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5.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6.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7.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10.xml" ContentType="application/vnd.openxmlformats-officedocument.theme+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11.xml" ContentType="application/vnd.openxmlformats-officedocument.theme+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2.xml" ContentType="application/vnd.openxmlformats-officedocument.theme+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3.xml" ContentType="application/vnd.openxmlformats-officedocument.theme+xml"/>
  <Override PartName="/ppt/tags/tag4.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20.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2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9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92.xml" ContentType="application/vnd.openxmlformats-officedocument.presentationml.tags+xml"/>
  <Override PartName="/ppt/notesSlides/notesSlide40.xml" ContentType="application/vnd.openxmlformats-officedocument.presentationml.notesSlide+xml"/>
  <Override PartName="/ppt/tags/tag93.xml" ContentType="application/vnd.openxmlformats-officedocument.presentationml.tags+xml"/>
  <Override PartName="/ppt/notesSlides/notesSlide41.xml" ContentType="application/vnd.openxmlformats-officedocument.presentationml.notesSlide+xml"/>
  <Override PartName="/ppt/tags/tag94.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 id="2147484015" r:id="rId2"/>
    <p:sldMasterId id="2147484042" r:id="rId3"/>
    <p:sldMasterId id="2147484069" r:id="rId4"/>
    <p:sldMasterId id="2147484100" r:id="rId5"/>
    <p:sldMasterId id="2147484128" r:id="rId6"/>
    <p:sldMasterId id="2147484155" r:id="rId7"/>
    <p:sldMasterId id="2147484160" r:id="rId8"/>
    <p:sldMasterId id="2147484205" r:id="rId9"/>
    <p:sldMasterId id="2147484237" r:id="rId10"/>
    <p:sldMasterId id="2147484271" r:id="rId11"/>
    <p:sldMasterId id="2147484286" r:id="rId12"/>
    <p:sldMasterId id="2147484317" r:id="rId13"/>
    <p:sldMasterId id="2147484335" r:id="rId14"/>
  </p:sldMasterIdLst>
  <p:notesMasterIdLst>
    <p:notesMasterId r:id="rId76"/>
  </p:notesMasterIdLst>
  <p:handoutMasterIdLst>
    <p:handoutMasterId r:id="rId77"/>
  </p:handoutMasterIdLst>
  <p:sldIdLst>
    <p:sldId id="257" r:id="rId15"/>
    <p:sldId id="4461" r:id="rId16"/>
    <p:sldId id="4466" r:id="rId17"/>
    <p:sldId id="2267" r:id="rId18"/>
    <p:sldId id="2268" r:id="rId19"/>
    <p:sldId id="3665" r:id="rId20"/>
    <p:sldId id="2269" r:id="rId21"/>
    <p:sldId id="2270" r:id="rId22"/>
    <p:sldId id="2271" r:id="rId23"/>
    <p:sldId id="2276" r:id="rId24"/>
    <p:sldId id="3693" r:id="rId25"/>
    <p:sldId id="4472" r:id="rId26"/>
    <p:sldId id="3682" r:id="rId27"/>
    <p:sldId id="552" r:id="rId28"/>
    <p:sldId id="553" r:id="rId29"/>
    <p:sldId id="554" r:id="rId30"/>
    <p:sldId id="3683" r:id="rId31"/>
    <p:sldId id="541" r:id="rId32"/>
    <p:sldId id="2285" r:id="rId33"/>
    <p:sldId id="3685" r:id="rId34"/>
    <p:sldId id="3686" r:id="rId35"/>
    <p:sldId id="3687" r:id="rId36"/>
    <p:sldId id="3688" r:id="rId37"/>
    <p:sldId id="3689" r:id="rId38"/>
    <p:sldId id="4470" r:id="rId39"/>
    <p:sldId id="280" r:id="rId40"/>
    <p:sldId id="357" r:id="rId41"/>
    <p:sldId id="321" r:id="rId42"/>
    <p:sldId id="324" r:id="rId43"/>
    <p:sldId id="328" r:id="rId44"/>
    <p:sldId id="285" r:id="rId45"/>
    <p:sldId id="309" r:id="rId46"/>
    <p:sldId id="262" r:id="rId47"/>
    <p:sldId id="263" r:id="rId48"/>
    <p:sldId id="4471" r:id="rId49"/>
    <p:sldId id="4488" r:id="rId50"/>
    <p:sldId id="4473" r:id="rId51"/>
    <p:sldId id="378" r:id="rId52"/>
    <p:sldId id="4475" r:id="rId53"/>
    <p:sldId id="362" r:id="rId54"/>
    <p:sldId id="259" r:id="rId55"/>
    <p:sldId id="261" r:id="rId56"/>
    <p:sldId id="296" r:id="rId57"/>
    <p:sldId id="356" r:id="rId58"/>
    <p:sldId id="380" r:id="rId59"/>
    <p:sldId id="4490" r:id="rId60"/>
    <p:sldId id="4476" r:id="rId61"/>
    <p:sldId id="4474" r:id="rId62"/>
    <p:sldId id="4477" r:id="rId63"/>
    <p:sldId id="4478" r:id="rId64"/>
    <p:sldId id="4479" r:id="rId65"/>
    <p:sldId id="4480" r:id="rId66"/>
    <p:sldId id="4481" r:id="rId67"/>
    <p:sldId id="4482" r:id="rId68"/>
    <p:sldId id="4483" r:id="rId69"/>
    <p:sldId id="4484" r:id="rId70"/>
    <p:sldId id="4485" r:id="rId71"/>
    <p:sldId id="4486" r:id="rId72"/>
    <p:sldId id="4487" r:id="rId73"/>
    <p:sldId id="358" r:id="rId74"/>
    <p:sldId id="369" r:id="rId75"/>
  </p:sldIdLst>
  <p:sldSz cx="9144000" cy="5143500" type="screen16x9"/>
  <p:notesSz cx="6858000" cy="9144000"/>
  <p:custDataLst>
    <p:tags r:id="rId78"/>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521415D9-36F7-43E2-AB2F-B90AF26B5E84}">
      <p14:sectionLst xmlns:p14="http://schemas.microsoft.com/office/powerpoint/2010/main">
        <p14:section name="Introduction" id="{86579FEE-5852-1A4A-96C4-DDAAC95D4493}">
          <p14:sldIdLst>
            <p14:sldId id="257"/>
            <p14:sldId id="4461"/>
            <p14:sldId id="4466"/>
            <p14:sldId id="2267"/>
            <p14:sldId id="2268"/>
            <p14:sldId id="3665"/>
            <p14:sldId id="2269"/>
            <p14:sldId id="2270"/>
            <p14:sldId id="2271"/>
            <p14:sldId id="2276"/>
            <p14:sldId id="3693"/>
            <p14:sldId id="4472"/>
            <p14:sldId id="3682"/>
            <p14:sldId id="552"/>
            <p14:sldId id="553"/>
            <p14:sldId id="554"/>
            <p14:sldId id="3683"/>
            <p14:sldId id="541"/>
            <p14:sldId id="2285"/>
            <p14:sldId id="3685"/>
            <p14:sldId id="3686"/>
            <p14:sldId id="3687"/>
            <p14:sldId id="3688"/>
            <p14:sldId id="3689"/>
            <p14:sldId id="4470"/>
            <p14:sldId id="280"/>
            <p14:sldId id="357"/>
            <p14:sldId id="321"/>
            <p14:sldId id="324"/>
            <p14:sldId id="328"/>
            <p14:sldId id="285"/>
            <p14:sldId id="309"/>
            <p14:sldId id="262"/>
            <p14:sldId id="263"/>
            <p14:sldId id="4471"/>
            <p14:sldId id="4488"/>
            <p14:sldId id="4473"/>
            <p14:sldId id="378"/>
            <p14:sldId id="4475"/>
            <p14:sldId id="362"/>
            <p14:sldId id="259"/>
            <p14:sldId id="261"/>
            <p14:sldId id="296"/>
            <p14:sldId id="356"/>
            <p14:sldId id="380"/>
            <p14:sldId id="4490"/>
            <p14:sldId id="4476"/>
            <p14:sldId id="4474"/>
            <p14:sldId id="4477"/>
            <p14:sldId id="4478"/>
            <p14:sldId id="4479"/>
            <p14:sldId id="4480"/>
            <p14:sldId id="4481"/>
            <p14:sldId id="4482"/>
            <p14:sldId id="4483"/>
            <p14:sldId id="4484"/>
            <p14:sldId id="4485"/>
            <p14:sldId id="4486"/>
            <p14:sldId id="4487"/>
            <p14:sldId id="358"/>
            <p14:sldId id="369"/>
          </p14:sldIdLst>
        </p14:section>
      </p14:sectionLst>
    </p:ext>
    <p:ext uri="{EFAFB233-063F-42B5-8137-9DF3F51BA10A}">
      <p15:sldGuideLst xmlns:p15="http://schemas.microsoft.com/office/powerpoint/2012/main">
        <p15:guide id="1" pos="3072" userDrawn="1">
          <p15:clr>
            <a:srgbClr val="A4A3A4"/>
          </p15:clr>
        </p15:guide>
        <p15:guide id="2" orient="horz" pos="16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 id="1" name="Kate Ryan" initials="KR" lastIdx="1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E0"/>
    <a:srgbClr val="00628E"/>
    <a:srgbClr val="007063"/>
    <a:srgbClr val="049FD9"/>
    <a:srgbClr val="F77303"/>
    <a:srgbClr val="CB8504"/>
    <a:srgbClr val="113074"/>
    <a:srgbClr val="004669"/>
    <a:srgbClr val="86DBF2"/>
    <a:srgbClr val="1FAED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02" autoAdjust="0"/>
    <p:restoredTop sz="80422" autoAdjust="0"/>
  </p:normalViewPr>
  <p:slideViewPr>
    <p:cSldViewPr snapToGrid="0" snapToObjects="1" showGuides="1">
      <p:cViewPr varScale="1">
        <p:scale>
          <a:sx n="92" d="100"/>
          <a:sy n="92" d="100"/>
        </p:scale>
        <p:origin x="1421" y="67"/>
      </p:cViewPr>
      <p:guideLst>
        <p:guide pos="3072"/>
        <p:guide orient="horz" pos="1620"/>
      </p:guideLst>
    </p:cSldViewPr>
  </p:slideViewPr>
  <p:notesTextViewPr>
    <p:cViewPr>
      <p:scale>
        <a:sx n="3" d="2"/>
        <a:sy n="3" d="2"/>
      </p:scale>
      <p:origin x="0" y="0"/>
    </p:cViewPr>
  </p:notesTextViewPr>
  <p:sorterViewPr>
    <p:cViewPr>
      <p:scale>
        <a:sx n="125" d="100"/>
        <a:sy n="125" d="100"/>
      </p:scale>
      <p:origin x="0" y="-18592"/>
    </p:cViewPr>
  </p:sorterViewPr>
  <p:notesViewPr>
    <p:cSldViewPr snapToGrid="0" snapToObjects="1" showGuides="1">
      <p:cViewPr varScale="1">
        <p:scale>
          <a:sx n="115" d="100"/>
          <a:sy n="115" d="100"/>
        </p:scale>
        <p:origin x="3592"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16" Type="http://schemas.openxmlformats.org/officeDocument/2006/relationships/slide" Target="slides/slide2.xml"/><Relationship Id="rId11" Type="http://schemas.openxmlformats.org/officeDocument/2006/relationships/slideMaster" Target="slideMasters/slideMaster11.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commentAuthors" Target="commentAuthors.xml"/><Relationship Id="rId5" Type="http://schemas.openxmlformats.org/officeDocument/2006/relationships/slideMaster" Target="slideMasters/slideMaster5.xml"/><Relationship Id="rId61" Type="http://schemas.openxmlformats.org/officeDocument/2006/relationships/slide" Target="slides/slide47.xml"/><Relationship Id="rId82" Type="http://schemas.openxmlformats.org/officeDocument/2006/relationships/theme" Target="theme/theme1.xml"/><Relationship Id="rId19" Type="http://schemas.openxmlformats.org/officeDocument/2006/relationships/slide" Target="slides/slide5.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slide" Target="slides/slide55.xml"/><Relationship Id="rId77"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slide" Target="slides/slide37.xml"/><Relationship Id="rId72" Type="http://schemas.openxmlformats.org/officeDocument/2006/relationships/slide" Target="slides/slide58.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slide" Target="slides/slide61.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10.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tags" Target="tags/tag1.xml"/><Relationship Id="rId8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slide" Target="slides/slide57.xml"/><Relationship Id="rId2" Type="http://schemas.openxmlformats.org/officeDocument/2006/relationships/slideMaster" Target="slideMasters/slideMaster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16-May-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16-May-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cisco.com/c/en/us/solutions/enterprise-networks/enterprise-network-security/eta.html" TargetMode="External"/><Relationship Id="rId2" Type="http://schemas.openxmlformats.org/officeDocument/2006/relationships/slide" Target="../slides/slide27.xml"/><Relationship Id="rId1" Type="http://schemas.openxmlformats.org/officeDocument/2006/relationships/notesMaster" Target="../notesMasters/notesMaster1.xml"/><Relationship Id="rId5" Type="http://schemas.openxmlformats.org/officeDocument/2006/relationships/hyperlink" Target="https://www.cisco.com/c/dam/en/us/products/collateral/security/anyconnect-secure-mobility-client/at-a-glance-c45-736671.pdf" TargetMode="External"/><Relationship Id="rId4" Type="http://schemas.openxmlformats.org/officeDocument/2006/relationships/hyperlink" Target="https://www.cisco.com/c/en/us/products/security/stealthwatch/visibility-and-control.html"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6645896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570462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a:t>Data Source – Cisco 2017 Annual Cybersecurity Report </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15361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yesterday’s world, the network had clean edges and a clear perimeter. Using firewalls, you could secure the perimeter of the network, inspect data packets, and stop them before they crossed into your network – all based on  parameters programmed into the firewalls themselves.</a:t>
            </a:r>
          </a:p>
          <a:p>
            <a:endParaRPr lang="en-US" dirty="0"/>
          </a:p>
          <a:p>
            <a:r>
              <a:rPr lang="en-US" dirty="0"/>
              <a:t>In this paradigm, firewalls were depended on to provide visibility into the network – though this visibility was limited to snapshots taken when information entered or left the perimeter.</a:t>
            </a:r>
          </a:p>
          <a:p>
            <a:endParaRPr lang="en-US" dirty="0"/>
          </a:p>
          <a:p>
            <a:r>
              <a:rPr lang="en-US" dirty="0"/>
              <a:t>Segmentation was also handled by the firewall, using long, cumbersome and archaic access lists requiring frequent manual updates in order to remain accurate.</a:t>
            </a:r>
          </a:p>
          <a:p>
            <a:endParaRPr lang="en-US" dirty="0"/>
          </a:p>
          <a:p>
            <a:r>
              <a:rPr lang="en-US" dirty="0"/>
              <a:t>Generally,</a:t>
            </a:r>
            <a:r>
              <a:rPr lang="en-US" baseline="0" dirty="0"/>
              <a:t> the firewall offered three primary benefits – visibility, segmentation, and threat. </a:t>
            </a:r>
            <a:endParaRPr lang="en-US" dirty="0"/>
          </a:p>
          <a:p>
            <a:endParaRPr lang="en-US" dirty="0"/>
          </a:p>
          <a:p>
            <a:r>
              <a:rPr lang="en-US" b="1" dirty="0"/>
              <a:t>[TRANSITION] </a:t>
            </a:r>
            <a:r>
              <a:rPr lang="en-US" dirty="0"/>
              <a:t>But as you know, the network the firewall is supposed to protect has changed.</a:t>
            </a:r>
          </a:p>
          <a:p>
            <a:endParaRPr lang="en-US" dirty="0"/>
          </a:p>
          <a:p>
            <a:r>
              <a:rPr lang="en-US" b="1" dirty="0"/>
              <a:t>[CLICK]</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13134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kern="1200" dirty="0">
                <a:solidFill>
                  <a:schemeClr val="tx1"/>
                </a:solidFill>
                <a:effectLst/>
                <a:latin typeface="+mn-lt"/>
                <a:ea typeface="ＭＳ Ｐゴシック" charset="0"/>
                <a:cs typeface="ＭＳ Ｐゴシック" charset="0"/>
              </a:rPr>
              <a:t>Today, market demands have caused the network to expand far outside of the perimeter.</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b="0" i="0" kern="1200" dirty="0">
              <a:solidFill>
                <a:schemeClr val="tx1"/>
              </a:solidFill>
              <a:effectLst/>
              <a:latin typeface="+mn-l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kern="1200" dirty="0">
                <a:solidFill>
                  <a:schemeClr val="tx1"/>
                </a:solidFill>
                <a:effectLst/>
                <a:latin typeface="+mn-lt"/>
                <a:ea typeface="ＭＳ Ｐゴシック" charset="0"/>
                <a:cs typeface="ＭＳ Ｐゴシック" charset="0"/>
              </a:rPr>
              <a:t>Every day, more </a:t>
            </a:r>
            <a:r>
              <a:rPr lang="en-US" sz="1200" b="0" i="0" kern="1200" dirty="0" err="1">
                <a:solidFill>
                  <a:schemeClr val="tx1"/>
                </a:solidFill>
                <a:effectLst/>
                <a:latin typeface="+mn-lt"/>
                <a:ea typeface="ＭＳ Ｐゴシック" charset="0"/>
                <a:cs typeface="ＭＳ Ｐゴシック" charset="0"/>
              </a:rPr>
              <a:t>IoT</a:t>
            </a:r>
            <a:r>
              <a:rPr lang="en-US" sz="1200" b="0" i="0" kern="1200" dirty="0">
                <a:solidFill>
                  <a:schemeClr val="tx1"/>
                </a:solidFill>
                <a:effectLst/>
                <a:latin typeface="+mn-lt"/>
                <a:ea typeface="ＭＳ Ｐゴシック" charset="0"/>
                <a:cs typeface="ＭＳ Ｐゴシック" charset="0"/>
              </a:rPr>
              <a:t> devices are connected–a trend that promises to accelerate in the coming years. It is estimated that 1 million new devices will go online every hour in 2020.</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b="0" i="0" kern="1200" dirty="0">
              <a:solidFill>
                <a:schemeClr val="tx1"/>
              </a:solidFill>
              <a:effectLst/>
              <a:latin typeface="+mn-l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kern="1200" dirty="0">
                <a:solidFill>
                  <a:schemeClr val="tx1"/>
                </a:solidFill>
                <a:effectLst/>
                <a:latin typeface="+mn-lt"/>
                <a:ea typeface="ＭＳ Ｐゴシック" charset="0"/>
                <a:cs typeface="ＭＳ Ｐゴシック" charset="0"/>
              </a:rPr>
              <a:t>The ability to work remotely and from mobile devices is no longer a perk, its an expectation. Users now work everywhere across multiple devices, and by 2020, it is projected that 2/3 of all IP traffic will come form wireless or mobile devices.</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b="0" i="0" kern="1200" dirty="0">
              <a:solidFill>
                <a:schemeClr val="tx1"/>
              </a:solidFill>
              <a:effectLst/>
              <a:latin typeface="+mn-l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kern="1200" dirty="0">
                <a:solidFill>
                  <a:schemeClr val="tx1"/>
                </a:solidFill>
                <a:effectLst/>
                <a:latin typeface="+mn-lt"/>
                <a:ea typeface="ＭＳ Ｐゴシック" charset="0"/>
                <a:cs typeface="ＭＳ Ｐゴシック" charset="0"/>
              </a:rPr>
              <a:t>As</a:t>
            </a:r>
            <a:r>
              <a:rPr lang="en-US" sz="1200" b="0" i="0" kern="1200" baseline="0" dirty="0">
                <a:solidFill>
                  <a:schemeClr val="tx1"/>
                </a:solidFill>
                <a:effectLst/>
                <a:latin typeface="+mn-lt"/>
                <a:ea typeface="ＭＳ Ｐゴシック" charset="0"/>
                <a:cs typeface="ＭＳ Ｐゴシック" charset="0"/>
              </a:rPr>
              <a:t> </a:t>
            </a:r>
            <a:r>
              <a:rPr lang="en-US" sz="1200" b="0" i="0" kern="1200" dirty="0">
                <a:solidFill>
                  <a:schemeClr val="tx1"/>
                </a:solidFill>
                <a:effectLst/>
                <a:latin typeface="+mn-lt"/>
                <a:ea typeface="ＭＳ Ｐゴシック" charset="0"/>
                <a:cs typeface="ＭＳ Ｐゴシック" charset="0"/>
              </a:rPr>
              <a:t>the network expands beyond the perimeter, companies are faced with threats that are growing in number, and increasing in complexity – a trend which recently culminated in a 27.4% average increase in security breaches in 2017.</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b="0" i="0" kern="1200" dirty="0">
              <a:solidFill>
                <a:schemeClr val="tx1"/>
              </a:solidFill>
              <a:effectLst/>
              <a:latin typeface="+mn-l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kern="1200" dirty="0">
                <a:solidFill>
                  <a:schemeClr val="tx1"/>
                </a:solidFill>
                <a:effectLst/>
                <a:latin typeface="+mn-lt"/>
                <a:ea typeface="ＭＳ Ｐゴシック" charset="0"/>
                <a:cs typeface="ＭＳ Ｐゴシック" charset="0"/>
              </a:rPr>
              <a:t>Finally,</a:t>
            </a:r>
            <a:r>
              <a:rPr lang="en-US" sz="1200" b="0" i="0" kern="1200" baseline="0" dirty="0">
                <a:solidFill>
                  <a:schemeClr val="tx1"/>
                </a:solidFill>
                <a:effectLst/>
                <a:latin typeface="+mn-lt"/>
                <a:ea typeface="ＭＳ Ｐゴシック" charset="0"/>
                <a:cs typeface="ＭＳ Ｐゴシック" charset="0"/>
              </a:rPr>
              <a:t> more threats are using encryption to mask their communications. Cisco analyzed 400,000 malware samples and found a threefold increase in encrypted network communication used by inspected malware samples over a 12 month period (Nov. 2016 – Oct. 2017).</a:t>
            </a:r>
            <a:endParaRPr lang="en-US" sz="1200" b="0" i="0" kern="1200" dirty="0">
              <a:solidFill>
                <a:schemeClr val="tx1"/>
              </a:solidFill>
              <a:effectLst/>
              <a:latin typeface="+mn-l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b="0" i="0" kern="1200" dirty="0">
              <a:solidFill>
                <a:schemeClr val="tx1"/>
              </a:solidFill>
              <a:effectLst/>
              <a:latin typeface="+mn-lt"/>
              <a:ea typeface="ＭＳ Ｐゴシック" charset="0"/>
              <a:cs typeface="ＭＳ Ｐゴシック" charset="0"/>
            </a:endParaRPr>
          </a:p>
          <a:p>
            <a:r>
              <a:rPr lang="en-US" b="1" dirty="0"/>
              <a:t>[TRANSITION] </a:t>
            </a:r>
            <a:r>
              <a:rPr lang="en-US" sz="1200" b="0" i="0" kern="1200" dirty="0">
                <a:solidFill>
                  <a:schemeClr val="tx1"/>
                </a:solidFill>
                <a:effectLst/>
                <a:latin typeface="+mn-lt"/>
                <a:ea typeface="ＭＳ Ｐゴシック" charset="0"/>
                <a:cs typeface="ＭＳ Ｐゴシック" charset="0"/>
              </a:rPr>
              <a:t>While this new era of digitization has generated new opportunities for businesses, it’s certainly come with a cost.</a:t>
            </a:r>
          </a:p>
          <a:p>
            <a:endParaRPr lang="en-US" sz="1200" b="0" i="0" kern="1200" dirty="0">
              <a:solidFill>
                <a:schemeClr val="tx1"/>
              </a:solidFill>
              <a:effectLst/>
              <a:latin typeface="+mn-l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t>[CLICK]</a:t>
            </a:r>
            <a:endParaRPr lang="en-US" sz="1200" b="0" i="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7425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Instead, what’s needed is a holistic approach to enterprise security.</a:t>
            </a:r>
          </a:p>
          <a:p>
            <a:pPr algn="l"/>
            <a:endParaRPr lang="en-US" sz="1200" dirty="0"/>
          </a:p>
          <a:p>
            <a:pPr algn="l"/>
            <a:r>
              <a:rPr lang="en-US" sz="1200" dirty="0"/>
              <a:t>A network might have 100 network devices for every firewall.</a:t>
            </a:r>
            <a:r>
              <a:rPr lang="en-US" sz="1200" baseline="0" dirty="0"/>
              <a:t> </a:t>
            </a:r>
            <a:r>
              <a:rPr lang="en-US" sz="1200" b="0" dirty="0"/>
              <a:t>Imagine if you could recruit all of those devices to secure your network without impacting its performance?</a:t>
            </a:r>
          </a:p>
          <a:p>
            <a:pPr algn="l"/>
            <a:endParaRPr lang="en-US" sz="1200"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t>[CLICK]</a:t>
            </a:r>
            <a:endParaRPr lang="en-US" sz="1200" dirty="0"/>
          </a:p>
          <a:p>
            <a:pPr algn="l"/>
            <a:endParaRPr lang="en-US" sz="1200" dirty="0"/>
          </a:p>
          <a:p>
            <a:pPr algn="l"/>
            <a:r>
              <a:rPr lang="en-US" sz="1200" dirty="0"/>
              <a:t>By</a:t>
            </a:r>
            <a:r>
              <a:rPr lang="en-US" sz="1200" baseline="0" dirty="0"/>
              <a:t> using the right technology, you can transform your network into an always-on security sensor, capable of seeing everything and understanding normal behavior.</a:t>
            </a:r>
          </a:p>
          <a:p>
            <a:pPr algn="l"/>
            <a:endParaRPr lang="en-US" sz="1200" dirty="0"/>
          </a:p>
          <a:p>
            <a:pPr algn="l"/>
            <a:r>
              <a:rPr lang="en-US" sz="1200" dirty="0"/>
              <a:t>By taking these steps, you can empower your network to dynamically adapt and defend itself – identifying</a:t>
            </a:r>
            <a:r>
              <a:rPr lang="en-US" sz="1200" baseline="0" dirty="0"/>
              <a:t> threats, even in encrypted traffic</a:t>
            </a:r>
            <a:r>
              <a:rPr lang="en-US" sz="1200" dirty="0"/>
              <a:t> and isolating effected machines.</a:t>
            </a:r>
          </a:p>
          <a:p>
            <a:pPr algn="l"/>
            <a:endParaRPr lang="en-US" sz="1200" dirty="0"/>
          </a:p>
          <a:p>
            <a:pPr algn="l"/>
            <a:r>
              <a:rPr lang="en-US" b="1" dirty="0"/>
              <a:t>[TRANSITION] </a:t>
            </a:r>
            <a:r>
              <a:rPr lang="en-US" sz="1200" b="0" dirty="0"/>
              <a:t>This</a:t>
            </a:r>
            <a:r>
              <a:rPr lang="en-US" sz="1200" b="0" baseline="0" dirty="0"/>
              <a:t> is the Cisco Network Security Analytics</a:t>
            </a:r>
            <a:endParaRPr lang="en-US" sz="1200" dirty="0"/>
          </a:p>
          <a:p>
            <a:pPr algn="l"/>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t>[CLICK]</a:t>
            </a:r>
            <a:endParaRPr lang="en-US" sz="12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9167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chemeClr val="tx1"/>
                </a:solidFill>
                <a:latin typeface="+mn-lt"/>
                <a:ea typeface="+mn-ea"/>
                <a:cs typeface="+mn-cs"/>
              </a:rPr>
              <a:t>The Hybrid Security Delivery Model Evolv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Increased "security via cloud" services is continuing</a:t>
            </a:r>
          </a:p>
          <a:p>
            <a:r>
              <a:rPr lang="en-US" dirty="0"/>
              <a:t>- Security product architecture is evolving to hybrid model and continuous support</a:t>
            </a:r>
          </a:p>
          <a:p>
            <a:r>
              <a:rPr lang="en-US" dirty="0"/>
              <a:t>- Security software is evolving in scale, diversity and function</a:t>
            </a:r>
          </a:p>
          <a:p>
            <a:r>
              <a:rPr lang="en-US" dirty="0"/>
              <a:t>- Security platform convergence at integration and product level is growing</a:t>
            </a:r>
          </a:p>
          <a:p>
            <a:endParaRPr lang="en-US" dirty="0"/>
          </a:p>
          <a:p>
            <a:r>
              <a:rPr lang="en-US" sz="1200" b="1" i="0" u="none" strike="noStrike" kern="1200" baseline="0" dirty="0">
                <a:solidFill>
                  <a:schemeClr val="tx1"/>
                </a:solidFill>
                <a:latin typeface="+mn-lt"/>
                <a:ea typeface="+mn-ea"/>
                <a:cs typeface="+mn-cs"/>
              </a:rPr>
              <a:t>Artificial Intelligence in Security Begins</a:t>
            </a:r>
          </a:p>
          <a:p>
            <a:r>
              <a:rPr lang="en-US" sz="1200" b="0" i="0" u="none" strike="noStrike" kern="1200" baseline="0" dirty="0">
                <a:solidFill>
                  <a:schemeClr val="tx1"/>
                </a:solidFill>
                <a:latin typeface="+mn-lt"/>
                <a:ea typeface="+mn-ea"/>
                <a:cs typeface="+mn-cs"/>
              </a:rPr>
              <a:t>- Security "data lake" is starting to be mined via analytics to determine intent</a:t>
            </a:r>
          </a:p>
          <a:p>
            <a:r>
              <a:rPr lang="en-US" sz="1200" b="0" i="0" u="none" strike="noStrike" kern="1200" baseline="0" dirty="0">
                <a:solidFill>
                  <a:schemeClr val="tx1"/>
                </a:solidFill>
                <a:latin typeface="+mn-lt"/>
                <a:ea typeface="+mn-ea"/>
                <a:cs typeface="+mn-cs"/>
              </a:rPr>
              <a:t>- Waves of rolling convergence via orchestration are starting to simplify monitoring and reporting</a:t>
            </a:r>
          </a:p>
          <a:p>
            <a:r>
              <a:rPr lang="en-US" sz="1200" b="0" i="0" u="none" strike="noStrike" kern="1200" baseline="0" dirty="0">
                <a:solidFill>
                  <a:schemeClr val="tx1"/>
                </a:solidFill>
                <a:latin typeface="+mn-lt"/>
                <a:ea typeface="+mn-ea"/>
                <a:cs typeface="+mn-cs"/>
              </a:rPr>
              <a:t>- Context from external and internal data sources is facilitating the move toward continuous awareness</a:t>
            </a:r>
          </a:p>
          <a:p>
            <a:pPr marL="171450" indent="-171450">
              <a:buFontTx/>
              <a:buChar char="-"/>
            </a:pPr>
            <a:r>
              <a:rPr lang="en-US" sz="1200" b="0" i="0" u="none" strike="noStrike" kern="1200" baseline="0" dirty="0">
                <a:solidFill>
                  <a:schemeClr val="tx1"/>
                </a:solidFill>
                <a:latin typeface="+mn-lt"/>
                <a:ea typeface="+mn-ea"/>
                <a:cs typeface="+mn-cs"/>
              </a:rPr>
              <a:t>"AI-staff" supplements to cybersecurity organizations are appearing</a:t>
            </a:r>
          </a:p>
          <a:p>
            <a:pPr marL="0" indent="0">
              <a:buFontTx/>
              <a:buNone/>
            </a:pPr>
            <a:endParaRPr lang="en-US" sz="1200" b="0" i="0" u="none" strike="noStrike" kern="1200" baseline="0" dirty="0">
              <a:solidFill>
                <a:schemeClr val="tx1"/>
              </a:solidFill>
              <a:latin typeface="+mn-lt"/>
              <a:ea typeface="+mn-ea"/>
              <a:cs typeface="+mn-cs"/>
            </a:endParaRPr>
          </a:p>
          <a:p>
            <a:pPr marL="0" indent="0">
              <a:buFontTx/>
              <a:buNone/>
            </a:pPr>
            <a:r>
              <a:rPr lang="en-US" sz="1200" b="1" i="0" u="none" strike="noStrike" kern="1200" baseline="0" dirty="0">
                <a:solidFill>
                  <a:schemeClr val="tx1"/>
                </a:solidFill>
                <a:latin typeface="+mn-lt"/>
                <a:ea typeface="+mn-ea"/>
                <a:cs typeface="+mn-cs"/>
              </a:rPr>
              <a:t>Decentralization Grows Across the Cybersecurity Spectrum</a:t>
            </a:r>
            <a:endParaRPr lang="en-US" sz="1200" b="0" i="0" u="none" strike="noStrike" kern="1200" baseline="0" dirty="0">
              <a:solidFill>
                <a:schemeClr val="tx1"/>
              </a:solidFill>
              <a:latin typeface="+mn-lt"/>
              <a:ea typeface="+mn-ea"/>
              <a:cs typeface="+mn-cs"/>
            </a:endParaRPr>
          </a:p>
          <a:p>
            <a:pPr marL="0" indent="0">
              <a:buFontTx/>
              <a:buNone/>
            </a:pPr>
            <a:r>
              <a:rPr lang="en-US" sz="1200" b="0" i="0" u="none" strike="noStrike" kern="1200" baseline="0" dirty="0">
                <a:solidFill>
                  <a:schemeClr val="tx1"/>
                </a:solidFill>
                <a:latin typeface="+mn-lt"/>
                <a:ea typeface="+mn-ea"/>
                <a:cs typeface="+mn-cs"/>
              </a:rPr>
              <a:t>- Geopolitical buying decisions for security are raising trust concerns</a:t>
            </a:r>
          </a:p>
          <a:p>
            <a:pPr marL="0" indent="0">
              <a:buFontTx/>
              <a:buNone/>
            </a:pPr>
            <a:r>
              <a:rPr lang="en-US" sz="1200" b="0" i="0" u="none" strike="noStrike" kern="1200" baseline="0" dirty="0">
                <a:solidFill>
                  <a:schemeClr val="tx1"/>
                </a:solidFill>
                <a:latin typeface="+mn-lt"/>
                <a:ea typeface="+mn-ea"/>
                <a:cs typeface="+mn-cs"/>
              </a:rPr>
              <a:t>- Digital trust requirements are preparing for the next stage of decentralization</a:t>
            </a:r>
          </a:p>
          <a:p>
            <a:pPr marL="0" indent="0">
              <a:buFontTx/>
              <a:buNone/>
            </a:pP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Blockchain</a:t>
            </a:r>
            <a:r>
              <a:rPr lang="en-US" sz="1200" b="0" i="0" u="none" strike="noStrike" kern="1200" baseline="0" dirty="0">
                <a:solidFill>
                  <a:schemeClr val="tx1"/>
                </a:solidFill>
                <a:latin typeface="+mn-lt"/>
                <a:ea typeface="+mn-ea"/>
                <a:cs typeface="+mn-cs"/>
              </a:rPr>
              <a:t> and related technologies are being deployed as enablers</a:t>
            </a:r>
          </a:p>
          <a:p>
            <a:pPr marL="0" indent="0">
              <a:buFontTx/>
              <a:buNone/>
            </a:pPr>
            <a:r>
              <a:rPr lang="en-US" sz="1200" b="0" i="0" u="none" strike="noStrike" kern="1200" baseline="0" dirty="0">
                <a:solidFill>
                  <a:schemeClr val="tx1"/>
                </a:solidFill>
                <a:latin typeface="+mn-lt"/>
                <a:ea typeface="+mn-ea"/>
                <a:cs typeface="+mn-cs"/>
              </a:rPr>
              <a:t>- The growth of hybrid security delivery models is accelerating this effect</a:t>
            </a:r>
          </a:p>
          <a:p>
            <a:pPr marL="0" indent="0">
              <a:buFontTx/>
              <a:buNone/>
            </a:pPr>
            <a:endParaRPr lang="en-US" sz="12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619CBBC-277B-C742-B46E-C2116AE13F9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78673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baseline="0" dirty="0"/>
              <a:t>&lt;T&gt; </a:t>
            </a:r>
            <a:r>
              <a:rPr lang="en-US" sz="1800" b="0" baseline="0" dirty="0"/>
              <a:t>The basis of the Network Security Analytics solution is comprehensive network visibility.</a:t>
            </a:r>
          </a:p>
          <a:p>
            <a:endParaRPr lang="en-US" sz="1800" b="1" baseline="0" dirty="0"/>
          </a:p>
          <a:p>
            <a:r>
              <a:rPr lang="en-US" sz="1800" kern="1200" dirty="0">
                <a:solidFill>
                  <a:schemeClr val="tx1"/>
                </a:solidFill>
                <a:effectLst/>
                <a:latin typeface="+mn-lt"/>
                <a:ea typeface="ＭＳ Ｐゴシック" charset="0"/>
                <a:cs typeface="ＭＳ Ｐゴシック" charset="0"/>
              </a:rPr>
              <a:t>As companies adopt new practices and technologies, every organization needs a way to detect threats in their network. </a:t>
            </a:r>
            <a:r>
              <a:rPr lang="en-US" sz="1800" kern="1200" dirty="0">
                <a:solidFill>
                  <a:schemeClr val="bg2"/>
                </a:solidFill>
                <a:effectLst/>
                <a:latin typeface="+mn-lt"/>
                <a:ea typeface="ＭＳ Ｐゴシック" charset="0"/>
                <a:cs typeface="ＭＳ Ｐゴシック" charset="0"/>
              </a:rPr>
              <a:t>Now e</a:t>
            </a:r>
            <a:r>
              <a:rPr lang="en-US" sz="1800" dirty="0">
                <a:solidFill>
                  <a:schemeClr val="bg2"/>
                </a:solidFill>
              </a:rPr>
              <a:t>very organization needs to be aware of what’s normal in their network environment. </a:t>
            </a:r>
            <a:r>
              <a:rPr lang="en-US" sz="1200" kern="1200" dirty="0">
                <a:solidFill>
                  <a:schemeClr val="tx1"/>
                </a:solidFill>
                <a:effectLst/>
                <a:latin typeface="+mn-lt"/>
                <a:ea typeface="ＭＳ Ｐゴシック" charset="0"/>
                <a:cs typeface="ＭＳ Ｐゴシック" charset="0"/>
              </a:rPr>
              <a:t>With multiple branches, roaming users, cloud apps and storage added to traditional networks and data centers, visibility into all parts of the business’s environment is essential. </a:t>
            </a:r>
          </a:p>
          <a:p>
            <a:endParaRPr lang="en-US" sz="1200" kern="1200" dirty="0">
              <a:solidFill>
                <a:schemeClr val="tx1"/>
              </a:solidFill>
              <a:effectLst/>
              <a:latin typeface="+mn-lt"/>
              <a:ea typeface="ＭＳ Ｐゴシック" charset="0"/>
            </a:endParaRPr>
          </a:p>
          <a:p>
            <a:r>
              <a:rPr lang="en-US" dirty="0"/>
              <a:t>We all have security solutions, such as firewalls or SIEMs, but how do we know those are working, managed, and configured properly?  How do we know these tools are doing the job that we need them to do? </a:t>
            </a:r>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This visibility includes knowing every host – seeing who is accessing which information at any given point. It also requires tracking conversations and the exchange of data between individual hosts. </a:t>
            </a:r>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From there, it’s important to know what is normal behavior for a particular user or “host” and establish a baseline from which you can be alerted to change in the user’s behavior the instant it happens. </a:t>
            </a:r>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Businesses must have visibility into their entire network infrastructure and be able to take action quickly in order to minimize the impact of a threat on critical information. Using</a:t>
            </a:r>
            <a:r>
              <a:rPr lang="en-US" sz="1200" kern="1200" baseline="0" dirty="0">
                <a:solidFill>
                  <a:schemeClr val="tx1"/>
                </a:solidFill>
                <a:effectLst/>
                <a:latin typeface="+mn-lt"/>
                <a:ea typeface="ＭＳ Ｐゴシック" charset="0"/>
                <a:cs typeface="ＭＳ Ｐゴシック" charset="0"/>
              </a:rPr>
              <a:t> your network for security analytics</a:t>
            </a:r>
            <a:r>
              <a:rPr lang="en-US" sz="1200" kern="1200" dirty="0">
                <a:solidFill>
                  <a:schemeClr val="tx1"/>
                </a:solidFill>
                <a:effectLst/>
                <a:latin typeface="+mn-lt"/>
                <a:ea typeface="ＭＳ Ｐゴシック" charset="0"/>
                <a:cs typeface="ＭＳ Ｐゴシック" charset="0"/>
              </a:rPr>
              <a:t>, you can gain total visibility across every security touchpoint. </a:t>
            </a:r>
            <a:r>
              <a:rPr lang="en-US" b="1" baseline="0" dirty="0"/>
              <a:t>&lt;/T&gt; </a:t>
            </a:r>
            <a:endParaRPr lang="en-US" sz="1200" kern="1200" dirty="0">
              <a:solidFill>
                <a:schemeClr val="tx1"/>
              </a:solidFill>
              <a:effectLst/>
              <a:latin typeface="+mn-lt"/>
              <a:ea typeface="ＭＳ Ｐゴシック"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10552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8551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7140" indent="0">
              <a:buFont typeface="Arial" charset="0"/>
              <a:buNone/>
            </a:pPr>
            <a:r>
              <a:rPr lang="en-US" u="sng" dirty="0"/>
              <a:t>Value Proposition</a:t>
            </a:r>
          </a:p>
          <a:p>
            <a:pPr marL="57140" indent="0">
              <a:buFont typeface="Arial" charset="0"/>
              <a:buNone/>
            </a:pPr>
            <a:r>
              <a:rPr lang="en-US" dirty="0"/>
              <a:t>Complete visibility and contextual awareness of users, networks, applications, workloads, process based</a:t>
            </a:r>
          </a:p>
          <a:p>
            <a:r>
              <a:rPr lang="en-US" sz="1200" dirty="0"/>
              <a:t>Network and application behavior</a:t>
            </a:r>
          </a:p>
          <a:p>
            <a:r>
              <a:rPr lang="en-US" sz="1200" dirty="0"/>
              <a:t>Application dependency mappings</a:t>
            </a:r>
          </a:p>
          <a:p>
            <a:r>
              <a:rPr lang="en-US" sz="1200" dirty="0"/>
              <a:t>Network Behavioral Analysis </a:t>
            </a:r>
            <a:br>
              <a:rPr lang="en-US" sz="1200" dirty="0"/>
            </a:br>
            <a:r>
              <a:rPr lang="en-US" sz="1200" dirty="0"/>
              <a:t>(</a:t>
            </a:r>
            <a:r>
              <a:rPr lang="en-US" sz="1200" dirty="0" err="1"/>
              <a:t>Netflow</a:t>
            </a:r>
            <a:r>
              <a:rPr lang="en-US" sz="1200" dirty="0"/>
              <a:t> / Traffic Analysis)</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42996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71BDBCD0-0574-4123-8FA5-37FCB485D36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48791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a:t>
            </a:fld>
            <a:endParaRPr lang="en-US"/>
          </a:p>
        </p:txBody>
      </p:sp>
    </p:spTree>
    <p:extLst>
      <p:ext uri="{BB962C8B-B14F-4D97-AF65-F5344CB8AC3E}">
        <p14:creationId xmlns:p14="http://schemas.microsoft.com/office/powerpoint/2010/main" val="22516877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5944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2321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3FA82B2F-16FC-45A2-B6DF-3A5A61BC2D1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769227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53726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lt;T&gt; </a:t>
            </a:r>
            <a:r>
              <a:rPr lang="en-US" sz="1200" b="1" kern="1200" dirty="0">
                <a:solidFill>
                  <a:schemeClr val="tx1"/>
                </a:solidFill>
                <a:effectLst/>
                <a:latin typeface="+mn-lt"/>
                <a:ea typeface="ＭＳ Ｐゴシック" charset="0"/>
                <a:cs typeface="ＭＳ Ｐゴシック" charset="0"/>
              </a:rPr>
              <a:t>Cisco </a:t>
            </a:r>
            <a:r>
              <a:rPr lang="en-US" sz="1200" b="1" kern="1200" dirty="0" err="1">
                <a:solidFill>
                  <a:schemeClr val="tx1"/>
                </a:solidFill>
                <a:effectLst/>
                <a:latin typeface="+mn-lt"/>
                <a:ea typeface="ＭＳ Ｐゴシック" charset="0"/>
                <a:cs typeface="ＭＳ Ｐゴシック" charset="0"/>
              </a:rPr>
              <a:t>Stealthwatch</a:t>
            </a:r>
            <a:r>
              <a:rPr lang="en-US" sz="1200" b="1" kern="1200" dirty="0">
                <a:solidFill>
                  <a:schemeClr val="tx1"/>
                </a:solidFill>
                <a:effectLst/>
                <a:latin typeface="+mn-lt"/>
                <a:ea typeface="ＭＳ Ｐゴシック" charset="0"/>
                <a:cs typeface="ＭＳ Ｐゴシック" charset="0"/>
              </a:rPr>
              <a:t> Enterprise </a:t>
            </a:r>
            <a:r>
              <a:rPr lang="en-US" sz="1200" kern="1200" dirty="0">
                <a:solidFill>
                  <a:schemeClr val="tx1"/>
                </a:solidFill>
                <a:effectLst/>
                <a:latin typeface="+mn-lt"/>
                <a:ea typeface="ＭＳ Ｐゴシック" charset="0"/>
                <a:cs typeface="ＭＳ Ｐゴシック" charset="0"/>
              </a:rPr>
              <a:t>is </a:t>
            </a:r>
            <a:r>
              <a:rPr lang="en-US" sz="1200" u="none" kern="1200" dirty="0">
                <a:solidFill>
                  <a:schemeClr val="tx1"/>
                </a:solidFill>
                <a:effectLst/>
                <a:latin typeface="+mn-lt"/>
                <a:ea typeface="ＭＳ Ｐゴシック" charset="0"/>
                <a:cs typeface="ＭＳ Ｐゴシック" charset="0"/>
              </a:rPr>
              <a:t>the</a:t>
            </a:r>
            <a:r>
              <a:rPr lang="en-US" sz="1200" u="none" kern="1200" baseline="0" dirty="0">
                <a:solidFill>
                  <a:schemeClr val="tx1"/>
                </a:solidFill>
                <a:effectLst/>
                <a:latin typeface="+mn-lt"/>
                <a:ea typeface="ＭＳ Ｐゴシック" charset="0"/>
                <a:cs typeface="ＭＳ Ｐゴシック" charset="0"/>
              </a:rPr>
              <a:t> most comprehensive </a:t>
            </a:r>
            <a:r>
              <a:rPr lang="en-US" sz="1200" u="none" kern="1200" dirty="0">
                <a:solidFill>
                  <a:schemeClr val="tx1"/>
                </a:solidFill>
                <a:effectLst/>
                <a:latin typeface="+mn-lt"/>
                <a:ea typeface="ＭＳ Ｐゴシック" charset="0"/>
                <a:cs typeface="ＭＳ Ｐゴシック" charset="0"/>
              </a:rPr>
              <a:t>visibility </a:t>
            </a:r>
            <a:r>
              <a:rPr lang="en-US" sz="1200" kern="1200" dirty="0">
                <a:solidFill>
                  <a:schemeClr val="tx1"/>
                </a:solidFill>
                <a:effectLst/>
                <a:latin typeface="+mn-lt"/>
                <a:ea typeface="ＭＳ Ｐゴシック" charset="0"/>
                <a:cs typeface="ＭＳ Ｐゴシック" charset="0"/>
              </a:rPr>
              <a:t>and security analytics solution that uses enterprise telemetry from the </a:t>
            </a:r>
            <a:r>
              <a:rPr lang="en-US" sz="1200" b="1" kern="1200" dirty="0">
                <a:solidFill>
                  <a:schemeClr val="tx1"/>
                </a:solidFill>
                <a:effectLst/>
                <a:latin typeface="+mn-lt"/>
                <a:ea typeface="ＭＳ Ｐゴシック" charset="0"/>
                <a:cs typeface="ＭＳ Ｐゴシック" charset="0"/>
              </a:rPr>
              <a:t>existing network infrastructure.</a:t>
            </a:r>
            <a:r>
              <a:rPr lang="en-US" sz="1200" kern="1200" dirty="0">
                <a:solidFill>
                  <a:schemeClr val="tx1"/>
                </a:solidFill>
                <a:effectLst/>
                <a:latin typeface="+mn-lt"/>
                <a:ea typeface="ＭＳ Ｐゴシック" charset="0"/>
                <a:cs typeface="ＭＳ Ｐゴシック" charset="0"/>
              </a:rPr>
              <a:t> It provides advanced threat detection, accelerated threat response and simplified network segmentation using multi-layer machine learning and entity modeling. With a </a:t>
            </a:r>
            <a:r>
              <a:rPr lang="en-US" sz="1200" u="none" kern="1200" dirty="0">
                <a:solidFill>
                  <a:schemeClr val="tx1"/>
                </a:solidFill>
                <a:effectLst/>
                <a:latin typeface="+mn-lt"/>
                <a:ea typeface="ＭＳ Ｐゴシック" charset="0"/>
                <a:cs typeface="ＭＳ Ｐゴシック" charset="0"/>
              </a:rPr>
              <a:t>single, agentless </a:t>
            </a:r>
            <a:r>
              <a:rPr lang="en-US" sz="1200" kern="1200" dirty="0">
                <a:solidFill>
                  <a:schemeClr val="tx1"/>
                </a:solidFill>
                <a:effectLst/>
                <a:latin typeface="+mn-lt"/>
                <a:ea typeface="ＭＳ Ｐゴシック" charset="0"/>
                <a:cs typeface="ＭＳ Ｐゴシック" charset="0"/>
              </a:rPr>
              <a:t>solution, you get visibility across the extended network including endpoints, branch, data center and cloud.  And it is the only product that can detect malware in encrypted traffic and ensure policy compliance, without decryption.</a:t>
            </a:r>
          </a:p>
          <a:p>
            <a:r>
              <a:rPr lang="en-US" sz="1200" kern="1200" dirty="0">
                <a:solidFill>
                  <a:schemeClr val="tx1"/>
                </a:solidFill>
                <a:effectLst/>
                <a:latin typeface="+mn-lt"/>
                <a:ea typeface="ＭＳ Ｐゴシック" charset="0"/>
                <a:cs typeface="ＭＳ Ｐゴシック" charset="0"/>
              </a:rPr>
              <a:t> </a:t>
            </a:r>
          </a:p>
          <a:p>
            <a:r>
              <a:rPr lang="en-US" sz="1200" kern="1200" dirty="0">
                <a:solidFill>
                  <a:schemeClr val="tx1"/>
                </a:solidFill>
                <a:effectLst/>
                <a:latin typeface="+mn-lt"/>
                <a:ea typeface="ＭＳ Ｐゴシック" charset="0"/>
                <a:cs typeface="ＭＳ Ｐゴシック" charset="0"/>
              </a:rPr>
              <a:t>Overall, </a:t>
            </a:r>
            <a:r>
              <a:rPr lang="en-US" sz="1200" kern="1200" dirty="0" err="1">
                <a:solidFill>
                  <a:schemeClr val="tx1"/>
                </a:solidFill>
                <a:effectLst/>
                <a:latin typeface="+mn-lt"/>
                <a:ea typeface="ＭＳ Ｐゴシック" charset="0"/>
                <a:cs typeface="ＭＳ Ｐゴシック" charset="0"/>
              </a:rPr>
              <a:t>Stealthwatch</a:t>
            </a:r>
            <a:r>
              <a:rPr lang="en-US" sz="1200" kern="1200" dirty="0">
                <a:solidFill>
                  <a:schemeClr val="tx1"/>
                </a:solidFill>
                <a:effectLst/>
                <a:latin typeface="+mn-lt"/>
                <a:ea typeface="ＭＳ Ｐゴシック" charset="0"/>
                <a:cs typeface="ＭＳ Ｐゴシック" charset="0"/>
              </a:rPr>
              <a:t> Enterprise helps you </a:t>
            </a:r>
            <a:r>
              <a:rPr lang="en-US" sz="1200" b="1" kern="1200" dirty="0">
                <a:solidFill>
                  <a:schemeClr val="tx1"/>
                </a:solidFill>
                <a:effectLst/>
                <a:latin typeface="+mn-lt"/>
                <a:ea typeface="ＭＳ Ｐゴシック" charset="0"/>
                <a:cs typeface="ＭＳ Ｐゴシック" charset="0"/>
              </a:rPr>
              <a:t>monitor, detect, analyze, and respond </a:t>
            </a:r>
            <a:r>
              <a:rPr lang="en-US" sz="1200" kern="1200" dirty="0">
                <a:solidFill>
                  <a:schemeClr val="tx1"/>
                </a:solidFill>
                <a:effectLst/>
                <a:latin typeface="+mn-lt"/>
                <a:ea typeface="ＭＳ Ｐゴシック" charset="0"/>
                <a:cs typeface="ＭＳ Ｐゴシック" charset="0"/>
              </a:rPr>
              <a:t>to advanced threats. It creates a baseline of normal network behavior, detects anomalies using advanced analytics, pinpoints the source of threats due to deep visibility into hosts and helps to respond and mitigate threats quickly.</a:t>
            </a:r>
            <a:r>
              <a:rPr lang="en-US" sz="1200" kern="1200" baseline="0" dirty="0">
                <a:solidFill>
                  <a:schemeClr val="tx1"/>
                </a:solidFill>
                <a:effectLst/>
                <a:latin typeface="+mn-lt"/>
                <a:ea typeface="ＭＳ Ｐゴシック" charset="0"/>
                <a:cs typeface="ＭＳ Ｐゴシック" charset="0"/>
              </a:rPr>
              <a:t>  </a:t>
            </a:r>
            <a:r>
              <a:rPr lang="en-US" b="1" baseline="0" dirty="0"/>
              <a:t>&lt;/T&gt; </a:t>
            </a:r>
            <a:endParaRPr lang="en-US" sz="1200" kern="1200" dirty="0">
              <a:solidFill>
                <a:schemeClr val="tx1"/>
              </a:solidFill>
              <a:effectLst/>
              <a:latin typeface="+mn-lt"/>
              <a:ea typeface="ＭＳ Ｐゴシック" charset="0"/>
              <a:cs typeface="ＭＳ Ｐゴシック" charset="0"/>
            </a:endParaRPr>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n-lt"/>
              <a:ea typeface="ＭＳ Ｐゴシック" charset="0"/>
              <a:cs typeface="ＭＳ Ｐゴシック"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US" sz="1200" b="1" kern="1200" dirty="0">
                <a:solidFill>
                  <a:schemeClr val="tx1"/>
                </a:solidFill>
                <a:effectLst/>
                <a:latin typeface="+mn-lt"/>
                <a:ea typeface="ＭＳ Ｐゴシック" charset="0"/>
                <a:cs typeface="ＭＳ Ｐゴシック" charset="0"/>
              </a:rPr>
              <a:t>Monitor</a:t>
            </a:r>
            <a:r>
              <a:rPr lang="en-US" sz="1200" kern="1200" dirty="0">
                <a:solidFill>
                  <a:schemeClr val="tx1"/>
                </a:solidFill>
                <a:effectLst/>
                <a:latin typeface="+mn-lt"/>
                <a:ea typeface="ＭＳ Ｐゴシック" charset="0"/>
                <a:cs typeface="ＭＳ Ｐゴシック" charset="0"/>
              </a:rPr>
              <a:t> - </a:t>
            </a:r>
            <a:r>
              <a:rPr lang="en-US" sz="1200" kern="1200" dirty="0">
                <a:solidFill>
                  <a:schemeClr val="tx1"/>
                </a:solidFill>
                <a:latin typeface="+mn-lt"/>
                <a:ea typeface="ＭＳ Ｐゴシック" charset="0"/>
                <a:cs typeface="ＭＳ Ｐゴシック" charset="0"/>
              </a:rPr>
              <a:t>Baseline enterprise network traffic</a:t>
            </a:r>
            <a:endParaRPr lang="en-US" sz="1200" kern="1200" dirty="0">
              <a:solidFill>
                <a:schemeClr val="tx1"/>
              </a:solidFill>
              <a:effectLst/>
              <a:latin typeface="+mn-lt"/>
              <a:ea typeface="ＭＳ Ｐゴシック" charset="0"/>
              <a:cs typeface="ＭＳ Ｐゴシック" charset="0"/>
            </a:endParaRPr>
          </a:p>
          <a:p>
            <a:pPr marL="169863" indent="-169863">
              <a:spcBef>
                <a:spcPts val="600"/>
              </a:spcBef>
              <a:buFont typeface="Arial" panose="020B0604020202020204" pitchFamily="34" charset="0"/>
              <a:buChar char="•"/>
            </a:pPr>
            <a:r>
              <a:rPr lang="en-US" sz="1200" kern="1200" dirty="0">
                <a:solidFill>
                  <a:schemeClr val="tx1"/>
                </a:solidFill>
                <a:latin typeface="+mn-lt"/>
                <a:ea typeface="ＭＳ Ｐゴシック" charset="0"/>
                <a:cs typeface="ＭＳ Ｐゴシック" charset="0"/>
              </a:rPr>
              <a:t>Obtain comprehensive, scalable enterprise visibility and security context</a:t>
            </a:r>
          </a:p>
          <a:p>
            <a:pPr marL="169863" indent="-169863">
              <a:spcBef>
                <a:spcPts val="600"/>
              </a:spcBef>
              <a:buFont typeface="Arial" panose="020B0604020202020204" pitchFamily="34" charset="0"/>
              <a:buChar char="•"/>
            </a:pPr>
            <a:r>
              <a:rPr lang="en-US" sz="1200" kern="1200" dirty="0">
                <a:solidFill>
                  <a:schemeClr val="tx1"/>
                </a:solidFill>
                <a:latin typeface="+mn-lt"/>
                <a:ea typeface="ＭＳ Ｐゴシック" charset="0"/>
                <a:cs typeface="ＭＳ Ｐゴシック" charset="0"/>
              </a:rPr>
              <a:t>Gain real-time situational awareness of traffic</a:t>
            </a:r>
          </a:p>
          <a:p>
            <a:pPr marL="171450" indent="-171450">
              <a:buFont typeface="Arial" charset="0"/>
              <a:buChar char="•"/>
            </a:pPr>
            <a:endParaRPr lang="en-US" sz="1200" kern="1200" dirty="0">
              <a:solidFill>
                <a:schemeClr val="tx1"/>
              </a:solidFill>
              <a:effectLst/>
              <a:latin typeface="+mn-lt"/>
              <a:ea typeface="ＭＳ Ｐゴシック" charset="0"/>
              <a:cs typeface="ＭＳ Ｐゴシック" charset="0"/>
            </a:endParaRPr>
          </a:p>
          <a:p>
            <a:pPr marL="0" marR="0" indent="0" algn="l" defTabSz="457200" rtl="0" eaLnBrk="0" fontAlgn="base" latinLnBrk="0" hangingPunct="0">
              <a:lnSpc>
                <a:spcPct val="100000"/>
              </a:lnSpc>
              <a:spcBef>
                <a:spcPct val="30000"/>
              </a:spcBef>
              <a:spcAft>
                <a:spcPct val="0"/>
              </a:spcAft>
              <a:buClrTx/>
              <a:buSzTx/>
              <a:buFont typeface="Arial" charset="0"/>
              <a:buNone/>
              <a:tabLst/>
              <a:defRPr/>
            </a:pPr>
            <a:r>
              <a:rPr lang="en-US" sz="1200" b="1" kern="1200" dirty="0">
                <a:solidFill>
                  <a:schemeClr val="tx1"/>
                </a:solidFill>
                <a:effectLst/>
                <a:latin typeface="+mn-lt"/>
                <a:ea typeface="ＭＳ Ｐゴシック" charset="0"/>
                <a:cs typeface="ＭＳ Ｐゴシック" charset="0"/>
              </a:rPr>
              <a:t>Detect</a:t>
            </a:r>
            <a:r>
              <a:rPr lang="en-US" sz="1200" kern="1200" dirty="0">
                <a:solidFill>
                  <a:schemeClr val="tx1"/>
                </a:solidFill>
                <a:effectLst/>
                <a:latin typeface="+mn-lt"/>
                <a:ea typeface="ＭＳ Ｐゴシック" charset="0"/>
                <a:cs typeface="ＭＳ Ｐゴシック" charset="0"/>
              </a:rPr>
              <a:t> - </a:t>
            </a:r>
            <a:r>
              <a:rPr lang="en-US" sz="1200" dirty="0">
                <a:latin typeface="+mn-lt"/>
              </a:rPr>
              <a:t>Automatically detect anomalous behavior </a:t>
            </a:r>
            <a:endParaRPr lang="en-US" sz="1200" kern="1200" dirty="0">
              <a:solidFill>
                <a:schemeClr val="tx1"/>
              </a:solidFill>
              <a:effectLst/>
              <a:latin typeface="+mn-lt"/>
              <a:ea typeface="ＭＳ Ｐゴシック" charset="0"/>
              <a:cs typeface="ＭＳ Ｐゴシック" charset="0"/>
            </a:endParaRPr>
          </a:p>
          <a:p>
            <a:pPr marL="171446" indent="-171446">
              <a:spcBef>
                <a:spcPts val="600"/>
              </a:spcBef>
              <a:buFont typeface="Arial" panose="020B0604020202020204" pitchFamily="34" charset="0"/>
              <a:buChar char="•"/>
            </a:pPr>
            <a:r>
              <a:rPr lang="en-US" sz="1200" kern="1200" dirty="0">
                <a:solidFill>
                  <a:schemeClr val="tx1"/>
                </a:solidFill>
                <a:latin typeface="+mn-lt"/>
                <a:ea typeface="ＭＳ Ｐゴシック" charset="0"/>
                <a:cs typeface="ＭＳ Ｐゴシック" charset="0"/>
              </a:rPr>
              <a:t>Detect and analyze network behavior anomalies</a:t>
            </a:r>
          </a:p>
          <a:p>
            <a:pPr marL="171446" indent="-171446">
              <a:spcBef>
                <a:spcPts val="600"/>
              </a:spcBef>
              <a:buFont typeface="Arial" panose="020B0604020202020204" pitchFamily="34" charset="0"/>
              <a:buChar char="•"/>
            </a:pPr>
            <a:r>
              <a:rPr lang="en-US" sz="1200" kern="1200" dirty="0">
                <a:solidFill>
                  <a:schemeClr val="tx1"/>
                </a:solidFill>
                <a:latin typeface="+mn-lt"/>
                <a:ea typeface="ＭＳ Ｐゴシック" charset="0"/>
                <a:cs typeface="ＭＳ Ｐゴシック" charset="0"/>
              </a:rPr>
              <a:t>Easily detect behaviors linked to advanced persistent threats (APTs), insider threats, distributed denial-of-service (DDoS) attacks, and malware</a:t>
            </a:r>
            <a:endParaRPr lang="en-US" sz="1200" kern="1200" dirty="0">
              <a:solidFill>
                <a:schemeClr val="tx1"/>
              </a:solidFill>
              <a:effectLst/>
              <a:latin typeface="+mn-lt"/>
              <a:ea typeface="ＭＳ Ｐゴシック" charset="0"/>
              <a:cs typeface="ＭＳ Ｐゴシック" charset="0"/>
            </a:endParaRPr>
          </a:p>
          <a:p>
            <a:pPr marL="0" indent="0">
              <a:buFont typeface="Arial" charset="0"/>
              <a:buNone/>
            </a:pPr>
            <a:endParaRPr lang="en-US" sz="1200" kern="1200" dirty="0">
              <a:solidFill>
                <a:schemeClr val="tx1"/>
              </a:solidFill>
              <a:effectLst/>
              <a:latin typeface="+mn-lt"/>
              <a:ea typeface="ＭＳ Ｐゴシック" charset="0"/>
              <a:cs typeface="ＭＳ Ｐゴシック" charset="0"/>
            </a:endParaRPr>
          </a:p>
          <a:p>
            <a:pPr marL="0" marR="0" indent="0" algn="l" defTabSz="457200" rtl="0" eaLnBrk="0" fontAlgn="base" latinLnBrk="0" hangingPunct="0">
              <a:lnSpc>
                <a:spcPct val="100000"/>
              </a:lnSpc>
              <a:spcBef>
                <a:spcPct val="30000"/>
              </a:spcBef>
              <a:spcAft>
                <a:spcPct val="0"/>
              </a:spcAft>
              <a:buClrTx/>
              <a:buSzTx/>
              <a:buFont typeface="Arial" charset="0"/>
              <a:buNone/>
              <a:tabLst/>
              <a:defRPr/>
            </a:pPr>
            <a:r>
              <a:rPr lang="en-US" sz="1200" b="1" kern="1200" dirty="0">
                <a:solidFill>
                  <a:schemeClr val="tx1"/>
                </a:solidFill>
                <a:effectLst/>
                <a:latin typeface="+mn-lt"/>
                <a:ea typeface="ＭＳ Ｐゴシック" charset="0"/>
                <a:cs typeface="ＭＳ Ｐゴシック" charset="0"/>
              </a:rPr>
              <a:t>Analyze</a:t>
            </a:r>
            <a:r>
              <a:rPr lang="en-US" sz="1200" kern="1200" dirty="0">
                <a:solidFill>
                  <a:schemeClr val="tx1"/>
                </a:solidFill>
                <a:effectLst/>
                <a:latin typeface="+mn-lt"/>
                <a:ea typeface="ＭＳ Ｐゴシック" charset="0"/>
                <a:cs typeface="ＭＳ Ｐゴシック" charset="0"/>
              </a:rPr>
              <a:t> - </a:t>
            </a:r>
            <a:r>
              <a:rPr lang="en-US" sz="1200" dirty="0">
                <a:latin typeface="+mn-lt"/>
              </a:rPr>
              <a:t>Conduct advanced forensics on network audit trails </a:t>
            </a:r>
            <a:endParaRPr lang="en-US" sz="1200" kern="1200" dirty="0">
              <a:solidFill>
                <a:schemeClr val="tx1"/>
              </a:solidFill>
              <a:effectLst/>
              <a:latin typeface="+mn-lt"/>
              <a:ea typeface="ＭＳ Ｐゴシック" charset="0"/>
              <a:cs typeface="ＭＳ Ｐゴシック" charset="0"/>
            </a:endParaRPr>
          </a:p>
          <a:p>
            <a:pPr marL="171446" indent="-171446">
              <a:spcBef>
                <a:spcPts val="600"/>
              </a:spcBef>
              <a:buFont typeface="Arial" panose="020B0604020202020204" pitchFamily="34" charset="0"/>
              <a:buChar char="•"/>
            </a:pPr>
            <a:r>
              <a:rPr lang="en-US" sz="1200" kern="1200" dirty="0">
                <a:solidFill>
                  <a:schemeClr val="tx1"/>
                </a:solidFill>
                <a:latin typeface="+mn-lt"/>
                <a:ea typeface="ＭＳ Ｐゴシック" charset="0"/>
                <a:cs typeface="ＭＳ Ｐゴシック" charset="0"/>
              </a:rPr>
              <a:t>Collect and analyze holistic network audit trails</a:t>
            </a:r>
          </a:p>
          <a:p>
            <a:pPr marL="171446" indent="-171446">
              <a:spcBef>
                <a:spcPts val="600"/>
              </a:spcBef>
              <a:buFont typeface="Arial" panose="020B0604020202020204" pitchFamily="34" charset="0"/>
              <a:buChar char="•"/>
            </a:pPr>
            <a:r>
              <a:rPr lang="en-US" sz="1200" kern="1200" dirty="0">
                <a:solidFill>
                  <a:schemeClr val="tx1"/>
                </a:solidFill>
                <a:latin typeface="+mn-lt"/>
                <a:ea typeface="ＭＳ Ｐゴシック" charset="0"/>
                <a:cs typeface="ＭＳ Ｐゴシック" charset="0"/>
              </a:rPr>
              <a:t>Achieve faster root</a:t>
            </a:r>
            <a:r>
              <a:rPr lang="en-US" sz="1200" kern="1200" baseline="0" dirty="0">
                <a:solidFill>
                  <a:schemeClr val="tx1"/>
                </a:solidFill>
                <a:latin typeface="+mn-lt"/>
                <a:ea typeface="ＭＳ Ｐゴシック" charset="0"/>
                <a:cs typeface="ＭＳ Ｐゴシック" charset="0"/>
              </a:rPr>
              <a:t> </a:t>
            </a:r>
            <a:r>
              <a:rPr lang="en-US" sz="1200" kern="1200" dirty="0">
                <a:solidFill>
                  <a:schemeClr val="tx1"/>
                </a:solidFill>
                <a:latin typeface="+mn-lt"/>
                <a:ea typeface="ＭＳ Ｐゴシック" charset="0"/>
                <a:cs typeface="ＭＳ Ｐゴシック" charset="0"/>
              </a:rPr>
              <a:t>cause analysis</a:t>
            </a:r>
          </a:p>
          <a:p>
            <a:pPr marL="171446" indent="-171446">
              <a:spcBef>
                <a:spcPts val="600"/>
              </a:spcBef>
              <a:buFont typeface="Arial" panose="020B0604020202020204" pitchFamily="34" charset="0"/>
              <a:buChar char="•"/>
            </a:pPr>
            <a:r>
              <a:rPr lang="en-US" sz="1200" kern="1200" dirty="0">
                <a:solidFill>
                  <a:schemeClr val="tx1"/>
                </a:solidFill>
                <a:latin typeface="+mn-lt"/>
                <a:ea typeface="ＭＳ Ｐゴシック" charset="0"/>
                <a:cs typeface="ＭＳ Ｐゴシック" charset="0"/>
              </a:rPr>
              <a:t>Conduct thorough forensic investigations</a:t>
            </a:r>
          </a:p>
          <a:p>
            <a:pPr marL="0" indent="0">
              <a:buFont typeface="Arial" charset="0"/>
              <a:buNone/>
            </a:pPr>
            <a:endParaRPr lang="en-US" sz="1200" kern="1200" dirty="0">
              <a:solidFill>
                <a:schemeClr val="tx1"/>
              </a:solidFill>
              <a:effectLst/>
              <a:latin typeface="+mn-lt"/>
              <a:ea typeface="ＭＳ Ｐゴシック" charset="0"/>
              <a:cs typeface="ＭＳ Ｐゴシック" charset="0"/>
            </a:endParaRPr>
          </a:p>
          <a:p>
            <a:pPr marL="0" marR="0" indent="0" algn="l" defTabSz="457200" rtl="0" eaLnBrk="0" fontAlgn="base" latinLnBrk="0" hangingPunct="0">
              <a:lnSpc>
                <a:spcPct val="100000"/>
              </a:lnSpc>
              <a:spcBef>
                <a:spcPct val="30000"/>
              </a:spcBef>
              <a:spcAft>
                <a:spcPct val="0"/>
              </a:spcAft>
              <a:buClrTx/>
              <a:buSzTx/>
              <a:buFont typeface="Arial" charset="0"/>
              <a:buNone/>
              <a:tabLst/>
              <a:defRPr/>
            </a:pPr>
            <a:r>
              <a:rPr lang="en-US" sz="1200" b="1" kern="1200" dirty="0">
                <a:solidFill>
                  <a:schemeClr val="tx1"/>
                </a:solidFill>
                <a:effectLst/>
                <a:latin typeface="+mn-lt"/>
                <a:ea typeface="ＭＳ Ｐゴシック" charset="0"/>
                <a:cs typeface="ＭＳ Ｐゴシック" charset="0"/>
              </a:rPr>
              <a:t>Respond</a:t>
            </a:r>
            <a:r>
              <a:rPr lang="en-US" sz="1200" kern="1200" dirty="0">
                <a:solidFill>
                  <a:schemeClr val="tx1"/>
                </a:solidFill>
                <a:effectLst/>
                <a:latin typeface="+mn-lt"/>
                <a:ea typeface="ＭＳ Ｐゴシック" charset="0"/>
                <a:cs typeface="ＭＳ Ｐゴシック" charset="0"/>
              </a:rPr>
              <a:t> - </a:t>
            </a:r>
            <a:r>
              <a:rPr lang="en-US" sz="1200" dirty="0">
                <a:latin typeface="+mn-lt"/>
              </a:rPr>
              <a:t>Identify and mitigate threats</a:t>
            </a:r>
            <a:endParaRPr lang="en-US" sz="1200" kern="1200" dirty="0">
              <a:solidFill>
                <a:schemeClr val="tx1"/>
              </a:solidFill>
              <a:effectLst/>
              <a:latin typeface="+mn-lt"/>
              <a:ea typeface="ＭＳ Ｐゴシック" charset="0"/>
              <a:cs typeface="ＭＳ Ｐゴシック" charset="0"/>
            </a:endParaRPr>
          </a:p>
          <a:p>
            <a:pPr marL="171446" indent="-171446">
              <a:spcBef>
                <a:spcPts val="600"/>
              </a:spcBef>
              <a:buFont typeface="Arial" panose="020B0604020202020204" pitchFamily="34" charset="0"/>
              <a:buChar char="•"/>
            </a:pPr>
            <a:r>
              <a:rPr lang="en-US" sz="1200" kern="1200" dirty="0">
                <a:solidFill>
                  <a:schemeClr val="tx1"/>
                </a:solidFill>
                <a:latin typeface="+mn-lt"/>
                <a:ea typeface="ＭＳ Ｐゴシック" charset="0"/>
                <a:cs typeface="ＭＳ Ｐゴシック" charset="0"/>
              </a:rPr>
              <a:t>Accelerate network troubleshooting and threat mitigation</a:t>
            </a:r>
          </a:p>
          <a:p>
            <a:pPr marL="171446" indent="-171446">
              <a:spcBef>
                <a:spcPts val="600"/>
              </a:spcBef>
              <a:buFont typeface="Arial" panose="020B0604020202020204" pitchFamily="34" charset="0"/>
              <a:buChar char="•"/>
            </a:pPr>
            <a:r>
              <a:rPr lang="en-US" sz="1200" kern="1200" dirty="0">
                <a:solidFill>
                  <a:schemeClr val="tx1"/>
                </a:solidFill>
                <a:latin typeface="+mn-lt"/>
                <a:ea typeface="ＭＳ Ｐゴシック" charset="0"/>
                <a:cs typeface="ＭＳ Ｐゴシック" charset="0"/>
              </a:rPr>
              <a:t>Respond quickly to threats</a:t>
            </a:r>
          </a:p>
          <a:p>
            <a:pPr marL="171446" indent="-171446">
              <a:spcBef>
                <a:spcPts val="600"/>
              </a:spcBef>
              <a:buFont typeface="Arial" panose="020B0604020202020204" pitchFamily="34" charset="0"/>
              <a:buChar char="•"/>
            </a:pPr>
            <a:r>
              <a:rPr lang="en-US" sz="1200" kern="1200" dirty="0">
                <a:solidFill>
                  <a:schemeClr val="tx1"/>
                </a:solidFill>
                <a:latin typeface="+mn-lt"/>
                <a:ea typeface="ＭＳ Ｐゴシック" charset="0"/>
                <a:cs typeface="ＭＳ Ｐゴシック" charset="0"/>
              </a:rPr>
              <a:t>Continuously improve enterprise security posture</a:t>
            </a:r>
          </a:p>
          <a:p>
            <a:pPr marL="0" indent="0">
              <a:buFont typeface="Arial" charset="0"/>
              <a:buNone/>
            </a:pPr>
            <a:endParaRPr lang="en-US" sz="1200" kern="1200" dirty="0">
              <a:solidFill>
                <a:schemeClr val="tx1"/>
              </a:solidFill>
              <a:effectLst/>
              <a:latin typeface="+mn-lt"/>
              <a:ea typeface="ＭＳ Ｐゴシック" charset="0"/>
              <a:cs typeface="ＭＳ Ｐゴシック" charset="0"/>
            </a:endParaRPr>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With enhanced monitoring capabilities, you can see more of what’s going on throughout your business. With comprehensive, scalable enterprise visibility, you can gain real-time awareness of traffic. From distant branches and remote users to the critical information in your data centers, </a:t>
            </a:r>
            <a:r>
              <a:rPr lang="en-US" sz="1200" kern="1200" dirty="0" err="1">
                <a:solidFill>
                  <a:schemeClr val="tx1"/>
                </a:solidFill>
                <a:effectLst/>
                <a:latin typeface="+mn-lt"/>
                <a:ea typeface="ＭＳ Ｐゴシック" charset="0"/>
                <a:cs typeface="ＭＳ Ｐゴシック" charset="0"/>
              </a:rPr>
              <a:t>Stealthwatch</a:t>
            </a:r>
            <a:r>
              <a:rPr lang="en-US" sz="1200" kern="1200" dirty="0">
                <a:solidFill>
                  <a:schemeClr val="tx1"/>
                </a:solidFill>
                <a:effectLst/>
                <a:latin typeface="+mn-lt"/>
                <a:ea typeface="ＭＳ Ｐゴシック" charset="0"/>
                <a:cs typeface="ＭＳ Ｐゴシック" charset="0"/>
              </a:rPr>
              <a:t> helps you monitor network activity continuously. </a:t>
            </a:r>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With this continuous visibility, it makes it easier for you to detect anomalous behavior on your network. Anomalies may happen for a variety of reasons; sometimes it may be from internal users, but many times they are linked to attacks and threats trying to subtly maneuver around your network.</a:t>
            </a:r>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By analyzing these anomalies, you can identify the root cause of an incident – quickly.  And with its historic network audit trails, you have days, months and years of data at your fingertips, enabling you to conduct thorough forensic investigations to determine how and where the threat entered your network.</a:t>
            </a:r>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With the threat identified, </a:t>
            </a:r>
            <a:r>
              <a:rPr lang="en-US" sz="1200" kern="1200" dirty="0" err="1">
                <a:solidFill>
                  <a:schemeClr val="tx1"/>
                </a:solidFill>
                <a:effectLst/>
                <a:latin typeface="+mn-lt"/>
                <a:ea typeface="ＭＳ Ｐゴシック" charset="0"/>
                <a:cs typeface="ＭＳ Ｐゴシック" charset="0"/>
              </a:rPr>
              <a:t>Stealthwatch</a:t>
            </a:r>
            <a:r>
              <a:rPr lang="en-US" sz="1200" kern="1200" dirty="0">
                <a:solidFill>
                  <a:schemeClr val="tx1"/>
                </a:solidFill>
                <a:effectLst/>
                <a:latin typeface="+mn-lt"/>
                <a:ea typeface="ＭＳ Ｐゴシック" charset="0"/>
                <a:cs typeface="ＭＳ Ｐゴシック" charset="0"/>
              </a:rPr>
              <a:t> helps you respond quickly. It provides the information you need to identify issues and mitigate threats faster. With its constant monitoring and real-time insight, you can continuously improve your enterprise security posture to prevent future incidents in your network. </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39995481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NOTE: This is a busy slide</a:t>
            </a:r>
            <a:r>
              <a:rPr lang="en-US" baseline="0" dirty="0"/>
              <a:t> but it builds out, so walk through each element using the description below. </a:t>
            </a:r>
            <a:endParaRPr lang="en-US" dirty="0"/>
          </a:p>
          <a:p>
            <a:endParaRPr lang="en-US" dirty="0"/>
          </a:p>
          <a:p>
            <a:r>
              <a:rPr lang="en-US" dirty="0"/>
              <a:t>There</a:t>
            </a:r>
            <a:r>
              <a:rPr lang="en-US" baseline="0" dirty="0"/>
              <a:t> are five main elements part of </a:t>
            </a:r>
            <a:r>
              <a:rPr lang="en-US" baseline="0" dirty="0" err="1"/>
              <a:t>Stealthwatch</a:t>
            </a:r>
            <a:r>
              <a:rPr lang="en-US" baseline="0" dirty="0"/>
              <a:t> Security Analytics that provide the ability to detect advanced threats in real time:</a:t>
            </a:r>
          </a:p>
          <a:p>
            <a:r>
              <a:rPr lang="en-US" baseline="0" dirty="0"/>
              <a:t>1. </a:t>
            </a:r>
            <a:r>
              <a:rPr lang="en-US" b="1" baseline="0" dirty="0"/>
              <a:t>Data collection </a:t>
            </a:r>
            <a:r>
              <a:rPr lang="en-US" baseline="0" dirty="0"/>
              <a:t>- </a:t>
            </a:r>
            <a:r>
              <a:rPr lang="en-US" sz="1200" kern="1200" dirty="0">
                <a:solidFill>
                  <a:schemeClr val="tx1"/>
                </a:solidFill>
                <a:effectLst/>
                <a:latin typeface="+mn-lt"/>
                <a:ea typeface="+mn-ea"/>
                <a:cs typeface="+mn-cs"/>
              </a:rPr>
              <a:t>Routers, switches, firewalls, all of your network is able to deliver rich telemetry and now with </a:t>
            </a:r>
            <a:r>
              <a:rPr lang="en-US" sz="1200" u="sng" kern="1200" dirty="0">
                <a:solidFill>
                  <a:schemeClr val="tx1"/>
                </a:solidFill>
                <a:effectLst/>
                <a:latin typeface="+mn-lt"/>
                <a:ea typeface="+mn-ea"/>
                <a:cs typeface="+mn-cs"/>
                <a:hlinkClick r:id="rId3"/>
              </a:rPr>
              <a:t>Encrypted Traffic Analytics</a:t>
            </a:r>
            <a:r>
              <a:rPr lang="en-US" sz="1200" kern="1200" dirty="0">
                <a:solidFill>
                  <a:schemeClr val="tx1"/>
                </a:solidFill>
                <a:effectLst/>
                <a:latin typeface="+mn-lt"/>
                <a:ea typeface="+mn-ea"/>
                <a:cs typeface="+mn-cs"/>
              </a:rPr>
              <a:t>, we can also analyze encrypted traffic to detect malware without decryption and </a:t>
            </a:r>
            <a:r>
              <a:rPr lang="en-US" sz="1200" u="sng" kern="1200" dirty="0">
                <a:solidFill>
                  <a:schemeClr val="tx1"/>
                </a:solidFill>
                <a:effectLst/>
                <a:latin typeface="+mn-lt"/>
                <a:ea typeface="+mn-ea"/>
                <a:cs typeface="+mn-cs"/>
              </a:rPr>
              <a:t>govern </a:t>
            </a:r>
            <a:r>
              <a:rPr lang="en-US" sz="1200" kern="1200" dirty="0">
                <a:solidFill>
                  <a:schemeClr val="tx1"/>
                </a:solidFill>
                <a:effectLst/>
                <a:latin typeface="+mn-lt"/>
                <a:ea typeface="+mn-ea"/>
                <a:cs typeface="+mn-cs"/>
              </a:rPr>
              <a:t> the quality of network encryption within your digital business.  </a:t>
            </a:r>
          </a:p>
          <a:p>
            <a:r>
              <a:rPr lang="en-US" sz="1200" kern="1200" dirty="0">
                <a:solidFill>
                  <a:schemeClr val="tx1"/>
                </a:solidFill>
                <a:effectLst/>
                <a:latin typeface="+mn-lt"/>
                <a:ea typeface="+mn-ea"/>
                <a:cs typeface="+mn-cs"/>
              </a:rPr>
              <a:t>We are also collecting metadata from </a:t>
            </a:r>
            <a:r>
              <a:rPr lang="en-US" sz="1200" u="sng" kern="1200" dirty="0">
                <a:solidFill>
                  <a:schemeClr val="tx1"/>
                </a:solidFill>
                <a:effectLst/>
                <a:latin typeface="+mn-lt"/>
                <a:ea typeface="+mn-ea"/>
                <a:cs typeface="+mn-cs"/>
                <a:hlinkClick r:id="rId4"/>
              </a:rPr>
              <a:t>Cisco Identity Services Engine(ISE)</a:t>
            </a:r>
            <a:r>
              <a:rPr lang="en-US" sz="1200" kern="1200" dirty="0">
                <a:solidFill>
                  <a:schemeClr val="tx1"/>
                </a:solidFill>
                <a:effectLst/>
                <a:latin typeface="+mn-lt"/>
                <a:ea typeface="+mn-ea"/>
                <a:cs typeface="+mn-cs"/>
              </a:rPr>
              <a:t>, </a:t>
            </a:r>
            <a:r>
              <a:rPr lang="en-US" sz="1200" u="sng" kern="1200" dirty="0">
                <a:solidFill>
                  <a:schemeClr val="tx1"/>
                </a:solidFill>
                <a:effectLst/>
                <a:latin typeface="+mn-lt"/>
                <a:ea typeface="+mn-ea"/>
                <a:cs typeface="+mn-cs"/>
                <a:hlinkClick r:id="rId5"/>
              </a:rPr>
              <a:t>Cisco AnyConnect Network Visibility Module (NVM)</a:t>
            </a:r>
            <a:r>
              <a:rPr lang="en-US" sz="1200" kern="1200" dirty="0">
                <a:solidFill>
                  <a:schemeClr val="tx1"/>
                </a:solidFill>
                <a:effectLst/>
                <a:latin typeface="+mn-lt"/>
                <a:ea typeface="+mn-ea"/>
                <a:cs typeface="+mn-cs"/>
              </a:rPr>
              <a:t>, and other supporting systems to make sure you have user and application context to the network behavioral analytics.  </a:t>
            </a:r>
            <a:r>
              <a:rPr lang="en-US" sz="1200" kern="1200" dirty="0" err="1">
                <a:solidFill>
                  <a:schemeClr val="tx1"/>
                </a:solidFill>
                <a:effectLst/>
                <a:latin typeface="+mn-lt"/>
                <a:ea typeface="+mn-ea"/>
                <a:cs typeface="+mn-cs"/>
              </a:rPr>
              <a:t>Stealthwatch</a:t>
            </a:r>
            <a:r>
              <a:rPr lang="en-US" sz="1200" kern="1200" dirty="0">
                <a:solidFill>
                  <a:schemeClr val="tx1"/>
                </a:solidFill>
                <a:effectLst/>
                <a:latin typeface="+mn-lt"/>
                <a:ea typeface="+mn-ea"/>
                <a:cs typeface="+mn-cs"/>
              </a:rPr>
              <a:t> acts as a ‘general ledger’ for your digital business ensuring that you have an account of who, what, where, when, and how everything is behaving over time.  </a:t>
            </a:r>
          </a:p>
          <a:p>
            <a:r>
              <a:rPr lang="en-US" sz="1200" kern="1200" dirty="0">
                <a:solidFill>
                  <a:schemeClr val="tx1"/>
                </a:solidFill>
                <a:effectLst/>
                <a:latin typeface="+mn-lt"/>
                <a:ea typeface="+mn-ea"/>
                <a:cs typeface="+mn-cs"/>
              </a:rPr>
              <a:t> 2.</a:t>
            </a:r>
            <a:r>
              <a:rPr lang="en-US" sz="1200" kern="1200" baseline="0" dirty="0">
                <a:solidFill>
                  <a:schemeClr val="tx1"/>
                </a:solidFill>
                <a:effectLst/>
                <a:latin typeface="+mn-lt"/>
                <a:ea typeface="+mn-ea"/>
                <a:cs typeface="+mn-cs"/>
              </a:rPr>
              <a:t> </a:t>
            </a:r>
            <a:r>
              <a:rPr lang="en-US" sz="1200" b="1" kern="1200" baseline="0" dirty="0">
                <a:solidFill>
                  <a:schemeClr val="tx1"/>
                </a:solidFill>
                <a:effectLst/>
                <a:latin typeface="+mn-lt"/>
                <a:ea typeface="+mn-ea"/>
                <a:cs typeface="+mn-cs"/>
              </a:rPr>
              <a:t>Behavioral modeling </a:t>
            </a:r>
            <a:r>
              <a:rPr lang="en-US" sz="1200" kern="1200" baseline="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tealthwatch</a:t>
            </a:r>
            <a:r>
              <a:rPr lang="en-US" sz="1200" kern="1200" dirty="0">
                <a:solidFill>
                  <a:schemeClr val="tx1"/>
                </a:solidFill>
                <a:effectLst/>
                <a:latin typeface="+mn-lt"/>
                <a:ea typeface="+mn-ea"/>
                <a:cs typeface="+mn-cs"/>
              </a:rPr>
              <a:t> closely monitors the activity of every device on the network and is able to create a baseline of normal behavior. In addition to that, it also has a deep understanding of known bad behavior. This is implemented by applying close to 100 different </a:t>
            </a:r>
            <a:r>
              <a:rPr lang="en-US" sz="1200" b="1" kern="1200" dirty="0">
                <a:solidFill>
                  <a:schemeClr val="tx1"/>
                </a:solidFill>
                <a:effectLst/>
                <a:latin typeface="+mn-lt"/>
                <a:ea typeface="+mn-ea"/>
                <a:cs typeface="+mn-cs"/>
              </a:rPr>
              <a:t>Security Events</a:t>
            </a:r>
            <a:r>
              <a:rPr lang="en-US" sz="1200" kern="1200" dirty="0">
                <a:solidFill>
                  <a:schemeClr val="tx1"/>
                </a:solidFill>
                <a:effectLst/>
                <a:latin typeface="+mn-lt"/>
                <a:ea typeface="+mn-ea"/>
                <a:cs typeface="+mn-cs"/>
              </a:rPr>
              <a:t> or heuristics that look at various types of traffic behavior.</a:t>
            </a:r>
            <a:r>
              <a:rPr lang="en-US" sz="1200" kern="1200" baseline="0" dirty="0">
                <a:solidFill>
                  <a:schemeClr val="tx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3. Multilayered machine learning - </a:t>
            </a:r>
            <a:r>
              <a:rPr lang="en-US" sz="1200" kern="1200" dirty="0" err="1">
                <a:solidFill>
                  <a:schemeClr val="tx1"/>
                </a:solidFill>
                <a:effectLst/>
                <a:latin typeface="+mn-lt"/>
                <a:ea typeface="+mn-ea"/>
                <a:cs typeface="+mn-cs"/>
              </a:rPr>
              <a:t>Stealthwatch</a:t>
            </a:r>
            <a:r>
              <a:rPr lang="en-US" sz="1200" kern="1200" dirty="0">
                <a:solidFill>
                  <a:schemeClr val="tx1"/>
                </a:solidFill>
                <a:effectLst/>
                <a:latin typeface="+mn-lt"/>
                <a:ea typeface="+mn-ea"/>
                <a:cs typeface="+mn-cs"/>
              </a:rPr>
              <a:t> also applies </a:t>
            </a:r>
            <a:r>
              <a:rPr lang="en-US" sz="1200" b="1" kern="1200" dirty="0">
                <a:solidFill>
                  <a:schemeClr val="tx1"/>
                </a:solidFill>
                <a:effectLst/>
                <a:latin typeface="+mn-lt"/>
                <a:ea typeface="+mn-ea"/>
                <a:cs typeface="+mn-cs"/>
              </a:rPr>
              <a:t>machine learning</a:t>
            </a:r>
            <a:r>
              <a:rPr lang="en-US" sz="1200" kern="1200" dirty="0">
                <a:solidFill>
                  <a:schemeClr val="tx1"/>
                </a:solidFill>
                <a:effectLst/>
                <a:latin typeface="+mn-lt"/>
                <a:ea typeface="+mn-ea"/>
                <a:cs typeface="+mn-cs"/>
              </a:rPr>
              <a:t>, both supervised and unsupervised,</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o discover advanced threats and malicious communications. It integrates with a cloud based multi-stage machine learning analytics pipeline, that correlates threat behaviors seen in the enterprise with those seen globally. </a:t>
            </a:r>
          </a:p>
          <a:p>
            <a:r>
              <a:rPr lang="en-US" sz="1200" kern="1200" dirty="0">
                <a:solidFill>
                  <a:schemeClr val="tx1"/>
                </a:solidFill>
                <a:effectLst/>
                <a:latin typeface="+mn-lt"/>
                <a:ea typeface="+mn-ea"/>
                <a:cs typeface="+mn-cs"/>
              </a:rPr>
              <a:t>4</a:t>
            </a:r>
            <a:r>
              <a:rPr lang="en-US" sz="1200" b="1" kern="1200" dirty="0">
                <a:solidFill>
                  <a:schemeClr val="tx1"/>
                </a:solidFill>
                <a:effectLst/>
                <a:latin typeface="+mn-lt"/>
                <a:ea typeface="+mn-ea"/>
                <a:cs typeface="+mn-cs"/>
              </a:rPr>
              <a:t>. Global</a:t>
            </a:r>
            <a:r>
              <a:rPr lang="en-US" sz="1200" b="1" kern="1200" baseline="0" dirty="0">
                <a:solidFill>
                  <a:schemeClr val="tx1"/>
                </a:solidFill>
                <a:effectLst/>
                <a:latin typeface="+mn-lt"/>
                <a:ea typeface="+mn-ea"/>
                <a:cs typeface="+mn-cs"/>
              </a:rPr>
              <a:t> Threat Intelligence </a:t>
            </a:r>
            <a:r>
              <a:rPr lang="en-US" sz="1200" kern="1200" baseline="0" dirty="0">
                <a:solidFill>
                  <a:schemeClr val="tx1"/>
                </a:solidFill>
                <a:effectLst/>
                <a:latin typeface="+mn-lt"/>
                <a:ea typeface="+mn-ea"/>
                <a:cs typeface="+mn-cs"/>
              </a:rPr>
              <a:t>- </a:t>
            </a:r>
            <a:r>
              <a:rPr lang="en-US" dirty="0"/>
              <a:t>A global threat intelligence feed powered by the industry-leading threat intelligence group, Cisco </a:t>
            </a:r>
            <a:r>
              <a:rPr lang="en-US" dirty="0" err="1"/>
              <a:t>Talos</a:t>
            </a:r>
            <a:r>
              <a:rPr lang="en-US" dirty="0"/>
              <a:t> (https://</a:t>
            </a:r>
            <a:r>
              <a:rPr lang="en-US" dirty="0" err="1"/>
              <a:t>www.talosintelligence.com</a:t>
            </a:r>
            <a:r>
              <a:rPr lang="en-US" dirty="0"/>
              <a:t>/), provides an additional layer of protection against botnets and other sophisticated attacks. It correlates suspicious activity in the local network environment with data on thousands of known command-and-control servers and campaigns, to provide high fidelity detection and faster threat response. Cisco </a:t>
            </a:r>
            <a:r>
              <a:rPr lang="en-US" dirty="0" err="1"/>
              <a:t>Talos</a:t>
            </a:r>
            <a:r>
              <a:rPr lang="en-US" dirty="0"/>
              <a:t> sees 1.5 million unique malware samples daily and blocks 20 billion threats per day.</a:t>
            </a:r>
          </a:p>
          <a:p>
            <a:r>
              <a:rPr lang="en-US" sz="1200" kern="1200" dirty="0">
                <a:solidFill>
                  <a:schemeClr val="tx1"/>
                </a:solidFill>
                <a:effectLst/>
                <a:latin typeface="+mn-lt"/>
                <a:ea typeface="+mn-ea"/>
                <a:cs typeface="+mn-cs"/>
              </a:rPr>
              <a:t>5. </a:t>
            </a:r>
            <a:r>
              <a:rPr lang="en-US" sz="1200" b="1" kern="1200" dirty="0">
                <a:solidFill>
                  <a:schemeClr val="tx1"/>
                </a:solidFill>
                <a:effectLst/>
                <a:latin typeface="+mn-lt"/>
                <a:ea typeface="+mn-ea"/>
                <a:cs typeface="+mn-cs"/>
              </a:rPr>
              <a:t>Encrypted Traffic Analytics </a:t>
            </a:r>
            <a:r>
              <a:rPr lang="en-US" sz="1200" kern="1200" dirty="0">
                <a:solidFill>
                  <a:schemeClr val="tx1"/>
                </a:solidFill>
                <a:effectLst/>
                <a:latin typeface="+mn-lt"/>
                <a:ea typeface="+mn-ea"/>
                <a:cs typeface="+mn-cs"/>
              </a:rPr>
              <a:t>– And now, </a:t>
            </a:r>
            <a:r>
              <a:rPr lang="en-US" sz="1200" kern="1200" dirty="0" err="1">
                <a:solidFill>
                  <a:schemeClr val="tx1"/>
                </a:solidFill>
                <a:effectLst/>
                <a:latin typeface="+mn-lt"/>
                <a:ea typeface="+mn-ea"/>
                <a:cs typeface="+mn-cs"/>
              </a:rPr>
              <a:t>Stealthwatch</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nteprise</a:t>
            </a:r>
            <a:r>
              <a:rPr lang="en-US" sz="1200" kern="1200" dirty="0">
                <a:solidFill>
                  <a:schemeClr val="tx1"/>
                </a:solidFill>
                <a:effectLst/>
                <a:latin typeface="+mn-lt"/>
                <a:ea typeface="+mn-ea"/>
                <a:cs typeface="+mn-cs"/>
              </a:rPr>
              <a:t> is the only solution that can analyze encrypted traffic without decryption using the enhanced telemetry from the new Cisco network, and apply a combination of advanced</a:t>
            </a:r>
            <a:r>
              <a:rPr lang="en-US" sz="1200" kern="1200" baseline="0" dirty="0">
                <a:solidFill>
                  <a:schemeClr val="tx1"/>
                </a:solidFill>
                <a:effectLst/>
                <a:latin typeface="+mn-lt"/>
                <a:ea typeface="+mn-ea"/>
                <a:cs typeface="+mn-cs"/>
              </a:rPr>
              <a:t> analytics mentioned earlier, to detect malware and ensure crypto compliance.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94E9170D-C825-A946-9D66-014CF6C741EE}"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28832096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a:t>
            </a:r>
            <a:r>
              <a:rPr lang="en-US" baseline="0" dirty="0"/>
              <a:t> are some of the devices that </a:t>
            </a:r>
            <a:r>
              <a:rPr lang="en-US" baseline="0" dirty="0" err="1"/>
              <a:t>Stealthwatch</a:t>
            </a:r>
            <a:r>
              <a:rPr lang="en-US" baseline="0" dirty="0"/>
              <a:t> collects telemetry from for additional context, for faster detections, investigations and response. </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26377515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err="1"/>
              <a:t>Stealthwatch</a:t>
            </a:r>
            <a:r>
              <a:rPr lang="en-US" sz="1800" dirty="0"/>
              <a:t> has a very extensive network behavior</a:t>
            </a:r>
            <a:r>
              <a:rPr lang="en-US" sz="1800" baseline="0" dirty="0"/>
              <a:t> and anomaly detection engine. It requires understanding of known bad behavior, and the ability to identify a change from “normal”. </a:t>
            </a:r>
            <a:endParaRPr lang="en-US" sz="1800" dirty="0">
              <a:solidFill>
                <a:schemeClr val="bg1"/>
              </a:solidFill>
              <a:latin typeface="+mn-lt"/>
            </a:endParaRPr>
          </a:p>
          <a:p>
            <a:pPr marL="0" marR="0" indent="0" algn="l" defTabSz="914400" rtl="0" eaLnBrk="1" fontAlgn="auto" latinLnBrk="0" hangingPunct="1">
              <a:lnSpc>
                <a:spcPct val="100000"/>
              </a:lnSpc>
              <a:spcBef>
                <a:spcPts val="0"/>
              </a:spcBef>
              <a:spcAft>
                <a:spcPts val="900"/>
              </a:spcAft>
              <a:buClrTx/>
              <a:buSzTx/>
              <a:buFontTx/>
              <a:buNone/>
              <a:tabLst/>
              <a:defRPr/>
            </a:pPr>
            <a:endParaRPr lang="en-US" sz="1800" dirty="0">
              <a:solidFill>
                <a:schemeClr val="bg1"/>
              </a:solidFill>
              <a:latin typeface="+mn-lt"/>
            </a:endParaRPr>
          </a:p>
          <a:p>
            <a:pPr marL="0" marR="0" indent="0" algn="l" defTabSz="914400" rtl="0" eaLnBrk="1" fontAlgn="auto" latinLnBrk="0" hangingPunct="1">
              <a:lnSpc>
                <a:spcPct val="100000"/>
              </a:lnSpc>
              <a:spcBef>
                <a:spcPts val="0"/>
              </a:spcBef>
              <a:spcAft>
                <a:spcPts val="900"/>
              </a:spcAft>
              <a:buClrTx/>
              <a:buSzTx/>
              <a:buFontTx/>
              <a:buNone/>
              <a:tabLst/>
              <a:defRPr/>
            </a:pPr>
            <a:r>
              <a:rPr lang="en-US" sz="1800" dirty="0">
                <a:solidFill>
                  <a:schemeClr val="bg1"/>
                </a:solidFill>
                <a:latin typeface="+mn-lt"/>
              </a:rPr>
              <a:t>Complete and efficient data set - </a:t>
            </a:r>
            <a:r>
              <a:rPr lang="en-US" sz="1800" dirty="0" err="1">
                <a:solidFill>
                  <a:schemeClr val="bg2"/>
                </a:solidFill>
                <a:latin typeface="+mn-lt"/>
              </a:rPr>
              <a:t>Netflow</a:t>
            </a:r>
            <a:r>
              <a:rPr lang="en-US" sz="1800" dirty="0">
                <a:solidFill>
                  <a:schemeClr val="bg2"/>
                </a:solidFill>
                <a:latin typeface="+mn-lt"/>
              </a:rPr>
              <a:t>, IPFIX, </a:t>
            </a:r>
            <a:r>
              <a:rPr lang="en-US" sz="1800" dirty="0" err="1">
                <a:solidFill>
                  <a:schemeClr val="bg2"/>
                </a:solidFill>
                <a:latin typeface="+mn-lt"/>
              </a:rPr>
              <a:t>sFlow</a:t>
            </a:r>
            <a:r>
              <a:rPr lang="en-US" sz="1800" dirty="0">
                <a:solidFill>
                  <a:schemeClr val="bg2"/>
                </a:solidFill>
                <a:latin typeface="+mn-lt"/>
              </a:rPr>
              <a:t> as well as other layer 7 protocols </a:t>
            </a:r>
            <a:endParaRPr lang="en-US" sz="1800" dirty="0">
              <a:solidFill>
                <a:schemeClr val="bg1"/>
              </a:solidFill>
              <a:latin typeface="+mn-lt"/>
            </a:endParaRPr>
          </a:p>
          <a:p>
            <a:pPr marL="117475" indent="-117475">
              <a:spcAft>
                <a:spcPts val="450"/>
              </a:spcAft>
              <a:buSzPct val="80000"/>
              <a:buFont typeface="Arial" panose="020B0604020202020204" pitchFamily="34" charset="0"/>
              <a:buChar char="•"/>
            </a:pPr>
            <a:r>
              <a:rPr lang="en-US" sz="1200" dirty="0">
                <a:solidFill>
                  <a:schemeClr val="bg1"/>
                </a:solidFill>
                <a:latin typeface="+mn-lt"/>
              </a:rPr>
              <a:t>Telemetry from routers, switches, firewalls, data center, cloud</a:t>
            </a:r>
          </a:p>
          <a:p>
            <a:pPr marL="117475" indent="-117475">
              <a:spcAft>
                <a:spcPts val="450"/>
              </a:spcAft>
              <a:buSzPct val="80000"/>
              <a:buFont typeface="Arial" panose="020B0604020202020204" pitchFamily="34" charset="0"/>
              <a:buChar char="•"/>
            </a:pPr>
            <a:r>
              <a:rPr lang="en-US" sz="1200" dirty="0">
                <a:solidFill>
                  <a:schemeClr val="bg1"/>
                </a:solidFill>
                <a:latin typeface="+mn-lt"/>
              </a:rPr>
              <a:t>Optimized enterprise telemetry with deduplication and </a:t>
            </a:r>
            <a:r>
              <a:rPr lang="en-US" sz="1200" dirty="0" err="1">
                <a:solidFill>
                  <a:schemeClr val="bg1"/>
                </a:solidFill>
                <a:latin typeface="+mn-lt"/>
              </a:rPr>
              <a:t>restitching</a:t>
            </a:r>
            <a:endParaRPr lang="en-US" sz="1200" dirty="0">
              <a:solidFill>
                <a:schemeClr val="bg1"/>
              </a:solidFill>
              <a:latin typeface="+mn-lt"/>
            </a:endParaRPr>
          </a:p>
          <a:p>
            <a:endParaRPr lang="en-US" dirty="0"/>
          </a:p>
          <a:p>
            <a:pPr marL="0" marR="0" indent="0" algn="l" defTabSz="914400" rtl="0" eaLnBrk="1" fontAlgn="auto" latinLnBrk="0" hangingPunct="1">
              <a:lnSpc>
                <a:spcPct val="100000"/>
              </a:lnSpc>
              <a:spcBef>
                <a:spcPts val="0"/>
              </a:spcBef>
              <a:spcAft>
                <a:spcPts val="900"/>
              </a:spcAft>
              <a:buClrTx/>
              <a:buSzTx/>
              <a:buFontTx/>
              <a:buNone/>
              <a:tabLst/>
              <a:defRPr/>
            </a:pPr>
            <a:r>
              <a:rPr lang="en-US" sz="1800" dirty="0">
                <a:solidFill>
                  <a:schemeClr val="bg1"/>
                </a:solidFill>
                <a:latin typeface="+mn-lt"/>
              </a:rPr>
              <a:t>Security Events or heuristics based on anomalous behavior  - </a:t>
            </a:r>
            <a:r>
              <a:rPr lang="en-US" sz="1800" dirty="0" err="1">
                <a:solidFill>
                  <a:schemeClr val="bg2"/>
                </a:solidFill>
                <a:latin typeface="+mn-lt"/>
              </a:rPr>
              <a:t>Addr_Scan</a:t>
            </a:r>
            <a:r>
              <a:rPr lang="en-US" sz="1800" dirty="0">
                <a:solidFill>
                  <a:schemeClr val="bg2"/>
                </a:solidFill>
                <a:latin typeface="+mn-lt"/>
              </a:rPr>
              <a:t>, Beaconing Host, Brute Force Login, Max Flows Initiated, Suspect Data Hoarding, Suspect Data Loss</a:t>
            </a:r>
            <a:endParaRPr lang="en-US" sz="1800" dirty="0">
              <a:solidFill>
                <a:schemeClr val="bg1"/>
              </a:solidFill>
              <a:latin typeface="+mn-lt"/>
            </a:endParaRPr>
          </a:p>
          <a:p>
            <a:pPr marL="117475" indent="-117475">
              <a:spcAft>
                <a:spcPts val="450"/>
              </a:spcAft>
              <a:buSzPct val="80000"/>
              <a:buFont typeface="Arial" panose="020B0604020202020204" pitchFamily="34" charset="0"/>
              <a:buChar char="•"/>
            </a:pPr>
            <a:r>
              <a:rPr lang="en-US" sz="1200" dirty="0">
                <a:solidFill>
                  <a:schemeClr val="bg1"/>
                </a:solidFill>
                <a:latin typeface="+mn-lt"/>
              </a:rPr>
              <a:t>Over 100 algorithms applied</a:t>
            </a:r>
          </a:p>
          <a:p>
            <a:pPr marL="117475" indent="-117475">
              <a:spcAft>
                <a:spcPts val="450"/>
              </a:spcAft>
              <a:buSzPct val="80000"/>
              <a:buFont typeface="Arial" panose="020B0604020202020204" pitchFamily="34" charset="0"/>
              <a:buChar char="•"/>
            </a:pPr>
            <a:r>
              <a:rPr lang="en-US" sz="1200" dirty="0">
                <a:solidFill>
                  <a:schemeClr val="bg1"/>
                </a:solidFill>
                <a:latin typeface="+mn-lt"/>
              </a:rPr>
              <a:t>Deep understanding of known bad behavior </a:t>
            </a:r>
          </a:p>
          <a:p>
            <a:pPr marL="117475" indent="-117475">
              <a:spcAft>
                <a:spcPts val="450"/>
              </a:spcAft>
              <a:buSzPct val="80000"/>
              <a:buFont typeface="Arial" panose="020B0604020202020204" pitchFamily="34" charset="0"/>
              <a:buChar char="•"/>
            </a:pPr>
            <a:r>
              <a:rPr lang="en-US" sz="1200" dirty="0">
                <a:solidFill>
                  <a:schemeClr val="bg1"/>
                </a:solidFill>
                <a:latin typeface="+mn-lt"/>
              </a:rPr>
              <a:t>Ability to detect change in “normal” behavior</a:t>
            </a:r>
          </a:p>
          <a:p>
            <a:pPr marL="117475" indent="-117475">
              <a:spcAft>
                <a:spcPts val="450"/>
              </a:spcAft>
              <a:buSzPct val="80000"/>
              <a:buFont typeface="Arial" panose="020B0604020202020204" pitchFamily="34" charset="0"/>
              <a:buChar char="•"/>
            </a:pPr>
            <a:endParaRPr lang="en-US" sz="1200" dirty="0">
              <a:solidFill>
                <a:schemeClr val="bg1"/>
              </a:solidFill>
              <a:latin typeface="+mn-lt"/>
            </a:endParaRPr>
          </a:p>
          <a:p>
            <a:pPr marL="0" marR="0" indent="0" algn="l" defTabSz="914400" rtl="0" eaLnBrk="1" fontAlgn="auto" latinLnBrk="0" hangingPunct="1">
              <a:lnSpc>
                <a:spcPct val="100000"/>
              </a:lnSpc>
              <a:spcBef>
                <a:spcPts val="0"/>
              </a:spcBef>
              <a:spcAft>
                <a:spcPts val="900"/>
              </a:spcAft>
              <a:buClrTx/>
              <a:buSzTx/>
              <a:buFontTx/>
              <a:buNone/>
              <a:tabLst/>
              <a:defRPr/>
            </a:pPr>
            <a:r>
              <a:rPr lang="en-US" sz="1800" dirty="0">
                <a:solidFill>
                  <a:schemeClr val="bg2"/>
                </a:solidFill>
                <a:latin typeface="+mn-lt"/>
              </a:rPr>
              <a:t>High level alarm categories - Concern, Recon, C&amp;C, Exploitation, DDoS, Data Hoarding, Exfiltration, Policy Violation</a:t>
            </a:r>
          </a:p>
          <a:p>
            <a:pPr marL="117475" indent="-117475">
              <a:spcAft>
                <a:spcPts val="450"/>
              </a:spcAft>
              <a:buSzPct val="80000"/>
              <a:buFont typeface="Arial" panose="020B0604020202020204" pitchFamily="34" charset="0"/>
              <a:buChar char="•"/>
            </a:pPr>
            <a:r>
              <a:rPr lang="en-US" sz="1200" dirty="0">
                <a:solidFill>
                  <a:schemeClr val="bg2"/>
                </a:solidFill>
                <a:latin typeface="+mn-lt"/>
              </a:rPr>
              <a:t>Alarms tied to specific hosts and telemetry for easy investigation</a:t>
            </a:r>
          </a:p>
          <a:p>
            <a:pPr marL="117475" indent="-117475">
              <a:spcAft>
                <a:spcPts val="450"/>
              </a:spcAft>
              <a:buSzPct val="80000"/>
              <a:buFont typeface="Arial" panose="020B0604020202020204" pitchFamily="34" charset="0"/>
              <a:buChar char="•"/>
            </a:pPr>
            <a:r>
              <a:rPr lang="en-US" sz="1200" dirty="0">
                <a:solidFill>
                  <a:schemeClr val="bg2"/>
                </a:solidFill>
                <a:latin typeface="+mn-lt"/>
              </a:rPr>
              <a:t>Logical alarms based on advanced attacks</a:t>
            </a:r>
          </a:p>
          <a:p>
            <a:pPr marL="117475" indent="-117475">
              <a:spcAft>
                <a:spcPts val="450"/>
              </a:spcAft>
              <a:buSzPct val="80000"/>
              <a:buFont typeface="Arial" panose="020B0604020202020204" pitchFamily="34" charset="0"/>
              <a:buChar char="•"/>
            </a:pPr>
            <a:r>
              <a:rPr lang="en-US" sz="1200" dirty="0">
                <a:solidFill>
                  <a:schemeClr val="bg2"/>
                </a:solidFill>
                <a:latin typeface="+mn-lt"/>
              </a:rPr>
              <a:t>Alarms organized by time, users, user groups, applications, etc. to prioritize risks</a:t>
            </a:r>
          </a:p>
          <a:p>
            <a:pPr marL="0" indent="0">
              <a:spcAft>
                <a:spcPts val="450"/>
              </a:spcAft>
              <a:buSzPct val="80000"/>
              <a:buFont typeface="Arial" panose="020B0604020202020204" pitchFamily="34" charset="0"/>
              <a:buNone/>
            </a:pPr>
            <a:endParaRPr lang="en-US" sz="1200" dirty="0">
              <a:solidFill>
                <a:schemeClr val="bg1"/>
              </a:solidFill>
              <a:latin typeface="+mn-lt"/>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21328552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763" y="752475"/>
            <a:ext cx="6683375" cy="3760788"/>
          </a:xfrm>
        </p:spPr>
      </p:sp>
      <p:sp>
        <p:nvSpPr>
          <p:cNvPr id="3" name="Notes Placeholder 2"/>
          <p:cNvSpPr>
            <a:spLocks noGrp="1"/>
          </p:cNvSpPr>
          <p:nvPr>
            <p:ph type="body" idx="1"/>
          </p:nvPr>
        </p:nvSpPr>
        <p:spPr>
          <a:xfrm>
            <a:off x="694549" y="4827613"/>
            <a:ext cx="5556391" cy="4204204"/>
          </a:xfrm>
        </p:spPr>
        <p:txBody>
          <a:bodyPr/>
          <a:lstStyle/>
          <a:p>
            <a:r>
              <a:rPr lang="en-US" sz="1200" kern="1200" dirty="0">
                <a:solidFill>
                  <a:schemeClr val="tx1"/>
                </a:solidFill>
                <a:effectLst/>
                <a:latin typeface="+mn-lt"/>
                <a:ea typeface="+mn-ea"/>
                <a:cs typeface="+mn-cs"/>
              </a:rPr>
              <a:t>So what do we mean by multi-layered machine learning? </a:t>
            </a:r>
            <a:r>
              <a:rPr lang="en-US" sz="1200" kern="1200" dirty="0" err="1">
                <a:solidFill>
                  <a:schemeClr val="tx1"/>
                </a:solidFill>
                <a:effectLst/>
                <a:latin typeface="+mn-lt"/>
                <a:ea typeface="+mn-ea"/>
                <a:cs typeface="+mn-cs"/>
              </a:rPr>
              <a:t>Stealthwatch</a:t>
            </a:r>
            <a:r>
              <a:rPr lang="en-US" sz="1200" kern="1200" dirty="0">
                <a:solidFill>
                  <a:schemeClr val="tx1"/>
                </a:solidFill>
                <a:effectLst/>
                <a:latin typeface="+mn-lt"/>
                <a:ea typeface="+mn-ea"/>
                <a:cs typeface="+mn-cs"/>
              </a:rPr>
              <a:t> Enterprise </a:t>
            </a:r>
            <a:r>
              <a:rPr lang="en-US" sz="1200" dirty="0"/>
              <a:t>integrates with Global Threat Analytics (formerly Cognitive Threat Analytics), a cloud based multi-stage machine learning analytics engine, that</a:t>
            </a:r>
            <a:r>
              <a:rPr lang="en-US" sz="1200" kern="1200" dirty="0">
                <a:solidFill>
                  <a:schemeClr val="tx1"/>
                </a:solidFill>
                <a:effectLst/>
                <a:latin typeface="+mn-lt"/>
                <a:ea typeface="+mn-ea"/>
                <a:cs typeface="+mn-cs"/>
              </a:rPr>
              <a:t> can correlate threat behaviors seen in the enterprise with those seen globally by processing massive amount of data near real time to discover anomalous and malicious network activity that is indicative of a breach.</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system analyzes user and device behavior to discover malware infections, command-and-control communications, data exfiltration, and potentially unwanted applications operating in an organization’s infrastructure. There are multiple layers of processing, where we apply a combination of techniques from Artificial Intelligence, Machine Learning and Mathematical Statistics to self-learn normal network behavior.</a:t>
            </a:r>
          </a:p>
          <a:p>
            <a:r>
              <a:rPr lang="en-US" sz="1200" kern="1200" dirty="0">
                <a:solidFill>
                  <a:schemeClr val="tx1"/>
                </a:solidFill>
                <a:effectLst/>
                <a:latin typeface="+mn-lt"/>
                <a:ea typeface="+mn-ea"/>
                <a:cs typeface="+mn-cs"/>
              </a:rPr>
              <a:t>The engine gradually builds a notion of first “what is anomalous”, then classifies individual pieces of “malicious activity” and finally arrives at a conviction of “yes” this device or user is infected with a new form of malware. It is through a very careful analysis and correlation of multiple incidents on a global scale, that we are able to bring in small pieces of evidence for a high fidelity detection. </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b="1" kern="1200" dirty="0">
              <a:solidFill>
                <a:schemeClr val="tx1"/>
              </a:solidFill>
              <a:effectLst/>
              <a:latin typeface="+mn-lt"/>
              <a:ea typeface="ＭＳ Ｐゴシック" charset="0"/>
              <a:cs typeface="ＭＳ Ｐゴシック" charset="0"/>
            </a:endParaRPr>
          </a:p>
          <a:p>
            <a:pPr lvl="0"/>
            <a:endParaRPr lang="en-US" sz="1200" b="1" kern="1200" dirty="0">
              <a:solidFill>
                <a:schemeClr val="tx1"/>
              </a:solidFill>
              <a:effectLst/>
              <a:latin typeface="+mn-lt"/>
              <a:ea typeface="ＭＳ Ｐゴシック" charset="0"/>
              <a:cs typeface="ＭＳ Ｐゴシック" charset="0"/>
            </a:endParaRPr>
          </a:p>
          <a:p>
            <a:pPr lvl="0"/>
            <a:r>
              <a:rPr lang="en-US" sz="1200" b="1" kern="1200" dirty="0">
                <a:solidFill>
                  <a:schemeClr val="tx1"/>
                </a:solidFill>
                <a:effectLst/>
                <a:latin typeface="+mn-lt"/>
                <a:ea typeface="ＭＳ Ｐゴシック" charset="0"/>
                <a:cs typeface="ＭＳ Ｐゴシック" charset="0"/>
              </a:rPr>
              <a:t>1. Anomaly Detection</a:t>
            </a:r>
            <a:r>
              <a:rPr lang="en-US" sz="1200" kern="1200" dirty="0">
                <a:solidFill>
                  <a:schemeClr val="tx1"/>
                </a:solidFill>
                <a:effectLst/>
                <a:latin typeface="+mn-lt"/>
                <a:ea typeface="ＭＳ Ｐゴシック" charset="0"/>
                <a:cs typeface="ＭＳ Ｐゴシック" charset="0"/>
              </a:rPr>
              <a:t> - In the first layer, Anomaly Detection employs statistical machine learning methods in order to separate the statistically normal traffic from anomalous traffic. More than 40 individual detectors process conversational telemetry records created by </a:t>
            </a:r>
            <a:r>
              <a:rPr lang="en-US" sz="1200" kern="1200" dirty="0" err="1">
                <a:solidFill>
                  <a:schemeClr val="tx1"/>
                </a:solidFill>
                <a:effectLst/>
                <a:latin typeface="+mn-lt"/>
                <a:ea typeface="ＭＳ Ｐゴシック" charset="0"/>
                <a:cs typeface="ＭＳ Ｐゴシック" charset="0"/>
              </a:rPr>
              <a:t>Stealthwatch</a:t>
            </a:r>
            <a:r>
              <a:rPr lang="en-US" sz="1200" kern="1200" dirty="0">
                <a:solidFill>
                  <a:schemeClr val="tx1"/>
                </a:solidFill>
                <a:effectLst/>
                <a:latin typeface="+mn-lt"/>
                <a:ea typeface="ＭＳ Ｐゴシック" charset="0"/>
                <a:cs typeface="ＭＳ Ｐゴシック" charset="0"/>
              </a:rPr>
              <a:t> for traffic traversing your network perimeter, as well as select internal DNS traffic and proxy data if available. Each request is processed by all the 40+ detectors, and each detector applies a different statistical algorithm, which generates a score for detected anomalies. These are combined and produce a single score per individual request by again applying multiple statistical methods. The aggregate score is then used to separate normal and anomalous traffic.</a:t>
            </a:r>
          </a:p>
          <a:p>
            <a:pPr lvl="0"/>
            <a:r>
              <a:rPr lang="en-US" sz="1200" b="1" kern="1200" dirty="0">
                <a:solidFill>
                  <a:schemeClr val="tx1"/>
                </a:solidFill>
                <a:effectLst/>
                <a:latin typeface="+mn-lt"/>
                <a:ea typeface="ＭＳ Ｐゴシック" charset="0"/>
                <a:cs typeface="ＭＳ Ｐゴシック" charset="0"/>
              </a:rPr>
              <a:t>2. Trust Modeling</a:t>
            </a:r>
            <a:r>
              <a:rPr lang="en-US" sz="1200" kern="1200" dirty="0">
                <a:solidFill>
                  <a:schemeClr val="tx1"/>
                </a:solidFill>
                <a:effectLst/>
                <a:latin typeface="+mn-lt"/>
                <a:ea typeface="ＭＳ Ｐゴシック" charset="0"/>
                <a:cs typeface="ＭＳ Ｐゴシック" charset="0"/>
              </a:rPr>
              <a:t> – Next, similar requests are grouped together and the anomaly score for those groups is aggregated as a long-term average. Over time, more requests are analyzed to produce a long-term average anomaly score thereby reducing false positives and false negatives. The results of Trust Modeling are used to select a subset of traffic with anomaly scores above a certain dynamically determined threshold to move on to the next layer of processing.</a:t>
            </a:r>
          </a:p>
          <a:p>
            <a:pPr lvl="0"/>
            <a:r>
              <a:rPr lang="en-US" sz="1200" b="1" kern="1200" dirty="0">
                <a:solidFill>
                  <a:schemeClr val="tx1"/>
                </a:solidFill>
                <a:effectLst/>
                <a:latin typeface="+mn-lt"/>
                <a:ea typeface="ＭＳ Ｐゴシック" charset="0"/>
                <a:cs typeface="ＭＳ Ｐゴシック" charset="0"/>
              </a:rPr>
              <a:t>3. Event Classification </a:t>
            </a:r>
            <a:r>
              <a:rPr lang="en-US" sz="1200" kern="1200" dirty="0">
                <a:solidFill>
                  <a:schemeClr val="tx1"/>
                </a:solidFill>
                <a:effectLst/>
                <a:latin typeface="+mn-lt"/>
                <a:ea typeface="ＭＳ Ｐゴシック" charset="0"/>
                <a:cs typeface="ＭＳ Ｐゴシック" charset="0"/>
              </a:rPr>
              <a:t>- This statistically anomalous subset is classified into 100 or more categories. Most classifiers are based on individual behavior or group relationships or behavior on a global or local scale, while others can be very specific. For example, a classifier may indicate command and control traffic, a suspicious extension, or a legitimate software update. </a:t>
            </a:r>
          </a:p>
          <a:p>
            <a:r>
              <a:rPr lang="en-US" sz="1200" kern="1200" dirty="0">
                <a:solidFill>
                  <a:schemeClr val="tx1"/>
                </a:solidFill>
                <a:effectLst/>
                <a:latin typeface="+mn-lt"/>
                <a:ea typeface="ＭＳ Ｐゴシック" charset="0"/>
                <a:cs typeface="ＭＳ Ｐゴシック" charset="0"/>
              </a:rPr>
              <a:t>The output of this phase is a set of classified anomalous events with security relevance.</a:t>
            </a:r>
          </a:p>
          <a:p>
            <a:pPr lvl="0"/>
            <a:r>
              <a:rPr lang="en-US" sz="1200" b="1" kern="1200" dirty="0">
                <a:solidFill>
                  <a:schemeClr val="tx1"/>
                </a:solidFill>
                <a:effectLst/>
                <a:latin typeface="+mn-lt"/>
                <a:ea typeface="ＭＳ Ｐゴシック" charset="0"/>
                <a:cs typeface="ＭＳ Ｐゴシック" charset="0"/>
              </a:rPr>
              <a:t>4. Entity</a:t>
            </a:r>
            <a:r>
              <a:rPr lang="en-US" sz="1200" b="1" kern="1200" baseline="0" dirty="0">
                <a:solidFill>
                  <a:schemeClr val="tx1"/>
                </a:solidFill>
                <a:effectLst/>
                <a:latin typeface="+mn-lt"/>
                <a:ea typeface="ＭＳ Ｐゴシック" charset="0"/>
                <a:cs typeface="ＭＳ Ｐゴシック" charset="0"/>
              </a:rPr>
              <a:t> Modeling</a:t>
            </a:r>
            <a:r>
              <a:rPr lang="en-US" sz="1200" kern="1200" dirty="0">
                <a:solidFill>
                  <a:schemeClr val="tx1"/>
                </a:solidFill>
                <a:effectLst/>
                <a:latin typeface="+mn-lt"/>
                <a:ea typeface="ＭＳ Ｐゴシック" charset="0"/>
                <a:cs typeface="ＭＳ Ｐゴシック" charset="0"/>
              </a:rPr>
              <a:t>- If the amount of evidence supporting the malicious hypothesis about a specific entity exceeds the significance threshold, a threat is created. The classified events that contributed to the threat creation are linked to that threat, and become part of a long-term discrete model of the entity. As evidence accumulates over time, the system creates new threats when the significance threshold is reached. This threshold is dynamic and intelligently adjusts based on threat risk level and other factors. The threat is then visible in the web interface dashboard, and continues into the next layer. </a:t>
            </a:r>
          </a:p>
          <a:p>
            <a:pPr lvl="0"/>
            <a:r>
              <a:rPr lang="en-US" sz="1200" b="1" kern="1200" dirty="0">
                <a:solidFill>
                  <a:schemeClr val="tx1"/>
                </a:solidFill>
                <a:effectLst/>
                <a:latin typeface="+mn-lt"/>
                <a:ea typeface="ＭＳ Ｐゴシック" charset="0"/>
                <a:cs typeface="ＭＳ Ｐゴシック" charset="0"/>
              </a:rPr>
              <a:t>5. Relationship Modeling</a:t>
            </a:r>
            <a:r>
              <a:rPr lang="en-US" sz="1200" kern="1200" dirty="0">
                <a:solidFill>
                  <a:schemeClr val="tx1"/>
                </a:solidFill>
                <a:effectLst/>
                <a:latin typeface="+mn-lt"/>
                <a:ea typeface="ＭＳ Ｐゴシック" charset="0"/>
                <a:cs typeface="ＭＳ Ｐゴシック" charset="0"/>
              </a:rPr>
              <a:t> – Finally, threats are linked to known malware campaigns in order to separate them from unknown threats that require different investigation and incident response processes. The analytics engine uses Relationship Modeling so that it can identify that several independent threat actors use identical or similar malware components, and is able to distinguish between them. Building this relationship model between incidents allows you to map the full threat infrastructure of the threat campaign.</a:t>
            </a:r>
          </a:p>
          <a:p>
            <a:pPr lvl="0"/>
            <a:endParaRPr lang="en-US" sz="1200" kern="1200" dirty="0">
              <a:solidFill>
                <a:schemeClr val="tx1"/>
              </a:solidFill>
              <a:effectLst/>
              <a:latin typeface="+mn-lt"/>
              <a:ea typeface="ＭＳ Ｐゴシック" charset="0"/>
              <a:cs typeface="ＭＳ Ｐゴシック" charset="0"/>
            </a:endParaRPr>
          </a:p>
          <a:p>
            <a:r>
              <a:rPr lang="en-US" sz="1200" b="1" kern="1200" dirty="0">
                <a:solidFill>
                  <a:schemeClr val="tx1"/>
                </a:solidFill>
                <a:effectLst/>
                <a:latin typeface="+mn-lt"/>
                <a:ea typeface="+mn-ea"/>
                <a:cs typeface="+mn-cs"/>
              </a:rPr>
              <a:t>Global Risk Map</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Global Risk Map is the result of the analysis applied by the machine learning algorithms on one of the largest data sets of its kind in the industry. It provides broad behavioral statistics about the servers on the internet, even if they are unknown. These servers are either related to attacks, may be exploited, or may be used as a part of an attack in the future. This is not a blacklist, but a holistic picture of the server in question from a security perspective. This context-driven information about the activity of these servers allows the </a:t>
            </a:r>
            <a:r>
              <a:rPr lang="en-US" sz="1200" kern="1200" dirty="0" err="1">
                <a:solidFill>
                  <a:schemeClr val="tx1"/>
                </a:solidFill>
                <a:effectLst/>
                <a:latin typeface="+mn-lt"/>
                <a:ea typeface="+mn-ea"/>
                <a:cs typeface="+mn-cs"/>
              </a:rPr>
              <a:t>Stealthwatch’s</a:t>
            </a:r>
            <a:r>
              <a:rPr lang="en-US" sz="1200" kern="1200" dirty="0">
                <a:solidFill>
                  <a:schemeClr val="tx1"/>
                </a:solidFill>
                <a:effectLst/>
                <a:latin typeface="+mn-lt"/>
                <a:ea typeface="+mn-ea"/>
                <a:cs typeface="+mn-cs"/>
              </a:rPr>
              <a:t> machine learning detectors and classifiers to accurately predict the risk level associated with the communication to these servers.</a:t>
            </a:r>
          </a:p>
          <a:p>
            <a:pPr lvl="0"/>
            <a:r>
              <a:rPr lang="en-US" sz="1200" kern="1200" dirty="0">
                <a:solidFill>
                  <a:schemeClr val="tx1"/>
                </a:solidFill>
                <a:effectLst/>
                <a:latin typeface="+mn-lt"/>
                <a:ea typeface="ＭＳ Ｐゴシック" charset="0"/>
                <a:cs typeface="ＭＳ Ｐゴシック" charset="0"/>
              </a:rPr>
              <a:t> </a:t>
            </a:r>
          </a:p>
          <a:p>
            <a:endParaRPr lang="en-US" sz="900" dirty="0"/>
          </a:p>
          <a:p>
            <a:r>
              <a:rPr lang="en-US" sz="900" dirty="0"/>
              <a:t>Global statistics: 10B requests per day: 75% HTTP(S)</a:t>
            </a:r>
            <a:r>
              <a:rPr lang="en-US" sz="900" baseline="0" dirty="0"/>
              <a:t> / </a:t>
            </a:r>
            <a:r>
              <a:rPr lang="en-US" sz="900" dirty="0"/>
              <a:t>25% </a:t>
            </a:r>
            <a:r>
              <a:rPr lang="en-US" sz="900" dirty="0" err="1"/>
              <a:t>Netflow</a:t>
            </a:r>
            <a:endParaRPr lang="en-US" sz="900" dirty="0"/>
          </a:p>
          <a:p>
            <a:r>
              <a:rPr lang="en-US" sz="900" dirty="0"/>
              <a:t>Global statistics: 50K</a:t>
            </a:r>
            <a:r>
              <a:rPr lang="en-US" sz="900" baseline="0" dirty="0"/>
              <a:t> i</a:t>
            </a:r>
            <a:r>
              <a:rPr lang="en-US" sz="900" dirty="0"/>
              <a:t>ncidents per day: 1% critical</a:t>
            </a:r>
            <a:r>
              <a:rPr lang="en-US" sz="900" baseline="0" dirty="0"/>
              <a:t>, 9</a:t>
            </a:r>
            <a:r>
              <a:rPr lang="en-US" sz="900" dirty="0"/>
              <a:t>% high,</a:t>
            </a:r>
            <a:r>
              <a:rPr lang="en-US" sz="900" baseline="0" dirty="0"/>
              <a:t> </a:t>
            </a:r>
            <a:r>
              <a:rPr lang="en-US" sz="900" dirty="0"/>
              <a:t>40% medium,</a:t>
            </a:r>
            <a:r>
              <a:rPr lang="en-US" sz="900" baseline="0" dirty="0"/>
              <a:t> </a:t>
            </a:r>
            <a:r>
              <a:rPr lang="en-US" sz="900" dirty="0"/>
              <a:t>50% low</a:t>
            </a:r>
          </a:p>
          <a:p>
            <a:endParaRPr lang="en-US" sz="900" dirty="0"/>
          </a:p>
          <a:p>
            <a:r>
              <a:rPr lang="en-US" sz="900" dirty="0"/>
              <a:t>The feature is shut off by default, and must be enabled on all SMCs and FCs in a deployment.</a:t>
            </a:r>
          </a:p>
          <a:p>
            <a:endParaRPr lang="en-US" sz="900"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624B3E29-E3C6-465A-BA15-E131EAE22360}"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32640654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t;T&gt; </a:t>
            </a:r>
            <a:r>
              <a:rPr lang="en-US" b="0" dirty="0"/>
              <a:t>The rapid rise of encrypted traffic is changing the threat landscape. Digital businesses, with their growing complexity due to the large number of devices and applications accessing their network, are increasingly using encryption to secure information. It has been reported that as of 2017, nearly half of all Internet traffic is protected by HTTPS. And the amount of encrypted traffic on the network will only continue to increase. Encryption enables greater privacy and security, which is particularly necessary for mobile, cloud, and web applications. However, attackers are also using encryption to conceal malware and evade detection by traditional security products. So what used to be a safe and reliable protocol has now become an opportunity for cyber criminals.</a:t>
            </a:r>
          </a:p>
          <a:p>
            <a:endParaRPr lang="en-US" b="0" dirty="0"/>
          </a:p>
          <a:p>
            <a:r>
              <a:rPr lang="en-US" b="0" dirty="0"/>
              <a:t>Traditional threat inspection with bulk decryption, analysis, and </a:t>
            </a:r>
            <a:r>
              <a:rPr lang="en-US" b="0" dirty="0" err="1"/>
              <a:t>reencryption</a:t>
            </a:r>
            <a:r>
              <a:rPr lang="en-US" b="0" dirty="0"/>
              <a:t> is impractical because of the tremendous cost and time overhead. Even when inspection is possible, solutions that decrypt network traffic weaken the privacy of the users and do not work for all types of encryption.</a:t>
            </a:r>
          </a:p>
          <a:p>
            <a:endParaRPr lang="en-US" b="0" dirty="0"/>
          </a:p>
          <a:p>
            <a:r>
              <a:rPr lang="en-US" b="0" dirty="0"/>
              <a:t>Cisco, with its expertise in the network infrastructure market, conducted extensive research and has introduced an innovative and revolutionary technology, </a:t>
            </a:r>
            <a:r>
              <a:rPr lang="en-US" b="1" dirty="0"/>
              <a:t>Encrypted Traffic Analytics</a:t>
            </a:r>
            <a:r>
              <a:rPr lang="en-US" b="0" dirty="0"/>
              <a:t>. </a:t>
            </a:r>
            <a:r>
              <a:rPr lang="en-US" sz="1200" kern="1200" dirty="0">
                <a:solidFill>
                  <a:schemeClr val="tx1"/>
                </a:solidFill>
                <a:effectLst/>
                <a:latin typeface="+mn-lt"/>
                <a:ea typeface="ＭＳ Ｐゴシック" charset="0"/>
                <a:cs typeface="ＭＳ Ｐゴシック" charset="0"/>
              </a:rPr>
              <a:t>It essentially uses new types of data elements that are independent of protocol details, generated by the new Cisco switches and routers. This new telemetry or enhanced </a:t>
            </a:r>
            <a:r>
              <a:rPr lang="en-US" sz="1200" kern="1200" dirty="0" err="1">
                <a:solidFill>
                  <a:schemeClr val="tx1"/>
                </a:solidFill>
                <a:effectLst/>
                <a:latin typeface="+mn-lt"/>
                <a:ea typeface="ＭＳ Ｐゴシック" charset="0"/>
                <a:cs typeface="ＭＳ Ｐゴシック" charset="0"/>
              </a:rPr>
              <a:t>NetFlow</a:t>
            </a:r>
            <a:r>
              <a:rPr lang="en-US" sz="1200" kern="1200" dirty="0">
                <a:solidFill>
                  <a:schemeClr val="tx1"/>
                </a:solidFill>
                <a:effectLst/>
                <a:latin typeface="+mn-lt"/>
                <a:ea typeface="ＭＳ Ｐゴシック" charset="0"/>
                <a:cs typeface="ＭＳ Ｐゴシック" charset="0"/>
              </a:rPr>
              <a:t> is then collected by Cisco </a:t>
            </a:r>
            <a:r>
              <a:rPr lang="en-US" sz="1200" kern="1200" dirty="0" err="1">
                <a:solidFill>
                  <a:schemeClr val="tx1"/>
                </a:solidFill>
                <a:effectLst/>
                <a:latin typeface="+mn-lt"/>
                <a:ea typeface="ＭＳ Ｐゴシック" charset="0"/>
                <a:cs typeface="ＭＳ Ｐゴシック" charset="0"/>
              </a:rPr>
              <a:t>Stealthwatch</a:t>
            </a:r>
            <a:r>
              <a:rPr lang="en-US" sz="1200" kern="1200" dirty="0">
                <a:solidFill>
                  <a:schemeClr val="tx1"/>
                </a:solidFill>
                <a:effectLst/>
                <a:latin typeface="+mn-lt"/>
                <a:ea typeface="ＭＳ Ｐゴシック" charset="0"/>
                <a:cs typeface="ＭＳ Ｐゴシック" charset="0"/>
              </a:rPr>
              <a:t> Enterprise, which applies machine learning to analyze encrypted traffic. </a:t>
            </a:r>
          </a:p>
          <a:p>
            <a:endParaRPr lang="en-US" b="1" dirty="0"/>
          </a:p>
          <a:p>
            <a:r>
              <a:rPr lang="en-US" b="1" dirty="0"/>
              <a:t>How does it help customers?</a:t>
            </a:r>
            <a:endParaRPr lang="en-US" dirty="0"/>
          </a:p>
          <a:p>
            <a:r>
              <a:rPr lang="en-US" sz="1200" b="0" i="0" u="none" strike="noStrike" kern="1200" baseline="0" dirty="0">
                <a:solidFill>
                  <a:schemeClr val="tx1"/>
                </a:solidFill>
                <a:latin typeface="CiscoSansTT ExtraLight" pitchFamily="34" charset="0"/>
                <a:ea typeface="ＭＳ Ｐゴシック" charset="0"/>
                <a:cs typeface="ＭＳ Ｐゴシック" charset="0"/>
              </a:rPr>
              <a:t>There are the (2) main customer uses cases that we address with this solution: </a:t>
            </a:r>
          </a:p>
          <a:p>
            <a:pPr marL="228600" indent="-228600">
              <a:buAutoNum type="arabicPeriod"/>
            </a:pPr>
            <a:r>
              <a:rPr lang="en-US" sz="1200" b="0" i="0" u="none" strike="noStrike" kern="1200" baseline="0" dirty="0">
                <a:solidFill>
                  <a:schemeClr val="tx1"/>
                </a:solidFill>
                <a:latin typeface="CiscoSansTT ExtraLight" pitchFamily="34" charset="0"/>
                <a:ea typeface="ＭＳ Ｐゴシック" charset="0"/>
                <a:cs typeface="ＭＳ Ｐゴシック" charset="0"/>
              </a:rPr>
              <a:t>Cryptographic compliance: Addresses the need for customers to know how much of their digital business uses strong encryption and the ability to audit for policy violations </a:t>
            </a:r>
          </a:p>
          <a:p>
            <a:pPr marL="228600" marR="0" indent="-228600" algn="l" defTabSz="457200" rtl="0" eaLnBrk="0" fontAlgn="base" latinLnBrk="0" hangingPunct="0">
              <a:lnSpc>
                <a:spcPct val="100000"/>
              </a:lnSpc>
              <a:spcBef>
                <a:spcPct val="30000"/>
              </a:spcBef>
              <a:spcAft>
                <a:spcPct val="0"/>
              </a:spcAft>
              <a:buClrTx/>
              <a:buSzTx/>
              <a:buFontTx/>
              <a:buAutoNum type="arabicPeriod"/>
              <a:tabLst/>
              <a:defRPr/>
            </a:pPr>
            <a:r>
              <a:rPr lang="en-US" sz="1200" b="0" i="0" u="none" strike="noStrike" kern="1200" baseline="0" dirty="0">
                <a:solidFill>
                  <a:schemeClr val="tx1"/>
                </a:solidFill>
                <a:latin typeface="CiscoSansTT ExtraLight" pitchFamily="34" charset="0"/>
                <a:ea typeface="ＭＳ Ｐゴシック" charset="0"/>
                <a:cs typeface="ＭＳ Ｐゴシック" charset="0"/>
              </a:rPr>
              <a:t>Detecting malware in encrypted traffic without decryption: Addresses the need for customers to know if specific payload in network traffic is malicious while balancing privacy and security </a:t>
            </a:r>
            <a:r>
              <a:rPr lang="en-US" b="1" dirty="0"/>
              <a:t>&lt;/T&gt; </a:t>
            </a:r>
          </a:p>
          <a:p>
            <a:pPr marL="228600" marR="0" indent="-228600" algn="l" defTabSz="457200" rtl="0" eaLnBrk="0" fontAlgn="base" latinLnBrk="0" hangingPunct="0">
              <a:lnSpc>
                <a:spcPct val="100000"/>
              </a:lnSpc>
              <a:spcBef>
                <a:spcPct val="30000"/>
              </a:spcBef>
              <a:spcAft>
                <a:spcPct val="0"/>
              </a:spcAft>
              <a:buClrTx/>
              <a:buSzTx/>
              <a:buFontTx/>
              <a:buAutoNum type="arabicPeriod"/>
              <a:tabLst/>
              <a:defRPr/>
            </a:pPr>
            <a:endParaRPr lang="en-US" sz="1200" b="1" i="0" u="none" strike="noStrike" kern="1200" baseline="0" dirty="0">
              <a:solidFill>
                <a:schemeClr val="tx1"/>
              </a:solidFill>
              <a:latin typeface="CiscoSansTT ExtraLight" pitchFamily="34" charset="0"/>
              <a:ea typeface="ＭＳ Ｐゴシック" charset="0"/>
              <a:cs typeface="ＭＳ Ｐゴシック"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US" sz="1200" b="1" i="0" u="none" strike="noStrike" kern="1200" baseline="0" dirty="0">
                <a:solidFill>
                  <a:schemeClr val="tx1"/>
                </a:solidFill>
                <a:latin typeface="CiscoSansTT ExtraLight" pitchFamily="34" charset="0"/>
                <a:ea typeface="ＭＳ Ｐゴシック" charset="0"/>
                <a:cs typeface="ＭＳ Ｐゴシック" charset="0"/>
              </a:rPr>
              <a:t>For more details, go to – </a:t>
            </a:r>
            <a:r>
              <a:rPr lang="en-US" sz="1200" b="0" i="0" u="none" strike="noStrike" kern="1200" baseline="0" dirty="0" err="1">
                <a:solidFill>
                  <a:schemeClr val="tx1"/>
                </a:solidFill>
                <a:latin typeface="CiscoSansTT ExtraLight" pitchFamily="34" charset="0"/>
                <a:ea typeface="ＭＳ Ｐゴシック" charset="0"/>
                <a:cs typeface="ＭＳ Ｐゴシック" charset="0"/>
              </a:rPr>
              <a:t>cisco.com</a:t>
            </a:r>
            <a:r>
              <a:rPr lang="en-US" sz="1200" b="0" i="0" u="none" strike="noStrike" kern="1200" baseline="0" dirty="0">
                <a:solidFill>
                  <a:schemeClr val="tx1"/>
                </a:solidFill>
                <a:latin typeface="CiscoSansTT ExtraLight" pitchFamily="34" charset="0"/>
                <a:ea typeface="ＭＳ Ｐゴシック" charset="0"/>
                <a:cs typeface="ＭＳ Ｐゴシック" charset="0"/>
              </a:rPr>
              <a:t>/go/eta</a:t>
            </a:r>
            <a:endParaRPr lang="en-US" sz="1200" b="1" i="0" u="none" strike="noStrike" kern="1200" baseline="0" dirty="0">
              <a:solidFill>
                <a:schemeClr val="tx1"/>
              </a:solidFill>
              <a:latin typeface="CiscoSansTT ExtraLight" pitchFamily="34" charset="0"/>
              <a:ea typeface="ＭＳ Ｐゴシック" charset="0"/>
              <a:cs typeface="ＭＳ Ｐゴシック" charset="0"/>
            </a:endParaRPr>
          </a:p>
          <a:p>
            <a:endParaRPr lang="en-US" sz="1200" b="0" i="0" u="none" strike="noStrike" kern="1200" baseline="0" dirty="0">
              <a:solidFill>
                <a:schemeClr val="tx1"/>
              </a:solidFill>
              <a:latin typeface="CiscoSansTT ExtraLight" pitchFamily="34" charset="0"/>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B2FCB79-2C0C-F84D-A224-30C295992FCE}"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11447720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Application modernization is the foundation for digital transformation of traditional businesses and business models</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For most businesses in the digital era, apps are the key interface between them and their customers, their technology partners, their supply chain and other key vendors</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Apps today are hyper-diverse and hyper-distributed and are built continuously and rapidly on modular microservices architectures and provisioned across virtual machines, virtual containers, or even bare-metal hardware </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This decentralization</a:t>
            </a:r>
            <a:r>
              <a:rPr lang="en-US" sz="1200" kern="1200" baseline="0" dirty="0">
                <a:solidFill>
                  <a:schemeClr val="tx1"/>
                </a:solidFill>
                <a:effectLst/>
                <a:latin typeface="+mn-lt"/>
                <a:ea typeface="ＭＳ Ｐゴシック" charset="0"/>
                <a:cs typeface="ＭＳ Ｐゴシック" charset="0"/>
              </a:rPr>
              <a:t> of application development enables companies to build new apps and services at vastly faster speed and scales than possible in the old centralized, waterfall development methods</a:t>
            </a:r>
          </a:p>
          <a:p>
            <a:pPr marL="171450" indent="-171450">
              <a:buFont typeface="Arial" panose="020B0604020202020204" pitchFamily="34" charset="0"/>
              <a:buChar char="•"/>
            </a:pPr>
            <a:r>
              <a:rPr lang="en-US" sz="1200" kern="1200" baseline="0" dirty="0">
                <a:solidFill>
                  <a:schemeClr val="tx1"/>
                </a:solidFill>
                <a:effectLst/>
                <a:latin typeface="+mn-lt"/>
                <a:ea typeface="ＭＳ Ｐゴシック" charset="0"/>
                <a:cs typeface="ＭＳ Ｐゴシック" charset="0"/>
              </a:rPr>
              <a:t>Further, decentralization makes it possible for more apps to be built entirely in the cloud or </a:t>
            </a:r>
            <a:r>
              <a:rPr lang="en-US" sz="1200" kern="1200" dirty="0">
                <a:solidFill>
                  <a:schemeClr val="tx1"/>
                </a:solidFill>
                <a:effectLst/>
                <a:latin typeface="+mn-lt"/>
                <a:ea typeface="ＭＳ Ｐゴシック" charset="0"/>
                <a:cs typeface="ＭＳ Ｐゴシック" charset="0"/>
              </a:rPr>
              <a:t>deployed out on the enterprise edge,</a:t>
            </a:r>
            <a:r>
              <a:rPr lang="en-US" sz="1200" kern="1200" baseline="0" dirty="0">
                <a:solidFill>
                  <a:schemeClr val="tx1"/>
                </a:solidFill>
                <a:effectLst/>
                <a:latin typeface="+mn-lt"/>
                <a:ea typeface="ＭＳ Ｐゴシック" charset="0"/>
                <a:cs typeface="ＭＳ Ｐゴシック" charset="0"/>
              </a:rPr>
              <a:t> </a:t>
            </a:r>
            <a:r>
              <a:rPr lang="en-US" sz="1200" kern="1200" dirty="0">
                <a:solidFill>
                  <a:schemeClr val="tx1"/>
                </a:solidFill>
                <a:effectLst/>
                <a:latin typeface="+mn-lt"/>
                <a:ea typeface="ＭＳ Ｐゴシック" charset="0"/>
                <a:cs typeface="ＭＳ Ｐゴシック" charset="0"/>
              </a:rPr>
              <a:t>placing them directly in the hands of the users and devices themselves</a:t>
            </a:r>
            <a:r>
              <a:rPr lang="en-US" sz="1200" kern="1200" baseline="0" dirty="0">
                <a:solidFill>
                  <a:schemeClr val="tx1"/>
                </a:solidFill>
                <a:effectLst/>
                <a:latin typeface="+mn-lt"/>
                <a:ea typeface="ＭＳ Ｐゴシック" charset="0"/>
                <a:cs typeface="ＭＳ Ｐゴシック" charset="0"/>
              </a:rPr>
              <a:t> with many of these devices being autonomous or semi-autonomous in nature</a:t>
            </a:r>
            <a:r>
              <a:rPr lang="en-US" sz="1200" kern="1200" dirty="0">
                <a:solidFill>
                  <a:schemeClr val="tx1"/>
                </a:solidFill>
                <a:effectLst/>
                <a:latin typeface="+mn-lt"/>
                <a:ea typeface="ＭＳ Ｐゴシック" charset="0"/>
                <a:cs typeface="ＭＳ Ｐゴシック" charset="0"/>
              </a:rPr>
              <a:t> </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These apps are further enhanced by powerful tools such as IoT sensors, big data analytics, machine learning, and artificial intelligence engines that create massive amounts of value for the users while generating massive amounts of valuable data for the enterprise</a:t>
            </a:r>
          </a:p>
          <a:p>
            <a:pPr marL="171450" indent="-171450">
              <a:buFont typeface="Arial" panose="020B0604020202020204" pitchFamily="34" charset="0"/>
              <a:buChar char="•"/>
            </a:pPr>
            <a:endParaRPr lang="en-US" baseline="0" dirty="0"/>
          </a:p>
          <a:p>
            <a:pPr marL="0" indent="0">
              <a:buNone/>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4</a:t>
            </a:fld>
            <a:endParaRPr lang="en-US"/>
          </a:p>
        </p:txBody>
      </p:sp>
    </p:spTree>
    <p:extLst>
      <p:ext uri="{BB962C8B-B14F-4D97-AF65-F5344CB8AC3E}">
        <p14:creationId xmlns:p14="http://schemas.microsoft.com/office/powerpoint/2010/main" val="29592249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AEDACB9-B889-4B39-9F13-E2B3D6DF3682}" type="slidenum">
              <a:rPr kumimoji="0" lang="en-US" sz="1200" b="0" i="0" u="none" strike="noStrike" kern="1200" cap="none" spc="0" normalizeH="0" baseline="0" noProof="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82946" name="Slide Image Placeholder 1"/>
          <p:cNvSpPr>
            <a:spLocks noGrp="1" noRot="1" noChangeAspect="1" noTextEdit="1"/>
          </p:cNvSpPr>
          <p:nvPr>
            <p:ph type="sldImg"/>
          </p:nvPr>
        </p:nvSpPr>
        <p:spPr>
          <a:xfrm>
            <a:off x="-366713" y="260350"/>
            <a:ext cx="7581901" cy="4265613"/>
          </a:xfrm>
          <a:ln/>
        </p:spPr>
      </p:sp>
      <p:sp>
        <p:nvSpPr>
          <p:cNvPr id="82947" name="Notes Placeholder 2"/>
          <p:cNvSpPr>
            <a:spLocks noGrp="1"/>
          </p:cNvSpPr>
          <p:nvPr>
            <p:ph type="body" idx="1"/>
          </p:nvPr>
        </p:nvSpPr>
        <p:spPr>
          <a:xfrm>
            <a:off x="743936" y="4677760"/>
            <a:ext cx="5301911" cy="4541546"/>
          </a:xfrm>
        </p:spPr>
        <p:txBody>
          <a:bodyPr lIns="93793" tIns="49202" rIns="93793" bIns="49202"/>
          <a:lstStyle/>
          <a:p>
            <a:pPr marL="112713" marR="0" indent="-112713" algn="l" defTabSz="1020763" rtl="0" eaLnBrk="1" fontAlgn="auto" latinLnBrk="0" hangingPunct="1">
              <a:lnSpc>
                <a:spcPct val="100000"/>
              </a:lnSpc>
              <a:spcBef>
                <a:spcPts val="0"/>
              </a:spcBef>
              <a:spcAft>
                <a:spcPts val="0"/>
              </a:spcAft>
              <a:buClrTx/>
              <a:buSzTx/>
              <a:buFontTx/>
              <a:buNone/>
              <a:tabLst/>
              <a:defRPr/>
            </a:pPr>
            <a:r>
              <a:rPr lang="en-US" dirty="0"/>
              <a:t>A few examples of the high level alarm</a:t>
            </a:r>
            <a:r>
              <a:rPr lang="en-US" baseline="0" dirty="0"/>
              <a:t> categories the </a:t>
            </a:r>
            <a:r>
              <a:rPr lang="en-US" baseline="0" dirty="0" err="1"/>
              <a:t>Stealthwatch</a:t>
            </a:r>
            <a:r>
              <a:rPr lang="en-US" baseline="0" dirty="0"/>
              <a:t> Security Events feed into. </a:t>
            </a:r>
            <a:r>
              <a:rPr lang="en-US" dirty="0"/>
              <a:t>There are 11 high level alarm categories;</a:t>
            </a:r>
            <a:r>
              <a:rPr lang="en-US" baseline="0" dirty="0"/>
              <a:t>  mapping to the kill chain or the attack lifecycle. </a:t>
            </a:r>
            <a:endParaRPr lang="en-US" dirty="0"/>
          </a:p>
          <a:p>
            <a:pPr marL="112713" indent="-112713" defTabSz="1020763"/>
            <a:r>
              <a:rPr lang="en-US" baseline="0" dirty="0"/>
              <a:t> </a:t>
            </a:r>
            <a:endParaRPr lang="en-US" dirty="0"/>
          </a:p>
        </p:txBody>
      </p:sp>
      <p:sp>
        <p:nvSpPr>
          <p:cNvPr id="82948" name="Slide Number Placeholder 3"/>
          <p:cNvSpPr txBox="1">
            <a:spLocks noGrp="1"/>
          </p:cNvSpPr>
          <p:nvPr/>
        </p:nvSpPr>
        <p:spPr bwMode="auto">
          <a:xfrm>
            <a:off x="5747014" y="9271032"/>
            <a:ext cx="787974" cy="310356"/>
          </a:xfrm>
          <a:prstGeom prst="rect">
            <a:avLst/>
          </a:prstGeom>
          <a:noFill/>
          <a:ln w="9525">
            <a:noFill/>
            <a:miter lim="800000"/>
            <a:headEnd/>
            <a:tailEnd/>
          </a:ln>
        </p:spPr>
        <p:txBody>
          <a:bodyPr lIns="18450" tIns="0" rIns="18450" bIns="0" anchor="b"/>
          <a:lstStyle/>
          <a:p>
            <a:pPr marL="0" marR="0" lvl="0" indent="0" algn="r" defTabSz="885825" rtl="0" eaLnBrk="1" fontAlgn="base" latinLnBrk="0" hangingPunct="1">
              <a:lnSpc>
                <a:spcPct val="100000"/>
              </a:lnSpc>
              <a:spcBef>
                <a:spcPct val="0"/>
              </a:spcBef>
              <a:spcAft>
                <a:spcPct val="0"/>
              </a:spcAft>
              <a:buClrTx/>
              <a:buSzTx/>
              <a:buFontTx/>
              <a:buNone/>
              <a:tabLst/>
              <a:defRPr/>
            </a:pPr>
            <a:fld id="{D87F2DC4-8072-4FE2-8BC5-76E99CD9E606}" type="slidenum">
              <a:rPr kumimoji="0" lang="en-US" sz="800" b="0" i="0" u="none" strike="noStrike" kern="1200" cap="none" spc="0" normalizeH="0" baseline="0" noProof="0">
                <a:ln>
                  <a:noFill/>
                </a:ln>
                <a:solidFill>
                  <a:prstClr val="black"/>
                </a:solidFill>
                <a:effectLst/>
                <a:uLnTx/>
                <a:uFillTx/>
                <a:latin typeface="Arial" charset="0"/>
                <a:ea typeface="ＭＳ Ｐゴシック" charset="0"/>
              </a:rPr>
              <a:pPr marL="0" marR="0" lvl="0" indent="0" algn="r" defTabSz="885825" rtl="0" eaLnBrk="1" fontAlgn="base" latinLnBrk="0" hangingPunct="1">
                <a:lnSpc>
                  <a:spcPct val="100000"/>
                </a:lnSpc>
                <a:spcBef>
                  <a:spcPct val="0"/>
                </a:spcBef>
                <a:spcAft>
                  <a:spcPct val="0"/>
                </a:spcAft>
                <a:buClrTx/>
                <a:buSzTx/>
                <a:buFontTx/>
                <a:buNone/>
                <a:tabLst/>
                <a:defRPr/>
              </a:pPr>
              <a:t>32</a:t>
            </a:fld>
            <a:endParaRPr kumimoji="0" lang="en-US" sz="8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6260000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example security event and alarm category</a:t>
            </a:r>
            <a:r>
              <a:rPr lang="en-US" baseline="0" dirty="0"/>
              <a:t> is Data hoarding.  </a:t>
            </a:r>
          </a:p>
          <a:p>
            <a:endParaRPr lang="en-US" baseline="0" dirty="0"/>
          </a:p>
          <a:p>
            <a:r>
              <a:rPr lang="en-US" baseline="0" dirty="0"/>
              <a:t>There are two types of data hoarding: </a:t>
            </a:r>
          </a:p>
          <a:p>
            <a:endParaRPr lang="en-US" baseline="0" dirty="0"/>
          </a:p>
          <a:p>
            <a:r>
              <a:rPr lang="en-US" baseline="0" dirty="0"/>
              <a:t>Suspect Data Hoarding: where a single host is collecting an unusually large amount of data</a:t>
            </a:r>
          </a:p>
          <a:p>
            <a:endParaRPr lang="en-US" baseline="0" dirty="0"/>
          </a:p>
          <a:p>
            <a:r>
              <a:rPr lang="en-US" baseline="0" dirty="0"/>
              <a:t>Target Data Hoarding:  a single host is send an unusually large amount of data </a:t>
            </a:r>
          </a:p>
          <a:p>
            <a:endParaRPr lang="en-US" baseline="0" dirty="0"/>
          </a:p>
          <a:p>
            <a:endParaRPr lang="en-US" baseline="0" dirty="0"/>
          </a:p>
          <a:p>
            <a:r>
              <a:rPr lang="en-US" baseline="0" dirty="0"/>
              <a:t>Both are attempting to identify insider threats collecting or distributing data.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6167263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The Stealthwatch system is comprised of a number of components to</a:t>
            </a:r>
            <a:r>
              <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 provide a robust and comprehensive view of activity occurring the enterprise network</a:t>
            </a:r>
            <a:r>
              <a:rPr lang="en-US" sz="1200"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 </a:t>
            </a:r>
          </a:p>
          <a:p>
            <a:endParaRPr lang="en-US" sz="1200"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r>
              <a:rPr lang="en-US" sz="1200"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The Flow Collector and the Management Console</a:t>
            </a:r>
            <a:r>
              <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 are the core appliances for the solution</a:t>
            </a:r>
            <a:r>
              <a:rPr lang="is-I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 every Stealthwatch deployment will have both of these. </a:t>
            </a:r>
            <a:r>
              <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T</a:t>
            </a:r>
            <a:r>
              <a:rPr lang="is-I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he Flow Collector is the work horse of the system, collecting, aggregating and storing all incoming telemetry, building the database and performing much of the analytics against the data.</a:t>
            </a:r>
          </a:p>
          <a:p>
            <a:r>
              <a:rPr lang="is-I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The SMC is the window into this vast amount of data... </a:t>
            </a:r>
            <a:r>
              <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A</a:t>
            </a:r>
            <a:r>
              <a:rPr lang="is-I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lerting you to detected threats and giving the means to dig into the data. Both of these appliances are available as physical and virtual appliances.</a:t>
            </a:r>
          </a:p>
          <a:p>
            <a:endParaRPr lang="is-I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r>
              <a:rPr lang="is-I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The Flow Rate license helps collect network telemetry from the routers, switches and firewall, including telemetry for ETA. </a:t>
            </a:r>
          </a:p>
          <a:p>
            <a:endParaRPr lang="is-I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r>
              <a:rPr lang="is-I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lt;click&gt;</a:t>
            </a:r>
          </a:p>
          <a:p>
            <a:endParaRPr lang="is-I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r>
              <a:rPr lang="en-US" sz="1200" kern="1200" dirty="0">
                <a:solidFill>
                  <a:schemeClr val="tx1"/>
                </a:solidFill>
                <a:effectLst/>
                <a:latin typeface="+mn-lt"/>
                <a:ea typeface="+mn-ea"/>
                <a:cs typeface="+mn-cs"/>
              </a:rPr>
              <a:t>The Flow Sensor is an optional component of </a:t>
            </a:r>
            <a:r>
              <a:rPr lang="en-US" sz="1200" kern="1200" dirty="0" err="1">
                <a:solidFill>
                  <a:schemeClr val="tx1"/>
                </a:solidFill>
                <a:effectLst/>
                <a:latin typeface="+mn-lt"/>
                <a:ea typeface="+mn-ea"/>
                <a:cs typeface="+mn-cs"/>
              </a:rPr>
              <a:t>Stealthwatch</a:t>
            </a:r>
            <a:r>
              <a:rPr lang="en-US" sz="1200" kern="1200" dirty="0">
                <a:solidFill>
                  <a:schemeClr val="tx1"/>
                </a:solidFill>
                <a:effectLst/>
                <a:latin typeface="+mn-lt"/>
                <a:ea typeface="+mn-ea"/>
                <a:cs typeface="+mn-cs"/>
              </a:rPr>
              <a:t> Enterprise and produces telemetry for segments of the switching and routing infrastructure that can’t generate </a:t>
            </a:r>
            <a:r>
              <a:rPr lang="en-US" sz="1200" kern="1200" dirty="0" err="1">
                <a:solidFill>
                  <a:schemeClr val="tx1"/>
                </a:solidFill>
                <a:effectLst/>
                <a:latin typeface="+mn-lt"/>
                <a:ea typeface="+mn-ea"/>
                <a:cs typeface="+mn-cs"/>
              </a:rPr>
              <a:t>NetFlow</a:t>
            </a:r>
            <a:r>
              <a:rPr lang="en-US" sz="1200" kern="1200" dirty="0">
                <a:solidFill>
                  <a:schemeClr val="tx1"/>
                </a:solidFill>
                <a:effectLst/>
                <a:latin typeface="+mn-lt"/>
                <a:ea typeface="+mn-ea"/>
                <a:cs typeface="+mn-cs"/>
              </a:rPr>
              <a:t> natively. It also provides visibility into the application layer data. In addition to all the telemetry collected by </a:t>
            </a:r>
            <a:r>
              <a:rPr lang="en-US" sz="1200" kern="1200" dirty="0" err="1">
                <a:solidFill>
                  <a:schemeClr val="tx1"/>
                </a:solidFill>
                <a:effectLst/>
                <a:latin typeface="+mn-lt"/>
                <a:ea typeface="+mn-ea"/>
                <a:cs typeface="+mn-cs"/>
              </a:rPr>
              <a:t>Stealthwatch</a:t>
            </a:r>
            <a:r>
              <a:rPr lang="en-US" sz="1200" kern="1200" dirty="0">
                <a:solidFill>
                  <a:schemeClr val="tx1"/>
                </a:solidFill>
                <a:effectLst/>
                <a:latin typeface="+mn-lt"/>
                <a:ea typeface="+mn-ea"/>
                <a:cs typeface="+mn-cs"/>
              </a:rPr>
              <a:t>, the Flow Sensor provides additional security context to enhance the </a:t>
            </a:r>
            <a:r>
              <a:rPr lang="en-US" sz="1200" kern="1200" dirty="0" err="1">
                <a:solidFill>
                  <a:schemeClr val="tx1"/>
                </a:solidFill>
                <a:effectLst/>
                <a:latin typeface="+mn-lt"/>
                <a:ea typeface="+mn-ea"/>
                <a:cs typeface="+mn-cs"/>
              </a:rPr>
              <a:t>Stealthwatch</a:t>
            </a:r>
            <a:r>
              <a:rPr lang="en-US" sz="1200" kern="1200" dirty="0">
                <a:solidFill>
                  <a:schemeClr val="tx1"/>
                </a:solidFill>
                <a:effectLst/>
                <a:latin typeface="+mn-lt"/>
                <a:ea typeface="+mn-ea"/>
                <a:cs typeface="+mn-cs"/>
              </a:rPr>
              <a:t> security analytics. Advanced behavioral modeling and cloud-based multilayered machine learning is applied to this dataset to detect advanced threats and perform faster investigations.  </a:t>
            </a:r>
          </a:p>
          <a:p>
            <a:endPar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r>
              <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lt;click&gt;</a:t>
            </a:r>
          </a:p>
          <a:p>
            <a:endPar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endParaRPr lang="en-US" sz="1200"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r>
              <a:rPr lang="en-US" sz="1200"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The Endpoint License allows</a:t>
            </a:r>
            <a:r>
              <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 Stealthwatch to work with endpoints running AnyConnect 4.4+ with the Network Visibility Module (NVM) to pull in process and MD5 hash information on applications running on the endpoint and correlate it to observed network activity.</a:t>
            </a:r>
          </a:p>
          <a:p>
            <a:endPar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r>
              <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lt;click&gt;</a:t>
            </a:r>
          </a:p>
          <a:p>
            <a:endPar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r>
              <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Stealthwatch is also capable of ingesting proxy data from the Cisco WSA and other vendors. Stealthwatch can associate that with observed flows and give you visibility into otherwise “dark” areas of those communications.</a:t>
            </a:r>
          </a:p>
          <a:p>
            <a:endPar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r>
              <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lt;click&gt;</a:t>
            </a:r>
          </a:p>
          <a:p>
            <a:endPar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r>
              <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Our integration with the Cisco Security Packet Analyzer turns Stealthwatch into a kind of scalpel for performing traffic forensics. You can view suspect traffic and alerts within Stealthwatch, zero in on the suspicious communications and then pivot from SW into the packet analyzer appliance and have it reach into it’s rolling buffer and pull back the contents of the communication and perform analytics on it using the Packet Analyzer’s built in tools. </a:t>
            </a:r>
          </a:p>
          <a:p>
            <a:endPar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r>
              <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lt;&lt;click&gt;&gt;</a:t>
            </a:r>
          </a:p>
          <a:p>
            <a:endPar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r>
              <a:rPr lang="en-US" sz="1200" kern="1200" baseline="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Finally, with Stealthwatch Cloud we now have a SaaS based offering to gain visibility into your public and private cloud installations. Additionally, Stealthwatch Cloud can also support SMB-sized customers (&lt;1-2k users), opening up this market for visibility.</a:t>
            </a:r>
            <a:endParaRPr lang="en-US" sz="1200"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endParaRPr lang="en-US" sz="1200"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endParaRPr lang="en-US" sz="1200"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r>
              <a:rPr lang="en-US" sz="1200" b="1" kern="1200" dirty="0">
                <a:solidFill>
                  <a:srgbClr val="FF0000"/>
                </a:solidFill>
                <a:effectLst/>
                <a:latin typeface="CiscoSansTT ExtraLight" panose="020B0303020201020303" pitchFamily="34" charset="0"/>
                <a:ea typeface="ＭＳ Ｐゴシック" charset="0"/>
                <a:cs typeface="CiscoSansTT ExtraLight" panose="020B0303020201020303" pitchFamily="34" charset="0"/>
              </a:rPr>
              <a:t>&lt;&lt;&lt;</a:t>
            </a:r>
            <a:r>
              <a:rPr lang="en-US" sz="1200" b="1" kern="1200" baseline="0" dirty="0">
                <a:solidFill>
                  <a:srgbClr val="FF0000"/>
                </a:solidFill>
                <a:effectLst/>
                <a:latin typeface="CiscoSansTT ExtraLight" panose="020B0303020201020303" pitchFamily="34" charset="0"/>
                <a:ea typeface="ＭＳ Ｐゴシック" charset="0"/>
                <a:cs typeface="CiscoSansTT ExtraLight" panose="020B0303020201020303" pitchFamily="34" charset="0"/>
              </a:rPr>
              <a:t> This is a build slide, meant to be used as a quick overview of the entirety of the Stealthwatch System.</a:t>
            </a:r>
          </a:p>
          <a:p>
            <a:endParaRPr lang="en-US" sz="1200" b="1" kern="1200" baseline="0" dirty="0">
              <a:solidFill>
                <a:srgbClr val="FF0000"/>
              </a:solidFill>
              <a:effectLst/>
              <a:latin typeface="CiscoSansTT ExtraLight" panose="020B0303020201020303" pitchFamily="34" charset="0"/>
              <a:ea typeface="ＭＳ Ｐゴシック" charset="0"/>
              <a:cs typeface="CiscoSansTT ExtraLight" panose="020B0303020201020303" pitchFamily="34" charset="0"/>
            </a:endParaRPr>
          </a:p>
          <a:p>
            <a:r>
              <a:rPr lang="en-US" sz="1200" b="1" kern="1200" baseline="0" dirty="0">
                <a:solidFill>
                  <a:srgbClr val="FF0000"/>
                </a:solidFill>
                <a:effectLst/>
                <a:latin typeface="CiscoSansTT ExtraLight" panose="020B0303020201020303" pitchFamily="34" charset="0"/>
                <a:ea typeface="ＭＳ Ｐゴシック" charset="0"/>
                <a:cs typeface="CiscoSansTT ExtraLight" panose="020B0303020201020303" pitchFamily="34" charset="0"/>
              </a:rPr>
              <a:t>Ideally, you should be able to summarize the functionality of each component in a sentence or two when using this slide. From there, you would cover individual components more in depth, depending on the interests of your audience/customer.  &gt;&gt;&gt;</a:t>
            </a:r>
            <a:endParaRPr lang="en-US" sz="1200" b="1" kern="1200" dirty="0">
              <a:solidFill>
                <a:srgbClr val="FF0000"/>
              </a:solidFill>
              <a:effectLst/>
              <a:latin typeface="CiscoSansTT ExtraLight" panose="020B0303020201020303" pitchFamily="34" charset="0"/>
              <a:ea typeface="ＭＳ Ｐゴシック" charset="0"/>
              <a:cs typeface="CiscoSansTT ExtraLight" panose="020B0303020201020303"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6C1005-B323-4A04-B0D1-DB577C3C2ECA}"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14225773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5499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36271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With builds.  </a:t>
            </a:r>
          </a:p>
        </p:txBody>
      </p:sp>
      <p:sp>
        <p:nvSpPr>
          <p:cNvPr id="4" name="Slide Number Placeholder 3"/>
          <p:cNvSpPr>
            <a:spLocks noGrp="1"/>
          </p:cNvSpPr>
          <p:nvPr>
            <p:ph type="sldNum" sz="quarter" idx="10"/>
          </p:nvPr>
        </p:nvSpPr>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CDE8421B-FC29-8140-B3A0-37EB82F3ED7C}"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86" rtl="0" eaLnBrk="1" fontAlgn="auto" latinLnBrk="0" hangingPunct="1">
                <a:lnSpc>
                  <a:spcPct val="100000"/>
                </a:lnSpc>
                <a:spcBef>
                  <a:spcPts val="0"/>
                </a:spcBef>
                <a:spcAft>
                  <a:spcPts val="0"/>
                </a:spcAft>
                <a:buClrTx/>
                <a:buSzTx/>
                <a:buFontTx/>
                <a:buNone/>
                <a:tabLst/>
                <a:defRPr/>
              </a:pPr>
              <a:t>38</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95237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Cisco Tetration is an analytics platform that provides a turn key solution for the data center operational and security use cases. This removes any requirement for in-house data scientists or other programming expertise to deploy, operate and realize the benefits from the platform. These features were supported independent of the infrastructure that you have and where the applications are running. These key operations related use cases also forms the foundation for the security use cases.</a:t>
            </a:r>
          </a:p>
          <a:p>
            <a:endParaRPr lang="en-US" baseline="0" dirty="0"/>
          </a:p>
          <a:p>
            <a:r>
              <a:rPr lang="en-US" baseline="0" dirty="0"/>
              <a:t>In the Cisco Tetration platform we start with collecting rich telemetry from both servers as well as network, use unsupervised machine learning and other algorithmic approaches to address number of operational use cases. First, application insight use case is designed to provide clear and accurate view of application communications and its dependencies. It also provides information about which communication is going through L4-7 serverices such as load balancers, other infrastructure services that these applications are dependent on and external entities accessing the application. Second, neighborhood graphs allow you to select a workload and identify all servers up to two server hops to which this server is communicating along with communication behavior between each of the entities. You can also select two servers and see if there is a communication path between those and if so how many logical hops they are away. Third, Tetration platform also collects the complete process inventory along with hash information from the servers for the last 24 hours. If a process executed on the server or initiated by a cron job that information is available in the platform.</a:t>
            </a:r>
          </a:p>
          <a:p>
            <a:endParaRPr lang="en-US" baseline="0" dirty="0"/>
          </a:p>
          <a:p>
            <a:r>
              <a:rPr lang="en-US" baseline="0" dirty="0"/>
              <a:t>Building on the operations use case foundation, Cisco Tetration extends the capability on the security by providing the ability to generate a consistent white list policy required for segmentation and near real-time approach to keep the policy up to date as the application behavior changes.  Second, perform policy simulation and impact analysis using historical data or real-time data to determine what traffic will be allowed what will be dropped if that policy is enforced.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Application Segmentation: </a:t>
            </a:r>
            <a:r>
              <a:rPr lang="en-US" baseline="0" dirty="0"/>
              <a:t>With Tetration analytics we are extending the platform to take action based on the white list generated as part of application Insight. </a:t>
            </a:r>
            <a:r>
              <a:rPr lang="en-US" b="0" baseline="0" dirty="0"/>
              <a:t>This policy can then be enforced consistently to realize a consistent segmentation. I</a:t>
            </a:r>
            <a:r>
              <a:rPr lang="en-US" baseline="0" dirty="0"/>
              <a:t>mplementation of granular policies using operating system capabilities such as Iptable or windows firewall on the servers provides massive scale, consistent implementation whether it is a virtualized, bare-metal or container workloads. This model also ensures that the policy stays intact even when the workload moves. </a:t>
            </a:r>
          </a:p>
          <a:p>
            <a:endParaRPr lang="en-US" baseline="0" dirty="0"/>
          </a:p>
          <a:p>
            <a:r>
              <a:rPr lang="en-US" baseline="0" dirty="0"/>
              <a:t>Once the policy is enforced, platform continuously monitors for compliance. If there is any policy deviation then notification is sent to northbound systems, enabling proactive security operation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86"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0991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Using Cisco Tetration’s Neighborhood Graph functionality, users can search for specific application server and find out two hops view of its communication with other servers inside the data center. </a:t>
            </a:r>
          </a:p>
          <a:p>
            <a:r>
              <a:rPr lang="en-US"/>
              <a:t>Users can drill down to find out traffic and communication patterns between these servers. This also shows any asymmetric communication behavior between these servers. In addition, users can also query if there is a communication path between two servers and how many logical server hops between those two application servers. </a:t>
            </a:r>
          </a:p>
          <a:p>
            <a:endParaRPr lang="en-US"/>
          </a:p>
          <a:p>
            <a:r>
              <a:rPr lang="en-US"/>
              <a:t>There are also out of box and user defined alerts that can be generated based on certain behavior changes. </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9399D1-7293-2D4B-8814-E6E55627E901}" type="slidenum">
              <a:rPr kumimoji="0" lang="en-US" sz="1200" b="0" i="0" u="none" strike="noStrike" kern="1200" cap="none" spc="0" normalizeH="0" baseline="0" noProof="0" smtClean="0">
                <a:ln>
                  <a:noFill/>
                </a:ln>
                <a:solidFill>
                  <a:prstClr val="black"/>
                </a:solidFill>
                <a:effectLst/>
                <a:uLnTx/>
                <a:uFillTx/>
                <a:latin typeface="CiscoSansTT ExtraLight"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iscoSansTT ExtraLight" pitchFamily="34" charset="0"/>
              <a:ea typeface="+mn-ea"/>
              <a:cs typeface="+mn-cs"/>
            </a:endParaRPr>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19683970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r>
              <a:rPr lang="en-US"/>
              <a:t>In addition to the granular</a:t>
            </a:r>
            <a:r>
              <a:rPr lang="en-US" baseline="0"/>
              <a:t> packet based telemetry, Cisco Tetration can also collect and maintain inventory about the processes running on each of the servers. This information includes process ID, process parameters, user who ran or running the process, process duration and most importantly process hash (signature) information. Using this information, users can search Inventory for the servers that are running or ran a specific processes. Also, process hash information is critical for security and users can search if any of the servers in the datacenter ran a malicious process by matching this hash information.</a:t>
            </a:r>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9399D1-7293-2D4B-8814-E6E55627E901}" type="slidenum">
              <a:rPr kumimoji="0" lang="en-US" sz="1200" b="0" i="0" u="none" strike="noStrike" kern="1200" cap="none" spc="0" normalizeH="0" baseline="0" noProof="0" smtClean="0">
                <a:ln>
                  <a:noFill/>
                </a:ln>
                <a:solidFill>
                  <a:prstClr val="black"/>
                </a:solidFill>
                <a:effectLst/>
                <a:uLnTx/>
                <a:uFillTx/>
                <a:latin typeface="CiscoSansTT ExtraLight"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iscoSansTT ExtraLight" pitchFamily="34" charset="0"/>
              <a:ea typeface="+mn-ea"/>
              <a:cs typeface="+mn-cs"/>
            </a:endParaRPr>
          </a:p>
        </p:txBody>
      </p:sp>
    </p:spTree>
    <p:extLst>
      <p:ext uri="{BB962C8B-B14F-4D97-AF65-F5344CB8AC3E}">
        <p14:creationId xmlns:p14="http://schemas.microsoft.com/office/powerpoint/2010/main" val="19901669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iscoSansTT ExtraLight"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iscoSansTT ExtraLight" pitchFamily="34" charset="0"/>
              <a:ea typeface="+mn-ea"/>
              <a:cs typeface="+mn-cs"/>
            </a:endParaRPr>
          </a:p>
        </p:txBody>
      </p:sp>
    </p:spTree>
    <p:extLst>
      <p:ext uri="{BB962C8B-B14F-4D97-AF65-F5344CB8AC3E}">
        <p14:creationId xmlns:p14="http://schemas.microsoft.com/office/powerpoint/2010/main" val="38381099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Application modernization is the foundation for digital transformation of traditional businesses and business models</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For most businesses in the digital era, apps are the key interface between them and their customers, their technology partners, their supply chain and other key vendors</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Apps today are hyper-diverse and hyper-distributed and are built continuously and rapidly on modular </a:t>
            </a:r>
            <a:r>
              <a:rPr lang="en-US" sz="1200" kern="1200" dirty="0" err="1">
                <a:solidFill>
                  <a:schemeClr val="tx1"/>
                </a:solidFill>
                <a:effectLst/>
                <a:latin typeface="+mn-lt"/>
                <a:ea typeface="ＭＳ Ｐゴシック" charset="0"/>
                <a:cs typeface="ＭＳ Ｐゴシック" charset="0"/>
              </a:rPr>
              <a:t>microservices</a:t>
            </a:r>
            <a:r>
              <a:rPr lang="en-US" sz="1200" kern="1200" dirty="0">
                <a:solidFill>
                  <a:schemeClr val="tx1"/>
                </a:solidFill>
                <a:effectLst/>
                <a:latin typeface="+mn-lt"/>
                <a:ea typeface="ＭＳ Ｐゴシック" charset="0"/>
                <a:cs typeface="ＭＳ Ｐゴシック" charset="0"/>
              </a:rPr>
              <a:t> architectures and provisioned across virtual machines, virtual containers, or even bare-metal hardware </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This decentralization</a:t>
            </a:r>
            <a:r>
              <a:rPr lang="en-US" sz="1200" kern="1200" baseline="0" dirty="0">
                <a:solidFill>
                  <a:schemeClr val="tx1"/>
                </a:solidFill>
                <a:effectLst/>
                <a:latin typeface="+mn-lt"/>
                <a:ea typeface="ＭＳ Ｐゴシック" charset="0"/>
                <a:cs typeface="ＭＳ Ｐゴシック" charset="0"/>
              </a:rPr>
              <a:t> of application development enables companies to build new apps and services at vastly faster speed and scales than possible in the old centralized, waterfall development methods</a:t>
            </a:r>
          </a:p>
          <a:p>
            <a:pPr marL="171450" indent="-171450">
              <a:buFont typeface="Arial" panose="020B0604020202020204" pitchFamily="34" charset="0"/>
              <a:buChar char="•"/>
            </a:pPr>
            <a:r>
              <a:rPr lang="en-US" sz="1200" kern="1200" baseline="0" dirty="0">
                <a:solidFill>
                  <a:schemeClr val="tx1"/>
                </a:solidFill>
                <a:effectLst/>
                <a:latin typeface="+mn-lt"/>
                <a:ea typeface="ＭＳ Ｐゴシック" charset="0"/>
                <a:cs typeface="ＭＳ Ｐゴシック" charset="0"/>
              </a:rPr>
              <a:t>Further, decentralization makes it possible for more apps to be built entirely in the cloud or </a:t>
            </a:r>
            <a:r>
              <a:rPr lang="en-US" sz="1200" kern="1200" dirty="0">
                <a:solidFill>
                  <a:schemeClr val="tx1"/>
                </a:solidFill>
                <a:effectLst/>
                <a:latin typeface="+mn-lt"/>
                <a:ea typeface="ＭＳ Ｐゴシック" charset="0"/>
                <a:cs typeface="ＭＳ Ｐゴシック" charset="0"/>
              </a:rPr>
              <a:t>deployed out on the enterprise edge,</a:t>
            </a:r>
            <a:r>
              <a:rPr lang="en-US" sz="1200" kern="1200" baseline="0" dirty="0">
                <a:solidFill>
                  <a:schemeClr val="tx1"/>
                </a:solidFill>
                <a:effectLst/>
                <a:latin typeface="+mn-lt"/>
                <a:ea typeface="ＭＳ Ｐゴシック" charset="0"/>
                <a:cs typeface="ＭＳ Ｐゴシック" charset="0"/>
              </a:rPr>
              <a:t> </a:t>
            </a:r>
            <a:r>
              <a:rPr lang="en-US" sz="1200" kern="1200" dirty="0">
                <a:solidFill>
                  <a:schemeClr val="tx1"/>
                </a:solidFill>
                <a:effectLst/>
                <a:latin typeface="+mn-lt"/>
                <a:ea typeface="ＭＳ Ｐゴシック" charset="0"/>
                <a:cs typeface="ＭＳ Ｐゴシック" charset="0"/>
              </a:rPr>
              <a:t>placing them directly in the hands of the users and devices themselves</a:t>
            </a:r>
            <a:r>
              <a:rPr lang="en-US" sz="1200" kern="1200" baseline="0" dirty="0">
                <a:solidFill>
                  <a:schemeClr val="tx1"/>
                </a:solidFill>
                <a:effectLst/>
                <a:latin typeface="+mn-lt"/>
                <a:ea typeface="ＭＳ Ｐゴシック" charset="0"/>
                <a:cs typeface="ＭＳ Ｐゴシック" charset="0"/>
              </a:rPr>
              <a:t> with many of these devices being autonomous or semi-autonomous in nature</a:t>
            </a:r>
            <a:r>
              <a:rPr lang="en-US" sz="1200" kern="1200" dirty="0">
                <a:solidFill>
                  <a:schemeClr val="tx1"/>
                </a:solidFill>
                <a:effectLst/>
                <a:latin typeface="+mn-lt"/>
                <a:ea typeface="ＭＳ Ｐゴシック" charset="0"/>
                <a:cs typeface="ＭＳ Ｐゴシック" charset="0"/>
              </a:rPr>
              <a:t> </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These apps are further enhanced by powerful tools such as </a:t>
            </a:r>
            <a:r>
              <a:rPr lang="en-US" sz="1200" kern="1200" dirty="0" err="1">
                <a:solidFill>
                  <a:schemeClr val="tx1"/>
                </a:solidFill>
                <a:effectLst/>
                <a:latin typeface="+mn-lt"/>
                <a:ea typeface="ＭＳ Ｐゴシック" charset="0"/>
                <a:cs typeface="ＭＳ Ｐゴシック" charset="0"/>
              </a:rPr>
              <a:t>IoT</a:t>
            </a:r>
            <a:r>
              <a:rPr lang="en-US" sz="1200" kern="1200" dirty="0">
                <a:solidFill>
                  <a:schemeClr val="tx1"/>
                </a:solidFill>
                <a:effectLst/>
                <a:latin typeface="+mn-lt"/>
                <a:ea typeface="ＭＳ Ｐゴシック" charset="0"/>
                <a:cs typeface="ＭＳ Ｐゴシック" charset="0"/>
              </a:rPr>
              <a:t> sensors, big data analytics, machine learning, and artificial intelligence engines that create massive amounts of value for the users while generating massive amounts of valuable data for the enterprise</a:t>
            </a:r>
          </a:p>
          <a:p>
            <a:pPr marL="171450" indent="-171450">
              <a:buFont typeface="Arial" panose="020B0604020202020204" pitchFamily="34" charset="0"/>
              <a:buChar char="•"/>
            </a:pPr>
            <a:endParaRPr lang="en-US" baseline="0" dirty="0"/>
          </a:p>
          <a:p>
            <a:pPr marL="0" indent="0">
              <a:buNone/>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5</a:t>
            </a:fld>
            <a:endParaRPr lang="en-US"/>
          </a:p>
        </p:txBody>
      </p:sp>
    </p:spTree>
    <p:extLst>
      <p:ext uri="{BB962C8B-B14F-4D97-AF65-F5344CB8AC3E}">
        <p14:creationId xmlns:p14="http://schemas.microsoft.com/office/powerpoint/2010/main" val="13389468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iscoSansTT ExtraLight"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iscoSansTT ExtraLight" pitchFamily="34" charset="0"/>
              <a:ea typeface="+mn-ea"/>
              <a:cs typeface="+mn-cs"/>
            </a:endParaRPr>
          </a:p>
        </p:txBody>
      </p:sp>
    </p:spTree>
    <p:extLst>
      <p:ext uri="{BB962C8B-B14F-4D97-AF65-F5344CB8AC3E}">
        <p14:creationId xmlns:p14="http://schemas.microsoft.com/office/powerpoint/2010/main" val="38776600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iscoSansTT ExtraLight"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iscoSansTT ExtraLight" pitchFamily="34" charset="0"/>
              <a:ea typeface="+mn-ea"/>
              <a:cs typeface="+mn-cs"/>
            </a:endParaRPr>
          </a:p>
        </p:txBody>
      </p:sp>
    </p:spTree>
    <p:extLst>
      <p:ext uri="{BB962C8B-B14F-4D97-AF65-F5344CB8AC3E}">
        <p14:creationId xmlns:p14="http://schemas.microsoft.com/office/powerpoint/2010/main" val="367197703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86"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913721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34489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2441925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Both </a:t>
            </a:r>
            <a:r>
              <a:rPr lang="en-US" dirty="0" err="1"/>
              <a:t>Tetration</a:t>
            </a:r>
            <a:r>
              <a:rPr lang="en-US" dirty="0"/>
              <a:t> and Stealthwatch provide real-time visibility into the data center traffic and use telemetry to better understand and plan for policy/segmentation.  However, both solutions approach this in different ways</a:t>
            </a:r>
          </a:p>
          <a:p>
            <a:r>
              <a:rPr lang="en-US" dirty="0"/>
              <a:t> </a:t>
            </a:r>
          </a:p>
          <a:p>
            <a:r>
              <a:rPr lang="en-US" dirty="0" err="1"/>
              <a:t>Tetration</a:t>
            </a:r>
            <a:r>
              <a:rPr lang="en-US" dirty="0"/>
              <a:t> – </a:t>
            </a:r>
          </a:p>
          <a:p>
            <a:r>
              <a:rPr lang="en-US" dirty="0"/>
              <a:t>It is a highly scalable, real-time traffic-flow-based big data analytics platform that can provide complete visibility into the data center traffic and enable a wide range of operational issues efficiently. </a:t>
            </a:r>
            <a:r>
              <a:rPr lang="en-US" dirty="0" err="1"/>
              <a:t>Tetration</a:t>
            </a:r>
            <a:r>
              <a:rPr lang="en-US" dirty="0"/>
              <a:t> uses unsupervised machine learning and big data to map, group and segment applications autonomously. </a:t>
            </a:r>
            <a:r>
              <a:rPr lang="en-US" dirty="0" err="1"/>
              <a:t>Tetration</a:t>
            </a:r>
            <a:r>
              <a:rPr lang="en-US" dirty="0"/>
              <a:t> also has REST API for northbound integration. Anything that can be accessed through GUI is available through REST API as well. </a:t>
            </a:r>
          </a:p>
          <a:p>
            <a:endParaRPr lang="en-US" dirty="0"/>
          </a:p>
          <a:p>
            <a:r>
              <a:rPr lang="en-US" dirty="0"/>
              <a:t>The architecture consists of three layers: </a:t>
            </a:r>
          </a:p>
          <a:p>
            <a:r>
              <a:rPr lang="en-US" dirty="0"/>
              <a:t>Data collection layer – First and foremost are the sensors. Sensors are the eyes and ears for </a:t>
            </a:r>
            <a:r>
              <a:rPr lang="en-US" dirty="0" err="1"/>
              <a:t>Tetration</a:t>
            </a:r>
            <a:r>
              <a:rPr lang="en-US" dirty="0"/>
              <a:t>. In the first release we have two types of sensors: Software sensors can be installed on a host. These hosts can be a VM or bare metal.  We also have embedded hardware sensors available on our next-generation 9200 switches. These sensors are integrated into our ASICs and are set up to collect flow information line rate 10/25/40/100G</a:t>
            </a:r>
          </a:p>
          <a:p>
            <a:r>
              <a:rPr lang="en-US" dirty="0"/>
              <a:t>Third-party sources are configuration and other information that enables </a:t>
            </a:r>
            <a:r>
              <a:rPr lang="en-US" dirty="0" err="1"/>
              <a:t>Tetration</a:t>
            </a:r>
            <a:r>
              <a:rPr lang="en-US" dirty="0"/>
              <a:t> to provide better information to the users. For example, this can be load balancer configuration that can provide mapping of the virtual IP to the actual addresses behind.</a:t>
            </a:r>
          </a:p>
          <a:p>
            <a:r>
              <a:rPr lang="en-US" dirty="0"/>
              <a:t>Data from the sensors and metadata sources are sent to the titration cluster. </a:t>
            </a:r>
            <a:r>
              <a:rPr lang="en-US" dirty="0" err="1"/>
              <a:t>Tetration</a:t>
            </a:r>
            <a:r>
              <a:rPr lang="en-US" dirty="0"/>
              <a:t> is a big data analytics cluster and the brains behind the solution. Based on the flow information from the sensor it runs algorithms to support different use cases and provides the visualization for the users.</a:t>
            </a:r>
          </a:p>
          <a:p>
            <a:endParaRPr lang="en-US" dirty="0"/>
          </a:p>
          <a:p>
            <a:r>
              <a:rPr lang="en-US" dirty="0" err="1"/>
              <a:t>Stealthwatch</a:t>
            </a:r>
            <a:r>
              <a:rPr lang="en-US" dirty="0"/>
              <a:t> leverages the network to deliver macro-level network visibility and security analytics to defend enterprises against advanced cyber threats.  Unlike other security monitoring solutions, </a:t>
            </a:r>
            <a:r>
              <a:rPr lang="en-US" dirty="0" err="1"/>
              <a:t>Stealthwatch</a:t>
            </a:r>
            <a:r>
              <a:rPr lang="en-US" dirty="0"/>
              <a:t> monitors not only traffic going in and out of the network, but also lateral (east-west) traffic to uncover network use, misuse and abuse as well as attackers “doing bad” inside the network.</a:t>
            </a:r>
          </a:p>
          <a:p>
            <a:r>
              <a:rPr lang="en-US" dirty="0"/>
              <a:t> </a:t>
            </a:r>
          </a:p>
          <a:p>
            <a:r>
              <a:rPr lang="en-US" dirty="0"/>
              <a:t>In addition to providing a comprehensive view of network traffic, </a:t>
            </a:r>
            <a:r>
              <a:rPr lang="en-US" dirty="0" err="1"/>
              <a:t>Stealthwatch</a:t>
            </a:r>
            <a:r>
              <a:rPr lang="en-US" dirty="0"/>
              <a:t> offers additional levels of security context including user and device awareness, </a:t>
            </a:r>
            <a:r>
              <a:rPr lang="en-US" dirty="0" err="1"/>
              <a:t>NetFlow</a:t>
            </a:r>
            <a:r>
              <a:rPr lang="en-US" dirty="0"/>
              <a:t> monitoring, and anomaly detection. Beyond improving real-time anomaly detection, </a:t>
            </a:r>
            <a:r>
              <a:rPr lang="en-US" dirty="0" err="1"/>
              <a:t>Stealthwatch</a:t>
            </a:r>
            <a:r>
              <a:rPr lang="en-US" dirty="0"/>
              <a:t> dramatically accelerates incident response time, often reducing troubleshooting down from days</a:t>
            </a:r>
            <a:r>
              <a:rPr lang="en-US" baseline="0" dirty="0"/>
              <a:t> or </a:t>
            </a:r>
            <a:r>
              <a:rPr lang="en-US" dirty="0"/>
              <a:t>months to minutes. The ability to store network data for months or even years provides an invaluable historic audit trail of all network activity, making </a:t>
            </a:r>
            <a:r>
              <a:rPr lang="en-US" dirty="0" err="1"/>
              <a:t>Stealthwatch</a:t>
            </a:r>
            <a:r>
              <a:rPr lang="en-US" dirty="0"/>
              <a:t> critical for conducting more precise post-incident forensic investigations.</a:t>
            </a:r>
          </a:p>
          <a:p>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27726928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etration</a:t>
            </a:r>
            <a:r>
              <a:rPr lang="en-US" dirty="0"/>
              <a:t> is </a:t>
            </a:r>
            <a:r>
              <a:rPr lang="en-US" dirty="0" err="1"/>
              <a:t>injesting</a:t>
            </a:r>
            <a:r>
              <a:rPr lang="en-US" dirty="0"/>
              <a:t> identity about endpoints as well as leveraging</a:t>
            </a:r>
            <a:r>
              <a:rPr lang="en-US" baseline="0" dirty="0"/>
              <a:t> unsupervised machine learning to generate application dependency mappings. This is type of data can be provided into Stealthwatch Host Groups to enhance network visibility and security analytics capabilities in Stealthwatch</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707744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 typeface="Arial" charset="0"/>
              <a:buNone/>
              <a:tabLst/>
              <a:defRPr/>
            </a:pPr>
            <a:r>
              <a:rPr lang="en-US" sz="1200" b="1" dirty="0"/>
              <a:t>&lt;T&gt; </a:t>
            </a:r>
            <a:r>
              <a:rPr lang="en-US" sz="1200" b="0" kern="1200" dirty="0" err="1">
                <a:solidFill>
                  <a:schemeClr val="tx1"/>
                </a:solidFill>
                <a:effectLst/>
                <a:latin typeface="+mn-lt"/>
                <a:ea typeface="ＭＳ Ｐゴシック" charset="0"/>
                <a:cs typeface="ＭＳ Ｐゴシック" charset="0"/>
              </a:rPr>
              <a:t>Stealthwatch</a:t>
            </a:r>
            <a:r>
              <a:rPr lang="en-US" sz="1200" b="0" kern="1200" dirty="0">
                <a:solidFill>
                  <a:schemeClr val="tx1"/>
                </a:solidFill>
                <a:effectLst/>
                <a:latin typeface="+mn-lt"/>
                <a:ea typeface="ＭＳ Ｐゴシック" charset="0"/>
                <a:cs typeface="ＭＳ Ｐゴシック" charset="0"/>
              </a:rPr>
              <a:t> Enterprise provides many unique capabilities with just the base solution. But the maximum value comes from leveraging </a:t>
            </a:r>
            <a:r>
              <a:rPr lang="en-US" sz="1200" b="0" kern="1200" dirty="0" err="1">
                <a:solidFill>
                  <a:schemeClr val="tx1"/>
                </a:solidFill>
                <a:effectLst/>
                <a:latin typeface="+mn-lt"/>
                <a:ea typeface="ＭＳ Ｐゴシック" charset="0"/>
                <a:cs typeface="ＭＳ Ｐゴシック" charset="0"/>
              </a:rPr>
              <a:t>Stealthwatch</a:t>
            </a:r>
            <a:r>
              <a:rPr lang="en-US" sz="1200" b="0" kern="1200" dirty="0">
                <a:solidFill>
                  <a:schemeClr val="tx1"/>
                </a:solidFill>
                <a:effectLst/>
                <a:latin typeface="+mn-lt"/>
                <a:ea typeface="ＭＳ Ｐゴシック" charset="0"/>
                <a:cs typeface="ＭＳ Ｐゴシック" charset="0"/>
              </a:rPr>
              <a:t> with the other Cisco solutions, helping you get a full, 360-degree view of your extended network.</a:t>
            </a:r>
          </a:p>
          <a:p>
            <a:pPr marL="0" indent="0">
              <a:buFont typeface="Arial" charset="0"/>
              <a:buNone/>
            </a:pPr>
            <a:r>
              <a:rPr lang="en-US" sz="1200" b="0" dirty="0" err="1"/>
              <a:t>Stealthwatch</a:t>
            </a:r>
            <a:r>
              <a:rPr lang="en-US" sz="1200" b="0" dirty="0"/>
              <a:t> </a:t>
            </a:r>
            <a:r>
              <a:rPr lang="en-US" sz="1200" b="0" baseline="0" dirty="0"/>
              <a:t>is part of the versatile and industry-leading Cisco Security portfolio, and it’s highly integrated with other Cisco Security solutions to provide you with the best protection. </a:t>
            </a:r>
          </a:p>
          <a:p>
            <a:pPr marL="0" indent="0">
              <a:buFont typeface="Arial" charset="0"/>
              <a:buNone/>
            </a:pPr>
            <a:endParaRPr lang="en-US" sz="1200" b="0" baseline="0" dirty="0"/>
          </a:p>
          <a:p>
            <a:pPr marL="171450" indent="-171450">
              <a:buFont typeface="Arial" charset="0"/>
              <a:buChar char="•"/>
            </a:pPr>
            <a:r>
              <a:rPr lang="en-US" sz="1200" kern="1200" dirty="0">
                <a:solidFill>
                  <a:schemeClr val="tx1"/>
                </a:solidFill>
                <a:effectLst/>
                <a:latin typeface="+mn-lt"/>
                <a:ea typeface="ＭＳ Ｐゴシック" charset="0"/>
                <a:cs typeface="ＭＳ Ｐゴシック" charset="0"/>
              </a:rPr>
              <a:t> It applies cloud-based analytics that has access to a </a:t>
            </a:r>
            <a:r>
              <a:rPr lang="en-US" sz="1200" b="1" kern="1200" dirty="0">
                <a:solidFill>
                  <a:schemeClr val="tx1"/>
                </a:solidFill>
                <a:effectLst/>
                <a:latin typeface="+mn-lt"/>
                <a:ea typeface="ＭＳ Ｐゴシック" charset="0"/>
                <a:cs typeface="ＭＳ Ｐゴシック" charset="0"/>
              </a:rPr>
              <a:t>Global Threat Intelligence </a:t>
            </a:r>
            <a:r>
              <a:rPr lang="en-US" sz="1200" kern="1200" dirty="0">
                <a:solidFill>
                  <a:schemeClr val="tx1"/>
                </a:solidFill>
                <a:effectLst/>
                <a:latin typeface="+mn-lt"/>
                <a:ea typeface="ＭＳ Ｐゴシック" charset="0"/>
                <a:cs typeface="ＭＳ Ｐゴシック" charset="0"/>
              </a:rPr>
              <a:t>that’s fed intelligence from </a:t>
            </a:r>
            <a:r>
              <a:rPr lang="en-US" sz="1200" kern="1200" dirty="0" err="1">
                <a:solidFill>
                  <a:schemeClr val="tx1"/>
                </a:solidFill>
                <a:effectLst/>
                <a:latin typeface="+mn-lt"/>
                <a:ea typeface="ＭＳ Ｐゴシック" charset="0"/>
                <a:cs typeface="ＭＳ Ｐゴシック" charset="0"/>
              </a:rPr>
              <a:t>Talos</a:t>
            </a:r>
            <a:endParaRPr lang="en-US" dirty="0">
              <a:effectLst/>
            </a:endParaRPr>
          </a:p>
          <a:p>
            <a:pPr marL="171450" indent="-171450">
              <a:buFont typeface="Arial" charset="0"/>
              <a:buChar char="•"/>
            </a:pPr>
            <a:r>
              <a:rPr lang="en-US" sz="1200" b="0" i="0" kern="1200" dirty="0" err="1">
                <a:solidFill>
                  <a:schemeClr val="tx1"/>
                </a:solidFill>
                <a:effectLst/>
                <a:latin typeface="+mn-lt"/>
                <a:ea typeface="ＭＳ Ｐゴシック" charset="0"/>
                <a:cs typeface="ＭＳ Ｐゴシック" charset="0"/>
              </a:rPr>
              <a:t>Stealthwatch</a:t>
            </a:r>
            <a:r>
              <a:rPr lang="en-US" sz="1200" b="0" i="0" kern="1200" dirty="0">
                <a:solidFill>
                  <a:schemeClr val="tx1"/>
                </a:solidFill>
                <a:effectLst/>
                <a:latin typeface="+mn-lt"/>
                <a:ea typeface="ＭＳ Ｐゴシック" charset="0"/>
                <a:cs typeface="ＭＳ Ｐゴシック" charset="0"/>
              </a:rPr>
              <a:t> Enterprise can be used along with the </a:t>
            </a:r>
            <a:r>
              <a:rPr lang="en-US" sz="1200" b="1" i="0" kern="1200" dirty="0">
                <a:solidFill>
                  <a:schemeClr val="tx1"/>
                </a:solidFill>
                <a:effectLst/>
                <a:latin typeface="+mn-lt"/>
                <a:ea typeface="ＭＳ Ｐゴシック" charset="0"/>
                <a:cs typeface="ＭＳ Ｐゴシック" charset="0"/>
              </a:rPr>
              <a:t>Cisco</a:t>
            </a:r>
            <a:r>
              <a:rPr lang="en-US" sz="1200" b="1" i="0" kern="1200" baseline="30000" dirty="0">
                <a:solidFill>
                  <a:schemeClr val="tx1"/>
                </a:solidFill>
                <a:effectLst/>
                <a:latin typeface="+mn-lt"/>
                <a:ea typeface="ＭＳ Ｐゴシック" charset="0"/>
                <a:cs typeface="ＭＳ Ｐゴシック" charset="0"/>
              </a:rPr>
              <a:t>®</a:t>
            </a:r>
            <a:r>
              <a:rPr lang="en-US" sz="1200" b="1" i="0" kern="1200" dirty="0">
                <a:solidFill>
                  <a:schemeClr val="tx1"/>
                </a:solidFill>
                <a:effectLst/>
                <a:latin typeface="+mn-lt"/>
                <a:ea typeface="ＭＳ Ｐゴシック" charset="0"/>
                <a:cs typeface="ＭＳ Ｐゴシック" charset="0"/>
              </a:rPr>
              <a:t> Security Packet Analyzer </a:t>
            </a:r>
            <a:r>
              <a:rPr lang="en-US" sz="1200" b="0" i="0" kern="1200" dirty="0">
                <a:solidFill>
                  <a:schemeClr val="tx1"/>
                </a:solidFill>
                <a:effectLst/>
                <a:latin typeface="+mn-lt"/>
                <a:ea typeface="ＭＳ Ｐゴシック" charset="0"/>
                <a:cs typeface="ＭＳ Ｐゴシック" charset="0"/>
              </a:rPr>
              <a:t>to capture and examine packets correlated to anomalous traffic generated by a </a:t>
            </a:r>
            <a:r>
              <a:rPr lang="en-US" sz="1200" b="0" i="0" kern="1200" dirty="0" err="1">
                <a:solidFill>
                  <a:schemeClr val="tx1"/>
                </a:solidFill>
                <a:effectLst/>
                <a:latin typeface="+mn-lt"/>
                <a:ea typeface="ＭＳ Ｐゴシック" charset="0"/>
                <a:cs typeface="ＭＳ Ｐゴシック" charset="0"/>
              </a:rPr>
              <a:t>Stealthwatch</a:t>
            </a:r>
            <a:r>
              <a:rPr lang="en-US" sz="1200" b="0" i="0" kern="1200" dirty="0">
                <a:solidFill>
                  <a:schemeClr val="tx1"/>
                </a:solidFill>
                <a:effectLst/>
                <a:latin typeface="+mn-lt"/>
                <a:ea typeface="ＭＳ Ｐゴシック" charset="0"/>
                <a:cs typeface="ＭＳ Ｐゴシック" charset="0"/>
              </a:rPr>
              <a:t> alarm</a:t>
            </a:r>
            <a:r>
              <a:rPr lang="en-US" sz="1200" b="0" i="0" kern="1200" baseline="0" dirty="0">
                <a:solidFill>
                  <a:schemeClr val="tx1"/>
                </a:solidFill>
                <a:effectLst/>
                <a:latin typeface="+mn-lt"/>
                <a:ea typeface="ＭＳ Ｐゴシック" charset="0"/>
                <a:cs typeface="ＭＳ Ｐゴシック" charset="0"/>
              </a:rPr>
              <a:t> - https://</a:t>
            </a:r>
            <a:r>
              <a:rPr lang="en-US" sz="1200" b="0" i="0" kern="1200" baseline="0" dirty="0" err="1">
                <a:solidFill>
                  <a:schemeClr val="tx1"/>
                </a:solidFill>
                <a:effectLst/>
                <a:latin typeface="+mn-lt"/>
                <a:ea typeface="ＭＳ Ｐゴシック" charset="0"/>
                <a:cs typeface="ＭＳ Ｐゴシック" charset="0"/>
              </a:rPr>
              <a:t>www.cisco.com</a:t>
            </a:r>
            <a:r>
              <a:rPr lang="en-US" sz="1200" b="0" i="0" kern="1200" baseline="0" dirty="0">
                <a:solidFill>
                  <a:schemeClr val="tx1"/>
                </a:solidFill>
                <a:effectLst/>
                <a:latin typeface="+mn-lt"/>
                <a:ea typeface="ＭＳ Ｐゴシック" charset="0"/>
                <a:cs typeface="ＭＳ Ｐゴシック" charset="0"/>
              </a:rPr>
              <a:t>/c/</a:t>
            </a:r>
            <a:r>
              <a:rPr lang="en-US" sz="1200" b="0" i="0" kern="1200" baseline="0" dirty="0" err="1">
                <a:solidFill>
                  <a:schemeClr val="tx1"/>
                </a:solidFill>
                <a:effectLst/>
                <a:latin typeface="+mn-lt"/>
                <a:ea typeface="ＭＳ Ｐゴシック" charset="0"/>
                <a:cs typeface="ＭＳ Ｐゴシック" charset="0"/>
              </a:rPr>
              <a:t>en</a:t>
            </a:r>
            <a:r>
              <a:rPr lang="en-US" sz="1200" b="0" i="0" kern="1200" baseline="0" dirty="0">
                <a:solidFill>
                  <a:schemeClr val="tx1"/>
                </a:solidFill>
                <a:effectLst/>
                <a:latin typeface="+mn-lt"/>
                <a:ea typeface="ＭＳ Ｐゴシック" charset="0"/>
                <a:cs typeface="ＭＳ Ｐゴシック" charset="0"/>
              </a:rPr>
              <a:t>/us/products/security/</a:t>
            </a:r>
            <a:r>
              <a:rPr lang="en-US" sz="1200" b="0" i="0" kern="1200" baseline="0" dirty="0" err="1">
                <a:solidFill>
                  <a:schemeClr val="tx1"/>
                </a:solidFill>
                <a:effectLst/>
                <a:latin typeface="+mn-lt"/>
                <a:ea typeface="ＭＳ Ｐゴシック" charset="0"/>
                <a:cs typeface="ＭＳ Ｐゴシック" charset="0"/>
              </a:rPr>
              <a:t>stealthwatch</a:t>
            </a:r>
            <a:r>
              <a:rPr lang="en-US" sz="1200" b="0" i="0" kern="1200" baseline="0" dirty="0">
                <a:solidFill>
                  <a:schemeClr val="tx1"/>
                </a:solidFill>
                <a:effectLst/>
                <a:latin typeface="+mn-lt"/>
                <a:ea typeface="ＭＳ Ｐゴシック" charset="0"/>
                <a:cs typeface="ＭＳ Ｐゴシック" charset="0"/>
              </a:rPr>
              <a:t>/security-packet-analyzer-</a:t>
            </a:r>
            <a:r>
              <a:rPr lang="en-US" sz="1200" b="0" i="0" kern="1200" baseline="0" dirty="0" err="1">
                <a:solidFill>
                  <a:schemeClr val="tx1"/>
                </a:solidFill>
                <a:effectLst/>
                <a:latin typeface="+mn-lt"/>
                <a:ea typeface="ＭＳ Ｐゴシック" charset="0"/>
                <a:cs typeface="ＭＳ Ｐゴシック" charset="0"/>
              </a:rPr>
              <a:t>video.html</a:t>
            </a:r>
            <a:r>
              <a:rPr lang="en-US" sz="1200" b="0" i="0" kern="1200" baseline="0" dirty="0">
                <a:solidFill>
                  <a:schemeClr val="tx1"/>
                </a:solidFill>
                <a:effectLst/>
                <a:latin typeface="+mn-lt"/>
                <a:ea typeface="ＭＳ Ｐゴシック" charset="0"/>
                <a:cs typeface="ＭＳ Ｐゴシック" charset="0"/>
              </a:rPr>
              <a:t> </a:t>
            </a:r>
          </a:p>
          <a:p>
            <a:pPr marL="171450" indent="-171450">
              <a:buFont typeface="Arial" charset="0"/>
              <a:buChar char="•"/>
            </a:pPr>
            <a:r>
              <a:rPr lang="en-US" sz="1200" b="1" i="0" kern="1200" baseline="0" dirty="0" err="1">
                <a:solidFill>
                  <a:schemeClr val="tx1"/>
                </a:solidFill>
                <a:effectLst/>
                <a:latin typeface="+mn-lt"/>
                <a:ea typeface="ＭＳ Ｐゴシック" charset="0"/>
                <a:cs typeface="ＭＳ Ｐゴシック" charset="0"/>
              </a:rPr>
              <a:t>Stealthwatch</a:t>
            </a:r>
            <a:r>
              <a:rPr lang="en-US" sz="1200" b="1" i="0" kern="1200" baseline="0" dirty="0">
                <a:solidFill>
                  <a:schemeClr val="tx1"/>
                </a:solidFill>
                <a:effectLst/>
                <a:latin typeface="+mn-lt"/>
                <a:ea typeface="ＭＳ Ｐゴシック" charset="0"/>
                <a:cs typeface="ＭＳ Ｐゴシック" charset="0"/>
              </a:rPr>
              <a:t> Cloud </a:t>
            </a:r>
            <a:r>
              <a:rPr lang="en-US" sz="1200" b="0" i="0" kern="1200" baseline="0" dirty="0">
                <a:solidFill>
                  <a:schemeClr val="tx1"/>
                </a:solidFill>
                <a:effectLst/>
                <a:latin typeface="+mn-lt"/>
                <a:ea typeface="ＭＳ Ｐゴシック" charset="0"/>
                <a:cs typeface="ＭＳ Ｐゴシック" charset="0"/>
              </a:rPr>
              <a:t>provides </a:t>
            </a:r>
            <a:r>
              <a:rPr lang="en-US" sz="1200" dirty="0">
                <a:solidFill>
                  <a:schemeClr val="tx2"/>
                </a:solidFill>
                <a:latin typeface="+mn-lt"/>
              </a:rPr>
              <a:t>complete visibility of activity in the public cloud -</a:t>
            </a:r>
            <a:r>
              <a:rPr lang="en-US" sz="1200" baseline="0" dirty="0">
                <a:solidFill>
                  <a:schemeClr val="tx2"/>
                </a:solidFill>
                <a:latin typeface="+mn-lt"/>
              </a:rPr>
              <a:t> https://</a:t>
            </a:r>
            <a:r>
              <a:rPr lang="en-US" sz="1200" baseline="0" dirty="0" err="1">
                <a:solidFill>
                  <a:schemeClr val="tx2"/>
                </a:solidFill>
                <a:latin typeface="+mn-lt"/>
              </a:rPr>
              <a:t>www.cisco.com</a:t>
            </a:r>
            <a:r>
              <a:rPr lang="en-US" sz="1200" baseline="0" dirty="0">
                <a:solidFill>
                  <a:schemeClr val="tx2"/>
                </a:solidFill>
                <a:latin typeface="+mn-lt"/>
              </a:rPr>
              <a:t>/c/</a:t>
            </a:r>
            <a:r>
              <a:rPr lang="en-US" sz="1200" baseline="0" dirty="0" err="1">
                <a:solidFill>
                  <a:schemeClr val="tx2"/>
                </a:solidFill>
                <a:latin typeface="+mn-lt"/>
              </a:rPr>
              <a:t>en</a:t>
            </a:r>
            <a:r>
              <a:rPr lang="en-US" sz="1200" baseline="0" dirty="0">
                <a:solidFill>
                  <a:schemeClr val="tx2"/>
                </a:solidFill>
                <a:latin typeface="+mn-lt"/>
              </a:rPr>
              <a:t>/us/products/security/</a:t>
            </a:r>
            <a:r>
              <a:rPr lang="en-US" sz="1200" baseline="0" dirty="0" err="1">
                <a:solidFill>
                  <a:schemeClr val="tx2"/>
                </a:solidFill>
                <a:latin typeface="+mn-lt"/>
              </a:rPr>
              <a:t>stealthwatch</a:t>
            </a:r>
            <a:r>
              <a:rPr lang="en-US" sz="1200" baseline="0" dirty="0">
                <a:solidFill>
                  <a:schemeClr val="tx2"/>
                </a:solidFill>
                <a:latin typeface="+mn-lt"/>
              </a:rPr>
              <a:t>-cloud/</a:t>
            </a:r>
            <a:r>
              <a:rPr lang="en-US" sz="1200" baseline="0" dirty="0" err="1">
                <a:solidFill>
                  <a:schemeClr val="tx2"/>
                </a:solidFill>
                <a:latin typeface="+mn-lt"/>
              </a:rPr>
              <a:t>index.html</a:t>
            </a:r>
            <a:endParaRPr lang="en-US" sz="1200" baseline="0" dirty="0">
              <a:solidFill>
                <a:schemeClr val="tx2"/>
              </a:solidFill>
              <a:latin typeface="+mn-lt"/>
            </a:endParaRPr>
          </a:p>
          <a:p>
            <a:pPr marL="171450" indent="-171450">
              <a:buFont typeface="Arial" charset="0"/>
              <a:buChar char="•"/>
            </a:pPr>
            <a:r>
              <a:rPr lang="en-US" sz="1200" baseline="0" dirty="0">
                <a:solidFill>
                  <a:schemeClr val="tx2"/>
                </a:solidFill>
                <a:latin typeface="+mn-lt"/>
              </a:rPr>
              <a:t>Combine the enterprise-wide visibility of </a:t>
            </a:r>
            <a:r>
              <a:rPr lang="en-US" sz="1200" baseline="0" dirty="0" err="1">
                <a:solidFill>
                  <a:schemeClr val="tx2"/>
                </a:solidFill>
                <a:latin typeface="+mn-lt"/>
              </a:rPr>
              <a:t>Stealthwatch</a:t>
            </a:r>
            <a:r>
              <a:rPr lang="en-US" sz="1200" baseline="0" dirty="0">
                <a:solidFill>
                  <a:schemeClr val="tx2"/>
                </a:solidFill>
                <a:latin typeface="+mn-lt"/>
              </a:rPr>
              <a:t> Enterprise (</a:t>
            </a:r>
            <a:r>
              <a:rPr lang="en-US" baseline="0" dirty="0"/>
              <a:t>east-west in the campus, branch or core, north-south in and out of the data center as well as east-west in the data center)</a:t>
            </a:r>
            <a:r>
              <a:rPr lang="en-US" sz="1200" baseline="0" dirty="0">
                <a:solidFill>
                  <a:schemeClr val="tx2"/>
                </a:solidFill>
                <a:latin typeface="+mn-lt"/>
              </a:rPr>
              <a:t> with the application-level visibility within the data center (</a:t>
            </a:r>
            <a:r>
              <a:rPr lang="en-US" baseline="0" dirty="0"/>
              <a:t>application east-west visibility and optimization in the data center)</a:t>
            </a:r>
            <a:r>
              <a:rPr lang="en-US" sz="1200" baseline="0" dirty="0">
                <a:solidFill>
                  <a:schemeClr val="tx2"/>
                </a:solidFill>
                <a:latin typeface="+mn-lt"/>
              </a:rPr>
              <a:t> using </a:t>
            </a:r>
            <a:r>
              <a:rPr lang="en-US" sz="1200" b="1" baseline="0" dirty="0" err="1">
                <a:solidFill>
                  <a:schemeClr val="tx2"/>
                </a:solidFill>
                <a:latin typeface="+mn-lt"/>
              </a:rPr>
              <a:t>Tetration</a:t>
            </a:r>
            <a:r>
              <a:rPr lang="en-US" sz="1200" b="1" baseline="0" dirty="0">
                <a:solidFill>
                  <a:schemeClr val="tx2"/>
                </a:solidFill>
                <a:latin typeface="+mn-lt"/>
              </a:rPr>
              <a:t> Analytics</a:t>
            </a:r>
            <a:endParaRPr lang="en-US" sz="1200" b="0" baseline="0" dirty="0">
              <a:solidFill>
                <a:schemeClr val="tx2"/>
              </a:solidFill>
              <a:latin typeface="+mn-lt"/>
            </a:endParaRPr>
          </a:p>
          <a:p>
            <a:pPr marL="171450" indent="-171450">
              <a:buFont typeface="Arial" charset="0"/>
              <a:buChar char="•"/>
            </a:pPr>
            <a:r>
              <a:rPr lang="en-US" sz="1200" baseline="0" dirty="0" err="1">
                <a:solidFill>
                  <a:schemeClr val="tx2"/>
                </a:solidFill>
                <a:latin typeface="+mn-lt"/>
              </a:rPr>
              <a:t>Stealthwatch</a:t>
            </a:r>
            <a:r>
              <a:rPr lang="en-US" sz="1200" baseline="0" dirty="0">
                <a:solidFill>
                  <a:schemeClr val="tx2"/>
                </a:solidFill>
                <a:latin typeface="+mn-lt"/>
              </a:rPr>
              <a:t> Enterprise can get contextual information about malicious domains and the traffic being directed there at a global level using </a:t>
            </a:r>
            <a:r>
              <a:rPr lang="en-US" sz="1200" b="1" baseline="0" dirty="0">
                <a:solidFill>
                  <a:schemeClr val="tx2"/>
                </a:solidFill>
                <a:latin typeface="+mn-lt"/>
              </a:rPr>
              <a:t>Umbrella Investigate</a:t>
            </a:r>
            <a:r>
              <a:rPr lang="en-US" sz="1200" baseline="0" dirty="0">
                <a:solidFill>
                  <a:schemeClr val="tx2"/>
                </a:solidFill>
                <a:latin typeface="+mn-lt"/>
              </a:rPr>
              <a:t> and </a:t>
            </a:r>
            <a:r>
              <a:rPr lang="en-US" sz="1200" b="1" baseline="0" dirty="0">
                <a:solidFill>
                  <a:schemeClr val="tx2"/>
                </a:solidFill>
                <a:latin typeface="+mn-lt"/>
              </a:rPr>
              <a:t>Cisco Web Security Appliance</a:t>
            </a:r>
          </a:p>
          <a:p>
            <a:pPr marL="171450" indent="-171450">
              <a:buFont typeface="Arial" charset="0"/>
              <a:buChar char="•"/>
            </a:pPr>
            <a:r>
              <a:rPr lang="en-US" sz="1200" b="0" baseline="0" dirty="0">
                <a:solidFill>
                  <a:schemeClr val="tx2"/>
                </a:solidFill>
                <a:latin typeface="+mn-lt"/>
              </a:rPr>
              <a:t>Using the integration with </a:t>
            </a:r>
            <a:r>
              <a:rPr lang="en-US" sz="1200" b="1" baseline="0" dirty="0">
                <a:solidFill>
                  <a:schemeClr val="tx2"/>
                </a:solidFill>
                <a:latin typeface="+mn-lt"/>
              </a:rPr>
              <a:t>ISE </a:t>
            </a:r>
            <a:r>
              <a:rPr lang="en-US" sz="1200" b="1" baseline="0" dirty="0" err="1">
                <a:solidFill>
                  <a:schemeClr val="tx2"/>
                </a:solidFill>
                <a:latin typeface="+mn-lt"/>
              </a:rPr>
              <a:t>PxGrid</a:t>
            </a:r>
            <a:r>
              <a:rPr lang="en-US" sz="1200" b="1" baseline="0" dirty="0">
                <a:solidFill>
                  <a:schemeClr val="tx2"/>
                </a:solidFill>
                <a:latin typeface="+mn-lt"/>
              </a:rPr>
              <a:t> and </a:t>
            </a:r>
            <a:r>
              <a:rPr lang="en-US" sz="1200" b="1" baseline="0" dirty="0" err="1">
                <a:solidFill>
                  <a:schemeClr val="tx2"/>
                </a:solidFill>
                <a:latin typeface="+mn-lt"/>
              </a:rPr>
              <a:t>TrustSec</a:t>
            </a:r>
            <a:r>
              <a:rPr lang="en-US" sz="1200" b="1" baseline="0" dirty="0">
                <a:solidFill>
                  <a:schemeClr val="tx2"/>
                </a:solidFill>
                <a:latin typeface="+mn-lt"/>
              </a:rPr>
              <a:t>, </a:t>
            </a:r>
            <a:r>
              <a:rPr lang="en-US" sz="1200" b="0" baseline="0" dirty="0" err="1">
                <a:solidFill>
                  <a:schemeClr val="tx2"/>
                </a:solidFill>
                <a:latin typeface="+mn-lt"/>
              </a:rPr>
              <a:t>Stealthwatch</a:t>
            </a:r>
            <a:r>
              <a:rPr lang="en-US" sz="1200" b="0" baseline="0" dirty="0">
                <a:solidFill>
                  <a:schemeClr val="tx2"/>
                </a:solidFill>
                <a:latin typeface="+mn-lt"/>
              </a:rPr>
              <a:t> Enterprise can provide additional contextual information about the suspicious host such as user and session info, location, device type, etc. And once the host is identified to be malicious, it can quarantined off the network with a single click - https://</a:t>
            </a:r>
            <a:r>
              <a:rPr lang="en-US" sz="1200" b="0" baseline="0" dirty="0" err="1">
                <a:solidFill>
                  <a:schemeClr val="tx2"/>
                </a:solidFill>
                <a:latin typeface="+mn-lt"/>
              </a:rPr>
              <a:t>www.cisco.com</a:t>
            </a:r>
            <a:r>
              <a:rPr lang="en-US" sz="1200" b="0" baseline="0" dirty="0">
                <a:solidFill>
                  <a:schemeClr val="tx2"/>
                </a:solidFill>
                <a:latin typeface="+mn-lt"/>
              </a:rPr>
              <a:t>/c/</a:t>
            </a:r>
            <a:r>
              <a:rPr lang="en-US" sz="1200" b="0" baseline="0" dirty="0" err="1">
                <a:solidFill>
                  <a:schemeClr val="tx2"/>
                </a:solidFill>
                <a:latin typeface="+mn-lt"/>
              </a:rPr>
              <a:t>en</a:t>
            </a:r>
            <a:r>
              <a:rPr lang="en-US" sz="1200" b="0" baseline="0" dirty="0">
                <a:solidFill>
                  <a:schemeClr val="tx2"/>
                </a:solidFill>
                <a:latin typeface="+mn-lt"/>
              </a:rPr>
              <a:t>/us/products/security/</a:t>
            </a:r>
            <a:r>
              <a:rPr lang="en-US" sz="1200" b="0" baseline="0" dirty="0" err="1">
                <a:solidFill>
                  <a:schemeClr val="tx2"/>
                </a:solidFill>
                <a:latin typeface="+mn-lt"/>
              </a:rPr>
              <a:t>stealthwatch</a:t>
            </a:r>
            <a:r>
              <a:rPr lang="en-US" sz="1200" b="0" baseline="0" dirty="0">
                <a:solidFill>
                  <a:schemeClr val="tx2"/>
                </a:solidFill>
                <a:latin typeface="+mn-lt"/>
              </a:rPr>
              <a:t>/visibility-and-</a:t>
            </a:r>
            <a:r>
              <a:rPr lang="en-US" sz="1200" b="0" baseline="0" dirty="0" err="1">
                <a:solidFill>
                  <a:schemeClr val="tx2"/>
                </a:solidFill>
                <a:latin typeface="+mn-lt"/>
              </a:rPr>
              <a:t>control.html</a:t>
            </a:r>
            <a:endParaRPr lang="en-US" sz="1200" b="0" baseline="0" dirty="0">
              <a:solidFill>
                <a:schemeClr val="tx2"/>
              </a:solidFill>
              <a:latin typeface="+mn-lt"/>
            </a:endParaRPr>
          </a:p>
          <a:p>
            <a:pPr marL="171450" indent="-171450">
              <a:buFont typeface="Arial" charset="0"/>
              <a:buChar char="•"/>
            </a:pPr>
            <a:r>
              <a:rPr lang="en-US" sz="1200" b="0" baseline="0" dirty="0" err="1">
                <a:solidFill>
                  <a:schemeClr val="tx2"/>
                </a:solidFill>
                <a:latin typeface="+mn-lt"/>
              </a:rPr>
              <a:t>Stealthwatch</a:t>
            </a:r>
            <a:r>
              <a:rPr lang="en-US" sz="1200" b="0" baseline="0" dirty="0">
                <a:solidFill>
                  <a:schemeClr val="tx2"/>
                </a:solidFill>
                <a:latin typeface="+mn-lt"/>
              </a:rPr>
              <a:t> Enterprise gets application data accessed using an endpoints using the integration with </a:t>
            </a:r>
            <a:r>
              <a:rPr lang="en-US" sz="1200" b="1" baseline="0" dirty="0" err="1">
                <a:solidFill>
                  <a:schemeClr val="tx2"/>
                </a:solidFill>
                <a:latin typeface="+mn-lt"/>
              </a:rPr>
              <a:t>Anyconnect</a:t>
            </a:r>
            <a:r>
              <a:rPr lang="en-US" sz="1200" b="1" baseline="0" dirty="0">
                <a:solidFill>
                  <a:schemeClr val="tx2"/>
                </a:solidFill>
                <a:latin typeface="+mn-lt"/>
              </a:rPr>
              <a:t> NVM &lt;/T&gt;</a:t>
            </a:r>
          </a:p>
          <a:p>
            <a:pPr marL="171450" indent="-171450">
              <a:buFont typeface="Arial" charset="0"/>
              <a:buChar char="•"/>
            </a:pPr>
            <a:endParaRPr lang="en-US" sz="1200" b="0" i="0" kern="1200" baseline="0" dirty="0">
              <a:solidFill>
                <a:schemeClr val="tx1"/>
              </a:solidFill>
              <a:effectLst/>
              <a:latin typeface="+mn-lt"/>
              <a:ea typeface="ＭＳ Ｐゴシック" charset="0"/>
              <a:cs typeface="ＭＳ Ｐゴシック" charset="0"/>
            </a:endParaRPr>
          </a:p>
          <a:p>
            <a:pPr marL="171450" indent="-171450">
              <a:buFont typeface="Arial" charset="0"/>
              <a:buChar char="•"/>
            </a:pPr>
            <a:endParaRPr lang="en-US" sz="1200" b="0"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10784082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E3F61292-C10D-48F4-BF6F-E09D2FBBDA1C}"/>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278151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aseline="0" dirty="0">
                <a:latin typeface="+mn-lt"/>
              </a:rPr>
              <a:t>Lets start with the world we’re going to live in..</a:t>
            </a:r>
          </a:p>
          <a:p>
            <a:pPr marL="0" indent="0">
              <a:buNone/>
            </a:pPr>
            <a:endParaRPr lang="en-US" sz="1200" baseline="0" dirty="0">
              <a:latin typeface="+mn-lt"/>
            </a:endParaRPr>
          </a:p>
          <a:p>
            <a:pPr marL="0" indent="0">
              <a:buNone/>
            </a:pPr>
            <a:r>
              <a:rPr lang="en-US" sz="1200" baseline="0" dirty="0">
                <a:latin typeface="+mn-lt"/>
              </a:rPr>
              <a:t>ONE</a:t>
            </a:r>
          </a:p>
          <a:p>
            <a:pPr marL="0" indent="0">
              <a:buNone/>
            </a:pPr>
            <a:r>
              <a:rPr lang="en-US" sz="1600" b="1" dirty="0">
                <a:solidFill>
                  <a:schemeClr val="bg1">
                    <a:lumMod val="60000"/>
                    <a:lumOff val="40000"/>
                  </a:schemeClr>
                </a:solidFill>
              </a:rPr>
              <a:t>Applications will be ML-Powered and AI-Enabled</a:t>
            </a:r>
          </a:p>
          <a:p>
            <a:pPr>
              <a:spcBef>
                <a:spcPts val="600"/>
              </a:spcBef>
            </a:pPr>
            <a:r>
              <a:rPr lang="en-US" sz="1200" b="1" dirty="0">
                <a:solidFill>
                  <a:schemeClr val="bg1">
                    <a:lumMod val="60000"/>
                    <a:lumOff val="40000"/>
                  </a:schemeClr>
                </a:solidFill>
              </a:rPr>
              <a:t>Path to revamp customer experience</a:t>
            </a:r>
          </a:p>
          <a:p>
            <a:pPr>
              <a:spcBef>
                <a:spcPts val="600"/>
              </a:spcBef>
            </a:pPr>
            <a:r>
              <a:rPr lang="en-US" sz="1200" b="1" dirty="0">
                <a:solidFill>
                  <a:schemeClr val="bg1">
                    <a:lumMod val="60000"/>
                    <a:lumOff val="40000"/>
                  </a:schemeClr>
                </a:solidFill>
              </a:rPr>
              <a:t>Increase personal and business productivity</a:t>
            </a:r>
          </a:p>
          <a:p>
            <a:pPr>
              <a:spcBef>
                <a:spcPts val="600"/>
              </a:spcBef>
            </a:pPr>
            <a:endParaRPr lang="en-US" sz="1200" baseline="0" dirty="0">
              <a:latin typeface="+mn-lt"/>
            </a:endParaRPr>
          </a:p>
          <a:p>
            <a:pPr marL="171450" lvl="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As more businesses witness the power of AI and ML, they will develop more apps using these technologies to increase engagement, revamp the customer experience, and lock-in customer loyalty as much as possible</a:t>
            </a:r>
          </a:p>
          <a:p>
            <a:pPr marL="171450" lvl="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Some of the early success stories include My Starbucks Barista, Amazon Go, and Taco Bell’s </a:t>
            </a:r>
            <a:r>
              <a:rPr lang="en-US" sz="1200" kern="1200" dirty="0" err="1">
                <a:solidFill>
                  <a:schemeClr val="tx1"/>
                </a:solidFill>
                <a:effectLst/>
                <a:latin typeface="+mn-lt"/>
                <a:ea typeface="ＭＳ Ｐゴシック" charset="0"/>
                <a:cs typeface="ＭＳ Ｐゴシック" charset="0"/>
              </a:rPr>
              <a:t>TacoBot</a:t>
            </a:r>
            <a:r>
              <a:rPr lang="en-US" sz="1200" kern="1200" dirty="0">
                <a:solidFill>
                  <a:schemeClr val="tx1"/>
                </a:solidFill>
                <a:effectLst/>
                <a:latin typeface="+mn-lt"/>
                <a:ea typeface="ＭＳ Ｐゴシック" charset="0"/>
                <a:cs typeface="ＭＳ Ｐゴシック" charset="0"/>
              </a:rPr>
              <a:t> app, which all track user behavior, leverage predictive analytics, and serve as platforms for easy, friction-light transactions</a:t>
            </a:r>
          </a:p>
          <a:p>
            <a:pPr marL="171450" lvl="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Another area are in mobile applications, which are continually improving through AI and ML resulting in more intuitive and user-responsive apps that are critical to help operators stand apart from their competitors to the delight of their customers</a:t>
            </a:r>
          </a:p>
          <a:p>
            <a:pPr marL="171450" lvl="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For these app developers and owners, AI and ML are powerful personalization tools because of the algorithm’s ability to leverage user profiles, search histories, and purchasing habits with the promise of serving up a highly personalized, unique experience based on the individual’s preferences</a:t>
            </a:r>
          </a:p>
          <a:p>
            <a:pPr marL="171450" lvl="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This personalization will impact the front-end and back-end app experience equally as the app’s AI and ML engines come closer and closer to thinking like the human brain</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This benefits app developers who will use AI more intentionally for the automation of repetitive tasks, software testing, and deciding how to move into the next development phase </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AI</a:t>
            </a:r>
            <a:r>
              <a:rPr lang="en-US" sz="1200" kern="1200" baseline="0" dirty="0">
                <a:solidFill>
                  <a:schemeClr val="tx1"/>
                </a:solidFill>
                <a:effectLst/>
                <a:latin typeface="+mn-lt"/>
                <a:ea typeface="ＭＳ Ｐゴシック" charset="0"/>
                <a:cs typeface="ＭＳ Ｐゴシック" charset="0"/>
              </a:rPr>
              <a:t> and ML are </a:t>
            </a:r>
            <a:r>
              <a:rPr lang="en-US" sz="1200" kern="1200" dirty="0">
                <a:solidFill>
                  <a:schemeClr val="tx1"/>
                </a:solidFill>
                <a:effectLst/>
                <a:latin typeface="+mn-lt"/>
                <a:ea typeface="ＭＳ Ｐゴシック" charset="0"/>
                <a:cs typeface="ＭＳ Ｐゴシック" charset="0"/>
              </a:rPr>
              <a:t>changing app development in historic ways. As the need for these technologies increase, app developers with a comprehensive understanding of automated learning will be in higher demand for their knowledge and creativity</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For businesses, AI integration will be the path into market expansion and to provide better customer service, setting the stage for a significant return on the investment into the development process</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One</a:t>
            </a:r>
            <a:r>
              <a:rPr lang="en-US" sz="1200" kern="1200" baseline="0" dirty="0">
                <a:solidFill>
                  <a:schemeClr val="tx1"/>
                </a:solidFill>
                <a:effectLst/>
                <a:latin typeface="+mn-lt"/>
                <a:ea typeface="ＭＳ Ｐゴシック" charset="0"/>
                <a:cs typeface="ＭＳ Ｐゴシック" charset="0"/>
              </a:rPr>
              <a:t> major implication of this is the fact that </a:t>
            </a:r>
            <a:r>
              <a:rPr lang="en-US" sz="1200" b="1" kern="1200" baseline="0" dirty="0">
                <a:solidFill>
                  <a:schemeClr val="tx1"/>
                </a:solidFill>
                <a:effectLst/>
                <a:latin typeface="+mn-lt"/>
                <a:ea typeface="ＭＳ Ｐゴシック" charset="0"/>
                <a:cs typeface="ＭＳ Ｐゴシック" charset="0"/>
              </a:rPr>
              <a:t>AI and ML </a:t>
            </a:r>
            <a:r>
              <a:rPr lang="en-US" sz="1200" b="1" kern="1200" dirty="0">
                <a:solidFill>
                  <a:schemeClr val="tx1"/>
                </a:solidFill>
                <a:effectLst/>
                <a:latin typeface="+mn-lt"/>
                <a:ea typeface="ＭＳ Ｐゴシック" charset="0"/>
                <a:cs typeface="ＭＳ Ｐゴシック" charset="0"/>
              </a:rPr>
              <a:t>are becoming</a:t>
            </a:r>
            <a:r>
              <a:rPr lang="en-US" sz="1200" b="1" kern="1200" baseline="0" dirty="0">
                <a:solidFill>
                  <a:schemeClr val="tx1"/>
                </a:solidFill>
                <a:effectLst/>
                <a:latin typeface="+mn-lt"/>
                <a:ea typeface="ＭＳ Ｐゴシック" charset="0"/>
                <a:cs typeface="ＭＳ Ｐゴシック" charset="0"/>
              </a:rPr>
              <a:t> the </a:t>
            </a:r>
            <a:r>
              <a:rPr lang="en-US" sz="1200" b="1" kern="1200" dirty="0">
                <a:solidFill>
                  <a:schemeClr val="tx1"/>
                </a:solidFill>
                <a:effectLst/>
                <a:latin typeface="+mn-lt"/>
                <a:ea typeface="ＭＳ Ｐゴシック" charset="0"/>
                <a:cs typeface="ＭＳ Ｐゴシック" charset="0"/>
              </a:rPr>
              <a:t>preferred development platform (and the operating system) </a:t>
            </a:r>
            <a:r>
              <a:rPr lang="en-US" sz="1200" kern="1200" dirty="0">
                <a:solidFill>
                  <a:schemeClr val="tx1"/>
                </a:solidFill>
                <a:effectLst/>
                <a:latin typeface="+mn-lt"/>
                <a:ea typeface="ＭＳ Ｐゴシック" charset="0"/>
                <a:cs typeface="ＭＳ Ｐゴシック" charset="0"/>
              </a:rPr>
              <a:t>for an endless array of new apps and services –</a:t>
            </a:r>
            <a:r>
              <a:rPr lang="en-US" sz="1200" kern="1200" baseline="0" dirty="0">
                <a:solidFill>
                  <a:schemeClr val="tx1"/>
                </a:solidFill>
                <a:effectLst/>
                <a:latin typeface="+mn-lt"/>
                <a:ea typeface="ＭＳ Ｐゴシック" charset="0"/>
                <a:cs typeface="ＭＳ Ｐゴシック" charset="0"/>
              </a:rPr>
              <a:t> similar to how Windows for PCs and servers and iOS/Android for mobile devices</a:t>
            </a:r>
            <a:endParaRPr lang="en-US" sz="1200" kern="1200" dirty="0">
              <a:solidFill>
                <a:schemeClr val="tx1"/>
              </a:solidFill>
              <a:effectLst/>
              <a:latin typeface="+mn-lt"/>
              <a:ea typeface="ＭＳ Ｐゴシック" charset="0"/>
              <a:cs typeface="ＭＳ Ｐゴシック" charset="0"/>
            </a:endParaRPr>
          </a:p>
          <a:p>
            <a:pPr marL="0" indent="0">
              <a:buNone/>
            </a:pPr>
            <a:endParaRPr lang="en-US" sz="1200" baseline="0" dirty="0">
              <a:latin typeface="+mn-lt"/>
            </a:endParaRPr>
          </a:p>
          <a:p>
            <a:pPr marL="0" indent="0">
              <a:buNone/>
            </a:pPr>
            <a:r>
              <a:rPr lang="en-US" sz="1200" baseline="0" dirty="0">
                <a:latin typeface="+mn-lt"/>
              </a:rPr>
              <a:t>TWO</a:t>
            </a:r>
          </a:p>
          <a:p>
            <a:pPr marL="0" indent="0">
              <a:buNone/>
            </a:pPr>
            <a:r>
              <a:rPr lang="en-US" sz="1600" b="1" dirty="0">
                <a:solidFill>
                  <a:schemeClr val="bg2"/>
                </a:solidFill>
              </a:rPr>
              <a:t>Workloads Continue to be More Distributed</a:t>
            </a:r>
          </a:p>
          <a:p>
            <a:pPr>
              <a:spcBef>
                <a:spcPts val="600"/>
              </a:spcBef>
            </a:pPr>
            <a:r>
              <a:rPr lang="en-US" sz="1200" b="1" dirty="0">
                <a:solidFill>
                  <a:schemeClr val="bg2"/>
                </a:solidFill>
              </a:rPr>
              <a:t>Within/across multiple clouds—all the way to myriad edge</a:t>
            </a:r>
          </a:p>
          <a:p>
            <a:pPr>
              <a:spcBef>
                <a:spcPts val="600"/>
              </a:spcBef>
            </a:pPr>
            <a:r>
              <a:rPr lang="en-US" sz="1200" b="1" dirty="0">
                <a:solidFill>
                  <a:schemeClr val="bg2"/>
                </a:solidFill>
              </a:rPr>
              <a:t>Containers influencing modern app development</a:t>
            </a:r>
          </a:p>
          <a:p>
            <a:pPr marL="0" indent="0">
              <a:buNone/>
            </a:pPr>
            <a:endParaRPr lang="en-US" sz="1200" baseline="0" dirty="0">
              <a:latin typeface="+mn-lt"/>
            </a:endParaRP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The emergence AI-powered</a:t>
            </a:r>
            <a:r>
              <a:rPr lang="en-US" sz="1200" kern="1200" baseline="0" dirty="0">
                <a:solidFill>
                  <a:schemeClr val="tx1"/>
                </a:solidFill>
                <a:effectLst/>
                <a:latin typeface="+mn-lt"/>
                <a:ea typeface="ＭＳ Ｐゴシック" charset="0"/>
                <a:cs typeface="ＭＳ Ｐゴシック" charset="0"/>
              </a:rPr>
              <a:t> and ML-enable apps for both business and consumer use will lead to a whole new world of connected, intelligent, and automated devices that </a:t>
            </a:r>
            <a:r>
              <a:rPr lang="en-US" sz="1200" kern="1200" dirty="0">
                <a:solidFill>
                  <a:schemeClr val="tx1"/>
                </a:solidFill>
                <a:effectLst/>
                <a:latin typeface="+mn-lt"/>
                <a:ea typeface="ＭＳ Ｐゴシック" charset="0"/>
                <a:cs typeface="ＭＳ Ｐゴシック" charset="0"/>
              </a:rPr>
              <a:t>are being deployed everywhere </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These Internet</a:t>
            </a:r>
            <a:r>
              <a:rPr lang="en-US" sz="1200" kern="1200" baseline="0" dirty="0">
                <a:solidFill>
                  <a:schemeClr val="tx1"/>
                </a:solidFill>
                <a:effectLst/>
                <a:latin typeface="+mn-lt"/>
                <a:ea typeface="ＭＳ Ｐゴシック" charset="0"/>
                <a:cs typeface="ＭＳ Ｐゴシック" charset="0"/>
              </a:rPr>
              <a:t> of Things are now readily available </a:t>
            </a:r>
            <a:r>
              <a:rPr lang="en-US" sz="1200" kern="1200" dirty="0">
                <a:solidFill>
                  <a:schemeClr val="tx1"/>
                </a:solidFill>
                <a:effectLst/>
                <a:latin typeface="+mn-lt"/>
                <a:ea typeface="ＭＳ Ｐゴシック" charset="0"/>
                <a:cs typeface="ＭＳ Ｐゴシック" charset="0"/>
              </a:rPr>
              <a:t>on factory floors, on utility poles, on oilrigs, on shipping containers, and as self-driving cars, drones, robots, and even as the things wearables or </a:t>
            </a:r>
            <a:r>
              <a:rPr lang="en-US" sz="1200" kern="1200" dirty="0" err="1">
                <a:solidFill>
                  <a:schemeClr val="tx1"/>
                </a:solidFill>
                <a:effectLst/>
                <a:latin typeface="+mn-lt"/>
                <a:ea typeface="ＭＳ Ｐゴシック" charset="0"/>
                <a:cs typeface="ＭＳ Ｐゴシック" charset="0"/>
              </a:rPr>
              <a:t>implantables</a:t>
            </a:r>
            <a:r>
              <a:rPr lang="en-US" sz="1200" kern="1200" baseline="0" dirty="0">
                <a:solidFill>
                  <a:schemeClr val="tx1"/>
                </a:solidFill>
                <a:effectLst/>
                <a:latin typeface="+mn-lt"/>
                <a:ea typeface="ＭＳ Ｐゴシック" charset="0"/>
                <a:cs typeface="ＭＳ Ｐゴシック" charset="0"/>
              </a:rPr>
              <a:t> on and inside of 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a:solidFill>
                  <a:schemeClr val="tx1"/>
                </a:solidFill>
                <a:effectLst/>
                <a:latin typeface="+mn-lt"/>
                <a:ea typeface="ＭＳ Ｐゴシック" charset="0"/>
                <a:cs typeface="ＭＳ Ｐゴシック" charset="0"/>
              </a:rPr>
              <a:t>To support these devices in real-time, </a:t>
            </a:r>
            <a:r>
              <a:rPr lang="en-US" sz="1200" kern="1200" dirty="0">
                <a:solidFill>
                  <a:schemeClr val="tx1"/>
                </a:solidFill>
                <a:effectLst/>
                <a:latin typeface="+mn-lt"/>
                <a:ea typeface="ＭＳ Ｐゴシック" charset="0"/>
                <a:cs typeface="ＭＳ Ｐゴシック" charset="0"/>
              </a:rPr>
              <a:t>more computational processing and decision-making will be made at the edges where the devices</a:t>
            </a:r>
            <a:r>
              <a:rPr lang="en-US" sz="1200" kern="1200" baseline="0" dirty="0">
                <a:solidFill>
                  <a:schemeClr val="tx1"/>
                </a:solidFill>
                <a:effectLst/>
                <a:latin typeface="+mn-lt"/>
                <a:ea typeface="ＭＳ Ｐゴシック" charset="0"/>
                <a:cs typeface="ＭＳ Ｐゴシック" charset="0"/>
              </a:rPr>
              <a:t> operate</a:t>
            </a:r>
            <a:r>
              <a:rPr lang="en-US" sz="1200" kern="1200" dirty="0">
                <a:solidFill>
                  <a:schemeClr val="tx1"/>
                </a:solidFill>
                <a:effectLst/>
                <a:latin typeface="+mn-lt"/>
                <a:ea typeface="ＭＳ Ｐゴシック" charset="0"/>
                <a:cs typeface="ＭＳ Ｐゴシック" charset="0"/>
              </a:rPr>
              <a:t> without connecting back to a centralized data center or cloud in a hub-and-spoke fash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ＭＳ Ｐゴシック" charset="0"/>
                <a:cs typeface="ＭＳ Ｐゴシック" charset="0"/>
              </a:rPr>
              <a:t>This is a fundamental shift from the client/server computing model and the more recent mobile-cloud computing model, which both favor centralized concentration of compute processing power while users and devices essentially act as moving termina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ＭＳ Ｐゴシック" charset="0"/>
                <a:cs typeface="ＭＳ Ｐゴシック" charset="0"/>
              </a:rPr>
              <a:t>However</a:t>
            </a:r>
            <a:r>
              <a:rPr lang="en-US" sz="1200" kern="1200" baseline="0" dirty="0">
                <a:solidFill>
                  <a:schemeClr val="tx1"/>
                </a:solidFill>
                <a:effectLst/>
                <a:latin typeface="+mn-lt"/>
                <a:ea typeface="ＭＳ Ｐゴシック" charset="0"/>
                <a:cs typeface="ＭＳ Ｐゴシック" charset="0"/>
              </a:rPr>
              <a:t>, </a:t>
            </a:r>
            <a:r>
              <a:rPr lang="en-US" sz="1200" b="1" kern="1200" baseline="0" dirty="0">
                <a:solidFill>
                  <a:schemeClr val="tx1"/>
                </a:solidFill>
                <a:effectLst/>
                <a:latin typeface="+mn-lt"/>
                <a:ea typeface="ＭＳ Ｐゴシック" charset="0"/>
                <a:cs typeface="ＭＳ Ｐゴシック" charset="0"/>
              </a:rPr>
              <a:t>this does not mean the end of centralized </a:t>
            </a:r>
            <a:r>
              <a:rPr lang="en-US" sz="1200" b="1" kern="1200" dirty="0">
                <a:solidFill>
                  <a:schemeClr val="tx1"/>
                </a:solidFill>
                <a:effectLst/>
                <a:latin typeface="+mn-lt"/>
                <a:ea typeface="ＭＳ Ｐゴシック" charset="0"/>
                <a:cs typeface="ＭＳ Ｐゴシック" charset="0"/>
              </a:rPr>
              <a:t>data centers and </a:t>
            </a:r>
            <a:r>
              <a:rPr lang="en-US" sz="1200" b="1" kern="1200" dirty="0" err="1">
                <a:solidFill>
                  <a:schemeClr val="tx1"/>
                </a:solidFill>
                <a:effectLst/>
                <a:latin typeface="+mn-lt"/>
                <a:ea typeface="ＭＳ Ｐゴシック" charset="0"/>
                <a:cs typeface="ＭＳ Ｐゴシック" charset="0"/>
              </a:rPr>
              <a:t>multicloud</a:t>
            </a:r>
            <a:r>
              <a:rPr lang="en-US" sz="1200" b="1" kern="1200" dirty="0">
                <a:solidFill>
                  <a:schemeClr val="tx1"/>
                </a:solidFill>
                <a:effectLst/>
                <a:latin typeface="+mn-lt"/>
                <a:ea typeface="ＭＳ Ｐゴシック" charset="0"/>
                <a:cs typeface="ＭＳ Ｐゴシック" charset="0"/>
              </a:rPr>
              <a:t> infrastructur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ＭＳ Ｐゴシック" charset="0"/>
                <a:cs typeface="ＭＳ Ｐゴシック" charset="0"/>
              </a:rPr>
              <a:t>Instead,</a:t>
            </a:r>
            <a:r>
              <a:rPr lang="en-US" sz="1200" kern="1200" baseline="0" dirty="0">
                <a:solidFill>
                  <a:schemeClr val="tx1"/>
                </a:solidFill>
                <a:effectLst/>
                <a:latin typeface="+mn-lt"/>
                <a:ea typeface="ＭＳ Ｐゴシック" charset="0"/>
                <a:cs typeface="ＭＳ Ｐゴシック" charset="0"/>
              </a:rPr>
              <a:t> what</a:t>
            </a:r>
            <a:r>
              <a:rPr lang="en-US" sz="1200" kern="1200" dirty="0">
                <a:solidFill>
                  <a:schemeClr val="tx1"/>
                </a:solidFill>
                <a:effectLst/>
                <a:latin typeface="+mn-lt"/>
                <a:ea typeface="ＭＳ Ｐゴシック" charset="0"/>
                <a:cs typeface="ＭＳ Ｐゴシック" charset="0"/>
              </a:rPr>
              <a:t> </a:t>
            </a:r>
            <a:r>
              <a:rPr lang="en-US" sz="1200" b="1" kern="1200" dirty="0">
                <a:solidFill>
                  <a:schemeClr val="tx1"/>
                </a:solidFill>
                <a:effectLst/>
                <a:latin typeface="+mn-lt"/>
                <a:ea typeface="ＭＳ Ｐゴシック" charset="0"/>
                <a:cs typeface="ＭＳ Ｐゴシック" charset="0"/>
              </a:rPr>
              <a:t>AI, ML, and IoT will do is</a:t>
            </a:r>
            <a:r>
              <a:rPr lang="en-US" sz="1200" b="1" kern="1200" baseline="0" dirty="0">
                <a:solidFill>
                  <a:schemeClr val="tx1"/>
                </a:solidFill>
                <a:effectLst/>
                <a:latin typeface="+mn-lt"/>
                <a:ea typeface="ＭＳ Ｐゴシック" charset="0"/>
                <a:cs typeface="ＭＳ Ｐゴシック" charset="0"/>
              </a:rPr>
              <a:t> </a:t>
            </a:r>
            <a:r>
              <a:rPr lang="en-US" sz="1200" b="1" kern="1200" dirty="0">
                <a:solidFill>
                  <a:schemeClr val="tx1"/>
                </a:solidFill>
                <a:effectLst/>
                <a:latin typeface="+mn-lt"/>
                <a:ea typeface="ＭＳ Ｐゴシック" charset="0"/>
                <a:cs typeface="ＭＳ Ｐゴシック" charset="0"/>
              </a:rPr>
              <a:t>extend their boundaries and</a:t>
            </a:r>
            <a:r>
              <a:rPr lang="en-US" sz="1200" b="1" kern="1200" baseline="0" dirty="0">
                <a:solidFill>
                  <a:schemeClr val="tx1"/>
                </a:solidFill>
                <a:effectLst/>
                <a:latin typeface="+mn-lt"/>
                <a:ea typeface="ＭＳ Ｐゴシック" charset="0"/>
                <a:cs typeface="ＭＳ Ｐゴシック" charset="0"/>
              </a:rPr>
              <a:t> sphere of operations </a:t>
            </a:r>
            <a:r>
              <a:rPr lang="en-US" sz="1200" kern="1200" baseline="0" dirty="0">
                <a:solidFill>
                  <a:schemeClr val="tx1"/>
                </a:solidFill>
                <a:effectLst/>
                <a:latin typeface="+mn-lt"/>
                <a:ea typeface="ＭＳ Ｐゴシック" charset="0"/>
                <a:cs typeface="ＭＳ Ｐゴシック" charset="0"/>
              </a:rPr>
              <a:t>to what we will call the </a:t>
            </a:r>
            <a:r>
              <a:rPr lang="en-US" sz="1200" b="1" kern="1200" dirty="0">
                <a:solidFill>
                  <a:schemeClr val="tx1"/>
                </a:solidFill>
                <a:effectLst/>
                <a:latin typeface="+mn-lt"/>
                <a:ea typeface="ＭＳ Ｐゴシック" charset="0"/>
                <a:cs typeface="ＭＳ Ｐゴシック" charset="0"/>
              </a:rPr>
              <a:t>“Edge-Cloud Continuum” </a:t>
            </a:r>
            <a:r>
              <a:rPr lang="en-US" sz="1200" kern="1200" dirty="0">
                <a:solidFill>
                  <a:schemeClr val="tx1"/>
                </a:solidFill>
                <a:effectLst/>
                <a:latin typeface="+mn-lt"/>
                <a:ea typeface="ＭＳ Ｐゴシック" charset="0"/>
                <a:cs typeface="ＭＳ Ｐゴシック" charset="0"/>
              </a:rPr>
              <a:t>that</a:t>
            </a:r>
            <a:r>
              <a:rPr lang="en-US" sz="1200" kern="1200" baseline="0" dirty="0">
                <a:solidFill>
                  <a:schemeClr val="tx1"/>
                </a:solidFill>
                <a:effectLst/>
                <a:latin typeface="+mn-lt"/>
                <a:ea typeface="ＭＳ Ｐゴシック" charset="0"/>
                <a:cs typeface="ＭＳ Ｐゴシック" charset="0"/>
              </a:rPr>
              <a:t> integrates </a:t>
            </a:r>
            <a:r>
              <a:rPr lang="en-US" sz="1200" kern="1200" dirty="0">
                <a:solidFill>
                  <a:schemeClr val="tx1"/>
                </a:solidFill>
                <a:effectLst/>
                <a:latin typeface="+mn-lt"/>
                <a:ea typeface="ＭＳ Ｐゴシック" charset="0"/>
                <a:cs typeface="ＭＳ Ｐゴシック" charset="0"/>
              </a:rPr>
              <a:t>the best aspects of both the edge and centralized mod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ＭＳ Ｐゴシック" charset="0"/>
                <a:cs typeface="ＭＳ Ｐゴシック" charset="0"/>
              </a:rPr>
              <a:t>The Edge-Cloud</a:t>
            </a:r>
            <a:r>
              <a:rPr lang="en-US" sz="1200" kern="1200" baseline="0" dirty="0">
                <a:solidFill>
                  <a:schemeClr val="tx1"/>
                </a:solidFill>
                <a:effectLst/>
                <a:latin typeface="+mn-lt"/>
                <a:ea typeface="ＭＳ Ｐゴシック" charset="0"/>
                <a:cs typeface="ＭＳ Ｐゴシック" charset="0"/>
              </a:rPr>
              <a:t> Continuum offers the promise of an underlying infrastructure that </a:t>
            </a:r>
            <a:r>
              <a:rPr lang="en-US" sz="1200" kern="1200" dirty="0">
                <a:solidFill>
                  <a:schemeClr val="tx1"/>
                </a:solidFill>
                <a:effectLst/>
                <a:latin typeface="+mn-lt"/>
                <a:ea typeface="ＭＳ Ｐゴシック" charset="0"/>
                <a:cs typeface="ＭＳ Ｐゴシック" charset="0"/>
              </a:rPr>
              <a:t>can migrate workloads dynamically based on criteria such as available resources, the performance characteristics of the workload, and the maximum acceptable cost to process that specific workload at that ti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ＭＳ Ｐゴシック" charset="0"/>
                <a:cs typeface="ＭＳ Ｐゴシック" charset="0"/>
              </a:rPr>
              <a:t>The</a:t>
            </a:r>
            <a:r>
              <a:rPr lang="en-US" sz="1200" kern="1200" baseline="0" dirty="0">
                <a:solidFill>
                  <a:schemeClr val="tx1"/>
                </a:solidFill>
                <a:effectLst/>
                <a:latin typeface="+mn-lt"/>
                <a:ea typeface="ＭＳ Ｐゴシック" charset="0"/>
                <a:cs typeface="ＭＳ Ｐゴシック" charset="0"/>
              </a:rPr>
              <a:t> Edge-Cloud Continuum </a:t>
            </a:r>
            <a:r>
              <a:rPr lang="en-US" sz="1200" kern="1200" dirty="0">
                <a:solidFill>
                  <a:schemeClr val="tx1"/>
                </a:solidFill>
                <a:effectLst/>
                <a:latin typeface="+mn-lt"/>
                <a:ea typeface="ＭＳ Ｐゴシック" charset="0"/>
                <a:cs typeface="ＭＳ Ｐゴシック" charset="0"/>
              </a:rPr>
              <a:t>will also create a virtuous cycle effect where data combined with AI and ML will provide insights into building better apps that can produce</a:t>
            </a:r>
            <a:r>
              <a:rPr lang="en-US" sz="1200" kern="1200" baseline="0" dirty="0">
                <a:solidFill>
                  <a:schemeClr val="tx1"/>
                </a:solidFill>
                <a:effectLst/>
                <a:latin typeface="+mn-lt"/>
                <a:ea typeface="ＭＳ Ｐゴシック" charset="0"/>
                <a:cs typeface="ＭＳ Ｐゴシック" charset="0"/>
              </a:rPr>
              <a:t> higher-quality data and insights and so on</a:t>
            </a:r>
            <a:r>
              <a:rPr lang="en-US" sz="1200" kern="1200" dirty="0">
                <a:solidFill>
                  <a:schemeClr val="tx1"/>
                </a:solidFill>
                <a:effectLst/>
                <a:latin typeface="+mn-lt"/>
                <a:ea typeface="ＭＳ Ｐゴシック" charset="0"/>
                <a:cs typeface="ＭＳ Ｐゴシック"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ＭＳ Ｐゴシック" charset="0"/>
                <a:cs typeface="ＭＳ Ｐゴシック" charset="0"/>
              </a:rPr>
              <a:t>However, in order to develop edge-native and even edge-enhanced apps new classes of data-centric software development tools and programming languages will have to emerge – similar to how </a:t>
            </a:r>
            <a:r>
              <a:rPr lang="en-US" sz="1200" kern="1200" dirty="0" err="1">
                <a:solidFill>
                  <a:schemeClr val="tx1"/>
                </a:solidFill>
                <a:effectLst/>
                <a:latin typeface="+mn-lt"/>
                <a:ea typeface="ＭＳ Ｐゴシック" charset="0"/>
                <a:cs typeface="ＭＳ Ｐゴシック" charset="0"/>
              </a:rPr>
              <a:t>Issac</a:t>
            </a:r>
            <a:r>
              <a:rPr lang="en-US" sz="1200" kern="1200" dirty="0">
                <a:solidFill>
                  <a:schemeClr val="tx1"/>
                </a:solidFill>
                <a:effectLst/>
                <a:latin typeface="+mn-lt"/>
                <a:ea typeface="ＭＳ Ｐゴシック" charset="0"/>
                <a:cs typeface="ＭＳ Ｐゴシック" charset="0"/>
              </a:rPr>
              <a:t> Newton developed calculus to help him better understand physics and geometr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ＭＳ Ｐゴシック" charset="0"/>
                <a:cs typeface="ＭＳ Ｐゴシック" charset="0"/>
              </a:rPr>
              <a:t>This will create a new demands for developers with these new skillsets and expertise to build these new types of apps. There is certainly no doubt that AI-enabled machines themselves will fill many of these new development roles in order to achieve the high production cycles required</a:t>
            </a:r>
            <a:endParaRPr lang="en-US" sz="1200" dirty="0">
              <a:latin typeface="+mn-lt"/>
            </a:endParaRPr>
          </a:p>
          <a:p>
            <a:pPr marL="0" indent="0">
              <a:buNone/>
            </a:pPr>
            <a:endParaRPr lang="en-US" sz="1200" kern="1200" dirty="0">
              <a:solidFill>
                <a:schemeClr val="bg1">
                  <a:lumMod val="50000"/>
                </a:schemeClr>
              </a:solidFill>
              <a:latin typeface="+mn-lt"/>
              <a:ea typeface="ＭＳ Ｐゴシック" charset="0"/>
              <a:cs typeface="CiscoSansTT ExtraLight" pitchFamily="34" charset="0"/>
            </a:endParaRPr>
          </a:p>
          <a:p>
            <a:pPr marL="0" indent="0">
              <a:buNone/>
            </a:pPr>
            <a:r>
              <a:rPr lang="en-US" sz="1200" b="1" kern="1200" dirty="0">
                <a:solidFill>
                  <a:schemeClr val="bg1">
                    <a:lumMod val="50000"/>
                  </a:schemeClr>
                </a:solidFill>
                <a:latin typeface="+mn-lt"/>
                <a:ea typeface="ＭＳ Ｐゴシック" charset="0"/>
                <a:cs typeface="CiscoSansTT ExtraLight" pitchFamily="34" charset="0"/>
              </a:rPr>
              <a:t>THREE</a:t>
            </a:r>
          </a:p>
          <a:p>
            <a:pPr marL="0" indent="0">
              <a:buNone/>
            </a:pPr>
            <a:r>
              <a:rPr lang="en-US" sz="1600" b="1" dirty="0">
                <a:solidFill>
                  <a:schemeClr val="bg2"/>
                </a:solidFill>
              </a:rPr>
              <a:t>Developers Demand </a:t>
            </a:r>
            <a:r>
              <a:rPr lang="en-US" sz="1600" b="1" dirty="0" err="1">
                <a:solidFill>
                  <a:schemeClr val="bg2"/>
                </a:solidFill>
              </a:rPr>
              <a:t>MultiCloud</a:t>
            </a:r>
            <a:r>
              <a:rPr lang="en-US" sz="1600" b="1" dirty="0">
                <a:solidFill>
                  <a:schemeClr val="bg2"/>
                </a:solidFill>
              </a:rPr>
              <a:t> Flexibility</a:t>
            </a:r>
          </a:p>
          <a:p>
            <a:pPr>
              <a:spcBef>
                <a:spcPts val="600"/>
              </a:spcBef>
            </a:pPr>
            <a:r>
              <a:rPr lang="en-US" sz="1200" b="1" dirty="0">
                <a:solidFill>
                  <a:schemeClr val="bg2"/>
                </a:solidFill>
              </a:rPr>
              <a:t>Unprecedented app development speed and scale</a:t>
            </a:r>
          </a:p>
          <a:p>
            <a:pPr>
              <a:spcBef>
                <a:spcPts val="600"/>
              </a:spcBef>
            </a:pPr>
            <a:r>
              <a:rPr lang="en-US" sz="1200" b="1" dirty="0">
                <a:solidFill>
                  <a:schemeClr val="bg2"/>
                </a:solidFill>
              </a:rPr>
              <a:t>IT complexity exposing new attack surfaces</a:t>
            </a:r>
          </a:p>
          <a:p>
            <a:pPr marL="0" indent="0">
              <a:buNone/>
            </a:pPr>
            <a:endParaRPr lang="en-US" sz="1200" kern="1200" dirty="0">
              <a:solidFill>
                <a:schemeClr val="bg1">
                  <a:lumMod val="50000"/>
                </a:schemeClr>
              </a:solidFill>
              <a:latin typeface="+mn-lt"/>
              <a:ea typeface="ＭＳ Ｐゴシック" charset="0"/>
              <a:cs typeface="CiscoSansTT ExtraLight" pitchFamily="34" charset="0"/>
            </a:endParaRPr>
          </a:p>
          <a:p>
            <a:pPr marL="171450" indent="-171450">
              <a:buFont typeface="Arial" panose="020B0604020202020204" pitchFamily="34" charset="0"/>
              <a:buChar char="•"/>
            </a:pPr>
            <a:r>
              <a:rPr lang="en-US" sz="1200" kern="1200" dirty="0">
                <a:solidFill>
                  <a:schemeClr val="bg1">
                    <a:lumMod val="50000"/>
                  </a:schemeClr>
                </a:solidFill>
                <a:latin typeface="+mn-lt"/>
                <a:ea typeface="ＭＳ Ｐゴシック" charset="0"/>
                <a:cs typeface="CiscoSansTT ExtraLight" pitchFamily="34" charset="0"/>
              </a:rPr>
              <a:t>Developers are demanding the flexibility of the </a:t>
            </a:r>
            <a:r>
              <a:rPr lang="en-US" sz="1200" kern="1200" dirty="0" err="1">
                <a:solidFill>
                  <a:schemeClr val="bg1">
                    <a:lumMod val="50000"/>
                  </a:schemeClr>
                </a:solidFill>
                <a:latin typeface="+mn-lt"/>
                <a:ea typeface="ＭＳ Ｐゴシック" charset="0"/>
                <a:cs typeface="CiscoSansTT ExtraLight" pitchFamily="34" charset="0"/>
              </a:rPr>
              <a:t>flexibiiity</a:t>
            </a:r>
            <a:r>
              <a:rPr lang="en-US" sz="1200" kern="1200" dirty="0">
                <a:solidFill>
                  <a:schemeClr val="bg1">
                    <a:lumMod val="50000"/>
                  </a:schemeClr>
                </a:solidFill>
                <a:latin typeface="+mn-lt"/>
                <a:ea typeface="ＭＳ Ｐゴシック" charset="0"/>
                <a:cs typeface="CiscoSansTT ExtraLight" pitchFamily="34" charset="0"/>
              </a:rPr>
              <a:t> they are offered by services and platforms such as AWS and Google Cloud. </a:t>
            </a:r>
          </a:p>
          <a:p>
            <a:pPr marL="171450" indent="-171450">
              <a:buFont typeface="Arial" panose="020B0604020202020204" pitchFamily="34" charset="0"/>
              <a:buChar char="•"/>
            </a:pPr>
            <a:r>
              <a:rPr lang="en-US" sz="1200" kern="1200" dirty="0">
                <a:solidFill>
                  <a:schemeClr val="bg1">
                    <a:lumMod val="50000"/>
                  </a:schemeClr>
                </a:solidFill>
                <a:latin typeface="+mn-lt"/>
                <a:ea typeface="ＭＳ Ｐゴシック" charset="0"/>
                <a:cs typeface="CiscoSansTT ExtraLight" pitchFamily="34" charset="0"/>
              </a:rPr>
              <a:t>They are under pressure to do whatever it takes to meet their deadlines and help </a:t>
            </a:r>
            <a:r>
              <a:rPr lang="en-US" sz="1200" kern="1200" dirty="0" err="1">
                <a:solidFill>
                  <a:schemeClr val="bg1">
                    <a:lumMod val="50000"/>
                  </a:schemeClr>
                </a:solidFill>
                <a:latin typeface="+mn-lt"/>
                <a:ea typeface="ＭＳ Ｐゴシック" charset="0"/>
                <a:cs typeface="CiscoSansTT ExtraLight" pitchFamily="34" charset="0"/>
              </a:rPr>
              <a:t>ther</a:t>
            </a:r>
            <a:r>
              <a:rPr lang="en-US" sz="1200" kern="1200" dirty="0">
                <a:solidFill>
                  <a:schemeClr val="bg1">
                    <a:lumMod val="50000"/>
                  </a:schemeClr>
                </a:solidFill>
                <a:latin typeface="+mn-lt"/>
                <a:ea typeface="ＭＳ Ｐゴシック" charset="0"/>
                <a:cs typeface="CiscoSansTT ExtraLight" pitchFamily="34" charset="0"/>
              </a:rPr>
              <a:t> </a:t>
            </a:r>
            <a:r>
              <a:rPr lang="en-US" sz="1200" kern="1200" dirty="0" err="1">
                <a:solidFill>
                  <a:schemeClr val="bg1">
                    <a:lumMod val="50000"/>
                  </a:schemeClr>
                </a:solidFill>
                <a:latin typeface="+mn-lt"/>
                <a:ea typeface="ＭＳ Ｐゴシック" charset="0"/>
                <a:cs typeface="CiscoSansTT ExtraLight" pitchFamily="34" charset="0"/>
              </a:rPr>
              <a:t>LoBs</a:t>
            </a:r>
            <a:r>
              <a:rPr lang="en-US" sz="1200" kern="1200" dirty="0">
                <a:solidFill>
                  <a:schemeClr val="bg1">
                    <a:lumMod val="50000"/>
                  </a:schemeClr>
                </a:solidFill>
                <a:latin typeface="+mn-lt"/>
                <a:ea typeface="ＭＳ Ｐゴシック" charset="0"/>
                <a:cs typeface="CiscoSansTT ExtraLight" pitchFamily="34" charset="0"/>
              </a:rPr>
              <a:t> stay competitive </a:t>
            </a:r>
          </a:p>
          <a:p>
            <a:pPr marL="171450" indent="-171450">
              <a:buFont typeface="Arial" panose="020B0604020202020204" pitchFamily="34" charset="0"/>
              <a:buChar char="•"/>
            </a:pPr>
            <a:r>
              <a:rPr lang="en-US" sz="1200" kern="1200" dirty="0">
                <a:solidFill>
                  <a:schemeClr val="bg1">
                    <a:lumMod val="50000"/>
                  </a:schemeClr>
                </a:solidFill>
                <a:latin typeface="+mn-lt"/>
                <a:ea typeface="ＭＳ Ｐゴシック" charset="0"/>
                <a:cs typeface="CiscoSansTT ExtraLight" pitchFamily="34" charset="0"/>
              </a:rPr>
              <a:t>This new world means developing applications at </a:t>
            </a:r>
            <a:r>
              <a:rPr lang="en-US" sz="1200" kern="1200" dirty="0" err="1">
                <a:solidFill>
                  <a:schemeClr val="bg1">
                    <a:lumMod val="50000"/>
                  </a:schemeClr>
                </a:solidFill>
                <a:latin typeface="+mn-lt"/>
                <a:ea typeface="ＭＳ Ｐゴシック" charset="0"/>
                <a:cs typeface="CiscoSansTT ExtraLight" pitchFamily="34" charset="0"/>
              </a:rPr>
              <a:t>unprecendented</a:t>
            </a:r>
            <a:r>
              <a:rPr lang="en-US" sz="1200" kern="1200" dirty="0">
                <a:solidFill>
                  <a:schemeClr val="bg1">
                    <a:lumMod val="50000"/>
                  </a:schemeClr>
                </a:solidFill>
                <a:latin typeface="+mn-lt"/>
                <a:ea typeface="ＭＳ Ｐゴシック" charset="0"/>
                <a:cs typeface="CiscoSansTT ExtraLight" pitchFamily="34" charset="0"/>
              </a:rPr>
              <a:t> speeds and scaling those applications to meet the needs of thousands, if not millions of users delivering even more transactions per second</a:t>
            </a:r>
          </a:p>
          <a:p>
            <a:pPr marL="171450" indent="-171450">
              <a:buFont typeface="Arial" panose="020B0604020202020204" pitchFamily="34" charset="0"/>
              <a:buChar char="•"/>
            </a:pPr>
            <a:r>
              <a:rPr lang="en-US" sz="1200" kern="1200" dirty="0">
                <a:solidFill>
                  <a:schemeClr val="bg1">
                    <a:lumMod val="50000"/>
                  </a:schemeClr>
                </a:solidFill>
                <a:latin typeface="+mn-lt"/>
                <a:ea typeface="ＭＳ Ｐゴシック" charset="0"/>
                <a:cs typeface="CiscoSansTT ExtraLight" pitchFamily="34" charset="0"/>
              </a:rPr>
              <a:t>But as IT works to meet it’s SLAs of maintaining a secure platform that complies with external regulatory commitments and internal compliance mandates, we see a constant struggle for a common ground</a:t>
            </a:r>
          </a:p>
          <a:p>
            <a:pPr marL="171450" indent="-171450">
              <a:buFont typeface="Arial" panose="020B0604020202020204" pitchFamily="34" charset="0"/>
              <a:buChar char="•"/>
            </a:pPr>
            <a:br>
              <a:rPr lang="en-US" sz="1200" kern="1200" dirty="0">
                <a:solidFill>
                  <a:schemeClr val="bg1">
                    <a:lumMod val="50000"/>
                  </a:schemeClr>
                </a:solidFill>
                <a:latin typeface="+mn-lt"/>
                <a:ea typeface="ＭＳ Ｐゴシック" charset="0"/>
                <a:cs typeface="CiscoSansTT ExtraLight" pitchFamily="34" charset="0"/>
              </a:rPr>
            </a:br>
            <a:r>
              <a:rPr lang="en-US" sz="1200" kern="1200" dirty="0">
                <a:solidFill>
                  <a:schemeClr val="tx1"/>
                </a:solidFill>
                <a:effectLst/>
                <a:latin typeface="+mn-lt"/>
                <a:ea typeface="ＭＳ Ｐゴシック" charset="0"/>
                <a:cs typeface="ＭＳ Ｐゴシック" charset="0"/>
              </a:rPr>
              <a:t>One clear implication is for digital businesses looking to transition to an</a:t>
            </a:r>
            <a:r>
              <a:rPr lang="en-US" sz="1200" kern="1200" baseline="0" dirty="0">
                <a:solidFill>
                  <a:schemeClr val="tx1"/>
                </a:solidFill>
                <a:effectLst/>
                <a:latin typeface="+mn-lt"/>
                <a:ea typeface="ＭＳ Ｐゴシック" charset="0"/>
                <a:cs typeface="ＭＳ Ｐゴシック" charset="0"/>
              </a:rPr>
              <a:t> Edge-Cloud Continuum is that the existing </a:t>
            </a:r>
            <a:r>
              <a:rPr lang="en-US" sz="1200" kern="1200" dirty="0">
                <a:solidFill>
                  <a:schemeClr val="tx1"/>
                </a:solidFill>
                <a:effectLst/>
                <a:latin typeface="+mn-lt"/>
                <a:ea typeface="ＭＳ Ｐゴシック" charset="0"/>
                <a:cs typeface="ＭＳ Ｐゴシック" charset="0"/>
              </a:rPr>
              <a:t>IT infrastructure will not be able to handle the volume and rate of change that will define this new era  </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This requires</a:t>
            </a:r>
            <a:r>
              <a:rPr lang="en-US" sz="1200" kern="1200" baseline="0" dirty="0">
                <a:solidFill>
                  <a:schemeClr val="tx1"/>
                </a:solidFill>
                <a:effectLst/>
                <a:latin typeface="+mn-lt"/>
                <a:ea typeface="ＭＳ Ｐゴシック" charset="0"/>
                <a:cs typeface="ＭＳ Ｐゴシック" charset="0"/>
              </a:rPr>
              <a:t> new investments into the underlying </a:t>
            </a:r>
            <a:r>
              <a:rPr lang="en-US" sz="1200" kern="1200" dirty="0">
                <a:solidFill>
                  <a:schemeClr val="tx1"/>
                </a:solidFill>
                <a:effectLst/>
                <a:latin typeface="+mn-lt"/>
                <a:ea typeface="ＭＳ Ｐゴシック" charset="0"/>
                <a:cs typeface="ＭＳ Ｐゴシック" charset="0"/>
              </a:rPr>
              <a:t>infrastructure that can operate in the new paradigms by being as agile and intelligent as the devices that run on top of it. </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This</a:t>
            </a:r>
            <a:r>
              <a:rPr lang="en-US" sz="1200" kern="1200" baseline="0" dirty="0">
                <a:solidFill>
                  <a:schemeClr val="tx1"/>
                </a:solidFill>
                <a:effectLst/>
                <a:latin typeface="+mn-lt"/>
                <a:ea typeface="ＭＳ Ｐゴシック" charset="0"/>
                <a:cs typeface="ＭＳ Ｐゴシック" charset="0"/>
              </a:rPr>
              <a:t> </a:t>
            </a:r>
            <a:r>
              <a:rPr lang="en-US" sz="1200" kern="1200" dirty="0">
                <a:solidFill>
                  <a:schemeClr val="tx1"/>
                </a:solidFill>
                <a:effectLst/>
                <a:latin typeface="+mn-lt"/>
                <a:ea typeface="ＭＳ Ｐゴシック" charset="0"/>
                <a:cs typeface="ＭＳ Ｐゴシック" charset="0"/>
              </a:rPr>
              <a:t>new infrastructure must fundamentally understand how AI and ML-enabled apps work and </a:t>
            </a:r>
            <a:r>
              <a:rPr lang="en-US" sz="1200" i="1" kern="1200" dirty="0">
                <a:solidFill>
                  <a:schemeClr val="tx1"/>
                </a:solidFill>
                <a:effectLst/>
                <a:latin typeface="+mn-lt"/>
                <a:ea typeface="ＭＳ Ｐゴシック" charset="0"/>
                <a:cs typeface="ＭＳ Ｐゴシック" charset="0"/>
              </a:rPr>
              <a:t>intuit</a:t>
            </a:r>
            <a:r>
              <a:rPr lang="en-US" sz="1200" kern="1200" dirty="0">
                <a:solidFill>
                  <a:schemeClr val="tx1"/>
                </a:solidFill>
                <a:effectLst/>
                <a:latin typeface="+mn-lt"/>
                <a:ea typeface="ＭＳ Ｐゴシック" charset="0"/>
                <a:cs typeface="ＭＳ Ｐゴシック" charset="0"/>
              </a:rPr>
              <a:t> what they require at the user/device level in terms of preferences, locations, capacity, and</a:t>
            </a:r>
            <a:r>
              <a:rPr lang="en-US" sz="1200" kern="1200" baseline="0" dirty="0">
                <a:solidFill>
                  <a:schemeClr val="tx1"/>
                </a:solidFill>
                <a:effectLst/>
                <a:latin typeface="+mn-lt"/>
                <a:ea typeface="ＭＳ Ｐゴシック" charset="0"/>
                <a:cs typeface="ＭＳ Ｐゴシック" charset="0"/>
              </a:rPr>
              <a:t> other factors</a:t>
            </a:r>
          </a:p>
          <a:p>
            <a:pPr marL="171450" indent="-171450">
              <a:buFont typeface="Arial" panose="020B0604020202020204" pitchFamily="34" charset="0"/>
              <a:buChar char="•"/>
            </a:pPr>
            <a:r>
              <a:rPr lang="en-US" sz="1200" kern="1200" baseline="0" dirty="0">
                <a:solidFill>
                  <a:schemeClr val="tx1"/>
                </a:solidFill>
                <a:effectLst/>
                <a:latin typeface="+mn-lt"/>
                <a:ea typeface="ＭＳ Ｐゴシック" charset="0"/>
                <a:cs typeface="ＭＳ Ｐゴシック" charset="0"/>
              </a:rPr>
              <a:t>Cisco has developed a comprehensive, Multicloud Data Center strategy to guide customers through their individual and unique transitions. </a:t>
            </a:r>
            <a:endParaRPr lang="en-US" sz="1200" dirty="0">
              <a:latin typeface="+mn-lt"/>
            </a:endParaRPr>
          </a:p>
          <a:p>
            <a:endParaRPr lang="de-DE"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0429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8</a:t>
            </a:fld>
            <a:endParaRPr lang="en-US"/>
          </a:p>
        </p:txBody>
      </p:sp>
    </p:spTree>
    <p:extLst>
      <p:ext uri="{BB962C8B-B14F-4D97-AF65-F5344CB8AC3E}">
        <p14:creationId xmlns:p14="http://schemas.microsoft.com/office/powerpoint/2010/main" val="34781791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ＭＳ Ｐゴシック" charset="0"/>
                <a:cs typeface="ＭＳ Ｐゴシック" charset="0"/>
              </a:rPr>
              <a:t>With applications active at all points on the network, the data center can no longer be confined to a specific place, but more of a nerve cluster situated where the data is—which could be anywhere along the edge-cloud continuum. At the edge, where new data is generated. In the cloud or on-premise, where it’s processed. Wherever it makes the most sense to execute at speed. Ready and able to provide intelligence on the spot. Ready for change. Ready for growth. Ready for whatever the organization needs next. </a:t>
            </a:r>
          </a:p>
          <a:p>
            <a:endParaRPr lang="de-DE"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39258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kern="1200" dirty="0">
                <a:solidFill>
                  <a:schemeClr val="tx1"/>
                </a:solidFill>
                <a:effectLst/>
                <a:latin typeface="+mn-lt"/>
                <a:ea typeface="ＭＳ Ｐゴシック" charset="0"/>
                <a:cs typeface="ＭＳ Ｐゴシック" charset="0"/>
              </a:rPr>
              <a:t>Cisco differentiation</a:t>
            </a:r>
            <a:r>
              <a:rPr lang="en-US" sz="1200" kern="1200" dirty="0">
                <a:solidFill>
                  <a:schemeClr val="tx1"/>
                </a:solidFill>
                <a:effectLst/>
                <a:latin typeface="+mn-lt"/>
                <a:ea typeface="ＭＳ Ｐゴシック" charset="0"/>
                <a:cs typeface="ＭＳ Ｐゴシック" charset="0"/>
              </a:rPr>
              <a:t>: </a:t>
            </a:r>
          </a:p>
          <a:p>
            <a:r>
              <a:rPr lang="en-US" sz="1200" kern="1200" dirty="0">
                <a:solidFill>
                  <a:schemeClr val="tx1"/>
                </a:solidFill>
                <a:effectLst/>
                <a:latin typeface="+mn-lt"/>
                <a:ea typeface="ＭＳ Ｐゴシック" charset="0"/>
                <a:cs typeface="ＭＳ Ｐゴシック" charset="0"/>
              </a:rPr>
              <a:t>Unlike the limited scope of point product vendors, Cisco has developed a holistic infrastructure strategy that takes an architectural approach toward solving the unique challenges of the edge-cloud continuum. Using this architecture, Cisco can guide customers in a step-by-step journey that prioritizes their technology investments and accelerates solution deployments across automation, </a:t>
            </a:r>
            <a:r>
              <a:rPr lang="en-US" sz="1200" kern="1200" dirty="0" err="1">
                <a:solidFill>
                  <a:schemeClr val="tx1"/>
                </a:solidFill>
                <a:effectLst/>
                <a:latin typeface="+mn-lt"/>
                <a:ea typeface="ＭＳ Ｐゴシック" charset="0"/>
                <a:cs typeface="ＭＳ Ｐゴシック" charset="0"/>
              </a:rPr>
              <a:t>multicloud</a:t>
            </a:r>
            <a:r>
              <a:rPr lang="en-US" sz="1200" kern="1200" dirty="0">
                <a:solidFill>
                  <a:schemeClr val="tx1"/>
                </a:solidFill>
                <a:effectLst/>
                <a:latin typeface="+mn-lt"/>
                <a:ea typeface="ＭＳ Ｐゴシック" charset="0"/>
                <a:cs typeface="ＭＳ Ｐゴシック" charset="0"/>
              </a:rPr>
              <a:t> and security.</a:t>
            </a:r>
          </a:p>
          <a:p>
            <a:pPr lvl="0"/>
            <a:endParaRPr lang="en-US" sz="1200" kern="1200" dirty="0">
              <a:solidFill>
                <a:schemeClr val="tx1"/>
              </a:solidFill>
              <a:effectLst/>
              <a:latin typeface="+mn-lt"/>
              <a:ea typeface="ＭＳ Ｐゴシック" charset="0"/>
              <a:cs typeface="ＭＳ Ｐゴシック" charset="0"/>
            </a:endParaRPr>
          </a:p>
          <a:p>
            <a:pPr lvl="0"/>
            <a:r>
              <a:rPr lang="en-US" sz="1200" kern="1200" dirty="0">
                <a:solidFill>
                  <a:schemeClr val="tx1"/>
                </a:solidFill>
                <a:effectLst/>
                <a:latin typeface="+mn-lt"/>
                <a:ea typeface="ＭＳ Ｐゴシック" charset="0"/>
                <a:cs typeface="ＭＳ Ｐゴシック" charset="0"/>
              </a:rPr>
              <a:t>Automation: Cisco provides a full lifecycle of automation from programmable infrastructure, to single-pane of glass management, and now for a new networking model that delivers automation at scale by continuously aligning the network to business intent. Included in this portfolio is Cisco Network Assurance Engine, which brings together the most comprehensive, mathematically-accurate network models, over 30 years of Cisco’s operational domain knowledge, and thousands of codified failure scenarios that run right out of the box.  </a:t>
            </a:r>
          </a:p>
          <a:p>
            <a:pPr lvl="0"/>
            <a:endParaRPr lang="en-US" sz="1200" kern="1200" dirty="0">
              <a:solidFill>
                <a:schemeClr val="tx1"/>
              </a:solidFill>
              <a:effectLst/>
              <a:latin typeface="+mn-lt"/>
              <a:ea typeface="ＭＳ Ｐゴシック" charset="0"/>
              <a:cs typeface="ＭＳ Ｐゴシック" charset="0"/>
            </a:endParaRPr>
          </a:p>
          <a:p>
            <a:pPr lvl="0"/>
            <a:r>
              <a:rPr lang="en-US" sz="1200" kern="1200" dirty="0">
                <a:solidFill>
                  <a:schemeClr val="tx1"/>
                </a:solidFill>
                <a:effectLst/>
                <a:latin typeface="+mn-lt"/>
                <a:ea typeface="ＭＳ Ｐゴシック" charset="0"/>
                <a:cs typeface="ＭＳ Ｐゴシック" charset="0"/>
              </a:rPr>
              <a:t>Multicloud: Cisco can partner with customers and guide them throughout their Multicloud journey. Cisco can do this because we are integrated with every cloud, and are the only vendor that can seamlessly port the user-device-app policy into any cloud environment without lock-in</a:t>
            </a:r>
            <a:r>
              <a:rPr lang="en-US" sz="1200" u="sng" kern="1200" dirty="0">
                <a:solidFill>
                  <a:schemeClr val="tx1"/>
                </a:solidFill>
                <a:effectLst/>
                <a:latin typeface="+mn-lt"/>
                <a:ea typeface="ＭＳ Ｐゴシック" charset="0"/>
                <a:cs typeface="ＭＳ Ｐゴシック" charset="0"/>
              </a:rPr>
              <a:t> </a:t>
            </a:r>
            <a:r>
              <a:rPr lang="en-US" sz="1200" kern="1200" dirty="0">
                <a:solidFill>
                  <a:schemeClr val="tx1"/>
                </a:solidFill>
                <a:effectLst/>
                <a:latin typeface="+mn-lt"/>
                <a:ea typeface="ＭＳ Ｐゴシック" charset="0"/>
                <a:cs typeface="ＭＳ Ｐゴシック" charset="0"/>
              </a:rPr>
              <a:t>through app-centric capabilities of the Cisco ACI.</a:t>
            </a:r>
          </a:p>
          <a:p>
            <a:pPr lvl="0"/>
            <a:endParaRPr lang="en-US" sz="1200" kern="1200" dirty="0">
              <a:solidFill>
                <a:schemeClr val="tx1"/>
              </a:solidFill>
              <a:effectLst/>
              <a:latin typeface="+mn-lt"/>
              <a:ea typeface="ＭＳ Ｐゴシック" charset="0"/>
              <a:cs typeface="ＭＳ Ｐゴシック" charset="0"/>
            </a:endParaRPr>
          </a:p>
          <a:p>
            <a:pPr lvl="0"/>
            <a:r>
              <a:rPr lang="en-US" sz="1200" kern="1200" dirty="0">
                <a:solidFill>
                  <a:schemeClr val="tx1"/>
                </a:solidFill>
                <a:effectLst/>
                <a:latin typeface="+mn-lt"/>
                <a:ea typeface="ＭＳ Ｐゴシック" charset="0"/>
                <a:cs typeface="ＭＳ Ｐゴシック" charset="0"/>
              </a:rPr>
              <a:t>Security: Among our comprehensive security portfolio is Cisco </a:t>
            </a:r>
            <a:r>
              <a:rPr lang="en-US" sz="1200" kern="1200" dirty="0" err="1">
                <a:solidFill>
                  <a:schemeClr val="tx1"/>
                </a:solidFill>
                <a:effectLst/>
                <a:latin typeface="+mn-lt"/>
                <a:ea typeface="ＭＳ Ｐゴシック" charset="0"/>
                <a:cs typeface="ＭＳ Ｐゴシック" charset="0"/>
              </a:rPr>
              <a:t>Talos</a:t>
            </a:r>
            <a:r>
              <a:rPr lang="en-US" sz="1200" kern="1200" dirty="0">
                <a:solidFill>
                  <a:schemeClr val="tx1"/>
                </a:solidFill>
                <a:effectLst/>
                <a:latin typeface="+mn-lt"/>
                <a:ea typeface="ＭＳ Ｐゴシック" charset="0"/>
                <a:cs typeface="ＭＳ Ｐゴシック" charset="0"/>
              </a:rPr>
              <a:t> that consists of global teams of threat researchers who are supported by sophisticated cloud-based, AI-enabled systems forming the security industry’s leading commercial threat intelligence service. </a:t>
            </a:r>
            <a:r>
              <a:rPr lang="en-US" sz="1200" kern="1200" dirty="0" err="1">
                <a:solidFill>
                  <a:schemeClr val="tx1"/>
                </a:solidFill>
                <a:effectLst/>
                <a:latin typeface="+mn-lt"/>
                <a:ea typeface="ＭＳ Ｐゴシック" charset="0"/>
                <a:cs typeface="ＭＳ Ｐゴシック" charset="0"/>
              </a:rPr>
              <a:t>Talos</a:t>
            </a:r>
            <a:r>
              <a:rPr lang="en-US" sz="1200" kern="1200" dirty="0">
                <a:solidFill>
                  <a:schemeClr val="tx1"/>
                </a:solidFill>
                <a:effectLst/>
                <a:latin typeface="+mn-lt"/>
                <a:ea typeface="ＭＳ Ｐゴシック" charset="0"/>
                <a:cs typeface="ＭＳ Ｐゴシック" charset="0"/>
              </a:rPr>
              <a:t> protects enterprise apps and data by blocking more than 19.6 billion threats daily or about 2.5 million threats a second. And with Cisco </a:t>
            </a:r>
            <a:r>
              <a:rPr lang="en-US" sz="1200" kern="1200" dirty="0" err="1">
                <a:solidFill>
                  <a:schemeClr val="tx1"/>
                </a:solidFill>
                <a:effectLst/>
                <a:latin typeface="+mn-lt"/>
                <a:ea typeface="ＭＳ Ｐゴシック" charset="0"/>
                <a:cs typeface="ＭＳ Ｐゴシック" charset="0"/>
              </a:rPr>
              <a:t>Tetration</a:t>
            </a:r>
            <a:r>
              <a:rPr lang="en-US" sz="1200" kern="1200" dirty="0">
                <a:solidFill>
                  <a:schemeClr val="tx1"/>
                </a:solidFill>
                <a:effectLst/>
                <a:latin typeface="+mn-lt"/>
                <a:ea typeface="ＭＳ Ｐゴシック" charset="0"/>
                <a:cs typeface="ＭＳ Ｐゴシック" charset="0"/>
              </a:rPr>
              <a:t>, Cisco is the only vendor that looks at every packet and flow to benchmark and then flag anomalies.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619CBBC-277B-C742-B46E-C2116AE13F9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02160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71393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hyperlink" Target="http://ciscolive.com/Online" TargetMode="External"/><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hyperlink" Target="http://www.ciscolive.com/Global" TargetMode="Externa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2.emf"/><Relationship Id="rId4" Type="http://schemas.openxmlformats.org/officeDocument/2006/relationships/oleObject" Target="../embeddings/oleObject2.bin"/></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56736"/>
            <a:ext cx="8296421" cy="288131"/>
          </a:xfrm>
          <a:prstGeom prst="rect">
            <a:avLst/>
          </a:prstGeom>
        </p:spPr>
        <p:txBody>
          <a:bodyPr lIns="91420" tIns="45710" rIns="91420" bIns="45710" anchor="b" anchorCtr="0">
            <a:noAutofit/>
          </a:bodyPr>
          <a:lstStyle>
            <a:lvl1pPr marL="0" indent="0" algn="l">
              <a:buNone/>
              <a:defRPr sz="1800" b="0" i="0">
                <a:solidFill>
                  <a:schemeClr val="bg1">
                    <a:lumMod val="75000"/>
                  </a:schemeClr>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72669"/>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04365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lumMod val="75000"/>
                  </a:schemeClr>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Tree>
    <p:extLst>
      <p:ext uri="{BB962C8B-B14F-4D97-AF65-F5344CB8AC3E}">
        <p14:creationId xmlns:p14="http://schemas.microsoft.com/office/powerpoint/2010/main" val="2122942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3164433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userDrawn="1"/>
        </p:nvSpPr>
        <p:spPr bwMode="ltGray">
          <a:xfrm>
            <a:off x="477678" y="4704561"/>
            <a:ext cx="329688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3910276722"/>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r>
              <a:rPr lang="en-US"/>
              <a:t>Drag picture to placeholder or click icon to add</a:t>
            </a:r>
            <a:endParaRPr lang="en-US" dirty="0"/>
          </a:p>
        </p:txBody>
      </p:sp>
      <p:sp>
        <p:nvSpPr>
          <p:cNvPr id="8" name="Rectangle 4"/>
          <p:cNvSpPr>
            <a:spLocks noChangeArrowheads="1"/>
          </p:cNvSpPr>
          <p:nvPr userDrawn="1"/>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595123929"/>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userDrawn="1"/>
        </p:nvSpPr>
        <p:spPr bwMode="ltGray">
          <a:xfrm>
            <a:off x="477678" y="4741653"/>
            <a:ext cx="3179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68366227"/>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userDrawn="1"/>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1008533776"/>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50793121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_Half_Page_Text">
    <p:spTree>
      <p:nvGrpSpPr>
        <p:cNvPr id="1" name=""/>
        <p:cNvGrpSpPr/>
        <p:nvPr/>
      </p:nvGrpSpPr>
      <p:grpSpPr>
        <a:xfrm>
          <a:off x="0" y="0"/>
          <a:ext cx="0" cy="0"/>
          <a:chOff x="0" y="0"/>
          <a:chExt cx="0" cy="0"/>
        </a:xfrm>
      </p:grpSpPr>
      <p:sp>
        <p:nvSpPr>
          <p:cNvPr id="4" name="Rectangle 3"/>
          <p:cNvSpPr/>
          <p:nvPr userDrawn="1"/>
        </p:nvSpPr>
        <p:spPr>
          <a:xfrm>
            <a:off x="0" y="0"/>
            <a:ext cx="366811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2849617"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1002780631"/>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Half_Page_Blank">
    <p:spTree>
      <p:nvGrpSpPr>
        <p:cNvPr id="1" name=""/>
        <p:cNvGrpSpPr/>
        <p:nvPr/>
      </p:nvGrpSpPr>
      <p:grpSpPr>
        <a:xfrm>
          <a:off x="0" y="0"/>
          <a:ext cx="0" cy="0"/>
          <a:chOff x="0" y="0"/>
          <a:chExt cx="0" cy="0"/>
        </a:xfrm>
      </p:grpSpPr>
      <p:sp>
        <p:nvSpPr>
          <p:cNvPr id="5" name="Rectangle 4"/>
          <p:cNvSpPr/>
          <p:nvPr userDrawn="1"/>
        </p:nvSpPr>
        <p:spPr>
          <a:xfrm>
            <a:off x="4563908"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lang="en-GB" dirty="0"/>
            </a:lvl1pPr>
          </a:lstStyle>
          <a:p>
            <a:pPr lvl="0"/>
            <a:r>
              <a:rPr lang="en-GB" dirty="0"/>
              <a:t>Click to edit Master title style</a:t>
            </a:r>
          </a:p>
        </p:txBody>
      </p:sp>
    </p:spTree>
    <p:extLst>
      <p:ext uri="{BB962C8B-B14F-4D97-AF65-F5344CB8AC3E}">
        <p14:creationId xmlns:p14="http://schemas.microsoft.com/office/powerpoint/2010/main" val="1620101520"/>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defRPr lang="en-US" sz="600" smtClean="0">
                <a:solidFill>
                  <a:schemeClr val="bg1">
                    <a:alpha val="60000"/>
                  </a:schemeClr>
                </a:solidFill>
                <a:ea typeface="ＭＳ Ｐゴシック" charset="0"/>
                <a:cs typeface="CiscoSans Thin"/>
              </a:defRPr>
            </a:lvl1pPr>
          </a:lstStyle>
          <a:p>
            <a:pPr defTabSz="610744"/>
            <a:r>
              <a:rPr>
                <a:solidFill>
                  <a:srgbClr val="FFFFFF">
                    <a:alpha val="60000"/>
                  </a:srgbClr>
                </a:solidFill>
              </a:rPr>
              <a:t>Presentation ID</a:t>
            </a:r>
            <a:endParaRPr dirty="0">
              <a:solidFill>
                <a:srgbClr val="FFFFFF">
                  <a:alpha val="60000"/>
                </a:srgbClr>
              </a:solidFill>
            </a:endParaRPr>
          </a:p>
        </p:txBody>
      </p:sp>
      <p:sp>
        <p:nvSpPr>
          <p:cNvPr id="6"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smtClean="0">
                <a:solidFill>
                  <a:srgbClr val="FFFFFF">
                    <a:alpha val="60000"/>
                  </a:srgbClr>
                </a:solidFill>
                <a:cs typeface="CiscoSans Thin"/>
              </a:defRPr>
            </a:lvl1pPr>
          </a:lstStyle>
          <a:p>
            <a:pPr defTabSz="457200"/>
            <a:fld id="{96A97DD0-5BE7-4856-A2A9-C42C6688E607}" type="slidenum">
              <a:rPr/>
              <a:pPr defTabSz="457200"/>
              <a:t>‹#›</a:t>
            </a:fld>
            <a:endParaRPr dirty="0"/>
          </a:p>
        </p:txBody>
      </p:sp>
    </p:spTree>
    <p:extLst>
      <p:ext uri="{BB962C8B-B14F-4D97-AF65-F5344CB8AC3E}">
        <p14:creationId xmlns:p14="http://schemas.microsoft.com/office/powerpoint/2010/main" val="65683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Half_Page_Blue_Blank">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477678" y="4741653"/>
            <a:ext cx="312834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kern="1200" spc="20" baseline="0" dirty="0">
                <a:solidFill>
                  <a:schemeClr val="tx2">
                    <a:alpha val="60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14584295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mod="1">
    <p:ext uri="{DCECCB84-F9BA-43D5-87BE-67443E8EF086}">
      <p15:sldGuideLst xmlns:p15="http://schemas.microsoft.com/office/powerpoint/2012/main">
        <p15:guide id="1" orient="horz" pos="1044">
          <p15:clr>
            <a:srgbClr val="FBAE40"/>
          </p15:clr>
        </p15:guide>
        <p15:guide id="2" orient="horz" pos="2193">
          <p15:clr>
            <a:srgbClr val="FBAE40"/>
          </p15:clr>
        </p15:guide>
        <p15:guide id="3" pos="2675">
          <p15:clr>
            <a:srgbClr val="FBAE40"/>
          </p15:clr>
        </p15:guide>
        <p15:guide id="4" pos="320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68769"/>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7" y="4108766"/>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3"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27901024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08803053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234143066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95607470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bg1"/>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227918768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325733378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4" y="3895663"/>
            <a:ext cx="8139112" cy="55656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4594699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329749551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19067775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userDrawn="1"/>
        </p:nvSpPr>
        <p:spPr bwMode="ltGray">
          <a:xfrm>
            <a:off x="477680" y="4741654"/>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2"/>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59667431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35776452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2680892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89672446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412353552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65701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9"/>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02380378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9"/>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20643651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10910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21" indent="-117472">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18" indent="-114297">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15" indent="-114297">
              <a:buClr>
                <a:schemeClr val="tx2"/>
              </a:buClr>
              <a:buSzPct val="60000"/>
              <a:buFont typeface="Arial"/>
              <a:buChar char="•"/>
              <a:defRPr sz="1600" b="0" i="0">
                <a:solidFill>
                  <a:schemeClr val="bg1"/>
                </a:solidFill>
                <a:latin typeface="+mn-lt"/>
                <a:ea typeface="CiscoSansTT Thin" charset="0"/>
                <a:cs typeface="CiscoSansTT Thin" charset="0"/>
              </a:defRPr>
            </a:lvl3pPr>
            <a:lvl4pPr marL="517512" indent="-114297">
              <a:buClr>
                <a:schemeClr val="tx2"/>
              </a:buClr>
              <a:buSzPct val="60000"/>
              <a:buFont typeface="Arial"/>
              <a:buChar char="•"/>
              <a:defRPr sz="1400" b="0" i="0">
                <a:solidFill>
                  <a:schemeClr val="bg1"/>
                </a:solidFill>
                <a:latin typeface="+mn-lt"/>
                <a:ea typeface="CiscoSansTT Thin" charset="0"/>
                <a:cs typeface="CiscoSansTT Thin" charset="0"/>
              </a:defRPr>
            </a:lvl4pPr>
            <a:lvl5pPr marL="631809" indent="-114297">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7" y="341314"/>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a:t>Click to edit Master title style</a:t>
            </a:r>
          </a:p>
        </p:txBody>
      </p:sp>
      <p:sp>
        <p:nvSpPr>
          <p:cNvPr id="8" name="Rectangle 4"/>
          <p:cNvSpPr>
            <a:spLocks noChangeArrowheads="1"/>
          </p:cNvSpPr>
          <p:nvPr userDrawn="1"/>
        </p:nvSpPr>
        <p:spPr bwMode="ltGray">
          <a:xfrm>
            <a:off x="477679" y="4741654"/>
            <a:ext cx="35683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032178292"/>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1"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4" y="531812"/>
            <a:ext cx="3551237" cy="4059237"/>
          </a:xfrm>
          <a:prstGeom prst="rect">
            <a:avLst/>
          </a:prstGeom>
        </p:spPr>
        <p:txBody>
          <a:bodyPr lIns="0" rIns="0" anchor="ctr" anchorCtr="0"/>
          <a:lstStyle>
            <a:lvl1pPr marL="169859" indent="-169859">
              <a:lnSpc>
                <a:spcPct val="100000"/>
              </a:lnSpc>
              <a:buClr>
                <a:schemeClr val="tx1"/>
              </a:buClr>
              <a:buSzPct val="60000"/>
              <a:buFont typeface="Arial" panose="020B0604020202020204" pitchFamily="34" charset="0"/>
              <a:buChar char="•"/>
              <a:tabLst>
                <a:tab pos="228594" algn="l"/>
              </a:tabLst>
              <a:defRPr sz="2400"/>
            </a:lvl1pPr>
            <a:lvl2pPr marL="346067" indent="-171446">
              <a:lnSpc>
                <a:spcPct val="100000"/>
              </a:lnSpc>
              <a:buClr>
                <a:schemeClr val="tx1"/>
              </a:buClr>
              <a:buSzPct val="60000"/>
              <a:buFont typeface="Arial" panose="020B0604020202020204" pitchFamily="34" charset="0"/>
              <a:buChar char="•"/>
              <a:defRPr sz="2400"/>
            </a:lvl2pPr>
            <a:lvl3pPr marL="457189" indent="-117472">
              <a:lnSpc>
                <a:spcPct val="100000"/>
              </a:lnSpc>
              <a:buClr>
                <a:schemeClr val="tx1"/>
              </a:buClr>
              <a:buSzPct val="60000"/>
              <a:buFont typeface="Arial" panose="020B0604020202020204" pitchFamily="34" charset="0"/>
              <a:buChar char="•"/>
              <a:defRPr sz="2000"/>
            </a:lvl3pPr>
            <a:lvl4pPr marL="574661" indent="-117472">
              <a:lnSpc>
                <a:spcPct val="100000"/>
              </a:lnSpc>
              <a:buClr>
                <a:schemeClr val="tx1"/>
              </a:buClr>
              <a:buSzPct val="60000"/>
              <a:buFont typeface="Arial" panose="020B0604020202020204" pitchFamily="34" charset="0"/>
              <a:buChar char="•"/>
              <a:tabLst/>
              <a:defRPr sz="1800"/>
            </a:lvl4pPr>
            <a:lvl5pPr marL="744520" indent="-112710">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userDrawn="1"/>
        </p:nvSpPr>
        <p:spPr bwMode="ltGray">
          <a:xfrm>
            <a:off x="477680" y="4741654"/>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758026111"/>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7"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4" y="510540"/>
            <a:ext cx="3551237" cy="4080510"/>
          </a:xfrm>
          <a:prstGeom prst="rect">
            <a:avLst/>
          </a:prstGeom>
        </p:spPr>
        <p:txBody>
          <a:bodyPr lIns="0" rIns="0"/>
          <a:lstStyle>
            <a:lvl1pPr marL="114297" indent="-114297">
              <a:lnSpc>
                <a:spcPct val="100000"/>
              </a:lnSpc>
              <a:buClr>
                <a:schemeClr val="tx1"/>
              </a:buClr>
              <a:buSzPct val="60000"/>
              <a:defRPr sz="2000"/>
            </a:lvl1pPr>
            <a:lvl2pPr marL="228594" indent="-114297">
              <a:lnSpc>
                <a:spcPct val="100000"/>
              </a:lnSpc>
              <a:buClr>
                <a:schemeClr val="tx1"/>
              </a:buClr>
              <a:buSzPct val="60000"/>
              <a:defRPr sz="2000"/>
            </a:lvl2pPr>
            <a:lvl3pPr marL="342892" indent="-114297">
              <a:lnSpc>
                <a:spcPct val="100000"/>
              </a:lnSpc>
              <a:buClr>
                <a:schemeClr val="tx1"/>
              </a:buClr>
              <a:buSzPct val="60000"/>
              <a:defRPr sz="1800"/>
            </a:lvl3pPr>
            <a:lvl4pPr marL="457189" indent="-123822">
              <a:lnSpc>
                <a:spcPct val="100000"/>
              </a:lnSpc>
              <a:buClr>
                <a:schemeClr val="tx1"/>
              </a:buClr>
              <a:buSzPct val="60000"/>
              <a:defRPr sz="1600"/>
            </a:lvl4pPr>
            <a:lvl5pPr marL="574661" indent="-117472">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7" y="1659843"/>
            <a:ext cx="3808797" cy="2931208"/>
          </a:xfrm>
          <a:prstGeom prst="rect">
            <a:avLst/>
          </a:prstGeom>
        </p:spPr>
        <p:txBody>
          <a:bodyPr/>
          <a:lstStyle>
            <a:lvl1pPr marL="114297" indent="-114297">
              <a:buClr>
                <a:schemeClr val="tx2"/>
              </a:buClr>
              <a:buSzPct val="60000"/>
              <a:defRPr lang="en-US" sz="2000" kern="1200" dirty="0" smtClean="0">
                <a:solidFill>
                  <a:schemeClr val="bg1"/>
                </a:solidFill>
                <a:latin typeface="+mn-lt"/>
                <a:ea typeface="ＭＳ Ｐゴシック" charset="0"/>
                <a:cs typeface="CiscoSans"/>
              </a:defRPr>
            </a:lvl1pPr>
            <a:lvl2pPr marL="228594" indent="-114297">
              <a:buClr>
                <a:schemeClr val="tx2"/>
              </a:buClr>
              <a:buSzPct val="60000"/>
              <a:defRPr sz="2000">
                <a:solidFill>
                  <a:schemeClr val="bg1"/>
                </a:solidFill>
              </a:defRPr>
            </a:lvl2pPr>
            <a:lvl3pPr marL="342892" indent="-114297">
              <a:buClr>
                <a:schemeClr val="tx2"/>
              </a:buClr>
              <a:buSzPct val="60000"/>
              <a:defRPr sz="1800">
                <a:solidFill>
                  <a:schemeClr val="bg1"/>
                </a:solidFill>
              </a:defRPr>
            </a:lvl3pPr>
            <a:lvl4pPr marL="457189" indent="-123822">
              <a:buClr>
                <a:schemeClr val="tx2"/>
              </a:buClr>
              <a:buSzPct val="60000"/>
              <a:defRPr sz="1600">
                <a:solidFill>
                  <a:schemeClr val="bg1"/>
                </a:solidFill>
              </a:defRPr>
            </a:lvl4pPr>
            <a:lvl5pPr marL="574661" indent="-117472">
              <a:buClr>
                <a:schemeClr val="tx2"/>
              </a:buClr>
              <a:buSzPct val="6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userDrawn="1"/>
        </p:nvSpPr>
        <p:spPr bwMode="ltGray">
          <a:xfrm>
            <a:off x="477679" y="4741654"/>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625438226"/>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6" y="531813"/>
            <a:ext cx="3559175" cy="3364846"/>
          </a:xfrm>
          <a:prstGeom prst="rect">
            <a:avLst/>
          </a:prstGeom>
        </p:spPr>
        <p:txBody>
          <a:bodyPr anchor="ctr" anchorCtr="0"/>
          <a:lstStyle>
            <a:lvl1pPr marL="0" indent="0" algn="ctr">
              <a:buNone/>
              <a:defRPr/>
            </a:lvl1pPr>
          </a:lstStyle>
          <a:p>
            <a:endParaRPr lang="en-US"/>
          </a:p>
        </p:txBody>
      </p:sp>
      <p:sp>
        <p:nvSpPr>
          <p:cNvPr id="9" name="Text Placeholder 8"/>
          <p:cNvSpPr>
            <a:spLocks noGrp="1"/>
          </p:cNvSpPr>
          <p:nvPr>
            <p:ph type="body" sz="quarter" idx="11"/>
          </p:nvPr>
        </p:nvSpPr>
        <p:spPr>
          <a:xfrm>
            <a:off x="5089526" y="4062351"/>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userDrawn="1"/>
        </p:nvSpPr>
        <p:spPr bwMode="ltGray">
          <a:xfrm>
            <a:off x="477680" y="4741655"/>
            <a:ext cx="2863168"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474342740"/>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6" y="531814"/>
            <a:ext cx="3559175" cy="4059236"/>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9" y="4741655"/>
            <a:ext cx="32635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909922028"/>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48923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8" name="Rectangle 4"/>
          <p:cNvSpPr>
            <a:spLocks noChangeArrowheads="1"/>
          </p:cNvSpPr>
          <p:nvPr userDrawn="1"/>
        </p:nvSpPr>
        <p:spPr bwMode="ltGray">
          <a:xfrm>
            <a:off x="477679" y="4741655"/>
            <a:ext cx="2946839"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567818433"/>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9" y="4741655"/>
            <a:ext cx="32994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427438104"/>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9" y="4741655"/>
            <a:ext cx="3179921"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4025480509"/>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9" y="4741654"/>
            <a:ext cx="3407027"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4024974911"/>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Freeform 6"/>
          <p:cNvSpPr>
            <a:spLocks noChangeAspect="1" noEditPoints="1"/>
          </p:cNvSpPr>
          <p:nvPr userDrawn="1"/>
        </p:nvSpPr>
        <p:spPr bwMode="auto">
          <a:xfrm>
            <a:off x="3762995" y="2129077"/>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330243886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353"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05239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230775486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71282886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69720462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4593657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25456341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260487964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79445267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64042153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11491996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46183626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54659009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0213319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40611688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642348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1616287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36994581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87738888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dirty="0"/>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836483165"/>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878735373"/>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650319261"/>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dirty="0"/>
              <a:t>Click to edit Master text styles</a:t>
            </a:r>
          </a:p>
        </p:txBody>
      </p:sp>
      <p:sp>
        <p:nvSpPr>
          <p:cNvPr id="10" name="Rectangle 4"/>
          <p:cNvSpPr>
            <a:spLocks noChangeArrowheads="1"/>
          </p:cNvSpPr>
          <p:nvPr userDrawn="1"/>
        </p:nvSpPr>
        <p:spPr bwMode="ltGray">
          <a:xfrm>
            <a:off x="477679" y="4741653"/>
            <a:ext cx="2863168"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292707268"/>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4096319008"/>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477678" y="4741653"/>
            <a:ext cx="29468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643914599"/>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723456925"/>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179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38853568"/>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107507418"/>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871826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246303304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cSld name="Title Slide ">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9" name="Picture 8" descr="AN28505_Blue_Nightscape_sm_format_03052015_Flat_Final.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24" y="0"/>
            <a:ext cx="9140776" cy="5143500"/>
          </a:xfrm>
          <a:prstGeom prst="rect">
            <a:avLst/>
          </a:prstGeom>
        </p:spPr>
      </p:pic>
      <p:pic>
        <p:nvPicPr>
          <p:cNvPr id="7" name="Picture 6" descr="logo_black.ai"/>
          <p:cNvPicPr>
            <a:picLocks noChangeAspect="1"/>
          </p:cNvPicPr>
          <p:nvPr/>
        </p:nvPicPr>
        <p:blipFill>
          <a:blip r:embed="rId3">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0" y="324000"/>
            <a:ext cx="949596" cy="585216"/>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3003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1157391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a:gsLst>
            <a:gs pos="0">
              <a:srgbClr val="049FD9"/>
            </a:gs>
            <a:gs pos="100000">
              <a:srgbClr val="004BAF"/>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5450" y="209549"/>
            <a:ext cx="941388" cy="585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Subtitle 2"/>
          <p:cNvSpPr>
            <a:spLocks noGrp="1"/>
          </p:cNvSpPr>
          <p:nvPr>
            <p:ph type="subTitle" idx="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US"/>
              <a:t>Click to edit Master subtitle style</a:t>
            </a:r>
            <a:endParaRPr lang="en-US" dirty="0"/>
          </a:p>
        </p:txBody>
      </p:sp>
      <p:sp>
        <p:nvSpPr>
          <p:cNvPr id="17" name="Text Placeholder 38"/>
          <p:cNvSpPr>
            <a:spLocks noGrp="1"/>
          </p:cNvSpPr>
          <p:nvPr>
            <p:ph type="body" sz="quarter" idx="1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Edit Master text styles</a:t>
            </a:r>
          </a:p>
        </p:txBody>
      </p:sp>
      <p:sp>
        <p:nvSpPr>
          <p:cNvPr id="18" name="Text Placeholder 40"/>
          <p:cNvSpPr>
            <a:spLocks noGrp="1"/>
          </p:cNvSpPr>
          <p:nvPr>
            <p:ph type="body" sz="quarter" idx="12"/>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Edit Master text styles</a:t>
            </a:r>
          </a:p>
        </p:txBody>
      </p:sp>
      <p:sp>
        <p:nvSpPr>
          <p:cNvPr id="19" name="Text Placeholder 2"/>
          <p:cNvSpPr>
            <a:spLocks noGrp="1"/>
          </p:cNvSpPr>
          <p:nvPr>
            <p:ph type="body" sz="quarter" idx="13"/>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Edit Master text styles</a:t>
            </a:r>
          </a:p>
        </p:txBody>
      </p:sp>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24217023"/>
      </p:ext>
    </p:extLst>
  </p:cSld>
  <p:clrMapOvr>
    <a:masterClrMapping/>
  </p:clrMapOvr>
  <p:transition spd="slow">
    <p:wip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t>Edit Master text styles</a:t>
            </a:r>
          </a:p>
        </p:txBody>
      </p:sp>
    </p:spTree>
    <p:extLst>
      <p:ext uri="{BB962C8B-B14F-4D97-AF65-F5344CB8AC3E}">
        <p14:creationId xmlns:p14="http://schemas.microsoft.com/office/powerpoint/2010/main" val="3206406566"/>
      </p:ext>
    </p:extLst>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89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558" indent="-171415">
              <a:buClr>
                <a:schemeClr val="tx2"/>
              </a:buClr>
              <a:buSzPct val="80000"/>
              <a:buFont typeface="Arial"/>
              <a:buChar char="•"/>
              <a:defRPr sz="1600" b="0" i="0">
                <a:solidFill>
                  <a:schemeClr val="tx2"/>
                </a:solidFill>
                <a:latin typeface="+mn-lt"/>
                <a:cs typeface="CiscoSans ExtraLight"/>
              </a:defRPr>
            </a:lvl3pPr>
            <a:lvl4pPr marL="911035" indent="-171415">
              <a:buClr>
                <a:schemeClr val="tx2"/>
              </a:buClr>
              <a:buSzPct val="80000"/>
              <a:buFont typeface="Arial"/>
              <a:buChar char="•"/>
              <a:defRPr sz="1400" b="0" i="0">
                <a:solidFill>
                  <a:schemeClr val="tx2"/>
                </a:solidFill>
                <a:latin typeface="+mn-lt"/>
                <a:cs typeface="CiscoSans ExtraLight"/>
              </a:defRPr>
            </a:lvl4pPr>
            <a:lvl5pPr marL="1082450" indent="-168240">
              <a:buClr>
                <a:schemeClr val="tx2"/>
              </a:buClr>
              <a:buSzPct val="80000"/>
              <a:buFont typeface="Arial"/>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804447781"/>
      </p:ext>
    </p:extLst>
  </p:cSld>
  <p:clrMapOvr>
    <a:masterClrMapping/>
  </p:clrMapOvr>
  <p:transition spd="med">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651645473"/>
      </p:ext>
    </p:extLst>
  </p:cSld>
  <p:clrMapOvr>
    <a:masterClrMapping/>
  </p:clrMapOvr>
  <p:transition spd="med">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heme Graphic">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8742" t="14280" r="44733" b="3050"/>
          <a:stretch/>
        </p:blipFill>
        <p:spPr>
          <a:xfrm rot="5400000">
            <a:off x="1998980" y="-2000251"/>
            <a:ext cx="5146037" cy="9144001"/>
          </a:xfrm>
          <a:prstGeom prst="rect">
            <a:avLst/>
          </a:prstGeom>
        </p:spPr>
      </p:pic>
      <p:grpSp>
        <p:nvGrpSpPr>
          <p:cNvPr id="48" name="Group 47"/>
          <p:cNvGrpSpPr/>
          <p:nvPr userDrawn="1"/>
        </p:nvGrpSpPr>
        <p:grpSpPr>
          <a:xfrm>
            <a:off x="410080" y="399299"/>
            <a:ext cx="792595" cy="419316"/>
            <a:chOff x="3133800" y="2372040"/>
            <a:chExt cx="514440" cy="272160"/>
          </a:xfrm>
          <a:solidFill>
            <a:schemeClr val="bg1"/>
          </a:solidFill>
        </p:grpSpPr>
        <p:sp>
          <p:nvSpPr>
            <p:cNvPr id="49" name="Freeform: Shape 38"/>
            <p:cNvSpPr/>
            <p:nvPr/>
          </p:nvSpPr>
          <p:spPr>
            <a:xfrm>
              <a:off x="3279600" y="2552040"/>
              <a:ext cx="22680" cy="89280"/>
            </a:xfrm>
            <a:custGeom>
              <a:avLst/>
              <a:gdLst/>
              <a:ahLst/>
              <a:cxnLst>
                <a:cxn ang="3cd4">
                  <a:pos x="hc" y="t"/>
                </a:cxn>
                <a:cxn ang="cd2">
                  <a:pos x="l" y="vc"/>
                </a:cxn>
                <a:cxn ang="cd4">
                  <a:pos x="hc" y="b"/>
                </a:cxn>
                <a:cxn ang="0">
                  <a:pos x="r" y="vc"/>
                </a:cxn>
              </a:cxnLst>
              <a:rect l="l" t="t" r="r" b="b"/>
              <a:pathLst>
                <a:path w="64" h="249">
                  <a:moveTo>
                    <a:pt x="32" y="249"/>
                  </a:moveTo>
                  <a:lnTo>
                    <a:pt x="0" y="249"/>
                  </a:lnTo>
                  <a:lnTo>
                    <a:pt x="0" y="0"/>
                  </a:lnTo>
                  <a:lnTo>
                    <a:pt x="64" y="0"/>
                  </a:lnTo>
                  <a:lnTo>
                    <a:pt x="64" y="2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Shape 39"/>
            <p:cNvSpPr/>
            <p:nvPr/>
          </p:nvSpPr>
          <p:spPr>
            <a:xfrm>
              <a:off x="3416040" y="2550960"/>
              <a:ext cx="68400" cy="93240"/>
            </a:xfrm>
            <a:custGeom>
              <a:avLst/>
              <a:gdLst/>
              <a:ahLst/>
              <a:cxnLst>
                <a:cxn ang="3cd4">
                  <a:pos x="hc" y="t"/>
                </a:cxn>
                <a:cxn ang="cd2">
                  <a:pos x="l" y="vc"/>
                </a:cxn>
                <a:cxn ang="cd4">
                  <a:pos x="hc" y="b"/>
                </a:cxn>
                <a:cxn ang="0">
                  <a:pos x="r" y="vc"/>
                </a:cxn>
              </a:cxnLst>
              <a:rect l="l" t="t" r="r" b="b"/>
              <a:pathLst>
                <a:path w="191" h="260">
                  <a:moveTo>
                    <a:pt x="191" y="8"/>
                  </a:moveTo>
                  <a:cubicBezTo>
                    <a:pt x="185" y="6"/>
                    <a:pt x="164" y="0"/>
                    <a:pt x="132" y="0"/>
                  </a:cubicBezTo>
                  <a:cubicBezTo>
                    <a:pt x="56" y="0"/>
                    <a:pt x="0" y="56"/>
                    <a:pt x="0" y="130"/>
                  </a:cubicBezTo>
                  <a:cubicBezTo>
                    <a:pt x="0" y="210"/>
                    <a:pt x="61" y="260"/>
                    <a:pt x="132" y="260"/>
                  </a:cubicBezTo>
                  <a:cubicBezTo>
                    <a:pt x="161" y="260"/>
                    <a:pt x="183" y="252"/>
                    <a:pt x="191" y="252"/>
                  </a:cubicBezTo>
                  <a:lnTo>
                    <a:pt x="191" y="186"/>
                  </a:lnTo>
                  <a:cubicBezTo>
                    <a:pt x="188" y="188"/>
                    <a:pt x="167" y="199"/>
                    <a:pt x="138" y="199"/>
                  </a:cubicBezTo>
                  <a:cubicBezTo>
                    <a:pt x="95" y="199"/>
                    <a:pt x="69" y="170"/>
                    <a:pt x="69" y="133"/>
                  </a:cubicBezTo>
                  <a:cubicBezTo>
                    <a:pt x="69" y="96"/>
                    <a:pt x="98" y="67"/>
                    <a:pt x="138" y="67"/>
                  </a:cubicBezTo>
                  <a:cubicBezTo>
                    <a:pt x="167" y="67"/>
                    <a:pt x="188" y="80"/>
                    <a:pt x="191" y="8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Shape 40"/>
            <p:cNvSpPr/>
            <p:nvPr/>
          </p:nvSpPr>
          <p:spPr>
            <a:xfrm>
              <a:off x="3180600" y="2550960"/>
              <a:ext cx="68400" cy="93240"/>
            </a:xfrm>
            <a:custGeom>
              <a:avLst/>
              <a:gdLst/>
              <a:ahLst/>
              <a:cxnLst>
                <a:cxn ang="3cd4">
                  <a:pos x="hc" y="t"/>
                </a:cxn>
                <a:cxn ang="cd2">
                  <a:pos x="l" y="vc"/>
                </a:cxn>
                <a:cxn ang="cd4">
                  <a:pos x="hc" y="b"/>
                </a:cxn>
                <a:cxn ang="0">
                  <a:pos x="r" y="vc"/>
                </a:cxn>
              </a:cxnLst>
              <a:rect l="l" t="t" r="r" b="b"/>
              <a:pathLst>
                <a:path w="191" h="260">
                  <a:moveTo>
                    <a:pt x="191" y="8"/>
                  </a:moveTo>
                  <a:cubicBezTo>
                    <a:pt x="185" y="6"/>
                    <a:pt x="164" y="0"/>
                    <a:pt x="132" y="0"/>
                  </a:cubicBezTo>
                  <a:cubicBezTo>
                    <a:pt x="55" y="0"/>
                    <a:pt x="0" y="56"/>
                    <a:pt x="0" y="130"/>
                  </a:cubicBezTo>
                  <a:cubicBezTo>
                    <a:pt x="0" y="210"/>
                    <a:pt x="61" y="260"/>
                    <a:pt x="132" y="260"/>
                  </a:cubicBezTo>
                  <a:cubicBezTo>
                    <a:pt x="161" y="260"/>
                    <a:pt x="183" y="252"/>
                    <a:pt x="191" y="252"/>
                  </a:cubicBezTo>
                  <a:lnTo>
                    <a:pt x="191" y="186"/>
                  </a:lnTo>
                  <a:cubicBezTo>
                    <a:pt x="188" y="188"/>
                    <a:pt x="167" y="199"/>
                    <a:pt x="138" y="199"/>
                  </a:cubicBezTo>
                  <a:cubicBezTo>
                    <a:pt x="95" y="199"/>
                    <a:pt x="69" y="170"/>
                    <a:pt x="69" y="133"/>
                  </a:cubicBezTo>
                  <a:cubicBezTo>
                    <a:pt x="69" y="96"/>
                    <a:pt x="98" y="67"/>
                    <a:pt x="138" y="67"/>
                  </a:cubicBezTo>
                  <a:cubicBezTo>
                    <a:pt x="167" y="67"/>
                    <a:pt x="188" y="80"/>
                    <a:pt x="191" y="8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2" name="Freeform: Shape 41"/>
            <p:cNvSpPr/>
            <p:nvPr/>
          </p:nvSpPr>
          <p:spPr>
            <a:xfrm>
              <a:off x="3507479" y="2550240"/>
              <a:ext cx="95040" cy="92880"/>
            </a:xfrm>
            <a:custGeom>
              <a:avLst/>
              <a:gdLst/>
              <a:ahLst/>
              <a:cxnLst>
                <a:cxn ang="3cd4">
                  <a:pos x="hc" y="t"/>
                </a:cxn>
                <a:cxn ang="cd2">
                  <a:pos x="l" y="vc"/>
                </a:cxn>
                <a:cxn ang="cd4">
                  <a:pos x="hc" y="b"/>
                </a:cxn>
                <a:cxn ang="0">
                  <a:pos x="r" y="vc"/>
                </a:cxn>
              </a:cxnLst>
              <a:rect l="l" t="t" r="r" b="b"/>
              <a:pathLst>
                <a:path w="265" h="259">
                  <a:moveTo>
                    <a:pt x="133" y="0"/>
                  </a:moveTo>
                  <a:cubicBezTo>
                    <a:pt x="56" y="0"/>
                    <a:pt x="0" y="57"/>
                    <a:pt x="0" y="129"/>
                  </a:cubicBezTo>
                  <a:cubicBezTo>
                    <a:pt x="0" y="200"/>
                    <a:pt x="56" y="259"/>
                    <a:pt x="133" y="259"/>
                  </a:cubicBezTo>
                  <a:cubicBezTo>
                    <a:pt x="209" y="259"/>
                    <a:pt x="265" y="200"/>
                    <a:pt x="265" y="129"/>
                  </a:cubicBezTo>
                  <a:cubicBezTo>
                    <a:pt x="265" y="57"/>
                    <a:pt x="209" y="0"/>
                    <a:pt x="133" y="0"/>
                  </a:cubicBezTo>
                  <a:close/>
                  <a:moveTo>
                    <a:pt x="133" y="198"/>
                  </a:moveTo>
                  <a:cubicBezTo>
                    <a:pt x="95" y="198"/>
                    <a:pt x="69" y="169"/>
                    <a:pt x="69" y="132"/>
                  </a:cubicBezTo>
                  <a:cubicBezTo>
                    <a:pt x="69" y="95"/>
                    <a:pt x="95" y="66"/>
                    <a:pt x="133" y="66"/>
                  </a:cubicBezTo>
                  <a:cubicBezTo>
                    <a:pt x="170" y="66"/>
                    <a:pt x="196" y="95"/>
                    <a:pt x="196" y="132"/>
                  </a:cubicBezTo>
                  <a:cubicBezTo>
                    <a:pt x="196" y="169"/>
                    <a:pt x="170" y="198"/>
                    <a:pt x="133" y="19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3" name="Freeform: Shape 42"/>
            <p:cNvSpPr/>
            <p:nvPr/>
          </p:nvSpPr>
          <p:spPr>
            <a:xfrm>
              <a:off x="3333240" y="2550960"/>
              <a:ext cx="62280" cy="93240"/>
            </a:xfrm>
            <a:custGeom>
              <a:avLst/>
              <a:gdLst/>
              <a:ahLst/>
              <a:cxnLst>
                <a:cxn ang="3cd4">
                  <a:pos x="hc" y="t"/>
                </a:cxn>
                <a:cxn ang="cd2">
                  <a:pos x="l" y="vc"/>
                </a:cxn>
                <a:cxn ang="cd4">
                  <a:pos x="hc" y="b"/>
                </a:cxn>
                <a:cxn ang="0">
                  <a:pos x="r" y="vc"/>
                </a:cxn>
              </a:cxnLst>
              <a:rect l="l" t="t" r="r" b="b"/>
              <a:pathLst>
                <a:path w="174" h="260">
                  <a:moveTo>
                    <a:pt x="92" y="0"/>
                  </a:moveTo>
                  <a:cubicBezTo>
                    <a:pt x="34" y="0"/>
                    <a:pt x="0" y="32"/>
                    <a:pt x="0" y="77"/>
                  </a:cubicBezTo>
                  <a:cubicBezTo>
                    <a:pt x="0" y="120"/>
                    <a:pt x="29" y="138"/>
                    <a:pt x="63" y="149"/>
                  </a:cubicBezTo>
                  <a:cubicBezTo>
                    <a:pt x="66" y="149"/>
                    <a:pt x="74" y="151"/>
                    <a:pt x="76" y="154"/>
                  </a:cubicBezTo>
                  <a:cubicBezTo>
                    <a:pt x="92" y="159"/>
                    <a:pt x="105" y="167"/>
                    <a:pt x="105" y="178"/>
                  </a:cubicBezTo>
                  <a:cubicBezTo>
                    <a:pt x="105" y="191"/>
                    <a:pt x="92" y="202"/>
                    <a:pt x="60" y="202"/>
                  </a:cubicBezTo>
                  <a:cubicBezTo>
                    <a:pt x="34" y="202"/>
                    <a:pt x="8" y="194"/>
                    <a:pt x="2" y="194"/>
                  </a:cubicBezTo>
                  <a:lnTo>
                    <a:pt x="2" y="252"/>
                  </a:lnTo>
                  <a:cubicBezTo>
                    <a:pt x="5" y="252"/>
                    <a:pt x="37" y="260"/>
                    <a:pt x="71" y="260"/>
                  </a:cubicBezTo>
                  <a:cubicBezTo>
                    <a:pt x="119" y="260"/>
                    <a:pt x="174" y="239"/>
                    <a:pt x="174" y="178"/>
                  </a:cubicBezTo>
                  <a:cubicBezTo>
                    <a:pt x="174" y="149"/>
                    <a:pt x="156" y="120"/>
                    <a:pt x="116" y="106"/>
                  </a:cubicBezTo>
                  <a:lnTo>
                    <a:pt x="98" y="101"/>
                  </a:lnTo>
                  <a:cubicBezTo>
                    <a:pt x="87" y="98"/>
                    <a:pt x="68" y="93"/>
                    <a:pt x="68" y="77"/>
                  </a:cubicBezTo>
                  <a:cubicBezTo>
                    <a:pt x="68" y="64"/>
                    <a:pt x="82" y="56"/>
                    <a:pt x="108" y="56"/>
                  </a:cubicBezTo>
                  <a:cubicBezTo>
                    <a:pt x="129" y="56"/>
                    <a:pt x="156" y="64"/>
                    <a:pt x="158" y="64"/>
                  </a:cubicBezTo>
                  <a:lnTo>
                    <a:pt x="158" y="8"/>
                  </a:lnTo>
                  <a:lnTo>
                    <a:pt x="153" y="8"/>
                  </a:lnTo>
                  <a:cubicBezTo>
                    <a:pt x="150" y="8"/>
                    <a:pt x="121" y="0"/>
                    <a:pt x="92"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Shape 43"/>
            <p:cNvSpPr/>
            <p:nvPr/>
          </p:nvSpPr>
          <p:spPr>
            <a:xfrm>
              <a:off x="3133800" y="2445120"/>
              <a:ext cx="22680" cy="46440"/>
            </a:xfrm>
            <a:custGeom>
              <a:avLst/>
              <a:gdLst/>
              <a:ahLst/>
              <a:cxnLst>
                <a:cxn ang="3cd4">
                  <a:pos x="hc" y="t"/>
                </a:cxn>
                <a:cxn ang="cd2">
                  <a:pos x="l" y="vc"/>
                </a:cxn>
                <a:cxn ang="cd4">
                  <a:pos x="hc" y="b"/>
                </a:cxn>
                <a:cxn ang="0">
                  <a:pos x="r" y="vc"/>
                </a:cxn>
              </a:cxnLst>
              <a:rect l="l" t="t" r="r" b="b"/>
              <a:pathLst>
                <a:path w="64" h="130">
                  <a:moveTo>
                    <a:pt x="64" y="32"/>
                  </a:moveTo>
                  <a:cubicBezTo>
                    <a:pt x="64" y="16"/>
                    <a:pt x="50" y="0"/>
                    <a:pt x="32" y="0"/>
                  </a:cubicBezTo>
                  <a:cubicBezTo>
                    <a:pt x="16" y="0"/>
                    <a:pt x="0" y="14"/>
                    <a:pt x="0" y="32"/>
                  </a:cubicBezTo>
                  <a:lnTo>
                    <a:pt x="0" y="98"/>
                  </a:lnTo>
                  <a:cubicBezTo>
                    <a:pt x="0" y="117"/>
                    <a:pt x="13" y="130"/>
                    <a:pt x="32" y="130"/>
                  </a:cubicBezTo>
                  <a:cubicBezTo>
                    <a:pt x="48" y="130"/>
                    <a:pt x="64" y="117"/>
                    <a:pt x="64" y="9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Shape 44"/>
            <p:cNvSpPr/>
            <p:nvPr/>
          </p:nvSpPr>
          <p:spPr>
            <a:xfrm>
              <a:off x="3195720" y="2413800"/>
              <a:ext cx="22680" cy="77040"/>
            </a:xfrm>
            <a:custGeom>
              <a:avLst/>
              <a:gdLst/>
              <a:ahLst/>
              <a:cxnLst>
                <a:cxn ang="3cd4">
                  <a:pos x="hc" y="t"/>
                </a:cxn>
                <a:cxn ang="cd2">
                  <a:pos x="l" y="vc"/>
                </a:cxn>
                <a:cxn ang="cd4">
                  <a:pos x="hc" y="b"/>
                </a:cxn>
                <a:cxn ang="0">
                  <a:pos x="r" y="vc"/>
                </a:cxn>
              </a:cxnLst>
              <a:rect l="l" t="t" r="r" b="b"/>
              <a:pathLst>
                <a:path w="64" h="215">
                  <a:moveTo>
                    <a:pt x="64" y="32"/>
                  </a:moveTo>
                  <a:cubicBezTo>
                    <a:pt x="64" y="16"/>
                    <a:pt x="51" y="0"/>
                    <a:pt x="32" y="0"/>
                  </a:cubicBezTo>
                  <a:cubicBezTo>
                    <a:pt x="16" y="0"/>
                    <a:pt x="0" y="13"/>
                    <a:pt x="0" y="32"/>
                  </a:cubicBezTo>
                  <a:lnTo>
                    <a:pt x="0" y="183"/>
                  </a:lnTo>
                  <a:cubicBezTo>
                    <a:pt x="0" y="201"/>
                    <a:pt x="13" y="215"/>
                    <a:pt x="32" y="215"/>
                  </a:cubicBezTo>
                  <a:cubicBezTo>
                    <a:pt x="48" y="215"/>
                    <a:pt x="64" y="201"/>
                    <a:pt x="64" y="18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Shape 45"/>
            <p:cNvSpPr/>
            <p:nvPr/>
          </p:nvSpPr>
          <p:spPr>
            <a:xfrm>
              <a:off x="3256919" y="2372040"/>
              <a:ext cx="22320" cy="141480"/>
            </a:xfrm>
            <a:custGeom>
              <a:avLst/>
              <a:gdLst/>
              <a:ahLst/>
              <a:cxnLst>
                <a:cxn ang="3cd4">
                  <a:pos x="hc" y="t"/>
                </a:cxn>
                <a:cxn ang="cd2">
                  <a:pos x="l" y="vc"/>
                </a:cxn>
                <a:cxn ang="cd4">
                  <a:pos x="hc" y="b"/>
                </a:cxn>
                <a:cxn ang="0">
                  <a:pos x="r" y="vc"/>
                </a:cxn>
              </a:cxnLst>
              <a:rect l="l" t="t" r="r" b="b"/>
              <a:pathLst>
                <a:path w="63" h="394">
                  <a:moveTo>
                    <a:pt x="63" y="31"/>
                  </a:moveTo>
                  <a:cubicBezTo>
                    <a:pt x="63" y="15"/>
                    <a:pt x="50" y="0"/>
                    <a:pt x="31" y="0"/>
                  </a:cubicBezTo>
                  <a:cubicBezTo>
                    <a:pt x="16" y="0"/>
                    <a:pt x="0" y="13"/>
                    <a:pt x="0" y="31"/>
                  </a:cubicBezTo>
                  <a:lnTo>
                    <a:pt x="0" y="362"/>
                  </a:lnTo>
                  <a:cubicBezTo>
                    <a:pt x="0" y="381"/>
                    <a:pt x="13" y="394"/>
                    <a:pt x="31" y="394"/>
                  </a:cubicBezTo>
                  <a:cubicBezTo>
                    <a:pt x="47" y="394"/>
                    <a:pt x="63" y="381"/>
                    <a:pt x="63" y="36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Shape 46"/>
            <p:cNvSpPr/>
            <p:nvPr/>
          </p:nvSpPr>
          <p:spPr>
            <a:xfrm>
              <a:off x="3318840" y="2413800"/>
              <a:ext cx="22320" cy="77040"/>
            </a:xfrm>
            <a:custGeom>
              <a:avLst/>
              <a:gdLst/>
              <a:ahLst/>
              <a:cxnLst>
                <a:cxn ang="3cd4">
                  <a:pos x="hc" y="t"/>
                </a:cxn>
                <a:cxn ang="cd2">
                  <a:pos x="l" y="vc"/>
                </a:cxn>
                <a:cxn ang="cd4">
                  <a:pos x="hc" y="b"/>
                </a:cxn>
                <a:cxn ang="0">
                  <a:pos x="r" y="vc"/>
                </a:cxn>
              </a:cxnLst>
              <a:rect l="l" t="t" r="r" b="b"/>
              <a:pathLst>
                <a:path w="63" h="215">
                  <a:moveTo>
                    <a:pt x="63" y="32"/>
                  </a:moveTo>
                  <a:cubicBezTo>
                    <a:pt x="63" y="16"/>
                    <a:pt x="50" y="0"/>
                    <a:pt x="32" y="0"/>
                  </a:cubicBezTo>
                  <a:cubicBezTo>
                    <a:pt x="16" y="0"/>
                    <a:pt x="0" y="13"/>
                    <a:pt x="0" y="32"/>
                  </a:cubicBezTo>
                  <a:lnTo>
                    <a:pt x="0" y="183"/>
                  </a:lnTo>
                  <a:cubicBezTo>
                    <a:pt x="0" y="201"/>
                    <a:pt x="13" y="215"/>
                    <a:pt x="32" y="215"/>
                  </a:cubicBezTo>
                  <a:cubicBezTo>
                    <a:pt x="48" y="215"/>
                    <a:pt x="63" y="201"/>
                    <a:pt x="63" y="18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Shape 47"/>
            <p:cNvSpPr/>
            <p:nvPr/>
          </p:nvSpPr>
          <p:spPr>
            <a:xfrm>
              <a:off x="3379680" y="2445120"/>
              <a:ext cx="22680" cy="46440"/>
            </a:xfrm>
            <a:custGeom>
              <a:avLst/>
              <a:gdLst/>
              <a:ahLst/>
              <a:cxnLst>
                <a:cxn ang="3cd4">
                  <a:pos x="hc" y="t"/>
                </a:cxn>
                <a:cxn ang="cd2">
                  <a:pos x="l" y="vc"/>
                </a:cxn>
                <a:cxn ang="cd4">
                  <a:pos x="hc" y="b"/>
                </a:cxn>
                <a:cxn ang="0">
                  <a:pos x="r" y="vc"/>
                </a:cxn>
              </a:cxnLst>
              <a:rect l="l" t="t" r="r" b="b"/>
              <a:pathLst>
                <a:path w="64" h="130">
                  <a:moveTo>
                    <a:pt x="64" y="32"/>
                  </a:moveTo>
                  <a:cubicBezTo>
                    <a:pt x="64" y="16"/>
                    <a:pt x="51" y="0"/>
                    <a:pt x="32" y="0"/>
                  </a:cubicBezTo>
                  <a:cubicBezTo>
                    <a:pt x="16" y="0"/>
                    <a:pt x="0" y="14"/>
                    <a:pt x="0" y="32"/>
                  </a:cubicBezTo>
                  <a:lnTo>
                    <a:pt x="0" y="98"/>
                  </a:lnTo>
                  <a:cubicBezTo>
                    <a:pt x="0" y="117"/>
                    <a:pt x="14" y="130"/>
                    <a:pt x="32" y="130"/>
                  </a:cubicBezTo>
                  <a:cubicBezTo>
                    <a:pt x="48" y="130"/>
                    <a:pt x="64" y="117"/>
                    <a:pt x="64" y="9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Shape 48"/>
            <p:cNvSpPr/>
            <p:nvPr/>
          </p:nvSpPr>
          <p:spPr>
            <a:xfrm>
              <a:off x="3441600" y="2413800"/>
              <a:ext cx="22680" cy="77040"/>
            </a:xfrm>
            <a:custGeom>
              <a:avLst/>
              <a:gdLst/>
              <a:ahLst/>
              <a:cxnLst>
                <a:cxn ang="3cd4">
                  <a:pos x="hc" y="t"/>
                </a:cxn>
                <a:cxn ang="cd2">
                  <a:pos x="l" y="vc"/>
                </a:cxn>
                <a:cxn ang="cd4">
                  <a:pos x="hc" y="b"/>
                </a:cxn>
                <a:cxn ang="0">
                  <a:pos x="r" y="vc"/>
                </a:cxn>
              </a:cxnLst>
              <a:rect l="l" t="t" r="r" b="b"/>
              <a:pathLst>
                <a:path w="64" h="215">
                  <a:moveTo>
                    <a:pt x="64" y="32"/>
                  </a:moveTo>
                  <a:cubicBezTo>
                    <a:pt x="64" y="16"/>
                    <a:pt x="51" y="0"/>
                    <a:pt x="32" y="0"/>
                  </a:cubicBezTo>
                  <a:cubicBezTo>
                    <a:pt x="16" y="0"/>
                    <a:pt x="0" y="13"/>
                    <a:pt x="0" y="32"/>
                  </a:cubicBezTo>
                  <a:lnTo>
                    <a:pt x="0" y="183"/>
                  </a:lnTo>
                  <a:cubicBezTo>
                    <a:pt x="0" y="201"/>
                    <a:pt x="14" y="215"/>
                    <a:pt x="32" y="215"/>
                  </a:cubicBezTo>
                  <a:cubicBezTo>
                    <a:pt x="48" y="215"/>
                    <a:pt x="64" y="201"/>
                    <a:pt x="64" y="18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Shape 49"/>
            <p:cNvSpPr/>
            <p:nvPr/>
          </p:nvSpPr>
          <p:spPr>
            <a:xfrm>
              <a:off x="3502799" y="2372040"/>
              <a:ext cx="22320" cy="141480"/>
            </a:xfrm>
            <a:custGeom>
              <a:avLst/>
              <a:gdLst/>
              <a:ahLst/>
              <a:cxnLst>
                <a:cxn ang="3cd4">
                  <a:pos x="hc" y="t"/>
                </a:cxn>
                <a:cxn ang="cd2">
                  <a:pos x="l" y="vc"/>
                </a:cxn>
                <a:cxn ang="cd4">
                  <a:pos x="hc" y="b"/>
                </a:cxn>
                <a:cxn ang="0">
                  <a:pos x="r" y="vc"/>
                </a:cxn>
              </a:cxnLst>
              <a:rect l="l" t="t" r="r" b="b"/>
              <a:pathLst>
                <a:path w="63" h="394">
                  <a:moveTo>
                    <a:pt x="63" y="31"/>
                  </a:moveTo>
                  <a:cubicBezTo>
                    <a:pt x="63" y="15"/>
                    <a:pt x="50" y="0"/>
                    <a:pt x="32" y="0"/>
                  </a:cubicBezTo>
                  <a:cubicBezTo>
                    <a:pt x="13" y="0"/>
                    <a:pt x="0" y="13"/>
                    <a:pt x="0" y="31"/>
                  </a:cubicBezTo>
                  <a:lnTo>
                    <a:pt x="0" y="362"/>
                  </a:lnTo>
                  <a:cubicBezTo>
                    <a:pt x="0" y="381"/>
                    <a:pt x="13" y="394"/>
                    <a:pt x="32" y="394"/>
                  </a:cubicBezTo>
                  <a:cubicBezTo>
                    <a:pt x="50" y="394"/>
                    <a:pt x="63" y="381"/>
                    <a:pt x="63" y="36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1" name="Freeform: Shape 50"/>
            <p:cNvSpPr/>
            <p:nvPr/>
          </p:nvSpPr>
          <p:spPr>
            <a:xfrm>
              <a:off x="3564720" y="2413800"/>
              <a:ext cx="22680" cy="77040"/>
            </a:xfrm>
            <a:custGeom>
              <a:avLst/>
              <a:gdLst/>
              <a:ahLst/>
              <a:cxnLst>
                <a:cxn ang="3cd4">
                  <a:pos x="hc" y="t"/>
                </a:cxn>
                <a:cxn ang="cd2">
                  <a:pos x="l" y="vc"/>
                </a:cxn>
                <a:cxn ang="cd4">
                  <a:pos x="hc" y="b"/>
                </a:cxn>
                <a:cxn ang="0">
                  <a:pos x="r" y="vc"/>
                </a:cxn>
              </a:cxnLst>
              <a:rect l="l" t="t" r="r" b="b"/>
              <a:pathLst>
                <a:path w="64" h="215">
                  <a:moveTo>
                    <a:pt x="64" y="32"/>
                  </a:moveTo>
                  <a:cubicBezTo>
                    <a:pt x="64" y="16"/>
                    <a:pt x="50" y="0"/>
                    <a:pt x="32" y="0"/>
                  </a:cubicBezTo>
                  <a:cubicBezTo>
                    <a:pt x="16" y="0"/>
                    <a:pt x="0" y="13"/>
                    <a:pt x="0" y="32"/>
                  </a:cubicBezTo>
                  <a:lnTo>
                    <a:pt x="0" y="183"/>
                  </a:lnTo>
                  <a:cubicBezTo>
                    <a:pt x="0" y="201"/>
                    <a:pt x="13" y="215"/>
                    <a:pt x="32" y="215"/>
                  </a:cubicBezTo>
                  <a:cubicBezTo>
                    <a:pt x="50" y="215"/>
                    <a:pt x="64" y="201"/>
                    <a:pt x="64" y="18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Shape 51"/>
            <p:cNvSpPr/>
            <p:nvPr/>
          </p:nvSpPr>
          <p:spPr>
            <a:xfrm>
              <a:off x="3625560" y="2445120"/>
              <a:ext cx="22680" cy="46440"/>
            </a:xfrm>
            <a:custGeom>
              <a:avLst/>
              <a:gdLst/>
              <a:ahLst/>
              <a:cxnLst>
                <a:cxn ang="3cd4">
                  <a:pos x="hc" y="t"/>
                </a:cxn>
                <a:cxn ang="cd2">
                  <a:pos x="l" y="vc"/>
                </a:cxn>
                <a:cxn ang="cd4">
                  <a:pos x="hc" y="b"/>
                </a:cxn>
                <a:cxn ang="0">
                  <a:pos x="r" y="vc"/>
                </a:cxn>
              </a:cxnLst>
              <a:rect l="l" t="t" r="r" b="b"/>
              <a:pathLst>
                <a:path w="64" h="130">
                  <a:moveTo>
                    <a:pt x="64" y="32"/>
                  </a:moveTo>
                  <a:cubicBezTo>
                    <a:pt x="64" y="16"/>
                    <a:pt x="51" y="0"/>
                    <a:pt x="32" y="0"/>
                  </a:cubicBezTo>
                  <a:cubicBezTo>
                    <a:pt x="16" y="0"/>
                    <a:pt x="0" y="14"/>
                    <a:pt x="0" y="32"/>
                  </a:cubicBezTo>
                  <a:lnTo>
                    <a:pt x="0" y="98"/>
                  </a:lnTo>
                  <a:cubicBezTo>
                    <a:pt x="0" y="117"/>
                    <a:pt x="14" y="130"/>
                    <a:pt x="32" y="130"/>
                  </a:cubicBezTo>
                  <a:cubicBezTo>
                    <a:pt x="48" y="130"/>
                    <a:pt x="64" y="117"/>
                    <a:pt x="64" y="9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76800" y="2437728"/>
            <a:ext cx="3624826" cy="1658022"/>
          </a:xfrm>
          <a:prstGeom prst="rect">
            <a:avLst/>
          </a:prstGeom>
        </p:spPr>
      </p:pic>
    </p:spTree>
    <p:extLst>
      <p:ext uri="{BB962C8B-B14F-4D97-AF65-F5344CB8AC3E}">
        <p14:creationId xmlns:p14="http://schemas.microsoft.com/office/powerpoint/2010/main" val="1111101704"/>
      </p:ext>
    </p:extLst>
  </p:cSld>
  <p:clrMapOvr>
    <a:masterClrMapping/>
  </p:clrMapOv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Presenter Title Slide">
    <p:spTree>
      <p:nvGrpSpPr>
        <p:cNvPr id="1" name=""/>
        <p:cNvGrpSpPr/>
        <p:nvPr/>
      </p:nvGrpSpPr>
      <p:grpSpPr>
        <a:xfrm>
          <a:off x="0" y="0"/>
          <a:ext cx="0" cy="0"/>
          <a:chOff x="0" y="0"/>
          <a:chExt cx="0" cy="0"/>
        </a:xfrm>
      </p:grpSpPr>
      <p:sp>
        <p:nvSpPr>
          <p:cNvPr id="7" name="Rectangle 6"/>
          <p:cNvSpPr/>
          <p:nvPr userDrawn="1"/>
        </p:nvSpPr>
        <p:spPr bwMode="auto">
          <a:xfrm>
            <a:off x="0" y="0"/>
            <a:ext cx="9144000" cy="5143500"/>
          </a:xfrm>
          <a:prstGeom prst="rect">
            <a:avLst/>
          </a:prstGeom>
          <a:solidFill>
            <a:srgbClr val="005073"/>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a:solidFill>
                <a:schemeClr val="bg1"/>
              </a:solidFill>
              <a:ea typeface="Arial" pitchFamily="-107" charset="0"/>
              <a:cs typeface="Arial" pitchFamily="-107" charset="0"/>
              <a:sym typeface="Arial" pitchFamily="-107" charset="0"/>
            </a:endParaRPr>
          </a:p>
        </p:txBody>
      </p:sp>
      <p:sp>
        <p:nvSpPr>
          <p:cNvPr id="2" name="Rectangle 2"/>
          <p:cNvSpPr>
            <a:spLocks noGrp="1" noChangeArrowheads="1"/>
          </p:cNvSpPr>
          <p:nvPr>
            <p:ph type="title" hasCustomPrompt="1"/>
          </p:nvPr>
        </p:nvSpPr>
        <p:spPr bwMode="white">
          <a:xfrm>
            <a:off x="336625" y="1489433"/>
            <a:ext cx="5515536" cy="1249508"/>
          </a:xfrm>
          <a:prstGeom prst="rect">
            <a:avLst/>
          </a:prstGeom>
          <a:noFill/>
          <a:ln w="12700">
            <a:noFill/>
            <a:miter lim="800000"/>
            <a:headEnd/>
            <a:tailEnd/>
          </a:ln>
          <a:effectLst/>
        </p:spPr>
        <p:txBody>
          <a:bodyPr lIns="91440" tIns="45720" rIns="91440" bIns="45720" anchor="b"/>
          <a:lstStyle>
            <a:lvl1pPr algn="l">
              <a:defRPr lang="en-US" sz="4000" i="0" kern="1200" dirty="0">
                <a:solidFill>
                  <a:schemeClr val="bg1"/>
                </a:solidFill>
                <a:latin typeface="+mn-lt"/>
                <a:ea typeface="+mn-ea"/>
                <a:cs typeface="+mn-cs"/>
                <a:sym typeface="Arial" pitchFamily="-107" charset="0"/>
              </a:defRPr>
            </a:lvl1pPr>
          </a:lstStyle>
          <a:p>
            <a:pPr lvl="0"/>
            <a:r>
              <a:rPr lang="en-US" dirty="0">
                <a:sym typeface="Arial" pitchFamily="-107" charset="0"/>
              </a:rPr>
              <a:t>Presentation Title</a:t>
            </a:r>
          </a:p>
        </p:txBody>
      </p:sp>
      <p:sp>
        <p:nvSpPr>
          <p:cNvPr id="9" name="Text Placeholder 8"/>
          <p:cNvSpPr>
            <a:spLocks noGrp="1"/>
          </p:cNvSpPr>
          <p:nvPr>
            <p:ph type="body" sz="quarter" idx="10" hasCustomPrompt="1"/>
          </p:nvPr>
        </p:nvSpPr>
        <p:spPr>
          <a:xfrm>
            <a:off x="352484" y="3479701"/>
            <a:ext cx="5503386" cy="336551"/>
          </a:xfrm>
        </p:spPr>
        <p:txBody>
          <a:bodyPr lIns="91440" tIns="45720" rIns="91440" bIns="45720" anchor="b"/>
          <a:lstStyle>
            <a:lvl1pPr marL="1785" indent="0" algn="l">
              <a:buNone/>
              <a:defRPr lang="en-US" sz="1600" kern="1200" dirty="0" smtClean="0">
                <a:solidFill>
                  <a:schemeClr val="bg1"/>
                </a:solidFill>
                <a:latin typeface="+mn-lt"/>
                <a:ea typeface="+mn-ea"/>
                <a:cs typeface="+mn-cs"/>
                <a:sym typeface="Arial" pitchFamily="34" charset="0"/>
              </a:defRPr>
            </a:lvl1pPr>
            <a:lvl2pPr marL="192881" indent="0">
              <a:buNone/>
              <a:defRPr/>
            </a:lvl2pPr>
            <a:lvl3pPr marL="386655" indent="0">
              <a:buNone/>
              <a:defRPr/>
            </a:lvl3pPr>
            <a:lvl4pPr marL="546497" indent="0">
              <a:buNone/>
              <a:defRPr/>
            </a:lvl4pPr>
            <a:lvl5pPr marL="706338" indent="0">
              <a:buNone/>
              <a:defRPr/>
            </a:lvl5pPr>
          </a:lstStyle>
          <a:p>
            <a:pPr lvl="0"/>
            <a:r>
              <a:rPr lang="en-US" dirty="0"/>
              <a:t>Presenter Name and Title</a:t>
            </a:r>
          </a:p>
        </p:txBody>
      </p:sp>
      <p:sp>
        <p:nvSpPr>
          <p:cNvPr id="4" name="Text Placeholder 3"/>
          <p:cNvSpPr>
            <a:spLocks noGrp="1"/>
          </p:cNvSpPr>
          <p:nvPr>
            <p:ph type="body" sz="quarter" idx="13" hasCustomPrompt="1"/>
          </p:nvPr>
        </p:nvSpPr>
        <p:spPr>
          <a:xfrm>
            <a:off x="352482" y="3825499"/>
            <a:ext cx="5221886" cy="250298"/>
          </a:xfrm>
        </p:spPr>
        <p:txBody>
          <a:bodyPr/>
          <a:lstStyle>
            <a:lvl1pPr marL="1785" indent="0">
              <a:buNone/>
              <a:defRPr sz="1200">
                <a:solidFill>
                  <a:schemeClr val="bg1"/>
                </a:solidFill>
              </a:defRPr>
            </a:lvl1pPr>
          </a:lstStyle>
          <a:p>
            <a:pPr lvl="0"/>
            <a:r>
              <a:rPr lang="en-US" dirty="0"/>
              <a:t>Session ID</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6585" t="11259" r="40485" b="3373"/>
          <a:stretch/>
        </p:blipFill>
        <p:spPr>
          <a:xfrm flipV="1">
            <a:off x="5955029" y="0"/>
            <a:ext cx="3188971" cy="5143500"/>
          </a:xfrm>
          <a:prstGeom prst="rect">
            <a:avLst/>
          </a:prstGeom>
        </p:spPr>
      </p:pic>
      <p:grpSp>
        <p:nvGrpSpPr>
          <p:cNvPr id="10" name="Group 9"/>
          <p:cNvGrpSpPr/>
          <p:nvPr userDrawn="1"/>
        </p:nvGrpSpPr>
        <p:grpSpPr>
          <a:xfrm>
            <a:off x="454861" y="4785454"/>
            <a:ext cx="820227" cy="274319"/>
            <a:chOff x="1741456" y="4513412"/>
            <a:chExt cx="1027381" cy="343600"/>
          </a:xfrm>
          <a:solidFill>
            <a:schemeClr val="bg1"/>
          </a:solidFill>
        </p:grpSpPr>
        <p:sp>
          <p:nvSpPr>
            <p:cNvPr id="11" name="Freeform: Shape 1"/>
            <p:cNvSpPr/>
            <p:nvPr/>
          </p:nvSpPr>
          <p:spPr>
            <a:xfrm>
              <a:off x="2624973" y="4513412"/>
              <a:ext cx="143864" cy="343030"/>
            </a:xfrm>
            <a:custGeom>
              <a:avLst/>
              <a:gdLst/>
              <a:ahLst/>
              <a:cxnLst>
                <a:cxn ang="3cd4">
                  <a:pos x="hc" y="t"/>
                </a:cxn>
                <a:cxn ang="cd2">
                  <a:pos x="l" y="vc"/>
                </a:cxn>
                <a:cxn ang="cd4">
                  <a:pos x="hc" y="b"/>
                </a:cxn>
                <a:cxn ang="0">
                  <a:pos x="r" y="vc"/>
                </a:cxn>
              </a:cxnLst>
              <a:rect l="l" t="t" r="r" b="b"/>
              <a:pathLst>
                <a:path w="758" h="1806">
                  <a:moveTo>
                    <a:pt x="242" y="829"/>
                  </a:moveTo>
                  <a:cubicBezTo>
                    <a:pt x="215" y="896"/>
                    <a:pt x="204" y="941"/>
                    <a:pt x="204" y="964"/>
                  </a:cubicBezTo>
                  <a:cubicBezTo>
                    <a:pt x="183" y="999"/>
                    <a:pt x="175" y="1070"/>
                    <a:pt x="175" y="1097"/>
                  </a:cubicBezTo>
                  <a:lnTo>
                    <a:pt x="175" y="1129"/>
                  </a:lnTo>
                  <a:lnTo>
                    <a:pt x="223" y="1208"/>
                  </a:lnTo>
                  <a:cubicBezTo>
                    <a:pt x="250" y="1245"/>
                    <a:pt x="218" y="1258"/>
                    <a:pt x="292" y="1282"/>
                  </a:cubicBezTo>
                  <a:cubicBezTo>
                    <a:pt x="318" y="1282"/>
                    <a:pt x="340" y="1261"/>
                    <a:pt x="353" y="1221"/>
                  </a:cubicBezTo>
                  <a:lnTo>
                    <a:pt x="353" y="1208"/>
                  </a:lnTo>
                  <a:cubicBezTo>
                    <a:pt x="353" y="1113"/>
                    <a:pt x="387" y="978"/>
                    <a:pt x="419" y="888"/>
                  </a:cubicBezTo>
                  <a:cubicBezTo>
                    <a:pt x="419" y="845"/>
                    <a:pt x="456" y="718"/>
                    <a:pt x="588" y="406"/>
                  </a:cubicBezTo>
                  <a:cubicBezTo>
                    <a:pt x="588" y="371"/>
                    <a:pt x="618" y="308"/>
                    <a:pt x="678" y="210"/>
                  </a:cubicBezTo>
                  <a:cubicBezTo>
                    <a:pt x="729" y="125"/>
                    <a:pt x="742" y="138"/>
                    <a:pt x="758" y="128"/>
                  </a:cubicBezTo>
                  <a:lnTo>
                    <a:pt x="758" y="80"/>
                  </a:lnTo>
                  <a:lnTo>
                    <a:pt x="739" y="61"/>
                  </a:lnTo>
                  <a:cubicBezTo>
                    <a:pt x="739" y="61"/>
                    <a:pt x="721" y="43"/>
                    <a:pt x="671" y="22"/>
                  </a:cubicBezTo>
                  <a:cubicBezTo>
                    <a:pt x="671" y="22"/>
                    <a:pt x="620" y="0"/>
                    <a:pt x="604" y="0"/>
                  </a:cubicBezTo>
                  <a:cubicBezTo>
                    <a:pt x="588" y="0"/>
                    <a:pt x="557" y="32"/>
                    <a:pt x="530" y="93"/>
                  </a:cubicBezTo>
                  <a:close/>
                  <a:moveTo>
                    <a:pt x="14" y="1738"/>
                  </a:moveTo>
                  <a:cubicBezTo>
                    <a:pt x="14" y="1772"/>
                    <a:pt x="-18" y="1783"/>
                    <a:pt x="16" y="1806"/>
                  </a:cubicBezTo>
                  <a:lnTo>
                    <a:pt x="77" y="1806"/>
                  </a:lnTo>
                  <a:cubicBezTo>
                    <a:pt x="144" y="1775"/>
                    <a:pt x="167" y="1716"/>
                    <a:pt x="252" y="1528"/>
                  </a:cubicBezTo>
                  <a:lnTo>
                    <a:pt x="252" y="1486"/>
                  </a:lnTo>
                  <a:cubicBezTo>
                    <a:pt x="252" y="1460"/>
                    <a:pt x="273" y="1446"/>
                    <a:pt x="218" y="1412"/>
                  </a:cubicBezTo>
                  <a:lnTo>
                    <a:pt x="202" y="1412"/>
                  </a:lnTo>
                  <a:cubicBezTo>
                    <a:pt x="93" y="1409"/>
                    <a:pt x="67" y="1465"/>
                    <a:pt x="14" y="168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Shape 2"/>
            <p:cNvSpPr/>
            <p:nvPr/>
          </p:nvSpPr>
          <p:spPr>
            <a:xfrm>
              <a:off x="2244124" y="4551801"/>
              <a:ext cx="81339" cy="304261"/>
            </a:xfrm>
            <a:custGeom>
              <a:avLst/>
              <a:gdLst/>
              <a:ahLst/>
              <a:cxnLst>
                <a:cxn ang="3cd4">
                  <a:pos x="hc" y="t"/>
                </a:cxn>
                <a:cxn ang="cd2">
                  <a:pos x="l" y="vc"/>
                </a:cxn>
                <a:cxn ang="cd4">
                  <a:pos x="hc" y="b"/>
                </a:cxn>
                <a:cxn ang="0">
                  <a:pos x="r" y="vc"/>
                </a:cxn>
              </a:cxnLst>
              <a:rect l="l" t="t" r="r" b="b"/>
              <a:pathLst>
                <a:path w="429" h="1602">
                  <a:moveTo>
                    <a:pt x="244" y="1533"/>
                  </a:moveTo>
                  <a:cubicBezTo>
                    <a:pt x="209" y="1533"/>
                    <a:pt x="199" y="1483"/>
                    <a:pt x="183" y="1329"/>
                  </a:cubicBezTo>
                  <a:cubicBezTo>
                    <a:pt x="201" y="1064"/>
                    <a:pt x="223" y="884"/>
                    <a:pt x="241" y="789"/>
                  </a:cubicBezTo>
                  <a:cubicBezTo>
                    <a:pt x="323" y="384"/>
                    <a:pt x="307" y="458"/>
                    <a:pt x="366" y="320"/>
                  </a:cubicBezTo>
                  <a:cubicBezTo>
                    <a:pt x="424" y="180"/>
                    <a:pt x="429" y="161"/>
                    <a:pt x="429" y="119"/>
                  </a:cubicBezTo>
                  <a:cubicBezTo>
                    <a:pt x="429" y="71"/>
                    <a:pt x="376" y="32"/>
                    <a:pt x="268" y="0"/>
                  </a:cubicBezTo>
                  <a:lnTo>
                    <a:pt x="260" y="0"/>
                  </a:lnTo>
                  <a:lnTo>
                    <a:pt x="257" y="2"/>
                  </a:lnTo>
                  <a:cubicBezTo>
                    <a:pt x="257" y="2"/>
                    <a:pt x="254" y="5"/>
                    <a:pt x="241" y="63"/>
                  </a:cubicBezTo>
                  <a:lnTo>
                    <a:pt x="209" y="201"/>
                  </a:lnTo>
                  <a:cubicBezTo>
                    <a:pt x="130" y="535"/>
                    <a:pt x="127" y="564"/>
                    <a:pt x="109" y="614"/>
                  </a:cubicBezTo>
                  <a:cubicBezTo>
                    <a:pt x="-8" y="1138"/>
                    <a:pt x="0" y="1213"/>
                    <a:pt x="0" y="1340"/>
                  </a:cubicBezTo>
                  <a:cubicBezTo>
                    <a:pt x="5" y="1385"/>
                    <a:pt x="27" y="1432"/>
                    <a:pt x="66" y="1483"/>
                  </a:cubicBezTo>
                  <a:cubicBezTo>
                    <a:pt x="146" y="1562"/>
                    <a:pt x="212" y="1602"/>
                    <a:pt x="257" y="160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Shape 3"/>
            <p:cNvSpPr/>
            <p:nvPr/>
          </p:nvSpPr>
          <p:spPr>
            <a:xfrm>
              <a:off x="2307789" y="4611664"/>
              <a:ext cx="82479" cy="244587"/>
            </a:xfrm>
            <a:custGeom>
              <a:avLst/>
              <a:gdLst/>
              <a:ahLst/>
              <a:cxnLst>
                <a:cxn ang="3cd4">
                  <a:pos x="hc" y="t"/>
                </a:cxn>
                <a:cxn ang="cd2">
                  <a:pos x="l" y="vc"/>
                </a:cxn>
                <a:cxn ang="cd4">
                  <a:pos x="hc" y="b"/>
                </a:cxn>
                <a:cxn ang="0">
                  <a:pos x="r" y="vc"/>
                </a:cxn>
              </a:cxnLst>
              <a:rect l="l" t="t" r="r" b="b"/>
              <a:pathLst>
                <a:path w="435" h="1288">
                  <a:moveTo>
                    <a:pt x="270" y="204"/>
                  </a:moveTo>
                  <a:lnTo>
                    <a:pt x="294" y="212"/>
                  </a:lnTo>
                  <a:cubicBezTo>
                    <a:pt x="331" y="206"/>
                    <a:pt x="379" y="164"/>
                    <a:pt x="435" y="82"/>
                  </a:cubicBezTo>
                  <a:lnTo>
                    <a:pt x="432" y="71"/>
                  </a:lnTo>
                  <a:cubicBezTo>
                    <a:pt x="429" y="45"/>
                    <a:pt x="395" y="21"/>
                    <a:pt x="329" y="0"/>
                  </a:cubicBezTo>
                  <a:lnTo>
                    <a:pt x="321" y="0"/>
                  </a:lnTo>
                  <a:cubicBezTo>
                    <a:pt x="302" y="3"/>
                    <a:pt x="284" y="69"/>
                    <a:pt x="270" y="204"/>
                  </a:cubicBezTo>
                  <a:close/>
                  <a:moveTo>
                    <a:pt x="210" y="1218"/>
                  </a:moveTo>
                  <a:lnTo>
                    <a:pt x="199" y="1189"/>
                  </a:lnTo>
                  <a:cubicBezTo>
                    <a:pt x="194" y="1048"/>
                    <a:pt x="194" y="956"/>
                    <a:pt x="204" y="913"/>
                  </a:cubicBezTo>
                  <a:lnTo>
                    <a:pt x="194" y="884"/>
                  </a:lnTo>
                  <a:cubicBezTo>
                    <a:pt x="191" y="829"/>
                    <a:pt x="196" y="800"/>
                    <a:pt x="207" y="800"/>
                  </a:cubicBezTo>
                  <a:cubicBezTo>
                    <a:pt x="220" y="712"/>
                    <a:pt x="236" y="662"/>
                    <a:pt x="249" y="651"/>
                  </a:cubicBezTo>
                  <a:cubicBezTo>
                    <a:pt x="255" y="590"/>
                    <a:pt x="286" y="511"/>
                    <a:pt x="347" y="413"/>
                  </a:cubicBezTo>
                  <a:cubicBezTo>
                    <a:pt x="345" y="381"/>
                    <a:pt x="281" y="341"/>
                    <a:pt x="165" y="291"/>
                  </a:cubicBezTo>
                  <a:cubicBezTo>
                    <a:pt x="133" y="294"/>
                    <a:pt x="106" y="360"/>
                    <a:pt x="82" y="484"/>
                  </a:cubicBezTo>
                  <a:cubicBezTo>
                    <a:pt x="16" y="768"/>
                    <a:pt x="-10" y="969"/>
                    <a:pt x="3" y="1086"/>
                  </a:cubicBezTo>
                  <a:cubicBezTo>
                    <a:pt x="14" y="1168"/>
                    <a:pt x="24" y="1207"/>
                    <a:pt x="40" y="1207"/>
                  </a:cubicBezTo>
                  <a:cubicBezTo>
                    <a:pt x="96" y="1268"/>
                    <a:pt x="157" y="1295"/>
                    <a:pt x="225" y="128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4" name="Freeform: Shape 4"/>
            <p:cNvSpPr/>
            <p:nvPr/>
          </p:nvSpPr>
          <p:spPr>
            <a:xfrm>
              <a:off x="2387038" y="4639791"/>
              <a:ext cx="173891" cy="216270"/>
            </a:xfrm>
            <a:custGeom>
              <a:avLst/>
              <a:gdLst/>
              <a:ahLst/>
              <a:cxnLst>
                <a:cxn ang="3cd4">
                  <a:pos x="hc" y="t"/>
                </a:cxn>
                <a:cxn ang="cd2">
                  <a:pos x="l" y="vc"/>
                </a:cxn>
                <a:cxn ang="cd4">
                  <a:pos x="hc" y="b"/>
                </a:cxn>
                <a:cxn ang="0">
                  <a:pos x="r" y="vc"/>
                </a:cxn>
              </a:cxnLst>
              <a:rect l="l" t="t" r="r" b="b"/>
              <a:pathLst>
                <a:path w="916" h="1139">
                  <a:moveTo>
                    <a:pt x="871" y="172"/>
                  </a:moveTo>
                  <a:cubicBezTo>
                    <a:pt x="900" y="141"/>
                    <a:pt x="916" y="114"/>
                    <a:pt x="916" y="95"/>
                  </a:cubicBezTo>
                  <a:cubicBezTo>
                    <a:pt x="916" y="37"/>
                    <a:pt x="892" y="5"/>
                    <a:pt x="795" y="0"/>
                  </a:cubicBezTo>
                  <a:cubicBezTo>
                    <a:pt x="773" y="0"/>
                    <a:pt x="736" y="35"/>
                    <a:pt x="683" y="106"/>
                  </a:cubicBezTo>
                  <a:cubicBezTo>
                    <a:pt x="644" y="252"/>
                    <a:pt x="599" y="350"/>
                    <a:pt x="543" y="403"/>
                  </a:cubicBezTo>
                  <a:cubicBezTo>
                    <a:pt x="456" y="596"/>
                    <a:pt x="389" y="723"/>
                    <a:pt x="344" y="781"/>
                  </a:cubicBezTo>
                  <a:cubicBezTo>
                    <a:pt x="331" y="832"/>
                    <a:pt x="318" y="858"/>
                    <a:pt x="307" y="858"/>
                  </a:cubicBezTo>
                  <a:lnTo>
                    <a:pt x="305" y="858"/>
                  </a:lnTo>
                  <a:cubicBezTo>
                    <a:pt x="305" y="858"/>
                    <a:pt x="302" y="858"/>
                    <a:pt x="299" y="773"/>
                  </a:cubicBezTo>
                  <a:lnTo>
                    <a:pt x="294" y="569"/>
                  </a:lnTo>
                  <a:lnTo>
                    <a:pt x="302" y="498"/>
                  </a:lnTo>
                  <a:lnTo>
                    <a:pt x="286" y="416"/>
                  </a:lnTo>
                  <a:lnTo>
                    <a:pt x="294" y="397"/>
                  </a:lnTo>
                  <a:lnTo>
                    <a:pt x="278" y="363"/>
                  </a:lnTo>
                  <a:lnTo>
                    <a:pt x="286" y="339"/>
                  </a:lnTo>
                  <a:lnTo>
                    <a:pt x="286" y="334"/>
                  </a:lnTo>
                  <a:cubicBezTo>
                    <a:pt x="286" y="286"/>
                    <a:pt x="207" y="249"/>
                    <a:pt x="45" y="220"/>
                  </a:cubicBezTo>
                  <a:cubicBezTo>
                    <a:pt x="24" y="225"/>
                    <a:pt x="11" y="236"/>
                    <a:pt x="0" y="249"/>
                  </a:cubicBezTo>
                  <a:lnTo>
                    <a:pt x="0" y="260"/>
                  </a:lnTo>
                  <a:cubicBezTo>
                    <a:pt x="29" y="260"/>
                    <a:pt x="53" y="474"/>
                    <a:pt x="74" y="906"/>
                  </a:cubicBezTo>
                  <a:cubicBezTo>
                    <a:pt x="74" y="993"/>
                    <a:pt x="93" y="1049"/>
                    <a:pt x="133" y="1073"/>
                  </a:cubicBezTo>
                  <a:cubicBezTo>
                    <a:pt x="170" y="1115"/>
                    <a:pt x="215" y="1139"/>
                    <a:pt x="273" y="1139"/>
                  </a:cubicBezTo>
                  <a:lnTo>
                    <a:pt x="302" y="1139"/>
                  </a:lnTo>
                  <a:lnTo>
                    <a:pt x="305" y="1136"/>
                  </a:lnTo>
                  <a:cubicBezTo>
                    <a:pt x="305" y="1136"/>
                    <a:pt x="307" y="1134"/>
                    <a:pt x="342" y="1054"/>
                  </a:cubicBezTo>
                  <a:lnTo>
                    <a:pt x="432" y="848"/>
                  </a:lnTo>
                  <a:cubicBezTo>
                    <a:pt x="516" y="667"/>
                    <a:pt x="569" y="564"/>
                    <a:pt x="593" y="540"/>
                  </a:cubicBezTo>
                  <a:cubicBezTo>
                    <a:pt x="620" y="474"/>
                    <a:pt x="641" y="440"/>
                    <a:pt x="652" y="434"/>
                  </a:cubicBezTo>
                  <a:lnTo>
                    <a:pt x="654" y="434"/>
                  </a:lnTo>
                  <a:cubicBezTo>
                    <a:pt x="654" y="434"/>
                    <a:pt x="657" y="434"/>
                    <a:pt x="712" y="36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Shape 5"/>
            <p:cNvSpPr/>
            <p:nvPr/>
          </p:nvSpPr>
          <p:spPr>
            <a:xfrm>
              <a:off x="2518358" y="4655945"/>
              <a:ext cx="124099" cy="201067"/>
            </a:xfrm>
            <a:custGeom>
              <a:avLst/>
              <a:gdLst/>
              <a:ahLst/>
              <a:cxnLst>
                <a:cxn ang="3cd4">
                  <a:pos x="hc" y="t"/>
                </a:cxn>
                <a:cxn ang="cd2">
                  <a:pos x="l" y="vc"/>
                </a:cxn>
                <a:cxn ang="cd4">
                  <a:pos x="hc" y="b"/>
                </a:cxn>
                <a:cxn ang="0">
                  <a:pos x="r" y="vc"/>
                </a:cxn>
              </a:cxnLst>
              <a:rect l="l" t="t" r="r" b="b"/>
              <a:pathLst>
                <a:path w="654" h="1059">
                  <a:moveTo>
                    <a:pt x="337" y="53"/>
                  </a:moveTo>
                  <a:cubicBezTo>
                    <a:pt x="276" y="108"/>
                    <a:pt x="233" y="167"/>
                    <a:pt x="204" y="230"/>
                  </a:cubicBezTo>
                  <a:lnTo>
                    <a:pt x="201" y="233"/>
                  </a:lnTo>
                  <a:cubicBezTo>
                    <a:pt x="201" y="233"/>
                    <a:pt x="199" y="236"/>
                    <a:pt x="183" y="262"/>
                  </a:cubicBezTo>
                  <a:lnTo>
                    <a:pt x="125" y="368"/>
                  </a:lnTo>
                  <a:cubicBezTo>
                    <a:pt x="43" y="564"/>
                    <a:pt x="0" y="710"/>
                    <a:pt x="0" y="808"/>
                  </a:cubicBezTo>
                  <a:lnTo>
                    <a:pt x="0" y="826"/>
                  </a:lnTo>
                  <a:cubicBezTo>
                    <a:pt x="0" y="861"/>
                    <a:pt x="21" y="900"/>
                    <a:pt x="66" y="945"/>
                  </a:cubicBezTo>
                  <a:cubicBezTo>
                    <a:pt x="109" y="1019"/>
                    <a:pt x="159" y="1059"/>
                    <a:pt x="220" y="1059"/>
                  </a:cubicBezTo>
                  <a:cubicBezTo>
                    <a:pt x="268" y="1049"/>
                    <a:pt x="294" y="1038"/>
                    <a:pt x="294" y="1030"/>
                  </a:cubicBezTo>
                  <a:cubicBezTo>
                    <a:pt x="339" y="998"/>
                    <a:pt x="360" y="977"/>
                    <a:pt x="360" y="964"/>
                  </a:cubicBezTo>
                  <a:cubicBezTo>
                    <a:pt x="432" y="874"/>
                    <a:pt x="477" y="800"/>
                    <a:pt x="501" y="739"/>
                  </a:cubicBezTo>
                  <a:lnTo>
                    <a:pt x="501" y="733"/>
                  </a:lnTo>
                  <a:lnTo>
                    <a:pt x="485" y="720"/>
                  </a:lnTo>
                  <a:lnTo>
                    <a:pt x="469" y="733"/>
                  </a:lnTo>
                  <a:cubicBezTo>
                    <a:pt x="392" y="845"/>
                    <a:pt x="310" y="924"/>
                    <a:pt x="220" y="972"/>
                  </a:cubicBezTo>
                  <a:cubicBezTo>
                    <a:pt x="204" y="972"/>
                    <a:pt x="191" y="961"/>
                    <a:pt x="183" y="943"/>
                  </a:cubicBezTo>
                  <a:cubicBezTo>
                    <a:pt x="183" y="813"/>
                    <a:pt x="233" y="641"/>
                    <a:pt x="331" y="421"/>
                  </a:cubicBezTo>
                  <a:lnTo>
                    <a:pt x="382" y="424"/>
                  </a:lnTo>
                  <a:cubicBezTo>
                    <a:pt x="382" y="424"/>
                    <a:pt x="411" y="426"/>
                    <a:pt x="440" y="416"/>
                  </a:cubicBezTo>
                  <a:lnTo>
                    <a:pt x="530" y="379"/>
                  </a:lnTo>
                  <a:cubicBezTo>
                    <a:pt x="588" y="349"/>
                    <a:pt x="628" y="299"/>
                    <a:pt x="654" y="230"/>
                  </a:cubicBezTo>
                  <a:lnTo>
                    <a:pt x="654" y="159"/>
                  </a:lnTo>
                  <a:cubicBezTo>
                    <a:pt x="646" y="111"/>
                    <a:pt x="577" y="58"/>
                    <a:pt x="448" y="0"/>
                  </a:cubicBezTo>
                  <a:lnTo>
                    <a:pt x="411" y="0"/>
                  </a:lnTo>
                  <a:close/>
                  <a:moveTo>
                    <a:pt x="374" y="349"/>
                  </a:moveTo>
                  <a:cubicBezTo>
                    <a:pt x="453" y="244"/>
                    <a:pt x="506" y="191"/>
                    <a:pt x="535" y="191"/>
                  </a:cubicBezTo>
                  <a:lnTo>
                    <a:pt x="543" y="191"/>
                  </a:lnTo>
                  <a:lnTo>
                    <a:pt x="551" y="196"/>
                  </a:lnTo>
                  <a:cubicBezTo>
                    <a:pt x="498" y="310"/>
                    <a:pt x="448" y="368"/>
                    <a:pt x="405" y="368"/>
                  </a:cubicBezTo>
                  <a:lnTo>
                    <a:pt x="376" y="355"/>
                  </a:lnTo>
                  <a:lnTo>
                    <a:pt x="376" y="3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Shape 6"/>
            <p:cNvSpPr/>
            <p:nvPr/>
          </p:nvSpPr>
          <p:spPr>
            <a:xfrm>
              <a:off x="1741456" y="4718660"/>
              <a:ext cx="122009" cy="137212"/>
            </a:xfrm>
            <a:custGeom>
              <a:avLst/>
              <a:gdLst/>
              <a:ahLst/>
              <a:cxnLst>
                <a:cxn ang="3cd4">
                  <a:pos x="hc" y="t"/>
                </a:cxn>
                <a:cxn ang="cd2">
                  <a:pos x="l" y="vc"/>
                </a:cxn>
                <a:cxn ang="cd4">
                  <a:pos x="hc" y="b"/>
                </a:cxn>
                <a:cxn ang="0">
                  <a:pos x="r" y="vc"/>
                </a:cxn>
              </a:cxnLst>
              <a:rect l="l" t="t" r="r" b="b"/>
              <a:pathLst>
                <a:path w="643" h="723">
                  <a:moveTo>
                    <a:pt x="495" y="442"/>
                  </a:moveTo>
                  <a:cubicBezTo>
                    <a:pt x="490" y="495"/>
                    <a:pt x="455" y="598"/>
                    <a:pt x="339" y="598"/>
                  </a:cubicBezTo>
                  <a:cubicBezTo>
                    <a:pt x="233" y="598"/>
                    <a:pt x="151" y="522"/>
                    <a:pt x="151" y="363"/>
                  </a:cubicBezTo>
                  <a:cubicBezTo>
                    <a:pt x="151" y="220"/>
                    <a:pt x="222" y="127"/>
                    <a:pt x="339" y="127"/>
                  </a:cubicBezTo>
                  <a:cubicBezTo>
                    <a:pt x="434" y="127"/>
                    <a:pt x="482" y="199"/>
                    <a:pt x="490" y="249"/>
                  </a:cubicBezTo>
                  <a:lnTo>
                    <a:pt x="635" y="249"/>
                  </a:lnTo>
                  <a:cubicBezTo>
                    <a:pt x="627" y="161"/>
                    <a:pt x="559" y="0"/>
                    <a:pt x="339" y="0"/>
                  </a:cubicBezTo>
                  <a:cubicBezTo>
                    <a:pt x="130" y="0"/>
                    <a:pt x="0" y="156"/>
                    <a:pt x="0" y="360"/>
                  </a:cubicBezTo>
                  <a:cubicBezTo>
                    <a:pt x="0" y="577"/>
                    <a:pt x="140" y="723"/>
                    <a:pt x="339" y="723"/>
                  </a:cubicBezTo>
                  <a:cubicBezTo>
                    <a:pt x="566" y="723"/>
                    <a:pt x="638" y="537"/>
                    <a:pt x="643" y="439"/>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Shape 7"/>
            <p:cNvSpPr/>
            <p:nvPr/>
          </p:nvSpPr>
          <p:spPr>
            <a:xfrm>
              <a:off x="1876198" y="4721701"/>
              <a:ext cx="27556" cy="23375"/>
            </a:xfrm>
            <a:custGeom>
              <a:avLst/>
              <a:gdLst/>
              <a:ahLst/>
              <a:cxnLst>
                <a:cxn ang="3cd4">
                  <a:pos x="hc" y="t"/>
                </a:cxn>
                <a:cxn ang="cd2">
                  <a:pos x="l" y="vc"/>
                </a:cxn>
                <a:cxn ang="cd4">
                  <a:pos x="hc" y="b"/>
                </a:cxn>
                <a:cxn ang="0">
                  <a:pos x="r" y="vc"/>
                </a:cxn>
              </a:cxnLst>
              <a:rect l="l" t="t" r="r" b="b"/>
              <a:pathLst>
                <a:path w="146" h="124">
                  <a:moveTo>
                    <a:pt x="73" y="124"/>
                  </a:moveTo>
                  <a:lnTo>
                    <a:pt x="0" y="124"/>
                  </a:lnTo>
                  <a:lnTo>
                    <a:pt x="0" y="0"/>
                  </a:lnTo>
                  <a:lnTo>
                    <a:pt x="146" y="0"/>
                  </a:lnTo>
                  <a:lnTo>
                    <a:pt x="146" y="12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Shape 8"/>
            <p:cNvSpPr/>
            <p:nvPr/>
          </p:nvSpPr>
          <p:spPr>
            <a:xfrm>
              <a:off x="1876198" y="4757809"/>
              <a:ext cx="27556" cy="95022"/>
            </a:xfrm>
            <a:custGeom>
              <a:avLst/>
              <a:gdLst/>
              <a:ahLst/>
              <a:cxnLst>
                <a:cxn ang="3cd4">
                  <a:pos x="hc" y="t"/>
                </a:cxn>
                <a:cxn ang="cd2">
                  <a:pos x="l" y="vc"/>
                </a:cxn>
                <a:cxn ang="cd4">
                  <a:pos x="hc" y="b"/>
                </a:cxn>
                <a:cxn ang="0">
                  <a:pos x="r" y="vc"/>
                </a:cxn>
              </a:cxnLst>
              <a:rect l="l" t="t" r="r" b="b"/>
              <a:pathLst>
                <a:path w="146" h="501">
                  <a:moveTo>
                    <a:pt x="73" y="501"/>
                  </a:moveTo>
                  <a:lnTo>
                    <a:pt x="0" y="501"/>
                  </a:lnTo>
                  <a:lnTo>
                    <a:pt x="0" y="0"/>
                  </a:lnTo>
                  <a:lnTo>
                    <a:pt x="146" y="0"/>
                  </a:lnTo>
                  <a:lnTo>
                    <a:pt x="146" y="50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9" name="Freeform: Shape 9"/>
            <p:cNvSpPr/>
            <p:nvPr/>
          </p:nvSpPr>
          <p:spPr>
            <a:xfrm>
              <a:off x="1914967" y="4755338"/>
              <a:ext cx="90461" cy="100533"/>
            </a:xfrm>
            <a:custGeom>
              <a:avLst/>
              <a:gdLst/>
              <a:ahLst/>
              <a:cxnLst>
                <a:cxn ang="3cd4">
                  <a:pos x="hc" y="t"/>
                </a:cxn>
                <a:cxn ang="cd2">
                  <a:pos x="l" y="vc"/>
                </a:cxn>
                <a:cxn ang="cd4">
                  <a:pos x="hc" y="b"/>
                </a:cxn>
                <a:cxn ang="0">
                  <a:pos x="r" y="vc"/>
                </a:cxn>
              </a:cxnLst>
              <a:rect l="l" t="t" r="r" b="b"/>
              <a:pathLst>
                <a:path w="477" h="530">
                  <a:moveTo>
                    <a:pt x="16" y="146"/>
                  </a:moveTo>
                  <a:cubicBezTo>
                    <a:pt x="16" y="252"/>
                    <a:pt x="109" y="284"/>
                    <a:pt x="162" y="297"/>
                  </a:cubicBezTo>
                  <a:cubicBezTo>
                    <a:pt x="175" y="299"/>
                    <a:pt x="212" y="310"/>
                    <a:pt x="225" y="313"/>
                  </a:cubicBezTo>
                  <a:cubicBezTo>
                    <a:pt x="278" y="326"/>
                    <a:pt x="326" y="337"/>
                    <a:pt x="326" y="379"/>
                  </a:cubicBezTo>
                  <a:cubicBezTo>
                    <a:pt x="326" y="408"/>
                    <a:pt x="294" y="432"/>
                    <a:pt x="236" y="432"/>
                  </a:cubicBezTo>
                  <a:cubicBezTo>
                    <a:pt x="178" y="432"/>
                    <a:pt x="143" y="403"/>
                    <a:pt x="138" y="352"/>
                  </a:cubicBezTo>
                  <a:lnTo>
                    <a:pt x="0" y="352"/>
                  </a:lnTo>
                  <a:cubicBezTo>
                    <a:pt x="6" y="405"/>
                    <a:pt x="35" y="530"/>
                    <a:pt x="236" y="530"/>
                  </a:cubicBezTo>
                  <a:cubicBezTo>
                    <a:pt x="424" y="530"/>
                    <a:pt x="477" y="427"/>
                    <a:pt x="477" y="368"/>
                  </a:cubicBezTo>
                  <a:cubicBezTo>
                    <a:pt x="477" y="302"/>
                    <a:pt x="435" y="246"/>
                    <a:pt x="310" y="215"/>
                  </a:cubicBezTo>
                  <a:cubicBezTo>
                    <a:pt x="302" y="212"/>
                    <a:pt x="262" y="204"/>
                    <a:pt x="247" y="199"/>
                  </a:cubicBezTo>
                  <a:cubicBezTo>
                    <a:pt x="183" y="183"/>
                    <a:pt x="165" y="172"/>
                    <a:pt x="165" y="141"/>
                  </a:cubicBezTo>
                  <a:cubicBezTo>
                    <a:pt x="165" y="111"/>
                    <a:pt x="196" y="98"/>
                    <a:pt x="231" y="98"/>
                  </a:cubicBezTo>
                  <a:cubicBezTo>
                    <a:pt x="310" y="98"/>
                    <a:pt x="326" y="138"/>
                    <a:pt x="326" y="162"/>
                  </a:cubicBezTo>
                  <a:lnTo>
                    <a:pt x="464" y="162"/>
                  </a:lnTo>
                  <a:cubicBezTo>
                    <a:pt x="464" y="109"/>
                    <a:pt x="427" y="0"/>
                    <a:pt x="231" y="0"/>
                  </a:cubicBezTo>
                  <a:cubicBezTo>
                    <a:pt x="74" y="0"/>
                    <a:pt x="16" y="80"/>
                    <a:pt x="16" y="146"/>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0" name="Freeform: Shape 10"/>
            <p:cNvSpPr/>
            <p:nvPr/>
          </p:nvSpPr>
          <p:spPr>
            <a:xfrm>
              <a:off x="2012080" y="4755338"/>
              <a:ext cx="97493" cy="100533"/>
            </a:xfrm>
            <a:custGeom>
              <a:avLst/>
              <a:gdLst/>
              <a:ahLst/>
              <a:cxnLst>
                <a:cxn ang="3cd4">
                  <a:pos x="hc" y="t"/>
                </a:cxn>
                <a:cxn ang="cd2">
                  <a:pos x="l" y="vc"/>
                </a:cxn>
                <a:cxn ang="cd4">
                  <a:pos x="hc" y="b"/>
                </a:cxn>
                <a:cxn ang="0">
                  <a:pos x="r" y="vc"/>
                </a:cxn>
              </a:cxnLst>
              <a:rect l="l" t="t" r="r" b="b"/>
              <a:pathLst>
                <a:path w="514" h="530">
                  <a:moveTo>
                    <a:pt x="376" y="331"/>
                  </a:moveTo>
                  <a:cubicBezTo>
                    <a:pt x="366" y="379"/>
                    <a:pt x="334" y="424"/>
                    <a:pt x="270" y="424"/>
                  </a:cubicBezTo>
                  <a:cubicBezTo>
                    <a:pt x="191" y="424"/>
                    <a:pt x="151" y="355"/>
                    <a:pt x="151" y="265"/>
                  </a:cubicBezTo>
                  <a:cubicBezTo>
                    <a:pt x="151" y="196"/>
                    <a:pt x="178" y="103"/>
                    <a:pt x="270" y="103"/>
                  </a:cubicBezTo>
                  <a:cubicBezTo>
                    <a:pt x="329" y="103"/>
                    <a:pt x="363" y="143"/>
                    <a:pt x="371" y="188"/>
                  </a:cubicBezTo>
                  <a:lnTo>
                    <a:pt x="511" y="188"/>
                  </a:lnTo>
                  <a:cubicBezTo>
                    <a:pt x="503" y="109"/>
                    <a:pt x="445" y="0"/>
                    <a:pt x="268" y="0"/>
                  </a:cubicBezTo>
                  <a:cubicBezTo>
                    <a:pt x="112" y="0"/>
                    <a:pt x="0" y="103"/>
                    <a:pt x="0" y="265"/>
                  </a:cubicBezTo>
                  <a:cubicBezTo>
                    <a:pt x="0" y="427"/>
                    <a:pt x="109" y="530"/>
                    <a:pt x="268" y="530"/>
                  </a:cubicBezTo>
                  <a:cubicBezTo>
                    <a:pt x="453" y="530"/>
                    <a:pt x="506" y="413"/>
                    <a:pt x="514" y="334"/>
                  </a:cubicBezTo>
                  <a:lnTo>
                    <a:pt x="376" y="3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 name="Freeform: Shape 11"/>
            <p:cNvSpPr/>
            <p:nvPr/>
          </p:nvSpPr>
          <p:spPr>
            <a:xfrm>
              <a:off x="2117744" y="4755338"/>
              <a:ext cx="101104" cy="100533"/>
            </a:xfrm>
            <a:custGeom>
              <a:avLst/>
              <a:gdLst/>
              <a:ahLst/>
              <a:cxnLst>
                <a:cxn ang="3cd4">
                  <a:pos x="hc" y="t"/>
                </a:cxn>
                <a:cxn ang="cd2">
                  <a:pos x="l" y="vc"/>
                </a:cxn>
                <a:cxn ang="cd4">
                  <a:pos x="hc" y="b"/>
                </a:cxn>
                <a:cxn ang="0">
                  <a:pos x="r" y="vc"/>
                </a:cxn>
              </a:cxnLst>
              <a:rect l="l" t="t" r="r" b="b"/>
              <a:pathLst>
                <a:path w="533" h="530">
                  <a:moveTo>
                    <a:pt x="268" y="0"/>
                  </a:moveTo>
                  <a:cubicBezTo>
                    <a:pt x="109" y="0"/>
                    <a:pt x="0" y="103"/>
                    <a:pt x="0" y="265"/>
                  </a:cubicBezTo>
                  <a:cubicBezTo>
                    <a:pt x="0" y="427"/>
                    <a:pt x="109" y="530"/>
                    <a:pt x="268" y="530"/>
                  </a:cubicBezTo>
                  <a:cubicBezTo>
                    <a:pt x="424" y="530"/>
                    <a:pt x="533" y="429"/>
                    <a:pt x="533" y="265"/>
                  </a:cubicBezTo>
                  <a:cubicBezTo>
                    <a:pt x="533" y="98"/>
                    <a:pt x="419" y="0"/>
                    <a:pt x="268" y="0"/>
                  </a:cubicBezTo>
                  <a:close/>
                  <a:moveTo>
                    <a:pt x="265" y="424"/>
                  </a:moveTo>
                  <a:cubicBezTo>
                    <a:pt x="188" y="424"/>
                    <a:pt x="146" y="355"/>
                    <a:pt x="146" y="265"/>
                  </a:cubicBezTo>
                  <a:cubicBezTo>
                    <a:pt x="149" y="196"/>
                    <a:pt x="175" y="103"/>
                    <a:pt x="265" y="103"/>
                  </a:cubicBezTo>
                  <a:cubicBezTo>
                    <a:pt x="347" y="103"/>
                    <a:pt x="382" y="183"/>
                    <a:pt x="382" y="265"/>
                  </a:cubicBezTo>
                  <a:cubicBezTo>
                    <a:pt x="382" y="347"/>
                    <a:pt x="347" y="424"/>
                    <a:pt x="265" y="42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3401107812"/>
      </p:ext>
    </p:extLst>
  </p:cSld>
  <p:clrMapOvr>
    <a:masterClrMapping/>
  </p:clrMapOv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Segue">
    <p:spTree>
      <p:nvGrpSpPr>
        <p:cNvPr id="1" name=""/>
        <p:cNvGrpSpPr/>
        <p:nvPr/>
      </p:nvGrpSpPr>
      <p:grpSpPr>
        <a:xfrm>
          <a:off x="0" y="0"/>
          <a:ext cx="0" cy="0"/>
          <a:chOff x="0" y="0"/>
          <a:chExt cx="0" cy="0"/>
        </a:xfrm>
      </p:grpSpPr>
      <p:sp>
        <p:nvSpPr>
          <p:cNvPr id="12" name="Rectangle 11"/>
          <p:cNvSpPr/>
          <p:nvPr userDrawn="1"/>
        </p:nvSpPr>
        <p:spPr bwMode="auto">
          <a:xfrm>
            <a:off x="0" y="0"/>
            <a:ext cx="9143918" cy="5143500"/>
          </a:xfrm>
          <a:prstGeom prst="rect">
            <a:avLst/>
          </a:prstGeom>
          <a:solidFill>
            <a:srgbClr val="005073"/>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a:solidFill>
                <a:srgbClr val="00BCEB"/>
              </a:solidFill>
              <a:ea typeface="Arial" pitchFamily="-107" charset="0"/>
              <a:cs typeface="Arial" pitchFamily="-107" charset="0"/>
              <a:sym typeface="Arial" pitchFamily="-107" charset="0"/>
            </a:endParaRP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l="5269" t="2703" r="67036"/>
          <a:stretch/>
        </p:blipFill>
        <p:spPr>
          <a:xfrm rot="16200000" flipV="1">
            <a:off x="3270632" y="-729869"/>
            <a:ext cx="2602737" cy="9144001"/>
          </a:xfrm>
          <a:prstGeom prst="rect">
            <a:avLst/>
          </a:prstGeom>
        </p:spPr>
      </p:pic>
      <p:sp>
        <p:nvSpPr>
          <p:cNvPr id="8" name="Title 7"/>
          <p:cNvSpPr>
            <a:spLocks noGrp="1"/>
          </p:cNvSpPr>
          <p:nvPr>
            <p:ph type="title" hasCustomPrompt="1"/>
          </p:nvPr>
        </p:nvSpPr>
        <p:spPr bwMode="white">
          <a:xfrm>
            <a:off x="359051" y="474580"/>
            <a:ext cx="8394466" cy="1142052"/>
          </a:xfrm>
        </p:spPr>
        <p:txBody>
          <a:bodyPr anchor="t"/>
          <a:lstStyle>
            <a:lvl1pPr marL="6251" indent="-6251" algn="l" defTabSz="914400" rtl="0" eaLnBrk="0" fontAlgn="base" latinLnBrk="0" hangingPunct="0">
              <a:lnSpc>
                <a:spcPct val="90000"/>
              </a:lnSpc>
              <a:spcBef>
                <a:spcPct val="0"/>
              </a:spcBef>
              <a:spcAft>
                <a:spcPct val="0"/>
              </a:spcAft>
              <a:defRPr lang="en-US" sz="4000" b="0" i="0" kern="1200" dirty="0">
                <a:solidFill>
                  <a:schemeClr val="bg1"/>
                </a:solidFill>
                <a:latin typeface="+mj-lt"/>
                <a:ea typeface="+mj-ea"/>
                <a:cs typeface="+mj-cs"/>
                <a:sym typeface="Arial" pitchFamily="34" charset="0"/>
              </a:defRPr>
            </a:lvl1pPr>
          </a:lstStyle>
          <a:p>
            <a:r>
              <a:rPr lang="en-US" dirty="0"/>
              <a:t>Segue Slide</a:t>
            </a:r>
          </a:p>
        </p:txBody>
      </p:sp>
      <p:sp>
        <p:nvSpPr>
          <p:cNvPr id="9"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rPr>
              <a:pPr/>
              <a:t>‹#›</a:t>
            </a:fld>
            <a:endParaRPr dirty="0">
              <a:solidFill>
                <a:srgbClr val="FFFFFF">
                  <a:alpha val="60000"/>
                </a:srgbClr>
              </a:solidFill>
            </a:endParaRPr>
          </a:p>
        </p:txBody>
      </p:sp>
      <p:grpSp>
        <p:nvGrpSpPr>
          <p:cNvPr id="15" name="Group 14"/>
          <p:cNvGrpSpPr/>
          <p:nvPr userDrawn="1"/>
        </p:nvGrpSpPr>
        <p:grpSpPr>
          <a:xfrm>
            <a:off x="454861" y="4785454"/>
            <a:ext cx="820227" cy="274319"/>
            <a:chOff x="1741456" y="4513412"/>
            <a:chExt cx="1027381" cy="343600"/>
          </a:xfrm>
          <a:solidFill>
            <a:schemeClr val="bg1"/>
          </a:solidFill>
        </p:grpSpPr>
        <p:sp>
          <p:nvSpPr>
            <p:cNvPr id="16" name="Freeform: Shape 1"/>
            <p:cNvSpPr/>
            <p:nvPr/>
          </p:nvSpPr>
          <p:spPr>
            <a:xfrm>
              <a:off x="2624973" y="4513412"/>
              <a:ext cx="143864" cy="343030"/>
            </a:xfrm>
            <a:custGeom>
              <a:avLst/>
              <a:gdLst/>
              <a:ahLst/>
              <a:cxnLst>
                <a:cxn ang="3cd4">
                  <a:pos x="hc" y="t"/>
                </a:cxn>
                <a:cxn ang="cd2">
                  <a:pos x="l" y="vc"/>
                </a:cxn>
                <a:cxn ang="cd4">
                  <a:pos x="hc" y="b"/>
                </a:cxn>
                <a:cxn ang="0">
                  <a:pos x="r" y="vc"/>
                </a:cxn>
              </a:cxnLst>
              <a:rect l="l" t="t" r="r" b="b"/>
              <a:pathLst>
                <a:path w="758" h="1806">
                  <a:moveTo>
                    <a:pt x="242" y="829"/>
                  </a:moveTo>
                  <a:cubicBezTo>
                    <a:pt x="215" y="896"/>
                    <a:pt x="204" y="941"/>
                    <a:pt x="204" y="964"/>
                  </a:cubicBezTo>
                  <a:cubicBezTo>
                    <a:pt x="183" y="999"/>
                    <a:pt x="175" y="1070"/>
                    <a:pt x="175" y="1097"/>
                  </a:cubicBezTo>
                  <a:lnTo>
                    <a:pt x="175" y="1129"/>
                  </a:lnTo>
                  <a:lnTo>
                    <a:pt x="223" y="1208"/>
                  </a:lnTo>
                  <a:cubicBezTo>
                    <a:pt x="250" y="1245"/>
                    <a:pt x="218" y="1258"/>
                    <a:pt x="292" y="1282"/>
                  </a:cubicBezTo>
                  <a:cubicBezTo>
                    <a:pt x="318" y="1282"/>
                    <a:pt x="340" y="1261"/>
                    <a:pt x="353" y="1221"/>
                  </a:cubicBezTo>
                  <a:lnTo>
                    <a:pt x="353" y="1208"/>
                  </a:lnTo>
                  <a:cubicBezTo>
                    <a:pt x="353" y="1113"/>
                    <a:pt x="387" y="978"/>
                    <a:pt x="419" y="888"/>
                  </a:cubicBezTo>
                  <a:cubicBezTo>
                    <a:pt x="419" y="845"/>
                    <a:pt x="456" y="718"/>
                    <a:pt x="588" y="406"/>
                  </a:cubicBezTo>
                  <a:cubicBezTo>
                    <a:pt x="588" y="371"/>
                    <a:pt x="618" y="308"/>
                    <a:pt x="678" y="210"/>
                  </a:cubicBezTo>
                  <a:cubicBezTo>
                    <a:pt x="729" y="125"/>
                    <a:pt x="742" y="138"/>
                    <a:pt x="758" y="128"/>
                  </a:cubicBezTo>
                  <a:lnTo>
                    <a:pt x="758" y="80"/>
                  </a:lnTo>
                  <a:lnTo>
                    <a:pt x="739" y="61"/>
                  </a:lnTo>
                  <a:cubicBezTo>
                    <a:pt x="739" y="61"/>
                    <a:pt x="721" y="43"/>
                    <a:pt x="671" y="22"/>
                  </a:cubicBezTo>
                  <a:cubicBezTo>
                    <a:pt x="671" y="22"/>
                    <a:pt x="620" y="0"/>
                    <a:pt x="604" y="0"/>
                  </a:cubicBezTo>
                  <a:cubicBezTo>
                    <a:pt x="588" y="0"/>
                    <a:pt x="557" y="32"/>
                    <a:pt x="530" y="93"/>
                  </a:cubicBezTo>
                  <a:close/>
                  <a:moveTo>
                    <a:pt x="14" y="1738"/>
                  </a:moveTo>
                  <a:cubicBezTo>
                    <a:pt x="14" y="1772"/>
                    <a:pt x="-18" y="1783"/>
                    <a:pt x="16" y="1806"/>
                  </a:cubicBezTo>
                  <a:lnTo>
                    <a:pt x="77" y="1806"/>
                  </a:lnTo>
                  <a:cubicBezTo>
                    <a:pt x="144" y="1775"/>
                    <a:pt x="167" y="1716"/>
                    <a:pt x="252" y="1528"/>
                  </a:cubicBezTo>
                  <a:lnTo>
                    <a:pt x="252" y="1486"/>
                  </a:lnTo>
                  <a:cubicBezTo>
                    <a:pt x="252" y="1460"/>
                    <a:pt x="273" y="1446"/>
                    <a:pt x="218" y="1412"/>
                  </a:cubicBezTo>
                  <a:lnTo>
                    <a:pt x="202" y="1412"/>
                  </a:lnTo>
                  <a:cubicBezTo>
                    <a:pt x="93" y="1409"/>
                    <a:pt x="67" y="1465"/>
                    <a:pt x="14" y="168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Shape 2"/>
            <p:cNvSpPr/>
            <p:nvPr/>
          </p:nvSpPr>
          <p:spPr>
            <a:xfrm>
              <a:off x="2244124" y="4551801"/>
              <a:ext cx="81339" cy="304261"/>
            </a:xfrm>
            <a:custGeom>
              <a:avLst/>
              <a:gdLst/>
              <a:ahLst/>
              <a:cxnLst>
                <a:cxn ang="3cd4">
                  <a:pos x="hc" y="t"/>
                </a:cxn>
                <a:cxn ang="cd2">
                  <a:pos x="l" y="vc"/>
                </a:cxn>
                <a:cxn ang="cd4">
                  <a:pos x="hc" y="b"/>
                </a:cxn>
                <a:cxn ang="0">
                  <a:pos x="r" y="vc"/>
                </a:cxn>
              </a:cxnLst>
              <a:rect l="l" t="t" r="r" b="b"/>
              <a:pathLst>
                <a:path w="429" h="1602">
                  <a:moveTo>
                    <a:pt x="244" y="1533"/>
                  </a:moveTo>
                  <a:cubicBezTo>
                    <a:pt x="209" y="1533"/>
                    <a:pt x="199" y="1483"/>
                    <a:pt x="183" y="1329"/>
                  </a:cubicBezTo>
                  <a:cubicBezTo>
                    <a:pt x="201" y="1064"/>
                    <a:pt x="223" y="884"/>
                    <a:pt x="241" y="789"/>
                  </a:cubicBezTo>
                  <a:cubicBezTo>
                    <a:pt x="323" y="384"/>
                    <a:pt x="307" y="458"/>
                    <a:pt x="366" y="320"/>
                  </a:cubicBezTo>
                  <a:cubicBezTo>
                    <a:pt x="424" y="180"/>
                    <a:pt x="429" y="161"/>
                    <a:pt x="429" y="119"/>
                  </a:cubicBezTo>
                  <a:cubicBezTo>
                    <a:pt x="429" y="71"/>
                    <a:pt x="376" y="32"/>
                    <a:pt x="268" y="0"/>
                  </a:cubicBezTo>
                  <a:lnTo>
                    <a:pt x="260" y="0"/>
                  </a:lnTo>
                  <a:lnTo>
                    <a:pt x="257" y="2"/>
                  </a:lnTo>
                  <a:cubicBezTo>
                    <a:pt x="257" y="2"/>
                    <a:pt x="254" y="5"/>
                    <a:pt x="241" y="63"/>
                  </a:cubicBezTo>
                  <a:lnTo>
                    <a:pt x="209" y="201"/>
                  </a:lnTo>
                  <a:cubicBezTo>
                    <a:pt x="130" y="535"/>
                    <a:pt x="127" y="564"/>
                    <a:pt x="109" y="614"/>
                  </a:cubicBezTo>
                  <a:cubicBezTo>
                    <a:pt x="-8" y="1138"/>
                    <a:pt x="0" y="1213"/>
                    <a:pt x="0" y="1340"/>
                  </a:cubicBezTo>
                  <a:cubicBezTo>
                    <a:pt x="5" y="1385"/>
                    <a:pt x="27" y="1432"/>
                    <a:pt x="66" y="1483"/>
                  </a:cubicBezTo>
                  <a:cubicBezTo>
                    <a:pt x="146" y="1562"/>
                    <a:pt x="212" y="1602"/>
                    <a:pt x="257" y="160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Shape 3"/>
            <p:cNvSpPr/>
            <p:nvPr/>
          </p:nvSpPr>
          <p:spPr>
            <a:xfrm>
              <a:off x="2307789" y="4611664"/>
              <a:ext cx="82479" cy="244587"/>
            </a:xfrm>
            <a:custGeom>
              <a:avLst/>
              <a:gdLst/>
              <a:ahLst/>
              <a:cxnLst>
                <a:cxn ang="3cd4">
                  <a:pos x="hc" y="t"/>
                </a:cxn>
                <a:cxn ang="cd2">
                  <a:pos x="l" y="vc"/>
                </a:cxn>
                <a:cxn ang="cd4">
                  <a:pos x="hc" y="b"/>
                </a:cxn>
                <a:cxn ang="0">
                  <a:pos x="r" y="vc"/>
                </a:cxn>
              </a:cxnLst>
              <a:rect l="l" t="t" r="r" b="b"/>
              <a:pathLst>
                <a:path w="435" h="1288">
                  <a:moveTo>
                    <a:pt x="270" y="204"/>
                  </a:moveTo>
                  <a:lnTo>
                    <a:pt x="294" y="212"/>
                  </a:lnTo>
                  <a:cubicBezTo>
                    <a:pt x="331" y="206"/>
                    <a:pt x="379" y="164"/>
                    <a:pt x="435" y="82"/>
                  </a:cubicBezTo>
                  <a:lnTo>
                    <a:pt x="432" y="71"/>
                  </a:lnTo>
                  <a:cubicBezTo>
                    <a:pt x="429" y="45"/>
                    <a:pt x="395" y="21"/>
                    <a:pt x="329" y="0"/>
                  </a:cubicBezTo>
                  <a:lnTo>
                    <a:pt x="321" y="0"/>
                  </a:lnTo>
                  <a:cubicBezTo>
                    <a:pt x="302" y="3"/>
                    <a:pt x="284" y="69"/>
                    <a:pt x="270" y="204"/>
                  </a:cubicBezTo>
                  <a:close/>
                  <a:moveTo>
                    <a:pt x="210" y="1218"/>
                  </a:moveTo>
                  <a:lnTo>
                    <a:pt x="199" y="1189"/>
                  </a:lnTo>
                  <a:cubicBezTo>
                    <a:pt x="194" y="1048"/>
                    <a:pt x="194" y="956"/>
                    <a:pt x="204" y="913"/>
                  </a:cubicBezTo>
                  <a:lnTo>
                    <a:pt x="194" y="884"/>
                  </a:lnTo>
                  <a:cubicBezTo>
                    <a:pt x="191" y="829"/>
                    <a:pt x="196" y="800"/>
                    <a:pt x="207" y="800"/>
                  </a:cubicBezTo>
                  <a:cubicBezTo>
                    <a:pt x="220" y="712"/>
                    <a:pt x="236" y="662"/>
                    <a:pt x="249" y="651"/>
                  </a:cubicBezTo>
                  <a:cubicBezTo>
                    <a:pt x="255" y="590"/>
                    <a:pt x="286" y="511"/>
                    <a:pt x="347" y="413"/>
                  </a:cubicBezTo>
                  <a:cubicBezTo>
                    <a:pt x="345" y="381"/>
                    <a:pt x="281" y="341"/>
                    <a:pt x="165" y="291"/>
                  </a:cubicBezTo>
                  <a:cubicBezTo>
                    <a:pt x="133" y="294"/>
                    <a:pt x="106" y="360"/>
                    <a:pt x="82" y="484"/>
                  </a:cubicBezTo>
                  <a:cubicBezTo>
                    <a:pt x="16" y="768"/>
                    <a:pt x="-10" y="969"/>
                    <a:pt x="3" y="1086"/>
                  </a:cubicBezTo>
                  <a:cubicBezTo>
                    <a:pt x="14" y="1168"/>
                    <a:pt x="24" y="1207"/>
                    <a:pt x="40" y="1207"/>
                  </a:cubicBezTo>
                  <a:cubicBezTo>
                    <a:pt x="96" y="1268"/>
                    <a:pt x="157" y="1295"/>
                    <a:pt x="225" y="128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9" name="Freeform: Shape 4"/>
            <p:cNvSpPr/>
            <p:nvPr/>
          </p:nvSpPr>
          <p:spPr>
            <a:xfrm>
              <a:off x="2387038" y="4639791"/>
              <a:ext cx="173891" cy="216270"/>
            </a:xfrm>
            <a:custGeom>
              <a:avLst/>
              <a:gdLst/>
              <a:ahLst/>
              <a:cxnLst>
                <a:cxn ang="3cd4">
                  <a:pos x="hc" y="t"/>
                </a:cxn>
                <a:cxn ang="cd2">
                  <a:pos x="l" y="vc"/>
                </a:cxn>
                <a:cxn ang="cd4">
                  <a:pos x="hc" y="b"/>
                </a:cxn>
                <a:cxn ang="0">
                  <a:pos x="r" y="vc"/>
                </a:cxn>
              </a:cxnLst>
              <a:rect l="l" t="t" r="r" b="b"/>
              <a:pathLst>
                <a:path w="916" h="1139">
                  <a:moveTo>
                    <a:pt x="871" y="172"/>
                  </a:moveTo>
                  <a:cubicBezTo>
                    <a:pt x="900" y="141"/>
                    <a:pt x="916" y="114"/>
                    <a:pt x="916" y="95"/>
                  </a:cubicBezTo>
                  <a:cubicBezTo>
                    <a:pt x="916" y="37"/>
                    <a:pt x="892" y="5"/>
                    <a:pt x="795" y="0"/>
                  </a:cubicBezTo>
                  <a:cubicBezTo>
                    <a:pt x="773" y="0"/>
                    <a:pt x="736" y="35"/>
                    <a:pt x="683" y="106"/>
                  </a:cubicBezTo>
                  <a:cubicBezTo>
                    <a:pt x="644" y="252"/>
                    <a:pt x="599" y="350"/>
                    <a:pt x="543" y="403"/>
                  </a:cubicBezTo>
                  <a:cubicBezTo>
                    <a:pt x="456" y="596"/>
                    <a:pt x="389" y="723"/>
                    <a:pt x="344" y="781"/>
                  </a:cubicBezTo>
                  <a:cubicBezTo>
                    <a:pt x="331" y="832"/>
                    <a:pt x="318" y="858"/>
                    <a:pt x="307" y="858"/>
                  </a:cubicBezTo>
                  <a:lnTo>
                    <a:pt x="305" y="858"/>
                  </a:lnTo>
                  <a:cubicBezTo>
                    <a:pt x="305" y="858"/>
                    <a:pt x="302" y="858"/>
                    <a:pt x="299" y="773"/>
                  </a:cubicBezTo>
                  <a:lnTo>
                    <a:pt x="294" y="569"/>
                  </a:lnTo>
                  <a:lnTo>
                    <a:pt x="302" y="498"/>
                  </a:lnTo>
                  <a:lnTo>
                    <a:pt x="286" y="416"/>
                  </a:lnTo>
                  <a:lnTo>
                    <a:pt x="294" y="397"/>
                  </a:lnTo>
                  <a:lnTo>
                    <a:pt x="278" y="363"/>
                  </a:lnTo>
                  <a:lnTo>
                    <a:pt x="286" y="339"/>
                  </a:lnTo>
                  <a:lnTo>
                    <a:pt x="286" y="334"/>
                  </a:lnTo>
                  <a:cubicBezTo>
                    <a:pt x="286" y="286"/>
                    <a:pt x="207" y="249"/>
                    <a:pt x="45" y="220"/>
                  </a:cubicBezTo>
                  <a:cubicBezTo>
                    <a:pt x="24" y="225"/>
                    <a:pt x="11" y="236"/>
                    <a:pt x="0" y="249"/>
                  </a:cubicBezTo>
                  <a:lnTo>
                    <a:pt x="0" y="260"/>
                  </a:lnTo>
                  <a:cubicBezTo>
                    <a:pt x="29" y="260"/>
                    <a:pt x="53" y="474"/>
                    <a:pt x="74" y="906"/>
                  </a:cubicBezTo>
                  <a:cubicBezTo>
                    <a:pt x="74" y="993"/>
                    <a:pt x="93" y="1049"/>
                    <a:pt x="133" y="1073"/>
                  </a:cubicBezTo>
                  <a:cubicBezTo>
                    <a:pt x="170" y="1115"/>
                    <a:pt x="215" y="1139"/>
                    <a:pt x="273" y="1139"/>
                  </a:cubicBezTo>
                  <a:lnTo>
                    <a:pt x="302" y="1139"/>
                  </a:lnTo>
                  <a:lnTo>
                    <a:pt x="305" y="1136"/>
                  </a:lnTo>
                  <a:cubicBezTo>
                    <a:pt x="305" y="1136"/>
                    <a:pt x="307" y="1134"/>
                    <a:pt x="342" y="1054"/>
                  </a:cubicBezTo>
                  <a:lnTo>
                    <a:pt x="432" y="848"/>
                  </a:lnTo>
                  <a:cubicBezTo>
                    <a:pt x="516" y="667"/>
                    <a:pt x="569" y="564"/>
                    <a:pt x="593" y="540"/>
                  </a:cubicBezTo>
                  <a:cubicBezTo>
                    <a:pt x="620" y="474"/>
                    <a:pt x="641" y="440"/>
                    <a:pt x="652" y="434"/>
                  </a:cubicBezTo>
                  <a:lnTo>
                    <a:pt x="654" y="434"/>
                  </a:lnTo>
                  <a:cubicBezTo>
                    <a:pt x="654" y="434"/>
                    <a:pt x="657" y="434"/>
                    <a:pt x="712" y="36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0" name="Freeform: Shape 5"/>
            <p:cNvSpPr/>
            <p:nvPr/>
          </p:nvSpPr>
          <p:spPr>
            <a:xfrm>
              <a:off x="2518358" y="4655945"/>
              <a:ext cx="124099" cy="201067"/>
            </a:xfrm>
            <a:custGeom>
              <a:avLst/>
              <a:gdLst/>
              <a:ahLst/>
              <a:cxnLst>
                <a:cxn ang="3cd4">
                  <a:pos x="hc" y="t"/>
                </a:cxn>
                <a:cxn ang="cd2">
                  <a:pos x="l" y="vc"/>
                </a:cxn>
                <a:cxn ang="cd4">
                  <a:pos x="hc" y="b"/>
                </a:cxn>
                <a:cxn ang="0">
                  <a:pos x="r" y="vc"/>
                </a:cxn>
              </a:cxnLst>
              <a:rect l="l" t="t" r="r" b="b"/>
              <a:pathLst>
                <a:path w="654" h="1059">
                  <a:moveTo>
                    <a:pt x="337" y="53"/>
                  </a:moveTo>
                  <a:cubicBezTo>
                    <a:pt x="276" y="108"/>
                    <a:pt x="233" y="167"/>
                    <a:pt x="204" y="230"/>
                  </a:cubicBezTo>
                  <a:lnTo>
                    <a:pt x="201" y="233"/>
                  </a:lnTo>
                  <a:cubicBezTo>
                    <a:pt x="201" y="233"/>
                    <a:pt x="199" y="236"/>
                    <a:pt x="183" y="262"/>
                  </a:cubicBezTo>
                  <a:lnTo>
                    <a:pt x="125" y="368"/>
                  </a:lnTo>
                  <a:cubicBezTo>
                    <a:pt x="43" y="564"/>
                    <a:pt x="0" y="710"/>
                    <a:pt x="0" y="808"/>
                  </a:cubicBezTo>
                  <a:lnTo>
                    <a:pt x="0" y="826"/>
                  </a:lnTo>
                  <a:cubicBezTo>
                    <a:pt x="0" y="861"/>
                    <a:pt x="21" y="900"/>
                    <a:pt x="66" y="945"/>
                  </a:cubicBezTo>
                  <a:cubicBezTo>
                    <a:pt x="109" y="1019"/>
                    <a:pt x="159" y="1059"/>
                    <a:pt x="220" y="1059"/>
                  </a:cubicBezTo>
                  <a:cubicBezTo>
                    <a:pt x="268" y="1049"/>
                    <a:pt x="294" y="1038"/>
                    <a:pt x="294" y="1030"/>
                  </a:cubicBezTo>
                  <a:cubicBezTo>
                    <a:pt x="339" y="998"/>
                    <a:pt x="360" y="977"/>
                    <a:pt x="360" y="964"/>
                  </a:cubicBezTo>
                  <a:cubicBezTo>
                    <a:pt x="432" y="874"/>
                    <a:pt x="477" y="800"/>
                    <a:pt x="501" y="739"/>
                  </a:cubicBezTo>
                  <a:lnTo>
                    <a:pt x="501" y="733"/>
                  </a:lnTo>
                  <a:lnTo>
                    <a:pt x="485" y="720"/>
                  </a:lnTo>
                  <a:lnTo>
                    <a:pt x="469" y="733"/>
                  </a:lnTo>
                  <a:cubicBezTo>
                    <a:pt x="392" y="845"/>
                    <a:pt x="310" y="924"/>
                    <a:pt x="220" y="972"/>
                  </a:cubicBezTo>
                  <a:cubicBezTo>
                    <a:pt x="204" y="972"/>
                    <a:pt x="191" y="961"/>
                    <a:pt x="183" y="943"/>
                  </a:cubicBezTo>
                  <a:cubicBezTo>
                    <a:pt x="183" y="813"/>
                    <a:pt x="233" y="641"/>
                    <a:pt x="331" y="421"/>
                  </a:cubicBezTo>
                  <a:lnTo>
                    <a:pt x="382" y="424"/>
                  </a:lnTo>
                  <a:cubicBezTo>
                    <a:pt x="382" y="424"/>
                    <a:pt x="411" y="426"/>
                    <a:pt x="440" y="416"/>
                  </a:cubicBezTo>
                  <a:lnTo>
                    <a:pt x="530" y="379"/>
                  </a:lnTo>
                  <a:cubicBezTo>
                    <a:pt x="588" y="349"/>
                    <a:pt x="628" y="299"/>
                    <a:pt x="654" y="230"/>
                  </a:cubicBezTo>
                  <a:lnTo>
                    <a:pt x="654" y="159"/>
                  </a:lnTo>
                  <a:cubicBezTo>
                    <a:pt x="646" y="111"/>
                    <a:pt x="577" y="58"/>
                    <a:pt x="448" y="0"/>
                  </a:cubicBezTo>
                  <a:lnTo>
                    <a:pt x="411" y="0"/>
                  </a:lnTo>
                  <a:close/>
                  <a:moveTo>
                    <a:pt x="374" y="349"/>
                  </a:moveTo>
                  <a:cubicBezTo>
                    <a:pt x="453" y="244"/>
                    <a:pt x="506" y="191"/>
                    <a:pt x="535" y="191"/>
                  </a:cubicBezTo>
                  <a:lnTo>
                    <a:pt x="543" y="191"/>
                  </a:lnTo>
                  <a:lnTo>
                    <a:pt x="551" y="196"/>
                  </a:lnTo>
                  <a:cubicBezTo>
                    <a:pt x="498" y="310"/>
                    <a:pt x="448" y="368"/>
                    <a:pt x="405" y="368"/>
                  </a:cubicBezTo>
                  <a:lnTo>
                    <a:pt x="376" y="355"/>
                  </a:lnTo>
                  <a:lnTo>
                    <a:pt x="376" y="3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 name="Freeform: Shape 6"/>
            <p:cNvSpPr/>
            <p:nvPr/>
          </p:nvSpPr>
          <p:spPr>
            <a:xfrm>
              <a:off x="1741456" y="4718660"/>
              <a:ext cx="122009" cy="137212"/>
            </a:xfrm>
            <a:custGeom>
              <a:avLst/>
              <a:gdLst/>
              <a:ahLst/>
              <a:cxnLst>
                <a:cxn ang="3cd4">
                  <a:pos x="hc" y="t"/>
                </a:cxn>
                <a:cxn ang="cd2">
                  <a:pos x="l" y="vc"/>
                </a:cxn>
                <a:cxn ang="cd4">
                  <a:pos x="hc" y="b"/>
                </a:cxn>
                <a:cxn ang="0">
                  <a:pos x="r" y="vc"/>
                </a:cxn>
              </a:cxnLst>
              <a:rect l="l" t="t" r="r" b="b"/>
              <a:pathLst>
                <a:path w="643" h="723">
                  <a:moveTo>
                    <a:pt x="495" y="442"/>
                  </a:moveTo>
                  <a:cubicBezTo>
                    <a:pt x="490" y="495"/>
                    <a:pt x="455" y="598"/>
                    <a:pt x="339" y="598"/>
                  </a:cubicBezTo>
                  <a:cubicBezTo>
                    <a:pt x="233" y="598"/>
                    <a:pt x="151" y="522"/>
                    <a:pt x="151" y="363"/>
                  </a:cubicBezTo>
                  <a:cubicBezTo>
                    <a:pt x="151" y="220"/>
                    <a:pt x="222" y="127"/>
                    <a:pt x="339" y="127"/>
                  </a:cubicBezTo>
                  <a:cubicBezTo>
                    <a:pt x="434" y="127"/>
                    <a:pt x="482" y="199"/>
                    <a:pt x="490" y="249"/>
                  </a:cubicBezTo>
                  <a:lnTo>
                    <a:pt x="635" y="249"/>
                  </a:lnTo>
                  <a:cubicBezTo>
                    <a:pt x="627" y="161"/>
                    <a:pt x="559" y="0"/>
                    <a:pt x="339" y="0"/>
                  </a:cubicBezTo>
                  <a:cubicBezTo>
                    <a:pt x="130" y="0"/>
                    <a:pt x="0" y="156"/>
                    <a:pt x="0" y="360"/>
                  </a:cubicBezTo>
                  <a:cubicBezTo>
                    <a:pt x="0" y="577"/>
                    <a:pt x="140" y="723"/>
                    <a:pt x="339" y="723"/>
                  </a:cubicBezTo>
                  <a:cubicBezTo>
                    <a:pt x="566" y="723"/>
                    <a:pt x="638" y="537"/>
                    <a:pt x="643" y="439"/>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2" name="Freeform: Shape 7"/>
            <p:cNvSpPr/>
            <p:nvPr/>
          </p:nvSpPr>
          <p:spPr>
            <a:xfrm>
              <a:off x="1876198" y="4721701"/>
              <a:ext cx="27556" cy="23375"/>
            </a:xfrm>
            <a:custGeom>
              <a:avLst/>
              <a:gdLst/>
              <a:ahLst/>
              <a:cxnLst>
                <a:cxn ang="3cd4">
                  <a:pos x="hc" y="t"/>
                </a:cxn>
                <a:cxn ang="cd2">
                  <a:pos x="l" y="vc"/>
                </a:cxn>
                <a:cxn ang="cd4">
                  <a:pos x="hc" y="b"/>
                </a:cxn>
                <a:cxn ang="0">
                  <a:pos x="r" y="vc"/>
                </a:cxn>
              </a:cxnLst>
              <a:rect l="l" t="t" r="r" b="b"/>
              <a:pathLst>
                <a:path w="146" h="124">
                  <a:moveTo>
                    <a:pt x="73" y="124"/>
                  </a:moveTo>
                  <a:lnTo>
                    <a:pt x="0" y="124"/>
                  </a:lnTo>
                  <a:lnTo>
                    <a:pt x="0" y="0"/>
                  </a:lnTo>
                  <a:lnTo>
                    <a:pt x="146" y="0"/>
                  </a:lnTo>
                  <a:lnTo>
                    <a:pt x="146" y="12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Shape 8"/>
            <p:cNvSpPr/>
            <p:nvPr/>
          </p:nvSpPr>
          <p:spPr>
            <a:xfrm>
              <a:off x="1876198" y="4757809"/>
              <a:ext cx="27556" cy="95022"/>
            </a:xfrm>
            <a:custGeom>
              <a:avLst/>
              <a:gdLst/>
              <a:ahLst/>
              <a:cxnLst>
                <a:cxn ang="3cd4">
                  <a:pos x="hc" y="t"/>
                </a:cxn>
                <a:cxn ang="cd2">
                  <a:pos x="l" y="vc"/>
                </a:cxn>
                <a:cxn ang="cd4">
                  <a:pos x="hc" y="b"/>
                </a:cxn>
                <a:cxn ang="0">
                  <a:pos x="r" y="vc"/>
                </a:cxn>
              </a:cxnLst>
              <a:rect l="l" t="t" r="r" b="b"/>
              <a:pathLst>
                <a:path w="146" h="501">
                  <a:moveTo>
                    <a:pt x="73" y="501"/>
                  </a:moveTo>
                  <a:lnTo>
                    <a:pt x="0" y="501"/>
                  </a:lnTo>
                  <a:lnTo>
                    <a:pt x="0" y="0"/>
                  </a:lnTo>
                  <a:lnTo>
                    <a:pt x="146" y="0"/>
                  </a:lnTo>
                  <a:lnTo>
                    <a:pt x="146" y="50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Shape 9"/>
            <p:cNvSpPr/>
            <p:nvPr/>
          </p:nvSpPr>
          <p:spPr>
            <a:xfrm>
              <a:off x="1914967" y="4755338"/>
              <a:ext cx="90461" cy="100533"/>
            </a:xfrm>
            <a:custGeom>
              <a:avLst/>
              <a:gdLst/>
              <a:ahLst/>
              <a:cxnLst>
                <a:cxn ang="3cd4">
                  <a:pos x="hc" y="t"/>
                </a:cxn>
                <a:cxn ang="cd2">
                  <a:pos x="l" y="vc"/>
                </a:cxn>
                <a:cxn ang="cd4">
                  <a:pos x="hc" y="b"/>
                </a:cxn>
                <a:cxn ang="0">
                  <a:pos x="r" y="vc"/>
                </a:cxn>
              </a:cxnLst>
              <a:rect l="l" t="t" r="r" b="b"/>
              <a:pathLst>
                <a:path w="477" h="530">
                  <a:moveTo>
                    <a:pt x="16" y="146"/>
                  </a:moveTo>
                  <a:cubicBezTo>
                    <a:pt x="16" y="252"/>
                    <a:pt x="109" y="284"/>
                    <a:pt x="162" y="297"/>
                  </a:cubicBezTo>
                  <a:cubicBezTo>
                    <a:pt x="175" y="299"/>
                    <a:pt x="212" y="310"/>
                    <a:pt x="225" y="313"/>
                  </a:cubicBezTo>
                  <a:cubicBezTo>
                    <a:pt x="278" y="326"/>
                    <a:pt x="326" y="337"/>
                    <a:pt x="326" y="379"/>
                  </a:cubicBezTo>
                  <a:cubicBezTo>
                    <a:pt x="326" y="408"/>
                    <a:pt x="294" y="432"/>
                    <a:pt x="236" y="432"/>
                  </a:cubicBezTo>
                  <a:cubicBezTo>
                    <a:pt x="178" y="432"/>
                    <a:pt x="143" y="403"/>
                    <a:pt x="138" y="352"/>
                  </a:cubicBezTo>
                  <a:lnTo>
                    <a:pt x="0" y="352"/>
                  </a:lnTo>
                  <a:cubicBezTo>
                    <a:pt x="6" y="405"/>
                    <a:pt x="35" y="530"/>
                    <a:pt x="236" y="530"/>
                  </a:cubicBezTo>
                  <a:cubicBezTo>
                    <a:pt x="424" y="530"/>
                    <a:pt x="477" y="427"/>
                    <a:pt x="477" y="368"/>
                  </a:cubicBezTo>
                  <a:cubicBezTo>
                    <a:pt x="477" y="302"/>
                    <a:pt x="435" y="246"/>
                    <a:pt x="310" y="215"/>
                  </a:cubicBezTo>
                  <a:cubicBezTo>
                    <a:pt x="302" y="212"/>
                    <a:pt x="262" y="204"/>
                    <a:pt x="247" y="199"/>
                  </a:cubicBezTo>
                  <a:cubicBezTo>
                    <a:pt x="183" y="183"/>
                    <a:pt x="165" y="172"/>
                    <a:pt x="165" y="141"/>
                  </a:cubicBezTo>
                  <a:cubicBezTo>
                    <a:pt x="165" y="111"/>
                    <a:pt x="196" y="98"/>
                    <a:pt x="231" y="98"/>
                  </a:cubicBezTo>
                  <a:cubicBezTo>
                    <a:pt x="310" y="98"/>
                    <a:pt x="326" y="138"/>
                    <a:pt x="326" y="162"/>
                  </a:cubicBezTo>
                  <a:lnTo>
                    <a:pt x="464" y="162"/>
                  </a:lnTo>
                  <a:cubicBezTo>
                    <a:pt x="464" y="109"/>
                    <a:pt x="427" y="0"/>
                    <a:pt x="231" y="0"/>
                  </a:cubicBezTo>
                  <a:cubicBezTo>
                    <a:pt x="74" y="0"/>
                    <a:pt x="16" y="80"/>
                    <a:pt x="16" y="146"/>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Shape 10"/>
            <p:cNvSpPr/>
            <p:nvPr/>
          </p:nvSpPr>
          <p:spPr>
            <a:xfrm>
              <a:off x="2012080" y="4755338"/>
              <a:ext cx="97493" cy="100533"/>
            </a:xfrm>
            <a:custGeom>
              <a:avLst/>
              <a:gdLst/>
              <a:ahLst/>
              <a:cxnLst>
                <a:cxn ang="3cd4">
                  <a:pos x="hc" y="t"/>
                </a:cxn>
                <a:cxn ang="cd2">
                  <a:pos x="l" y="vc"/>
                </a:cxn>
                <a:cxn ang="cd4">
                  <a:pos x="hc" y="b"/>
                </a:cxn>
                <a:cxn ang="0">
                  <a:pos x="r" y="vc"/>
                </a:cxn>
              </a:cxnLst>
              <a:rect l="l" t="t" r="r" b="b"/>
              <a:pathLst>
                <a:path w="514" h="530">
                  <a:moveTo>
                    <a:pt x="376" y="331"/>
                  </a:moveTo>
                  <a:cubicBezTo>
                    <a:pt x="366" y="379"/>
                    <a:pt x="334" y="424"/>
                    <a:pt x="270" y="424"/>
                  </a:cubicBezTo>
                  <a:cubicBezTo>
                    <a:pt x="191" y="424"/>
                    <a:pt x="151" y="355"/>
                    <a:pt x="151" y="265"/>
                  </a:cubicBezTo>
                  <a:cubicBezTo>
                    <a:pt x="151" y="196"/>
                    <a:pt x="178" y="103"/>
                    <a:pt x="270" y="103"/>
                  </a:cubicBezTo>
                  <a:cubicBezTo>
                    <a:pt x="329" y="103"/>
                    <a:pt x="363" y="143"/>
                    <a:pt x="371" y="188"/>
                  </a:cubicBezTo>
                  <a:lnTo>
                    <a:pt x="511" y="188"/>
                  </a:lnTo>
                  <a:cubicBezTo>
                    <a:pt x="503" y="109"/>
                    <a:pt x="445" y="0"/>
                    <a:pt x="268" y="0"/>
                  </a:cubicBezTo>
                  <a:cubicBezTo>
                    <a:pt x="112" y="0"/>
                    <a:pt x="0" y="103"/>
                    <a:pt x="0" y="265"/>
                  </a:cubicBezTo>
                  <a:cubicBezTo>
                    <a:pt x="0" y="427"/>
                    <a:pt x="109" y="530"/>
                    <a:pt x="268" y="530"/>
                  </a:cubicBezTo>
                  <a:cubicBezTo>
                    <a:pt x="453" y="530"/>
                    <a:pt x="506" y="413"/>
                    <a:pt x="514" y="334"/>
                  </a:cubicBezTo>
                  <a:lnTo>
                    <a:pt x="376" y="3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6" name="Freeform: Shape 11"/>
            <p:cNvSpPr/>
            <p:nvPr/>
          </p:nvSpPr>
          <p:spPr>
            <a:xfrm>
              <a:off x="2117744" y="4755338"/>
              <a:ext cx="101104" cy="100533"/>
            </a:xfrm>
            <a:custGeom>
              <a:avLst/>
              <a:gdLst/>
              <a:ahLst/>
              <a:cxnLst>
                <a:cxn ang="3cd4">
                  <a:pos x="hc" y="t"/>
                </a:cxn>
                <a:cxn ang="cd2">
                  <a:pos x="l" y="vc"/>
                </a:cxn>
                <a:cxn ang="cd4">
                  <a:pos x="hc" y="b"/>
                </a:cxn>
                <a:cxn ang="0">
                  <a:pos x="r" y="vc"/>
                </a:cxn>
              </a:cxnLst>
              <a:rect l="l" t="t" r="r" b="b"/>
              <a:pathLst>
                <a:path w="533" h="530">
                  <a:moveTo>
                    <a:pt x="268" y="0"/>
                  </a:moveTo>
                  <a:cubicBezTo>
                    <a:pt x="109" y="0"/>
                    <a:pt x="0" y="103"/>
                    <a:pt x="0" y="265"/>
                  </a:cubicBezTo>
                  <a:cubicBezTo>
                    <a:pt x="0" y="427"/>
                    <a:pt x="109" y="530"/>
                    <a:pt x="268" y="530"/>
                  </a:cubicBezTo>
                  <a:cubicBezTo>
                    <a:pt x="424" y="530"/>
                    <a:pt x="533" y="429"/>
                    <a:pt x="533" y="265"/>
                  </a:cubicBezTo>
                  <a:cubicBezTo>
                    <a:pt x="533" y="98"/>
                    <a:pt x="419" y="0"/>
                    <a:pt x="268" y="0"/>
                  </a:cubicBezTo>
                  <a:close/>
                  <a:moveTo>
                    <a:pt x="265" y="424"/>
                  </a:moveTo>
                  <a:cubicBezTo>
                    <a:pt x="188" y="424"/>
                    <a:pt x="146" y="355"/>
                    <a:pt x="146" y="265"/>
                  </a:cubicBezTo>
                  <a:cubicBezTo>
                    <a:pt x="149" y="196"/>
                    <a:pt x="175" y="103"/>
                    <a:pt x="265" y="103"/>
                  </a:cubicBezTo>
                  <a:cubicBezTo>
                    <a:pt x="347" y="103"/>
                    <a:pt x="382" y="183"/>
                    <a:pt x="382" y="265"/>
                  </a:cubicBezTo>
                  <a:cubicBezTo>
                    <a:pt x="382" y="347"/>
                    <a:pt x="347" y="424"/>
                    <a:pt x="265" y="42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1251503932"/>
      </p:ext>
    </p:extLst>
  </p:cSld>
  <p:clrMapOvr>
    <a:masterClrMapping/>
  </p:clrMapOv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5" name="Rectangle 14"/>
          <p:cNvSpPr/>
          <p:nvPr userDrawn="1"/>
        </p:nvSpPr>
        <p:spPr bwMode="auto">
          <a:xfrm>
            <a:off x="0" y="-2541"/>
            <a:ext cx="9144000" cy="5146041"/>
          </a:xfrm>
          <a:prstGeom prst="rect">
            <a:avLst/>
          </a:prstGeom>
          <a:solidFill>
            <a:srgbClr val="00BCEB"/>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a:solidFill>
                <a:schemeClr val="bg1"/>
              </a:solidFill>
              <a:ea typeface="Arial" pitchFamily="-107" charset="0"/>
              <a:cs typeface="Arial" pitchFamily="-107" charset="0"/>
              <a:sym typeface="Arial" pitchFamily="-107" charset="0"/>
            </a:endParaRPr>
          </a:p>
        </p:txBody>
      </p:sp>
      <p:sp>
        <p:nvSpPr>
          <p:cNvPr id="16" name="Rectangle 15"/>
          <p:cNvSpPr/>
          <p:nvPr userDrawn="1"/>
        </p:nvSpPr>
        <p:spPr bwMode="auto">
          <a:xfrm>
            <a:off x="4588184" y="-19050"/>
            <a:ext cx="4555816" cy="5146041"/>
          </a:xfrm>
          <a:prstGeom prst="rect">
            <a:avLst/>
          </a:prstGeom>
          <a:solidFill>
            <a:schemeClr val="bg1"/>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a:solidFill>
                <a:schemeClr val="bg1"/>
              </a:solidFill>
              <a:ea typeface="Arial" pitchFamily="-107" charset="0"/>
              <a:cs typeface="Arial" pitchFamily="-107" charset="0"/>
              <a:sym typeface="Arial" pitchFamily="-107" charset="0"/>
            </a:endParaRPr>
          </a:p>
        </p:txBody>
      </p:sp>
      <p:sp>
        <p:nvSpPr>
          <p:cNvPr id="9"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rPr>
              <a:pPr/>
              <a:t>‹#›</a:t>
            </a:fld>
            <a:endParaRPr dirty="0">
              <a:solidFill>
                <a:srgbClr val="FFFFFF">
                  <a:alpha val="60000"/>
                </a:srgbClr>
              </a:solidFill>
            </a:endParaRPr>
          </a:p>
        </p:txBody>
      </p:sp>
      <p:sp>
        <p:nvSpPr>
          <p:cNvPr id="10" name="Text Placeholder 3"/>
          <p:cNvSpPr>
            <a:spLocks noGrp="1"/>
          </p:cNvSpPr>
          <p:nvPr>
            <p:ph type="body" sz="quarter" idx="10" hasCustomPrompt="1"/>
          </p:nvPr>
        </p:nvSpPr>
        <p:spPr>
          <a:xfrm>
            <a:off x="303276" y="1347788"/>
            <a:ext cx="4075155" cy="2855608"/>
          </a:xfrm>
          <a:prstGeom prst="rect">
            <a:avLst/>
          </a:prstGeom>
        </p:spPr>
        <p:txBody>
          <a:bodyPr lIns="91420" tIns="45710" rIns="91420" bIns="45710">
            <a:noAutofit/>
          </a:bodyPr>
          <a:lstStyle>
            <a:lvl1pPr marL="280928" indent="-223792">
              <a:lnSpc>
                <a:spcPct val="95000"/>
              </a:lnSpc>
              <a:spcBef>
                <a:spcPts val="1110"/>
              </a:spcBef>
              <a:buClrTx/>
              <a:buSzPct val="80000"/>
              <a:buFont typeface="Arial"/>
              <a:buChar char="•"/>
              <a:defRPr sz="2000" b="0" i="0">
                <a:solidFill>
                  <a:schemeClr val="bg1"/>
                </a:solidFill>
                <a:latin typeface="+mn-lt"/>
                <a:cs typeface="CiscoSans ExtraLight"/>
              </a:defRPr>
            </a:lvl1pPr>
            <a:lvl2pPr marL="507895" indent="-215855">
              <a:lnSpc>
                <a:spcPct val="95000"/>
              </a:lnSpc>
              <a:spcBef>
                <a:spcPts val="450"/>
              </a:spcBef>
              <a:buClrTx/>
              <a:buSzPct val="80000"/>
              <a:buFont typeface="Arial"/>
              <a:buChar char="•"/>
              <a:defRPr sz="1800" b="0" i="0">
                <a:solidFill>
                  <a:schemeClr val="bg1"/>
                </a:solidFill>
                <a:latin typeface="+mn-lt"/>
                <a:cs typeface="CiscoSans ExtraLight"/>
              </a:defRPr>
            </a:lvl2pPr>
            <a:lvl3pPr marL="747558" indent="-171415">
              <a:buClrTx/>
              <a:buSzPct val="80000"/>
              <a:buFont typeface="Arial"/>
              <a:buChar char="•"/>
              <a:defRPr sz="1600" b="0" i="0">
                <a:solidFill>
                  <a:schemeClr val="bg1"/>
                </a:solidFill>
                <a:latin typeface="+mn-lt"/>
                <a:cs typeface="CiscoSans ExtraLight"/>
              </a:defRPr>
            </a:lvl3pPr>
            <a:lvl4pPr marL="911035" indent="-171415">
              <a:buClrTx/>
              <a:buSzPct val="80000"/>
              <a:buFont typeface="Arial"/>
              <a:buChar char="•"/>
              <a:defRPr sz="1400" b="0" i="0">
                <a:solidFill>
                  <a:schemeClr val="bg1"/>
                </a:solidFill>
                <a:latin typeface="+mn-lt"/>
                <a:cs typeface="CiscoSans ExtraLight"/>
              </a:defRPr>
            </a:lvl4pPr>
            <a:lvl5pPr marL="1082450" indent="-168240">
              <a:buClrTx/>
              <a:buSzPct val="80000"/>
              <a:buFont typeface="Arial"/>
              <a:buChar char="•"/>
              <a:defRPr sz="1200" b="0" i="0">
                <a:solidFill>
                  <a:schemeClr val="bg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1" name="Title Placeholder 5"/>
          <p:cNvSpPr>
            <a:spLocks noGrp="1"/>
          </p:cNvSpPr>
          <p:nvPr>
            <p:ph type="title"/>
          </p:nvPr>
        </p:nvSpPr>
        <p:spPr bwMode="auto">
          <a:xfrm>
            <a:off x="356616" y="341313"/>
            <a:ext cx="4108704"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defRPr>
                <a:solidFill>
                  <a:srgbClr val="FFFFFF"/>
                </a:solidFill>
              </a:defRPr>
            </a:lvl1pPr>
          </a:lstStyle>
          <a:p>
            <a:pPr lvl="0"/>
            <a:r>
              <a:rPr lang="en-US" dirty="0"/>
              <a:t>Click to edit Master title style</a:t>
            </a:r>
            <a:endParaRPr lang="en-GB" dirty="0"/>
          </a:p>
        </p:txBody>
      </p:sp>
      <p:grpSp>
        <p:nvGrpSpPr>
          <p:cNvPr id="55" name="Group 54"/>
          <p:cNvGrpSpPr/>
          <p:nvPr userDrawn="1"/>
        </p:nvGrpSpPr>
        <p:grpSpPr>
          <a:xfrm>
            <a:off x="454861" y="4785454"/>
            <a:ext cx="820227" cy="274319"/>
            <a:chOff x="1741456" y="4513412"/>
            <a:chExt cx="1027381" cy="343600"/>
          </a:xfrm>
          <a:solidFill>
            <a:schemeClr val="bg1"/>
          </a:solidFill>
        </p:grpSpPr>
        <p:sp>
          <p:nvSpPr>
            <p:cNvPr id="56" name="Freeform: Shape 1"/>
            <p:cNvSpPr/>
            <p:nvPr/>
          </p:nvSpPr>
          <p:spPr>
            <a:xfrm>
              <a:off x="2624973" y="4513412"/>
              <a:ext cx="143864" cy="343030"/>
            </a:xfrm>
            <a:custGeom>
              <a:avLst/>
              <a:gdLst/>
              <a:ahLst/>
              <a:cxnLst>
                <a:cxn ang="3cd4">
                  <a:pos x="hc" y="t"/>
                </a:cxn>
                <a:cxn ang="cd2">
                  <a:pos x="l" y="vc"/>
                </a:cxn>
                <a:cxn ang="cd4">
                  <a:pos x="hc" y="b"/>
                </a:cxn>
                <a:cxn ang="0">
                  <a:pos x="r" y="vc"/>
                </a:cxn>
              </a:cxnLst>
              <a:rect l="l" t="t" r="r" b="b"/>
              <a:pathLst>
                <a:path w="758" h="1806">
                  <a:moveTo>
                    <a:pt x="242" y="829"/>
                  </a:moveTo>
                  <a:cubicBezTo>
                    <a:pt x="215" y="896"/>
                    <a:pt x="204" y="941"/>
                    <a:pt x="204" y="964"/>
                  </a:cubicBezTo>
                  <a:cubicBezTo>
                    <a:pt x="183" y="999"/>
                    <a:pt x="175" y="1070"/>
                    <a:pt x="175" y="1097"/>
                  </a:cubicBezTo>
                  <a:lnTo>
                    <a:pt x="175" y="1129"/>
                  </a:lnTo>
                  <a:lnTo>
                    <a:pt x="223" y="1208"/>
                  </a:lnTo>
                  <a:cubicBezTo>
                    <a:pt x="250" y="1245"/>
                    <a:pt x="218" y="1258"/>
                    <a:pt x="292" y="1282"/>
                  </a:cubicBezTo>
                  <a:cubicBezTo>
                    <a:pt x="318" y="1282"/>
                    <a:pt x="340" y="1261"/>
                    <a:pt x="353" y="1221"/>
                  </a:cubicBezTo>
                  <a:lnTo>
                    <a:pt x="353" y="1208"/>
                  </a:lnTo>
                  <a:cubicBezTo>
                    <a:pt x="353" y="1113"/>
                    <a:pt x="387" y="978"/>
                    <a:pt x="419" y="888"/>
                  </a:cubicBezTo>
                  <a:cubicBezTo>
                    <a:pt x="419" y="845"/>
                    <a:pt x="456" y="718"/>
                    <a:pt x="588" y="406"/>
                  </a:cubicBezTo>
                  <a:cubicBezTo>
                    <a:pt x="588" y="371"/>
                    <a:pt x="618" y="308"/>
                    <a:pt x="678" y="210"/>
                  </a:cubicBezTo>
                  <a:cubicBezTo>
                    <a:pt x="729" y="125"/>
                    <a:pt x="742" y="138"/>
                    <a:pt x="758" y="128"/>
                  </a:cubicBezTo>
                  <a:lnTo>
                    <a:pt x="758" y="80"/>
                  </a:lnTo>
                  <a:lnTo>
                    <a:pt x="739" y="61"/>
                  </a:lnTo>
                  <a:cubicBezTo>
                    <a:pt x="739" y="61"/>
                    <a:pt x="721" y="43"/>
                    <a:pt x="671" y="22"/>
                  </a:cubicBezTo>
                  <a:cubicBezTo>
                    <a:pt x="671" y="22"/>
                    <a:pt x="620" y="0"/>
                    <a:pt x="604" y="0"/>
                  </a:cubicBezTo>
                  <a:cubicBezTo>
                    <a:pt x="588" y="0"/>
                    <a:pt x="557" y="32"/>
                    <a:pt x="530" y="93"/>
                  </a:cubicBezTo>
                  <a:close/>
                  <a:moveTo>
                    <a:pt x="14" y="1738"/>
                  </a:moveTo>
                  <a:cubicBezTo>
                    <a:pt x="14" y="1772"/>
                    <a:pt x="-18" y="1783"/>
                    <a:pt x="16" y="1806"/>
                  </a:cubicBezTo>
                  <a:lnTo>
                    <a:pt x="77" y="1806"/>
                  </a:lnTo>
                  <a:cubicBezTo>
                    <a:pt x="144" y="1775"/>
                    <a:pt x="167" y="1716"/>
                    <a:pt x="252" y="1528"/>
                  </a:cubicBezTo>
                  <a:lnTo>
                    <a:pt x="252" y="1486"/>
                  </a:lnTo>
                  <a:cubicBezTo>
                    <a:pt x="252" y="1460"/>
                    <a:pt x="273" y="1446"/>
                    <a:pt x="218" y="1412"/>
                  </a:cubicBezTo>
                  <a:lnTo>
                    <a:pt x="202" y="1412"/>
                  </a:lnTo>
                  <a:cubicBezTo>
                    <a:pt x="93" y="1409"/>
                    <a:pt x="67" y="1465"/>
                    <a:pt x="14" y="168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Shape 2"/>
            <p:cNvSpPr/>
            <p:nvPr/>
          </p:nvSpPr>
          <p:spPr>
            <a:xfrm>
              <a:off x="2244124" y="4551801"/>
              <a:ext cx="81339" cy="304261"/>
            </a:xfrm>
            <a:custGeom>
              <a:avLst/>
              <a:gdLst/>
              <a:ahLst/>
              <a:cxnLst>
                <a:cxn ang="3cd4">
                  <a:pos x="hc" y="t"/>
                </a:cxn>
                <a:cxn ang="cd2">
                  <a:pos x="l" y="vc"/>
                </a:cxn>
                <a:cxn ang="cd4">
                  <a:pos x="hc" y="b"/>
                </a:cxn>
                <a:cxn ang="0">
                  <a:pos x="r" y="vc"/>
                </a:cxn>
              </a:cxnLst>
              <a:rect l="l" t="t" r="r" b="b"/>
              <a:pathLst>
                <a:path w="429" h="1602">
                  <a:moveTo>
                    <a:pt x="244" y="1533"/>
                  </a:moveTo>
                  <a:cubicBezTo>
                    <a:pt x="209" y="1533"/>
                    <a:pt x="199" y="1483"/>
                    <a:pt x="183" y="1329"/>
                  </a:cubicBezTo>
                  <a:cubicBezTo>
                    <a:pt x="201" y="1064"/>
                    <a:pt x="223" y="884"/>
                    <a:pt x="241" y="789"/>
                  </a:cubicBezTo>
                  <a:cubicBezTo>
                    <a:pt x="323" y="384"/>
                    <a:pt x="307" y="458"/>
                    <a:pt x="366" y="320"/>
                  </a:cubicBezTo>
                  <a:cubicBezTo>
                    <a:pt x="424" y="180"/>
                    <a:pt x="429" y="161"/>
                    <a:pt x="429" y="119"/>
                  </a:cubicBezTo>
                  <a:cubicBezTo>
                    <a:pt x="429" y="71"/>
                    <a:pt x="376" y="32"/>
                    <a:pt x="268" y="0"/>
                  </a:cubicBezTo>
                  <a:lnTo>
                    <a:pt x="260" y="0"/>
                  </a:lnTo>
                  <a:lnTo>
                    <a:pt x="257" y="2"/>
                  </a:lnTo>
                  <a:cubicBezTo>
                    <a:pt x="257" y="2"/>
                    <a:pt x="254" y="5"/>
                    <a:pt x="241" y="63"/>
                  </a:cubicBezTo>
                  <a:lnTo>
                    <a:pt x="209" y="201"/>
                  </a:lnTo>
                  <a:cubicBezTo>
                    <a:pt x="130" y="535"/>
                    <a:pt x="127" y="564"/>
                    <a:pt x="109" y="614"/>
                  </a:cubicBezTo>
                  <a:cubicBezTo>
                    <a:pt x="-8" y="1138"/>
                    <a:pt x="0" y="1213"/>
                    <a:pt x="0" y="1340"/>
                  </a:cubicBezTo>
                  <a:cubicBezTo>
                    <a:pt x="5" y="1385"/>
                    <a:pt x="27" y="1432"/>
                    <a:pt x="66" y="1483"/>
                  </a:cubicBezTo>
                  <a:cubicBezTo>
                    <a:pt x="146" y="1562"/>
                    <a:pt x="212" y="1602"/>
                    <a:pt x="257" y="160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Shape 3"/>
            <p:cNvSpPr/>
            <p:nvPr/>
          </p:nvSpPr>
          <p:spPr>
            <a:xfrm>
              <a:off x="2307789" y="4611664"/>
              <a:ext cx="82479" cy="244587"/>
            </a:xfrm>
            <a:custGeom>
              <a:avLst/>
              <a:gdLst/>
              <a:ahLst/>
              <a:cxnLst>
                <a:cxn ang="3cd4">
                  <a:pos x="hc" y="t"/>
                </a:cxn>
                <a:cxn ang="cd2">
                  <a:pos x="l" y="vc"/>
                </a:cxn>
                <a:cxn ang="cd4">
                  <a:pos x="hc" y="b"/>
                </a:cxn>
                <a:cxn ang="0">
                  <a:pos x="r" y="vc"/>
                </a:cxn>
              </a:cxnLst>
              <a:rect l="l" t="t" r="r" b="b"/>
              <a:pathLst>
                <a:path w="435" h="1288">
                  <a:moveTo>
                    <a:pt x="270" y="204"/>
                  </a:moveTo>
                  <a:lnTo>
                    <a:pt x="294" y="212"/>
                  </a:lnTo>
                  <a:cubicBezTo>
                    <a:pt x="331" y="206"/>
                    <a:pt x="379" y="164"/>
                    <a:pt x="435" y="82"/>
                  </a:cubicBezTo>
                  <a:lnTo>
                    <a:pt x="432" y="71"/>
                  </a:lnTo>
                  <a:cubicBezTo>
                    <a:pt x="429" y="45"/>
                    <a:pt x="395" y="21"/>
                    <a:pt x="329" y="0"/>
                  </a:cubicBezTo>
                  <a:lnTo>
                    <a:pt x="321" y="0"/>
                  </a:lnTo>
                  <a:cubicBezTo>
                    <a:pt x="302" y="3"/>
                    <a:pt x="284" y="69"/>
                    <a:pt x="270" y="204"/>
                  </a:cubicBezTo>
                  <a:close/>
                  <a:moveTo>
                    <a:pt x="210" y="1218"/>
                  </a:moveTo>
                  <a:lnTo>
                    <a:pt x="199" y="1189"/>
                  </a:lnTo>
                  <a:cubicBezTo>
                    <a:pt x="194" y="1048"/>
                    <a:pt x="194" y="956"/>
                    <a:pt x="204" y="913"/>
                  </a:cubicBezTo>
                  <a:lnTo>
                    <a:pt x="194" y="884"/>
                  </a:lnTo>
                  <a:cubicBezTo>
                    <a:pt x="191" y="829"/>
                    <a:pt x="196" y="800"/>
                    <a:pt x="207" y="800"/>
                  </a:cubicBezTo>
                  <a:cubicBezTo>
                    <a:pt x="220" y="712"/>
                    <a:pt x="236" y="662"/>
                    <a:pt x="249" y="651"/>
                  </a:cubicBezTo>
                  <a:cubicBezTo>
                    <a:pt x="255" y="590"/>
                    <a:pt x="286" y="511"/>
                    <a:pt x="347" y="413"/>
                  </a:cubicBezTo>
                  <a:cubicBezTo>
                    <a:pt x="345" y="381"/>
                    <a:pt x="281" y="341"/>
                    <a:pt x="165" y="291"/>
                  </a:cubicBezTo>
                  <a:cubicBezTo>
                    <a:pt x="133" y="294"/>
                    <a:pt x="106" y="360"/>
                    <a:pt x="82" y="484"/>
                  </a:cubicBezTo>
                  <a:cubicBezTo>
                    <a:pt x="16" y="768"/>
                    <a:pt x="-10" y="969"/>
                    <a:pt x="3" y="1086"/>
                  </a:cubicBezTo>
                  <a:cubicBezTo>
                    <a:pt x="14" y="1168"/>
                    <a:pt x="24" y="1207"/>
                    <a:pt x="40" y="1207"/>
                  </a:cubicBezTo>
                  <a:cubicBezTo>
                    <a:pt x="96" y="1268"/>
                    <a:pt x="157" y="1295"/>
                    <a:pt x="225" y="128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Shape 4"/>
            <p:cNvSpPr/>
            <p:nvPr/>
          </p:nvSpPr>
          <p:spPr>
            <a:xfrm>
              <a:off x="2387038" y="4639791"/>
              <a:ext cx="173891" cy="216270"/>
            </a:xfrm>
            <a:custGeom>
              <a:avLst/>
              <a:gdLst/>
              <a:ahLst/>
              <a:cxnLst>
                <a:cxn ang="3cd4">
                  <a:pos x="hc" y="t"/>
                </a:cxn>
                <a:cxn ang="cd2">
                  <a:pos x="l" y="vc"/>
                </a:cxn>
                <a:cxn ang="cd4">
                  <a:pos x="hc" y="b"/>
                </a:cxn>
                <a:cxn ang="0">
                  <a:pos x="r" y="vc"/>
                </a:cxn>
              </a:cxnLst>
              <a:rect l="l" t="t" r="r" b="b"/>
              <a:pathLst>
                <a:path w="916" h="1139">
                  <a:moveTo>
                    <a:pt x="871" y="172"/>
                  </a:moveTo>
                  <a:cubicBezTo>
                    <a:pt x="900" y="141"/>
                    <a:pt x="916" y="114"/>
                    <a:pt x="916" y="95"/>
                  </a:cubicBezTo>
                  <a:cubicBezTo>
                    <a:pt x="916" y="37"/>
                    <a:pt x="892" y="5"/>
                    <a:pt x="795" y="0"/>
                  </a:cubicBezTo>
                  <a:cubicBezTo>
                    <a:pt x="773" y="0"/>
                    <a:pt x="736" y="35"/>
                    <a:pt x="683" y="106"/>
                  </a:cubicBezTo>
                  <a:cubicBezTo>
                    <a:pt x="644" y="252"/>
                    <a:pt x="599" y="350"/>
                    <a:pt x="543" y="403"/>
                  </a:cubicBezTo>
                  <a:cubicBezTo>
                    <a:pt x="456" y="596"/>
                    <a:pt x="389" y="723"/>
                    <a:pt x="344" y="781"/>
                  </a:cubicBezTo>
                  <a:cubicBezTo>
                    <a:pt x="331" y="832"/>
                    <a:pt x="318" y="858"/>
                    <a:pt x="307" y="858"/>
                  </a:cubicBezTo>
                  <a:lnTo>
                    <a:pt x="305" y="858"/>
                  </a:lnTo>
                  <a:cubicBezTo>
                    <a:pt x="305" y="858"/>
                    <a:pt x="302" y="858"/>
                    <a:pt x="299" y="773"/>
                  </a:cubicBezTo>
                  <a:lnTo>
                    <a:pt x="294" y="569"/>
                  </a:lnTo>
                  <a:lnTo>
                    <a:pt x="302" y="498"/>
                  </a:lnTo>
                  <a:lnTo>
                    <a:pt x="286" y="416"/>
                  </a:lnTo>
                  <a:lnTo>
                    <a:pt x="294" y="397"/>
                  </a:lnTo>
                  <a:lnTo>
                    <a:pt x="278" y="363"/>
                  </a:lnTo>
                  <a:lnTo>
                    <a:pt x="286" y="339"/>
                  </a:lnTo>
                  <a:lnTo>
                    <a:pt x="286" y="334"/>
                  </a:lnTo>
                  <a:cubicBezTo>
                    <a:pt x="286" y="286"/>
                    <a:pt x="207" y="249"/>
                    <a:pt x="45" y="220"/>
                  </a:cubicBezTo>
                  <a:cubicBezTo>
                    <a:pt x="24" y="225"/>
                    <a:pt x="11" y="236"/>
                    <a:pt x="0" y="249"/>
                  </a:cubicBezTo>
                  <a:lnTo>
                    <a:pt x="0" y="260"/>
                  </a:lnTo>
                  <a:cubicBezTo>
                    <a:pt x="29" y="260"/>
                    <a:pt x="53" y="474"/>
                    <a:pt x="74" y="906"/>
                  </a:cubicBezTo>
                  <a:cubicBezTo>
                    <a:pt x="74" y="993"/>
                    <a:pt x="93" y="1049"/>
                    <a:pt x="133" y="1073"/>
                  </a:cubicBezTo>
                  <a:cubicBezTo>
                    <a:pt x="170" y="1115"/>
                    <a:pt x="215" y="1139"/>
                    <a:pt x="273" y="1139"/>
                  </a:cubicBezTo>
                  <a:lnTo>
                    <a:pt x="302" y="1139"/>
                  </a:lnTo>
                  <a:lnTo>
                    <a:pt x="305" y="1136"/>
                  </a:lnTo>
                  <a:cubicBezTo>
                    <a:pt x="305" y="1136"/>
                    <a:pt x="307" y="1134"/>
                    <a:pt x="342" y="1054"/>
                  </a:cubicBezTo>
                  <a:lnTo>
                    <a:pt x="432" y="848"/>
                  </a:lnTo>
                  <a:cubicBezTo>
                    <a:pt x="516" y="667"/>
                    <a:pt x="569" y="564"/>
                    <a:pt x="593" y="540"/>
                  </a:cubicBezTo>
                  <a:cubicBezTo>
                    <a:pt x="620" y="474"/>
                    <a:pt x="641" y="440"/>
                    <a:pt x="652" y="434"/>
                  </a:cubicBezTo>
                  <a:lnTo>
                    <a:pt x="654" y="434"/>
                  </a:lnTo>
                  <a:cubicBezTo>
                    <a:pt x="654" y="434"/>
                    <a:pt x="657" y="434"/>
                    <a:pt x="712" y="36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Shape 5"/>
            <p:cNvSpPr/>
            <p:nvPr/>
          </p:nvSpPr>
          <p:spPr>
            <a:xfrm>
              <a:off x="2518358" y="4655945"/>
              <a:ext cx="124099" cy="201067"/>
            </a:xfrm>
            <a:custGeom>
              <a:avLst/>
              <a:gdLst/>
              <a:ahLst/>
              <a:cxnLst>
                <a:cxn ang="3cd4">
                  <a:pos x="hc" y="t"/>
                </a:cxn>
                <a:cxn ang="cd2">
                  <a:pos x="l" y="vc"/>
                </a:cxn>
                <a:cxn ang="cd4">
                  <a:pos x="hc" y="b"/>
                </a:cxn>
                <a:cxn ang="0">
                  <a:pos x="r" y="vc"/>
                </a:cxn>
              </a:cxnLst>
              <a:rect l="l" t="t" r="r" b="b"/>
              <a:pathLst>
                <a:path w="654" h="1059">
                  <a:moveTo>
                    <a:pt x="337" y="53"/>
                  </a:moveTo>
                  <a:cubicBezTo>
                    <a:pt x="276" y="108"/>
                    <a:pt x="233" y="167"/>
                    <a:pt x="204" y="230"/>
                  </a:cubicBezTo>
                  <a:lnTo>
                    <a:pt x="201" y="233"/>
                  </a:lnTo>
                  <a:cubicBezTo>
                    <a:pt x="201" y="233"/>
                    <a:pt x="199" y="236"/>
                    <a:pt x="183" y="262"/>
                  </a:cubicBezTo>
                  <a:lnTo>
                    <a:pt x="125" y="368"/>
                  </a:lnTo>
                  <a:cubicBezTo>
                    <a:pt x="43" y="564"/>
                    <a:pt x="0" y="710"/>
                    <a:pt x="0" y="808"/>
                  </a:cubicBezTo>
                  <a:lnTo>
                    <a:pt x="0" y="826"/>
                  </a:lnTo>
                  <a:cubicBezTo>
                    <a:pt x="0" y="861"/>
                    <a:pt x="21" y="900"/>
                    <a:pt x="66" y="945"/>
                  </a:cubicBezTo>
                  <a:cubicBezTo>
                    <a:pt x="109" y="1019"/>
                    <a:pt x="159" y="1059"/>
                    <a:pt x="220" y="1059"/>
                  </a:cubicBezTo>
                  <a:cubicBezTo>
                    <a:pt x="268" y="1049"/>
                    <a:pt x="294" y="1038"/>
                    <a:pt x="294" y="1030"/>
                  </a:cubicBezTo>
                  <a:cubicBezTo>
                    <a:pt x="339" y="998"/>
                    <a:pt x="360" y="977"/>
                    <a:pt x="360" y="964"/>
                  </a:cubicBezTo>
                  <a:cubicBezTo>
                    <a:pt x="432" y="874"/>
                    <a:pt x="477" y="800"/>
                    <a:pt x="501" y="739"/>
                  </a:cubicBezTo>
                  <a:lnTo>
                    <a:pt x="501" y="733"/>
                  </a:lnTo>
                  <a:lnTo>
                    <a:pt x="485" y="720"/>
                  </a:lnTo>
                  <a:lnTo>
                    <a:pt x="469" y="733"/>
                  </a:lnTo>
                  <a:cubicBezTo>
                    <a:pt x="392" y="845"/>
                    <a:pt x="310" y="924"/>
                    <a:pt x="220" y="972"/>
                  </a:cubicBezTo>
                  <a:cubicBezTo>
                    <a:pt x="204" y="972"/>
                    <a:pt x="191" y="961"/>
                    <a:pt x="183" y="943"/>
                  </a:cubicBezTo>
                  <a:cubicBezTo>
                    <a:pt x="183" y="813"/>
                    <a:pt x="233" y="641"/>
                    <a:pt x="331" y="421"/>
                  </a:cubicBezTo>
                  <a:lnTo>
                    <a:pt x="382" y="424"/>
                  </a:lnTo>
                  <a:cubicBezTo>
                    <a:pt x="382" y="424"/>
                    <a:pt x="411" y="426"/>
                    <a:pt x="440" y="416"/>
                  </a:cubicBezTo>
                  <a:lnTo>
                    <a:pt x="530" y="379"/>
                  </a:lnTo>
                  <a:cubicBezTo>
                    <a:pt x="588" y="349"/>
                    <a:pt x="628" y="299"/>
                    <a:pt x="654" y="230"/>
                  </a:cubicBezTo>
                  <a:lnTo>
                    <a:pt x="654" y="159"/>
                  </a:lnTo>
                  <a:cubicBezTo>
                    <a:pt x="646" y="111"/>
                    <a:pt x="577" y="58"/>
                    <a:pt x="448" y="0"/>
                  </a:cubicBezTo>
                  <a:lnTo>
                    <a:pt x="411" y="0"/>
                  </a:lnTo>
                  <a:close/>
                  <a:moveTo>
                    <a:pt x="374" y="349"/>
                  </a:moveTo>
                  <a:cubicBezTo>
                    <a:pt x="453" y="244"/>
                    <a:pt x="506" y="191"/>
                    <a:pt x="535" y="191"/>
                  </a:cubicBezTo>
                  <a:lnTo>
                    <a:pt x="543" y="191"/>
                  </a:lnTo>
                  <a:lnTo>
                    <a:pt x="551" y="196"/>
                  </a:lnTo>
                  <a:cubicBezTo>
                    <a:pt x="498" y="310"/>
                    <a:pt x="448" y="368"/>
                    <a:pt x="405" y="368"/>
                  </a:cubicBezTo>
                  <a:lnTo>
                    <a:pt x="376" y="355"/>
                  </a:lnTo>
                  <a:lnTo>
                    <a:pt x="376" y="3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1" name="Freeform: Shape 6"/>
            <p:cNvSpPr/>
            <p:nvPr/>
          </p:nvSpPr>
          <p:spPr>
            <a:xfrm>
              <a:off x="1741456" y="4718660"/>
              <a:ext cx="122009" cy="137212"/>
            </a:xfrm>
            <a:custGeom>
              <a:avLst/>
              <a:gdLst/>
              <a:ahLst/>
              <a:cxnLst>
                <a:cxn ang="3cd4">
                  <a:pos x="hc" y="t"/>
                </a:cxn>
                <a:cxn ang="cd2">
                  <a:pos x="l" y="vc"/>
                </a:cxn>
                <a:cxn ang="cd4">
                  <a:pos x="hc" y="b"/>
                </a:cxn>
                <a:cxn ang="0">
                  <a:pos x="r" y="vc"/>
                </a:cxn>
              </a:cxnLst>
              <a:rect l="l" t="t" r="r" b="b"/>
              <a:pathLst>
                <a:path w="643" h="723">
                  <a:moveTo>
                    <a:pt x="495" y="442"/>
                  </a:moveTo>
                  <a:cubicBezTo>
                    <a:pt x="490" y="495"/>
                    <a:pt x="455" y="598"/>
                    <a:pt x="339" y="598"/>
                  </a:cubicBezTo>
                  <a:cubicBezTo>
                    <a:pt x="233" y="598"/>
                    <a:pt x="151" y="522"/>
                    <a:pt x="151" y="363"/>
                  </a:cubicBezTo>
                  <a:cubicBezTo>
                    <a:pt x="151" y="220"/>
                    <a:pt x="222" y="127"/>
                    <a:pt x="339" y="127"/>
                  </a:cubicBezTo>
                  <a:cubicBezTo>
                    <a:pt x="434" y="127"/>
                    <a:pt x="482" y="199"/>
                    <a:pt x="490" y="249"/>
                  </a:cubicBezTo>
                  <a:lnTo>
                    <a:pt x="635" y="249"/>
                  </a:lnTo>
                  <a:cubicBezTo>
                    <a:pt x="627" y="161"/>
                    <a:pt x="559" y="0"/>
                    <a:pt x="339" y="0"/>
                  </a:cubicBezTo>
                  <a:cubicBezTo>
                    <a:pt x="130" y="0"/>
                    <a:pt x="0" y="156"/>
                    <a:pt x="0" y="360"/>
                  </a:cubicBezTo>
                  <a:cubicBezTo>
                    <a:pt x="0" y="577"/>
                    <a:pt x="140" y="723"/>
                    <a:pt x="339" y="723"/>
                  </a:cubicBezTo>
                  <a:cubicBezTo>
                    <a:pt x="566" y="723"/>
                    <a:pt x="638" y="537"/>
                    <a:pt x="643" y="439"/>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Shape 7"/>
            <p:cNvSpPr/>
            <p:nvPr/>
          </p:nvSpPr>
          <p:spPr>
            <a:xfrm>
              <a:off x="1876198" y="4721701"/>
              <a:ext cx="27556" cy="23375"/>
            </a:xfrm>
            <a:custGeom>
              <a:avLst/>
              <a:gdLst/>
              <a:ahLst/>
              <a:cxnLst>
                <a:cxn ang="3cd4">
                  <a:pos x="hc" y="t"/>
                </a:cxn>
                <a:cxn ang="cd2">
                  <a:pos x="l" y="vc"/>
                </a:cxn>
                <a:cxn ang="cd4">
                  <a:pos x="hc" y="b"/>
                </a:cxn>
                <a:cxn ang="0">
                  <a:pos x="r" y="vc"/>
                </a:cxn>
              </a:cxnLst>
              <a:rect l="l" t="t" r="r" b="b"/>
              <a:pathLst>
                <a:path w="146" h="124">
                  <a:moveTo>
                    <a:pt x="73" y="124"/>
                  </a:moveTo>
                  <a:lnTo>
                    <a:pt x="0" y="124"/>
                  </a:lnTo>
                  <a:lnTo>
                    <a:pt x="0" y="0"/>
                  </a:lnTo>
                  <a:lnTo>
                    <a:pt x="146" y="0"/>
                  </a:lnTo>
                  <a:lnTo>
                    <a:pt x="146" y="12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3" name="Freeform: Shape 8"/>
            <p:cNvSpPr/>
            <p:nvPr/>
          </p:nvSpPr>
          <p:spPr>
            <a:xfrm>
              <a:off x="1876198" y="4757809"/>
              <a:ext cx="27556" cy="95022"/>
            </a:xfrm>
            <a:custGeom>
              <a:avLst/>
              <a:gdLst/>
              <a:ahLst/>
              <a:cxnLst>
                <a:cxn ang="3cd4">
                  <a:pos x="hc" y="t"/>
                </a:cxn>
                <a:cxn ang="cd2">
                  <a:pos x="l" y="vc"/>
                </a:cxn>
                <a:cxn ang="cd4">
                  <a:pos x="hc" y="b"/>
                </a:cxn>
                <a:cxn ang="0">
                  <a:pos x="r" y="vc"/>
                </a:cxn>
              </a:cxnLst>
              <a:rect l="l" t="t" r="r" b="b"/>
              <a:pathLst>
                <a:path w="146" h="501">
                  <a:moveTo>
                    <a:pt x="73" y="501"/>
                  </a:moveTo>
                  <a:lnTo>
                    <a:pt x="0" y="501"/>
                  </a:lnTo>
                  <a:lnTo>
                    <a:pt x="0" y="0"/>
                  </a:lnTo>
                  <a:lnTo>
                    <a:pt x="146" y="0"/>
                  </a:lnTo>
                  <a:lnTo>
                    <a:pt x="146" y="50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4" name="Freeform: Shape 9"/>
            <p:cNvSpPr/>
            <p:nvPr/>
          </p:nvSpPr>
          <p:spPr>
            <a:xfrm>
              <a:off x="1914967" y="4755338"/>
              <a:ext cx="90461" cy="100533"/>
            </a:xfrm>
            <a:custGeom>
              <a:avLst/>
              <a:gdLst/>
              <a:ahLst/>
              <a:cxnLst>
                <a:cxn ang="3cd4">
                  <a:pos x="hc" y="t"/>
                </a:cxn>
                <a:cxn ang="cd2">
                  <a:pos x="l" y="vc"/>
                </a:cxn>
                <a:cxn ang="cd4">
                  <a:pos x="hc" y="b"/>
                </a:cxn>
                <a:cxn ang="0">
                  <a:pos x="r" y="vc"/>
                </a:cxn>
              </a:cxnLst>
              <a:rect l="l" t="t" r="r" b="b"/>
              <a:pathLst>
                <a:path w="477" h="530">
                  <a:moveTo>
                    <a:pt x="16" y="146"/>
                  </a:moveTo>
                  <a:cubicBezTo>
                    <a:pt x="16" y="252"/>
                    <a:pt x="109" y="284"/>
                    <a:pt x="162" y="297"/>
                  </a:cubicBezTo>
                  <a:cubicBezTo>
                    <a:pt x="175" y="299"/>
                    <a:pt x="212" y="310"/>
                    <a:pt x="225" y="313"/>
                  </a:cubicBezTo>
                  <a:cubicBezTo>
                    <a:pt x="278" y="326"/>
                    <a:pt x="326" y="337"/>
                    <a:pt x="326" y="379"/>
                  </a:cubicBezTo>
                  <a:cubicBezTo>
                    <a:pt x="326" y="408"/>
                    <a:pt x="294" y="432"/>
                    <a:pt x="236" y="432"/>
                  </a:cubicBezTo>
                  <a:cubicBezTo>
                    <a:pt x="178" y="432"/>
                    <a:pt x="143" y="403"/>
                    <a:pt x="138" y="352"/>
                  </a:cubicBezTo>
                  <a:lnTo>
                    <a:pt x="0" y="352"/>
                  </a:lnTo>
                  <a:cubicBezTo>
                    <a:pt x="6" y="405"/>
                    <a:pt x="35" y="530"/>
                    <a:pt x="236" y="530"/>
                  </a:cubicBezTo>
                  <a:cubicBezTo>
                    <a:pt x="424" y="530"/>
                    <a:pt x="477" y="427"/>
                    <a:pt x="477" y="368"/>
                  </a:cubicBezTo>
                  <a:cubicBezTo>
                    <a:pt x="477" y="302"/>
                    <a:pt x="435" y="246"/>
                    <a:pt x="310" y="215"/>
                  </a:cubicBezTo>
                  <a:cubicBezTo>
                    <a:pt x="302" y="212"/>
                    <a:pt x="262" y="204"/>
                    <a:pt x="247" y="199"/>
                  </a:cubicBezTo>
                  <a:cubicBezTo>
                    <a:pt x="183" y="183"/>
                    <a:pt x="165" y="172"/>
                    <a:pt x="165" y="141"/>
                  </a:cubicBezTo>
                  <a:cubicBezTo>
                    <a:pt x="165" y="111"/>
                    <a:pt x="196" y="98"/>
                    <a:pt x="231" y="98"/>
                  </a:cubicBezTo>
                  <a:cubicBezTo>
                    <a:pt x="310" y="98"/>
                    <a:pt x="326" y="138"/>
                    <a:pt x="326" y="162"/>
                  </a:cubicBezTo>
                  <a:lnTo>
                    <a:pt x="464" y="162"/>
                  </a:lnTo>
                  <a:cubicBezTo>
                    <a:pt x="464" y="109"/>
                    <a:pt x="427" y="0"/>
                    <a:pt x="231" y="0"/>
                  </a:cubicBezTo>
                  <a:cubicBezTo>
                    <a:pt x="74" y="0"/>
                    <a:pt x="16" y="80"/>
                    <a:pt x="16" y="146"/>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5" name="Freeform: Shape 10"/>
            <p:cNvSpPr/>
            <p:nvPr/>
          </p:nvSpPr>
          <p:spPr>
            <a:xfrm>
              <a:off x="2012080" y="4755338"/>
              <a:ext cx="97493" cy="100533"/>
            </a:xfrm>
            <a:custGeom>
              <a:avLst/>
              <a:gdLst/>
              <a:ahLst/>
              <a:cxnLst>
                <a:cxn ang="3cd4">
                  <a:pos x="hc" y="t"/>
                </a:cxn>
                <a:cxn ang="cd2">
                  <a:pos x="l" y="vc"/>
                </a:cxn>
                <a:cxn ang="cd4">
                  <a:pos x="hc" y="b"/>
                </a:cxn>
                <a:cxn ang="0">
                  <a:pos x="r" y="vc"/>
                </a:cxn>
              </a:cxnLst>
              <a:rect l="l" t="t" r="r" b="b"/>
              <a:pathLst>
                <a:path w="514" h="530">
                  <a:moveTo>
                    <a:pt x="376" y="331"/>
                  </a:moveTo>
                  <a:cubicBezTo>
                    <a:pt x="366" y="379"/>
                    <a:pt x="334" y="424"/>
                    <a:pt x="270" y="424"/>
                  </a:cubicBezTo>
                  <a:cubicBezTo>
                    <a:pt x="191" y="424"/>
                    <a:pt x="151" y="355"/>
                    <a:pt x="151" y="265"/>
                  </a:cubicBezTo>
                  <a:cubicBezTo>
                    <a:pt x="151" y="196"/>
                    <a:pt x="178" y="103"/>
                    <a:pt x="270" y="103"/>
                  </a:cubicBezTo>
                  <a:cubicBezTo>
                    <a:pt x="329" y="103"/>
                    <a:pt x="363" y="143"/>
                    <a:pt x="371" y="188"/>
                  </a:cubicBezTo>
                  <a:lnTo>
                    <a:pt x="511" y="188"/>
                  </a:lnTo>
                  <a:cubicBezTo>
                    <a:pt x="503" y="109"/>
                    <a:pt x="445" y="0"/>
                    <a:pt x="268" y="0"/>
                  </a:cubicBezTo>
                  <a:cubicBezTo>
                    <a:pt x="112" y="0"/>
                    <a:pt x="0" y="103"/>
                    <a:pt x="0" y="265"/>
                  </a:cubicBezTo>
                  <a:cubicBezTo>
                    <a:pt x="0" y="427"/>
                    <a:pt x="109" y="530"/>
                    <a:pt x="268" y="530"/>
                  </a:cubicBezTo>
                  <a:cubicBezTo>
                    <a:pt x="453" y="530"/>
                    <a:pt x="506" y="413"/>
                    <a:pt x="514" y="334"/>
                  </a:cubicBezTo>
                  <a:lnTo>
                    <a:pt x="376" y="3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6" name="Freeform: Shape 11"/>
            <p:cNvSpPr/>
            <p:nvPr/>
          </p:nvSpPr>
          <p:spPr>
            <a:xfrm>
              <a:off x="2117744" y="4755338"/>
              <a:ext cx="101104" cy="100533"/>
            </a:xfrm>
            <a:custGeom>
              <a:avLst/>
              <a:gdLst/>
              <a:ahLst/>
              <a:cxnLst>
                <a:cxn ang="3cd4">
                  <a:pos x="hc" y="t"/>
                </a:cxn>
                <a:cxn ang="cd2">
                  <a:pos x="l" y="vc"/>
                </a:cxn>
                <a:cxn ang="cd4">
                  <a:pos x="hc" y="b"/>
                </a:cxn>
                <a:cxn ang="0">
                  <a:pos x="r" y="vc"/>
                </a:cxn>
              </a:cxnLst>
              <a:rect l="l" t="t" r="r" b="b"/>
              <a:pathLst>
                <a:path w="533" h="530">
                  <a:moveTo>
                    <a:pt x="268" y="0"/>
                  </a:moveTo>
                  <a:cubicBezTo>
                    <a:pt x="109" y="0"/>
                    <a:pt x="0" y="103"/>
                    <a:pt x="0" y="265"/>
                  </a:cubicBezTo>
                  <a:cubicBezTo>
                    <a:pt x="0" y="427"/>
                    <a:pt x="109" y="530"/>
                    <a:pt x="268" y="530"/>
                  </a:cubicBezTo>
                  <a:cubicBezTo>
                    <a:pt x="424" y="530"/>
                    <a:pt x="533" y="429"/>
                    <a:pt x="533" y="265"/>
                  </a:cubicBezTo>
                  <a:cubicBezTo>
                    <a:pt x="533" y="98"/>
                    <a:pt x="419" y="0"/>
                    <a:pt x="268" y="0"/>
                  </a:cubicBezTo>
                  <a:close/>
                  <a:moveTo>
                    <a:pt x="265" y="424"/>
                  </a:moveTo>
                  <a:cubicBezTo>
                    <a:pt x="188" y="424"/>
                    <a:pt x="146" y="355"/>
                    <a:pt x="146" y="265"/>
                  </a:cubicBezTo>
                  <a:cubicBezTo>
                    <a:pt x="149" y="196"/>
                    <a:pt x="175" y="103"/>
                    <a:pt x="265" y="103"/>
                  </a:cubicBezTo>
                  <a:cubicBezTo>
                    <a:pt x="347" y="103"/>
                    <a:pt x="382" y="183"/>
                    <a:pt x="382" y="265"/>
                  </a:cubicBezTo>
                  <a:cubicBezTo>
                    <a:pt x="382" y="347"/>
                    <a:pt x="347" y="424"/>
                    <a:pt x="265" y="42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pic>
        <p:nvPicPr>
          <p:cNvPr id="69" name="Picture 68"/>
          <p:cNvPicPr>
            <a:picLocks noChangeAspect="1"/>
          </p:cNvPicPr>
          <p:nvPr userDrawn="1"/>
        </p:nvPicPr>
        <p:blipFill rotWithShape="1">
          <a:blip r:embed="rId2">
            <a:extLst>
              <a:ext uri="{28A0092B-C50C-407E-A947-70E740481C1C}">
                <a14:useLocalDpi xmlns:a14="http://schemas.microsoft.com/office/drawing/2010/main" val="0"/>
              </a:ext>
            </a:extLst>
          </a:blip>
          <a:srcRect l="50022" r="4559" b="6944"/>
          <a:stretch/>
        </p:blipFill>
        <p:spPr>
          <a:xfrm>
            <a:off x="4588184" y="3063652"/>
            <a:ext cx="4555816" cy="2098898"/>
          </a:xfrm>
          <a:prstGeom prst="rect">
            <a:avLst/>
          </a:prstGeom>
        </p:spPr>
      </p:pic>
    </p:spTree>
    <p:extLst>
      <p:ext uri="{BB962C8B-B14F-4D97-AF65-F5344CB8AC3E}">
        <p14:creationId xmlns:p14="http://schemas.microsoft.com/office/powerpoint/2010/main" val="163389929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lumMod val="75000"/>
                  </a:schemeClr>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lumMod val="75000"/>
                  </a:schemeClr>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lumMod val="75000"/>
                  </a:schemeClr>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lumMod val="75000"/>
                  </a:schemeClr>
                </a:solidFill>
              </a:defRPr>
            </a:lvl1pPr>
          </a:lstStyle>
          <a:p>
            <a:pPr lvl="0"/>
            <a:r>
              <a:rPr lang="en-GB" dirty="0"/>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3100519972"/>
      </p:ext>
    </p:extLst>
  </p:cSld>
  <p:clrMapOvr>
    <a:masterClrMapping/>
  </p:clrMapOvr>
  <p:extLst mod="1">
    <p:ext uri="{DCECCB84-F9BA-43D5-87BE-67443E8EF086}">
      <p15:sldGuideLst xmlns:p15="http://schemas.microsoft.com/office/powerpoint/2012/main">
        <p15:guide id="2" pos="288" userDrawn="1">
          <p15:clr>
            <a:srgbClr val="FBAE40"/>
          </p15:clr>
        </p15:guide>
        <p15:guide id="3" pos="2598"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4280" r="4559" b="6944"/>
          <a:stretch/>
        </p:blipFill>
        <p:spPr>
          <a:xfrm>
            <a:off x="0" y="3063652"/>
            <a:ext cx="9144000" cy="2098898"/>
          </a:xfrm>
          <a:prstGeom prst="rect">
            <a:avLst/>
          </a:prstGeom>
        </p:spPr>
      </p:pic>
      <p:grpSp>
        <p:nvGrpSpPr>
          <p:cNvPr id="46" name="Group 45"/>
          <p:cNvGrpSpPr/>
          <p:nvPr userDrawn="1"/>
        </p:nvGrpSpPr>
        <p:grpSpPr>
          <a:xfrm>
            <a:off x="454861" y="4785454"/>
            <a:ext cx="820227" cy="274319"/>
            <a:chOff x="1741456" y="4513412"/>
            <a:chExt cx="1027381" cy="343600"/>
          </a:xfrm>
          <a:solidFill>
            <a:schemeClr val="bg1"/>
          </a:solidFill>
        </p:grpSpPr>
        <p:sp>
          <p:nvSpPr>
            <p:cNvPr id="47" name="Freeform: Shape 1"/>
            <p:cNvSpPr/>
            <p:nvPr/>
          </p:nvSpPr>
          <p:spPr>
            <a:xfrm>
              <a:off x="2624973" y="4513412"/>
              <a:ext cx="143864" cy="343030"/>
            </a:xfrm>
            <a:custGeom>
              <a:avLst/>
              <a:gdLst/>
              <a:ahLst/>
              <a:cxnLst>
                <a:cxn ang="3cd4">
                  <a:pos x="hc" y="t"/>
                </a:cxn>
                <a:cxn ang="cd2">
                  <a:pos x="l" y="vc"/>
                </a:cxn>
                <a:cxn ang="cd4">
                  <a:pos x="hc" y="b"/>
                </a:cxn>
                <a:cxn ang="0">
                  <a:pos x="r" y="vc"/>
                </a:cxn>
              </a:cxnLst>
              <a:rect l="l" t="t" r="r" b="b"/>
              <a:pathLst>
                <a:path w="758" h="1806">
                  <a:moveTo>
                    <a:pt x="242" y="829"/>
                  </a:moveTo>
                  <a:cubicBezTo>
                    <a:pt x="215" y="896"/>
                    <a:pt x="204" y="941"/>
                    <a:pt x="204" y="964"/>
                  </a:cubicBezTo>
                  <a:cubicBezTo>
                    <a:pt x="183" y="999"/>
                    <a:pt x="175" y="1070"/>
                    <a:pt x="175" y="1097"/>
                  </a:cubicBezTo>
                  <a:lnTo>
                    <a:pt x="175" y="1129"/>
                  </a:lnTo>
                  <a:lnTo>
                    <a:pt x="223" y="1208"/>
                  </a:lnTo>
                  <a:cubicBezTo>
                    <a:pt x="250" y="1245"/>
                    <a:pt x="218" y="1258"/>
                    <a:pt x="292" y="1282"/>
                  </a:cubicBezTo>
                  <a:cubicBezTo>
                    <a:pt x="318" y="1282"/>
                    <a:pt x="340" y="1261"/>
                    <a:pt x="353" y="1221"/>
                  </a:cubicBezTo>
                  <a:lnTo>
                    <a:pt x="353" y="1208"/>
                  </a:lnTo>
                  <a:cubicBezTo>
                    <a:pt x="353" y="1113"/>
                    <a:pt x="387" y="978"/>
                    <a:pt x="419" y="888"/>
                  </a:cubicBezTo>
                  <a:cubicBezTo>
                    <a:pt x="419" y="845"/>
                    <a:pt x="456" y="718"/>
                    <a:pt x="588" y="406"/>
                  </a:cubicBezTo>
                  <a:cubicBezTo>
                    <a:pt x="588" y="371"/>
                    <a:pt x="618" y="308"/>
                    <a:pt x="678" y="210"/>
                  </a:cubicBezTo>
                  <a:cubicBezTo>
                    <a:pt x="729" y="125"/>
                    <a:pt x="742" y="138"/>
                    <a:pt x="758" y="128"/>
                  </a:cubicBezTo>
                  <a:lnTo>
                    <a:pt x="758" y="80"/>
                  </a:lnTo>
                  <a:lnTo>
                    <a:pt x="739" y="61"/>
                  </a:lnTo>
                  <a:cubicBezTo>
                    <a:pt x="739" y="61"/>
                    <a:pt x="721" y="43"/>
                    <a:pt x="671" y="22"/>
                  </a:cubicBezTo>
                  <a:cubicBezTo>
                    <a:pt x="671" y="22"/>
                    <a:pt x="620" y="0"/>
                    <a:pt x="604" y="0"/>
                  </a:cubicBezTo>
                  <a:cubicBezTo>
                    <a:pt x="588" y="0"/>
                    <a:pt x="557" y="32"/>
                    <a:pt x="530" y="93"/>
                  </a:cubicBezTo>
                  <a:close/>
                  <a:moveTo>
                    <a:pt x="14" y="1738"/>
                  </a:moveTo>
                  <a:cubicBezTo>
                    <a:pt x="14" y="1772"/>
                    <a:pt x="-18" y="1783"/>
                    <a:pt x="16" y="1806"/>
                  </a:cubicBezTo>
                  <a:lnTo>
                    <a:pt x="77" y="1806"/>
                  </a:lnTo>
                  <a:cubicBezTo>
                    <a:pt x="144" y="1775"/>
                    <a:pt x="167" y="1716"/>
                    <a:pt x="252" y="1528"/>
                  </a:cubicBezTo>
                  <a:lnTo>
                    <a:pt x="252" y="1486"/>
                  </a:lnTo>
                  <a:cubicBezTo>
                    <a:pt x="252" y="1460"/>
                    <a:pt x="273" y="1446"/>
                    <a:pt x="218" y="1412"/>
                  </a:cubicBezTo>
                  <a:lnTo>
                    <a:pt x="202" y="1412"/>
                  </a:lnTo>
                  <a:cubicBezTo>
                    <a:pt x="93" y="1409"/>
                    <a:pt x="67" y="1465"/>
                    <a:pt x="14" y="168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8" name="Freeform: Shape 2"/>
            <p:cNvSpPr/>
            <p:nvPr/>
          </p:nvSpPr>
          <p:spPr>
            <a:xfrm>
              <a:off x="2244124" y="4551801"/>
              <a:ext cx="81339" cy="304261"/>
            </a:xfrm>
            <a:custGeom>
              <a:avLst/>
              <a:gdLst/>
              <a:ahLst/>
              <a:cxnLst>
                <a:cxn ang="3cd4">
                  <a:pos x="hc" y="t"/>
                </a:cxn>
                <a:cxn ang="cd2">
                  <a:pos x="l" y="vc"/>
                </a:cxn>
                <a:cxn ang="cd4">
                  <a:pos x="hc" y="b"/>
                </a:cxn>
                <a:cxn ang="0">
                  <a:pos x="r" y="vc"/>
                </a:cxn>
              </a:cxnLst>
              <a:rect l="l" t="t" r="r" b="b"/>
              <a:pathLst>
                <a:path w="429" h="1602">
                  <a:moveTo>
                    <a:pt x="244" y="1533"/>
                  </a:moveTo>
                  <a:cubicBezTo>
                    <a:pt x="209" y="1533"/>
                    <a:pt x="199" y="1483"/>
                    <a:pt x="183" y="1329"/>
                  </a:cubicBezTo>
                  <a:cubicBezTo>
                    <a:pt x="201" y="1064"/>
                    <a:pt x="223" y="884"/>
                    <a:pt x="241" y="789"/>
                  </a:cubicBezTo>
                  <a:cubicBezTo>
                    <a:pt x="323" y="384"/>
                    <a:pt x="307" y="458"/>
                    <a:pt x="366" y="320"/>
                  </a:cubicBezTo>
                  <a:cubicBezTo>
                    <a:pt x="424" y="180"/>
                    <a:pt x="429" y="161"/>
                    <a:pt x="429" y="119"/>
                  </a:cubicBezTo>
                  <a:cubicBezTo>
                    <a:pt x="429" y="71"/>
                    <a:pt x="376" y="32"/>
                    <a:pt x="268" y="0"/>
                  </a:cubicBezTo>
                  <a:lnTo>
                    <a:pt x="260" y="0"/>
                  </a:lnTo>
                  <a:lnTo>
                    <a:pt x="257" y="2"/>
                  </a:lnTo>
                  <a:cubicBezTo>
                    <a:pt x="257" y="2"/>
                    <a:pt x="254" y="5"/>
                    <a:pt x="241" y="63"/>
                  </a:cubicBezTo>
                  <a:lnTo>
                    <a:pt x="209" y="201"/>
                  </a:lnTo>
                  <a:cubicBezTo>
                    <a:pt x="130" y="535"/>
                    <a:pt x="127" y="564"/>
                    <a:pt x="109" y="614"/>
                  </a:cubicBezTo>
                  <a:cubicBezTo>
                    <a:pt x="-8" y="1138"/>
                    <a:pt x="0" y="1213"/>
                    <a:pt x="0" y="1340"/>
                  </a:cubicBezTo>
                  <a:cubicBezTo>
                    <a:pt x="5" y="1385"/>
                    <a:pt x="27" y="1432"/>
                    <a:pt x="66" y="1483"/>
                  </a:cubicBezTo>
                  <a:cubicBezTo>
                    <a:pt x="146" y="1562"/>
                    <a:pt x="212" y="1602"/>
                    <a:pt x="257" y="160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9" name="Freeform: Shape 3"/>
            <p:cNvSpPr/>
            <p:nvPr/>
          </p:nvSpPr>
          <p:spPr>
            <a:xfrm>
              <a:off x="2307789" y="4611664"/>
              <a:ext cx="82479" cy="244587"/>
            </a:xfrm>
            <a:custGeom>
              <a:avLst/>
              <a:gdLst/>
              <a:ahLst/>
              <a:cxnLst>
                <a:cxn ang="3cd4">
                  <a:pos x="hc" y="t"/>
                </a:cxn>
                <a:cxn ang="cd2">
                  <a:pos x="l" y="vc"/>
                </a:cxn>
                <a:cxn ang="cd4">
                  <a:pos x="hc" y="b"/>
                </a:cxn>
                <a:cxn ang="0">
                  <a:pos x="r" y="vc"/>
                </a:cxn>
              </a:cxnLst>
              <a:rect l="l" t="t" r="r" b="b"/>
              <a:pathLst>
                <a:path w="435" h="1288">
                  <a:moveTo>
                    <a:pt x="270" y="204"/>
                  </a:moveTo>
                  <a:lnTo>
                    <a:pt x="294" y="212"/>
                  </a:lnTo>
                  <a:cubicBezTo>
                    <a:pt x="331" y="206"/>
                    <a:pt x="379" y="164"/>
                    <a:pt x="435" y="82"/>
                  </a:cubicBezTo>
                  <a:lnTo>
                    <a:pt x="432" y="71"/>
                  </a:lnTo>
                  <a:cubicBezTo>
                    <a:pt x="429" y="45"/>
                    <a:pt x="395" y="21"/>
                    <a:pt x="329" y="0"/>
                  </a:cubicBezTo>
                  <a:lnTo>
                    <a:pt x="321" y="0"/>
                  </a:lnTo>
                  <a:cubicBezTo>
                    <a:pt x="302" y="3"/>
                    <a:pt x="284" y="69"/>
                    <a:pt x="270" y="204"/>
                  </a:cubicBezTo>
                  <a:close/>
                  <a:moveTo>
                    <a:pt x="210" y="1218"/>
                  </a:moveTo>
                  <a:lnTo>
                    <a:pt x="199" y="1189"/>
                  </a:lnTo>
                  <a:cubicBezTo>
                    <a:pt x="194" y="1048"/>
                    <a:pt x="194" y="956"/>
                    <a:pt x="204" y="913"/>
                  </a:cubicBezTo>
                  <a:lnTo>
                    <a:pt x="194" y="884"/>
                  </a:lnTo>
                  <a:cubicBezTo>
                    <a:pt x="191" y="829"/>
                    <a:pt x="196" y="800"/>
                    <a:pt x="207" y="800"/>
                  </a:cubicBezTo>
                  <a:cubicBezTo>
                    <a:pt x="220" y="712"/>
                    <a:pt x="236" y="662"/>
                    <a:pt x="249" y="651"/>
                  </a:cubicBezTo>
                  <a:cubicBezTo>
                    <a:pt x="255" y="590"/>
                    <a:pt x="286" y="511"/>
                    <a:pt x="347" y="413"/>
                  </a:cubicBezTo>
                  <a:cubicBezTo>
                    <a:pt x="345" y="381"/>
                    <a:pt x="281" y="341"/>
                    <a:pt x="165" y="291"/>
                  </a:cubicBezTo>
                  <a:cubicBezTo>
                    <a:pt x="133" y="294"/>
                    <a:pt x="106" y="360"/>
                    <a:pt x="82" y="484"/>
                  </a:cubicBezTo>
                  <a:cubicBezTo>
                    <a:pt x="16" y="768"/>
                    <a:pt x="-10" y="969"/>
                    <a:pt x="3" y="1086"/>
                  </a:cubicBezTo>
                  <a:cubicBezTo>
                    <a:pt x="14" y="1168"/>
                    <a:pt x="24" y="1207"/>
                    <a:pt x="40" y="1207"/>
                  </a:cubicBezTo>
                  <a:cubicBezTo>
                    <a:pt x="96" y="1268"/>
                    <a:pt x="157" y="1295"/>
                    <a:pt x="225" y="128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Shape 4"/>
            <p:cNvSpPr/>
            <p:nvPr/>
          </p:nvSpPr>
          <p:spPr>
            <a:xfrm>
              <a:off x="2387038" y="4639791"/>
              <a:ext cx="173891" cy="216270"/>
            </a:xfrm>
            <a:custGeom>
              <a:avLst/>
              <a:gdLst/>
              <a:ahLst/>
              <a:cxnLst>
                <a:cxn ang="3cd4">
                  <a:pos x="hc" y="t"/>
                </a:cxn>
                <a:cxn ang="cd2">
                  <a:pos x="l" y="vc"/>
                </a:cxn>
                <a:cxn ang="cd4">
                  <a:pos x="hc" y="b"/>
                </a:cxn>
                <a:cxn ang="0">
                  <a:pos x="r" y="vc"/>
                </a:cxn>
              </a:cxnLst>
              <a:rect l="l" t="t" r="r" b="b"/>
              <a:pathLst>
                <a:path w="916" h="1139">
                  <a:moveTo>
                    <a:pt x="871" y="172"/>
                  </a:moveTo>
                  <a:cubicBezTo>
                    <a:pt x="900" y="141"/>
                    <a:pt x="916" y="114"/>
                    <a:pt x="916" y="95"/>
                  </a:cubicBezTo>
                  <a:cubicBezTo>
                    <a:pt x="916" y="37"/>
                    <a:pt x="892" y="5"/>
                    <a:pt x="795" y="0"/>
                  </a:cubicBezTo>
                  <a:cubicBezTo>
                    <a:pt x="773" y="0"/>
                    <a:pt x="736" y="35"/>
                    <a:pt x="683" y="106"/>
                  </a:cubicBezTo>
                  <a:cubicBezTo>
                    <a:pt x="644" y="252"/>
                    <a:pt x="599" y="350"/>
                    <a:pt x="543" y="403"/>
                  </a:cubicBezTo>
                  <a:cubicBezTo>
                    <a:pt x="456" y="596"/>
                    <a:pt x="389" y="723"/>
                    <a:pt x="344" y="781"/>
                  </a:cubicBezTo>
                  <a:cubicBezTo>
                    <a:pt x="331" y="832"/>
                    <a:pt x="318" y="858"/>
                    <a:pt x="307" y="858"/>
                  </a:cubicBezTo>
                  <a:lnTo>
                    <a:pt x="305" y="858"/>
                  </a:lnTo>
                  <a:cubicBezTo>
                    <a:pt x="305" y="858"/>
                    <a:pt x="302" y="858"/>
                    <a:pt x="299" y="773"/>
                  </a:cubicBezTo>
                  <a:lnTo>
                    <a:pt x="294" y="569"/>
                  </a:lnTo>
                  <a:lnTo>
                    <a:pt x="302" y="498"/>
                  </a:lnTo>
                  <a:lnTo>
                    <a:pt x="286" y="416"/>
                  </a:lnTo>
                  <a:lnTo>
                    <a:pt x="294" y="397"/>
                  </a:lnTo>
                  <a:lnTo>
                    <a:pt x="278" y="363"/>
                  </a:lnTo>
                  <a:lnTo>
                    <a:pt x="286" y="339"/>
                  </a:lnTo>
                  <a:lnTo>
                    <a:pt x="286" y="334"/>
                  </a:lnTo>
                  <a:cubicBezTo>
                    <a:pt x="286" y="286"/>
                    <a:pt x="207" y="249"/>
                    <a:pt x="45" y="220"/>
                  </a:cubicBezTo>
                  <a:cubicBezTo>
                    <a:pt x="24" y="225"/>
                    <a:pt x="11" y="236"/>
                    <a:pt x="0" y="249"/>
                  </a:cubicBezTo>
                  <a:lnTo>
                    <a:pt x="0" y="260"/>
                  </a:lnTo>
                  <a:cubicBezTo>
                    <a:pt x="29" y="260"/>
                    <a:pt x="53" y="474"/>
                    <a:pt x="74" y="906"/>
                  </a:cubicBezTo>
                  <a:cubicBezTo>
                    <a:pt x="74" y="993"/>
                    <a:pt x="93" y="1049"/>
                    <a:pt x="133" y="1073"/>
                  </a:cubicBezTo>
                  <a:cubicBezTo>
                    <a:pt x="170" y="1115"/>
                    <a:pt x="215" y="1139"/>
                    <a:pt x="273" y="1139"/>
                  </a:cubicBezTo>
                  <a:lnTo>
                    <a:pt x="302" y="1139"/>
                  </a:lnTo>
                  <a:lnTo>
                    <a:pt x="305" y="1136"/>
                  </a:lnTo>
                  <a:cubicBezTo>
                    <a:pt x="305" y="1136"/>
                    <a:pt x="307" y="1134"/>
                    <a:pt x="342" y="1054"/>
                  </a:cubicBezTo>
                  <a:lnTo>
                    <a:pt x="432" y="848"/>
                  </a:lnTo>
                  <a:cubicBezTo>
                    <a:pt x="516" y="667"/>
                    <a:pt x="569" y="564"/>
                    <a:pt x="593" y="540"/>
                  </a:cubicBezTo>
                  <a:cubicBezTo>
                    <a:pt x="620" y="474"/>
                    <a:pt x="641" y="440"/>
                    <a:pt x="652" y="434"/>
                  </a:cubicBezTo>
                  <a:lnTo>
                    <a:pt x="654" y="434"/>
                  </a:lnTo>
                  <a:cubicBezTo>
                    <a:pt x="654" y="434"/>
                    <a:pt x="657" y="434"/>
                    <a:pt x="712" y="36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Shape 5"/>
            <p:cNvSpPr/>
            <p:nvPr/>
          </p:nvSpPr>
          <p:spPr>
            <a:xfrm>
              <a:off x="2518358" y="4655945"/>
              <a:ext cx="124099" cy="201067"/>
            </a:xfrm>
            <a:custGeom>
              <a:avLst/>
              <a:gdLst/>
              <a:ahLst/>
              <a:cxnLst>
                <a:cxn ang="3cd4">
                  <a:pos x="hc" y="t"/>
                </a:cxn>
                <a:cxn ang="cd2">
                  <a:pos x="l" y="vc"/>
                </a:cxn>
                <a:cxn ang="cd4">
                  <a:pos x="hc" y="b"/>
                </a:cxn>
                <a:cxn ang="0">
                  <a:pos x="r" y="vc"/>
                </a:cxn>
              </a:cxnLst>
              <a:rect l="l" t="t" r="r" b="b"/>
              <a:pathLst>
                <a:path w="654" h="1059">
                  <a:moveTo>
                    <a:pt x="337" y="53"/>
                  </a:moveTo>
                  <a:cubicBezTo>
                    <a:pt x="276" y="108"/>
                    <a:pt x="233" y="167"/>
                    <a:pt x="204" y="230"/>
                  </a:cubicBezTo>
                  <a:lnTo>
                    <a:pt x="201" y="233"/>
                  </a:lnTo>
                  <a:cubicBezTo>
                    <a:pt x="201" y="233"/>
                    <a:pt x="199" y="236"/>
                    <a:pt x="183" y="262"/>
                  </a:cubicBezTo>
                  <a:lnTo>
                    <a:pt x="125" y="368"/>
                  </a:lnTo>
                  <a:cubicBezTo>
                    <a:pt x="43" y="564"/>
                    <a:pt x="0" y="710"/>
                    <a:pt x="0" y="808"/>
                  </a:cubicBezTo>
                  <a:lnTo>
                    <a:pt x="0" y="826"/>
                  </a:lnTo>
                  <a:cubicBezTo>
                    <a:pt x="0" y="861"/>
                    <a:pt x="21" y="900"/>
                    <a:pt x="66" y="945"/>
                  </a:cubicBezTo>
                  <a:cubicBezTo>
                    <a:pt x="109" y="1019"/>
                    <a:pt x="159" y="1059"/>
                    <a:pt x="220" y="1059"/>
                  </a:cubicBezTo>
                  <a:cubicBezTo>
                    <a:pt x="268" y="1049"/>
                    <a:pt x="294" y="1038"/>
                    <a:pt x="294" y="1030"/>
                  </a:cubicBezTo>
                  <a:cubicBezTo>
                    <a:pt x="339" y="998"/>
                    <a:pt x="360" y="977"/>
                    <a:pt x="360" y="964"/>
                  </a:cubicBezTo>
                  <a:cubicBezTo>
                    <a:pt x="432" y="874"/>
                    <a:pt x="477" y="800"/>
                    <a:pt x="501" y="739"/>
                  </a:cubicBezTo>
                  <a:lnTo>
                    <a:pt x="501" y="733"/>
                  </a:lnTo>
                  <a:lnTo>
                    <a:pt x="485" y="720"/>
                  </a:lnTo>
                  <a:lnTo>
                    <a:pt x="469" y="733"/>
                  </a:lnTo>
                  <a:cubicBezTo>
                    <a:pt x="392" y="845"/>
                    <a:pt x="310" y="924"/>
                    <a:pt x="220" y="972"/>
                  </a:cubicBezTo>
                  <a:cubicBezTo>
                    <a:pt x="204" y="972"/>
                    <a:pt x="191" y="961"/>
                    <a:pt x="183" y="943"/>
                  </a:cubicBezTo>
                  <a:cubicBezTo>
                    <a:pt x="183" y="813"/>
                    <a:pt x="233" y="641"/>
                    <a:pt x="331" y="421"/>
                  </a:cubicBezTo>
                  <a:lnTo>
                    <a:pt x="382" y="424"/>
                  </a:lnTo>
                  <a:cubicBezTo>
                    <a:pt x="382" y="424"/>
                    <a:pt x="411" y="426"/>
                    <a:pt x="440" y="416"/>
                  </a:cubicBezTo>
                  <a:lnTo>
                    <a:pt x="530" y="379"/>
                  </a:lnTo>
                  <a:cubicBezTo>
                    <a:pt x="588" y="349"/>
                    <a:pt x="628" y="299"/>
                    <a:pt x="654" y="230"/>
                  </a:cubicBezTo>
                  <a:lnTo>
                    <a:pt x="654" y="159"/>
                  </a:lnTo>
                  <a:cubicBezTo>
                    <a:pt x="646" y="111"/>
                    <a:pt x="577" y="58"/>
                    <a:pt x="448" y="0"/>
                  </a:cubicBezTo>
                  <a:lnTo>
                    <a:pt x="411" y="0"/>
                  </a:lnTo>
                  <a:close/>
                  <a:moveTo>
                    <a:pt x="374" y="349"/>
                  </a:moveTo>
                  <a:cubicBezTo>
                    <a:pt x="453" y="244"/>
                    <a:pt x="506" y="191"/>
                    <a:pt x="535" y="191"/>
                  </a:cubicBezTo>
                  <a:lnTo>
                    <a:pt x="543" y="191"/>
                  </a:lnTo>
                  <a:lnTo>
                    <a:pt x="551" y="196"/>
                  </a:lnTo>
                  <a:cubicBezTo>
                    <a:pt x="498" y="310"/>
                    <a:pt x="448" y="368"/>
                    <a:pt x="405" y="368"/>
                  </a:cubicBezTo>
                  <a:lnTo>
                    <a:pt x="376" y="355"/>
                  </a:lnTo>
                  <a:lnTo>
                    <a:pt x="376" y="3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2" name="Freeform: Shape 6"/>
            <p:cNvSpPr/>
            <p:nvPr/>
          </p:nvSpPr>
          <p:spPr>
            <a:xfrm>
              <a:off x="1741456" y="4718660"/>
              <a:ext cx="122009" cy="137212"/>
            </a:xfrm>
            <a:custGeom>
              <a:avLst/>
              <a:gdLst/>
              <a:ahLst/>
              <a:cxnLst>
                <a:cxn ang="3cd4">
                  <a:pos x="hc" y="t"/>
                </a:cxn>
                <a:cxn ang="cd2">
                  <a:pos x="l" y="vc"/>
                </a:cxn>
                <a:cxn ang="cd4">
                  <a:pos x="hc" y="b"/>
                </a:cxn>
                <a:cxn ang="0">
                  <a:pos x="r" y="vc"/>
                </a:cxn>
              </a:cxnLst>
              <a:rect l="l" t="t" r="r" b="b"/>
              <a:pathLst>
                <a:path w="643" h="723">
                  <a:moveTo>
                    <a:pt x="495" y="442"/>
                  </a:moveTo>
                  <a:cubicBezTo>
                    <a:pt x="490" y="495"/>
                    <a:pt x="455" y="598"/>
                    <a:pt x="339" y="598"/>
                  </a:cubicBezTo>
                  <a:cubicBezTo>
                    <a:pt x="233" y="598"/>
                    <a:pt x="151" y="522"/>
                    <a:pt x="151" y="363"/>
                  </a:cubicBezTo>
                  <a:cubicBezTo>
                    <a:pt x="151" y="220"/>
                    <a:pt x="222" y="127"/>
                    <a:pt x="339" y="127"/>
                  </a:cubicBezTo>
                  <a:cubicBezTo>
                    <a:pt x="434" y="127"/>
                    <a:pt x="482" y="199"/>
                    <a:pt x="490" y="249"/>
                  </a:cubicBezTo>
                  <a:lnTo>
                    <a:pt x="635" y="249"/>
                  </a:lnTo>
                  <a:cubicBezTo>
                    <a:pt x="627" y="161"/>
                    <a:pt x="559" y="0"/>
                    <a:pt x="339" y="0"/>
                  </a:cubicBezTo>
                  <a:cubicBezTo>
                    <a:pt x="130" y="0"/>
                    <a:pt x="0" y="156"/>
                    <a:pt x="0" y="360"/>
                  </a:cubicBezTo>
                  <a:cubicBezTo>
                    <a:pt x="0" y="577"/>
                    <a:pt x="140" y="723"/>
                    <a:pt x="339" y="723"/>
                  </a:cubicBezTo>
                  <a:cubicBezTo>
                    <a:pt x="566" y="723"/>
                    <a:pt x="638" y="537"/>
                    <a:pt x="643" y="439"/>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3" name="Freeform: Shape 7"/>
            <p:cNvSpPr/>
            <p:nvPr/>
          </p:nvSpPr>
          <p:spPr>
            <a:xfrm>
              <a:off x="1876198" y="4721701"/>
              <a:ext cx="27556" cy="23375"/>
            </a:xfrm>
            <a:custGeom>
              <a:avLst/>
              <a:gdLst/>
              <a:ahLst/>
              <a:cxnLst>
                <a:cxn ang="3cd4">
                  <a:pos x="hc" y="t"/>
                </a:cxn>
                <a:cxn ang="cd2">
                  <a:pos x="l" y="vc"/>
                </a:cxn>
                <a:cxn ang="cd4">
                  <a:pos x="hc" y="b"/>
                </a:cxn>
                <a:cxn ang="0">
                  <a:pos x="r" y="vc"/>
                </a:cxn>
              </a:cxnLst>
              <a:rect l="l" t="t" r="r" b="b"/>
              <a:pathLst>
                <a:path w="146" h="124">
                  <a:moveTo>
                    <a:pt x="73" y="124"/>
                  </a:moveTo>
                  <a:lnTo>
                    <a:pt x="0" y="124"/>
                  </a:lnTo>
                  <a:lnTo>
                    <a:pt x="0" y="0"/>
                  </a:lnTo>
                  <a:lnTo>
                    <a:pt x="146" y="0"/>
                  </a:lnTo>
                  <a:lnTo>
                    <a:pt x="146" y="12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Shape 8"/>
            <p:cNvSpPr/>
            <p:nvPr/>
          </p:nvSpPr>
          <p:spPr>
            <a:xfrm>
              <a:off x="1876198" y="4757809"/>
              <a:ext cx="27556" cy="95022"/>
            </a:xfrm>
            <a:custGeom>
              <a:avLst/>
              <a:gdLst/>
              <a:ahLst/>
              <a:cxnLst>
                <a:cxn ang="3cd4">
                  <a:pos x="hc" y="t"/>
                </a:cxn>
                <a:cxn ang="cd2">
                  <a:pos x="l" y="vc"/>
                </a:cxn>
                <a:cxn ang="cd4">
                  <a:pos x="hc" y="b"/>
                </a:cxn>
                <a:cxn ang="0">
                  <a:pos x="r" y="vc"/>
                </a:cxn>
              </a:cxnLst>
              <a:rect l="l" t="t" r="r" b="b"/>
              <a:pathLst>
                <a:path w="146" h="501">
                  <a:moveTo>
                    <a:pt x="73" y="501"/>
                  </a:moveTo>
                  <a:lnTo>
                    <a:pt x="0" y="501"/>
                  </a:lnTo>
                  <a:lnTo>
                    <a:pt x="0" y="0"/>
                  </a:lnTo>
                  <a:lnTo>
                    <a:pt x="146" y="0"/>
                  </a:lnTo>
                  <a:lnTo>
                    <a:pt x="146" y="50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Shape 9"/>
            <p:cNvSpPr/>
            <p:nvPr/>
          </p:nvSpPr>
          <p:spPr>
            <a:xfrm>
              <a:off x="1914967" y="4755338"/>
              <a:ext cx="90461" cy="100533"/>
            </a:xfrm>
            <a:custGeom>
              <a:avLst/>
              <a:gdLst/>
              <a:ahLst/>
              <a:cxnLst>
                <a:cxn ang="3cd4">
                  <a:pos x="hc" y="t"/>
                </a:cxn>
                <a:cxn ang="cd2">
                  <a:pos x="l" y="vc"/>
                </a:cxn>
                <a:cxn ang="cd4">
                  <a:pos x="hc" y="b"/>
                </a:cxn>
                <a:cxn ang="0">
                  <a:pos x="r" y="vc"/>
                </a:cxn>
              </a:cxnLst>
              <a:rect l="l" t="t" r="r" b="b"/>
              <a:pathLst>
                <a:path w="477" h="530">
                  <a:moveTo>
                    <a:pt x="16" y="146"/>
                  </a:moveTo>
                  <a:cubicBezTo>
                    <a:pt x="16" y="252"/>
                    <a:pt x="109" y="284"/>
                    <a:pt x="162" y="297"/>
                  </a:cubicBezTo>
                  <a:cubicBezTo>
                    <a:pt x="175" y="299"/>
                    <a:pt x="212" y="310"/>
                    <a:pt x="225" y="313"/>
                  </a:cubicBezTo>
                  <a:cubicBezTo>
                    <a:pt x="278" y="326"/>
                    <a:pt x="326" y="337"/>
                    <a:pt x="326" y="379"/>
                  </a:cubicBezTo>
                  <a:cubicBezTo>
                    <a:pt x="326" y="408"/>
                    <a:pt x="294" y="432"/>
                    <a:pt x="236" y="432"/>
                  </a:cubicBezTo>
                  <a:cubicBezTo>
                    <a:pt x="178" y="432"/>
                    <a:pt x="143" y="403"/>
                    <a:pt x="138" y="352"/>
                  </a:cubicBezTo>
                  <a:lnTo>
                    <a:pt x="0" y="352"/>
                  </a:lnTo>
                  <a:cubicBezTo>
                    <a:pt x="6" y="405"/>
                    <a:pt x="35" y="530"/>
                    <a:pt x="236" y="530"/>
                  </a:cubicBezTo>
                  <a:cubicBezTo>
                    <a:pt x="424" y="530"/>
                    <a:pt x="477" y="427"/>
                    <a:pt x="477" y="368"/>
                  </a:cubicBezTo>
                  <a:cubicBezTo>
                    <a:pt x="477" y="302"/>
                    <a:pt x="435" y="246"/>
                    <a:pt x="310" y="215"/>
                  </a:cubicBezTo>
                  <a:cubicBezTo>
                    <a:pt x="302" y="212"/>
                    <a:pt x="262" y="204"/>
                    <a:pt x="247" y="199"/>
                  </a:cubicBezTo>
                  <a:cubicBezTo>
                    <a:pt x="183" y="183"/>
                    <a:pt x="165" y="172"/>
                    <a:pt x="165" y="141"/>
                  </a:cubicBezTo>
                  <a:cubicBezTo>
                    <a:pt x="165" y="111"/>
                    <a:pt x="196" y="98"/>
                    <a:pt x="231" y="98"/>
                  </a:cubicBezTo>
                  <a:cubicBezTo>
                    <a:pt x="310" y="98"/>
                    <a:pt x="326" y="138"/>
                    <a:pt x="326" y="162"/>
                  </a:cubicBezTo>
                  <a:lnTo>
                    <a:pt x="464" y="162"/>
                  </a:lnTo>
                  <a:cubicBezTo>
                    <a:pt x="464" y="109"/>
                    <a:pt x="427" y="0"/>
                    <a:pt x="231" y="0"/>
                  </a:cubicBezTo>
                  <a:cubicBezTo>
                    <a:pt x="74" y="0"/>
                    <a:pt x="16" y="80"/>
                    <a:pt x="16" y="146"/>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Shape 10"/>
            <p:cNvSpPr/>
            <p:nvPr/>
          </p:nvSpPr>
          <p:spPr>
            <a:xfrm>
              <a:off x="2012080" y="4755338"/>
              <a:ext cx="97493" cy="100533"/>
            </a:xfrm>
            <a:custGeom>
              <a:avLst/>
              <a:gdLst/>
              <a:ahLst/>
              <a:cxnLst>
                <a:cxn ang="3cd4">
                  <a:pos x="hc" y="t"/>
                </a:cxn>
                <a:cxn ang="cd2">
                  <a:pos x="l" y="vc"/>
                </a:cxn>
                <a:cxn ang="cd4">
                  <a:pos x="hc" y="b"/>
                </a:cxn>
                <a:cxn ang="0">
                  <a:pos x="r" y="vc"/>
                </a:cxn>
              </a:cxnLst>
              <a:rect l="l" t="t" r="r" b="b"/>
              <a:pathLst>
                <a:path w="514" h="530">
                  <a:moveTo>
                    <a:pt x="376" y="331"/>
                  </a:moveTo>
                  <a:cubicBezTo>
                    <a:pt x="366" y="379"/>
                    <a:pt x="334" y="424"/>
                    <a:pt x="270" y="424"/>
                  </a:cubicBezTo>
                  <a:cubicBezTo>
                    <a:pt x="191" y="424"/>
                    <a:pt x="151" y="355"/>
                    <a:pt x="151" y="265"/>
                  </a:cubicBezTo>
                  <a:cubicBezTo>
                    <a:pt x="151" y="196"/>
                    <a:pt x="178" y="103"/>
                    <a:pt x="270" y="103"/>
                  </a:cubicBezTo>
                  <a:cubicBezTo>
                    <a:pt x="329" y="103"/>
                    <a:pt x="363" y="143"/>
                    <a:pt x="371" y="188"/>
                  </a:cubicBezTo>
                  <a:lnTo>
                    <a:pt x="511" y="188"/>
                  </a:lnTo>
                  <a:cubicBezTo>
                    <a:pt x="503" y="109"/>
                    <a:pt x="445" y="0"/>
                    <a:pt x="268" y="0"/>
                  </a:cubicBezTo>
                  <a:cubicBezTo>
                    <a:pt x="112" y="0"/>
                    <a:pt x="0" y="103"/>
                    <a:pt x="0" y="265"/>
                  </a:cubicBezTo>
                  <a:cubicBezTo>
                    <a:pt x="0" y="427"/>
                    <a:pt x="109" y="530"/>
                    <a:pt x="268" y="530"/>
                  </a:cubicBezTo>
                  <a:cubicBezTo>
                    <a:pt x="453" y="530"/>
                    <a:pt x="506" y="413"/>
                    <a:pt x="514" y="334"/>
                  </a:cubicBezTo>
                  <a:lnTo>
                    <a:pt x="376" y="3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Shape 11"/>
            <p:cNvSpPr/>
            <p:nvPr/>
          </p:nvSpPr>
          <p:spPr>
            <a:xfrm>
              <a:off x="2117744" y="4755338"/>
              <a:ext cx="101104" cy="100533"/>
            </a:xfrm>
            <a:custGeom>
              <a:avLst/>
              <a:gdLst/>
              <a:ahLst/>
              <a:cxnLst>
                <a:cxn ang="3cd4">
                  <a:pos x="hc" y="t"/>
                </a:cxn>
                <a:cxn ang="cd2">
                  <a:pos x="l" y="vc"/>
                </a:cxn>
                <a:cxn ang="cd4">
                  <a:pos x="hc" y="b"/>
                </a:cxn>
                <a:cxn ang="0">
                  <a:pos x="r" y="vc"/>
                </a:cxn>
              </a:cxnLst>
              <a:rect l="l" t="t" r="r" b="b"/>
              <a:pathLst>
                <a:path w="533" h="530">
                  <a:moveTo>
                    <a:pt x="268" y="0"/>
                  </a:moveTo>
                  <a:cubicBezTo>
                    <a:pt x="109" y="0"/>
                    <a:pt x="0" y="103"/>
                    <a:pt x="0" y="265"/>
                  </a:cubicBezTo>
                  <a:cubicBezTo>
                    <a:pt x="0" y="427"/>
                    <a:pt x="109" y="530"/>
                    <a:pt x="268" y="530"/>
                  </a:cubicBezTo>
                  <a:cubicBezTo>
                    <a:pt x="424" y="530"/>
                    <a:pt x="533" y="429"/>
                    <a:pt x="533" y="265"/>
                  </a:cubicBezTo>
                  <a:cubicBezTo>
                    <a:pt x="533" y="98"/>
                    <a:pt x="419" y="0"/>
                    <a:pt x="268" y="0"/>
                  </a:cubicBezTo>
                  <a:close/>
                  <a:moveTo>
                    <a:pt x="265" y="424"/>
                  </a:moveTo>
                  <a:cubicBezTo>
                    <a:pt x="188" y="424"/>
                    <a:pt x="146" y="355"/>
                    <a:pt x="146" y="265"/>
                  </a:cubicBezTo>
                  <a:cubicBezTo>
                    <a:pt x="149" y="196"/>
                    <a:pt x="175" y="103"/>
                    <a:pt x="265" y="103"/>
                  </a:cubicBezTo>
                  <a:cubicBezTo>
                    <a:pt x="347" y="103"/>
                    <a:pt x="382" y="183"/>
                    <a:pt x="382" y="265"/>
                  </a:cubicBezTo>
                  <a:cubicBezTo>
                    <a:pt x="382" y="347"/>
                    <a:pt x="347" y="424"/>
                    <a:pt x="265" y="42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 name="Title 1"/>
          <p:cNvSpPr>
            <a:spLocks noGrp="1"/>
          </p:cNvSpPr>
          <p:nvPr>
            <p:ph type="title"/>
          </p:nvPr>
        </p:nvSpPr>
        <p:spPr>
          <a:xfrm>
            <a:off x="352925" y="218947"/>
            <a:ext cx="8513064" cy="765432"/>
          </a:xfrm>
        </p:spPr>
        <p:txBody>
          <a:bodyPr/>
          <a:lstStyle>
            <a:lvl1pPr>
              <a:defRPr baseline="0">
                <a:solidFill>
                  <a:schemeClr val="accent6"/>
                </a:solidFill>
              </a:defRPr>
            </a:lvl1pPr>
          </a:lstStyle>
          <a:p>
            <a:r>
              <a:rPr lang="en-US"/>
              <a:t>Click to edit Master title style</a:t>
            </a:r>
            <a:endParaRPr lang="en-US" dirty="0"/>
          </a:p>
        </p:txBody>
      </p:sp>
      <p:sp>
        <p:nvSpPr>
          <p:cNvPr id="5" name="Content Placeholder 4"/>
          <p:cNvSpPr>
            <a:spLocks noGrp="1"/>
          </p:cNvSpPr>
          <p:nvPr>
            <p:ph sz="quarter" idx="11"/>
          </p:nvPr>
        </p:nvSpPr>
        <p:spPr>
          <a:xfrm>
            <a:off x="352925" y="1077913"/>
            <a:ext cx="8513064" cy="33988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FFFFFF">
                    <a:alpha val="60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589627902"/>
      </p:ext>
    </p:extLst>
  </p:cSld>
  <p:clrMapOvr>
    <a:masterClrMapping/>
  </p:clrMapOv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925" y="218947"/>
            <a:ext cx="8513064" cy="765432"/>
          </a:xfrm>
        </p:spPr>
        <p:txBody>
          <a:bodyPr/>
          <a:lstStyle>
            <a:lvl1pPr>
              <a:defRPr baseline="0">
                <a:solidFill>
                  <a:schemeClr val="accent6"/>
                </a:solidFill>
              </a:defRPr>
            </a:lvl1pPr>
          </a:lstStyle>
          <a:p>
            <a:r>
              <a:rPr lang="en-US"/>
              <a:t>Click to edit Master title style</a:t>
            </a:r>
            <a:endParaRPr lang="en-US" dirty="0"/>
          </a:p>
        </p:txBody>
      </p:sp>
      <p:sp>
        <p:nvSpPr>
          <p:cNvPr id="5" name="Content Placeholder 4"/>
          <p:cNvSpPr>
            <a:spLocks noGrp="1"/>
          </p:cNvSpPr>
          <p:nvPr>
            <p:ph sz="quarter" idx="11"/>
          </p:nvPr>
        </p:nvSpPr>
        <p:spPr>
          <a:xfrm>
            <a:off x="352925" y="1077913"/>
            <a:ext cx="8513064" cy="33988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Tree>
    <p:extLst>
      <p:ext uri="{BB962C8B-B14F-4D97-AF65-F5344CB8AC3E}">
        <p14:creationId xmlns:p14="http://schemas.microsoft.com/office/powerpoint/2010/main" val="4071581027"/>
      </p:ext>
    </p:extLst>
  </p:cSld>
  <p:clrMapOvr>
    <a:masterClrMapping/>
  </p:clrMapOv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352925" y="218947"/>
            <a:ext cx="8513064" cy="765432"/>
          </a:xfrm>
        </p:spPr>
        <p:txBody>
          <a:bodyPr/>
          <a:lstStyle>
            <a:lvl1pPr>
              <a:defRPr baseline="0">
                <a:solidFill>
                  <a:schemeClr val="accent6"/>
                </a:solidFill>
              </a:defRPr>
            </a:lvl1pPr>
          </a:lstStyle>
          <a:p>
            <a:r>
              <a:rPr lang="en-US"/>
              <a:t>Click to edit Master title style</a:t>
            </a:r>
            <a:endParaRPr lang="en-US" dirty="0"/>
          </a:p>
        </p:txBody>
      </p:sp>
      <p:sp>
        <p:nvSpPr>
          <p:cNvPr id="5" name="Content Placeholder 4"/>
          <p:cNvSpPr>
            <a:spLocks noGrp="1"/>
          </p:cNvSpPr>
          <p:nvPr>
            <p:ph sz="quarter" idx="11"/>
          </p:nvPr>
        </p:nvSpPr>
        <p:spPr>
          <a:xfrm>
            <a:off x="352925" y="1077913"/>
            <a:ext cx="8513064" cy="33988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Tree>
    <p:extLst>
      <p:ext uri="{BB962C8B-B14F-4D97-AF65-F5344CB8AC3E}">
        <p14:creationId xmlns:p14="http://schemas.microsoft.com/office/powerpoint/2010/main" val="328568193"/>
      </p:ext>
    </p:extLst>
  </p:cSld>
  <p:clrMapOvr>
    <a:masterClrMapping/>
  </p:clrMapOv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2" name="Title 1"/>
          <p:cNvSpPr>
            <a:spLocks noGrp="1"/>
          </p:cNvSpPr>
          <p:nvPr>
            <p:ph type="title"/>
          </p:nvPr>
        </p:nvSpPr>
        <p:spPr>
          <a:xfrm>
            <a:off x="352925" y="218947"/>
            <a:ext cx="8513064" cy="765432"/>
          </a:xfrm>
        </p:spPr>
        <p:txBody>
          <a:bodyPr/>
          <a:lstStyle>
            <a:lvl1pPr>
              <a:defRPr baseline="0">
                <a:solidFill>
                  <a:schemeClr val="accent6"/>
                </a:solidFill>
              </a:defRPr>
            </a:lvl1pPr>
          </a:lstStyle>
          <a:p>
            <a:r>
              <a:rPr lang="en-US"/>
              <a:t>Click to edit Master title style</a:t>
            </a:r>
            <a:endParaRPr lang="en-US" dirty="0"/>
          </a:p>
        </p:txBody>
      </p:sp>
      <p:sp>
        <p:nvSpPr>
          <p:cNvPr id="5" name="Content Placeholder 4"/>
          <p:cNvSpPr>
            <a:spLocks noGrp="1"/>
          </p:cNvSpPr>
          <p:nvPr>
            <p:ph sz="quarter" idx="11"/>
          </p:nvPr>
        </p:nvSpPr>
        <p:spPr>
          <a:xfrm>
            <a:off x="352925" y="1077913"/>
            <a:ext cx="8513064" cy="33988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Tree>
    <p:extLst>
      <p:ext uri="{BB962C8B-B14F-4D97-AF65-F5344CB8AC3E}">
        <p14:creationId xmlns:p14="http://schemas.microsoft.com/office/powerpoint/2010/main" val="2933312889"/>
      </p:ext>
    </p:extLst>
  </p:cSld>
  <p:clrMapOvr>
    <a:masterClrMapping/>
  </p:clrMapOv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Subtitle and Bullet">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
        <p:nvSpPr>
          <p:cNvPr id="6" name="Title 1"/>
          <p:cNvSpPr>
            <a:spLocks noGrp="1"/>
          </p:cNvSpPr>
          <p:nvPr>
            <p:ph type="title" hasCustomPrompt="1"/>
          </p:nvPr>
        </p:nvSpPr>
        <p:spPr>
          <a:xfrm>
            <a:off x="356616" y="384176"/>
            <a:ext cx="8513064" cy="434974"/>
          </a:xfrm>
        </p:spPr>
        <p:txBody>
          <a:bodyPr/>
          <a:lstStyle>
            <a:lvl1pPr>
              <a:defRPr baseline="0">
                <a:solidFill>
                  <a:schemeClr val="accent6"/>
                </a:solidFill>
              </a:defRPr>
            </a:lvl1pPr>
          </a:lstStyle>
          <a:p>
            <a:r>
              <a:rPr lang="en-US" dirty="0"/>
              <a:t>Slide Title</a:t>
            </a:r>
          </a:p>
        </p:txBody>
      </p:sp>
      <p:sp>
        <p:nvSpPr>
          <p:cNvPr id="9" name="Content Placeholder 4"/>
          <p:cNvSpPr>
            <a:spLocks noGrp="1"/>
          </p:cNvSpPr>
          <p:nvPr>
            <p:ph sz="quarter" idx="11"/>
          </p:nvPr>
        </p:nvSpPr>
        <p:spPr>
          <a:xfrm>
            <a:off x="356616" y="1199409"/>
            <a:ext cx="8513064" cy="295212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5"/>
          <p:cNvSpPr>
            <a:spLocks noGrp="1"/>
          </p:cNvSpPr>
          <p:nvPr>
            <p:ph type="body" sz="quarter" idx="12"/>
          </p:nvPr>
        </p:nvSpPr>
        <p:spPr>
          <a:xfrm>
            <a:off x="356616" y="777134"/>
            <a:ext cx="8513064" cy="381000"/>
          </a:xfrm>
        </p:spPr>
        <p:txBody>
          <a:bodyPr/>
          <a:lstStyle>
            <a:lvl1pPr marL="1785" indent="0">
              <a:buNone/>
              <a:defRPr lang="en-US" sz="1800" kern="1200" dirty="0" smtClean="0">
                <a:solidFill>
                  <a:schemeClr val="tx1"/>
                </a:solidFill>
                <a:latin typeface="+mn-lt"/>
                <a:ea typeface="+mn-ea"/>
                <a:cs typeface="+mn-cs"/>
                <a:sym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3235763198"/>
      </p:ext>
    </p:extLst>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
        <p:nvSpPr>
          <p:cNvPr id="11" name="Title 1"/>
          <p:cNvSpPr>
            <a:spLocks noGrp="1"/>
          </p:cNvSpPr>
          <p:nvPr>
            <p:ph type="title"/>
          </p:nvPr>
        </p:nvSpPr>
        <p:spPr>
          <a:xfrm>
            <a:off x="356616" y="217715"/>
            <a:ext cx="8513064" cy="765432"/>
          </a:xfrm>
        </p:spPr>
        <p:txBody>
          <a:bodyPr/>
          <a:lstStyle/>
          <a:p>
            <a:r>
              <a:rPr lang="en-US"/>
              <a:t>Click to edit Master title style</a:t>
            </a:r>
            <a:endParaRPr lang="en-US" dirty="0"/>
          </a:p>
        </p:txBody>
      </p:sp>
    </p:spTree>
    <p:extLst>
      <p:ext uri="{BB962C8B-B14F-4D97-AF65-F5344CB8AC3E}">
        <p14:creationId xmlns:p14="http://schemas.microsoft.com/office/powerpoint/2010/main" val="3254252629"/>
      </p:ext>
    </p:extLst>
  </p:cSld>
  <p:clrMapOvr>
    <a:masterClrMapping/>
  </p:clrMapOv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
        <p:nvSpPr>
          <p:cNvPr id="5" name="Title 1"/>
          <p:cNvSpPr>
            <a:spLocks noGrp="1"/>
          </p:cNvSpPr>
          <p:nvPr>
            <p:ph type="title" hasCustomPrompt="1"/>
          </p:nvPr>
        </p:nvSpPr>
        <p:spPr>
          <a:xfrm>
            <a:off x="356616" y="384048"/>
            <a:ext cx="8513064" cy="434974"/>
          </a:xfrm>
        </p:spPr>
        <p:txBody>
          <a:bodyPr/>
          <a:lstStyle>
            <a:lvl1pPr>
              <a:defRPr baseline="0">
                <a:solidFill>
                  <a:schemeClr val="accent6"/>
                </a:solidFill>
              </a:defRPr>
            </a:lvl1pPr>
          </a:lstStyle>
          <a:p>
            <a:r>
              <a:rPr lang="en-US" dirty="0"/>
              <a:t>Slide Title</a:t>
            </a:r>
          </a:p>
        </p:txBody>
      </p:sp>
      <p:sp>
        <p:nvSpPr>
          <p:cNvPr id="6" name="Text Placeholder 5"/>
          <p:cNvSpPr>
            <a:spLocks noGrp="1"/>
          </p:cNvSpPr>
          <p:nvPr>
            <p:ph type="body" sz="quarter" idx="12"/>
          </p:nvPr>
        </p:nvSpPr>
        <p:spPr>
          <a:xfrm>
            <a:off x="356616" y="777134"/>
            <a:ext cx="8513064" cy="381000"/>
          </a:xfrm>
        </p:spPr>
        <p:txBody>
          <a:bodyPr/>
          <a:lstStyle>
            <a:lvl1pPr marL="1785" indent="0">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058778580"/>
      </p:ext>
    </p:extLst>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2 Column Content">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
        <p:nvSpPr>
          <p:cNvPr id="9" name="Title 1"/>
          <p:cNvSpPr>
            <a:spLocks noGrp="1"/>
          </p:cNvSpPr>
          <p:nvPr>
            <p:ph type="title"/>
          </p:nvPr>
        </p:nvSpPr>
        <p:spPr>
          <a:xfrm>
            <a:off x="356616" y="218947"/>
            <a:ext cx="8513064" cy="765432"/>
          </a:xfrm>
        </p:spPr>
        <p:txBody>
          <a:bodyPr/>
          <a:lstStyle>
            <a:lvl1pPr>
              <a:defRPr baseline="0">
                <a:solidFill>
                  <a:schemeClr val="accent6"/>
                </a:solidFill>
              </a:defRPr>
            </a:lvl1pPr>
          </a:lstStyle>
          <a:p>
            <a:r>
              <a:rPr lang="en-US" dirty="0"/>
              <a:t>Click to edit Master title style</a:t>
            </a:r>
          </a:p>
        </p:txBody>
      </p:sp>
      <p:sp>
        <p:nvSpPr>
          <p:cNvPr id="10" name="Content Placeholder 4"/>
          <p:cNvSpPr>
            <a:spLocks noGrp="1"/>
          </p:cNvSpPr>
          <p:nvPr>
            <p:ph sz="quarter" idx="11"/>
          </p:nvPr>
        </p:nvSpPr>
        <p:spPr>
          <a:xfrm>
            <a:off x="356616" y="1077912"/>
            <a:ext cx="4069080" cy="325798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5"/>
          <p:cNvSpPr>
            <a:spLocks noGrp="1"/>
          </p:cNvSpPr>
          <p:nvPr>
            <p:ph sz="quarter" idx="12"/>
          </p:nvPr>
        </p:nvSpPr>
        <p:spPr>
          <a:xfrm>
            <a:off x="4800600" y="1077913"/>
            <a:ext cx="4069080" cy="325345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75819850"/>
      </p:ext>
    </p:extLst>
  </p:cSld>
  <p:clrMapOvr>
    <a:masterClrMapping/>
  </p:clrMapOv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 Column with Title and Subtitle">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
        <p:nvSpPr>
          <p:cNvPr id="12" name="Title 1"/>
          <p:cNvSpPr>
            <a:spLocks noGrp="1"/>
          </p:cNvSpPr>
          <p:nvPr>
            <p:ph type="title" hasCustomPrompt="1"/>
          </p:nvPr>
        </p:nvSpPr>
        <p:spPr>
          <a:xfrm>
            <a:off x="356616" y="384176"/>
            <a:ext cx="8513064" cy="434974"/>
          </a:xfrm>
        </p:spPr>
        <p:txBody>
          <a:bodyPr/>
          <a:lstStyle>
            <a:lvl1pPr>
              <a:defRPr baseline="0">
                <a:solidFill>
                  <a:schemeClr val="accent6"/>
                </a:solidFill>
              </a:defRPr>
            </a:lvl1pPr>
          </a:lstStyle>
          <a:p>
            <a:r>
              <a:rPr lang="en-US" dirty="0"/>
              <a:t>Slide Title</a:t>
            </a:r>
          </a:p>
        </p:txBody>
      </p:sp>
      <p:sp>
        <p:nvSpPr>
          <p:cNvPr id="13" name="Content Placeholder 4"/>
          <p:cNvSpPr>
            <a:spLocks noGrp="1"/>
          </p:cNvSpPr>
          <p:nvPr>
            <p:ph sz="quarter" idx="11"/>
          </p:nvPr>
        </p:nvSpPr>
        <p:spPr>
          <a:xfrm>
            <a:off x="356616" y="1199409"/>
            <a:ext cx="4069080" cy="309781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5"/>
          <p:cNvSpPr>
            <a:spLocks noGrp="1"/>
          </p:cNvSpPr>
          <p:nvPr>
            <p:ph type="body" sz="quarter" idx="12"/>
          </p:nvPr>
        </p:nvSpPr>
        <p:spPr>
          <a:xfrm>
            <a:off x="356616" y="777134"/>
            <a:ext cx="8513064" cy="381000"/>
          </a:xfrm>
        </p:spPr>
        <p:txBody>
          <a:bodyPr/>
          <a:lstStyle>
            <a:lvl1pPr marL="1785" indent="0">
              <a:buNone/>
              <a:defRPr>
                <a:solidFill>
                  <a:schemeClr val="tx1"/>
                </a:solidFill>
              </a:defRPr>
            </a:lvl1pPr>
          </a:lstStyle>
          <a:p>
            <a:pPr lvl="0"/>
            <a:r>
              <a:rPr lang="en-US"/>
              <a:t>Click to edit Master text styles</a:t>
            </a:r>
          </a:p>
        </p:txBody>
      </p:sp>
      <p:sp>
        <p:nvSpPr>
          <p:cNvPr id="15" name="Content Placeholder 6"/>
          <p:cNvSpPr>
            <a:spLocks noGrp="1"/>
          </p:cNvSpPr>
          <p:nvPr>
            <p:ph sz="quarter" idx="13"/>
          </p:nvPr>
        </p:nvSpPr>
        <p:spPr>
          <a:xfrm>
            <a:off x="4800600" y="1199409"/>
            <a:ext cx="4069080" cy="310963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02999100"/>
      </p:ext>
    </p:extLst>
  </p:cSld>
  <p:clrMapOvr>
    <a:masterClrMapping/>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3 Column Bullets">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
        <p:nvSpPr>
          <p:cNvPr id="9" name="Title 1"/>
          <p:cNvSpPr>
            <a:spLocks noGrp="1"/>
          </p:cNvSpPr>
          <p:nvPr>
            <p:ph type="title"/>
          </p:nvPr>
        </p:nvSpPr>
        <p:spPr>
          <a:xfrm>
            <a:off x="356616" y="219456"/>
            <a:ext cx="8513064" cy="765432"/>
          </a:xfr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defRPr lang="en-US" baseline="0" dirty="0">
                <a:solidFill>
                  <a:schemeClr val="accent6"/>
                </a:solidFill>
              </a:defRPr>
            </a:lvl1pPr>
          </a:lstStyle>
          <a:p>
            <a:pPr lvl="0"/>
            <a:r>
              <a:rPr lang="en-US" dirty="0"/>
              <a:t>Click to edit Master title style</a:t>
            </a:r>
          </a:p>
        </p:txBody>
      </p:sp>
      <p:sp>
        <p:nvSpPr>
          <p:cNvPr id="10" name="Content Placeholder 2"/>
          <p:cNvSpPr>
            <a:spLocks noGrp="1"/>
          </p:cNvSpPr>
          <p:nvPr>
            <p:ph idx="1"/>
          </p:nvPr>
        </p:nvSpPr>
        <p:spPr>
          <a:xfrm>
            <a:off x="356616" y="1100308"/>
            <a:ext cx="2743200" cy="3262760"/>
          </a:xfrm>
        </p:spPr>
        <p:txBody>
          <a:bodyPr lIns="91440" tIns="45720" rIns="91440" bIns="45720"/>
          <a:lstStyle>
            <a:lvl1pPr>
              <a:spcBef>
                <a:spcPts val="1200"/>
              </a:spcBef>
              <a:buClrTx/>
              <a:defRPr sz="1600">
                <a:solidFill>
                  <a:schemeClr val="tx1"/>
                </a:solidFill>
              </a:defRPr>
            </a:lvl1pPr>
            <a:lvl2pPr>
              <a:spcBef>
                <a:spcPts val="400"/>
              </a:spcBef>
              <a:defRPr sz="1400">
                <a:solidFill>
                  <a:schemeClr val="tx1"/>
                </a:solidFill>
              </a:defRPr>
            </a:lvl2pPr>
            <a:lvl3pPr>
              <a:spcBef>
                <a:spcPts val="200"/>
              </a:spcBef>
              <a:defRPr sz="1200">
                <a:solidFill>
                  <a:schemeClr val="tx1"/>
                </a:solidFill>
              </a:defRPr>
            </a:lvl3pPr>
            <a:lvl4pPr>
              <a:spcBef>
                <a:spcPts val="200"/>
              </a:spcBef>
              <a:defRPr sz="1050">
                <a:solidFill>
                  <a:schemeClr val="tx1"/>
                </a:solidFill>
              </a:defRPr>
            </a:lvl4pPr>
            <a:lvl5pPr>
              <a:spcBef>
                <a:spcPts val="675"/>
              </a:spcBef>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5"/>
          <p:cNvSpPr>
            <a:spLocks noGrp="1"/>
          </p:cNvSpPr>
          <p:nvPr>
            <p:ph type="body" sz="quarter" idx="10"/>
          </p:nvPr>
        </p:nvSpPr>
        <p:spPr>
          <a:xfrm>
            <a:off x="6126480" y="1100307"/>
            <a:ext cx="2743200" cy="3264861"/>
          </a:xfrm>
        </p:spPr>
        <p:txBody>
          <a:bodyPr lIns="91440" tIns="45720" rIns="91440" bIns="45720"/>
          <a:lstStyle>
            <a:lvl1pPr>
              <a:defRPr sz="1600">
                <a:solidFill>
                  <a:schemeClr val="tx1"/>
                </a:solidFill>
              </a:defRPr>
            </a:lvl1pPr>
            <a:lvl2pPr>
              <a:defRPr sz="1400">
                <a:solidFill>
                  <a:schemeClr val="tx1"/>
                </a:solidFill>
              </a:defRPr>
            </a:lvl2pPr>
            <a:lvl3pPr>
              <a:defRPr sz="1200">
                <a:solidFill>
                  <a:schemeClr val="tx1"/>
                </a:solidFill>
              </a:defRPr>
            </a:lvl3pPr>
            <a:lvl4pPr>
              <a:defRPr sz="1050">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7"/>
          <p:cNvSpPr>
            <a:spLocks noGrp="1"/>
          </p:cNvSpPr>
          <p:nvPr>
            <p:ph type="body" sz="quarter" idx="11"/>
          </p:nvPr>
        </p:nvSpPr>
        <p:spPr>
          <a:xfrm>
            <a:off x="3241548" y="1100307"/>
            <a:ext cx="2743200" cy="3264408"/>
          </a:xfrm>
        </p:spPr>
        <p:txBody>
          <a:bodyPr lIns="91440" tIns="45720" rIns="91440" bIns="45720"/>
          <a:lstStyle>
            <a:lvl1pPr>
              <a:defRPr sz="1600">
                <a:solidFill>
                  <a:schemeClr val="tx1"/>
                </a:solidFill>
              </a:defRPr>
            </a:lvl1pPr>
            <a:lvl2pPr>
              <a:defRPr sz="1400">
                <a:solidFill>
                  <a:schemeClr val="tx1"/>
                </a:solidFill>
              </a:defRPr>
            </a:lvl2pPr>
            <a:lvl3pPr>
              <a:defRPr sz="1200">
                <a:solidFill>
                  <a:schemeClr val="tx1"/>
                </a:solidFill>
              </a:defRPr>
            </a:lvl3pPr>
            <a:lvl4pPr>
              <a:defRPr sz="1050">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77914750"/>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4255683545"/>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userDrawn="1">
          <p15:clr>
            <a:srgbClr val="FBAE40"/>
          </p15:clr>
        </p15:guide>
        <p15:guide id="4" pos="2675">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4 Heavy Graphics">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
        <p:nvSpPr>
          <p:cNvPr id="6" name="Title 1"/>
          <p:cNvSpPr>
            <a:spLocks noGrp="1"/>
          </p:cNvSpPr>
          <p:nvPr>
            <p:ph type="title" hasCustomPrompt="1"/>
          </p:nvPr>
        </p:nvSpPr>
        <p:spPr>
          <a:xfrm>
            <a:off x="356616" y="155576"/>
            <a:ext cx="8513064" cy="434974"/>
          </a:xfrm>
        </p:spPr>
        <p:txBody>
          <a:bodyPr/>
          <a:lstStyle>
            <a:lvl1pPr marL="6251" indent="-6251" algn="l" defTabSz="457200" rtl="0" eaLnBrk="0" fontAlgn="base" hangingPunct="0">
              <a:lnSpc>
                <a:spcPct val="90000"/>
              </a:lnSpc>
              <a:spcBef>
                <a:spcPct val="0"/>
              </a:spcBef>
              <a:spcAft>
                <a:spcPct val="0"/>
              </a:spcAft>
              <a:defRPr lang="en-US" sz="2800" b="0" kern="1200" baseline="0" dirty="0">
                <a:solidFill>
                  <a:schemeClr val="accent6"/>
                </a:solidFill>
                <a:latin typeface="+mj-lt"/>
                <a:ea typeface="+mj-ea"/>
                <a:cs typeface="+mj-cs"/>
                <a:sym typeface="Arial" pitchFamily="34" charset="0"/>
              </a:defRPr>
            </a:lvl1pPr>
          </a:lstStyle>
          <a:p>
            <a:r>
              <a:rPr lang="en-US" dirty="0"/>
              <a:t>Slide Title</a:t>
            </a:r>
          </a:p>
        </p:txBody>
      </p:sp>
    </p:spTree>
    <p:extLst>
      <p:ext uri="{BB962C8B-B14F-4D97-AF65-F5344CB8AC3E}">
        <p14:creationId xmlns:p14="http://schemas.microsoft.com/office/powerpoint/2010/main" val="2183204182"/>
      </p:ext>
    </p:extLst>
  </p:cSld>
  <p:clrMapOvr>
    <a:masterClrMapping/>
  </p:clrMapOv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Subtitle 4 Heavy Graphics">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
        <p:nvSpPr>
          <p:cNvPr id="12" name="Title 1"/>
          <p:cNvSpPr>
            <a:spLocks noGrp="1"/>
          </p:cNvSpPr>
          <p:nvPr>
            <p:ph type="title" hasCustomPrompt="1"/>
          </p:nvPr>
        </p:nvSpPr>
        <p:spPr>
          <a:xfrm>
            <a:off x="356616" y="155576"/>
            <a:ext cx="8513064" cy="434974"/>
          </a:xfrm>
        </p:spPr>
        <p:txBody>
          <a:bodyPr/>
          <a:lstStyle>
            <a:lvl1pPr>
              <a:defRPr baseline="0">
                <a:solidFill>
                  <a:schemeClr val="accent6"/>
                </a:solidFill>
              </a:defRPr>
            </a:lvl1pPr>
          </a:lstStyle>
          <a:p>
            <a:r>
              <a:rPr lang="en-US" dirty="0"/>
              <a:t>Slide Title</a:t>
            </a:r>
          </a:p>
        </p:txBody>
      </p:sp>
      <p:sp>
        <p:nvSpPr>
          <p:cNvPr id="13" name="Text Placeholder 5"/>
          <p:cNvSpPr>
            <a:spLocks noGrp="1"/>
          </p:cNvSpPr>
          <p:nvPr>
            <p:ph type="body" sz="quarter" idx="12"/>
          </p:nvPr>
        </p:nvSpPr>
        <p:spPr>
          <a:xfrm>
            <a:off x="356616" y="548534"/>
            <a:ext cx="8513064" cy="381000"/>
          </a:xfrm>
        </p:spPr>
        <p:txBody>
          <a:bodyPr/>
          <a:lstStyle>
            <a:lvl1pPr marL="1785" indent="0">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64764121"/>
      </p:ext>
    </p:extLst>
  </p:cSld>
  <p:clrMapOvr>
    <a:masterClrMapping/>
  </p:clrMapOv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Subtitle and Bullet 4 Heavy Graphics">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
        <p:nvSpPr>
          <p:cNvPr id="12" name="Title 1"/>
          <p:cNvSpPr>
            <a:spLocks noGrp="1"/>
          </p:cNvSpPr>
          <p:nvPr>
            <p:ph type="title" hasCustomPrompt="1"/>
          </p:nvPr>
        </p:nvSpPr>
        <p:spPr>
          <a:xfrm>
            <a:off x="356616" y="155576"/>
            <a:ext cx="8513064" cy="434974"/>
          </a:xfrm>
        </p:spPr>
        <p:txBody>
          <a:bodyPr/>
          <a:lstStyle>
            <a:lvl1pPr>
              <a:defRPr baseline="0">
                <a:solidFill>
                  <a:schemeClr val="accent6"/>
                </a:solidFill>
              </a:defRPr>
            </a:lvl1pPr>
          </a:lstStyle>
          <a:p>
            <a:r>
              <a:rPr lang="en-US" dirty="0"/>
              <a:t>Slide Title</a:t>
            </a:r>
          </a:p>
        </p:txBody>
      </p:sp>
      <p:sp>
        <p:nvSpPr>
          <p:cNvPr id="13" name="Text Placeholder 5"/>
          <p:cNvSpPr>
            <a:spLocks noGrp="1"/>
          </p:cNvSpPr>
          <p:nvPr>
            <p:ph type="body" sz="quarter" idx="12"/>
          </p:nvPr>
        </p:nvSpPr>
        <p:spPr>
          <a:xfrm>
            <a:off x="356616" y="548534"/>
            <a:ext cx="8513064" cy="381000"/>
          </a:xfrm>
        </p:spPr>
        <p:txBody>
          <a:bodyPr/>
          <a:lstStyle>
            <a:lvl1pPr marL="1785" indent="0">
              <a:buNone/>
              <a:defRPr>
                <a:solidFill>
                  <a:schemeClr val="tx1"/>
                </a:solidFill>
              </a:defRPr>
            </a:lvl1pPr>
          </a:lstStyle>
          <a:p>
            <a:pPr lvl="0"/>
            <a:r>
              <a:rPr lang="en-US" dirty="0"/>
              <a:t>Click to edit Master text styles</a:t>
            </a:r>
          </a:p>
        </p:txBody>
      </p:sp>
      <p:sp>
        <p:nvSpPr>
          <p:cNvPr id="3" name="Text Placeholder 2"/>
          <p:cNvSpPr>
            <a:spLocks noGrp="1"/>
          </p:cNvSpPr>
          <p:nvPr>
            <p:ph type="body" sz="quarter" idx="13"/>
          </p:nvPr>
        </p:nvSpPr>
        <p:spPr>
          <a:xfrm>
            <a:off x="357188" y="929534"/>
            <a:ext cx="8512175" cy="37576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26080232"/>
      </p:ext>
    </p:extLst>
  </p:cSld>
  <p:clrMapOvr>
    <a:masterClrMapping/>
  </p:clrMapOv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
        <p:nvSpPr>
          <p:cNvPr id="6" name="Text Placeholder 3"/>
          <p:cNvSpPr>
            <a:spLocks noGrp="1"/>
          </p:cNvSpPr>
          <p:nvPr>
            <p:ph type="body" sz="quarter" idx="14" hasCustomPrompt="1"/>
          </p:nvPr>
        </p:nvSpPr>
        <p:spPr>
          <a:xfrm>
            <a:off x="548640" y="3562350"/>
            <a:ext cx="5551460" cy="609600"/>
          </a:xfrm>
        </p:spPr>
        <p:txBody>
          <a:bodyPr/>
          <a:lstStyle>
            <a:lvl1pPr marL="1785" indent="0" algn="l">
              <a:spcBef>
                <a:spcPts val="0"/>
              </a:spcBef>
              <a:buNone/>
              <a:defRPr lang="en-US" sz="1400" kern="1200" dirty="0" smtClean="0">
                <a:solidFill>
                  <a:schemeClr val="tx1"/>
                </a:solidFill>
                <a:latin typeface="Arial" charset="0"/>
                <a:ea typeface="ＭＳ Ｐゴシック" charset="0"/>
                <a:cs typeface="ＭＳ Ｐゴシック" charset="0"/>
              </a:defRPr>
            </a:lvl1pPr>
          </a:lstStyle>
          <a:p>
            <a:pPr lvl="0"/>
            <a:r>
              <a:rPr lang="en-US" dirty="0"/>
              <a:t>Click to edit Source Name</a:t>
            </a:r>
          </a:p>
          <a:p>
            <a:pPr lvl="0"/>
            <a:r>
              <a:rPr lang="en-US" dirty="0"/>
              <a:t>Company Name</a:t>
            </a:r>
          </a:p>
        </p:txBody>
      </p:sp>
      <p:sp>
        <p:nvSpPr>
          <p:cNvPr id="9" name="Text Placeholder 4"/>
          <p:cNvSpPr>
            <a:spLocks noGrp="1"/>
          </p:cNvSpPr>
          <p:nvPr>
            <p:ph type="body" sz="quarter" idx="13" hasCustomPrompt="1"/>
          </p:nvPr>
        </p:nvSpPr>
        <p:spPr>
          <a:xfrm>
            <a:off x="356616" y="1600200"/>
            <a:ext cx="7795985" cy="1733550"/>
          </a:xfrm>
        </p:spPr>
        <p:txBody>
          <a:bodyPr/>
          <a:lstStyle>
            <a:lvl1pPr marL="173038" indent="-173038">
              <a:lnSpc>
                <a:spcPts val="3680"/>
              </a:lnSpc>
              <a:spcBef>
                <a:spcPts val="0"/>
              </a:spcBef>
              <a:buClr>
                <a:schemeClr val="accent1"/>
              </a:buClr>
              <a:buSzPct val="105000"/>
              <a:buFont typeface="Arial" panose="020B0604020202020204" pitchFamily="34" charset="0"/>
              <a:buNone/>
              <a:tabLst>
                <a:tab pos="173038" algn="l"/>
              </a:tabLst>
              <a:defRPr lang="en-US" sz="3200" b="0" i="1" kern="1200" dirty="0" smtClean="0">
                <a:solidFill>
                  <a:schemeClr val="accent6"/>
                </a:solidFill>
                <a:latin typeface="+mj-lt"/>
                <a:ea typeface="+mj-ea"/>
                <a:cs typeface="+mj-cs"/>
                <a:sym typeface="Arial" pitchFamily="34" charset="0"/>
              </a:defRPr>
            </a:lvl1pPr>
          </a:lstStyle>
          <a:p>
            <a:pPr lvl="0"/>
            <a:r>
              <a:rPr lang="en-US" dirty="0"/>
              <a:t>“	Quote goes here.”</a:t>
            </a:r>
          </a:p>
        </p:txBody>
      </p:sp>
    </p:spTree>
    <p:extLst>
      <p:ext uri="{BB962C8B-B14F-4D97-AF65-F5344CB8AC3E}">
        <p14:creationId xmlns:p14="http://schemas.microsoft.com/office/powerpoint/2010/main" val="3509661487"/>
      </p:ext>
    </p:extLst>
  </p:cSld>
  <p:clrMapOvr>
    <a:masterClrMapping/>
  </p:clrMapOv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Tree>
    <p:extLst>
      <p:ext uri="{BB962C8B-B14F-4D97-AF65-F5344CB8AC3E}">
        <p14:creationId xmlns:p14="http://schemas.microsoft.com/office/powerpoint/2010/main" val="3705862346"/>
      </p:ext>
    </p:extLst>
  </p:cSld>
  <p:clrMapOvr>
    <a:masterClrMapping/>
  </p:clrMapOv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00" y="609600"/>
            <a:ext cx="0" cy="3984625"/>
          </a:xfrm>
          <a:prstGeom prst="line">
            <a:avLst/>
          </a:prstGeom>
          <a:ln w="38100" cap="flat"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463763" y="1439060"/>
            <a:ext cx="3820348" cy="2265389"/>
          </a:xfrm>
        </p:spPr>
        <p:txBody>
          <a:bodyPr lIns="61715" tIns="34288" rIns="61715" bIns="34288" rtlCol="0">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chemeClr val="accent6"/>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US"/>
              <a:t>Click to edit Master text styles</a:t>
            </a:r>
          </a:p>
        </p:txBody>
      </p:sp>
      <p:sp>
        <p:nvSpPr>
          <p:cNvPr id="6"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7"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Tree>
    <p:extLst>
      <p:ext uri="{BB962C8B-B14F-4D97-AF65-F5344CB8AC3E}">
        <p14:creationId xmlns:p14="http://schemas.microsoft.com/office/powerpoint/2010/main" val="255421646"/>
      </p:ext>
    </p:extLst>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egue 2">
    <p:spTree>
      <p:nvGrpSpPr>
        <p:cNvPr id="1" name=""/>
        <p:cNvGrpSpPr/>
        <p:nvPr/>
      </p:nvGrpSpPr>
      <p:grpSpPr>
        <a:xfrm>
          <a:off x="0" y="0"/>
          <a:ext cx="0" cy="0"/>
          <a:chOff x="0" y="0"/>
          <a:chExt cx="0" cy="0"/>
        </a:xfrm>
      </p:grpSpPr>
      <p:sp>
        <p:nvSpPr>
          <p:cNvPr id="11" name="Rectangle 10"/>
          <p:cNvSpPr/>
          <p:nvPr userDrawn="1"/>
        </p:nvSpPr>
        <p:spPr bwMode="auto">
          <a:xfrm>
            <a:off x="0" y="0"/>
            <a:ext cx="9143918" cy="5143500"/>
          </a:xfrm>
          <a:prstGeom prst="rect">
            <a:avLst/>
          </a:prstGeom>
          <a:solidFill>
            <a:srgbClr val="00BCEB"/>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a:solidFill>
                <a:srgbClr val="00BCEB"/>
              </a:solidFill>
              <a:ea typeface="Arial" pitchFamily="-107" charset="0"/>
              <a:cs typeface="Arial" pitchFamily="-107" charset="0"/>
              <a:sym typeface="Arial" pitchFamily="-107" charset="0"/>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37878" y="0"/>
            <a:ext cx="3706122" cy="5143500"/>
          </a:xfrm>
          <a:prstGeom prst="rect">
            <a:avLst/>
          </a:prstGeom>
        </p:spPr>
      </p:pic>
      <p:sp>
        <p:nvSpPr>
          <p:cNvPr id="8" name="Title 7"/>
          <p:cNvSpPr>
            <a:spLocks noGrp="1"/>
          </p:cNvSpPr>
          <p:nvPr>
            <p:ph type="title" hasCustomPrompt="1"/>
          </p:nvPr>
        </p:nvSpPr>
        <p:spPr bwMode="white">
          <a:xfrm>
            <a:off x="359051" y="2166220"/>
            <a:ext cx="5462629" cy="1142052"/>
          </a:xfrm>
        </p:spPr>
        <p:txBody>
          <a:bodyPr anchor="t"/>
          <a:lstStyle>
            <a:lvl1pPr marL="6251" indent="-6251" algn="l" defTabSz="914400" rtl="0" eaLnBrk="0" fontAlgn="base" latinLnBrk="0" hangingPunct="0">
              <a:lnSpc>
                <a:spcPct val="90000"/>
              </a:lnSpc>
              <a:spcBef>
                <a:spcPct val="0"/>
              </a:spcBef>
              <a:spcAft>
                <a:spcPct val="0"/>
              </a:spcAft>
              <a:defRPr lang="en-US" sz="4000" b="0" i="0" kern="1200" dirty="0">
                <a:solidFill>
                  <a:schemeClr val="bg1"/>
                </a:solidFill>
                <a:latin typeface="+mj-lt"/>
                <a:ea typeface="+mj-ea"/>
                <a:cs typeface="+mj-cs"/>
                <a:sym typeface="Arial" pitchFamily="34" charset="0"/>
              </a:defRPr>
            </a:lvl1pPr>
          </a:lstStyle>
          <a:p>
            <a:r>
              <a:rPr lang="en-US" dirty="0"/>
              <a:t>Segue Slide</a:t>
            </a:r>
          </a:p>
        </p:txBody>
      </p:sp>
      <p:sp>
        <p:nvSpPr>
          <p:cNvPr id="9"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rPr>
              <a:pPr/>
              <a:t>‹#›</a:t>
            </a:fld>
            <a:endParaRPr dirty="0">
              <a:solidFill>
                <a:srgbClr val="FFFFFF">
                  <a:alpha val="60000"/>
                </a:srgbClr>
              </a:solidFill>
            </a:endParaRPr>
          </a:p>
        </p:txBody>
      </p:sp>
      <p:grpSp>
        <p:nvGrpSpPr>
          <p:cNvPr id="15" name="Group 14"/>
          <p:cNvGrpSpPr/>
          <p:nvPr userDrawn="1"/>
        </p:nvGrpSpPr>
        <p:grpSpPr>
          <a:xfrm>
            <a:off x="454861" y="4785454"/>
            <a:ext cx="820227" cy="274319"/>
            <a:chOff x="1741456" y="4513412"/>
            <a:chExt cx="1027381" cy="343600"/>
          </a:xfrm>
          <a:solidFill>
            <a:schemeClr val="bg1"/>
          </a:solidFill>
        </p:grpSpPr>
        <p:sp>
          <p:nvSpPr>
            <p:cNvPr id="16" name="Freeform: Shape 1"/>
            <p:cNvSpPr/>
            <p:nvPr/>
          </p:nvSpPr>
          <p:spPr>
            <a:xfrm>
              <a:off x="2624973" y="4513412"/>
              <a:ext cx="143864" cy="343030"/>
            </a:xfrm>
            <a:custGeom>
              <a:avLst/>
              <a:gdLst/>
              <a:ahLst/>
              <a:cxnLst>
                <a:cxn ang="3cd4">
                  <a:pos x="hc" y="t"/>
                </a:cxn>
                <a:cxn ang="cd2">
                  <a:pos x="l" y="vc"/>
                </a:cxn>
                <a:cxn ang="cd4">
                  <a:pos x="hc" y="b"/>
                </a:cxn>
                <a:cxn ang="0">
                  <a:pos x="r" y="vc"/>
                </a:cxn>
              </a:cxnLst>
              <a:rect l="l" t="t" r="r" b="b"/>
              <a:pathLst>
                <a:path w="758" h="1806">
                  <a:moveTo>
                    <a:pt x="242" y="829"/>
                  </a:moveTo>
                  <a:cubicBezTo>
                    <a:pt x="215" y="896"/>
                    <a:pt x="204" y="941"/>
                    <a:pt x="204" y="964"/>
                  </a:cubicBezTo>
                  <a:cubicBezTo>
                    <a:pt x="183" y="999"/>
                    <a:pt x="175" y="1070"/>
                    <a:pt x="175" y="1097"/>
                  </a:cubicBezTo>
                  <a:lnTo>
                    <a:pt x="175" y="1129"/>
                  </a:lnTo>
                  <a:lnTo>
                    <a:pt x="223" y="1208"/>
                  </a:lnTo>
                  <a:cubicBezTo>
                    <a:pt x="250" y="1245"/>
                    <a:pt x="218" y="1258"/>
                    <a:pt x="292" y="1282"/>
                  </a:cubicBezTo>
                  <a:cubicBezTo>
                    <a:pt x="318" y="1282"/>
                    <a:pt x="340" y="1261"/>
                    <a:pt x="353" y="1221"/>
                  </a:cubicBezTo>
                  <a:lnTo>
                    <a:pt x="353" y="1208"/>
                  </a:lnTo>
                  <a:cubicBezTo>
                    <a:pt x="353" y="1113"/>
                    <a:pt x="387" y="978"/>
                    <a:pt x="419" y="888"/>
                  </a:cubicBezTo>
                  <a:cubicBezTo>
                    <a:pt x="419" y="845"/>
                    <a:pt x="456" y="718"/>
                    <a:pt x="588" y="406"/>
                  </a:cubicBezTo>
                  <a:cubicBezTo>
                    <a:pt x="588" y="371"/>
                    <a:pt x="618" y="308"/>
                    <a:pt x="678" y="210"/>
                  </a:cubicBezTo>
                  <a:cubicBezTo>
                    <a:pt x="729" y="125"/>
                    <a:pt x="742" y="138"/>
                    <a:pt x="758" y="128"/>
                  </a:cubicBezTo>
                  <a:lnTo>
                    <a:pt x="758" y="80"/>
                  </a:lnTo>
                  <a:lnTo>
                    <a:pt x="739" y="61"/>
                  </a:lnTo>
                  <a:cubicBezTo>
                    <a:pt x="739" y="61"/>
                    <a:pt x="721" y="43"/>
                    <a:pt x="671" y="22"/>
                  </a:cubicBezTo>
                  <a:cubicBezTo>
                    <a:pt x="671" y="22"/>
                    <a:pt x="620" y="0"/>
                    <a:pt x="604" y="0"/>
                  </a:cubicBezTo>
                  <a:cubicBezTo>
                    <a:pt x="588" y="0"/>
                    <a:pt x="557" y="32"/>
                    <a:pt x="530" y="93"/>
                  </a:cubicBezTo>
                  <a:close/>
                  <a:moveTo>
                    <a:pt x="14" y="1738"/>
                  </a:moveTo>
                  <a:cubicBezTo>
                    <a:pt x="14" y="1772"/>
                    <a:pt x="-18" y="1783"/>
                    <a:pt x="16" y="1806"/>
                  </a:cubicBezTo>
                  <a:lnTo>
                    <a:pt x="77" y="1806"/>
                  </a:lnTo>
                  <a:cubicBezTo>
                    <a:pt x="144" y="1775"/>
                    <a:pt x="167" y="1716"/>
                    <a:pt x="252" y="1528"/>
                  </a:cubicBezTo>
                  <a:lnTo>
                    <a:pt x="252" y="1486"/>
                  </a:lnTo>
                  <a:cubicBezTo>
                    <a:pt x="252" y="1460"/>
                    <a:pt x="273" y="1446"/>
                    <a:pt x="218" y="1412"/>
                  </a:cubicBezTo>
                  <a:lnTo>
                    <a:pt x="202" y="1412"/>
                  </a:lnTo>
                  <a:cubicBezTo>
                    <a:pt x="93" y="1409"/>
                    <a:pt x="67" y="1465"/>
                    <a:pt x="14" y="168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Shape 2"/>
            <p:cNvSpPr/>
            <p:nvPr/>
          </p:nvSpPr>
          <p:spPr>
            <a:xfrm>
              <a:off x="2244124" y="4551801"/>
              <a:ext cx="81339" cy="304261"/>
            </a:xfrm>
            <a:custGeom>
              <a:avLst/>
              <a:gdLst/>
              <a:ahLst/>
              <a:cxnLst>
                <a:cxn ang="3cd4">
                  <a:pos x="hc" y="t"/>
                </a:cxn>
                <a:cxn ang="cd2">
                  <a:pos x="l" y="vc"/>
                </a:cxn>
                <a:cxn ang="cd4">
                  <a:pos x="hc" y="b"/>
                </a:cxn>
                <a:cxn ang="0">
                  <a:pos x="r" y="vc"/>
                </a:cxn>
              </a:cxnLst>
              <a:rect l="l" t="t" r="r" b="b"/>
              <a:pathLst>
                <a:path w="429" h="1602">
                  <a:moveTo>
                    <a:pt x="244" y="1533"/>
                  </a:moveTo>
                  <a:cubicBezTo>
                    <a:pt x="209" y="1533"/>
                    <a:pt x="199" y="1483"/>
                    <a:pt x="183" y="1329"/>
                  </a:cubicBezTo>
                  <a:cubicBezTo>
                    <a:pt x="201" y="1064"/>
                    <a:pt x="223" y="884"/>
                    <a:pt x="241" y="789"/>
                  </a:cubicBezTo>
                  <a:cubicBezTo>
                    <a:pt x="323" y="384"/>
                    <a:pt x="307" y="458"/>
                    <a:pt x="366" y="320"/>
                  </a:cubicBezTo>
                  <a:cubicBezTo>
                    <a:pt x="424" y="180"/>
                    <a:pt x="429" y="161"/>
                    <a:pt x="429" y="119"/>
                  </a:cubicBezTo>
                  <a:cubicBezTo>
                    <a:pt x="429" y="71"/>
                    <a:pt x="376" y="32"/>
                    <a:pt x="268" y="0"/>
                  </a:cubicBezTo>
                  <a:lnTo>
                    <a:pt x="260" y="0"/>
                  </a:lnTo>
                  <a:lnTo>
                    <a:pt x="257" y="2"/>
                  </a:lnTo>
                  <a:cubicBezTo>
                    <a:pt x="257" y="2"/>
                    <a:pt x="254" y="5"/>
                    <a:pt x="241" y="63"/>
                  </a:cubicBezTo>
                  <a:lnTo>
                    <a:pt x="209" y="201"/>
                  </a:lnTo>
                  <a:cubicBezTo>
                    <a:pt x="130" y="535"/>
                    <a:pt x="127" y="564"/>
                    <a:pt x="109" y="614"/>
                  </a:cubicBezTo>
                  <a:cubicBezTo>
                    <a:pt x="-8" y="1138"/>
                    <a:pt x="0" y="1213"/>
                    <a:pt x="0" y="1340"/>
                  </a:cubicBezTo>
                  <a:cubicBezTo>
                    <a:pt x="5" y="1385"/>
                    <a:pt x="27" y="1432"/>
                    <a:pt x="66" y="1483"/>
                  </a:cubicBezTo>
                  <a:cubicBezTo>
                    <a:pt x="146" y="1562"/>
                    <a:pt x="212" y="1602"/>
                    <a:pt x="257" y="160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Shape 3"/>
            <p:cNvSpPr/>
            <p:nvPr/>
          </p:nvSpPr>
          <p:spPr>
            <a:xfrm>
              <a:off x="2307789" y="4611664"/>
              <a:ext cx="82479" cy="244587"/>
            </a:xfrm>
            <a:custGeom>
              <a:avLst/>
              <a:gdLst/>
              <a:ahLst/>
              <a:cxnLst>
                <a:cxn ang="3cd4">
                  <a:pos x="hc" y="t"/>
                </a:cxn>
                <a:cxn ang="cd2">
                  <a:pos x="l" y="vc"/>
                </a:cxn>
                <a:cxn ang="cd4">
                  <a:pos x="hc" y="b"/>
                </a:cxn>
                <a:cxn ang="0">
                  <a:pos x="r" y="vc"/>
                </a:cxn>
              </a:cxnLst>
              <a:rect l="l" t="t" r="r" b="b"/>
              <a:pathLst>
                <a:path w="435" h="1288">
                  <a:moveTo>
                    <a:pt x="270" y="204"/>
                  </a:moveTo>
                  <a:lnTo>
                    <a:pt x="294" y="212"/>
                  </a:lnTo>
                  <a:cubicBezTo>
                    <a:pt x="331" y="206"/>
                    <a:pt x="379" y="164"/>
                    <a:pt x="435" y="82"/>
                  </a:cubicBezTo>
                  <a:lnTo>
                    <a:pt x="432" y="71"/>
                  </a:lnTo>
                  <a:cubicBezTo>
                    <a:pt x="429" y="45"/>
                    <a:pt x="395" y="21"/>
                    <a:pt x="329" y="0"/>
                  </a:cubicBezTo>
                  <a:lnTo>
                    <a:pt x="321" y="0"/>
                  </a:lnTo>
                  <a:cubicBezTo>
                    <a:pt x="302" y="3"/>
                    <a:pt x="284" y="69"/>
                    <a:pt x="270" y="204"/>
                  </a:cubicBezTo>
                  <a:close/>
                  <a:moveTo>
                    <a:pt x="210" y="1218"/>
                  </a:moveTo>
                  <a:lnTo>
                    <a:pt x="199" y="1189"/>
                  </a:lnTo>
                  <a:cubicBezTo>
                    <a:pt x="194" y="1048"/>
                    <a:pt x="194" y="956"/>
                    <a:pt x="204" y="913"/>
                  </a:cubicBezTo>
                  <a:lnTo>
                    <a:pt x="194" y="884"/>
                  </a:lnTo>
                  <a:cubicBezTo>
                    <a:pt x="191" y="829"/>
                    <a:pt x="196" y="800"/>
                    <a:pt x="207" y="800"/>
                  </a:cubicBezTo>
                  <a:cubicBezTo>
                    <a:pt x="220" y="712"/>
                    <a:pt x="236" y="662"/>
                    <a:pt x="249" y="651"/>
                  </a:cubicBezTo>
                  <a:cubicBezTo>
                    <a:pt x="255" y="590"/>
                    <a:pt x="286" y="511"/>
                    <a:pt x="347" y="413"/>
                  </a:cubicBezTo>
                  <a:cubicBezTo>
                    <a:pt x="345" y="381"/>
                    <a:pt x="281" y="341"/>
                    <a:pt x="165" y="291"/>
                  </a:cubicBezTo>
                  <a:cubicBezTo>
                    <a:pt x="133" y="294"/>
                    <a:pt x="106" y="360"/>
                    <a:pt x="82" y="484"/>
                  </a:cubicBezTo>
                  <a:cubicBezTo>
                    <a:pt x="16" y="768"/>
                    <a:pt x="-10" y="969"/>
                    <a:pt x="3" y="1086"/>
                  </a:cubicBezTo>
                  <a:cubicBezTo>
                    <a:pt x="14" y="1168"/>
                    <a:pt x="24" y="1207"/>
                    <a:pt x="40" y="1207"/>
                  </a:cubicBezTo>
                  <a:cubicBezTo>
                    <a:pt x="96" y="1268"/>
                    <a:pt x="157" y="1295"/>
                    <a:pt x="225" y="128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9" name="Freeform: Shape 4"/>
            <p:cNvSpPr/>
            <p:nvPr/>
          </p:nvSpPr>
          <p:spPr>
            <a:xfrm>
              <a:off x="2387038" y="4639791"/>
              <a:ext cx="173891" cy="216270"/>
            </a:xfrm>
            <a:custGeom>
              <a:avLst/>
              <a:gdLst/>
              <a:ahLst/>
              <a:cxnLst>
                <a:cxn ang="3cd4">
                  <a:pos x="hc" y="t"/>
                </a:cxn>
                <a:cxn ang="cd2">
                  <a:pos x="l" y="vc"/>
                </a:cxn>
                <a:cxn ang="cd4">
                  <a:pos x="hc" y="b"/>
                </a:cxn>
                <a:cxn ang="0">
                  <a:pos x="r" y="vc"/>
                </a:cxn>
              </a:cxnLst>
              <a:rect l="l" t="t" r="r" b="b"/>
              <a:pathLst>
                <a:path w="916" h="1139">
                  <a:moveTo>
                    <a:pt x="871" y="172"/>
                  </a:moveTo>
                  <a:cubicBezTo>
                    <a:pt x="900" y="141"/>
                    <a:pt x="916" y="114"/>
                    <a:pt x="916" y="95"/>
                  </a:cubicBezTo>
                  <a:cubicBezTo>
                    <a:pt x="916" y="37"/>
                    <a:pt x="892" y="5"/>
                    <a:pt x="795" y="0"/>
                  </a:cubicBezTo>
                  <a:cubicBezTo>
                    <a:pt x="773" y="0"/>
                    <a:pt x="736" y="35"/>
                    <a:pt x="683" y="106"/>
                  </a:cubicBezTo>
                  <a:cubicBezTo>
                    <a:pt x="644" y="252"/>
                    <a:pt x="599" y="350"/>
                    <a:pt x="543" y="403"/>
                  </a:cubicBezTo>
                  <a:cubicBezTo>
                    <a:pt x="456" y="596"/>
                    <a:pt x="389" y="723"/>
                    <a:pt x="344" y="781"/>
                  </a:cubicBezTo>
                  <a:cubicBezTo>
                    <a:pt x="331" y="832"/>
                    <a:pt x="318" y="858"/>
                    <a:pt x="307" y="858"/>
                  </a:cubicBezTo>
                  <a:lnTo>
                    <a:pt x="305" y="858"/>
                  </a:lnTo>
                  <a:cubicBezTo>
                    <a:pt x="305" y="858"/>
                    <a:pt x="302" y="858"/>
                    <a:pt x="299" y="773"/>
                  </a:cubicBezTo>
                  <a:lnTo>
                    <a:pt x="294" y="569"/>
                  </a:lnTo>
                  <a:lnTo>
                    <a:pt x="302" y="498"/>
                  </a:lnTo>
                  <a:lnTo>
                    <a:pt x="286" y="416"/>
                  </a:lnTo>
                  <a:lnTo>
                    <a:pt x="294" y="397"/>
                  </a:lnTo>
                  <a:lnTo>
                    <a:pt x="278" y="363"/>
                  </a:lnTo>
                  <a:lnTo>
                    <a:pt x="286" y="339"/>
                  </a:lnTo>
                  <a:lnTo>
                    <a:pt x="286" y="334"/>
                  </a:lnTo>
                  <a:cubicBezTo>
                    <a:pt x="286" y="286"/>
                    <a:pt x="207" y="249"/>
                    <a:pt x="45" y="220"/>
                  </a:cubicBezTo>
                  <a:cubicBezTo>
                    <a:pt x="24" y="225"/>
                    <a:pt x="11" y="236"/>
                    <a:pt x="0" y="249"/>
                  </a:cubicBezTo>
                  <a:lnTo>
                    <a:pt x="0" y="260"/>
                  </a:lnTo>
                  <a:cubicBezTo>
                    <a:pt x="29" y="260"/>
                    <a:pt x="53" y="474"/>
                    <a:pt x="74" y="906"/>
                  </a:cubicBezTo>
                  <a:cubicBezTo>
                    <a:pt x="74" y="993"/>
                    <a:pt x="93" y="1049"/>
                    <a:pt x="133" y="1073"/>
                  </a:cubicBezTo>
                  <a:cubicBezTo>
                    <a:pt x="170" y="1115"/>
                    <a:pt x="215" y="1139"/>
                    <a:pt x="273" y="1139"/>
                  </a:cubicBezTo>
                  <a:lnTo>
                    <a:pt x="302" y="1139"/>
                  </a:lnTo>
                  <a:lnTo>
                    <a:pt x="305" y="1136"/>
                  </a:lnTo>
                  <a:cubicBezTo>
                    <a:pt x="305" y="1136"/>
                    <a:pt x="307" y="1134"/>
                    <a:pt x="342" y="1054"/>
                  </a:cubicBezTo>
                  <a:lnTo>
                    <a:pt x="432" y="848"/>
                  </a:lnTo>
                  <a:cubicBezTo>
                    <a:pt x="516" y="667"/>
                    <a:pt x="569" y="564"/>
                    <a:pt x="593" y="540"/>
                  </a:cubicBezTo>
                  <a:cubicBezTo>
                    <a:pt x="620" y="474"/>
                    <a:pt x="641" y="440"/>
                    <a:pt x="652" y="434"/>
                  </a:cubicBezTo>
                  <a:lnTo>
                    <a:pt x="654" y="434"/>
                  </a:lnTo>
                  <a:cubicBezTo>
                    <a:pt x="654" y="434"/>
                    <a:pt x="657" y="434"/>
                    <a:pt x="712" y="36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0" name="Freeform: Shape 5"/>
            <p:cNvSpPr/>
            <p:nvPr/>
          </p:nvSpPr>
          <p:spPr>
            <a:xfrm>
              <a:off x="2518358" y="4655945"/>
              <a:ext cx="124099" cy="201067"/>
            </a:xfrm>
            <a:custGeom>
              <a:avLst/>
              <a:gdLst/>
              <a:ahLst/>
              <a:cxnLst>
                <a:cxn ang="3cd4">
                  <a:pos x="hc" y="t"/>
                </a:cxn>
                <a:cxn ang="cd2">
                  <a:pos x="l" y="vc"/>
                </a:cxn>
                <a:cxn ang="cd4">
                  <a:pos x="hc" y="b"/>
                </a:cxn>
                <a:cxn ang="0">
                  <a:pos x="r" y="vc"/>
                </a:cxn>
              </a:cxnLst>
              <a:rect l="l" t="t" r="r" b="b"/>
              <a:pathLst>
                <a:path w="654" h="1059">
                  <a:moveTo>
                    <a:pt x="337" y="53"/>
                  </a:moveTo>
                  <a:cubicBezTo>
                    <a:pt x="276" y="108"/>
                    <a:pt x="233" y="167"/>
                    <a:pt x="204" y="230"/>
                  </a:cubicBezTo>
                  <a:lnTo>
                    <a:pt x="201" y="233"/>
                  </a:lnTo>
                  <a:cubicBezTo>
                    <a:pt x="201" y="233"/>
                    <a:pt x="199" y="236"/>
                    <a:pt x="183" y="262"/>
                  </a:cubicBezTo>
                  <a:lnTo>
                    <a:pt x="125" y="368"/>
                  </a:lnTo>
                  <a:cubicBezTo>
                    <a:pt x="43" y="564"/>
                    <a:pt x="0" y="710"/>
                    <a:pt x="0" y="808"/>
                  </a:cubicBezTo>
                  <a:lnTo>
                    <a:pt x="0" y="826"/>
                  </a:lnTo>
                  <a:cubicBezTo>
                    <a:pt x="0" y="861"/>
                    <a:pt x="21" y="900"/>
                    <a:pt x="66" y="945"/>
                  </a:cubicBezTo>
                  <a:cubicBezTo>
                    <a:pt x="109" y="1019"/>
                    <a:pt x="159" y="1059"/>
                    <a:pt x="220" y="1059"/>
                  </a:cubicBezTo>
                  <a:cubicBezTo>
                    <a:pt x="268" y="1049"/>
                    <a:pt x="294" y="1038"/>
                    <a:pt x="294" y="1030"/>
                  </a:cubicBezTo>
                  <a:cubicBezTo>
                    <a:pt x="339" y="998"/>
                    <a:pt x="360" y="977"/>
                    <a:pt x="360" y="964"/>
                  </a:cubicBezTo>
                  <a:cubicBezTo>
                    <a:pt x="432" y="874"/>
                    <a:pt x="477" y="800"/>
                    <a:pt x="501" y="739"/>
                  </a:cubicBezTo>
                  <a:lnTo>
                    <a:pt x="501" y="733"/>
                  </a:lnTo>
                  <a:lnTo>
                    <a:pt x="485" y="720"/>
                  </a:lnTo>
                  <a:lnTo>
                    <a:pt x="469" y="733"/>
                  </a:lnTo>
                  <a:cubicBezTo>
                    <a:pt x="392" y="845"/>
                    <a:pt x="310" y="924"/>
                    <a:pt x="220" y="972"/>
                  </a:cubicBezTo>
                  <a:cubicBezTo>
                    <a:pt x="204" y="972"/>
                    <a:pt x="191" y="961"/>
                    <a:pt x="183" y="943"/>
                  </a:cubicBezTo>
                  <a:cubicBezTo>
                    <a:pt x="183" y="813"/>
                    <a:pt x="233" y="641"/>
                    <a:pt x="331" y="421"/>
                  </a:cubicBezTo>
                  <a:lnTo>
                    <a:pt x="382" y="424"/>
                  </a:lnTo>
                  <a:cubicBezTo>
                    <a:pt x="382" y="424"/>
                    <a:pt x="411" y="426"/>
                    <a:pt x="440" y="416"/>
                  </a:cubicBezTo>
                  <a:lnTo>
                    <a:pt x="530" y="379"/>
                  </a:lnTo>
                  <a:cubicBezTo>
                    <a:pt x="588" y="349"/>
                    <a:pt x="628" y="299"/>
                    <a:pt x="654" y="230"/>
                  </a:cubicBezTo>
                  <a:lnTo>
                    <a:pt x="654" y="159"/>
                  </a:lnTo>
                  <a:cubicBezTo>
                    <a:pt x="646" y="111"/>
                    <a:pt x="577" y="58"/>
                    <a:pt x="448" y="0"/>
                  </a:cubicBezTo>
                  <a:lnTo>
                    <a:pt x="411" y="0"/>
                  </a:lnTo>
                  <a:close/>
                  <a:moveTo>
                    <a:pt x="374" y="349"/>
                  </a:moveTo>
                  <a:cubicBezTo>
                    <a:pt x="453" y="244"/>
                    <a:pt x="506" y="191"/>
                    <a:pt x="535" y="191"/>
                  </a:cubicBezTo>
                  <a:lnTo>
                    <a:pt x="543" y="191"/>
                  </a:lnTo>
                  <a:lnTo>
                    <a:pt x="551" y="196"/>
                  </a:lnTo>
                  <a:cubicBezTo>
                    <a:pt x="498" y="310"/>
                    <a:pt x="448" y="368"/>
                    <a:pt x="405" y="368"/>
                  </a:cubicBezTo>
                  <a:lnTo>
                    <a:pt x="376" y="355"/>
                  </a:lnTo>
                  <a:lnTo>
                    <a:pt x="376" y="3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 name="Freeform: Shape 6"/>
            <p:cNvSpPr/>
            <p:nvPr/>
          </p:nvSpPr>
          <p:spPr>
            <a:xfrm>
              <a:off x="1741456" y="4718660"/>
              <a:ext cx="122009" cy="137212"/>
            </a:xfrm>
            <a:custGeom>
              <a:avLst/>
              <a:gdLst/>
              <a:ahLst/>
              <a:cxnLst>
                <a:cxn ang="3cd4">
                  <a:pos x="hc" y="t"/>
                </a:cxn>
                <a:cxn ang="cd2">
                  <a:pos x="l" y="vc"/>
                </a:cxn>
                <a:cxn ang="cd4">
                  <a:pos x="hc" y="b"/>
                </a:cxn>
                <a:cxn ang="0">
                  <a:pos x="r" y="vc"/>
                </a:cxn>
              </a:cxnLst>
              <a:rect l="l" t="t" r="r" b="b"/>
              <a:pathLst>
                <a:path w="643" h="723">
                  <a:moveTo>
                    <a:pt x="495" y="442"/>
                  </a:moveTo>
                  <a:cubicBezTo>
                    <a:pt x="490" y="495"/>
                    <a:pt x="455" y="598"/>
                    <a:pt x="339" y="598"/>
                  </a:cubicBezTo>
                  <a:cubicBezTo>
                    <a:pt x="233" y="598"/>
                    <a:pt x="151" y="522"/>
                    <a:pt x="151" y="363"/>
                  </a:cubicBezTo>
                  <a:cubicBezTo>
                    <a:pt x="151" y="220"/>
                    <a:pt x="222" y="127"/>
                    <a:pt x="339" y="127"/>
                  </a:cubicBezTo>
                  <a:cubicBezTo>
                    <a:pt x="434" y="127"/>
                    <a:pt x="482" y="199"/>
                    <a:pt x="490" y="249"/>
                  </a:cubicBezTo>
                  <a:lnTo>
                    <a:pt x="635" y="249"/>
                  </a:lnTo>
                  <a:cubicBezTo>
                    <a:pt x="627" y="161"/>
                    <a:pt x="559" y="0"/>
                    <a:pt x="339" y="0"/>
                  </a:cubicBezTo>
                  <a:cubicBezTo>
                    <a:pt x="130" y="0"/>
                    <a:pt x="0" y="156"/>
                    <a:pt x="0" y="360"/>
                  </a:cubicBezTo>
                  <a:cubicBezTo>
                    <a:pt x="0" y="577"/>
                    <a:pt x="140" y="723"/>
                    <a:pt x="339" y="723"/>
                  </a:cubicBezTo>
                  <a:cubicBezTo>
                    <a:pt x="566" y="723"/>
                    <a:pt x="638" y="537"/>
                    <a:pt x="643" y="439"/>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2" name="Freeform: Shape 7"/>
            <p:cNvSpPr/>
            <p:nvPr/>
          </p:nvSpPr>
          <p:spPr>
            <a:xfrm>
              <a:off x="1876198" y="4721701"/>
              <a:ext cx="27556" cy="23375"/>
            </a:xfrm>
            <a:custGeom>
              <a:avLst/>
              <a:gdLst/>
              <a:ahLst/>
              <a:cxnLst>
                <a:cxn ang="3cd4">
                  <a:pos x="hc" y="t"/>
                </a:cxn>
                <a:cxn ang="cd2">
                  <a:pos x="l" y="vc"/>
                </a:cxn>
                <a:cxn ang="cd4">
                  <a:pos x="hc" y="b"/>
                </a:cxn>
                <a:cxn ang="0">
                  <a:pos x="r" y="vc"/>
                </a:cxn>
              </a:cxnLst>
              <a:rect l="l" t="t" r="r" b="b"/>
              <a:pathLst>
                <a:path w="146" h="124">
                  <a:moveTo>
                    <a:pt x="73" y="124"/>
                  </a:moveTo>
                  <a:lnTo>
                    <a:pt x="0" y="124"/>
                  </a:lnTo>
                  <a:lnTo>
                    <a:pt x="0" y="0"/>
                  </a:lnTo>
                  <a:lnTo>
                    <a:pt x="146" y="0"/>
                  </a:lnTo>
                  <a:lnTo>
                    <a:pt x="146" y="12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Shape 8"/>
            <p:cNvSpPr/>
            <p:nvPr/>
          </p:nvSpPr>
          <p:spPr>
            <a:xfrm>
              <a:off x="1876198" y="4757809"/>
              <a:ext cx="27556" cy="95022"/>
            </a:xfrm>
            <a:custGeom>
              <a:avLst/>
              <a:gdLst/>
              <a:ahLst/>
              <a:cxnLst>
                <a:cxn ang="3cd4">
                  <a:pos x="hc" y="t"/>
                </a:cxn>
                <a:cxn ang="cd2">
                  <a:pos x="l" y="vc"/>
                </a:cxn>
                <a:cxn ang="cd4">
                  <a:pos x="hc" y="b"/>
                </a:cxn>
                <a:cxn ang="0">
                  <a:pos x="r" y="vc"/>
                </a:cxn>
              </a:cxnLst>
              <a:rect l="l" t="t" r="r" b="b"/>
              <a:pathLst>
                <a:path w="146" h="501">
                  <a:moveTo>
                    <a:pt x="73" y="501"/>
                  </a:moveTo>
                  <a:lnTo>
                    <a:pt x="0" y="501"/>
                  </a:lnTo>
                  <a:lnTo>
                    <a:pt x="0" y="0"/>
                  </a:lnTo>
                  <a:lnTo>
                    <a:pt x="146" y="0"/>
                  </a:lnTo>
                  <a:lnTo>
                    <a:pt x="146" y="50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Shape 9"/>
            <p:cNvSpPr/>
            <p:nvPr/>
          </p:nvSpPr>
          <p:spPr>
            <a:xfrm>
              <a:off x="1914967" y="4755338"/>
              <a:ext cx="90461" cy="100533"/>
            </a:xfrm>
            <a:custGeom>
              <a:avLst/>
              <a:gdLst/>
              <a:ahLst/>
              <a:cxnLst>
                <a:cxn ang="3cd4">
                  <a:pos x="hc" y="t"/>
                </a:cxn>
                <a:cxn ang="cd2">
                  <a:pos x="l" y="vc"/>
                </a:cxn>
                <a:cxn ang="cd4">
                  <a:pos x="hc" y="b"/>
                </a:cxn>
                <a:cxn ang="0">
                  <a:pos x="r" y="vc"/>
                </a:cxn>
              </a:cxnLst>
              <a:rect l="l" t="t" r="r" b="b"/>
              <a:pathLst>
                <a:path w="477" h="530">
                  <a:moveTo>
                    <a:pt x="16" y="146"/>
                  </a:moveTo>
                  <a:cubicBezTo>
                    <a:pt x="16" y="252"/>
                    <a:pt x="109" y="284"/>
                    <a:pt x="162" y="297"/>
                  </a:cubicBezTo>
                  <a:cubicBezTo>
                    <a:pt x="175" y="299"/>
                    <a:pt x="212" y="310"/>
                    <a:pt x="225" y="313"/>
                  </a:cubicBezTo>
                  <a:cubicBezTo>
                    <a:pt x="278" y="326"/>
                    <a:pt x="326" y="337"/>
                    <a:pt x="326" y="379"/>
                  </a:cubicBezTo>
                  <a:cubicBezTo>
                    <a:pt x="326" y="408"/>
                    <a:pt x="294" y="432"/>
                    <a:pt x="236" y="432"/>
                  </a:cubicBezTo>
                  <a:cubicBezTo>
                    <a:pt x="178" y="432"/>
                    <a:pt x="143" y="403"/>
                    <a:pt x="138" y="352"/>
                  </a:cubicBezTo>
                  <a:lnTo>
                    <a:pt x="0" y="352"/>
                  </a:lnTo>
                  <a:cubicBezTo>
                    <a:pt x="6" y="405"/>
                    <a:pt x="35" y="530"/>
                    <a:pt x="236" y="530"/>
                  </a:cubicBezTo>
                  <a:cubicBezTo>
                    <a:pt x="424" y="530"/>
                    <a:pt x="477" y="427"/>
                    <a:pt x="477" y="368"/>
                  </a:cubicBezTo>
                  <a:cubicBezTo>
                    <a:pt x="477" y="302"/>
                    <a:pt x="435" y="246"/>
                    <a:pt x="310" y="215"/>
                  </a:cubicBezTo>
                  <a:cubicBezTo>
                    <a:pt x="302" y="212"/>
                    <a:pt x="262" y="204"/>
                    <a:pt x="247" y="199"/>
                  </a:cubicBezTo>
                  <a:cubicBezTo>
                    <a:pt x="183" y="183"/>
                    <a:pt x="165" y="172"/>
                    <a:pt x="165" y="141"/>
                  </a:cubicBezTo>
                  <a:cubicBezTo>
                    <a:pt x="165" y="111"/>
                    <a:pt x="196" y="98"/>
                    <a:pt x="231" y="98"/>
                  </a:cubicBezTo>
                  <a:cubicBezTo>
                    <a:pt x="310" y="98"/>
                    <a:pt x="326" y="138"/>
                    <a:pt x="326" y="162"/>
                  </a:cubicBezTo>
                  <a:lnTo>
                    <a:pt x="464" y="162"/>
                  </a:lnTo>
                  <a:cubicBezTo>
                    <a:pt x="464" y="109"/>
                    <a:pt x="427" y="0"/>
                    <a:pt x="231" y="0"/>
                  </a:cubicBezTo>
                  <a:cubicBezTo>
                    <a:pt x="74" y="0"/>
                    <a:pt x="16" y="80"/>
                    <a:pt x="16" y="146"/>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Shape 10"/>
            <p:cNvSpPr/>
            <p:nvPr/>
          </p:nvSpPr>
          <p:spPr>
            <a:xfrm>
              <a:off x="2012080" y="4755338"/>
              <a:ext cx="97493" cy="100533"/>
            </a:xfrm>
            <a:custGeom>
              <a:avLst/>
              <a:gdLst/>
              <a:ahLst/>
              <a:cxnLst>
                <a:cxn ang="3cd4">
                  <a:pos x="hc" y="t"/>
                </a:cxn>
                <a:cxn ang="cd2">
                  <a:pos x="l" y="vc"/>
                </a:cxn>
                <a:cxn ang="cd4">
                  <a:pos x="hc" y="b"/>
                </a:cxn>
                <a:cxn ang="0">
                  <a:pos x="r" y="vc"/>
                </a:cxn>
              </a:cxnLst>
              <a:rect l="l" t="t" r="r" b="b"/>
              <a:pathLst>
                <a:path w="514" h="530">
                  <a:moveTo>
                    <a:pt x="376" y="331"/>
                  </a:moveTo>
                  <a:cubicBezTo>
                    <a:pt x="366" y="379"/>
                    <a:pt x="334" y="424"/>
                    <a:pt x="270" y="424"/>
                  </a:cubicBezTo>
                  <a:cubicBezTo>
                    <a:pt x="191" y="424"/>
                    <a:pt x="151" y="355"/>
                    <a:pt x="151" y="265"/>
                  </a:cubicBezTo>
                  <a:cubicBezTo>
                    <a:pt x="151" y="196"/>
                    <a:pt x="178" y="103"/>
                    <a:pt x="270" y="103"/>
                  </a:cubicBezTo>
                  <a:cubicBezTo>
                    <a:pt x="329" y="103"/>
                    <a:pt x="363" y="143"/>
                    <a:pt x="371" y="188"/>
                  </a:cubicBezTo>
                  <a:lnTo>
                    <a:pt x="511" y="188"/>
                  </a:lnTo>
                  <a:cubicBezTo>
                    <a:pt x="503" y="109"/>
                    <a:pt x="445" y="0"/>
                    <a:pt x="268" y="0"/>
                  </a:cubicBezTo>
                  <a:cubicBezTo>
                    <a:pt x="112" y="0"/>
                    <a:pt x="0" y="103"/>
                    <a:pt x="0" y="265"/>
                  </a:cubicBezTo>
                  <a:cubicBezTo>
                    <a:pt x="0" y="427"/>
                    <a:pt x="109" y="530"/>
                    <a:pt x="268" y="530"/>
                  </a:cubicBezTo>
                  <a:cubicBezTo>
                    <a:pt x="453" y="530"/>
                    <a:pt x="506" y="413"/>
                    <a:pt x="514" y="334"/>
                  </a:cubicBezTo>
                  <a:lnTo>
                    <a:pt x="376" y="3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6" name="Freeform: Shape 11"/>
            <p:cNvSpPr/>
            <p:nvPr/>
          </p:nvSpPr>
          <p:spPr>
            <a:xfrm>
              <a:off x="2117744" y="4755338"/>
              <a:ext cx="101104" cy="100533"/>
            </a:xfrm>
            <a:custGeom>
              <a:avLst/>
              <a:gdLst/>
              <a:ahLst/>
              <a:cxnLst>
                <a:cxn ang="3cd4">
                  <a:pos x="hc" y="t"/>
                </a:cxn>
                <a:cxn ang="cd2">
                  <a:pos x="l" y="vc"/>
                </a:cxn>
                <a:cxn ang="cd4">
                  <a:pos x="hc" y="b"/>
                </a:cxn>
                <a:cxn ang="0">
                  <a:pos x="r" y="vc"/>
                </a:cxn>
              </a:cxnLst>
              <a:rect l="l" t="t" r="r" b="b"/>
              <a:pathLst>
                <a:path w="533" h="530">
                  <a:moveTo>
                    <a:pt x="268" y="0"/>
                  </a:moveTo>
                  <a:cubicBezTo>
                    <a:pt x="109" y="0"/>
                    <a:pt x="0" y="103"/>
                    <a:pt x="0" y="265"/>
                  </a:cubicBezTo>
                  <a:cubicBezTo>
                    <a:pt x="0" y="427"/>
                    <a:pt x="109" y="530"/>
                    <a:pt x="268" y="530"/>
                  </a:cubicBezTo>
                  <a:cubicBezTo>
                    <a:pt x="424" y="530"/>
                    <a:pt x="533" y="429"/>
                    <a:pt x="533" y="265"/>
                  </a:cubicBezTo>
                  <a:cubicBezTo>
                    <a:pt x="533" y="98"/>
                    <a:pt x="419" y="0"/>
                    <a:pt x="268" y="0"/>
                  </a:cubicBezTo>
                  <a:close/>
                  <a:moveTo>
                    <a:pt x="265" y="424"/>
                  </a:moveTo>
                  <a:cubicBezTo>
                    <a:pt x="188" y="424"/>
                    <a:pt x="146" y="355"/>
                    <a:pt x="146" y="265"/>
                  </a:cubicBezTo>
                  <a:cubicBezTo>
                    <a:pt x="149" y="196"/>
                    <a:pt x="175" y="103"/>
                    <a:pt x="265" y="103"/>
                  </a:cubicBezTo>
                  <a:cubicBezTo>
                    <a:pt x="347" y="103"/>
                    <a:pt x="382" y="183"/>
                    <a:pt x="382" y="265"/>
                  </a:cubicBezTo>
                  <a:cubicBezTo>
                    <a:pt x="382" y="347"/>
                    <a:pt x="347" y="424"/>
                    <a:pt x="265" y="42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2442163456"/>
      </p:ext>
    </p:extLst>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3_Segue">
    <p:spTree>
      <p:nvGrpSpPr>
        <p:cNvPr id="1" name=""/>
        <p:cNvGrpSpPr/>
        <p:nvPr/>
      </p:nvGrpSpPr>
      <p:grpSpPr>
        <a:xfrm>
          <a:off x="0" y="0"/>
          <a:ext cx="0" cy="0"/>
          <a:chOff x="0" y="0"/>
          <a:chExt cx="0" cy="0"/>
        </a:xfrm>
      </p:grpSpPr>
      <p:sp>
        <p:nvSpPr>
          <p:cNvPr id="14" name="Rectangle 13"/>
          <p:cNvSpPr/>
          <p:nvPr userDrawn="1"/>
        </p:nvSpPr>
        <p:spPr bwMode="auto">
          <a:xfrm>
            <a:off x="0" y="0"/>
            <a:ext cx="9143918" cy="5143500"/>
          </a:xfrm>
          <a:prstGeom prst="rect">
            <a:avLst/>
          </a:prstGeom>
          <a:solidFill>
            <a:srgbClr val="00BCEB"/>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a:solidFill>
                <a:srgbClr val="00BCEB"/>
              </a:solidFill>
              <a:ea typeface="Arial" pitchFamily="-107" charset="0"/>
              <a:cs typeface="Arial" pitchFamily="-107" charset="0"/>
              <a:sym typeface="Arial" pitchFamily="-107" charset="0"/>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20255" y="0"/>
            <a:ext cx="4823745" cy="5143500"/>
          </a:xfrm>
          <a:prstGeom prst="rect">
            <a:avLst/>
          </a:prstGeom>
        </p:spPr>
      </p:pic>
      <p:sp>
        <p:nvSpPr>
          <p:cNvPr id="8" name="Title 7"/>
          <p:cNvSpPr>
            <a:spLocks noGrp="1"/>
          </p:cNvSpPr>
          <p:nvPr>
            <p:ph type="title" hasCustomPrompt="1"/>
          </p:nvPr>
        </p:nvSpPr>
        <p:spPr bwMode="white">
          <a:xfrm>
            <a:off x="359051" y="2166220"/>
            <a:ext cx="4212949" cy="1142052"/>
          </a:xfrm>
        </p:spPr>
        <p:txBody>
          <a:bodyPr anchor="t"/>
          <a:lstStyle>
            <a:lvl1pPr marL="6251" indent="-6251" algn="l" defTabSz="914400" rtl="0" eaLnBrk="0" fontAlgn="base" latinLnBrk="0" hangingPunct="0">
              <a:lnSpc>
                <a:spcPct val="90000"/>
              </a:lnSpc>
              <a:spcBef>
                <a:spcPct val="0"/>
              </a:spcBef>
              <a:spcAft>
                <a:spcPct val="0"/>
              </a:spcAft>
              <a:defRPr lang="en-US" sz="4000" b="0" i="0" kern="1200" dirty="0">
                <a:solidFill>
                  <a:schemeClr val="bg1"/>
                </a:solidFill>
                <a:latin typeface="+mj-lt"/>
                <a:ea typeface="+mj-ea"/>
                <a:cs typeface="+mj-cs"/>
                <a:sym typeface="Arial" pitchFamily="34" charset="0"/>
              </a:defRPr>
            </a:lvl1pPr>
          </a:lstStyle>
          <a:p>
            <a:r>
              <a:rPr lang="en-US" dirty="0"/>
              <a:t>Segue Slide</a:t>
            </a:r>
          </a:p>
        </p:txBody>
      </p:sp>
      <p:sp>
        <p:nvSpPr>
          <p:cNvPr id="9"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rPr>
              <a:pPr/>
              <a:t>‹#›</a:t>
            </a:fld>
            <a:endParaRPr dirty="0">
              <a:solidFill>
                <a:srgbClr val="FFFFFF">
                  <a:alpha val="60000"/>
                </a:srgbClr>
              </a:solidFill>
            </a:endParaRPr>
          </a:p>
        </p:txBody>
      </p:sp>
      <p:grpSp>
        <p:nvGrpSpPr>
          <p:cNvPr id="11" name="Group 10"/>
          <p:cNvGrpSpPr/>
          <p:nvPr userDrawn="1"/>
        </p:nvGrpSpPr>
        <p:grpSpPr>
          <a:xfrm>
            <a:off x="454861" y="4785454"/>
            <a:ext cx="820227" cy="274319"/>
            <a:chOff x="1741456" y="4513412"/>
            <a:chExt cx="1027381" cy="343600"/>
          </a:xfrm>
          <a:solidFill>
            <a:schemeClr val="bg1"/>
          </a:solidFill>
        </p:grpSpPr>
        <p:sp>
          <p:nvSpPr>
            <p:cNvPr id="16" name="Freeform: Shape 1"/>
            <p:cNvSpPr/>
            <p:nvPr/>
          </p:nvSpPr>
          <p:spPr>
            <a:xfrm>
              <a:off x="2624973" y="4513412"/>
              <a:ext cx="143864" cy="343030"/>
            </a:xfrm>
            <a:custGeom>
              <a:avLst/>
              <a:gdLst/>
              <a:ahLst/>
              <a:cxnLst>
                <a:cxn ang="3cd4">
                  <a:pos x="hc" y="t"/>
                </a:cxn>
                <a:cxn ang="cd2">
                  <a:pos x="l" y="vc"/>
                </a:cxn>
                <a:cxn ang="cd4">
                  <a:pos x="hc" y="b"/>
                </a:cxn>
                <a:cxn ang="0">
                  <a:pos x="r" y="vc"/>
                </a:cxn>
              </a:cxnLst>
              <a:rect l="l" t="t" r="r" b="b"/>
              <a:pathLst>
                <a:path w="758" h="1806">
                  <a:moveTo>
                    <a:pt x="242" y="829"/>
                  </a:moveTo>
                  <a:cubicBezTo>
                    <a:pt x="215" y="896"/>
                    <a:pt x="204" y="941"/>
                    <a:pt x="204" y="964"/>
                  </a:cubicBezTo>
                  <a:cubicBezTo>
                    <a:pt x="183" y="999"/>
                    <a:pt x="175" y="1070"/>
                    <a:pt x="175" y="1097"/>
                  </a:cubicBezTo>
                  <a:lnTo>
                    <a:pt x="175" y="1129"/>
                  </a:lnTo>
                  <a:lnTo>
                    <a:pt x="223" y="1208"/>
                  </a:lnTo>
                  <a:cubicBezTo>
                    <a:pt x="250" y="1245"/>
                    <a:pt x="218" y="1258"/>
                    <a:pt x="292" y="1282"/>
                  </a:cubicBezTo>
                  <a:cubicBezTo>
                    <a:pt x="318" y="1282"/>
                    <a:pt x="340" y="1261"/>
                    <a:pt x="353" y="1221"/>
                  </a:cubicBezTo>
                  <a:lnTo>
                    <a:pt x="353" y="1208"/>
                  </a:lnTo>
                  <a:cubicBezTo>
                    <a:pt x="353" y="1113"/>
                    <a:pt x="387" y="978"/>
                    <a:pt x="419" y="888"/>
                  </a:cubicBezTo>
                  <a:cubicBezTo>
                    <a:pt x="419" y="845"/>
                    <a:pt x="456" y="718"/>
                    <a:pt x="588" y="406"/>
                  </a:cubicBezTo>
                  <a:cubicBezTo>
                    <a:pt x="588" y="371"/>
                    <a:pt x="618" y="308"/>
                    <a:pt x="678" y="210"/>
                  </a:cubicBezTo>
                  <a:cubicBezTo>
                    <a:pt x="729" y="125"/>
                    <a:pt x="742" y="138"/>
                    <a:pt x="758" y="128"/>
                  </a:cubicBezTo>
                  <a:lnTo>
                    <a:pt x="758" y="80"/>
                  </a:lnTo>
                  <a:lnTo>
                    <a:pt x="739" y="61"/>
                  </a:lnTo>
                  <a:cubicBezTo>
                    <a:pt x="739" y="61"/>
                    <a:pt x="721" y="43"/>
                    <a:pt x="671" y="22"/>
                  </a:cubicBezTo>
                  <a:cubicBezTo>
                    <a:pt x="671" y="22"/>
                    <a:pt x="620" y="0"/>
                    <a:pt x="604" y="0"/>
                  </a:cubicBezTo>
                  <a:cubicBezTo>
                    <a:pt x="588" y="0"/>
                    <a:pt x="557" y="32"/>
                    <a:pt x="530" y="93"/>
                  </a:cubicBezTo>
                  <a:close/>
                  <a:moveTo>
                    <a:pt x="14" y="1738"/>
                  </a:moveTo>
                  <a:cubicBezTo>
                    <a:pt x="14" y="1772"/>
                    <a:pt x="-18" y="1783"/>
                    <a:pt x="16" y="1806"/>
                  </a:cubicBezTo>
                  <a:lnTo>
                    <a:pt x="77" y="1806"/>
                  </a:lnTo>
                  <a:cubicBezTo>
                    <a:pt x="144" y="1775"/>
                    <a:pt x="167" y="1716"/>
                    <a:pt x="252" y="1528"/>
                  </a:cubicBezTo>
                  <a:lnTo>
                    <a:pt x="252" y="1486"/>
                  </a:lnTo>
                  <a:cubicBezTo>
                    <a:pt x="252" y="1460"/>
                    <a:pt x="273" y="1446"/>
                    <a:pt x="218" y="1412"/>
                  </a:cubicBezTo>
                  <a:lnTo>
                    <a:pt x="202" y="1412"/>
                  </a:lnTo>
                  <a:cubicBezTo>
                    <a:pt x="93" y="1409"/>
                    <a:pt x="67" y="1465"/>
                    <a:pt x="14" y="168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Shape 2"/>
            <p:cNvSpPr/>
            <p:nvPr/>
          </p:nvSpPr>
          <p:spPr>
            <a:xfrm>
              <a:off x="2244124" y="4551801"/>
              <a:ext cx="81339" cy="304261"/>
            </a:xfrm>
            <a:custGeom>
              <a:avLst/>
              <a:gdLst/>
              <a:ahLst/>
              <a:cxnLst>
                <a:cxn ang="3cd4">
                  <a:pos x="hc" y="t"/>
                </a:cxn>
                <a:cxn ang="cd2">
                  <a:pos x="l" y="vc"/>
                </a:cxn>
                <a:cxn ang="cd4">
                  <a:pos x="hc" y="b"/>
                </a:cxn>
                <a:cxn ang="0">
                  <a:pos x="r" y="vc"/>
                </a:cxn>
              </a:cxnLst>
              <a:rect l="l" t="t" r="r" b="b"/>
              <a:pathLst>
                <a:path w="429" h="1602">
                  <a:moveTo>
                    <a:pt x="244" y="1533"/>
                  </a:moveTo>
                  <a:cubicBezTo>
                    <a:pt x="209" y="1533"/>
                    <a:pt x="199" y="1483"/>
                    <a:pt x="183" y="1329"/>
                  </a:cubicBezTo>
                  <a:cubicBezTo>
                    <a:pt x="201" y="1064"/>
                    <a:pt x="223" y="884"/>
                    <a:pt x="241" y="789"/>
                  </a:cubicBezTo>
                  <a:cubicBezTo>
                    <a:pt x="323" y="384"/>
                    <a:pt x="307" y="458"/>
                    <a:pt x="366" y="320"/>
                  </a:cubicBezTo>
                  <a:cubicBezTo>
                    <a:pt x="424" y="180"/>
                    <a:pt x="429" y="161"/>
                    <a:pt x="429" y="119"/>
                  </a:cubicBezTo>
                  <a:cubicBezTo>
                    <a:pt x="429" y="71"/>
                    <a:pt x="376" y="32"/>
                    <a:pt x="268" y="0"/>
                  </a:cubicBezTo>
                  <a:lnTo>
                    <a:pt x="260" y="0"/>
                  </a:lnTo>
                  <a:lnTo>
                    <a:pt x="257" y="2"/>
                  </a:lnTo>
                  <a:cubicBezTo>
                    <a:pt x="257" y="2"/>
                    <a:pt x="254" y="5"/>
                    <a:pt x="241" y="63"/>
                  </a:cubicBezTo>
                  <a:lnTo>
                    <a:pt x="209" y="201"/>
                  </a:lnTo>
                  <a:cubicBezTo>
                    <a:pt x="130" y="535"/>
                    <a:pt x="127" y="564"/>
                    <a:pt x="109" y="614"/>
                  </a:cubicBezTo>
                  <a:cubicBezTo>
                    <a:pt x="-8" y="1138"/>
                    <a:pt x="0" y="1213"/>
                    <a:pt x="0" y="1340"/>
                  </a:cubicBezTo>
                  <a:cubicBezTo>
                    <a:pt x="5" y="1385"/>
                    <a:pt x="27" y="1432"/>
                    <a:pt x="66" y="1483"/>
                  </a:cubicBezTo>
                  <a:cubicBezTo>
                    <a:pt x="146" y="1562"/>
                    <a:pt x="212" y="1602"/>
                    <a:pt x="257" y="160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Shape 3"/>
            <p:cNvSpPr/>
            <p:nvPr/>
          </p:nvSpPr>
          <p:spPr>
            <a:xfrm>
              <a:off x="2307789" y="4611664"/>
              <a:ext cx="82479" cy="244587"/>
            </a:xfrm>
            <a:custGeom>
              <a:avLst/>
              <a:gdLst/>
              <a:ahLst/>
              <a:cxnLst>
                <a:cxn ang="3cd4">
                  <a:pos x="hc" y="t"/>
                </a:cxn>
                <a:cxn ang="cd2">
                  <a:pos x="l" y="vc"/>
                </a:cxn>
                <a:cxn ang="cd4">
                  <a:pos x="hc" y="b"/>
                </a:cxn>
                <a:cxn ang="0">
                  <a:pos x="r" y="vc"/>
                </a:cxn>
              </a:cxnLst>
              <a:rect l="l" t="t" r="r" b="b"/>
              <a:pathLst>
                <a:path w="435" h="1288">
                  <a:moveTo>
                    <a:pt x="270" y="204"/>
                  </a:moveTo>
                  <a:lnTo>
                    <a:pt x="294" y="212"/>
                  </a:lnTo>
                  <a:cubicBezTo>
                    <a:pt x="331" y="206"/>
                    <a:pt x="379" y="164"/>
                    <a:pt x="435" y="82"/>
                  </a:cubicBezTo>
                  <a:lnTo>
                    <a:pt x="432" y="71"/>
                  </a:lnTo>
                  <a:cubicBezTo>
                    <a:pt x="429" y="45"/>
                    <a:pt x="395" y="21"/>
                    <a:pt x="329" y="0"/>
                  </a:cubicBezTo>
                  <a:lnTo>
                    <a:pt x="321" y="0"/>
                  </a:lnTo>
                  <a:cubicBezTo>
                    <a:pt x="302" y="3"/>
                    <a:pt x="284" y="69"/>
                    <a:pt x="270" y="204"/>
                  </a:cubicBezTo>
                  <a:close/>
                  <a:moveTo>
                    <a:pt x="210" y="1218"/>
                  </a:moveTo>
                  <a:lnTo>
                    <a:pt x="199" y="1189"/>
                  </a:lnTo>
                  <a:cubicBezTo>
                    <a:pt x="194" y="1048"/>
                    <a:pt x="194" y="956"/>
                    <a:pt x="204" y="913"/>
                  </a:cubicBezTo>
                  <a:lnTo>
                    <a:pt x="194" y="884"/>
                  </a:lnTo>
                  <a:cubicBezTo>
                    <a:pt x="191" y="829"/>
                    <a:pt x="196" y="800"/>
                    <a:pt x="207" y="800"/>
                  </a:cubicBezTo>
                  <a:cubicBezTo>
                    <a:pt x="220" y="712"/>
                    <a:pt x="236" y="662"/>
                    <a:pt x="249" y="651"/>
                  </a:cubicBezTo>
                  <a:cubicBezTo>
                    <a:pt x="255" y="590"/>
                    <a:pt x="286" y="511"/>
                    <a:pt x="347" y="413"/>
                  </a:cubicBezTo>
                  <a:cubicBezTo>
                    <a:pt x="345" y="381"/>
                    <a:pt x="281" y="341"/>
                    <a:pt x="165" y="291"/>
                  </a:cubicBezTo>
                  <a:cubicBezTo>
                    <a:pt x="133" y="294"/>
                    <a:pt x="106" y="360"/>
                    <a:pt x="82" y="484"/>
                  </a:cubicBezTo>
                  <a:cubicBezTo>
                    <a:pt x="16" y="768"/>
                    <a:pt x="-10" y="969"/>
                    <a:pt x="3" y="1086"/>
                  </a:cubicBezTo>
                  <a:cubicBezTo>
                    <a:pt x="14" y="1168"/>
                    <a:pt x="24" y="1207"/>
                    <a:pt x="40" y="1207"/>
                  </a:cubicBezTo>
                  <a:cubicBezTo>
                    <a:pt x="96" y="1268"/>
                    <a:pt x="157" y="1295"/>
                    <a:pt x="225" y="128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9" name="Freeform: Shape 4"/>
            <p:cNvSpPr/>
            <p:nvPr/>
          </p:nvSpPr>
          <p:spPr>
            <a:xfrm>
              <a:off x="2387038" y="4639791"/>
              <a:ext cx="173891" cy="216270"/>
            </a:xfrm>
            <a:custGeom>
              <a:avLst/>
              <a:gdLst/>
              <a:ahLst/>
              <a:cxnLst>
                <a:cxn ang="3cd4">
                  <a:pos x="hc" y="t"/>
                </a:cxn>
                <a:cxn ang="cd2">
                  <a:pos x="l" y="vc"/>
                </a:cxn>
                <a:cxn ang="cd4">
                  <a:pos x="hc" y="b"/>
                </a:cxn>
                <a:cxn ang="0">
                  <a:pos x="r" y="vc"/>
                </a:cxn>
              </a:cxnLst>
              <a:rect l="l" t="t" r="r" b="b"/>
              <a:pathLst>
                <a:path w="916" h="1139">
                  <a:moveTo>
                    <a:pt x="871" y="172"/>
                  </a:moveTo>
                  <a:cubicBezTo>
                    <a:pt x="900" y="141"/>
                    <a:pt x="916" y="114"/>
                    <a:pt x="916" y="95"/>
                  </a:cubicBezTo>
                  <a:cubicBezTo>
                    <a:pt x="916" y="37"/>
                    <a:pt x="892" y="5"/>
                    <a:pt x="795" y="0"/>
                  </a:cubicBezTo>
                  <a:cubicBezTo>
                    <a:pt x="773" y="0"/>
                    <a:pt x="736" y="35"/>
                    <a:pt x="683" y="106"/>
                  </a:cubicBezTo>
                  <a:cubicBezTo>
                    <a:pt x="644" y="252"/>
                    <a:pt x="599" y="350"/>
                    <a:pt x="543" y="403"/>
                  </a:cubicBezTo>
                  <a:cubicBezTo>
                    <a:pt x="456" y="596"/>
                    <a:pt x="389" y="723"/>
                    <a:pt x="344" y="781"/>
                  </a:cubicBezTo>
                  <a:cubicBezTo>
                    <a:pt x="331" y="832"/>
                    <a:pt x="318" y="858"/>
                    <a:pt x="307" y="858"/>
                  </a:cubicBezTo>
                  <a:lnTo>
                    <a:pt x="305" y="858"/>
                  </a:lnTo>
                  <a:cubicBezTo>
                    <a:pt x="305" y="858"/>
                    <a:pt x="302" y="858"/>
                    <a:pt x="299" y="773"/>
                  </a:cubicBezTo>
                  <a:lnTo>
                    <a:pt x="294" y="569"/>
                  </a:lnTo>
                  <a:lnTo>
                    <a:pt x="302" y="498"/>
                  </a:lnTo>
                  <a:lnTo>
                    <a:pt x="286" y="416"/>
                  </a:lnTo>
                  <a:lnTo>
                    <a:pt x="294" y="397"/>
                  </a:lnTo>
                  <a:lnTo>
                    <a:pt x="278" y="363"/>
                  </a:lnTo>
                  <a:lnTo>
                    <a:pt x="286" y="339"/>
                  </a:lnTo>
                  <a:lnTo>
                    <a:pt x="286" y="334"/>
                  </a:lnTo>
                  <a:cubicBezTo>
                    <a:pt x="286" y="286"/>
                    <a:pt x="207" y="249"/>
                    <a:pt x="45" y="220"/>
                  </a:cubicBezTo>
                  <a:cubicBezTo>
                    <a:pt x="24" y="225"/>
                    <a:pt x="11" y="236"/>
                    <a:pt x="0" y="249"/>
                  </a:cubicBezTo>
                  <a:lnTo>
                    <a:pt x="0" y="260"/>
                  </a:lnTo>
                  <a:cubicBezTo>
                    <a:pt x="29" y="260"/>
                    <a:pt x="53" y="474"/>
                    <a:pt x="74" y="906"/>
                  </a:cubicBezTo>
                  <a:cubicBezTo>
                    <a:pt x="74" y="993"/>
                    <a:pt x="93" y="1049"/>
                    <a:pt x="133" y="1073"/>
                  </a:cubicBezTo>
                  <a:cubicBezTo>
                    <a:pt x="170" y="1115"/>
                    <a:pt x="215" y="1139"/>
                    <a:pt x="273" y="1139"/>
                  </a:cubicBezTo>
                  <a:lnTo>
                    <a:pt x="302" y="1139"/>
                  </a:lnTo>
                  <a:lnTo>
                    <a:pt x="305" y="1136"/>
                  </a:lnTo>
                  <a:cubicBezTo>
                    <a:pt x="305" y="1136"/>
                    <a:pt x="307" y="1134"/>
                    <a:pt x="342" y="1054"/>
                  </a:cubicBezTo>
                  <a:lnTo>
                    <a:pt x="432" y="848"/>
                  </a:lnTo>
                  <a:cubicBezTo>
                    <a:pt x="516" y="667"/>
                    <a:pt x="569" y="564"/>
                    <a:pt x="593" y="540"/>
                  </a:cubicBezTo>
                  <a:cubicBezTo>
                    <a:pt x="620" y="474"/>
                    <a:pt x="641" y="440"/>
                    <a:pt x="652" y="434"/>
                  </a:cubicBezTo>
                  <a:lnTo>
                    <a:pt x="654" y="434"/>
                  </a:lnTo>
                  <a:cubicBezTo>
                    <a:pt x="654" y="434"/>
                    <a:pt x="657" y="434"/>
                    <a:pt x="712" y="36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0" name="Freeform: Shape 5"/>
            <p:cNvSpPr/>
            <p:nvPr/>
          </p:nvSpPr>
          <p:spPr>
            <a:xfrm>
              <a:off x="2518358" y="4655945"/>
              <a:ext cx="124099" cy="201067"/>
            </a:xfrm>
            <a:custGeom>
              <a:avLst/>
              <a:gdLst/>
              <a:ahLst/>
              <a:cxnLst>
                <a:cxn ang="3cd4">
                  <a:pos x="hc" y="t"/>
                </a:cxn>
                <a:cxn ang="cd2">
                  <a:pos x="l" y="vc"/>
                </a:cxn>
                <a:cxn ang="cd4">
                  <a:pos x="hc" y="b"/>
                </a:cxn>
                <a:cxn ang="0">
                  <a:pos x="r" y="vc"/>
                </a:cxn>
              </a:cxnLst>
              <a:rect l="l" t="t" r="r" b="b"/>
              <a:pathLst>
                <a:path w="654" h="1059">
                  <a:moveTo>
                    <a:pt x="337" y="53"/>
                  </a:moveTo>
                  <a:cubicBezTo>
                    <a:pt x="276" y="108"/>
                    <a:pt x="233" y="167"/>
                    <a:pt x="204" y="230"/>
                  </a:cubicBezTo>
                  <a:lnTo>
                    <a:pt x="201" y="233"/>
                  </a:lnTo>
                  <a:cubicBezTo>
                    <a:pt x="201" y="233"/>
                    <a:pt x="199" y="236"/>
                    <a:pt x="183" y="262"/>
                  </a:cubicBezTo>
                  <a:lnTo>
                    <a:pt x="125" y="368"/>
                  </a:lnTo>
                  <a:cubicBezTo>
                    <a:pt x="43" y="564"/>
                    <a:pt x="0" y="710"/>
                    <a:pt x="0" y="808"/>
                  </a:cubicBezTo>
                  <a:lnTo>
                    <a:pt x="0" y="826"/>
                  </a:lnTo>
                  <a:cubicBezTo>
                    <a:pt x="0" y="861"/>
                    <a:pt x="21" y="900"/>
                    <a:pt x="66" y="945"/>
                  </a:cubicBezTo>
                  <a:cubicBezTo>
                    <a:pt x="109" y="1019"/>
                    <a:pt x="159" y="1059"/>
                    <a:pt x="220" y="1059"/>
                  </a:cubicBezTo>
                  <a:cubicBezTo>
                    <a:pt x="268" y="1049"/>
                    <a:pt x="294" y="1038"/>
                    <a:pt x="294" y="1030"/>
                  </a:cubicBezTo>
                  <a:cubicBezTo>
                    <a:pt x="339" y="998"/>
                    <a:pt x="360" y="977"/>
                    <a:pt x="360" y="964"/>
                  </a:cubicBezTo>
                  <a:cubicBezTo>
                    <a:pt x="432" y="874"/>
                    <a:pt x="477" y="800"/>
                    <a:pt x="501" y="739"/>
                  </a:cubicBezTo>
                  <a:lnTo>
                    <a:pt x="501" y="733"/>
                  </a:lnTo>
                  <a:lnTo>
                    <a:pt x="485" y="720"/>
                  </a:lnTo>
                  <a:lnTo>
                    <a:pt x="469" y="733"/>
                  </a:lnTo>
                  <a:cubicBezTo>
                    <a:pt x="392" y="845"/>
                    <a:pt x="310" y="924"/>
                    <a:pt x="220" y="972"/>
                  </a:cubicBezTo>
                  <a:cubicBezTo>
                    <a:pt x="204" y="972"/>
                    <a:pt x="191" y="961"/>
                    <a:pt x="183" y="943"/>
                  </a:cubicBezTo>
                  <a:cubicBezTo>
                    <a:pt x="183" y="813"/>
                    <a:pt x="233" y="641"/>
                    <a:pt x="331" y="421"/>
                  </a:cubicBezTo>
                  <a:lnTo>
                    <a:pt x="382" y="424"/>
                  </a:lnTo>
                  <a:cubicBezTo>
                    <a:pt x="382" y="424"/>
                    <a:pt x="411" y="426"/>
                    <a:pt x="440" y="416"/>
                  </a:cubicBezTo>
                  <a:lnTo>
                    <a:pt x="530" y="379"/>
                  </a:lnTo>
                  <a:cubicBezTo>
                    <a:pt x="588" y="349"/>
                    <a:pt x="628" y="299"/>
                    <a:pt x="654" y="230"/>
                  </a:cubicBezTo>
                  <a:lnTo>
                    <a:pt x="654" y="159"/>
                  </a:lnTo>
                  <a:cubicBezTo>
                    <a:pt x="646" y="111"/>
                    <a:pt x="577" y="58"/>
                    <a:pt x="448" y="0"/>
                  </a:cubicBezTo>
                  <a:lnTo>
                    <a:pt x="411" y="0"/>
                  </a:lnTo>
                  <a:close/>
                  <a:moveTo>
                    <a:pt x="374" y="349"/>
                  </a:moveTo>
                  <a:cubicBezTo>
                    <a:pt x="453" y="244"/>
                    <a:pt x="506" y="191"/>
                    <a:pt x="535" y="191"/>
                  </a:cubicBezTo>
                  <a:lnTo>
                    <a:pt x="543" y="191"/>
                  </a:lnTo>
                  <a:lnTo>
                    <a:pt x="551" y="196"/>
                  </a:lnTo>
                  <a:cubicBezTo>
                    <a:pt x="498" y="310"/>
                    <a:pt x="448" y="368"/>
                    <a:pt x="405" y="368"/>
                  </a:cubicBezTo>
                  <a:lnTo>
                    <a:pt x="376" y="355"/>
                  </a:lnTo>
                  <a:lnTo>
                    <a:pt x="376" y="3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 name="Freeform: Shape 6"/>
            <p:cNvSpPr/>
            <p:nvPr/>
          </p:nvSpPr>
          <p:spPr>
            <a:xfrm>
              <a:off x="1741456" y="4718660"/>
              <a:ext cx="122009" cy="137212"/>
            </a:xfrm>
            <a:custGeom>
              <a:avLst/>
              <a:gdLst/>
              <a:ahLst/>
              <a:cxnLst>
                <a:cxn ang="3cd4">
                  <a:pos x="hc" y="t"/>
                </a:cxn>
                <a:cxn ang="cd2">
                  <a:pos x="l" y="vc"/>
                </a:cxn>
                <a:cxn ang="cd4">
                  <a:pos x="hc" y="b"/>
                </a:cxn>
                <a:cxn ang="0">
                  <a:pos x="r" y="vc"/>
                </a:cxn>
              </a:cxnLst>
              <a:rect l="l" t="t" r="r" b="b"/>
              <a:pathLst>
                <a:path w="643" h="723">
                  <a:moveTo>
                    <a:pt x="495" y="442"/>
                  </a:moveTo>
                  <a:cubicBezTo>
                    <a:pt x="490" y="495"/>
                    <a:pt x="455" y="598"/>
                    <a:pt x="339" y="598"/>
                  </a:cubicBezTo>
                  <a:cubicBezTo>
                    <a:pt x="233" y="598"/>
                    <a:pt x="151" y="522"/>
                    <a:pt x="151" y="363"/>
                  </a:cubicBezTo>
                  <a:cubicBezTo>
                    <a:pt x="151" y="220"/>
                    <a:pt x="222" y="127"/>
                    <a:pt x="339" y="127"/>
                  </a:cubicBezTo>
                  <a:cubicBezTo>
                    <a:pt x="434" y="127"/>
                    <a:pt x="482" y="199"/>
                    <a:pt x="490" y="249"/>
                  </a:cubicBezTo>
                  <a:lnTo>
                    <a:pt x="635" y="249"/>
                  </a:lnTo>
                  <a:cubicBezTo>
                    <a:pt x="627" y="161"/>
                    <a:pt x="559" y="0"/>
                    <a:pt x="339" y="0"/>
                  </a:cubicBezTo>
                  <a:cubicBezTo>
                    <a:pt x="130" y="0"/>
                    <a:pt x="0" y="156"/>
                    <a:pt x="0" y="360"/>
                  </a:cubicBezTo>
                  <a:cubicBezTo>
                    <a:pt x="0" y="577"/>
                    <a:pt x="140" y="723"/>
                    <a:pt x="339" y="723"/>
                  </a:cubicBezTo>
                  <a:cubicBezTo>
                    <a:pt x="566" y="723"/>
                    <a:pt x="638" y="537"/>
                    <a:pt x="643" y="439"/>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2" name="Freeform: Shape 7"/>
            <p:cNvSpPr/>
            <p:nvPr/>
          </p:nvSpPr>
          <p:spPr>
            <a:xfrm>
              <a:off x="1876198" y="4721701"/>
              <a:ext cx="27556" cy="23375"/>
            </a:xfrm>
            <a:custGeom>
              <a:avLst/>
              <a:gdLst/>
              <a:ahLst/>
              <a:cxnLst>
                <a:cxn ang="3cd4">
                  <a:pos x="hc" y="t"/>
                </a:cxn>
                <a:cxn ang="cd2">
                  <a:pos x="l" y="vc"/>
                </a:cxn>
                <a:cxn ang="cd4">
                  <a:pos x="hc" y="b"/>
                </a:cxn>
                <a:cxn ang="0">
                  <a:pos x="r" y="vc"/>
                </a:cxn>
              </a:cxnLst>
              <a:rect l="l" t="t" r="r" b="b"/>
              <a:pathLst>
                <a:path w="146" h="124">
                  <a:moveTo>
                    <a:pt x="73" y="124"/>
                  </a:moveTo>
                  <a:lnTo>
                    <a:pt x="0" y="124"/>
                  </a:lnTo>
                  <a:lnTo>
                    <a:pt x="0" y="0"/>
                  </a:lnTo>
                  <a:lnTo>
                    <a:pt x="146" y="0"/>
                  </a:lnTo>
                  <a:lnTo>
                    <a:pt x="146" y="12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Shape 8"/>
            <p:cNvSpPr/>
            <p:nvPr/>
          </p:nvSpPr>
          <p:spPr>
            <a:xfrm>
              <a:off x="1876198" y="4757809"/>
              <a:ext cx="27556" cy="95022"/>
            </a:xfrm>
            <a:custGeom>
              <a:avLst/>
              <a:gdLst/>
              <a:ahLst/>
              <a:cxnLst>
                <a:cxn ang="3cd4">
                  <a:pos x="hc" y="t"/>
                </a:cxn>
                <a:cxn ang="cd2">
                  <a:pos x="l" y="vc"/>
                </a:cxn>
                <a:cxn ang="cd4">
                  <a:pos x="hc" y="b"/>
                </a:cxn>
                <a:cxn ang="0">
                  <a:pos x="r" y="vc"/>
                </a:cxn>
              </a:cxnLst>
              <a:rect l="l" t="t" r="r" b="b"/>
              <a:pathLst>
                <a:path w="146" h="501">
                  <a:moveTo>
                    <a:pt x="73" y="501"/>
                  </a:moveTo>
                  <a:lnTo>
                    <a:pt x="0" y="501"/>
                  </a:lnTo>
                  <a:lnTo>
                    <a:pt x="0" y="0"/>
                  </a:lnTo>
                  <a:lnTo>
                    <a:pt x="146" y="0"/>
                  </a:lnTo>
                  <a:lnTo>
                    <a:pt x="146" y="50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Shape 9"/>
            <p:cNvSpPr/>
            <p:nvPr/>
          </p:nvSpPr>
          <p:spPr>
            <a:xfrm>
              <a:off x="1914967" y="4755338"/>
              <a:ext cx="90461" cy="100533"/>
            </a:xfrm>
            <a:custGeom>
              <a:avLst/>
              <a:gdLst/>
              <a:ahLst/>
              <a:cxnLst>
                <a:cxn ang="3cd4">
                  <a:pos x="hc" y="t"/>
                </a:cxn>
                <a:cxn ang="cd2">
                  <a:pos x="l" y="vc"/>
                </a:cxn>
                <a:cxn ang="cd4">
                  <a:pos x="hc" y="b"/>
                </a:cxn>
                <a:cxn ang="0">
                  <a:pos x="r" y="vc"/>
                </a:cxn>
              </a:cxnLst>
              <a:rect l="l" t="t" r="r" b="b"/>
              <a:pathLst>
                <a:path w="477" h="530">
                  <a:moveTo>
                    <a:pt x="16" y="146"/>
                  </a:moveTo>
                  <a:cubicBezTo>
                    <a:pt x="16" y="252"/>
                    <a:pt x="109" y="284"/>
                    <a:pt x="162" y="297"/>
                  </a:cubicBezTo>
                  <a:cubicBezTo>
                    <a:pt x="175" y="299"/>
                    <a:pt x="212" y="310"/>
                    <a:pt x="225" y="313"/>
                  </a:cubicBezTo>
                  <a:cubicBezTo>
                    <a:pt x="278" y="326"/>
                    <a:pt x="326" y="337"/>
                    <a:pt x="326" y="379"/>
                  </a:cubicBezTo>
                  <a:cubicBezTo>
                    <a:pt x="326" y="408"/>
                    <a:pt x="294" y="432"/>
                    <a:pt x="236" y="432"/>
                  </a:cubicBezTo>
                  <a:cubicBezTo>
                    <a:pt x="178" y="432"/>
                    <a:pt x="143" y="403"/>
                    <a:pt x="138" y="352"/>
                  </a:cubicBezTo>
                  <a:lnTo>
                    <a:pt x="0" y="352"/>
                  </a:lnTo>
                  <a:cubicBezTo>
                    <a:pt x="6" y="405"/>
                    <a:pt x="35" y="530"/>
                    <a:pt x="236" y="530"/>
                  </a:cubicBezTo>
                  <a:cubicBezTo>
                    <a:pt x="424" y="530"/>
                    <a:pt x="477" y="427"/>
                    <a:pt x="477" y="368"/>
                  </a:cubicBezTo>
                  <a:cubicBezTo>
                    <a:pt x="477" y="302"/>
                    <a:pt x="435" y="246"/>
                    <a:pt x="310" y="215"/>
                  </a:cubicBezTo>
                  <a:cubicBezTo>
                    <a:pt x="302" y="212"/>
                    <a:pt x="262" y="204"/>
                    <a:pt x="247" y="199"/>
                  </a:cubicBezTo>
                  <a:cubicBezTo>
                    <a:pt x="183" y="183"/>
                    <a:pt x="165" y="172"/>
                    <a:pt x="165" y="141"/>
                  </a:cubicBezTo>
                  <a:cubicBezTo>
                    <a:pt x="165" y="111"/>
                    <a:pt x="196" y="98"/>
                    <a:pt x="231" y="98"/>
                  </a:cubicBezTo>
                  <a:cubicBezTo>
                    <a:pt x="310" y="98"/>
                    <a:pt x="326" y="138"/>
                    <a:pt x="326" y="162"/>
                  </a:cubicBezTo>
                  <a:lnTo>
                    <a:pt x="464" y="162"/>
                  </a:lnTo>
                  <a:cubicBezTo>
                    <a:pt x="464" y="109"/>
                    <a:pt x="427" y="0"/>
                    <a:pt x="231" y="0"/>
                  </a:cubicBezTo>
                  <a:cubicBezTo>
                    <a:pt x="74" y="0"/>
                    <a:pt x="16" y="80"/>
                    <a:pt x="16" y="146"/>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Shape 10"/>
            <p:cNvSpPr/>
            <p:nvPr/>
          </p:nvSpPr>
          <p:spPr>
            <a:xfrm>
              <a:off x="2012080" y="4755338"/>
              <a:ext cx="97493" cy="100533"/>
            </a:xfrm>
            <a:custGeom>
              <a:avLst/>
              <a:gdLst/>
              <a:ahLst/>
              <a:cxnLst>
                <a:cxn ang="3cd4">
                  <a:pos x="hc" y="t"/>
                </a:cxn>
                <a:cxn ang="cd2">
                  <a:pos x="l" y="vc"/>
                </a:cxn>
                <a:cxn ang="cd4">
                  <a:pos x="hc" y="b"/>
                </a:cxn>
                <a:cxn ang="0">
                  <a:pos x="r" y="vc"/>
                </a:cxn>
              </a:cxnLst>
              <a:rect l="l" t="t" r="r" b="b"/>
              <a:pathLst>
                <a:path w="514" h="530">
                  <a:moveTo>
                    <a:pt x="376" y="331"/>
                  </a:moveTo>
                  <a:cubicBezTo>
                    <a:pt x="366" y="379"/>
                    <a:pt x="334" y="424"/>
                    <a:pt x="270" y="424"/>
                  </a:cubicBezTo>
                  <a:cubicBezTo>
                    <a:pt x="191" y="424"/>
                    <a:pt x="151" y="355"/>
                    <a:pt x="151" y="265"/>
                  </a:cubicBezTo>
                  <a:cubicBezTo>
                    <a:pt x="151" y="196"/>
                    <a:pt x="178" y="103"/>
                    <a:pt x="270" y="103"/>
                  </a:cubicBezTo>
                  <a:cubicBezTo>
                    <a:pt x="329" y="103"/>
                    <a:pt x="363" y="143"/>
                    <a:pt x="371" y="188"/>
                  </a:cubicBezTo>
                  <a:lnTo>
                    <a:pt x="511" y="188"/>
                  </a:lnTo>
                  <a:cubicBezTo>
                    <a:pt x="503" y="109"/>
                    <a:pt x="445" y="0"/>
                    <a:pt x="268" y="0"/>
                  </a:cubicBezTo>
                  <a:cubicBezTo>
                    <a:pt x="112" y="0"/>
                    <a:pt x="0" y="103"/>
                    <a:pt x="0" y="265"/>
                  </a:cubicBezTo>
                  <a:cubicBezTo>
                    <a:pt x="0" y="427"/>
                    <a:pt x="109" y="530"/>
                    <a:pt x="268" y="530"/>
                  </a:cubicBezTo>
                  <a:cubicBezTo>
                    <a:pt x="453" y="530"/>
                    <a:pt x="506" y="413"/>
                    <a:pt x="514" y="334"/>
                  </a:cubicBezTo>
                  <a:lnTo>
                    <a:pt x="376" y="3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6" name="Freeform: Shape 11"/>
            <p:cNvSpPr/>
            <p:nvPr/>
          </p:nvSpPr>
          <p:spPr>
            <a:xfrm>
              <a:off x="2117744" y="4755338"/>
              <a:ext cx="101104" cy="100533"/>
            </a:xfrm>
            <a:custGeom>
              <a:avLst/>
              <a:gdLst/>
              <a:ahLst/>
              <a:cxnLst>
                <a:cxn ang="3cd4">
                  <a:pos x="hc" y="t"/>
                </a:cxn>
                <a:cxn ang="cd2">
                  <a:pos x="l" y="vc"/>
                </a:cxn>
                <a:cxn ang="cd4">
                  <a:pos x="hc" y="b"/>
                </a:cxn>
                <a:cxn ang="0">
                  <a:pos x="r" y="vc"/>
                </a:cxn>
              </a:cxnLst>
              <a:rect l="l" t="t" r="r" b="b"/>
              <a:pathLst>
                <a:path w="533" h="530">
                  <a:moveTo>
                    <a:pt x="268" y="0"/>
                  </a:moveTo>
                  <a:cubicBezTo>
                    <a:pt x="109" y="0"/>
                    <a:pt x="0" y="103"/>
                    <a:pt x="0" y="265"/>
                  </a:cubicBezTo>
                  <a:cubicBezTo>
                    <a:pt x="0" y="427"/>
                    <a:pt x="109" y="530"/>
                    <a:pt x="268" y="530"/>
                  </a:cubicBezTo>
                  <a:cubicBezTo>
                    <a:pt x="424" y="530"/>
                    <a:pt x="533" y="429"/>
                    <a:pt x="533" y="265"/>
                  </a:cubicBezTo>
                  <a:cubicBezTo>
                    <a:pt x="533" y="98"/>
                    <a:pt x="419" y="0"/>
                    <a:pt x="268" y="0"/>
                  </a:cubicBezTo>
                  <a:close/>
                  <a:moveTo>
                    <a:pt x="265" y="424"/>
                  </a:moveTo>
                  <a:cubicBezTo>
                    <a:pt x="188" y="424"/>
                    <a:pt x="146" y="355"/>
                    <a:pt x="146" y="265"/>
                  </a:cubicBezTo>
                  <a:cubicBezTo>
                    <a:pt x="149" y="196"/>
                    <a:pt x="175" y="103"/>
                    <a:pt x="265" y="103"/>
                  </a:cubicBezTo>
                  <a:cubicBezTo>
                    <a:pt x="347" y="103"/>
                    <a:pt x="382" y="183"/>
                    <a:pt x="382" y="265"/>
                  </a:cubicBezTo>
                  <a:cubicBezTo>
                    <a:pt x="382" y="347"/>
                    <a:pt x="347" y="424"/>
                    <a:pt x="265" y="42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1082113484"/>
      </p:ext>
    </p:extLst>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Segue 4">
    <p:spTree>
      <p:nvGrpSpPr>
        <p:cNvPr id="1" name=""/>
        <p:cNvGrpSpPr/>
        <p:nvPr/>
      </p:nvGrpSpPr>
      <p:grpSpPr>
        <a:xfrm>
          <a:off x="0" y="0"/>
          <a:ext cx="0" cy="0"/>
          <a:chOff x="0" y="0"/>
          <a:chExt cx="0" cy="0"/>
        </a:xfrm>
      </p:grpSpPr>
      <p:sp>
        <p:nvSpPr>
          <p:cNvPr id="11" name="Rectangle 10"/>
          <p:cNvSpPr/>
          <p:nvPr userDrawn="1"/>
        </p:nvSpPr>
        <p:spPr bwMode="auto">
          <a:xfrm>
            <a:off x="0" y="0"/>
            <a:ext cx="9143918" cy="5143500"/>
          </a:xfrm>
          <a:prstGeom prst="rect">
            <a:avLst/>
          </a:prstGeom>
          <a:solidFill>
            <a:srgbClr val="00BCEB"/>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a:solidFill>
                <a:srgbClr val="00BCEB"/>
              </a:solidFill>
              <a:ea typeface="Arial" pitchFamily="-107" charset="0"/>
              <a:cs typeface="Arial" pitchFamily="-107" charset="0"/>
              <a:sym typeface="Arial" pitchFamily="-107" charset="0"/>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7032" y="0"/>
            <a:ext cx="6446886" cy="5143500"/>
          </a:xfrm>
          <a:prstGeom prst="rect">
            <a:avLst/>
          </a:prstGeom>
        </p:spPr>
      </p:pic>
      <p:sp>
        <p:nvSpPr>
          <p:cNvPr id="8" name="Title 7"/>
          <p:cNvSpPr>
            <a:spLocks noGrp="1"/>
          </p:cNvSpPr>
          <p:nvPr>
            <p:ph type="title" hasCustomPrompt="1"/>
          </p:nvPr>
        </p:nvSpPr>
        <p:spPr bwMode="white">
          <a:xfrm>
            <a:off x="359051" y="2166220"/>
            <a:ext cx="3298549" cy="1142052"/>
          </a:xfrm>
        </p:spPr>
        <p:txBody>
          <a:bodyPr anchor="t"/>
          <a:lstStyle>
            <a:lvl1pPr marL="6251" indent="-6251" algn="l" defTabSz="914400" rtl="0" eaLnBrk="0" fontAlgn="base" latinLnBrk="0" hangingPunct="0">
              <a:lnSpc>
                <a:spcPct val="90000"/>
              </a:lnSpc>
              <a:spcBef>
                <a:spcPct val="0"/>
              </a:spcBef>
              <a:spcAft>
                <a:spcPct val="0"/>
              </a:spcAft>
              <a:defRPr lang="en-US" sz="4000" b="0" i="0" kern="1200" baseline="0" dirty="0">
                <a:solidFill>
                  <a:schemeClr val="bg1"/>
                </a:solidFill>
                <a:latin typeface="+mj-lt"/>
                <a:ea typeface="+mj-ea"/>
                <a:cs typeface="+mj-cs"/>
                <a:sym typeface="Arial" pitchFamily="34" charset="0"/>
              </a:defRPr>
            </a:lvl1pPr>
          </a:lstStyle>
          <a:p>
            <a:r>
              <a:rPr lang="en-US" dirty="0"/>
              <a:t>Segue Slide</a:t>
            </a:r>
          </a:p>
        </p:txBody>
      </p:sp>
      <p:sp>
        <p:nvSpPr>
          <p:cNvPr id="9"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rPr>
              <a:pPr/>
              <a:t>‹#›</a:t>
            </a:fld>
            <a:endParaRPr dirty="0">
              <a:solidFill>
                <a:srgbClr val="FFFFFF">
                  <a:alpha val="60000"/>
                </a:srgbClr>
              </a:solidFill>
            </a:endParaRPr>
          </a:p>
        </p:txBody>
      </p:sp>
      <p:grpSp>
        <p:nvGrpSpPr>
          <p:cNvPr id="15" name="Group 14"/>
          <p:cNvGrpSpPr/>
          <p:nvPr userDrawn="1"/>
        </p:nvGrpSpPr>
        <p:grpSpPr>
          <a:xfrm>
            <a:off x="454861" y="4785454"/>
            <a:ext cx="820227" cy="274319"/>
            <a:chOff x="1741456" y="4513412"/>
            <a:chExt cx="1027381" cy="343600"/>
          </a:xfrm>
          <a:solidFill>
            <a:schemeClr val="bg1"/>
          </a:solidFill>
        </p:grpSpPr>
        <p:sp>
          <p:nvSpPr>
            <p:cNvPr id="16" name="Freeform: Shape 1"/>
            <p:cNvSpPr/>
            <p:nvPr/>
          </p:nvSpPr>
          <p:spPr>
            <a:xfrm>
              <a:off x="2624973" y="4513412"/>
              <a:ext cx="143864" cy="343030"/>
            </a:xfrm>
            <a:custGeom>
              <a:avLst/>
              <a:gdLst/>
              <a:ahLst/>
              <a:cxnLst>
                <a:cxn ang="3cd4">
                  <a:pos x="hc" y="t"/>
                </a:cxn>
                <a:cxn ang="cd2">
                  <a:pos x="l" y="vc"/>
                </a:cxn>
                <a:cxn ang="cd4">
                  <a:pos x="hc" y="b"/>
                </a:cxn>
                <a:cxn ang="0">
                  <a:pos x="r" y="vc"/>
                </a:cxn>
              </a:cxnLst>
              <a:rect l="l" t="t" r="r" b="b"/>
              <a:pathLst>
                <a:path w="758" h="1806">
                  <a:moveTo>
                    <a:pt x="242" y="829"/>
                  </a:moveTo>
                  <a:cubicBezTo>
                    <a:pt x="215" y="896"/>
                    <a:pt x="204" y="941"/>
                    <a:pt x="204" y="964"/>
                  </a:cubicBezTo>
                  <a:cubicBezTo>
                    <a:pt x="183" y="999"/>
                    <a:pt x="175" y="1070"/>
                    <a:pt x="175" y="1097"/>
                  </a:cubicBezTo>
                  <a:lnTo>
                    <a:pt x="175" y="1129"/>
                  </a:lnTo>
                  <a:lnTo>
                    <a:pt x="223" y="1208"/>
                  </a:lnTo>
                  <a:cubicBezTo>
                    <a:pt x="250" y="1245"/>
                    <a:pt x="218" y="1258"/>
                    <a:pt x="292" y="1282"/>
                  </a:cubicBezTo>
                  <a:cubicBezTo>
                    <a:pt x="318" y="1282"/>
                    <a:pt x="340" y="1261"/>
                    <a:pt x="353" y="1221"/>
                  </a:cubicBezTo>
                  <a:lnTo>
                    <a:pt x="353" y="1208"/>
                  </a:lnTo>
                  <a:cubicBezTo>
                    <a:pt x="353" y="1113"/>
                    <a:pt x="387" y="978"/>
                    <a:pt x="419" y="888"/>
                  </a:cubicBezTo>
                  <a:cubicBezTo>
                    <a:pt x="419" y="845"/>
                    <a:pt x="456" y="718"/>
                    <a:pt x="588" y="406"/>
                  </a:cubicBezTo>
                  <a:cubicBezTo>
                    <a:pt x="588" y="371"/>
                    <a:pt x="618" y="308"/>
                    <a:pt x="678" y="210"/>
                  </a:cubicBezTo>
                  <a:cubicBezTo>
                    <a:pt x="729" y="125"/>
                    <a:pt x="742" y="138"/>
                    <a:pt x="758" y="128"/>
                  </a:cubicBezTo>
                  <a:lnTo>
                    <a:pt x="758" y="80"/>
                  </a:lnTo>
                  <a:lnTo>
                    <a:pt x="739" y="61"/>
                  </a:lnTo>
                  <a:cubicBezTo>
                    <a:pt x="739" y="61"/>
                    <a:pt x="721" y="43"/>
                    <a:pt x="671" y="22"/>
                  </a:cubicBezTo>
                  <a:cubicBezTo>
                    <a:pt x="671" y="22"/>
                    <a:pt x="620" y="0"/>
                    <a:pt x="604" y="0"/>
                  </a:cubicBezTo>
                  <a:cubicBezTo>
                    <a:pt x="588" y="0"/>
                    <a:pt x="557" y="32"/>
                    <a:pt x="530" y="93"/>
                  </a:cubicBezTo>
                  <a:close/>
                  <a:moveTo>
                    <a:pt x="14" y="1738"/>
                  </a:moveTo>
                  <a:cubicBezTo>
                    <a:pt x="14" y="1772"/>
                    <a:pt x="-18" y="1783"/>
                    <a:pt x="16" y="1806"/>
                  </a:cubicBezTo>
                  <a:lnTo>
                    <a:pt x="77" y="1806"/>
                  </a:lnTo>
                  <a:cubicBezTo>
                    <a:pt x="144" y="1775"/>
                    <a:pt x="167" y="1716"/>
                    <a:pt x="252" y="1528"/>
                  </a:cubicBezTo>
                  <a:lnTo>
                    <a:pt x="252" y="1486"/>
                  </a:lnTo>
                  <a:cubicBezTo>
                    <a:pt x="252" y="1460"/>
                    <a:pt x="273" y="1446"/>
                    <a:pt x="218" y="1412"/>
                  </a:cubicBezTo>
                  <a:lnTo>
                    <a:pt x="202" y="1412"/>
                  </a:lnTo>
                  <a:cubicBezTo>
                    <a:pt x="93" y="1409"/>
                    <a:pt x="67" y="1465"/>
                    <a:pt x="14" y="168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Shape 2"/>
            <p:cNvSpPr/>
            <p:nvPr/>
          </p:nvSpPr>
          <p:spPr>
            <a:xfrm>
              <a:off x="2244124" y="4551801"/>
              <a:ext cx="81339" cy="304261"/>
            </a:xfrm>
            <a:custGeom>
              <a:avLst/>
              <a:gdLst/>
              <a:ahLst/>
              <a:cxnLst>
                <a:cxn ang="3cd4">
                  <a:pos x="hc" y="t"/>
                </a:cxn>
                <a:cxn ang="cd2">
                  <a:pos x="l" y="vc"/>
                </a:cxn>
                <a:cxn ang="cd4">
                  <a:pos x="hc" y="b"/>
                </a:cxn>
                <a:cxn ang="0">
                  <a:pos x="r" y="vc"/>
                </a:cxn>
              </a:cxnLst>
              <a:rect l="l" t="t" r="r" b="b"/>
              <a:pathLst>
                <a:path w="429" h="1602">
                  <a:moveTo>
                    <a:pt x="244" y="1533"/>
                  </a:moveTo>
                  <a:cubicBezTo>
                    <a:pt x="209" y="1533"/>
                    <a:pt x="199" y="1483"/>
                    <a:pt x="183" y="1329"/>
                  </a:cubicBezTo>
                  <a:cubicBezTo>
                    <a:pt x="201" y="1064"/>
                    <a:pt x="223" y="884"/>
                    <a:pt x="241" y="789"/>
                  </a:cubicBezTo>
                  <a:cubicBezTo>
                    <a:pt x="323" y="384"/>
                    <a:pt x="307" y="458"/>
                    <a:pt x="366" y="320"/>
                  </a:cubicBezTo>
                  <a:cubicBezTo>
                    <a:pt x="424" y="180"/>
                    <a:pt x="429" y="161"/>
                    <a:pt x="429" y="119"/>
                  </a:cubicBezTo>
                  <a:cubicBezTo>
                    <a:pt x="429" y="71"/>
                    <a:pt x="376" y="32"/>
                    <a:pt x="268" y="0"/>
                  </a:cubicBezTo>
                  <a:lnTo>
                    <a:pt x="260" y="0"/>
                  </a:lnTo>
                  <a:lnTo>
                    <a:pt x="257" y="2"/>
                  </a:lnTo>
                  <a:cubicBezTo>
                    <a:pt x="257" y="2"/>
                    <a:pt x="254" y="5"/>
                    <a:pt x="241" y="63"/>
                  </a:cubicBezTo>
                  <a:lnTo>
                    <a:pt x="209" y="201"/>
                  </a:lnTo>
                  <a:cubicBezTo>
                    <a:pt x="130" y="535"/>
                    <a:pt x="127" y="564"/>
                    <a:pt x="109" y="614"/>
                  </a:cubicBezTo>
                  <a:cubicBezTo>
                    <a:pt x="-8" y="1138"/>
                    <a:pt x="0" y="1213"/>
                    <a:pt x="0" y="1340"/>
                  </a:cubicBezTo>
                  <a:cubicBezTo>
                    <a:pt x="5" y="1385"/>
                    <a:pt x="27" y="1432"/>
                    <a:pt x="66" y="1483"/>
                  </a:cubicBezTo>
                  <a:cubicBezTo>
                    <a:pt x="146" y="1562"/>
                    <a:pt x="212" y="1602"/>
                    <a:pt x="257" y="160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Shape 3"/>
            <p:cNvSpPr/>
            <p:nvPr/>
          </p:nvSpPr>
          <p:spPr>
            <a:xfrm>
              <a:off x="2307789" y="4611664"/>
              <a:ext cx="82479" cy="244587"/>
            </a:xfrm>
            <a:custGeom>
              <a:avLst/>
              <a:gdLst/>
              <a:ahLst/>
              <a:cxnLst>
                <a:cxn ang="3cd4">
                  <a:pos x="hc" y="t"/>
                </a:cxn>
                <a:cxn ang="cd2">
                  <a:pos x="l" y="vc"/>
                </a:cxn>
                <a:cxn ang="cd4">
                  <a:pos x="hc" y="b"/>
                </a:cxn>
                <a:cxn ang="0">
                  <a:pos x="r" y="vc"/>
                </a:cxn>
              </a:cxnLst>
              <a:rect l="l" t="t" r="r" b="b"/>
              <a:pathLst>
                <a:path w="435" h="1288">
                  <a:moveTo>
                    <a:pt x="270" y="204"/>
                  </a:moveTo>
                  <a:lnTo>
                    <a:pt x="294" y="212"/>
                  </a:lnTo>
                  <a:cubicBezTo>
                    <a:pt x="331" y="206"/>
                    <a:pt x="379" y="164"/>
                    <a:pt x="435" y="82"/>
                  </a:cubicBezTo>
                  <a:lnTo>
                    <a:pt x="432" y="71"/>
                  </a:lnTo>
                  <a:cubicBezTo>
                    <a:pt x="429" y="45"/>
                    <a:pt x="395" y="21"/>
                    <a:pt x="329" y="0"/>
                  </a:cubicBezTo>
                  <a:lnTo>
                    <a:pt x="321" y="0"/>
                  </a:lnTo>
                  <a:cubicBezTo>
                    <a:pt x="302" y="3"/>
                    <a:pt x="284" y="69"/>
                    <a:pt x="270" y="204"/>
                  </a:cubicBezTo>
                  <a:close/>
                  <a:moveTo>
                    <a:pt x="210" y="1218"/>
                  </a:moveTo>
                  <a:lnTo>
                    <a:pt x="199" y="1189"/>
                  </a:lnTo>
                  <a:cubicBezTo>
                    <a:pt x="194" y="1048"/>
                    <a:pt x="194" y="956"/>
                    <a:pt x="204" y="913"/>
                  </a:cubicBezTo>
                  <a:lnTo>
                    <a:pt x="194" y="884"/>
                  </a:lnTo>
                  <a:cubicBezTo>
                    <a:pt x="191" y="829"/>
                    <a:pt x="196" y="800"/>
                    <a:pt x="207" y="800"/>
                  </a:cubicBezTo>
                  <a:cubicBezTo>
                    <a:pt x="220" y="712"/>
                    <a:pt x="236" y="662"/>
                    <a:pt x="249" y="651"/>
                  </a:cubicBezTo>
                  <a:cubicBezTo>
                    <a:pt x="255" y="590"/>
                    <a:pt x="286" y="511"/>
                    <a:pt x="347" y="413"/>
                  </a:cubicBezTo>
                  <a:cubicBezTo>
                    <a:pt x="345" y="381"/>
                    <a:pt x="281" y="341"/>
                    <a:pt x="165" y="291"/>
                  </a:cubicBezTo>
                  <a:cubicBezTo>
                    <a:pt x="133" y="294"/>
                    <a:pt x="106" y="360"/>
                    <a:pt x="82" y="484"/>
                  </a:cubicBezTo>
                  <a:cubicBezTo>
                    <a:pt x="16" y="768"/>
                    <a:pt x="-10" y="969"/>
                    <a:pt x="3" y="1086"/>
                  </a:cubicBezTo>
                  <a:cubicBezTo>
                    <a:pt x="14" y="1168"/>
                    <a:pt x="24" y="1207"/>
                    <a:pt x="40" y="1207"/>
                  </a:cubicBezTo>
                  <a:cubicBezTo>
                    <a:pt x="96" y="1268"/>
                    <a:pt x="157" y="1295"/>
                    <a:pt x="225" y="128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9" name="Freeform: Shape 4"/>
            <p:cNvSpPr/>
            <p:nvPr/>
          </p:nvSpPr>
          <p:spPr>
            <a:xfrm>
              <a:off x="2387038" y="4639791"/>
              <a:ext cx="173891" cy="216270"/>
            </a:xfrm>
            <a:custGeom>
              <a:avLst/>
              <a:gdLst/>
              <a:ahLst/>
              <a:cxnLst>
                <a:cxn ang="3cd4">
                  <a:pos x="hc" y="t"/>
                </a:cxn>
                <a:cxn ang="cd2">
                  <a:pos x="l" y="vc"/>
                </a:cxn>
                <a:cxn ang="cd4">
                  <a:pos x="hc" y="b"/>
                </a:cxn>
                <a:cxn ang="0">
                  <a:pos x="r" y="vc"/>
                </a:cxn>
              </a:cxnLst>
              <a:rect l="l" t="t" r="r" b="b"/>
              <a:pathLst>
                <a:path w="916" h="1139">
                  <a:moveTo>
                    <a:pt x="871" y="172"/>
                  </a:moveTo>
                  <a:cubicBezTo>
                    <a:pt x="900" y="141"/>
                    <a:pt x="916" y="114"/>
                    <a:pt x="916" y="95"/>
                  </a:cubicBezTo>
                  <a:cubicBezTo>
                    <a:pt x="916" y="37"/>
                    <a:pt x="892" y="5"/>
                    <a:pt x="795" y="0"/>
                  </a:cubicBezTo>
                  <a:cubicBezTo>
                    <a:pt x="773" y="0"/>
                    <a:pt x="736" y="35"/>
                    <a:pt x="683" y="106"/>
                  </a:cubicBezTo>
                  <a:cubicBezTo>
                    <a:pt x="644" y="252"/>
                    <a:pt x="599" y="350"/>
                    <a:pt x="543" y="403"/>
                  </a:cubicBezTo>
                  <a:cubicBezTo>
                    <a:pt x="456" y="596"/>
                    <a:pt x="389" y="723"/>
                    <a:pt x="344" y="781"/>
                  </a:cubicBezTo>
                  <a:cubicBezTo>
                    <a:pt x="331" y="832"/>
                    <a:pt x="318" y="858"/>
                    <a:pt x="307" y="858"/>
                  </a:cubicBezTo>
                  <a:lnTo>
                    <a:pt x="305" y="858"/>
                  </a:lnTo>
                  <a:cubicBezTo>
                    <a:pt x="305" y="858"/>
                    <a:pt x="302" y="858"/>
                    <a:pt x="299" y="773"/>
                  </a:cubicBezTo>
                  <a:lnTo>
                    <a:pt x="294" y="569"/>
                  </a:lnTo>
                  <a:lnTo>
                    <a:pt x="302" y="498"/>
                  </a:lnTo>
                  <a:lnTo>
                    <a:pt x="286" y="416"/>
                  </a:lnTo>
                  <a:lnTo>
                    <a:pt x="294" y="397"/>
                  </a:lnTo>
                  <a:lnTo>
                    <a:pt x="278" y="363"/>
                  </a:lnTo>
                  <a:lnTo>
                    <a:pt x="286" y="339"/>
                  </a:lnTo>
                  <a:lnTo>
                    <a:pt x="286" y="334"/>
                  </a:lnTo>
                  <a:cubicBezTo>
                    <a:pt x="286" y="286"/>
                    <a:pt x="207" y="249"/>
                    <a:pt x="45" y="220"/>
                  </a:cubicBezTo>
                  <a:cubicBezTo>
                    <a:pt x="24" y="225"/>
                    <a:pt x="11" y="236"/>
                    <a:pt x="0" y="249"/>
                  </a:cubicBezTo>
                  <a:lnTo>
                    <a:pt x="0" y="260"/>
                  </a:lnTo>
                  <a:cubicBezTo>
                    <a:pt x="29" y="260"/>
                    <a:pt x="53" y="474"/>
                    <a:pt x="74" y="906"/>
                  </a:cubicBezTo>
                  <a:cubicBezTo>
                    <a:pt x="74" y="993"/>
                    <a:pt x="93" y="1049"/>
                    <a:pt x="133" y="1073"/>
                  </a:cubicBezTo>
                  <a:cubicBezTo>
                    <a:pt x="170" y="1115"/>
                    <a:pt x="215" y="1139"/>
                    <a:pt x="273" y="1139"/>
                  </a:cubicBezTo>
                  <a:lnTo>
                    <a:pt x="302" y="1139"/>
                  </a:lnTo>
                  <a:lnTo>
                    <a:pt x="305" y="1136"/>
                  </a:lnTo>
                  <a:cubicBezTo>
                    <a:pt x="305" y="1136"/>
                    <a:pt x="307" y="1134"/>
                    <a:pt x="342" y="1054"/>
                  </a:cubicBezTo>
                  <a:lnTo>
                    <a:pt x="432" y="848"/>
                  </a:lnTo>
                  <a:cubicBezTo>
                    <a:pt x="516" y="667"/>
                    <a:pt x="569" y="564"/>
                    <a:pt x="593" y="540"/>
                  </a:cubicBezTo>
                  <a:cubicBezTo>
                    <a:pt x="620" y="474"/>
                    <a:pt x="641" y="440"/>
                    <a:pt x="652" y="434"/>
                  </a:cubicBezTo>
                  <a:lnTo>
                    <a:pt x="654" y="434"/>
                  </a:lnTo>
                  <a:cubicBezTo>
                    <a:pt x="654" y="434"/>
                    <a:pt x="657" y="434"/>
                    <a:pt x="712" y="36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0" name="Freeform: Shape 5"/>
            <p:cNvSpPr/>
            <p:nvPr/>
          </p:nvSpPr>
          <p:spPr>
            <a:xfrm>
              <a:off x="2518358" y="4655945"/>
              <a:ext cx="124099" cy="201067"/>
            </a:xfrm>
            <a:custGeom>
              <a:avLst/>
              <a:gdLst/>
              <a:ahLst/>
              <a:cxnLst>
                <a:cxn ang="3cd4">
                  <a:pos x="hc" y="t"/>
                </a:cxn>
                <a:cxn ang="cd2">
                  <a:pos x="l" y="vc"/>
                </a:cxn>
                <a:cxn ang="cd4">
                  <a:pos x="hc" y="b"/>
                </a:cxn>
                <a:cxn ang="0">
                  <a:pos x="r" y="vc"/>
                </a:cxn>
              </a:cxnLst>
              <a:rect l="l" t="t" r="r" b="b"/>
              <a:pathLst>
                <a:path w="654" h="1059">
                  <a:moveTo>
                    <a:pt x="337" y="53"/>
                  </a:moveTo>
                  <a:cubicBezTo>
                    <a:pt x="276" y="108"/>
                    <a:pt x="233" y="167"/>
                    <a:pt x="204" y="230"/>
                  </a:cubicBezTo>
                  <a:lnTo>
                    <a:pt x="201" y="233"/>
                  </a:lnTo>
                  <a:cubicBezTo>
                    <a:pt x="201" y="233"/>
                    <a:pt x="199" y="236"/>
                    <a:pt x="183" y="262"/>
                  </a:cubicBezTo>
                  <a:lnTo>
                    <a:pt x="125" y="368"/>
                  </a:lnTo>
                  <a:cubicBezTo>
                    <a:pt x="43" y="564"/>
                    <a:pt x="0" y="710"/>
                    <a:pt x="0" y="808"/>
                  </a:cubicBezTo>
                  <a:lnTo>
                    <a:pt x="0" y="826"/>
                  </a:lnTo>
                  <a:cubicBezTo>
                    <a:pt x="0" y="861"/>
                    <a:pt x="21" y="900"/>
                    <a:pt x="66" y="945"/>
                  </a:cubicBezTo>
                  <a:cubicBezTo>
                    <a:pt x="109" y="1019"/>
                    <a:pt x="159" y="1059"/>
                    <a:pt x="220" y="1059"/>
                  </a:cubicBezTo>
                  <a:cubicBezTo>
                    <a:pt x="268" y="1049"/>
                    <a:pt x="294" y="1038"/>
                    <a:pt x="294" y="1030"/>
                  </a:cubicBezTo>
                  <a:cubicBezTo>
                    <a:pt x="339" y="998"/>
                    <a:pt x="360" y="977"/>
                    <a:pt x="360" y="964"/>
                  </a:cubicBezTo>
                  <a:cubicBezTo>
                    <a:pt x="432" y="874"/>
                    <a:pt x="477" y="800"/>
                    <a:pt x="501" y="739"/>
                  </a:cubicBezTo>
                  <a:lnTo>
                    <a:pt x="501" y="733"/>
                  </a:lnTo>
                  <a:lnTo>
                    <a:pt x="485" y="720"/>
                  </a:lnTo>
                  <a:lnTo>
                    <a:pt x="469" y="733"/>
                  </a:lnTo>
                  <a:cubicBezTo>
                    <a:pt x="392" y="845"/>
                    <a:pt x="310" y="924"/>
                    <a:pt x="220" y="972"/>
                  </a:cubicBezTo>
                  <a:cubicBezTo>
                    <a:pt x="204" y="972"/>
                    <a:pt x="191" y="961"/>
                    <a:pt x="183" y="943"/>
                  </a:cubicBezTo>
                  <a:cubicBezTo>
                    <a:pt x="183" y="813"/>
                    <a:pt x="233" y="641"/>
                    <a:pt x="331" y="421"/>
                  </a:cubicBezTo>
                  <a:lnTo>
                    <a:pt x="382" y="424"/>
                  </a:lnTo>
                  <a:cubicBezTo>
                    <a:pt x="382" y="424"/>
                    <a:pt x="411" y="426"/>
                    <a:pt x="440" y="416"/>
                  </a:cubicBezTo>
                  <a:lnTo>
                    <a:pt x="530" y="379"/>
                  </a:lnTo>
                  <a:cubicBezTo>
                    <a:pt x="588" y="349"/>
                    <a:pt x="628" y="299"/>
                    <a:pt x="654" y="230"/>
                  </a:cubicBezTo>
                  <a:lnTo>
                    <a:pt x="654" y="159"/>
                  </a:lnTo>
                  <a:cubicBezTo>
                    <a:pt x="646" y="111"/>
                    <a:pt x="577" y="58"/>
                    <a:pt x="448" y="0"/>
                  </a:cubicBezTo>
                  <a:lnTo>
                    <a:pt x="411" y="0"/>
                  </a:lnTo>
                  <a:close/>
                  <a:moveTo>
                    <a:pt x="374" y="349"/>
                  </a:moveTo>
                  <a:cubicBezTo>
                    <a:pt x="453" y="244"/>
                    <a:pt x="506" y="191"/>
                    <a:pt x="535" y="191"/>
                  </a:cubicBezTo>
                  <a:lnTo>
                    <a:pt x="543" y="191"/>
                  </a:lnTo>
                  <a:lnTo>
                    <a:pt x="551" y="196"/>
                  </a:lnTo>
                  <a:cubicBezTo>
                    <a:pt x="498" y="310"/>
                    <a:pt x="448" y="368"/>
                    <a:pt x="405" y="368"/>
                  </a:cubicBezTo>
                  <a:lnTo>
                    <a:pt x="376" y="355"/>
                  </a:lnTo>
                  <a:lnTo>
                    <a:pt x="376" y="3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 name="Freeform: Shape 6"/>
            <p:cNvSpPr/>
            <p:nvPr/>
          </p:nvSpPr>
          <p:spPr>
            <a:xfrm>
              <a:off x="1741456" y="4718660"/>
              <a:ext cx="122009" cy="137212"/>
            </a:xfrm>
            <a:custGeom>
              <a:avLst/>
              <a:gdLst/>
              <a:ahLst/>
              <a:cxnLst>
                <a:cxn ang="3cd4">
                  <a:pos x="hc" y="t"/>
                </a:cxn>
                <a:cxn ang="cd2">
                  <a:pos x="l" y="vc"/>
                </a:cxn>
                <a:cxn ang="cd4">
                  <a:pos x="hc" y="b"/>
                </a:cxn>
                <a:cxn ang="0">
                  <a:pos x="r" y="vc"/>
                </a:cxn>
              </a:cxnLst>
              <a:rect l="l" t="t" r="r" b="b"/>
              <a:pathLst>
                <a:path w="643" h="723">
                  <a:moveTo>
                    <a:pt x="495" y="442"/>
                  </a:moveTo>
                  <a:cubicBezTo>
                    <a:pt x="490" y="495"/>
                    <a:pt x="455" y="598"/>
                    <a:pt x="339" y="598"/>
                  </a:cubicBezTo>
                  <a:cubicBezTo>
                    <a:pt x="233" y="598"/>
                    <a:pt x="151" y="522"/>
                    <a:pt x="151" y="363"/>
                  </a:cubicBezTo>
                  <a:cubicBezTo>
                    <a:pt x="151" y="220"/>
                    <a:pt x="222" y="127"/>
                    <a:pt x="339" y="127"/>
                  </a:cubicBezTo>
                  <a:cubicBezTo>
                    <a:pt x="434" y="127"/>
                    <a:pt x="482" y="199"/>
                    <a:pt x="490" y="249"/>
                  </a:cubicBezTo>
                  <a:lnTo>
                    <a:pt x="635" y="249"/>
                  </a:lnTo>
                  <a:cubicBezTo>
                    <a:pt x="627" y="161"/>
                    <a:pt x="559" y="0"/>
                    <a:pt x="339" y="0"/>
                  </a:cubicBezTo>
                  <a:cubicBezTo>
                    <a:pt x="130" y="0"/>
                    <a:pt x="0" y="156"/>
                    <a:pt x="0" y="360"/>
                  </a:cubicBezTo>
                  <a:cubicBezTo>
                    <a:pt x="0" y="577"/>
                    <a:pt x="140" y="723"/>
                    <a:pt x="339" y="723"/>
                  </a:cubicBezTo>
                  <a:cubicBezTo>
                    <a:pt x="566" y="723"/>
                    <a:pt x="638" y="537"/>
                    <a:pt x="643" y="439"/>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2" name="Freeform: Shape 7"/>
            <p:cNvSpPr/>
            <p:nvPr/>
          </p:nvSpPr>
          <p:spPr>
            <a:xfrm>
              <a:off x="1876198" y="4721701"/>
              <a:ext cx="27556" cy="23375"/>
            </a:xfrm>
            <a:custGeom>
              <a:avLst/>
              <a:gdLst/>
              <a:ahLst/>
              <a:cxnLst>
                <a:cxn ang="3cd4">
                  <a:pos x="hc" y="t"/>
                </a:cxn>
                <a:cxn ang="cd2">
                  <a:pos x="l" y="vc"/>
                </a:cxn>
                <a:cxn ang="cd4">
                  <a:pos x="hc" y="b"/>
                </a:cxn>
                <a:cxn ang="0">
                  <a:pos x="r" y="vc"/>
                </a:cxn>
              </a:cxnLst>
              <a:rect l="l" t="t" r="r" b="b"/>
              <a:pathLst>
                <a:path w="146" h="124">
                  <a:moveTo>
                    <a:pt x="73" y="124"/>
                  </a:moveTo>
                  <a:lnTo>
                    <a:pt x="0" y="124"/>
                  </a:lnTo>
                  <a:lnTo>
                    <a:pt x="0" y="0"/>
                  </a:lnTo>
                  <a:lnTo>
                    <a:pt x="146" y="0"/>
                  </a:lnTo>
                  <a:lnTo>
                    <a:pt x="146" y="12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Shape 8"/>
            <p:cNvSpPr/>
            <p:nvPr/>
          </p:nvSpPr>
          <p:spPr>
            <a:xfrm>
              <a:off x="1876198" y="4757809"/>
              <a:ext cx="27556" cy="95022"/>
            </a:xfrm>
            <a:custGeom>
              <a:avLst/>
              <a:gdLst/>
              <a:ahLst/>
              <a:cxnLst>
                <a:cxn ang="3cd4">
                  <a:pos x="hc" y="t"/>
                </a:cxn>
                <a:cxn ang="cd2">
                  <a:pos x="l" y="vc"/>
                </a:cxn>
                <a:cxn ang="cd4">
                  <a:pos x="hc" y="b"/>
                </a:cxn>
                <a:cxn ang="0">
                  <a:pos x="r" y="vc"/>
                </a:cxn>
              </a:cxnLst>
              <a:rect l="l" t="t" r="r" b="b"/>
              <a:pathLst>
                <a:path w="146" h="501">
                  <a:moveTo>
                    <a:pt x="73" y="501"/>
                  </a:moveTo>
                  <a:lnTo>
                    <a:pt x="0" y="501"/>
                  </a:lnTo>
                  <a:lnTo>
                    <a:pt x="0" y="0"/>
                  </a:lnTo>
                  <a:lnTo>
                    <a:pt x="146" y="0"/>
                  </a:lnTo>
                  <a:lnTo>
                    <a:pt x="146" y="50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Shape 9"/>
            <p:cNvSpPr/>
            <p:nvPr/>
          </p:nvSpPr>
          <p:spPr>
            <a:xfrm>
              <a:off x="1914967" y="4755338"/>
              <a:ext cx="90461" cy="100533"/>
            </a:xfrm>
            <a:custGeom>
              <a:avLst/>
              <a:gdLst/>
              <a:ahLst/>
              <a:cxnLst>
                <a:cxn ang="3cd4">
                  <a:pos x="hc" y="t"/>
                </a:cxn>
                <a:cxn ang="cd2">
                  <a:pos x="l" y="vc"/>
                </a:cxn>
                <a:cxn ang="cd4">
                  <a:pos x="hc" y="b"/>
                </a:cxn>
                <a:cxn ang="0">
                  <a:pos x="r" y="vc"/>
                </a:cxn>
              </a:cxnLst>
              <a:rect l="l" t="t" r="r" b="b"/>
              <a:pathLst>
                <a:path w="477" h="530">
                  <a:moveTo>
                    <a:pt x="16" y="146"/>
                  </a:moveTo>
                  <a:cubicBezTo>
                    <a:pt x="16" y="252"/>
                    <a:pt x="109" y="284"/>
                    <a:pt x="162" y="297"/>
                  </a:cubicBezTo>
                  <a:cubicBezTo>
                    <a:pt x="175" y="299"/>
                    <a:pt x="212" y="310"/>
                    <a:pt x="225" y="313"/>
                  </a:cubicBezTo>
                  <a:cubicBezTo>
                    <a:pt x="278" y="326"/>
                    <a:pt x="326" y="337"/>
                    <a:pt x="326" y="379"/>
                  </a:cubicBezTo>
                  <a:cubicBezTo>
                    <a:pt x="326" y="408"/>
                    <a:pt x="294" y="432"/>
                    <a:pt x="236" y="432"/>
                  </a:cubicBezTo>
                  <a:cubicBezTo>
                    <a:pt x="178" y="432"/>
                    <a:pt x="143" y="403"/>
                    <a:pt x="138" y="352"/>
                  </a:cubicBezTo>
                  <a:lnTo>
                    <a:pt x="0" y="352"/>
                  </a:lnTo>
                  <a:cubicBezTo>
                    <a:pt x="6" y="405"/>
                    <a:pt x="35" y="530"/>
                    <a:pt x="236" y="530"/>
                  </a:cubicBezTo>
                  <a:cubicBezTo>
                    <a:pt x="424" y="530"/>
                    <a:pt x="477" y="427"/>
                    <a:pt x="477" y="368"/>
                  </a:cubicBezTo>
                  <a:cubicBezTo>
                    <a:pt x="477" y="302"/>
                    <a:pt x="435" y="246"/>
                    <a:pt x="310" y="215"/>
                  </a:cubicBezTo>
                  <a:cubicBezTo>
                    <a:pt x="302" y="212"/>
                    <a:pt x="262" y="204"/>
                    <a:pt x="247" y="199"/>
                  </a:cubicBezTo>
                  <a:cubicBezTo>
                    <a:pt x="183" y="183"/>
                    <a:pt x="165" y="172"/>
                    <a:pt x="165" y="141"/>
                  </a:cubicBezTo>
                  <a:cubicBezTo>
                    <a:pt x="165" y="111"/>
                    <a:pt x="196" y="98"/>
                    <a:pt x="231" y="98"/>
                  </a:cubicBezTo>
                  <a:cubicBezTo>
                    <a:pt x="310" y="98"/>
                    <a:pt x="326" y="138"/>
                    <a:pt x="326" y="162"/>
                  </a:cubicBezTo>
                  <a:lnTo>
                    <a:pt x="464" y="162"/>
                  </a:lnTo>
                  <a:cubicBezTo>
                    <a:pt x="464" y="109"/>
                    <a:pt x="427" y="0"/>
                    <a:pt x="231" y="0"/>
                  </a:cubicBezTo>
                  <a:cubicBezTo>
                    <a:pt x="74" y="0"/>
                    <a:pt x="16" y="80"/>
                    <a:pt x="16" y="146"/>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Shape 10"/>
            <p:cNvSpPr/>
            <p:nvPr/>
          </p:nvSpPr>
          <p:spPr>
            <a:xfrm>
              <a:off x="2012080" y="4755338"/>
              <a:ext cx="97493" cy="100533"/>
            </a:xfrm>
            <a:custGeom>
              <a:avLst/>
              <a:gdLst/>
              <a:ahLst/>
              <a:cxnLst>
                <a:cxn ang="3cd4">
                  <a:pos x="hc" y="t"/>
                </a:cxn>
                <a:cxn ang="cd2">
                  <a:pos x="l" y="vc"/>
                </a:cxn>
                <a:cxn ang="cd4">
                  <a:pos x="hc" y="b"/>
                </a:cxn>
                <a:cxn ang="0">
                  <a:pos x="r" y="vc"/>
                </a:cxn>
              </a:cxnLst>
              <a:rect l="l" t="t" r="r" b="b"/>
              <a:pathLst>
                <a:path w="514" h="530">
                  <a:moveTo>
                    <a:pt x="376" y="331"/>
                  </a:moveTo>
                  <a:cubicBezTo>
                    <a:pt x="366" y="379"/>
                    <a:pt x="334" y="424"/>
                    <a:pt x="270" y="424"/>
                  </a:cubicBezTo>
                  <a:cubicBezTo>
                    <a:pt x="191" y="424"/>
                    <a:pt x="151" y="355"/>
                    <a:pt x="151" y="265"/>
                  </a:cubicBezTo>
                  <a:cubicBezTo>
                    <a:pt x="151" y="196"/>
                    <a:pt x="178" y="103"/>
                    <a:pt x="270" y="103"/>
                  </a:cubicBezTo>
                  <a:cubicBezTo>
                    <a:pt x="329" y="103"/>
                    <a:pt x="363" y="143"/>
                    <a:pt x="371" y="188"/>
                  </a:cubicBezTo>
                  <a:lnTo>
                    <a:pt x="511" y="188"/>
                  </a:lnTo>
                  <a:cubicBezTo>
                    <a:pt x="503" y="109"/>
                    <a:pt x="445" y="0"/>
                    <a:pt x="268" y="0"/>
                  </a:cubicBezTo>
                  <a:cubicBezTo>
                    <a:pt x="112" y="0"/>
                    <a:pt x="0" y="103"/>
                    <a:pt x="0" y="265"/>
                  </a:cubicBezTo>
                  <a:cubicBezTo>
                    <a:pt x="0" y="427"/>
                    <a:pt x="109" y="530"/>
                    <a:pt x="268" y="530"/>
                  </a:cubicBezTo>
                  <a:cubicBezTo>
                    <a:pt x="453" y="530"/>
                    <a:pt x="506" y="413"/>
                    <a:pt x="514" y="334"/>
                  </a:cubicBezTo>
                  <a:lnTo>
                    <a:pt x="376" y="3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6" name="Freeform: Shape 11"/>
            <p:cNvSpPr/>
            <p:nvPr/>
          </p:nvSpPr>
          <p:spPr>
            <a:xfrm>
              <a:off x="2117744" y="4755338"/>
              <a:ext cx="101104" cy="100533"/>
            </a:xfrm>
            <a:custGeom>
              <a:avLst/>
              <a:gdLst/>
              <a:ahLst/>
              <a:cxnLst>
                <a:cxn ang="3cd4">
                  <a:pos x="hc" y="t"/>
                </a:cxn>
                <a:cxn ang="cd2">
                  <a:pos x="l" y="vc"/>
                </a:cxn>
                <a:cxn ang="cd4">
                  <a:pos x="hc" y="b"/>
                </a:cxn>
                <a:cxn ang="0">
                  <a:pos x="r" y="vc"/>
                </a:cxn>
              </a:cxnLst>
              <a:rect l="l" t="t" r="r" b="b"/>
              <a:pathLst>
                <a:path w="533" h="530">
                  <a:moveTo>
                    <a:pt x="268" y="0"/>
                  </a:moveTo>
                  <a:cubicBezTo>
                    <a:pt x="109" y="0"/>
                    <a:pt x="0" y="103"/>
                    <a:pt x="0" y="265"/>
                  </a:cubicBezTo>
                  <a:cubicBezTo>
                    <a:pt x="0" y="427"/>
                    <a:pt x="109" y="530"/>
                    <a:pt x="268" y="530"/>
                  </a:cubicBezTo>
                  <a:cubicBezTo>
                    <a:pt x="424" y="530"/>
                    <a:pt x="533" y="429"/>
                    <a:pt x="533" y="265"/>
                  </a:cubicBezTo>
                  <a:cubicBezTo>
                    <a:pt x="533" y="98"/>
                    <a:pt x="419" y="0"/>
                    <a:pt x="268" y="0"/>
                  </a:cubicBezTo>
                  <a:close/>
                  <a:moveTo>
                    <a:pt x="265" y="424"/>
                  </a:moveTo>
                  <a:cubicBezTo>
                    <a:pt x="188" y="424"/>
                    <a:pt x="146" y="355"/>
                    <a:pt x="146" y="265"/>
                  </a:cubicBezTo>
                  <a:cubicBezTo>
                    <a:pt x="149" y="196"/>
                    <a:pt x="175" y="103"/>
                    <a:pt x="265" y="103"/>
                  </a:cubicBezTo>
                  <a:cubicBezTo>
                    <a:pt x="347" y="103"/>
                    <a:pt x="382" y="183"/>
                    <a:pt x="382" y="265"/>
                  </a:cubicBezTo>
                  <a:cubicBezTo>
                    <a:pt x="382" y="347"/>
                    <a:pt x="347" y="424"/>
                    <a:pt x="265" y="42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3224115324"/>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Segue 5">
    <p:spTree>
      <p:nvGrpSpPr>
        <p:cNvPr id="1" name=""/>
        <p:cNvGrpSpPr/>
        <p:nvPr/>
      </p:nvGrpSpPr>
      <p:grpSpPr>
        <a:xfrm>
          <a:off x="0" y="0"/>
          <a:ext cx="0" cy="0"/>
          <a:chOff x="0" y="0"/>
          <a:chExt cx="0" cy="0"/>
        </a:xfrm>
      </p:grpSpPr>
      <p:sp>
        <p:nvSpPr>
          <p:cNvPr id="11" name="Rectangle 10"/>
          <p:cNvSpPr/>
          <p:nvPr userDrawn="1"/>
        </p:nvSpPr>
        <p:spPr bwMode="auto">
          <a:xfrm>
            <a:off x="0" y="0"/>
            <a:ext cx="9143918" cy="5143500"/>
          </a:xfrm>
          <a:prstGeom prst="rect">
            <a:avLst/>
          </a:prstGeom>
          <a:solidFill>
            <a:srgbClr val="005073"/>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a:solidFill>
                <a:srgbClr val="00BCEB"/>
              </a:solidFill>
              <a:ea typeface="Arial" pitchFamily="-107" charset="0"/>
              <a:cs typeface="Arial" pitchFamily="-107" charset="0"/>
              <a:sym typeface="Arial" pitchFamily="-107" charset="0"/>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18354" y="0"/>
            <a:ext cx="5825646" cy="5143500"/>
          </a:xfrm>
          <a:prstGeom prst="rect">
            <a:avLst/>
          </a:prstGeom>
        </p:spPr>
      </p:pic>
      <p:sp>
        <p:nvSpPr>
          <p:cNvPr id="8" name="Title 7"/>
          <p:cNvSpPr>
            <a:spLocks noGrp="1"/>
          </p:cNvSpPr>
          <p:nvPr>
            <p:ph type="title" hasCustomPrompt="1"/>
          </p:nvPr>
        </p:nvSpPr>
        <p:spPr bwMode="white">
          <a:xfrm>
            <a:off x="359051" y="2166220"/>
            <a:ext cx="3511909" cy="1142052"/>
          </a:xfrm>
        </p:spPr>
        <p:txBody>
          <a:bodyPr anchor="t"/>
          <a:lstStyle>
            <a:lvl1pPr marL="6251" indent="-6251" algn="l" defTabSz="914400" rtl="0" eaLnBrk="0" fontAlgn="base" latinLnBrk="0" hangingPunct="0">
              <a:lnSpc>
                <a:spcPct val="90000"/>
              </a:lnSpc>
              <a:spcBef>
                <a:spcPct val="0"/>
              </a:spcBef>
              <a:spcAft>
                <a:spcPct val="0"/>
              </a:spcAft>
              <a:defRPr lang="en-US" sz="4000" b="0" i="0" kern="1200" dirty="0">
                <a:solidFill>
                  <a:schemeClr val="bg1"/>
                </a:solidFill>
                <a:latin typeface="+mj-lt"/>
                <a:ea typeface="+mj-ea"/>
                <a:cs typeface="+mj-cs"/>
                <a:sym typeface="Arial" pitchFamily="34" charset="0"/>
              </a:defRPr>
            </a:lvl1pPr>
          </a:lstStyle>
          <a:p>
            <a:r>
              <a:rPr lang="en-US" dirty="0"/>
              <a:t>Segue Slide</a:t>
            </a:r>
          </a:p>
        </p:txBody>
      </p:sp>
      <p:sp>
        <p:nvSpPr>
          <p:cNvPr id="9"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rPr>
              <a:pPr/>
              <a:t>‹#›</a:t>
            </a:fld>
            <a:endParaRPr dirty="0">
              <a:solidFill>
                <a:srgbClr val="FFFFFF">
                  <a:alpha val="60000"/>
                </a:srgbClr>
              </a:solidFill>
            </a:endParaRPr>
          </a:p>
        </p:txBody>
      </p:sp>
      <p:grpSp>
        <p:nvGrpSpPr>
          <p:cNvPr id="27" name="Group 26"/>
          <p:cNvGrpSpPr/>
          <p:nvPr userDrawn="1"/>
        </p:nvGrpSpPr>
        <p:grpSpPr>
          <a:xfrm>
            <a:off x="454861" y="4785454"/>
            <a:ext cx="820227" cy="274319"/>
            <a:chOff x="1741456" y="4513412"/>
            <a:chExt cx="1027381" cy="343600"/>
          </a:xfrm>
          <a:solidFill>
            <a:schemeClr val="bg1"/>
          </a:solidFill>
        </p:grpSpPr>
        <p:sp>
          <p:nvSpPr>
            <p:cNvPr id="28" name="Freeform: Shape 1"/>
            <p:cNvSpPr/>
            <p:nvPr/>
          </p:nvSpPr>
          <p:spPr>
            <a:xfrm>
              <a:off x="2624973" y="4513412"/>
              <a:ext cx="143864" cy="343030"/>
            </a:xfrm>
            <a:custGeom>
              <a:avLst/>
              <a:gdLst/>
              <a:ahLst/>
              <a:cxnLst>
                <a:cxn ang="3cd4">
                  <a:pos x="hc" y="t"/>
                </a:cxn>
                <a:cxn ang="cd2">
                  <a:pos x="l" y="vc"/>
                </a:cxn>
                <a:cxn ang="cd4">
                  <a:pos x="hc" y="b"/>
                </a:cxn>
                <a:cxn ang="0">
                  <a:pos x="r" y="vc"/>
                </a:cxn>
              </a:cxnLst>
              <a:rect l="l" t="t" r="r" b="b"/>
              <a:pathLst>
                <a:path w="758" h="1806">
                  <a:moveTo>
                    <a:pt x="242" y="829"/>
                  </a:moveTo>
                  <a:cubicBezTo>
                    <a:pt x="215" y="896"/>
                    <a:pt x="204" y="941"/>
                    <a:pt x="204" y="964"/>
                  </a:cubicBezTo>
                  <a:cubicBezTo>
                    <a:pt x="183" y="999"/>
                    <a:pt x="175" y="1070"/>
                    <a:pt x="175" y="1097"/>
                  </a:cubicBezTo>
                  <a:lnTo>
                    <a:pt x="175" y="1129"/>
                  </a:lnTo>
                  <a:lnTo>
                    <a:pt x="223" y="1208"/>
                  </a:lnTo>
                  <a:cubicBezTo>
                    <a:pt x="250" y="1245"/>
                    <a:pt x="218" y="1258"/>
                    <a:pt x="292" y="1282"/>
                  </a:cubicBezTo>
                  <a:cubicBezTo>
                    <a:pt x="318" y="1282"/>
                    <a:pt x="340" y="1261"/>
                    <a:pt x="353" y="1221"/>
                  </a:cubicBezTo>
                  <a:lnTo>
                    <a:pt x="353" y="1208"/>
                  </a:lnTo>
                  <a:cubicBezTo>
                    <a:pt x="353" y="1113"/>
                    <a:pt x="387" y="978"/>
                    <a:pt x="419" y="888"/>
                  </a:cubicBezTo>
                  <a:cubicBezTo>
                    <a:pt x="419" y="845"/>
                    <a:pt x="456" y="718"/>
                    <a:pt x="588" y="406"/>
                  </a:cubicBezTo>
                  <a:cubicBezTo>
                    <a:pt x="588" y="371"/>
                    <a:pt x="618" y="308"/>
                    <a:pt x="678" y="210"/>
                  </a:cubicBezTo>
                  <a:cubicBezTo>
                    <a:pt x="729" y="125"/>
                    <a:pt x="742" y="138"/>
                    <a:pt x="758" y="128"/>
                  </a:cubicBezTo>
                  <a:lnTo>
                    <a:pt x="758" y="80"/>
                  </a:lnTo>
                  <a:lnTo>
                    <a:pt x="739" y="61"/>
                  </a:lnTo>
                  <a:cubicBezTo>
                    <a:pt x="739" y="61"/>
                    <a:pt x="721" y="43"/>
                    <a:pt x="671" y="22"/>
                  </a:cubicBezTo>
                  <a:cubicBezTo>
                    <a:pt x="671" y="22"/>
                    <a:pt x="620" y="0"/>
                    <a:pt x="604" y="0"/>
                  </a:cubicBezTo>
                  <a:cubicBezTo>
                    <a:pt x="588" y="0"/>
                    <a:pt x="557" y="32"/>
                    <a:pt x="530" y="93"/>
                  </a:cubicBezTo>
                  <a:close/>
                  <a:moveTo>
                    <a:pt x="14" y="1738"/>
                  </a:moveTo>
                  <a:cubicBezTo>
                    <a:pt x="14" y="1772"/>
                    <a:pt x="-18" y="1783"/>
                    <a:pt x="16" y="1806"/>
                  </a:cubicBezTo>
                  <a:lnTo>
                    <a:pt x="77" y="1806"/>
                  </a:lnTo>
                  <a:cubicBezTo>
                    <a:pt x="144" y="1775"/>
                    <a:pt x="167" y="1716"/>
                    <a:pt x="252" y="1528"/>
                  </a:cubicBezTo>
                  <a:lnTo>
                    <a:pt x="252" y="1486"/>
                  </a:lnTo>
                  <a:cubicBezTo>
                    <a:pt x="252" y="1460"/>
                    <a:pt x="273" y="1446"/>
                    <a:pt x="218" y="1412"/>
                  </a:cubicBezTo>
                  <a:lnTo>
                    <a:pt x="202" y="1412"/>
                  </a:lnTo>
                  <a:cubicBezTo>
                    <a:pt x="93" y="1409"/>
                    <a:pt x="67" y="1465"/>
                    <a:pt x="14" y="168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9" name="Freeform: Shape 2"/>
            <p:cNvSpPr/>
            <p:nvPr/>
          </p:nvSpPr>
          <p:spPr>
            <a:xfrm>
              <a:off x="2244124" y="4551801"/>
              <a:ext cx="81339" cy="304261"/>
            </a:xfrm>
            <a:custGeom>
              <a:avLst/>
              <a:gdLst/>
              <a:ahLst/>
              <a:cxnLst>
                <a:cxn ang="3cd4">
                  <a:pos x="hc" y="t"/>
                </a:cxn>
                <a:cxn ang="cd2">
                  <a:pos x="l" y="vc"/>
                </a:cxn>
                <a:cxn ang="cd4">
                  <a:pos x="hc" y="b"/>
                </a:cxn>
                <a:cxn ang="0">
                  <a:pos x="r" y="vc"/>
                </a:cxn>
              </a:cxnLst>
              <a:rect l="l" t="t" r="r" b="b"/>
              <a:pathLst>
                <a:path w="429" h="1602">
                  <a:moveTo>
                    <a:pt x="244" y="1533"/>
                  </a:moveTo>
                  <a:cubicBezTo>
                    <a:pt x="209" y="1533"/>
                    <a:pt x="199" y="1483"/>
                    <a:pt x="183" y="1329"/>
                  </a:cubicBezTo>
                  <a:cubicBezTo>
                    <a:pt x="201" y="1064"/>
                    <a:pt x="223" y="884"/>
                    <a:pt x="241" y="789"/>
                  </a:cubicBezTo>
                  <a:cubicBezTo>
                    <a:pt x="323" y="384"/>
                    <a:pt x="307" y="458"/>
                    <a:pt x="366" y="320"/>
                  </a:cubicBezTo>
                  <a:cubicBezTo>
                    <a:pt x="424" y="180"/>
                    <a:pt x="429" y="161"/>
                    <a:pt x="429" y="119"/>
                  </a:cubicBezTo>
                  <a:cubicBezTo>
                    <a:pt x="429" y="71"/>
                    <a:pt x="376" y="32"/>
                    <a:pt x="268" y="0"/>
                  </a:cubicBezTo>
                  <a:lnTo>
                    <a:pt x="260" y="0"/>
                  </a:lnTo>
                  <a:lnTo>
                    <a:pt x="257" y="2"/>
                  </a:lnTo>
                  <a:cubicBezTo>
                    <a:pt x="257" y="2"/>
                    <a:pt x="254" y="5"/>
                    <a:pt x="241" y="63"/>
                  </a:cubicBezTo>
                  <a:lnTo>
                    <a:pt x="209" y="201"/>
                  </a:lnTo>
                  <a:cubicBezTo>
                    <a:pt x="130" y="535"/>
                    <a:pt x="127" y="564"/>
                    <a:pt x="109" y="614"/>
                  </a:cubicBezTo>
                  <a:cubicBezTo>
                    <a:pt x="-8" y="1138"/>
                    <a:pt x="0" y="1213"/>
                    <a:pt x="0" y="1340"/>
                  </a:cubicBezTo>
                  <a:cubicBezTo>
                    <a:pt x="5" y="1385"/>
                    <a:pt x="27" y="1432"/>
                    <a:pt x="66" y="1483"/>
                  </a:cubicBezTo>
                  <a:cubicBezTo>
                    <a:pt x="146" y="1562"/>
                    <a:pt x="212" y="1602"/>
                    <a:pt x="257" y="160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0" name="Freeform: Shape 3"/>
            <p:cNvSpPr/>
            <p:nvPr/>
          </p:nvSpPr>
          <p:spPr>
            <a:xfrm>
              <a:off x="2307789" y="4611664"/>
              <a:ext cx="82479" cy="244587"/>
            </a:xfrm>
            <a:custGeom>
              <a:avLst/>
              <a:gdLst/>
              <a:ahLst/>
              <a:cxnLst>
                <a:cxn ang="3cd4">
                  <a:pos x="hc" y="t"/>
                </a:cxn>
                <a:cxn ang="cd2">
                  <a:pos x="l" y="vc"/>
                </a:cxn>
                <a:cxn ang="cd4">
                  <a:pos x="hc" y="b"/>
                </a:cxn>
                <a:cxn ang="0">
                  <a:pos x="r" y="vc"/>
                </a:cxn>
              </a:cxnLst>
              <a:rect l="l" t="t" r="r" b="b"/>
              <a:pathLst>
                <a:path w="435" h="1288">
                  <a:moveTo>
                    <a:pt x="270" y="204"/>
                  </a:moveTo>
                  <a:lnTo>
                    <a:pt x="294" y="212"/>
                  </a:lnTo>
                  <a:cubicBezTo>
                    <a:pt x="331" y="206"/>
                    <a:pt x="379" y="164"/>
                    <a:pt x="435" y="82"/>
                  </a:cubicBezTo>
                  <a:lnTo>
                    <a:pt x="432" y="71"/>
                  </a:lnTo>
                  <a:cubicBezTo>
                    <a:pt x="429" y="45"/>
                    <a:pt x="395" y="21"/>
                    <a:pt x="329" y="0"/>
                  </a:cubicBezTo>
                  <a:lnTo>
                    <a:pt x="321" y="0"/>
                  </a:lnTo>
                  <a:cubicBezTo>
                    <a:pt x="302" y="3"/>
                    <a:pt x="284" y="69"/>
                    <a:pt x="270" y="204"/>
                  </a:cubicBezTo>
                  <a:close/>
                  <a:moveTo>
                    <a:pt x="210" y="1218"/>
                  </a:moveTo>
                  <a:lnTo>
                    <a:pt x="199" y="1189"/>
                  </a:lnTo>
                  <a:cubicBezTo>
                    <a:pt x="194" y="1048"/>
                    <a:pt x="194" y="956"/>
                    <a:pt x="204" y="913"/>
                  </a:cubicBezTo>
                  <a:lnTo>
                    <a:pt x="194" y="884"/>
                  </a:lnTo>
                  <a:cubicBezTo>
                    <a:pt x="191" y="829"/>
                    <a:pt x="196" y="800"/>
                    <a:pt x="207" y="800"/>
                  </a:cubicBezTo>
                  <a:cubicBezTo>
                    <a:pt x="220" y="712"/>
                    <a:pt x="236" y="662"/>
                    <a:pt x="249" y="651"/>
                  </a:cubicBezTo>
                  <a:cubicBezTo>
                    <a:pt x="255" y="590"/>
                    <a:pt x="286" y="511"/>
                    <a:pt x="347" y="413"/>
                  </a:cubicBezTo>
                  <a:cubicBezTo>
                    <a:pt x="345" y="381"/>
                    <a:pt x="281" y="341"/>
                    <a:pt x="165" y="291"/>
                  </a:cubicBezTo>
                  <a:cubicBezTo>
                    <a:pt x="133" y="294"/>
                    <a:pt x="106" y="360"/>
                    <a:pt x="82" y="484"/>
                  </a:cubicBezTo>
                  <a:cubicBezTo>
                    <a:pt x="16" y="768"/>
                    <a:pt x="-10" y="969"/>
                    <a:pt x="3" y="1086"/>
                  </a:cubicBezTo>
                  <a:cubicBezTo>
                    <a:pt x="14" y="1168"/>
                    <a:pt x="24" y="1207"/>
                    <a:pt x="40" y="1207"/>
                  </a:cubicBezTo>
                  <a:cubicBezTo>
                    <a:pt x="96" y="1268"/>
                    <a:pt x="157" y="1295"/>
                    <a:pt x="225" y="128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1" name="Freeform: Shape 4"/>
            <p:cNvSpPr/>
            <p:nvPr/>
          </p:nvSpPr>
          <p:spPr>
            <a:xfrm>
              <a:off x="2387038" y="4639791"/>
              <a:ext cx="173891" cy="216270"/>
            </a:xfrm>
            <a:custGeom>
              <a:avLst/>
              <a:gdLst/>
              <a:ahLst/>
              <a:cxnLst>
                <a:cxn ang="3cd4">
                  <a:pos x="hc" y="t"/>
                </a:cxn>
                <a:cxn ang="cd2">
                  <a:pos x="l" y="vc"/>
                </a:cxn>
                <a:cxn ang="cd4">
                  <a:pos x="hc" y="b"/>
                </a:cxn>
                <a:cxn ang="0">
                  <a:pos x="r" y="vc"/>
                </a:cxn>
              </a:cxnLst>
              <a:rect l="l" t="t" r="r" b="b"/>
              <a:pathLst>
                <a:path w="916" h="1139">
                  <a:moveTo>
                    <a:pt x="871" y="172"/>
                  </a:moveTo>
                  <a:cubicBezTo>
                    <a:pt x="900" y="141"/>
                    <a:pt x="916" y="114"/>
                    <a:pt x="916" y="95"/>
                  </a:cubicBezTo>
                  <a:cubicBezTo>
                    <a:pt x="916" y="37"/>
                    <a:pt x="892" y="5"/>
                    <a:pt x="795" y="0"/>
                  </a:cubicBezTo>
                  <a:cubicBezTo>
                    <a:pt x="773" y="0"/>
                    <a:pt x="736" y="35"/>
                    <a:pt x="683" y="106"/>
                  </a:cubicBezTo>
                  <a:cubicBezTo>
                    <a:pt x="644" y="252"/>
                    <a:pt x="599" y="350"/>
                    <a:pt x="543" y="403"/>
                  </a:cubicBezTo>
                  <a:cubicBezTo>
                    <a:pt x="456" y="596"/>
                    <a:pt x="389" y="723"/>
                    <a:pt x="344" y="781"/>
                  </a:cubicBezTo>
                  <a:cubicBezTo>
                    <a:pt x="331" y="832"/>
                    <a:pt x="318" y="858"/>
                    <a:pt x="307" y="858"/>
                  </a:cubicBezTo>
                  <a:lnTo>
                    <a:pt x="305" y="858"/>
                  </a:lnTo>
                  <a:cubicBezTo>
                    <a:pt x="305" y="858"/>
                    <a:pt x="302" y="858"/>
                    <a:pt x="299" y="773"/>
                  </a:cubicBezTo>
                  <a:lnTo>
                    <a:pt x="294" y="569"/>
                  </a:lnTo>
                  <a:lnTo>
                    <a:pt x="302" y="498"/>
                  </a:lnTo>
                  <a:lnTo>
                    <a:pt x="286" y="416"/>
                  </a:lnTo>
                  <a:lnTo>
                    <a:pt x="294" y="397"/>
                  </a:lnTo>
                  <a:lnTo>
                    <a:pt x="278" y="363"/>
                  </a:lnTo>
                  <a:lnTo>
                    <a:pt x="286" y="339"/>
                  </a:lnTo>
                  <a:lnTo>
                    <a:pt x="286" y="334"/>
                  </a:lnTo>
                  <a:cubicBezTo>
                    <a:pt x="286" y="286"/>
                    <a:pt x="207" y="249"/>
                    <a:pt x="45" y="220"/>
                  </a:cubicBezTo>
                  <a:cubicBezTo>
                    <a:pt x="24" y="225"/>
                    <a:pt x="11" y="236"/>
                    <a:pt x="0" y="249"/>
                  </a:cubicBezTo>
                  <a:lnTo>
                    <a:pt x="0" y="260"/>
                  </a:lnTo>
                  <a:cubicBezTo>
                    <a:pt x="29" y="260"/>
                    <a:pt x="53" y="474"/>
                    <a:pt x="74" y="906"/>
                  </a:cubicBezTo>
                  <a:cubicBezTo>
                    <a:pt x="74" y="993"/>
                    <a:pt x="93" y="1049"/>
                    <a:pt x="133" y="1073"/>
                  </a:cubicBezTo>
                  <a:cubicBezTo>
                    <a:pt x="170" y="1115"/>
                    <a:pt x="215" y="1139"/>
                    <a:pt x="273" y="1139"/>
                  </a:cubicBezTo>
                  <a:lnTo>
                    <a:pt x="302" y="1139"/>
                  </a:lnTo>
                  <a:lnTo>
                    <a:pt x="305" y="1136"/>
                  </a:lnTo>
                  <a:cubicBezTo>
                    <a:pt x="305" y="1136"/>
                    <a:pt x="307" y="1134"/>
                    <a:pt x="342" y="1054"/>
                  </a:cubicBezTo>
                  <a:lnTo>
                    <a:pt x="432" y="848"/>
                  </a:lnTo>
                  <a:cubicBezTo>
                    <a:pt x="516" y="667"/>
                    <a:pt x="569" y="564"/>
                    <a:pt x="593" y="540"/>
                  </a:cubicBezTo>
                  <a:cubicBezTo>
                    <a:pt x="620" y="474"/>
                    <a:pt x="641" y="440"/>
                    <a:pt x="652" y="434"/>
                  </a:cubicBezTo>
                  <a:lnTo>
                    <a:pt x="654" y="434"/>
                  </a:lnTo>
                  <a:cubicBezTo>
                    <a:pt x="654" y="434"/>
                    <a:pt x="657" y="434"/>
                    <a:pt x="712" y="36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2" name="Freeform: Shape 5"/>
            <p:cNvSpPr/>
            <p:nvPr/>
          </p:nvSpPr>
          <p:spPr>
            <a:xfrm>
              <a:off x="2518358" y="4655945"/>
              <a:ext cx="124099" cy="201067"/>
            </a:xfrm>
            <a:custGeom>
              <a:avLst/>
              <a:gdLst/>
              <a:ahLst/>
              <a:cxnLst>
                <a:cxn ang="3cd4">
                  <a:pos x="hc" y="t"/>
                </a:cxn>
                <a:cxn ang="cd2">
                  <a:pos x="l" y="vc"/>
                </a:cxn>
                <a:cxn ang="cd4">
                  <a:pos x="hc" y="b"/>
                </a:cxn>
                <a:cxn ang="0">
                  <a:pos x="r" y="vc"/>
                </a:cxn>
              </a:cxnLst>
              <a:rect l="l" t="t" r="r" b="b"/>
              <a:pathLst>
                <a:path w="654" h="1059">
                  <a:moveTo>
                    <a:pt x="337" y="53"/>
                  </a:moveTo>
                  <a:cubicBezTo>
                    <a:pt x="276" y="108"/>
                    <a:pt x="233" y="167"/>
                    <a:pt x="204" y="230"/>
                  </a:cubicBezTo>
                  <a:lnTo>
                    <a:pt x="201" y="233"/>
                  </a:lnTo>
                  <a:cubicBezTo>
                    <a:pt x="201" y="233"/>
                    <a:pt x="199" y="236"/>
                    <a:pt x="183" y="262"/>
                  </a:cubicBezTo>
                  <a:lnTo>
                    <a:pt x="125" y="368"/>
                  </a:lnTo>
                  <a:cubicBezTo>
                    <a:pt x="43" y="564"/>
                    <a:pt x="0" y="710"/>
                    <a:pt x="0" y="808"/>
                  </a:cubicBezTo>
                  <a:lnTo>
                    <a:pt x="0" y="826"/>
                  </a:lnTo>
                  <a:cubicBezTo>
                    <a:pt x="0" y="861"/>
                    <a:pt x="21" y="900"/>
                    <a:pt x="66" y="945"/>
                  </a:cubicBezTo>
                  <a:cubicBezTo>
                    <a:pt x="109" y="1019"/>
                    <a:pt x="159" y="1059"/>
                    <a:pt x="220" y="1059"/>
                  </a:cubicBezTo>
                  <a:cubicBezTo>
                    <a:pt x="268" y="1049"/>
                    <a:pt x="294" y="1038"/>
                    <a:pt x="294" y="1030"/>
                  </a:cubicBezTo>
                  <a:cubicBezTo>
                    <a:pt x="339" y="998"/>
                    <a:pt x="360" y="977"/>
                    <a:pt x="360" y="964"/>
                  </a:cubicBezTo>
                  <a:cubicBezTo>
                    <a:pt x="432" y="874"/>
                    <a:pt x="477" y="800"/>
                    <a:pt x="501" y="739"/>
                  </a:cubicBezTo>
                  <a:lnTo>
                    <a:pt x="501" y="733"/>
                  </a:lnTo>
                  <a:lnTo>
                    <a:pt x="485" y="720"/>
                  </a:lnTo>
                  <a:lnTo>
                    <a:pt x="469" y="733"/>
                  </a:lnTo>
                  <a:cubicBezTo>
                    <a:pt x="392" y="845"/>
                    <a:pt x="310" y="924"/>
                    <a:pt x="220" y="972"/>
                  </a:cubicBezTo>
                  <a:cubicBezTo>
                    <a:pt x="204" y="972"/>
                    <a:pt x="191" y="961"/>
                    <a:pt x="183" y="943"/>
                  </a:cubicBezTo>
                  <a:cubicBezTo>
                    <a:pt x="183" y="813"/>
                    <a:pt x="233" y="641"/>
                    <a:pt x="331" y="421"/>
                  </a:cubicBezTo>
                  <a:lnTo>
                    <a:pt x="382" y="424"/>
                  </a:lnTo>
                  <a:cubicBezTo>
                    <a:pt x="382" y="424"/>
                    <a:pt x="411" y="426"/>
                    <a:pt x="440" y="416"/>
                  </a:cubicBezTo>
                  <a:lnTo>
                    <a:pt x="530" y="379"/>
                  </a:lnTo>
                  <a:cubicBezTo>
                    <a:pt x="588" y="349"/>
                    <a:pt x="628" y="299"/>
                    <a:pt x="654" y="230"/>
                  </a:cubicBezTo>
                  <a:lnTo>
                    <a:pt x="654" y="159"/>
                  </a:lnTo>
                  <a:cubicBezTo>
                    <a:pt x="646" y="111"/>
                    <a:pt x="577" y="58"/>
                    <a:pt x="448" y="0"/>
                  </a:cubicBezTo>
                  <a:lnTo>
                    <a:pt x="411" y="0"/>
                  </a:lnTo>
                  <a:close/>
                  <a:moveTo>
                    <a:pt x="374" y="349"/>
                  </a:moveTo>
                  <a:cubicBezTo>
                    <a:pt x="453" y="244"/>
                    <a:pt x="506" y="191"/>
                    <a:pt x="535" y="191"/>
                  </a:cubicBezTo>
                  <a:lnTo>
                    <a:pt x="543" y="191"/>
                  </a:lnTo>
                  <a:lnTo>
                    <a:pt x="551" y="196"/>
                  </a:lnTo>
                  <a:cubicBezTo>
                    <a:pt x="498" y="310"/>
                    <a:pt x="448" y="368"/>
                    <a:pt x="405" y="368"/>
                  </a:cubicBezTo>
                  <a:lnTo>
                    <a:pt x="376" y="355"/>
                  </a:lnTo>
                  <a:lnTo>
                    <a:pt x="376" y="3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3" name="Freeform: Shape 6"/>
            <p:cNvSpPr/>
            <p:nvPr/>
          </p:nvSpPr>
          <p:spPr>
            <a:xfrm>
              <a:off x="1741456" y="4718660"/>
              <a:ext cx="122009" cy="137212"/>
            </a:xfrm>
            <a:custGeom>
              <a:avLst/>
              <a:gdLst/>
              <a:ahLst/>
              <a:cxnLst>
                <a:cxn ang="3cd4">
                  <a:pos x="hc" y="t"/>
                </a:cxn>
                <a:cxn ang="cd2">
                  <a:pos x="l" y="vc"/>
                </a:cxn>
                <a:cxn ang="cd4">
                  <a:pos x="hc" y="b"/>
                </a:cxn>
                <a:cxn ang="0">
                  <a:pos x="r" y="vc"/>
                </a:cxn>
              </a:cxnLst>
              <a:rect l="l" t="t" r="r" b="b"/>
              <a:pathLst>
                <a:path w="643" h="723">
                  <a:moveTo>
                    <a:pt x="495" y="442"/>
                  </a:moveTo>
                  <a:cubicBezTo>
                    <a:pt x="490" y="495"/>
                    <a:pt x="455" y="598"/>
                    <a:pt x="339" y="598"/>
                  </a:cubicBezTo>
                  <a:cubicBezTo>
                    <a:pt x="233" y="598"/>
                    <a:pt x="151" y="522"/>
                    <a:pt x="151" y="363"/>
                  </a:cubicBezTo>
                  <a:cubicBezTo>
                    <a:pt x="151" y="220"/>
                    <a:pt x="222" y="127"/>
                    <a:pt x="339" y="127"/>
                  </a:cubicBezTo>
                  <a:cubicBezTo>
                    <a:pt x="434" y="127"/>
                    <a:pt x="482" y="199"/>
                    <a:pt x="490" y="249"/>
                  </a:cubicBezTo>
                  <a:lnTo>
                    <a:pt x="635" y="249"/>
                  </a:lnTo>
                  <a:cubicBezTo>
                    <a:pt x="627" y="161"/>
                    <a:pt x="559" y="0"/>
                    <a:pt x="339" y="0"/>
                  </a:cubicBezTo>
                  <a:cubicBezTo>
                    <a:pt x="130" y="0"/>
                    <a:pt x="0" y="156"/>
                    <a:pt x="0" y="360"/>
                  </a:cubicBezTo>
                  <a:cubicBezTo>
                    <a:pt x="0" y="577"/>
                    <a:pt x="140" y="723"/>
                    <a:pt x="339" y="723"/>
                  </a:cubicBezTo>
                  <a:cubicBezTo>
                    <a:pt x="566" y="723"/>
                    <a:pt x="638" y="537"/>
                    <a:pt x="643" y="439"/>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4" name="Freeform: Shape 7"/>
            <p:cNvSpPr/>
            <p:nvPr/>
          </p:nvSpPr>
          <p:spPr>
            <a:xfrm>
              <a:off x="1876198" y="4721701"/>
              <a:ext cx="27556" cy="23375"/>
            </a:xfrm>
            <a:custGeom>
              <a:avLst/>
              <a:gdLst/>
              <a:ahLst/>
              <a:cxnLst>
                <a:cxn ang="3cd4">
                  <a:pos x="hc" y="t"/>
                </a:cxn>
                <a:cxn ang="cd2">
                  <a:pos x="l" y="vc"/>
                </a:cxn>
                <a:cxn ang="cd4">
                  <a:pos x="hc" y="b"/>
                </a:cxn>
                <a:cxn ang="0">
                  <a:pos x="r" y="vc"/>
                </a:cxn>
              </a:cxnLst>
              <a:rect l="l" t="t" r="r" b="b"/>
              <a:pathLst>
                <a:path w="146" h="124">
                  <a:moveTo>
                    <a:pt x="73" y="124"/>
                  </a:moveTo>
                  <a:lnTo>
                    <a:pt x="0" y="124"/>
                  </a:lnTo>
                  <a:lnTo>
                    <a:pt x="0" y="0"/>
                  </a:lnTo>
                  <a:lnTo>
                    <a:pt x="146" y="0"/>
                  </a:lnTo>
                  <a:lnTo>
                    <a:pt x="146" y="12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5" name="Freeform: Shape 8"/>
            <p:cNvSpPr/>
            <p:nvPr/>
          </p:nvSpPr>
          <p:spPr>
            <a:xfrm>
              <a:off x="1876198" y="4757809"/>
              <a:ext cx="27556" cy="95022"/>
            </a:xfrm>
            <a:custGeom>
              <a:avLst/>
              <a:gdLst/>
              <a:ahLst/>
              <a:cxnLst>
                <a:cxn ang="3cd4">
                  <a:pos x="hc" y="t"/>
                </a:cxn>
                <a:cxn ang="cd2">
                  <a:pos x="l" y="vc"/>
                </a:cxn>
                <a:cxn ang="cd4">
                  <a:pos x="hc" y="b"/>
                </a:cxn>
                <a:cxn ang="0">
                  <a:pos x="r" y="vc"/>
                </a:cxn>
              </a:cxnLst>
              <a:rect l="l" t="t" r="r" b="b"/>
              <a:pathLst>
                <a:path w="146" h="501">
                  <a:moveTo>
                    <a:pt x="73" y="501"/>
                  </a:moveTo>
                  <a:lnTo>
                    <a:pt x="0" y="501"/>
                  </a:lnTo>
                  <a:lnTo>
                    <a:pt x="0" y="0"/>
                  </a:lnTo>
                  <a:lnTo>
                    <a:pt x="146" y="0"/>
                  </a:lnTo>
                  <a:lnTo>
                    <a:pt x="146" y="50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6" name="Freeform: Shape 9"/>
            <p:cNvSpPr/>
            <p:nvPr/>
          </p:nvSpPr>
          <p:spPr>
            <a:xfrm>
              <a:off x="1914967" y="4755338"/>
              <a:ext cx="90461" cy="100533"/>
            </a:xfrm>
            <a:custGeom>
              <a:avLst/>
              <a:gdLst/>
              <a:ahLst/>
              <a:cxnLst>
                <a:cxn ang="3cd4">
                  <a:pos x="hc" y="t"/>
                </a:cxn>
                <a:cxn ang="cd2">
                  <a:pos x="l" y="vc"/>
                </a:cxn>
                <a:cxn ang="cd4">
                  <a:pos x="hc" y="b"/>
                </a:cxn>
                <a:cxn ang="0">
                  <a:pos x="r" y="vc"/>
                </a:cxn>
              </a:cxnLst>
              <a:rect l="l" t="t" r="r" b="b"/>
              <a:pathLst>
                <a:path w="477" h="530">
                  <a:moveTo>
                    <a:pt x="16" y="146"/>
                  </a:moveTo>
                  <a:cubicBezTo>
                    <a:pt x="16" y="252"/>
                    <a:pt x="109" y="284"/>
                    <a:pt x="162" y="297"/>
                  </a:cubicBezTo>
                  <a:cubicBezTo>
                    <a:pt x="175" y="299"/>
                    <a:pt x="212" y="310"/>
                    <a:pt x="225" y="313"/>
                  </a:cubicBezTo>
                  <a:cubicBezTo>
                    <a:pt x="278" y="326"/>
                    <a:pt x="326" y="337"/>
                    <a:pt x="326" y="379"/>
                  </a:cubicBezTo>
                  <a:cubicBezTo>
                    <a:pt x="326" y="408"/>
                    <a:pt x="294" y="432"/>
                    <a:pt x="236" y="432"/>
                  </a:cubicBezTo>
                  <a:cubicBezTo>
                    <a:pt x="178" y="432"/>
                    <a:pt x="143" y="403"/>
                    <a:pt x="138" y="352"/>
                  </a:cubicBezTo>
                  <a:lnTo>
                    <a:pt x="0" y="352"/>
                  </a:lnTo>
                  <a:cubicBezTo>
                    <a:pt x="6" y="405"/>
                    <a:pt x="35" y="530"/>
                    <a:pt x="236" y="530"/>
                  </a:cubicBezTo>
                  <a:cubicBezTo>
                    <a:pt x="424" y="530"/>
                    <a:pt x="477" y="427"/>
                    <a:pt x="477" y="368"/>
                  </a:cubicBezTo>
                  <a:cubicBezTo>
                    <a:pt x="477" y="302"/>
                    <a:pt x="435" y="246"/>
                    <a:pt x="310" y="215"/>
                  </a:cubicBezTo>
                  <a:cubicBezTo>
                    <a:pt x="302" y="212"/>
                    <a:pt x="262" y="204"/>
                    <a:pt x="247" y="199"/>
                  </a:cubicBezTo>
                  <a:cubicBezTo>
                    <a:pt x="183" y="183"/>
                    <a:pt x="165" y="172"/>
                    <a:pt x="165" y="141"/>
                  </a:cubicBezTo>
                  <a:cubicBezTo>
                    <a:pt x="165" y="111"/>
                    <a:pt x="196" y="98"/>
                    <a:pt x="231" y="98"/>
                  </a:cubicBezTo>
                  <a:cubicBezTo>
                    <a:pt x="310" y="98"/>
                    <a:pt x="326" y="138"/>
                    <a:pt x="326" y="162"/>
                  </a:cubicBezTo>
                  <a:lnTo>
                    <a:pt x="464" y="162"/>
                  </a:lnTo>
                  <a:cubicBezTo>
                    <a:pt x="464" y="109"/>
                    <a:pt x="427" y="0"/>
                    <a:pt x="231" y="0"/>
                  </a:cubicBezTo>
                  <a:cubicBezTo>
                    <a:pt x="74" y="0"/>
                    <a:pt x="16" y="80"/>
                    <a:pt x="16" y="146"/>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7" name="Freeform: Shape 10"/>
            <p:cNvSpPr/>
            <p:nvPr/>
          </p:nvSpPr>
          <p:spPr>
            <a:xfrm>
              <a:off x="2012080" y="4755338"/>
              <a:ext cx="97493" cy="100533"/>
            </a:xfrm>
            <a:custGeom>
              <a:avLst/>
              <a:gdLst/>
              <a:ahLst/>
              <a:cxnLst>
                <a:cxn ang="3cd4">
                  <a:pos x="hc" y="t"/>
                </a:cxn>
                <a:cxn ang="cd2">
                  <a:pos x="l" y="vc"/>
                </a:cxn>
                <a:cxn ang="cd4">
                  <a:pos x="hc" y="b"/>
                </a:cxn>
                <a:cxn ang="0">
                  <a:pos x="r" y="vc"/>
                </a:cxn>
              </a:cxnLst>
              <a:rect l="l" t="t" r="r" b="b"/>
              <a:pathLst>
                <a:path w="514" h="530">
                  <a:moveTo>
                    <a:pt x="376" y="331"/>
                  </a:moveTo>
                  <a:cubicBezTo>
                    <a:pt x="366" y="379"/>
                    <a:pt x="334" y="424"/>
                    <a:pt x="270" y="424"/>
                  </a:cubicBezTo>
                  <a:cubicBezTo>
                    <a:pt x="191" y="424"/>
                    <a:pt x="151" y="355"/>
                    <a:pt x="151" y="265"/>
                  </a:cubicBezTo>
                  <a:cubicBezTo>
                    <a:pt x="151" y="196"/>
                    <a:pt x="178" y="103"/>
                    <a:pt x="270" y="103"/>
                  </a:cubicBezTo>
                  <a:cubicBezTo>
                    <a:pt x="329" y="103"/>
                    <a:pt x="363" y="143"/>
                    <a:pt x="371" y="188"/>
                  </a:cubicBezTo>
                  <a:lnTo>
                    <a:pt x="511" y="188"/>
                  </a:lnTo>
                  <a:cubicBezTo>
                    <a:pt x="503" y="109"/>
                    <a:pt x="445" y="0"/>
                    <a:pt x="268" y="0"/>
                  </a:cubicBezTo>
                  <a:cubicBezTo>
                    <a:pt x="112" y="0"/>
                    <a:pt x="0" y="103"/>
                    <a:pt x="0" y="265"/>
                  </a:cubicBezTo>
                  <a:cubicBezTo>
                    <a:pt x="0" y="427"/>
                    <a:pt x="109" y="530"/>
                    <a:pt x="268" y="530"/>
                  </a:cubicBezTo>
                  <a:cubicBezTo>
                    <a:pt x="453" y="530"/>
                    <a:pt x="506" y="413"/>
                    <a:pt x="514" y="334"/>
                  </a:cubicBezTo>
                  <a:lnTo>
                    <a:pt x="376" y="3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8" name="Freeform: Shape 11"/>
            <p:cNvSpPr/>
            <p:nvPr/>
          </p:nvSpPr>
          <p:spPr>
            <a:xfrm>
              <a:off x="2117744" y="4755338"/>
              <a:ext cx="101104" cy="100533"/>
            </a:xfrm>
            <a:custGeom>
              <a:avLst/>
              <a:gdLst/>
              <a:ahLst/>
              <a:cxnLst>
                <a:cxn ang="3cd4">
                  <a:pos x="hc" y="t"/>
                </a:cxn>
                <a:cxn ang="cd2">
                  <a:pos x="l" y="vc"/>
                </a:cxn>
                <a:cxn ang="cd4">
                  <a:pos x="hc" y="b"/>
                </a:cxn>
                <a:cxn ang="0">
                  <a:pos x="r" y="vc"/>
                </a:cxn>
              </a:cxnLst>
              <a:rect l="l" t="t" r="r" b="b"/>
              <a:pathLst>
                <a:path w="533" h="530">
                  <a:moveTo>
                    <a:pt x="268" y="0"/>
                  </a:moveTo>
                  <a:cubicBezTo>
                    <a:pt x="109" y="0"/>
                    <a:pt x="0" y="103"/>
                    <a:pt x="0" y="265"/>
                  </a:cubicBezTo>
                  <a:cubicBezTo>
                    <a:pt x="0" y="427"/>
                    <a:pt x="109" y="530"/>
                    <a:pt x="268" y="530"/>
                  </a:cubicBezTo>
                  <a:cubicBezTo>
                    <a:pt x="424" y="530"/>
                    <a:pt x="533" y="429"/>
                    <a:pt x="533" y="265"/>
                  </a:cubicBezTo>
                  <a:cubicBezTo>
                    <a:pt x="533" y="98"/>
                    <a:pt x="419" y="0"/>
                    <a:pt x="268" y="0"/>
                  </a:cubicBezTo>
                  <a:close/>
                  <a:moveTo>
                    <a:pt x="265" y="424"/>
                  </a:moveTo>
                  <a:cubicBezTo>
                    <a:pt x="188" y="424"/>
                    <a:pt x="146" y="355"/>
                    <a:pt x="146" y="265"/>
                  </a:cubicBezTo>
                  <a:cubicBezTo>
                    <a:pt x="149" y="196"/>
                    <a:pt x="175" y="103"/>
                    <a:pt x="265" y="103"/>
                  </a:cubicBezTo>
                  <a:cubicBezTo>
                    <a:pt x="347" y="103"/>
                    <a:pt x="382" y="183"/>
                    <a:pt x="382" y="265"/>
                  </a:cubicBezTo>
                  <a:cubicBezTo>
                    <a:pt x="382" y="347"/>
                    <a:pt x="347" y="424"/>
                    <a:pt x="265" y="42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4230662573"/>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lumMod val="75000"/>
                  </a:schemeClr>
                </a:solidFill>
                <a:latin typeface="+mn-lt"/>
                <a:ea typeface="ＭＳ Ｐゴシック" charset="0"/>
                <a:cs typeface="CiscoSans"/>
              </a:defRPr>
            </a:lvl1pPr>
            <a:lvl2pPr marL="228600" indent="-114300">
              <a:buClr>
                <a:schemeClr val="tx2"/>
              </a:buClr>
              <a:buSzPct val="60000"/>
              <a:defRPr sz="2000">
                <a:solidFill>
                  <a:schemeClr val="bg1">
                    <a:lumMod val="75000"/>
                  </a:schemeClr>
                </a:solidFill>
              </a:defRPr>
            </a:lvl2pPr>
            <a:lvl3pPr marL="342900" indent="-114300">
              <a:buClr>
                <a:schemeClr val="tx2"/>
              </a:buClr>
              <a:buSzPct val="60000"/>
              <a:defRPr sz="1800">
                <a:solidFill>
                  <a:schemeClr val="bg1">
                    <a:lumMod val="75000"/>
                  </a:schemeClr>
                </a:solidFill>
              </a:defRPr>
            </a:lvl3pPr>
            <a:lvl4pPr marL="457200" indent="-123825">
              <a:buClr>
                <a:schemeClr val="tx2"/>
              </a:buClr>
              <a:buSzPct val="60000"/>
              <a:defRPr sz="1600">
                <a:solidFill>
                  <a:schemeClr val="bg1">
                    <a:lumMod val="75000"/>
                  </a:schemeClr>
                </a:solidFill>
              </a:defRPr>
            </a:lvl4pPr>
            <a:lvl5pPr marL="574675" indent="-117475">
              <a:buClr>
                <a:schemeClr val="tx2"/>
              </a:buClr>
              <a:buSzPct val="60000"/>
              <a:defRPr sz="1600">
                <a:solidFill>
                  <a:schemeClr val="bg1">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770551288"/>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Segue 6">
    <p:spTree>
      <p:nvGrpSpPr>
        <p:cNvPr id="1" name=""/>
        <p:cNvGrpSpPr/>
        <p:nvPr/>
      </p:nvGrpSpPr>
      <p:grpSpPr>
        <a:xfrm>
          <a:off x="0" y="0"/>
          <a:ext cx="0" cy="0"/>
          <a:chOff x="0" y="0"/>
          <a:chExt cx="0" cy="0"/>
        </a:xfrm>
      </p:grpSpPr>
      <p:sp>
        <p:nvSpPr>
          <p:cNvPr id="15" name="Rectangle 14"/>
          <p:cNvSpPr/>
          <p:nvPr userDrawn="1"/>
        </p:nvSpPr>
        <p:spPr bwMode="auto">
          <a:xfrm>
            <a:off x="0" y="0"/>
            <a:ext cx="9143918" cy="5143500"/>
          </a:xfrm>
          <a:prstGeom prst="rect">
            <a:avLst/>
          </a:prstGeom>
          <a:solidFill>
            <a:srgbClr val="005073"/>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a:solidFill>
                <a:srgbClr val="00BCEB"/>
              </a:solidFill>
              <a:ea typeface="Arial" pitchFamily="-107" charset="0"/>
              <a:cs typeface="Arial" pitchFamily="-107" charset="0"/>
              <a:sym typeface="Arial" pitchFamily="-107"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37693" y="0"/>
            <a:ext cx="6206307" cy="5143500"/>
          </a:xfrm>
          <a:prstGeom prst="rect">
            <a:avLst/>
          </a:prstGeom>
        </p:spPr>
      </p:pic>
      <p:sp>
        <p:nvSpPr>
          <p:cNvPr id="8" name="Title 7"/>
          <p:cNvSpPr>
            <a:spLocks noGrp="1"/>
          </p:cNvSpPr>
          <p:nvPr>
            <p:ph type="title" hasCustomPrompt="1"/>
          </p:nvPr>
        </p:nvSpPr>
        <p:spPr bwMode="white">
          <a:xfrm>
            <a:off x="359051" y="2166220"/>
            <a:ext cx="4624429" cy="1142052"/>
          </a:xfrm>
        </p:spPr>
        <p:txBody>
          <a:bodyPr anchor="t"/>
          <a:lstStyle>
            <a:lvl1pPr marL="6251" indent="-6251" algn="l" defTabSz="914400" rtl="0" eaLnBrk="0" fontAlgn="base" latinLnBrk="0" hangingPunct="0">
              <a:lnSpc>
                <a:spcPct val="90000"/>
              </a:lnSpc>
              <a:spcBef>
                <a:spcPct val="0"/>
              </a:spcBef>
              <a:spcAft>
                <a:spcPct val="0"/>
              </a:spcAft>
              <a:defRPr lang="en-US" sz="4000" b="0" i="0" kern="1200" dirty="0">
                <a:solidFill>
                  <a:schemeClr val="bg1"/>
                </a:solidFill>
                <a:latin typeface="+mj-lt"/>
                <a:ea typeface="+mj-ea"/>
                <a:cs typeface="+mj-cs"/>
                <a:sym typeface="Arial" pitchFamily="34" charset="0"/>
              </a:defRPr>
            </a:lvl1pPr>
          </a:lstStyle>
          <a:p>
            <a:r>
              <a:rPr lang="en-US" dirty="0"/>
              <a:t>Segue Slide</a:t>
            </a:r>
          </a:p>
        </p:txBody>
      </p:sp>
      <p:sp>
        <p:nvSpPr>
          <p:cNvPr id="9"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rPr>
              <a:pPr/>
              <a:t>‹#›</a:t>
            </a:fld>
            <a:endParaRPr dirty="0">
              <a:solidFill>
                <a:srgbClr val="FFFFFF">
                  <a:alpha val="60000"/>
                </a:srgbClr>
              </a:solidFill>
            </a:endParaRPr>
          </a:p>
        </p:txBody>
      </p:sp>
      <p:grpSp>
        <p:nvGrpSpPr>
          <p:cNvPr id="11" name="Group 10"/>
          <p:cNvGrpSpPr/>
          <p:nvPr userDrawn="1"/>
        </p:nvGrpSpPr>
        <p:grpSpPr>
          <a:xfrm>
            <a:off x="454861" y="4785454"/>
            <a:ext cx="820227" cy="274319"/>
            <a:chOff x="1741456" y="4513412"/>
            <a:chExt cx="1027381" cy="343600"/>
          </a:xfrm>
          <a:solidFill>
            <a:schemeClr val="bg1"/>
          </a:solidFill>
        </p:grpSpPr>
        <p:sp>
          <p:nvSpPr>
            <p:cNvPr id="14" name="Freeform: Shape 1"/>
            <p:cNvSpPr/>
            <p:nvPr/>
          </p:nvSpPr>
          <p:spPr>
            <a:xfrm>
              <a:off x="2624973" y="4513412"/>
              <a:ext cx="143864" cy="343030"/>
            </a:xfrm>
            <a:custGeom>
              <a:avLst/>
              <a:gdLst/>
              <a:ahLst/>
              <a:cxnLst>
                <a:cxn ang="3cd4">
                  <a:pos x="hc" y="t"/>
                </a:cxn>
                <a:cxn ang="cd2">
                  <a:pos x="l" y="vc"/>
                </a:cxn>
                <a:cxn ang="cd4">
                  <a:pos x="hc" y="b"/>
                </a:cxn>
                <a:cxn ang="0">
                  <a:pos x="r" y="vc"/>
                </a:cxn>
              </a:cxnLst>
              <a:rect l="l" t="t" r="r" b="b"/>
              <a:pathLst>
                <a:path w="758" h="1806">
                  <a:moveTo>
                    <a:pt x="242" y="829"/>
                  </a:moveTo>
                  <a:cubicBezTo>
                    <a:pt x="215" y="896"/>
                    <a:pt x="204" y="941"/>
                    <a:pt x="204" y="964"/>
                  </a:cubicBezTo>
                  <a:cubicBezTo>
                    <a:pt x="183" y="999"/>
                    <a:pt x="175" y="1070"/>
                    <a:pt x="175" y="1097"/>
                  </a:cubicBezTo>
                  <a:lnTo>
                    <a:pt x="175" y="1129"/>
                  </a:lnTo>
                  <a:lnTo>
                    <a:pt x="223" y="1208"/>
                  </a:lnTo>
                  <a:cubicBezTo>
                    <a:pt x="250" y="1245"/>
                    <a:pt x="218" y="1258"/>
                    <a:pt x="292" y="1282"/>
                  </a:cubicBezTo>
                  <a:cubicBezTo>
                    <a:pt x="318" y="1282"/>
                    <a:pt x="340" y="1261"/>
                    <a:pt x="353" y="1221"/>
                  </a:cubicBezTo>
                  <a:lnTo>
                    <a:pt x="353" y="1208"/>
                  </a:lnTo>
                  <a:cubicBezTo>
                    <a:pt x="353" y="1113"/>
                    <a:pt x="387" y="978"/>
                    <a:pt x="419" y="888"/>
                  </a:cubicBezTo>
                  <a:cubicBezTo>
                    <a:pt x="419" y="845"/>
                    <a:pt x="456" y="718"/>
                    <a:pt x="588" y="406"/>
                  </a:cubicBezTo>
                  <a:cubicBezTo>
                    <a:pt x="588" y="371"/>
                    <a:pt x="618" y="308"/>
                    <a:pt x="678" y="210"/>
                  </a:cubicBezTo>
                  <a:cubicBezTo>
                    <a:pt x="729" y="125"/>
                    <a:pt x="742" y="138"/>
                    <a:pt x="758" y="128"/>
                  </a:cubicBezTo>
                  <a:lnTo>
                    <a:pt x="758" y="80"/>
                  </a:lnTo>
                  <a:lnTo>
                    <a:pt x="739" y="61"/>
                  </a:lnTo>
                  <a:cubicBezTo>
                    <a:pt x="739" y="61"/>
                    <a:pt x="721" y="43"/>
                    <a:pt x="671" y="22"/>
                  </a:cubicBezTo>
                  <a:cubicBezTo>
                    <a:pt x="671" y="22"/>
                    <a:pt x="620" y="0"/>
                    <a:pt x="604" y="0"/>
                  </a:cubicBezTo>
                  <a:cubicBezTo>
                    <a:pt x="588" y="0"/>
                    <a:pt x="557" y="32"/>
                    <a:pt x="530" y="93"/>
                  </a:cubicBezTo>
                  <a:close/>
                  <a:moveTo>
                    <a:pt x="14" y="1738"/>
                  </a:moveTo>
                  <a:cubicBezTo>
                    <a:pt x="14" y="1772"/>
                    <a:pt x="-18" y="1783"/>
                    <a:pt x="16" y="1806"/>
                  </a:cubicBezTo>
                  <a:lnTo>
                    <a:pt x="77" y="1806"/>
                  </a:lnTo>
                  <a:cubicBezTo>
                    <a:pt x="144" y="1775"/>
                    <a:pt x="167" y="1716"/>
                    <a:pt x="252" y="1528"/>
                  </a:cubicBezTo>
                  <a:lnTo>
                    <a:pt x="252" y="1486"/>
                  </a:lnTo>
                  <a:cubicBezTo>
                    <a:pt x="252" y="1460"/>
                    <a:pt x="273" y="1446"/>
                    <a:pt x="218" y="1412"/>
                  </a:cubicBezTo>
                  <a:lnTo>
                    <a:pt x="202" y="1412"/>
                  </a:lnTo>
                  <a:cubicBezTo>
                    <a:pt x="93" y="1409"/>
                    <a:pt x="67" y="1465"/>
                    <a:pt x="14" y="168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Shape 2"/>
            <p:cNvSpPr/>
            <p:nvPr/>
          </p:nvSpPr>
          <p:spPr>
            <a:xfrm>
              <a:off x="2244124" y="4551801"/>
              <a:ext cx="81339" cy="304261"/>
            </a:xfrm>
            <a:custGeom>
              <a:avLst/>
              <a:gdLst/>
              <a:ahLst/>
              <a:cxnLst>
                <a:cxn ang="3cd4">
                  <a:pos x="hc" y="t"/>
                </a:cxn>
                <a:cxn ang="cd2">
                  <a:pos x="l" y="vc"/>
                </a:cxn>
                <a:cxn ang="cd4">
                  <a:pos x="hc" y="b"/>
                </a:cxn>
                <a:cxn ang="0">
                  <a:pos x="r" y="vc"/>
                </a:cxn>
              </a:cxnLst>
              <a:rect l="l" t="t" r="r" b="b"/>
              <a:pathLst>
                <a:path w="429" h="1602">
                  <a:moveTo>
                    <a:pt x="244" y="1533"/>
                  </a:moveTo>
                  <a:cubicBezTo>
                    <a:pt x="209" y="1533"/>
                    <a:pt x="199" y="1483"/>
                    <a:pt x="183" y="1329"/>
                  </a:cubicBezTo>
                  <a:cubicBezTo>
                    <a:pt x="201" y="1064"/>
                    <a:pt x="223" y="884"/>
                    <a:pt x="241" y="789"/>
                  </a:cubicBezTo>
                  <a:cubicBezTo>
                    <a:pt x="323" y="384"/>
                    <a:pt x="307" y="458"/>
                    <a:pt x="366" y="320"/>
                  </a:cubicBezTo>
                  <a:cubicBezTo>
                    <a:pt x="424" y="180"/>
                    <a:pt x="429" y="161"/>
                    <a:pt x="429" y="119"/>
                  </a:cubicBezTo>
                  <a:cubicBezTo>
                    <a:pt x="429" y="71"/>
                    <a:pt x="376" y="32"/>
                    <a:pt x="268" y="0"/>
                  </a:cubicBezTo>
                  <a:lnTo>
                    <a:pt x="260" y="0"/>
                  </a:lnTo>
                  <a:lnTo>
                    <a:pt x="257" y="2"/>
                  </a:lnTo>
                  <a:cubicBezTo>
                    <a:pt x="257" y="2"/>
                    <a:pt x="254" y="5"/>
                    <a:pt x="241" y="63"/>
                  </a:cubicBezTo>
                  <a:lnTo>
                    <a:pt x="209" y="201"/>
                  </a:lnTo>
                  <a:cubicBezTo>
                    <a:pt x="130" y="535"/>
                    <a:pt x="127" y="564"/>
                    <a:pt x="109" y="614"/>
                  </a:cubicBezTo>
                  <a:cubicBezTo>
                    <a:pt x="-8" y="1138"/>
                    <a:pt x="0" y="1213"/>
                    <a:pt x="0" y="1340"/>
                  </a:cubicBezTo>
                  <a:cubicBezTo>
                    <a:pt x="5" y="1385"/>
                    <a:pt x="27" y="1432"/>
                    <a:pt x="66" y="1483"/>
                  </a:cubicBezTo>
                  <a:cubicBezTo>
                    <a:pt x="146" y="1562"/>
                    <a:pt x="212" y="1602"/>
                    <a:pt x="257" y="160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Shape 3"/>
            <p:cNvSpPr/>
            <p:nvPr/>
          </p:nvSpPr>
          <p:spPr>
            <a:xfrm>
              <a:off x="2307789" y="4611664"/>
              <a:ext cx="82479" cy="244587"/>
            </a:xfrm>
            <a:custGeom>
              <a:avLst/>
              <a:gdLst/>
              <a:ahLst/>
              <a:cxnLst>
                <a:cxn ang="3cd4">
                  <a:pos x="hc" y="t"/>
                </a:cxn>
                <a:cxn ang="cd2">
                  <a:pos x="l" y="vc"/>
                </a:cxn>
                <a:cxn ang="cd4">
                  <a:pos x="hc" y="b"/>
                </a:cxn>
                <a:cxn ang="0">
                  <a:pos x="r" y="vc"/>
                </a:cxn>
              </a:cxnLst>
              <a:rect l="l" t="t" r="r" b="b"/>
              <a:pathLst>
                <a:path w="435" h="1288">
                  <a:moveTo>
                    <a:pt x="270" y="204"/>
                  </a:moveTo>
                  <a:lnTo>
                    <a:pt x="294" y="212"/>
                  </a:lnTo>
                  <a:cubicBezTo>
                    <a:pt x="331" y="206"/>
                    <a:pt x="379" y="164"/>
                    <a:pt x="435" y="82"/>
                  </a:cubicBezTo>
                  <a:lnTo>
                    <a:pt x="432" y="71"/>
                  </a:lnTo>
                  <a:cubicBezTo>
                    <a:pt x="429" y="45"/>
                    <a:pt x="395" y="21"/>
                    <a:pt x="329" y="0"/>
                  </a:cubicBezTo>
                  <a:lnTo>
                    <a:pt x="321" y="0"/>
                  </a:lnTo>
                  <a:cubicBezTo>
                    <a:pt x="302" y="3"/>
                    <a:pt x="284" y="69"/>
                    <a:pt x="270" y="204"/>
                  </a:cubicBezTo>
                  <a:close/>
                  <a:moveTo>
                    <a:pt x="210" y="1218"/>
                  </a:moveTo>
                  <a:lnTo>
                    <a:pt x="199" y="1189"/>
                  </a:lnTo>
                  <a:cubicBezTo>
                    <a:pt x="194" y="1048"/>
                    <a:pt x="194" y="956"/>
                    <a:pt x="204" y="913"/>
                  </a:cubicBezTo>
                  <a:lnTo>
                    <a:pt x="194" y="884"/>
                  </a:lnTo>
                  <a:cubicBezTo>
                    <a:pt x="191" y="829"/>
                    <a:pt x="196" y="800"/>
                    <a:pt x="207" y="800"/>
                  </a:cubicBezTo>
                  <a:cubicBezTo>
                    <a:pt x="220" y="712"/>
                    <a:pt x="236" y="662"/>
                    <a:pt x="249" y="651"/>
                  </a:cubicBezTo>
                  <a:cubicBezTo>
                    <a:pt x="255" y="590"/>
                    <a:pt x="286" y="511"/>
                    <a:pt x="347" y="413"/>
                  </a:cubicBezTo>
                  <a:cubicBezTo>
                    <a:pt x="345" y="381"/>
                    <a:pt x="281" y="341"/>
                    <a:pt x="165" y="291"/>
                  </a:cubicBezTo>
                  <a:cubicBezTo>
                    <a:pt x="133" y="294"/>
                    <a:pt x="106" y="360"/>
                    <a:pt x="82" y="484"/>
                  </a:cubicBezTo>
                  <a:cubicBezTo>
                    <a:pt x="16" y="768"/>
                    <a:pt x="-10" y="969"/>
                    <a:pt x="3" y="1086"/>
                  </a:cubicBezTo>
                  <a:cubicBezTo>
                    <a:pt x="14" y="1168"/>
                    <a:pt x="24" y="1207"/>
                    <a:pt x="40" y="1207"/>
                  </a:cubicBezTo>
                  <a:cubicBezTo>
                    <a:pt x="96" y="1268"/>
                    <a:pt x="157" y="1295"/>
                    <a:pt x="225" y="128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9" name="Freeform: Shape 4"/>
            <p:cNvSpPr/>
            <p:nvPr/>
          </p:nvSpPr>
          <p:spPr>
            <a:xfrm>
              <a:off x="2387038" y="4639791"/>
              <a:ext cx="173891" cy="216270"/>
            </a:xfrm>
            <a:custGeom>
              <a:avLst/>
              <a:gdLst/>
              <a:ahLst/>
              <a:cxnLst>
                <a:cxn ang="3cd4">
                  <a:pos x="hc" y="t"/>
                </a:cxn>
                <a:cxn ang="cd2">
                  <a:pos x="l" y="vc"/>
                </a:cxn>
                <a:cxn ang="cd4">
                  <a:pos x="hc" y="b"/>
                </a:cxn>
                <a:cxn ang="0">
                  <a:pos x="r" y="vc"/>
                </a:cxn>
              </a:cxnLst>
              <a:rect l="l" t="t" r="r" b="b"/>
              <a:pathLst>
                <a:path w="916" h="1139">
                  <a:moveTo>
                    <a:pt x="871" y="172"/>
                  </a:moveTo>
                  <a:cubicBezTo>
                    <a:pt x="900" y="141"/>
                    <a:pt x="916" y="114"/>
                    <a:pt x="916" y="95"/>
                  </a:cubicBezTo>
                  <a:cubicBezTo>
                    <a:pt x="916" y="37"/>
                    <a:pt x="892" y="5"/>
                    <a:pt x="795" y="0"/>
                  </a:cubicBezTo>
                  <a:cubicBezTo>
                    <a:pt x="773" y="0"/>
                    <a:pt x="736" y="35"/>
                    <a:pt x="683" y="106"/>
                  </a:cubicBezTo>
                  <a:cubicBezTo>
                    <a:pt x="644" y="252"/>
                    <a:pt x="599" y="350"/>
                    <a:pt x="543" y="403"/>
                  </a:cubicBezTo>
                  <a:cubicBezTo>
                    <a:pt x="456" y="596"/>
                    <a:pt x="389" y="723"/>
                    <a:pt x="344" y="781"/>
                  </a:cubicBezTo>
                  <a:cubicBezTo>
                    <a:pt x="331" y="832"/>
                    <a:pt x="318" y="858"/>
                    <a:pt x="307" y="858"/>
                  </a:cubicBezTo>
                  <a:lnTo>
                    <a:pt x="305" y="858"/>
                  </a:lnTo>
                  <a:cubicBezTo>
                    <a:pt x="305" y="858"/>
                    <a:pt x="302" y="858"/>
                    <a:pt x="299" y="773"/>
                  </a:cubicBezTo>
                  <a:lnTo>
                    <a:pt x="294" y="569"/>
                  </a:lnTo>
                  <a:lnTo>
                    <a:pt x="302" y="498"/>
                  </a:lnTo>
                  <a:lnTo>
                    <a:pt x="286" y="416"/>
                  </a:lnTo>
                  <a:lnTo>
                    <a:pt x="294" y="397"/>
                  </a:lnTo>
                  <a:lnTo>
                    <a:pt x="278" y="363"/>
                  </a:lnTo>
                  <a:lnTo>
                    <a:pt x="286" y="339"/>
                  </a:lnTo>
                  <a:lnTo>
                    <a:pt x="286" y="334"/>
                  </a:lnTo>
                  <a:cubicBezTo>
                    <a:pt x="286" y="286"/>
                    <a:pt x="207" y="249"/>
                    <a:pt x="45" y="220"/>
                  </a:cubicBezTo>
                  <a:cubicBezTo>
                    <a:pt x="24" y="225"/>
                    <a:pt x="11" y="236"/>
                    <a:pt x="0" y="249"/>
                  </a:cubicBezTo>
                  <a:lnTo>
                    <a:pt x="0" y="260"/>
                  </a:lnTo>
                  <a:cubicBezTo>
                    <a:pt x="29" y="260"/>
                    <a:pt x="53" y="474"/>
                    <a:pt x="74" y="906"/>
                  </a:cubicBezTo>
                  <a:cubicBezTo>
                    <a:pt x="74" y="993"/>
                    <a:pt x="93" y="1049"/>
                    <a:pt x="133" y="1073"/>
                  </a:cubicBezTo>
                  <a:cubicBezTo>
                    <a:pt x="170" y="1115"/>
                    <a:pt x="215" y="1139"/>
                    <a:pt x="273" y="1139"/>
                  </a:cubicBezTo>
                  <a:lnTo>
                    <a:pt x="302" y="1139"/>
                  </a:lnTo>
                  <a:lnTo>
                    <a:pt x="305" y="1136"/>
                  </a:lnTo>
                  <a:cubicBezTo>
                    <a:pt x="305" y="1136"/>
                    <a:pt x="307" y="1134"/>
                    <a:pt x="342" y="1054"/>
                  </a:cubicBezTo>
                  <a:lnTo>
                    <a:pt x="432" y="848"/>
                  </a:lnTo>
                  <a:cubicBezTo>
                    <a:pt x="516" y="667"/>
                    <a:pt x="569" y="564"/>
                    <a:pt x="593" y="540"/>
                  </a:cubicBezTo>
                  <a:cubicBezTo>
                    <a:pt x="620" y="474"/>
                    <a:pt x="641" y="440"/>
                    <a:pt x="652" y="434"/>
                  </a:cubicBezTo>
                  <a:lnTo>
                    <a:pt x="654" y="434"/>
                  </a:lnTo>
                  <a:cubicBezTo>
                    <a:pt x="654" y="434"/>
                    <a:pt x="657" y="434"/>
                    <a:pt x="712" y="36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0" name="Freeform: Shape 5"/>
            <p:cNvSpPr/>
            <p:nvPr/>
          </p:nvSpPr>
          <p:spPr>
            <a:xfrm>
              <a:off x="2518358" y="4655945"/>
              <a:ext cx="124099" cy="201067"/>
            </a:xfrm>
            <a:custGeom>
              <a:avLst/>
              <a:gdLst/>
              <a:ahLst/>
              <a:cxnLst>
                <a:cxn ang="3cd4">
                  <a:pos x="hc" y="t"/>
                </a:cxn>
                <a:cxn ang="cd2">
                  <a:pos x="l" y="vc"/>
                </a:cxn>
                <a:cxn ang="cd4">
                  <a:pos x="hc" y="b"/>
                </a:cxn>
                <a:cxn ang="0">
                  <a:pos x="r" y="vc"/>
                </a:cxn>
              </a:cxnLst>
              <a:rect l="l" t="t" r="r" b="b"/>
              <a:pathLst>
                <a:path w="654" h="1059">
                  <a:moveTo>
                    <a:pt x="337" y="53"/>
                  </a:moveTo>
                  <a:cubicBezTo>
                    <a:pt x="276" y="108"/>
                    <a:pt x="233" y="167"/>
                    <a:pt x="204" y="230"/>
                  </a:cubicBezTo>
                  <a:lnTo>
                    <a:pt x="201" y="233"/>
                  </a:lnTo>
                  <a:cubicBezTo>
                    <a:pt x="201" y="233"/>
                    <a:pt x="199" y="236"/>
                    <a:pt x="183" y="262"/>
                  </a:cubicBezTo>
                  <a:lnTo>
                    <a:pt x="125" y="368"/>
                  </a:lnTo>
                  <a:cubicBezTo>
                    <a:pt x="43" y="564"/>
                    <a:pt x="0" y="710"/>
                    <a:pt x="0" y="808"/>
                  </a:cubicBezTo>
                  <a:lnTo>
                    <a:pt x="0" y="826"/>
                  </a:lnTo>
                  <a:cubicBezTo>
                    <a:pt x="0" y="861"/>
                    <a:pt x="21" y="900"/>
                    <a:pt x="66" y="945"/>
                  </a:cubicBezTo>
                  <a:cubicBezTo>
                    <a:pt x="109" y="1019"/>
                    <a:pt x="159" y="1059"/>
                    <a:pt x="220" y="1059"/>
                  </a:cubicBezTo>
                  <a:cubicBezTo>
                    <a:pt x="268" y="1049"/>
                    <a:pt x="294" y="1038"/>
                    <a:pt x="294" y="1030"/>
                  </a:cubicBezTo>
                  <a:cubicBezTo>
                    <a:pt x="339" y="998"/>
                    <a:pt x="360" y="977"/>
                    <a:pt x="360" y="964"/>
                  </a:cubicBezTo>
                  <a:cubicBezTo>
                    <a:pt x="432" y="874"/>
                    <a:pt x="477" y="800"/>
                    <a:pt x="501" y="739"/>
                  </a:cubicBezTo>
                  <a:lnTo>
                    <a:pt x="501" y="733"/>
                  </a:lnTo>
                  <a:lnTo>
                    <a:pt x="485" y="720"/>
                  </a:lnTo>
                  <a:lnTo>
                    <a:pt x="469" y="733"/>
                  </a:lnTo>
                  <a:cubicBezTo>
                    <a:pt x="392" y="845"/>
                    <a:pt x="310" y="924"/>
                    <a:pt x="220" y="972"/>
                  </a:cubicBezTo>
                  <a:cubicBezTo>
                    <a:pt x="204" y="972"/>
                    <a:pt x="191" y="961"/>
                    <a:pt x="183" y="943"/>
                  </a:cubicBezTo>
                  <a:cubicBezTo>
                    <a:pt x="183" y="813"/>
                    <a:pt x="233" y="641"/>
                    <a:pt x="331" y="421"/>
                  </a:cubicBezTo>
                  <a:lnTo>
                    <a:pt x="382" y="424"/>
                  </a:lnTo>
                  <a:cubicBezTo>
                    <a:pt x="382" y="424"/>
                    <a:pt x="411" y="426"/>
                    <a:pt x="440" y="416"/>
                  </a:cubicBezTo>
                  <a:lnTo>
                    <a:pt x="530" y="379"/>
                  </a:lnTo>
                  <a:cubicBezTo>
                    <a:pt x="588" y="349"/>
                    <a:pt x="628" y="299"/>
                    <a:pt x="654" y="230"/>
                  </a:cubicBezTo>
                  <a:lnTo>
                    <a:pt x="654" y="159"/>
                  </a:lnTo>
                  <a:cubicBezTo>
                    <a:pt x="646" y="111"/>
                    <a:pt x="577" y="58"/>
                    <a:pt x="448" y="0"/>
                  </a:cubicBezTo>
                  <a:lnTo>
                    <a:pt x="411" y="0"/>
                  </a:lnTo>
                  <a:close/>
                  <a:moveTo>
                    <a:pt x="374" y="349"/>
                  </a:moveTo>
                  <a:cubicBezTo>
                    <a:pt x="453" y="244"/>
                    <a:pt x="506" y="191"/>
                    <a:pt x="535" y="191"/>
                  </a:cubicBezTo>
                  <a:lnTo>
                    <a:pt x="543" y="191"/>
                  </a:lnTo>
                  <a:lnTo>
                    <a:pt x="551" y="196"/>
                  </a:lnTo>
                  <a:cubicBezTo>
                    <a:pt x="498" y="310"/>
                    <a:pt x="448" y="368"/>
                    <a:pt x="405" y="368"/>
                  </a:cubicBezTo>
                  <a:lnTo>
                    <a:pt x="376" y="355"/>
                  </a:lnTo>
                  <a:lnTo>
                    <a:pt x="376" y="3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 name="Freeform: Shape 6"/>
            <p:cNvSpPr/>
            <p:nvPr/>
          </p:nvSpPr>
          <p:spPr>
            <a:xfrm>
              <a:off x="1741456" y="4718660"/>
              <a:ext cx="122009" cy="137212"/>
            </a:xfrm>
            <a:custGeom>
              <a:avLst/>
              <a:gdLst/>
              <a:ahLst/>
              <a:cxnLst>
                <a:cxn ang="3cd4">
                  <a:pos x="hc" y="t"/>
                </a:cxn>
                <a:cxn ang="cd2">
                  <a:pos x="l" y="vc"/>
                </a:cxn>
                <a:cxn ang="cd4">
                  <a:pos x="hc" y="b"/>
                </a:cxn>
                <a:cxn ang="0">
                  <a:pos x="r" y="vc"/>
                </a:cxn>
              </a:cxnLst>
              <a:rect l="l" t="t" r="r" b="b"/>
              <a:pathLst>
                <a:path w="643" h="723">
                  <a:moveTo>
                    <a:pt x="495" y="442"/>
                  </a:moveTo>
                  <a:cubicBezTo>
                    <a:pt x="490" y="495"/>
                    <a:pt x="455" y="598"/>
                    <a:pt x="339" y="598"/>
                  </a:cubicBezTo>
                  <a:cubicBezTo>
                    <a:pt x="233" y="598"/>
                    <a:pt x="151" y="522"/>
                    <a:pt x="151" y="363"/>
                  </a:cubicBezTo>
                  <a:cubicBezTo>
                    <a:pt x="151" y="220"/>
                    <a:pt x="222" y="127"/>
                    <a:pt x="339" y="127"/>
                  </a:cubicBezTo>
                  <a:cubicBezTo>
                    <a:pt x="434" y="127"/>
                    <a:pt x="482" y="199"/>
                    <a:pt x="490" y="249"/>
                  </a:cubicBezTo>
                  <a:lnTo>
                    <a:pt x="635" y="249"/>
                  </a:lnTo>
                  <a:cubicBezTo>
                    <a:pt x="627" y="161"/>
                    <a:pt x="559" y="0"/>
                    <a:pt x="339" y="0"/>
                  </a:cubicBezTo>
                  <a:cubicBezTo>
                    <a:pt x="130" y="0"/>
                    <a:pt x="0" y="156"/>
                    <a:pt x="0" y="360"/>
                  </a:cubicBezTo>
                  <a:cubicBezTo>
                    <a:pt x="0" y="577"/>
                    <a:pt x="140" y="723"/>
                    <a:pt x="339" y="723"/>
                  </a:cubicBezTo>
                  <a:cubicBezTo>
                    <a:pt x="566" y="723"/>
                    <a:pt x="638" y="537"/>
                    <a:pt x="643" y="439"/>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2" name="Freeform: Shape 7"/>
            <p:cNvSpPr/>
            <p:nvPr/>
          </p:nvSpPr>
          <p:spPr>
            <a:xfrm>
              <a:off x="1876198" y="4721701"/>
              <a:ext cx="27556" cy="23375"/>
            </a:xfrm>
            <a:custGeom>
              <a:avLst/>
              <a:gdLst/>
              <a:ahLst/>
              <a:cxnLst>
                <a:cxn ang="3cd4">
                  <a:pos x="hc" y="t"/>
                </a:cxn>
                <a:cxn ang="cd2">
                  <a:pos x="l" y="vc"/>
                </a:cxn>
                <a:cxn ang="cd4">
                  <a:pos x="hc" y="b"/>
                </a:cxn>
                <a:cxn ang="0">
                  <a:pos x="r" y="vc"/>
                </a:cxn>
              </a:cxnLst>
              <a:rect l="l" t="t" r="r" b="b"/>
              <a:pathLst>
                <a:path w="146" h="124">
                  <a:moveTo>
                    <a:pt x="73" y="124"/>
                  </a:moveTo>
                  <a:lnTo>
                    <a:pt x="0" y="124"/>
                  </a:lnTo>
                  <a:lnTo>
                    <a:pt x="0" y="0"/>
                  </a:lnTo>
                  <a:lnTo>
                    <a:pt x="146" y="0"/>
                  </a:lnTo>
                  <a:lnTo>
                    <a:pt x="146" y="12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Shape 8"/>
            <p:cNvSpPr/>
            <p:nvPr/>
          </p:nvSpPr>
          <p:spPr>
            <a:xfrm>
              <a:off x="1876198" y="4757809"/>
              <a:ext cx="27556" cy="95022"/>
            </a:xfrm>
            <a:custGeom>
              <a:avLst/>
              <a:gdLst/>
              <a:ahLst/>
              <a:cxnLst>
                <a:cxn ang="3cd4">
                  <a:pos x="hc" y="t"/>
                </a:cxn>
                <a:cxn ang="cd2">
                  <a:pos x="l" y="vc"/>
                </a:cxn>
                <a:cxn ang="cd4">
                  <a:pos x="hc" y="b"/>
                </a:cxn>
                <a:cxn ang="0">
                  <a:pos x="r" y="vc"/>
                </a:cxn>
              </a:cxnLst>
              <a:rect l="l" t="t" r="r" b="b"/>
              <a:pathLst>
                <a:path w="146" h="501">
                  <a:moveTo>
                    <a:pt x="73" y="501"/>
                  </a:moveTo>
                  <a:lnTo>
                    <a:pt x="0" y="501"/>
                  </a:lnTo>
                  <a:lnTo>
                    <a:pt x="0" y="0"/>
                  </a:lnTo>
                  <a:lnTo>
                    <a:pt x="146" y="0"/>
                  </a:lnTo>
                  <a:lnTo>
                    <a:pt x="146" y="50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Shape 9"/>
            <p:cNvSpPr/>
            <p:nvPr/>
          </p:nvSpPr>
          <p:spPr>
            <a:xfrm>
              <a:off x="1914967" y="4755338"/>
              <a:ext cx="90461" cy="100533"/>
            </a:xfrm>
            <a:custGeom>
              <a:avLst/>
              <a:gdLst/>
              <a:ahLst/>
              <a:cxnLst>
                <a:cxn ang="3cd4">
                  <a:pos x="hc" y="t"/>
                </a:cxn>
                <a:cxn ang="cd2">
                  <a:pos x="l" y="vc"/>
                </a:cxn>
                <a:cxn ang="cd4">
                  <a:pos x="hc" y="b"/>
                </a:cxn>
                <a:cxn ang="0">
                  <a:pos x="r" y="vc"/>
                </a:cxn>
              </a:cxnLst>
              <a:rect l="l" t="t" r="r" b="b"/>
              <a:pathLst>
                <a:path w="477" h="530">
                  <a:moveTo>
                    <a:pt x="16" y="146"/>
                  </a:moveTo>
                  <a:cubicBezTo>
                    <a:pt x="16" y="252"/>
                    <a:pt x="109" y="284"/>
                    <a:pt x="162" y="297"/>
                  </a:cubicBezTo>
                  <a:cubicBezTo>
                    <a:pt x="175" y="299"/>
                    <a:pt x="212" y="310"/>
                    <a:pt x="225" y="313"/>
                  </a:cubicBezTo>
                  <a:cubicBezTo>
                    <a:pt x="278" y="326"/>
                    <a:pt x="326" y="337"/>
                    <a:pt x="326" y="379"/>
                  </a:cubicBezTo>
                  <a:cubicBezTo>
                    <a:pt x="326" y="408"/>
                    <a:pt x="294" y="432"/>
                    <a:pt x="236" y="432"/>
                  </a:cubicBezTo>
                  <a:cubicBezTo>
                    <a:pt x="178" y="432"/>
                    <a:pt x="143" y="403"/>
                    <a:pt x="138" y="352"/>
                  </a:cubicBezTo>
                  <a:lnTo>
                    <a:pt x="0" y="352"/>
                  </a:lnTo>
                  <a:cubicBezTo>
                    <a:pt x="6" y="405"/>
                    <a:pt x="35" y="530"/>
                    <a:pt x="236" y="530"/>
                  </a:cubicBezTo>
                  <a:cubicBezTo>
                    <a:pt x="424" y="530"/>
                    <a:pt x="477" y="427"/>
                    <a:pt x="477" y="368"/>
                  </a:cubicBezTo>
                  <a:cubicBezTo>
                    <a:pt x="477" y="302"/>
                    <a:pt x="435" y="246"/>
                    <a:pt x="310" y="215"/>
                  </a:cubicBezTo>
                  <a:cubicBezTo>
                    <a:pt x="302" y="212"/>
                    <a:pt x="262" y="204"/>
                    <a:pt x="247" y="199"/>
                  </a:cubicBezTo>
                  <a:cubicBezTo>
                    <a:pt x="183" y="183"/>
                    <a:pt x="165" y="172"/>
                    <a:pt x="165" y="141"/>
                  </a:cubicBezTo>
                  <a:cubicBezTo>
                    <a:pt x="165" y="111"/>
                    <a:pt x="196" y="98"/>
                    <a:pt x="231" y="98"/>
                  </a:cubicBezTo>
                  <a:cubicBezTo>
                    <a:pt x="310" y="98"/>
                    <a:pt x="326" y="138"/>
                    <a:pt x="326" y="162"/>
                  </a:cubicBezTo>
                  <a:lnTo>
                    <a:pt x="464" y="162"/>
                  </a:lnTo>
                  <a:cubicBezTo>
                    <a:pt x="464" y="109"/>
                    <a:pt x="427" y="0"/>
                    <a:pt x="231" y="0"/>
                  </a:cubicBezTo>
                  <a:cubicBezTo>
                    <a:pt x="74" y="0"/>
                    <a:pt x="16" y="80"/>
                    <a:pt x="16" y="146"/>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Shape 10"/>
            <p:cNvSpPr/>
            <p:nvPr/>
          </p:nvSpPr>
          <p:spPr>
            <a:xfrm>
              <a:off x="2012080" y="4755338"/>
              <a:ext cx="97493" cy="100533"/>
            </a:xfrm>
            <a:custGeom>
              <a:avLst/>
              <a:gdLst/>
              <a:ahLst/>
              <a:cxnLst>
                <a:cxn ang="3cd4">
                  <a:pos x="hc" y="t"/>
                </a:cxn>
                <a:cxn ang="cd2">
                  <a:pos x="l" y="vc"/>
                </a:cxn>
                <a:cxn ang="cd4">
                  <a:pos x="hc" y="b"/>
                </a:cxn>
                <a:cxn ang="0">
                  <a:pos x="r" y="vc"/>
                </a:cxn>
              </a:cxnLst>
              <a:rect l="l" t="t" r="r" b="b"/>
              <a:pathLst>
                <a:path w="514" h="530">
                  <a:moveTo>
                    <a:pt x="376" y="331"/>
                  </a:moveTo>
                  <a:cubicBezTo>
                    <a:pt x="366" y="379"/>
                    <a:pt x="334" y="424"/>
                    <a:pt x="270" y="424"/>
                  </a:cubicBezTo>
                  <a:cubicBezTo>
                    <a:pt x="191" y="424"/>
                    <a:pt x="151" y="355"/>
                    <a:pt x="151" y="265"/>
                  </a:cubicBezTo>
                  <a:cubicBezTo>
                    <a:pt x="151" y="196"/>
                    <a:pt x="178" y="103"/>
                    <a:pt x="270" y="103"/>
                  </a:cubicBezTo>
                  <a:cubicBezTo>
                    <a:pt x="329" y="103"/>
                    <a:pt x="363" y="143"/>
                    <a:pt x="371" y="188"/>
                  </a:cubicBezTo>
                  <a:lnTo>
                    <a:pt x="511" y="188"/>
                  </a:lnTo>
                  <a:cubicBezTo>
                    <a:pt x="503" y="109"/>
                    <a:pt x="445" y="0"/>
                    <a:pt x="268" y="0"/>
                  </a:cubicBezTo>
                  <a:cubicBezTo>
                    <a:pt x="112" y="0"/>
                    <a:pt x="0" y="103"/>
                    <a:pt x="0" y="265"/>
                  </a:cubicBezTo>
                  <a:cubicBezTo>
                    <a:pt x="0" y="427"/>
                    <a:pt x="109" y="530"/>
                    <a:pt x="268" y="530"/>
                  </a:cubicBezTo>
                  <a:cubicBezTo>
                    <a:pt x="453" y="530"/>
                    <a:pt x="506" y="413"/>
                    <a:pt x="514" y="334"/>
                  </a:cubicBezTo>
                  <a:lnTo>
                    <a:pt x="376" y="3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6" name="Freeform: Shape 11"/>
            <p:cNvSpPr/>
            <p:nvPr/>
          </p:nvSpPr>
          <p:spPr>
            <a:xfrm>
              <a:off x="2117744" y="4755338"/>
              <a:ext cx="101104" cy="100533"/>
            </a:xfrm>
            <a:custGeom>
              <a:avLst/>
              <a:gdLst/>
              <a:ahLst/>
              <a:cxnLst>
                <a:cxn ang="3cd4">
                  <a:pos x="hc" y="t"/>
                </a:cxn>
                <a:cxn ang="cd2">
                  <a:pos x="l" y="vc"/>
                </a:cxn>
                <a:cxn ang="cd4">
                  <a:pos x="hc" y="b"/>
                </a:cxn>
                <a:cxn ang="0">
                  <a:pos x="r" y="vc"/>
                </a:cxn>
              </a:cxnLst>
              <a:rect l="l" t="t" r="r" b="b"/>
              <a:pathLst>
                <a:path w="533" h="530">
                  <a:moveTo>
                    <a:pt x="268" y="0"/>
                  </a:moveTo>
                  <a:cubicBezTo>
                    <a:pt x="109" y="0"/>
                    <a:pt x="0" y="103"/>
                    <a:pt x="0" y="265"/>
                  </a:cubicBezTo>
                  <a:cubicBezTo>
                    <a:pt x="0" y="427"/>
                    <a:pt x="109" y="530"/>
                    <a:pt x="268" y="530"/>
                  </a:cubicBezTo>
                  <a:cubicBezTo>
                    <a:pt x="424" y="530"/>
                    <a:pt x="533" y="429"/>
                    <a:pt x="533" y="265"/>
                  </a:cubicBezTo>
                  <a:cubicBezTo>
                    <a:pt x="533" y="98"/>
                    <a:pt x="419" y="0"/>
                    <a:pt x="268" y="0"/>
                  </a:cubicBezTo>
                  <a:close/>
                  <a:moveTo>
                    <a:pt x="265" y="424"/>
                  </a:moveTo>
                  <a:cubicBezTo>
                    <a:pt x="188" y="424"/>
                    <a:pt x="146" y="355"/>
                    <a:pt x="146" y="265"/>
                  </a:cubicBezTo>
                  <a:cubicBezTo>
                    <a:pt x="149" y="196"/>
                    <a:pt x="175" y="103"/>
                    <a:pt x="265" y="103"/>
                  </a:cubicBezTo>
                  <a:cubicBezTo>
                    <a:pt x="347" y="103"/>
                    <a:pt x="382" y="183"/>
                    <a:pt x="382" y="265"/>
                  </a:cubicBezTo>
                  <a:cubicBezTo>
                    <a:pt x="382" y="347"/>
                    <a:pt x="347" y="424"/>
                    <a:pt x="265" y="42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1598403440"/>
      </p:ext>
    </p:extLst>
  </p:cSld>
  <p:clrMapOvr>
    <a:masterClrMapping/>
  </p:clrMapOv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Segue Video">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70251" t="3367" r="2255"/>
          <a:stretch/>
        </p:blipFill>
        <p:spPr>
          <a:xfrm rot="16200000" flipV="1">
            <a:off x="3271266" y="-729235"/>
            <a:ext cx="2601468" cy="9144000"/>
          </a:xfrm>
          <a:prstGeom prst="rect">
            <a:avLst/>
          </a:prstGeom>
        </p:spPr>
      </p:pic>
      <p:sp>
        <p:nvSpPr>
          <p:cNvPr id="8" name="Title 7"/>
          <p:cNvSpPr>
            <a:spLocks noGrp="1"/>
          </p:cNvSpPr>
          <p:nvPr>
            <p:ph type="title" hasCustomPrompt="1"/>
          </p:nvPr>
        </p:nvSpPr>
        <p:spPr bwMode="white">
          <a:xfrm>
            <a:off x="359051" y="459340"/>
            <a:ext cx="8394466" cy="1142052"/>
          </a:xfrm>
        </p:spPr>
        <p:txBody>
          <a:bodyPr anchor="t"/>
          <a:lstStyle>
            <a:lvl1pPr marL="6251" indent="-6251" algn="l" defTabSz="914400" rtl="0" eaLnBrk="0" fontAlgn="base" latinLnBrk="0" hangingPunct="0">
              <a:lnSpc>
                <a:spcPct val="90000"/>
              </a:lnSpc>
              <a:spcBef>
                <a:spcPct val="0"/>
              </a:spcBef>
              <a:spcAft>
                <a:spcPct val="0"/>
              </a:spcAft>
              <a:defRPr lang="en-US" sz="4000" b="0" i="0" kern="1200" baseline="0" dirty="0">
                <a:solidFill>
                  <a:schemeClr val="accent6"/>
                </a:solidFill>
                <a:latin typeface="+mj-lt"/>
                <a:ea typeface="+mj-ea"/>
                <a:cs typeface="+mj-cs"/>
                <a:sym typeface="Arial" pitchFamily="34" charset="0"/>
              </a:defRPr>
            </a:lvl1pPr>
          </a:lstStyle>
          <a:p>
            <a:r>
              <a:rPr lang="en-US" dirty="0"/>
              <a:t>Video Slide</a:t>
            </a:r>
          </a:p>
        </p:txBody>
      </p:sp>
      <p:sp>
        <p:nvSpPr>
          <p:cNvPr id="9"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rPr>
              <a:pPr/>
              <a:t>‹#›</a:t>
            </a:fld>
            <a:endParaRPr dirty="0">
              <a:solidFill>
                <a:srgbClr val="FFFFFF">
                  <a:alpha val="60000"/>
                </a:srgbClr>
              </a:solidFill>
            </a:endParaRPr>
          </a:p>
        </p:txBody>
      </p:sp>
      <p:grpSp>
        <p:nvGrpSpPr>
          <p:cNvPr id="14" name="Group 13"/>
          <p:cNvGrpSpPr/>
          <p:nvPr userDrawn="1"/>
        </p:nvGrpSpPr>
        <p:grpSpPr>
          <a:xfrm>
            <a:off x="454861" y="4785454"/>
            <a:ext cx="820227" cy="274319"/>
            <a:chOff x="1741456" y="4513412"/>
            <a:chExt cx="1027381" cy="343600"/>
          </a:xfrm>
          <a:solidFill>
            <a:schemeClr val="bg1"/>
          </a:solidFill>
        </p:grpSpPr>
        <p:sp>
          <p:nvSpPr>
            <p:cNvPr id="15" name="Freeform: Shape 1"/>
            <p:cNvSpPr/>
            <p:nvPr/>
          </p:nvSpPr>
          <p:spPr>
            <a:xfrm>
              <a:off x="2624973" y="4513412"/>
              <a:ext cx="143864" cy="343030"/>
            </a:xfrm>
            <a:custGeom>
              <a:avLst/>
              <a:gdLst/>
              <a:ahLst/>
              <a:cxnLst>
                <a:cxn ang="3cd4">
                  <a:pos x="hc" y="t"/>
                </a:cxn>
                <a:cxn ang="cd2">
                  <a:pos x="l" y="vc"/>
                </a:cxn>
                <a:cxn ang="cd4">
                  <a:pos x="hc" y="b"/>
                </a:cxn>
                <a:cxn ang="0">
                  <a:pos x="r" y="vc"/>
                </a:cxn>
              </a:cxnLst>
              <a:rect l="l" t="t" r="r" b="b"/>
              <a:pathLst>
                <a:path w="758" h="1806">
                  <a:moveTo>
                    <a:pt x="242" y="829"/>
                  </a:moveTo>
                  <a:cubicBezTo>
                    <a:pt x="215" y="896"/>
                    <a:pt x="204" y="941"/>
                    <a:pt x="204" y="964"/>
                  </a:cubicBezTo>
                  <a:cubicBezTo>
                    <a:pt x="183" y="999"/>
                    <a:pt x="175" y="1070"/>
                    <a:pt x="175" y="1097"/>
                  </a:cubicBezTo>
                  <a:lnTo>
                    <a:pt x="175" y="1129"/>
                  </a:lnTo>
                  <a:lnTo>
                    <a:pt x="223" y="1208"/>
                  </a:lnTo>
                  <a:cubicBezTo>
                    <a:pt x="250" y="1245"/>
                    <a:pt x="218" y="1258"/>
                    <a:pt x="292" y="1282"/>
                  </a:cubicBezTo>
                  <a:cubicBezTo>
                    <a:pt x="318" y="1282"/>
                    <a:pt x="340" y="1261"/>
                    <a:pt x="353" y="1221"/>
                  </a:cubicBezTo>
                  <a:lnTo>
                    <a:pt x="353" y="1208"/>
                  </a:lnTo>
                  <a:cubicBezTo>
                    <a:pt x="353" y="1113"/>
                    <a:pt x="387" y="978"/>
                    <a:pt x="419" y="888"/>
                  </a:cubicBezTo>
                  <a:cubicBezTo>
                    <a:pt x="419" y="845"/>
                    <a:pt x="456" y="718"/>
                    <a:pt x="588" y="406"/>
                  </a:cubicBezTo>
                  <a:cubicBezTo>
                    <a:pt x="588" y="371"/>
                    <a:pt x="618" y="308"/>
                    <a:pt x="678" y="210"/>
                  </a:cubicBezTo>
                  <a:cubicBezTo>
                    <a:pt x="729" y="125"/>
                    <a:pt x="742" y="138"/>
                    <a:pt x="758" y="128"/>
                  </a:cubicBezTo>
                  <a:lnTo>
                    <a:pt x="758" y="80"/>
                  </a:lnTo>
                  <a:lnTo>
                    <a:pt x="739" y="61"/>
                  </a:lnTo>
                  <a:cubicBezTo>
                    <a:pt x="739" y="61"/>
                    <a:pt x="721" y="43"/>
                    <a:pt x="671" y="22"/>
                  </a:cubicBezTo>
                  <a:cubicBezTo>
                    <a:pt x="671" y="22"/>
                    <a:pt x="620" y="0"/>
                    <a:pt x="604" y="0"/>
                  </a:cubicBezTo>
                  <a:cubicBezTo>
                    <a:pt x="588" y="0"/>
                    <a:pt x="557" y="32"/>
                    <a:pt x="530" y="93"/>
                  </a:cubicBezTo>
                  <a:close/>
                  <a:moveTo>
                    <a:pt x="14" y="1738"/>
                  </a:moveTo>
                  <a:cubicBezTo>
                    <a:pt x="14" y="1772"/>
                    <a:pt x="-18" y="1783"/>
                    <a:pt x="16" y="1806"/>
                  </a:cubicBezTo>
                  <a:lnTo>
                    <a:pt x="77" y="1806"/>
                  </a:lnTo>
                  <a:cubicBezTo>
                    <a:pt x="144" y="1775"/>
                    <a:pt x="167" y="1716"/>
                    <a:pt x="252" y="1528"/>
                  </a:cubicBezTo>
                  <a:lnTo>
                    <a:pt x="252" y="1486"/>
                  </a:lnTo>
                  <a:cubicBezTo>
                    <a:pt x="252" y="1460"/>
                    <a:pt x="273" y="1446"/>
                    <a:pt x="218" y="1412"/>
                  </a:cubicBezTo>
                  <a:lnTo>
                    <a:pt x="202" y="1412"/>
                  </a:lnTo>
                  <a:cubicBezTo>
                    <a:pt x="93" y="1409"/>
                    <a:pt x="67" y="1465"/>
                    <a:pt x="14" y="168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Shape 2"/>
            <p:cNvSpPr/>
            <p:nvPr/>
          </p:nvSpPr>
          <p:spPr>
            <a:xfrm>
              <a:off x="2244124" y="4551801"/>
              <a:ext cx="81339" cy="304261"/>
            </a:xfrm>
            <a:custGeom>
              <a:avLst/>
              <a:gdLst/>
              <a:ahLst/>
              <a:cxnLst>
                <a:cxn ang="3cd4">
                  <a:pos x="hc" y="t"/>
                </a:cxn>
                <a:cxn ang="cd2">
                  <a:pos x="l" y="vc"/>
                </a:cxn>
                <a:cxn ang="cd4">
                  <a:pos x="hc" y="b"/>
                </a:cxn>
                <a:cxn ang="0">
                  <a:pos x="r" y="vc"/>
                </a:cxn>
              </a:cxnLst>
              <a:rect l="l" t="t" r="r" b="b"/>
              <a:pathLst>
                <a:path w="429" h="1602">
                  <a:moveTo>
                    <a:pt x="244" y="1533"/>
                  </a:moveTo>
                  <a:cubicBezTo>
                    <a:pt x="209" y="1533"/>
                    <a:pt x="199" y="1483"/>
                    <a:pt x="183" y="1329"/>
                  </a:cubicBezTo>
                  <a:cubicBezTo>
                    <a:pt x="201" y="1064"/>
                    <a:pt x="223" y="884"/>
                    <a:pt x="241" y="789"/>
                  </a:cubicBezTo>
                  <a:cubicBezTo>
                    <a:pt x="323" y="384"/>
                    <a:pt x="307" y="458"/>
                    <a:pt x="366" y="320"/>
                  </a:cubicBezTo>
                  <a:cubicBezTo>
                    <a:pt x="424" y="180"/>
                    <a:pt x="429" y="161"/>
                    <a:pt x="429" y="119"/>
                  </a:cubicBezTo>
                  <a:cubicBezTo>
                    <a:pt x="429" y="71"/>
                    <a:pt x="376" y="32"/>
                    <a:pt x="268" y="0"/>
                  </a:cubicBezTo>
                  <a:lnTo>
                    <a:pt x="260" y="0"/>
                  </a:lnTo>
                  <a:lnTo>
                    <a:pt x="257" y="2"/>
                  </a:lnTo>
                  <a:cubicBezTo>
                    <a:pt x="257" y="2"/>
                    <a:pt x="254" y="5"/>
                    <a:pt x="241" y="63"/>
                  </a:cubicBezTo>
                  <a:lnTo>
                    <a:pt x="209" y="201"/>
                  </a:lnTo>
                  <a:cubicBezTo>
                    <a:pt x="130" y="535"/>
                    <a:pt x="127" y="564"/>
                    <a:pt x="109" y="614"/>
                  </a:cubicBezTo>
                  <a:cubicBezTo>
                    <a:pt x="-8" y="1138"/>
                    <a:pt x="0" y="1213"/>
                    <a:pt x="0" y="1340"/>
                  </a:cubicBezTo>
                  <a:cubicBezTo>
                    <a:pt x="5" y="1385"/>
                    <a:pt x="27" y="1432"/>
                    <a:pt x="66" y="1483"/>
                  </a:cubicBezTo>
                  <a:cubicBezTo>
                    <a:pt x="146" y="1562"/>
                    <a:pt x="212" y="1602"/>
                    <a:pt x="257" y="160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Shape 3"/>
            <p:cNvSpPr/>
            <p:nvPr/>
          </p:nvSpPr>
          <p:spPr>
            <a:xfrm>
              <a:off x="2307789" y="4611664"/>
              <a:ext cx="82479" cy="244587"/>
            </a:xfrm>
            <a:custGeom>
              <a:avLst/>
              <a:gdLst/>
              <a:ahLst/>
              <a:cxnLst>
                <a:cxn ang="3cd4">
                  <a:pos x="hc" y="t"/>
                </a:cxn>
                <a:cxn ang="cd2">
                  <a:pos x="l" y="vc"/>
                </a:cxn>
                <a:cxn ang="cd4">
                  <a:pos x="hc" y="b"/>
                </a:cxn>
                <a:cxn ang="0">
                  <a:pos x="r" y="vc"/>
                </a:cxn>
              </a:cxnLst>
              <a:rect l="l" t="t" r="r" b="b"/>
              <a:pathLst>
                <a:path w="435" h="1288">
                  <a:moveTo>
                    <a:pt x="270" y="204"/>
                  </a:moveTo>
                  <a:lnTo>
                    <a:pt x="294" y="212"/>
                  </a:lnTo>
                  <a:cubicBezTo>
                    <a:pt x="331" y="206"/>
                    <a:pt x="379" y="164"/>
                    <a:pt x="435" y="82"/>
                  </a:cubicBezTo>
                  <a:lnTo>
                    <a:pt x="432" y="71"/>
                  </a:lnTo>
                  <a:cubicBezTo>
                    <a:pt x="429" y="45"/>
                    <a:pt x="395" y="21"/>
                    <a:pt x="329" y="0"/>
                  </a:cubicBezTo>
                  <a:lnTo>
                    <a:pt x="321" y="0"/>
                  </a:lnTo>
                  <a:cubicBezTo>
                    <a:pt x="302" y="3"/>
                    <a:pt x="284" y="69"/>
                    <a:pt x="270" y="204"/>
                  </a:cubicBezTo>
                  <a:close/>
                  <a:moveTo>
                    <a:pt x="210" y="1218"/>
                  </a:moveTo>
                  <a:lnTo>
                    <a:pt x="199" y="1189"/>
                  </a:lnTo>
                  <a:cubicBezTo>
                    <a:pt x="194" y="1048"/>
                    <a:pt x="194" y="956"/>
                    <a:pt x="204" y="913"/>
                  </a:cubicBezTo>
                  <a:lnTo>
                    <a:pt x="194" y="884"/>
                  </a:lnTo>
                  <a:cubicBezTo>
                    <a:pt x="191" y="829"/>
                    <a:pt x="196" y="800"/>
                    <a:pt x="207" y="800"/>
                  </a:cubicBezTo>
                  <a:cubicBezTo>
                    <a:pt x="220" y="712"/>
                    <a:pt x="236" y="662"/>
                    <a:pt x="249" y="651"/>
                  </a:cubicBezTo>
                  <a:cubicBezTo>
                    <a:pt x="255" y="590"/>
                    <a:pt x="286" y="511"/>
                    <a:pt x="347" y="413"/>
                  </a:cubicBezTo>
                  <a:cubicBezTo>
                    <a:pt x="345" y="381"/>
                    <a:pt x="281" y="341"/>
                    <a:pt x="165" y="291"/>
                  </a:cubicBezTo>
                  <a:cubicBezTo>
                    <a:pt x="133" y="294"/>
                    <a:pt x="106" y="360"/>
                    <a:pt x="82" y="484"/>
                  </a:cubicBezTo>
                  <a:cubicBezTo>
                    <a:pt x="16" y="768"/>
                    <a:pt x="-10" y="969"/>
                    <a:pt x="3" y="1086"/>
                  </a:cubicBezTo>
                  <a:cubicBezTo>
                    <a:pt x="14" y="1168"/>
                    <a:pt x="24" y="1207"/>
                    <a:pt x="40" y="1207"/>
                  </a:cubicBezTo>
                  <a:cubicBezTo>
                    <a:pt x="96" y="1268"/>
                    <a:pt x="157" y="1295"/>
                    <a:pt x="225" y="128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Shape 4"/>
            <p:cNvSpPr/>
            <p:nvPr/>
          </p:nvSpPr>
          <p:spPr>
            <a:xfrm>
              <a:off x="2387038" y="4639791"/>
              <a:ext cx="173891" cy="216270"/>
            </a:xfrm>
            <a:custGeom>
              <a:avLst/>
              <a:gdLst/>
              <a:ahLst/>
              <a:cxnLst>
                <a:cxn ang="3cd4">
                  <a:pos x="hc" y="t"/>
                </a:cxn>
                <a:cxn ang="cd2">
                  <a:pos x="l" y="vc"/>
                </a:cxn>
                <a:cxn ang="cd4">
                  <a:pos x="hc" y="b"/>
                </a:cxn>
                <a:cxn ang="0">
                  <a:pos x="r" y="vc"/>
                </a:cxn>
              </a:cxnLst>
              <a:rect l="l" t="t" r="r" b="b"/>
              <a:pathLst>
                <a:path w="916" h="1139">
                  <a:moveTo>
                    <a:pt x="871" y="172"/>
                  </a:moveTo>
                  <a:cubicBezTo>
                    <a:pt x="900" y="141"/>
                    <a:pt x="916" y="114"/>
                    <a:pt x="916" y="95"/>
                  </a:cubicBezTo>
                  <a:cubicBezTo>
                    <a:pt x="916" y="37"/>
                    <a:pt x="892" y="5"/>
                    <a:pt x="795" y="0"/>
                  </a:cubicBezTo>
                  <a:cubicBezTo>
                    <a:pt x="773" y="0"/>
                    <a:pt x="736" y="35"/>
                    <a:pt x="683" y="106"/>
                  </a:cubicBezTo>
                  <a:cubicBezTo>
                    <a:pt x="644" y="252"/>
                    <a:pt x="599" y="350"/>
                    <a:pt x="543" y="403"/>
                  </a:cubicBezTo>
                  <a:cubicBezTo>
                    <a:pt x="456" y="596"/>
                    <a:pt x="389" y="723"/>
                    <a:pt x="344" y="781"/>
                  </a:cubicBezTo>
                  <a:cubicBezTo>
                    <a:pt x="331" y="832"/>
                    <a:pt x="318" y="858"/>
                    <a:pt x="307" y="858"/>
                  </a:cubicBezTo>
                  <a:lnTo>
                    <a:pt x="305" y="858"/>
                  </a:lnTo>
                  <a:cubicBezTo>
                    <a:pt x="305" y="858"/>
                    <a:pt x="302" y="858"/>
                    <a:pt x="299" y="773"/>
                  </a:cubicBezTo>
                  <a:lnTo>
                    <a:pt x="294" y="569"/>
                  </a:lnTo>
                  <a:lnTo>
                    <a:pt x="302" y="498"/>
                  </a:lnTo>
                  <a:lnTo>
                    <a:pt x="286" y="416"/>
                  </a:lnTo>
                  <a:lnTo>
                    <a:pt x="294" y="397"/>
                  </a:lnTo>
                  <a:lnTo>
                    <a:pt x="278" y="363"/>
                  </a:lnTo>
                  <a:lnTo>
                    <a:pt x="286" y="339"/>
                  </a:lnTo>
                  <a:lnTo>
                    <a:pt x="286" y="334"/>
                  </a:lnTo>
                  <a:cubicBezTo>
                    <a:pt x="286" y="286"/>
                    <a:pt x="207" y="249"/>
                    <a:pt x="45" y="220"/>
                  </a:cubicBezTo>
                  <a:cubicBezTo>
                    <a:pt x="24" y="225"/>
                    <a:pt x="11" y="236"/>
                    <a:pt x="0" y="249"/>
                  </a:cubicBezTo>
                  <a:lnTo>
                    <a:pt x="0" y="260"/>
                  </a:lnTo>
                  <a:cubicBezTo>
                    <a:pt x="29" y="260"/>
                    <a:pt x="53" y="474"/>
                    <a:pt x="74" y="906"/>
                  </a:cubicBezTo>
                  <a:cubicBezTo>
                    <a:pt x="74" y="993"/>
                    <a:pt x="93" y="1049"/>
                    <a:pt x="133" y="1073"/>
                  </a:cubicBezTo>
                  <a:cubicBezTo>
                    <a:pt x="170" y="1115"/>
                    <a:pt x="215" y="1139"/>
                    <a:pt x="273" y="1139"/>
                  </a:cubicBezTo>
                  <a:lnTo>
                    <a:pt x="302" y="1139"/>
                  </a:lnTo>
                  <a:lnTo>
                    <a:pt x="305" y="1136"/>
                  </a:lnTo>
                  <a:cubicBezTo>
                    <a:pt x="305" y="1136"/>
                    <a:pt x="307" y="1134"/>
                    <a:pt x="342" y="1054"/>
                  </a:cubicBezTo>
                  <a:lnTo>
                    <a:pt x="432" y="848"/>
                  </a:lnTo>
                  <a:cubicBezTo>
                    <a:pt x="516" y="667"/>
                    <a:pt x="569" y="564"/>
                    <a:pt x="593" y="540"/>
                  </a:cubicBezTo>
                  <a:cubicBezTo>
                    <a:pt x="620" y="474"/>
                    <a:pt x="641" y="440"/>
                    <a:pt x="652" y="434"/>
                  </a:cubicBezTo>
                  <a:lnTo>
                    <a:pt x="654" y="434"/>
                  </a:lnTo>
                  <a:cubicBezTo>
                    <a:pt x="654" y="434"/>
                    <a:pt x="657" y="434"/>
                    <a:pt x="712" y="36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9" name="Freeform: Shape 5"/>
            <p:cNvSpPr/>
            <p:nvPr/>
          </p:nvSpPr>
          <p:spPr>
            <a:xfrm>
              <a:off x="2518358" y="4655945"/>
              <a:ext cx="124099" cy="201067"/>
            </a:xfrm>
            <a:custGeom>
              <a:avLst/>
              <a:gdLst/>
              <a:ahLst/>
              <a:cxnLst>
                <a:cxn ang="3cd4">
                  <a:pos x="hc" y="t"/>
                </a:cxn>
                <a:cxn ang="cd2">
                  <a:pos x="l" y="vc"/>
                </a:cxn>
                <a:cxn ang="cd4">
                  <a:pos x="hc" y="b"/>
                </a:cxn>
                <a:cxn ang="0">
                  <a:pos x="r" y="vc"/>
                </a:cxn>
              </a:cxnLst>
              <a:rect l="l" t="t" r="r" b="b"/>
              <a:pathLst>
                <a:path w="654" h="1059">
                  <a:moveTo>
                    <a:pt x="337" y="53"/>
                  </a:moveTo>
                  <a:cubicBezTo>
                    <a:pt x="276" y="108"/>
                    <a:pt x="233" y="167"/>
                    <a:pt x="204" y="230"/>
                  </a:cubicBezTo>
                  <a:lnTo>
                    <a:pt x="201" y="233"/>
                  </a:lnTo>
                  <a:cubicBezTo>
                    <a:pt x="201" y="233"/>
                    <a:pt x="199" y="236"/>
                    <a:pt x="183" y="262"/>
                  </a:cubicBezTo>
                  <a:lnTo>
                    <a:pt x="125" y="368"/>
                  </a:lnTo>
                  <a:cubicBezTo>
                    <a:pt x="43" y="564"/>
                    <a:pt x="0" y="710"/>
                    <a:pt x="0" y="808"/>
                  </a:cubicBezTo>
                  <a:lnTo>
                    <a:pt x="0" y="826"/>
                  </a:lnTo>
                  <a:cubicBezTo>
                    <a:pt x="0" y="861"/>
                    <a:pt x="21" y="900"/>
                    <a:pt x="66" y="945"/>
                  </a:cubicBezTo>
                  <a:cubicBezTo>
                    <a:pt x="109" y="1019"/>
                    <a:pt x="159" y="1059"/>
                    <a:pt x="220" y="1059"/>
                  </a:cubicBezTo>
                  <a:cubicBezTo>
                    <a:pt x="268" y="1049"/>
                    <a:pt x="294" y="1038"/>
                    <a:pt x="294" y="1030"/>
                  </a:cubicBezTo>
                  <a:cubicBezTo>
                    <a:pt x="339" y="998"/>
                    <a:pt x="360" y="977"/>
                    <a:pt x="360" y="964"/>
                  </a:cubicBezTo>
                  <a:cubicBezTo>
                    <a:pt x="432" y="874"/>
                    <a:pt x="477" y="800"/>
                    <a:pt x="501" y="739"/>
                  </a:cubicBezTo>
                  <a:lnTo>
                    <a:pt x="501" y="733"/>
                  </a:lnTo>
                  <a:lnTo>
                    <a:pt x="485" y="720"/>
                  </a:lnTo>
                  <a:lnTo>
                    <a:pt x="469" y="733"/>
                  </a:lnTo>
                  <a:cubicBezTo>
                    <a:pt x="392" y="845"/>
                    <a:pt x="310" y="924"/>
                    <a:pt x="220" y="972"/>
                  </a:cubicBezTo>
                  <a:cubicBezTo>
                    <a:pt x="204" y="972"/>
                    <a:pt x="191" y="961"/>
                    <a:pt x="183" y="943"/>
                  </a:cubicBezTo>
                  <a:cubicBezTo>
                    <a:pt x="183" y="813"/>
                    <a:pt x="233" y="641"/>
                    <a:pt x="331" y="421"/>
                  </a:cubicBezTo>
                  <a:lnTo>
                    <a:pt x="382" y="424"/>
                  </a:lnTo>
                  <a:cubicBezTo>
                    <a:pt x="382" y="424"/>
                    <a:pt x="411" y="426"/>
                    <a:pt x="440" y="416"/>
                  </a:cubicBezTo>
                  <a:lnTo>
                    <a:pt x="530" y="379"/>
                  </a:lnTo>
                  <a:cubicBezTo>
                    <a:pt x="588" y="349"/>
                    <a:pt x="628" y="299"/>
                    <a:pt x="654" y="230"/>
                  </a:cubicBezTo>
                  <a:lnTo>
                    <a:pt x="654" y="159"/>
                  </a:lnTo>
                  <a:cubicBezTo>
                    <a:pt x="646" y="111"/>
                    <a:pt x="577" y="58"/>
                    <a:pt x="448" y="0"/>
                  </a:cubicBezTo>
                  <a:lnTo>
                    <a:pt x="411" y="0"/>
                  </a:lnTo>
                  <a:close/>
                  <a:moveTo>
                    <a:pt x="374" y="349"/>
                  </a:moveTo>
                  <a:cubicBezTo>
                    <a:pt x="453" y="244"/>
                    <a:pt x="506" y="191"/>
                    <a:pt x="535" y="191"/>
                  </a:cubicBezTo>
                  <a:lnTo>
                    <a:pt x="543" y="191"/>
                  </a:lnTo>
                  <a:lnTo>
                    <a:pt x="551" y="196"/>
                  </a:lnTo>
                  <a:cubicBezTo>
                    <a:pt x="498" y="310"/>
                    <a:pt x="448" y="368"/>
                    <a:pt x="405" y="368"/>
                  </a:cubicBezTo>
                  <a:lnTo>
                    <a:pt x="376" y="355"/>
                  </a:lnTo>
                  <a:lnTo>
                    <a:pt x="376" y="3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0" name="Freeform: Shape 6"/>
            <p:cNvSpPr/>
            <p:nvPr/>
          </p:nvSpPr>
          <p:spPr>
            <a:xfrm>
              <a:off x="1741456" y="4718660"/>
              <a:ext cx="122009" cy="137212"/>
            </a:xfrm>
            <a:custGeom>
              <a:avLst/>
              <a:gdLst/>
              <a:ahLst/>
              <a:cxnLst>
                <a:cxn ang="3cd4">
                  <a:pos x="hc" y="t"/>
                </a:cxn>
                <a:cxn ang="cd2">
                  <a:pos x="l" y="vc"/>
                </a:cxn>
                <a:cxn ang="cd4">
                  <a:pos x="hc" y="b"/>
                </a:cxn>
                <a:cxn ang="0">
                  <a:pos x="r" y="vc"/>
                </a:cxn>
              </a:cxnLst>
              <a:rect l="l" t="t" r="r" b="b"/>
              <a:pathLst>
                <a:path w="643" h="723">
                  <a:moveTo>
                    <a:pt x="495" y="442"/>
                  </a:moveTo>
                  <a:cubicBezTo>
                    <a:pt x="490" y="495"/>
                    <a:pt x="455" y="598"/>
                    <a:pt x="339" y="598"/>
                  </a:cubicBezTo>
                  <a:cubicBezTo>
                    <a:pt x="233" y="598"/>
                    <a:pt x="151" y="522"/>
                    <a:pt x="151" y="363"/>
                  </a:cubicBezTo>
                  <a:cubicBezTo>
                    <a:pt x="151" y="220"/>
                    <a:pt x="222" y="127"/>
                    <a:pt x="339" y="127"/>
                  </a:cubicBezTo>
                  <a:cubicBezTo>
                    <a:pt x="434" y="127"/>
                    <a:pt x="482" y="199"/>
                    <a:pt x="490" y="249"/>
                  </a:cubicBezTo>
                  <a:lnTo>
                    <a:pt x="635" y="249"/>
                  </a:lnTo>
                  <a:cubicBezTo>
                    <a:pt x="627" y="161"/>
                    <a:pt x="559" y="0"/>
                    <a:pt x="339" y="0"/>
                  </a:cubicBezTo>
                  <a:cubicBezTo>
                    <a:pt x="130" y="0"/>
                    <a:pt x="0" y="156"/>
                    <a:pt x="0" y="360"/>
                  </a:cubicBezTo>
                  <a:cubicBezTo>
                    <a:pt x="0" y="577"/>
                    <a:pt x="140" y="723"/>
                    <a:pt x="339" y="723"/>
                  </a:cubicBezTo>
                  <a:cubicBezTo>
                    <a:pt x="566" y="723"/>
                    <a:pt x="638" y="537"/>
                    <a:pt x="643" y="439"/>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 name="Freeform: Shape 7"/>
            <p:cNvSpPr/>
            <p:nvPr/>
          </p:nvSpPr>
          <p:spPr>
            <a:xfrm>
              <a:off x="1876198" y="4721701"/>
              <a:ext cx="27556" cy="23375"/>
            </a:xfrm>
            <a:custGeom>
              <a:avLst/>
              <a:gdLst/>
              <a:ahLst/>
              <a:cxnLst>
                <a:cxn ang="3cd4">
                  <a:pos x="hc" y="t"/>
                </a:cxn>
                <a:cxn ang="cd2">
                  <a:pos x="l" y="vc"/>
                </a:cxn>
                <a:cxn ang="cd4">
                  <a:pos x="hc" y="b"/>
                </a:cxn>
                <a:cxn ang="0">
                  <a:pos x="r" y="vc"/>
                </a:cxn>
              </a:cxnLst>
              <a:rect l="l" t="t" r="r" b="b"/>
              <a:pathLst>
                <a:path w="146" h="124">
                  <a:moveTo>
                    <a:pt x="73" y="124"/>
                  </a:moveTo>
                  <a:lnTo>
                    <a:pt x="0" y="124"/>
                  </a:lnTo>
                  <a:lnTo>
                    <a:pt x="0" y="0"/>
                  </a:lnTo>
                  <a:lnTo>
                    <a:pt x="146" y="0"/>
                  </a:lnTo>
                  <a:lnTo>
                    <a:pt x="146" y="12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2" name="Freeform: Shape 8"/>
            <p:cNvSpPr/>
            <p:nvPr/>
          </p:nvSpPr>
          <p:spPr>
            <a:xfrm>
              <a:off x="1876198" y="4757809"/>
              <a:ext cx="27556" cy="95022"/>
            </a:xfrm>
            <a:custGeom>
              <a:avLst/>
              <a:gdLst/>
              <a:ahLst/>
              <a:cxnLst>
                <a:cxn ang="3cd4">
                  <a:pos x="hc" y="t"/>
                </a:cxn>
                <a:cxn ang="cd2">
                  <a:pos x="l" y="vc"/>
                </a:cxn>
                <a:cxn ang="cd4">
                  <a:pos x="hc" y="b"/>
                </a:cxn>
                <a:cxn ang="0">
                  <a:pos x="r" y="vc"/>
                </a:cxn>
              </a:cxnLst>
              <a:rect l="l" t="t" r="r" b="b"/>
              <a:pathLst>
                <a:path w="146" h="501">
                  <a:moveTo>
                    <a:pt x="73" y="501"/>
                  </a:moveTo>
                  <a:lnTo>
                    <a:pt x="0" y="501"/>
                  </a:lnTo>
                  <a:lnTo>
                    <a:pt x="0" y="0"/>
                  </a:lnTo>
                  <a:lnTo>
                    <a:pt x="146" y="0"/>
                  </a:lnTo>
                  <a:lnTo>
                    <a:pt x="146" y="50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Shape 9"/>
            <p:cNvSpPr/>
            <p:nvPr/>
          </p:nvSpPr>
          <p:spPr>
            <a:xfrm>
              <a:off x="1914967" y="4755338"/>
              <a:ext cx="90461" cy="100533"/>
            </a:xfrm>
            <a:custGeom>
              <a:avLst/>
              <a:gdLst/>
              <a:ahLst/>
              <a:cxnLst>
                <a:cxn ang="3cd4">
                  <a:pos x="hc" y="t"/>
                </a:cxn>
                <a:cxn ang="cd2">
                  <a:pos x="l" y="vc"/>
                </a:cxn>
                <a:cxn ang="cd4">
                  <a:pos x="hc" y="b"/>
                </a:cxn>
                <a:cxn ang="0">
                  <a:pos x="r" y="vc"/>
                </a:cxn>
              </a:cxnLst>
              <a:rect l="l" t="t" r="r" b="b"/>
              <a:pathLst>
                <a:path w="477" h="530">
                  <a:moveTo>
                    <a:pt x="16" y="146"/>
                  </a:moveTo>
                  <a:cubicBezTo>
                    <a:pt x="16" y="252"/>
                    <a:pt x="109" y="284"/>
                    <a:pt x="162" y="297"/>
                  </a:cubicBezTo>
                  <a:cubicBezTo>
                    <a:pt x="175" y="299"/>
                    <a:pt x="212" y="310"/>
                    <a:pt x="225" y="313"/>
                  </a:cubicBezTo>
                  <a:cubicBezTo>
                    <a:pt x="278" y="326"/>
                    <a:pt x="326" y="337"/>
                    <a:pt x="326" y="379"/>
                  </a:cubicBezTo>
                  <a:cubicBezTo>
                    <a:pt x="326" y="408"/>
                    <a:pt x="294" y="432"/>
                    <a:pt x="236" y="432"/>
                  </a:cubicBezTo>
                  <a:cubicBezTo>
                    <a:pt x="178" y="432"/>
                    <a:pt x="143" y="403"/>
                    <a:pt x="138" y="352"/>
                  </a:cubicBezTo>
                  <a:lnTo>
                    <a:pt x="0" y="352"/>
                  </a:lnTo>
                  <a:cubicBezTo>
                    <a:pt x="6" y="405"/>
                    <a:pt x="35" y="530"/>
                    <a:pt x="236" y="530"/>
                  </a:cubicBezTo>
                  <a:cubicBezTo>
                    <a:pt x="424" y="530"/>
                    <a:pt x="477" y="427"/>
                    <a:pt x="477" y="368"/>
                  </a:cubicBezTo>
                  <a:cubicBezTo>
                    <a:pt x="477" y="302"/>
                    <a:pt x="435" y="246"/>
                    <a:pt x="310" y="215"/>
                  </a:cubicBezTo>
                  <a:cubicBezTo>
                    <a:pt x="302" y="212"/>
                    <a:pt x="262" y="204"/>
                    <a:pt x="247" y="199"/>
                  </a:cubicBezTo>
                  <a:cubicBezTo>
                    <a:pt x="183" y="183"/>
                    <a:pt x="165" y="172"/>
                    <a:pt x="165" y="141"/>
                  </a:cubicBezTo>
                  <a:cubicBezTo>
                    <a:pt x="165" y="111"/>
                    <a:pt x="196" y="98"/>
                    <a:pt x="231" y="98"/>
                  </a:cubicBezTo>
                  <a:cubicBezTo>
                    <a:pt x="310" y="98"/>
                    <a:pt x="326" y="138"/>
                    <a:pt x="326" y="162"/>
                  </a:cubicBezTo>
                  <a:lnTo>
                    <a:pt x="464" y="162"/>
                  </a:lnTo>
                  <a:cubicBezTo>
                    <a:pt x="464" y="109"/>
                    <a:pt x="427" y="0"/>
                    <a:pt x="231" y="0"/>
                  </a:cubicBezTo>
                  <a:cubicBezTo>
                    <a:pt x="74" y="0"/>
                    <a:pt x="16" y="80"/>
                    <a:pt x="16" y="146"/>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Shape 10"/>
            <p:cNvSpPr/>
            <p:nvPr/>
          </p:nvSpPr>
          <p:spPr>
            <a:xfrm>
              <a:off x="2012080" y="4755338"/>
              <a:ext cx="97493" cy="100533"/>
            </a:xfrm>
            <a:custGeom>
              <a:avLst/>
              <a:gdLst/>
              <a:ahLst/>
              <a:cxnLst>
                <a:cxn ang="3cd4">
                  <a:pos x="hc" y="t"/>
                </a:cxn>
                <a:cxn ang="cd2">
                  <a:pos x="l" y="vc"/>
                </a:cxn>
                <a:cxn ang="cd4">
                  <a:pos x="hc" y="b"/>
                </a:cxn>
                <a:cxn ang="0">
                  <a:pos x="r" y="vc"/>
                </a:cxn>
              </a:cxnLst>
              <a:rect l="l" t="t" r="r" b="b"/>
              <a:pathLst>
                <a:path w="514" h="530">
                  <a:moveTo>
                    <a:pt x="376" y="331"/>
                  </a:moveTo>
                  <a:cubicBezTo>
                    <a:pt x="366" y="379"/>
                    <a:pt x="334" y="424"/>
                    <a:pt x="270" y="424"/>
                  </a:cubicBezTo>
                  <a:cubicBezTo>
                    <a:pt x="191" y="424"/>
                    <a:pt x="151" y="355"/>
                    <a:pt x="151" y="265"/>
                  </a:cubicBezTo>
                  <a:cubicBezTo>
                    <a:pt x="151" y="196"/>
                    <a:pt x="178" y="103"/>
                    <a:pt x="270" y="103"/>
                  </a:cubicBezTo>
                  <a:cubicBezTo>
                    <a:pt x="329" y="103"/>
                    <a:pt x="363" y="143"/>
                    <a:pt x="371" y="188"/>
                  </a:cubicBezTo>
                  <a:lnTo>
                    <a:pt x="511" y="188"/>
                  </a:lnTo>
                  <a:cubicBezTo>
                    <a:pt x="503" y="109"/>
                    <a:pt x="445" y="0"/>
                    <a:pt x="268" y="0"/>
                  </a:cubicBezTo>
                  <a:cubicBezTo>
                    <a:pt x="112" y="0"/>
                    <a:pt x="0" y="103"/>
                    <a:pt x="0" y="265"/>
                  </a:cubicBezTo>
                  <a:cubicBezTo>
                    <a:pt x="0" y="427"/>
                    <a:pt x="109" y="530"/>
                    <a:pt x="268" y="530"/>
                  </a:cubicBezTo>
                  <a:cubicBezTo>
                    <a:pt x="453" y="530"/>
                    <a:pt x="506" y="413"/>
                    <a:pt x="514" y="334"/>
                  </a:cubicBezTo>
                  <a:lnTo>
                    <a:pt x="376" y="3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Shape 11"/>
            <p:cNvSpPr/>
            <p:nvPr/>
          </p:nvSpPr>
          <p:spPr>
            <a:xfrm>
              <a:off x="2117744" y="4755338"/>
              <a:ext cx="101104" cy="100533"/>
            </a:xfrm>
            <a:custGeom>
              <a:avLst/>
              <a:gdLst/>
              <a:ahLst/>
              <a:cxnLst>
                <a:cxn ang="3cd4">
                  <a:pos x="hc" y="t"/>
                </a:cxn>
                <a:cxn ang="cd2">
                  <a:pos x="l" y="vc"/>
                </a:cxn>
                <a:cxn ang="cd4">
                  <a:pos x="hc" y="b"/>
                </a:cxn>
                <a:cxn ang="0">
                  <a:pos x="r" y="vc"/>
                </a:cxn>
              </a:cxnLst>
              <a:rect l="l" t="t" r="r" b="b"/>
              <a:pathLst>
                <a:path w="533" h="530">
                  <a:moveTo>
                    <a:pt x="268" y="0"/>
                  </a:moveTo>
                  <a:cubicBezTo>
                    <a:pt x="109" y="0"/>
                    <a:pt x="0" y="103"/>
                    <a:pt x="0" y="265"/>
                  </a:cubicBezTo>
                  <a:cubicBezTo>
                    <a:pt x="0" y="427"/>
                    <a:pt x="109" y="530"/>
                    <a:pt x="268" y="530"/>
                  </a:cubicBezTo>
                  <a:cubicBezTo>
                    <a:pt x="424" y="530"/>
                    <a:pt x="533" y="429"/>
                    <a:pt x="533" y="265"/>
                  </a:cubicBezTo>
                  <a:cubicBezTo>
                    <a:pt x="533" y="98"/>
                    <a:pt x="419" y="0"/>
                    <a:pt x="268" y="0"/>
                  </a:cubicBezTo>
                  <a:close/>
                  <a:moveTo>
                    <a:pt x="265" y="424"/>
                  </a:moveTo>
                  <a:cubicBezTo>
                    <a:pt x="188" y="424"/>
                    <a:pt x="146" y="355"/>
                    <a:pt x="146" y="265"/>
                  </a:cubicBezTo>
                  <a:cubicBezTo>
                    <a:pt x="149" y="196"/>
                    <a:pt x="175" y="103"/>
                    <a:pt x="265" y="103"/>
                  </a:cubicBezTo>
                  <a:cubicBezTo>
                    <a:pt x="347" y="103"/>
                    <a:pt x="382" y="183"/>
                    <a:pt x="382" y="265"/>
                  </a:cubicBezTo>
                  <a:cubicBezTo>
                    <a:pt x="382" y="347"/>
                    <a:pt x="347" y="424"/>
                    <a:pt x="265" y="42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3088728171"/>
      </p:ext>
    </p:extLst>
  </p:cSld>
  <p:clrMapOvr>
    <a:masterClrMapping/>
  </p:clrMapOv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Segue Demo">
    <p:spTree>
      <p:nvGrpSpPr>
        <p:cNvPr id="1" name=""/>
        <p:cNvGrpSpPr/>
        <p:nvPr/>
      </p:nvGrpSpPr>
      <p:grpSpPr>
        <a:xfrm>
          <a:off x="0" y="0"/>
          <a:ext cx="0" cy="0"/>
          <a:chOff x="0" y="0"/>
          <a:chExt cx="0" cy="0"/>
        </a:xfrm>
      </p:grpSpPr>
      <p:sp>
        <p:nvSpPr>
          <p:cNvPr id="11" name="Rectangle 10"/>
          <p:cNvSpPr/>
          <p:nvPr userDrawn="1"/>
        </p:nvSpPr>
        <p:spPr bwMode="auto">
          <a:xfrm>
            <a:off x="0" y="0"/>
            <a:ext cx="9144000" cy="5160536"/>
          </a:xfrm>
          <a:prstGeom prst="rect">
            <a:avLst/>
          </a:prstGeom>
          <a:solidFill>
            <a:srgbClr val="00BCEB"/>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a:solidFill>
                <a:schemeClr val="bg1"/>
              </a:solidFill>
              <a:ea typeface="Arial" pitchFamily="-107" charset="0"/>
              <a:cs typeface="Arial" pitchFamily="-107" charset="0"/>
              <a:sym typeface="Arial" pitchFamily="-107" charset="0"/>
            </a:endParaRPr>
          </a:p>
        </p:txBody>
      </p:sp>
      <p:grpSp>
        <p:nvGrpSpPr>
          <p:cNvPr id="12" name="Group 11"/>
          <p:cNvGrpSpPr/>
          <p:nvPr userDrawn="1"/>
        </p:nvGrpSpPr>
        <p:grpSpPr>
          <a:xfrm>
            <a:off x="0" y="3341679"/>
            <a:ext cx="9144000" cy="1818857"/>
            <a:chOff x="0" y="3324643"/>
            <a:chExt cx="9144000" cy="1818857"/>
          </a:xfrm>
          <a:solidFill>
            <a:srgbClr val="005073"/>
          </a:solidFill>
        </p:grpSpPr>
        <p:grpSp>
          <p:nvGrpSpPr>
            <p:cNvPr id="14" name="Group 13"/>
            <p:cNvGrpSpPr/>
            <p:nvPr/>
          </p:nvGrpSpPr>
          <p:grpSpPr>
            <a:xfrm>
              <a:off x="0" y="3324643"/>
              <a:ext cx="9144000" cy="1709204"/>
              <a:chOff x="2676240" y="1391040"/>
              <a:chExt cx="5323319" cy="995039"/>
            </a:xfrm>
            <a:grpFill/>
          </p:grpSpPr>
          <p:sp>
            <p:nvSpPr>
              <p:cNvPr id="16" name="Freeform: Shape 1"/>
              <p:cNvSpPr/>
              <p:nvPr/>
            </p:nvSpPr>
            <p:spPr>
              <a:xfrm>
                <a:off x="2676240" y="2204279"/>
                <a:ext cx="5323319" cy="181800"/>
              </a:xfrm>
              <a:custGeom>
                <a:avLst/>
                <a:gdLst/>
                <a:ahLst/>
                <a:cxnLst>
                  <a:cxn ang="3cd4">
                    <a:pos x="hc" y="t"/>
                  </a:cxn>
                  <a:cxn ang="cd2">
                    <a:pos x="l" y="vc"/>
                  </a:cxn>
                  <a:cxn ang="cd4">
                    <a:pos x="hc" y="b"/>
                  </a:cxn>
                  <a:cxn ang="0">
                    <a:pos x="r" y="vc"/>
                  </a:cxn>
                </a:cxnLst>
                <a:rect l="l" t="t" r="r" b="b"/>
                <a:pathLst>
                  <a:path w="14804" h="506">
                    <a:moveTo>
                      <a:pt x="7403" y="506"/>
                    </a:moveTo>
                    <a:lnTo>
                      <a:pt x="0" y="506"/>
                    </a:lnTo>
                    <a:lnTo>
                      <a:pt x="0" y="0"/>
                    </a:lnTo>
                    <a:lnTo>
                      <a:pt x="14804" y="0"/>
                    </a:lnTo>
                    <a:lnTo>
                      <a:pt x="14804" y="506"/>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Shape 2"/>
              <p:cNvSpPr/>
              <p:nvPr/>
            </p:nvSpPr>
            <p:spPr>
              <a:xfrm>
                <a:off x="4409279" y="2031839"/>
                <a:ext cx="105480" cy="326520"/>
              </a:xfrm>
              <a:custGeom>
                <a:avLst/>
                <a:gdLst/>
                <a:ahLst/>
                <a:cxnLst>
                  <a:cxn ang="3cd4">
                    <a:pos x="hc" y="t"/>
                  </a:cxn>
                  <a:cxn ang="cd2">
                    <a:pos x="l" y="vc"/>
                  </a:cxn>
                  <a:cxn ang="cd4">
                    <a:pos x="hc" y="b"/>
                  </a:cxn>
                  <a:cxn ang="0">
                    <a:pos x="r" y="vc"/>
                  </a:cxn>
                </a:cxnLst>
                <a:rect l="l" t="t" r="r" b="b"/>
                <a:pathLst>
                  <a:path w="294" h="908">
                    <a:moveTo>
                      <a:pt x="147" y="908"/>
                    </a:moveTo>
                    <a:lnTo>
                      <a:pt x="0" y="908"/>
                    </a:lnTo>
                    <a:lnTo>
                      <a:pt x="0" y="0"/>
                    </a:lnTo>
                    <a:lnTo>
                      <a:pt x="294" y="0"/>
                    </a:lnTo>
                    <a:lnTo>
                      <a:pt x="294" y="908"/>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Shape 3"/>
              <p:cNvSpPr/>
              <p:nvPr/>
            </p:nvSpPr>
            <p:spPr>
              <a:xfrm>
                <a:off x="4554360" y="2088719"/>
                <a:ext cx="32760" cy="263880"/>
              </a:xfrm>
              <a:custGeom>
                <a:avLst/>
                <a:gdLst/>
                <a:ahLst/>
                <a:cxnLst>
                  <a:cxn ang="3cd4">
                    <a:pos x="hc" y="t"/>
                  </a:cxn>
                  <a:cxn ang="cd2">
                    <a:pos x="l" y="vc"/>
                  </a:cxn>
                  <a:cxn ang="cd4">
                    <a:pos x="hc" y="b"/>
                  </a:cxn>
                  <a:cxn ang="0">
                    <a:pos x="r" y="vc"/>
                  </a:cxn>
                </a:cxnLst>
                <a:rect l="l" t="t" r="r" b="b"/>
                <a:pathLst>
                  <a:path w="92" h="734">
                    <a:moveTo>
                      <a:pt x="46" y="734"/>
                    </a:moveTo>
                    <a:lnTo>
                      <a:pt x="0" y="734"/>
                    </a:lnTo>
                    <a:lnTo>
                      <a:pt x="0" y="0"/>
                    </a:lnTo>
                    <a:lnTo>
                      <a:pt x="92" y="0"/>
                    </a:lnTo>
                    <a:lnTo>
                      <a:pt x="92" y="7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9" name="Freeform: Shape 4"/>
              <p:cNvSpPr/>
              <p:nvPr/>
            </p:nvSpPr>
            <p:spPr>
              <a:xfrm>
                <a:off x="4733279" y="1795320"/>
                <a:ext cx="68400" cy="525960"/>
              </a:xfrm>
              <a:custGeom>
                <a:avLst/>
                <a:gdLst/>
                <a:ahLst/>
                <a:cxnLst>
                  <a:cxn ang="3cd4">
                    <a:pos x="hc" y="t"/>
                  </a:cxn>
                  <a:cxn ang="cd2">
                    <a:pos x="l" y="vc"/>
                  </a:cxn>
                  <a:cxn ang="cd4">
                    <a:pos x="hc" y="b"/>
                  </a:cxn>
                  <a:cxn ang="0">
                    <a:pos x="r" y="vc"/>
                  </a:cxn>
                </a:cxnLst>
                <a:rect l="l" t="t" r="r" b="b"/>
                <a:pathLst>
                  <a:path w="191" h="1462">
                    <a:moveTo>
                      <a:pt x="96" y="1462"/>
                    </a:moveTo>
                    <a:lnTo>
                      <a:pt x="0" y="1462"/>
                    </a:lnTo>
                    <a:lnTo>
                      <a:pt x="0" y="0"/>
                    </a:lnTo>
                    <a:lnTo>
                      <a:pt x="191" y="0"/>
                    </a:lnTo>
                    <a:lnTo>
                      <a:pt x="191" y="1462"/>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0" name="Freeform: Shape 5"/>
              <p:cNvSpPr/>
              <p:nvPr/>
            </p:nvSpPr>
            <p:spPr>
              <a:xfrm>
                <a:off x="4659120" y="2103120"/>
                <a:ext cx="114840" cy="211320"/>
              </a:xfrm>
              <a:custGeom>
                <a:avLst/>
                <a:gdLst/>
                <a:ahLst/>
                <a:cxnLst>
                  <a:cxn ang="3cd4">
                    <a:pos x="hc" y="t"/>
                  </a:cxn>
                  <a:cxn ang="cd2">
                    <a:pos x="l" y="vc"/>
                  </a:cxn>
                  <a:cxn ang="cd4">
                    <a:pos x="hc" y="b"/>
                  </a:cxn>
                  <a:cxn ang="0">
                    <a:pos x="r" y="vc"/>
                  </a:cxn>
                </a:cxnLst>
                <a:rect l="l" t="t" r="r" b="b"/>
                <a:pathLst>
                  <a:path w="320" h="588">
                    <a:moveTo>
                      <a:pt x="160" y="588"/>
                    </a:moveTo>
                    <a:lnTo>
                      <a:pt x="0" y="588"/>
                    </a:lnTo>
                    <a:lnTo>
                      <a:pt x="0" y="0"/>
                    </a:lnTo>
                    <a:lnTo>
                      <a:pt x="320" y="0"/>
                    </a:lnTo>
                    <a:lnTo>
                      <a:pt x="320" y="588"/>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 name="Freeform: Shape 6"/>
              <p:cNvSpPr/>
              <p:nvPr/>
            </p:nvSpPr>
            <p:spPr>
              <a:xfrm>
                <a:off x="4938479" y="2107800"/>
                <a:ext cx="571680" cy="148320"/>
              </a:xfrm>
              <a:custGeom>
                <a:avLst/>
                <a:gdLst/>
                <a:ahLst/>
                <a:cxnLst>
                  <a:cxn ang="3cd4">
                    <a:pos x="hc" y="t"/>
                  </a:cxn>
                  <a:cxn ang="cd2">
                    <a:pos x="l" y="vc"/>
                  </a:cxn>
                  <a:cxn ang="cd4">
                    <a:pos x="hc" y="b"/>
                  </a:cxn>
                  <a:cxn ang="0">
                    <a:pos x="r" y="vc"/>
                  </a:cxn>
                </a:cxnLst>
                <a:rect l="l" t="t" r="r" b="b"/>
                <a:pathLst>
                  <a:path w="1589" h="413">
                    <a:moveTo>
                      <a:pt x="794" y="413"/>
                    </a:moveTo>
                    <a:lnTo>
                      <a:pt x="0" y="413"/>
                    </a:lnTo>
                    <a:lnTo>
                      <a:pt x="0" y="0"/>
                    </a:lnTo>
                    <a:lnTo>
                      <a:pt x="1589" y="0"/>
                    </a:lnTo>
                    <a:lnTo>
                      <a:pt x="1589" y="413"/>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Shape 7"/>
              <p:cNvSpPr/>
              <p:nvPr/>
            </p:nvSpPr>
            <p:spPr>
              <a:xfrm>
                <a:off x="4640040" y="2163240"/>
                <a:ext cx="783359" cy="76680"/>
              </a:xfrm>
              <a:custGeom>
                <a:avLst/>
                <a:gdLst/>
                <a:ahLst/>
                <a:cxnLst>
                  <a:cxn ang="3cd4">
                    <a:pos x="hc" y="t"/>
                  </a:cxn>
                  <a:cxn ang="cd2">
                    <a:pos x="l" y="vc"/>
                  </a:cxn>
                  <a:cxn ang="cd4">
                    <a:pos x="hc" y="b"/>
                  </a:cxn>
                  <a:cxn ang="0">
                    <a:pos x="r" y="vc"/>
                  </a:cxn>
                </a:cxnLst>
                <a:rect l="l" t="t" r="r" b="b"/>
                <a:pathLst>
                  <a:path w="2177" h="214">
                    <a:moveTo>
                      <a:pt x="1088" y="214"/>
                    </a:moveTo>
                    <a:lnTo>
                      <a:pt x="0" y="214"/>
                    </a:lnTo>
                    <a:lnTo>
                      <a:pt x="0" y="0"/>
                    </a:lnTo>
                    <a:lnTo>
                      <a:pt x="2177" y="0"/>
                    </a:lnTo>
                    <a:lnTo>
                      <a:pt x="2177" y="21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Shape 8"/>
              <p:cNvSpPr/>
              <p:nvPr/>
            </p:nvSpPr>
            <p:spPr>
              <a:xfrm>
                <a:off x="3107159" y="2031839"/>
                <a:ext cx="105480" cy="326520"/>
              </a:xfrm>
              <a:custGeom>
                <a:avLst/>
                <a:gdLst/>
                <a:ahLst/>
                <a:cxnLst>
                  <a:cxn ang="3cd4">
                    <a:pos x="hc" y="t"/>
                  </a:cxn>
                  <a:cxn ang="cd2">
                    <a:pos x="l" y="vc"/>
                  </a:cxn>
                  <a:cxn ang="cd4">
                    <a:pos x="hc" y="b"/>
                  </a:cxn>
                  <a:cxn ang="0">
                    <a:pos x="r" y="vc"/>
                  </a:cxn>
                </a:cxnLst>
                <a:rect l="l" t="t" r="r" b="b"/>
                <a:pathLst>
                  <a:path w="294" h="908">
                    <a:moveTo>
                      <a:pt x="147" y="908"/>
                    </a:moveTo>
                    <a:lnTo>
                      <a:pt x="0" y="908"/>
                    </a:lnTo>
                    <a:lnTo>
                      <a:pt x="0" y="0"/>
                    </a:lnTo>
                    <a:lnTo>
                      <a:pt x="294" y="0"/>
                    </a:lnTo>
                    <a:lnTo>
                      <a:pt x="294" y="908"/>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Shape 9"/>
              <p:cNvSpPr/>
              <p:nvPr/>
            </p:nvSpPr>
            <p:spPr>
              <a:xfrm>
                <a:off x="7894079" y="2031839"/>
                <a:ext cx="105480" cy="326520"/>
              </a:xfrm>
              <a:custGeom>
                <a:avLst/>
                <a:gdLst/>
                <a:ahLst/>
                <a:cxnLst>
                  <a:cxn ang="3cd4">
                    <a:pos x="hc" y="t"/>
                  </a:cxn>
                  <a:cxn ang="cd2">
                    <a:pos x="l" y="vc"/>
                  </a:cxn>
                  <a:cxn ang="cd4">
                    <a:pos x="hc" y="b"/>
                  </a:cxn>
                  <a:cxn ang="0">
                    <a:pos x="r" y="vc"/>
                  </a:cxn>
                </a:cxnLst>
                <a:rect l="l" t="t" r="r" b="b"/>
                <a:pathLst>
                  <a:path w="294" h="908">
                    <a:moveTo>
                      <a:pt x="147" y="908"/>
                    </a:moveTo>
                    <a:lnTo>
                      <a:pt x="0" y="908"/>
                    </a:lnTo>
                    <a:lnTo>
                      <a:pt x="0" y="0"/>
                    </a:lnTo>
                    <a:lnTo>
                      <a:pt x="294" y="0"/>
                    </a:lnTo>
                    <a:lnTo>
                      <a:pt x="294" y="908"/>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6" name="Freeform: Shape 10"/>
              <p:cNvSpPr/>
              <p:nvPr/>
            </p:nvSpPr>
            <p:spPr>
              <a:xfrm>
                <a:off x="3252239" y="2088719"/>
                <a:ext cx="32760" cy="263880"/>
              </a:xfrm>
              <a:custGeom>
                <a:avLst/>
                <a:gdLst/>
                <a:ahLst/>
                <a:cxnLst>
                  <a:cxn ang="3cd4">
                    <a:pos x="hc" y="t"/>
                  </a:cxn>
                  <a:cxn ang="cd2">
                    <a:pos x="l" y="vc"/>
                  </a:cxn>
                  <a:cxn ang="cd4">
                    <a:pos x="hc" y="b"/>
                  </a:cxn>
                  <a:cxn ang="0">
                    <a:pos x="r" y="vc"/>
                  </a:cxn>
                </a:cxnLst>
                <a:rect l="l" t="t" r="r" b="b"/>
                <a:pathLst>
                  <a:path w="92" h="734">
                    <a:moveTo>
                      <a:pt x="46" y="734"/>
                    </a:moveTo>
                    <a:lnTo>
                      <a:pt x="0" y="734"/>
                    </a:lnTo>
                    <a:lnTo>
                      <a:pt x="0" y="0"/>
                    </a:lnTo>
                    <a:lnTo>
                      <a:pt x="92" y="0"/>
                    </a:lnTo>
                    <a:lnTo>
                      <a:pt x="92" y="7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Freeform: Shape 11"/>
              <p:cNvSpPr/>
              <p:nvPr/>
            </p:nvSpPr>
            <p:spPr>
              <a:xfrm>
                <a:off x="3432239" y="1795320"/>
                <a:ext cx="68400" cy="525960"/>
              </a:xfrm>
              <a:custGeom>
                <a:avLst/>
                <a:gdLst/>
                <a:ahLst/>
                <a:cxnLst>
                  <a:cxn ang="3cd4">
                    <a:pos x="hc" y="t"/>
                  </a:cxn>
                  <a:cxn ang="cd2">
                    <a:pos x="l" y="vc"/>
                  </a:cxn>
                  <a:cxn ang="cd4">
                    <a:pos x="hc" y="b"/>
                  </a:cxn>
                  <a:cxn ang="0">
                    <a:pos x="r" y="vc"/>
                  </a:cxn>
                </a:cxnLst>
                <a:rect l="l" t="t" r="r" b="b"/>
                <a:pathLst>
                  <a:path w="191" h="1462">
                    <a:moveTo>
                      <a:pt x="95" y="1462"/>
                    </a:moveTo>
                    <a:lnTo>
                      <a:pt x="0" y="1462"/>
                    </a:lnTo>
                    <a:lnTo>
                      <a:pt x="0" y="0"/>
                    </a:lnTo>
                    <a:lnTo>
                      <a:pt x="191" y="0"/>
                    </a:lnTo>
                    <a:lnTo>
                      <a:pt x="191" y="1462"/>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8" name="Freeform: Shape 12"/>
              <p:cNvSpPr/>
              <p:nvPr/>
            </p:nvSpPr>
            <p:spPr>
              <a:xfrm>
                <a:off x="3524759" y="1795320"/>
                <a:ext cx="68040" cy="525960"/>
              </a:xfrm>
              <a:custGeom>
                <a:avLst/>
                <a:gdLst/>
                <a:ahLst/>
                <a:cxnLst>
                  <a:cxn ang="3cd4">
                    <a:pos x="hc" y="t"/>
                  </a:cxn>
                  <a:cxn ang="cd2">
                    <a:pos x="l" y="vc"/>
                  </a:cxn>
                  <a:cxn ang="cd4">
                    <a:pos x="hc" y="b"/>
                  </a:cxn>
                  <a:cxn ang="0">
                    <a:pos x="r" y="vc"/>
                  </a:cxn>
                </a:cxnLst>
                <a:rect l="l" t="t" r="r" b="b"/>
                <a:pathLst>
                  <a:path w="190" h="1462">
                    <a:moveTo>
                      <a:pt x="95" y="1462"/>
                    </a:moveTo>
                    <a:lnTo>
                      <a:pt x="0" y="1462"/>
                    </a:lnTo>
                    <a:lnTo>
                      <a:pt x="0" y="0"/>
                    </a:lnTo>
                    <a:lnTo>
                      <a:pt x="190" y="0"/>
                    </a:lnTo>
                    <a:lnTo>
                      <a:pt x="190" y="1462"/>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9" name="Freeform: Shape 13"/>
              <p:cNvSpPr/>
              <p:nvPr/>
            </p:nvSpPr>
            <p:spPr>
              <a:xfrm>
                <a:off x="3617279" y="1795320"/>
                <a:ext cx="68040" cy="525960"/>
              </a:xfrm>
              <a:custGeom>
                <a:avLst/>
                <a:gdLst/>
                <a:ahLst/>
                <a:cxnLst>
                  <a:cxn ang="3cd4">
                    <a:pos x="hc" y="t"/>
                  </a:cxn>
                  <a:cxn ang="cd2">
                    <a:pos x="l" y="vc"/>
                  </a:cxn>
                  <a:cxn ang="cd4">
                    <a:pos x="hc" y="b"/>
                  </a:cxn>
                  <a:cxn ang="0">
                    <a:pos x="r" y="vc"/>
                  </a:cxn>
                </a:cxnLst>
                <a:rect l="l" t="t" r="r" b="b"/>
                <a:pathLst>
                  <a:path w="190" h="1462">
                    <a:moveTo>
                      <a:pt x="95" y="1462"/>
                    </a:moveTo>
                    <a:lnTo>
                      <a:pt x="0" y="1462"/>
                    </a:lnTo>
                    <a:lnTo>
                      <a:pt x="0" y="0"/>
                    </a:lnTo>
                    <a:lnTo>
                      <a:pt x="190" y="0"/>
                    </a:lnTo>
                    <a:lnTo>
                      <a:pt x="190" y="1462"/>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0" name="Freeform: Shape 14"/>
              <p:cNvSpPr/>
              <p:nvPr/>
            </p:nvSpPr>
            <p:spPr>
              <a:xfrm>
                <a:off x="3357720" y="2103120"/>
                <a:ext cx="115200" cy="211320"/>
              </a:xfrm>
              <a:custGeom>
                <a:avLst/>
                <a:gdLst/>
                <a:ahLst/>
                <a:cxnLst>
                  <a:cxn ang="3cd4">
                    <a:pos x="hc" y="t"/>
                  </a:cxn>
                  <a:cxn ang="cd2">
                    <a:pos x="l" y="vc"/>
                  </a:cxn>
                  <a:cxn ang="cd4">
                    <a:pos x="hc" y="b"/>
                  </a:cxn>
                  <a:cxn ang="0">
                    <a:pos x="r" y="vc"/>
                  </a:cxn>
                </a:cxnLst>
                <a:rect l="l" t="t" r="r" b="b"/>
                <a:pathLst>
                  <a:path w="321" h="588">
                    <a:moveTo>
                      <a:pt x="161" y="588"/>
                    </a:moveTo>
                    <a:lnTo>
                      <a:pt x="0" y="588"/>
                    </a:lnTo>
                    <a:lnTo>
                      <a:pt x="0" y="0"/>
                    </a:lnTo>
                    <a:lnTo>
                      <a:pt x="321" y="0"/>
                    </a:lnTo>
                    <a:lnTo>
                      <a:pt x="321" y="588"/>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1" name="Freeform: Shape 15"/>
              <p:cNvSpPr/>
              <p:nvPr/>
            </p:nvSpPr>
            <p:spPr>
              <a:xfrm>
                <a:off x="3337920" y="2163240"/>
                <a:ext cx="782999" cy="76680"/>
              </a:xfrm>
              <a:custGeom>
                <a:avLst/>
                <a:gdLst/>
                <a:ahLst/>
                <a:cxnLst>
                  <a:cxn ang="3cd4">
                    <a:pos x="hc" y="t"/>
                  </a:cxn>
                  <a:cxn ang="cd2">
                    <a:pos x="l" y="vc"/>
                  </a:cxn>
                  <a:cxn ang="cd4">
                    <a:pos x="hc" y="b"/>
                  </a:cxn>
                  <a:cxn ang="0">
                    <a:pos x="r" y="vc"/>
                  </a:cxn>
                </a:cxnLst>
                <a:rect l="l" t="t" r="r" b="b"/>
                <a:pathLst>
                  <a:path w="2176" h="214">
                    <a:moveTo>
                      <a:pt x="1088" y="214"/>
                    </a:moveTo>
                    <a:lnTo>
                      <a:pt x="0" y="214"/>
                    </a:lnTo>
                    <a:lnTo>
                      <a:pt x="0" y="0"/>
                    </a:lnTo>
                    <a:lnTo>
                      <a:pt x="2176" y="0"/>
                    </a:lnTo>
                    <a:lnTo>
                      <a:pt x="2176" y="21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2" name="Freeform: Shape 16"/>
              <p:cNvSpPr/>
              <p:nvPr/>
            </p:nvSpPr>
            <p:spPr>
              <a:xfrm>
                <a:off x="4827960" y="1766520"/>
                <a:ext cx="67320" cy="427680"/>
              </a:xfrm>
              <a:custGeom>
                <a:avLst/>
                <a:gdLst/>
                <a:ahLst/>
                <a:cxnLst>
                  <a:cxn ang="3cd4">
                    <a:pos x="hc" y="t"/>
                  </a:cxn>
                  <a:cxn ang="cd2">
                    <a:pos x="l" y="vc"/>
                  </a:cxn>
                  <a:cxn ang="cd4">
                    <a:pos x="hc" y="b"/>
                  </a:cxn>
                  <a:cxn ang="0">
                    <a:pos x="r" y="vc"/>
                  </a:cxn>
                </a:cxnLst>
                <a:rect l="l" t="t" r="r" b="b"/>
                <a:pathLst>
                  <a:path w="188" h="1189">
                    <a:moveTo>
                      <a:pt x="94" y="1189"/>
                    </a:moveTo>
                    <a:lnTo>
                      <a:pt x="0" y="1189"/>
                    </a:lnTo>
                    <a:lnTo>
                      <a:pt x="0" y="0"/>
                    </a:lnTo>
                    <a:lnTo>
                      <a:pt x="188" y="0"/>
                    </a:lnTo>
                    <a:lnTo>
                      <a:pt x="188" y="118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3" name="Freeform: Shape 17"/>
              <p:cNvSpPr/>
              <p:nvPr/>
            </p:nvSpPr>
            <p:spPr>
              <a:xfrm>
                <a:off x="4920120" y="1765800"/>
                <a:ext cx="67320" cy="524880"/>
              </a:xfrm>
              <a:custGeom>
                <a:avLst/>
                <a:gdLst/>
                <a:ahLst/>
                <a:cxnLst>
                  <a:cxn ang="3cd4">
                    <a:pos x="hc" y="t"/>
                  </a:cxn>
                  <a:cxn ang="cd2">
                    <a:pos x="l" y="vc"/>
                  </a:cxn>
                  <a:cxn ang="cd4">
                    <a:pos x="hc" y="b"/>
                  </a:cxn>
                  <a:cxn ang="0">
                    <a:pos x="r" y="vc"/>
                  </a:cxn>
                </a:cxnLst>
                <a:rect l="l" t="t" r="r" b="b"/>
                <a:pathLst>
                  <a:path w="188" h="1459">
                    <a:moveTo>
                      <a:pt x="0" y="1459"/>
                    </a:moveTo>
                    <a:lnTo>
                      <a:pt x="188" y="1459"/>
                    </a:lnTo>
                    <a:lnTo>
                      <a:pt x="188" y="349"/>
                    </a:lnTo>
                    <a:lnTo>
                      <a:pt x="0"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4" name="Freeform: Shape 18"/>
              <p:cNvSpPr/>
              <p:nvPr/>
            </p:nvSpPr>
            <p:spPr>
              <a:xfrm>
                <a:off x="5095800" y="1842840"/>
                <a:ext cx="149040" cy="74160"/>
              </a:xfrm>
              <a:custGeom>
                <a:avLst/>
                <a:gdLst/>
                <a:ahLst/>
                <a:cxnLst>
                  <a:cxn ang="3cd4">
                    <a:pos x="hc" y="t"/>
                  </a:cxn>
                  <a:cxn ang="cd2">
                    <a:pos x="l" y="vc"/>
                  </a:cxn>
                  <a:cxn ang="cd4">
                    <a:pos x="hc" y="b"/>
                  </a:cxn>
                  <a:cxn ang="0">
                    <a:pos x="r" y="vc"/>
                  </a:cxn>
                </a:cxnLst>
                <a:rect l="l" t="t" r="r" b="b"/>
                <a:pathLst>
                  <a:path w="415" h="207">
                    <a:moveTo>
                      <a:pt x="208" y="207"/>
                    </a:moveTo>
                    <a:lnTo>
                      <a:pt x="0" y="207"/>
                    </a:lnTo>
                    <a:lnTo>
                      <a:pt x="0" y="0"/>
                    </a:lnTo>
                    <a:lnTo>
                      <a:pt x="415" y="0"/>
                    </a:lnTo>
                    <a:lnTo>
                      <a:pt x="415" y="207"/>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5" name="Freeform: Shape 19"/>
              <p:cNvSpPr/>
              <p:nvPr/>
            </p:nvSpPr>
            <p:spPr>
              <a:xfrm>
                <a:off x="5043240" y="1868760"/>
                <a:ext cx="420840" cy="307440"/>
              </a:xfrm>
              <a:custGeom>
                <a:avLst/>
                <a:gdLst/>
                <a:ahLst/>
                <a:cxnLst>
                  <a:cxn ang="3cd4">
                    <a:pos x="hc" y="t"/>
                  </a:cxn>
                  <a:cxn ang="cd2">
                    <a:pos x="l" y="vc"/>
                  </a:cxn>
                  <a:cxn ang="cd4">
                    <a:pos x="hc" y="b"/>
                  </a:cxn>
                  <a:cxn ang="0">
                    <a:pos x="r" y="vc"/>
                  </a:cxn>
                </a:cxnLst>
                <a:rect l="l" t="t" r="r" b="b"/>
                <a:pathLst>
                  <a:path w="1170" h="855">
                    <a:moveTo>
                      <a:pt x="286" y="217"/>
                    </a:moveTo>
                    <a:lnTo>
                      <a:pt x="286" y="174"/>
                    </a:lnTo>
                    <a:lnTo>
                      <a:pt x="1170" y="174"/>
                    </a:lnTo>
                    <a:lnTo>
                      <a:pt x="1170" y="0"/>
                    </a:lnTo>
                    <a:lnTo>
                      <a:pt x="0" y="0"/>
                    </a:lnTo>
                    <a:lnTo>
                      <a:pt x="0" y="855"/>
                    </a:lnTo>
                    <a:lnTo>
                      <a:pt x="1170" y="855"/>
                    </a:lnTo>
                    <a:lnTo>
                      <a:pt x="1170" y="664"/>
                    </a:lnTo>
                    <a:lnTo>
                      <a:pt x="286" y="664"/>
                    </a:lnTo>
                    <a:lnTo>
                      <a:pt x="286" y="622"/>
                    </a:lnTo>
                    <a:lnTo>
                      <a:pt x="1170" y="622"/>
                    </a:lnTo>
                    <a:lnTo>
                      <a:pt x="1170" y="574"/>
                    </a:lnTo>
                    <a:lnTo>
                      <a:pt x="286" y="574"/>
                    </a:lnTo>
                    <a:lnTo>
                      <a:pt x="286" y="535"/>
                    </a:lnTo>
                    <a:lnTo>
                      <a:pt x="1170" y="535"/>
                    </a:lnTo>
                    <a:lnTo>
                      <a:pt x="1170" y="484"/>
                    </a:lnTo>
                    <a:lnTo>
                      <a:pt x="286" y="484"/>
                    </a:lnTo>
                    <a:lnTo>
                      <a:pt x="286" y="445"/>
                    </a:lnTo>
                    <a:lnTo>
                      <a:pt x="1170" y="445"/>
                    </a:lnTo>
                    <a:lnTo>
                      <a:pt x="1170" y="397"/>
                    </a:lnTo>
                    <a:lnTo>
                      <a:pt x="286" y="397"/>
                    </a:lnTo>
                    <a:lnTo>
                      <a:pt x="286" y="355"/>
                    </a:lnTo>
                    <a:lnTo>
                      <a:pt x="1170" y="355"/>
                    </a:lnTo>
                    <a:lnTo>
                      <a:pt x="1170" y="307"/>
                    </a:lnTo>
                    <a:lnTo>
                      <a:pt x="286" y="307"/>
                    </a:lnTo>
                    <a:lnTo>
                      <a:pt x="286" y="265"/>
                    </a:lnTo>
                    <a:lnTo>
                      <a:pt x="1170" y="265"/>
                    </a:lnTo>
                    <a:lnTo>
                      <a:pt x="1170" y="217"/>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6" name="Freeform: Shape 20"/>
              <p:cNvSpPr/>
              <p:nvPr/>
            </p:nvSpPr>
            <p:spPr>
              <a:xfrm>
                <a:off x="5657760" y="1989719"/>
                <a:ext cx="356040" cy="315360"/>
              </a:xfrm>
              <a:custGeom>
                <a:avLst/>
                <a:gdLst/>
                <a:ahLst/>
                <a:cxnLst>
                  <a:cxn ang="3cd4">
                    <a:pos x="hc" y="t"/>
                  </a:cxn>
                  <a:cxn ang="cd2">
                    <a:pos x="l" y="vc"/>
                  </a:cxn>
                  <a:cxn ang="cd4">
                    <a:pos x="hc" y="b"/>
                  </a:cxn>
                  <a:cxn ang="0">
                    <a:pos x="r" y="vc"/>
                  </a:cxn>
                </a:cxnLst>
                <a:rect l="l" t="t" r="r" b="b"/>
                <a:pathLst>
                  <a:path w="990" h="877">
                    <a:moveTo>
                      <a:pt x="678" y="0"/>
                    </a:moveTo>
                    <a:lnTo>
                      <a:pt x="678" y="410"/>
                    </a:lnTo>
                    <a:lnTo>
                      <a:pt x="410" y="410"/>
                    </a:lnTo>
                    <a:lnTo>
                      <a:pt x="410" y="479"/>
                    </a:lnTo>
                    <a:lnTo>
                      <a:pt x="0" y="479"/>
                    </a:lnTo>
                    <a:lnTo>
                      <a:pt x="0" y="723"/>
                    </a:lnTo>
                    <a:lnTo>
                      <a:pt x="678" y="723"/>
                    </a:lnTo>
                    <a:lnTo>
                      <a:pt x="678" y="877"/>
                    </a:lnTo>
                    <a:lnTo>
                      <a:pt x="990" y="877"/>
                    </a:lnTo>
                    <a:lnTo>
                      <a:pt x="990"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7" name="Freeform: Shape 21"/>
              <p:cNvSpPr/>
              <p:nvPr/>
            </p:nvSpPr>
            <p:spPr>
              <a:xfrm>
                <a:off x="6043679" y="1942919"/>
                <a:ext cx="175320" cy="385920"/>
              </a:xfrm>
              <a:custGeom>
                <a:avLst/>
                <a:gdLst/>
                <a:ahLst/>
                <a:cxnLst>
                  <a:cxn ang="3cd4">
                    <a:pos x="hc" y="t"/>
                  </a:cxn>
                  <a:cxn ang="cd2">
                    <a:pos x="l" y="vc"/>
                  </a:cxn>
                  <a:cxn ang="cd4">
                    <a:pos x="hc" y="b"/>
                  </a:cxn>
                  <a:cxn ang="0">
                    <a:pos x="r" y="vc"/>
                  </a:cxn>
                </a:cxnLst>
                <a:rect l="l" t="t" r="r" b="b"/>
                <a:pathLst>
                  <a:path w="488" h="1073">
                    <a:moveTo>
                      <a:pt x="244" y="1073"/>
                    </a:moveTo>
                    <a:lnTo>
                      <a:pt x="0" y="1073"/>
                    </a:lnTo>
                    <a:lnTo>
                      <a:pt x="0" y="0"/>
                    </a:lnTo>
                    <a:lnTo>
                      <a:pt x="488" y="0"/>
                    </a:lnTo>
                    <a:lnTo>
                      <a:pt x="488" y="1073"/>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8" name="Freeform: Shape 22"/>
              <p:cNvSpPr/>
              <p:nvPr/>
            </p:nvSpPr>
            <p:spPr>
              <a:xfrm>
                <a:off x="6156360" y="2048040"/>
                <a:ext cx="109080" cy="227160"/>
              </a:xfrm>
              <a:custGeom>
                <a:avLst/>
                <a:gdLst/>
                <a:ahLst/>
                <a:cxnLst>
                  <a:cxn ang="3cd4">
                    <a:pos x="hc" y="t"/>
                  </a:cxn>
                  <a:cxn ang="cd2">
                    <a:pos x="l" y="vc"/>
                  </a:cxn>
                  <a:cxn ang="cd4">
                    <a:pos x="hc" y="b"/>
                  </a:cxn>
                  <a:cxn ang="0">
                    <a:pos x="r" y="vc"/>
                  </a:cxn>
                </a:cxnLst>
                <a:rect l="l" t="t" r="r" b="b"/>
                <a:pathLst>
                  <a:path w="304" h="632">
                    <a:moveTo>
                      <a:pt x="152" y="632"/>
                    </a:moveTo>
                    <a:lnTo>
                      <a:pt x="0" y="632"/>
                    </a:lnTo>
                    <a:lnTo>
                      <a:pt x="0" y="0"/>
                    </a:lnTo>
                    <a:lnTo>
                      <a:pt x="304" y="0"/>
                    </a:lnTo>
                    <a:lnTo>
                      <a:pt x="304" y="632"/>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9" name="Freeform: Shape 23"/>
              <p:cNvSpPr/>
              <p:nvPr/>
            </p:nvSpPr>
            <p:spPr>
              <a:xfrm>
                <a:off x="6084719" y="1850400"/>
                <a:ext cx="112320" cy="284760"/>
              </a:xfrm>
              <a:custGeom>
                <a:avLst/>
                <a:gdLst/>
                <a:ahLst/>
                <a:cxnLst>
                  <a:cxn ang="3cd4">
                    <a:pos x="hc" y="t"/>
                  </a:cxn>
                  <a:cxn ang="cd2">
                    <a:pos x="l" y="vc"/>
                  </a:cxn>
                  <a:cxn ang="cd4">
                    <a:pos x="hc" y="b"/>
                  </a:cxn>
                  <a:cxn ang="0">
                    <a:pos x="r" y="vc"/>
                  </a:cxn>
                </a:cxnLst>
                <a:rect l="l" t="t" r="r" b="b"/>
                <a:pathLst>
                  <a:path w="313" h="792">
                    <a:moveTo>
                      <a:pt x="156" y="792"/>
                    </a:moveTo>
                    <a:lnTo>
                      <a:pt x="0" y="792"/>
                    </a:lnTo>
                    <a:lnTo>
                      <a:pt x="0" y="0"/>
                    </a:lnTo>
                    <a:lnTo>
                      <a:pt x="313" y="0"/>
                    </a:lnTo>
                    <a:lnTo>
                      <a:pt x="313" y="792"/>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0" name="Freeform: Shape 24"/>
              <p:cNvSpPr/>
              <p:nvPr/>
            </p:nvSpPr>
            <p:spPr>
              <a:xfrm>
                <a:off x="4007879" y="1970640"/>
                <a:ext cx="356400" cy="315360"/>
              </a:xfrm>
              <a:custGeom>
                <a:avLst/>
                <a:gdLst/>
                <a:ahLst/>
                <a:cxnLst>
                  <a:cxn ang="3cd4">
                    <a:pos x="hc" y="t"/>
                  </a:cxn>
                  <a:cxn ang="cd2">
                    <a:pos x="l" y="vc"/>
                  </a:cxn>
                  <a:cxn ang="cd4">
                    <a:pos x="hc" y="b"/>
                  </a:cxn>
                  <a:cxn ang="0">
                    <a:pos x="r" y="vc"/>
                  </a:cxn>
                </a:cxnLst>
                <a:rect l="l" t="t" r="r" b="b"/>
                <a:pathLst>
                  <a:path w="991" h="877">
                    <a:moveTo>
                      <a:pt x="313" y="0"/>
                    </a:moveTo>
                    <a:lnTo>
                      <a:pt x="313" y="411"/>
                    </a:lnTo>
                    <a:lnTo>
                      <a:pt x="580" y="411"/>
                    </a:lnTo>
                    <a:lnTo>
                      <a:pt x="580" y="479"/>
                    </a:lnTo>
                    <a:lnTo>
                      <a:pt x="991" y="479"/>
                    </a:lnTo>
                    <a:lnTo>
                      <a:pt x="991" y="723"/>
                    </a:lnTo>
                    <a:lnTo>
                      <a:pt x="313" y="723"/>
                    </a:lnTo>
                    <a:lnTo>
                      <a:pt x="313" y="877"/>
                    </a:lnTo>
                    <a:lnTo>
                      <a:pt x="0" y="877"/>
                    </a:lnTo>
                    <a:lnTo>
                      <a:pt x="0"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1" name="Freeform: Shape 25"/>
              <p:cNvSpPr/>
              <p:nvPr/>
            </p:nvSpPr>
            <p:spPr>
              <a:xfrm>
                <a:off x="3802320" y="1924919"/>
                <a:ext cx="174960" cy="385560"/>
              </a:xfrm>
              <a:custGeom>
                <a:avLst/>
                <a:gdLst/>
                <a:ahLst/>
                <a:cxnLst>
                  <a:cxn ang="3cd4">
                    <a:pos x="hc" y="t"/>
                  </a:cxn>
                  <a:cxn ang="cd2">
                    <a:pos x="l" y="vc"/>
                  </a:cxn>
                  <a:cxn ang="cd4">
                    <a:pos x="hc" y="b"/>
                  </a:cxn>
                  <a:cxn ang="0">
                    <a:pos x="r" y="vc"/>
                  </a:cxn>
                </a:cxnLst>
                <a:rect l="l" t="t" r="r" b="b"/>
                <a:pathLst>
                  <a:path w="487" h="1072">
                    <a:moveTo>
                      <a:pt x="243" y="0"/>
                    </a:moveTo>
                    <a:lnTo>
                      <a:pt x="487" y="0"/>
                    </a:lnTo>
                    <a:lnTo>
                      <a:pt x="487" y="1072"/>
                    </a:lnTo>
                    <a:lnTo>
                      <a:pt x="0" y="1072"/>
                    </a:lnTo>
                    <a:lnTo>
                      <a:pt x="0"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2" name="Freeform: Shape 26"/>
              <p:cNvSpPr/>
              <p:nvPr/>
            </p:nvSpPr>
            <p:spPr>
              <a:xfrm>
                <a:off x="3755880" y="2027519"/>
                <a:ext cx="109080" cy="227520"/>
              </a:xfrm>
              <a:custGeom>
                <a:avLst/>
                <a:gdLst/>
                <a:ahLst/>
                <a:cxnLst>
                  <a:cxn ang="3cd4">
                    <a:pos x="hc" y="t"/>
                  </a:cxn>
                  <a:cxn ang="cd2">
                    <a:pos x="l" y="vc"/>
                  </a:cxn>
                  <a:cxn ang="cd4">
                    <a:pos x="hc" y="b"/>
                  </a:cxn>
                  <a:cxn ang="0">
                    <a:pos x="r" y="vc"/>
                  </a:cxn>
                </a:cxnLst>
                <a:rect l="l" t="t" r="r" b="b"/>
                <a:pathLst>
                  <a:path w="304" h="633">
                    <a:moveTo>
                      <a:pt x="152" y="0"/>
                    </a:moveTo>
                    <a:lnTo>
                      <a:pt x="304" y="0"/>
                    </a:lnTo>
                    <a:lnTo>
                      <a:pt x="304" y="633"/>
                    </a:lnTo>
                    <a:lnTo>
                      <a:pt x="0" y="633"/>
                    </a:lnTo>
                    <a:lnTo>
                      <a:pt x="0"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3" name="Freeform: Shape 27"/>
              <p:cNvSpPr/>
              <p:nvPr/>
            </p:nvSpPr>
            <p:spPr>
              <a:xfrm>
                <a:off x="3823920" y="1830600"/>
                <a:ext cx="112320" cy="284760"/>
              </a:xfrm>
              <a:custGeom>
                <a:avLst/>
                <a:gdLst/>
                <a:ahLst/>
                <a:cxnLst>
                  <a:cxn ang="3cd4">
                    <a:pos x="hc" y="t"/>
                  </a:cxn>
                  <a:cxn ang="cd2">
                    <a:pos x="l" y="vc"/>
                  </a:cxn>
                  <a:cxn ang="cd4">
                    <a:pos x="hc" y="b"/>
                  </a:cxn>
                  <a:cxn ang="0">
                    <a:pos x="r" y="vc"/>
                  </a:cxn>
                </a:cxnLst>
                <a:rect l="l" t="t" r="r" b="b"/>
                <a:pathLst>
                  <a:path w="313" h="792">
                    <a:moveTo>
                      <a:pt x="156" y="0"/>
                    </a:moveTo>
                    <a:lnTo>
                      <a:pt x="313" y="0"/>
                    </a:lnTo>
                    <a:lnTo>
                      <a:pt x="313" y="792"/>
                    </a:lnTo>
                    <a:lnTo>
                      <a:pt x="0" y="792"/>
                    </a:lnTo>
                    <a:lnTo>
                      <a:pt x="0"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4" name="Freeform: Shape 28"/>
              <p:cNvSpPr/>
              <p:nvPr/>
            </p:nvSpPr>
            <p:spPr>
              <a:xfrm>
                <a:off x="2777400" y="1970640"/>
                <a:ext cx="356040" cy="315360"/>
              </a:xfrm>
              <a:custGeom>
                <a:avLst/>
                <a:gdLst/>
                <a:ahLst/>
                <a:cxnLst>
                  <a:cxn ang="3cd4">
                    <a:pos x="hc" y="t"/>
                  </a:cxn>
                  <a:cxn ang="cd2">
                    <a:pos x="l" y="vc"/>
                  </a:cxn>
                  <a:cxn ang="cd4">
                    <a:pos x="hc" y="b"/>
                  </a:cxn>
                  <a:cxn ang="0">
                    <a:pos x="r" y="vc"/>
                  </a:cxn>
                </a:cxnLst>
                <a:rect l="l" t="t" r="r" b="b"/>
                <a:pathLst>
                  <a:path w="990" h="877">
                    <a:moveTo>
                      <a:pt x="312" y="0"/>
                    </a:moveTo>
                    <a:lnTo>
                      <a:pt x="312" y="411"/>
                    </a:lnTo>
                    <a:lnTo>
                      <a:pt x="580" y="411"/>
                    </a:lnTo>
                    <a:lnTo>
                      <a:pt x="580" y="479"/>
                    </a:lnTo>
                    <a:lnTo>
                      <a:pt x="990" y="479"/>
                    </a:lnTo>
                    <a:lnTo>
                      <a:pt x="990" y="723"/>
                    </a:lnTo>
                    <a:lnTo>
                      <a:pt x="312" y="723"/>
                    </a:lnTo>
                    <a:lnTo>
                      <a:pt x="312" y="877"/>
                    </a:lnTo>
                    <a:lnTo>
                      <a:pt x="0" y="877"/>
                    </a:lnTo>
                    <a:lnTo>
                      <a:pt x="0"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5" name="Freeform: Shape 29"/>
              <p:cNvSpPr/>
              <p:nvPr/>
            </p:nvSpPr>
            <p:spPr>
              <a:xfrm>
                <a:off x="6325200" y="1788480"/>
                <a:ext cx="308160" cy="512640"/>
              </a:xfrm>
              <a:custGeom>
                <a:avLst/>
                <a:gdLst/>
                <a:ahLst/>
                <a:cxnLst>
                  <a:cxn ang="3cd4">
                    <a:pos x="hc" y="t"/>
                  </a:cxn>
                  <a:cxn ang="cd2">
                    <a:pos x="l" y="vc"/>
                  </a:cxn>
                  <a:cxn ang="cd4">
                    <a:pos x="hc" y="b"/>
                  </a:cxn>
                  <a:cxn ang="0">
                    <a:pos x="r" y="vc"/>
                  </a:cxn>
                </a:cxnLst>
                <a:rect l="l" t="t" r="r" b="b"/>
                <a:pathLst>
                  <a:path w="857" h="1425">
                    <a:moveTo>
                      <a:pt x="153" y="0"/>
                    </a:moveTo>
                    <a:lnTo>
                      <a:pt x="0" y="0"/>
                    </a:lnTo>
                    <a:lnTo>
                      <a:pt x="0" y="104"/>
                    </a:lnTo>
                    <a:lnTo>
                      <a:pt x="0" y="1425"/>
                    </a:lnTo>
                    <a:lnTo>
                      <a:pt x="153" y="1425"/>
                    </a:lnTo>
                    <a:lnTo>
                      <a:pt x="153" y="104"/>
                    </a:lnTo>
                    <a:lnTo>
                      <a:pt x="188" y="104"/>
                    </a:lnTo>
                    <a:lnTo>
                      <a:pt x="188" y="1181"/>
                    </a:lnTo>
                    <a:lnTo>
                      <a:pt x="214" y="1181"/>
                    </a:lnTo>
                    <a:lnTo>
                      <a:pt x="214" y="104"/>
                    </a:lnTo>
                    <a:lnTo>
                      <a:pt x="251" y="104"/>
                    </a:lnTo>
                    <a:lnTo>
                      <a:pt x="251" y="1181"/>
                    </a:lnTo>
                    <a:lnTo>
                      <a:pt x="278" y="1181"/>
                    </a:lnTo>
                    <a:lnTo>
                      <a:pt x="278" y="104"/>
                    </a:lnTo>
                    <a:lnTo>
                      <a:pt x="315" y="104"/>
                    </a:lnTo>
                    <a:lnTo>
                      <a:pt x="315" y="1181"/>
                    </a:lnTo>
                    <a:lnTo>
                      <a:pt x="341" y="1181"/>
                    </a:lnTo>
                    <a:lnTo>
                      <a:pt x="341" y="104"/>
                    </a:lnTo>
                    <a:lnTo>
                      <a:pt x="381" y="104"/>
                    </a:lnTo>
                    <a:lnTo>
                      <a:pt x="381" y="1181"/>
                    </a:lnTo>
                    <a:lnTo>
                      <a:pt x="407" y="1181"/>
                    </a:lnTo>
                    <a:lnTo>
                      <a:pt x="407" y="104"/>
                    </a:lnTo>
                    <a:lnTo>
                      <a:pt x="444" y="104"/>
                    </a:lnTo>
                    <a:lnTo>
                      <a:pt x="444" y="1181"/>
                    </a:lnTo>
                    <a:lnTo>
                      <a:pt x="471" y="1181"/>
                    </a:lnTo>
                    <a:lnTo>
                      <a:pt x="471" y="104"/>
                    </a:lnTo>
                    <a:lnTo>
                      <a:pt x="508" y="104"/>
                    </a:lnTo>
                    <a:lnTo>
                      <a:pt x="508" y="1181"/>
                    </a:lnTo>
                    <a:lnTo>
                      <a:pt x="534" y="1181"/>
                    </a:lnTo>
                    <a:lnTo>
                      <a:pt x="534" y="104"/>
                    </a:lnTo>
                    <a:lnTo>
                      <a:pt x="574" y="104"/>
                    </a:lnTo>
                    <a:lnTo>
                      <a:pt x="574" y="1181"/>
                    </a:lnTo>
                    <a:lnTo>
                      <a:pt x="601" y="1181"/>
                    </a:lnTo>
                    <a:lnTo>
                      <a:pt x="601" y="104"/>
                    </a:lnTo>
                    <a:lnTo>
                      <a:pt x="638" y="104"/>
                    </a:lnTo>
                    <a:lnTo>
                      <a:pt x="638" y="1181"/>
                    </a:lnTo>
                    <a:lnTo>
                      <a:pt x="664" y="1181"/>
                    </a:lnTo>
                    <a:lnTo>
                      <a:pt x="664" y="104"/>
                    </a:lnTo>
                    <a:lnTo>
                      <a:pt x="704" y="104"/>
                    </a:lnTo>
                    <a:lnTo>
                      <a:pt x="704" y="1181"/>
                    </a:lnTo>
                    <a:lnTo>
                      <a:pt x="728" y="1181"/>
                    </a:lnTo>
                    <a:lnTo>
                      <a:pt x="728" y="104"/>
                    </a:lnTo>
                    <a:lnTo>
                      <a:pt x="767" y="104"/>
                    </a:lnTo>
                    <a:lnTo>
                      <a:pt x="767" y="1181"/>
                    </a:lnTo>
                    <a:lnTo>
                      <a:pt x="794" y="1181"/>
                    </a:lnTo>
                    <a:lnTo>
                      <a:pt x="794" y="104"/>
                    </a:lnTo>
                    <a:lnTo>
                      <a:pt x="831" y="104"/>
                    </a:lnTo>
                    <a:lnTo>
                      <a:pt x="831" y="1181"/>
                    </a:lnTo>
                    <a:lnTo>
                      <a:pt x="857" y="1181"/>
                    </a:lnTo>
                    <a:lnTo>
                      <a:pt x="857" y="104"/>
                    </a:lnTo>
                    <a:lnTo>
                      <a:pt x="857" y="69"/>
                    </a:lnTo>
                    <a:lnTo>
                      <a:pt x="857" y="0"/>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6" name="Freeform: Shape 30"/>
              <p:cNvSpPr/>
              <p:nvPr/>
            </p:nvSpPr>
            <p:spPr>
              <a:xfrm>
                <a:off x="6464160" y="1778040"/>
                <a:ext cx="895680" cy="452519"/>
              </a:xfrm>
              <a:custGeom>
                <a:avLst/>
                <a:gdLst/>
                <a:ahLst/>
                <a:cxnLst>
                  <a:cxn ang="3cd4">
                    <a:pos x="hc" y="t"/>
                  </a:cxn>
                  <a:cxn ang="cd2">
                    <a:pos x="l" y="vc"/>
                  </a:cxn>
                  <a:cxn ang="cd4">
                    <a:pos x="hc" y="b"/>
                  </a:cxn>
                  <a:cxn ang="0">
                    <a:pos x="r" y="vc"/>
                  </a:cxn>
                </a:cxnLst>
                <a:rect l="l" t="t" r="r" b="b"/>
                <a:pathLst>
                  <a:path w="2489" h="1258">
                    <a:moveTo>
                      <a:pt x="1247" y="0"/>
                    </a:moveTo>
                    <a:lnTo>
                      <a:pt x="0" y="1258"/>
                    </a:lnTo>
                    <a:lnTo>
                      <a:pt x="2489" y="1258"/>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7" name="Freeform: Shape 31"/>
              <p:cNvSpPr/>
              <p:nvPr/>
            </p:nvSpPr>
            <p:spPr>
              <a:xfrm>
                <a:off x="7193519" y="1638000"/>
                <a:ext cx="381960" cy="595440"/>
              </a:xfrm>
              <a:custGeom>
                <a:avLst/>
                <a:gdLst/>
                <a:ahLst/>
                <a:cxnLst>
                  <a:cxn ang="3cd4">
                    <a:pos x="hc" y="t"/>
                  </a:cxn>
                  <a:cxn ang="cd2">
                    <a:pos x="l" y="vc"/>
                  </a:cxn>
                  <a:cxn ang="cd4">
                    <a:pos x="hc" y="b"/>
                  </a:cxn>
                  <a:cxn ang="0">
                    <a:pos x="r" y="vc"/>
                  </a:cxn>
                </a:cxnLst>
                <a:rect l="l" t="t" r="r" b="b"/>
                <a:pathLst>
                  <a:path w="1062" h="1655">
                    <a:moveTo>
                      <a:pt x="980" y="0"/>
                    </a:moveTo>
                    <a:lnTo>
                      <a:pt x="882" y="0"/>
                    </a:lnTo>
                    <a:lnTo>
                      <a:pt x="882" y="193"/>
                    </a:lnTo>
                    <a:lnTo>
                      <a:pt x="794" y="193"/>
                    </a:lnTo>
                    <a:lnTo>
                      <a:pt x="794" y="344"/>
                    </a:lnTo>
                    <a:lnTo>
                      <a:pt x="273" y="344"/>
                    </a:lnTo>
                    <a:lnTo>
                      <a:pt x="273" y="193"/>
                    </a:lnTo>
                    <a:lnTo>
                      <a:pt x="185" y="193"/>
                    </a:lnTo>
                    <a:lnTo>
                      <a:pt x="185" y="0"/>
                    </a:lnTo>
                    <a:lnTo>
                      <a:pt x="87" y="0"/>
                    </a:lnTo>
                    <a:lnTo>
                      <a:pt x="87" y="193"/>
                    </a:lnTo>
                    <a:lnTo>
                      <a:pt x="0" y="193"/>
                    </a:lnTo>
                    <a:lnTo>
                      <a:pt x="0" y="1655"/>
                    </a:lnTo>
                    <a:lnTo>
                      <a:pt x="270" y="1655"/>
                    </a:lnTo>
                    <a:lnTo>
                      <a:pt x="270" y="1475"/>
                    </a:lnTo>
                    <a:lnTo>
                      <a:pt x="792" y="1475"/>
                    </a:lnTo>
                    <a:lnTo>
                      <a:pt x="792" y="1655"/>
                    </a:lnTo>
                    <a:lnTo>
                      <a:pt x="1062" y="1655"/>
                    </a:lnTo>
                    <a:lnTo>
                      <a:pt x="1062" y="193"/>
                    </a:lnTo>
                    <a:lnTo>
                      <a:pt x="980" y="193"/>
                    </a:lnTo>
                    <a:close/>
                    <a:moveTo>
                      <a:pt x="797" y="421"/>
                    </a:moveTo>
                    <a:lnTo>
                      <a:pt x="797" y="450"/>
                    </a:lnTo>
                    <a:lnTo>
                      <a:pt x="275" y="450"/>
                    </a:lnTo>
                    <a:lnTo>
                      <a:pt x="275" y="421"/>
                    </a:lnTo>
                    <a:close/>
                    <a:moveTo>
                      <a:pt x="275" y="1189"/>
                    </a:moveTo>
                    <a:lnTo>
                      <a:pt x="275" y="1160"/>
                    </a:lnTo>
                    <a:lnTo>
                      <a:pt x="797" y="1160"/>
                    </a:lnTo>
                    <a:lnTo>
                      <a:pt x="797" y="1189"/>
                    </a:lnTo>
                    <a:close/>
                    <a:moveTo>
                      <a:pt x="797" y="1266"/>
                    </a:moveTo>
                    <a:lnTo>
                      <a:pt x="797" y="1295"/>
                    </a:lnTo>
                    <a:lnTo>
                      <a:pt x="275" y="1295"/>
                    </a:lnTo>
                    <a:lnTo>
                      <a:pt x="275" y="1266"/>
                    </a:lnTo>
                    <a:close/>
                    <a:moveTo>
                      <a:pt x="275" y="1083"/>
                    </a:moveTo>
                    <a:lnTo>
                      <a:pt x="275" y="1054"/>
                    </a:lnTo>
                    <a:lnTo>
                      <a:pt x="797" y="1054"/>
                    </a:lnTo>
                    <a:lnTo>
                      <a:pt x="797" y="1083"/>
                    </a:lnTo>
                    <a:close/>
                    <a:moveTo>
                      <a:pt x="275" y="977"/>
                    </a:moveTo>
                    <a:lnTo>
                      <a:pt x="275" y="948"/>
                    </a:lnTo>
                    <a:lnTo>
                      <a:pt x="797" y="948"/>
                    </a:lnTo>
                    <a:lnTo>
                      <a:pt x="797" y="977"/>
                    </a:lnTo>
                    <a:close/>
                    <a:moveTo>
                      <a:pt x="275" y="871"/>
                    </a:moveTo>
                    <a:lnTo>
                      <a:pt x="275" y="842"/>
                    </a:lnTo>
                    <a:lnTo>
                      <a:pt x="797" y="842"/>
                    </a:lnTo>
                    <a:lnTo>
                      <a:pt x="797" y="871"/>
                    </a:lnTo>
                    <a:close/>
                    <a:moveTo>
                      <a:pt x="275" y="768"/>
                    </a:moveTo>
                    <a:lnTo>
                      <a:pt x="275" y="739"/>
                    </a:lnTo>
                    <a:lnTo>
                      <a:pt x="797" y="739"/>
                    </a:lnTo>
                    <a:lnTo>
                      <a:pt x="797" y="768"/>
                    </a:lnTo>
                    <a:close/>
                    <a:moveTo>
                      <a:pt x="275" y="662"/>
                    </a:moveTo>
                    <a:lnTo>
                      <a:pt x="275" y="633"/>
                    </a:lnTo>
                    <a:lnTo>
                      <a:pt x="797" y="633"/>
                    </a:lnTo>
                    <a:lnTo>
                      <a:pt x="797" y="662"/>
                    </a:lnTo>
                    <a:close/>
                    <a:moveTo>
                      <a:pt x="275" y="556"/>
                    </a:moveTo>
                    <a:lnTo>
                      <a:pt x="275" y="527"/>
                    </a:lnTo>
                    <a:lnTo>
                      <a:pt x="797" y="527"/>
                    </a:lnTo>
                    <a:lnTo>
                      <a:pt x="797" y="556"/>
                    </a:lnTo>
                    <a:close/>
                    <a:moveTo>
                      <a:pt x="275" y="1401"/>
                    </a:moveTo>
                    <a:lnTo>
                      <a:pt x="275" y="1372"/>
                    </a:lnTo>
                    <a:lnTo>
                      <a:pt x="797" y="1372"/>
                    </a:lnTo>
                    <a:lnTo>
                      <a:pt x="797" y="140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8" name="Freeform: Shape 32"/>
              <p:cNvSpPr/>
              <p:nvPr/>
            </p:nvSpPr>
            <p:spPr>
              <a:xfrm>
                <a:off x="7260120" y="2180520"/>
                <a:ext cx="255960" cy="27000"/>
              </a:xfrm>
              <a:custGeom>
                <a:avLst/>
                <a:gdLst/>
                <a:ahLst/>
                <a:cxnLst>
                  <a:cxn ang="3cd4">
                    <a:pos x="hc" y="t"/>
                  </a:cxn>
                  <a:cxn ang="cd2">
                    <a:pos x="l" y="vc"/>
                  </a:cxn>
                  <a:cxn ang="cd4">
                    <a:pos x="hc" y="b"/>
                  </a:cxn>
                  <a:cxn ang="0">
                    <a:pos x="r" y="vc"/>
                  </a:cxn>
                </a:cxnLst>
                <a:rect l="l" t="t" r="r" b="b"/>
                <a:pathLst>
                  <a:path w="712" h="76">
                    <a:moveTo>
                      <a:pt x="356" y="76"/>
                    </a:moveTo>
                    <a:lnTo>
                      <a:pt x="0" y="76"/>
                    </a:lnTo>
                    <a:lnTo>
                      <a:pt x="0" y="0"/>
                    </a:lnTo>
                    <a:lnTo>
                      <a:pt x="712" y="0"/>
                    </a:lnTo>
                    <a:lnTo>
                      <a:pt x="712" y="76"/>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49" name="Freeform: Shape 33"/>
              <p:cNvSpPr/>
              <p:nvPr/>
            </p:nvSpPr>
            <p:spPr>
              <a:xfrm>
                <a:off x="7714079" y="2033640"/>
                <a:ext cx="285480" cy="211320"/>
              </a:xfrm>
              <a:custGeom>
                <a:avLst/>
                <a:gdLst/>
                <a:ahLst/>
                <a:cxnLst>
                  <a:cxn ang="3cd4">
                    <a:pos x="hc" y="t"/>
                  </a:cxn>
                  <a:cxn ang="cd2">
                    <a:pos x="l" y="vc"/>
                  </a:cxn>
                  <a:cxn ang="cd4">
                    <a:pos x="hc" y="b"/>
                  </a:cxn>
                  <a:cxn ang="0">
                    <a:pos x="r" y="vc"/>
                  </a:cxn>
                </a:cxnLst>
                <a:rect l="l" t="t" r="r" b="b"/>
                <a:pathLst>
                  <a:path w="794" h="588">
                    <a:moveTo>
                      <a:pt x="638" y="138"/>
                    </a:moveTo>
                    <a:lnTo>
                      <a:pt x="638" y="371"/>
                    </a:lnTo>
                    <a:lnTo>
                      <a:pt x="434" y="371"/>
                    </a:lnTo>
                    <a:lnTo>
                      <a:pt x="434" y="0"/>
                    </a:lnTo>
                    <a:lnTo>
                      <a:pt x="153" y="0"/>
                    </a:lnTo>
                    <a:lnTo>
                      <a:pt x="153" y="371"/>
                    </a:lnTo>
                    <a:lnTo>
                      <a:pt x="0" y="371"/>
                    </a:lnTo>
                    <a:lnTo>
                      <a:pt x="0" y="524"/>
                    </a:lnTo>
                    <a:lnTo>
                      <a:pt x="153" y="524"/>
                    </a:lnTo>
                    <a:lnTo>
                      <a:pt x="153" y="580"/>
                    </a:lnTo>
                    <a:lnTo>
                      <a:pt x="434" y="580"/>
                    </a:lnTo>
                    <a:lnTo>
                      <a:pt x="434" y="524"/>
                    </a:lnTo>
                    <a:lnTo>
                      <a:pt x="638" y="524"/>
                    </a:lnTo>
                    <a:lnTo>
                      <a:pt x="638" y="588"/>
                    </a:lnTo>
                    <a:lnTo>
                      <a:pt x="794" y="588"/>
                    </a:lnTo>
                    <a:lnTo>
                      <a:pt x="794" y="138"/>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Shape 34"/>
              <p:cNvSpPr/>
              <p:nvPr/>
            </p:nvSpPr>
            <p:spPr>
              <a:xfrm>
                <a:off x="5578560" y="1624680"/>
                <a:ext cx="123480" cy="586800"/>
              </a:xfrm>
              <a:custGeom>
                <a:avLst/>
                <a:gdLst/>
                <a:ahLst/>
                <a:cxnLst>
                  <a:cxn ang="3cd4">
                    <a:pos x="hc" y="t"/>
                  </a:cxn>
                  <a:cxn ang="cd2">
                    <a:pos x="l" y="vc"/>
                  </a:cxn>
                  <a:cxn ang="cd4">
                    <a:pos x="hc" y="b"/>
                  </a:cxn>
                  <a:cxn ang="0">
                    <a:pos x="r" y="vc"/>
                  </a:cxn>
                </a:cxnLst>
                <a:rect l="l" t="t" r="r" b="b"/>
                <a:pathLst>
                  <a:path w="344" h="1631">
                    <a:moveTo>
                      <a:pt x="344" y="1626"/>
                    </a:moveTo>
                    <a:cubicBezTo>
                      <a:pt x="344" y="1620"/>
                      <a:pt x="260" y="977"/>
                      <a:pt x="260" y="582"/>
                    </a:cubicBezTo>
                    <a:cubicBezTo>
                      <a:pt x="260" y="190"/>
                      <a:pt x="260" y="161"/>
                      <a:pt x="273" y="50"/>
                    </a:cubicBezTo>
                    <a:lnTo>
                      <a:pt x="289" y="50"/>
                    </a:lnTo>
                    <a:lnTo>
                      <a:pt x="289" y="0"/>
                    </a:lnTo>
                    <a:lnTo>
                      <a:pt x="58" y="0"/>
                    </a:lnTo>
                    <a:lnTo>
                      <a:pt x="58" y="50"/>
                    </a:lnTo>
                    <a:lnTo>
                      <a:pt x="72" y="50"/>
                    </a:lnTo>
                    <a:cubicBezTo>
                      <a:pt x="85" y="161"/>
                      <a:pt x="85" y="190"/>
                      <a:pt x="85" y="582"/>
                    </a:cubicBezTo>
                    <a:cubicBezTo>
                      <a:pt x="85" y="977"/>
                      <a:pt x="0" y="1620"/>
                      <a:pt x="0" y="1626"/>
                    </a:cubicBezTo>
                    <a:lnTo>
                      <a:pt x="32" y="1631"/>
                    </a:lnTo>
                    <a:cubicBezTo>
                      <a:pt x="32" y="1626"/>
                      <a:pt x="77" y="1292"/>
                      <a:pt x="101" y="958"/>
                    </a:cubicBezTo>
                    <a:lnTo>
                      <a:pt x="101" y="1247"/>
                    </a:lnTo>
                    <a:lnTo>
                      <a:pt x="154" y="1247"/>
                    </a:lnTo>
                    <a:lnTo>
                      <a:pt x="154" y="1631"/>
                    </a:lnTo>
                    <a:lnTo>
                      <a:pt x="186" y="1631"/>
                    </a:lnTo>
                    <a:lnTo>
                      <a:pt x="186" y="1247"/>
                    </a:lnTo>
                    <a:lnTo>
                      <a:pt x="238" y="1247"/>
                    </a:lnTo>
                    <a:lnTo>
                      <a:pt x="238" y="964"/>
                    </a:lnTo>
                    <a:cubicBezTo>
                      <a:pt x="262" y="1295"/>
                      <a:pt x="307" y="1623"/>
                      <a:pt x="307" y="1628"/>
                    </a:cubicBezTo>
                    <a:close/>
                    <a:moveTo>
                      <a:pt x="117" y="175"/>
                    </a:moveTo>
                    <a:cubicBezTo>
                      <a:pt x="114" y="127"/>
                      <a:pt x="111" y="95"/>
                      <a:pt x="106" y="50"/>
                    </a:cubicBezTo>
                    <a:lnTo>
                      <a:pt x="156" y="50"/>
                    </a:lnTo>
                    <a:lnTo>
                      <a:pt x="156" y="175"/>
                    </a:lnTo>
                    <a:close/>
                    <a:moveTo>
                      <a:pt x="191" y="50"/>
                    </a:moveTo>
                    <a:lnTo>
                      <a:pt x="241" y="50"/>
                    </a:lnTo>
                    <a:cubicBezTo>
                      <a:pt x="236" y="95"/>
                      <a:pt x="233" y="127"/>
                      <a:pt x="231" y="175"/>
                    </a:cubicBezTo>
                    <a:lnTo>
                      <a:pt x="191" y="175"/>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Shape 35"/>
              <p:cNvSpPr/>
              <p:nvPr/>
            </p:nvSpPr>
            <p:spPr>
              <a:xfrm>
                <a:off x="5569920" y="1391040"/>
                <a:ext cx="145440" cy="225720"/>
              </a:xfrm>
              <a:custGeom>
                <a:avLst/>
                <a:gdLst/>
                <a:ahLst/>
                <a:cxnLst>
                  <a:cxn ang="3cd4">
                    <a:pos x="hc" y="t"/>
                  </a:cxn>
                  <a:cxn ang="cd2">
                    <a:pos x="l" y="vc"/>
                  </a:cxn>
                  <a:cxn ang="cd4">
                    <a:pos x="hc" y="b"/>
                  </a:cxn>
                  <a:cxn ang="0">
                    <a:pos x="r" y="vc"/>
                  </a:cxn>
                </a:cxnLst>
                <a:rect l="l" t="t" r="r" b="b"/>
                <a:pathLst>
                  <a:path w="405" h="628">
                    <a:moveTo>
                      <a:pt x="405" y="469"/>
                    </a:moveTo>
                    <a:lnTo>
                      <a:pt x="355" y="469"/>
                    </a:lnTo>
                    <a:lnTo>
                      <a:pt x="297" y="424"/>
                    </a:lnTo>
                    <a:lnTo>
                      <a:pt x="270" y="424"/>
                    </a:lnTo>
                    <a:lnTo>
                      <a:pt x="270" y="400"/>
                    </a:lnTo>
                    <a:lnTo>
                      <a:pt x="225" y="400"/>
                    </a:lnTo>
                    <a:lnTo>
                      <a:pt x="225" y="90"/>
                    </a:lnTo>
                    <a:lnTo>
                      <a:pt x="210" y="90"/>
                    </a:lnTo>
                    <a:lnTo>
                      <a:pt x="210" y="0"/>
                    </a:lnTo>
                    <a:lnTo>
                      <a:pt x="196" y="0"/>
                    </a:lnTo>
                    <a:lnTo>
                      <a:pt x="196" y="90"/>
                    </a:lnTo>
                    <a:lnTo>
                      <a:pt x="180" y="90"/>
                    </a:lnTo>
                    <a:lnTo>
                      <a:pt x="180" y="400"/>
                    </a:lnTo>
                    <a:lnTo>
                      <a:pt x="135" y="400"/>
                    </a:lnTo>
                    <a:lnTo>
                      <a:pt x="135" y="424"/>
                    </a:lnTo>
                    <a:lnTo>
                      <a:pt x="104" y="424"/>
                    </a:lnTo>
                    <a:lnTo>
                      <a:pt x="48" y="469"/>
                    </a:lnTo>
                    <a:lnTo>
                      <a:pt x="0" y="469"/>
                    </a:lnTo>
                    <a:lnTo>
                      <a:pt x="0" y="503"/>
                    </a:lnTo>
                    <a:lnTo>
                      <a:pt x="43" y="503"/>
                    </a:lnTo>
                    <a:lnTo>
                      <a:pt x="85" y="628"/>
                    </a:lnTo>
                    <a:lnTo>
                      <a:pt x="329" y="628"/>
                    </a:lnTo>
                    <a:lnTo>
                      <a:pt x="366" y="503"/>
                    </a:lnTo>
                    <a:lnTo>
                      <a:pt x="405" y="503"/>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15" name="Rectangle 14"/>
            <p:cNvSpPr/>
            <p:nvPr/>
          </p:nvSpPr>
          <p:spPr bwMode="auto">
            <a:xfrm>
              <a:off x="0" y="4786058"/>
              <a:ext cx="9144000" cy="357442"/>
            </a:xfrm>
            <a:prstGeom prst="rect">
              <a:avLst/>
            </a:prstGeom>
            <a:grpFill/>
            <a:ln w="12700" cap="flat">
              <a:noFill/>
              <a:miter lim="800000"/>
              <a:headEnd type="none" w="med" len="med"/>
              <a:tailEnd type="none" w="med" len="med"/>
            </a:ln>
          </p:spPr>
          <p:txBody>
            <a:bodyPr lIns="91440" tIns="45720" rIns="91440" bIns="45720" rtlCol="0" anchor="ctr"/>
            <a:lstStyle/>
            <a:p>
              <a:pPr algn="ctr" defTabSz="514350"/>
              <a:endParaRPr lang="en-US" sz="1400" dirty="0" err="1">
                <a:solidFill>
                  <a:schemeClr val="bg1"/>
                </a:solidFill>
                <a:ea typeface="Arial" pitchFamily="-107" charset="0"/>
                <a:cs typeface="Arial" pitchFamily="-107" charset="0"/>
                <a:sym typeface="Arial" pitchFamily="-107" charset="0"/>
              </a:endParaRPr>
            </a:p>
          </p:txBody>
        </p:sp>
      </p:grpSp>
      <p:sp>
        <p:nvSpPr>
          <p:cNvPr id="8" name="Title 7"/>
          <p:cNvSpPr>
            <a:spLocks noGrp="1"/>
          </p:cNvSpPr>
          <p:nvPr>
            <p:ph type="title" hasCustomPrompt="1"/>
          </p:nvPr>
        </p:nvSpPr>
        <p:spPr bwMode="white">
          <a:xfrm>
            <a:off x="359051" y="413620"/>
            <a:ext cx="8394466" cy="1142052"/>
          </a:xfrm>
        </p:spPr>
        <p:txBody>
          <a:bodyPr anchor="t"/>
          <a:lstStyle>
            <a:lvl1pPr marL="6251" indent="-6251" algn="l" defTabSz="914400" rtl="0" eaLnBrk="0" fontAlgn="base" latinLnBrk="0" hangingPunct="0">
              <a:lnSpc>
                <a:spcPct val="90000"/>
              </a:lnSpc>
              <a:spcBef>
                <a:spcPct val="0"/>
              </a:spcBef>
              <a:spcAft>
                <a:spcPct val="0"/>
              </a:spcAft>
              <a:defRPr lang="en-US" sz="4000" b="0" i="0" kern="1200" baseline="0" dirty="0">
                <a:solidFill>
                  <a:schemeClr val="bg1"/>
                </a:solidFill>
                <a:latin typeface="+mj-lt"/>
                <a:ea typeface="+mj-ea"/>
                <a:cs typeface="+mj-cs"/>
                <a:sym typeface="Arial" pitchFamily="34" charset="0"/>
              </a:defRPr>
            </a:lvl1pPr>
          </a:lstStyle>
          <a:p>
            <a:r>
              <a:rPr lang="en-US" dirty="0"/>
              <a:t>Demo Slide</a:t>
            </a:r>
          </a:p>
        </p:txBody>
      </p:sp>
      <p:sp>
        <p:nvSpPr>
          <p:cNvPr id="22"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rPr>
              <a:pPr/>
              <a:t>‹#›</a:t>
            </a:fld>
            <a:endParaRPr dirty="0">
              <a:solidFill>
                <a:srgbClr val="FFFFFF">
                  <a:alpha val="60000"/>
                </a:srgbClr>
              </a:solidFill>
            </a:endParaRPr>
          </a:p>
        </p:txBody>
      </p:sp>
      <p:grpSp>
        <p:nvGrpSpPr>
          <p:cNvPr id="52" name="Group 51"/>
          <p:cNvGrpSpPr/>
          <p:nvPr userDrawn="1"/>
        </p:nvGrpSpPr>
        <p:grpSpPr>
          <a:xfrm>
            <a:off x="454861" y="4785454"/>
            <a:ext cx="820227" cy="274319"/>
            <a:chOff x="1741456" y="4513412"/>
            <a:chExt cx="1027381" cy="343600"/>
          </a:xfrm>
          <a:solidFill>
            <a:schemeClr val="bg1"/>
          </a:solidFill>
        </p:grpSpPr>
        <p:sp>
          <p:nvSpPr>
            <p:cNvPr id="53" name="Freeform: Shape 1"/>
            <p:cNvSpPr/>
            <p:nvPr/>
          </p:nvSpPr>
          <p:spPr>
            <a:xfrm>
              <a:off x="2624973" y="4513412"/>
              <a:ext cx="143864" cy="343030"/>
            </a:xfrm>
            <a:custGeom>
              <a:avLst/>
              <a:gdLst/>
              <a:ahLst/>
              <a:cxnLst>
                <a:cxn ang="3cd4">
                  <a:pos x="hc" y="t"/>
                </a:cxn>
                <a:cxn ang="cd2">
                  <a:pos x="l" y="vc"/>
                </a:cxn>
                <a:cxn ang="cd4">
                  <a:pos x="hc" y="b"/>
                </a:cxn>
                <a:cxn ang="0">
                  <a:pos x="r" y="vc"/>
                </a:cxn>
              </a:cxnLst>
              <a:rect l="l" t="t" r="r" b="b"/>
              <a:pathLst>
                <a:path w="758" h="1806">
                  <a:moveTo>
                    <a:pt x="242" y="829"/>
                  </a:moveTo>
                  <a:cubicBezTo>
                    <a:pt x="215" y="896"/>
                    <a:pt x="204" y="941"/>
                    <a:pt x="204" y="964"/>
                  </a:cubicBezTo>
                  <a:cubicBezTo>
                    <a:pt x="183" y="999"/>
                    <a:pt x="175" y="1070"/>
                    <a:pt x="175" y="1097"/>
                  </a:cubicBezTo>
                  <a:lnTo>
                    <a:pt x="175" y="1129"/>
                  </a:lnTo>
                  <a:lnTo>
                    <a:pt x="223" y="1208"/>
                  </a:lnTo>
                  <a:cubicBezTo>
                    <a:pt x="250" y="1245"/>
                    <a:pt x="218" y="1258"/>
                    <a:pt x="292" y="1282"/>
                  </a:cubicBezTo>
                  <a:cubicBezTo>
                    <a:pt x="318" y="1282"/>
                    <a:pt x="340" y="1261"/>
                    <a:pt x="353" y="1221"/>
                  </a:cubicBezTo>
                  <a:lnTo>
                    <a:pt x="353" y="1208"/>
                  </a:lnTo>
                  <a:cubicBezTo>
                    <a:pt x="353" y="1113"/>
                    <a:pt x="387" y="978"/>
                    <a:pt x="419" y="888"/>
                  </a:cubicBezTo>
                  <a:cubicBezTo>
                    <a:pt x="419" y="845"/>
                    <a:pt x="456" y="718"/>
                    <a:pt x="588" y="406"/>
                  </a:cubicBezTo>
                  <a:cubicBezTo>
                    <a:pt x="588" y="371"/>
                    <a:pt x="618" y="308"/>
                    <a:pt x="678" y="210"/>
                  </a:cubicBezTo>
                  <a:cubicBezTo>
                    <a:pt x="729" y="125"/>
                    <a:pt x="742" y="138"/>
                    <a:pt x="758" y="128"/>
                  </a:cubicBezTo>
                  <a:lnTo>
                    <a:pt x="758" y="80"/>
                  </a:lnTo>
                  <a:lnTo>
                    <a:pt x="739" y="61"/>
                  </a:lnTo>
                  <a:cubicBezTo>
                    <a:pt x="739" y="61"/>
                    <a:pt x="721" y="43"/>
                    <a:pt x="671" y="22"/>
                  </a:cubicBezTo>
                  <a:cubicBezTo>
                    <a:pt x="671" y="22"/>
                    <a:pt x="620" y="0"/>
                    <a:pt x="604" y="0"/>
                  </a:cubicBezTo>
                  <a:cubicBezTo>
                    <a:pt x="588" y="0"/>
                    <a:pt x="557" y="32"/>
                    <a:pt x="530" y="93"/>
                  </a:cubicBezTo>
                  <a:close/>
                  <a:moveTo>
                    <a:pt x="14" y="1738"/>
                  </a:moveTo>
                  <a:cubicBezTo>
                    <a:pt x="14" y="1772"/>
                    <a:pt x="-18" y="1783"/>
                    <a:pt x="16" y="1806"/>
                  </a:cubicBezTo>
                  <a:lnTo>
                    <a:pt x="77" y="1806"/>
                  </a:lnTo>
                  <a:cubicBezTo>
                    <a:pt x="144" y="1775"/>
                    <a:pt x="167" y="1716"/>
                    <a:pt x="252" y="1528"/>
                  </a:cubicBezTo>
                  <a:lnTo>
                    <a:pt x="252" y="1486"/>
                  </a:lnTo>
                  <a:cubicBezTo>
                    <a:pt x="252" y="1460"/>
                    <a:pt x="273" y="1446"/>
                    <a:pt x="218" y="1412"/>
                  </a:cubicBezTo>
                  <a:lnTo>
                    <a:pt x="202" y="1412"/>
                  </a:lnTo>
                  <a:cubicBezTo>
                    <a:pt x="93" y="1409"/>
                    <a:pt x="67" y="1465"/>
                    <a:pt x="14" y="168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Shape 2"/>
            <p:cNvSpPr/>
            <p:nvPr/>
          </p:nvSpPr>
          <p:spPr>
            <a:xfrm>
              <a:off x="2244124" y="4551801"/>
              <a:ext cx="81339" cy="304261"/>
            </a:xfrm>
            <a:custGeom>
              <a:avLst/>
              <a:gdLst/>
              <a:ahLst/>
              <a:cxnLst>
                <a:cxn ang="3cd4">
                  <a:pos x="hc" y="t"/>
                </a:cxn>
                <a:cxn ang="cd2">
                  <a:pos x="l" y="vc"/>
                </a:cxn>
                <a:cxn ang="cd4">
                  <a:pos x="hc" y="b"/>
                </a:cxn>
                <a:cxn ang="0">
                  <a:pos x="r" y="vc"/>
                </a:cxn>
              </a:cxnLst>
              <a:rect l="l" t="t" r="r" b="b"/>
              <a:pathLst>
                <a:path w="429" h="1602">
                  <a:moveTo>
                    <a:pt x="244" y="1533"/>
                  </a:moveTo>
                  <a:cubicBezTo>
                    <a:pt x="209" y="1533"/>
                    <a:pt x="199" y="1483"/>
                    <a:pt x="183" y="1329"/>
                  </a:cubicBezTo>
                  <a:cubicBezTo>
                    <a:pt x="201" y="1064"/>
                    <a:pt x="223" y="884"/>
                    <a:pt x="241" y="789"/>
                  </a:cubicBezTo>
                  <a:cubicBezTo>
                    <a:pt x="323" y="384"/>
                    <a:pt x="307" y="458"/>
                    <a:pt x="366" y="320"/>
                  </a:cubicBezTo>
                  <a:cubicBezTo>
                    <a:pt x="424" y="180"/>
                    <a:pt x="429" y="161"/>
                    <a:pt x="429" y="119"/>
                  </a:cubicBezTo>
                  <a:cubicBezTo>
                    <a:pt x="429" y="71"/>
                    <a:pt x="376" y="32"/>
                    <a:pt x="268" y="0"/>
                  </a:cubicBezTo>
                  <a:lnTo>
                    <a:pt x="260" y="0"/>
                  </a:lnTo>
                  <a:lnTo>
                    <a:pt x="257" y="2"/>
                  </a:lnTo>
                  <a:cubicBezTo>
                    <a:pt x="257" y="2"/>
                    <a:pt x="254" y="5"/>
                    <a:pt x="241" y="63"/>
                  </a:cubicBezTo>
                  <a:lnTo>
                    <a:pt x="209" y="201"/>
                  </a:lnTo>
                  <a:cubicBezTo>
                    <a:pt x="130" y="535"/>
                    <a:pt x="127" y="564"/>
                    <a:pt x="109" y="614"/>
                  </a:cubicBezTo>
                  <a:cubicBezTo>
                    <a:pt x="-8" y="1138"/>
                    <a:pt x="0" y="1213"/>
                    <a:pt x="0" y="1340"/>
                  </a:cubicBezTo>
                  <a:cubicBezTo>
                    <a:pt x="5" y="1385"/>
                    <a:pt x="27" y="1432"/>
                    <a:pt x="66" y="1483"/>
                  </a:cubicBezTo>
                  <a:cubicBezTo>
                    <a:pt x="146" y="1562"/>
                    <a:pt x="212" y="1602"/>
                    <a:pt x="257" y="160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Shape 3"/>
            <p:cNvSpPr/>
            <p:nvPr/>
          </p:nvSpPr>
          <p:spPr>
            <a:xfrm>
              <a:off x="2307789" y="4611664"/>
              <a:ext cx="82479" cy="244587"/>
            </a:xfrm>
            <a:custGeom>
              <a:avLst/>
              <a:gdLst/>
              <a:ahLst/>
              <a:cxnLst>
                <a:cxn ang="3cd4">
                  <a:pos x="hc" y="t"/>
                </a:cxn>
                <a:cxn ang="cd2">
                  <a:pos x="l" y="vc"/>
                </a:cxn>
                <a:cxn ang="cd4">
                  <a:pos x="hc" y="b"/>
                </a:cxn>
                <a:cxn ang="0">
                  <a:pos x="r" y="vc"/>
                </a:cxn>
              </a:cxnLst>
              <a:rect l="l" t="t" r="r" b="b"/>
              <a:pathLst>
                <a:path w="435" h="1288">
                  <a:moveTo>
                    <a:pt x="270" y="204"/>
                  </a:moveTo>
                  <a:lnTo>
                    <a:pt x="294" y="212"/>
                  </a:lnTo>
                  <a:cubicBezTo>
                    <a:pt x="331" y="206"/>
                    <a:pt x="379" y="164"/>
                    <a:pt x="435" y="82"/>
                  </a:cubicBezTo>
                  <a:lnTo>
                    <a:pt x="432" y="71"/>
                  </a:lnTo>
                  <a:cubicBezTo>
                    <a:pt x="429" y="45"/>
                    <a:pt x="395" y="21"/>
                    <a:pt x="329" y="0"/>
                  </a:cubicBezTo>
                  <a:lnTo>
                    <a:pt x="321" y="0"/>
                  </a:lnTo>
                  <a:cubicBezTo>
                    <a:pt x="302" y="3"/>
                    <a:pt x="284" y="69"/>
                    <a:pt x="270" y="204"/>
                  </a:cubicBezTo>
                  <a:close/>
                  <a:moveTo>
                    <a:pt x="210" y="1218"/>
                  </a:moveTo>
                  <a:lnTo>
                    <a:pt x="199" y="1189"/>
                  </a:lnTo>
                  <a:cubicBezTo>
                    <a:pt x="194" y="1048"/>
                    <a:pt x="194" y="956"/>
                    <a:pt x="204" y="913"/>
                  </a:cubicBezTo>
                  <a:lnTo>
                    <a:pt x="194" y="884"/>
                  </a:lnTo>
                  <a:cubicBezTo>
                    <a:pt x="191" y="829"/>
                    <a:pt x="196" y="800"/>
                    <a:pt x="207" y="800"/>
                  </a:cubicBezTo>
                  <a:cubicBezTo>
                    <a:pt x="220" y="712"/>
                    <a:pt x="236" y="662"/>
                    <a:pt x="249" y="651"/>
                  </a:cubicBezTo>
                  <a:cubicBezTo>
                    <a:pt x="255" y="590"/>
                    <a:pt x="286" y="511"/>
                    <a:pt x="347" y="413"/>
                  </a:cubicBezTo>
                  <a:cubicBezTo>
                    <a:pt x="345" y="381"/>
                    <a:pt x="281" y="341"/>
                    <a:pt x="165" y="291"/>
                  </a:cubicBezTo>
                  <a:cubicBezTo>
                    <a:pt x="133" y="294"/>
                    <a:pt x="106" y="360"/>
                    <a:pt x="82" y="484"/>
                  </a:cubicBezTo>
                  <a:cubicBezTo>
                    <a:pt x="16" y="768"/>
                    <a:pt x="-10" y="969"/>
                    <a:pt x="3" y="1086"/>
                  </a:cubicBezTo>
                  <a:cubicBezTo>
                    <a:pt x="14" y="1168"/>
                    <a:pt x="24" y="1207"/>
                    <a:pt x="40" y="1207"/>
                  </a:cubicBezTo>
                  <a:cubicBezTo>
                    <a:pt x="96" y="1268"/>
                    <a:pt x="157" y="1295"/>
                    <a:pt x="225" y="128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Shape 4"/>
            <p:cNvSpPr/>
            <p:nvPr/>
          </p:nvSpPr>
          <p:spPr>
            <a:xfrm>
              <a:off x="2387038" y="4639791"/>
              <a:ext cx="173891" cy="216270"/>
            </a:xfrm>
            <a:custGeom>
              <a:avLst/>
              <a:gdLst/>
              <a:ahLst/>
              <a:cxnLst>
                <a:cxn ang="3cd4">
                  <a:pos x="hc" y="t"/>
                </a:cxn>
                <a:cxn ang="cd2">
                  <a:pos x="l" y="vc"/>
                </a:cxn>
                <a:cxn ang="cd4">
                  <a:pos x="hc" y="b"/>
                </a:cxn>
                <a:cxn ang="0">
                  <a:pos x="r" y="vc"/>
                </a:cxn>
              </a:cxnLst>
              <a:rect l="l" t="t" r="r" b="b"/>
              <a:pathLst>
                <a:path w="916" h="1139">
                  <a:moveTo>
                    <a:pt x="871" y="172"/>
                  </a:moveTo>
                  <a:cubicBezTo>
                    <a:pt x="900" y="141"/>
                    <a:pt x="916" y="114"/>
                    <a:pt x="916" y="95"/>
                  </a:cubicBezTo>
                  <a:cubicBezTo>
                    <a:pt x="916" y="37"/>
                    <a:pt x="892" y="5"/>
                    <a:pt x="795" y="0"/>
                  </a:cubicBezTo>
                  <a:cubicBezTo>
                    <a:pt x="773" y="0"/>
                    <a:pt x="736" y="35"/>
                    <a:pt x="683" y="106"/>
                  </a:cubicBezTo>
                  <a:cubicBezTo>
                    <a:pt x="644" y="252"/>
                    <a:pt x="599" y="350"/>
                    <a:pt x="543" y="403"/>
                  </a:cubicBezTo>
                  <a:cubicBezTo>
                    <a:pt x="456" y="596"/>
                    <a:pt x="389" y="723"/>
                    <a:pt x="344" y="781"/>
                  </a:cubicBezTo>
                  <a:cubicBezTo>
                    <a:pt x="331" y="832"/>
                    <a:pt x="318" y="858"/>
                    <a:pt x="307" y="858"/>
                  </a:cubicBezTo>
                  <a:lnTo>
                    <a:pt x="305" y="858"/>
                  </a:lnTo>
                  <a:cubicBezTo>
                    <a:pt x="305" y="858"/>
                    <a:pt x="302" y="858"/>
                    <a:pt x="299" y="773"/>
                  </a:cubicBezTo>
                  <a:lnTo>
                    <a:pt x="294" y="569"/>
                  </a:lnTo>
                  <a:lnTo>
                    <a:pt x="302" y="498"/>
                  </a:lnTo>
                  <a:lnTo>
                    <a:pt x="286" y="416"/>
                  </a:lnTo>
                  <a:lnTo>
                    <a:pt x="294" y="397"/>
                  </a:lnTo>
                  <a:lnTo>
                    <a:pt x="278" y="363"/>
                  </a:lnTo>
                  <a:lnTo>
                    <a:pt x="286" y="339"/>
                  </a:lnTo>
                  <a:lnTo>
                    <a:pt x="286" y="334"/>
                  </a:lnTo>
                  <a:cubicBezTo>
                    <a:pt x="286" y="286"/>
                    <a:pt x="207" y="249"/>
                    <a:pt x="45" y="220"/>
                  </a:cubicBezTo>
                  <a:cubicBezTo>
                    <a:pt x="24" y="225"/>
                    <a:pt x="11" y="236"/>
                    <a:pt x="0" y="249"/>
                  </a:cubicBezTo>
                  <a:lnTo>
                    <a:pt x="0" y="260"/>
                  </a:lnTo>
                  <a:cubicBezTo>
                    <a:pt x="29" y="260"/>
                    <a:pt x="53" y="474"/>
                    <a:pt x="74" y="906"/>
                  </a:cubicBezTo>
                  <a:cubicBezTo>
                    <a:pt x="74" y="993"/>
                    <a:pt x="93" y="1049"/>
                    <a:pt x="133" y="1073"/>
                  </a:cubicBezTo>
                  <a:cubicBezTo>
                    <a:pt x="170" y="1115"/>
                    <a:pt x="215" y="1139"/>
                    <a:pt x="273" y="1139"/>
                  </a:cubicBezTo>
                  <a:lnTo>
                    <a:pt x="302" y="1139"/>
                  </a:lnTo>
                  <a:lnTo>
                    <a:pt x="305" y="1136"/>
                  </a:lnTo>
                  <a:cubicBezTo>
                    <a:pt x="305" y="1136"/>
                    <a:pt x="307" y="1134"/>
                    <a:pt x="342" y="1054"/>
                  </a:cubicBezTo>
                  <a:lnTo>
                    <a:pt x="432" y="848"/>
                  </a:lnTo>
                  <a:cubicBezTo>
                    <a:pt x="516" y="667"/>
                    <a:pt x="569" y="564"/>
                    <a:pt x="593" y="540"/>
                  </a:cubicBezTo>
                  <a:cubicBezTo>
                    <a:pt x="620" y="474"/>
                    <a:pt x="641" y="440"/>
                    <a:pt x="652" y="434"/>
                  </a:cubicBezTo>
                  <a:lnTo>
                    <a:pt x="654" y="434"/>
                  </a:lnTo>
                  <a:cubicBezTo>
                    <a:pt x="654" y="434"/>
                    <a:pt x="657" y="434"/>
                    <a:pt x="712" y="36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Shape 5"/>
            <p:cNvSpPr/>
            <p:nvPr/>
          </p:nvSpPr>
          <p:spPr>
            <a:xfrm>
              <a:off x="2518358" y="4655945"/>
              <a:ext cx="124099" cy="201067"/>
            </a:xfrm>
            <a:custGeom>
              <a:avLst/>
              <a:gdLst/>
              <a:ahLst/>
              <a:cxnLst>
                <a:cxn ang="3cd4">
                  <a:pos x="hc" y="t"/>
                </a:cxn>
                <a:cxn ang="cd2">
                  <a:pos x="l" y="vc"/>
                </a:cxn>
                <a:cxn ang="cd4">
                  <a:pos x="hc" y="b"/>
                </a:cxn>
                <a:cxn ang="0">
                  <a:pos x="r" y="vc"/>
                </a:cxn>
              </a:cxnLst>
              <a:rect l="l" t="t" r="r" b="b"/>
              <a:pathLst>
                <a:path w="654" h="1059">
                  <a:moveTo>
                    <a:pt x="337" y="53"/>
                  </a:moveTo>
                  <a:cubicBezTo>
                    <a:pt x="276" y="108"/>
                    <a:pt x="233" y="167"/>
                    <a:pt x="204" y="230"/>
                  </a:cubicBezTo>
                  <a:lnTo>
                    <a:pt x="201" y="233"/>
                  </a:lnTo>
                  <a:cubicBezTo>
                    <a:pt x="201" y="233"/>
                    <a:pt x="199" y="236"/>
                    <a:pt x="183" y="262"/>
                  </a:cubicBezTo>
                  <a:lnTo>
                    <a:pt x="125" y="368"/>
                  </a:lnTo>
                  <a:cubicBezTo>
                    <a:pt x="43" y="564"/>
                    <a:pt x="0" y="710"/>
                    <a:pt x="0" y="808"/>
                  </a:cubicBezTo>
                  <a:lnTo>
                    <a:pt x="0" y="826"/>
                  </a:lnTo>
                  <a:cubicBezTo>
                    <a:pt x="0" y="861"/>
                    <a:pt x="21" y="900"/>
                    <a:pt x="66" y="945"/>
                  </a:cubicBezTo>
                  <a:cubicBezTo>
                    <a:pt x="109" y="1019"/>
                    <a:pt x="159" y="1059"/>
                    <a:pt x="220" y="1059"/>
                  </a:cubicBezTo>
                  <a:cubicBezTo>
                    <a:pt x="268" y="1049"/>
                    <a:pt x="294" y="1038"/>
                    <a:pt x="294" y="1030"/>
                  </a:cubicBezTo>
                  <a:cubicBezTo>
                    <a:pt x="339" y="998"/>
                    <a:pt x="360" y="977"/>
                    <a:pt x="360" y="964"/>
                  </a:cubicBezTo>
                  <a:cubicBezTo>
                    <a:pt x="432" y="874"/>
                    <a:pt x="477" y="800"/>
                    <a:pt x="501" y="739"/>
                  </a:cubicBezTo>
                  <a:lnTo>
                    <a:pt x="501" y="733"/>
                  </a:lnTo>
                  <a:lnTo>
                    <a:pt x="485" y="720"/>
                  </a:lnTo>
                  <a:lnTo>
                    <a:pt x="469" y="733"/>
                  </a:lnTo>
                  <a:cubicBezTo>
                    <a:pt x="392" y="845"/>
                    <a:pt x="310" y="924"/>
                    <a:pt x="220" y="972"/>
                  </a:cubicBezTo>
                  <a:cubicBezTo>
                    <a:pt x="204" y="972"/>
                    <a:pt x="191" y="961"/>
                    <a:pt x="183" y="943"/>
                  </a:cubicBezTo>
                  <a:cubicBezTo>
                    <a:pt x="183" y="813"/>
                    <a:pt x="233" y="641"/>
                    <a:pt x="331" y="421"/>
                  </a:cubicBezTo>
                  <a:lnTo>
                    <a:pt x="382" y="424"/>
                  </a:lnTo>
                  <a:cubicBezTo>
                    <a:pt x="382" y="424"/>
                    <a:pt x="411" y="426"/>
                    <a:pt x="440" y="416"/>
                  </a:cubicBezTo>
                  <a:lnTo>
                    <a:pt x="530" y="379"/>
                  </a:lnTo>
                  <a:cubicBezTo>
                    <a:pt x="588" y="349"/>
                    <a:pt x="628" y="299"/>
                    <a:pt x="654" y="230"/>
                  </a:cubicBezTo>
                  <a:lnTo>
                    <a:pt x="654" y="159"/>
                  </a:lnTo>
                  <a:cubicBezTo>
                    <a:pt x="646" y="111"/>
                    <a:pt x="577" y="58"/>
                    <a:pt x="448" y="0"/>
                  </a:cubicBezTo>
                  <a:lnTo>
                    <a:pt x="411" y="0"/>
                  </a:lnTo>
                  <a:close/>
                  <a:moveTo>
                    <a:pt x="374" y="349"/>
                  </a:moveTo>
                  <a:cubicBezTo>
                    <a:pt x="453" y="244"/>
                    <a:pt x="506" y="191"/>
                    <a:pt x="535" y="191"/>
                  </a:cubicBezTo>
                  <a:lnTo>
                    <a:pt x="543" y="191"/>
                  </a:lnTo>
                  <a:lnTo>
                    <a:pt x="551" y="196"/>
                  </a:lnTo>
                  <a:cubicBezTo>
                    <a:pt x="498" y="310"/>
                    <a:pt x="448" y="368"/>
                    <a:pt x="405" y="368"/>
                  </a:cubicBezTo>
                  <a:lnTo>
                    <a:pt x="376" y="355"/>
                  </a:lnTo>
                  <a:lnTo>
                    <a:pt x="376" y="3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Shape 6"/>
            <p:cNvSpPr/>
            <p:nvPr/>
          </p:nvSpPr>
          <p:spPr>
            <a:xfrm>
              <a:off x="1741456" y="4718660"/>
              <a:ext cx="122009" cy="137212"/>
            </a:xfrm>
            <a:custGeom>
              <a:avLst/>
              <a:gdLst/>
              <a:ahLst/>
              <a:cxnLst>
                <a:cxn ang="3cd4">
                  <a:pos x="hc" y="t"/>
                </a:cxn>
                <a:cxn ang="cd2">
                  <a:pos x="l" y="vc"/>
                </a:cxn>
                <a:cxn ang="cd4">
                  <a:pos x="hc" y="b"/>
                </a:cxn>
                <a:cxn ang="0">
                  <a:pos x="r" y="vc"/>
                </a:cxn>
              </a:cxnLst>
              <a:rect l="l" t="t" r="r" b="b"/>
              <a:pathLst>
                <a:path w="643" h="723">
                  <a:moveTo>
                    <a:pt x="495" y="442"/>
                  </a:moveTo>
                  <a:cubicBezTo>
                    <a:pt x="490" y="495"/>
                    <a:pt x="455" y="598"/>
                    <a:pt x="339" y="598"/>
                  </a:cubicBezTo>
                  <a:cubicBezTo>
                    <a:pt x="233" y="598"/>
                    <a:pt x="151" y="522"/>
                    <a:pt x="151" y="363"/>
                  </a:cubicBezTo>
                  <a:cubicBezTo>
                    <a:pt x="151" y="220"/>
                    <a:pt x="222" y="127"/>
                    <a:pt x="339" y="127"/>
                  </a:cubicBezTo>
                  <a:cubicBezTo>
                    <a:pt x="434" y="127"/>
                    <a:pt x="482" y="199"/>
                    <a:pt x="490" y="249"/>
                  </a:cubicBezTo>
                  <a:lnTo>
                    <a:pt x="635" y="249"/>
                  </a:lnTo>
                  <a:cubicBezTo>
                    <a:pt x="627" y="161"/>
                    <a:pt x="559" y="0"/>
                    <a:pt x="339" y="0"/>
                  </a:cubicBezTo>
                  <a:cubicBezTo>
                    <a:pt x="130" y="0"/>
                    <a:pt x="0" y="156"/>
                    <a:pt x="0" y="360"/>
                  </a:cubicBezTo>
                  <a:cubicBezTo>
                    <a:pt x="0" y="577"/>
                    <a:pt x="140" y="723"/>
                    <a:pt x="339" y="723"/>
                  </a:cubicBezTo>
                  <a:cubicBezTo>
                    <a:pt x="566" y="723"/>
                    <a:pt x="638" y="537"/>
                    <a:pt x="643" y="439"/>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Shape 7"/>
            <p:cNvSpPr/>
            <p:nvPr/>
          </p:nvSpPr>
          <p:spPr>
            <a:xfrm>
              <a:off x="1876198" y="4721701"/>
              <a:ext cx="27556" cy="23375"/>
            </a:xfrm>
            <a:custGeom>
              <a:avLst/>
              <a:gdLst/>
              <a:ahLst/>
              <a:cxnLst>
                <a:cxn ang="3cd4">
                  <a:pos x="hc" y="t"/>
                </a:cxn>
                <a:cxn ang="cd2">
                  <a:pos x="l" y="vc"/>
                </a:cxn>
                <a:cxn ang="cd4">
                  <a:pos x="hc" y="b"/>
                </a:cxn>
                <a:cxn ang="0">
                  <a:pos x="r" y="vc"/>
                </a:cxn>
              </a:cxnLst>
              <a:rect l="l" t="t" r="r" b="b"/>
              <a:pathLst>
                <a:path w="146" h="124">
                  <a:moveTo>
                    <a:pt x="73" y="124"/>
                  </a:moveTo>
                  <a:lnTo>
                    <a:pt x="0" y="124"/>
                  </a:lnTo>
                  <a:lnTo>
                    <a:pt x="0" y="0"/>
                  </a:lnTo>
                  <a:lnTo>
                    <a:pt x="146" y="0"/>
                  </a:lnTo>
                  <a:lnTo>
                    <a:pt x="146" y="12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Shape 8"/>
            <p:cNvSpPr/>
            <p:nvPr/>
          </p:nvSpPr>
          <p:spPr>
            <a:xfrm>
              <a:off x="1876198" y="4757809"/>
              <a:ext cx="27556" cy="95022"/>
            </a:xfrm>
            <a:custGeom>
              <a:avLst/>
              <a:gdLst/>
              <a:ahLst/>
              <a:cxnLst>
                <a:cxn ang="3cd4">
                  <a:pos x="hc" y="t"/>
                </a:cxn>
                <a:cxn ang="cd2">
                  <a:pos x="l" y="vc"/>
                </a:cxn>
                <a:cxn ang="cd4">
                  <a:pos x="hc" y="b"/>
                </a:cxn>
                <a:cxn ang="0">
                  <a:pos x="r" y="vc"/>
                </a:cxn>
              </a:cxnLst>
              <a:rect l="l" t="t" r="r" b="b"/>
              <a:pathLst>
                <a:path w="146" h="501">
                  <a:moveTo>
                    <a:pt x="73" y="501"/>
                  </a:moveTo>
                  <a:lnTo>
                    <a:pt x="0" y="501"/>
                  </a:lnTo>
                  <a:lnTo>
                    <a:pt x="0" y="0"/>
                  </a:lnTo>
                  <a:lnTo>
                    <a:pt x="146" y="0"/>
                  </a:lnTo>
                  <a:lnTo>
                    <a:pt x="146" y="50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1" name="Freeform: Shape 9"/>
            <p:cNvSpPr/>
            <p:nvPr/>
          </p:nvSpPr>
          <p:spPr>
            <a:xfrm>
              <a:off x="1914967" y="4755338"/>
              <a:ext cx="90461" cy="100533"/>
            </a:xfrm>
            <a:custGeom>
              <a:avLst/>
              <a:gdLst/>
              <a:ahLst/>
              <a:cxnLst>
                <a:cxn ang="3cd4">
                  <a:pos x="hc" y="t"/>
                </a:cxn>
                <a:cxn ang="cd2">
                  <a:pos x="l" y="vc"/>
                </a:cxn>
                <a:cxn ang="cd4">
                  <a:pos x="hc" y="b"/>
                </a:cxn>
                <a:cxn ang="0">
                  <a:pos x="r" y="vc"/>
                </a:cxn>
              </a:cxnLst>
              <a:rect l="l" t="t" r="r" b="b"/>
              <a:pathLst>
                <a:path w="477" h="530">
                  <a:moveTo>
                    <a:pt x="16" y="146"/>
                  </a:moveTo>
                  <a:cubicBezTo>
                    <a:pt x="16" y="252"/>
                    <a:pt x="109" y="284"/>
                    <a:pt x="162" y="297"/>
                  </a:cubicBezTo>
                  <a:cubicBezTo>
                    <a:pt x="175" y="299"/>
                    <a:pt x="212" y="310"/>
                    <a:pt x="225" y="313"/>
                  </a:cubicBezTo>
                  <a:cubicBezTo>
                    <a:pt x="278" y="326"/>
                    <a:pt x="326" y="337"/>
                    <a:pt x="326" y="379"/>
                  </a:cubicBezTo>
                  <a:cubicBezTo>
                    <a:pt x="326" y="408"/>
                    <a:pt x="294" y="432"/>
                    <a:pt x="236" y="432"/>
                  </a:cubicBezTo>
                  <a:cubicBezTo>
                    <a:pt x="178" y="432"/>
                    <a:pt x="143" y="403"/>
                    <a:pt x="138" y="352"/>
                  </a:cubicBezTo>
                  <a:lnTo>
                    <a:pt x="0" y="352"/>
                  </a:lnTo>
                  <a:cubicBezTo>
                    <a:pt x="6" y="405"/>
                    <a:pt x="35" y="530"/>
                    <a:pt x="236" y="530"/>
                  </a:cubicBezTo>
                  <a:cubicBezTo>
                    <a:pt x="424" y="530"/>
                    <a:pt x="477" y="427"/>
                    <a:pt x="477" y="368"/>
                  </a:cubicBezTo>
                  <a:cubicBezTo>
                    <a:pt x="477" y="302"/>
                    <a:pt x="435" y="246"/>
                    <a:pt x="310" y="215"/>
                  </a:cubicBezTo>
                  <a:cubicBezTo>
                    <a:pt x="302" y="212"/>
                    <a:pt x="262" y="204"/>
                    <a:pt x="247" y="199"/>
                  </a:cubicBezTo>
                  <a:cubicBezTo>
                    <a:pt x="183" y="183"/>
                    <a:pt x="165" y="172"/>
                    <a:pt x="165" y="141"/>
                  </a:cubicBezTo>
                  <a:cubicBezTo>
                    <a:pt x="165" y="111"/>
                    <a:pt x="196" y="98"/>
                    <a:pt x="231" y="98"/>
                  </a:cubicBezTo>
                  <a:cubicBezTo>
                    <a:pt x="310" y="98"/>
                    <a:pt x="326" y="138"/>
                    <a:pt x="326" y="162"/>
                  </a:cubicBezTo>
                  <a:lnTo>
                    <a:pt x="464" y="162"/>
                  </a:lnTo>
                  <a:cubicBezTo>
                    <a:pt x="464" y="109"/>
                    <a:pt x="427" y="0"/>
                    <a:pt x="231" y="0"/>
                  </a:cubicBezTo>
                  <a:cubicBezTo>
                    <a:pt x="74" y="0"/>
                    <a:pt x="16" y="80"/>
                    <a:pt x="16" y="146"/>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Shape 10"/>
            <p:cNvSpPr/>
            <p:nvPr/>
          </p:nvSpPr>
          <p:spPr>
            <a:xfrm>
              <a:off x="2012080" y="4755338"/>
              <a:ext cx="97493" cy="100533"/>
            </a:xfrm>
            <a:custGeom>
              <a:avLst/>
              <a:gdLst/>
              <a:ahLst/>
              <a:cxnLst>
                <a:cxn ang="3cd4">
                  <a:pos x="hc" y="t"/>
                </a:cxn>
                <a:cxn ang="cd2">
                  <a:pos x="l" y="vc"/>
                </a:cxn>
                <a:cxn ang="cd4">
                  <a:pos x="hc" y="b"/>
                </a:cxn>
                <a:cxn ang="0">
                  <a:pos x="r" y="vc"/>
                </a:cxn>
              </a:cxnLst>
              <a:rect l="l" t="t" r="r" b="b"/>
              <a:pathLst>
                <a:path w="514" h="530">
                  <a:moveTo>
                    <a:pt x="376" y="331"/>
                  </a:moveTo>
                  <a:cubicBezTo>
                    <a:pt x="366" y="379"/>
                    <a:pt x="334" y="424"/>
                    <a:pt x="270" y="424"/>
                  </a:cubicBezTo>
                  <a:cubicBezTo>
                    <a:pt x="191" y="424"/>
                    <a:pt x="151" y="355"/>
                    <a:pt x="151" y="265"/>
                  </a:cubicBezTo>
                  <a:cubicBezTo>
                    <a:pt x="151" y="196"/>
                    <a:pt x="178" y="103"/>
                    <a:pt x="270" y="103"/>
                  </a:cubicBezTo>
                  <a:cubicBezTo>
                    <a:pt x="329" y="103"/>
                    <a:pt x="363" y="143"/>
                    <a:pt x="371" y="188"/>
                  </a:cubicBezTo>
                  <a:lnTo>
                    <a:pt x="511" y="188"/>
                  </a:lnTo>
                  <a:cubicBezTo>
                    <a:pt x="503" y="109"/>
                    <a:pt x="445" y="0"/>
                    <a:pt x="268" y="0"/>
                  </a:cubicBezTo>
                  <a:cubicBezTo>
                    <a:pt x="112" y="0"/>
                    <a:pt x="0" y="103"/>
                    <a:pt x="0" y="265"/>
                  </a:cubicBezTo>
                  <a:cubicBezTo>
                    <a:pt x="0" y="427"/>
                    <a:pt x="109" y="530"/>
                    <a:pt x="268" y="530"/>
                  </a:cubicBezTo>
                  <a:cubicBezTo>
                    <a:pt x="453" y="530"/>
                    <a:pt x="506" y="413"/>
                    <a:pt x="514" y="334"/>
                  </a:cubicBezTo>
                  <a:lnTo>
                    <a:pt x="376" y="3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3" name="Freeform: Shape 11"/>
            <p:cNvSpPr/>
            <p:nvPr/>
          </p:nvSpPr>
          <p:spPr>
            <a:xfrm>
              <a:off x="2117744" y="4755338"/>
              <a:ext cx="101104" cy="100533"/>
            </a:xfrm>
            <a:custGeom>
              <a:avLst/>
              <a:gdLst/>
              <a:ahLst/>
              <a:cxnLst>
                <a:cxn ang="3cd4">
                  <a:pos x="hc" y="t"/>
                </a:cxn>
                <a:cxn ang="cd2">
                  <a:pos x="l" y="vc"/>
                </a:cxn>
                <a:cxn ang="cd4">
                  <a:pos x="hc" y="b"/>
                </a:cxn>
                <a:cxn ang="0">
                  <a:pos x="r" y="vc"/>
                </a:cxn>
              </a:cxnLst>
              <a:rect l="l" t="t" r="r" b="b"/>
              <a:pathLst>
                <a:path w="533" h="530">
                  <a:moveTo>
                    <a:pt x="268" y="0"/>
                  </a:moveTo>
                  <a:cubicBezTo>
                    <a:pt x="109" y="0"/>
                    <a:pt x="0" y="103"/>
                    <a:pt x="0" y="265"/>
                  </a:cubicBezTo>
                  <a:cubicBezTo>
                    <a:pt x="0" y="427"/>
                    <a:pt x="109" y="530"/>
                    <a:pt x="268" y="530"/>
                  </a:cubicBezTo>
                  <a:cubicBezTo>
                    <a:pt x="424" y="530"/>
                    <a:pt x="533" y="429"/>
                    <a:pt x="533" y="265"/>
                  </a:cubicBezTo>
                  <a:cubicBezTo>
                    <a:pt x="533" y="98"/>
                    <a:pt x="419" y="0"/>
                    <a:pt x="268" y="0"/>
                  </a:cubicBezTo>
                  <a:close/>
                  <a:moveTo>
                    <a:pt x="265" y="424"/>
                  </a:moveTo>
                  <a:cubicBezTo>
                    <a:pt x="188" y="424"/>
                    <a:pt x="146" y="355"/>
                    <a:pt x="146" y="265"/>
                  </a:cubicBezTo>
                  <a:cubicBezTo>
                    <a:pt x="149" y="196"/>
                    <a:pt x="175" y="103"/>
                    <a:pt x="265" y="103"/>
                  </a:cubicBezTo>
                  <a:cubicBezTo>
                    <a:pt x="347" y="103"/>
                    <a:pt x="382" y="183"/>
                    <a:pt x="382" y="265"/>
                  </a:cubicBezTo>
                  <a:cubicBezTo>
                    <a:pt x="382" y="347"/>
                    <a:pt x="347" y="424"/>
                    <a:pt x="265" y="42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1419689796"/>
      </p:ext>
    </p:extLst>
  </p:cSld>
  <p:clrMapOvr>
    <a:masterClrMapping/>
  </p:clrMapOv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311161971"/>
      </p:ext>
    </p:extLst>
  </p:cSld>
  <p:clrMapOvr>
    <a:masterClrMapping/>
  </p:clrMapOv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3952921"/>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a:t>Click icon to add picture</a:t>
            </a:r>
            <a:endParaRPr lang="en-US" noProof="0" dirty="0"/>
          </a:p>
        </p:txBody>
      </p:sp>
      <p:sp>
        <p:nvSpPr>
          <p:cNvPr id="5"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6"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Tree>
    <p:extLst>
      <p:ext uri="{BB962C8B-B14F-4D97-AF65-F5344CB8AC3E}">
        <p14:creationId xmlns:p14="http://schemas.microsoft.com/office/powerpoint/2010/main" val="311539786"/>
      </p:ext>
    </p:extLst>
  </p:cSld>
  <p:clrMapOvr>
    <a:masterClrMapping/>
  </p:clrMapOv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457200">
              <a:defRPr/>
            </a:pPr>
            <a:endParaRPr lang="en-US" sz="1800">
              <a:solidFill>
                <a:srgbClr val="FFFFFF"/>
              </a:solidFill>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457200">
              <a:defRPr/>
            </a:pPr>
            <a:endParaRPr lang="en-US" sz="1800">
              <a:solidFill>
                <a:srgbClr val="FFFFFF"/>
              </a:solidFill>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a:t>Click to edit title</a:t>
            </a:r>
            <a:endParaRPr lang="en-US" dirty="0"/>
          </a:p>
        </p:txBody>
      </p:sp>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9"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Tree>
    <p:extLst>
      <p:ext uri="{BB962C8B-B14F-4D97-AF65-F5344CB8AC3E}">
        <p14:creationId xmlns:p14="http://schemas.microsoft.com/office/powerpoint/2010/main" val="259830231"/>
      </p:ext>
    </p:extLst>
  </p:cSld>
  <p:clrMapOvr>
    <a:overrideClrMapping bg1="dk1" tx1="lt1" bg2="dk2" tx2="lt2" accent1="accent1" accent2="accent2" accent3="accent3" accent4="accent4" accent5="accent5" accent6="accent6" hlink="hlink" folHlink="folHlink"/>
  </p:clrMapOv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
        <p:nvSpPr>
          <p:cNvPr id="4"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6"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Tree>
    <p:extLst>
      <p:ext uri="{BB962C8B-B14F-4D97-AF65-F5344CB8AC3E}">
        <p14:creationId xmlns:p14="http://schemas.microsoft.com/office/powerpoint/2010/main" val="122737137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a:t>Click icon to add media</a:t>
            </a:r>
            <a:endParaRPr lang="en-US" noProof="0" dirty="0"/>
          </a:p>
        </p:txBody>
      </p:sp>
      <p:sp>
        <p:nvSpPr>
          <p:cNvPr id="4"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6"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Tree>
    <p:extLst>
      <p:ext uri="{BB962C8B-B14F-4D97-AF65-F5344CB8AC3E}">
        <p14:creationId xmlns:p14="http://schemas.microsoft.com/office/powerpoint/2010/main" val="130772360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Evaluation Layout">
    <p:spTree>
      <p:nvGrpSpPr>
        <p:cNvPr id="1" name=""/>
        <p:cNvGrpSpPr/>
        <p:nvPr/>
      </p:nvGrpSpPr>
      <p:grpSpPr>
        <a:xfrm>
          <a:off x="0" y="0"/>
          <a:ext cx="0" cy="0"/>
          <a:chOff x="0" y="0"/>
          <a:chExt cx="0" cy="0"/>
        </a:xfrm>
      </p:grpSpPr>
      <p:pic>
        <p:nvPicPr>
          <p:cNvPr id="26" name="Picture 25"/>
          <p:cNvPicPr>
            <a:picLocks noChangeAspect="1"/>
          </p:cNvPicPr>
          <p:nvPr userDrawn="1"/>
        </p:nvPicPr>
        <p:blipFill rotWithShape="1">
          <a:blip r:embed="rId2" cstate="print">
            <a:extLst>
              <a:ext uri="{28A0092B-C50C-407E-A947-70E740481C1C}">
                <a14:useLocalDpi xmlns:a14="http://schemas.microsoft.com/office/drawing/2010/main" val="0"/>
              </a:ext>
            </a:extLst>
          </a:blip>
          <a:srcRect l="20949" t="6440" r="23541" b="-306"/>
          <a:stretch/>
        </p:blipFill>
        <p:spPr>
          <a:xfrm>
            <a:off x="4572000" y="0"/>
            <a:ext cx="4572000" cy="5160311"/>
          </a:xfrm>
          <a:prstGeom prst="rect">
            <a:avLst/>
          </a:prstGeom>
        </p:spPr>
      </p:pic>
      <p:sp>
        <p:nvSpPr>
          <p:cNvPr id="13" name="Rectangle 12"/>
          <p:cNvSpPr/>
          <p:nvPr userDrawn="1"/>
        </p:nvSpPr>
        <p:spPr bwMode="auto">
          <a:xfrm>
            <a:off x="0" y="0"/>
            <a:ext cx="4572000" cy="5143500"/>
          </a:xfrm>
          <a:prstGeom prst="rect">
            <a:avLst/>
          </a:prstGeom>
          <a:solidFill>
            <a:schemeClr val="accent6"/>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a:solidFill>
                <a:schemeClr val="bg1"/>
              </a:solidFill>
              <a:ea typeface="Arial" pitchFamily="-107" charset="0"/>
              <a:cs typeface="Arial" pitchFamily="-107" charset="0"/>
              <a:sym typeface="Arial" pitchFamily="-107" charset="0"/>
            </a:endParaRPr>
          </a:p>
        </p:txBody>
      </p:sp>
      <p:sp>
        <p:nvSpPr>
          <p:cNvPr id="7" name="Content Placeholder 2"/>
          <p:cNvSpPr txBox="1">
            <a:spLocks/>
          </p:cNvSpPr>
          <p:nvPr userDrawn="1"/>
        </p:nvSpPr>
        <p:spPr>
          <a:xfrm>
            <a:off x="245076" y="1464400"/>
            <a:ext cx="4194105" cy="2185214"/>
          </a:xfrm>
          <a:prstGeom prst="rect">
            <a:avLst/>
          </a:prstGeom>
        </p:spPr>
        <p:txBody>
          <a:bodyPr wrap="square">
            <a:spAutoFit/>
          </a:bodyPr>
          <a:lstStyle>
            <a:lvl1pPr marL="187523" indent="-185738" algn="l" rtl="0" eaLnBrk="0" fontAlgn="base" hangingPunct="0">
              <a:lnSpc>
                <a:spcPct val="90000"/>
              </a:lnSpc>
              <a:spcBef>
                <a:spcPts val="1200"/>
              </a:spcBef>
              <a:spcAft>
                <a:spcPct val="0"/>
              </a:spcAft>
              <a:buClr>
                <a:srgbClr val="0C65B7"/>
              </a:buClr>
              <a:buSzPct val="10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0" fontAlgn="base" hangingPunct="0">
              <a:lnSpc>
                <a:spcPct val="90000"/>
              </a:lnSpc>
              <a:spcBef>
                <a:spcPts val="400"/>
              </a:spcBef>
              <a:spcAft>
                <a:spcPct val="0"/>
              </a:spcAft>
              <a:buClr>
                <a:srgbClr val="0C65B7"/>
              </a:buClr>
              <a:buSzPct val="100000"/>
              <a:buFont typeface="Arial"/>
              <a:buChar char="–"/>
              <a:defRPr sz="1600">
                <a:solidFill>
                  <a:schemeClr val="tx1"/>
                </a:solidFill>
                <a:latin typeface="+mn-lt"/>
                <a:ea typeface="+mn-ea"/>
                <a:cs typeface="+mn-cs"/>
                <a:sym typeface="Arial" pitchFamily="34" charset="0"/>
              </a:defRPr>
            </a:lvl2pPr>
            <a:lvl3pPr marL="546497" indent="-159842" algn="l" rtl="0" eaLnBrk="0" fontAlgn="base" hangingPunct="0">
              <a:lnSpc>
                <a:spcPct val="90000"/>
              </a:lnSpc>
              <a:spcBef>
                <a:spcPts val="200"/>
              </a:spcBef>
              <a:spcAft>
                <a:spcPct val="0"/>
              </a:spcAft>
              <a:buClr>
                <a:srgbClr val="0C65B7"/>
              </a:buClr>
              <a:buSzPct val="10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0" fontAlgn="base" hangingPunct="0">
              <a:lnSpc>
                <a:spcPct val="90000"/>
              </a:lnSpc>
              <a:spcBef>
                <a:spcPts val="200"/>
              </a:spcBef>
              <a:spcAft>
                <a:spcPct val="0"/>
              </a:spcAft>
              <a:buClr>
                <a:srgbClr val="0C65B7"/>
              </a:buClr>
              <a:buSzPct val="100000"/>
              <a:buFont typeface="Arial" pitchFamily="34" charset="0"/>
              <a:buChar char="–"/>
              <a:defRPr sz="1100">
                <a:solidFill>
                  <a:schemeClr val="tx1"/>
                </a:solidFill>
                <a:latin typeface="+mn-lt"/>
                <a:ea typeface="+mn-ea"/>
                <a:cs typeface="+mn-cs"/>
                <a:sym typeface="Arial" pitchFamily="34" charset="0"/>
              </a:defRPr>
            </a:lvl4pPr>
            <a:lvl5pPr marL="773311" indent="-66973"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marL="187523" indent="-185738" algn="l" defTabSz="457200" rtl="0" eaLnBrk="0" fontAlgn="base" latinLnBrk="0" hangingPunct="0">
              <a:lnSpc>
                <a:spcPct val="90000"/>
              </a:lnSpc>
              <a:spcBef>
                <a:spcPts val="1200"/>
              </a:spcBef>
              <a:spcAft>
                <a:spcPct val="0"/>
              </a:spcAft>
              <a:buClr>
                <a:schemeClr val="bg1"/>
              </a:buClr>
              <a:buSzPct val="80000"/>
              <a:buFont typeface="Arial" panose="020B0604020202020204" pitchFamily="34" charset="0"/>
              <a:buChar char="•"/>
            </a:pPr>
            <a:r>
              <a:rPr lang="en-US" sz="2000" kern="1200" dirty="0">
                <a:solidFill>
                  <a:schemeClr val="bg1"/>
                </a:solidFill>
                <a:latin typeface="+mn-lt"/>
                <a:ea typeface="+mn-ea"/>
                <a:cs typeface="+mn-cs"/>
                <a:sym typeface="Arial" pitchFamily="34" charset="0"/>
              </a:rPr>
              <a:t>Give us your feedback and receive a </a:t>
            </a:r>
            <a:r>
              <a:rPr lang="en-US" sz="2000" b="1" kern="1200" dirty="0">
                <a:solidFill>
                  <a:schemeClr val="bg1"/>
                </a:solidFill>
                <a:latin typeface="+mn-lt"/>
                <a:ea typeface="+mn-ea"/>
                <a:cs typeface="+mn-cs"/>
                <a:sym typeface="Arial" pitchFamily="34" charset="0"/>
              </a:rPr>
              <a:t>Cisco Live 2018 Cap </a:t>
            </a:r>
            <a:r>
              <a:rPr lang="en-US" sz="2000" kern="1200" dirty="0">
                <a:solidFill>
                  <a:schemeClr val="bg1"/>
                </a:solidFill>
                <a:latin typeface="+mn-lt"/>
                <a:ea typeface="+mn-ea"/>
                <a:cs typeface="+mn-cs"/>
                <a:sym typeface="Arial" pitchFamily="34" charset="0"/>
              </a:rPr>
              <a:t>by completing the overall event evaluation and 5 session evaluations.</a:t>
            </a:r>
            <a:r>
              <a:rPr lang="en-US" sz="2000" kern="1200" baseline="0" dirty="0">
                <a:solidFill>
                  <a:schemeClr val="bg1"/>
                </a:solidFill>
                <a:latin typeface="+mn-lt"/>
                <a:ea typeface="+mn-ea"/>
                <a:cs typeface="+mn-cs"/>
                <a:sym typeface="Arial" pitchFamily="34" charset="0"/>
              </a:rPr>
              <a:t> </a:t>
            </a:r>
            <a:endParaRPr lang="en-US" sz="2000" kern="1200" dirty="0">
              <a:solidFill>
                <a:schemeClr val="bg1"/>
              </a:solidFill>
              <a:latin typeface="+mn-lt"/>
              <a:ea typeface="+mn-ea"/>
              <a:cs typeface="+mn-cs"/>
              <a:sym typeface="Arial" pitchFamily="34" charset="0"/>
            </a:endParaRPr>
          </a:p>
          <a:p>
            <a:pPr marL="187523" indent="-185738" algn="l" defTabSz="457200" rtl="0" eaLnBrk="0" fontAlgn="base" latinLnBrk="0" hangingPunct="0">
              <a:lnSpc>
                <a:spcPct val="90000"/>
              </a:lnSpc>
              <a:spcBef>
                <a:spcPts val="1200"/>
              </a:spcBef>
              <a:spcAft>
                <a:spcPct val="0"/>
              </a:spcAft>
              <a:buClr>
                <a:schemeClr val="bg1"/>
              </a:buClr>
              <a:buSzPct val="80000"/>
              <a:buFont typeface="Arial" panose="020B0604020202020204" pitchFamily="34" charset="0"/>
              <a:buChar char="•"/>
            </a:pPr>
            <a:r>
              <a:rPr lang="en-US" sz="2000" kern="1200" dirty="0">
                <a:solidFill>
                  <a:schemeClr val="bg1"/>
                </a:solidFill>
                <a:latin typeface="+mn-lt"/>
                <a:ea typeface="+mn-ea"/>
                <a:cs typeface="+mn-cs"/>
                <a:sym typeface="Arial" pitchFamily="34" charset="0"/>
              </a:rPr>
              <a:t>All evaluations</a:t>
            </a:r>
            <a:r>
              <a:rPr lang="en-US" sz="2000" kern="1200" baseline="0" dirty="0">
                <a:solidFill>
                  <a:schemeClr val="bg1"/>
                </a:solidFill>
                <a:latin typeface="+mn-lt"/>
                <a:ea typeface="+mn-ea"/>
                <a:cs typeface="+mn-cs"/>
                <a:sym typeface="Arial" pitchFamily="34" charset="0"/>
              </a:rPr>
              <a:t> can be completed via the Cisco Live Mobile App</a:t>
            </a:r>
            <a:r>
              <a:rPr lang="en-US" sz="2000" kern="1200" dirty="0">
                <a:solidFill>
                  <a:schemeClr val="bg1"/>
                </a:solidFill>
                <a:latin typeface="+mn-lt"/>
                <a:ea typeface="+mn-ea"/>
                <a:cs typeface="+mn-cs"/>
                <a:sym typeface="Arial" pitchFamily="34" charset="0"/>
              </a:rPr>
              <a:t>.</a:t>
            </a:r>
          </a:p>
        </p:txBody>
      </p:sp>
      <p:sp>
        <p:nvSpPr>
          <p:cNvPr id="8"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defRPr lang="en-US" smtClean="0">
                <a:solidFill>
                  <a:srgbClr val="FFFFFF">
                    <a:alpha val="60000"/>
                  </a:srgbClr>
                </a:solidFill>
              </a:defRPr>
            </a:lvl1pPr>
          </a:lstStyle>
          <a:p>
            <a:fld id="{96A97DD0-5BE7-4856-A2A9-C42C6688E607}" type="slidenum">
              <a:rPr lang="en-US" smtClean="0"/>
              <a:pPr/>
              <a:t>‹#›</a:t>
            </a:fld>
            <a:endParaRPr lang="en-US" dirty="0"/>
          </a:p>
        </p:txBody>
      </p:sp>
      <p:sp>
        <p:nvSpPr>
          <p:cNvPr id="2" name="Rectangle 1">
            <a:hlinkClick r:id="rId3"/>
          </p:cNvPr>
          <p:cNvSpPr/>
          <p:nvPr userDrawn="1"/>
        </p:nvSpPr>
        <p:spPr bwMode="auto">
          <a:xfrm>
            <a:off x="4738254" y="4205808"/>
            <a:ext cx="1898073" cy="220559"/>
          </a:xfrm>
          <a:prstGeom prst="rect">
            <a:avLst/>
          </a:prstGeom>
          <a:noFill/>
          <a:ln w="12700" cap="flat">
            <a:noFill/>
            <a:miter lim="800000"/>
            <a:headEnd type="none" w="med" len="med"/>
            <a:tailEnd type="none" w="med" len="med"/>
          </a:ln>
        </p:spPr>
        <p:txBody>
          <a:bodyPr lIns="91440" tIns="45720" rIns="91440" bIns="45720" rtlCol="0" anchor="ctr"/>
          <a:lstStyle/>
          <a:p>
            <a:pPr algn="ctr" defTabSz="514350"/>
            <a:endParaRPr lang="en-US" sz="1400" dirty="0" err="1">
              <a:solidFill>
                <a:schemeClr val="bg1"/>
              </a:solidFill>
              <a:ea typeface="Arial" pitchFamily="-107" charset="0"/>
              <a:cs typeface="Arial" pitchFamily="-107" charset="0"/>
              <a:sym typeface="Arial" pitchFamily="-107" charset="0"/>
            </a:endParaRPr>
          </a:p>
        </p:txBody>
      </p:sp>
      <p:grpSp>
        <p:nvGrpSpPr>
          <p:cNvPr id="14" name="Group 13"/>
          <p:cNvGrpSpPr/>
          <p:nvPr userDrawn="1"/>
        </p:nvGrpSpPr>
        <p:grpSpPr>
          <a:xfrm>
            <a:off x="454860" y="4785453"/>
            <a:ext cx="820228" cy="274324"/>
            <a:chOff x="1741460" y="4513421"/>
            <a:chExt cx="1027385" cy="343607"/>
          </a:xfrm>
          <a:solidFill>
            <a:schemeClr val="bg1"/>
          </a:solidFill>
        </p:grpSpPr>
        <p:sp>
          <p:nvSpPr>
            <p:cNvPr id="15" name="Freeform: Shape 1"/>
            <p:cNvSpPr/>
            <p:nvPr/>
          </p:nvSpPr>
          <p:spPr>
            <a:xfrm>
              <a:off x="2624981" y="4513421"/>
              <a:ext cx="143864" cy="343031"/>
            </a:xfrm>
            <a:custGeom>
              <a:avLst/>
              <a:gdLst/>
              <a:ahLst/>
              <a:cxnLst>
                <a:cxn ang="3cd4">
                  <a:pos x="hc" y="t"/>
                </a:cxn>
                <a:cxn ang="cd2">
                  <a:pos x="l" y="vc"/>
                </a:cxn>
                <a:cxn ang="cd4">
                  <a:pos x="hc" y="b"/>
                </a:cxn>
                <a:cxn ang="0">
                  <a:pos x="r" y="vc"/>
                </a:cxn>
              </a:cxnLst>
              <a:rect l="l" t="t" r="r" b="b"/>
              <a:pathLst>
                <a:path w="758" h="1806">
                  <a:moveTo>
                    <a:pt x="242" y="829"/>
                  </a:moveTo>
                  <a:cubicBezTo>
                    <a:pt x="215" y="896"/>
                    <a:pt x="204" y="941"/>
                    <a:pt x="204" y="964"/>
                  </a:cubicBezTo>
                  <a:cubicBezTo>
                    <a:pt x="183" y="999"/>
                    <a:pt x="175" y="1070"/>
                    <a:pt x="175" y="1097"/>
                  </a:cubicBezTo>
                  <a:lnTo>
                    <a:pt x="175" y="1129"/>
                  </a:lnTo>
                  <a:lnTo>
                    <a:pt x="223" y="1208"/>
                  </a:lnTo>
                  <a:cubicBezTo>
                    <a:pt x="250" y="1245"/>
                    <a:pt x="218" y="1258"/>
                    <a:pt x="292" y="1282"/>
                  </a:cubicBezTo>
                  <a:cubicBezTo>
                    <a:pt x="318" y="1282"/>
                    <a:pt x="340" y="1261"/>
                    <a:pt x="353" y="1221"/>
                  </a:cubicBezTo>
                  <a:lnTo>
                    <a:pt x="353" y="1208"/>
                  </a:lnTo>
                  <a:cubicBezTo>
                    <a:pt x="353" y="1113"/>
                    <a:pt x="387" y="978"/>
                    <a:pt x="419" y="888"/>
                  </a:cubicBezTo>
                  <a:cubicBezTo>
                    <a:pt x="419" y="845"/>
                    <a:pt x="456" y="718"/>
                    <a:pt x="588" y="406"/>
                  </a:cubicBezTo>
                  <a:cubicBezTo>
                    <a:pt x="588" y="371"/>
                    <a:pt x="618" y="308"/>
                    <a:pt x="678" y="210"/>
                  </a:cubicBezTo>
                  <a:cubicBezTo>
                    <a:pt x="729" y="125"/>
                    <a:pt x="742" y="138"/>
                    <a:pt x="758" y="128"/>
                  </a:cubicBezTo>
                  <a:lnTo>
                    <a:pt x="758" y="80"/>
                  </a:lnTo>
                  <a:lnTo>
                    <a:pt x="739" y="61"/>
                  </a:lnTo>
                  <a:cubicBezTo>
                    <a:pt x="739" y="61"/>
                    <a:pt x="721" y="43"/>
                    <a:pt x="671" y="22"/>
                  </a:cubicBezTo>
                  <a:cubicBezTo>
                    <a:pt x="671" y="22"/>
                    <a:pt x="620" y="0"/>
                    <a:pt x="604" y="0"/>
                  </a:cubicBezTo>
                  <a:cubicBezTo>
                    <a:pt x="588" y="0"/>
                    <a:pt x="557" y="32"/>
                    <a:pt x="530" y="93"/>
                  </a:cubicBezTo>
                  <a:close/>
                  <a:moveTo>
                    <a:pt x="14" y="1738"/>
                  </a:moveTo>
                  <a:cubicBezTo>
                    <a:pt x="14" y="1772"/>
                    <a:pt x="-18" y="1783"/>
                    <a:pt x="16" y="1806"/>
                  </a:cubicBezTo>
                  <a:lnTo>
                    <a:pt x="77" y="1806"/>
                  </a:lnTo>
                  <a:cubicBezTo>
                    <a:pt x="144" y="1775"/>
                    <a:pt x="167" y="1716"/>
                    <a:pt x="252" y="1528"/>
                  </a:cubicBezTo>
                  <a:lnTo>
                    <a:pt x="252" y="1486"/>
                  </a:lnTo>
                  <a:cubicBezTo>
                    <a:pt x="252" y="1460"/>
                    <a:pt x="273" y="1446"/>
                    <a:pt x="218" y="1412"/>
                  </a:cubicBezTo>
                  <a:lnTo>
                    <a:pt x="202" y="1412"/>
                  </a:lnTo>
                  <a:cubicBezTo>
                    <a:pt x="93" y="1409"/>
                    <a:pt x="67" y="1465"/>
                    <a:pt x="14" y="168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Shape 2"/>
            <p:cNvSpPr/>
            <p:nvPr/>
          </p:nvSpPr>
          <p:spPr>
            <a:xfrm>
              <a:off x="2244131" y="4551817"/>
              <a:ext cx="81339" cy="304262"/>
            </a:xfrm>
            <a:custGeom>
              <a:avLst/>
              <a:gdLst/>
              <a:ahLst/>
              <a:cxnLst>
                <a:cxn ang="3cd4">
                  <a:pos x="hc" y="t"/>
                </a:cxn>
                <a:cxn ang="cd2">
                  <a:pos x="l" y="vc"/>
                </a:cxn>
                <a:cxn ang="cd4">
                  <a:pos x="hc" y="b"/>
                </a:cxn>
                <a:cxn ang="0">
                  <a:pos x="r" y="vc"/>
                </a:cxn>
              </a:cxnLst>
              <a:rect l="l" t="t" r="r" b="b"/>
              <a:pathLst>
                <a:path w="429" h="1602">
                  <a:moveTo>
                    <a:pt x="244" y="1533"/>
                  </a:moveTo>
                  <a:cubicBezTo>
                    <a:pt x="209" y="1533"/>
                    <a:pt x="199" y="1483"/>
                    <a:pt x="183" y="1329"/>
                  </a:cubicBezTo>
                  <a:cubicBezTo>
                    <a:pt x="201" y="1064"/>
                    <a:pt x="223" y="884"/>
                    <a:pt x="241" y="789"/>
                  </a:cubicBezTo>
                  <a:cubicBezTo>
                    <a:pt x="323" y="384"/>
                    <a:pt x="307" y="458"/>
                    <a:pt x="366" y="320"/>
                  </a:cubicBezTo>
                  <a:cubicBezTo>
                    <a:pt x="424" y="180"/>
                    <a:pt x="429" y="161"/>
                    <a:pt x="429" y="119"/>
                  </a:cubicBezTo>
                  <a:cubicBezTo>
                    <a:pt x="429" y="71"/>
                    <a:pt x="376" y="32"/>
                    <a:pt x="268" y="0"/>
                  </a:cubicBezTo>
                  <a:lnTo>
                    <a:pt x="260" y="0"/>
                  </a:lnTo>
                  <a:lnTo>
                    <a:pt x="257" y="2"/>
                  </a:lnTo>
                  <a:cubicBezTo>
                    <a:pt x="257" y="2"/>
                    <a:pt x="254" y="5"/>
                    <a:pt x="241" y="63"/>
                  </a:cubicBezTo>
                  <a:lnTo>
                    <a:pt x="209" y="201"/>
                  </a:lnTo>
                  <a:cubicBezTo>
                    <a:pt x="130" y="535"/>
                    <a:pt x="127" y="564"/>
                    <a:pt x="109" y="614"/>
                  </a:cubicBezTo>
                  <a:cubicBezTo>
                    <a:pt x="-8" y="1138"/>
                    <a:pt x="0" y="1213"/>
                    <a:pt x="0" y="1340"/>
                  </a:cubicBezTo>
                  <a:cubicBezTo>
                    <a:pt x="5" y="1385"/>
                    <a:pt x="27" y="1432"/>
                    <a:pt x="66" y="1483"/>
                  </a:cubicBezTo>
                  <a:cubicBezTo>
                    <a:pt x="146" y="1562"/>
                    <a:pt x="212" y="1602"/>
                    <a:pt x="257" y="160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Shape 3"/>
            <p:cNvSpPr/>
            <p:nvPr/>
          </p:nvSpPr>
          <p:spPr>
            <a:xfrm>
              <a:off x="2307796" y="4611684"/>
              <a:ext cx="82480" cy="244588"/>
            </a:xfrm>
            <a:custGeom>
              <a:avLst/>
              <a:gdLst/>
              <a:ahLst/>
              <a:cxnLst>
                <a:cxn ang="3cd4">
                  <a:pos x="hc" y="t"/>
                </a:cxn>
                <a:cxn ang="cd2">
                  <a:pos x="l" y="vc"/>
                </a:cxn>
                <a:cxn ang="cd4">
                  <a:pos x="hc" y="b"/>
                </a:cxn>
                <a:cxn ang="0">
                  <a:pos x="r" y="vc"/>
                </a:cxn>
              </a:cxnLst>
              <a:rect l="l" t="t" r="r" b="b"/>
              <a:pathLst>
                <a:path w="435" h="1288">
                  <a:moveTo>
                    <a:pt x="270" y="204"/>
                  </a:moveTo>
                  <a:lnTo>
                    <a:pt x="294" y="212"/>
                  </a:lnTo>
                  <a:cubicBezTo>
                    <a:pt x="331" y="206"/>
                    <a:pt x="379" y="164"/>
                    <a:pt x="435" y="82"/>
                  </a:cubicBezTo>
                  <a:lnTo>
                    <a:pt x="432" y="71"/>
                  </a:lnTo>
                  <a:cubicBezTo>
                    <a:pt x="429" y="45"/>
                    <a:pt x="395" y="21"/>
                    <a:pt x="329" y="0"/>
                  </a:cubicBezTo>
                  <a:lnTo>
                    <a:pt x="321" y="0"/>
                  </a:lnTo>
                  <a:cubicBezTo>
                    <a:pt x="302" y="3"/>
                    <a:pt x="284" y="69"/>
                    <a:pt x="270" y="204"/>
                  </a:cubicBezTo>
                  <a:close/>
                  <a:moveTo>
                    <a:pt x="210" y="1218"/>
                  </a:moveTo>
                  <a:lnTo>
                    <a:pt x="199" y="1189"/>
                  </a:lnTo>
                  <a:cubicBezTo>
                    <a:pt x="194" y="1048"/>
                    <a:pt x="194" y="956"/>
                    <a:pt x="204" y="913"/>
                  </a:cubicBezTo>
                  <a:lnTo>
                    <a:pt x="194" y="884"/>
                  </a:lnTo>
                  <a:cubicBezTo>
                    <a:pt x="191" y="829"/>
                    <a:pt x="196" y="800"/>
                    <a:pt x="207" y="800"/>
                  </a:cubicBezTo>
                  <a:cubicBezTo>
                    <a:pt x="220" y="712"/>
                    <a:pt x="236" y="662"/>
                    <a:pt x="249" y="651"/>
                  </a:cubicBezTo>
                  <a:cubicBezTo>
                    <a:pt x="255" y="590"/>
                    <a:pt x="286" y="511"/>
                    <a:pt x="347" y="413"/>
                  </a:cubicBezTo>
                  <a:cubicBezTo>
                    <a:pt x="345" y="381"/>
                    <a:pt x="281" y="341"/>
                    <a:pt x="165" y="291"/>
                  </a:cubicBezTo>
                  <a:cubicBezTo>
                    <a:pt x="133" y="294"/>
                    <a:pt x="106" y="360"/>
                    <a:pt x="82" y="484"/>
                  </a:cubicBezTo>
                  <a:cubicBezTo>
                    <a:pt x="16" y="768"/>
                    <a:pt x="-10" y="969"/>
                    <a:pt x="3" y="1086"/>
                  </a:cubicBezTo>
                  <a:cubicBezTo>
                    <a:pt x="14" y="1168"/>
                    <a:pt x="24" y="1207"/>
                    <a:pt x="40" y="1207"/>
                  </a:cubicBezTo>
                  <a:cubicBezTo>
                    <a:pt x="96" y="1268"/>
                    <a:pt x="157" y="1295"/>
                    <a:pt x="225" y="128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Shape 4"/>
            <p:cNvSpPr/>
            <p:nvPr/>
          </p:nvSpPr>
          <p:spPr>
            <a:xfrm>
              <a:off x="2387044" y="4639800"/>
              <a:ext cx="173892" cy="216271"/>
            </a:xfrm>
            <a:custGeom>
              <a:avLst/>
              <a:gdLst/>
              <a:ahLst/>
              <a:cxnLst>
                <a:cxn ang="3cd4">
                  <a:pos x="hc" y="t"/>
                </a:cxn>
                <a:cxn ang="cd2">
                  <a:pos x="l" y="vc"/>
                </a:cxn>
                <a:cxn ang="cd4">
                  <a:pos x="hc" y="b"/>
                </a:cxn>
                <a:cxn ang="0">
                  <a:pos x="r" y="vc"/>
                </a:cxn>
              </a:cxnLst>
              <a:rect l="l" t="t" r="r" b="b"/>
              <a:pathLst>
                <a:path w="916" h="1139">
                  <a:moveTo>
                    <a:pt x="871" y="172"/>
                  </a:moveTo>
                  <a:cubicBezTo>
                    <a:pt x="900" y="141"/>
                    <a:pt x="916" y="114"/>
                    <a:pt x="916" y="95"/>
                  </a:cubicBezTo>
                  <a:cubicBezTo>
                    <a:pt x="916" y="37"/>
                    <a:pt x="892" y="5"/>
                    <a:pt x="795" y="0"/>
                  </a:cubicBezTo>
                  <a:cubicBezTo>
                    <a:pt x="773" y="0"/>
                    <a:pt x="736" y="35"/>
                    <a:pt x="683" y="106"/>
                  </a:cubicBezTo>
                  <a:cubicBezTo>
                    <a:pt x="644" y="252"/>
                    <a:pt x="599" y="350"/>
                    <a:pt x="543" y="403"/>
                  </a:cubicBezTo>
                  <a:cubicBezTo>
                    <a:pt x="456" y="596"/>
                    <a:pt x="389" y="723"/>
                    <a:pt x="344" y="781"/>
                  </a:cubicBezTo>
                  <a:cubicBezTo>
                    <a:pt x="331" y="832"/>
                    <a:pt x="318" y="858"/>
                    <a:pt x="307" y="858"/>
                  </a:cubicBezTo>
                  <a:lnTo>
                    <a:pt x="305" y="858"/>
                  </a:lnTo>
                  <a:cubicBezTo>
                    <a:pt x="305" y="858"/>
                    <a:pt x="302" y="858"/>
                    <a:pt x="299" y="773"/>
                  </a:cubicBezTo>
                  <a:lnTo>
                    <a:pt x="294" y="569"/>
                  </a:lnTo>
                  <a:lnTo>
                    <a:pt x="302" y="498"/>
                  </a:lnTo>
                  <a:lnTo>
                    <a:pt x="286" y="416"/>
                  </a:lnTo>
                  <a:lnTo>
                    <a:pt x="294" y="397"/>
                  </a:lnTo>
                  <a:lnTo>
                    <a:pt x="278" y="363"/>
                  </a:lnTo>
                  <a:lnTo>
                    <a:pt x="286" y="339"/>
                  </a:lnTo>
                  <a:lnTo>
                    <a:pt x="286" y="334"/>
                  </a:lnTo>
                  <a:cubicBezTo>
                    <a:pt x="286" y="286"/>
                    <a:pt x="207" y="249"/>
                    <a:pt x="45" y="220"/>
                  </a:cubicBezTo>
                  <a:cubicBezTo>
                    <a:pt x="24" y="225"/>
                    <a:pt x="11" y="236"/>
                    <a:pt x="0" y="249"/>
                  </a:cubicBezTo>
                  <a:lnTo>
                    <a:pt x="0" y="260"/>
                  </a:lnTo>
                  <a:cubicBezTo>
                    <a:pt x="29" y="260"/>
                    <a:pt x="53" y="474"/>
                    <a:pt x="74" y="906"/>
                  </a:cubicBezTo>
                  <a:cubicBezTo>
                    <a:pt x="74" y="993"/>
                    <a:pt x="93" y="1049"/>
                    <a:pt x="133" y="1073"/>
                  </a:cubicBezTo>
                  <a:cubicBezTo>
                    <a:pt x="170" y="1115"/>
                    <a:pt x="215" y="1139"/>
                    <a:pt x="273" y="1139"/>
                  </a:cubicBezTo>
                  <a:lnTo>
                    <a:pt x="302" y="1139"/>
                  </a:lnTo>
                  <a:lnTo>
                    <a:pt x="305" y="1136"/>
                  </a:lnTo>
                  <a:cubicBezTo>
                    <a:pt x="305" y="1136"/>
                    <a:pt x="307" y="1134"/>
                    <a:pt x="342" y="1054"/>
                  </a:cubicBezTo>
                  <a:lnTo>
                    <a:pt x="432" y="848"/>
                  </a:lnTo>
                  <a:cubicBezTo>
                    <a:pt x="516" y="667"/>
                    <a:pt x="569" y="564"/>
                    <a:pt x="593" y="540"/>
                  </a:cubicBezTo>
                  <a:cubicBezTo>
                    <a:pt x="620" y="474"/>
                    <a:pt x="641" y="440"/>
                    <a:pt x="652" y="434"/>
                  </a:cubicBezTo>
                  <a:lnTo>
                    <a:pt x="654" y="434"/>
                  </a:lnTo>
                  <a:cubicBezTo>
                    <a:pt x="654" y="434"/>
                    <a:pt x="657" y="434"/>
                    <a:pt x="712" y="36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9" name="Freeform: Shape 5"/>
            <p:cNvSpPr/>
            <p:nvPr/>
          </p:nvSpPr>
          <p:spPr>
            <a:xfrm>
              <a:off x="2518364" y="4655961"/>
              <a:ext cx="124100" cy="201067"/>
            </a:xfrm>
            <a:custGeom>
              <a:avLst/>
              <a:gdLst/>
              <a:ahLst/>
              <a:cxnLst>
                <a:cxn ang="3cd4">
                  <a:pos x="hc" y="t"/>
                </a:cxn>
                <a:cxn ang="cd2">
                  <a:pos x="l" y="vc"/>
                </a:cxn>
                <a:cxn ang="cd4">
                  <a:pos x="hc" y="b"/>
                </a:cxn>
                <a:cxn ang="0">
                  <a:pos x="r" y="vc"/>
                </a:cxn>
              </a:cxnLst>
              <a:rect l="l" t="t" r="r" b="b"/>
              <a:pathLst>
                <a:path w="654" h="1059">
                  <a:moveTo>
                    <a:pt x="337" y="53"/>
                  </a:moveTo>
                  <a:cubicBezTo>
                    <a:pt x="276" y="108"/>
                    <a:pt x="233" y="167"/>
                    <a:pt x="204" y="230"/>
                  </a:cubicBezTo>
                  <a:lnTo>
                    <a:pt x="201" y="233"/>
                  </a:lnTo>
                  <a:cubicBezTo>
                    <a:pt x="201" y="233"/>
                    <a:pt x="199" y="236"/>
                    <a:pt x="183" y="262"/>
                  </a:cubicBezTo>
                  <a:lnTo>
                    <a:pt x="125" y="368"/>
                  </a:lnTo>
                  <a:cubicBezTo>
                    <a:pt x="43" y="564"/>
                    <a:pt x="0" y="710"/>
                    <a:pt x="0" y="808"/>
                  </a:cubicBezTo>
                  <a:lnTo>
                    <a:pt x="0" y="826"/>
                  </a:lnTo>
                  <a:cubicBezTo>
                    <a:pt x="0" y="861"/>
                    <a:pt x="21" y="900"/>
                    <a:pt x="66" y="945"/>
                  </a:cubicBezTo>
                  <a:cubicBezTo>
                    <a:pt x="109" y="1019"/>
                    <a:pt x="159" y="1059"/>
                    <a:pt x="220" y="1059"/>
                  </a:cubicBezTo>
                  <a:cubicBezTo>
                    <a:pt x="268" y="1049"/>
                    <a:pt x="294" y="1038"/>
                    <a:pt x="294" y="1030"/>
                  </a:cubicBezTo>
                  <a:cubicBezTo>
                    <a:pt x="339" y="998"/>
                    <a:pt x="360" y="977"/>
                    <a:pt x="360" y="964"/>
                  </a:cubicBezTo>
                  <a:cubicBezTo>
                    <a:pt x="432" y="874"/>
                    <a:pt x="477" y="800"/>
                    <a:pt x="501" y="739"/>
                  </a:cubicBezTo>
                  <a:lnTo>
                    <a:pt x="501" y="733"/>
                  </a:lnTo>
                  <a:lnTo>
                    <a:pt x="485" y="720"/>
                  </a:lnTo>
                  <a:lnTo>
                    <a:pt x="469" y="733"/>
                  </a:lnTo>
                  <a:cubicBezTo>
                    <a:pt x="392" y="845"/>
                    <a:pt x="310" y="924"/>
                    <a:pt x="220" y="972"/>
                  </a:cubicBezTo>
                  <a:cubicBezTo>
                    <a:pt x="204" y="972"/>
                    <a:pt x="191" y="961"/>
                    <a:pt x="183" y="943"/>
                  </a:cubicBezTo>
                  <a:cubicBezTo>
                    <a:pt x="183" y="813"/>
                    <a:pt x="233" y="641"/>
                    <a:pt x="331" y="421"/>
                  </a:cubicBezTo>
                  <a:lnTo>
                    <a:pt x="382" y="424"/>
                  </a:lnTo>
                  <a:cubicBezTo>
                    <a:pt x="382" y="424"/>
                    <a:pt x="411" y="426"/>
                    <a:pt x="440" y="416"/>
                  </a:cubicBezTo>
                  <a:lnTo>
                    <a:pt x="530" y="379"/>
                  </a:lnTo>
                  <a:cubicBezTo>
                    <a:pt x="588" y="349"/>
                    <a:pt x="628" y="299"/>
                    <a:pt x="654" y="230"/>
                  </a:cubicBezTo>
                  <a:lnTo>
                    <a:pt x="654" y="159"/>
                  </a:lnTo>
                  <a:cubicBezTo>
                    <a:pt x="646" y="111"/>
                    <a:pt x="577" y="58"/>
                    <a:pt x="448" y="0"/>
                  </a:cubicBezTo>
                  <a:lnTo>
                    <a:pt x="411" y="0"/>
                  </a:lnTo>
                  <a:close/>
                  <a:moveTo>
                    <a:pt x="374" y="349"/>
                  </a:moveTo>
                  <a:cubicBezTo>
                    <a:pt x="453" y="244"/>
                    <a:pt x="506" y="191"/>
                    <a:pt x="535" y="191"/>
                  </a:cubicBezTo>
                  <a:lnTo>
                    <a:pt x="543" y="191"/>
                  </a:lnTo>
                  <a:lnTo>
                    <a:pt x="551" y="196"/>
                  </a:lnTo>
                  <a:cubicBezTo>
                    <a:pt x="498" y="310"/>
                    <a:pt x="448" y="368"/>
                    <a:pt x="405" y="368"/>
                  </a:cubicBezTo>
                  <a:lnTo>
                    <a:pt x="376" y="355"/>
                  </a:lnTo>
                  <a:lnTo>
                    <a:pt x="376" y="3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0" name="Freeform: Shape 6"/>
            <p:cNvSpPr/>
            <p:nvPr/>
          </p:nvSpPr>
          <p:spPr>
            <a:xfrm>
              <a:off x="1741460" y="4718683"/>
              <a:ext cx="122009" cy="137213"/>
            </a:xfrm>
            <a:custGeom>
              <a:avLst/>
              <a:gdLst/>
              <a:ahLst/>
              <a:cxnLst>
                <a:cxn ang="3cd4">
                  <a:pos x="hc" y="t"/>
                </a:cxn>
                <a:cxn ang="cd2">
                  <a:pos x="l" y="vc"/>
                </a:cxn>
                <a:cxn ang="cd4">
                  <a:pos x="hc" y="b"/>
                </a:cxn>
                <a:cxn ang="0">
                  <a:pos x="r" y="vc"/>
                </a:cxn>
              </a:cxnLst>
              <a:rect l="l" t="t" r="r" b="b"/>
              <a:pathLst>
                <a:path w="643" h="723">
                  <a:moveTo>
                    <a:pt x="495" y="442"/>
                  </a:moveTo>
                  <a:cubicBezTo>
                    <a:pt x="490" y="495"/>
                    <a:pt x="455" y="598"/>
                    <a:pt x="339" y="598"/>
                  </a:cubicBezTo>
                  <a:cubicBezTo>
                    <a:pt x="233" y="598"/>
                    <a:pt x="151" y="522"/>
                    <a:pt x="151" y="363"/>
                  </a:cubicBezTo>
                  <a:cubicBezTo>
                    <a:pt x="151" y="220"/>
                    <a:pt x="222" y="127"/>
                    <a:pt x="339" y="127"/>
                  </a:cubicBezTo>
                  <a:cubicBezTo>
                    <a:pt x="434" y="127"/>
                    <a:pt x="482" y="199"/>
                    <a:pt x="490" y="249"/>
                  </a:cubicBezTo>
                  <a:lnTo>
                    <a:pt x="635" y="249"/>
                  </a:lnTo>
                  <a:cubicBezTo>
                    <a:pt x="627" y="161"/>
                    <a:pt x="559" y="0"/>
                    <a:pt x="339" y="0"/>
                  </a:cubicBezTo>
                  <a:cubicBezTo>
                    <a:pt x="130" y="0"/>
                    <a:pt x="0" y="156"/>
                    <a:pt x="0" y="360"/>
                  </a:cubicBezTo>
                  <a:cubicBezTo>
                    <a:pt x="0" y="577"/>
                    <a:pt x="140" y="723"/>
                    <a:pt x="339" y="723"/>
                  </a:cubicBezTo>
                  <a:cubicBezTo>
                    <a:pt x="566" y="723"/>
                    <a:pt x="638" y="537"/>
                    <a:pt x="643" y="439"/>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 name="Freeform: Shape 7"/>
            <p:cNvSpPr/>
            <p:nvPr/>
          </p:nvSpPr>
          <p:spPr>
            <a:xfrm>
              <a:off x="1876199" y="4721714"/>
              <a:ext cx="27556" cy="23375"/>
            </a:xfrm>
            <a:custGeom>
              <a:avLst/>
              <a:gdLst/>
              <a:ahLst/>
              <a:cxnLst>
                <a:cxn ang="3cd4">
                  <a:pos x="hc" y="t"/>
                </a:cxn>
                <a:cxn ang="cd2">
                  <a:pos x="l" y="vc"/>
                </a:cxn>
                <a:cxn ang="cd4">
                  <a:pos x="hc" y="b"/>
                </a:cxn>
                <a:cxn ang="0">
                  <a:pos x="r" y="vc"/>
                </a:cxn>
              </a:cxnLst>
              <a:rect l="l" t="t" r="r" b="b"/>
              <a:pathLst>
                <a:path w="146" h="124">
                  <a:moveTo>
                    <a:pt x="73" y="124"/>
                  </a:moveTo>
                  <a:lnTo>
                    <a:pt x="0" y="124"/>
                  </a:lnTo>
                  <a:lnTo>
                    <a:pt x="0" y="0"/>
                  </a:lnTo>
                  <a:lnTo>
                    <a:pt x="146" y="0"/>
                  </a:lnTo>
                  <a:lnTo>
                    <a:pt x="146" y="12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2" name="Freeform: Shape 8"/>
            <p:cNvSpPr/>
            <p:nvPr/>
          </p:nvSpPr>
          <p:spPr>
            <a:xfrm>
              <a:off x="1876202" y="4757823"/>
              <a:ext cx="27556" cy="95022"/>
            </a:xfrm>
            <a:custGeom>
              <a:avLst/>
              <a:gdLst/>
              <a:ahLst/>
              <a:cxnLst>
                <a:cxn ang="3cd4">
                  <a:pos x="hc" y="t"/>
                </a:cxn>
                <a:cxn ang="cd2">
                  <a:pos x="l" y="vc"/>
                </a:cxn>
                <a:cxn ang="cd4">
                  <a:pos x="hc" y="b"/>
                </a:cxn>
                <a:cxn ang="0">
                  <a:pos x="r" y="vc"/>
                </a:cxn>
              </a:cxnLst>
              <a:rect l="l" t="t" r="r" b="b"/>
              <a:pathLst>
                <a:path w="146" h="501">
                  <a:moveTo>
                    <a:pt x="73" y="501"/>
                  </a:moveTo>
                  <a:lnTo>
                    <a:pt x="0" y="501"/>
                  </a:lnTo>
                  <a:lnTo>
                    <a:pt x="0" y="0"/>
                  </a:lnTo>
                  <a:lnTo>
                    <a:pt x="146" y="0"/>
                  </a:lnTo>
                  <a:lnTo>
                    <a:pt x="146" y="50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Shape 9"/>
            <p:cNvSpPr/>
            <p:nvPr/>
          </p:nvSpPr>
          <p:spPr>
            <a:xfrm>
              <a:off x="1914967" y="4755352"/>
              <a:ext cx="90461" cy="100533"/>
            </a:xfrm>
            <a:custGeom>
              <a:avLst/>
              <a:gdLst/>
              <a:ahLst/>
              <a:cxnLst>
                <a:cxn ang="3cd4">
                  <a:pos x="hc" y="t"/>
                </a:cxn>
                <a:cxn ang="cd2">
                  <a:pos x="l" y="vc"/>
                </a:cxn>
                <a:cxn ang="cd4">
                  <a:pos x="hc" y="b"/>
                </a:cxn>
                <a:cxn ang="0">
                  <a:pos x="r" y="vc"/>
                </a:cxn>
              </a:cxnLst>
              <a:rect l="l" t="t" r="r" b="b"/>
              <a:pathLst>
                <a:path w="477" h="530">
                  <a:moveTo>
                    <a:pt x="16" y="146"/>
                  </a:moveTo>
                  <a:cubicBezTo>
                    <a:pt x="16" y="252"/>
                    <a:pt x="109" y="284"/>
                    <a:pt x="162" y="297"/>
                  </a:cubicBezTo>
                  <a:cubicBezTo>
                    <a:pt x="175" y="299"/>
                    <a:pt x="212" y="310"/>
                    <a:pt x="225" y="313"/>
                  </a:cubicBezTo>
                  <a:cubicBezTo>
                    <a:pt x="278" y="326"/>
                    <a:pt x="326" y="337"/>
                    <a:pt x="326" y="379"/>
                  </a:cubicBezTo>
                  <a:cubicBezTo>
                    <a:pt x="326" y="408"/>
                    <a:pt x="294" y="432"/>
                    <a:pt x="236" y="432"/>
                  </a:cubicBezTo>
                  <a:cubicBezTo>
                    <a:pt x="178" y="432"/>
                    <a:pt x="143" y="403"/>
                    <a:pt x="138" y="352"/>
                  </a:cubicBezTo>
                  <a:lnTo>
                    <a:pt x="0" y="352"/>
                  </a:lnTo>
                  <a:cubicBezTo>
                    <a:pt x="6" y="405"/>
                    <a:pt x="35" y="530"/>
                    <a:pt x="236" y="530"/>
                  </a:cubicBezTo>
                  <a:cubicBezTo>
                    <a:pt x="424" y="530"/>
                    <a:pt x="477" y="427"/>
                    <a:pt x="477" y="368"/>
                  </a:cubicBezTo>
                  <a:cubicBezTo>
                    <a:pt x="477" y="302"/>
                    <a:pt x="435" y="246"/>
                    <a:pt x="310" y="215"/>
                  </a:cubicBezTo>
                  <a:cubicBezTo>
                    <a:pt x="302" y="212"/>
                    <a:pt x="262" y="204"/>
                    <a:pt x="247" y="199"/>
                  </a:cubicBezTo>
                  <a:cubicBezTo>
                    <a:pt x="183" y="183"/>
                    <a:pt x="165" y="172"/>
                    <a:pt x="165" y="141"/>
                  </a:cubicBezTo>
                  <a:cubicBezTo>
                    <a:pt x="165" y="111"/>
                    <a:pt x="196" y="98"/>
                    <a:pt x="231" y="98"/>
                  </a:cubicBezTo>
                  <a:cubicBezTo>
                    <a:pt x="310" y="98"/>
                    <a:pt x="326" y="138"/>
                    <a:pt x="326" y="162"/>
                  </a:cubicBezTo>
                  <a:lnTo>
                    <a:pt x="464" y="162"/>
                  </a:lnTo>
                  <a:cubicBezTo>
                    <a:pt x="464" y="109"/>
                    <a:pt x="427" y="0"/>
                    <a:pt x="231" y="0"/>
                  </a:cubicBezTo>
                  <a:cubicBezTo>
                    <a:pt x="74" y="0"/>
                    <a:pt x="16" y="80"/>
                    <a:pt x="16" y="146"/>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Shape 10"/>
            <p:cNvSpPr/>
            <p:nvPr/>
          </p:nvSpPr>
          <p:spPr>
            <a:xfrm>
              <a:off x="2012082" y="4755353"/>
              <a:ext cx="97493" cy="100533"/>
            </a:xfrm>
            <a:custGeom>
              <a:avLst/>
              <a:gdLst/>
              <a:ahLst/>
              <a:cxnLst>
                <a:cxn ang="3cd4">
                  <a:pos x="hc" y="t"/>
                </a:cxn>
                <a:cxn ang="cd2">
                  <a:pos x="l" y="vc"/>
                </a:cxn>
                <a:cxn ang="cd4">
                  <a:pos x="hc" y="b"/>
                </a:cxn>
                <a:cxn ang="0">
                  <a:pos x="r" y="vc"/>
                </a:cxn>
              </a:cxnLst>
              <a:rect l="l" t="t" r="r" b="b"/>
              <a:pathLst>
                <a:path w="514" h="530">
                  <a:moveTo>
                    <a:pt x="376" y="331"/>
                  </a:moveTo>
                  <a:cubicBezTo>
                    <a:pt x="366" y="379"/>
                    <a:pt x="334" y="424"/>
                    <a:pt x="270" y="424"/>
                  </a:cubicBezTo>
                  <a:cubicBezTo>
                    <a:pt x="191" y="424"/>
                    <a:pt x="151" y="355"/>
                    <a:pt x="151" y="265"/>
                  </a:cubicBezTo>
                  <a:cubicBezTo>
                    <a:pt x="151" y="196"/>
                    <a:pt x="178" y="103"/>
                    <a:pt x="270" y="103"/>
                  </a:cubicBezTo>
                  <a:cubicBezTo>
                    <a:pt x="329" y="103"/>
                    <a:pt x="363" y="143"/>
                    <a:pt x="371" y="188"/>
                  </a:cubicBezTo>
                  <a:lnTo>
                    <a:pt x="511" y="188"/>
                  </a:lnTo>
                  <a:cubicBezTo>
                    <a:pt x="503" y="109"/>
                    <a:pt x="445" y="0"/>
                    <a:pt x="268" y="0"/>
                  </a:cubicBezTo>
                  <a:cubicBezTo>
                    <a:pt x="112" y="0"/>
                    <a:pt x="0" y="103"/>
                    <a:pt x="0" y="265"/>
                  </a:cubicBezTo>
                  <a:cubicBezTo>
                    <a:pt x="0" y="427"/>
                    <a:pt x="109" y="530"/>
                    <a:pt x="268" y="530"/>
                  </a:cubicBezTo>
                  <a:cubicBezTo>
                    <a:pt x="453" y="530"/>
                    <a:pt x="506" y="413"/>
                    <a:pt x="514" y="334"/>
                  </a:cubicBezTo>
                  <a:lnTo>
                    <a:pt x="376" y="3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Shape 11"/>
            <p:cNvSpPr/>
            <p:nvPr/>
          </p:nvSpPr>
          <p:spPr>
            <a:xfrm>
              <a:off x="2117744" y="4755338"/>
              <a:ext cx="101104" cy="100533"/>
            </a:xfrm>
            <a:custGeom>
              <a:avLst/>
              <a:gdLst/>
              <a:ahLst/>
              <a:cxnLst>
                <a:cxn ang="3cd4">
                  <a:pos x="hc" y="t"/>
                </a:cxn>
                <a:cxn ang="cd2">
                  <a:pos x="l" y="vc"/>
                </a:cxn>
                <a:cxn ang="cd4">
                  <a:pos x="hc" y="b"/>
                </a:cxn>
                <a:cxn ang="0">
                  <a:pos x="r" y="vc"/>
                </a:cxn>
              </a:cxnLst>
              <a:rect l="l" t="t" r="r" b="b"/>
              <a:pathLst>
                <a:path w="533" h="530">
                  <a:moveTo>
                    <a:pt x="268" y="0"/>
                  </a:moveTo>
                  <a:cubicBezTo>
                    <a:pt x="109" y="0"/>
                    <a:pt x="0" y="103"/>
                    <a:pt x="0" y="265"/>
                  </a:cubicBezTo>
                  <a:cubicBezTo>
                    <a:pt x="0" y="427"/>
                    <a:pt x="109" y="530"/>
                    <a:pt x="268" y="530"/>
                  </a:cubicBezTo>
                  <a:cubicBezTo>
                    <a:pt x="424" y="530"/>
                    <a:pt x="533" y="429"/>
                    <a:pt x="533" y="265"/>
                  </a:cubicBezTo>
                  <a:cubicBezTo>
                    <a:pt x="533" y="98"/>
                    <a:pt x="419" y="0"/>
                    <a:pt x="268" y="0"/>
                  </a:cubicBezTo>
                  <a:close/>
                  <a:moveTo>
                    <a:pt x="265" y="424"/>
                  </a:moveTo>
                  <a:cubicBezTo>
                    <a:pt x="188" y="424"/>
                    <a:pt x="146" y="355"/>
                    <a:pt x="146" y="265"/>
                  </a:cubicBezTo>
                  <a:cubicBezTo>
                    <a:pt x="149" y="196"/>
                    <a:pt x="175" y="103"/>
                    <a:pt x="265" y="103"/>
                  </a:cubicBezTo>
                  <a:cubicBezTo>
                    <a:pt x="347" y="103"/>
                    <a:pt x="382" y="183"/>
                    <a:pt x="382" y="265"/>
                  </a:cubicBezTo>
                  <a:cubicBezTo>
                    <a:pt x="382" y="347"/>
                    <a:pt x="347" y="424"/>
                    <a:pt x="265" y="42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12" name="Rectangle 11"/>
          <p:cNvSpPr/>
          <p:nvPr userDrawn="1"/>
        </p:nvSpPr>
        <p:spPr>
          <a:xfrm>
            <a:off x="410896" y="734015"/>
            <a:ext cx="4215384" cy="4801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marL="6251" indent="-6251" defTabSz="457200" eaLnBrk="0" fontAlgn="base" hangingPunct="0">
              <a:lnSpc>
                <a:spcPct val="90000"/>
              </a:lnSpc>
              <a:spcBef>
                <a:spcPct val="0"/>
              </a:spcBef>
              <a:spcAft>
                <a:spcPct val="0"/>
              </a:spcAft>
            </a:pPr>
            <a:r>
              <a:rPr lang="en-US" sz="2800" dirty="0">
                <a:solidFill>
                  <a:schemeClr val="bg1"/>
                </a:solidFill>
                <a:ea typeface="+mj-ea"/>
                <a:cs typeface="+mj-cs"/>
                <a:sym typeface="Arial" pitchFamily="34" charset="0"/>
              </a:rPr>
              <a:t>Complete Your Online </a:t>
            </a:r>
            <a:br>
              <a:rPr lang="en-US" sz="2800" dirty="0">
                <a:solidFill>
                  <a:schemeClr val="bg1"/>
                </a:solidFill>
                <a:ea typeface="+mj-ea"/>
                <a:cs typeface="+mj-cs"/>
                <a:sym typeface="Arial" pitchFamily="34" charset="0"/>
              </a:rPr>
            </a:br>
            <a:r>
              <a:rPr lang="en-US" sz="2800" dirty="0">
                <a:solidFill>
                  <a:schemeClr val="bg1"/>
                </a:solidFill>
                <a:ea typeface="+mj-ea"/>
                <a:cs typeface="+mj-cs"/>
                <a:sym typeface="Arial" pitchFamily="34" charset="0"/>
              </a:rPr>
              <a:t>Session Evaluation</a:t>
            </a:r>
          </a:p>
        </p:txBody>
      </p:sp>
      <p:sp>
        <p:nvSpPr>
          <p:cNvPr id="28" name="TextBox 27"/>
          <p:cNvSpPr txBox="1"/>
          <p:nvPr userDrawn="1"/>
        </p:nvSpPr>
        <p:spPr>
          <a:xfrm>
            <a:off x="436727" y="3790950"/>
            <a:ext cx="3754273" cy="674031"/>
          </a:xfrm>
          <a:prstGeom prst="rect">
            <a:avLst/>
          </a:prstGeom>
          <a:noFill/>
        </p:spPr>
        <p:txBody>
          <a:bodyPr wrap="square" rtlCol="0">
            <a:spAutoFit/>
          </a:bodyPr>
          <a:lstStyle/>
          <a:p>
            <a:pPr defTabSz="914400">
              <a:lnSpc>
                <a:spcPct val="90000"/>
              </a:lnSpc>
              <a:spcBef>
                <a:spcPts val="600"/>
              </a:spcBef>
              <a:defRPr/>
            </a:pPr>
            <a:r>
              <a:rPr lang="en-US" sz="1400" dirty="0">
                <a:solidFill>
                  <a:schemeClr val="bg1"/>
                </a:solidFill>
              </a:rPr>
              <a:t>Don’t forget: Cisco Live sessions will be available for viewing on demand after the event at </a:t>
            </a:r>
            <a:r>
              <a:rPr lang="en-US" sz="1400" dirty="0">
                <a:solidFill>
                  <a:schemeClr val="bg1"/>
                </a:solidFill>
                <a:hlinkClick r:id="rId4"/>
              </a:rPr>
              <a:t>www.</a:t>
            </a:r>
            <a:r>
              <a:rPr lang="en-US" sz="1400" u="sng" dirty="0">
                <a:solidFill>
                  <a:schemeClr val="accent1"/>
                </a:solidFill>
                <a:hlinkClick r:id="rId4"/>
              </a:rPr>
              <a:t>CiscoLive.com/Global</a:t>
            </a:r>
            <a:r>
              <a:rPr lang="en-US" sz="1400" dirty="0">
                <a:solidFill>
                  <a:schemeClr val="bg1"/>
                </a:solidFill>
              </a:rPr>
              <a:t>.</a:t>
            </a:r>
            <a:endParaRPr lang="en-US" sz="1400" dirty="0">
              <a:solidFill>
                <a:schemeClr val="bg1"/>
              </a:solidFill>
              <a:ea typeface="ＭＳ Ｐゴシック" charset="0"/>
            </a:endParaRPr>
          </a:p>
        </p:txBody>
      </p:sp>
    </p:spTree>
    <p:extLst>
      <p:ext uri="{BB962C8B-B14F-4D97-AF65-F5344CB8AC3E}">
        <p14:creationId xmlns:p14="http://schemas.microsoft.com/office/powerpoint/2010/main" val="282998775"/>
      </p:ext>
    </p:extLst>
  </p:cSld>
  <p:clrMapOvr>
    <a:masterClrMapping/>
  </p:clrMapOv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8742" t="14280" r="44733" b="3050"/>
          <a:stretch/>
        </p:blipFill>
        <p:spPr>
          <a:xfrm rot="5400000">
            <a:off x="1998980" y="-2000251"/>
            <a:ext cx="5146037" cy="9144001"/>
          </a:xfrm>
          <a:prstGeom prst="rect">
            <a:avLst/>
          </a:prstGeom>
        </p:spPr>
      </p:pic>
      <p:grpSp>
        <p:nvGrpSpPr>
          <p:cNvPr id="12" name="Group 11"/>
          <p:cNvGrpSpPr/>
          <p:nvPr userDrawn="1"/>
        </p:nvGrpSpPr>
        <p:grpSpPr>
          <a:xfrm>
            <a:off x="410080" y="399299"/>
            <a:ext cx="792595" cy="419316"/>
            <a:chOff x="3133800" y="2372040"/>
            <a:chExt cx="514440" cy="272160"/>
          </a:xfrm>
          <a:solidFill>
            <a:schemeClr val="bg1"/>
          </a:solidFill>
        </p:grpSpPr>
        <p:sp>
          <p:nvSpPr>
            <p:cNvPr id="13" name="Freeform: Shape 38"/>
            <p:cNvSpPr/>
            <p:nvPr/>
          </p:nvSpPr>
          <p:spPr>
            <a:xfrm>
              <a:off x="3279600" y="2552040"/>
              <a:ext cx="22680" cy="89280"/>
            </a:xfrm>
            <a:custGeom>
              <a:avLst/>
              <a:gdLst/>
              <a:ahLst/>
              <a:cxnLst>
                <a:cxn ang="3cd4">
                  <a:pos x="hc" y="t"/>
                </a:cxn>
                <a:cxn ang="cd2">
                  <a:pos x="l" y="vc"/>
                </a:cxn>
                <a:cxn ang="cd4">
                  <a:pos x="hc" y="b"/>
                </a:cxn>
                <a:cxn ang="0">
                  <a:pos x="r" y="vc"/>
                </a:cxn>
              </a:cxnLst>
              <a:rect l="l" t="t" r="r" b="b"/>
              <a:pathLst>
                <a:path w="64" h="249">
                  <a:moveTo>
                    <a:pt x="32" y="249"/>
                  </a:moveTo>
                  <a:lnTo>
                    <a:pt x="0" y="249"/>
                  </a:lnTo>
                  <a:lnTo>
                    <a:pt x="0" y="0"/>
                  </a:lnTo>
                  <a:lnTo>
                    <a:pt x="64" y="0"/>
                  </a:lnTo>
                  <a:lnTo>
                    <a:pt x="64" y="2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4" name="Freeform: Shape 39"/>
            <p:cNvSpPr/>
            <p:nvPr/>
          </p:nvSpPr>
          <p:spPr>
            <a:xfrm>
              <a:off x="3416040" y="2550960"/>
              <a:ext cx="68400" cy="93240"/>
            </a:xfrm>
            <a:custGeom>
              <a:avLst/>
              <a:gdLst/>
              <a:ahLst/>
              <a:cxnLst>
                <a:cxn ang="3cd4">
                  <a:pos x="hc" y="t"/>
                </a:cxn>
                <a:cxn ang="cd2">
                  <a:pos x="l" y="vc"/>
                </a:cxn>
                <a:cxn ang="cd4">
                  <a:pos x="hc" y="b"/>
                </a:cxn>
                <a:cxn ang="0">
                  <a:pos x="r" y="vc"/>
                </a:cxn>
              </a:cxnLst>
              <a:rect l="l" t="t" r="r" b="b"/>
              <a:pathLst>
                <a:path w="191" h="260">
                  <a:moveTo>
                    <a:pt x="191" y="8"/>
                  </a:moveTo>
                  <a:cubicBezTo>
                    <a:pt x="185" y="6"/>
                    <a:pt x="164" y="0"/>
                    <a:pt x="132" y="0"/>
                  </a:cubicBezTo>
                  <a:cubicBezTo>
                    <a:pt x="56" y="0"/>
                    <a:pt x="0" y="56"/>
                    <a:pt x="0" y="130"/>
                  </a:cubicBezTo>
                  <a:cubicBezTo>
                    <a:pt x="0" y="210"/>
                    <a:pt x="61" y="260"/>
                    <a:pt x="132" y="260"/>
                  </a:cubicBezTo>
                  <a:cubicBezTo>
                    <a:pt x="161" y="260"/>
                    <a:pt x="183" y="252"/>
                    <a:pt x="191" y="252"/>
                  </a:cubicBezTo>
                  <a:lnTo>
                    <a:pt x="191" y="186"/>
                  </a:lnTo>
                  <a:cubicBezTo>
                    <a:pt x="188" y="188"/>
                    <a:pt x="167" y="199"/>
                    <a:pt x="138" y="199"/>
                  </a:cubicBezTo>
                  <a:cubicBezTo>
                    <a:pt x="95" y="199"/>
                    <a:pt x="69" y="170"/>
                    <a:pt x="69" y="133"/>
                  </a:cubicBezTo>
                  <a:cubicBezTo>
                    <a:pt x="69" y="96"/>
                    <a:pt x="98" y="67"/>
                    <a:pt x="138" y="67"/>
                  </a:cubicBezTo>
                  <a:cubicBezTo>
                    <a:pt x="167" y="67"/>
                    <a:pt x="188" y="80"/>
                    <a:pt x="191" y="8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Shape 40"/>
            <p:cNvSpPr/>
            <p:nvPr/>
          </p:nvSpPr>
          <p:spPr>
            <a:xfrm>
              <a:off x="3180600" y="2550960"/>
              <a:ext cx="68400" cy="93240"/>
            </a:xfrm>
            <a:custGeom>
              <a:avLst/>
              <a:gdLst/>
              <a:ahLst/>
              <a:cxnLst>
                <a:cxn ang="3cd4">
                  <a:pos x="hc" y="t"/>
                </a:cxn>
                <a:cxn ang="cd2">
                  <a:pos x="l" y="vc"/>
                </a:cxn>
                <a:cxn ang="cd4">
                  <a:pos x="hc" y="b"/>
                </a:cxn>
                <a:cxn ang="0">
                  <a:pos x="r" y="vc"/>
                </a:cxn>
              </a:cxnLst>
              <a:rect l="l" t="t" r="r" b="b"/>
              <a:pathLst>
                <a:path w="191" h="260">
                  <a:moveTo>
                    <a:pt x="191" y="8"/>
                  </a:moveTo>
                  <a:cubicBezTo>
                    <a:pt x="185" y="6"/>
                    <a:pt x="164" y="0"/>
                    <a:pt x="132" y="0"/>
                  </a:cubicBezTo>
                  <a:cubicBezTo>
                    <a:pt x="55" y="0"/>
                    <a:pt x="0" y="56"/>
                    <a:pt x="0" y="130"/>
                  </a:cubicBezTo>
                  <a:cubicBezTo>
                    <a:pt x="0" y="210"/>
                    <a:pt x="61" y="260"/>
                    <a:pt x="132" y="260"/>
                  </a:cubicBezTo>
                  <a:cubicBezTo>
                    <a:pt x="161" y="260"/>
                    <a:pt x="183" y="252"/>
                    <a:pt x="191" y="252"/>
                  </a:cubicBezTo>
                  <a:lnTo>
                    <a:pt x="191" y="186"/>
                  </a:lnTo>
                  <a:cubicBezTo>
                    <a:pt x="188" y="188"/>
                    <a:pt x="167" y="199"/>
                    <a:pt x="138" y="199"/>
                  </a:cubicBezTo>
                  <a:cubicBezTo>
                    <a:pt x="95" y="199"/>
                    <a:pt x="69" y="170"/>
                    <a:pt x="69" y="133"/>
                  </a:cubicBezTo>
                  <a:cubicBezTo>
                    <a:pt x="69" y="96"/>
                    <a:pt x="98" y="67"/>
                    <a:pt x="138" y="67"/>
                  </a:cubicBezTo>
                  <a:cubicBezTo>
                    <a:pt x="167" y="67"/>
                    <a:pt x="188" y="80"/>
                    <a:pt x="191" y="8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Shape 41"/>
            <p:cNvSpPr/>
            <p:nvPr/>
          </p:nvSpPr>
          <p:spPr>
            <a:xfrm>
              <a:off x="3507479" y="2550240"/>
              <a:ext cx="95040" cy="92880"/>
            </a:xfrm>
            <a:custGeom>
              <a:avLst/>
              <a:gdLst/>
              <a:ahLst/>
              <a:cxnLst>
                <a:cxn ang="3cd4">
                  <a:pos x="hc" y="t"/>
                </a:cxn>
                <a:cxn ang="cd2">
                  <a:pos x="l" y="vc"/>
                </a:cxn>
                <a:cxn ang="cd4">
                  <a:pos x="hc" y="b"/>
                </a:cxn>
                <a:cxn ang="0">
                  <a:pos x="r" y="vc"/>
                </a:cxn>
              </a:cxnLst>
              <a:rect l="l" t="t" r="r" b="b"/>
              <a:pathLst>
                <a:path w="265" h="259">
                  <a:moveTo>
                    <a:pt x="133" y="0"/>
                  </a:moveTo>
                  <a:cubicBezTo>
                    <a:pt x="56" y="0"/>
                    <a:pt x="0" y="57"/>
                    <a:pt x="0" y="129"/>
                  </a:cubicBezTo>
                  <a:cubicBezTo>
                    <a:pt x="0" y="200"/>
                    <a:pt x="56" y="259"/>
                    <a:pt x="133" y="259"/>
                  </a:cubicBezTo>
                  <a:cubicBezTo>
                    <a:pt x="209" y="259"/>
                    <a:pt x="265" y="200"/>
                    <a:pt x="265" y="129"/>
                  </a:cubicBezTo>
                  <a:cubicBezTo>
                    <a:pt x="265" y="57"/>
                    <a:pt x="209" y="0"/>
                    <a:pt x="133" y="0"/>
                  </a:cubicBezTo>
                  <a:close/>
                  <a:moveTo>
                    <a:pt x="133" y="198"/>
                  </a:moveTo>
                  <a:cubicBezTo>
                    <a:pt x="95" y="198"/>
                    <a:pt x="69" y="169"/>
                    <a:pt x="69" y="132"/>
                  </a:cubicBezTo>
                  <a:cubicBezTo>
                    <a:pt x="69" y="95"/>
                    <a:pt x="95" y="66"/>
                    <a:pt x="133" y="66"/>
                  </a:cubicBezTo>
                  <a:cubicBezTo>
                    <a:pt x="170" y="66"/>
                    <a:pt x="196" y="95"/>
                    <a:pt x="196" y="132"/>
                  </a:cubicBezTo>
                  <a:cubicBezTo>
                    <a:pt x="196" y="169"/>
                    <a:pt x="170" y="198"/>
                    <a:pt x="133" y="19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Shape 42"/>
            <p:cNvSpPr/>
            <p:nvPr/>
          </p:nvSpPr>
          <p:spPr>
            <a:xfrm>
              <a:off x="3333240" y="2550960"/>
              <a:ext cx="62280" cy="93240"/>
            </a:xfrm>
            <a:custGeom>
              <a:avLst/>
              <a:gdLst/>
              <a:ahLst/>
              <a:cxnLst>
                <a:cxn ang="3cd4">
                  <a:pos x="hc" y="t"/>
                </a:cxn>
                <a:cxn ang="cd2">
                  <a:pos x="l" y="vc"/>
                </a:cxn>
                <a:cxn ang="cd4">
                  <a:pos x="hc" y="b"/>
                </a:cxn>
                <a:cxn ang="0">
                  <a:pos x="r" y="vc"/>
                </a:cxn>
              </a:cxnLst>
              <a:rect l="l" t="t" r="r" b="b"/>
              <a:pathLst>
                <a:path w="174" h="260">
                  <a:moveTo>
                    <a:pt x="92" y="0"/>
                  </a:moveTo>
                  <a:cubicBezTo>
                    <a:pt x="34" y="0"/>
                    <a:pt x="0" y="32"/>
                    <a:pt x="0" y="77"/>
                  </a:cubicBezTo>
                  <a:cubicBezTo>
                    <a:pt x="0" y="120"/>
                    <a:pt x="29" y="138"/>
                    <a:pt x="63" y="149"/>
                  </a:cubicBezTo>
                  <a:cubicBezTo>
                    <a:pt x="66" y="149"/>
                    <a:pt x="74" y="151"/>
                    <a:pt x="76" y="154"/>
                  </a:cubicBezTo>
                  <a:cubicBezTo>
                    <a:pt x="92" y="159"/>
                    <a:pt x="105" y="167"/>
                    <a:pt x="105" y="178"/>
                  </a:cubicBezTo>
                  <a:cubicBezTo>
                    <a:pt x="105" y="191"/>
                    <a:pt x="92" y="202"/>
                    <a:pt x="60" y="202"/>
                  </a:cubicBezTo>
                  <a:cubicBezTo>
                    <a:pt x="34" y="202"/>
                    <a:pt x="8" y="194"/>
                    <a:pt x="2" y="194"/>
                  </a:cubicBezTo>
                  <a:lnTo>
                    <a:pt x="2" y="252"/>
                  </a:lnTo>
                  <a:cubicBezTo>
                    <a:pt x="5" y="252"/>
                    <a:pt x="37" y="260"/>
                    <a:pt x="71" y="260"/>
                  </a:cubicBezTo>
                  <a:cubicBezTo>
                    <a:pt x="119" y="260"/>
                    <a:pt x="174" y="239"/>
                    <a:pt x="174" y="178"/>
                  </a:cubicBezTo>
                  <a:cubicBezTo>
                    <a:pt x="174" y="149"/>
                    <a:pt x="156" y="120"/>
                    <a:pt x="116" y="106"/>
                  </a:cubicBezTo>
                  <a:lnTo>
                    <a:pt x="98" y="101"/>
                  </a:lnTo>
                  <a:cubicBezTo>
                    <a:pt x="87" y="98"/>
                    <a:pt x="68" y="93"/>
                    <a:pt x="68" y="77"/>
                  </a:cubicBezTo>
                  <a:cubicBezTo>
                    <a:pt x="68" y="64"/>
                    <a:pt x="82" y="56"/>
                    <a:pt x="108" y="56"/>
                  </a:cubicBezTo>
                  <a:cubicBezTo>
                    <a:pt x="129" y="56"/>
                    <a:pt x="156" y="64"/>
                    <a:pt x="158" y="64"/>
                  </a:cubicBezTo>
                  <a:lnTo>
                    <a:pt x="158" y="8"/>
                  </a:lnTo>
                  <a:lnTo>
                    <a:pt x="153" y="8"/>
                  </a:lnTo>
                  <a:cubicBezTo>
                    <a:pt x="150" y="8"/>
                    <a:pt x="121" y="0"/>
                    <a:pt x="92"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Shape 43"/>
            <p:cNvSpPr/>
            <p:nvPr/>
          </p:nvSpPr>
          <p:spPr>
            <a:xfrm>
              <a:off x="3133800" y="2445120"/>
              <a:ext cx="22680" cy="46440"/>
            </a:xfrm>
            <a:custGeom>
              <a:avLst/>
              <a:gdLst/>
              <a:ahLst/>
              <a:cxnLst>
                <a:cxn ang="3cd4">
                  <a:pos x="hc" y="t"/>
                </a:cxn>
                <a:cxn ang="cd2">
                  <a:pos x="l" y="vc"/>
                </a:cxn>
                <a:cxn ang="cd4">
                  <a:pos x="hc" y="b"/>
                </a:cxn>
                <a:cxn ang="0">
                  <a:pos x="r" y="vc"/>
                </a:cxn>
              </a:cxnLst>
              <a:rect l="l" t="t" r="r" b="b"/>
              <a:pathLst>
                <a:path w="64" h="130">
                  <a:moveTo>
                    <a:pt x="64" y="32"/>
                  </a:moveTo>
                  <a:cubicBezTo>
                    <a:pt x="64" y="16"/>
                    <a:pt x="50" y="0"/>
                    <a:pt x="32" y="0"/>
                  </a:cubicBezTo>
                  <a:cubicBezTo>
                    <a:pt x="16" y="0"/>
                    <a:pt x="0" y="14"/>
                    <a:pt x="0" y="32"/>
                  </a:cubicBezTo>
                  <a:lnTo>
                    <a:pt x="0" y="98"/>
                  </a:lnTo>
                  <a:cubicBezTo>
                    <a:pt x="0" y="117"/>
                    <a:pt x="13" y="130"/>
                    <a:pt x="32" y="130"/>
                  </a:cubicBezTo>
                  <a:cubicBezTo>
                    <a:pt x="48" y="130"/>
                    <a:pt x="64" y="117"/>
                    <a:pt x="64" y="9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9" name="Freeform: Shape 44"/>
            <p:cNvSpPr/>
            <p:nvPr/>
          </p:nvSpPr>
          <p:spPr>
            <a:xfrm>
              <a:off x="3195720" y="2413800"/>
              <a:ext cx="22680" cy="77040"/>
            </a:xfrm>
            <a:custGeom>
              <a:avLst/>
              <a:gdLst/>
              <a:ahLst/>
              <a:cxnLst>
                <a:cxn ang="3cd4">
                  <a:pos x="hc" y="t"/>
                </a:cxn>
                <a:cxn ang="cd2">
                  <a:pos x="l" y="vc"/>
                </a:cxn>
                <a:cxn ang="cd4">
                  <a:pos x="hc" y="b"/>
                </a:cxn>
                <a:cxn ang="0">
                  <a:pos x="r" y="vc"/>
                </a:cxn>
              </a:cxnLst>
              <a:rect l="l" t="t" r="r" b="b"/>
              <a:pathLst>
                <a:path w="64" h="215">
                  <a:moveTo>
                    <a:pt x="64" y="32"/>
                  </a:moveTo>
                  <a:cubicBezTo>
                    <a:pt x="64" y="16"/>
                    <a:pt x="51" y="0"/>
                    <a:pt x="32" y="0"/>
                  </a:cubicBezTo>
                  <a:cubicBezTo>
                    <a:pt x="16" y="0"/>
                    <a:pt x="0" y="13"/>
                    <a:pt x="0" y="32"/>
                  </a:cubicBezTo>
                  <a:lnTo>
                    <a:pt x="0" y="183"/>
                  </a:lnTo>
                  <a:cubicBezTo>
                    <a:pt x="0" y="201"/>
                    <a:pt x="13" y="215"/>
                    <a:pt x="32" y="215"/>
                  </a:cubicBezTo>
                  <a:cubicBezTo>
                    <a:pt x="48" y="215"/>
                    <a:pt x="64" y="201"/>
                    <a:pt x="64" y="18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0" name="Freeform: Shape 45"/>
            <p:cNvSpPr/>
            <p:nvPr/>
          </p:nvSpPr>
          <p:spPr>
            <a:xfrm>
              <a:off x="3256919" y="2372040"/>
              <a:ext cx="22320" cy="141480"/>
            </a:xfrm>
            <a:custGeom>
              <a:avLst/>
              <a:gdLst/>
              <a:ahLst/>
              <a:cxnLst>
                <a:cxn ang="3cd4">
                  <a:pos x="hc" y="t"/>
                </a:cxn>
                <a:cxn ang="cd2">
                  <a:pos x="l" y="vc"/>
                </a:cxn>
                <a:cxn ang="cd4">
                  <a:pos x="hc" y="b"/>
                </a:cxn>
                <a:cxn ang="0">
                  <a:pos x="r" y="vc"/>
                </a:cxn>
              </a:cxnLst>
              <a:rect l="l" t="t" r="r" b="b"/>
              <a:pathLst>
                <a:path w="63" h="394">
                  <a:moveTo>
                    <a:pt x="63" y="31"/>
                  </a:moveTo>
                  <a:cubicBezTo>
                    <a:pt x="63" y="15"/>
                    <a:pt x="50" y="0"/>
                    <a:pt x="31" y="0"/>
                  </a:cubicBezTo>
                  <a:cubicBezTo>
                    <a:pt x="16" y="0"/>
                    <a:pt x="0" y="13"/>
                    <a:pt x="0" y="31"/>
                  </a:cubicBezTo>
                  <a:lnTo>
                    <a:pt x="0" y="362"/>
                  </a:lnTo>
                  <a:cubicBezTo>
                    <a:pt x="0" y="381"/>
                    <a:pt x="13" y="394"/>
                    <a:pt x="31" y="394"/>
                  </a:cubicBezTo>
                  <a:cubicBezTo>
                    <a:pt x="47" y="394"/>
                    <a:pt x="63" y="381"/>
                    <a:pt x="63" y="36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 name="Freeform: Shape 46"/>
            <p:cNvSpPr/>
            <p:nvPr/>
          </p:nvSpPr>
          <p:spPr>
            <a:xfrm>
              <a:off x="3318840" y="2413800"/>
              <a:ext cx="22320" cy="77040"/>
            </a:xfrm>
            <a:custGeom>
              <a:avLst/>
              <a:gdLst/>
              <a:ahLst/>
              <a:cxnLst>
                <a:cxn ang="3cd4">
                  <a:pos x="hc" y="t"/>
                </a:cxn>
                <a:cxn ang="cd2">
                  <a:pos x="l" y="vc"/>
                </a:cxn>
                <a:cxn ang="cd4">
                  <a:pos x="hc" y="b"/>
                </a:cxn>
                <a:cxn ang="0">
                  <a:pos x="r" y="vc"/>
                </a:cxn>
              </a:cxnLst>
              <a:rect l="l" t="t" r="r" b="b"/>
              <a:pathLst>
                <a:path w="63" h="215">
                  <a:moveTo>
                    <a:pt x="63" y="32"/>
                  </a:moveTo>
                  <a:cubicBezTo>
                    <a:pt x="63" y="16"/>
                    <a:pt x="50" y="0"/>
                    <a:pt x="32" y="0"/>
                  </a:cubicBezTo>
                  <a:cubicBezTo>
                    <a:pt x="16" y="0"/>
                    <a:pt x="0" y="13"/>
                    <a:pt x="0" y="32"/>
                  </a:cubicBezTo>
                  <a:lnTo>
                    <a:pt x="0" y="183"/>
                  </a:lnTo>
                  <a:cubicBezTo>
                    <a:pt x="0" y="201"/>
                    <a:pt x="13" y="215"/>
                    <a:pt x="32" y="215"/>
                  </a:cubicBezTo>
                  <a:cubicBezTo>
                    <a:pt x="48" y="215"/>
                    <a:pt x="63" y="201"/>
                    <a:pt x="63" y="18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2" name="Freeform: Shape 47"/>
            <p:cNvSpPr/>
            <p:nvPr/>
          </p:nvSpPr>
          <p:spPr>
            <a:xfrm>
              <a:off x="3379680" y="2445120"/>
              <a:ext cx="22680" cy="46440"/>
            </a:xfrm>
            <a:custGeom>
              <a:avLst/>
              <a:gdLst/>
              <a:ahLst/>
              <a:cxnLst>
                <a:cxn ang="3cd4">
                  <a:pos x="hc" y="t"/>
                </a:cxn>
                <a:cxn ang="cd2">
                  <a:pos x="l" y="vc"/>
                </a:cxn>
                <a:cxn ang="cd4">
                  <a:pos x="hc" y="b"/>
                </a:cxn>
                <a:cxn ang="0">
                  <a:pos x="r" y="vc"/>
                </a:cxn>
              </a:cxnLst>
              <a:rect l="l" t="t" r="r" b="b"/>
              <a:pathLst>
                <a:path w="64" h="130">
                  <a:moveTo>
                    <a:pt x="64" y="32"/>
                  </a:moveTo>
                  <a:cubicBezTo>
                    <a:pt x="64" y="16"/>
                    <a:pt x="51" y="0"/>
                    <a:pt x="32" y="0"/>
                  </a:cubicBezTo>
                  <a:cubicBezTo>
                    <a:pt x="16" y="0"/>
                    <a:pt x="0" y="14"/>
                    <a:pt x="0" y="32"/>
                  </a:cubicBezTo>
                  <a:lnTo>
                    <a:pt x="0" y="98"/>
                  </a:lnTo>
                  <a:cubicBezTo>
                    <a:pt x="0" y="117"/>
                    <a:pt x="14" y="130"/>
                    <a:pt x="32" y="130"/>
                  </a:cubicBezTo>
                  <a:cubicBezTo>
                    <a:pt x="48" y="130"/>
                    <a:pt x="64" y="117"/>
                    <a:pt x="64" y="9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Shape 48"/>
            <p:cNvSpPr/>
            <p:nvPr/>
          </p:nvSpPr>
          <p:spPr>
            <a:xfrm>
              <a:off x="3441600" y="2413800"/>
              <a:ext cx="22680" cy="77040"/>
            </a:xfrm>
            <a:custGeom>
              <a:avLst/>
              <a:gdLst/>
              <a:ahLst/>
              <a:cxnLst>
                <a:cxn ang="3cd4">
                  <a:pos x="hc" y="t"/>
                </a:cxn>
                <a:cxn ang="cd2">
                  <a:pos x="l" y="vc"/>
                </a:cxn>
                <a:cxn ang="cd4">
                  <a:pos x="hc" y="b"/>
                </a:cxn>
                <a:cxn ang="0">
                  <a:pos x="r" y="vc"/>
                </a:cxn>
              </a:cxnLst>
              <a:rect l="l" t="t" r="r" b="b"/>
              <a:pathLst>
                <a:path w="64" h="215">
                  <a:moveTo>
                    <a:pt x="64" y="32"/>
                  </a:moveTo>
                  <a:cubicBezTo>
                    <a:pt x="64" y="16"/>
                    <a:pt x="51" y="0"/>
                    <a:pt x="32" y="0"/>
                  </a:cubicBezTo>
                  <a:cubicBezTo>
                    <a:pt x="16" y="0"/>
                    <a:pt x="0" y="13"/>
                    <a:pt x="0" y="32"/>
                  </a:cubicBezTo>
                  <a:lnTo>
                    <a:pt x="0" y="183"/>
                  </a:lnTo>
                  <a:cubicBezTo>
                    <a:pt x="0" y="201"/>
                    <a:pt x="14" y="215"/>
                    <a:pt x="32" y="215"/>
                  </a:cubicBezTo>
                  <a:cubicBezTo>
                    <a:pt x="48" y="215"/>
                    <a:pt x="64" y="201"/>
                    <a:pt x="64" y="18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Shape 49"/>
            <p:cNvSpPr/>
            <p:nvPr/>
          </p:nvSpPr>
          <p:spPr>
            <a:xfrm>
              <a:off x="3502799" y="2372040"/>
              <a:ext cx="22320" cy="141480"/>
            </a:xfrm>
            <a:custGeom>
              <a:avLst/>
              <a:gdLst/>
              <a:ahLst/>
              <a:cxnLst>
                <a:cxn ang="3cd4">
                  <a:pos x="hc" y="t"/>
                </a:cxn>
                <a:cxn ang="cd2">
                  <a:pos x="l" y="vc"/>
                </a:cxn>
                <a:cxn ang="cd4">
                  <a:pos x="hc" y="b"/>
                </a:cxn>
                <a:cxn ang="0">
                  <a:pos x="r" y="vc"/>
                </a:cxn>
              </a:cxnLst>
              <a:rect l="l" t="t" r="r" b="b"/>
              <a:pathLst>
                <a:path w="63" h="394">
                  <a:moveTo>
                    <a:pt x="63" y="31"/>
                  </a:moveTo>
                  <a:cubicBezTo>
                    <a:pt x="63" y="15"/>
                    <a:pt x="50" y="0"/>
                    <a:pt x="32" y="0"/>
                  </a:cubicBezTo>
                  <a:cubicBezTo>
                    <a:pt x="13" y="0"/>
                    <a:pt x="0" y="13"/>
                    <a:pt x="0" y="31"/>
                  </a:cubicBezTo>
                  <a:lnTo>
                    <a:pt x="0" y="362"/>
                  </a:lnTo>
                  <a:cubicBezTo>
                    <a:pt x="0" y="381"/>
                    <a:pt x="13" y="394"/>
                    <a:pt x="32" y="394"/>
                  </a:cubicBezTo>
                  <a:cubicBezTo>
                    <a:pt x="50" y="394"/>
                    <a:pt x="63" y="381"/>
                    <a:pt x="63" y="36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Shape 50"/>
            <p:cNvSpPr/>
            <p:nvPr/>
          </p:nvSpPr>
          <p:spPr>
            <a:xfrm>
              <a:off x="3564720" y="2413800"/>
              <a:ext cx="22680" cy="77040"/>
            </a:xfrm>
            <a:custGeom>
              <a:avLst/>
              <a:gdLst/>
              <a:ahLst/>
              <a:cxnLst>
                <a:cxn ang="3cd4">
                  <a:pos x="hc" y="t"/>
                </a:cxn>
                <a:cxn ang="cd2">
                  <a:pos x="l" y="vc"/>
                </a:cxn>
                <a:cxn ang="cd4">
                  <a:pos x="hc" y="b"/>
                </a:cxn>
                <a:cxn ang="0">
                  <a:pos x="r" y="vc"/>
                </a:cxn>
              </a:cxnLst>
              <a:rect l="l" t="t" r="r" b="b"/>
              <a:pathLst>
                <a:path w="64" h="215">
                  <a:moveTo>
                    <a:pt x="64" y="32"/>
                  </a:moveTo>
                  <a:cubicBezTo>
                    <a:pt x="64" y="16"/>
                    <a:pt x="50" y="0"/>
                    <a:pt x="32" y="0"/>
                  </a:cubicBezTo>
                  <a:cubicBezTo>
                    <a:pt x="16" y="0"/>
                    <a:pt x="0" y="13"/>
                    <a:pt x="0" y="32"/>
                  </a:cubicBezTo>
                  <a:lnTo>
                    <a:pt x="0" y="183"/>
                  </a:lnTo>
                  <a:cubicBezTo>
                    <a:pt x="0" y="201"/>
                    <a:pt x="13" y="215"/>
                    <a:pt x="32" y="215"/>
                  </a:cubicBezTo>
                  <a:cubicBezTo>
                    <a:pt x="50" y="215"/>
                    <a:pt x="64" y="201"/>
                    <a:pt x="64" y="18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6" name="Freeform: Shape 51"/>
            <p:cNvSpPr/>
            <p:nvPr/>
          </p:nvSpPr>
          <p:spPr>
            <a:xfrm>
              <a:off x="3625560" y="2445120"/>
              <a:ext cx="22680" cy="46440"/>
            </a:xfrm>
            <a:custGeom>
              <a:avLst/>
              <a:gdLst/>
              <a:ahLst/>
              <a:cxnLst>
                <a:cxn ang="3cd4">
                  <a:pos x="hc" y="t"/>
                </a:cxn>
                <a:cxn ang="cd2">
                  <a:pos x="l" y="vc"/>
                </a:cxn>
                <a:cxn ang="cd4">
                  <a:pos x="hc" y="b"/>
                </a:cxn>
                <a:cxn ang="0">
                  <a:pos x="r" y="vc"/>
                </a:cxn>
              </a:cxnLst>
              <a:rect l="l" t="t" r="r" b="b"/>
              <a:pathLst>
                <a:path w="64" h="130">
                  <a:moveTo>
                    <a:pt x="64" y="32"/>
                  </a:moveTo>
                  <a:cubicBezTo>
                    <a:pt x="64" y="16"/>
                    <a:pt x="51" y="0"/>
                    <a:pt x="32" y="0"/>
                  </a:cubicBezTo>
                  <a:cubicBezTo>
                    <a:pt x="16" y="0"/>
                    <a:pt x="0" y="14"/>
                    <a:pt x="0" y="32"/>
                  </a:cubicBezTo>
                  <a:lnTo>
                    <a:pt x="0" y="98"/>
                  </a:lnTo>
                  <a:cubicBezTo>
                    <a:pt x="0" y="117"/>
                    <a:pt x="14" y="130"/>
                    <a:pt x="32" y="130"/>
                  </a:cubicBezTo>
                  <a:cubicBezTo>
                    <a:pt x="48" y="130"/>
                    <a:pt x="64" y="117"/>
                    <a:pt x="64" y="9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7" name="Title 1"/>
          <p:cNvSpPr txBox="1">
            <a:spLocks/>
          </p:cNvSpPr>
          <p:nvPr userDrawn="1"/>
        </p:nvSpPr>
        <p:spPr>
          <a:xfrm>
            <a:off x="5474241" y="2786875"/>
            <a:ext cx="2935468" cy="1000213"/>
          </a:xfrm>
          <a:prstGeom prst="rect">
            <a:avLst/>
          </a:prstGeom>
        </p:spPr>
        <p:txBody>
          <a:bodyPr anchor="ctr"/>
          <a:lstStyle>
            <a:lvl1pPr marL="6251" indent="-6251" algn="l" rtl="0" eaLnBrk="1" fontAlgn="base" hangingPunct="1">
              <a:lnSpc>
                <a:spcPct val="90000"/>
              </a:lnSpc>
              <a:spcBef>
                <a:spcPct val="0"/>
              </a:spcBef>
              <a:spcAft>
                <a:spcPct val="0"/>
              </a:spcAft>
              <a:defRPr lang="en-US" sz="2800" b="0" kern="1200" dirty="0" smtClean="0">
                <a:solidFill>
                  <a:schemeClr val="tx1"/>
                </a:solidFill>
                <a:latin typeface="+mj-lt"/>
                <a:ea typeface="+mj-ea"/>
                <a:cs typeface="+mj-cs"/>
                <a:sym typeface="Arial" pitchFamily="34" charset="0"/>
              </a:defRPr>
            </a:lvl1pPr>
            <a:lvl2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algn="ctr"/>
            <a:r>
              <a:rPr lang="en-US" sz="4000" dirty="0">
                <a:solidFill>
                  <a:schemeClr val="bg1"/>
                </a:solidFill>
              </a:rPr>
              <a:t>Thank you</a:t>
            </a:r>
          </a:p>
        </p:txBody>
      </p:sp>
      <p:sp>
        <p:nvSpPr>
          <p:cNvPr id="8"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rPr>
              <a:pPr/>
              <a:t>‹#›</a:t>
            </a:fld>
            <a:endParaRPr dirty="0">
              <a:solidFill>
                <a:srgbClr val="FFFFFF">
                  <a:alpha val="60000"/>
                </a:srgbClr>
              </a:solidFill>
            </a:endParaRPr>
          </a:p>
        </p:txBody>
      </p:sp>
      <p:grpSp>
        <p:nvGrpSpPr>
          <p:cNvPr id="28" name="Group 27"/>
          <p:cNvGrpSpPr/>
          <p:nvPr userDrawn="1"/>
        </p:nvGrpSpPr>
        <p:grpSpPr>
          <a:xfrm>
            <a:off x="454861" y="4785454"/>
            <a:ext cx="820227" cy="274319"/>
            <a:chOff x="1741456" y="4513412"/>
            <a:chExt cx="1027381" cy="343600"/>
          </a:xfrm>
          <a:solidFill>
            <a:schemeClr val="bg1"/>
          </a:solidFill>
        </p:grpSpPr>
        <p:sp>
          <p:nvSpPr>
            <p:cNvPr id="29" name="Freeform: Shape 1"/>
            <p:cNvSpPr/>
            <p:nvPr/>
          </p:nvSpPr>
          <p:spPr>
            <a:xfrm>
              <a:off x="2624973" y="4513412"/>
              <a:ext cx="143864" cy="343030"/>
            </a:xfrm>
            <a:custGeom>
              <a:avLst/>
              <a:gdLst/>
              <a:ahLst/>
              <a:cxnLst>
                <a:cxn ang="3cd4">
                  <a:pos x="hc" y="t"/>
                </a:cxn>
                <a:cxn ang="cd2">
                  <a:pos x="l" y="vc"/>
                </a:cxn>
                <a:cxn ang="cd4">
                  <a:pos x="hc" y="b"/>
                </a:cxn>
                <a:cxn ang="0">
                  <a:pos x="r" y="vc"/>
                </a:cxn>
              </a:cxnLst>
              <a:rect l="l" t="t" r="r" b="b"/>
              <a:pathLst>
                <a:path w="758" h="1806">
                  <a:moveTo>
                    <a:pt x="242" y="829"/>
                  </a:moveTo>
                  <a:cubicBezTo>
                    <a:pt x="215" y="896"/>
                    <a:pt x="204" y="941"/>
                    <a:pt x="204" y="964"/>
                  </a:cubicBezTo>
                  <a:cubicBezTo>
                    <a:pt x="183" y="999"/>
                    <a:pt x="175" y="1070"/>
                    <a:pt x="175" y="1097"/>
                  </a:cubicBezTo>
                  <a:lnTo>
                    <a:pt x="175" y="1129"/>
                  </a:lnTo>
                  <a:lnTo>
                    <a:pt x="223" y="1208"/>
                  </a:lnTo>
                  <a:cubicBezTo>
                    <a:pt x="250" y="1245"/>
                    <a:pt x="218" y="1258"/>
                    <a:pt x="292" y="1282"/>
                  </a:cubicBezTo>
                  <a:cubicBezTo>
                    <a:pt x="318" y="1282"/>
                    <a:pt x="340" y="1261"/>
                    <a:pt x="353" y="1221"/>
                  </a:cubicBezTo>
                  <a:lnTo>
                    <a:pt x="353" y="1208"/>
                  </a:lnTo>
                  <a:cubicBezTo>
                    <a:pt x="353" y="1113"/>
                    <a:pt x="387" y="978"/>
                    <a:pt x="419" y="888"/>
                  </a:cubicBezTo>
                  <a:cubicBezTo>
                    <a:pt x="419" y="845"/>
                    <a:pt x="456" y="718"/>
                    <a:pt x="588" y="406"/>
                  </a:cubicBezTo>
                  <a:cubicBezTo>
                    <a:pt x="588" y="371"/>
                    <a:pt x="618" y="308"/>
                    <a:pt x="678" y="210"/>
                  </a:cubicBezTo>
                  <a:cubicBezTo>
                    <a:pt x="729" y="125"/>
                    <a:pt x="742" y="138"/>
                    <a:pt x="758" y="128"/>
                  </a:cubicBezTo>
                  <a:lnTo>
                    <a:pt x="758" y="80"/>
                  </a:lnTo>
                  <a:lnTo>
                    <a:pt x="739" y="61"/>
                  </a:lnTo>
                  <a:cubicBezTo>
                    <a:pt x="739" y="61"/>
                    <a:pt x="721" y="43"/>
                    <a:pt x="671" y="22"/>
                  </a:cubicBezTo>
                  <a:cubicBezTo>
                    <a:pt x="671" y="22"/>
                    <a:pt x="620" y="0"/>
                    <a:pt x="604" y="0"/>
                  </a:cubicBezTo>
                  <a:cubicBezTo>
                    <a:pt x="588" y="0"/>
                    <a:pt x="557" y="32"/>
                    <a:pt x="530" y="93"/>
                  </a:cubicBezTo>
                  <a:close/>
                  <a:moveTo>
                    <a:pt x="14" y="1738"/>
                  </a:moveTo>
                  <a:cubicBezTo>
                    <a:pt x="14" y="1772"/>
                    <a:pt x="-18" y="1783"/>
                    <a:pt x="16" y="1806"/>
                  </a:cubicBezTo>
                  <a:lnTo>
                    <a:pt x="77" y="1806"/>
                  </a:lnTo>
                  <a:cubicBezTo>
                    <a:pt x="144" y="1775"/>
                    <a:pt x="167" y="1716"/>
                    <a:pt x="252" y="1528"/>
                  </a:cubicBezTo>
                  <a:lnTo>
                    <a:pt x="252" y="1486"/>
                  </a:lnTo>
                  <a:cubicBezTo>
                    <a:pt x="252" y="1460"/>
                    <a:pt x="273" y="1446"/>
                    <a:pt x="218" y="1412"/>
                  </a:cubicBezTo>
                  <a:lnTo>
                    <a:pt x="202" y="1412"/>
                  </a:lnTo>
                  <a:cubicBezTo>
                    <a:pt x="93" y="1409"/>
                    <a:pt x="67" y="1465"/>
                    <a:pt x="14" y="168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0" name="Freeform: Shape 2"/>
            <p:cNvSpPr/>
            <p:nvPr/>
          </p:nvSpPr>
          <p:spPr>
            <a:xfrm>
              <a:off x="2244124" y="4551801"/>
              <a:ext cx="81339" cy="304261"/>
            </a:xfrm>
            <a:custGeom>
              <a:avLst/>
              <a:gdLst/>
              <a:ahLst/>
              <a:cxnLst>
                <a:cxn ang="3cd4">
                  <a:pos x="hc" y="t"/>
                </a:cxn>
                <a:cxn ang="cd2">
                  <a:pos x="l" y="vc"/>
                </a:cxn>
                <a:cxn ang="cd4">
                  <a:pos x="hc" y="b"/>
                </a:cxn>
                <a:cxn ang="0">
                  <a:pos x="r" y="vc"/>
                </a:cxn>
              </a:cxnLst>
              <a:rect l="l" t="t" r="r" b="b"/>
              <a:pathLst>
                <a:path w="429" h="1602">
                  <a:moveTo>
                    <a:pt x="244" y="1533"/>
                  </a:moveTo>
                  <a:cubicBezTo>
                    <a:pt x="209" y="1533"/>
                    <a:pt x="199" y="1483"/>
                    <a:pt x="183" y="1329"/>
                  </a:cubicBezTo>
                  <a:cubicBezTo>
                    <a:pt x="201" y="1064"/>
                    <a:pt x="223" y="884"/>
                    <a:pt x="241" y="789"/>
                  </a:cubicBezTo>
                  <a:cubicBezTo>
                    <a:pt x="323" y="384"/>
                    <a:pt x="307" y="458"/>
                    <a:pt x="366" y="320"/>
                  </a:cubicBezTo>
                  <a:cubicBezTo>
                    <a:pt x="424" y="180"/>
                    <a:pt x="429" y="161"/>
                    <a:pt x="429" y="119"/>
                  </a:cubicBezTo>
                  <a:cubicBezTo>
                    <a:pt x="429" y="71"/>
                    <a:pt x="376" y="32"/>
                    <a:pt x="268" y="0"/>
                  </a:cubicBezTo>
                  <a:lnTo>
                    <a:pt x="260" y="0"/>
                  </a:lnTo>
                  <a:lnTo>
                    <a:pt x="257" y="2"/>
                  </a:lnTo>
                  <a:cubicBezTo>
                    <a:pt x="257" y="2"/>
                    <a:pt x="254" y="5"/>
                    <a:pt x="241" y="63"/>
                  </a:cubicBezTo>
                  <a:lnTo>
                    <a:pt x="209" y="201"/>
                  </a:lnTo>
                  <a:cubicBezTo>
                    <a:pt x="130" y="535"/>
                    <a:pt x="127" y="564"/>
                    <a:pt x="109" y="614"/>
                  </a:cubicBezTo>
                  <a:cubicBezTo>
                    <a:pt x="-8" y="1138"/>
                    <a:pt x="0" y="1213"/>
                    <a:pt x="0" y="1340"/>
                  </a:cubicBezTo>
                  <a:cubicBezTo>
                    <a:pt x="5" y="1385"/>
                    <a:pt x="27" y="1432"/>
                    <a:pt x="66" y="1483"/>
                  </a:cubicBezTo>
                  <a:cubicBezTo>
                    <a:pt x="146" y="1562"/>
                    <a:pt x="212" y="1602"/>
                    <a:pt x="257" y="160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1" name="Freeform: Shape 3"/>
            <p:cNvSpPr/>
            <p:nvPr/>
          </p:nvSpPr>
          <p:spPr>
            <a:xfrm>
              <a:off x="2307789" y="4611664"/>
              <a:ext cx="82479" cy="244587"/>
            </a:xfrm>
            <a:custGeom>
              <a:avLst/>
              <a:gdLst/>
              <a:ahLst/>
              <a:cxnLst>
                <a:cxn ang="3cd4">
                  <a:pos x="hc" y="t"/>
                </a:cxn>
                <a:cxn ang="cd2">
                  <a:pos x="l" y="vc"/>
                </a:cxn>
                <a:cxn ang="cd4">
                  <a:pos x="hc" y="b"/>
                </a:cxn>
                <a:cxn ang="0">
                  <a:pos x="r" y="vc"/>
                </a:cxn>
              </a:cxnLst>
              <a:rect l="l" t="t" r="r" b="b"/>
              <a:pathLst>
                <a:path w="435" h="1288">
                  <a:moveTo>
                    <a:pt x="270" y="204"/>
                  </a:moveTo>
                  <a:lnTo>
                    <a:pt x="294" y="212"/>
                  </a:lnTo>
                  <a:cubicBezTo>
                    <a:pt x="331" y="206"/>
                    <a:pt x="379" y="164"/>
                    <a:pt x="435" y="82"/>
                  </a:cubicBezTo>
                  <a:lnTo>
                    <a:pt x="432" y="71"/>
                  </a:lnTo>
                  <a:cubicBezTo>
                    <a:pt x="429" y="45"/>
                    <a:pt x="395" y="21"/>
                    <a:pt x="329" y="0"/>
                  </a:cubicBezTo>
                  <a:lnTo>
                    <a:pt x="321" y="0"/>
                  </a:lnTo>
                  <a:cubicBezTo>
                    <a:pt x="302" y="3"/>
                    <a:pt x="284" y="69"/>
                    <a:pt x="270" y="204"/>
                  </a:cubicBezTo>
                  <a:close/>
                  <a:moveTo>
                    <a:pt x="210" y="1218"/>
                  </a:moveTo>
                  <a:lnTo>
                    <a:pt x="199" y="1189"/>
                  </a:lnTo>
                  <a:cubicBezTo>
                    <a:pt x="194" y="1048"/>
                    <a:pt x="194" y="956"/>
                    <a:pt x="204" y="913"/>
                  </a:cubicBezTo>
                  <a:lnTo>
                    <a:pt x="194" y="884"/>
                  </a:lnTo>
                  <a:cubicBezTo>
                    <a:pt x="191" y="829"/>
                    <a:pt x="196" y="800"/>
                    <a:pt x="207" y="800"/>
                  </a:cubicBezTo>
                  <a:cubicBezTo>
                    <a:pt x="220" y="712"/>
                    <a:pt x="236" y="662"/>
                    <a:pt x="249" y="651"/>
                  </a:cubicBezTo>
                  <a:cubicBezTo>
                    <a:pt x="255" y="590"/>
                    <a:pt x="286" y="511"/>
                    <a:pt x="347" y="413"/>
                  </a:cubicBezTo>
                  <a:cubicBezTo>
                    <a:pt x="345" y="381"/>
                    <a:pt x="281" y="341"/>
                    <a:pt x="165" y="291"/>
                  </a:cubicBezTo>
                  <a:cubicBezTo>
                    <a:pt x="133" y="294"/>
                    <a:pt x="106" y="360"/>
                    <a:pt x="82" y="484"/>
                  </a:cubicBezTo>
                  <a:cubicBezTo>
                    <a:pt x="16" y="768"/>
                    <a:pt x="-10" y="969"/>
                    <a:pt x="3" y="1086"/>
                  </a:cubicBezTo>
                  <a:cubicBezTo>
                    <a:pt x="14" y="1168"/>
                    <a:pt x="24" y="1207"/>
                    <a:pt x="40" y="1207"/>
                  </a:cubicBezTo>
                  <a:cubicBezTo>
                    <a:pt x="96" y="1268"/>
                    <a:pt x="157" y="1295"/>
                    <a:pt x="225" y="128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2" name="Freeform: Shape 4"/>
            <p:cNvSpPr/>
            <p:nvPr/>
          </p:nvSpPr>
          <p:spPr>
            <a:xfrm>
              <a:off x="2387038" y="4639791"/>
              <a:ext cx="173891" cy="216270"/>
            </a:xfrm>
            <a:custGeom>
              <a:avLst/>
              <a:gdLst/>
              <a:ahLst/>
              <a:cxnLst>
                <a:cxn ang="3cd4">
                  <a:pos x="hc" y="t"/>
                </a:cxn>
                <a:cxn ang="cd2">
                  <a:pos x="l" y="vc"/>
                </a:cxn>
                <a:cxn ang="cd4">
                  <a:pos x="hc" y="b"/>
                </a:cxn>
                <a:cxn ang="0">
                  <a:pos x="r" y="vc"/>
                </a:cxn>
              </a:cxnLst>
              <a:rect l="l" t="t" r="r" b="b"/>
              <a:pathLst>
                <a:path w="916" h="1139">
                  <a:moveTo>
                    <a:pt x="871" y="172"/>
                  </a:moveTo>
                  <a:cubicBezTo>
                    <a:pt x="900" y="141"/>
                    <a:pt x="916" y="114"/>
                    <a:pt x="916" y="95"/>
                  </a:cubicBezTo>
                  <a:cubicBezTo>
                    <a:pt x="916" y="37"/>
                    <a:pt x="892" y="5"/>
                    <a:pt x="795" y="0"/>
                  </a:cubicBezTo>
                  <a:cubicBezTo>
                    <a:pt x="773" y="0"/>
                    <a:pt x="736" y="35"/>
                    <a:pt x="683" y="106"/>
                  </a:cubicBezTo>
                  <a:cubicBezTo>
                    <a:pt x="644" y="252"/>
                    <a:pt x="599" y="350"/>
                    <a:pt x="543" y="403"/>
                  </a:cubicBezTo>
                  <a:cubicBezTo>
                    <a:pt x="456" y="596"/>
                    <a:pt x="389" y="723"/>
                    <a:pt x="344" y="781"/>
                  </a:cubicBezTo>
                  <a:cubicBezTo>
                    <a:pt x="331" y="832"/>
                    <a:pt x="318" y="858"/>
                    <a:pt x="307" y="858"/>
                  </a:cubicBezTo>
                  <a:lnTo>
                    <a:pt x="305" y="858"/>
                  </a:lnTo>
                  <a:cubicBezTo>
                    <a:pt x="305" y="858"/>
                    <a:pt x="302" y="858"/>
                    <a:pt x="299" y="773"/>
                  </a:cubicBezTo>
                  <a:lnTo>
                    <a:pt x="294" y="569"/>
                  </a:lnTo>
                  <a:lnTo>
                    <a:pt x="302" y="498"/>
                  </a:lnTo>
                  <a:lnTo>
                    <a:pt x="286" y="416"/>
                  </a:lnTo>
                  <a:lnTo>
                    <a:pt x="294" y="397"/>
                  </a:lnTo>
                  <a:lnTo>
                    <a:pt x="278" y="363"/>
                  </a:lnTo>
                  <a:lnTo>
                    <a:pt x="286" y="339"/>
                  </a:lnTo>
                  <a:lnTo>
                    <a:pt x="286" y="334"/>
                  </a:lnTo>
                  <a:cubicBezTo>
                    <a:pt x="286" y="286"/>
                    <a:pt x="207" y="249"/>
                    <a:pt x="45" y="220"/>
                  </a:cubicBezTo>
                  <a:cubicBezTo>
                    <a:pt x="24" y="225"/>
                    <a:pt x="11" y="236"/>
                    <a:pt x="0" y="249"/>
                  </a:cubicBezTo>
                  <a:lnTo>
                    <a:pt x="0" y="260"/>
                  </a:lnTo>
                  <a:cubicBezTo>
                    <a:pt x="29" y="260"/>
                    <a:pt x="53" y="474"/>
                    <a:pt x="74" y="906"/>
                  </a:cubicBezTo>
                  <a:cubicBezTo>
                    <a:pt x="74" y="993"/>
                    <a:pt x="93" y="1049"/>
                    <a:pt x="133" y="1073"/>
                  </a:cubicBezTo>
                  <a:cubicBezTo>
                    <a:pt x="170" y="1115"/>
                    <a:pt x="215" y="1139"/>
                    <a:pt x="273" y="1139"/>
                  </a:cubicBezTo>
                  <a:lnTo>
                    <a:pt x="302" y="1139"/>
                  </a:lnTo>
                  <a:lnTo>
                    <a:pt x="305" y="1136"/>
                  </a:lnTo>
                  <a:cubicBezTo>
                    <a:pt x="305" y="1136"/>
                    <a:pt x="307" y="1134"/>
                    <a:pt x="342" y="1054"/>
                  </a:cubicBezTo>
                  <a:lnTo>
                    <a:pt x="432" y="848"/>
                  </a:lnTo>
                  <a:cubicBezTo>
                    <a:pt x="516" y="667"/>
                    <a:pt x="569" y="564"/>
                    <a:pt x="593" y="540"/>
                  </a:cubicBezTo>
                  <a:cubicBezTo>
                    <a:pt x="620" y="474"/>
                    <a:pt x="641" y="440"/>
                    <a:pt x="652" y="434"/>
                  </a:cubicBezTo>
                  <a:lnTo>
                    <a:pt x="654" y="434"/>
                  </a:lnTo>
                  <a:cubicBezTo>
                    <a:pt x="654" y="434"/>
                    <a:pt x="657" y="434"/>
                    <a:pt x="712" y="36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3" name="Freeform: Shape 5"/>
            <p:cNvSpPr/>
            <p:nvPr/>
          </p:nvSpPr>
          <p:spPr>
            <a:xfrm>
              <a:off x="2518358" y="4655945"/>
              <a:ext cx="124099" cy="201067"/>
            </a:xfrm>
            <a:custGeom>
              <a:avLst/>
              <a:gdLst/>
              <a:ahLst/>
              <a:cxnLst>
                <a:cxn ang="3cd4">
                  <a:pos x="hc" y="t"/>
                </a:cxn>
                <a:cxn ang="cd2">
                  <a:pos x="l" y="vc"/>
                </a:cxn>
                <a:cxn ang="cd4">
                  <a:pos x="hc" y="b"/>
                </a:cxn>
                <a:cxn ang="0">
                  <a:pos x="r" y="vc"/>
                </a:cxn>
              </a:cxnLst>
              <a:rect l="l" t="t" r="r" b="b"/>
              <a:pathLst>
                <a:path w="654" h="1059">
                  <a:moveTo>
                    <a:pt x="337" y="53"/>
                  </a:moveTo>
                  <a:cubicBezTo>
                    <a:pt x="276" y="108"/>
                    <a:pt x="233" y="167"/>
                    <a:pt x="204" y="230"/>
                  </a:cubicBezTo>
                  <a:lnTo>
                    <a:pt x="201" y="233"/>
                  </a:lnTo>
                  <a:cubicBezTo>
                    <a:pt x="201" y="233"/>
                    <a:pt x="199" y="236"/>
                    <a:pt x="183" y="262"/>
                  </a:cubicBezTo>
                  <a:lnTo>
                    <a:pt x="125" y="368"/>
                  </a:lnTo>
                  <a:cubicBezTo>
                    <a:pt x="43" y="564"/>
                    <a:pt x="0" y="710"/>
                    <a:pt x="0" y="808"/>
                  </a:cubicBezTo>
                  <a:lnTo>
                    <a:pt x="0" y="826"/>
                  </a:lnTo>
                  <a:cubicBezTo>
                    <a:pt x="0" y="861"/>
                    <a:pt x="21" y="900"/>
                    <a:pt x="66" y="945"/>
                  </a:cubicBezTo>
                  <a:cubicBezTo>
                    <a:pt x="109" y="1019"/>
                    <a:pt x="159" y="1059"/>
                    <a:pt x="220" y="1059"/>
                  </a:cubicBezTo>
                  <a:cubicBezTo>
                    <a:pt x="268" y="1049"/>
                    <a:pt x="294" y="1038"/>
                    <a:pt x="294" y="1030"/>
                  </a:cubicBezTo>
                  <a:cubicBezTo>
                    <a:pt x="339" y="998"/>
                    <a:pt x="360" y="977"/>
                    <a:pt x="360" y="964"/>
                  </a:cubicBezTo>
                  <a:cubicBezTo>
                    <a:pt x="432" y="874"/>
                    <a:pt x="477" y="800"/>
                    <a:pt x="501" y="739"/>
                  </a:cubicBezTo>
                  <a:lnTo>
                    <a:pt x="501" y="733"/>
                  </a:lnTo>
                  <a:lnTo>
                    <a:pt x="485" y="720"/>
                  </a:lnTo>
                  <a:lnTo>
                    <a:pt x="469" y="733"/>
                  </a:lnTo>
                  <a:cubicBezTo>
                    <a:pt x="392" y="845"/>
                    <a:pt x="310" y="924"/>
                    <a:pt x="220" y="972"/>
                  </a:cubicBezTo>
                  <a:cubicBezTo>
                    <a:pt x="204" y="972"/>
                    <a:pt x="191" y="961"/>
                    <a:pt x="183" y="943"/>
                  </a:cubicBezTo>
                  <a:cubicBezTo>
                    <a:pt x="183" y="813"/>
                    <a:pt x="233" y="641"/>
                    <a:pt x="331" y="421"/>
                  </a:cubicBezTo>
                  <a:lnTo>
                    <a:pt x="382" y="424"/>
                  </a:lnTo>
                  <a:cubicBezTo>
                    <a:pt x="382" y="424"/>
                    <a:pt x="411" y="426"/>
                    <a:pt x="440" y="416"/>
                  </a:cubicBezTo>
                  <a:lnTo>
                    <a:pt x="530" y="379"/>
                  </a:lnTo>
                  <a:cubicBezTo>
                    <a:pt x="588" y="349"/>
                    <a:pt x="628" y="299"/>
                    <a:pt x="654" y="230"/>
                  </a:cubicBezTo>
                  <a:lnTo>
                    <a:pt x="654" y="159"/>
                  </a:lnTo>
                  <a:cubicBezTo>
                    <a:pt x="646" y="111"/>
                    <a:pt x="577" y="58"/>
                    <a:pt x="448" y="0"/>
                  </a:cubicBezTo>
                  <a:lnTo>
                    <a:pt x="411" y="0"/>
                  </a:lnTo>
                  <a:close/>
                  <a:moveTo>
                    <a:pt x="374" y="349"/>
                  </a:moveTo>
                  <a:cubicBezTo>
                    <a:pt x="453" y="244"/>
                    <a:pt x="506" y="191"/>
                    <a:pt x="535" y="191"/>
                  </a:cubicBezTo>
                  <a:lnTo>
                    <a:pt x="543" y="191"/>
                  </a:lnTo>
                  <a:lnTo>
                    <a:pt x="551" y="196"/>
                  </a:lnTo>
                  <a:cubicBezTo>
                    <a:pt x="498" y="310"/>
                    <a:pt x="448" y="368"/>
                    <a:pt x="405" y="368"/>
                  </a:cubicBezTo>
                  <a:lnTo>
                    <a:pt x="376" y="355"/>
                  </a:lnTo>
                  <a:lnTo>
                    <a:pt x="376" y="3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4" name="Freeform: Shape 6"/>
            <p:cNvSpPr/>
            <p:nvPr/>
          </p:nvSpPr>
          <p:spPr>
            <a:xfrm>
              <a:off x="1741456" y="4718660"/>
              <a:ext cx="122009" cy="137212"/>
            </a:xfrm>
            <a:custGeom>
              <a:avLst/>
              <a:gdLst/>
              <a:ahLst/>
              <a:cxnLst>
                <a:cxn ang="3cd4">
                  <a:pos x="hc" y="t"/>
                </a:cxn>
                <a:cxn ang="cd2">
                  <a:pos x="l" y="vc"/>
                </a:cxn>
                <a:cxn ang="cd4">
                  <a:pos x="hc" y="b"/>
                </a:cxn>
                <a:cxn ang="0">
                  <a:pos x="r" y="vc"/>
                </a:cxn>
              </a:cxnLst>
              <a:rect l="l" t="t" r="r" b="b"/>
              <a:pathLst>
                <a:path w="643" h="723">
                  <a:moveTo>
                    <a:pt x="495" y="442"/>
                  </a:moveTo>
                  <a:cubicBezTo>
                    <a:pt x="490" y="495"/>
                    <a:pt x="455" y="598"/>
                    <a:pt x="339" y="598"/>
                  </a:cubicBezTo>
                  <a:cubicBezTo>
                    <a:pt x="233" y="598"/>
                    <a:pt x="151" y="522"/>
                    <a:pt x="151" y="363"/>
                  </a:cubicBezTo>
                  <a:cubicBezTo>
                    <a:pt x="151" y="220"/>
                    <a:pt x="222" y="127"/>
                    <a:pt x="339" y="127"/>
                  </a:cubicBezTo>
                  <a:cubicBezTo>
                    <a:pt x="434" y="127"/>
                    <a:pt x="482" y="199"/>
                    <a:pt x="490" y="249"/>
                  </a:cubicBezTo>
                  <a:lnTo>
                    <a:pt x="635" y="249"/>
                  </a:lnTo>
                  <a:cubicBezTo>
                    <a:pt x="627" y="161"/>
                    <a:pt x="559" y="0"/>
                    <a:pt x="339" y="0"/>
                  </a:cubicBezTo>
                  <a:cubicBezTo>
                    <a:pt x="130" y="0"/>
                    <a:pt x="0" y="156"/>
                    <a:pt x="0" y="360"/>
                  </a:cubicBezTo>
                  <a:cubicBezTo>
                    <a:pt x="0" y="577"/>
                    <a:pt x="140" y="723"/>
                    <a:pt x="339" y="723"/>
                  </a:cubicBezTo>
                  <a:cubicBezTo>
                    <a:pt x="566" y="723"/>
                    <a:pt x="638" y="537"/>
                    <a:pt x="643" y="439"/>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5" name="Freeform: Shape 7"/>
            <p:cNvSpPr/>
            <p:nvPr/>
          </p:nvSpPr>
          <p:spPr>
            <a:xfrm>
              <a:off x="1876198" y="4721701"/>
              <a:ext cx="27556" cy="23375"/>
            </a:xfrm>
            <a:custGeom>
              <a:avLst/>
              <a:gdLst/>
              <a:ahLst/>
              <a:cxnLst>
                <a:cxn ang="3cd4">
                  <a:pos x="hc" y="t"/>
                </a:cxn>
                <a:cxn ang="cd2">
                  <a:pos x="l" y="vc"/>
                </a:cxn>
                <a:cxn ang="cd4">
                  <a:pos x="hc" y="b"/>
                </a:cxn>
                <a:cxn ang="0">
                  <a:pos x="r" y="vc"/>
                </a:cxn>
              </a:cxnLst>
              <a:rect l="l" t="t" r="r" b="b"/>
              <a:pathLst>
                <a:path w="146" h="124">
                  <a:moveTo>
                    <a:pt x="73" y="124"/>
                  </a:moveTo>
                  <a:lnTo>
                    <a:pt x="0" y="124"/>
                  </a:lnTo>
                  <a:lnTo>
                    <a:pt x="0" y="0"/>
                  </a:lnTo>
                  <a:lnTo>
                    <a:pt x="146" y="0"/>
                  </a:lnTo>
                  <a:lnTo>
                    <a:pt x="146" y="12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6" name="Freeform: Shape 8"/>
            <p:cNvSpPr/>
            <p:nvPr/>
          </p:nvSpPr>
          <p:spPr>
            <a:xfrm>
              <a:off x="1876198" y="4757809"/>
              <a:ext cx="27556" cy="95022"/>
            </a:xfrm>
            <a:custGeom>
              <a:avLst/>
              <a:gdLst/>
              <a:ahLst/>
              <a:cxnLst>
                <a:cxn ang="3cd4">
                  <a:pos x="hc" y="t"/>
                </a:cxn>
                <a:cxn ang="cd2">
                  <a:pos x="l" y="vc"/>
                </a:cxn>
                <a:cxn ang="cd4">
                  <a:pos x="hc" y="b"/>
                </a:cxn>
                <a:cxn ang="0">
                  <a:pos x="r" y="vc"/>
                </a:cxn>
              </a:cxnLst>
              <a:rect l="l" t="t" r="r" b="b"/>
              <a:pathLst>
                <a:path w="146" h="501">
                  <a:moveTo>
                    <a:pt x="73" y="501"/>
                  </a:moveTo>
                  <a:lnTo>
                    <a:pt x="0" y="501"/>
                  </a:lnTo>
                  <a:lnTo>
                    <a:pt x="0" y="0"/>
                  </a:lnTo>
                  <a:lnTo>
                    <a:pt x="146" y="0"/>
                  </a:lnTo>
                  <a:lnTo>
                    <a:pt x="146" y="501"/>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7" name="Freeform: Shape 9"/>
            <p:cNvSpPr/>
            <p:nvPr/>
          </p:nvSpPr>
          <p:spPr>
            <a:xfrm>
              <a:off x="1914967" y="4755338"/>
              <a:ext cx="90461" cy="100533"/>
            </a:xfrm>
            <a:custGeom>
              <a:avLst/>
              <a:gdLst/>
              <a:ahLst/>
              <a:cxnLst>
                <a:cxn ang="3cd4">
                  <a:pos x="hc" y="t"/>
                </a:cxn>
                <a:cxn ang="cd2">
                  <a:pos x="l" y="vc"/>
                </a:cxn>
                <a:cxn ang="cd4">
                  <a:pos x="hc" y="b"/>
                </a:cxn>
                <a:cxn ang="0">
                  <a:pos x="r" y="vc"/>
                </a:cxn>
              </a:cxnLst>
              <a:rect l="l" t="t" r="r" b="b"/>
              <a:pathLst>
                <a:path w="477" h="530">
                  <a:moveTo>
                    <a:pt x="16" y="146"/>
                  </a:moveTo>
                  <a:cubicBezTo>
                    <a:pt x="16" y="252"/>
                    <a:pt x="109" y="284"/>
                    <a:pt x="162" y="297"/>
                  </a:cubicBezTo>
                  <a:cubicBezTo>
                    <a:pt x="175" y="299"/>
                    <a:pt x="212" y="310"/>
                    <a:pt x="225" y="313"/>
                  </a:cubicBezTo>
                  <a:cubicBezTo>
                    <a:pt x="278" y="326"/>
                    <a:pt x="326" y="337"/>
                    <a:pt x="326" y="379"/>
                  </a:cubicBezTo>
                  <a:cubicBezTo>
                    <a:pt x="326" y="408"/>
                    <a:pt x="294" y="432"/>
                    <a:pt x="236" y="432"/>
                  </a:cubicBezTo>
                  <a:cubicBezTo>
                    <a:pt x="178" y="432"/>
                    <a:pt x="143" y="403"/>
                    <a:pt x="138" y="352"/>
                  </a:cubicBezTo>
                  <a:lnTo>
                    <a:pt x="0" y="352"/>
                  </a:lnTo>
                  <a:cubicBezTo>
                    <a:pt x="6" y="405"/>
                    <a:pt x="35" y="530"/>
                    <a:pt x="236" y="530"/>
                  </a:cubicBezTo>
                  <a:cubicBezTo>
                    <a:pt x="424" y="530"/>
                    <a:pt x="477" y="427"/>
                    <a:pt x="477" y="368"/>
                  </a:cubicBezTo>
                  <a:cubicBezTo>
                    <a:pt x="477" y="302"/>
                    <a:pt x="435" y="246"/>
                    <a:pt x="310" y="215"/>
                  </a:cubicBezTo>
                  <a:cubicBezTo>
                    <a:pt x="302" y="212"/>
                    <a:pt x="262" y="204"/>
                    <a:pt x="247" y="199"/>
                  </a:cubicBezTo>
                  <a:cubicBezTo>
                    <a:pt x="183" y="183"/>
                    <a:pt x="165" y="172"/>
                    <a:pt x="165" y="141"/>
                  </a:cubicBezTo>
                  <a:cubicBezTo>
                    <a:pt x="165" y="111"/>
                    <a:pt x="196" y="98"/>
                    <a:pt x="231" y="98"/>
                  </a:cubicBezTo>
                  <a:cubicBezTo>
                    <a:pt x="310" y="98"/>
                    <a:pt x="326" y="138"/>
                    <a:pt x="326" y="162"/>
                  </a:cubicBezTo>
                  <a:lnTo>
                    <a:pt x="464" y="162"/>
                  </a:lnTo>
                  <a:cubicBezTo>
                    <a:pt x="464" y="109"/>
                    <a:pt x="427" y="0"/>
                    <a:pt x="231" y="0"/>
                  </a:cubicBezTo>
                  <a:cubicBezTo>
                    <a:pt x="74" y="0"/>
                    <a:pt x="16" y="80"/>
                    <a:pt x="16" y="146"/>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8" name="Freeform: Shape 10"/>
            <p:cNvSpPr/>
            <p:nvPr/>
          </p:nvSpPr>
          <p:spPr>
            <a:xfrm>
              <a:off x="2012080" y="4755338"/>
              <a:ext cx="97493" cy="100533"/>
            </a:xfrm>
            <a:custGeom>
              <a:avLst/>
              <a:gdLst/>
              <a:ahLst/>
              <a:cxnLst>
                <a:cxn ang="3cd4">
                  <a:pos x="hc" y="t"/>
                </a:cxn>
                <a:cxn ang="cd2">
                  <a:pos x="l" y="vc"/>
                </a:cxn>
                <a:cxn ang="cd4">
                  <a:pos x="hc" y="b"/>
                </a:cxn>
                <a:cxn ang="0">
                  <a:pos x="r" y="vc"/>
                </a:cxn>
              </a:cxnLst>
              <a:rect l="l" t="t" r="r" b="b"/>
              <a:pathLst>
                <a:path w="514" h="530">
                  <a:moveTo>
                    <a:pt x="376" y="331"/>
                  </a:moveTo>
                  <a:cubicBezTo>
                    <a:pt x="366" y="379"/>
                    <a:pt x="334" y="424"/>
                    <a:pt x="270" y="424"/>
                  </a:cubicBezTo>
                  <a:cubicBezTo>
                    <a:pt x="191" y="424"/>
                    <a:pt x="151" y="355"/>
                    <a:pt x="151" y="265"/>
                  </a:cubicBezTo>
                  <a:cubicBezTo>
                    <a:pt x="151" y="196"/>
                    <a:pt x="178" y="103"/>
                    <a:pt x="270" y="103"/>
                  </a:cubicBezTo>
                  <a:cubicBezTo>
                    <a:pt x="329" y="103"/>
                    <a:pt x="363" y="143"/>
                    <a:pt x="371" y="188"/>
                  </a:cubicBezTo>
                  <a:lnTo>
                    <a:pt x="511" y="188"/>
                  </a:lnTo>
                  <a:cubicBezTo>
                    <a:pt x="503" y="109"/>
                    <a:pt x="445" y="0"/>
                    <a:pt x="268" y="0"/>
                  </a:cubicBezTo>
                  <a:cubicBezTo>
                    <a:pt x="112" y="0"/>
                    <a:pt x="0" y="103"/>
                    <a:pt x="0" y="265"/>
                  </a:cubicBezTo>
                  <a:cubicBezTo>
                    <a:pt x="0" y="427"/>
                    <a:pt x="109" y="530"/>
                    <a:pt x="268" y="530"/>
                  </a:cubicBezTo>
                  <a:cubicBezTo>
                    <a:pt x="453" y="530"/>
                    <a:pt x="506" y="413"/>
                    <a:pt x="514" y="334"/>
                  </a:cubicBezTo>
                  <a:lnTo>
                    <a:pt x="376" y="334"/>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39" name="Freeform: Shape 11"/>
            <p:cNvSpPr/>
            <p:nvPr/>
          </p:nvSpPr>
          <p:spPr>
            <a:xfrm>
              <a:off x="2117744" y="4755338"/>
              <a:ext cx="101104" cy="100533"/>
            </a:xfrm>
            <a:custGeom>
              <a:avLst/>
              <a:gdLst/>
              <a:ahLst/>
              <a:cxnLst>
                <a:cxn ang="3cd4">
                  <a:pos x="hc" y="t"/>
                </a:cxn>
                <a:cxn ang="cd2">
                  <a:pos x="l" y="vc"/>
                </a:cxn>
                <a:cxn ang="cd4">
                  <a:pos x="hc" y="b"/>
                </a:cxn>
                <a:cxn ang="0">
                  <a:pos x="r" y="vc"/>
                </a:cxn>
              </a:cxnLst>
              <a:rect l="l" t="t" r="r" b="b"/>
              <a:pathLst>
                <a:path w="533" h="530">
                  <a:moveTo>
                    <a:pt x="268" y="0"/>
                  </a:moveTo>
                  <a:cubicBezTo>
                    <a:pt x="109" y="0"/>
                    <a:pt x="0" y="103"/>
                    <a:pt x="0" y="265"/>
                  </a:cubicBezTo>
                  <a:cubicBezTo>
                    <a:pt x="0" y="427"/>
                    <a:pt x="109" y="530"/>
                    <a:pt x="268" y="530"/>
                  </a:cubicBezTo>
                  <a:cubicBezTo>
                    <a:pt x="424" y="530"/>
                    <a:pt x="533" y="429"/>
                    <a:pt x="533" y="265"/>
                  </a:cubicBezTo>
                  <a:cubicBezTo>
                    <a:pt x="533" y="98"/>
                    <a:pt x="419" y="0"/>
                    <a:pt x="268" y="0"/>
                  </a:cubicBezTo>
                  <a:close/>
                  <a:moveTo>
                    <a:pt x="265" y="424"/>
                  </a:moveTo>
                  <a:cubicBezTo>
                    <a:pt x="188" y="424"/>
                    <a:pt x="146" y="355"/>
                    <a:pt x="146" y="265"/>
                  </a:cubicBezTo>
                  <a:cubicBezTo>
                    <a:pt x="149" y="196"/>
                    <a:pt x="175" y="103"/>
                    <a:pt x="265" y="103"/>
                  </a:cubicBezTo>
                  <a:cubicBezTo>
                    <a:pt x="347" y="103"/>
                    <a:pt x="382" y="183"/>
                    <a:pt x="382" y="265"/>
                  </a:cubicBezTo>
                  <a:cubicBezTo>
                    <a:pt x="382" y="347"/>
                    <a:pt x="347" y="424"/>
                    <a:pt x="265" y="42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46138256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712191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dirty="0"/>
              <a:t>Click to edit Master text styles</a:t>
            </a:r>
          </a:p>
        </p:txBody>
      </p:sp>
      <p:sp>
        <p:nvSpPr>
          <p:cNvPr id="10" name="Rectangle 4"/>
          <p:cNvSpPr>
            <a:spLocks noChangeArrowheads="1"/>
          </p:cNvSpPr>
          <p:nvPr userDrawn="1"/>
        </p:nvSpPr>
        <p:spPr bwMode="ltGray">
          <a:xfrm>
            <a:off x="477679" y="4741653"/>
            <a:ext cx="2863168"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3339482647"/>
      </p:ext>
    </p:extLst>
  </p:cSld>
  <p:clrMapOvr>
    <a:masterClrMapping/>
  </p:clrMapOvr>
  <p:extLst mod="1">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8742" t="14280" r="44733" b="3050"/>
          <a:stretch/>
        </p:blipFill>
        <p:spPr>
          <a:xfrm rot="5400000">
            <a:off x="1998980" y="-2000251"/>
            <a:ext cx="5146037" cy="9144001"/>
          </a:xfrm>
          <a:prstGeom prst="rect">
            <a:avLst/>
          </a:prstGeom>
        </p:spPr>
      </p:pic>
      <p:grpSp>
        <p:nvGrpSpPr>
          <p:cNvPr id="6" name="Group 5"/>
          <p:cNvGrpSpPr/>
          <p:nvPr userDrawn="1"/>
        </p:nvGrpSpPr>
        <p:grpSpPr>
          <a:xfrm>
            <a:off x="410080" y="399299"/>
            <a:ext cx="792595" cy="419316"/>
            <a:chOff x="3133800" y="2372040"/>
            <a:chExt cx="514440" cy="272160"/>
          </a:xfrm>
          <a:solidFill>
            <a:schemeClr val="bg1"/>
          </a:solidFill>
        </p:grpSpPr>
        <p:sp>
          <p:nvSpPr>
            <p:cNvPr id="7" name="Freeform: Shape 38"/>
            <p:cNvSpPr/>
            <p:nvPr/>
          </p:nvSpPr>
          <p:spPr>
            <a:xfrm>
              <a:off x="3279600" y="2552040"/>
              <a:ext cx="22680" cy="89280"/>
            </a:xfrm>
            <a:custGeom>
              <a:avLst/>
              <a:gdLst/>
              <a:ahLst/>
              <a:cxnLst>
                <a:cxn ang="3cd4">
                  <a:pos x="hc" y="t"/>
                </a:cxn>
                <a:cxn ang="cd2">
                  <a:pos x="l" y="vc"/>
                </a:cxn>
                <a:cxn ang="cd4">
                  <a:pos x="hc" y="b"/>
                </a:cxn>
                <a:cxn ang="0">
                  <a:pos x="r" y="vc"/>
                </a:cxn>
              </a:cxnLst>
              <a:rect l="l" t="t" r="r" b="b"/>
              <a:pathLst>
                <a:path w="64" h="249">
                  <a:moveTo>
                    <a:pt x="32" y="249"/>
                  </a:moveTo>
                  <a:lnTo>
                    <a:pt x="0" y="249"/>
                  </a:lnTo>
                  <a:lnTo>
                    <a:pt x="0" y="0"/>
                  </a:lnTo>
                  <a:lnTo>
                    <a:pt x="64" y="0"/>
                  </a:lnTo>
                  <a:lnTo>
                    <a:pt x="64" y="249"/>
                  </a:ln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9" name="Freeform: Shape 39"/>
            <p:cNvSpPr/>
            <p:nvPr/>
          </p:nvSpPr>
          <p:spPr>
            <a:xfrm>
              <a:off x="3416040" y="2550960"/>
              <a:ext cx="68400" cy="93240"/>
            </a:xfrm>
            <a:custGeom>
              <a:avLst/>
              <a:gdLst/>
              <a:ahLst/>
              <a:cxnLst>
                <a:cxn ang="3cd4">
                  <a:pos x="hc" y="t"/>
                </a:cxn>
                <a:cxn ang="cd2">
                  <a:pos x="l" y="vc"/>
                </a:cxn>
                <a:cxn ang="cd4">
                  <a:pos x="hc" y="b"/>
                </a:cxn>
                <a:cxn ang="0">
                  <a:pos x="r" y="vc"/>
                </a:cxn>
              </a:cxnLst>
              <a:rect l="l" t="t" r="r" b="b"/>
              <a:pathLst>
                <a:path w="191" h="260">
                  <a:moveTo>
                    <a:pt x="191" y="8"/>
                  </a:moveTo>
                  <a:cubicBezTo>
                    <a:pt x="185" y="6"/>
                    <a:pt x="164" y="0"/>
                    <a:pt x="132" y="0"/>
                  </a:cubicBezTo>
                  <a:cubicBezTo>
                    <a:pt x="56" y="0"/>
                    <a:pt x="0" y="56"/>
                    <a:pt x="0" y="130"/>
                  </a:cubicBezTo>
                  <a:cubicBezTo>
                    <a:pt x="0" y="210"/>
                    <a:pt x="61" y="260"/>
                    <a:pt x="132" y="260"/>
                  </a:cubicBezTo>
                  <a:cubicBezTo>
                    <a:pt x="161" y="260"/>
                    <a:pt x="183" y="252"/>
                    <a:pt x="191" y="252"/>
                  </a:cubicBezTo>
                  <a:lnTo>
                    <a:pt x="191" y="186"/>
                  </a:lnTo>
                  <a:cubicBezTo>
                    <a:pt x="188" y="188"/>
                    <a:pt x="167" y="199"/>
                    <a:pt x="138" y="199"/>
                  </a:cubicBezTo>
                  <a:cubicBezTo>
                    <a:pt x="95" y="199"/>
                    <a:pt x="69" y="170"/>
                    <a:pt x="69" y="133"/>
                  </a:cubicBezTo>
                  <a:cubicBezTo>
                    <a:pt x="69" y="96"/>
                    <a:pt x="98" y="67"/>
                    <a:pt x="138" y="67"/>
                  </a:cubicBezTo>
                  <a:cubicBezTo>
                    <a:pt x="167" y="67"/>
                    <a:pt x="188" y="80"/>
                    <a:pt x="191" y="8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1" name="Freeform: Shape 40"/>
            <p:cNvSpPr/>
            <p:nvPr/>
          </p:nvSpPr>
          <p:spPr>
            <a:xfrm>
              <a:off x="3180600" y="2550960"/>
              <a:ext cx="68400" cy="93240"/>
            </a:xfrm>
            <a:custGeom>
              <a:avLst/>
              <a:gdLst/>
              <a:ahLst/>
              <a:cxnLst>
                <a:cxn ang="3cd4">
                  <a:pos x="hc" y="t"/>
                </a:cxn>
                <a:cxn ang="cd2">
                  <a:pos x="l" y="vc"/>
                </a:cxn>
                <a:cxn ang="cd4">
                  <a:pos x="hc" y="b"/>
                </a:cxn>
                <a:cxn ang="0">
                  <a:pos x="r" y="vc"/>
                </a:cxn>
              </a:cxnLst>
              <a:rect l="l" t="t" r="r" b="b"/>
              <a:pathLst>
                <a:path w="191" h="260">
                  <a:moveTo>
                    <a:pt x="191" y="8"/>
                  </a:moveTo>
                  <a:cubicBezTo>
                    <a:pt x="185" y="6"/>
                    <a:pt x="164" y="0"/>
                    <a:pt x="132" y="0"/>
                  </a:cubicBezTo>
                  <a:cubicBezTo>
                    <a:pt x="55" y="0"/>
                    <a:pt x="0" y="56"/>
                    <a:pt x="0" y="130"/>
                  </a:cubicBezTo>
                  <a:cubicBezTo>
                    <a:pt x="0" y="210"/>
                    <a:pt x="61" y="260"/>
                    <a:pt x="132" y="260"/>
                  </a:cubicBezTo>
                  <a:cubicBezTo>
                    <a:pt x="161" y="260"/>
                    <a:pt x="183" y="252"/>
                    <a:pt x="191" y="252"/>
                  </a:cubicBezTo>
                  <a:lnTo>
                    <a:pt x="191" y="186"/>
                  </a:lnTo>
                  <a:cubicBezTo>
                    <a:pt x="188" y="188"/>
                    <a:pt x="167" y="199"/>
                    <a:pt x="138" y="199"/>
                  </a:cubicBezTo>
                  <a:cubicBezTo>
                    <a:pt x="95" y="199"/>
                    <a:pt x="69" y="170"/>
                    <a:pt x="69" y="133"/>
                  </a:cubicBezTo>
                  <a:cubicBezTo>
                    <a:pt x="69" y="96"/>
                    <a:pt x="98" y="67"/>
                    <a:pt x="138" y="67"/>
                  </a:cubicBezTo>
                  <a:cubicBezTo>
                    <a:pt x="167" y="67"/>
                    <a:pt x="188" y="80"/>
                    <a:pt x="191" y="8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Shape 41"/>
            <p:cNvSpPr/>
            <p:nvPr/>
          </p:nvSpPr>
          <p:spPr>
            <a:xfrm>
              <a:off x="3507479" y="2550240"/>
              <a:ext cx="95040" cy="92880"/>
            </a:xfrm>
            <a:custGeom>
              <a:avLst/>
              <a:gdLst/>
              <a:ahLst/>
              <a:cxnLst>
                <a:cxn ang="3cd4">
                  <a:pos x="hc" y="t"/>
                </a:cxn>
                <a:cxn ang="cd2">
                  <a:pos x="l" y="vc"/>
                </a:cxn>
                <a:cxn ang="cd4">
                  <a:pos x="hc" y="b"/>
                </a:cxn>
                <a:cxn ang="0">
                  <a:pos x="r" y="vc"/>
                </a:cxn>
              </a:cxnLst>
              <a:rect l="l" t="t" r="r" b="b"/>
              <a:pathLst>
                <a:path w="265" h="259">
                  <a:moveTo>
                    <a:pt x="133" y="0"/>
                  </a:moveTo>
                  <a:cubicBezTo>
                    <a:pt x="56" y="0"/>
                    <a:pt x="0" y="57"/>
                    <a:pt x="0" y="129"/>
                  </a:cubicBezTo>
                  <a:cubicBezTo>
                    <a:pt x="0" y="200"/>
                    <a:pt x="56" y="259"/>
                    <a:pt x="133" y="259"/>
                  </a:cubicBezTo>
                  <a:cubicBezTo>
                    <a:pt x="209" y="259"/>
                    <a:pt x="265" y="200"/>
                    <a:pt x="265" y="129"/>
                  </a:cubicBezTo>
                  <a:cubicBezTo>
                    <a:pt x="265" y="57"/>
                    <a:pt x="209" y="0"/>
                    <a:pt x="133" y="0"/>
                  </a:cubicBezTo>
                  <a:close/>
                  <a:moveTo>
                    <a:pt x="133" y="198"/>
                  </a:moveTo>
                  <a:cubicBezTo>
                    <a:pt x="95" y="198"/>
                    <a:pt x="69" y="169"/>
                    <a:pt x="69" y="132"/>
                  </a:cubicBezTo>
                  <a:cubicBezTo>
                    <a:pt x="69" y="95"/>
                    <a:pt x="95" y="66"/>
                    <a:pt x="133" y="66"/>
                  </a:cubicBezTo>
                  <a:cubicBezTo>
                    <a:pt x="170" y="66"/>
                    <a:pt x="196" y="95"/>
                    <a:pt x="196" y="132"/>
                  </a:cubicBezTo>
                  <a:cubicBezTo>
                    <a:pt x="196" y="169"/>
                    <a:pt x="170" y="198"/>
                    <a:pt x="133" y="19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Shape 42"/>
            <p:cNvSpPr/>
            <p:nvPr/>
          </p:nvSpPr>
          <p:spPr>
            <a:xfrm>
              <a:off x="3333240" y="2550960"/>
              <a:ext cx="62280" cy="93240"/>
            </a:xfrm>
            <a:custGeom>
              <a:avLst/>
              <a:gdLst/>
              <a:ahLst/>
              <a:cxnLst>
                <a:cxn ang="3cd4">
                  <a:pos x="hc" y="t"/>
                </a:cxn>
                <a:cxn ang="cd2">
                  <a:pos x="l" y="vc"/>
                </a:cxn>
                <a:cxn ang="cd4">
                  <a:pos x="hc" y="b"/>
                </a:cxn>
                <a:cxn ang="0">
                  <a:pos x="r" y="vc"/>
                </a:cxn>
              </a:cxnLst>
              <a:rect l="l" t="t" r="r" b="b"/>
              <a:pathLst>
                <a:path w="174" h="260">
                  <a:moveTo>
                    <a:pt x="92" y="0"/>
                  </a:moveTo>
                  <a:cubicBezTo>
                    <a:pt x="34" y="0"/>
                    <a:pt x="0" y="32"/>
                    <a:pt x="0" y="77"/>
                  </a:cubicBezTo>
                  <a:cubicBezTo>
                    <a:pt x="0" y="120"/>
                    <a:pt x="29" y="138"/>
                    <a:pt x="63" y="149"/>
                  </a:cubicBezTo>
                  <a:cubicBezTo>
                    <a:pt x="66" y="149"/>
                    <a:pt x="74" y="151"/>
                    <a:pt x="76" y="154"/>
                  </a:cubicBezTo>
                  <a:cubicBezTo>
                    <a:pt x="92" y="159"/>
                    <a:pt x="105" y="167"/>
                    <a:pt x="105" y="178"/>
                  </a:cubicBezTo>
                  <a:cubicBezTo>
                    <a:pt x="105" y="191"/>
                    <a:pt x="92" y="202"/>
                    <a:pt x="60" y="202"/>
                  </a:cubicBezTo>
                  <a:cubicBezTo>
                    <a:pt x="34" y="202"/>
                    <a:pt x="8" y="194"/>
                    <a:pt x="2" y="194"/>
                  </a:cubicBezTo>
                  <a:lnTo>
                    <a:pt x="2" y="252"/>
                  </a:lnTo>
                  <a:cubicBezTo>
                    <a:pt x="5" y="252"/>
                    <a:pt x="37" y="260"/>
                    <a:pt x="71" y="260"/>
                  </a:cubicBezTo>
                  <a:cubicBezTo>
                    <a:pt x="119" y="260"/>
                    <a:pt x="174" y="239"/>
                    <a:pt x="174" y="178"/>
                  </a:cubicBezTo>
                  <a:cubicBezTo>
                    <a:pt x="174" y="149"/>
                    <a:pt x="156" y="120"/>
                    <a:pt x="116" y="106"/>
                  </a:cubicBezTo>
                  <a:lnTo>
                    <a:pt x="98" y="101"/>
                  </a:lnTo>
                  <a:cubicBezTo>
                    <a:pt x="87" y="98"/>
                    <a:pt x="68" y="93"/>
                    <a:pt x="68" y="77"/>
                  </a:cubicBezTo>
                  <a:cubicBezTo>
                    <a:pt x="68" y="64"/>
                    <a:pt x="82" y="56"/>
                    <a:pt x="108" y="56"/>
                  </a:cubicBezTo>
                  <a:cubicBezTo>
                    <a:pt x="129" y="56"/>
                    <a:pt x="156" y="64"/>
                    <a:pt x="158" y="64"/>
                  </a:cubicBezTo>
                  <a:lnTo>
                    <a:pt x="158" y="8"/>
                  </a:lnTo>
                  <a:lnTo>
                    <a:pt x="153" y="8"/>
                  </a:lnTo>
                  <a:cubicBezTo>
                    <a:pt x="150" y="8"/>
                    <a:pt x="121" y="0"/>
                    <a:pt x="92"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4" name="Freeform: Shape 43"/>
            <p:cNvSpPr/>
            <p:nvPr/>
          </p:nvSpPr>
          <p:spPr>
            <a:xfrm>
              <a:off x="3133800" y="2445120"/>
              <a:ext cx="22680" cy="46440"/>
            </a:xfrm>
            <a:custGeom>
              <a:avLst/>
              <a:gdLst/>
              <a:ahLst/>
              <a:cxnLst>
                <a:cxn ang="3cd4">
                  <a:pos x="hc" y="t"/>
                </a:cxn>
                <a:cxn ang="cd2">
                  <a:pos x="l" y="vc"/>
                </a:cxn>
                <a:cxn ang="cd4">
                  <a:pos x="hc" y="b"/>
                </a:cxn>
                <a:cxn ang="0">
                  <a:pos x="r" y="vc"/>
                </a:cxn>
              </a:cxnLst>
              <a:rect l="l" t="t" r="r" b="b"/>
              <a:pathLst>
                <a:path w="64" h="130">
                  <a:moveTo>
                    <a:pt x="64" y="32"/>
                  </a:moveTo>
                  <a:cubicBezTo>
                    <a:pt x="64" y="16"/>
                    <a:pt x="50" y="0"/>
                    <a:pt x="32" y="0"/>
                  </a:cubicBezTo>
                  <a:cubicBezTo>
                    <a:pt x="16" y="0"/>
                    <a:pt x="0" y="14"/>
                    <a:pt x="0" y="32"/>
                  </a:cubicBezTo>
                  <a:lnTo>
                    <a:pt x="0" y="98"/>
                  </a:lnTo>
                  <a:cubicBezTo>
                    <a:pt x="0" y="117"/>
                    <a:pt x="13" y="130"/>
                    <a:pt x="32" y="130"/>
                  </a:cubicBezTo>
                  <a:cubicBezTo>
                    <a:pt x="48" y="130"/>
                    <a:pt x="64" y="117"/>
                    <a:pt x="64" y="9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Shape 44"/>
            <p:cNvSpPr/>
            <p:nvPr/>
          </p:nvSpPr>
          <p:spPr>
            <a:xfrm>
              <a:off x="3195720" y="2413800"/>
              <a:ext cx="22680" cy="77040"/>
            </a:xfrm>
            <a:custGeom>
              <a:avLst/>
              <a:gdLst/>
              <a:ahLst/>
              <a:cxnLst>
                <a:cxn ang="3cd4">
                  <a:pos x="hc" y="t"/>
                </a:cxn>
                <a:cxn ang="cd2">
                  <a:pos x="l" y="vc"/>
                </a:cxn>
                <a:cxn ang="cd4">
                  <a:pos x="hc" y="b"/>
                </a:cxn>
                <a:cxn ang="0">
                  <a:pos x="r" y="vc"/>
                </a:cxn>
              </a:cxnLst>
              <a:rect l="l" t="t" r="r" b="b"/>
              <a:pathLst>
                <a:path w="64" h="215">
                  <a:moveTo>
                    <a:pt x="64" y="32"/>
                  </a:moveTo>
                  <a:cubicBezTo>
                    <a:pt x="64" y="16"/>
                    <a:pt x="51" y="0"/>
                    <a:pt x="32" y="0"/>
                  </a:cubicBezTo>
                  <a:cubicBezTo>
                    <a:pt x="16" y="0"/>
                    <a:pt x="0" y="13"/>
                    <a:pt x="0" y="32"/>
                  </a:cubicBezTo>
                  <a:lnTo>
                    <a:pt x="0" y="183"/>
                  </a:lnTo>
                  <a:cubicBezTo>
                    <a:pt x="0" y="201"/>
                    <a:pt x="13" y="215"/>
                    <a:pt x="32" y="215"/>
                  </a:cubicBezTo>
                  <a:cubicBezTo>
                    <a:pt x="48" y="215"/>
                    <a:pt x="64" y="201"/>
                    <a:pt x="64" y="18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Shape 45"/>
            <p:cNvSpPr/>
            <p:nvPr/>
          </p:nvSpPr>
          <p:spPr>
            <a:xfrm>
              <a:off x="3256919" y="2372040"/>
              <a:ext cx="22320" cy="141480"/>
            </a:xfrm>
            <a:custGeom>
              <a:avLst/>
              <a:gdLst/>
              <a:ahLst/>
              <a:cxnLst>
                <a:cxn ang="3cd4">
                  <a:pos x="hc" y="t"/>
                </a:cxn>
                <a:cxn ang="cd2">
                  <a:pos x="l" y="vc"/>
                </a:cxn>
                <a:cxn ang="cd4">
                  <a:pos x="hc" y="b"/>
                </a:cxn>
                <a:cxn ang="0">
                  <a:pos x="r" y="vc"/>
                </a:cxn>
              </a:cxnLst>
              <a:rect l="l" t="t" r="r" b="b"/>
              <a:pathLst>
                <a:path w="63" h="394">
                  <a:moveTo>
                    <a:pt x="63" y="31"/>
                  </a:moveTo>
                  <a:cubicBezTo>
                    <a:pt x="63" y="15"/>
                    <a:pt x="50" y="0"/>
                    <a:pt x="31" y="0"/>
                  </a:cubicBezTo>
                  <a:cubicBezTo>
                    <a:pt x="16" y="0"/>
                    <a:pt x="0" y="13"/>
                    <a:pt x="0" y="31"/>
                  </a:cubicBezTo>
                  <a:lnTo>
                    <a:pt x="0" y="362"/>
                  </a:lnTo>
                  <a:cubicBezTo>
                    <a:pt x="0" y="381"/>
                    <a:pt x="13" y="394"/>
                    <a:pt x="31" y="394"/>
                  </a:cubicBezTo>
                  <a:cubicBezTo>
                    <a:pt x="47" y="394"/>
                    <a:pt x="63" y="381"/>
                    <a:pt x="63" y="36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Shape 46"/>
            <p:cNvSpPr/>
            <p:nvPr/>
          </p:nvSpPr>
          <p:spPr>
            <a:xfrm>
              <a:off x="3318840" y="2413800"/>
              <a:ext cx="22320" cy="77040"/>
            </a:xfrm>
            <a:custGeom>
              <a:avLst/>
              <a:gdLst/>
              <a:ahLst/>
              <a:cxnLst>
                <a:cxn ang="3cd4">
                  <a:pos x="hc" y="t"/>
                </a:cxn>
                <a:cxn ang="cd2">
                  <a:pos x="l" y="vc"/>
                </a:cxn>
                <a:cxn ang="cd4">
                  <a:pos x="hc" y="b"/>
                </a:cxn>
                <a:cxn ang="0">
                  <a:pos x="r" y="vc"/>
                </a:cxn>
              </a:cxnLst>
              <a:rect l="l" t="t" r="r" b="b"/>
              <a:pathLst>
                <a:path w="63" h="215">
                  <a:moveTo>
                    <a:pt x="63" y="32"/>
                  </a:moveTo>
                  <a:cubicBezTo>
                    <a:pt x="63" y="16"/>
                    <a:pt x="50" y="0"/>
                    <a:pt x="32" y="0"/>
                  </a:cubicBezTo>
                  <a:cubicBezTo>
                    <a:pt x="16" y="0"/>
                    <a:pt x="0" y="13"/>
                    <a:pt x="0" y="32"/>
                  </a:cubicBezTo>
                  <a:lnTo>
                    <a:pt x="0" y="183"/>
                  </a:lnTo>
                  <a:cubicBezTo>
                    <a:pt x="0" y="201"/>
                    <a:pt x="13" y="215"/>
                    <a:pt x="32" y="215"/>
                  </a:cubicBezTo>
                  <a:cubicBezTo>
                    <a:pt x="48" y="215"/>
                    <a:pt x="63" y="201"/>
                    <a:pt x="63" y="18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Shape 47"/>
            <p:cNvSpPr/>
            <p:nvPr/>
          </p:nvSpPr>
          <p:spPr>
            <a:xfrm>
              <a:off x="3379680" y="2445120"/>
              <a:ext cx="22680" cy="46440"/>
            </a:xfrm>
            <a:custGeom>
              <a:avLst/>
              <a:gdLst/>
              <a:ahLst/>
              <a:cxnLst>
                <a:cxn ang="3cd4">
                  <a:pos x="hc" y="t"/>
                </a:cxn>
                <a:cxn ang="cd2">
                  <a:pos x="l" y="vc"/>
                </a:cxn>
                <a:cxn ang="cd4">
                  <a:pos x="hc" y="b"/>
                </a:cxn>
                <a:cxn ang="0">
                  <a:pos x="r" y="vc"/>
                </a:cxn>
              </a:cxnLst>
              <a:rect l="l" t="t" r="r" b="b"/>
              <a:pathLst>
                <a:path w="64" h="130">
                  <a:moveTo>
                    <a:pt x="64" y="32"/>
                  </a:moveTo>
                  <a:cubicBezTo>
                    <a:pt x="64" y="16"/>
                    <a:pt x="51" y="0"/>
                    <a:pt x="32" y="0"/>
                  </a:cubicBezTo>
                  <a:cubicBezTo>
                    <a:pt x="16" y="0"/>
                    <a:pt x="0" y="14"/>
                    <a:pt x="0" y="32"/>
                  </a:cubicBezTo>
                  <a:lnTo>
                    <a:pt x="0" y="98"/>
                  </a:lnTo>
                  <a:cubicBezTo>
                    <a:pt x="0" y="117"/>
                    <a:pt x="14" y="130"/>
                    <a:pt x="32" y="130"/>
                  </a:cubicBezTo>
                  <a:cubicBezTo>
                    <a:pt x="48" y="130"/>
                    <a:pt x="64" y="117"/>
                    <a:pt x="64" y="9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9" name="Freeform: Shape 48"/>
            <p:cNvSpPr/>
            <p:nvPr/>
          </p:nvSpPr>
          <p:spPr>
            <a:xfrm>
              <a:off x="3441600" y="2413800"/>
              <a:ext cx="22680" cy="77040"/>
            </a:xfrm>
            <a:custGeom>
              <a:avLst/>
              <a:gdLst/>
              <a:ahLst/>
              <a:cxnLst>
                <a:cxn ang="3cd4">
                  <a:pos x="hc" y="t"/>
                </a:cxn>
                <a:cxn ang="cd2">
                  <a:pos x="l" y="vc"/>
                </a:cxn>
                <a:cxn ang="cd4">
                  <a:pos x="hc" y="b"/>
                </a:cxn>
                <a:cxn ang="0">
                  <a:pos x="r" y="vc"/>
                </a:cxn>
              </a:cxnLst>
              <a:rect l="l" t="t" r="r" b="b"/>
              <a:pathLst>
                <a:path w="64" h="215">
                  <a:moveTo>
                    <a:pt x="64" y="32"/>
                  </a:moveTo>
                  <a:cubicBezTo>
                    <a:pt x="64" y="16"/>
                    <a:pt x="51" y="0"/>
                    <a:pt x="32" y="0"/>
                  </a:cubicBezTo>
                  <a:cubicBezTo>
                    <a:pt x="16" y="0"/>
                    <a:pt x="0" y="13"/>
                    <a:pt x="0" y="32"/>
                  </a:cubicBezTo>
                  <a:lnTo>
                    <a:pt x="0" y="183"/>
                  </a:lnTo>
                  <a:cubicBezTo>
                    <a:pt x="0" y="201"/>
                    <a:pt x="14" y="215"/>
                    <a:pt x="32" y="215"/>
                  </a:cubicBezTo>
                  <a:cubicBezTo>
                    <a:pt x="48" y="215"/>
                    <a:pt x="64" y="201"/>
                    <a:pt x="64" y="18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0" name="Freeform: Shape 49"/>
            <p:cNvSpPr/>
            <p:nvPr/>
          </p:nvSpPr>
          <p:spPr>
            <a:xfrm>
              <a:off x="3502799" y="2372040"/>
              <a:ext cx="22320" cy="141480"/>
            </a:xfrm>
            <a:custGeom>
              <a:avLst/>
              <a:gdLst/>
              <a:ahLst/>
              <a:cxnLst>
                <a:cxn ang="3cd4">
                  <a:pos x="hc" y="t"/>
                </a:cxn>
                <a:cxn ang="cd2">
                  <a:pos x="l" y="vc"/>
                </a:cxn>
                <a:cxn ang="cd4">
                  <a:pos x="hc" y="b"/>
                </a:cxn>
                <a:cxn ang="0">
                  <a:pos x="r" y="vc"/>
                </a:cxn>
              </a:cxnLst>
              <a:rect l="l" t="t" r="r" b="b"/>
              <a:pathLst>
                <a:path w="63" h="394">
                  <a:moveTo>
                    <a:pt x="63" y="31"/>
                  </a:moveTo>
                  <a:cubicBezTo>
                    <a:pt x="63" y="15"/>
                    <a:pt x="50" y="0"/>
                    <a:pt x="32" y="0"/>
                  </a:cubicBezTo>
                  <a:cubicBezTo>
                    <a:pt x="13" y="0"/>
                    <a:pt x="0" y="13"/>
                    <a:pt x="0" y="31"/>
                  </a:cubicBezTo>
                  <a:lnTo>
                    <a:pt x="0" y="362"/>
                  </a:lnTo>
                  <a:cubicBezTo>
                    <a:pt x="0" y="381"/>
                    <a:pt x="13" y="394"/>
                    <a:pt x="32" y="394"/>
                  </a:cubicBezTo>
                  <a:cubicBezTo>
                    <a:pt x="50" y="394"/>
                    <a:pt x="63" y="381"/>
                    <a:pt x="63" y="36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1" name="Freeform: Shape 50"/>
            <p:cNvSpPr/>
            <p:nvPr/>
          </p:nvSpPr>
          <p:spPr>
            <a:xfrm>
              <a:off x="3564720" y="2413800"/>
              <a:ext cx="22680" cy="77040"/>
            </a:xfrm>
            <a:custGeom>
              <a:avLst/>
              <a:gdLst/>
              <a:ahLst/>
              <a:cxnLst>
                <a:cxn ang="3cd4">
                  <a:pos x="hc" y="t"/>
                </a:cxn>
                <a:cxn ang="cd2">
                  <a:pos x="l" y="vc"/>
                </a:cxn>
                <a:cxn ang="cd4">
                  <a:pos x="hc" y="b"/>
                </a:cxn>
                <a:cxn ang="0">
                  <a:pos x="r" y="vc"/>
                </a:cxn>
              </a:cxnLst>
              <a:rect l="l" t="t" r="r" b="b"/>
              <a:pathLst>
                <a:path w="64" h="215">
                  <a:moveTo>
                    <a:pt x="64" y="32"/>
                  </a:moveTo>
                  <a:cubicBezTo>
                    <a:pt x="64" y="16"/>
                    <a:pt x="50" y="0"/>
                    <a:pt x="32" y="0"/>
                  </a:cubicBezTo>
                  <a:cubicBezTo>
                    <a:pt x="16" y="0"/>
                    <a:pt x="0" y="13"/>
                    <a:pt x="0" y="32"/>
                  </a:cubicBezTo>
                  <a:lnTo>
                    <a:pt x="0" y="183"/>
                  </a:lnTo>
                  <a:cubicBezTo>
                    <a:pt x="0" y="201"/>
                    <a:pt x="13" y="215"/>
                    <a:pt x="32" y="215"/>
                  </a:cubicBezTo>
                  <a:cubicBezTo>
                    <a:pt x="50" y="215"/>
                    <a:pt x="64" y="201"/>
                    <a:pt x="64" y="18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2" name="Freeform: Shape 51"/>
            <p:cNvSpPr/>
            <p:nvPr/>
          </p:nvSpPr>
          <p:spPr>
            <a:xfrm>
              <a:off x="3625560" y="2445120"/>
              <a:ext cx="22680" cy="46440"/>
            </a:xfrm>
            <a:custGeom>
              <a:avLst/>
              <a:gdLst/>
              <a:ahLst/>
              <a:cxnLst>
                <a:cxn ang="3cd4">
                  <a:pos x="hc" y="t"/>
                </a:cxn>
                <a:cxn ang="cd2">
                  <a:pos x="l" y="vc"/>
                </a:cxn>
                <a:cxn ang="cd4">
                  <a:pos x="hc" y="b"/>
                </a:cxn>
                <a:cxn ang="0">
                  <a:pos x="r" y="vc"/>
                </a:cxn>
              </a:cxnLst>
              <a:rect l="l" t="t" r="r" b="b"/>
              <a:pathLst>
                <a:path w="64" h="130">
                  <a:moveTo>
                    <a:pt x="64" y="32"/>
                  </a:moveTo>
                  <a:cubicBezTo>
                    <a:pt x="64" y="16"/>
                    <a:pt x="51" y="0"/>
                    <a:pt x="32" y="0"/>
                  </a:cubicBezTo>
                  <a:cubicBezTo>
                    <a:pt x="16" y="0"/>
                    <a:pt x="0" y="14"/>
                    <a:pt x="0" y="32"/>
                  </a:cubicBezTo>
                  <a:lnTo>
                    <a:pt x="0" y="98"/>
                  </a:lnTo>
                  <a:cubicBezTo>
                    <a:pt x="0" y="117"/>
                    <a:pt x="14" y="130"/>
                    <a:pt x="32" y="130"/>
                  </a:cubicBezTo>
                  <a:cubicBezTo>
                    <a:pt x="48" y="130"/>
                    <a:pt x="64" y="117"/>
                    <a:pt x="64" y="9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grpSp>
        <p:nvGrpSpPr>
          <p:cNvPr id="62" name="Group 61"/>
          <p:cNvGrpSpPr/>
          <p:nvPr userDrawn="1"/>
        </p:nvGrpSpPr>
        <p:grpSpPr>
          <a:xfrm>
            <a:off x="5593906" y="2047382"/>
            <a:ext cx="3007926" cy="2640715"/>
            <a:chOff x="5593906" y="2047382"/>
            <a:chExt cx="3007926" cy="2640715"/>
          </a:xfrm>
        </p:grpSpPr>
        <p:grpSp>
          <p:nvGrpSpPr>
            <p:cNvPr id="56" name="Group 55"/>
            <p:cNvGrpSpPr/>
            <p:nvPr userDrawn="1"/>
          </p:nvGrpSpPr>
          <p:grpSpPr>
            <a:xfrm>
              <a:off x="6236566" y="2659914"/>
              <a:ext cx="2365266" cy="2028183"/>
              <a:chOff x="-40619363" y="-23406100"/>
              <a:chExt cx="40290751" cy="34548763"/>
            </a:xfrm>
            <a:solidFill>
              <a:schemeClr val="bg1"/>
            </a:solidFill>
          </p:grpSpPr>
          <p:sp>
            <p:nvSpPr>
              <p:cNvPr id="40" name="Freeform 24"/>
              <p:cNvSpPr>
                <a:spLocks noEditPoints="1"/>
              </p:cNvSpPr>
              <p:nvPr userDrawn="1"/>
            </p:nvSpPr>
            <p:spPr bwMode="auto">
              <a:xfrm>
                <a:off x="-3292475" y="4124325"/>
                <a:ext cx="2963863" cy="6958013"/>
              </a:xfrm>
              <a:custGeom>
                <a:avLst/>
                <a:gdLst>
                  <a:gd name="T0" fmla="*/ 16 w 49"/>
                  <a:gd name="T1" fmla="*/ 53 h 115"/>
                  <a:gd name="T2" fmla="*/ 14 w 49"/>
                  <a:gd name="T3" fmla="*/ 62 h 115"/>
                  <a:gd name="T4" fmla="*/ 12 w 49"/>
                  <a:gd name="T5" fmla="*/ 70 h 115"/>
                  <a:gd name="T6" fmla="*/ 12 w 49"/>
                  <a:gd name="T7" fmla="*/ 72 h 115"/>
                  <a:gd name="T8" fmla="*/ 15 w 49"/>
                  <a:gd name="T9" fmla="*/ 77 h 115"/>
                  <a:gd name="T10" fmla="*/ 20 w 49"/>
                  <a:gd name="T11" fmla="*/ 82 h 115"/>
                  <a:gd name="T12" fmla="*/ 24 w 49"/>
                  <a:gd name="T13" fmla="*/ 78 h 115"/>
                  <a:gd name="T14" fmla="*/ 24 w 49"/>
                  <a:gd name="T15" fmla="*/ 77 h 115"/>
                  <a:gd name="T16" fmla="*/ 28 w 49"/>
                  <a:gd name="T17" fmla="*/ 57 h 115"/>
                  <a:gd name="T18" fmla="*/ 39 w 49"/>
                  <a:gd name="T19" fmla="*/ 26 h 115"/>
                  <a:gd name="T20" fmla="*/ 44 w 49"/>
                  <a:gd name="T21" fmla="*/ 13 h 115"/>
                  <a:gd name="T22" fmla="*/ 49 w 49"/>
                  <a:gd name="T23" fmla="*/ 8 h 115"/>
                  <a:gd name="T24" fmla="*/ 49 w 49"/>
                  <a:gd name="T25" fmla="*/ 5 h 115"/>
                  <a:gd name="T26" fmla="*/ 48 w 49"/>
                  <a:gd name="T27" fmla="*/ 4 h 115"/>
                  <a:gd name="T28" fmla="*/ 44 w 49"/>
                  <a:gd name="T29" fmla="*/ 1 h 115"/>
                  <a:gd name="T30" fmla="*/ 44 w 49"/>
                  <a:gd name="T31" fmla="*/ 1 h 115"/>
                  <a:gd name="T32" fmla="*/ 40 w 49"/>
                  <a:gd name="T33" fmla="*/ 0 h 115"/>
                  <a:gd name="T34" fmla="*/ 35 w 49"/>
                  <a:gd name="T35" fmla="*/ 5 h 115"/>
                  <a:gd name="T36" fmla="*/ 16 w 49"/>
                  <a:gd name="T37" fmla="*/ 53 h 115"/>
                  <a:gd name="T38" fmla="*/ 2 w 49"/>
                  <a:gd name="T39" fmla="*/ 107 h 115"/>
                  <a:gd name="T40" fmla="*/ 2 w 49"/>
                  <a:gd name="T41" fmla="*/ 111 h 115"/>
                  <a:gd name="T42" fmla="*/ 2 w 49"/>
                  <a:gd name="T43" fmla="*/ 115 h 115"/>
                  <a:gd name="T44" fmla="*/ 6 w 49"/>
                  <a:gd name="T45" fmla="*/ 115 h 115"/>
                  <a:gd name="T46" fmla="*/ 17 w 49"/>
                  <a:gd name="T47" fmla="*/ 98 h 115"/>
                  <a:gd name="T48" fmla="*/ 17 w 49"/>
                  <a:gd name="T49" fmla="*/ 95 h 115"/>
                  <a:gd name="T50" fmla="*/ 15 w 49"/>
                  <a:gd name="T51" fmla="*/ 90 h 115"/>
                  <a:gd name="T52" fmla="*/ 14 w 49"/>
                  <a:gd name="T53" fmla="*/ 90 h 115"/>
                  <a:gd name="T54" fmla="*/ 2 w 49"/>
                  <a:gd name="T55" fmla="*/ 10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 h="115">
                    <a:moveTo>
                      <a:pt x="16" y="53"/>
                    </a:moveTo>
                    <a:cubicBezTo>
                      <a:pt x="15" y="57"/>
                      <a:pt x="14" y="60"/>
                      <a:pt x="14" y="62"/>
                    </a:cubicBezTo>
                    <a:cubicBezTo>
                      <a:pt x="13" y="64"/>
                      <a:pt x="12" y="68"/>
                      <a:pt x="12" y="70"/>
                    </a:cubicBezTo>
                    <a:cubicBezTo>
                      <a:pt x="12" y="72"/>
                      <a:pt x="12" y="72"/>
                      <a:pt x="12" y="72"/>
                    </a:cubicBezTo>
                    <a:cubicBezTo>
                      <a:pt x="15" y="77"/>
                      <a:pt x="15" y="77"/>
                      <a:pt x="15" y="77"/>
                    </a:cubicBezTo>
                    <a:cubicBezTo>
                      <a:pt x="17" y="79"/>
                      <a:pt x="15" y="80"/>
                      <a:pt x="20" y="82"/>
                    </a:cubicBezTo>
                    <a:cubicBezTo>
                      <a:pt x="21" y="82"/>
                      <a:pt x="23" y="80"/>
                      <a:pt x="24" y="78"/>
                    </a:cubicBezTo>
                    <a:cubicBezTo>
                      <a:pt x="24" y="77"/>
                      <a:pt x="24" y="77"/>
                      <a:pt x="24" y="77"/>
                    </a:cubicBezTo>
                    <a:cubicBezTo>
                      <a:pt x="24" y="71"/>
                      <a:pt x="26" y="62"/>
                      <a:pt x="28" y="57"/>
                    </a:cubicBezTo>
                    <a:cubicBezTo>
                      <a:pt x="28" y="54"/>
                      <a:pt x="30" y="46"/>
                      <a:pt x="39" y="26"/>
                    </a:cubicBezTo>
                    <a:cubicBezTo>
                      <a:pt x="39" y="24"/>
                      <a:pt x="41" y="19"/>
                      <a:pt x="44" y="13"/>
                    </a:cubicBezTo>
                    <a:cubicBezTo>
                      <a:pt x="48" y="8"/>
                      <a:pt x="48" y="8"/>
                      <a:pt x="49" y="8"/>
                    </a:cubicBezTo>
                    <a:cubicBezTo>
                      <a:pt x="49" y="5"/>
                      <a:pt x="49" y="5"/>
                      <a:pt x="49" y="5"/>
                    </a:cubicBezTo>
                    <a:cubicBezTo>
                      <a:pt x="48" y="4"/>
                      <a:pt x="48" y="4"/>
                      <a:pt x="48" y="4"/>
                    </a:cubicBezTo>
                    <a:cubicBezTo>
                      <a:pt x="48" y="4"/>
                      <a:pt x="47" y="2"/>
                      <a:pt x="44" y="1"/>
                    </a:cubicBezTo>
                    <a:cubicBezTo>
                      <a:pt x="44" y="1"/>
                      <a:pt x="47" y="2"/>
                      <a:pt x="44" y="1"/>
                    </a:cubicBezTo>
                    <a:cubicBezTo>
                      <a:pt x="44" y="1"/>
                      <a:pt x="41" y="0"/>
                      <a:pt x="40" y="0"/>
                    </a:cubicBezTo>
                    <a:cubicBezTo>
                      <a:pt x="39" y="0"/>
                      <a:pt x="37" y="2"/>
                      <a:pt x="35" y="5"/>
                    </a:cubicBezTo>
                    <a:lnTo>
                      <a:pt x="16" y="53"/>
                    </a:lnTo>
                    <a:close/>
                    <a:moveTo>
                      <a:pt x="2" y="107"/>
                    </a:moveTo>
                    <a:cubicBezTo>
                      <a:pt x="2" y="111"/>
                      <a:pt x="2" y="111"/>
                      <a:pt x="2" y="111"/>
                    </a:cubicBezTo>
                    <a:cubicBezTo>
                      <a:pt x="2" y="113"/>
                      <a:pt x="0" y="114"/>
                      <a:pt x="2" y="115"/>
                    </a:cubicBezTo>
                    <a:cubicBezTo>
                      <a:pt x="6" y="115"/>
                      <a:pt x="6" y="115"/>
                      <a:pt x="6" y="115"/>
                    </a:cubicBezTo>
                    <a:cubicBezTo>
                      <a:pt x="10" y="113"/>
                      <a:pt x="12" y="110"/>
                      <a:pt x="17" y="98"/>
                    </a:cubicBezTo>
                    <a:cubicBezTo>
                      <a:pt x="17" y="95"/>
                      <a:pt x="17" y="95"/>
                      <a:pt x="17" y="95"/>
                    </a:cubicBezTo>
                    <a:cubicBezTo>
                      <a:pt x="17" y="93"/>
                      <a:pt x="19" y="92"/>
                      <a:pt x="15" y="90"/>
                    </a:cubicBezTo>
                    <a:cubicBezTo>
                      <a:pt x="14" y="90"/>
                      <a:pt x="14" y="90"/>
                      <a:pt x="14" y="90"/>
                    </a:cubicBezTo>
                    <a:cubicBezTo>
                      <a:pt x="7" y="90"/>
                      <a:pt x="5" y="94"/>
                      <a:pt x="2" y="10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C00000"/>
                  </a:solidFill>
                </a:endParaRPr>
              </a:p>
            </p:txBody>
          </p:sp>
          <p:sp>
            <p:nvSpPr>
              <p:cNvPr id="41" name="Freeform 25"/>
              <p:cNvSpPr>
                <a:spLocks/>
              </p:cNvSpPr>
              <p:nvPr userDrawn="1"/>
            </p:nvSpPr>
            <p:spPr bwMode="auto">
              <a:xfrm>
                <a:off x="-11036300" y="4911725"/>
                <a:ext cx="1693863" cy="6170613"/>
              </a:xfrm>
              <a:custGeom>
                <a:avLst/>
                <a:gdLst>
                  <a:gd name="T0" fmla="*/ 16 w 28"/>
                  <a:gd name="T1" fmla="*/ 98 h 102"/>
                  <a:gd name="T2" fmla="*/ 12 w 28"/>
                  <a:gd name="T3" fmla="*/ 85 h 102"/>
                  <a:gd name="T4" fmla="*/ 16 w 28"/>
                  <a:gd name="T5" fmla="*/ 50 h 102"/>
                  <a:gd name="T6" fmla="*/ 24 w 28"/>
                  <a:gd name="T7" fmla="*/ 20 h 102"/>
                  <a:gd name="T8" fmla="*/ 28 w 28"/>
                  <a:gd name="T9" fmla="*/ 7 h 102"/>
                  <a:gd name="T10" fmla="*/ 18 w 28"/>
                  <a:gd name="T11" fmla="*/ 0 h 102"/>
                  <a:gd name="T12" fmla="*/ 17 w 28"/>
                  <a:gd name="T13" fmla="*/ 0 h 102"/>
                  <a:gd name="T14" fmla="*/ 17 w 28"/>
                  <a:gd name="T15" fmla="*/ 0 h 102"/>
                  <a:gd name="T16" fmla="*/ 16 w 28"/>
                  <a:gd name="T17" fmla="*/ 4 h 102"/>
                  <a:gd name="T18" fmla="*/ 14 w 28"/>
                  <a:gd name="T19" fmla="*/ 13 h 102"/>
                  <a:gd name="T20" fmla="*/ 8 w 28"/>
                  <a:gd name="T21" fmla="*/ 39 h 102"/>
                  <a:gd name="T22" fmla="*/ 1 w 28"/>
                  <a:gd name="T23" fmla="*/ 86 h 102"/>
                  <a:gd name="T24" fmla="*/ 5 w 28"/>
                  <a:gd name="T25" fmla="*/ 95 h 102"/>
                  <a:gd name="T26" fmla="*/ 17 w 28"/>
                  <a:gd name="T27" fmla="*/ 102 h 102"/>
                  <a:gd name="T28" fmla="*/ 16 w 28"/>
                  <a:gd name="T29" fmla="*/ 9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02">
                    <a:moveTo>
                      <a:pt x="16" y="98"/>
                    </a:moveTo>
                    <a:cubicBezTo>
                      <a:pt x="14" y="98"/>
                      <a:pt x="13" y="95"/>
                      <a:pt x="12" y="85"/>
                    </a:cubicBezTo>
                    <a:cubicBezTo>
                      <a:pt x="14" y="68"/>
                      <a:pt x="15" y="56"/>
                      <a:pt x="16" y="50"/>
                    </a:cubicBezTo>
                    <a:cubicBezTo>
                      <a:pt x="22" y="24"/>
                      <a:pt x="20" y="29"/>
                      <a:pt x="24" y="20"/>
                    </a:cubicBezTo>
                    <a:cubicBezTo>
                      <a:pt x="28" y="11"/>
                      <a:pt x="28" y="10"/>
                      <a:pt x="28" y="7"/>
                    </a:cubicBezTo>
                    <a:cubicBezTo>
                      <a:pt x="28" y="4"/>
                      <a:pt x="25" y="2"/>
                      <a:pt x="18" y="0"/>
                    </a:cubicBezTo>
                    <a:cubicBezTo>
                      <a:pt x="17" y="0"/>
                      <a:pt x="17" y="0"/>
                      <a:pt x="17" y="0"/>
                    </a:cubicBezTo>
                    <a:cubicBezTo>
                      <a:pt x="17" y="0"/>
                      <a:pt x="17" y="0"/>
                      <a:pt x="17" y="0"/>
                    </a:cubicBezTo>
                    <a:cubicBezTo>
                      <a:pt x="17" y="0"/>
                      <a:pt x="17" y="0"/>
                      <a:pt x="16" y="4"/>
                    </a:cubicBezTo>
                    <a:cubicBezTo>
                      <a:pt x="14" y="13"/>
                      <a:pt x="14" y="13"/>
                      <a:pt x="14" y="13"/>
                    </a:cubicBezTo>
                    <a:cubicBezTo>
                      <a:pt x="9" y="34"/>
                      <a:pt x="9" y="36"/>
                      <a:pt x="8" y="39"/>
                    </a:cubicBezTo>
                    <a:cubicBezTo>
                      <a:pt x="0" y="73"/>
                      <a:pt x="1" y="77"/>
                      <a:pt x="1" y="86"/>
                    </a:cubicBezTo>
                    <a:cubicBezTo>
                      <a:pt x="1" y="89"/>
                      <a:pt x="2" y="92"/>
                      <a:pt x="5" y="95"/>
                    </a:cubicBezTo>
                    <a:cubicBezTo>
                      <a:pt x="10" y="100"/>
                      <a:pt x="14" y="102"/>
                      <a:pt x="17" y="102"/>
                    </a:cubicBezTo>
                    <a:lnTo>
                      <a:pt x="16"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C00000"/>
                  </a:solidFill>
                </a:endParaRPr>
              </a:p>
            </p:txBody>
          </p:sp>
          <p:sp>
            <p:nvSpPr>
              <p:cNvPr id="42" name="Freeform 26"/>
              <p:cNvSpPr>
                <a:spLocks noEditPoints="1"/>
              </p:cNvSpPr>
              <p:nvPr userDrawn="1"/>
            </p:nvSpPr>
            <p:spPr bwMode="auto">
              <a:xfrm>
                <a:off x="-9766300" y="6121400"/>
                <a:ext cx="1755775" cy="5021263"/>
              </a:xfrm>
              <a:custGeom>
                <a:avLst/>
                <a:gdLst>
                  <a:gd name="T0" fmla="*/ 22 w 29"/>
                  <a:gd name="T1" fmla="*/ 0 h 83"/>
                  <a:gd name="T2" fmla="*/ 18 w 29"/>
                  <a:gd name="T3" fmla="*/ 13 h 83"/>
                  <a:gd name="T4" fmla="*/ 20 w 29"/>
                  <a:gd name="T5" fmla="*/ 14 h 83"/>
                  <a:gd name="T6" fmla="*/ 29 w 29"/>
                  <a:gd name="T7" fmla="*/ 5 h 83"/>
                  <a:gd name="T8" fmla="*/ 29 w 29"/>
                  <a:gd name="T9" fmla="*/ 4 h 83"/>
                  <a:gd name="T10" fmla="*/ 22 w 29"/>
                  <a:gd name="T11" fmla="*/ 0 h 83"/>
                  <a:gd name="T12" fmla="*/ 15 w 29"/>
                  <a:gd name="T13" fmla="*/ 78 h 83"/>
                  <a:gd name="T14" fmla="*/ 14 w 29"/>
                  <a:gd name="T15" fmla="*/ 76 h 83"/>
                  <a:gd name="T16" fmla="*/ 14 w 29"/>
                  <a:gd name="T17" fmla="*/ 59 h 83"/>
                  <a:gd name="T18" fmla="*/ 14 w 29"/>
                  <a:gd name="T19" fmla="*/ 57 h 83"/>
                  <a:gd name="T20" fmla="*/ 14 w 29"/>
                  <a:gd name="T21" fmla="*/ 51 h 83"/>
                  <a:gd name="T22" fmla="*/ 17 w 29"/>
                  <a:gd name="T23" fmla="*/ 42 h 83"/>
                  <a:gd name="T24" fmla="*/ 23 w 29"/>
                  <a:gd name="T25" fmla="*/ 27 h 83"/>
                  <a:gd name="T26" fmla="*/ 12 w 29"/>
                  <a:gd name="T27" fmla="*/ 19 h 83"/>
                  <a:gd name="T28" fmla="*/ 6 w 29"/>
                  <a:gd name="T29" fmla="*/ 31 h 83"/>
                  <a:gd name="T30" fmla="*/ 1 w 29"/>
                  <a:gd name="T31" fmla="*/ 70 h 83"/>
                  <a:gd name="T32" fmla="*/ 4 w 29"/>
                  <a:gd name="T33" fmla="*/ 77 h 83"/>
                  <a:gd name="T34" fmla="*/ 16 w 29"/>
                  <a:gd name="T35" fmla="*/ 82 h 83"/>
                  <a:gd name="T36" fmla="*/ 15 w 29"/>
                  <a:gd name="T37" fmla="*/ 7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83">
                    <a:moveTo>
                      <a:pt x="22" y="0"/>
                    </a:moveTo>
                    <a:cubicBezTo>
                      <a:pt x="20" y="0"/>
                      <a:pt x="19" y="4"/>
                      <a:pt x="18" y="13"/>
                    </a:cubicBezTo>
                    <a:cubicBezTo>
                      <a:pt x="20" y="14"/>
                      <a:pt x="20" y="14"/>
                      <a:pt x="20" y="14"/>
                    </a:cubicBezTo>
                    <a:cubicBezTo>
                      <a:pt x="22" y="13"/>
                      <a:pt x="25" y="10"/>
                      <a:pt x="29" y="5"/>
                    </a:cubicBezTo>
                    <a:cubicBezTo>
                      <a:pt x="29" y="4"/>
                      <a:pt x="29" y="4"/>
                      <a:pt x="29" y="4"/>
                    </a:cubicBezTo>
                    <a:cubicBezTo>
                      <a:pt x="29" y="3"/>
                      <a:pt x="26" y="1"/>
                      <a:pt x="22" y="0"/>
                    </a:cubicBezTo>
                    <a:close/>
                    <a:moveTo>
                      <a:pt x="15" y="78"/>
                    </a:moveTo>
                    <a:cubicBezTo>
                      <a:pt x="14" y="76"/>
                      <a:pt x="14" y="76"/>
                      <a:pt x="14" y="76"/>
                    </a:cubicBezTo>
                    <a:cubicBezTo>
                      <a:pt x="14" y="67"/>
                      <a:pt x="14" y="61"/>
                      <a:pt x="14" y="59"/>
                    </a:cubicBezTo>
                    <a:cubicBezTo>
                      <a:pt x="14" y="57"/>
                      <a:pt x="14" y="57"/>
                      <a:pt x="14" y="57"/>
                    </a:cubicBezTo>
                    <a:cubicBezTo>
                      <a:pt x="13" y="53"/>
                      <a:pt x="14" y="51"/>
                      <a:pt x="14" y="51"/>
                    </a:cubicBezTo>
                    <a:cubicBezTo>
                      <a:pt x="15" y="46"/>
                      <a:pt x="16" y="42"/>
                      <a:pt x="17" y="42"/>
                    </a:cubicBezTo>
                    <a:cubicBezTo>
                      <a:pt x="17" y="38"/>
                      <a:pt x="19" y="33"/>
                      <a:pt x="23" y="27"/>
                    </a:cubicBezTo>
                    <a:cubicBezTo>
                      <a:pt x="23" y="25"/>
                      <a:pt x="19" y="22"/>
                      <a:pt x="12" y="19"/>
                    </a:cubicBezTo>
                    <a:cubicBezTo>
                      <a:pt x="10" y="19"/>
                      <a:pt x="8" y="23"/>
                      <a:pt x="6" y="31"/>
                    </a:cubicBezTo>
                    <a:cubicBezTo>
                      <a:pt x="2" y="49"/>
                      <a:pt x="0" y="62"/>
                      <a:pt x="1" y="70"/>
                    </a:cubicBezTo>
                    <a:cubicBezTo>
                      <a:pt x="2" y="75"/>
                      <a:pt x="3" y="77"/>
                      <a:pt x="4" y="77"/>
                    </a:cubicBezTo>
                    <a:cubicBezTo>
                      <a:pt x="7" y="81"/>
                      <a:pt x="11" y="83"/>
                      <a:pt x="16" y="82"/>
                    </a:cubicBezTo>
                    <a:lnTo>
                      <a:pt x="15"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C00000"/>
                  </a:solidFill>
                </a:endParaRPr>
              </a:p>
            </p:txBody>
          </p:sp>
          <p:sp>
            <p:nvSpPr>
              <p:cNvPr id="43" name="Freeform 27"/>
              <p:cNvSpPr>
                <a:spLocks/>
              </p:cNvSpPr>
              <p:nvPr userDrawn="1"/>
            </p:nvSpPr>
            <p:spPr bwMode="auto">
              <a:xfrm>
                <a:off x="-8072438" y="6665913"/>
                <a:ext cx="3509963" cy="4416425"/>
              </a:xfrm>
              <a:custGeom>
                <a:avLst/>
                <a:gdLst>
                  <a:gd name="T0" fmla="*/ 56 w 58"/>
                  <a:gd name="T1" fmla="*/ 11 h 73"/>
                  <a:gd name="T2" fmla="*/ 58 w 58"/>
                  <a:gd name="T3" fmla="*/ 7 h 73"/>
                  <a:gd name="T4" fmla="*/ 51 w 58"/>
                  <a:gd name="T5" fmla="*/ 0 h 73"/>
                  <a:gd name="T6" fmla="*/ 44 w 58"/>
                  <a:gd name="T7" fmla="*/ 7 h 73"/>
                  <a:gd name="T8" fmla="*/ 35 w 58"/>
                  <a:gd name="T9" fmla="*/ 26 h 73"/>
                  <a:gd name="T10" fmla="*/ 22 w 58"/>
                  <a:gd name="T11" fmla="*/ 51 h 73"/>
                  <a:gd name="T12" fmla="*/ 20 w 58"/>
                  <a:gd name="T13" fmla="*/ 55 h 73"/>
                  <a:gd name="T14" fmla="*/ 19 w 58"/>
                  <a:gd name="T15" fmla="*/ 55 h 73"/>
                  <a:gd name="T16" fmla="*/ 19 w 58"/>
                  <a:gd name="T17" fmla="*/ 50 h 73"/>
                  <a:gd name="T18" fmla="*/ 19 w 58"/>
                  <a:gd name="T19" fmla="*/ 37 h 73"/>
                  <a:gd name="T20" fmla="*/ 19 w 58"/>
                  <a:gd name="T21" fmla="*/ 32 h 73"/>
                  <a:gd name="T22" fmla="*/ 18 w 58"/>
                  <a:gd name="T23" fmla="*/ 27 h 73"/>
                  <a:gd name="T24" fmla="*/ 19 w 58"/>
                  <a:gd name="T25" fmla="*/ 26 h 73"/>
                  <a:gd name="T26" fmla="*/ 18 w 58"/>
                  <a:gd name="T27" fmla="*/ 24 h 73"/>
                  <a:gd name="T28" fmla="*/ 18 w 58"/>
                  <a:gd name="T29" fmla="*/ 22 h 73"/>
                  <a:gd name="T30" fmla="*/ 18 w 58"/>
                  <a:gd name="T31" fmla="*/ 22 h 73"/>
                  <a:gd name="T32" fmla="*/ 3 w 58"/>
                  <a:gd name="T33" fmla="*/ 14 h 73"/>
                  <a:gd name="T34" fmla="*/ 0 w 58"/>
                  <a:gd name="T35" fmla="*/ 16 h 73"/>
                  <a:gd name="T36" fmla="*/ 0 w 58"/>
                  <a:gd name="T37" fmla="*/ 17 h 73"/>
                  <a:gd name="T38" fmla="*/ 5 w 58"/>
                  <a:gd name="T39" fmla="*/ 59 h 73"/>
                  <a:gd name="T40" fmla="*/ 8 w 58"/>
                  <a:gd name="T41" fmla="*/ 69 h 73"/>
                  <a:gd name="T42" fmla="*/ 17 w 58"/>
                  <a:gd name="T43" fmla="*/ 73 h 73"/>
                  <a:gd name="T44" fmla="*/ 19 w 58"/>
                  <a:gd name="T45" fmla="*/ 73 h 73"/>
                  <a:gd name="T46" fmla="*/ 19 w 58"/>
                  <a:gd name="T47" fmla="*/ 73 h 73"/>
                  <a:gd name="T48" fmla="*/ 22 w 58"/>
                  <a:gd name="T49" fmla="*/ 68 h 73"/>
                  <a:gd name="T50" fmla="*/ 28 w 58"/>
                  <a:gd name="T51" fmla="*/ 55 h 73"/>
                  <a:gd name="T52" fmla="*/ 38 w 58"/>
                  <a:gd name="T53" fmla="*/ 35 h 73"/>
                  <a:gd name="T54" fmla="*/ 42 w 58"/>
                  <a:gd name="T55" fmla="*/ 28 h 73"/>
                  <a:gd name="T56" fmla="*/ 42 w 58"/>
                  <a:gd name="T57" fmla="*/ 28 h 73"/>
                  <a:gd name="T58" fmla="*/ 46 w 58"/>
                  <a:gd name="T59" fmla="*/ 24 h 73"/>
                  <a:gd name="T60" fmla="*/ 56 w 58"/>
                  <a:gd name="T61" fmla="*/ 1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8" h="73">
                    <a:moveTo>
                      <a:pt x="56" y="11"/>
                    </a:moveTo>
                    <a:cubicBezTo>
                      <a:pt x="58" y="9"/>
                      <a:pt x="58" y="8"/>
                      <a:pt x="58" y="7"/>
                    </a:cubicBezTo>
                    <a:cubicBezTo>
                      <a:pt x="58" y="3"/>
                      <a:pt x="57" y="1"/>
                      <a:pt x="51" y="0"/>
                    </a:cubicBezTo>
                    <a:cubicBezTo>
                      <a:pt x="49" y="0"/>
                      <a:pt x="47" y="3"/>
                      <a:pt x="44" y="7"/>
                    </a:cubicBezTo>
                    <a:cubicBezTo>
                      <a:pt x="41" y="17"/>
                      <a:pt x="38" y="23"/>
                      <a:pt x="35" y="26"/>
                    </a:cubicBezTo>
                    <a:cubicBezTo>
                      <a:pt x="29" y="39"/>
                      <a:pt x="25" y="47"/>
                      <a:pt x="22" y="51"/>
                    </a:cubicBezTo>
                    <a:cubicBezTo>
                      <a:pt x="21" y="54"/>
                      <a:pt x="20" y="55"/>
                      <a:pt x="20" y="55"/>
                    </a:cubicBezTo>
                    <a:cubicBezTo>
                      <a:pt x="19" y="55"/>
                      <a:pt x="19" y="55"/>
                      <a:pt x="19" y="55"/>
                    </a:cubicBezTo>
                    <a:cubicBezTo>
                      <a:pt x="19" y="55"/>
                      <a:pt x="19" y="55"/>
                      <a:pt x="19" y="50"/>
                    </a:cubicBezTo>
                    <a:cubicBezTo>
                      <a:pt x="19" y="37"/>
                      <a:pt x="19" y="37"/>
                      <a:pt x="19" y="37"/>
                    </a:cubicBezTo>
                    <a:cubicBezTo>
                      <a:pt x="19" y="32"/>
                      <a:pt x="19" y="32"/>
                      <a:pt x="19" y="32"/>
                    </a:cubicBezTo>
                    <a:cubicBezTo>
                      <a:pt x="18" y="27"/>
                      <a:pt x="18" y="27"/>
                      <a:pt x="18" y="27"/>
                    </a:cubicBezTo>
                    <a:cubicBezTo>
                      <a:pt x="19" y="26"/>
                      <a:pt x="19" y="26"/>
                      <a:pt x="19" y="26"/>
                    </a:cubicBezTo>
                    <a:cubicBezTo>
                      <a:pt x="18" y="24"/>
                      <a:pt x="18" y="24"/>
                      <a:pt x="18" y="24"/>
                    </a:cubicBezTo>
                    <a:cubicBezTo>
                      <a:pt x="18" y="22"/>
                      <a:pt x="18" y="22"/>
                      <a:pt x="18" y="22"/>
                    </a:cubicBezTo>
                    <a:cubicBezTo>
                      <a:pt x="18" y="22"/>
                      <a:pt x="18" y="22"/>
                      <a:pt x="18" y="22"/>
                    </a:cubicBezTo>
                    <a:cubicBezTo>
                      <a:pt x="18" y="19"/>
                      <a:pt x="13" y="16"/>
                      <a:pt x="3" y="14"/>
                    </a:cubicBezTo>
                    <a:cubicBezTo>
                      <a:pt x="1" y="15"/>
                      <a:pt x="0" y="15"/>
                      <a:pt x="0" y="16"/>
                    </a:cubicBezTo>
                    <a:cubicBezTo>
                      <a:pt x="0" y="17"/>
                      <a:pt x="0" y="17"/>
                      <a:pt x="0" y="17"/>
                    </a:cubicBezTo>
                    <a:cubicBezTo>
                      <a:pt x="2" y="17"/>
                      <a:pt x="3" y="31"/>
                      <a:pt x="5" y="59"/>
                    </a:cubicBezTo>
                    <a:cubicBezTo>
                      <a:pt x="5" y="64"/>
                      <a:pt x="6" y="68"/>
                      <a:pt x="8" y="69"/>
                    </a:cubicBezTo>
                    <a:cubicBezTo>
                      <a:pt x="11" y="72"/>
                      <a:pt x="14" y="73"/>
                      <a:pt x="17" y="73"/>
                    </a:cubicBezTo>
                    <a:cubicBezTo>
                      <a:pt x="19" y="73"/>
                      <a:pt x="19" y="73"/>
                      <a:pt x="19" y="73"/>
                    </a:cubicBezTo>
                    <a:cubicBezTo>
                      <a:pt x="19" y="73"/>
                      <a:pt x="19" y="73"/>
                      <a:pt x="19" y="73"/>
                    </a:cubicBezTo>
                    <a:cubicBezTo>
                      <a:pt x="19" y="73"/>
                      <a:pt x="20" y="73"/>
                      <a:pt x="22" y="68"/>
                    </a:cubicBezTo>
                    <a:cubicBezTo>
                      <a:pt x="28" y="55"/>
                      <a:pt x="28" y="55"/>
                      <a:pt x="28" y="55"/>
                    </a:cubicBezTo>
                    <a:cubicBezTo>
                      <a:pt x="33" y="43"/>
                      <a:pt x="36" y="37"/>
                      <a:pt x="38" y="35"/>
                    </a:cubicBezTo>
                    <a:cubicBezTo>
                      <a:pt x="40" y="31"/>
                      <a:pt x="41" y="29"/>
                      <a:pt x="42" y="28"/>
                    </a:cubicBezTo>
                    <a:cubicBezTo>
                      <a:pt x="42" y="28"/>
                      <a:pt x="42" y="28"/>
                      <a:pt x="42" y="28"/>
                    </a:cubicBezTo>
                    <a:cubicBezTo>
                      <a:pt x="42" y="28"/>
                      <a:pt x="42" y="28"/>
                      <a:pt x="46" y="24"/>
                    </a:cubicBezTo>
                    <a:lnTo>
                      <a:pt x="56"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C00000"/>
                  </a:solidFill>
                </a:endParaRPr>
              </a:p>
            </p:txBody>
          </p:sp>
          <p:sp>
            <p:nvSpPr>
              <p:cNvPr id="44" name="Freeform 28"/>
              <p:cNvSpPr>
                <a:spLocks noEditPoints="1"/>
              </p:cNvSpPr>
              <p:nvPr userDrawn="1"/>
            </p:nvSpPr>
            <p:spPr bwMode="auto">
              <a:xfrm>
                <a:off x="-5410200" y="6969125"/>
                <a:ext cx="2541588" cy="4113213"/>
              </a:xfrm>
              <a:custGeom>
                <a:avLst/>
                <a:gdLst>
                  <a:gd name="T0" fmla="*/ 26 w 42"/>
                  <a:gd name="T1" fmla="*/ 1 h 68"/>
                  <a:gd name="T2" fmla="*/ 26 w 42"/>
                  <a:gd name="T3" fmla="*/ 1 h 68"/>
                  <a:gd name="T4" fmla="*/ 22 w 42"/>
                  <a:gd name="T5" fmla="*/ 4 h 68"/>
                  <a:gd name="T6" fmla="*/ 13 w 42"/>
                  <a:gd name="T7" fmla="*/ 16 h 68"/>
                  <a:gd name="T8" fmla="*/ 13 w 42"/>
                  <a:gd name="T9" fmla="*/ 16 h 68"/>
                  <a:gd name="T10" fmla="*/ 12 w 42"/>
                  <a:gd name="T11" fmla="*/ 18 h 68"/>
                  <a:gd name="T12" fmla="*/ 8 w 42"/>
                  <a:gd name="T13" fmla="*/ 24 h 68"/>
                  <a:gd name="T14" fmla="*/ 0 w 42"/>
                  <a:gd name="T15" fmla="*/ 52 h 68"/>
                  <a:gd name="T16" fmla="*/ 0 w 42"/>
                  <a:gd name="T17" fmla="*/ 54 h 68"/>
                  <a:gd name="T18" fmla="*/ 4 w 42"/>
                  <a:gd name="T19" fmla="*/ 61 h 68"/>
                  <a:gd name="T20" fmla="*/ 14 w 42"/>
                  <a:gd name="T21" fmla="*/ 68 h 68"/>
                  <a:gd name="T22" fmla="*/ 19 w 42"/>
                  <a:gd name="T23" fmla="*/ 66 h 68"/>
                  <a:gd name="T24" fmla="*/ 23 w 42"/>
                  <a:gd name="T25" fmla="*/ 62 h 68"/>
                  <a:gd name="T26" fmla="*/ 32 w 42"/>
                  <a:gd name="T27" fmla="*/ 48 h 68"/>
                  <a:gd name="T28" fmla="*/ 32 w 42"/>
                  <a:gd name="T29" fmla="*/ 47 h 68"/>
                  <a:gd name="T30" fmla="*/ 31 w 42"/>
                  <a:gd name="T31" fmla="*/ 47 h 68"/>
                  <a:gd name="T32" fmla="*/ 30 w 42"/>
                  <a:gd name="T33" fmla="*/ 47 h 68"/>
                  <a:gd name="T34" fmla="*/ 14 w 42"/>
                  <a:gd name="T35" fmla="*/ 63 h 68"/>
                  <a:gd name="T36" fmla="*/ 12 w 42"/>
                  <a:gd name="T37" fmla="*/ 61 h 68"/>
                  <a:gd name="T38" fmla="*/ 21 w 42"/>
                  <a:gd name="T39" fmla="*/ 27 h 68"/>
                  <a:gd name="T40" fmla="*/ 24 w 42"/>
                  <a:gd name="T41" fmla="*/ 28 h 68"/>
                  <a:gd name="T42" fmla="*/ 28 w 42"/>
                  <a:gd name="T43" fmla="*/ 27 h 68"/>
                  <a:gd name="T44" fmla="*/ 34 w 42"/>
                  <a:gd name="T45" fmla="*/ 25 h 68"/>
                  <a:gd name="T46" fmla="*/ 42 w 42"/>
                  <a:gd name="T47" fmla="*/ 15 h 68"/>
                  <a:gd name="T48" fmla="*/ 42 w 42"/>
                  <a:gd name="T49" fmla="*/ 11 h 68"/>
                  <a:gd name="T50" fmla="*/ 29 w 42"/>
                  <a:gd name="T51" fmla="*/ 0 h 68"/>
                  <a:gd name="T52" fmla="*/ 26 w 42"/>
                  <a:gd name="T53" fmla="*/ 1 h 68"/>
                  <a:gd name="T54" fmla="*/ 24 w 42"/>
                  <a:gd name="T55" fmla="*/ 23 h 68"/>
                  <a:gd name="T56" fmla="*/ 24 w 42"/>
                  <a:gd name="T57" fmla="*/ 23 h 68"/>
                  <a:gd name="T58" fmla="*/ 34 w 42"/>
                  <a:gd name="T59" fmla="*/ 13 h 68"/>
                  <a:gd name="T60" fmla="*/ 35 w 42"/>
                  <a:gd name="T61" fmla="*/ 13 h 68"/>
                  <a:gd name="T62" fmla="*/ 35 w 42"/>
                  <a:gd name="T63" fmla="*/ 13 h 68"/>
                  <a:gd name="T64" fmla="*/ 26 w 42"/>
                  <a:gd name="T65" fmla="*/ 24 h 68"/>
                  <a:gd name="T66" fmla="*/ 24 w 42"/>
                  <a:gd name="T67" fmla="*/ 24 h 68"/>
                  <a:gd name="T68" fmla="*/ 24 w 42"/>
                  <a:gd name="T69" fmla="*/ 2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 h="68">
                    <a:moveTo>
                      <a:pt x="26" y="1"/>
                    </a:moveTo>
                    <a:cubicBezTo>
                      <a:pt x="26" y="1"/>
                      <a:pt x="26" y="1"/>
                      <a:pt x="26" y="1"/>
                    </a:cubicBezTo>
                    <a:cubicBezTo>
                      <a:pt x="22" y="4"/>
                      <a:pt x="22" y="4"/>
                      <a:pt x="22" y="4"/>
                    </a:cubicBezTo>
                    <a:cubicBezTo>
                      <a:pt x="18" y="8"/>
                      <a:pt x="15" y="11"/>
                      <a:pt x="13" y="16"/>
                    </a:cubicBezTo>
                    <a:cubicBezTo>
                      <a:pt x="13" y="16"/>
                      <a:pt x="13" y="16"/>
                      <a:pt x="13" y="16"/>
                    </a:cubicBezTo>
                    <a:cubicBezTo>
                      <a:pt x="13" y="16"/>
                      <a:pt x="13" y="16"/>
                      <a:pt x="12" y="18"/>
                    </a:cubicBezTo>
                    <a:cubicBezTo>
                      <a:pt x="8" y="24"/>
                      <a:pt x="8" y="24"/>
                      <a:pt x="8" y="24"/>
                    </a:cubicBezTo>
                    <a:cubicBezTo>
                      <a:pt x="3" y="37"/>
                      <a:pt x="0" y="46"/>
                      <a:pt x="0" y="52"/>
                    </a:cubicBezTo>
                    <a:cubicBezTo>
                      <a:pt x="0" y="54"/>
                      <a:pt x="0" y="54"/>
                      <a:pt x="0" y="54"/>
                    </a:cubicBezTo>
                    <a:cubicBezTo>
                      <a:pt x="0" y="56"/>
                      <a:pt x="1" y="58"/>
                      <a:pt x="4" y="61"/>
                    </a:cubicBezTo>
                    <a:cubicBezTo>
                      <a:pt x="7" y="66"/>
                      <a:pt x="10" y="68"/>
                      <a:pt x="14" y="68"/>
                    </a:cubicBezTo>
                    <a:cubicBezTo>
                      <a:pt x="17" y="68"/>
                      <a:pt x="19" y="67"/>
                      <a:pt x="19" y="66"/>
                    </a:cubicBezTo>
                    <a:cubicBezTo>
                      <a:pt x="22" y="64"/>
                      <a:pt x="23" y="63"/>
                      <a:pt x="23" y="62"/>
                    </a:cubicBezTo>
                    <a:cubicBezTo>
                      <a:pt x="28" y="57"/>
                      <a:pt x="31" y="52"/>
                      <a:pt x="32" y="48"/>
                    </a:cubicBezTo>
                    <a:cubicBezTo>
                      <a:pt x="32" y="47"/>
                      <a:pt x="32" y="47"/>
                      <a:pt x="32" y="47"/>
                    </a:cubicBezTo>
                    <a:cubicBezTo>
                      <a:pt x="31" y="47"/>
                      <a:pt x="31" y="47"/>
                      <a:pt x="31" y="47"/>
                    </a:cubicBezTo>
                    <a:cubicBezTo>
                      <a:pt x="30" y="47"/>
                      <a:pt x="30" y="47"/>
                      <a:pt x="30" y="47"/>
                    </a:cubicBezTo>
                    <a:cubicBezTo>
                      <a:pt x="25" y="55"/>
                      <a:pt x="20" y="60"/>
                      <a:pt x="14" y="63"/>
                    </a:cubicBezTo>
                    <a:cubicBezTo>
                      <a:pt x="13" y="63"/>
                      <a:pt x="12" y="62"/>
                      <a:pt x="12" y="61"/>
                    </a:cubicBezTo>
                    <a:cubicBezTo>
                      <a:pt x="12" y="53"/>
                      <a:pt x="15" y="41"/>
                      <a:pt x="21" y="27"/>
                    </a:cubicBezTo>
                    <a:cubicBezTo>
                      <a:pt x="24" y="28"/>
                      <a:pt x="24" y="28"/>
                      <a:pt x="24" y="28"/>
                    </a:cubicBezTo>
                    <a:cubicBezTo>
                      <a:pt x="24" y="28"/>
                      <a:pt x="26" y="28"/>
                      <a:pt x="28" y="27"/>
                    </a:cubicBezTo>
                    <a:cubicBezTo>
                      <a:pt x="34" y="25"/>
                      <a:pt x="34" y="25"/>
                      <a:pt x="34" y="25"/>
                    </a:cubicBezTo>
                    <a:cubicBezTo>
                      <a:pt x="38" y="23"/>
                      <a:pt x="40" y="20"/>
                      <a:pt x="42" y="15"/>
                    </a:cubicBezTo>
                    <a:cubicBezTo>
                      <a:pt x="42" y="11"/>
                      <a:pt x="42" y="11"/>
                      <a:pt x="42" y="11"/>
                    </a:cubicBezTo>
                    <a:cubicBezTo>
                      <a:pt x="41" y="8"/>
                      <a:pt x="37" y="4"/>
                      <a:pt x="29" y="0"/>
                    </a:cubicBezTo>
                    <a:lnTo>
                      <a:pt x="26" y="1"/>
                    </a:lnTo>
                    <a:close/>
                    <a:moveTo>
                      <a:pt x="24" y="23"/>
                    </a:moveTo>
                    <a:cubicBezTo>
                      <a:pt x="24" y="23"/>
                      <a:pt x="24" y="23"/>
                      <a:pt x="24" y="23"/>
                    </a:cubicBezTo>
                    <a:cubicBezTo>
                      <a:pt x="29" y="16"/>
                      <a:pt x="33" y="13"/>
                      <a:pt x="34" y="13"/>
                    </a:cubicBezTo>
                    <a:cubicBezTo>
                      <a:pt x="35" y="13"/>
                      <a:pt x="35" y="13"/>
                      <a:pt x="35" y="13"/>
                    </a:cubicBezTo>
                    <a:cubicBezTo>
                      <a:pt x="35" y="13"/>
                      <a:pt x="35" y="13"/>
                      <a:pt x="35" y="13"/>
                    </a:cubicBezTo>
                    <a:cubicBezTo>
                      <a:pt x="32" y="21"/>
                      <a:pt x="29" y="24"/>
                      <a:pt x="26" y="24"/>
                    </a:cubicBezTo>
                    <a:cubicBezTo>
                      <a:pt x="24" y="24"/>
                      <a:pt x="24" y="24"/>
                      <a:pt x="24" y="24"/>
                    </a:cubicBezTo>
                    <a:lnTo>
                      <a:pt x="24"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C00000"/>
                  </a:solidFill>
                </a:endParaRPr>
              </a:p>
            </p:txBody>
          </p:sp>
          <p:sp>
            <p:nvSpPr>
              <p:cNvPr id="45" name="Freeform 29"/>
              <p:cNvSpPr>
                <a:spLocks noEditPoints="1"/>
              </p:cNvSpPr>
              <p:nvPr userDrawn="1"/>
            </p:nvSpPr>
            <p:spPr bwMode="auto">
              <a:xfrm>
                <a:off x="-21259800" y="8299450"/>
                <a:ext cx="9739313" cy="2782888"/>
              </a:xfrm>
              <a:custGeom>
                <a:avLst/>
                <a:gdLst>
                  <a:gd name="T0" fmla="*/ 32 w 161"/>
                  <a:gd name="T1" fmla="*/ 28 h 46"/>
                  <a:gd name="T2" fmla="*/ 22 w 161"/>
                  <a:gd name="T3" fmla="*/ 38 h 46"/>
                  <a:gd name="T4" fmla="*/ 10 w 161"/>
                  <a:gd name="T5" fmla="*/ 23 h 46"/>
                  <a:gd name="T6" fmla="*/ 22 w 161"/>
                  <a:gd name="T7" fmla="*/ 8 h 46"/>
                  <a:gd name="T8" fmla="*/ 32 w 161"/>
                  <a:gd name="T9" fmla="*/ 16 h 46"/>
                  <a:gd name="T10" fmla="*/ 41 w 161"/>
                  <a:gd name="T11" fmla="*/ 16 h 46"/>
                  <a:gd name="T12" fmla="*/ 22 w 161"/>
                  <a:gd name="T13" fmla="*/ 0 h 46"/>
                  <a:gd name="T14" fmla="*/ 0 w 161"/>
                  <a:gd name="T15" fmla="*/ 23 h 46"/>
                  <a:gd name="T16" fmla="*/ 22 w 161"/>
                  <a:gd name="T17" fmla="*/ 46 h 46"/>
                  <a:gd name="T18" fmla="*/ 41 w 161"/>
                  <a:gd name="T19" fmla="*/ 28 h 46"/>
                  <a:gd name="T20" fmla="*/ 32 w 161"/>
                  <a:gd name="T21" fmla="*/ 28 h 46"/>
                  <a:gd name="T22" fmla="*/ 55 w 161"/>
                  <a:gd name="T23" fmla="*/ 1 h 46"/>
                  <a:gd name="T24" fmla="*/ 46 w 161"/>
                  <a:gd name="T25" fmla="*/ 1 h 46"/>
                  <a:gd name="T26" fmla="*/ 46 w 161"/>
                  <a:gd name="T27" fmla="*/ 9 h 46"/>
                  <a:gd name="T28" fmla="*/ 55 w 161"/>
                  <a:gd name="T29" fmla="*/ 9 h 46"/>
                  <a:gd name="T30" fmla="*/ 55 w 161"/>
                  <a:gd name="T31" fmla="*/ 1 h 46"/>
                  <a:gd name="T32" fmla="*/ 55 w 161"/>
                  <a:gd name="T33" fmla="*/ 13 h 46"/>
                  <a:gd name="T34" fmla="*/ 46 w 161"/>
                  <a:gd name="T35" fmla="*/ 13 h 46"/>
                  <a:gd name="T36" fmla="*/ 46 w 161"/>
                  <a:gd name="T37" fmla="*/ 45 h 46"/>
                  <a:gd name="T38" fmla="*/ 55 w 161"/>
                  <a:gd name="T39" fmla="*/ 45 h 46"/>
                  <a:gd name="T40" fmla="*/ 55 w 161"/>
                  <a:gd name="T41" fmla="*/ 13 h 46"/>
                  <a:gd name="T42" fmla="*/ 73 w 161"/>
                  <a:gd name="T43" fmla="*/ 12 h 46"/>
                  <a:gd name="T44" fmla="*/ 60 w 161"/>
                  <a:gd name="T45" fmla="*/ 22 h 46"/>
                  <a:gd name="T46" fmla="*/ 69 w 161"/>
                  <a:gd name="T47" fmla="*/ 31 h 46"/>
                  <a:gd name="T48" fmla="*/ 73 w 161"/>
                  <a:gd name="T49" fmla="*/ 32 h 46"/>
                  <a:gd name="T50" fmla="*/ 80 w 161"/>
                  <a:gd name="T51" fmla="*/ 37 h 46"/>
                  <a:gd name="T52" fmla="*/ 74 w 161"/>
                  <a:gd name="T53" fmla="*/ 40 h 46"/>
                  <a:gd name="T54" fmla="*/ 68 w 161"/>
                  <a:gd name="T55" fmla="*/ 35 h 46"/>
                  <a:gd name="T56" fmla="*/ 59 w 161"/>
                  <a:gd name="T57" fmla="*/ 35 h 46"/>
                  <a:gd name="T58" fmla="*/ 74 w 161"/>
                  <a:gd name="T59" fmla="*/ 46 h 46"/>
                  <a:gd name="T60" fmla="*/ 89 w 161"/>
                  <a:gd name="T61" fmla="*/ 36 h 46"/>
                  <a:gd name="T62" fmla="*/ 79 w 161"/>
                  <a:gd name="T63" fmla="*/ 26 h 46"/>
                  <a:gd name="T64" fmla="*/ 75 w 161"/>
                  <a:gd name="T65" fmla="*/ 25 h 46"/>
                  <a:gd name="T66" fmla="*/ 69 w 161"/>
                  <a:gd name="T67" fmla="*/ 21 h 46"/>
                  <a:gd name="T68" fmla="*/ 74 w 161"/>
                  <a:gd name="T69" fmla="*/ 19 h 46"/>
                  <a:gd name="T70" fmla="*/ 80 w 161"/>
                  <a:gd name="T71" fmla="*/ 23 h 46"/>
                  <a:gd name="T72" fmla="*/ 88 w 161"/>
                  <a:gd name="T73" fmla="*/ 23 h 46"/>
                  <a:gd name="T74" fmla="*/ 73 w 161"/>
                  <a:gd name="T75" fmla="*/ 12 h 46"/>
                  <a:gd name="T76" fmla="*/ 116 w 161"/>
                  <a:gd name="T77" fmla="*/ 34 h 46"/>
                  <a:gd name="T78" fmla="*/ 109 w 161"/>
                  <a:gd name="T79" fmla="*/ 40 h 46"/>
                  <a:gd name="T80" fmla="*/ 101 w 161"/>
                  <a:gd name="T81" fmla="*/ 29 h 46"/>
                  <a:gd name="T82" fmla="*/ 109 w 161"/>
                  <a:gd name="T83" fmla="*/ 19 h 46"/>
                  <a:gd name="T84" fmla="*/ 115 w 161"/>
                  <a:gd name="T85" fmla="*/ 24 h 46"/>
                  <a:gd name="T86" fmla="*/ 124 w 161"/>
                  <a:gd name="T87" fmla="*/ 24 h 46"/>
                  <a:gd name="T88" fmla="*/ 109 w 161"/>
                  <a:gd name="T89" fmla="*/ 12 h 46"/>
                  <a:gd name="T90" fmla="*/ 92 w 161"/>
                  <a:gd name="T91" fmla="*/ 29 h 46"/>
                  <a:gd name="T92" fmla="*/ 109 w 161"/>
                  <a:gd name="T93" fmla="*/ 46 h 46"/>
                  <a:gd name="T94" fmla="*/ 125 w 161"/>
                  <a:gd name="T95" fmla="*/ 34 h 46"/>
                  <a:gd name="T96" fmla="*/ 116 w 161"/>
                  <a:gd name="T97" fmla="*/ 34 h 46"/>
                  <a:gd name="T98" fmla="*/ 127 w 161"/>
                  <a:gd name="T99" fmla="*/ 29 h 46"/>
                  <a:gd name="T100" fmla="*/ 144 w 161"/>
                  <a:gd name="T101" fmla="*/ 46 h 46"/>
                  <a:gd name="T102" fmla="*/ 161 w 161"/>
                  <a:gd name="T103" fmla="*/ 29 h 46"/>
                  <a:gd name="T104" fmla="*/ 144 w 161"/>
                  <a:gd name="T105" fmla="*/ 12 h 46"/>
                  <a:gd name="T106" fmla="*/ 127 w 161"/>
                  <a:gd name="T107" fmla="*/ 29 h 46"/>
                  <a:gd name="T108" fmla="*/ 144 w 161"/>
                  <a:gd name="T109" fmla="*/ 19 h 46"/>
                  <a:gd name="T110" fmla="*/ 152 w 161"/>
                  <a:gd name="T111" fmla="*/ 29 h 46"/>
                  <a:gd name="T112" fmla="*/ 144 w 161"/>
                  <a:gd name="T113" fmla="*/ 40 h 46"/>
                  <a:gd name="T114" fmla="*/ 137 w 161"/>
                  <a:gd name="T115" fmla="*/ 29 h 46"/>
                  <a:gd name="T116" fmla="*/ 144 w 161"/>
                  <a:gd name="T117" fmla="*/ 1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1" h="46">
                    <a:moveTo>
                      <a:pt x="32" y="28"/>
                    </a:moveTo>
                    <a:cubicBezTo>
                      <a:pt x="32" y="32"/>
                      <a:pt x="30" y="38"/>
                      <a:pt x="22" y="38"/>
                    </a:cubicBezTo>
                    <a:cubicBezTo>
                      <a:pt x="15" y="38"/>
                      <a:pt x="10" y="33"/>
                      <a:pt x="10" y="23"/>
                    </a:cubicBezTo>
                    <a:cubicBezTo>
                      <a:pt x="10" y="14"/>
                      <a:pt x="14" y="8"/>
                      <a:pt x="22" y="8"/>
                    </a:cubicBezTo>
                    <a:cubicBezTo>
                      <a:pt x="28" y="8"/>
                      <a:pt x="31" y="13"/>
                      <a:pt x="32" y="16"/>
                    </a:cubicBezTo>
                    <a:cubicBezTo>
                      <a:pt x="41" y="16"/>
                      <a:pt x="41" y="16"/>
                      <a:pt x="41" y="16"/>
                    </a:cubicBezTo>
                    <a:cubicBezTo>
                      <a:pt x="41" y="10"/>
                      <a:pt x="36" y="0"/>
                      <a:pt x="22" y="0"/>
                    </a:cubicBezTo>
                    <a:cubicBezTo>
                      <a:pt x="9" y="0"/>
                      <a:pt x="0" y="10"/>
                      <a:pt x="0" y="23"/>
                    </a:cubicBezTo>
                    <a:cubicBezTo>
                      <a:pt x="0" y="37"/>
                      <a:pt x="9" y="46"/>
                      <a:pt x="22" y="46"/>
                    </a:cubicBezTo>
                    <a:cubicBezTo>
                      <a:pt x="37" y="46"/>
                      <a:pt x="41" y="35"/>
                      <a:pt x="41" y="28"/>
                    </a:cubicBezTo>
                    <a:lnTo>
                      <a:pt x="32" y="28"/>
                    </a:lnTo>
                    <a:close/>
                    <a:moveTo>
                      <a:pt x="55" y="1"/>
                    </a:moveTo>
                    <a:cubicBezTo>
                      <a:pt x="46" y="1"/>
                      <a:pt x="46" y="1"/>
                      <a:pt x="46" y="1"/>
                    </a:cubicBezTo>
                    <a:cubicBezTo>
                      <a:pt x="46" y="9"/>
                      <a:pt x="46" y="9"/>
                      <a:pt x="46" y="9"/>
                    </a:cubicBezTo>
                    <a:cubicBezTo>
                      <a:pt x="55" y="9"/>
                      <a:pt x="55" y="9"/>
                      <a:pt x="55" y="9"/>
                    </a:cubicBezTo>
                    <a:lnTo>
                      <a:pt x="55" y="1"/>
                    </a:lnTo>
                    <a:close/>
                    <a:moveTo>
                      <a:pt x="55" y="13"/>
                    </a:moveTo>
                    <a:cubicBezTo>
                      <a:pt x="46" y="13"/>
                      <a:pt x="46" y="13"/>
                      <a:pt x="46" y="13"/>
                    </a:cubicBezTo>
                    <a:cubicBezTo>
                      <a:pt x="46" y="45"/>
                      <a:pt x="46" y="45"/>
                      <a:pt x="46" y="45"/>
                    </a:cubicBezTo>
                    <a:cubicBezTo>
                      <a:pt x="55" y="45"/>
                      <a:pt x="55" y="45"/>
                      <a:pt x="55" y="45"/>
                    </a:cubicBezTo>
                    <a:lnTo>
                      <a:pt x="55" y="13"/>
                    </a:lnTo>
                    <a:close/>
                    <a:moveTo>
                      <a:pt x="73" y="12"/>
                    </a:moveTo>
                    <a:cubicBezTo>
                      <a:pt x="63" y="12"/>
                      <a:pt x="60" y="17"/>
                      <a:pt x="60" y="22"/>
                    </a:cubicBezTo>
                    <a:cubicBezTo>
                      <a:pt x="60" y="29"/>
                      <a:pt x="66" y="31"/>
                      <a:pt x="69" y="31"/>
                    </a:cubicBezTo>
                    <a:cubicBezTo>
                      <a:pt x="70" y="32"/>
                      <a:pt x="72" y="32"/>
                      <a:pt x="73" y="32"/>
                    </a:cubicBezTo>
                    <a:cubicBezTo>
                      <a:pt x="76" y="33"/>
                      <a:pt x="80" y="34"/>
                      <a:pt x="80" y="37"/>
                    </a:cubicBezTo>
                    <a:cubicBezTo>
                      <a:pt x="80" y="38"/>
                      <a:pt x="78" y="40"/>
                      <a:pt x="74" y="40"/>
                    </a:cubicBezTo>
                    <a:cubicBezTo>
                      <a:pt x="70" y="40"/>
                      <a:pt x="68" y="38"/>
                      <a:pt x="68" y="35"/>
                    </a:cubicBezTo>
                    <a:cubicBezTo>
                      <a:pt x="59" y="35"/>
                      <a:pt x="59" y="35"/>
                      <a:pt x="59" y="35"/>
                    </a:cubicBezTo>
                    <a:cubicBezTo>
                      <a:pt x="59" y="38"/>
                      <a:pt x="61" y="46"/>
                      <a:pt x="74" y="46"/>
                    </a:cubicBezTo>
                    <a:cubicBezTo>
                      <a:pt x="86" y="46"/>
                      <a:pt x="89" y="40"/>
                      <a:pt x="89" y="36"/>
                    </a:cubicBezTo>
                    <a:cubicBezTo>
                      <a:pt x="89" y="32"/>
                      <a:pt x="87" y="28"/>
                      <a:pt x="79" y="26"/>
                    </a:cubicBezTo>
                    <a:cubicBezTo>
                      <a:pt x="78" y="26"/>
                      <a:pt x="75" y="25"/>
                      <a:pt x="75" y="25"/>
                    </a:cubicBezTo>
                    <a:cubicBezTo>
                      <a:pt x="71" y="24"/>
                      <a:pt x="69" y="23"/>
                      <a:pt x="69" y="21"/>
                    </a:cubicBezTo>
                    <a:cubicBezTo>
                      <a:pt x="69" y="20"/>
                      <a:pt x="71" y="19"/>
                      <a:pt x="74" y="19"/>
                    </a:cubicBezTo>
                    <a:cubicBezTo>
                      <a:pt x="79" y="19"/>
                      <a:pt x="80" y="21"/>
                      <a:pt x="80" y="23"/>
                    </a:cubicBezTo>
                    <a:cubicBezTo>
                      <a:pt x="88" y="23"/>
                      <a:pt x="88" y="23"/>
                      <a:pt x="88" y="23"/>
                    </a:cubicBezTo>
                    <a:cubicBezTo>
                      <a:pt x="88" y="19"/>
                      <a:pt x="86" y="12"/>
                      <a:pt x="73" y="12"/>
                    </a:cubicBezTo>
                    <a:moveTo>
                      <a:pt x="116" y="34"/>
                    </a:moveTo>
                    <a:cubicBezTo>
                      <a:pt x="115" y="37"/>
                      <a:pt x="113" y="40"/>
                      <a:pt x="109" y="40"/>
                    </a:cubicBezTo>
                    <a:cubicBezTo>
                      <a:pt x="104" y="40"/>
                      <a:pt x="101" y="35"/>
                      <a:pt x="101" y="29"/>
                    </a:cubicBezTo>
                    <a:cubicBezTo>
                      <a:pt x="101" y="25"/>
                      <a:pt x="103" y="19"/>
                      <a:pt x="109" y="19"/>
                    </a:cubicBezTo>
                    <a:cubicBezTo>
                      <a:pt x="113" y="19"/>
                      <a:pt x="115" y="22"/>
                      <a:pt x="115" y="24"/>
                    </a:cubicBezTo>
                    <a:cubicBezTo>
                      <a:pt x="124" y="24"/>
                      <a:pt x="124" y="24"/>
                      <a:pt x="124" y="24"/>
                    </a:cubicBezTo>
                    <a:cubicBezTo>
                      <a:pt x="124" y="19"/>
                      <a:pt x="120" y="12"/>
                      <a:pt x="109" y="12"/>
                    </a:cubicBezTo>
                    <a:cubicBezTo>
                      <a:pt x="99" y="12"/>
                      <a:pt x="92" y="19"/>
                      <a:pt x="92" y="29"/>
                    </a:cubicBezTo>
                    <a:cubicBezTo>
                      <a:pt x="92" y="40"/>
                      <a:pt x="99" y="46"/>
                      <a:pt x="109" y="46"/>
                    </a:cubicBezTo>
                    <a:cubicBezTo>
                      <a:pt x="121" y="46"/>
                      <a:pt x="124" y="39"/>
                      <a:pt x="125" y="34"/>
                    </a:cubicBezTo>
                    <a:lnTo>
                      <a:pt x="116" y="34"/>
                    </a:lnTo>
                    <a:close/>
                    <a:moveTo>
                      <a:pt x="127" y="29"/>
                    </a:moveTo>
                    <a:cubicBezTo>
                      <a:pt x="127" y="40"/>
                      <a:pt x="134" y="46"/>
                      <a:pt x="144" y="46"/>
                    </a:cubicBezTo>
                    <a:cubicBezTo>
                      <a:pt x="154" y="46"/>
                      <a:pt x="161" y="40"/>
                      <a:pt x="161" y="29"/>
                    </a:cubicBezTo>
                    <a:cubicBezTo>
                      <a:pt x="161" y="19"/>
                      <a:pt x="154" y="12"/>
                      <a:pt x="144" y="12"/>
                    </a:cubicBezTo>
                    <a:cubicBezTo>
                      <a:pt x="134" y="12"/>
                      <a:pt x="127" y="19"/>
                      <a:pt x="127" y="29"/>
                    </a:cubicBezTo>
                    <a:moveTo>
                      <a:pt x="144" y="19"/>
                    </a:moveTo>
                    <a:cubicBezTo>
                      <a:pt x="149" y="19"/>
                      <a:pt x="152" y="24"/>
                      <a:pt x="152" y="29"/>
                    </a:cubicBezTo>
                    <a:cubicBezTo>
                      <a:pt x="152" y="35"/>
                      <a:pt x="149" y="40"/>
                      <a:pt x="144" y="40"/>
                    </a:cubicBezTo>
                    <a:cubicBezTo>
                      <a:pt x="139" y="40"/>
                      <a:pt x="137" y="35"/>
                      <a:pt x="137" y="29"/>
                    </a:cubicBezTo>
                    <a:cubicBezTo>
                      <a:pt x="137" y="25"/>
                      <a:pt x="138" y="19"/>
                      <a:pt x="144"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C00000"/>
                  </a:solidFill>
                </a:endParaRPr>
              </a:p>
            </p:txBody>
          </p:sp>
          <p:sp>
            <p:nvSpPr>
              <p:cNvPr id="52" name="Freeform 36"/>
              <p:cNvSpPr>
                <a:spLocks/>
              </p:cNvSpPr>
              <p:nvPr userDrawn="1"/>
            </p:nvSpPr>
            <p:spPr bwMode="auto">
              <a:xfrm>
                <a:off x="-40619363" y="-12757150"/>
                <a:ext cx="9134475" cy="16760825"/>
              </a:xfrm>
              <a:custGeom>
                <a:avLst/>
                <a:gdLst>
                  <a:gd name="T0" fmla="*/ 0 w 151"/>
                  <a:gd name="T1" fmla="*/ 202 h 277"/>
                  <a:gd name="T2" fmla="*/ 0 w 151"/>
                  <a:gd name="T3" fmla="*/ 75 h 277"/>
                  <a:gd name="T4" fmla="*/ 75 w 151"/>
                  <a:gd name="T5" fmla="*/ 0 h 277"/>
                  <a:gd name="T6" fmla="*/ 75 w 151"/>
                  <a:gd name="T7" fmla="*/ 0 h 277"/>
                  <a:gd name="T8" fmla="*/ 151 w 151"/>
                  <a:gd name="T9" fmla="*/ 75 h 277"/>
                  <a:gd name="T10" fmla="*/ 151 w 151"/>
                  <a:gd name="T11" fmla="*/ 202 h 277"/>
                  <a:gd name="T12" fmla="*/ 75 w 151"/>
                  <a:gd name="T13" fmla="*/ 277 h 277"/>
                  <a:gd name="T14" fmla="*/ 75 w 151"/>
                  <a:gd name="T15" fmla="*/ 277 h 277"/>
                  <a:gd name="T16" fmla="*/ 0 w 151"/>
                  <a:gd name="T1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277">
                    <a:moveTo>
                      <a:pt x="0" y="202"/>
                    </a:moveTo>
                    <a:cubicBezTo>
                      <a:pt x="0" y="75"/>
                      <a:pt x="0" y="75"/>
                      <a:pt x="0" y="75"/>
                    </a:cubicBezTo>
                    <a:cubicBezTo>
                      <a:pt x="0" y="34"/>
                      <a:pt x="34" y="0"/>
                      <a:pt x="75" y="0"/>
                    </a:cubicBezTo>
                    <a:cubicBezTo>
                      <a:pt x="75" y="0"/>
                      <a:pt x="75" y="0"/>
                      <a:pt x="75" y="0"/>
                    </a:cubicBezTo>
                    <a:cubicBezTo>
                      <a:pt x="117" y="0"/>
                      <a:pt x="151" y="34"/>
                      <a:pt x="151" y="75"/>
                    </a:cubicBezTo>
                    <a:cubicBezTo>
                      <a:pt x="151" y="202"/>
                      <a:pt x="151" y="202"/>
                      <a:pt x="151" y="202"/>
                    </a:cubicBezTo>
                    <a:cubicBezTo>
                      <a:pt x="151" y="243"/>
                      <a:pt x="117" y="277"/>
                      <a:pt x="75" y="277"/>
                    </a:cubicBezTo>
                    <a:cubicBezTo>
                      <a:pt x="75" y="277"/>
                      <a:pt x="75" y="277"/>
                      <a:pt x="75" y="277"/>
                    </a:cubicBezTo>
                    <a:cubicBezTo>
                      <a:pt x="34" y="277"/>
                      <a:pt x="0" y="243"/>
                      <a:pt x="0"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C00000"/>
                  </a:solidFill>
                </a:endParaRPr>
              </a:p>
            </p:txBody>
          </p:sp>
          <p:sp>
            <p:nvSpPr>
              <p:cNvPr id="53" name="Oval 37"/>
              <p:cNvSpPr>
                <a:spLocks noChangeArrowheads="1"/>
              </p:cNvSpPr>
              <p:nvPr userDrawn="1"/>
            </p:nvSpPr>
            <p:spPr bwMode="auto">
              <a:xfrm>
                <a:off x="-40619363" y="-23406100"/>
                <a:ext cx="9134475" cy="90757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C00000"/>
                  </a:solidFill>
                </a:endParaRPr>
              </a:p>
            </p:txBody>
          </p:sp>
          <p:sp>
            <p:nvSpPr>
              <p:cNvPr id="54" name="Freeform 38"/>
              <p:cNvSpPr>
                <a:spLocks/>
              </p:cNvSpPr>
              <p:nvPr userDrawn="1"/>
            </p:nvSpPr>
            <p:spPr bwMode="auto">
              <a:xfrm>
                <a:off x="-30214888" y="-23406100"/>
                <a:ext cx="20508913" cy="9075738"/>
              </a:xfrm>
              <a:custGeom>
                <a:avLst/>
                <a:gdLst>
                  <a:gd name="T0" fmla="*/ 264 w 339"/>
                  <a:gd name="T1" fmla="*/ 150 h 150"/>
                  <a:gd name="T2" fmla="*/ 75 w 339"/>
                  <a:gd name="T3" fmla="*/ 150 h 150"/>
                  <a:gd name="T4" fmla="*/ 0 w 339"/>
                  <a:gd name="T5" fmla="*/ 75 h 150"/>
                  <a:gd name="T6" fmla="*/ 0 w 339"/>
                  <a:gd name="T7" fmla="*/ 75 h 150"/>
                  <a:gd name="T8" fmla="*/ 75 w 339"/>
                  <a:gd name="T9" fmla="*/ 0 h 150"/>
                  <a:gd name="T10" fmla="*/ 264 w 339"/>
                  <a:gd name="T11" fmla="*/ 0 h 150"/>
                  <a:gd name="T12" fmla="*/ 339 w 339"/>
                  <a:gd name="T13" fmla="*/ 75 h 150"/>
                  <a:gd name="T14" fmla="*/ 339 w 339"/>
                  <a:gd name="T15" fmla="*/ 75 h 150"/>
                  <a:gd name="T16" fmla="*/ 264 w 339"/>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9" h="150">
                    <a:moveTo>
                      <a:pt x="264" y="150"/>
                    </a:moveTo>
                    <a:cubicBezTo>
                      <a:pt x="75" y="150"/>
                      <a:pt x="75" y="150"/>
                      <a:pt x="75" y="150"/>
                    </a:cubicBezTo>
                    <a:cubicBezTo>
                      <a:pt x="34" y="150"/>
                      <a:pt x="0" y="116"/>
                      <a:pt x="0" y="75"/>
                    </a:cubicBezTo>
                    <a:cubicBezTo>
                      <a:pt x="0" y="75"/>
                      <a:pt x="0" y="75"/>
                      <a:pt x="0" y="75"/>
                    </a:cubicBezTo>
                    <a:cubicBezTo>
                      <a:pt x="0" y="33"/>
                      <a:pt x="34" y="0"/>
                      <a:pt x="75" y="0"/>
                    </a:cubicBezTo>
                    <a:cubicBezTo>
                      <a:pt x="264" y="0"/>
                      <a:pt x="264" y="0"/>
                      <a:pt x="264" y="0"/>
                    </a:cubicBezTo>
                    <a:cubicBezTo>
                      <a:pt x="306" y="0"/>
                      <a:pt x="339" y="33"/>
                      <a:pt x="339" y="75"/>
                    </a:cubicBezTo>
                    <a:cubicBezTo>
                      <a:pt x="339" y="75"/>
                      <a:pt x="339" y="75"/>
                      <a:pt x="339" y="75"/>
                    </a:cubicBezTo>
                    <a:cubicBezTo>
                      <a:pt x="339" y="116"/>
                      <a:pt x="306" y="150"/>
                      <a:pt x="264"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C00000"/>
                  </a:solidFill>
                </a:endParaRPr>
              </a:p>
            </p:txBody>
          </p:sp>
          <p:sp>
            <p:nvSpPr>
              <p:cNvPr id="55" name="Freeform 39"/>
              <p:cNvSpPr>
                <a:spLocks/>
              </p:cNvSpPr>
              <p:nvPr userDrawn="1"/>
            </p:nvSpPr>
            <p:spPr bwMode="auto">
              <a:xfrm>
                <a:off x="-24466550" y="-12757150"/>
                <a:ext cx="9074150" cy="16760825"/>
              </a:xfrm>
              <a:custGeom>
                <a:avLst/>
                <a:gdLst>
                  <a:gd name="T0" fmla="*/ 0 w 150"/>
                  <a:gd name="T1" fmla="*/ 202 h 277"/>
                  <a:gd name="T2" fmla="*/ 0 w 150"/>
                  <a:gd name="T3" fmla="*/ 75 h 277"/>
                  <a:gd name="T4" fmla="*/ 75 w 150"/>
                  <a:gd name="T5" fmla="*/ 0 h 277"/>
                  <a:gd name="T6" fmla="*/ 75 w 150"/>
                  <a:gd name="T7" fmla="*/ 0 h 277"/>
                  <a:gd name="T8" fmla="*/ 150 w 150"/>
                  <a:gd name="T9" fmla="*/ 75 h 277"/>
                  <a:gd name="T10" fmla="*/ 150 w 150"/>
                  <a:gd name="T11" fmla="*/ 202 h 277"/>
                  <a:gd name="T12" fmla="*/ 75 w 150"/>
                  <a:gd name="T13" fmla="*/ 277 h 277"/>
                  <a:gd name="T14" fmla="*/ 75 w 150"/>
                  <a:gd name="T15" fmla="*/ 277 h 277"/>
                  <a:gd name="T16" fmla="*/ 0 w 150"/>
                  <a:gd name="T1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277">
                    <a:moveTo>
                      <a:pt x="0" y="202"/>
                    </a:moveTo>
                    <a:cubicBezTo>
                      <a:pt x="0" y="75"/>
                      <a:pt x="0" y="75"/>
                      <a:pt x="0" y="75"/>
                    </a:cubicBezTo>
                    <a:cubicBezTo>
                      <a:pt x="0" y="34"/>
                      <a:pt x="33" y="0"/>
                      <a:pt x="75" y="0"/>
                    </a:cubicBezTo>
                    <a:cubicBezTo>
                      <a:pt x="75" y="0"/>
                      <a:pt x="75" y="0"/>
                      <a:pt x="75" y="0"/>
                    </a:cubicBezTo>
                    <a:cubicBezTo>
                      <a:pt x="116" y="0"/>
                      <a:pt x="150" y="34"/>
                      <a:pt x="150" y="75"/>
                    </a:cubicBezTo>
                    <a:cubicBezTo>
                      <a:pt x="150" y="202"/>
                      <a:pt x="150" y="202"/>
                      <a:pt x="150" y="202"/>
                    </a:cubicBezTo>
                    <a:cubicBezTo>
                      <a:pt x="150" y="243"/>
                      <a:pt x="116" y="277"/>
                      <a:pt x="75" y="277"/>
                    </a:cubicBezTo>
                    <a:cubicBezTo>
                      <a:pt x="75" y="277"/>
                      <a:pt x="75" y="277"/>
                      <a:pt x="75" y="277"/>
                    </a:cubicBezTo>
                    <a:cubicBezTo>
                      <a:pt x="33" y="277"/>
                      <a:pt x="0" y="243"/>
                      <a:pt x="0"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C00000"/>
                  </a:solidFill>
                </a:endParaRPr>
              </a:p>
            </p:txBody>
          </p:sp>
        </p:grpSp>
        <p:grpSp>
          <p:nvGrpSpPr>
            <p:cNvPr id="61" name="Group 60"/>
            <p:cNvGrpSpPr/>
            <p:nvPr userDrawn="1"/>
          </p:nvGrpSpPr>
          <p:grpSpPr>
            <a:xfrm>
              <a:off x="5593906" y="2047382"/>
              <a:ext cx="1182542" cy="358270"/>
              <a:chOff x="-59269313" y="-32937450"/>
              <a:chExt cx="105651301" cy="32008762"/>
            </a:xfrm>
            <a:solidFill>
              <a:schemeClr val="bg1"/>
            </a:solidFill>
          </p:grpSpPr>
          <p:sp>
            <p:nvSpPr>
              <p:cNvPr id="48" name="Freeform 24"/>
              <p:cNvSpPr>
                <a:spLocks/>
              </p:cNvSpPr>
              <p:nvPr userDrawn="1"/>
            </p:nvSpPr>
            <p:spPr bwMode="auto">
              <a:xfrm>
                <a:off x="-59269313" y="-32937450"/>
                <a:ext cx="26123900" cy="31362650"/>
              </a:xfrm>
              <a:custGeom>
                <a:avLst/>
                <a:gdLst>
                  <a:gd name="T0" fmla="*/ 1097 w 16456"/>
                  <a:gd name="T1" fmla="*/ 0 h 19756"/>
                  <a:gd name="T2" fmla="*/ 8197 w 16456"/>
                  <a:gd name="T3" fmla="*/ 11049 h 19756"/>
                  <a:gd name="T4" fmla="*/ 15421 w 16456"/>
                  <a:gd name="T5" fmla="*/ 0 h 19756"/>
                  <a:gd name="T6" fmla="*/ 16456 w 16456"/>
                  <a:gd name="T7" fmla="*/ 0 h 19756"/>
                  <a:gd name="T8" fmla="*/ 8727 w 16456"/>
                  <a:gd name="T9" fmla="*/ 12048 h 19756"/>
                  <a:gd name="T10" fmla="*/ 8727 w 16456"/>
                  <a:gd name="T11" fmla="*/ 19756 h 19756"/>
                  <a:gd name="T12" fmla="*/ 7704 w 16456"/>
                  <a:gd name="T13" fmla="*/ 19756 h 19756"/>
                  <a:gd name="T14" fmla="*/ 7704 w 16456"/>
                  <a:gd name="T15" fmla="*/ 11987 h 19756"/>
                  <a:gd name="T16" fmla="*/ 0 w 16456"/>
                  <a:gd name="T17" fmla="*/ 0 h 19756"/>
                  <a:gd name="T18" fmla="*/ 1097 w 16456"/>
                  <a:gd name="T19" fmla="*/ 0 h 19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56" h="19756">
                    <a:moveTo>
                      <a:pt x="1097" y="0"/>
                    </a:moveTo>
                    <a:lnTo>
                      <a:pt x="8197" y="11049"/>
                    </a:lnTo>
                    <a:lnTo>
                      <a:pt x="15421" y="0"/>
                    </a:lnTo>
                    <a:lnTo>
                      <a:pt x="16456" y="0"/>
                    </a:lnTo>
                    <a:lnTo>
                      <a:pt x="8727" y="12048"/>
                    </a:lnTo>
                    <a:lnTo>
                      <a:pt x="8727" y="19756"/>
                    </a:lnTo>
                    <a:lnTo>
                      <a:pt x="7704" y="19756"/>
                    </a:lnTo>
                    <a:lnTo>
                      <a:pt x="7704" y="11987"/>
                    </a:lnTo>
                    <a:lnTo>
                      <a:pt x="0" y="0"/>
                    </a:lnTo>
                    <a:lnTo>
                      <a:pt x="10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0" name="Group 59"/>
              <p:cNvGrpSpPr/>
              <p:nvPr userDrawn="1"/>
            </p:nvGrpSpPr>
            <p:grpSpPr>
              <a:xfrm>
                <a:off x="-37469763" y="-32937450"/>
                <a:ext cx="83851751" cy="32008762"/>
                <a:chOff x="-37469763" y="-32937450"/>
                <a:chExt cx="83851751" cy="32008762"/>
              </a:xfrm>
              <a:grpFill/>
            </p:grpSpPr>
            <p:sp>
              <p:nvSpPr>
                <p:cNvPr id="49" name="Freeform 25"/>
                <p:cNvSpPr>
                  <a:spLocks noEditPoints="1"/>
                </p:cNvSpPr>
                <p:nvPr userDrawn="1"/>
              </p:nvSpPr>
              <p:spPr bwMode="auto">
                <a:xfrm>
                  <a:off x="-37469763" y="-24892000"/>
                  <a:ext cx="20234275" cy="23963312"/>
                </a:xfrm>
                <a:custGeom>
                  <a:avLst/>
                  <a:gdLst>
                    <a:gd name="T0" fmla="*/ 82 w 1034"/>
                    <a:gd name="T1" fmla="*/ 612 h 1224"/>
                    <a:gd name="T2" fmla="*/ 115 w 1034"/>
                    <a:gd name="T3" fmla="*/ 850 h 1224"/>
                    <a:gd name="T4" fmla="*/ 208 w 1034"/>
                    <a:gd name="T5" fmla="*/ 1021 h 1224"/>
                    <a:gd name="T6" fmla="*/ 347 w 1034"/>
                    <a:gd name="T7" fmla="*/ 1123 h 1224"/>
                    <a:gd name="T8" fmla="*/ 518 w 1034"/>
                    <a:gd name="T9" fmla="*/ 1157 h 1224"/>
                    <a:gd name="T10" fmla="*/ 692 w 1034"/>
                    <a:gd name="T11" fmla="*/ 1123 h 1224"/>
                    <a:gd name="T12" fmla="*/ 830 w 1034"/>
                    <a:gd name="T13" fmla="*/ 1021 h 1224"/>
                    <a:gd name="T14" fmla="*/ 920 w 1034"/>
                    <a:gd name="T15" fmla="*/ 850 h 1224"/>
                    <a:gd name="T16" fmla="*/ 952 w 1034"/>
                    <a:gd name="T17" fmla="*/ 612 h 1224"/>
                    <a:gd name="T18" fmla="*/ 920 w 1034"/>
                    <a:gd name="T19" fmla="*/ 374 h 1224"/>
                    <a:gd name="T20" fmla="*/ 830 w 1034"/>
                    <a:gd name="T21" fmla="*/ 203 h 1224"/>
                    <a:gd name="T22" fmla="*/ 692 w 1034"/>
                    <a:gd name="T23" fmla="*/ 100 h 1224"/>
                    <a:gd name="T24" fmla="*/ 518 w 1034"/>
                    <a:gd name="T25" fmla="*/ 67 h 1224"/>
                    <a:gd name="T26" fmla="*/ 344 w 1034"/>
                    <a:gd name="T27" fmla="*/ 102 h 1224"/>
                    <a:gd name="T28" fmla="*/ 205 w 1034"/>
                    <a:gd name="T29" fmla="*/ 204 h 1224"/>
                    <a:gd name="T30" fmla="*/ 114 w 1034"/>
                    <a:gd name="T31" fmla="*/ 374 h 1224"/>
                    <a:gd name="T32" fmla="*/ 82 w 1034"/>
                    <a:gd name="T33" fmla="*/ 612 h 1224"/>
                    <a:gd name="T34" fmla="*/ 0 w 1034"/>
                    <a:gd name="T35" fmla="*/ 612 h 1224"/>
                    <a:gd name="T36" fmla="*/ 39 w 1034"/>
                    <a:gd name="T37" fmla="*/ 346 h 1224"/>
                    <a:gd name="T38" fmla="*/ 148 w 1034"/>
                    <a:gd name="T39" fmla="*/ 155 h 1224"/>
                    <a:gd name="T40" fmla="*/ 312 w 1034"/>
                    <a:gd name="T41" fmla="*/ 39 h 1224"/>
                    <a:gd name="T42" fmla="*/ 518 w 1034"/>
                    <a:gd name="T43" fmla="*/ 0 h 1224"/>
                    <a:gd name="T44" fmla="*/ 726 w 1034"/>
                    <a:gd name="T45" fmla="*/ 39 h 1224"/>
                    <a:gd name="T46" fmla="*/ 890 w 1034"/>
                    <a:gd name="T47" fmla="*/ 156 h 1224"/>
                    <a:gd name="T48" fmla="*/ 997 w 1034"/>
                    <a:gd name="T49" fmla="*/ 349 h 1224"/>
                    <a:gd name="T50" fmla="*/ 1034 w 1034"/>
                    <a:gd name="T51" fmla="*/ 612 h 1224"/>
                    <a:gd name="T52" fmla="*/ 996 w 1034"/>
                    <a:gd name="T53" fmla="*/ 878 h 1224"/>
                    <a:gd name="T54" fmla="*/ 889 w 1034"/>
                    <a:gd name="T55" fmla="*/ 1070 h 1224"/>
                    <a:gd name="T56" fmla="*/ 726 w 1034"/>
                    <a:gd name="T57" fmla="*/ 1185 h 1224"/>
                    <a:gd name="T58" fmla="*/ 523 w 1034"/>
                    <a:gd name="T59" fmla="*/ 1224 h 1224"/>
                    <a:gd name="T60" fmla="*/ 316 w 1034"/>
                    <a:gd name="T61" fmla="*/ 1184 h 1224"/>
                    <a:gd name="T62" fmla="*/ 150 w 1034"/>
                    <a:gd name="T63" fmla="*/ 1067 h 1224"/>
                    <a:gd name="T64" fmla="*/ 40 w 1034"/>
                    <a:gd name="T65" fmla="*/ 876 h 1224"/>
                    <a:gd name="T66" fmla="*/ 0 w 1034"/>
                    <a:gd name="T67" fmla="*/ 612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4" h="1224">
                      <a:moveTo>
                        <a:pt x="82" y="612"/>
                      </a:moveTo>
                      <a:cubicBezTo>
                        <a:pt x="82" y="703"/>
                        <a:pt x="93" y="782"/>
                        <a:pt x="115" y="850"/>
                      </a:cubicBezTo>
                      <a:cubicBezTo>
                        <a:pt x="138" y="919"/>
                        <a:pt x="168" y="975"/>
                        <a:pt x="208" y="1021"/>
                      </a:cubicBezTo>
                      <a:cubicBezTo>
                        <a:pt x="247" y="1066"/>
                        <a:pt x="294" y="1100"/>
                        <a:pt x="347" y="1123"/>
                      </a:cubicBezTo>
                      <a:cubicBezTo>
                        <a:pt x="400" y="1146"/>
                        <a:pt x="458" y="1157"/>
                        <a:pt x="518" y="1157"/>
                      </a:cubicBezTo>
                      <a:cubicBezTo>
                        <a:pt x="581" y="1157"/>
                        <a:pt x="639" y="1146"/>
                        <a:pt x="692" y="1123"/>
                      </a:cubicBezTo>
                      <a:cubicBezTo>
                        <a:pt x="745" y="1100"/>
                        <a:pt x="791" y="1066"/>
                        <a:pt x="830" y="1021"/>
                      </a:cubicBezTo>
                      <a:cubicBezTo>
                        <a:pt x="868" y="975"/>
                        <a:pt x="899" y="919"/>
                        <a:pt x="920" y="850"/>
                      </a:cubicBezTo>
                      <a:cubicBezTo>
                        <a:pt x="942" y="782"/>
                        <a:pt x="952" y="703"/>
                        <a:pt x="952" y="612"/>
                      </a:cubicBezTo>
                      <a:cubicBezTo>
                        <a:pt x="952" y="522"/>
                        <a:pt x="942" y="442"/>
                        <a:pt x="920" y="374"/>
                      </a:cubicBezTo>
                      <a:cubicBezTo>
                        <a:pt x="899" y="306"/>
                        <a:pt x="868" y="249"/>
                        <a:pt x="830" y="203"/>
                      </a:cubicBezTo>
                      <a:cubicBezTo>
                        <a:pt x="791" y="157"/>
                        <a:pt x="745" y="123"/>
                        <a:pt x="692" y="100"/>
                      </a:cubicBezTo>
                      <a:cubicBezTo>
                        <a:pt x="639" y="78"/>
                        <a:pt x="581" y="67"/>
                        <a:pt x="518" y="67"/>
                      </a:cubicBezTo>
                      <a:cubicBezTo>
                        <a:pt x="456" y="67"/>
                        <a:pt x="398" y="79"/>
                        <a:pt x="344" y="102"/>
                      </a:cubicBezTo>
                      <a:cubicBezTo>
                        <a:pt x="291" y="125"/>
                        <a:pt x="245" y="159"/>
                        <a:pt x="205" y="204"/>
                      </a:cubicBezTo>
                      <a:cubicBezTo>
                        <a:pt x="166" y="249"/>
                        <a:pt x="136" y="306"/>
                        <a:pt x="114" y="374"/>
                      </a:cubicBezTo>
                      <a:cubicBezTo>
                        <a:pt x="93" y="442"/>
                        <a:pt x="82" y="522"/>
                        <a:pt x="82" y="612"/>
                      </a:cubicBezTo>
                      <a:moveTo>
                        <a:pt x="0" y="612"/>
                      </a:moveTo>
                      <a:cubicBezTo>
                        <a:pt x="0" y="511"/>
                        <a:pt x="13" y="423"/>
                        <a:pt x="39" y="346"/>
                      </a:cubicBezTo>
                      <a:cubicBezTo>
                        <a:pt x="65" y="270"/>
                        <a:pt x="101" y="206"/>
                        <a:pt x="148" y="155"/>
                      </a:cubicBezTo>
                      <a:cubicBezTo>
                        <a:pt x="194" y="104"/>
                        <a:pt x="249" y="65"/>
                        <a:pt x="312" y="39"/>
                      </a:cubicBezTo>
                      <a:cubicBezTo>
                        <a:pt x="375" y="13"/>
                        <a:pt x="444" y="0"/>
                        <a:pt x="518" y="0"/>
                      </a:cubicBezTo>
                      <a:cubicBezTo>
                        <a:pt x="594" y="0"/>
                        <a:pt x="663" y="13"/>
                        <a:pt x="726" y="39"/>
                      </a:cubicBezTo>
                      <a:cubicBezTo>
                        <a:pt x="789" y="65"/>
                        <a:pt x="844" y="104"/>
                        <a:pt x="890" y="156"/>
                      </a:cubicBezTo>
                      <a:cubicBezTo>
                        <a:pt x="936" y="208"/>
                        <a:pt x="971" y="272"/>
                        <a:pt x="997" y="349"/>
                      </a:cubicBezTo>
                      <a:cubicBezTo>
                        <a:pt x="1022" y="425"/>
                        <a:pt x="1034" y="513"/>
                        <a:pt x="1034" y="612"/>
                      </a:cubicBezTo>
                      <a:cubicBezTo>
                        <a:pt x="1034" y="713"/>
                        <a:pt x="1021" y="802"/>
                        <a:pt x="996" y="878"/>
                      </a:cubicBezTo>
                      <a:cubicBezTo>
                        <a:pt x="970" y="955"/>
                        <a:pt x="934" y="1018"/>
                        <a:pt x="889" y="1070"/>
                      </a:cubicBezTo>
                      <a:cubicBezTo>
                        <a:pt x="843" y="1121"/>
                        <a:pt x="789" y="1159"/>
                        <a:pt x="726" y="1185"/>
                      </a:cubicBezTo>
                      <a:cubicBezTo>
                        <a:pt x="663" y="1211"/>
                        <a:pt x="596" y="1224"/>
                        <a:pt x="523" y="1224"/>
                      </a:cubicBezTo>
                      <a:cubicBezTo>
                        <a:pt x="449" y="1224"/>
                        <a:pt x="380" y="1211"/>
                        <a:pt x="316" y="1184"/>
                      </a:cubicBezTo>
                      <a:cubicBezTo>
                        <a:pt x="252" y="1157"/>
                        <a:pt x="196" y="1119"/>
                        <a:pt x="150" y="1067"/>
                      </a:cubicBezTo>
                      <a:cubicBezTo>
                        <a:pt x="103" y="1016"/>
                        <a:pt x="66" y="952"/>
                        <a:pt x="40" y="876"/>
                      </a:cubicBezTo>
                      <a:cubicBezTo>
                        <a:pt x="13" y="800"/>
                        <a:pt x="0" y="712"/>
                        <a:pt x="0" y="6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6"/>
                <p:cNvSpPr>
                  <a:spLocks/>
                </p:cNvSpPr>
                <p:nvPr userDrawn="1"/>
              </p:nvSpPr>
              <p:spPr bwMode="auto">
                <a:xfrm>
                  <a:off x="-13498513" y="-24225250"/>
                  <a:ext cx="16849725" cy="23296562"/>
                </a:xfrm>
                <a:custGeom>
                  <a:avLst/>
                  <a:gdLst>
                    <a:gd name="T0" fmla="*/ 80 w 861"/>
                    <a:gd name="T1" fmla="*/ 0 h 1190"/>
                    <a:gd name="T2" fmla="*/ 80 w 861"/>
                    <a:gd name="T3" fmla="*/ 792 h 1190"/>
                    <a:gd name="T4" fmla="*/ 169 w 861"/>
                    <a:gd name="T5" fmla="*/ 1041 h 1190"/>
                    <a:gd name="T6" fmla="*/ 409 w 861"/>
                    <a:gd name="T7" fmla="*/ 1123 h 1190"/>
                    <a:gd name="T8" fmla="*/ 555 w 861"/>
                    <a:gd name="T9" fmla="*/ 1092 h 1190"/>
                    <a:gd name="T10" fmla="*/ 673 w 861"/>
                    <a:gd name="T11" fmla="*/ 1007 h 1190"/>
                    <a:gd name="T12" fmla="*/ 752 w 861"/>
                    <a:gd name="T13" fmla="*/ 876 h 1190"/>
                    <a:gd name="T14" fmla="*/ 781 w 861"/>
                    <a:gd name="T15" fmla="*/ 712 h 1190"/>
                    <a:gd name="T16" fmla="*/ 781 w 861"/>
                    <a:gd name="T17" fmla="*/ 0 h 1190"/>
                    <a:gd name="T18" fmla="*/ 861 w 861"/>
                    <a:gd name="T19" fmla="*/ 0 h 1190"/>
                    <a:gd name="T20" fmla="*/ 861 w 861"/>
                    <a:gd name="T21" fmla="*/ 1157 h 1190"/>
                    <a:gd name="T22" fmla="*/ 794 w 861"/>
                    <a:gd name="T23" fmla="*/ 1157 h 1190"/>
                    <a:gd name="T24" fmla="*/ 783 w 861"/>
                    <a:gd name="T25" fmla="*/ 950 h 1190"/>
                    <a:gd name="T26" fmla="*/ 708 w 861"/>
                    <a:gd name="T27" fmla="*/ 1058 h 1190"/>
                    <a:gd name="T28" fmla="*/ 613 w 861"/>
                    <a:gd name="T29" fmla="*/ 1132 h 1190"/>
                    <a:gd name="T30" fmla="*/ 504 w 861"/>
                    <a:gd name="T31" fmla="*/ 1176 h 1190"/>
                    <a:gd name="T32" fmla="*/ 391 w 861"/>
                    <a:gd name="T33" fmla="*/ 1190 h 1190"/>
                    <a:gd name="T34" fmla="*/ 235 w 861"/>
                    <a:gd name="T35" fmla="*/ 1166 h 1190"/>
                    <a:gd name="T36" fmla="*/ 112 w 861"/>
                    <a:gd name="T37" fmla="*/ 1092 h 1190"/>
                    <a:gd name="T38" fmla="*/ 30 w 861"/>
                    <a:gd name="T39" fmla="*/ 969 h 1190"/>
                    <a:gd name="T40" fmla="*/ 0 w 861"/>
                    <a:gd name="T41" fmla="*/ 796 h 1190"/>
                    <a:gd name="T42" fmla="*/ 0 w 861"/>
                    <a:gd name="T43" fmla="*/ 0 h 1190"/>
                    <a:gd name="T44" fmla="*/ 80 w 861"/>
                    <a:gd name="T45" fmla="*/ 0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1" h="1190">
                      <a:moveTo>
                        <a:pt x="80" y="0"/>
                      </a:moveTo>
                      <a:cubicBezTo>
                        <a:pt x="80" y="792"/>
                        <a:pt x="80" y="792"/>
                        <a:pt x="80" y="792"/>
                      </a:cubicBezTo>
                      <a:cubicBezTo>
                        <a:pt x="80" y="903"/>
                        <a:pt x="109" y="986"/>
                        <a:pt x="169" y="1041"/>
                      </a:cubicBezTo>
                      <a:cubicBezTo>
                        <a:pt x="228" y="1096"/>
                        <a:pt x="308" y="1123"/>
                        <a:pt x="409" y="1123"/>
                      </a:cubicBezTo>
                      <a:cubicBezTo>
                        <a:pt x="461" y="1123"/>
                        <a:pt x="510" y="1113"/>
                        <a:pt x="555" y="1092"/>
                      </a:cubicBezTo>
                      <a:cubicBezTo>
                        <a:pt x="600" y="1072"/>
                        <a:pt x="639" y="1043"/>
                        <a:pt x="673" y="1007"/>
                      </a:cubicBezTo>
                      <a:cubicBezTo>
                        <a:pt x="706" y="970"/>
                        <a:pt x="733" y="927"/>
                        <a:pt x="752" y="876"/>
                      </a:cubicBezTo>
                      <a:cubicBezTo>
                        <a:pt x="771" y="826"/>
                        <a:pt x="781" y="771"/>
                        <a:pt x="781" y="712"/>
                      </a:cubicBezTo>
                      <a:cubicBezTo>
                        <a:pt x="781" y="0"/>
                        <a:pt x="781" y="0"/>
                        <a:pt x="781" y="0"/>
                      </a:cubicBezTo>
                      <a:cubicBezTo>
                        <a:pt x="861" y="0"/>
                        <a:pt x="861" y="0"/>
                        <a:pt x="861" y="0"/>
                      </a:cubicBezTo>
                      <a:cubicBezTo>
                        <a:pt x="861" y="1157"/>
                        <a:pt x="861" y="1157"/>
                        <a:pt x="861" y="1157"/>
                      </a:cubicBezTo>
                      <a:cubicBezTo>
                        <a:pt x="794" y="1157"/>
                        <a:pt x="794" y="1157"/>
                        <a:pt x="794" y="1157"/>
                      </a:cubicBezTo>
                      <a:cubicBezTo>
                        <a:pt x="783" y="950"/>
                        <a:pt x="783" y="950"/>
                        <a:pt x="783" y="950"/>
                      </a:cubicBezTo>
                      <a:cubicBezTo>
                        <a:pt x="762" y="991"/>
                        <a:pt x="737" y="1027"/>
                        <a:pt x="708" y="1058"/>
                      </a:cubicBezTo>
                      <a:cubicBezTo>
                        <a:pt x="679" y="1088"/>
                        <a:pt x="648" y="1113"/>
                        <a:pt x="613" y="1132"/>
                      </a:cubicBezTo>
                      <a:cubicBezTo>
                        <a:pt x="578" y="1152"/>
                        <a:pt x="541" y="1166"/>
                        <a:pt x="504" y="1176"/>
                      </a:cubicBezTo>
                      <a:cubicBezTo>
                        <a:pt x="466" y="1185"/>
                        <a:pt x="428" y="1190"/>
                        <a:pt x="391" y="1190"/>
                      </a:cubicBezTo>
                      <a:cubicBezTo>
                        <a:pt x="335" y="1190"/>
                        <a:pt x="283" y="1182"/>
                        <a:pt x="235" y="1166"/>
                      </a:cubicBezTo>
                      <a:cubicBezTo>
                        <a:pt x="188" y="1149"/>
                        <a:pt x="147" y="1125"/>
                        <a:pt x="112" y="1092"/>
                      </a:cubicBezTo>
                      <a:cubicBezTo>
                        <a:pt x="77" y="1060"/>
                        <a:pt x="49" y="1019"/>
                        <a:pt x="30" y="969"/>
                      </a:cubicBezTo>
                      <a:cubicBezTo>
                        <a:pt x="10" y="919"/>
                        <a:pt x="0" y="862"/>
                        <a:pt x="0" y="796"/>
                      </a:cubicBezTo>
                      <a:cubicBezTo>
                        <a:pt x="0" y="0"/>
                        <a:pt x="0" y="0"/>
                        <a:pt x="0"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7"/>
                <p:cNvSpPr>
                  <a:spLocks/>
                </p:cNvSpPr>
                <p:nvPr userDrawn="1"/>
              </p:nvSpPr>
              <p:spPr bwMode="auto">
                <a:xfrm>
                  <a:off x="8281988" y="-32937450"/>
                  <a:ext cx="4051300" cy="8653462"/>
                </a:xfrm>
                <a:custGeom>
                  <a:avLst/>
                  <a:gdLst>
                    <a:gd name="T0" fmla="*/ 207 w 207"/>
                    <a:gd name="T1" fmla="*/ 135 h 442"/>
                    <a:gd name="T2" fmla="*/ 154 w 207"/>
                    <a:gd name="T3" fmla="*/ 338 h 442"/>
                    <a:gd name="T4" fmla="*/ 0 w 207"/>
                    <a:gd name="T5" fmla="*/ 442 h 442"/>
                    <a:gd name="T6" fmla="*/ 0 w 207"/>
                    <a:gd name="T7" fmla="*/ 378 h 442"/>
                    <a:gd name="T8" fmla="*/ 94 w 207"/>
                    <a:gd name="T9" fmla="*/ 297 h 442"/>
                    <a:gd name="T10" fmla="*/ 123 w 207"/>
                    <a:gd name="T11" fmla="*/ 142 h 442"/>
                    <a:gd name="T12" fmla="*/ 82 w 207"/>
                    <a:gd name="T13" fmla="*/ 142 h 442"/>
                    <a:gd name="T14" fmla="*/ 82 w 207"/>
                    <a:gd name="T15" fmla="*/ 0 h 442"/>
                    <a:gd name="T16" fmla="*/ 207 w 207"/>
                    <a:gd name="T17" fmla="*/ 0 h 442"/>
                    <a:gd name="T18" fmla="*/ 207 w 207"/>
                    <a:gd name="T19" fmla="*/ 13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7" h="442">
                      <a:moveTo>
                        <a:pt x="207" y="135"/>
                      </a:moveTo>
                      <a:cubicBezTo>
                        <a:pt x="207" y="221"/>
                        <a:pt x="189" y="289"/>
                        <a:pt x="154" y="338"/>
                      </a:cubicBezTo>
                      <a:cubicBezTo>
                        <a:pt x="118" y="387"/>
                        <a:pt x="67" y="422"/>
                        <a:pt x="0" y="442"/>
                      </a:cubicBezTo>
                      <a:cubicBezTo>
                        <a:pt x="0" y="378"/>
                        <a:pt x="0" y="378"/>
                        <a:pt x="0" y="378"/>
                      </a:cubicBezTo>
                      <a:cubicBezTo>
                        <a:pt x="43" y="360"/>
                        <a:pt x="75" y="333"/>
                        <a:pt x="94" y="297"/>
                      </a:cubicBezTo>
                      <a:cubicBezTo>
                        <a:pt x="113" y="260"/>
                        <a:pt x="123" y="209"/>
                        <a:pt x="123" y="142"/>
                      </a:cubicBezTo>
                      <a:cubicBezTo>
                        <a:pt x="82" y="142"/>
                        <a:pt x="82" y="142"/>
                        <a:pt x="82" y="142"/>
                      </a:cubicBezTo>
                      <a:cubicBezTo>
                        <a:pt x="82" y="0"/>
                        <a:pt x="82" y="0"/>
                        <a:pt x="82" y="0"/>
                      </a:cubicBezTo>
                      <a:cubicBezTo>
                        <a:pt x="207" y="0"/>
                        <a:pt x="207" y="0"/>
                        <a:pt x="207" y="0"/>
                      </a:cubicBezTo>
                      <a:lnTo>
                        <a:pt x="207"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8"/>
                <p:cNvSpPr>
                  <a:spLocks/>
                </p:cNvSpPr>
                <p:nvPr userDrawn="1"/>
              </p:nvSpPr>
              <p:spPr bwMode="auto">
                <a:xfrm>
                  <a:off x="15151100" y="-24892000"/>
                  <a:ext cx="10390188" cy="23317200"/>
                </a:xfrm>
                <a:custGeom>
                  <a:avLst/>
                  <a:gdLst>
                    <a:gd name="T0" fmla="*/ 0 w 531"/>
                    <a:gd name="T1" fmla="*/ 1191 h 1191"/>
                    <a:gd name="T2" fmla="*/ 0 w 531"/>
                    <a:gd name="T3" fmla="*/ 34 h 1191"/>
                    <a:gd name="T4" fmla="*/ 64 w 531"/>
                    <a:gd name="T5" fmla="*/ 34 h 1191"/>
                    <a:gd name="T6" fmla="*/ 78 w 531"/>
                    <a:gd name="T7" fmla="*/ 279 h 1191"/>
                    <a:gd name="T8" fmla="*/ 212 w 531"/>
                    <a:gd name="T9" fmla="*/ 66 h 1191"/>
                    <a:gd name="T10" fmla="*/ 416 w 531"/>
                    <a:gd name="T11" fmla="*/ 0 h 1191"/>
                    <a:gd name="T12" fmla="*/ 479 w 531"/>
                    <a:gd name="T13" fmla="*/ 6 h 1191"/>
                    <a:gd name="T14" fmla="*/ 531 w 531"/>
                    <a:gd name="T15" fmla="*/ 18 h 1191"/>
                    <a:gd name="T16" fmla="*/ 531 w 531"/>
                    <a:gd name="T17" fmla="*/ 96 h 1191"/>
                    <a:gd name="T18" fmla="*/ 473 w 531"/>
                    <a:gd name="T19" fmla="*/ 82 h 1191"/>
                    <a:gd name="T20" fmla="*/ 409 w 531"/>
                    <a:gd name="T21" fmla="*/ 76 h 1191"/>
                    <a:gd name="T22" fmla="*/ 282 w 531"/>
                    <a:gd name="T23" fmla="*/ 109 h 1191"/>
                    <a:gd name="T24" fmla="*/ 177 w 531"/>
                    <a:gd name="T25" fmla="*/ 204 h 1191"/>
                    <a:gd name="T26" fmla="*/ 106 w 531"/>
                    <a:gd name="T27" fmla="*/ 350 h 1191"/>
                    <a:gd name="T28" fmla="*/ 80 w 531"/>
                    <a:gd name="T29" fmla="*/ 537 h 1191"/>
                    <a:gd name="T30" fmla="*/ 80 w 531"/>
                    <a:gd name="T31" fmla="*/ 1191 h 1191"/>
                    <a:gd name="T32" fmla="*/ 0 w 531"/>
                    <a:gd name="T33" fmla="*/ 119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1" h="1191">
                      <a:moveTo>
                        <a:pt x="0" y="1191"/>
                      </a:moveTo>
                      <a:cubicBezTo>
                        <a:pt x="0" y="34"/>
                        <a:pt x="0" y="34"/>
                        <a:pt x="0" y="34"/>
                      </a:cubicBezTo>
                      <a:cubicBezTo>
                        <a:pt x="64" y="34"/>
                        <a:pt x="64" y="34"/>
                        <a:pt x="64" y="34"/>
                      </a:cubicBezTo>
                      <a:cubicBezTo>
                        <a:pt x="78" y="279"/>
                        <a:pt x="78" y="279"/>
                        <a:pt x="78" y="279"/>
                      </a:cubicBezTo>
                      <a:cubicBezTo>
                        <a:pt x="107" y="181"/>
                        <a:pt x="152" y="110"/>
                        <a:pt x="212" y="66"/>
                      </a:cubicBezTo>
                      <a:cubicBezTo>
                        <a:pt x="272" y="22"/>
                        <a:pt x="340" y="0"/>
                        <a:pt x="416" y="0"/>
                      </a:cubicBezTo>
                      <a:cubicBezTo>
                        <a:pt x="436" y="0"/>
                        <a:pt x="458" y="2"/>
                        <a:pt x="479" y="6"/>
                      </a:cubicBezTo>
                      <a:cubicBezTo>
                        <a:pt x="501" y="10"/>
                        <a:pt x="518" y="14"/>
                        <a:pt x="531" y="18"/>
                      </a:cubicBezTo>
                      <a:cubicBezTo>
                        <a:pt x="531" y="96"/>
                        <a:pt x="531" y="96"/>
                        <a:pt x="531" y="96"/>
                      </a:cubicBezTo>
                      <a:cubicBezTo>
                        <a:pt x="512" y="90"/>
                        <a:pt x="493" y="85"/>
                        <a:pt x="473" y="82"/>
                      </a:cubicBezTo>
                      <a:cubicBezTo>
                        <a:pt x="452" y="78"/>
                        <a:pt x="431" y="76"/>
                        <a:pt x="409" y="76"/>
                      </a:cubicBezTo>
                      <a:cubicBezTo>
                        <a:pt x="364" y="76"/>
                        <a:pt x="322" y="87"/>
                        <a:pt x="282" y="109"/>
                      </a:cubicBezTo>
                      <a:cubicBezTo>
                        <a:pt x="242" y="132"/>
                        <a:pt x="207" y="163"/>
                        <a:pt x="177" y="204"/>
                      </a:cubicBezTo>
                      <a:cubicBezTo>
                        <a:pt x="148" y="245"/>
                        <a:pt x="124" y="293"/>
                        <a:pt x="106" y="350"/>
                      </a:cubicBezTo>
                      <a:cubicBezTo>
                        <a:pt x="89" y="406"/>
                        <a:pt x="80" y="468"/>
                        <a:pt x="80" y="537"/>
                      </a:cubicBezTo>
                      <a:cubicBezTo>
                        <a:pt x="80" y="1191"/>
                        <a:pt x="80" y="1191"/>
                        <a:pt x="80" y="1191"/>
                      </a:cubicBezTo>
                      <a:lnTo>
                        <a:pt x="0" y="1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9"/>
                <p:cNvSpPr>
                  <a:spLocks noEditPoints="1"/>
                </p:cNvSpPr>
                <p:nvPr userDrawn="1"/>
              </p:nvSpPr>
              <p:spPr bwMode="auto">
                <a:xfrm>
                  <a:off x="26225500" y="-24892000"/>
                  <a:ext cx="20156488" cy="23963312"/>
                </a:xfrm>
                <a:custGeom>
                  <a:avLst/>
                  <a:gdLst>
                    <a:gd name="T0" fmla="*/ 514 w 1030"/>
                    <a:gd name="T1" fmla="*/ 67 h 1224"/>
                    <a:gd name="T2" fmla="*/ 351 w 1030"/>
                    <a:gd name="T3" fmla="*/ 99 h 1224"/>
                    <a:gd name="T4" fmla="*/ 218 w 1030"/>
                    <a:gd name="T5" fmla="*/ 194 h 1224"/>
                    <a:gd name="T6" fmla="*/ 124 w 1030"/>
                    <a:gd name="T7" fmla="*/ 350 h 1224"/>
                    <a:gd name="T8" fmla="*/ 82 w 1030"/>
                    <a:gd name="T9" fmla="*/ 563 h 1224"/>
                    <a:gd name="T10" fmla="*/ 945 w 1030"/>
                    <a:gd name="T11" fmla="*/ 563 h 1224"/>
                    <a:gd name="T12" fmla="*/ 903 w 1030"/>
                    <a:gd name="T13" fmla="*/ 348 h 1224"/>
                    <a:gd name="T14" fmla="*/ 810 w 1030"/>
                    <a:gd name="T15" fmla="*/ 192 h 1224"/>
                    <a:gd name="T16" fmla="*/ 676 w 1030"/>
                    <a:gd name="T17" fmla="*/ 98 h 1224"/>
                    <a:gd name="T18" fmla="*/ 514 w 1030"/>
                    <a:gd name="T19" fmla="*/ 67 h 1224"/>
                    <a:gd name="T20" fmla="*/ 1008 w 1030"/>
                    <a:gd name="T21" fmla="*/ 884 h 1224"/>
                    <a:gd name="T22" fmla="*/ 841 w 1030"/>
                    <a:gd name="T23" fmla="*/ 1133 h 1224"/>
                    <a:gd name="T24" fmla="*/ 540 w 1030"/>
                    <a:gd name="T25" fmla="*/ 1224 h 1224"/>
                    <a:gd name="T26" fmla="*/ 326 w 1030"/>
                    <a:gd name="T27" fmla="*/ 1184 h 1224"/>
                    <a:gd name="T28" fmla="*/ 155 w 1030"/>
                    <a:gd name="T29" fmla="*/ 1065 h 1224"/>
                    <a:gd name="T30" fmla="*/ 41 w 1030"/>
                    <a:gd name="T31" fmla="*/ 873 h 1224"/>
                    <a:gd name="T32" fmla="*/ 0 w 1030"/>
                    <a:gd name="T33" fmla="*/ 612 h 1224"/>
                    <a:gd name="T34" fmla="*/ 40 w 1030"/>
                    <a:gd name="T35" fmla="*/ 351 h 1224"/>
                    <a:gd name="T36" fmla="*/ 149 w 1030"/>
                    <a:gd name="T37" fmla="*/ 158 h 1224"/>
                    <a:gd name="T38" fmla="*/ 313 w 1030"/>
                    <a:gd name="T39" fmla="*/ 40 h 1224"/>
                    <a:gd name="T40" fmla="*/ 514 w 1030"/>
                    <a:gd name="T41" fmla="*/ 0 h 1224"/>
                    <a:gd name="T42" fmla="*/ 715 w 1030"/>
                    <a:gd name="T43" fmla="*/ 39 h 1224"/>
                    <a:gd name="T44" fmla="*/ 880 w 1030"/>
                    <a:gd name="T45" fmla="*/ 156 h 1224"/>
                    <a:gd name="T46" fmla="*/ 990 w 1030"/>
                    <a:gd name="T47" fmla="*/ 353 h 1224"/>
                    <a:gd name="T48" fmla="*/ 1030 w 1030"/>
                    <a:gd name="T49" fmla="*/ 632 h 1224"/>
                    <a:gd name="T50" fmla="*/ 82 w 1030"/>
                    <a:gd name="T51" fmla="*/ 632 h 1224"/>
                    <a:gd name="T52" fmla="*/ 122 w 1030"/>
                    <a:gd name="T53" fmla="*/ 865 h 1224"/>
                    <a:gd name="T54" fmla="*/ 222 w 1030"/>
                    <a:gd name="T55" fmla="*/ 1028 h 1224"/>
                    <a:gd name="T56" fmla="*/ 367 w 1030"/>
                    <a:gd name="T57" fmla="*/ 1124 h 1224"/>
                    <a:gd name="T58" fmla="*/ 543 w 1030"/>
                    <a:gd name="T59" fmla="*/ 1155 h 1224"/>
                    <a:gd name="T60" fmla="*/ 786 w 1030"/>
                    <a:gd name="T61" fmla="*/ 1085 h 1224"/>
                    <a:gd name="T62" fmla="*/ 924 w 1030"/>
                    <a:gd name="T63" fmla="*/ 884 h 1224"/>
                    <a:gd name="T64" fmla="*/ 1008 w 1030"/>
                    <a:gd name="T65" fmla="*/ 884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30" h="1224">
                      <a:moveTo>
                        <a:pt x="514" y="67"/>
                      </a:moveTo>
                      <a:cubicBezTo>
                        <a:pt x="456" y="67"/>
                        <a:pt x="402" y="78"/>
                        <a:pt x="351" y="99"/>
                      </a:cubicBezTo>
                      <a:cubicBezTo>
                        <a:pt x="301" y="121"/>
                        <a:pt x="256" y="152"/>
                        <a:pt x="218" y="194"/>
                      </a:cubicBezTo>
                      <a:cubicBezTo>
                        <a:pt x="179" y="236"/>
                        <a:pt x="148" y="287"/>
                        <a:pt x="124" y="350"/>
                      </a:cubicBezTo>
                      <a:cubicBezTo>
                        <a:pt x="101" y="412"/>
                        <a:pt x="87" y="483"/>
                        <a:pt x="82" y="563"/>
                      </a:cubicBezTo>
                      <a:cubicBezTo>
                        <a:pt x="945" y="563"/>
                        <a:pt x="945" y="563"/>
                        <a:pt x="945" y="563"/>
                      </a:cubicBezTo>
                      <a:cubicBezTo>
                        <a:pt x="941" y="482"/>
                        <a:pt x="927" y="410"/>
                        <a:pt x="903" y="348"/>
                      </a:cubicBezTo>
                      <a:cubicBezTo>
                        <a:pt x="880" y="285"/>
                        <a:pt x="848" y="233"/>
                        <a:pt x="810" y="192"/>
                      </a:cubicBezTo>
                      <a:cubicBezTo>
                        <a:pt x="771" y="150"/>
                        <a:pt x="727" y="119"/>
                        <a:pt x="676" y="98"/>
                      </a:cubicBezTo>
                      <a:cubicBezTo>
                        <a:pt x="626" y="78"/>
                        <a:pt x="572" y="67"/>
                        <a:pt x="514" y="67"/>
                      </a:cubicBezTo>
                      <a:moveTo>
                        <a:pt x="1008" y="884"/>
                      </a:moveTo>
                      <a:cubicBezTo>
                        <a:pt x="980" y="989"/>
                        <a:pt x="924" y="1072"/>
                        <a:pt x="841" y="1133"/>
                      </a:cubicBezTo>
                      <a:cubicBezTo>
                        <a:pt x="758" y="1194"/>
                        <a:pt x="658" y="1224"/>
                        <a:pt x="540" y="1224"/>
                      </a:cubicBezTo>
                      <a:cubicBezTo>
                        <a:pt x="463" y="1224"/>
                        <a:pt x="392" y="1211"/>
                        <a:pt x="326" y="1184"/>
                      </a:cubicBezTo>
                      <a:cubicBezTo>
                        <a:pt x="260" y="1157"/>
                        <a:pt x="203" y="1118"/>
                        <a:pt x="155" y="1065"/>
                      </a:cubicBezTo>
                      <a:cubicBezTo>
                        <a:pt x="106" y="1012"/>
                        <a:pt x="69" y="948"/>
                        <a:pt x="41" y="873"/>
                      </a:cubicBezTo>
                      <a:cubicBezTo>
                        <a:pt x="13" y="797"/>
                        <a:pt x="0" y="710"/>
                        <a:pt x="0" y="612"/>
                      </a:cubicBezTo>
                      <a:cubicBezTo>
                        <a:pt x="0" y="514"/>
                        <a:pt x="13" y="427"/>
                        <a:pt x="40" y="351"/>
                      </a:cubicBezTo>
                      <a:cubicBezTo>
                        <a:pt x="66" y="274"/>
                        <a:pt x="103" y="210"/>
                        <a:pt x="149" y="158"/>
                      </a:cubicBezTo>
                      <a:cubicBezTo>
                        <a:pt x="195" y="106"/>
                        <a:pt x="250" y="67"/>
                        <a:pt x="313" y="40"/>
                      </a:cubicBezTo>
                      <a:cubicBezTo>
                        <a:pt x="375" y="14"/>
                        <a:pt x="443" y="0"/>
                        <a:pt x="514" y="0"/>
                      </a:cubicBezTo>
                      <a:cubicBezTo>
                        <a:pt x="585" y="0"/>
                        <a:pt x="652" y="13"/>
                        <a:pt x="715" y="39"/>
                      </a:cubicBezTo>
                      <a:cubicBezTo>
                        <a:pt x="778" y="65"/>
                        <a:pt x="833" y="104"/>
                        <a:pt x="880" y="156"/>
                      </a:cubicBezTo>
                      <a:cubicBezTo>
                        <a:pt x="927" y="208"/>
                        <a:pt x="963" y="274"/>
                        <a:pt x="990" y="353"/>
                      </a:cubicBezTo>
                      <a:cubicBezTo>
                        <a:pt x="1017" y="432"/>
                        <a:pt x="1030" y="526"/>
                        <a:pt x="1030" y="632"/>
                      </a:cubicBezTo>
                      <a:cubicBezTo>
                        <a:pt x="82" y="632"/>
                        <a:pt x="82" y="632"/>
                        <a:pt x="82" y="632"/>
                      </a:cubicBezTo>
                      <a:cubicBezTo>
                        <a:pt x="83" y="721"/>
                        <a:pt x="97" y="799"/>
                        <a:pt x="122" y="865"/>
                      </a:cubicBezTo>
                      <a:cubicBezTo>
                        <a:pt x="148" y="931"/>
                        <a:pt x="181" y="985"/>
                        <a:pt x="222" y="1028"/>
                      </a:cubicBezTo>
                      <a:cubicBezTo>
                        <a:pt x="264" y="1071"/>
                        <a:pt x="312" y="1103"/>
                        <a:pt x="367" y="1124"/>
                      </a:cubicBezTo>
                      <a:cubicBezTo>
                        <a:pt x="422" y="1145"/>
                        <a:pt x="480" y="1155"/>
                        <a:pt x="543" y="1155"/>
                      </a:cubicBezTo>
                      <a:cubicBezTo>
                        <a:pt x="636" y="1155"/>
                        <a:pt x="717" y="1132"/>
                        <a:pt x="786" y="1085"/>
                      </a:cubicBezTo>
                      <a:cubicBezTo>
                        <a:pt x="854" y="1038"/>
                        <a:pt x="900" y="971"/>
                        <a:pt x="924" y="884"/>
                      </a:cubicBezTo>
                      <a:lnTo>
                        <a:pt x="1008" y="8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Tree>
    <p:extLst>
      <p:ext uri="{BB962C8B-B14F-4D97-AF65-F5344CB8AC3E}">
        <p14:creationId xmlns:p14="http://schemas.microsoft.com/office/powerpoint/2010/main" val="3734253336"/>
      </p:ext>
    </p:extLst>
  </p:cSld>
  <p:clrMapOvr>
    <a:masterClrMapping/>
  </p:clrMapOv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11219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userDrawn="1">
  <p:cSld name="1_Segue Video">
    <p:spTree>
      <p:nvGrpSpPr>
        <p:cNvPr id="1" name=""/>
        <p:cNvGrpSpPr/>
        <p:nvPr/>
      </p:nvGrpSpPr>
      <p:grpSpPr>
        <a:xfrm>
          <a:off x="0" y="0"/>
          <a:ext cx="0" cy="0"/>
          <a:chOff x="0" y="0"/>
          <a:chExt cx="0" cy="0"/>
        </a:xfrm>
      </p:grpSpPr>
      <p:pic>
        <p:nvPicPr>
          <p:cNvPr id="26" name="Picture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1690"/>
            <a:ext cx="9309100" cy="5228398"/>
          </a:xfrm>
          <a:prstGeom prst="rect">
            <a:avLst/>
          </a:prstGeom>
        </p:spPr>
      </p:pic>
      <p:sp>
        <p:nvSpPr>
          <p:cNvPr id="4" name="Media Placeholder 3">
            <a:extLst>
              <a:ext uri="{FF2B5EF4-FFF2-40B4-BE49-F238E27FC236}">
                <a16:creationId xmlns:a16="http://schemas.microsoft.com/office/drawing/2014/main" id="{938F612A-D1BC-434E-B369-D50AE8D7C25F}"/>
              </a:ext>
            </a:extLst>
          </p:cNvPr>
          <p:cNvSpPr>
            <a:spLocks noGrp="1"/>
          </p:cNvSpPr>
          <p:nvPr>
            <p:ph type="media" sz="quarter" idx="10"/>
          </p:nvPr>
        </p:nvSpPr>
        <p:spPr>
          <a:xfrm>
            <a:off x="-1" y="-61690"/>
            <a:ext cx="9328491" cy="5238761"/>
          </a:xfrm>
          <a:solidFill>
            <a:srgbClr val="000000"/>
          </a:solidFill>
        </p:spPr>
        <p:txBody>
          <a:bodyPr/>
          <a:lstStyle>
            <a:lvl1pPr marL="1785" indent="0" algn="ctr">
              <a:buNone/>
              <a:defRPr sz="1600">
                <a:solidFill>
                  <a:schemeClr val="bg1"/>
                </a:solidFill>
              </a:defRPr>
            </a:lvl1pPr>
          </a:lstStyle>
          <a:p>
            <a:r>
              <a:rPr lang="en-US"/>
              <a:t>Click icon to add media</a:t>
            </a:r>
            <a:endParaRPr lang="en-GB" dirty="0"/>
          </a:p>
        </p:txBody>
      </p:sp>
    </p:spTree>
    <p:extLst>
      <p:ext uri="{BB962C8B-B14F-4D97-AF65-F5344CB8AC3E}">
        <p14:creationId xmlns:p14="http://schemas.microsoft.com/office/powerpoint/2010/main" val="2755686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477678" y="4741653"/>
            <a:ext cx="29468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561524978"/>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25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874618799"/>
      </p:ext>
    </p:extLst>
  </p:cSld>
  <p:clrMapOvr>
    <a:masterClrMapping/>
  </p:clrMapOvr>
  <p:transition spd="med">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Only_Heavy Graphics">
    <p:spTree>
      <p:nvGrpSpPr>
        <p:cNvPr id="1" name=""/>
        <p:cNvGrpSpPr/>
        <p:nvPr/>
      </p:nvGrpSpPr>
      <p:grpSpPr>
        <a:xfrm>
          <a:off x="0" y="0"/>
          <a:ext cx="0" cy="0"/>
          <a:chOff x="0" y="0"/>
          <a:chExt cx="0" cy="0"/>
        </a:xfrm>
      </p:grpSpPr>
      <p:sp>
        <p:nvSpPr>
          <p:cNvPr id="2" name="Rectangle 1"/>
          <p:cNvSpPr/>
          <p:nvPr userDrawn="1"/>
        </p:nvSpPr>
        <p:spPr>
          <a:xfrm>
            <a:off x="0" y="4555067"/>
            <a:ext cx="9144000" cy="5884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p:nvPr>
        </p:nvSpPr>
        <p:spPr>
          <a:xfrm>
            <a:off x="483306" y="64735"/>
            <a:ext cx="8345488" cy="415043"/>
          </a:xfrm>
        </p:spPr>
        <p:txBody>
          <a:bodyPr/>
          <a:lstStyle/>
          <a:p>
            <a:r>
              <a:rPr lang="en-US"/>
              <a:t>Click to edit Master title style</a:t>
            </a:r>
          </a:p>
        </p:txBody>
      </p:sp>
    </p:spTree>
    <p:extLst>
      <p:ext uri="{BB962C8B-B14F-4D97-AF65-F5344CB8AC3E}">
        <p14:creationId xmlns:p14="http://schemas.microsoft.com/office/powerpoint/2010/main" val="4287558082"/>
      </p:ext>
    </p:extLst>
  </p:cSld>
  <p:clrMapOvr>
    <a:masterClrMapping/>
  </p:clrMapOv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Bullet Slide">
    <p:spTree>
      <p:nvGrpSpPr>
        <p:cNvPr id="1" name=""/>
        <p:cNvGrpSpPr/>
        <p:nvPr/>
      </p:nvGrpSpPr>
      <p:grpSpPr>
        <a:xfrm>
          <a:off x="0" y="0"/>
          <a:ext cx="0" cy="0"/>
          <a:chOff x="0" y="0"/>
          <a:chExt cx="0" cy="0"/>
        </a:xfrm>
      </p:grpSpPr>
      <p:sp>
        <p:nvSpPr>
          <p:cNvPr id="11" name="Title 1"/>
          <p:cNvSpPr>
            <a:spLocks noGrp="1"/>
          </p:cNvSpPr>
          <p:nvPr>
            <p:ph type="title"/>
          </p:nvPr>
        </p:nvSpPr>
        <p:spPr>
          <a:xfrm>
            <a:off x="219531" y="53340"/>
            <a:ext cx="8711929" cy="628650"/>
          </a:xfrm>
        </p:spPr>
        <p:txBody>
          <a:bodyPr/>
          <a:lstStyle>
            <a:lvl1pPr algn="l" defTabSz="685186" rtl="0" eaLnBrk="1" latinLnBrk="0" hangingPunct="1">
              <a:lnSpc>
                <a:spcPct val="80000"/>
              </a:lnSpc>
              <a:spcBef>
                <a:spcPct val="0"/>
              </a:spcBef>
              <a:buNone/>
              <a:defRPr lang="en-US" sz="2700" b="0" kern="1200" spc="-75" baseline="0" dirty="0">
                <a:solidFill>
                  <a:schemeClr val="tx1"/>
                </a:solidFill>
                <a:latin typeface="+mj-lt"/>
                <a:ea typeface="+mj-ea"/>
                <a:cs typeface="+mj-cs"/>
              </a:defRPr>
            </a:lvl1pPr>
          </a:lstStyle>
          <a:p>
            <a:r>
              <a:rPr lang="en-US" dirty="0"/>
              <a:t>Click to edit Master title style</a:t>
            </a:r>
          </a:p>
        </p:txBody>
      </p:sp>
      <p:sp>
        <p:nvSpPr>
          <p:cNvPr id="12" name="Text Placeholder 7"/>
          <p:cNvSpPr>
            <a:spLocks noGrp="1"/>
          </p:cNvSpPr>
          <p:nvPr>
            <p:ph type="body" sz="quarter" idx="11" hasCustomPrompt="1"/>
          </p:nvPr>
        </p:nvSpPr>
        <p:spPr>
          <a:xfrm>
            <a:off x="219531" y="636270"/>
            <a:ext cx="8711929" cy="342900"/>
          </a:xfrm>
          <a:prstGeom prst="rect">
            <a:avLst/>
          </a:prstGeom>
        </p:spPr>
        <p:txBody>
          <a:bodyPr lIns="68519" tIns="34267" rIns="68519" bIns="34267">
            <a:noAutofit/>
          </a:bodyPr>
          <a:lstStyle>
            <a:lvl1pPr marL="0" indent="0">
              <a:buNone/>
              <a:defRPr lang="en-US" sz="1500" kern="1200" spc="-38" baseline="0" dirty="0">
                <a:solidFill>
                  <a:schemeClr val="bg1">
                    <a:lumMod val="20000"/>
                    <a:lumOff val="80000"/>
                  </a:schemeClr>
                </a:solidFill>
                <a:latin typeface="+mj-lt"/>
                <a:ea typeface="+mn-ea"/>
                <a:cs typeface="+mn-cs"/>
              </a:defRPr>
            </a:lvl1pPr>
          </a:lstStyle>
          <a:p>
            <a:pPr marL="0" lvl="0" indent="0" algn="l" defTabSz="685186" rtl="0" eaLnBrk="1" latinLnBrk="0" hangingPunct="1">
              <a:lnSpc>
                <a:spcPct val="95000"/>
              </a:lnSpc>
              <a:spcBef>
                <a:spcPts val="1080"/>
              </a:spcBef>
              <a:buClr>
                <a:schemeClr val="accent1">
                  <a:lumMod val="40000"/>
                  <a:lumOff val="60000"/>
                </a:schemeClr>
              </a:buClr>
              <a:buSzPct val="90000"/>
              <a:buFont typeface="Arial" pitchFamily="34" charset="0"/>
              <a:buNone/>
              <a:tabLst/>
            </a:pPr>
            <a:r>
              <a:rPr lang="en-US" dirty="0"/>
              <a:t>Slide Subtitle</a:t>
            </a:r>
          </a:p>
        </p:txBody>
      </p:sp>
      <p:sp>
        <p:nvSpPr>
          <p:cNvPr id="3" name="Text Placeholder 2"/>
          <p:cNvSpPr>
            <a:spLocks noGrp="1"/>
          </p:cNvSpPr>
          <p:nvPr>
            <p:ph type="body" sz="quarter" idx="14"/>
          </p:nvPr>
        </p:nvSpPr>
        <p:spPr>
          <a:xfrm>
            <a:off x="219513" y="1257300"/>
            <a:ext cx="8697018" cy="3543300"/>
          </a:xfrm>
          <a:prstGeom prst="rect">
            <a:avLst/>
          </a:prstGeom>
        </p:spPr>
        <p:txBody>
          <a:bodyPr lIns="68519" tIns="34267" rIns="68519" bIns="34267"/>
          <a:lstStyle>
            <a:lvl2pPr marL="518654" indent="-214123">
              <a:buClrTx/>
              <a:buSzPct val="80000"/>
              <a:buFont typeface="Courier New"/>
              <a:buChar char="o"/>
              <a:defRPr/>
            </a:lvl2pPr>
            <a:lvl3pPr marL="669720" indent="-130847">
              <a:buClrTx/>
              <a:buFont typeface="Lucida Grande"/>
              <a:buChar char="-"/>
              <a:tabLst/>
              <a:defRPr/>
            </a:lvl3pPr>
          </a:lstStyle>
          <a:p>
            <a:pPr lvl="0"/>
            <a:r>
              <a:rPr lang="en-US" dirty="0"/>
              <a:t>Click to edit Master text styles</a:t>
            </a:r>
          </a:p>
          <a:p>
            <a:pPr lvl="1"/>
            <a:r>
              <a:rPr lang="en-US" dirty="0"/>
              <a:t>Second level</a:t>
            </a:r>
          </a:p>
          <a:p>
            <a:pPr lvl="2"/>
            <a:r>
              <a:rPr lang="en-US" dirty="0"/>
              <a:t>	Third level</a:t>
            </a:r>
          </a:p>
          <a:p>
            <a:pPr lvl="3"/>
            <a:r>
              <a:rPr lang="en-US" dirty="0"/>
              <a:t>	Fourth level</a:t>
            </a:r>
          </a:p>
          <a:p>
            <a:pPr lvl="4"/>
            <a:r>
              <a:rPr lang="en-US" dirty="0"/>
              <a:t>		Fifth level</a:t>
            </a:r>
          </a:p>
        </p:txBody>
      </p:sp>
    </p:spTree>
    <p:extLst>
      <p:ext uri="{BB962C8B-B14F-4D97-AF65-F5344CB8AC3E}">
        <p14:creationId xmlns:p14="http://schemas.microsoft.com/office/powerpoint/2010/main" val="2707813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28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dirty="0"/>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06646704"/>
      </p:ext>
    </p:extLst>
  </p:cSld>
  <p:clrMapOvr>
    <a:masterClrMapping/>
  </p:clrMapOvr>
  <p:transition spd="med">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lue - Title Only">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489098"/>
            <a:ext cx="8268468" cy="3808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t"/>
          <a:lstStyle>
            <a:lvl1pPr>
              <a:defRPr>
                <a:solidFill>
                  <a:schemeClr val="tx1"/>
                </a:solidFill>
              </a:defRPr>
            </a:lvl1pPr>
          </a:lstStyle>
          <a:p>
            <a:pPr lvl="0"/>
            <a:r>
              <a:rPr lang="en-US" dirty="0"/>
              <a:t>Click to edit title</a:t>
            </a:r>
            <a:endParaRPr lang="en-GB" dirty="0"/>
          </a:p>
        </p:txBody>
      </p:sp>
      <p:sp>
        <p:nvSpPr>
          <p:cNvPr id="3" name="Text Placeholder 10"/>
          <p:cNvSpPr>
            <a:spLocks noGrp="1"/>
          </p:cNvSpPr>
          <p:nvPr>
            <p:ph type="body" sz="quarter" idx="11" hasCustomPrompt="1"/>
          </p:nvPr>
        </p:nvSpPr>
        <p:spPr>
          <a:xfrm>
            <a:off x="437766" y="869950"/>
            <a:ext cx="8268468" cy="477838"/>
          </a:xfrm>
          <a:prstGeom prst="rect">
            <a:avLst/>
          </a:prstGeom>
        </p:spPr>
        <p:txBody>
          <a:bodyPr vert="horz"/>
          <a:lstStyle>
            <a:lvl1pPr marL="0" indent="0">
              <a:buNone/>
              <a:defRPr sz="1800">
                <a:solidFill>
                  <a:schemeClr val="bg2"/>
                </a:solidFill>
                <a:ea typeface="Arial"/>
                <a:cs typeface="Arial"/>
              </a:defRPr>
            </a:lvl1pPr>
          </a:lstStyle>
          <a:p>
            <a:pPr lvl="0"/>
            <a:r>
              <a:rPr lang="en-US" dirty="0"/>
              <a:t>Click to edit subtitle</a:t>
            </a:r>
          </a:p>
        </p:txBody>
      </p:sp>
      <p:sp>
        <p:nvSpPr>
          <p:cNvPr id="5" name="Rectangle 4"/>
          <p:cNvSpPr/>
          <p:nvPr userDrawn="1"/>
        </p:nvSpPr>
        <p:spPr>
          <a:xfrm>
            <a:off x="0" y="0"/>
            <a:ext cx="9144000" cy="73152"/>
          </a:xfrm>
          <a:prstGeom prst="rect">
            <a:avLst/>
          </a:prstGeom>
          <a:gradFill>
            <a:gsLst>
              <a:gs pos="10000">
                <a:srgbClr val="04A0C3"/>
              </a:gs>
              <a:gs pos="90000">
                <a:srgbClr val="576DEB"/>
              </a:gs>
            </a:gsLst>
            <a:lin ang="33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25211893"/>
      </p:ext>
    </p:extLst>
  </p:cSld>
  <p:clrMapOvr>
    <a:masterClrMapping/>
  </p:clrMapOvr>
  <p:transition spd="med">
    <p:fade/>
  </p:transition>
  <p:extLst mod="1">
    <p:ext uri="{DCECCB84-F9BA-43D5-87BE-67443E8EF086}">
      <p15:sldGuideLst xmlns:p15="http://schemas.microsoft.com/office/powerpoint/2012/main">
        <p15:guide id="2" orient="horz" pos="996">
          <p15:clr>
            <a:srgbClr val="FBAE40"/>
          </p15:clr>
        </p15:guide>
        <p15:guide id="3" pos="336">
          <p15:clr>
            <a:srgbClr val="FBAE40"/>
          </p15:clr>
        </p15:guide>
        <p15:guide id="4" pos="5424">
          <p15:clr>
            <a:srgbClr val="FBAE40"/>
          </p15:clr>
        </p15:guide>
        <p15:guide id="5" orient="horz" pos="274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Content Slide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544" y="-20250"/>
            <a:ext cx="9211087" cy="5184000"/>
          </a:xfrm>
          <a:prstGeom prst="rect">
            <a:avLst/>
          </a:prstGeom>
        </p:spPr>
      </p:pic>
      <p:sp>
        <p:nvSpPr>
          <p:cNvPr id="6" name="Title Placeholder 1"/>
          <p:cNvSpPr>
            <a:spLocks noGrp="1"/>
          </p:cNvSpPr>
          <p:nvPr>
            <p:ph type="title"/>
          </p:nvPr>
        </p:nvSpPr>
        <p:spPr>
          <a:xfrm>
            <a:off x="1289438" y="1251862"/>
            <a:ext cx="7533327" cy="316962"/>
          </a:xfrm>
          <a:prstGeom prst="rect">
            <a:avLst/>
          </a:prstGeom>
        </p:spPr>
        <p:txBody>
          <a:bodyPr vert="horz" lIns="91440" tIns="45720" rIns="91440" bIns="45720" rtlCol="0" anchor="ctr">
            <a:normAutofit/>
          </a:bodyPr>
          <a:lstStyle/>
          <a:p>
            <a:r>
              <a:rPr lang="en-US" dirty="0"/>
              <a:t>Click to edit Master title style</a:t>
            </a:r>
          </a:p>
        </p:txBody>
      </p:sp>
      <p:sp>
        <p:nvSpPr>
          <p:cNvPr id="7" name="Text Placeholder 2"/>
          <p:cNvSpPr>
            <a:spLocks noGrp="1"/>
          </p:cNvSpPr>
          <p:nvPr>
            <p:ph idx="1" hasCustomPrompt="1"/>
          </p:nvPr>
        </p:nvSpPr>
        <p:spPr>
          <a:xfrm>
            <a:off x="1289438" y="1651004"/>
            <a:ext cx="7533327" cy="2666995"/>
          </a:xfrm>
          <a:prstGeom prst="rect">
            <a:avLst/>
          </a:prstGeom>
        </p:spPr>
        <p:txBody>
          <a:bodyPr vert="horz" lIns="91440" tIns="45720" rIns="91440" bIns="45720" rtlCol="0">
            <a:normAutofit/>
          </a:bodyPr>
          <a:lstStyle>
            <a:lvl2pPr>
              <a:defRPr sz="1500">
                <a:solidFill>
                  <a:srgbClr val="898989"/>
                </a:solidFill>
              </a:defRPr>
            </a:lvl2pPr>
            <a:lvl3pPr>
              <a:defRPr sz="1500">
                <a:solidFill>
                  <a:srgbClr val="898989"/>
                </a:solidFill>
              </a:defRPr>
            </a:lvl3pPr>
            <a:lvl4pPr>
              <a:defRPr sz="1500">
                <a:solidFill>
                  <a:srgbClr val="898989"/>
                </a:solidFill>
              </a:defRPr>
            </a:lvl4pPr>
            <a:lvl5pPr>
              <a:defRPr sz="1500">
                <a:solidFill>
                  <a:srgbClr val="898989"/>
                </a:solidFill>
              </a:defRPr>
            </a:lvl5pPr>
          </a:lstStyle>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85996" b="81439"/>
          <a:stretch/>
        </p:blipFill>
        <p:spPr>
          <a:xfrm>
            <a:off x="7747000" y="-21262"/>
            <a:ext cx="1290400" cy="962556"/>
          </a:xfrm>
          <a:prstGeom prst="rect">
            <a:avLst/>
          </a:prstGeom>
        </p:spPr>
      </p:pic>
      <p:pic>
        <p:nvPicPr>
          <p:cNvPr id="9" name="Picture 8"/>
          <p:cNvPicPr>
            <a:picLocks noChangeAspect="1"/>
          </p:cNvPicPr>
          <p:nvPr userDrawn="1"/>
        </p:nvPicPr>
        <p:blipFill rotWithShape="1">
          <a:blip r:embed="rId4">
            <a:extLst>
              <a:ext uri="{28A0092B-C50C-407E-A947-70E740481C1C}">
                <a14:useLocalDpi xmlns:a14="http://schemas.microsoft.com/office/drawing/2010/main" val="0"/>
              </a:ext>
            </a:extLst>
          </a:blip>
          <a:srcRect t="84982"/>
          <a:stretch/>
        </p:blipFill>
        <p:spPr>
          <a:xfrm>
            <a:off x="-33544" y="4385235"/>
            <a:ext cx="9211087" cy="778514"/>
          </a:xfrm>
          <a:prstGeom prst="rect">
            <a:avLst/>
          </a:prstGeom>
        </p:spPr>
      </p:pic>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82279" t="71334"/>
          <a:stretch/>
        </p:blipFill>
        <p:spPr>
          <a:xfrm>
            <a:off x="7545294" y="3697941"/>
            <a:ext cx="1632249" cy="1486058"/>
          </a:xfrm>
          <a:prstGeom prst="rect">
            <a:avLst/>
          </a:prstGeom>
        </p:spPr>
      </p:pic>
      <p:pic>
        <p:nvPicPr>
          <p:cNvPr id="12" name="Picture 11"/>
          <p:cNvPicPr>
            <a:picLocks noChangeAspect="1"/>
          </p:cNvPicPr>
          <p:nvPr userDrawn="1"/>
        </p:nvPicPr>
        <p:blipFill rotWithShape="1">
          <a:blip r:embed="rId6">
            <a:extLst>
              <a:ext uri="{28A0092B-C50C-407E-A947-70E740481C1C}">
                <a14:useLocalDpi xmlns:a14="http://schemas.microsoft.com/office/drawing/2010/main" val="0"/>
              </a:ext>
            </a:extLst>
          </a:blip>
          <a:srcRect l="88249" t="78584"/>
          <a:stretch/>
        </p:blipFill>
        <p:spPr>
          <a:xfrm>
            <a:off x="8072716" y="4073791"/>
            <a:ext cx="1082414" cy="1110208"/>
          </a:xfrm>
          <a:prstGeom prst="rect">
            <a:avLst/>
          </a:prstGeom>
        </p:spPr>
      </p:pic>
    </p:spTree>
    <p:extLst>
      <p:ext uri="{BB962C8B-B14F-4D97-AF65-F5344CB8AC3E}">
        <p14:creationId xmlns:p14="http://schemas.microsoft.com/office/powerpoint/2010/main" val="4039904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2" presetClass="entr" presetSubtype="8"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ipe(left)">
                                      <p:cBhvr>
                                        <p:cTn id="10" dur="1000"/>
                                        <p:tgtEl>
                                          <p:spTgt spid="9"/>
                                        </p:tgtEl>
                                      </p:cBhvr>
                                    </p:animEffect>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642764624"/>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68769"/>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7" y="4108766"/>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3"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dirty="0"/>
              <a:t>Subtitle Goes Here</a:t>
            </a:r>
          </a:p>
        </p:txBody>
      </p:sp>
      <p:sp>
        <p:nvSpPr>
          <p:cNvPr id="2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407220454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61871089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19785436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bg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50375854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12599798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
        <p:nvSpPr>
          <p:cNvPr id="6" name="Text Placeholder 2"/>
          <p:cNvSpPr>
            <a:spLocks noGrp="1"/>
          </p:cNvSpPr>
          <p:nvPr>
            <p:ph type="body" sz="quarter" idx="11"/>
          </p:nvPr>
        </p:nvSpPr>
        <p:spPr bwMode="auto">
          <a:xfrm>
            <a:off x="500064" y="3911436"/>
            <a:ext cx="8139112" cy="525016"/>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19034219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318404468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303330460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p:nvSpPr>
        <p:spPr bwMode="ltGray">
          <a:xfrm>
            <a:off x="477680" y="4741655"/>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2"/>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17464452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6053306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477678" y="4741653"/>
            <a:ext cx="29468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884465524"/>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18814477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49443560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8027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9"/>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47293050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9"/>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50810914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113211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21" indent="-117472">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18" indent="-114297">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15" indent="-114297">
              <a:buClr>
                <a:schemeClr val="tx2"/>
              </a:buClr>
              <a:buSzPct val="60000"/>
              <a:buFont typeface="Arial"/>
              <a:buChar char="•"/>
              <a:defRPr sz="1600" b="0" i="0">
                <a:solidFill>
                  <a:schemeClr val="bg1"/>
                </a:solidFill>
                <a:latin typeface="+mn-lt"/>
                <a:ea typeface="CiscoSansTT Thin" charset="0"/>
                <a:cs typeface="CiscoSansTT Thin" charset="0"/>
              </a:defRPr>
            </a:lvl3pPr>
            <a:lvl4pPr marL="517512" indent="-114297">
              <a:buClr>
                <a:schemeClr val="tx2"/>
              </a:buClr>
              <a:buSzPct val="60000"/>
              <a:buFont typeface="Arial"/>
              <a:buChar char="•"/>
              <a:defRPr sz="1400" b="0" i="0">
                <a:solidFill>
                  <a:schemeClr val="bg1"/>
                </a:solidFill>
                <a:latin typeface="+mn-lt"/>
                <a:ea typeface="CiscoSansTT Thin" charset="0"/>
                <a:cs typeface="CiscoSansTT Thin" charset="0"/>
              </a:defRPr>
            </a:lvl4pPr>
            <a:lvl5pPr marL="631809" indent="-114297">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7" y="341314"/>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477679" y="4741655"/>
            <a:ext cx="35683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347491302"/>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1"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5097464" y="531812"/>
            <a:ext cx="3551237" cy="4059237"/>
          </a:xfrm>
          <a:prstGeom prst="rect">
            <a:avLst/>
          </a:prstGeom>
        </p:spPr>
        <p:txBody>
          <a:bodyPr lIns="0" rIns="0" anchor="ctr" anchorCtr="0"/>
          <a:lstStyle>
            <a:lvl1pPr marL="169859" indent="-169859">
              <a:lnSpc>
                <a:spcPct val="100000"/>
              </a:lnSpc>
              <a:buClr>
                <a:schemeClr val="tx1"/>
              </a:buClr>
              <a:buSzPct val="60000"/>
              <a:buFont typeface="Arial" panose="020B0604020202020204" pitchFamily="34" charset="0"/>
              <a:buChar char="•"/>
              <a:tabLst>
                <a:tab pos="228594" algn="l"/>
              </a:tabLst>
              <a:defRPr sz="2400"/>
            </a:lvl1pPr>
            <a:lvl2pPr marL="346067" indent="-171446">
              <a:lnSpc>
                <a:spcPct val="100000"/>
              </a:lnSpc>
              <a:buClr>
                <a:schemeClr val="tx1"/>
              </a:buClr>
              <a:buSzPct val="60000"/>
              <a:buFont typeface="Arial" panose="020B0604020202020204" pitchFamily="34" charset="0"/>
              <a:buChar char="•"/>
              <a:defRPr sz="2400"/>
            </a:lvl2pPr>
            <a:lvl3pPr marL="457189" indent="-117472">
              <a:lnSpc>
                <a:spcPct val="100000"/>
              </a:lnSpc>
              <a:buClr>
                <a:schemeClr val="tx1"/>
              </a:buClr>
              <a:buSzPct val="60000"/>
              <a:buFont typeface="Arial" panose="020B0604020202020204" pitchFamily="34" charset="0"/>
              <a:buChar char="•"/>
              <a:defRPr sz="2000"/>
            </a:lvl3pPr>
            <a:lvl4pPr marL="574661" indent="-117472">
              <a:lnSpc>
                <a:spcPct val="100000"/>
              </a:lnSpc>
              <a:buClr>
                <a:schemeClr val="tx1"/>
              </a:buClr>
              <a:buSzPct val="60000"/>
              <a:buFont typeface="Arial" panose="020B0604020202020204" pitchFamily="34" charset="0"/>
              <a:buChar char="•"/>
              <a:tabLst/>
              <a:defRPr sz="1800"/>
            </a:lvl4pPr>
            <a:lvl5pPr marL="744520" indent="-112710">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477680" y="4741655"/>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4028915768"/>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7"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5097464" y="510540"/>
            <a:ext cx="3551237" cy="4080510"/>
          </a:xfrm>
          <a:prstGeom prst="rect">
            <a:avLst/>
          </a:prstGeom>
        </p:spPr>
        <p:txBody>
          <a:bodyPr lIns="0" rIns="0"/>
          <a:lstStyle>
            <a:lvl1pPr marL="114297" indent="-114297">
              <a:lnSpc>
                <a:spcPct val="100000"/>
              </a:lnSpc>
              <a:buClr>
                <a:schemeClr val="tx1"/>
              </a:buClr>
              <a:buSzPct val="60000"/>
              <a:defRPr sz="2000"/>
            </a:lvl1pPr>
            <a:lvl2pPr marL="228594" indent="-114297">
              <a:lnSpc>
                <a:spcPct val="100000"/>
              </a:lnSpc>
              <a:buClr>
                <a:schemeClr val="tx1"/>
              </a:buClr>
              <a:buSzPct val="60000"/>
              <a:defRPr sz="2000"/>
            </a:lvl2pPr>
            <a:lvl3pPr marL="342892" indent="-114297">
              <a:lnSpc>
                <a:spcPct val="100000"/>
              </a:lnSpc>
              <a:buClr>
                <a:schemeClr val="tx1"/>
              </a:buClr>
              <a:buSzPct val="60000"/>
              <a:defRPr sz="1800"/>
            </a:lvl3pPr>
            <a:lvl4pPr marL="457189" indent="-123822">
              <a:lnSpc>
                <a:spcPct val="100000"/>
              </a:lnSpc>
              <a:buClr>
                <a:schemeClr val="tx1"/>
              </a:buClr>
              <a:buSzPct val="60000"/>
              <a:defRPr sz="1600"/>
            </a:lvl4pPr>
            <a:lvl5pPr marL="574661" indent="-117472">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437767" y="1659843"/>
            <a:ext cx="3808797" cy="2931208"/>
          </a:xfrm>
          <a:prstGeom prst="rect">
            <a:avLst/>
          </a:prstGeom>
        </p:spPr>
        <p:txBody>
          <a:bodyPr/>
          <a:lstStyle>
            <a:lvl1pPr marL="114297" indent="-114297">
              <a:buClr>
                <a:schemeClr val="tx2"/>
              </a:buClr>
              <a:buSzPct val="60000"/>
              <a:defRPr lang="en-US" sz="2000" kern="1200" dirty="0" smtClean="0">
                <a:solidFill>
                  <a:schemeClr val="bg1"/>
                </a:solidFill>
                <a:latin typeface="+mn-lt"/>
                <a:ea typeface="ＭＳ Ｐゴシック" charset="0"/>
                <a:cs typeface="CiscoSans"/>
              </a:defRPr>
            </a:lvl1pPr>
            <a:lvl2pPr marL="228594" indent="-114297">
              <a:buClr>
                <a:schemeClr val="tx2"/>
              </a:buClr>
              <a:buSzPct val="60000"/>
              <a:defRPr sz="2000">
                <a:solidFill>
                  <a:schemeClr val="bg1"/>
                </a:solidFill>
              </a:defRPr>
            </a:lvl2pPr>
            <a:lvl3pPr marL="342892" indent="-114297">
              <a:buClr>
                <a:schemeClr val="tx2"/>
              </a:buClr>
              <a:buSzPct val="60000"/>
              <a:defRPr sz="1800">
                <a:solidFill>
                  <a:schemeClr val="bg1"/>
                </a:solidFill>
              </a:defRPr>
            </a:lvl3pPr>
            <a:lvl4pPr marL="457189" indent="-123822">
              <a:buClr>
                <a:schemeClr val="tx2"/>
              </a:buClr>
              <a:buSzPct val="60000"/>
              <a:defRPr sz="1600">
                <a:solidFill>
                  <a:schemeClr val="bg1"/>
                </a:solidFill>
              </a:defRPr>
            </a:lvl4pPr>
            <a:lvl5pPr marL="574661" indent="-117472">
              <a:buClr>
                <a:schemeClr val="tx2"/>
              </a:buClr>
              <a:buSzPct val="6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728372883"/>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5089526" y="531813"/>
            <a:ext cx="3559175" cy="3364846"/>
          </a:xfrm>
          <a:prstGeom prst="rect">
            <a:avLst/>
          </a:prstGeom>
        </p:spPr>
        <p:txBody>
          <a:bodyPr anchor="ctr" anchorCtr="0"/>
          <a:lstStyle>
            <a:lvl1pPr marL="0" indent="0" algn="ctr">
              <a:buNone/>
              <a:defRPr/>
            </a:lvl1pPr>
          </a:lstStyle>
          <a:p>
            <a:r>
              <a:rPr lang="en-US"/>
              <a:t>Drag picture to placeholder or click icon to add</a:t>
            </a:r>
            <a:endParaRPr lang="en-US" dirty="0"/>
          </a:p>
        </p:txBody>
      </p:sp>
      <p:sp>
        <p:nvSpPr>
          <p:cNvPr id="9" name="Text Placeholder 8"/>
          <p:cNvSpPr>
            <a:spLocks noGrp="1"/>
          </p:cNvSpPr>
          <p:nvPr>
            <p:ph type="body" sz="quarter" idx="11"/>
          </p:nvPr>
        </p:nvSpPr>
        <p:spPr>
          <a:xfrm>
            <a:off x="5089526" y="4062351"/>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p:nvSpPr>
        <p:spPr bwMode="ltGray">
          <a:xfrm>
            <a:off x="477680" y="4741655"/>
            <a:ext cx="2863168"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898261061"/>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538180873"/>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5089526" y="531814"/>
            <a:ext cx="3559175" cy="4059236"/>
          </a:xfrm>
          <a:prstGeom prst="rect">
            <a:avLst/>
          </a:prstGeom>
        </p:spPr>
        <p:txBody>
          <a:bodyPr anchor="ctr" anchorCtr="0"/>
          <a:lstStyle>
            <a:lvl1pPr marL="0" indent="0" algn="ctr">
              <a:buNone/>
              <a:defRPr/>
            </a:lvl1pPr>
          </a:lstStyle>
          <a:p>
            <a:r>
              <a:rPr lang="en-US"/>
              <a:t>Drag picture to placeholder or click icon to add</a:t>
            </a:r>
            <a:endParaRPr lang="en-US" dirty="0"/>
          </a:p>
        </p:txBody>
      </p:sp>
      <p:sp>
        <p:nvSpPr>
          <p:cNvPr id="8" name="Rectangle 4"/>
          <p:cNvSpPr>
            <a:spLocks noChangeArrowheads="1"/>
          </p:cNvSpPr>
          <p:nvPr/>
        </p:nvSpPr>
        <p:spPr bwMode="ltGray">
          <a:xfrm>
            <a:off x="477679" y="4741655"/>
            <a:ext cx="32635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514534750"/>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477679" y="4741655"/>
            <a:ext cx="2946839"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164327025"/>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a:lvl1pPr>
          </a:lstStyle>
          <a:p>
            <a:r>
              <a:rPr lang="en-US"/>
              <a:t>Drag picture to placeholder or click icon to add</a:t>
            </a:r>
            <a:endParaRPr lang="en-US" dirty="0"/>
          </a:p>
        </p:txBody>
      </p:sp>
      <p:sp>
        <p:nvSpPr>
          <p:cNvPr id="8" name="Rectangle 4"/>
          <p:cNvSpPr>
            <a:spLocks noChangeArrowheads="1"/>
          </p:cNvSpPr>
          <p:nvPr/>
        </p:nvSpPr>
        <p:spPr bwMode="ltGray">
          <a:xfrm>
            <a:off x="477679" y="4741655"/>
            <a:ext cx="32994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036226695"/>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477679" y="4741655"/>
            <a:ext cx="3179921"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947667881"/>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477679" y="4741655"/>
            <a:ext cx="3407027"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574383143"/>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Freeform 6"/>
          <p:cNvSpPr>
            <a:spLocks noChangeAspect="1" noEditPoints="1"/>
          </p:cNvSpPr>
          <p:nvPr/>
        </p:nvSpPr>
        <p:spPr bwMode="auto">
          <a:xfrm>
            <a:off x="3762995" y="2129077"/>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352906738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247"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x-none" dirty="0"/>
          </a:p>
        </p:txBody>
      </p:sp>
      <p:sp>
        <p:nvSpPr>
          <p:cNvPr id="5" name="doc id" hidden="1"/>
          <p:cNvSpPr>
            <a:spLocks noChangeArrowheads="1"/>
          </p:cNvSpPr>
          <p:nvPr userDrawn="1"/>
        </p:nvSpPr>
        <p:spPr bwMode="gray">
          <a:xfrm flipH="1">
            <a:off x="7993503" y="38876"/>
            <a:ext cx="923672"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0"/>
            <a:endParaRPr lang="x-none" sz="459" baseline="0" noProof="0" dirty="0">
              <a:solidFill>
                <a:schemeClr val="accent6"/>
              </a:solidFill>
              <a:latin typeface="+mn-lt"/>
              <a:ea typeface="+mn-ea"/>
            </a:endParaRPr>
          </a:p>
        </p:txBody>
      </p:sp>
    </p:spTree>
    <p:extLst>
      <p:ext uri="{BB962C8B-B14F-4D97-AF65-F5344CB8AC3E}">
        <p14:creationId xmlns:p14="http://schemas.microsoft.com/office/powerpoint/2010/main" val="936754415"/>
      </p:ext>
    </p:extLst>
  </p:cSld>
  <p:clrMapOvr>
    <a:masterClrMapping/>
  </p:clrMapOvr>
  <p:extLst mod="1">
    <p:ext uri="{DCECCB84-F9BA-43D5-87BE-67443E8EF086}">
      <p15:sldGuideLst xmlns:p15="http://schemas.microsoft.com/office/powerpoint/2012/main">
        <p15:guide id="1" pos="5617">
          <p15:clr>
            <a:srgbClr val="F26B43"/>
          </p15:clr>
        </p15:guide>
        <p15:guide id="2" pos="76">
          <p15:clr>
            <a:srgbClr val="F26B43"/>
          </p15:clr>
        </p15:guide>
        <p15:guide id="3" orient="horz" pos="526">
          <p15:clr>
            <a:srgbClr val="F26B43"/>
          </p15:clr>
        </p15:guide>
        <p15:guide id="4" orient="horz" pos="2993">
          <p15:clr>
            <a:srgbClr val="F26B43"/>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Half_Page_Blu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4" name="Text Placeholder 3"/>
          <p:cNvSpPr>
            <a:spLocks noGrp="1"/>
          </p:cNvSpPr>
          <p:nvPr>
            <p:ph type="body" sz="quarter" idx="10" hasCustomPrompt="1"/>
          </p:nvPr>
        </p:nvSpPr>
        <p:spPr>
          <a:xfrm>
            <a:off x="462301" y="1665182"/>
            <a:ext cx="3662024" cy="3168210"/>
          </a:xfrm>
          <a:prstGeom prst="rect">
            <a:avLst/>
          </a:prstGeom>
        </p:spPr>
        <p:txBody>
          <a:bodyPr lIns="91420" tIns="45710" rIns="91420" bIns="45710">
            <a:noAutofit/>
          </a:bodyPr>
          <a:lstStyle>
            <a:lvl1pPr marL="174621" indent="-117472">
              <a:lnSpc>
                <a:spcPct val="95000"/>
              </a:lnSpc>
              <a:spcBef>
                <a:spcPts val="1110"/>
              </a:spcBef>
              <a:buClr>
                <a:schemeClr val="tx2"/>
              </a:buClr>
              <a:buSzPct val="50000"/>
              <a:buFont typeface="Arial"/>
              <a:buChar char="•"/>
              <a:defRPr sz="2000" b="0" i="0">
                <a:solidFill>
                  <a:schemeClr val="tx2"/>
                </a:solidFill>
                <a:latin typeface="+mn-lt"/>
                <a:ea typeface="CiscoSansTT Thin" charset="0"/>
                <a:cs typeface="CiscoSansTT Thin" charset="0"/>
              </a:defRPr>
            </a:lvl1pPr>
            <a:lvl2pPr marL="288918" indent="-114297">
              <a:lnSpc>
                <a:spcPct val="95000"/>
              </a:lnSpc>
              <a:spcBef>
                <a:spcPts val="450"/>
              </a:spcBef>
              <a:buClr>
                <a:schemeClr val="tx2"/>
              </a:buClr>
              <a:buSzPct val="50000"/>
              <a:buFont typeface="Arial"/>
              <a:buChar char="•"/>
              <a:defRPr sz="1800" b="0" i="0">
                <a:solidFill>
                  <a:schemeClr val="tx2"/>
                </a:solidFill>
                <a:latin typeface="+mn-lt"/>
                <a:ea typeface="CiscoSansTT Thin" charset="0"/>
                <a:cs typeface="CiscoSansTT Thin" charset="0"/>
              </a:defRPr>
            </a:lvl2pPr>
            <a:lvl3pPr marL="403215" indent="-114297">
              <a:buClr>
                <a:schemeClr val="tx2"/>
              </a:buClr>
              <a:buSzPct val="50000"/>
              <a:buFont typeface="Arial"/>
              <a:buChar char="•"/>
              <a:defRPr sz="1600" b="0" i="0">
                <a:solidFill>
                  <a:schemeClr val="tx2"/>
                </a:solidFill>
                <a:latin typeface="+mn-lt"/>
                <a:ea typeface="CiscoSansTT Thin" charset="0"/>
                <a:cs typeface="CiscoSansTT Thin" charset="0"/>
              </a:defRPr>
            </a:lvl3pPr>
            <a:lvl4pPr marL="517512" indent="-114297">
              <a:buClr>
                <a:schemeClr val="tx2"/>
              </a:buClr>
              <a:buSzPct val="50000"/>
              <a:buFont typeface="Arial"/>
              <a:buChar char="•"/>
              <a:defRPr sz="1400" b="0" i="0">
                <a:solidFill>
                  <a:schemeClr val="tx2"/>
                </a:solidFill>
                <a:latin typeface="+mn-lt"/>
                <a:ea typeface="CiscoSansTT Thin" charset="0"/>
                <a:cs typeface="CiscoSansTT Thin" charset="0"/>
              </a:defRPr>
            </a:lvl4pPr>
            <a:lvl5pPr marL="631809" indent="-114297">
              <a:buClr>
                <a:schemeClr val="tx2"/>
              </a:buClr>
              <a:buSzPct val="50000"/>
              <a:buFont typeface="Arial"/>
              <a:buChar char="•"/>
              <a:defRPr sz="1200" b="0" i="0">
                <a:solidFill>
                  <a:schemeClr val="tx2"/>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7" y="341314"/>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tx2"/>
                </a:solidFill>
              </a:defRPr>
            </a:lvl1pPr>
          </a:lstStyle>
          <a:p>
            <a:pPr lvl="0"/>
            <a:r>
              <a:rPr lang="en-GB" dirty="0"/>
              <a:t>Click to edit Master title style</a:t>
            </a:r>
          </a:p>
        </p:txBody>
      </p:sp>
      <p:sp>
        <p:nvSpPr>
          <p:cNvPr id="8" name="Rectangle 4"/>
          <p:cNvSpPr>
            <a:spLocks noChangeArrowheads="1"/>
          </p:cNvSpPr>
          <p:nvPr userDrawn="1"/>
        </p:nvSpPr>
        <p:spPr bwMode="ltGray">
          <a:xfrm>
            <a:off x="477679" y="4741655"/>
            <a:ext cx="3568392"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dirty="0">
                <a:solidFill>
                  <a:srgbClr val="005073">
                    <a:alpha val="60000"/>
                  </a:srgbClr>
                </a:solidFill>
                <a:latin typeface="Arial" panose="020B0604020202020204"/>
                <a:ea typeface=""/>
                <a:cs typeface="CiscoSans Thin"/>
              </a:rPr>
              <a:t>© 2016  Cisco and/or its affiliates. All rights reserved.   Cisco Confidential</a:t>
            </a:r>
          </a:p>
        </p:txBody>
      </p:sp>
    </p:spTree>
    <p:extLst>
      <p:ext uri="{BB962C8B-B14F-4D97-AF65-F5344CB8AC3E}">
        <p14:creationId xmlns:p14="http://schemas.microsoft.com/office/powerpoint/2010/main" val="3870686445"/>
      </p:ext>
    </p:extLst>
  </p:cSld>
  <p:clrMapOvr>
    <a:masterClrMapping/>
  </p:clrMapOvr>
  <p:transition spd="slow">
    <p:wipe dir="r"/>
  </p:transition>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00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Blue - Title Only">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489099"/>
            <a:ext cx="8268468" cy="38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a:defRPr>
                <a:solidFill>
                  <a:schemeClr val="tx1"/>
                </a:solidFill>
              </a:defRPr>
            </a:lvl1pPr>
          </a:lstStyle>
          <a:p>
            <a:pPr lvl="0"/>
            <a:r>
              <a:rPr lang="en-US" dirty="0"/>
              <a:t>Click to edit title</a:t>
            </a:r>
            <a:endParaRPr lang="en-GB" dirty="0"/>
          </a:p>
        </p:txBody>
      </p:sp>
      <p:sp>
        <p:nvSpPr>
          <p:cNvPr id="3" name="Text Placeholder 10"/>
          <p:cNvSpPr>
            <a:spLocks noGrp="1"/>
          </p:cNvSpPr>
          <p:nvPr>
            <p:ph type="body" sz="quarter" idx="11" hasCustomPrompt="1"/>
          </p:nvPr>
        </p:nvSpPr>
        <p:spPr>
          <a:xfrm>
            <a:off x="437766" y="869951"/>
            <a:ext cx="8268468" cy="477838"/>
          </a:xfrm>
          <a:prstGeom prst="rect">
            <a:avLst/>
          </a:prstGeom>
        </p:spPr>
        <p:txBody>
          <a:bodyPr vert="horz"/>
          <a:lstStyle>
            <a:lvl1pPr marL="0" indent="0">
              <a:buNone/>
              <a:defRPr sz="1800">
                <a:solidFill>
                  <a:schemeClr val="bg2"/>
                </a:solidFill>
                <a:ea typeface="Arial"/>
                <a:cs typeface="Arial"/>
              </a:defRPr>
            </a:lvl1pPr>
          </a:lstStyle>
          <a:p>
            <a:pPr lvl="0"/>
            <a:r>
              <a:rPr lang="en-US" dirty="0"/>
              <a:t>Click to edit subtitle</a:t>
            </a:r>
          </a:p>
        </p:txBody>
      </p:sp>
      <p:sp>
        <p:nvSpPr>
          <p:cNvPr id="5" name="Rectangle 4"/>
          <p:cNvSpPr/>
          <p:nvPr userDrawn="1"/>
        </p:nvSpPr>
        <p:spPr>
          <a:xfrm>
            <a:off x="0" y="0"/>
            <a:ext cx="9144000" cy="73152"/>
          </a:xfrm>
          <a:prstGeom prst="rect">
            <a:avLst/>
          </a:prstGeom>
          <a:gradFill>
            <a:gsLst>
              <a:gs pos="10000">
                <a:srgbClr val="04A0C3"/>
              </a:gs>
              <a:gs pos="90000">
                <a:srgbClr val="576DEB"/>
              </a:gs>
            </a:gsLst>
            <a:lin ang="33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4193674226"/>
      </p:ext>
    </p:extLst>
  </p:cSld>
  <p:clrMapOvr>
    <a:masterClrMapping/>
  </p:clrMapOvr>
  <p:transition spd="med">
    <p:fade/>
  </p:transition>
  <p:extLst mod="1">
    <p:ext uri="{DCECCB84-F9BA-43D5-87BE-67443E8EF086}">
      <p15:sldGuideLst xmlns:p15="http://schemas.microsoft.com/office/powerpoint/2012/main">
        <p15:guide id="2" orient="horz" pos="996">
          <p15:clr>
            <a:srgbClr val="FBAE40"/>
          </p15:clr>
        </p15:guide>
        <p15:guide id="3" pos="336">
          <p15:clr>
            <a:srgbClr val="FBAE40"/>
          </p15:clr>
        </p15:guide>
        <p15:guide id="4" pos="5424">
          <p15:clr>
            <a:srgbClr val="FBAE40"/>
          </p15:clr>
        </p15:guide>
        <p15:guide id="5" orient="horz" pos="274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179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301836755"/>
      </p:ext>
    </p:extLst>
  </p:cSld>
  <p:clrMapOvr>
    <a:masterClrMapping/>
  </p:clrMapOvr>
  <p:extLst mod="1">
    <p:ext uri="{DCECCB84-F9BA-43D5-87BE-67443E8EF086}">
      <p15:sldGuideLst xmlns:p15="http://schemas.microsoft.com/office/powerpoint/2012/main">
        <p15:guide id="3" orient="horz" pos="2196" userDrawn="1">
          <p15:clr>
            <a:srgbClr val="FBAE40"/>
          </p15:clr>
        </p15:guide>
        <p15:guide id="4" pos="2675">
          <p15:clr>
            <a:srgbClr val="FBAE40"/>
          </p15:clr>
        </p15:guide>
        <p15:guide id="7" pos="3206">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Title Slide">
    <p:bg bwMode="ltGray">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2" y="1218"/>
          <a:ext cx="1619" cy="1214"/>
        </p:xfrm>
        <a:graphic>
          <a:graphicData uri="http://schemas.openxmlformats.org/presentationml/2006/ole">
            <mc:AlternateContent xmlns:mc="http://schemas.openxmlformats.org/markup-compatibility/2006">
              <mc:Choice xmlns:v="urn:schemas-microsoft-com:vml" Requires="v">
                <p:oleObj spid="_x0000_s427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2" y="1218"/>
                        <a:ext cx="1619" cy="1214"/>
                      </a:xfrm>
                      <a:prstGeom prst="rect">
                        <a:avLst/>
                      </a:prstGeom>
                    </p:spPr>
                  </p:pic>
                </p:oleObj>
              </mc:Fallback>
            </mc:AlternateContent>
          </a:graphicData>
        </a:graphic>
      </p:graphicFrame>
      <p:sp>
        <p:nvSpPr>
          <p:cNvPr id="13314" name="Title"/>
          <p:cNvSpPr>
            <a:spLocks noGrp="1" noChangeArrowheads="1"/>
          </p:cNvSpPr>
          <p:nvPr userDrawn="1">
            <p:ph type="ctrTitle"/>
          </p:nvPr>
        </p:nvSpPr>
        <p:spPr bwMode="gray">
          <a:xfrm>
            <a:off x="425766" y="2670771"/>
            <a:ext cx="8137294" cy="584759"/>
          </a:xfrm>
          <a:prstGeom prst="rect">
            <a:avLst/>
          </a:prstGeom>
        </p:spPr>
        <p:txBody>
          <a:bodyPr anchor="b">
            <a:spAutoFit/>
          </a:bodyPr>
          <a:lstStyle>
            <a:lvl1pPr>
              <a:defRPr lang="x-none" sz="4000" b="0" baseline="0">
                <a:solidFill>
                  <a:schemeClr val="bg1"/>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bwMode="gray">
          <a:xfrm>
            <a:off x="425766" y="3380718"/>
            <a:ext cx="8137294" cy="413959"/>
          </a:xfrm>
          <a:prstGeom prst="rect">
            <a:avLst/>
          </a:prstGeom>
        </p:spPr>
        <p:txBody>
          <a:bodyPr wrap="square">
            <a:spAutoFit/>
          </a:bodyPr>
          <a:lstStyle>
            <a:lvl1pPr>
              <a:defRPr lang="x-none" sz="2200" cap="none" baseline="0">
                <a:solidFill>
                  <a:schemeClr val="bg1"/>
                </a:solidFill>
                <a:latin typeface="+mn-lt"/>
                <a:ea typeface="+mn-ea"/>
              </a:defRPr>
            </a:lvl1pPr>
          </a:lstStyle>
          <a:p>
            <a:pPr lvl="0" latinLnBrk="0"/>
            <a:r>
              <a:rPr lang="en-US" noProof="0"/>
              <a:t>Click to edit Master subtitle style</a:t>
            </a:r>
            <a:endParaRPr lang="x-none" noProof="0" dirty="0"/>
          </a:p>
        </p:txBody>
      </p:sp>
      <p:sp>
        <p:nvSpPr>
          <p:cNvPr id="57" name="Document type" hidden="1"/>
          <p:cNvSpPr txBox="1">
            <a:spLocks noChangeArrowheads="1"/>
          </p:cNvSpPr>
          <p:nvPr userDrawn="1"/>
        </p:nvSpPr>
        <p:spPr bwMode="gray">
          <a:xfrm>
            <a:off x="425766" y="4429037"/>
            <a:ext cx="813729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x-none" sz="1600" baseline="0" noProof="0" dirty="0">
                <a:solidFill>
                  <a:schemeClr val="bg1"/>
                </a:solidFill>
                <a:latin typeface="+mn-lt"/>
              </a:rPr>
              <a:t>Document type | Date</a:t>
            </a:r>
          </a:p>
        </p:txBody>
      </p:sp>
      <p:sp>
        <p:nvSpPr>
          <p:cNvPr id="10" name="Freeform 6"/>
          <p:cNvSpPr>
            <a:spLocks noChangeAspect="1" noEditPoints="1"/>
          </p:cNvSpPr>
          <p:nvPr userDrawn="1"/>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184358817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56736"/>
            <a:ext cx="8296421" cy="288131"/>
          </a:xfrm>
          <a:prstGeom prst="rect">
            <a:avLst/>
          </a:prstGeom>
        </p:spPr>
        <p:txBody>
          <a:bodyPr lIns="91420" tIns="45710" rIns="91420" bIns="45710" anchor="b" anchorCtr="0">
            <a:noAutofit/>
          </a:bodyPr>
          <a:lstStyle>
            <a:lvl1pPr marL="0" indent="0" algn="l">
              <a:buNone/>
              <a:defRPr sz="1800" b="0" i="0">
                <a:solidFill>
                  <a:schemeClr val="bg1">
                    <a:lumMod val="75000"/>
                  </a:schemeClr>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72669"/>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04365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lumMod val="75000"/>
                  </a:schemeClr>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Tree>
    <p:extLst>
      <p:ext uri="{BB962C8B-B14F-4D97-AF65-F5344CB8AC3E}">
        <p14:creationId xmlns:p14="http://schemas.microsoft.com/office/powerpoint/2010/main" val="421180590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415438818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87552136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lumMod val="75000"/>
                  </a:schemeClr>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61430259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13778806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
        <p:nvSpPr>
          <p:cNvPr id="6" name="Text Placeholder 2"/>
          <p:cNvSpPr>
            <a:spLocks noGrp="1"/>
          </p:cNvSpPr>
          <p:nvPr>
            <p:ph type="body" sz="quarter" idx="11"/>
          </p:nvPr>
        </p:nvSpPr>
        <p:spPr bwMode="auto">
          <a:xfrm>
            <a:off x="500063" y="3895662"/>
            <a:ext cx="8139112" cy="55656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19916824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428304856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114272155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24041775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991378711"/>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61054611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12428474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05425971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223257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24083391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96331340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2009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lumMod val="75000"/>
                  </a:schemeClr>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lumMod val="75000"/>
                  </a:schemeClr>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lumMod val="75000"/>
                  </a:schemeClr>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lumMod val="75000"/>
                  </a:schemeClr>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697039263"/>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327746193"/>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lumMod val="75000"/>
                  </a:schemeClr>
                </a:solidFill>
                <a:latin typeface="+mn-lt"/>
                <a:ea typeface="ＭＳ Ｐゴシック" charset="0"/>
                <a:cs typeface="CiscoSans"/>
              </a:defRPr>
            </a:lvl1pPr>
            <a:lvl2pPr marL="228600" indent="-114300">
              <a:buClr>
                <a:schemeClr val="tx2"/>
              </a:buClr>
              <a:buSzPct val="60000"/>
              <a:defRPr sz="2000">
                <a:solidFill>
                  <a:schemeClr val="bg1">
                    <a:lumMod val="75000"/>
                  </a:schemeClr>
                </a:solidFill>
              </a:defRPr>
            </a:lvl2pPr>
            <a:lvl3pPr marL="342900" indent="-114300">
              <a:buClr>
                <a:schemeClr val="tx2"/>
              </a:buClr>
              <a:buSzPct val="60000"/>
              <a:defRPr sz="1800">
                <a:solidFill>
                  <a:schemeClr val="bg1">
                    <a:lumMod val="75000"/>
                  </a:schemeClr>
                </a:solidFill>
              </a:defRPr>
            </a:lvl3pPr>
            <a:lvl4pPr marL="457200" indent="-123825">
              <a:buClr>
                <a:schemeClr val="tx2"/>
              </a:buClr>
              <a:buSzPct val="60000"/>
              <a:defRPr sz="1600">
                <a:solidFill>
                  <a:schemeClr val="bg1">
                    <a:lumMod val="75000"/>
                  </a:schemeClr>
                </a:solidFill>
              </a:defRPr>
            </a:lvl4pPr>
            <a:lvl5pPr marL="574675" indent="-117475">
              <a:buClr>
                <a:schemeClr val="tx2"/>
              </a:buClr>
              <a:buSzPct val="60000"/>
              <a:defRPr sz="1600">
                <a:solidFill>
                  <a:schemeClr val="bg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168252430"/>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95875956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r>
              <a:rPr lang="en-US"/>
              <a:t>Drag picture to placeholder or click icon to add</a:t>
            </a:r>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p:nvSpPr>
        <p:spPr bwMode="ltGray">
          <a:xfrm>
            <a:off x="477679" y="4741653"/>
            <a:ext cx="2863168"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493530920"/>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r>
              <a:rPr lang="en-US"/>
              <a:t>Drag picture to placeholder or click icon to add</a:t>
            </a:r>
            <a:endParaRPr lang="en-US" dirty="0"/>
          </a:p>
        </p:txBody>
      </p:sp>
      <p:sp>
        <p:nvSpPr>
          <p:cNvPr id="8" name="Rectangle 4"/>
          <p:cNvSpPr>
            <a:spLocks noChangeArrowheads="1"/>
          </p:cNvSpPr>
          <p:nvPr/>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737335389"/>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477678" y="4741653"/>
            <a:ext cx="29468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835596450"/>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r>
              <a:rPr lang="en-US"/>
              <a:t>Drag picture to placeholder or click icon to add</a:t>
            </a:r>
            <a:endParaRPr lang="en-US" dirty="0"/>
          </a:p>
        </p:txBody>
      </p:sp>
      <p:sp>
        <p:nvSpPr>
          <p:cNvPr id="8" name="Rectangle 4"/>
          <p:cNvSpPr>
            <a:spLocks noChangeArrowheads="1"/>
          </p:cNvSpPr>
          <p:nvPr/>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491136538"/>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477678" y="4741653"/>
            <a:ext cx="3179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521518604"/>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09451857"/>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336846692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1_Bullet_Title onl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GB" dirty="0"/>
              <a:t>Click to edit Master title style</a:t>
            </a:r>
          </a:p>
        </p:txBody>
      </p:sp>
    </p:spTree>
    <p:extLst>
      <p:ext uri="{BB962C8B-B14F-4D97-AF65-F5344CB8AC3E}">
        <p14:creationId xmlns:p14="http://schemas.microsoft.com/office/powerpoint/2010/main" val="3509844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Blank Slide (no GSX logo)">
    <p:bg>
      <p:bgPr>
        <a:solidFill>
          <a:schemeClr val="tx1"/>
        </a:solidFill>
        <a:effectLst/>
      </p:bgPr>
    </p:bg>
    <p:spTree>
      <p:nvGrpSpPr>
        <p:cNvPr id="1" name=""/>
        <p:cNvGrpSpPr/>
        <p:nvPr/>
      </p:nvGrpSpPr>
      <p:grpSpPr>
        <a:xfrm>
          <a:off x="0" y="0"/>
          <a:ext cx="0" cy="0"/>
          <a:chOff x="0" y="0"/>
          <a:chExt cx="0" cy="0"/>
        </a:xfrm>
      </p:grpSpPr>
      <p:pic>
        <p:nvPicPr>
          <p:cNvPr id="3" name="Picture 6"/>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576638" y="1646238"/>
            <a:ext cx="19907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31123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925" y="218947"/>
            <a:ext cx="8513064" cy="765432"/>
          </a:xfrm>
        </p:spPr>
        <p:txBody>
          <a:bodyPr/>
          <a:lstStyle>
            <a:lvl1pPr>
              <a:defRPr baseline="0">
                <a:solidFill>
                  <a:schemeClr val="accent6"/>
                </a:solidFill>
              </a:defRPr>
            </a:lvl1pPr>
          </a:lstStyle>
          <a:p>
            <a:r>
              <a:rPr lang="en-US"/>
              <a:t>Click to edit Master title style</a:t>
            </a:r>
            <a:endParaRPr lang="en-US" dirty="0"/>
          </a:p>
        </p:txBody>
      </p:sp>
      <p:sp>
        <p:nvSpPr>
          <p:cNvPr id="5" name="Content Placeholder 4"/>
          <p:cNvSpPr>
            <a:spLocks noGrp="1"/>
          </p:cNvSpPr>
          <p:nvPr>
            <p:ph sz="quarter" idx="11"/>
          </p:nvPr>
        </p:nvSpPr>
        <p:spPr>
          <a:xfrm>
            <a:off x="352925" y="1077913"/>
            <a:ext cx="8513064" cy="33988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Tree>
    <p:extLst>
      <p:ext uri="{BB962C8B-B14F-4D97-AF65-F5344CB8AC3E}">
        <p14:creationId xmlns:p14="http://schemas.microsoft.com/office/powerpoint/2010/main" val="399639685"/>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56737"/>
            <a:ext cx="8296421" cy="288131"/>
          </a:xfrm>
          <a:prstGeom prst="rect">
            <a:avLst/>
          </a:prstGeom>
        </p:spPr>
        <p:txBody>
          <a:bodyPr lIns="91420" tIns="45710" rIns="91420" bIns="45710" anchor="b" anchorCtr="0">
            <a:noAutofit/>
          </a:bodyPr>
          <a:lstStyle>
            <a:lvl1pPr marL="0" indent="0" algn="l">
              <a:buNone/>
              <a:defRPr sz="1800" b="0" i="0">
                <a:solidFill>
                  <a:schemeClr val="bg1">
                    <a:lumMod val="75000"/>
                  </a:schemeClr>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7" y="4072670"/>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3" y="3043654"/>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lumMod val="75000"/>
                  </a:schemeClr>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dirty="0"/>
              <a:t>Subtitle Goes Here</a:t>
            </a:r>
          </a:p>
        </p:txBody>
      </p:sp>
      <p:sp>
        <p:nvSpPr>
          <p:cNvPr id="20" name="Title 1"/>
          <p:cNvSpPr>
            <a:spLocks noGrp="1"/>
          </p:cNvSpPr>
          <p:nvPr>
            <p:ph type="ctrTitle" hasCustomPrompt="1"/>
          </p:nvPr>
        </p:nvSpPr>
        <p:spPr>
          <a:xfrm>
            <a:off x="425766"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Tree>
    <p:extLst>
      <p:ext uri="{BB962C8B-B14F-4D97-AF65-F5344CB8AC3E}">
        <p14:creationId xmlns:p14="http://schemas.microsoft.com/office/powerpoint/2010/main" val="13439560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
        <p:nvSpPr>
          <p:cNvPr id="11" name="Title 1"/>
          <p:cNvSpPr>
            <a:spLocks noGrp="1"/>
          </p:cNvSpPr>
          <p:nvPr>
            <p:ph type="title"/>
          </p:nvPr>
        </p:nvSpPr>
        <p:spPr>
          <a:xfrm>
            <a:off x="356616" y="217715"/>
            <a:ext cx="8513064" cy="765432"/>
          </a:xfrm>
        </p:spPr>
        <p:txBody>
          <a:bodyPr/>
          <a:lstStyle/>
          <a:p>
            <a:r>
              <a:rPr lang="en-US"/>
              <a:t>Click to edit Master title style</a:t>
            </a:r>
            <a:endParaRPr lang="en-US" dirty="0"/>
          </a:p>
        </p:txBody>
      </p:sp>
    </p:spTree>
    <p:extLst>
      <p:ext uri="{BB962C8B-B14F-4D97-AF65-F5344CB8AC3E}">
        <p14:creationId xmlns:p14="http://schemas.microsoft.com/office/powerpoint/2010/main" val="1709446296"/>
      </p:ext>
    </p:extLst>
  </p:cSld>
  <p:clrMapOvr>
    <a:masterClrMapping/>
  </p:clrMapOvr>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Only 4 Heavy Graphics">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p>
        </p:txBody>
      </p:sp>
      <p:sp>
        <p:nvSpPr>
          <p:cNvPr id="6" name="Title 1"/>
          <p:cNvSpPr>
            <a:spLocks noGrp="1"/>
          </p:cNvSpPr>
          <p:nvPr>
            <p:ph type="title" hasCustomPrompt="1"/>
          </p:nvPr>
        </p:nvSpPr>
        <p:spPr>
          <a:xfrm>
            <a:off x="356616" y="155576"/>
            <a:ext cx="8513064" cy="434974"/>
          </a:xfrm>
        </p:spPr>
        <p:txBody>
          <a:bodyPr/>
          <a:lstStyle>
            <a:lvl1pPr marL="6251" indent="-6251" algn="l" defTabSz="457200" rtl="0" eaLnBrk="0" fontAlgn="base" hangingPunct="0">
              <a:lnSpc>
                <a:spcPct val="90000"/>
              </a:lnSpc>
              <a:spcBef>
                <a:spcPct val="0"/>
              </a:spcBef>
              <a:spcAft>
                <a:spcPct val="0"/>
              </a:spcAft>
              <a:defRPr lang="en-US" sz="2800" b="0" kern="1200" baseline="0" dirty="0">
                <a:solidFill>
                  <a:schemeClr val="accent6"/>
                </a:solidFill>
                <a:latin typeface="+mj-lt"/>
                <a:ea typeface="+mj-ea"/>
                <a:cs typeface="+mj-cs"/>
                <a:sym typeface="Arial" pitchFamily="34" charset="0"/>
              </a:defRPr>
            </a:lvl1pPr>
          </a:lstStyle>
          <a:p>
            <a:r>
              <a:rPr lang="en-US" dirty="0"/>
              <a:t>Slide Title</a:t>
            </a:r>
          </a:p>
        </p:txBody>
      </p:sp>
    </p:spTree>
    <p:extLst>
      <p:ext uri="{BB962C8B-B14F-4D97-AF65-F5344CB8AC3E}">
        <p14:creationId xmlns:p14="http://schemas.microsoft.com/office/powerpoint/2010/main" val="1073418218"/>
      </p:ext>
    </p:extLst>
  </p:cSld>
  <p:clrMapOvr>
    <a:masterClrMapping/>
  </p:clrMapOvr>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53776251"/>
      </p:ext>
    </p:extLst>
  </p:cSld>
  <p:clrMapOvr>
    <a:masterClrMapping/>
  </p:clrMapOvr>
  <p:transition spd="med">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0" name="Text Placeholder 17"/>
          <p:cNvSpPr>
            <a:spLocks noGrp="1"/>
          </p:cNvSpPr>
          <p:nvPr>
            <p:ph type="body" sz="quarter" idx="22" hasCustomPrompt="1"/>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4" name="Text Placeholder 17"/>
          <p:cNvSpPr>
            <a:spLocks noGrp="1"/>
          </p:cNvSpPr>
          <p:nvPr>
            <p:ph type="body" sz="quarter" idx="24" hasCustomPrompt="1"/>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03821160"/>
      </p:ext>
    </p:extLst>
  </p:cSld>
  <p:clrMapOvr>
    <a:masterClrMapping/>
  </p:clrMapOvr>
  <p:transition spd="med">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45827005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6DE2E4C2-0D54-4967-8613-13F609B1365C}" type="datetimeFigureOut">
              <a:rPr lang="en-US" smtClean="0"/>
              <a:t>16-May-19</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D258D87D-6F9C-4470-8AE6-3A085330D078}" type="slidenum">
              <a:rPr lang="en-US" smtClean="0"/>
              <a:t>‹#›</a:t>
            </a:fld>
            <a:endParaRPr lang="en-US"/>
          </a:p>
        </p:txBody>
      </p:sp>
    </p:spTree>
    <p:extLst>
      <p:ext uri="{BB962C8B-B14F-4D97-AF65-F5344CB8AC3E}">
        <p14:creationId xmlns:p14="http://schemas.microsoft.com/office/powerpoint/2010/main" val="387140861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6DE2E4C2-0D54-4967-8613-13F609B1365C}" type="datetimeFigureOut">
              <a:rPr lang="en-US" smtClean="0"/>
              <a:t>16-May-19</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D258D87D-6F9C-4470-8AE6-3A085330D078}" type="slidenum">
              <a:rPr lang="en-US" smtClean="0"/>
              <a:t>‹#›</a:t>
            </a:fld>
            <a:endParaRPr lang="en-US"/>
          </a:p>
        </p:txBody>
      </p:sp>
    </p:spTree>
    <p:extLst>
      <p:ext uri="{BB962C8B-B14F-4D97-AF65-F5344CB8AC3E}">
        <p14:creationId xmlns:p14="http://schemas.microsoft.com/office/powerpoint/2010/main" val="136888614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28650" y="4767263"/>
            <a:ext cx="2057400" cy="273844"/>
          </a:xfrm>
          <a:prstGeom prst="rect">
            <a:avLst/>
          </a:prstGeom>
        </p:spPr>
        <p:txBody>
          <a:bodyPr/>
          <a:lstStyle/>
          <a:p>
            <a:fld id="{6DE2E4C2-0D54-4967-8613-13F609B1365C}" type="datetimeFigureOut">
              <a:rPr lang="en-US" smtClean="0"/>
              <a:t>16-May-19</a:t>
            </a:fld>
            <a:endParaRPr lang="en-US"/>
          </a:p>
        </p:txBody>
      </p:sp>
      <p:sp>
        <p:nvSpPr>
          <p:cNvPr id="6" name="Footer Placeholder 5"/>
          <p:cNvSpPr>
            <a:spLocks noGrp="1"/>
          </p:cNvSpPr>
          <p:nvPr>
            <p:ph type="ftr" sz="quarter" idx="11"/>
          </p:nvPr>
        </p:nvSpPr>
        <p:spPr>
          <a:xfrm>
            <a:off x="3028950" y="4767263"/>
            <a:ext cx="30861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fld id="{D258D87D-6F9C-4470-8AE6-3A085330D078}" type="slidenum">
              <a:rPr lang="en-US" smtClean="0"/>
              <a:t>‹#›</a:t>
            </a:fld>
            <a:endParaRPr lang="en-US"/>
          </a:p>
        </p:txBody>
      </p:sp>
    </p:spTree>
    <p:extLst>
      <p:ext uri="{BB962C8B-B14F-4D97-AF65-F5344CB8AC3E}">
        <p14:creationId xmlns:p14="http://schemas.microsoft.com/office/powerpoint/2010/main" val="93984370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28650" y="4767263"/>
            <a:ext cx="2057400" cy="273844"/>
          </a:xfrm>
          <a:prstGeom prst="rect">
            <a:avLst/>
          </a:prstGeom>
        </p:spPr>
        <p:txBody>
          <a:bodyPr/>
          <a:lstStyle/>
          <a:p>
            <a:fld id="{6DE2E4C2-0D54-4967-8613-13F609B1365C}" type="datetimeFigureOut">
              <a:rPr lang="en-US" smtClean="0"/>
              <a:t>16-May-19</a:t>
            </a:fld>
            <a:endParaRPr lang="en-US"/>
          </a:p>
        </p:txBody>
      </p:sp>
      <p:sp>
        <p:nvSpPr>
          <p:cNvPr id="8" name="Footer Placeholder 7"/>
          <p:cNvSpPr>
            <a:spLocks noGrp="1"/>
          </p:cNvSpPr>
          <p:nvPr>
            <p:ph type="ftr" sz="quarter" idx="11"/>
          </p:nvPr>
        </p:nvSpPr>
        <p:spPr>
          <a:xfrm>
            <a:off x="3028950" y="4767263"/>
            <a:ext cx="3086100" cy="273844"/>
          </a:xfrm>
          <a:prstGeom prst="rect">
            <a:avLst/>
          </a:prstGeom>
        </p:spPr>
        <p:txBody>
          <a:bodyPr/>
          <a:lstStyle/>
          <a:p>
            <a:endParaRPr lang="en-US"/>
          </a:p>
        </p:txBody>
      </p:sp>
      <p:sp>
        <p:nvSpPr>
          <p:cNvPr id="9" name="Slide Number Placeholder 8"/>
          <p:cNvSpPr>
            <a:spLocks noGrp="1"/>
          </p:cNvSpPr>
          <p:nvPr>
            <p:ph type="sldNum" sz="quarter" idx="12"/>
          </p:nvPr>
        </p:nvSpPr>
        <p:spPr>
          <a:xfrm>
            <a:off x="6457950" y="4767263"/>
            <a:ext cx="2057400" cy="273844"/>
          </a:xfrm>
          <a:prstGeom prst="rect">
            <a:avLst/>
          </a:prstGeom>
        </p:spPr>
        <p:txBody>
          <a:bodyPr/>
          <a:lstStyle/>
          <a:p>
            <a:fld id="{D258D87D-6F9C-4470-8AE6-3A085330D078}" type="slidenum">
              <a:rPr lang="en-US" smtClean="0"/>
              <a:t>‹#›</a:t>
            </a:fld>
            <a:endParaRPr lang="en-US"/>
          </a:p>
        </p:txBody>
      </p:sp>
    </p:spTree>
    <p:extLst>
      <p:ext uri="{BB962C8B-B14F-4D97-AF65-F5344CB8AC3E}">
        <p14:creationId xmlns:p14="http://schemas.microsoft.com/office/powerpoint/2010/main" val="424514053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28650" y="4767263"/>
            <a:ext cx="2057400" cy="273844"/>
          </a:xfrm>
          <a:prstGeom prst="rect">
            <a:avLst/>
          </a:prstGeom>
        </p:spPr>
        <p:txBody>
          <a:bodyPr/>
          <a:lstStyle/>
          <a:p>
            <a:fld id="{6DE2E4C2-0D54-4967-8613-13F609B1365C}" type="datetimeFigureOut">
              <a:rPr lang="en-US" smtClean="0"/>
              <a:t>16-May-19</a:t>
            </a:fld>
            <a:endParaRPr lang="en-US"/>
          </a:p>
        </p:txBody>
      </p:sp>
      <p:sp>
        <p:nvSpPr>
          <p:cNvPr id="4" name="Footer Placeholder 3"/>
          <p:cNvSpPr>
            <a:spLocks noGrp="1"/>
          </p:cNvSpPr>
          <p:nvPr>
            <p:ph type="ftr" sz="quarter" idx="11"/>
          </p:nvPr>
        </p:nvSpPr>
        <p:spPr>
          <a:xfrm>
            <a:off x="3028950" y="4767263"/>
            <a:ext cx="3086100" cy="273844"/>
          </a:xfrm>
          <a:prstGeom prst="rect">
            <a:avLst/>
          </a:prstGeom>
        </p:spPr>
        <p:txBody>
          <a:bodyPr/>
          <a:lstStyle/>
          <a:p>
            <a:endParaRPr lang="en-US"/>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p>
            <a:fld id="{D258D87D-6F9C-4470-8AE6-3A085330D078}" type="slidenum">
              <a:rPr lang="en-US" smtClean="0"/>
              <a:t>‹#›</a:t>
            </a:fld>
            <a:endParaRPr lang="en-US"/>
          </a:p>
        </p:txBody>
      </p:sp>
    </p:spTree>
    <p:extLst>
      <p:ext uri="{BB962C8B-B14F-4D97-AF65-F5344CB8AC3E}">
        <p14:creationId xmlns:p14="http://schemas.microsoft.com/office/powerpoint/2010/main" val="29709875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425908249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3"/>
            <a:ext cx="2057400" cy="273844"/>
          </a:xfrm>
          <a:prstGeom prst="rect">
            <a:avLst/>
          </a:prstGeom>
        </p:spPr>
        <p:txBody>
          <a:bodyPr/>
          <a:lstStyle/>
          <a:p>
            <a:fld id="{6DE2E4C2-0D54-4967-8613-13F609B1365C}" type="datetimeFigureOut">
              <a:rPr lang="en-US" smtClean="0"/>
              <a:t>16-May-19</a:t>
            </a:fld>
            <a:endParaRPr lang="en-US"/>
          </a:p>
        </p:txBody>
      </p:sp>
      <p:sp>
        <p:nvSpPr>
          <p:cNvPr id="3" name="Footer Placeholder 2"/>
          <p:cNvSpPr>
            <a:spLocks noGrp="1"/>
          </p:cNvSpPr>
          <p:nvPr>
            <p:ph type="ftr" sz="quarter" idx="11"/>
          </p:nvPr>
        </p:nvSpPr>
        <p:spPr>
          <a:xfrm>
            <a:off x="3028950" y="4767263"/>
            <a:ext cx="30861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D258D87D-6F9C-4470-8AE6-3A085330D078}" type="slidenum">
              <a:rPr lang="en-US" smtClean="0"/>
              <a:t>‹#›</a:t>
            </a:fld>
            <a:endParaRPr lang="en-US"/>
          </a:p>
        </p:txBody>
      </p:sp>
    </p:spTree>
    <p:extLst>
      <p:ext uri="{BB962C8B-B14F-4D97-AF65-F5344CB8AC3E}">
        <p14:creationId xmlns:p14="http://schemas.microsoft.com/office/powerpoint/2010/main" val="212786803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a:xfrm>
            <a:off x="628650" y="4767263"/>
            <a:ext cx="2057400" cy="273844"/>
          </a:xfrm>
          <a:prstGeom prst="rect">
            <a:avLst/>
          </a:prstGeom>
        </p:spPr>
        <p:txBody>
          <a:bodyPr/>
          <a:lstStyle/>
          <a:p>
            <a:fld id="{6DE2E4C2-0D54-4967-8613-13F609B1365C}" type="datetimeFigureOut">
              <a:rPr lang="en-US" smtClean="0"/>
              <a:t>16-May-19</a:t>
            </a:fld>
            <a:endParaRPr lang="en-US"/>
          </a:p>
        </p:txBody>
      </p:sp>
      <p:sp>
        <p:nvSpPr>
          <p:cNvPr id="6" name="Footer Placeholder 5"/>
          <p:cNvSpPr>
            <a:spLocks noGrp="1"/>
          </p:cNvSpPr>
          <p:nvPr>
            <p:ph type="ftr" sz="quarter" idx="11"/>
          </p:nvPr>
        </p:nvSpPr>
        <p:spPr>
          <a:xfrm>
            <a:off x="3028950" y="4767263"/>
            <a:ext cx="30861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fld id="{D258D87D-6F9C-4470-8AE6-3A085330D078}" type="slidenum">
              <a:rPr lang="en-US" smtClean="0"/>
              <a:t>‹#›</a:t>
            </a:fld>
            <a:endParaRPr lang="en-US"/>
          </a:p>
        </p:txBody>
      </p:sp>
    </p:spTree>
    <p:extLst>
      <p:ext uri="{BB962C8B-B14F-4D97-AF65-F5344CB8AC3E}">
        <p14:creationId xmlns:p14="http://schemas.microsoft.com/office/powerpoint/2010/main" val="157998544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a:xfrm>
            <a:off x="628650" y="4767263"/>
            <a:ext cx="2057400" cy="273844"/>
          </a:xfrm>
          <a:prstGeom prst="rect">
            <a:avLst/>
          </a:prstGeom>
        </p:spPr>
        <p:txBody>
          <a:bodyPr/>
          <a:lstStyle/>
          <a:p>
            <a:fld id="{6DE2E4C2-0D54-4967-8613-13F609B1365C}" type="datetimeFigureOut">
              <a:rPr lang="en-US" smtClean="0"/>
              <a:t>16-May-19</a:t>
            </a:fld>
            <a:endParaRPr lang="en-US"/>
          </a:p>
        </p:txBody>
      </p:sp>
      <p:sp>
        <p:nvSpPr>
          <p:cNvPr id="6" name="Footer Placeholder 5"/>
          <p:cNvSpPr>
            <a:spLocks noGrp="1"/>
          </p:cNvSpPr>
          <p:nvPr>
            <p:ph type="ftr" sz="quarter" idx="11"/>
          </p:nvPr>
        </p:nvSpPr>
        <p:spPr>
          <a:xfrm>
            <a:off x="3028950" y="4767263"/>
            <a:ext cx="30861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fld id="{D258D87D-6F9C-4470-8AE6-3A085330D078}" type="slidenum">
              <a:rPr lang="en-US" smtClean="0"/>
              <a:t>‹#›</a:t>
            </a:fld>
            <a:endParaRPr lang="en-US"/>
          </a:p>
        </p:txBody>
      </p:sp>
    </p:spTree>
    <p:extLst>
      <p:ext uri="{BB962C8B-B14F-4D97-AF65-F5344CB8AC3E}">
        <p14:creationId xmlns:p14="http://schemas.microsoft.com/office/powerpoint/2010/main" val="302585896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6DE2E4C2-0D54-4967-8613-13F609B1365C}" type="datetimeFigureOut">
              <a:rPr lang="en-US" smtClean="0"/>
              <a:t>16-May-19</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D258D87D-6F9C-4470-8AE6-3A085330D078}" type="slidenum">
              <a:rPr lang="en-US" smtClean="0"/>
              <a:t>‹#›</a:t>
            </a:fld>
            <a:endParaRPr lang="en-US"/>
          </a:p>
        </p:txBody>
      </p:sp>
    </p:spTree>
    <p:extLst>
      <p:ext uri="{BB962C8B-B14F-4D97-AF65-F5344CB8AC3E}">
        <p14:creationId xmlns:p14="http://schemas.microsoft.com/office/powerpoint/2010/main" val="368757462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6DE2E4C2-0D54-4967-8613-13F609B1365C}" type="datetimeFigureOut">
              <a:rPr lang="en-US" smtClean="0"/>
              <a:t>16-May-19</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D258D87D-6F9C-4470-8AE6-3A085330D078}" type="slidenum">
              <a:rPr lang="en-US" smtClean="0"/>
              <a:t>‹#›</a:t>
            </a:fld>
            <a:endParaRPr lang="en-US"/>
          </a:p>
        </p:txBody>
      </p:sp>
    </p:spTree>
    <p:extLst>
      <p:ext uri="{BB962C8B-B14F-4D97-AF65-F5344CB8AC3E}">
        <p14:creationId xmlns:p14="http://schemas.microsoft.com/office/powerpoint/2010/main" val="361484492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JDV6_16x9_Event Intro">
    <p:spTree>
      <p:nvGrpSpPr>
        <p:cNvPr id="1" name=""/>
        <p:cNvGrpSpPr/>
        <p:nvPr/>
      </p:nvGrpSpPr>
      <p:grpSpPr>
        <a:xfrm>
          <a:off x="0" y="0"/>
          <a:ext cx="0" cy="0"/>
          <a:chOff x="0" y="0"/>
          <a:chExt cx="0" cy="0"/>
        </a:xfrm>
      </p:grpSpPr>
      <p:sp>
        <p:nvSpPr>
          <p:cNvPr id="14" name="Rectangle 13"/>
          <p:cNvSpPr/>
          <p:nvPr userDrawn="1"/>
        </p:nvSpPr>
        <p:spPr>
          <a:xfrm>
            <a:off x="-2031998" y="-473040"/>
            <a:ext cx="1883596" cy="381000"/>
          </a:xfrm>
          <a:prstGeom prst="rect">
            <a:avLst/>
          </a:prstGeom>
          <a:solidFill>
            <a:srgbClr val="A0B9C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lvl="0" algn="ctr">
              <a:spcAft>
                <a:spcPts val="500"/>
              </a:spcAft>
            </a:pPr>
            <a:r>
              <a:rPr lang="en-US" sz="844" dirty="0">
                <a:solidFill>
                  <a:schemeClr val="tx1"/>
                </a:solidFill>
              </a:rPr>
              <a:t>Executive Intro Slide</a:t>
            </a:r>
          </a:p>
        </p:txBody>
      </p:sp>
      <p:sp>
        <p:nvSpPr>
          <p:cNvPr id="19" name="Text Placeholder 20"/>
          <p:cNvSpPr>
            <a:spLocks noGrp="1"/>
          </p:cNvSpPr>
          <p:nvPr>
            <p:ph type="body" sz="quarter" idx="16" hasCustomPrompt="1"/>
          </p:nvPr>
        </p:nvSpPr>
        <p:spPr>
          <a:xfrm>
            <a:off x="3772098" y="964073"/>
            <a:ext cx="4071938" cy="1825624"/>
          </a:xfrm>
          <a:prstGeom prst="rect">
            <a:avLst/>
          </a:prstGeom>
        </p:spPr>
        <p:txBody>
          <a:bodyPr lIns="0" tIns="121890" rIns="0" bIns="121890" anchor="b"/>
          <a:lstStyle>
            <a:lvl1pPr marL="0" indent="0">
              <a:lnSpc>
                <a:spcPct val="85000"/>
              </a:lnSpc>
              <a:spcBef>
                <a:spcPts val="0"/>
              </a:spcBef>
              <a:buNone/>
              <a:defRPr lang="en-US" sz="3688" b="1" kern="1200" cap="all" baseline="0" dirty="0" smtClean="0">
                <a:solidFill>
                  <a:schemeClr val="tx1"/>
                </a:solidFill>
                <a:latin typeface="Antenna Black" pitchFamily="50" charset="0"/>
                <a:ea typeface="+mn-ea"/>
                <a:cs typeface="Aparajita" pitchFamily="34" charset="0"/>
              </a:defRPr>
            </a:lvl1pPr>
          </a:lstStyle>
          <a:p>
            <a:pPr lvl="0"/>
            <a:r>
              <a:rPr lang="en-US"/>
              <a:t>Event title</a:t>
            </a:r>
            <a:endParaRPr lang="en-US" dirty="0"/>
          </a:p>
        </p:txBody>
      </p:sp>
      <p:sp>
        <p:nvSpPr>
          <p:cNvPr id="20" name="Text Placeholder 5"/>
          <p:cNvSpPr>
            <a:spLocks noGrp="1"/>
          </p:cNvSpPr>
          <p:nvPr>
            <p:ph type="body" sz="quarter" idx="17" hasCustomPrompt="1"/>
          </p:nvPr>
        </p:nvSpPr>
        <p:spPr>
          <a:xfrm>
            <a:off x="3772099" y="2951223"/>
            <a:ext cx="4071937" cy="361156"/>
          </a:xfrm>
          <a:prstGeom prst="rect">
            <a:avLst/>
          </a:prstGeom>
        </p:spPr>
        <p:txBody>
          <a:bodyPr lIns="0" tIns="60945" rIns="121890" bIns="60945"/>
          <a:lstStyle>
            <a:lvl1pPr marL="0" indent="0">
              <a:buNone/>
              <a:defRPr sz="2313">
                <a:solidFill>
                  <a:schemeClr val="accent3"/>
                </a:solidFill>
              </a:defRPr>
            </a:lvl1pPr>
            <a:lvl2pPr>
              <a:defRPr sz="2000">
                <a:solidFill>
                  <a:schemeClr val="accent4"/>
                </a:solidFill>
              </a:defRPr>
            </a:lvl2pPr>
            <a:lvl3pPr>
              <a:defRPr sz="2000">
                <a:solidFill>
                  <a:schemeClr val="accent4"/>
                </a:solidFill>
              </a:defRPr>
            </a:lvl3pPr>
            <a:lvl4pPr>
              <a:defRPr sz="2000">
                <a:solidFill>
                  <a:schemeClr val="accent4"/>
                </a:solidFill>
              </a:defRPr>
            </a:lvl4pPr>
            <a:lvl5pPr>
              <a:defRPr sz="2000">
                <a:solidFill>
                  <a:schemeClr val="accent4"/>
                </a:solidFill>
              </a:defRPr>
            </a:lvl5pPr>
          </a:lstStyle>
          <a:p>
            <a:pPr lvl="0"/>
            <a:r>
              <a:rPr lang="en-US"/>
              <a:t>Event Subtitle</a:t>
            </a:r>
            <a:endParaRPr lang="en-US" dirty="0"/>
          </a:p>
        </p:txBody>
      </p:sp>
    </p:spTree>
    <p:extLst>
      <p:ext uri="{BB962C8B-B14F-4D97-AF65-F5344CB8AC3E}">
        <p14:creationId xmlns:p14="http://schemas.microsoft.com/office/powerpoint/2010/main" val="75897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userDrawn="1">
  <p:cSld name="Presenter 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48072"/>
          </a:xfrm>
          <a:prstGeom prst="rect">
            <a:avLst/>
          </a:prstGeom>
        </p:spPr>
      </p:pic>
      <p:sp>
        <p:nvSpPr>
          <p:cNvPr id="2" name="Rectangle 2"/>
          <p:cNvSpPr>
            <a:spLocks noGrp="1" noChangeArrowheads="1"/>
          </p:cNvSpPr>
          <p:nvPr>
            <p:ph type="title" hasCustomPrompt="1"/>
          </p:nvPr>
        </p:nvSpPr>
        <p:spPr bwMode="white">
          <a:xfrm>
            <a:off x="336626" y="1489435"/>
            <a:ext cx="8416893" cy="1249508"/>
          </a:xfrm>
          <a:prstGeom prst="rect">
            <a:avLst/>
          </a:prstGeom>
          <a:noFill/>
          <a:ln w="12700">
            <a:noFill/>
            <a:miter lim="800000"/>
            <a:headEnd/>
            <a:tailEnd/>
          </a:ln>
          <a:effectLst/>
        </p:spPr>
        <p:txBody>
          <a:bodyPr lIns="121904" tIns="60952" rIns="121904" bIns="60952" anchor="b"/>
          <a:lstStyle>
            <a:lvl1pPr algn="l">
              <a:defRPr lang="en-US" sz="3975" i="0" kern="1200" dirty="0">
                <a:solidFill>
                  <a:schemeClr val="bg1"/>
                </a:solidFill>
                <a:latin typeface="+mn-lt"/>
                <a:ea typeface="+mn-ea"/>
                <a:cs typeface="+mn-cs"/>
                <a:sym typeface="Arial" pitchFamily="-107" charset="0"/>
              </a:defRPr>
            </a:lvl1pPr>
          </a:lstStyle>
          <a:p>
            <a:pPr lvl="0"/>
            <a:r>
              <a:rPr lang="en-US" dirty="0">
                <a:sym typeface="Arial" pitchFamily="-107" charset="0"/>
              </a:rPr>
              <a:t>Presentation Title</a:t>
            </a:r>
          </a:p>
        </p:txBody>
      </p:sp>
      <p:sp>
        <p:nvSpPr>
          <p:cNvPr id="9" name="Text Placeholder 8"/>
          <p:cNvSpPr>
            <a:spLocks noGrp="1"/>
          </p:cNvSpPr>
          <p:nvPr>
            <p:ph type="body" sz="quarter" idx="10" hasCustomPrompt="1"/>
          </p:nvPr>
        </p:nvSpPr>
        <p:spPr>
          <a:xfrm>
            <a:off x="352483" y="3376472"/>
            <a:ext cx="8416892" cy="336551"/>
          </a:xfrm>
          <a:prstGeom prst="rect">
            <a:avLst/>
          </a:prstGeom>
        </p:spPr>
        <p:txBody>
          <a:bodyPr lIns="121904" tIns="60952" rIns="121904" bIns="60952" anchor="b"/>
          <a:lstStyle>
            <a:lvl1pPr marL="1785" indent="0" algn="l">
              <a:buNone/>
              <a:defRPr lang="en-US" sz="1575" kern="1200" dirty="0" smtClean="0">
                <a:solidFill>
                  <a:schemeClr val="bg1"/>
                </a:solidFill>
                <a:latin typeface="+mn-lt"/>
                <a:ea typeface="+mn-ea"/>
                <a:cs typeface="+mn-cs"/>
                <a:sym typeface="Arial" pitchFamily="34" charset="0"/>
              </a:defRPr>
            </a:lvl1pPr>
            <a:lvl2pPr marL="192849" indent="0">
              <a:buNone/>
              <a:defRPr/>
            </a:lvl2pPr>
            <a:lvl3pPr marL="386591" indent="0">
              <a:buNone/>
              <a:defRPr/>
            </a:lvl3pPr>
            <a:lvl4pPr marL="546402" indent="0">
              <a:buNone/>
              <a:defRPr/>
            </a:lvl4pPr>
            <a:lvl5pPr marL="706212" indent="0">
              <a:buNone/>
              <a:defRPr/>
            </a:lvl5pPr>
          </a:lstStyle>
          <a:p>
            <a:pPr lvl="0"/>
            <a:r>
              <a:rPr lang="en-US" dirty="0"/>
              <a:t>Presenter Name and Title</a:t>
            </a:r>
          </a:p>
        </p:txBody>
      </p:sp>
      <p:sp>
        <p:nvSpPr>
          <p:cNvPr id="4" name="Text Placeholder 3"/>
          <p:cNvSpPr>
            <a:spLocks noGrp="1"/>
          </p:cNvSpPr>
          <p:nvPr>
            <p:ph type="body" sz="quarter" idx="13" hasCustomPrompt="1"/>
          </p:nvPr>
        </p:nvSpPr>
        <p:spPr>
          <a:xfrm>
            <a:off x="352483" y="3722263"/>
            <a:ext cx="5221886" cy="250298"/>
          </a:xfrm>
          <a:prstGeom prst="rect">
            <a:avLst/>
          </a:prstGeom>
        </p:spPr>
        <p:txBody>
          <a:bodyPr/>
          <a:lstStyle>
            <a:lvl1pPr marL="1785" indent="0">
              <a:buNone/>
              <a:defRPr sz="1200">
                <a:solidFill>
                  <a:schemeClr val="bg1"/>
                </a:solidFill>
              </a:defRPr>
            </a:lvl1pPr>
          </a:lstStyle>
          <a:p>
            <a:pPr lvl="0"/>
            <a:r>
              <a:rPr lang="en-US" dirty="0"/>
              <a:t>Session ID</a:t>
            </a:r>
          </a:p>
        </p:txBody>
      </p:sp>
    </p:spTree>
    <p:extLst>
      <p:ext uri="{BB962C8B-B14F-4D97-AF65-F5344CB8AC3E}">
        <p14:creationId xmlns:p14="http://schemas.microsoft.com/office/powerpoint/2010/main" val="1464812028"/>
      </p:ext>
    </p:extLst>
  </p:cSld>
  <p:clrMapOvr>
    <a:masterClrMapping/>
  </p:clrMapOvr>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3252924734"/>
      </p:ext>
    </p:extLst>
  </p:cSld>
  <p:clrMapOvr>
    <a:masterClrMapping/>
  </p:clrMapOvr>
  <p:transition spd="med">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99935489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87783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4893609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27732345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428441047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950070808"/>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
        <p:nvSpPr>
          <p:cNvPr id="6" name="Text Placeholder 2"/>
          <p:cNvSpPr>
            <a:spLocks noGrp="1"/>
          </p:cNvSpPr>
          <p:nvPr>
            <p:ph type="body" sz="quarter" idx="11"/>
          </p:nvPr>
        </p:nvSpPr>
        <p:spPr bwMode="auto">
          <a:xfrm>
            <a:off x="500063" y="3895662"/>
            <a:ext cx="8139112" cy="55656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3906961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412845894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419854175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262963405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552718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29814402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756106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916777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bg1">
                    <a:lumMod val="75000"/>
                  </a:schemeClr>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97292651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3323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47861726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38440124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523672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Partner Confidential</a:t>
            </a:r>
          </a:p>
        </p:txBody>
      </p:sp>
    </p:spTree>
    <p:extLst>
      <p:ext uri="{BB962C8B-B14F-4D97-AF65-F5344CB8AC3E}">
        <p14:creationId xmlns:p14="http://schemas.microsoft.com/office/powerpoint/2010/main" val="643115320"/>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a:t>
            </a:r>
            <a:r>
              <a:rPr lang="en-US" sz="600" kern="1200" spc="20" baseline="0" dirty="0">
                <a:solidFill>
                  <a:schemeClr val="accent1">
                    <a:lumMod val="75000"/>
                  </a:schemeClr>
                </a:solidFill>
                <a:latin typeface="Arial" charset="0"/>
                <a:ea typeface="ＭＳ Ｐゴシック" charset="0"/>
                <a:cs typeface="CiscoSans Thin"/>
              </a:rPr>
              <a:t>Partner  </a:t>
            </a:r>
            <a:r>
              <a:rPr lang="en-US" sz="600" kern="1200" spc="20" baseline="0" dirty="0">
                <a:solidFill>
                  <a:schemeClr val="accent1">
                    <a:lumMod val="75000"/>
                  </a:schemeClr>
                </a:solidFill>
                <a:latin typeface="+mn-lt"/>
                <a:ea typeface="+mn-ea"/>
                <a:cs typeface="CiscoSans Thin"/>
              </a:rPr>
              <a:t>Confidential</a:t>
            </a:r>
          </a:p>
        </p:txBody>
      </p:sp>
    </p:spTree>
    <p:extLst>
      <p:ext uri="{BB962C8B-B14F-4D97-AF65-F5344CB8AC3E}">
        <p14:creationId xmlns:p14="http://schemas.microsoft.com/office/powerpoint/2010/main" val="1414947064"/>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a:t>
            </a:r>
            <a:r>
              <a:rPr lang="en-US" sz="600" kern="1200" spc="20" baseline="0" dirty="0">
                <a:solidFill>
                  <a:schemeClr val="accent1">
                    <a:lumMod val="75000"/>
                  </a:schemeClr>
                </a:solidFill>
                <a:latin typeface="Arial" charset="0"/>
                <a:ea typeface="ＭＳ Ｐゴシック" charset="0"/>
                <a:cs typeface="CiscoSans Thin"/>
              </a:rPr>
              <a:t>Partner</a:t>
            </a:r>
            <a:r>
              <a:rPr lang="en-US" sz="600" kern="1200" spc="20" baseline="0" dirty="0">
                <a:solidFill>
                  <a:schemeClr val="accent1">
                    <a:lumMod val="75000"/>
                  </a:schemeClr>
                </a:solidFill>
                <a:latin typeface="+mn-lt"/>
                <a:ea typeface="+mn-ea"/>
                <a:cs typeface="CiscoSans Thin"/>
              </a:rPr>
              <a:t>  Confidential</a:t>
            </a:r>
          </a:p>
        </p:txBody>
      </p:sp>
    </p:spTree>
    <p:extLst>
      <p:ext uri="{BB962C8B-B14F-4D97-AF65-F5344CB8AC3E}">
        <p14:creationId xmlns:p14="http://schemas.microsoft.com/office/powerpoint/2010/main" val="1074307806"/>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r>
              <a:rPr lang="en-US"/>
              <a:t>Drag picture to placeholder or click icon to add</a:t>
            </a:r>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p:nvSpPr>
        <p:spPr bwMode="ltGray">
          <a:xfrm>
            <a:off x="477678" y="4734983"/>
            <a:ext cx="3306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a:t>
            </a:r>
            <a:r>
              <a:rPr lang="en-US" sz="600" kern="1200" spc="20" baseline="0" dirty="0">
                <a:solidFill>
                  <a:schemeClr val="accent1">
                    <a:lumMod val="75000"/>
                  </a:schemeClr>
                </a:solidFill>
                <a:latin typeface="Arial" charset="0"/>
                <a:ea typeface="ＭＳ Ｐゴシック" charset="0"/>
                <a:cs typeface="CiscoSans Thin"/>
              </a:rPr>
              <a:t>Partner  </a:t>
            </a:r>
            <a:r>
              <a:rPr lang="en-US" sz="600" kern="1200" spc="20" baseline="0" dirty="0">
                <a:solidFill>
                  <a:schemeClr val="accent1">
                    <a:lumMod val="75000"/>
                  </a:schemeClr>
                </a:solidFill>
                <a:latin typeface="+mn-lt"/>
                <a:ea typeface="+mn-ea"/>
                <a:cs typeface="CiscoSans Thin"/>
              </a:rPr>
              <a:t>Confidential</a:t>
            </a:r>
          </a:p>
        </p:txBody>
      </p:sp>
    </p:spTree>
    <p:extLst>
      <p:ext uri="{BB962C8B-B14F-4D97-AF65-F5344CB8AC3E}">
        <p14:creationId xmlns:p14="http://schemas.microsoft.com/office/powerpoint/2010/main" val="3939038577"/>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r>
              <a:rPr lang="en-US"/>
              <a:t>Drag picture to placeholder or click icon to add</a:t>
            </a:r>
            <a:endParaRPr lang="en-US" dirty="0"/>
          </a:p>
        </p:txBody>
      </p:sp>
      <p:sp>
        <p:nvSpPr>
          <p:cNvPr id="8" name="Rectangle 4"/>
          <p:cNvSpPr>
            <a:spLocks noChangeArrowheads="1"/>
          </p:cNvSpPr>
          <p:nvPr/>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a:t>
            </a:r>
            <a:r>
              <a:rPr lang="en-US" sz="600" kern="1200" spc="20" baseline="0" dirty="0">
                <a:solidFill>
                  <a:schemeClr val="accent1">
                    <a:lumMod val="75000"/>
                  </a:schemeClr>
                </a:solidFill>
                <a:latin typeface="Arial" charset="0"/>
                <a:ea typeface="ＭＳ Ｐゴシック" charset="0"/>
                <a:cs typeface="CiscoSans Thin"/>
              </a:rPr>
              <a:t>Partner  </a:t>
            </a:r>
            <a:r>
              <a:rPr lang="en-US" sz="600" kern="1200" spc="20" baseline="0" dirty="0">
                <a:solidFill>
                  <a:schemeClr val="accent1">
                    <a:lumMod val="75000"/>
                  </a:schemeClr>
                </a:solidFill>
                <a:latin typeface="+mn-lt"/>
                <a:ea typeface="+mn-ea"/>
                <a:cs typeface="CiscoSans Thin"/>
              </a:rPr>
              <a:t>Confidential</a:t>
            </a:r>
          </a:p>
        </p:txBody>
      </p:sp>
    </p:spTree>
    <p:extLst>
      <p:ext uri="{BB962C8B-B14F-4D97-AF65-F5344CB8AC3E}">
        <p14:creationId xmlns:p14="http://schemas.microsoft.com/office/powerpoint/2010/main" val="2996511846"/>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477678" y="4722283"/>
            <a:ext cx="325612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a:t>
            </a:r>
            <a:r>
              <a:rPr lang="en-US" sz="600" kern="1200" spc="20" baseline="0" dirty="0">
                <a:solidFill>
                  <a:schemeClr val="accent1">
                    <a:lumMod val="75000"/>
                  </a:schemeClr>
                </a:solidFill>
                <a:latin typeface="Arial" charset="0"/>
                <a:ea typeface="ＭＳ Ｐゴシック" charset="0"/>
                <a:cs typeface="CiscoSans Thin"/>
              </a:rPr>
              <a:t>Partner </a:t>
            </a:r>
            <a:r>
              <a:rPr lang="en-US" sz="600" kern="1200" spc="20" baseline="0" dirty="0">
                <a:solidFill>
                  <a:schemeClr val="accent1">
                    <a:lumMod val="75000"/>
                  </a:schemeClr>
                </a:solidFill>
                <a:latin typeface="+mn-lt"/>
                <a:ea typeface="+mn-ea"/>
                <a:cs typeface="CiscoSans Thin"/>
              </a:rPr>
              <a:t>Confidential</a:t>
            </a:r>
          </a:p>
        </p:txBody>
      </p:sp>
    </p:spTree>
    <p:extLst>
      <p:ext uri="{BB962C8B-B14F-4D97-AF65-F5344CB8AC3E}">
        <p14:creationId xmlns:p14="http://schemas.microsoft.com/office/powerpoint/2010/main" val="1983497308"/>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357749641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r>
              <a:rPr lang="en-US"/>
              <a:t>Drag picture to placeholder or click icon to add</a:t>
            </a:r>
            <a:endParaRPr lang="en-US" dirty="0"/>
          </a:p>
        </p:txBody>
      </p:sp>
      <p:sp>
        <p:nvSpPr>
          <p:cNvPr id="8" name="Rectangle 4"/>
          <p:cNvSpPr>
            <a:spLocks noChangeArrowheads="1"/>
          </p:cNvSpPr>
          <p:nvPr/>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a:t>
            </a:r>
            <a:r>
              <a:rPr lang="en-US" sz="600" kern="1200" spc="20" baseline="0" dirty="0">
                <a:solidFill>
                  <a:schemeClr val="accent1">
                    <a:lumMod val="75000"/>
                  </a:schemeClr>
                </a:solidFill>
                <a:latin typeface="Arial" charset="0"/>
                <a:ea typeface="ＭＳ Ｐゴシック" charset="0"/>
                <a:cs typeface="CiscoSans Thin"/>
              </a:rPr>
              <a:t>Partner  </a:t>
            </a:r>
            <a:r>
              <a:rPr lang="en-US" sz="600" kern="1200" spc="20" baseline="0" dirty="0">
                <a:solidFill>
                  <a:schemeClr val="accent1">
                    <a:lumMod val="75000"/>
                  </a:schemeClr>
                </a:solidFill>
                <a:latin typeface="+mn-lt"/>
                <a:ea typeface="+mn-ea"/>
                <a:cs typeface="CiscoSans Thin"/>
              </a:rPr>
              <a:t>Confidential</a:t>
            </a:r>
          </a:p>
        </p:txBody>
      </p:sp>
    </p:spTree>
    <p:extLst>
      <p:ext uri="{BB962C8B-B14F-4D97-AF65-F5344CB8AC3E}">
        <p14:creationId xmlns:p14="http://schemas.microsoft.com/office/powerpoint/2010/main" val="2750275443"/>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477678" y="4741653"/>
            <a:ext cx="3179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a:t>
            </a:r>
            <a:r>
              <a:rPr lang="en-US" sz="600" kern="1200" spc="20" baseline="0" dirty="0">
                <a:solidFill>
                  <a:schemeClr val="accent1">
                    <a:lumMod val="75000"/>
                  </a:schemeClr>
                </a:solidFill>
                <a:latin typeface="Arial" charset="0"/>
                <a:ea typeface="ＭＳ Ｐゴシック" charset="0"/>
                <a:cs typeface="CiscoSans Thin"/>
              </a:rPr>
              <a:t>Partner  </a:t>
            </a:r>
            <a:r>
              <a:rPr lang="en-US" sz="600" kern="1200" spc="20" baseline="0" dirty="0">
                <a:solidFill>
                  <a:schemeClr val="accent1">
                    <a:lumMod val="75000"/>
                  </a:schemeClr>
                </a:solidFill>
                <a:latin typeface="+mn-lt"/>
                <a:ea typeface="+mn-ea"/>
                <a:cs typeface="CiscoSans Thin"/>
              </a:rPr>
              <a:t>Confidential</a:t>
            </a:r>
          </a:p>
        </p:txBody>
      </p:sp>
    </p:spTree>
    <p:extLst>
      <p:ext uri="{BB962C8B-B14F-4D97-AF65-F5344CB8AC3E}">
        <p14:creationId xmlns:p14="http://schemas.microsoft.com/office/powerpoint/2010/main" val="3304056443"/>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a:t>
            </a:r>
            <a:r>
              <a:rPr lang="en-US" sz="600" kern="1200" spc="20" baseline="0" dirty="0">
                <a:solidFill>
                  <a:schemeClr val="accent1">
                    <a:lumMod val="75000"/>
                  </a:schemeClr>
                </a:solidFill>
                <a:latin typeface="Arial" charset="0"/>
                <a:ea typeface="ＭＳ Ｐゴシック" charset="0"/>
                <a:cs typeface="CiscoSans Thin"/>
              </a:rPr>
              <a:t>Partner  </a:t>
            </a:r>
            <a:r>
              <a:rPr lang="en-US" sz="600" kern="1200" spc="20" baseline="0" dirty="0">
                <a:solidFill>
                  <a:schemeClr val="accent1">
                    <a:lumMod val="75000"/>
                  </a:schemeClr>
                </a:solidFill>
                <a:latin typeface="+mn-lt"/>
                <a:ea typeface="+mn-ea"/>
                <a:cs typeface="CiscoSans Thin"/>
              </a:rPr>
              <a:t>Confidential</a:t>
            </a:r>
          </a:p>
        </p:txBody>
      </p:sp>
    </p:spTree>
    <p:extLst>
      <p:ext uri="{BB962C8B-B14F-4D97-AF65-F5344CB8AC3E}">
        <p14:creationId xmlns:p14="http://schemas.microsoft.com/office/powerpoint/2010/main" val="453462140"/>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304698069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2_Half_Page_Blank">
    <p:spTree>
      <p:nvGrpSpPr>
        <p:cNvPr id="1" name=""/>
        <p:cNvGrpSpPr/>
        <p:nvPr/>
      </p:nvGrpSpPr>
      <p:grpSpPr>
        <a:xfrm>
          <a:off x="0" y="0"/>
          <a:ext cx="0" cy="0"/>
          <a:chOff x="0" y="0"/>
          <a:chExt cx="0" cy="0"/>
        </a:xfrm>
      </p:grpSpPr>
      <p:sp>
        <p:nvSpPr>
          <p:cNvPr id="5" name="Rectangle 4"/>
          <p:cNvSpPr/>
          <p:nvPr userDrawn="1"/>
        </p:nvSpPr>
        <p:spPr>
          <a:xfrm>
            <a:off x="4563908" y="0"/>
            <a:ext cx="4580092" cy="514350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lang="en-GB" dirty="0"/>
            </a:lvl1pPr>
          </a:lstStyle>
          <a:p>
            <a:pPr lvl="0"/>
            <a:r>
              <a:rPr lang="en-GB" dirty="0"/>
              <a:t>Click to edit Master title style</a:t>
            </a:r>
          </a:p>
        </p:txBody>
      </p:sp>
      <p:sp>
        <p:nvSpPr>
          <p:cNvPr id="7" name="Text Placeholder 3">
            <a:extLst>
              <a:ext uri="{FF2B5EF4-FFF2-40B4-BE49-F238E27FC236}">
                <a16:creationId xmlns:a16="http://schemas.microsoft.com/office/drawing/2014/main" id="{1A36FA38-644A-41E3-8C7A-1C3E232C4D4D}"/>
              </a:ext>
            </a:extLst>
          </p:cNvPr>
          <p:cNvSpPr>
            <a:spLocks noGrp="1"/>
          </p:cNvSpPr>
          <p:nvPr>
            <p:ph type="body" sz="quarter" idx="10" hasCustomPrompt="1"/>
          </p:nvPr>
        </p:nvSpPr>
        <p:spPr>
          <a:xfrm>
            <a:off x="437766" y="1201738"/>
            <a:ext cx="3686559" cy="3389312"/>
          </a:xfrm>
          <a:prstGeom prst="rect">
            <a:avLst/>
          </a:prstGeom>
        </p:spPr>
        <p:txBody>
          <a:bodyPr lIns="91420" tIns="45710" rIns="91420" bIns="45710">
            <a:noAutofit/>
          </a:bodyPr>
          <a:lstStyle>
            <a:lvl1pPr marL="176213" indent="-171450">
              <a:lnSpc>
                <a:spcPct val="95000"/>
              </a:lnSpc>
              <a:spcBef>
                <a:spcPts val="0"/>
              </a:spcBef>
              <a:spcAft>
                <a:spcPts val="600"/>
              </a:spcAft>
              <a:buClr>
                <a:schemeClr val="tx1"/>
              </a:buClr>
              <a:buSzPct val="80000"/>
              <a:buFont typeface="Arial"/>
              <a:buChar char="•"/>
              <a:defRPr sz="12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p:txBody>
      </p:sp>
    </p:spTree>
    <p:extLst>
      <p:ext uri="{BB962C8B-B14F-4D97-AF65-F5344CB8AC3E}">
        <p14:creationId xmlns:p14="http://schemas.microsoft.com/office/powerpoint/2010/main" val="1741490673"/>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3_Half_Page_Blank">
    <p:spTree>
      <p:nvGrpSpPr>
        <p:cNvPr id="1" name=""/>
        <p:cNvGrpSpPr/>
        <p:nvPr/>
      </p:nvGrpSpPr>
      <p:grpSpPr>
        <a:xfrm>
          <a:off x="0" y="0"/>
          <a:ext cx="0" cy="0"/>
          <a:chOff x="0" y="0"/>
          <a:chExt cx="0" cy="0"/>
        </a:xfrm>
      </p:grpSpPr>
      <p:sp>
        <p:nvSpPr>
          <p:cNvPr id="5" name="Rectangle 4"/>
          <p:cNvSpPr/>
          <p:nvPr userDrawn="1"/>
        </p:nvSpPr>
        <p:spPr>
          <a:xfrm>
            <a:off x="4563908"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lang="en-GB" dirty="0"/>
            </a:lvl1pPr>
          </a:lstStyle>
          <a:p>
            <a:pPr lvl="0"/>
            <a:r>
              <a:rPr lang="en-GB" dirty="0"/>
              <a:t>Click to edit Master title style</a:t>
            </a:r>
          </a:p>
        </p:txBody>
      </p:sp>
    </p:spTree>
    <p:extLst>
      <p:ext uri="{BB962C8B-B14F-4D97-AF65-F5344CB8AC3E}">
        <p14:creationId xmlns:p14="http://schemas.microsoft.com/office/powerpoint/2010/main" val="129002868"/>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1845826"/>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353"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4537798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Title and Subtitle and Bullet 4 Heavy Graphics">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Presentation ID</a:t>
            </a:r>
          </a:p>
        </p:txBody>
      </p:sp>
      <p:sp>
        <p:nvSpPr>
          <p:cNvPr id="12" name="Title 1"/>
          <p:cNvSpPr>
            <a:spLocks noGrp="1"/>
          </p:cNvSpPr>
          <p:nvPr>
            <p:ph type="title" hasCustomPrompt="1"/>
          </p:nvPr>
        </p:nvSpPr>
        <p:spPr>
          <a:xfrm>
            <a:off x="356616" y="155576"/>
            <a:ext cx="8513064" cy="434974"/>
          </a:xfrm>
        </p:spPr>
        <p:txBody>
          <a:bodyPr/>
          <a:lstStyle>
            <a:lvl1pPr>
              <a:defRPr baseline="0">
                <a:solidFill>
                  <a:schemeClr val="accent6"/>
                </a:solidFill>
              </a:defRPr>
            </a:lvl1pPr>
          </a:lstStyle>
          <a:p>
            <a:r>
              <a:rPr lang="en-US" dirty="0"/>
              <a:t>Slide Title</a:t>
            </a:r>
          </a:p>
        </p:txBody>
      </p:sp>
      <p:sp>
        <p:nvSpPr>
          <p:cNvPr id="13" name="Text Placeholder 5"/>
          <p:cNvSpPr>
            <a:spLocks noGrp="1"/>
          </p:cNvSpPr>
          <p:nvPr>
            <p:ph type="body" sz="quarter" idx="12"/>
          </p:nvPr>
        </p:nvSpPr>
        <p:spPr>
          <a:xfrm>
            <a:off x="356616" y="548534"/>
            <a:ext cx="8513064" cy="381000"/>
          </a:xfrm>
          <a:prstGeom prst="rect">
            <a:avLst/>
          </a:prstGeom>
        </p:spPr>
        <p:txBody>
          <a:bodyPr/>
          <a:lstStyle>
            <a:lvl1pPr marL="1785" indent="0">
              <a:buNone/>
              <a:defRPr>
                <a:solidFill>
                  <a:schemeClr val="tx1"/>
                </a:solidFill>
              </a:defRPr>
            </a:lvl1pPr>
          </a:lstStyle>
          <a:p>
            <a:pPr lvl="0"/>
            <a:r>
              <a:rPr lang="en-US"/>
              <a:t>Click to edit Master text styles</a:t>
            </a:r>
          </a:p>
        </p:txBody>
      </p:sp>
      <p:sp>
        <p:nvSpPr>
          <p:cNvPr id="3" name="Text Placeholder 2"/>
          <p:cNvSpPr>
            <a:spLocks noGrp="1"/>
          </p:cNvSpPr>
          <p:nvPr>
            <p:ph type="body" sz="quarter" idx="13"/>
          </p:nvPr>
        </p:nvSpPr>
        <p:spPr>
          <a:xfrm>
            <a:off x="357188" y="929534"/>
            <a:ext cx="8512175" cy="37576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955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857" indent="0" algn="ctr">
              <a:buNone/>
              <a:defRPr sz="1500"/>
            </a:lvl2pPr>
            <a:lvl3pPr marL="685715" indent="0" algn="ctr">
              <a:buNone/>
              <a:defRPr sz="1425"/>
            </a:lvl3pPr>
            <a:lvl4pPr marL="1028573" indent="0" algn="ctr">
              <a:buNone/>
              <a:defRPr sz="1200"/>
            </a:lvl4pPr>
            <a:lvl5pPr marL="1371430" indent="0" algn="ctr">
              <a:buNone/>
              <a:defRPr sz="1200"/>
            </a:lvl5pPr>
            <a:lvl6pPr marL="1714289" indent="0" algn="ctr">
              <a:buNone/>
              <a:defRPr sz="1200"/>
            </a:lvl6pPr>
            <a:lvl7pPr marL="2057144" indent="0" algn="ctr">
              <a:buNone/>
              <a:defRPr sz="1200"/>
            </a:lvl7pPr>
            <a:lvl8pPr marL="2400000" indent="0" algn="ctr">
              <a:buNone/>
              <a:defRPr sz="1200"/>
            </a:lvl8pPr>
            <a:lvl9pPr marL="2742857"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F1CA09BC-61C2-3F42-A4B1-B3F5C844761E}" type="datetimeFigureOut">
              <a:rPr lang="en-US" smtClean="0"/>
              <a:t>16-May-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BBCB97D-EC4B-A74B-8CA1-D39BD3771BFE}" type="slidenum">
              <a:rPr lang="en-US" smtClean="0"/>
              <a:t>‹#›</a:t>
            </a:fld>
            <a:endParaRPr lang="en-US"/>
          </a:p>
        </p:txBody>
      </p:sp>
    </p:spTree>
    <p:extLst>
      <p:ext uri="{BB962C8B-B14F-4D97-AF65-F5344CB8AC3E}">
        <p14:creationId xmlns:p14="http://schemas.microsoft.com/office/powerpoint/2010/main" val="241475593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1CA09BC-61C2-3F42-A4B1-B3F5C844761E}" type="datetimeFigureOut">
              <a:rPr lang="en-US" smtClean="0"/>
              <a:t>16-May-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BBCB97D-EC4B-A74B-8CA1-D39BD3771BFE}" type="slidenum">
              <a:rPr lang="en-US" smtClean="0"/>
              <a:t>‹#›</a:t>
            </a:fld>
            <a:endParaRPr lang="en-US"/>
          </a:p>
        </p:txBody>
      </p:sp>
    </p:spTree>
    <p:extLst>
      <p:ext uri="{BB962C8B-B14F-4D97-AF65-F5344CB8AC3E}">
        <p14:creationId xmlns:p14="http://schemas.microsoft.com/office/powerpoint/2010/main" val="29267581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4" y="3903357"/>
            <a:ext cx="8139112" cy="541174"/>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9981352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9"/>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9"/>
            <a:ext cx="7886700" cy="1125140"/>
          </a:xfrm>
        </p:spPr>
        <p:txBody>
          <a:bodyPr/>
          <a:lstStyle>
            <a:lvl1pPr marL="0" indent="0">
              <a:buNone/>
              <a:defRPr sz="1800">
                <a:solidFill>
                  <a:schemeClr val="tx1">
                    <a:tint val="75000"/>
                  </a:schemeClr>
                </a:solidFill>
              </a:defRPr>
            </a:lvl1pPr>
            <a:lvl2pPr marL="342857" indent="0">
              <a:buNone/>
              <a:defRPr sz="1500">
                <a:solidFill>
                  <a:schemeClr val="tx1">
                    <a:tint val="75000"/>
                  </a:schemeClr>
                </a:solidFill>
              </a:defRPr>
            </a:lvl2pPr>
            <a:lvl3pPr marL="685715" indent="0">
              <a:buNone/>
              <a:defRPr sz="1425">
                <a:solidFill>
                  <a:schemeClr val="tx1">
                    <a:tint val="75000"/>
                  </a:schemeClr>
                </a:solidFill>
              </a:defRPr>
            </a:lvl3pPr>
            <a:lvl4pPr marL="1028573" indent="0">
              <a:buNone/>
              <a:defRPr sz="1200">
                <a:solidFill>
                  <a:schemeClr val="tx1">
                    <a:tint val="75000"/>
                  </a:schemeClr>
                </a:solidFill>
              </a:defRPr>
            </a:lvl4pPr>
            <a:lvl5pPr marL="1371430" indent="0">
              <a:buNone/>
              <a:defRPr sz="1200">
                <a:solidFill>
                  <a:schemeClr val="tx1">
                    <a:tint val="75000"/>
                  </a:schemeClr>
                </a:solidFill>
              </a:defRPr>
            </a:lvl5pPr>
            <a:lvl6pPr marL="1714289" indent="0">
              <a:buNone/>
              <a:defRPr sz="1200">
                <a:solidFill>
                  <a:schemeClr val="tx1">
                    <a:tint val="75000"/>
                  </a:schemeClr>
                </a:solidFill>
              </a:defRPr>
            </a:lvl6pPr>
            <a:lvl7pPr marL="2057144" indent="0">
              <a:buNone/>
              <a:defRPr sz="1200">
                <a:solidFill>
                  <a:schemeClr val="tx1">
                    <a:tint val="75000"/>
                  </a:schemeClr>
                </a:solidFill>
              </a:defRPr>
            </a:lvl7pPr>
            <a:lvl8pPr marL="2400000" indent="0">
              <a:buNone/>
              <a:defRPr sz="1200">
                <a:solidFill>
                  <a:schemeClr val="tx1">
                    <a:tint val="75000"/>
                  </a:schemeClr>
                </a:solidFill>
              </a:defRPr>
            </a:lvl8pPr>
            <a:lvl9pPr marL="2742857"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1CA09BC-61C2-3F42-A4B1-B3F5C844761E}" type="datetimeFigureOut">
              <a:rPr lang="en-US" smtClean="0"/>
              <a:t>16-May-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BBCB97D-EC4B-A74B-8CA1-D39BD3771BFE}" type="slidenum">
              <a:rPr lang="en-US" smtClean="0"/>
              <a:t>‹#›</a:t>
            </a:fld>
            <a:endParaRPr lang="en-US"/>
          </a:p>
        </p:txBody>
      </p:sp>
    </p:spTree>
    <p:extLst>
      <p:ext uri="{BB962C8B-B14F-4D97-AF65-F5344CB8AC3E}">
        <p14:creationId xmlns:p14="http://schemas.microsoft.com/office/powerpoint/2010/main" val="56920915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1CA09BC-61C2-3F42-A4B1-B3F5C844761E}" type="datetimeFigureOut">
              <a:rPr lang="en-US" smtClean="0"/>
              <a:t>16-May-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BBCB97D-EC4B-A74B-8CA1-D39BD3771BFE}" type="slidenum">
              <a:rPr lang="en-US" smtClean="0"/>
              <a:t>‹#›</a:t>
            </a:fld>
            <a:endParaRPr lang="en-US"/>
          </a:p>
        </p:txBody>
      </p:sp>
    </p:spTree>
    <p:extLst>
      <p:ext uri="{BB962C8B-B14F-4D97-AF65-F5344CB8AC3E}">
        <p14:creationId xmlns:p14="http://schemas.microsoft.com/office/powerpoint/2010/main" val="361244787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857" indent="0">
              <a:buNone/>
              <a:defRPr sz="1500" b="1"/>
            </a:lvl2pPr>
            <a:lvl3pPr marL="685715" indent="0">
              <a:buNone/>
              <a:defRPr sz="1425" b="1"/>
            </a:lvl3pPr>
            <a:lvl4pPr marL="1028573" indent="0">
              <a:buNone/>
              <a:defRPr sz="1200" b="1"/>
            </a:lvl4pPr>
            <a:lvl5pPr marL="1371430" indent="0">
              <a:buNone/>
              <a:defRPr sz="1200" b="1"/>
            </a:lvl5pPr>
            <a:lvl6pPr marL="1714289" indent="0">
              <a:buNone/>
              <a:defRPr sz="1200" b="1"/>
            </a:lvl6pPr>
            <a:lvl7pPr marL="2057144" indent="0">
              <a:buNone/>
              <a:defRPr sz="1200" b="1"/>
            </a:lvl7pPr>
            <a:lvl8pPr marL="2400000" indent="0">
              <a:buNone/>
              <a:defRPr sz="1200" b="1"/>
            </a:lvl8pPr>
            <a:lvl9pPr marL="2742857"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2" y="1260872"/>
            <a:ext cx="3887391" cy="617934"/>
          </a:xfrm>
        </p:spPr>
        <p:txBody>
          <a:bodyPr anchor="b"/>
          <a:lstStyle>
            <a:lvl1pPr marL="0" indent="0">
              <a:buNone/>
              <a:defRPr sz="1800" b="1"/>
            </a:lvl1pPr>
            <a:lvl2pPr marL="342857" indent="0">
              <a:buNone/>
              <a:defRPr sz="1500" b="1"/>
            </a:lvl2pPr>
            <a:lvl3pPr marL="685715" indent="0">
              <a:buNone/>
              <a:defRPr sz="1425" b="1"/>
            </a:lvl3pPr>
            <a:lvl4pPr marL="1028573" indent="0">
              <a:buNone/>
              <a:defRPr sz="1200" b="1"/>
            </a:lvl4pPr>
            <a:lvl5pPr marL="1371430" indent="0">
              <a:buNone/>
              <a:defRPr sz="1200" b="1"/>
            </a:lvl5pPr>
            <a:lvl6pPr marL="1714289" indent="0">
              <a:buNone/>
              <a:defRPr sz="1200" b="1"/>
            </a:lvl6pPr>
            <a:lvl7pPr marL="2057144" indent="0">
              <a:buNone/>
              <a:defRPr sz="1200" b="1"/>
            </a:lvl7pPr>
            <a:lvl8pPr marL="2400000" indent="0">
              <a:buNone/>
              <a:defRPr sz="1200" b="1"/>
            </a:lvl8pPr>
            <a:lvl9pPr marL="2742857"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2"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1CA09BC-61C2-3F42-A4B1-B3F5C844761E}" type="datetimeFigureOut">
              <a:rPr lang="en-US" smtClean="0"/>
              <a:t>16-May-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BBCB97D-EC4B-A74B-8CA1-D39BD3771BFE}" type="slidenum">
              <a:rPr lang="en-US" smtClean="0"/>
              <a:t>‹#›</a:t>
            </a:fld>
            <a:endParaRPr lang="en-US"/>
          </a:p>
        </p:txBody>
      </p:sp>
    </p:spTree>
    <p:extLst>
      <p:ext uri="{BB962C8B-B14F-4D97-AF65-F5344CB8AC3E}">
        <p14:creationId xmlns:p14="http://schemas.microsoft.com/office/powerpoint/2010/main" val="241489042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1CA09BC-61C2-3F42-A4B1-B3F5C844761E}" type="datetimeFigureOut">
              <a:rPr lang="en-US" smtClean="0"/>
              <a:t>16-May-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BBCB97D-EC4B-A74B-8CA1-D39BD3771BFE}" type="slidenum">
              <a:rPr lang="en-US" smtClean="0"/>
              <a:t>‹#›</a:t>
            </a:fld>
            <a:endParaRPr lang="en-US"/>
          </a:p>
        </p:txBody>
      </p:sp>
    </p:spTree>
    <p:extLst>
      <p:ext uri="{BB962C8B-B14F-4D97-AF65-F5344CB8AC3E}">
        <p14:creationId xmlns:p14="http://schemas.microsoft.com/office/powerpoint/2010/main" val="185433662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CA09BC-61C2-3F42-A4B1-B3F5C844761E}" type="datetimeFigureOut">
              <a:rPr lang="en-US" smtClean="0"/>
              <a:t>16-May-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BBCB97D-EC4B-A74B-8CA1-D39BD3771BFE}" type="slidenum">
              <a:rPr lang="en-US" smtClean="0"/>
              <a:t>‹#›</a:t>
            </a:fld>
            <a:endParaRPr lang="en-US"/>
          </a:p>
        </p:txBody>
      </p:sp>
    </p:spTree>
    <p:extLst>
      <p:ext uri="{BB962C8B-B14F-4D97-AF65-F5344CB8AC3E}">
        <p14:creationId xmlns:p14="http://schemas.microsoft.com/office/powerpoint/2010/main" val="427084203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74"/>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2"/>
            <a:ext cx="2949178" cy="2858691"/>
          </a:xfrm>
        </p:spPr>
        <p:txBody>
          <a:bodyPr/>
          <a:lstStyle>
            <a:lvl1pPr marL="0" indent="0">
              <a:buNone/>
              <a:defRPr sz="1200"/>
            </a:lvl1pPr>
            <a:lvl2pPr marL="342857" indent="0">
              <a:buNone/>
              <a:defRPr sz="1125"/>
            </a:lvl2pPr>
            <a:lvl3pPr marL="685715" indent="0">
              <a:buNone/>
              <a:defRPr sz="900"/>
            </a:lvl3pPr>
            <a:lvl4pPr marL="1028573" indent="0">
              <a:buNone/>
              <a:defRPr sz="825"/>
            </a:lvl4pPr>
            <a:lvl5pPr marL="1371430" indent="0">
              <a:buNone/>
              <a:defRPr sz="825"/>
            </a:lvl5pPr>
            <a:lvl6pPr marL="1714289" indent="0">
              <a:buNone/>
              <a:defRPr sz="825"/>
            </a:lvl6pPr>
            <a:lvl7pPr marL="2057144" indent="0">
              <a:buNone/>
              <a:defRPr sz="825"/>
            </a:lvl7pPr>
            <a:lvl8pPr marL="2400000" indent="0">
              <a:buNone/>
              <a:defRPr sz="825"/>
            </a:lvl8pPr>
            <a:lvl9pPr marL="2742857" indent="0">
              <a:buNone/>
              <a:defRPr sz="825"/>
            </a:lvl9pPr>
          </a:lstStyle>
          <a:p>
            <a:pPr lvl="0"/>
            <a:r>
              <a:rPr lang="en-US"/>
              <a:t>Click to edit Master text styles</a:t>
            </a:r>
          </a:p>
        </p:txBody>
      </p:sp>
      <p:sp>
        <p:nvSpPr>
          <p:cNvPr id="5" name="Date Placeholder 4"/>
          <p:cNvSpPr>
            <a:spLocks noGrp="1"/>
          </p:cNvSpPr>
          <p:nvPr>
            <p:ph type="dt" sz="half" idx="10"/>
          </p:nvPr>
        </p:nvSpPr>
        <p:spPr/>
        <p:txBody>
          <a:bodyPr/>
          <a:lstStyle/>
          <a:p>
            <a:fld id="{F1CA09BC-61C2-3F42-A4B1-B3F5C844761E}" type="datetimeFigureOut">
              <a:rPr lang="en-US" smtClean="0"/>
              <a:t>16-May-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BBCB97D-EC4B-A74B-8CA1-D39BD3771BFE}" type="slidenum">
              <a:rPr lang="en-US" smtClean="0"/>
              <a:t>‹#›</a:t>
            </a:fld>
            <a:endParaRPr lang="en-US"/>
          </a:p>
        </p:txBody>
      </p:sp>
    </p:spTree>
    <p:extLst>
      <p:ext uri="{BB962C8B-B14F-4D97-AF65-F5344CB8AC3E}">
        <p14:creationId xmlns:p14="http://schemas.microsoft.com/office/powerpoint/2010/main" val="110852322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74"/>
            <a:ext cx="4629150" cy="3655219"/>
          </a:xfrm>
        </p:spPr>
        <p:txBody>
          <a:bodyPr/>
          <a:lstStyle>
            <a:lvl1pPr marL="0" indent="0">
              <a:buNone/>
              <a:defRPr sz="2400"/>
            </a:lvl1pPr>
            <a:lvl2pPr marL="342857" indent="0">
              <a:buNone/>
              <a:defRPr sz="2100"/>
            </a:lvl2pPr>
            <a:lvl3pPr marL="685715" indent="0">
              <a:buNone/>
              <a:defRPr sz="1800"/>
            </a:lvl3pPr>
            <a:lvl4pPr marL="1028573" indent="0">
              <a:buNone/>
              <a:defRPr sz="1500"/>
            </a:lvl4pPr>
            <a:lvl5pPr marL="1371430" indent="0">
              <a:buNone/>
              <a:defRPr sz="1500"/>
            </a:lvl5pPr>
            <a:lvl6pPr marL="1714289" indent="0">
              <a:buNone/>
              <a:defRPr sz="1500"/>
            </a:lvl6pPr>
            <a:lvl7pPr marL="2057144" indent="0">
              <a:buNone/>
              <a:defRPr sz="1500"/>
            </a:lvl7pPr>
            <a:lvl8pPr marL="2400000" indent="0">
              <a:buNone/>
              <a:defRPr sz="1500"/>
            </a:lvl8pPr>
            <a:lvl9pPr marL="2742857" indent="0">
              <a:buNone/>
              <a:defRPr sz="1500"/>
            </a:lvl9pPr>
          </a:lstStyle>
          <a:p>
            <a:endParaRPr lang="en-US"/>
          </a:p>
        </p:txBody>
      </p:sp>
      <p:sp>
        <p:nvSpPr>
          <p:cNvPr id="4" name="Text Placeholder 3"/>
          <p:cNvSpPr>
            <a:spLocks noGrp="1"/>
          </p:cNvSpPr>
          <p:nvPr>
            <p:ph type="body" sz="half" idx="2"/>
          </p:nvPr>
        </p:nvSpPr>
        <p:spPr>
          <a:xfrm>
            <a:off x="629841" y="1543052"/>
            <a:ext cx="2949178" cy="2858691"/>
          </a:xfrm>
        </p:spPr>
        <p:txBody>
          <a:bodyPr/>
          <a:lstStyle>
            <a:lvl1pPr marL="0" indent="0">
              <a:buNone/>
              <a:defRPr sz="1200"/>
            </a:lvl1pPr>
            <a:lvl2pPr marL="342857" indent="0">
              <a:buNone/>
              <a:defRPr sz="1125"/>
            </a:lvl2pPr>
            <a:lvl3pPr marL="685715" indent="0">
              <a:buNone/>
              <a:defRPr sz="900"/>
            </a:lvl3pPr>
            <a:lvl4pPr marL="1028573" indent="0">
              <a:buNone/>
              <a:defRPr sz="825"/>
            </a:lvl4pPr>
            <a:lvl5pPr marL="1371430" indent="0">
              <a:buNone/>
              <a:defRPr sz="825"/>
            </a:lvl5pPr>
            <a:lvl6pPr marL="1714289" indent="0">
              <a:buNone/>
              <a:defRPr sz="825"/>
            </a:lvl6pPr>
            <a:lvl7pPr marL="2057144" indent="0">
              <a:buNone/>
              <a:defRPr sz="825"/>
            </a:lvl7pPr>
            <a:lvl8pPr marL="2400000" indent="0">
              <a:buNone/>
              <a:defRPr sz="825"/>
            </a:lvl8pPr>
            <a:lvl9pPr marL="2742857" indent="0">
              <a:buNone/>
              <a:defRPr sz="825"/>
            </a:lvl9pPr>
          </a:lstStyle>
          <a:p>
            <a:pPr lvl="0"/>
            <a:r>
              <a:rPr lang="en-US"/>
              <a:t>Click to edit Master text styles</a:t>
            </a:r>
          </a:p>
        </p:txBody>
      </p:sp>
      <p:sp>
        <p:nvSpPr>
          <p:cNvPr id="5" name="Date Placeholder 4"/>
          <p:cNvSpPr>
            <a:spLocks noGrp="1"/>
          </p:cNvSpPr>
          <p:nvPr>
            <p:ph type="dt" sz="half" idx="10"/>
          </p:nvPr>
        </p:nvSpPr>
        <p:spPr/>
        <p:txBody>
          <a:bodyPr/>
          <a:lstStyle/>
          <a:p>
            <a:fld id="{F1CA09BC-61C2-3F42-A4B1-B3F5C844761E}" type="datetimeFigureOut">
              <a:rPr lang="en-US" smtClean="0"/>
              <a:t>16-May-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BBCB97D-EC4B-A74B-8CA1-D39BD3771BFE}" type="slidenum">
              <a:rPr lang="en-US" smtClean="0"/>
              <a:t>‹#›</a:t>
            </a:fld>
            <a:endParaRPr lang="en-US"/>
          </a:p>
        </p:txBody>
      </p:sp>
    </p:spTree>
    <p:extLst>
      <p:ext uri="{BB962C8B-B14F-4D97-AF65-F5344CB8AC3E}">
        <p14:creationId xmlns:p14="http://schemas.microsoft.com/office/powerpoint/2010/main" val="343086745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1CA09BC-61C2-3F42-A4B1-B3F5C844761E}" type="datetimeFigureOut">
              <a:rPr lang="en-US" smtClean="0"/>
              <a:t>16-May-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BBCB97D-EC4B-A74B-8CA1-D39BD3771BFE}" type="slidenum">
              <a:rPr lang="en-US" smtClean="0"/>
              <a:t>‹#›</a:t>
            </a:fld>
            <a:endParaRPr lang="en-US"/>
          </a:p>
        </p:txBody>
      </p:sp>
    </p:spTree>
    <p:extLst>
      <p:ext uri="{BB962C8B-B14F-4D97-AF65-F5344CB8AC3E}">
        <p14:creationId xmlns:p14="http://schemas.microsoft.com/office/powerpoint/2010/main" val="415645222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273849"/>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2" y="273849"/>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1CA09BC-61C2-3F42-A4B1-B3F5C844761E}" type="datetimeFigureOut">
              <a:rPr lang="en-US" smtClean="0"/>
              <a:t>16-May-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BBCB97D-EC4B-A74B-8CA1-D39BD3771BFE}" type="slidenum">
              <a:rPr lang="en-US" smtClean="0"/>
              <a:t>‹#›</a:t>
            </a:fld>
            <a:endParaRPr lang="en-US"/>
          </a:p>
        </p:txBody>
      </p:sp>
    </p:spTree>
    <p:extLst>
      <p:ext uri="{BB962C8B-B14F-4D97-AF65-F5344CB8AC3E}">
        <p14:creationId xmlns:p14="http://schemas.microsoft.com/office/powerpoint/2010/main" val="428894931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5195" name="think-cell Slide" r:id="rId4" imgW="381" imgH="286" progId="TCLayout.ActiveDocument.1">
                  <p:embed/>
                </p:oleObj>
              </mc:Choice>
              <mc:Fallback>
                <p:oleObj name="think-cell Slide" r:id="rId4" imgW="381" imgH="286"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itle Placeholder 5"/>
          <p:cNvSpPr>
            <a:spLocks noGrp="1"/>
          </p:cNvSpPr>
          <p:nvPr>
            <p:ph type="title"/>
          </p:nvPr>
        </p:nvSpPr>
        <p:spPr bwMode="auto">
          <a:xfrm>
            <a:off x="437766" y="341322"/>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
        <p:nvSpPr>
          <p:cNvPr id="4" name="Rectangle 4"/>
          <p:cNvSpPr>
            <a:spLocks noChangeArrowheads="1"/>
          </p:cNvSpPr>
          <p:nvPr userDrawn="1"/>
        </p:nvSpPr>
        <p:spPr bwMode="ltGray">
          <a:xfrm>
            <a:off x="358259" y="4917874"/>
            <a:ext cx="2550788" cy="115889"/>
          </a:xfrm>
          <a:prstGeom prst="rect">
            <a:avLst/>
          </a:prstGeom>
          <a:noFill/>
          <a:ln w="9525">
            <a:noFill/>
            <a:miter lim="800000"/>
            <a:headEnd/>
            <a:tailEnd/>
          </a:ln>
          <a:effectLst/>
        </p:spPr>
        <p:txBody>
          <a:bodyPr wrap="square" lIns="46190" tIns="23094" rIns="46190" bIns="23094" anchor="b">
            <a:spAutoFit/>
          </a:bodyPr>
          <a:lstStyle/>
          <a:p>
            <a:pPr defTabSz="458058" fontAlgn="auto">
              <a:spcBef>
                <a:spcPts val="0"/>
              </a:spcBef>
              <a:spcAft>
                <a:spcPts val="0"/>
              </a:spcAft>
              <a:defRPr/>
            </a:pPr>
            <a:r>
              <a:rPr lang="en-US" sz="450" spc="15" baseline="0" dirty="0">
                <a:solidFill>
                  <a:schemeClr val="bg2">
                    <a:lumMod val="65000"/>
                  </a:schemeClr>
                </a:solidFill>
                <a:latin typeface="+mn-lt"/>
                <a:ea typeface="+mn-ea"/>
                <a:cs typeface="CiscoSans Thin"/>
              </a:rPr>
              <a:t>© 2018  Cisco and/or its affiliates. All rights reserved.   </a:t>
            </a:r>
          </a:p>
        </p:txBody>
      </p:sp>
    </p:spTree>
    <p:extLst>
      <p:ext uri="{BB962C8B-B14F-4D97-AF65-F5344CB8AC3E}">
        <p14:creationId xmlns:p14="http://schemas.microsoft.com/office/powerpoint/2010/main" val="830418441"/>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1598936040"/>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userDrawn="1">
  <p:cSld name="Presenter 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48072"/>
          </a:xfrm>
          <a:prstGeom prst="rect">
            <a:avLst/>
          </a:prstGeom>
        </p:spPr>
      </p:pic>
      <p:sp>
        <p:nvSpPr>
          <p:cNvPr id="2" name="Rectangle 2"/>
          <p:cNvSpPr>
            <a:spLocks noGrp="1" noChangeArrowheads="1"/>
          </p:cNvSpPr>
          <p:nvPr>
            <p:ph type="title" hasCustomPrompt="1"/>
          </p:nvPr>
        </p:nvSpPr>
        <p:spPr bwMode="white">
          <a:xfrm>
            <a:off x="336626" y="1489435"/>
            <a:ext cx="8416893" cy="1249508"/>
          </a:xfrm>
          <a:prstGeom prst="rect">
            <a:avLst/>
          </a:prstGeom>
          <a:noFill/>
          <a:ln w="12700">
            <a:noFill/>
            <a:miter lim="800000"/>
            <a:headEnd/>
            <a:tailEnd/>
          </a:ln>
          <a:effectLst/>
        </p:spPr>
        <p:txBody>
          <a:bodyPr lIns="121904" tIns="60952" rIns="121904" bIns="60952" anchor="b"/>
          <a:lstStyle>
            <a:lvl1pPr algn="l">
              <a:defRPr lang="en-US" sz="3975" i="0" kern="1200" dirty="0">
                <a:solidFill>
                  <a:schemeClr val="bg1"/>
                </a:solidFill>
                <a:latin typeface="+mn-lt"/>
                <a:ea typeface="+mn-ea"/>
                <a:cs typeface="+mn-cs"/>
                <a:sym typeface="Arial" pitchFamily="-107" charset="0"/>
              </a:defRPr>
            </a:lvl1pPr>
          </a:lstStyle>
          <a:p>
            <a:pPr lvl="0"/>
            <a:r>
              <a:rPr lang="en-US" dirty="0">
                <a:sym typeface="Arial" pitchFamily="-107" charset="0"/>
              </a:rPr>
              <a:t>Presentation Title</a:t>
            </a:r>
          </a:p>
        </p:txBody>
      </p:sp>
      <p:sp>
        <p:nvSpPr>
          <p:cNvPr id="9" name="Text Placeholder 8"/>
          <p:cNvSpPr>
            <a:spLocks noGrp="1"/>
          </p:cNvSpPr>
          <p:nvPr>
            <p:ph type="body" sz="quarter" idx="10" hasCustomPrompt="1"/>
          </p:nvPr>
        </p:nvSpPr>
        <p:spPr>
          <a:xfrm>
            <a:off x="352483" y="3376471"/>
            <a:ext cx="8416892" cy="336551"/>
          </a:xfrm>
          <a:prstGeom prst="rect">
            <a:avLst/>
          </a:prstGeom>
        </p:spPr>
        <p:txBody>
          <a:bodyPr lIns="121904" tIns="60952" rIns="121904" bIns="60952" anchor="b"/>
          <a:lstStyle>
            <a:lvl1pPr marL="1785" indent="0" algn="l">
              <a:buNone/>
              <a:defRPr lang="en-US" sz="1575" kern="1200" dirty="0" smtClean="0">
                <a:solidFill>
                  <a:schemeClr val="bg1"/>
                </a:solidFill>
                <a:latin typeface="+mn-lt"/>
                <a:ea typeface="+mn-ea"/>
                <a:cs typeface="+mn-cs"/>
                <a:sym typeface="Arial" pitchFamily="34" charset="0"/>
              </a:defRPr>
            </a:lvl1pPr>
            <a:lvl2pPr marL="192854" indent="0">
              <a:buNone/>
              <a:defRPr/>
            </a:lvl2pPr>
            <a:lvl3pPr marL="386600" indent="0">
              <a:buNone/>
              <a:defRPr/>
            </a:lvl3pPr>
            <a:lvl4pPr marL="546416" indent="0">
              <a:buNone/>
              <a:defRPr/>
            </a:lvl4pPr>
            <a:lvl5pPr marL="706230" indent="0">
              <a:buNone/>
              <a:defRPr/>
            </a:lvl5pPr>
          </a:lstStyle>
          <a:p>
            <a:pPr lvl="0"/>
            <a:r>
              <a:rPr lang="en-US" dirty="0"/>
              <a:t>Presenter Name and Title</a:t>
            </a:r>
          </a:p>
        </p:txBody>
      </p:sp>
      <p:sp>
        <p:nvSpPr>
          <p:cNvPr id="4" name="Text Placeholder 3"/>
          <p:cNvSpPr>
            <a:spLocks noGrp="1"/>
          </p:cNvSpPr>
          <p:nvPr>
            <p:ph type="body" sz="quarter" idx="13" hasCustomPrompt="1"/>
          </p:nvPr>
        </p:nvSpPr>
        <p:spPr>
          <a:xfrm>
            <a:off x="352483" y="3722263"/>
            <a:ext cx="5221886" cy="250298"/>
          </a:xfrm>
          <a:prstGeom prst="rect">
            <a:avLst/>
          </a:prstGeom>
        </p:spPr>
        <p:txBody>
          <a:bodyPr/>
          <a:lstStyle>
            <a:lvl1pPr marL="1785" indent="0">
              <a:buNone/>
              <a:defRPr sz="1200">
                <a:solidFill>
                  <a:schemeClr val="bg1"/>
                </a:solidFill>
              </a:defRPr>
            </a:lvl1pPr>
          </a:lstStyle>
          <a:p>
            <a:pPr lvl="0"/>
            <a:r>
              <a:rPr lang="en-US" dirty="0"/>
              <a:t>Session ID</a:t>
            </a:r>
          </a:p>
        </p:txBody>
      </p:sp>
    </p:spTree>
    <p:extLst>
      <p:ext uri="{BB962C8B-B14F-4D97-AF65-F5344CB8AC3E}">
        <p14:creationId xmlns:p14="http://schemas.microsoft.com/office/powerpoint/2010/main" val="3224928142"/>
      </p:ext>
    </p:extLst>
  </p:cSld>
  <p:clrMapOvr>
    <a:masterClrMapping/>
  </p:clrMapOvr>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 y="-3174"/>
            <a:ext cx="9144000" cy="5149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92104" y="1643063"/>
            <a:ext cx="8759825" cy="1857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832495"/>
      </p:ext>
    </p:extLst>
  </p:cSld>
  <p:clrMapOvr>
    <a:masterClrMapping/>
  </p:clrMapOvr>
  <p:transition spd="slow">
    <p:wip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527785" y="3916058"/>
            <a:ext cx="7791858" cy="349356"/>
          </a:xfrm>
          <a:prstGeom prst="rect">
            <a:avLst/>
          </a:prstGeom>
        </p:spPr>
        <p:txBody>
          <a:bodyPr wrap="square" lIns="121885" tIns="60942" rIns="121885" bIns="60942" anchor="b" anchorCtr="0">
            <a:noAutofit/>
          </a:bodyPr>
          <a:lstStyle>
            <a:lvl1pPr marL="0" indent="0" algn="l" defTabSz="603535">
              <a:lnSpc>
                <a:spcPct val="100000"/>
              </a:lnSpc>
              <a:spcBef>
                <a:spcPct val="50000"/>
              </a:spcBef>
              <a:buNone/>
              <a:defRPr sz="2175" b="0" i="0">
                <a:solidFill>
                  <a:srgbClr val="676767"/>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pPr lvl="0"/>
            <a:r>
              <a:rPr lang="en-GB" dirty="0"/>
              <a:t>Click to edit text </a:t>
            </a:r>
          </a:p>
        </p:txBody>
      </p:sp>
      <p:sp>
        <p:nvSpPr>
          <p:cNvPr id="4" name="Title 1"/>
          <p:cNvSpPr>
            <a:spLocks noGrp="1"/>
          </p:cNvSpPr>
          <p:nvPr>
            <p:ph type="ctrTitle" hasCustomPrompt="1"/>
          </p:nvPr>
        </p:nvSpPr>
        <p:spPr>
          <a:xfrm>
            <a:off x="287923" y="1540553"/>
            <a:ext cx="8031720" cy="2278837"/>
          </a:xfrm>
          <a:prstGeom prst="rect">
            <a:avLst/>
          </a:prstGeom>
        </p:spPr>
        <p:txBody>
          <a:bodyPr anchor="ctr">
            <a:noAutofit/>
          </a:bodyPr>
          <a:lstStyle>
            <a:lvl1pPr marL="183587" indent="-399941" algn="l">
              <a:lnSpc>
                <a:spcPct val="90000"/>
              </a:lnSpc>
              <a:defRPr sz="4575" b="0" i="1" spc="0" baseline="0">
                <a:gradFill flip="none" rotWithShape="1">
                  <a:gsLst>
                    <a:gs pos="0">
                      <a:schemeClr val="accent1"/>
                    </a:gs>
                    <a:gs pos="85000">
                      <a:schemeClr val="accent3"/>
                    </a:gs>
                  </a:gsLst>
                  <a:lin ang="0" scaled="1"/>
                  <a:tileRect/>
                </a:gradFill>
                <a:latin typeface="+mj-lt"/>
                <a:cs typeface="CiscoSans Thin"/>
              </a:defRPr>
            </a:lvl1pPr>
          </a:lstStyle>
          <a:p>
            <a:r>
              <a:rPr lang="en-GB" dirty="0"/>
              <a:t>“Quote Goes Here”</a:t>
            </a:r>
            <a:endParaRPr lang="en-US" dirty="0"/>
          </a:p>
        </p:txBody>
      </p:sp>
      <p:sp>
        <p:nvSpPr>
          <p:cNvPr id="6" name="Slide Number Placeholder 1"/>
          <p:cNvSpPr>
            <a:spLocks noGrp="1"/>
          </p:cNvSpPr>
          <p:nvPr>
            <p:ph type="sldNum" sz="quarter" idx="4"/>
          </p:nvPr>
        </p:nvSpPr>
        <p:spPr>
          <a:xfrm>
            <a:off x="8409709" y="4884991"/>
            <a:ext cx="359666" cy="274637"/>
          </a:xfrm>
          <a:prstGeom prst="rect">
            <a:avLst/>
          </a:prstGeom>
        </p:spPr>
        <p:txBody>
          <a:bodyPr vert="horz" lIns="121912" tIns="60956" rIns="121912" bIns="60956"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
        <p:nvSpPr>
          <p:cNvPr id="5" name="Rectangle 4"/>
          <p:cNvSpPr>
            <a:spLocks noChangeArrowheads="1"/>
          </p:cNvSpPr>
          <p:nvPr userDrawn="1"/>
        </p:nvSpPr>
        <p:spPr bwMode="ltGray">
          <a:xfrm>
            <a:off x="287923" y="4798799"/>
            <a:ext cx="2550788" cy="115889"/>
          </a:xfrm>
          <a:prstGeom prst="rect">
            <a:avLst/>
          </a:prstGeom>
          <a:noFill/>
          <a:ln w="9525">
            <a:noFill/>
            <a:miter lim="800000"/>
            <a:headEnd/>
            <a:tailEnd/>
          </a:ln>
          <a:effectLst/>
        </p:spPr>
        <p:txBody>
          <a:bodyPr wrap="square" lIns="46190" tIns="23094" rIns="46190" bIns="23094" anchor="b">
            <a:spAutoFit/>
          </a:bodyPr>
          <a:lstStyle/>
          <a:p>
            <a:pPr defTabSz="458058" fontAlgn="auto">
              <a:spcBef>
                <a:spcPts val="0"/>
              </a:spcBef>
              <a:spcAft>
                <a:spcPts val="0"/>
              </a:spcAft>
              <a:defRPr/>
            </a:pPr>
            <a:r>
              <a:rPr lang="en-US" sz="450" spc="15" baseline="0" dirty="0">
                <a:solidFill>
                  <a:schemeClr val="bg2">
                    <a:lumMod val="65000"/>
                  </a:schemeClr>
                </a:solidFill>
                <a:latin typeface="+mn-lt"/>
                <a:ea typeface="+mn-ea"/>
                <a:cs typeface="CiscoSans Thin"/>
              </a:rPr>
              <a:t>© 2018  Cisco and/or its affiliates. All rights reserved.   </a:t>
            </a:r>
          </a:p>
        </p:txBody>
      </p:sp>
    </p:spTree>
    <p:extLst>
      <p:ext uri="{BB962C8B-B14F-4D97-AF65-F5344CB8AC3E}">
        <p14:creationId xmlns:p14="http://schemas.microsoft.com/office/powerpoint/2010/main" val="3691728263"/>
      </p:ext>
    </p:extLst>
  </p:cSld>
  <p:clrMapOvr>
    <a:masterClrMapping/>
  </p:clrMapOvr>
  <p:transition spd="med">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650" y="609602"/>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67930" y="302507"/>
            <a:ext cx="3715995" cy="826447"/>
          </a:xfrm>
          <a:prstGeom prst="rect">
            <a:avLst/>
          </a:prstGeom>
        </p:spPr>
        <p:txBody>
          <a:bodyPr lIns="61712" tIns="34286" rIns="61712" bIns="34286" rtlCol="0">
            <a:noAutofit/>
          </a:bodyPr>
          <a:lstStyle>
            <a:lvl1pPr algn="l" defTabSz="685703" rtl="0" eaLnBrk="1" latinLnBrk="0" hangingPunct="1">
              <a:lnSpc>
                <a:spcPct val="80000"/>
              </a:lnSpc>
              <a:spcBef>
                <a:spcPct val="0"/>
              </a:spcBef>
              <a:buNone/>
              <a:defRPr lang="en-US" sz="3200" b="0" i="0" kern="1200" spc="-75" baseline="0" dirty="0" smtClean="0">
                <a:solidFill>
                  <a:schemeClr val="tx2"/>
                </a:solidFill>
                <a:latin typeface="+mj-lt"/>
                <a:ea typeface="+mj-ea"/>
                <a:cs typeface="CiscoSans Thin"/>
              </a:defRPr>
            </a:lvl1pPr>
          </a:lstStyle>
          <a:p>
            <a:r>
              <a:rPr lang="en-US"/>
              <a:t>Click to edit Master title style</a:t>
            </a:r>
            <a:endParaRPr lang="en-US" dirty="0"/>
          </a:p>
        </p:txBody>
      </p:sp>
      <p:sp>
        <p:nvSpPr>
          <p:cNvPr id="16" name="Text Placeholder 15"/>
          <p:cNvSpPr>
            <a:spLocks noGrp="1"/>
          </p:cNvSpPr>
          <p:nvPr>
            <p:ph type="body" sz="quarter" idx="13"/>
          </p:nvPr>
        </p:nvSpPr>
        <p:spPr>
          <a:xfrm>
            <a:off x="4905967" y="302506"/>
            <a:ext cx="3715995" cy="826446"/>
          </a:xfrm>
          <a:prstGeom prst="rect">
            <a:avLst/>
          </a:prstGeom>
        </p:spPr>
        <p:txBody>
          <a:bodyPr lIns="91420" tIns="45710" rIns="91420" bIns="45710" anchor="ctr" anchorCtr="0">
            <a:noAutofit/>
          </a:bodyPr>
          <a:lstStyle>
            <a:lvl1pPr marL="0" marR="0" indent="0" algn="l" defTabSz="685703" rtl="0" eaLnBrk="1" fontAlgn="auto" latinLnBrk="0" hangingPunct="1">
              <a:lnSpc>
                <a:spcPct val="80000"/>
              </a:lnSpc>
              <a:spcBef>
                <a:spcPct val="0"/>
              </a:spcBef>
              <a:spcAft>
                <a:spcPts val="0"/>
              </a:spcAft>
              <a:buClrTx/>
              <a:buSzTx/>
              <a:buFontTx/>
              <a:buNone/>
              <a:tabLst/>
              <a:defRPr lang="en-US" sz="3200" b="0" i="0" kern="1200" spc="-75" baseline="0" dirty="0">
                <a:solidFill>
                  <a:schemeClr val="tx2"/>
                </a:solidFill>
                <a:latin typeface="+mj-lt"/>
                <a:ea typeface="+mj-ea"/>
                <a:cs typeface="CiscoSans Thin"/>
              </a:defRPr>
            </a:lvl1pPr>
          </a:lstStyle>
          <a:p>
            <a:pPr lvl="0"/>
            <a:r>
              <a:rPr lang="en-US"/>
              <a:t>Click to edit Master text styles</a:t>
            </a:r>
          </a:p>
        </p:txBody>
      </p:sp>
      <p:sp>
        <p:nvSpPr>
          <p:cNvPr id="8" name="Text Placeholder 3"/>
          <p:cNvSpPr>
            <a:spLocks noGrp="1"/>
          </p:cNvSpPr>
          <p:nvPr>
            <p:ph type="body" sz="quarter" idx="10"/>
          </p:nvPr>
        </p:nvSpPr>
        <p:spPr>
          <a:xfrm>
            <a:off x="467930" y="1347788"/>
            <a:ext cx="3715995" cy="3083094"/>
          </a:xfrm>
          <a:prstGeom prst="rect">
            <a:avLst/>
          </a:prstGeom>
        </p:spPr>
        <p:txBody>
          <a:bodyPr lIns="91420" tIns="45710" rIns="91420" bIns="45710">
            <a:noAutofit/>
          </a:bodyPr>
          <a:lstStyle>
            <a:lvl1pPr marL="228549" indent="-171411">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094" indent="-215849">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05" indent="-171411">
              <a:buClr>
                <a:schemeClr val="tx2"/>
              </a:buClr>
              <a:buSzPct val="80000"/>
              <a:buFont typeface="Arial"/>
              <a:buChar char="•"/>
              <a:defRPr sz="1600" b="0" i="0">
                <a:solidFill>
                  <a:schemeClr val="tx2"/>
                </a:solidFill>
                <a:latin typeface="+mn-lt"/>
                <a:cs typeface="CiscoSans ExtraLight"/>
              </a:defRPr>
            </a:lvl3pPr>
            <a:lvl4pPr marL="799914" indent="-171411">
              <a:buClr>
                <a:schemeClr val="tx2"/>
              </a:buClr>
              <a:buSzPct val="80000"/>
              <a:buFont typeface="Arial"/>
              <a:buChar char="•"/>
              <a:defRPr sz="1400" b="0" i="0">
                <a:solidFill>
                  <a:schemeClr val="tx2"/>
                </a:solidFill>
                <a:latin typeface="+mn-lt"/>
                <a:cs typeface="CiscoSans ExtraLight"/>
              </a:defRPr>
            </a:lvl4pPr>
            <a:lvl5pPr marL="971323" indent="-171411">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p:cNvSpPr>
            <a:spLocks noGrp="1"/>
          </p:cNvSpPr>
          <p:nvPr>
            <p:ph type="body" sz="quarter" idx="14"/>
          </p:nvPr>
        </p:nvSpPr>
        <p:spPr>
          <a:xfrm>
            <a:off x="4905967" y="1347788"/>
            <a:ext cx="3715995" cy="3083094"/>
          </a:xfrm>
          <a:prstGeom prst="rect">
            <a:avLst/>
          </a:prstGeom>
        </p:spPr>
        <p:txBody>
          <a:bodyPr lIns="91420" tIns="45710" rIns="91420" bIns="45710">
            <a:noAutofit/>
          </a:bodyPr>
          <a:lstStyle>
            <a:lvl1pPr marL="228549" indent="-171411">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094" indent="-215849">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05" indent="-171411">
              <a:buClr>
                <a:schemeClr val="tx2"/>
              </a:buClr>
              <a:buSzPct val="80000"/>
              <a:buFont typeface="Arial"/>
              <a:buChar char="•"/>
              <a:defRPr sz="1600" b="0" i="0">
                <a:solidFill>
                  <a:schemeClr val="tx2"/>
                </a:solidFill>
                <a:latin typeface="+mn-lt"/>
                <a:cs typeface="CiscoSans ExtraLight"/>
              </a:defRPr>
            </a:lvl3pPr>
            <a:lvl4pPr marL="799914" indent="-171411">
              <a:buClr>
                <a:schemeClr val="tx2"/>
              </a:buClr>
              <a:buSzPct val="80000"/>
              <a:buFont typeface="Arial"/>
              <a:buChar char="•"/>
              <a:defRPr sz="1400" b="0" i="0">
                <a:solidFill>
                  <a:schemeClr val="tx2"/>
                </a:solidFill>
                <a:latin typeface="+mn-lt"/>
                <a:cs typeface="CiscoSans ExtraLight"/>
              </a:defRPr>
            </a:lvl4pPr>
            <a:lvl5pPr marL="971323" indent="-171411">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userDrawn="1"/>
        </p:nvSpPr>
        <p:spPr bwMode="ltGray">
          <a:xfrm>
            <a:off x="178645" y="4854361"/>
            <a:ext cx="2550788" cy="115889"/>
          </a:xfrm>
          <a:prstGeom prst="rect">
            <a:avLst/>
          </a:prstGeom>
          <a:noFill/>
          <a:ln w="9525">
            <a:noFill/>
            <a:miter lim="800000"/>
            <a:headEnd/>
            <a:tailEnd/>
          </a:ln>
          <a:effectLst/>
        </p:spPr>
        <p:txBody>
          <a:bodyPr wrap="square" lIns="46190" tIns="23094" rIns="46190" bIns="23094" anchor="b">
            <a:spAutoFit/>
          </a:bodyPr>
          <a:lstStyle/>
          <a:p>
            <a:pPr defTabSz="458058" fontAlgn="auto">
              <a:spcBef>
                <a:spcPts val="0"/>
              </a:spcBef>
              <a:spcAft>
                <a:spcPts val="0"/>
              </a:spcAft>
              <a:defRPr/>
            </a:pPr>
            <a:r>
              <a:rPr lang="en-US" sz="450" spc="15" baseline="0" dirty="0">
                <a:solidFill>
                  <a:schemeClr val="bg2">
                    <a:lumMod val="65000"/>
                  </a:schemeClr>
                </a:solidFill>
                <a:latin typeface="+mn-lt"/>
                <a:ea typeface="+mn-ea"/>
                <a:cs typeface="CiscoSans Thin"/>
              </a:rPr>
              <a:t>© 2018  Cisco and/or its affiliates. All rights reserved.   </a:t>
            </a:r>
          </a:p>
        </p:txBody>
      </p:sp>
    </p:spTree>
    <p:extLst>
      <p:ext uri="{BB962C8B-B14F-4D97-AF65-F5344CB8AC3E}">
        <p14:creationId xmlns:p14="http://schemas.microsoft.com/office/powerpoint/2010/main" val="21016722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1" indent="-223787">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882" indent="-215849">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539" indent="-171411">
              <a:buClr>
                <a:schemeClr val="tx2"/>
              </a:buClr>
              <a:buSzPct val="80000"/>
              <a:buFont typeface="Arial"/>
              <a:buChar char="•"/>
              <a:defRPr sz="1600" b="0" i="0">
                <a:solidFill>
                  <a:schemeClr val="tx2"/>
                </a:solidFill>
                <a:latin typeface="+mn-lt"/>
                <a:cs typeface="CiscoSans ExtraLight"/>
              </a:defRPr>
            </a:lvl3pPr>
            <a:lvl4pPr marL="911012" indent="-171411">
              <a:buClr>
                <a:schemeClr val="tx2"/>
              </a:buClr>
              <a:buSzPct val="80000"/>
              <a:buFont typeface="Arial"/>
              <a:buChar char="•"/>
              <a:defRPr sz="1400" b="0" i="0">
                <a:solidFill>
                  <a:schemeClr val="tx2"/>
                </a:solidFill>
                <a:latin typeface="+mn-lt"/>
                <a:cs typeface="CiscoSans ExtraLight"/>
              </a:defRPr>
            </a:lvl4pPr>
            <a:lvl5pPr marL="1082423" indent="-168236">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bwMode="auto">
          <a:xfrm>
            <a:off x="437766" y="34133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
        <p:nvSpPr>
          <p:cNvPr id="5" name="Rectangle 4"/>
          <p:cNvSpPr>
            <a:spLocks noChangeArrowheads="1"/>
          </p:cNvSpPr>
          <p:nvPr userDrawn="1"/>
        </p:nvSpPr>
        <p:spPr bwMode="ltGray">
          <a:xfrm>
            <a:off x="154152" y="4811720"/>
            <a:ext cx="2550788" cy="115889"/>
          </a:xfrm>
          <a:prstGeom prst="rect">
            <a:avLst/>
          </a:prstGeom>
          <a:noFill/>
          <a:ln w="9525">
            <a:noFill/>
            <a:miter lim="800000"/>
            <a:headEnd/>
            <a:tailEnd/>
          </a:ln>
          <a:effectLst/>
        </p:spPr>
        <p:txBody>
          <a:bodyPr wrap="square" lIns="46190" tIns="23094" rIns="46190" bIns="23094" anchor="b">
            <a:spAutoFit/>
          </a:bodyPr>
          <a:lstStyle/>
          <a:p>
            <a:pPr defTabSz="458058" fontAlgn="auto">
              <a:spcBef>
                <a:spcPts val="0"/>
              </a:spcBef>
              <a:spcAft>
                <a:spcPts val="0"/>
              </a:spcAft>
              <a:defRPr/>
            </a:pPr>
            <a:r>
              <a:rPr lang="en-US" sz="450" spc="15" baseline="0" dirty="0">
                <a:solidFill>
                  <a:schemeClr val="bg2">
                    <a:lumMod val="65000"/>
                  </a:schemeClr>
                </a:solidFill>
                <a:latin typeface="+mn-lt"/>
                <a:ea typeface="+mn-ea"/>
                <a:cs typeface="CiscoSans Thin"/>
              </a:rPr>
              <a:t>© 2018  Cisco and/or its affiliates. All rights reserved.   </a:t>
            </a:r>
          </a:p>
        </p:txBody>
      </p:sp>
    </p:spTree>
    <p:extLst>
      <p:ext uri="{BB962C8B-B14F-4D97-AF65-F5344CB8AC3E}">
        <p14:creationId xmlns:p14="http://schemas.microsoft.com/office/powerpoint/2010/main" val="595299339"/>
      </p:ext>
    </p:extLst>
  </p:cSld>
  <p:clrMapOvr>
    <a:masterClrMapping/>
  </p:clrMapOvr>
  <p:transition spd="med">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56736"/>
            <a:ext cx="8296421" cy="288131"/>
          </a:xfrm>
          <a:prstGeom prst="rect">
            <a:avLst/>
          </a:prstGeom>
        </p:spPr>
        <p:txBody>
          <a:bodyPr lIns="91420" tIns="45710" rIns="91420" bIns="45710" anchor="b" anchorCtr="0">
            <a:noAutofit/>
          </a:bodyPr>
          <a:lstStyle>
            <a:lvl1pPr marL="0" indent="0" algn="l">
              <a:buNone/>
              <a:defRPr sz="1800" b="0" i="0">
                <a:solidFill>
                  <a:schemeClr val="bg1">
                    <a:lumMod val="75000"/>
                  </a:schemeClr>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72669"/>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04365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lumMod val="75000"/>
                  </a:schemeClr>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Tree>
    <p:extLst>
      <p:ext uri="{BB962C8B-B14F-4D97-AF65-F5344CB8AC3E}">
        <p14:creationId xmlns:p14="http://schemas.microsoft.com/office/powerpoint/2010/main" val="1360644738"/>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80172715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68565941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lumMod val="75000"/>
                  </a:schemeClr>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315922664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1599744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83130350"/>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81909260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290710262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00026606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userDrawn="1"/>
        </p:nvSpPr>
        <p:spPr bwMode="ltGray">
          <a:xfrm>
            <a:off x="477678" y="4741653"/>
            <a:ext cx="415528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C97-740141-00 © 2018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259623586"/>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39687970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39786742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16467197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1271646"/>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876471221"/>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0980166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userDrawn="1"/>
        </p:nvSpPr>
        <p:spPr bwMode="ltGray">
          <a:xfrm>
            <a:off x="477680" y="4741655"/>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
        <p:nvSpPr>
          <p:cNvPr id="3" name="Picture Placeholder 2"/>
          <p:cNvSpPr>
            <a:spLocks noGrp="1"/>
          </p:cNvSpPr>
          <p:nvPr>
            <p:ph type="pic" sz="quarter" idx="10"/>
          </p:nvPr>
        </p:nvSpPr>
        <p:spPr>
          <a:xfrm>
            <a:off x="308012" y="240632"/>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429723624"/>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lumMod val="75000"/>
                  </a:schemeClr>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lumMod val="75000"/>
                  </a:schemeClr>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lumMod val="75000"/>
                  </a:schemeClr>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lumMod val="75000"/>
                  </a:schemeClr>
                </a:solidFill>
              </a:defRPr>
            </a:lvl1pPr>
          </a:lstStyle>
          <a:p>
            <a:pPr lvl="0"/>
            <a:r>
              <a:rPr lang="en-GB" dirty="0"/>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C97-740141-00 © 2018  Cisco and/or its affiliates. All rights reserved.   Cisco Confidential</a:t>
            </a:r>
          </a:p>
        </p:txBody>
      </p:sp>
    </p:spTree>
    <p:extLst>
      <p:ext uri="{BB962C8B-B14F-4D97-AF65-F5344CB8AC3E}">
        <p14:creationId xmlns:p14="http://schemas.microsoft.com/office/powerpoint/2010/main" val="1378293454"/>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477679" y="4741653"/>
            <a:ext cx="4619784"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C97-740141-00 © 2018  Cisco and/or its affiliates. All rights reserved.   Cisco Confidential</a:t>
            </a:r>
          </a:p>
        </p:txBody>
      </p:sp>
    </p:spTree>
    <p:extLst>
      <p:ext uri="{BB962C8B-B14F-4D97-AF65-F5344CB8AC3E}">
        <p14:creationId xmlns:p14="http://schemas.microsoft.com/office/powerpoint/2010/main" val="1422272728"/>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lumMod val="75000"/>
                  </a:schemeClr>
                </a:solidFill>
                <a:latin typeface="+mn-lt"/>
                <a:ea typeface="ＭＳ Ｐゴシック" charset="0"/>
                <a:cs typeface="CiscoSans"/>
              </a:defRPr>
            </a:lvl1pPr>
            <a:lvl2pPr marL="228600" indent="-114300">
              <a:buClr>
                <a:schemeClr val="tx2"/>
              </a:buClr>
              <a:buSzPct val="60000"/>
              <a:defRPr sz="2000">
                <a:solidFill>
                  <a:schemeClr val="bg1">
                    <a:lumMod val="75000"/>
                  </a:schemeClr>
                </a:solidFill>
              </a:defRPr>
            </a:lvl2pPr>
            <a:lvl3pPr marL="342900" indent="-114300">
              <a:buClr>
                <a:schemeClr val="tx2"/>
              </a:buClr>
              <a:buSzPct val="60000"/>
              <a:defRPr sz="1800">
                <a:solidFill>
                  <a:schemeClr val="bg1">
                    <a:lumMod val="75000"/>
                  </a:schemeClr>
                </a:solidFill>
              </a:defRPr>
            </a:lvl3pPr>
            <a:lvl4pPr marL="457200" indent="-123825">
              <a:buClr>
                <a:schemeClr val="tx2"/>
              </a:buClr>
              <a:buSzPct val="60000"/>
              <a:defRPr sz="1600">
                <a:solidFill>
                  <a:schemeClr val="bg1">
                    <a:lumMod val="75000"/>
                  </a:schemeClr>
                </a:solidFill>
              </a:defRPr>
            </a:lvl4pPr>
            <a:lvl5pPr marL="574675" indent="-117475">
              <a:buClr>
                <a:schemeClr val="tx2"/>
              </a:buClr>
              <a:buSzPct val="60000"/>
              <a:defRPr sz="1600">
                <a:solidFill>
                  <a:schemeClr val="bg1">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477678" y="4741653"/>
            <a:ext cx="444992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C97-740141-00 © 2018  Cisco and/or its affiliates. All rights reserved.   Cisco Confidential</a:t>
            </a:r>
          </a:p>
        </p:txBody>
      </p:sp>
    </p:spTree>
    <p:extLst>
      <p:ext uri="{BB962C8B-B14F-4D97-AF65-F5344CB8AC3E}">
        <p14:creationId xmlns:p14="http://schemas.microsoft.com/office/powerpoint/2010/main" val="4215219984"/>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dirty="0"/>
              <a:t>Click to edit Master text styles</a:t>
            </a:r>
          </a:p>
        </p:txBody>
      </p:sp>
      <p:sp>
        <p:nvSpPr>
          <p:cNvPr id="10" name="Rectangle 4"/>
          <p:cNvSpPr>
            <a:spLocks noChangeArrowheads="1"/>
          </p:cNvSpPr>
          <p:nvPr userDrawn="1"/>
        </p:nvSpPr>
        <p:spPr bwMode="ltGray">
          <a:xfrm>
            <a:off x="477678" y="4741653"/>
            <a:ext cx="4102413"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C97-740141-00 © 2018  Cisco and/or its affiliates. All rights reserved.   Cisco Confidential</a:t>
            </a:r>
          </a:p>
        </p:txBody>
      </p:sp>
    </p:spTree>
    <p:extLst>
      <p:ext uri="{BB962C8B-B14F-4D97-AF65-F5344CB8AC3E}">
        <p14:creationId xmlns:p14="http://schemas.microsoft.com/office/powerpoint/2010/main" val="182106847"/>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41451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C97-740141-00 © 2018  Cisco and/or its affiliates. All rights reserved.   Cisco Confidential</a:t>
            </a:r>
          </a:p>
        </p:txBody>
      </p:sp>
    </p:spTree>
    <p:extLst>
      <p:ext uri="{BB962C8B-B14F-4D97-AF65-F5344CB8AC3E}">
        <p14:creationId xmlns:p14="http://schemas.microsoft.com/office/powerpoint/2010/main" val="2319408979"/>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477678" y="4741653"/>
            <a:ext cx="4102414"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C97-740141-00 © 2018  Cisco and/or its affiliates. All rights reserved.   Cisco Confidential</a:t>
            </a:r>
          </a:p>
        </p:txBody>
      </p:sp>
    </p:spTree>
    <p:extLst>
      <p:ext uri="{BB962C8B-B14F-4D97-AF65-F5344CB8AC3E}">
        <p14:creationId xmlns:p14="http://schemas.microsoft.com/office/powerpoint/2010/main" val="317746600"/>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4102413"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C97-740141-00 © 2018  Cisco and/or its affiliates. All rights reserved.   Cisco Confidential</a:t>
            </a:r>
          </a:p>
        </p:txBody>
      </p:sp>
    </p:spTree>
    <p:extLst>
      <p:ext uri="{BB962C8B-B14F-4D97-AF65-F5344CB8AC3E}">
        <p14:creationId xmlns:p14="http://schemas.microsoft.com/office/powerpoint/2010/main" val="1127041327"/>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4102414"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C97-740141-00 © 2018  Cisco and/or its affiliates. All rights reserved.   Cisco Confidential</a:t>
            </a:r>
          </a:p>
        </p:txBody>
      </p:sp>
    </p:spTree>
    <p:extLst>
      <p:ext uri="{BB962C8B-B14F-4D97-AF65-F5344CB8AC3E}">
        <p14:creationId xmlns:p14="http://schemas.microsoft.com/office/powerpoint/2010/main" val="2705617006"/>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4102414"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C97-740141-00 © 2018  Cisco and/or its affiliates. All rights reserved.   Cisco Confidential</a:t>
            </a:r>
          </a:p>
        </p:txBody>
      </p:sp>
    </p:spTree>
    <p:extLst>
      <p:ext uri="{BB962C8B-B14F-4D97-AF65-F5344CB8AC3E}">
        <p14:creationId xmlns:p14="http://schemas.microsoft.com/office/powerpoint/2010/main" val="2181735538"/>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12897023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0036432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6120739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1803844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335127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lumMod val="75000"/>
                  </a:schemeClr>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0998972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9"/>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9602279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9"/>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5812977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20070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21" indent="-117472">
              <a:lnSpc>
                <a:spcPct val="95000"/>
              </a:lnSpc>
              <a:spcBef>
                <a:spcPts val="1110"/>
              </a:spcBef>
              <a:buClr>
                <a:schemeClr val="tx2"/>
              </a:buClr>
              <a:buSzPct val="60000"/>
              <a:buFont typeface="Arial"/>
              <a:buChar char="•"/>
              <a:defRPr sz="2000" b="0" i="0">
                <a:solidFill>
                  <a:schemeClr val="bg1">
                    <a:lumMod val="75000"/>
                  </a:schemeClr>
                </a:solidFill>
                <a:latin typeface="+mn-lt"/>
                <a:ea typeface="CiscoSansTT Thin" charset="0"/>
                <a:cs typeface="CiscoSansTT Thin" charset="0"/>
              </a:defRPr>
            </a:lvl1pPr>
            <a:lvl2pPr marL="288918" indent="-114297">
              <a:lnSpc>
                <a:spcPct val="95000"/>
              </a:lnSpc>
              <a:spcBef>
                <a:spcPts val="450"/>
              </a:spcBef>
              <a:buClr>
                <a:schemeClr val="tx2"/>
              </a:buClr>
              <a:buSzPct val="60000"/>
              <a:buFont typeface="Arial"/>
              <a:buChar char="•"/>
              <a:defRPr sz="1800" b="0" i="0">
                <a:solidFill>
                  <a:schemeClr val="bg1">
                    <a:lumMod val="75000"/>
                  </a:schemeClr>
                </a:solidFill>
                <a:latin typeface="+mn-lt"/>
                <a:ea typeface="CiscoSansTT Thin" charset="0"/>
                <a:cs typeface="CiscoSansTT Thin" charset="0"/>
              </a:defRPr>
            </a:lvl2pPr>
            <a:lvl3pPr marL="403215" indent="-114297">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3pPr>
            <a:lvl4pPr marL="517512" indent="-114297">
              <a:buClr>
                <a:schemeClr val="tx2"/>
              </a:buClr>
              <a:buSzPct val="60000"/>
              <a:buFont typeface="Arial"/>
              <a:buChar char="•"/>
              <a:defRPr sz="1400" b="0" i="0">
                <a:solidFill>
                  <a:schemeClr val="bg1">
                    <a:lumMod val="75000"/>
                  </a:schemeClr>
                </a:solidFill>
                <a:latin typeface="+mn-lt"/>
                <a:ea typeface="CiscoSansTT Thin" charset="0"/>
                <a:cs typeface="CiscoSansTT Thin" charset="0"/>
              </a:defRPr>
            </a:lvl4pPr>
            <a:lvl5pPr marL="631809" indent="-114297">
              <a:buClr>
                <a:schemeClr val="tx2"/>
              </a:buClr>
              <a:buSzPct val="60000"/>
              <a:buFont typeface="Arial"/>
              <a:buChar char="•"/>
              <a:defRPr sz="12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7" y="341314"/>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lumMod val="75000"/>
                  </a:schemeClr>
                </a:solidFill>
              </a:defRPr>
            </a:lvl1pPr>
          </a:lstStyle>
          <a:p>
            <a:pPr lvl="0"/>
            <a:r>
              <a:rPr lang="en-GB" dirty="0"/>
              <a:t>Click to edit Master title style</a:t>
            </a:r>
          </a:p>
        </p:txBody>
      </p:sp>
      <p:sp>
        <p:nvSpPr>
          <p:cNvPr id="8" name="Rectangle 4"/>
          <p:cNvSpPr>
            <a:spLocks noChangeArrowheads="1"/>
          </p:cNvSpPr>
          <p:nvPr userDrawn="1"/>
        </p:nvSpPr>
        <p:spPr bwMode="ltGray">
          <a:xfrm>
            <a:off x="477679" y="4741655"/>
            <a:ext cx="35683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47245976"/>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1"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4" y="531812"/>
            <a:ext cx="3551237" cy="4059237"/>
          </a:xfrm>
          <a:prstGeom prst="rect">
            <a:avLst/>
          </a:prstGeom>
        </p:spPr>
        <p:txBody>
          <a:bodyPr lIns="0" rIns="0" anchor="ctr" anchorCtr="0"/>
          <a:lstStyle>
            <a:lvl1pPr marL="169859" indent="-169859">
              <a:lnSpc>
                <a:spcPct val="100000"/>
              </a:lnSpc>
              <a:buClr>
                <a:schemeClr val="tx1"/>
              </a:buClr>
              <a:buSzPct val="60000"/>
              <a:buFont typeface="Arial" panose="020B0604020202020204" pitchFamily="34" charset="0"/>
              <a:buChar char="•"/>
              <a:tabLst>
                <a:tab pos="228594" algn="l"/>
              </a:tabLst>
              <a:defRPr sz="2400"/>
            </a:lvl1pPr>
            <a:lvl2pPr marL="346067" indent="-171446">
              <a:lnSpc>
                <a:spcPct val="100000"/>
              </a:lnSpc>
              <a:buClr>
                <a:schemeClr val="tx1"/>
              </a:buClr>
              <a:buSzPct val="60000"/>
              <a:buFont typeface="Arial" panose="020B0604020202020204" pitchFamily="34" charset="0"/>
              <a:buChar char="•"/>
              <a:defRPr sz="2400"/>
            </a:lvl2pPr>
            <a:lvl3pPr marL="457189" indent="-117472">
              <a:lnSpc>
                <a:spcPct val="100000"/>
              </a:lnSpc>
              <a:buClr>
                <a:schemeClr val="tx1"/>
              </a:buClr>
              <a:buSzPct val="60000"/>
              <a:buFont typeface="Arial" panose="020B0604020202020204" pitchFamily="34" charset="0"/>
              <a:buChar char="•"/>
              <a:defRPr sz="2000"/>
            </a:lvl3pPr>
            <a:lvl4pPr marL="574661" indent="-117472">
              <a:lnSpc>
                <a:spcPct val="100000"/>
              </a:lnSpc>
              <a:buClr>
                <a:schemeClr val="tx1"/>
              </a:buClr>
              <a:buSzPct val="60000"/>
              <a:buFont typeface="Arial" panose="020B0604020202020204" pitchFamily="34" charset="0"/>
              <a:buChar char="•"/>
              <a:tabLst/>
              <a:defRPr sz="1800"/>
            </a:lvl4pPr>
            <a:lvl5pPr marL="744520" indent="-112710">
              <a:lnSpc>
                <a:spcPct val="100000"/>
              </a:lnSpc>
              <a:buClr>
                <a:schemeClr val="tx1"/>
              </a:buClr>
              <a:buSzPct val="60000"/>
              <a:buFont typeface="Arial" panose="020B060402020202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477680" y="4741655"/>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016611725"/>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7"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4" y="510540"/>
            <a:ext cx="3551237" cy="4080510"/>
          </a:xfrm>
          <a:prstGeom prst="rect">
            <a:avLst/>
          </a:prstGeom>
        </p:spPr>
        <p:txBody>
          <a:bodyPr lIns="0" rIns="0"/>
          <a:lstStyle>
            <a:lvl1pPr marL="114297" indent="-114297">
              <a:lnSpc>
                <a:spcPct val="100000"/>
              </a:lnSpc>
              <a:buClr>
                <a:schemeClr val="tx1"/>
              </a:buClr>
              <a:buSzPct val="60000"/>
              <a:defRPr sz="2000"/>
            </a:lvl1pPr>
            <a:lvl2pPr marL="228594" indent="-114297">
              <a:lnSpc>
                <a:spcPct val="100000"/>
              </a:lnSpc>
              <a:buClr>
                <a:schemeClr val="tx1"/>
              </a:buClr>
              <a:buSzPct val="60000"/>
              <a:defRPr sz="2000"/>
            </a:lvl2pPr>
            <a:lvl3pPr marL="342892" indent="-114297">
              <a:lnSpc>
                <a:spcPct val="100000"/>
              </a:lnSpc>
              <a:buClr>
                <a:schemeClr val="tx1"/>
              </a:buClr>
              <a:buSzPct val="60000"/>
              <a:defRPr sz="1800"/>
            </a:lvl3pPr>
            <a:lvl4pPr marL="457189" indent="-123822">
              <a:lnSpc>
                <a:spcPct val="100000"/>
              </a:lnSpc>
              <a:buClr>
                <a:schemeClr val="tx1"/>
              </a:buClr>
              <a:buSzPct val="60000"/>
              <a:defRPr sz="1600"/>
            </a:lvl4pPr>
            <a:lvl5pPr marL="574661" indent="-117472">
              <a:lnSpc>
                <a:spcPct val="100000"/>
              </a:lnSpc>
              <a:buClr>
                <a:schemeClr val="tx1"/>
              </a:buClr>
              <a:buSzPct val="60000"/>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7" y="1659843"/>
            <a:ext cx="3808797" cy="2931208"/>
          </a:xfrm>
          <a:prstGeom prst="rect">
            <a:avLst/>
          </a:prstGeom>
        </p:spPr>
        <p:txBody>
          <a:bodyPr/>
          <a:lstStyle>
            <a:lvl1pPr marL="114297" indent="-114297">
              <a:buClr>
                <a:schemeClr val="tx2"/>
              </a:buClr>
              <a:buSzPct val="60000"/>
              <a:defRPr lang="en-US" sz="2000" kern="1200" dirty="0" smtClean="0">
                <a:solidFill>
                  <a:schemeClr val="bg1">
                    <a:lumMod val="75000"/>
                  </a:schemeClr>
                </a:solidFill>
                <a:latin typeface="+mn-lt"/>
                <a:ea typeface="ＭＳ Ｐゴシック" charset="0"/>
                <a:cs typeface="CiscoSans"/>
              </a:defRPr>
            </a:lvl1pPr>
            <a:lvl2pPr marL="228594" indent="-114297">
              <a:buClr>
                <a:schemeClr val="tx2"/>
              </a:buClr>
              <a:buSzPct val="60000"/>
              <a:defRPr sz="2000">
                <a:solidFill>
                  <a:schemeClr val="bg1">
                    <a:lumMod val="75000"/>
                  </a:schemeClr>
                </a:solidFill>
              </a:defRPr>
            </a:lvl2pPr>
            <a:lvl3pPr marL="342892" indent="-114297">
              <a:buClr>
                <a:schemeClr val="tx2"/>
              </a:buClr>
              <a:buSzPct val="60000"/>
              <a:defRPr sz="1800">
                <a:solidFill>
                  <a:schemeClr val="bg1">
                    <a:lumMod val="75000"/>
                  </a:schemeClr>
                </a:solidFill>
              </a:defRPr>
            </a:lvl3pPr>
            <a:lvl4pPr marL="457189" indent="-123822">
              <a:buClr>
                <a:schemeClr val="tx2"/>
              </a:buClr>
              <a:buSzPct val="60000"/>
              <a:defRPr sz="1600">
                <a:solidFill>
                  <a:schemeClr val="bg1">
                    <a:lumMod val="75000"/>
                  </a:schemeClr>
                </a:solidFill>
              </a:defRPr>
            </a:lvl4pPr>
            <a:lvl5pPr marL="574661" indent="-117472">
              <a:buClr>
                <a:schemeClr val="tx2"/>
              </a:buClr>
              <a:buSzPct val="60000"/>
              <a:defRPr sz="1600">
                <a:solidFill>
                  <a:schemeClr val="bg1">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358469057"/>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6" y="531813"/>
            <a:ext cx="3559175" cy="3364846"/>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5089526" y="4062351"/>
            <a:ext cx="3559175" cy="525145"/>
          </a:xfrm>
          <a:prstGeom prst="rect">
            <a:avLst/>
          </a:prstGeom>
        </p:spPr>
        <p:txBody>
          <a:bodyPr lIns="0" tIns="0" rIns="0" bIns="0"/>
          <a:lstStyle>
            <a:lvl1pPr marL="0" indent="0">
              <a:buNone/>
              <a:defRPr sz="1400"/>
            </a:lvl1pPr>
          </a:lstStyle>
          <a:p>
            <a:pPr lvl="0"/>
            <a:r>
              <a:rPr lang="en-US" dirty="0"/>
              <a:t>Click to edit Master text styles</a:t>
            </a:r>
          </a:p>
        </p:txBody>
      </p:sp>
      <p:sp>
        <p:nvSpPr>
          <p:cNvPr id="10" name="Rectangle 4"/>
          <p:cNvSpPr>
            <a:spLocks noChangeArrowheads="1"/>
          </p:cNvSpPr>
          <p:nvPr userDrawn="1"/>
        </p:nvSpPr>
        <p:spPr bwMode="ltGray">
          <a:xfrm>
            <a:off x="477680" y="4741655"/>
            <a:ext cx="2863168"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759306678"/>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6" y="531814"/>
            <a:ext cx="3559175" cy="4059236"/>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5"/>
            <a:ext cx="32635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067257236"/>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477679" y="4741655"/>
            <a:ext cx="2946839"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073824273"/>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5"/>
            <a:ext cx="32994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453469327"/>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6194845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9" y="4741655"/>
            <a:ext cx="3179921"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727076592"/>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9" y="4741655"/>
            <a:ext cx="3407027"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863390431"/>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Freeform 6"/>
          <p:cNvSpPr>
            <a:spLocks noChangeAspect="1" noEditPoints="1"/>
          </p:cNvSpPr>
          <p:nvPr userDrawn="1"/>
        </p:nvSpPr>
        <p:spPr bwMode="auto">
          <a:xfrm>
            <a:off x="3762995" y="2129077"/>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6967157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7890913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3516679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5162592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6514376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4676177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6314866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2036202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63056477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2687564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8275943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06240467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
        <p:nvSpPr>
          <p:cNvPr id="7" name="Text Placeholder 3">
            <a:extLst>
              <a:ext uri="{FF2B5EF4-FFF2-40B4-BE49-F238E27FC236}">
                <a16:creationId xmlns:a16="http://schemas.microsoft.com/office/drawing/2014/main" id="{DEB60FD2-DD36-4656-A2FB-4239367CD508}"/>
              </a:ext>
            </a:extLst>
          </p:cNvPr>
          <p:cNvSpPr>
            <a:spLocks noGrp="1"/>
          </p:cNvSpPr>
          <p:nvPr>
            <p:ph type="body" sz="quarter" idx="10" hasCustomPrompt="1"/>
          </p:nvPr>
        </p:nvSpPr>
        <p:spPr>
          <a:xfrm>
            <a:off x="437766" y="854212"/>
            <a:ext cx="8301879" cy="437876"/>
          </a:xfrm>
          <a:prstGeom prst="rect">
            <a:avLst/>
          </a:prstGeom>
        </p:spPr>
        <p:txBody>
          <a:bodyPr lIns="91420" tIns="45710" rIns="91420" bIns="45710">
            <a:noAutofit/>
          </a:bodyPr>
          <a:lstStyle>
            <a:lvl1pPr marL="0" indent="0">
              <a:lnSpc>
                <a:spcPct val="95000"/>
              </a:lnSpc>
              <a:spcBef>
                <a:spcPts val="1110"/>
              </a:spcBef>
              <a:buClr>
                <a:schemeClr val="tx1"/>
              </a:buClr>
              <a:buSzPct val="80000"/>
              <a:buFont typeface="Arial"/>
              <a:buNone/>
              <a:defRPr sz="1800" b="0" i="0">
                <a:solidFill>
                  <a:schemeClr val="accent1"/>
                </a:solidFill>
                <a:latin typeface="+mn-lt"/>
                <a:ea typeface="CiscoSansTT Thin" charset="0"/>
                <a:cs typeface="CiscoSansTT Thin" charset="0"/>
              </a:defRPr>
            </a:lvl1pPr>
            <a:lvl2pPr marL="292100" indent="0">
              <a:lnSpc>
                <a:spcPct val="95000"/>
              </a:lnSpc>
              <a:spcBef>
                <a:spcPts val="450"/>
              </a:spcBef>
              <a:buClr>
                <a:schemeClr val="tx1"/>
              </a:buClr>
              <a:buSzPct val="80000"/>
              <a:buFont typeface="Arial"/>
              <a:buNone/>
              <a:defRPr sz="1800" b="0" i="0">
                <a:solidFill>
                  <a:schemeClr val="accent1"/>
                </a:solidFill>
                <a:latin typeface="+mn-lt"/>
                <a:ea typeface="CiscoSansTT Thin" charset="0"/>
                <a:cs typeface="CiscoSansTT Thin" charset="0"/>
              </a:defRPr>
            </a:lvl2pPr>
            <a:lvl3pPr marL="576262" indent="0">
              <a:buClr>
                <a:schemeClr val="tx1"/>
              </a:buClr>
              <a:buSzPct val="80000"/>
              <a:buFont typeface="Arial"/>
              <a:buNone/>
              <a:defRPr sz="1600" b="0" i="0">
                <a:solidFill>
                  <a:schemeClr val="accent1"/>
                </a:solidFill>
                <a:latin typeface="+mn-lt"/>
                <a:ea typeface="CiscoSansTT Thin" charset="0"/>
                <a:cs typeface="CiscoSansTT Thin" charset="0"/>
              </a:defRPr>
            </a:lvl3pPr>
            <a:lvl4pPr marL="739620" indent="0">
              <a:buClr>
                <a:schemeClr val="tx1"/>
              </a:buClr>
              <a:buSzPct val="80000"/>
              <a:buFont typeface="Arial"/>
              <a:buNone/>
              <a:defRPr sz="1400" b="0" i="0">
                <a:solidFill>
                  <a:schemeClr val="accent1"/>
                </a:solidFill>
                <a:latin typeface="+mn-lt"/>
                <a:ea typeface="CiscoSansTT Thin" charset="0"/>
                <a:cs typeface="CiscoSansTT Thin" charset="0"/>
              </a:defRPr>
            </a:lvl4pPr>
            <a:lvl5pPr marL="914210" indent="0">
              <a:buClr>
                <a:schemeClr val="tx1"/>
              </a:buClr>
              <a:buSzPct val="80000"/>
              <a:buFont typeface="Arial"/>
              <a:buNone/>
              <a:defRPr sz="1200" b="0" i="0">
                <a:solidFill>
                  <a:schemeClr val="accent1"/>
                </a:solidFill>
                <a:latin typeface="+mn-lt"/>
                <a:ea typeface="CiscoSansTT Thin" charset="0"/>
                <a:cs typeface="CiscoSansTT Thin" charset="0"/>
              </a:defRPr>
            </a:lvl5pPr>
          </a:lstStyle>
          <a:p>
            <a:pPr lvl="0"/>
            <a:r>
              <a:rPr lang="en-GB" dirty="0"/>
              <a:t>Subtitle</a:t>
            </a:r>
          </a:p>
        </p:txBody>
      </p:sp>
    </p:spTree>
    <p:extLst>
      <p:ext uri="{BB962C8B-B14F-4D97-AF65-F5344CB8AC3E}">
        <p14:creationId xmlns:p14="http://schemas.microsoft.com/office/powerpoint/2010/main" val="21654412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1134521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3792958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46143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40188079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49199104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dirty="0"/>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1710297842"/>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1315570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1878296816"/>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3363824133"/>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dirty="0"/>
              <a:t>Click to edit Master text styles</a:t>
            </a:r>
          </a:p>
        </p:txBody>
      </p:sp>
      <p:sp>
        <p:nvSpPr>
          <p:cNvPr id="10" name="Rectangle 4"/>
          <p:cNvSpPr>
            <a:spLocks noChangeArrowheads="1"/>
          </p:cNvSpPr>
          <p:nvPr userDrawn="1"/>
        </p:nvSpPr>
        <p:spPr bwMode="ltGray">
          <a:xfrm>
            <a:off x="477678" y="4741653"/>
            <a:ext cx="34331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2865293016"/>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2159812691"/>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477678" y="4741653"/>
            <a:ext cx="319399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1018393200"/>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2565838962"/>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179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870658012"/>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4079646492"/>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77289637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39549672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2300523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40939974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44078544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5908463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0580832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
        <p:nvSpPr>
          <p:cNvPr id="6" name="Text Placeholder 2"/>
          <p:cNvSpPr>
            <a:spLocks noGrp="1"/>
          </p:cNvSpPr>
          <p:nvPr>
            <p:ph type="body" sz="quarter" idx="11"/>
          </p:nvPr>
        </p:nvSpPr>
        <p:spPr bwMode="auto">
          <a:xfrm>
            <a:off x="500063" y="3895662"/>
            <a:ext cx="8139112" cy="55656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931314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92976428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17365077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86398850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66675392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9647428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71407915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6800828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11726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04540040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8041821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494075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US"/>
              <a:t>Click to edit Master title style</a:t>
            </a:r>
            <a:endParaRPr lang="en-GB" dirty="0"/>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3588546431"/>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289564785"/>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2166111224"/>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r>
              <a:rPr lang="en-US"/>
              <a:t>Drag picture to placeholder or click icon to add</a:t>
            </a:r>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userDrawn="1"/>
        </p:nvSpPr>
        <p:spPr bwMode="ltGray">
          <a:xfrm>
            <a:off x="477679" y="4672663"/>
            <a:ext cx="3243716"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853790061"/>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r>
              <a:rPr lang="en-US"/>
              <a:t>Drag picture to placeholder or click icon to add</a:t>
            </a:r>
            <a:endParaRPr lang="en-US" dirty="0"/>
          </a:p>
        </p:txBody>
      </p:sp>
      <p:sp>
        <p:nvSpPr>
          <p:cNvPr id="8" name="Rectangle 4"/>
          <p:cNvSpPr>
            <a:spLocks noChangeArrowheads="1"/>
          </p:cNvSpPr>
          <p:nvPr userDrawn="1"/>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3515112006"/>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26" Type="http://schemas.openxmlformats.org/officeDocument/2006/relationships/slideLayout" Target="../slideLayouts/slideLayout266.xml"/><Relationship Id="rId3" Type="http://schemas.openxmlformats.org/officeDocument/2006/relationships/slideLayout" Target="../slideLayouts/slideLayout243.xml"/><Relationship Id="rId21" Type="http://schemas.openxmlformats.org/officeDocument/2006/relationships/slideLayout" Target="../slideLayouts/slideLayout261.xml"/><Relationship Id="rId34" Type="http://schemas.openxmlformats.org/officeDocument/2006/relationships/theme" Target="../theme/theme10.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slideLayout" Target="../slideLayouts/slideLayout265.xml"/><Relationship Id="rId33" Type="http://schemas.openxmlformats.org/officeDocument/2006/relationships/slideLayout" Target="../slideLayouts/slideLayout273.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slideLayout" Target="../slideLayouts/slideLayout260.xml"/><Relationship Id="rId29" Type="http://schemas.openxmlformats.org/officeDocument/2006/relationships/slideLayout" Target="../slideLayouts/slideLayout269.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32" Type="http://schemas.openxmlformats.org/officeDocument/2006/relationships/slideLayout" Target="../slideLayouts/slideLayout272.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28" Type="http://schemas.openxmlformats.org/officeDocument/2006/relationships/slideLayout" Target="../slideLayouts/slideLayout268.xml"/><Relationship Id="rId10" Type="http://schemas.openxmlformats.org/officeDocument/2006/relationships/slideLayout" Target="../slideLayouts/slideLayout250.xml"/><Relationship Id="rId19" Type="http://schemas.openxmlformats.org/officeDocument/2006/relationships/slideLayout" Target="../slideLayouts/slideLayout259.xml"/><Relationship Id="rId31" Type="http://schemas.openxmlformats.org/officeDocument/2006/relationships/slideLayout" Target="../slideLayouts/slideLayout271.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slideLayout" Target="../slideLayouts/slideLayout262.xml"/><Relationship Id="rId27" Type="http://schemas.openxmlformats.org/officeDocument/2006/relationships/slideLayout" Target="../slideLayouts/slideLayout267.xml"/><Relationship Id="rId30" Type="http://schemas.openxmlformats.org/officeDocument/2006/relationships/slideLayout" Target="../slideLayouts/slideLayout270.xml"/><Relationship Id="rId8" Type="http://schemas.openxmlformats.org/officeDocument/2006/relationships/slideLayout" Target="../slideLayouts/slideLayout24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slideLayout" Target="../slideLayouts/slideLayout286.xml"/><Relationship Id="rId3" Type="http://schemas.openxmlformats.org/officeDocument/2006/relationships/slideLayout" Target="../slideLayouts/slideLayout276.xml"/><Relationship Id="rId7" Type="http://schemas.openxmlformats.org/officeDocument/2006/relationships/slideLayout" Target="../slideLayouts/slideLayout280.xml"/><Relationship Id="rId12" Type="http://schemas.openxmlformats.org/officeDocument/2006/relationships/slideLayout" Target="../slideLayouts/slideLayout285.xml"/><Relationship Id="rId2" Type="http://schemas.openxmlformats.org/officeDocument/2006/relationships/slideLayout" Target="../slideLayouts/slideLayout275.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slideLayout" Target="../slideLayouts/slideLayout284.xml"/><Relationship Id="rId5" Type="http://schemas.openxmlformats.org/officeDocument/2006/relationships/slideLayout" Target="../slideLayouts/slideLayout278.xml"/><Relationship Id="rId15" Type="http://schemas.openxmlformats.org/officeDocument/2006/relationships/theme" Target="../theme/theme11.xml"/><Relationship Id="rId10" Type="http://schemas.openxmlformats.org/officeDocument/2006/relationships/slideLayout" Target="../slideLayouts/slideLayout283.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slideLayout" Target="../slideLayouts/slideLayout28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95.xml"/><Relationship Id="rId13" Type="http://schemas.openxmlformats.org/officeDocument/2006/relationships/slideLayout" Target="../slideLayouts/slideLayout300.xml"/><Relationship Id="rId18" Type="http://schemas.openxmlformats.org/officeDocument/2006/relationships/slideLayout" Target="../slideLayouts/slideLayout305.xml"/><Relationship Id="rId26" Type="http://schemas.openxmlformats.org/officeDocument/2006/relationships/slideLayout" Target="../slideLayouts/slideLayout313.xml"/><Relationship Id="rId3" Type="http://schemas.openxmlformats.org/officeDocument/2006/relationships/slideLayout" Target="../slideLayouts/slideLayout290.xml"/><Relationship Id="rId21" Type="http://schemas.openxmlformats.org/officeDocument/2006/relationships/slideLayout" Target="../slideLayouts/slideLayout308.xml"/><Relationship Id="rId7" Type="http://schemas.openxmlformats.org/officeDocument/2006/relationships/slideLayout" Target="../slideLayouts/slideLayout294.xml"/><Relationship Id="rId12" Type="http://schemas.openxmlformats.org/officeDocument/2006/relationships/slideLayout" Target="../slideLayouts/slideLayout299.xml"/><Relationship Id="rId17" Type="http://schemas.openxmlformats.org/officeDocument/2006/relationships/slideLayout" Target="../slideLayouts/slideLayout304.xml"/><Relationship Id="rId25" Type="http://schemas.openxmlformats.org/officeDocument/2006/relationships/slideLayout" Target="../slideLayouts/slideLayout312.xml"/><Relationship Id="rId2" Type="http://schemas.openxmlformats.org/officeDocument/2006/relationships/slideLayout" Target="../slideLayouts/slideLayout289.xml"/><Relationship Id="rId16" Type="http://schemas.openxmlformats.org/officeDocument/2006/relationships/slideLayout" Target="../slideLayouts/slideLayout303.xml"/><Relationship Id="rId20" Type="http://schemas.openxmlformats.org/officeDocument/2006/relationships/slideLayout" Target="../slideLayouts/slideLayout307.xml"/><Relationship Id="rId29" Type="http://schemas.openxmlformats.org/officeDocument/2006/relationships/slideLayout" Target="../slideLayouts/slideLayout316.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24" Type="http://schemas.openxmlformats.org/officeDocument/2006/relationships/slideLayout" Target="../slideLayouts/slideLayout311.xml"/><Relationship Id="rId5" Type="http://schemas.openxmlformats.org/officeDocument/2006/relationships/slideLayout" Target="../slideLayouts/slideLayout292.xml"/><Relationship Id="rId15" Type="http://schemas.openxmlformats.org/officeDocument/2006/relationships/slideLayout" Target="../slideLayouts/slideLayout302.xml"/><Relationship Id="rId23" Type="http://schemas.openxmlformats.org/officeDocument/2006/relationships/slideLayout" Target="../slideLayouts/slideLayout310.xml"/><Relationship Id="rId28" Type="http://schemas.openxmlformats.org/officeDocument/2006/relationships/slideLayout" Target="../slideLayouts/slideLayout315.xml"/><Relationship Id="rId10" Type="http://schemas.openxmlformats.org/officeDocument/2006/relationships/slideLayout" Target="../slideLayouts/slideLayout297.xml"/><Relationship Id="rId19" Type="http://schemas.openxmlformats.org/officeDocument/2006/relationships/slideLayout" Target="../slideLayouts/slideLayout306.xml"/><Relationship Id="rId31" Type="http://schemas.openxmlformats.org/officeDocument/2006/relationships/theme" Target="../theme/theme12.xml"/><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 Id="rId22" Type="http://schemas.openxmlformats.org/officeDocument/2006/relationships/slideLayout" Target="../slideLayouts/slideLayout309.xml"/><Relationship Id="rId27" Type="http://schemas.openxmlformats.org/officeDocument/2006/relationships/slideLayout" Target="../slideLayouts/slideLayout314.xml"/><Relationship Id="rId30" Type="http://schemas.openxmlformats.org/officeDocument/2006/relationships/slideLayout" Target="../slideLayouts/slideLayout31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slideLayout" Target="../slideLayouts/slideLayout330.xml"/><Relationship Id="rId18" Type="http://schemas.openxmlformats.org/officeDocument/2006/relationships/theme" Target="../theme/theme13.xml"/><Relationship Id="rId3" Type="http://schemas.openxmlformats.org/officeDocument/2006/relationships/slideLayout" Target="../slideLayouts/slideLayout320.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17" Type="http://schemas.openxmlformats.org/officeDocument/2006/relationships/slideLayout" Target="../slideLayouts/slideLayout334.xml"/><Relationship Id="rId2" Type="http://schemas.openxmlformats.org/officeDocument/2006/relationships/slideLayout" Target="../slideLayouts/slideLayout319.xml"/><Relationship Id="rId16" Type="http://schemas.openxmlformats.org/officeDocument/2006/relationships/slideLayout" Target="../slideLayouts/slideLayout333.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5" Type="http://schemas.openxmlformats.org/officeDocument/2006/relationships/slideLayout" Target="../slideLayouts/slideLayout322.xml"/><Relationship Id="rId15" Type="http://schemas.openxmlformats.org/officeDocument/2006/relationships/slideLayout" Target="../slideLayouts/slideLayout332.xml"/><Relationship Id="rId10" Type="http://schemas.openxmlformats.org/officeDocument/2006/relationships/slideLayout" Target="../slideLayouts/slideLayout327.xml"/><Relationship Id="rId4" Type="http://schemas.openxmlformats.org/officeDocument/2006/relationships/slideLayout" Target="../slideLayouts/slideLayout321.xml"/><Relationship Id="rId9" Type="http://schemas.openxmlformats.org/officeDocument/2006/relationships/slideLayout" Target="../slideLayouts/slideLayout326.xml"/><Relationship Id="rId14" Type="http://schemas.openxmlformats.org/officeDocument/2006/relationships/slideLayout" Target="../slideLayouts/slideLayout33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26" Type="http://schemas.openxmlformats.org/officeDocument/2006/relationships/theme" Target="../theme/theme14.xml"/><Relationship Id="rId3" Type="http://schemas.openxmlformats.org/officeDocument/2006/relationships/slideLayout" Target="../slideLayouts/slideLayout337.xml"/><Relationship Id="rId21" Type="http://schemas.openxmlformats.org/officeDocument/2006/relationships/slideLayout" Target="../slideLayouts/slideLayout355.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5" Type="http://schemas.openxmlformats.org/officeDocument/2006/relationships/slideLayout" Target="../slideLayouts/slideLayout359.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slideLayout" Target="../slideLayouts/slideLayout358.xml"/><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slideLayout" Target="../slideLayouts/slideLayout357.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theme" Target="../theme/theme4.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theme" Target="../theme/theme5.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image" Target="../media/image3.png"/><Relationship Id="rId5" Type="http://schemas.openxmlformats.org/officeDocument/2006/relationships/theme" Target="../theme/theme7.xml"/><Relationship Id="rId4" Type="http://schemas.openxmlformats.org/officeDocument/2006/relationships/slideLayout" Target="../slideLayouts/slideLayout165.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9" Type="http://schemas.openxmlformats.org/officeDocument/2006/relationships/slideLayout" Target="../slideLayouts/slideLayout204.xml"/><Relationship Id="rId21" Type="http://schemas.openxmlformats.org/officeDocument/2006/relationships/slideLayout" Target="../slideLayouts/slideLayout186.xml"/><Relationship Id="rId34" Type="http://schemas.openxmlformats.org/officeDocument/2006/relationships/slideLayout" Target="../slideLayouts/slideLayout199.xml"/><Relationship Id="rId42" Type="http://schemas.openxmlformats.org/officeDocument/2006/relationships/slideLayout" Target="../slideLayouts/slideLayout207.xml"/><Relationship Id="rId7" Type="http://schemas.openxmlformats.org/officeDocument/2006/relationships/slideLayout" Target="../slideLayouts/slideLayout17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37" Type="http://schemas.openxmlformats.org/officeDocument/2006/relationships/slideLayout" Target="../slideLayouts/slideLayout202.xml"/><Relationship Id="rId40" Type="http://schemas.openxmlformats.org/officeDocument/2006/relationships/slideLayout" Target="../slideLayouts/slideLayout205.xml"/><Relationship Id="rId45" Type="http://schemas.openxmlformats.org/officeDocument/2006/relationships/theme" Target="../theme/theme8.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36" Type="http://schemas.openxmlformats.org/officeDocument/2006/relationships/slideLayout" Target="../slideLayouts/slideLayout201.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4" Type="http://schemas.openxmlformats.org/officeDocument/2006/relationships/slideLayout" Target="../slideLayouts/slideLayout209.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35" Type="http://schemas.openxmlformats.org/officeDocument/2006/relationships/slideLayout" Target="../slideLayouts/slideLayout200.xml"/><Relationship Id="rId43" Type="http://schemas.openxmlformats.org/officeDocument/2006/relationships/slideLayout" Target="../slideLayouts/slideLayout208.xml"/><Relationship Id="rId8" Type="http://schemas.openxmlformats.org/officeDocument/2006/relationships/slideLayout" Target="../slideLayouts/slideLayout173.xml"/><Relationship Id="rId3" Type="http://schemas.openxmlformats.org/officeDocument/2006/relationships/slideLayout" Target="../slideLayouts/slideLayout168.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38" Type="http://schemas.openxmlformats.org/officeDocument/2006/relationships/slideLayout" Target="../slideLayouts/slideLayout203.xml"/><Relationship Id="rId20" Type="http://schemas.openxmlformats.org/officeDocument/2006/relationships/slideLayout" Target="../slideLayouts/slideLayout185.xml"/><Relationship Id="rId41" Type="http://schemas.openxmlformats.org/officeDocument/2006/relationships/slideLayout" Target="../slideLayouts/slideLayout20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29" Type="http://schemas.openxmlformats.org/officeDocument/2006/relationships/slideLayout" Target="../slideLayouts/slideLayout238.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32" Type="http://schemas.openxmlformats.org/officeDocument/2006/relationships/theme" Target="../theme/theme9.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slideLayout" Target="../slideLayouts/slideLayout237.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31" Type="http://schemas.openxmlformats.org/officeDocument/2006/relationships/slideLayout" Target="../slideLayouts/slideLayout240.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 Id="rId30" Type="http://schemas.openxmlformats.org/officeDocument/2006/relationships/slideLayout" Target="../slideLayouts/slideLayout2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mn-lt"/>
                <a:ea typeface="+mn-ea"/>
                <a:cs typeface="CiscoSans Thin"/>
              </a:rPr>
              <a:t>© 2019  Cisco and/or its affiliates. All rights reserved.   </a:t>
            </a:r>
          </a:p>
        </p:txBody>
      </p:sp>
    </p:spTree>
  </p:cSld>
  <p:clrMap bg1="lt1" tx1="dk1" bg2="lt2" tx2="dk2" accent1="accent1" accent2="accent2" accent3="accent3" accent4="accent4" accent5="accent5" accent6="accent6" hlink="hlink" folHlink="folHlink"/>
  <p:sldLayoutIdLst>
    <p:sldLayoutId id="2147483874" r:id="rId1"/>
    <p:sldLayoutId id="2147483876" r:id="rId2"/>
    <p:sldLayoutId id="2147484013" r:id="rId3"/>
    <p:sldLayoutId id="2147483982" r:id="rId4"/>
    <p:sldLayoutId id="2147484014" r:id="rId5"/>
    <p:sldLayoutId id="2147483978" r:id="rId6"/>
    <p:sldLayoutId id="2147483979" r:id="rId7"/>
    <p:sldLayoutId id="2147483980" r:id="rId8"/>
    <p:sldLayoutId id="2147483981" r:id="rId9"/>
    <p:sldLayoutId id="2147483879" r:id="rId10"/>
    <p:sldLayoutId id="2147483976" r:id="rId11"/>
    <p:sldLayoutId id="2147483885" r:id="rId12"/>
    <p:sldLayoutId id="2147484011" r:id="rId13"/>
    <p:sldLayoutId id="2147483985" r:id="rId14"/>
    <p:sldLayoutId id="2147483986" r:id="rId15"/>
    <p:sldLayoutId id="2147484012" r:id="rId16"/>
    <p:sldLayoutId id="2147483969" r:id="rId17"/>
    <p:sldLayoutId id="2147483968" r:id="rId18"/>
    <p:sldLayoutId id="2147483973" r:id="rId19"/>
    <p:sldLayoutId id="2147483967" r:id="rId20"/>
    <p:sldLayoutId id="2147483970" r:id="rId21"/>
    <p:sldLayoutId id="2147483987" r:id="rId22"/>
    <p:sldLayoutId id="2147483983" r:id="rId23"/>
    <p:sldLayoutId id="2147483971" r:id="rId24"/>
    <p:sldLayoutId id="2147483972" r:id="rId25"/>
    <p:sldLayoutId id="2147483897" r:id="rId26"/>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userDrawn="1">
          <p15:clr>
            <a:srgbClr val="F26B43"/>
          </p15:clr>
        </p15:guide>
        <p15:guide id="2" pos="336" userDrawn="1">
          <p15:clr>
            <a:srgbClr val="F26B43"/>
          </p15:clr>
        </p15:guide>
        <p15:guide id="3" pos="5448" userDrawn="1">
          <p15:clr>
            <a:srgbClr val="F26B43"/>
          </p15:clr>
        </p15:guide>
        <p15:guide id="4" orient="horz" pos="757" userDrawn="1">
          <p15:clr>
            <a:srgbClr val="F26B43"/>
          </p15:clr>
        </p15:guide>
        <p15:guide id="5" orient="horz" pos="335" userDrawn="1">
          <p15:clr>
            <a:srgbClr val="F26B43"/>
          </p15:clr>
        </p15:guide>
        <p15:guide id="6" pos="2876" userDrawn="1">
          <p15:clr>
            <a:srgbClr val="F26B43"/>
          </p15:clr>
        </p15:guide>
        <p15:guide id="7" orient="horz" pos="1043"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924686409"/>
      </p:ext>
    </p:extLst>
  </p:cSld>
  <p:clrMap bg1="lt1" tx1="dk1" bg2="lt2" tx2="dk2" accent1="accent1" accent2="accent2" accent3="accent3" accent4="accent4" accent5="accent5" accent6="accent6" hlink="hlink" folHlink="folHlink"/>
  <p:sldLayoutIdLst>
    <p:sldLayoutId id="2147484238" r:id="rId1"/>
    <p:sldLayoutId id="2147484239" r:id="rId2"/>
    <p:sldLayoutId id="2147484240" r:id="rId3"/>
    <p:sldLayoutId id="2147484241" r:id="rId4"/>
    <p:sldLayoutId id="2147484242" r:id="rId5"/>
    <p:sldLayoutId id="2147484243" r:id="rId6"/>
    <p:sldLayoutId id="2147484244" r:id="rId7"/>
    <p:sldLayoutId id="2147484245" r:id="rId8"/>
    <p:sldLayoutId id="2147484246" r:id="rId9"/>
    <p:sldLayoutId id="2147484247" r:id="rId10"/>
    <p:sldLayoutId id="2147484248" r:id="rId11"/>
    <p:sldLayoutId id="2147484249" r:id="rId12"/>
    <p:sldLayoutId id="2147484250" r:id="rId13"/>
    <p:sldLayoutId id="2147484251" r:id="rId14"/>
    <p:sldLayoutId id="2147484252" r:id="rId15"/>
    <p:sldLayoutId id="2147484253" r:id="rId16"/>
    <p:sldLayoutId id="2147484254" r:id="rId17"/>
    <p:sldLayoutId id="2147484255" r:id="rId18"/>
    <p:sldLayoutId id="2147484256" r:id="rId19"/>
    <p:sldLayoutId id="2147484257" r:id="rId20"/>
    <p:sldLayoutId id="2147484258" r:id="rId21"/>
    <p:sldLayoutId id="2147484259" r:id="rId22"/>
    <p:sldLayoutId id="2147484260" r:id="rId23"/>
    <p:sldLayoutId id="2147484261" r:id="rId24"/>
    <p:sldLayoutId id="2147484262" r:id="rId25"/>
    <p:sldLayoutId id="2147484263" r:id="rId26"/>
    <p:sldLayoutId id="2147484264" r:id="rId27"/>
    <p:sldLayoutId id="2147484265" r:id="rId28"/>
    <p:sldLayoutId id="2147484266" r:id="rId29"/>
    <p:sldLayoutId id="2147484267" r:id="rId30"/>
    <p:sldLayoutId id="2147484268" r:id="rId31"/>
    <p:sldLayoutId id="2147484269" r:id="rId32"/>
    <p:sldLayoutId id="2147484270" r:id="rId33"/>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874467"/>
      </p:ext>
    </p:extLst>
  </p:cSld>
  <p:clrMap bg1="lt1" tx1="dk1" bg2="lt2" tx2="dk2" accent1="accent1" accent2="accent2" accent3="accent3" accent4="accent4" accent5="accent5" accent6="accent6" hlink="hlink" folHlink="folHlink"/>
  <p:sldLayoutIdLst>
    <p:sldLayoutId id="2147484272" r:id="rId1"/>
    <p:sldLayoutId id="2147484273" r:id="rId2"/>
    <p:sldLayoutId id="2147484274" r:id="rId3"/>
    <p:sldLayoutId id="2147484275" r:id="rId4"/>
    <p:sldLayoutId id="2147484276" r:id="rId5"/>
    <p:sldLayoutId id="2147484277" r:id="rId6"/>
    <p:sldLayoutId id="2147484278" r:id="rId7"/>
    <p:sldLayoutId id="2147484279" r:id="rId8"/>
    <p:sldLayoutId id="2147484280" r:id="rId9"/>
    <p:sldLayoutId id="2147484281" r:id="rId10"/>
    <p:sldLayoutId id="2147484282" r:id="rId11"/>
    <p:sldLayoutId id="2147484283" r:id="rId12"/>
    <p:sldLayoutId id="2147484284" r:id="rId13"/>
    <p:sldLayoutId id="2147484285" r:id="rId1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mn-lt"/>
                <a:ea typeface="+mn-ea"/>
                <a:cs typeface="CiscoSans Thin"/>
              </a:rPr>
              <a:t>© 2019  Cisco and/or its affiliates. All rights reserved.   </a:t>
            </a:r>
          </a:p>
        </p:txBody>
      </p:sp>
    </p:spTree>
    <p:extLst>
      <p:ext uri="{BB962C8B-B14F-4D97-AF65-F5344CB8AC3E}">
        <p14:creationId xmlns:p14="http://schemas.microsoft.com/office/powerpoint/2010/main" val="2399953674"/>
      </p:ext>
    </p:extLst>
  </p:cSld>
  <p:clrMap bg1="lt1" tx1="dk1" bg2="lt2" tx2="dk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Lst>
  <p:txStyles>
    <p:titleStyle>
      <a:lvl1pPr algn="l" defTabSz="684213" rtl="0" eaLnBrk="1" fontAlgn="base" hangingPunct="1">
        <a:lnSpc>
          <a:spcPct val="80000"/>
        </a:lnSpc>
        <a:spcBef>
          <a:spcPct val="0"/>
        </a:spcBef>
        <a:spcAft>
          <a:spcPct val="0"/>
        </a:spcAft>
        <a:defRPr lang="en-US" sz="2800" b="0" i="0"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30" tIns="45718" rIns="91430" bIns="45718"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30" tIns="45718" rIns="91430" bIns="457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4"/>
            <a:ext cx="2057400" cy="273844"/>
          </a:xfrm>
          <a:prstGeom prst="rect">
            <a:avLst/>
          </a:prstGeom>
        </p:spPr>
        <p:txBody>
          <a:bodyPr vert="horz" lIns="91430" tIns="45718" rIns="91430" bIns="45718" rtlCol="0" anchor="ctr"/>
          <a:lstStyle>
            <a:lvl1pPr algn="l">
              <a:defRPr sz="900">
                <a:solidFill>
                  <a:schemeClr val="tx1">
                    <a:tint val="75000"/>
                  </a:schemeClr>
                </a:solidFill>
              </a:defRPr>
            </a:lvl1pPr>
          </a:lstStyle>
          <a:p>
            <a:fld id="{F1CA09BC-61C2-3F42-A4B1-B3F5C844761E}" type="datetimeFigureOut">
              <a:rPr lang="en-US" smtClean="0"/>
              <a:t>16-May-19</a:t>
            </a:fld>
            <a:endParaRPr lang="en-US"/>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30" tIns="45718" rIns="91430" bIns="45718"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30" tIns="45718" rIns="91430" bIns="45718" rtlCol="0" anchor="ctr"/>
          <a:lstStyle>
            <a:lvl1pPr algn="r">
              <a:defRPr sz="900">
                <a:solidFill>
                  <a:schemeClr val="tx1">
                    <a:tint val="75000"/>
                  </a:schemeClr>
                </a:solidFill>
              </a:defRPr>
            </a:lvl1pPr>
          </a:lstStyle>
          <a:p>
            <a:fld id="{CBBCB97D-EC4B-A74B-8CA1-D39BD3771BFE}" type="slidenum">
              <a:rPr lang="en-US" smtClean="0"/>
              <a:t>‹#›</a:t>
            </a:fld>
            <a:endParaRPr lang="en-US"/>
          </a:p>
        </p:txBody>
      </p:sp>
    </p:spTree>
    <p:extLst>
      <p:ext uri="{BB962C8B-B14F-4D97-AF65-F5344CB8AC3E}">
        <p14:creationId xmlns:p14="http://schemas.microsoft.com/office/powerpoint/2010/main" val="3465666960"/>
      </p:ext>
    </p:extLst>
  </p:cSld>
  <p:clrMap bg1="lt1" tx1="dk1" bg2="lt2" tx2="dk2" accent1="accent1" accent2="accent2" accent3="accent3" accent4="accent4" accent5="accent5" accent6="accent6" hlink="hlink" folHlink="folHlink"/>
  <p:sldLayoutIdLst>
    <p:sldLayoutId id="2147484318" r:id="rId1"/>
    <p:sldLayoutId id="2147484319" r:id="rId2"/>
    <p:sldLayoutId id="2147484320" r:id="rId3"/>
    <p:sldLayoutId id="2147484321" r:id="rId4"/>
    <p:sldLayoutId id="2147484322" r:id="rId5"/>
    <p:sldLayoutId id="2147484323" r:id="rId6"/>
    <p:sldLayoutId id="2147484324" r:id="rId7"/>
    <p:sldLayoutId id="2147484325" r:id="rId8"/>
    <p:sldLayoutId id="2147484326" r:id="rId9"/>
    <p:sldLayoutId id="2147484327" r:id="rId10"/>
    <p:sldLayoutId id="2147484328" r:id="rId11"/>
    <p:sldLayoutId id="2147484329" r:id="rId12"/>
    <p:sldLayoutId id="2147484330" r:id="rId13"/>
    <p:sldLayoutId id="2147484331" r:id="rId14"/>
    <p:sldLayoutId id="2147484332" r:id="rId15"/>
    <p:sldLayoutId id="2147484333" r:id="rId16"/>
    <p:sldLayoutId id="2147484334" r:id="rId17"/>
  </p:sldLayoutIdLst>
  <p:txStyles>
    <p:titleStyle>
      <a:lvl1pPr algn="l" defTabSz="685715"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0" indent="-171430" algn="l" defTabSz="685715"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289" indent="-171430" algn="l" defTabSz="685715"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144" indent="-171430" algn="l" defTabSz="685715"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000" indent="-171430" algn="l" defTabSz="685715" rtl="0" eaLnBrk="1" latinLnBrk="0" hangingPunct="1">
        <a:lnSpc>
          <a:spcPct val="90000"/>
        </a:lnSpc>
        <a:spcBef>
          <a:spcPts val="375"/>
        </a:spcBef>
        <a:buFont typeface="Arial"/>
        <a:buChar char="•"/>
        <a:defRPr sz="1425" kern="1200">
          <a:solidFill>
            <a:schemeClr val="tx1"/>
          </a:solidFill>
          <a:latin typeface="+mn-lt"/>
          <a:ea typeface="+mn-ea"/>
          <a:cs typeface="+mn-cs"/>
        </a:defRPr>
      </a:lvl4pPr>
      <a:lvl5pPr marL="1542857" indent="-171430" algn="l" defTabSz="685715" rtl="0" eaLnBrk="1" latinLnBrk="0" hangingPunct="1">
        <a:lnSpc>
          <a:spcPct val="90000"/>
        </a:lnSpc>
        <a:spcBef>
          <a:spcPts val="375"/>
        </a:spcBef>
        <a:buFont typeface="Arial"/>
        <a:buChar char="•"/>
        <a:defRPr sz="1425" kern="1200">
          <a:solidFill>
            <a:schemeClr val="tx1"/>
          </a:solidFill>
          <a:latin typeface="+mn-lt"/>
          <a:ea typeface="+mn-ea"/>
          <a:cs typeface="+mn-cs"/>
        </a:defRPr>
      </a:lvl5pPr>
      <a:lvl6pPr marL="1885715" indent="-171430" algn="l" defTabSz="685715" rtl="0" eaLnBrk="1" latinLnBrk="0" hangingPunct="1">
        <a:lnSpc>
          <a:spcPct val="90000"/>
        </a:lnSpc>
        <a:spcBef>
          <a:spcPts val="375"/>
        </a:spcBef>
        <a:buFont typeface="Arial"/>
        <a:buChar char="•"/>
        <a:defRPr sz="1425" kern="1200">
          <a:solidFill>
            <a:schemeClr val="tx1"/>
          </a:solidFill>
          <a:latin typeface="+mn-lt"/>
          <a:ea typeface="+mn-ea"/>
          <a:cs typeface="+mn-cs"/>
        </a:defRPr>
      </a:lvl6pPr>
      <a:lvl7pPr marL="2228573" indent="-171430" algn="l" defTabSz="685715" rtl="0" eaLnBrk="1" latinLnBrk="0" hangingPunct="1">
        <a:lnSpc>
          <a:spcPct val="90000"/>
        </a:lnSpc>
        <a:spcBef>
          <a:spcPts val="375"/>
        </a:spcBef>
        <a:buFont typeface="Arial"/>
        <a:buChar char="•"/>
        <a:defRPr sz="1425" kern="1200">
          <a:solidFill>
            <a:schemeClr val="tx1"/>
          </a:solidFill>
          <a:latin typeface="+mn-lt"/>
          <a:ea typeface="+mn-ea"/>
          <a:cs typeface="+mn-cs"/>
        </a:defRPr>
      </a:lvl7pPr>
      <a:lvl8pPr marL="2571430" indent="-171430" algn="l" defTabSz="685715" rtl="0" eaLnBrk="1" latinLnBrk="0" hangingPunct="1">
        <a:lnSpc>
          <a:spcPct val="90000"/>
        </a:lnSpc>
        <a:spcBef>
          <a:spcPts val="375"/>
        </a:spcBef>
        <a:buFont typeface="Arial"/>
        <a:buChar char="•"/>
        <a:defRPr sz="1425" kern="1200">
          <a:solidFill>
            <a:schemeClr val="tx1"/>
          </a:solidFill>
          <a:latin typeface="+mn-lt"/>
          <a:ea typeface="+mn-ea"/>
          <a:cs typeface="+mn-cs"/>
        </a:defRPr>
      </a:lvl8pPr>
      <a:lvl9pPr marL="2914289" indent="-171430" algn="l" defTabSz="685715" rtl="0" eaLnBrk="1" latinLnBrk="0" hangingPunct="1">
        <a:lnSpc>
          <a:spcPct val="90000"/>
        </a:lnSpc>
        <a:spcBef>
          <a:spcPts val="375"/>
        </a:spcBef>
        <a:buFont typeface="Arial"/>
        <a:buChar char="•"/>
        <a:defRPr sz="1425" kern="1200">
          <a:solidFill>
            <a:schemeClr val="tx1"/>
          </a:solidFill>
          <a:latin typeface="+mn-lt"/>
          <a:ea typeface="+mn-ea"/>
          <a:cs typeface="+mn-cs"/>
        </a:defRPr>
      </a:lvl9pPr>
    </p:bodyStyle>
    <p:otherStyle>
      <a:defPPr>
        <a:defRPr lang="en-US"/>
      </a:defPPr>
      <a:lvl1pPr marL="0" algn="l" defTabSz="685715" rtl="0" eaLnBrk="1" latinLnBrk="0" hangingPunct="1">
        <a:defRPr sz="1425" kern="1200">
          <a:solidFill>
            <a:schemeClr val="tx1"/>
          </a:solidFill>
          <a:latin typeface="+mn-lt"/>
          <a:ea typeface="+mn-ea"/>
          <a:cs typeface="+mn-cs"/>
        </a:defRPr>
      </a:lvl1pPr>
      <a:lvl2pPr marL="342857" algn="l" defTabSz="685715" rtl="0" eaLnBrk="1" latinLnBrk="0" hangingPunct="1">
        <a:defRPr sz="1425" kern="1200">
          <a:solidFill>
            <a:schemeClr val="tx1"/>
          </a:solidFill>
          <a:latin typeface="+mn-lt"/>
          <a:ea typeface="+mn-ea"/>
          <a:cs typeface="+mn-cs"/>
        </a:defRPr>
      </a:lvl2pPr>
      <a:lvl3pPr marL="685715" algn="l" defTabSz="685715" rtl="0" eaLnBrk="1" latinLnBrk="0" hangingPunct="1">
        <a:defRPr sz="1425" kern="1200">
          <a:solidFill>
            <a:schemeClr val="tx1"/>
          </a:solidFill>
          <a:latin typeface="+mn-lt"/>
          <a:ea typeface="+mn-ea"/>
          <a:cs typeface="+mn-cs"/>
        </a:defRPr>
      </a:lvl3pPr>
      <a:lvl4pPr marL="1028573" algn="l" defTabSz="685715" rtl="0" eaLnBrk="1" latinLnBrk="0" hangingPunct="1">
        <a:defRPr sz="1425" kern="1200">
          <a:solidFill>
            <a:schemeClr val="tx1"/>
          </a:solidFill>
          <a:latin typeface="+mn-lt"/>
          <a:ea typeface="+mn-ea"/>
          <a:cs typeface="+mn-cs"/>
        </a:defRPr>
      </a:lvl4pPr>
      <a:lvl5pPr marL="1371430" algn="l" defTabSz="685715" rtl="0" eaLnBrk="1" latinLnBrk="0" hangingPunct="1">
        <a:defRPr sz="1425" kern="1200">
          <a:solidFill>
            <a:schemeClr val="tx1"/>
          </a:solidFill>
          <a:latin typeface="+mn-lt"/>
          <a:ea typeface="+mn-ea"/>
          <a:cs typeface="+mn-cs"/>
        </a:defRPr>
      </a:lvl5pPr>
      <a:lvl6pPr marL="1714289" algn="l" defTabSz="685715" rtl="0" eaLnBrk="1" latinLnBrk="0" hangingPunct="1">
        <a:defRPr sz="1425" kern="1200">
          <a:solidFill>
            <a:schemeClr val="tx1"/>
          </a:solidFill>
          <a:latin typeface="+mn-lt"/>
          <a:ea typeface="+mn-ea"/>
          <a:cs typeface="+mn-cs"/>
        </a:defRPr>
      </a:lvl6pPr>
      <a:lvl7pPr marL="2057144" algn="l" defTabSz="685715" rtl="0" eaLnBrk="1" latinLnBrk="0" hangingPunct="1">
        <a:defRPr sz="1425" kern="1200">
          <a:solidFill>
            <a:schemeClr val="tx1"/>
          </a:solidFill>
          <a:latin typeface="+mn-lt"/>
          <a:ea typeface="+mn-ea"/>
          <a:cs typeface="+mn-cs"/>
        </a:defRPr>
      </a:lvl7pPr>
      <a:lvl8pPr marL="2400000" algn="l" defTabSz="685715" rtl="0" eaLnBrk="1" latinLnBrk="0" hangingPunct="1">
        <a:defRPr sz="1425" kern="1200">
          <a:solidFill>
            <a:schemeClr val="tx1"/>
          </a:solidFill>
          <a:latin typeface="+mn-lt"/>
          <a:ea typeface="+mn-ea"/>
          <a:cs typeface="+mn-cs"/>
        </a:defRPr>
      </a:lvl8pPr>
      <a:lvl9pPr marL="2742857" algn="l" defTabSz="685715" rtl="0" eaLnBrk="1" latinLnBrk="0" hangingPunct="1">
        <a:defRPr sz="1425"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Tree>
    <p:extLst>
      <p:ext uri="{BB962C8B-B14F-4D97-AF65-F5344CB8AC3E}">
        <p14:creationId xmlns:p14="http://schemas.microsoft.com/office/powerpoint/2010/main" val="1196852528"/>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 id="2147484357" r:id="rId22"/>
    <p:sldLayoutId id="2147484358" r:id="rId23"/>
    <p:sldLayoutId id="2147484359" r:id="rId24"/>
    <p:sldLayoutId id="2147484360" r:id="rId25"/>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477680" y="4741655"/>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dirty="0">
                <a:solidFill>
                  <a:schemeClr val="bg2">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683464822"/>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 id="2147484035" r:id="rId20"/>
    <p:sldLayoutId id="2147484036" r:id="rId21"/>
    <p:sldLayoutId id="2147484037" r:id="rId22"/>
    <p:sldLayoutId id="2147484038" r:id="rId23"/>
    <p:sldLayoutId id="2147484039" r:id="rId24"/>
    <p:sldLayoutId id="2147484040" r:id="rId25"/>
    <p:sldLayoutId id="2147484041" r:id="rId26"/>
  </p:sldLayoutIdLst>
  <p:txStyles>
    <p:titleStyle>
      <a:lvl1pPr algn="l" defTabSz="684196"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mn-lt"/>
                <a:ea typeface="+mn-ea"/>
                <a:cs typeface="CiscoSans Thin"/>
              </a:rPr>
              <a:t>© 2019  Cisco and/or its affiliates. All rights reserved.   </a:t>
            </a:r>
          </a:p>
        </p:txBody>
      </p:sp>
    </p:spTree>
    <p:extLst>
      <p:ext uri="{BB962C8B-B14F-4D97-AF65-F5344CB8AC3E}">
        <p14:creationId xmlns:p14="http://schemas.microsoft.com/office/powerpoint/2010/main" val="4049153214"/>
      </p:ext>
    </p:extLst>
  </p:cSld>
  <p:clrMap bg1="lt1" tx1="dk1" bg2="lt2" tx2="dk2" accent1="accent1" accent2="accent2" accent3="accent3" accent4="accent4" accent5="accent5" accent6="accent6" hlink="hlink" folHlink="folHlink"/>
  <p:sldLayoutIdLst>
    <p:sldLayoutId id="2147484043" r:id="rId1"/>
    <p:sldLayoutId id="2147484044" r:id="rId2"/>
    <p:sldLayoutId id="2147484045" r:id="rId3"/>
    <p:sldLayoutId id="2147484046" r:id="rId4"/>
    <p:sldLayoutId id="2147484047" r:id="rId5"/>
    <p:sldLayoutId id="2147484048" r:id="rId6"/>
    <p:sldLayoutId id="2147484049" r:id="rId7"/>
    <p:sldLayoutId id="2147484050" r:id="rId8"/>
    <p:sldLayoutId id="2147484051" r:id="rId9"/>
    <p:sldLayoutId id="2147484052" r:id="rId10"/>
    <p:sldLayoutId id="2147484053" r:id="rId11"/>
    <p:sldLayoutId id="2147484054" r:id="rId12"/>
    <p:sldLayoutId id="2147484055" r:id="rId13"/>
    <p:sldLayoutId id="2147484056" r:id="rId14"/>
    <p:sldLayoutId id="2147484057" r:id="rId15"/>
    <p:sldLayoutId id="2147484058" r:id="rId16"/>
    <p:sldLayoutId id="2147484059" r:id="rId17"/>
    <p:sldLayoutId id="2147484060" r:id="rId18"/>
    <p:sldLayoutId id="2147484061" r:id="rId19"/>
    <p:sldLayoutId id="2147484062" r:id="rId20"/>
    <p:sldLayoutId id="2147484063" r:id="rId21"/>
    <p:sldLayoutId id="2147484064" r:id="rId22"/>
    <p:sldLayoutId id="2147484065" r:id="rId23"/>
    <p:sldLayoutId id="2147484066" r:id="rId24"/>
    <p:sldLayoutId id="2147484067" r:id="rId25"/>
    <p:sldLayoutId id="2147484068" r:id="rId26"/>
  </p:sldLayoutIdLst>
  <p:hf sldNum="0" hdr="0" ftr="0"/>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mn-lt"/>
                <a:ea typeface="+mn-ea"/>
                <a:cs typeface="CiscoSans Thin"/>
              </a:rPr>
              <a:t>© 2019  Cisco and/or its affiliates. All rights reserved.   </a:t>
            </a:r>
          </a:p>
        </p:txBody>
      </p:sp>
    </p:spTree>
    <p:extLst>
      <p:ext uri="{BB962C8B-B14F-4D97-AF65-F5344CB8AC3E}">
        <p14:creationId xmlns:p14="http://schemas.microsoft.com/office/powerpoint/2010/main" val="3661179338"/>
      </p:ext>
    </p:extLst>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 id="2147484079" r:id="rId10"/>
    <p:sldLayoutId id="2147484080" r:id="rId11"/>
    <p:sldLayoutId id="2147484081" r:id="rId12"/>
    <p:sldLayoutId id="2147484082" r:id="rId13"/>
    <p:sldLayoutId id="2147484083" r:id="rId14"/>
    <p:sldLayoutId id="2147484084" r:id="rId15"/>
    <p:sldLayoutId id="2147484085" r:id="rId16"/>
    <p:sldLayoutId id="2147484086" r:id="rId17"/>
    <p:sldLayoutId id="2147484087" r:id="rId18"/>
    <p:sldLayoutId id="2147484088" r:id="rId19"/>
    <p:sldLayoutId id="2147484089" r:id="rId20"/>
    <p:sldLayoutId id="2147484090" r:id="rId21"/>
    <p:sldLayoutId id="2147484091" r:id="rId22"/>
    <p:sldLayoutId id="2147484092" r:id="rId23"/>
    <p:sldLayoutId id="2147484093" r:id="rId24"/>
    <p:sldLayoutId id="2147484094" r:id="rId25"/>
    <p:sldLayoutId id="2147484095" r:id="rId26"/>
    <p:sldLayoutId id="2147484096" r:id="rId27"/>
    <p:sldLayoutId id="2147484097" r:id="rId28"/>
    <p:sldLayoutId id="2147484098" r:id="rId29"/>
    <p:sldLayoutId id="2147484099" r:id="rId30"/>
  </p:sldLayoutIdLst>
  <p:txStyles>
    <p:titleStyle>
      <a:lvl1pPr algn="l" defTabSz="684213" rtl="0" eaLnBrk="1" fontAlgn="base" hangingPunct="1">
        <a:lnSpc>
          <a:spcPct val="80000"/>
        </a:lnSpc>
        <a:spcBef>
          <a:spcPct val="0"/>
        </a:spcBef>
        <a:spcAft>
          <a:spcPct val="0"/>
        </a:spcAft>
        <a:defRPr lang="en-US" sz="2800" b="0" i="0"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userDrawn="1"/>
        </p:nvSpPr>
        <p:spPr bwMode="ltGray">
          <a:xfrm>
            <a:off x="477680" y="4741654"/>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dirty="0">
                <a:solidFill>
                  <a:schemeClr val="bg2">
                    <a:lumMod val="6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1989686113"/>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 id="2147484111" r:id="rId11"/>
    <p:sldLayoutId id="2147484112" r:id="rId12"/>
    <p:sldLayoutId id="2147484113" r:id="rId13"/>
    <p:sldLayoutId id="2147484114" r:id="rId14"/>
    <p:sldLayoutId id="2147484115" r:id="rId15"/>
    <p:sldLayoutId id="2147484116" r:id="rId16"/>
    <p:sldLayoutId id="2147484117" r:id="rId17"/>
    <p:sldLayoutId id="2147484118" r:id="rId18"/>
    <p:sldLayoutId id="2147484119" r:id="rId19"/>
    <p:sldLayoutId id="2147484120" r:id="rId20"/>
    <p:sldLayoutId id="2147484121" r:id="rId21"/>
    <p:sldLayoutId id="2147484122" r:id="rId22"/>
    <p:sldLayoutId id="2147484123" r:id="rId23"/>
    <p:sldLayoutId id="2147484124" r:id="rId24"/>
    <p:sldLayoutId id="2147484125" r:id="rId25"/>
    <p:sldLayoutId id="2147484126" r:id="rId26"/>
    <p:sldLayoutId id="2147484127" r:id="rId27"/>
  </p:sldLayoutIdLst>
  <p:txStyles>
    <p:titleStyle>
      <a:lvl1pPr algn="l" defTabSz="684196" rtl="0" eaLnBrk="1" fontAlgn="base" hangingPunct="1">
        <a:lnSpc>
          <a:spcPct val="80000"/>
        </a:lnSpc>
        <a:spcBef>
          <a:spcPct val="0"/>
        </a:spcBef>
        <a:spcAft>
          <a:spcPct val="0"/>
        </a:spcAft>
        <a:defRPr lang="en-US" sz="2800" b="0" i="0"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mn-lt"/>
                <a:ea typeface="+mn-ea"/>
                <a:cs typeface="CiscoSans Thin"/>
              </a:rPr>
              <a:t>© 2019  Cisco and/or its affiliates. All rights reserved.   </a:t>
            </a:r>
          </a:p>
        </p:txBody>
      </p:sp>
    </p:spTree>
    <p:extLst>
      <p:ext uri="{BB962C8B-B14F-4D97-AF65-F5344CB8AC3E}">
        <p14:creationId xmlns:p14="http://schemas.microsoft.com/office/powerpoint/2010/main" val="4284045622"/>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 id="2147484144" r:id="rId16"/>
    <p:sldLayoutId id="2147484145" r:id="rId17"/>
    <p:sldLayoutId id="2147484146" r:id="rId18"/>
    <p:sldLayoutId id="2147484147" r:id="rId19"/>
    <p:sldLayoutId id="2147484148" r:id="rId20"/>
    <p:sldLayoutId id="2147484149" r:id="rId21"/>
    <p:sldLayoutId id="2147484150" r:id="rId22"/>
    <p:sldLayoutId id="2147484151" r:id="rId23"/>
    <p:sldLayoutId id="2147484152" r:id="rId24"/>
    <p:sldLayoutId id="2147484153" r:id="rId25"/>
    <p:sldLayoutId id="2147484154" r:id="rId26"/>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6A1E46DC-7EF6-4EA2-B285-14272867D133}" type="slidenum">
              <a:rPr lang="en-US" sz="600">
                <a:solidFill>
                  <a:srgbClr val="000000">
                    <a:alpha val="25000"/>
                  </a:srgbClr>
                </a:solidFill>
                <a:latin typeface="Arial"/>
                <a:ea typeface=""/>
                <a:cs typeface="CiscoSans Thin"/>
              </a:rPr>
              <a:pPr algn="r" defTabSz="610744" fontAlgn="auto">
                <a:spcBef>
                  <a:spcPts val="0"/>
                </a:spcBef>
                <a:spcAft>
                  <a:spcPts val="0"/>
                </a:spcAft>
                <a:defRPr/>
              </a:pPr>
              <a:t>‹#›</a:t>
            </a:fld>
            <a:endParaRPr lang="en-US" sz="600" dirty="0">
              <a:solidFill>
                <a:srgbClr val="000000">
                  <a:alpha val="25000"/>
                </a:srgbClr>
              </a:solidFill>
              <a:latin typeface="Arial"/>
              <a:ea typeface=""/>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Arial"/>
                <a:ea typeface=""/>
                <a:cs typeface="CiscoSans Thin"/>
              </a:rPr>
              <a:t>© 2016 Cisco and/or its affiliates. All rights reserved. Cisco Confidential</a:t>
            </a:r>
          </a:p>
        </p:txBody>
      </p:sp>
      <p:pic>
        <p:nvPicPr>
          <p:cNvPr id="1029" name="Picture 2"/>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770588859"/>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Lst>
  <p:transition spd="slow">
    <p:wipe/>
  </p:transition>
  <p:txStyles>
    <p:titleStyle>
      <a:lvl1pPr algn="l" defTabSz="684213" rtl="0" eaLnBrk="1" fontAlgn="base" hangingPunct="1">
        <a:lnSpc>
          <a:spcPct val="80000"/>
        </a:lnSpc>
        <a:spcBef>
          <a:spcPct val="0"/>
        </a:spcBef>
        <a:spcAft>
          <a:spcPct val="0"/>
        </a:spcAft>
        <a:defRPr lang="en-US" sz="3200" kern="1200" dirty="0">
          <a:solidFill>
            <a:schemeClr val="tx1"/>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684">
          <p15:clr>
            <a:srgbClr val="F26B43"/>
          </p15:clr>
        </p15:guide>
        <p15:guide id="2" orient="horz" pos="2916">
          <p15:clr>
            <a:srgbClr val="F26B43"/>
          </p15:clr>
        </p15:guide>
        <p15:guide id="3" pos="336">
          <p15:clr>
            <a:srgbClr val="F26B43"/>
          </p15:clr>
        </p15:guide>
        <p15:guide id="4" pos="5424">
          <p15:clr>
            <a:srgbClr val="F26B43"/>
          </p15:clr>
        </p15:guide>
        <p15:guide id="5" orient="horz" pos="73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a:ea typeface="ＭＳ Ｐゴシック" charset="0"/>
              </a:rPr>
              <a:t>TECDCT-2609</a:t>
            </a:r>
            <a:endParaRPr lang="en-US" dirty="0">
              <a:ea typeface="ＭＳ Ｐゴシック" charset="0"/>
            </a:endParaRPr>
          </a:p>
        </p:txBody>
      </p:sp>
      <p:sp>
        <p:nvSpPr>
          <p:cNvPr id="1026" name="Rectangle 2"/>
          <p:cNvSpPr>
            <a:spLocks noGrp="1" noChangeArrowheads="1"/>
          </p:cNvSpPr>
          <p:nvPr userDrawn="1">
            <p:ph type="title"/>
          </p:nvPr>
        </p:nvSpPr>
        <p:spPr bwMode="auto">
          <a:xfrm>
            <a:off x="356616" y="217715"/>
            <a:ext cx="8513064" cy="7654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dirty="0">
                <a:sym typeface="Arial" pitchFamily="34" charset="0"/>
              </a:rPr>
              <a:t>Slide Title</a:t>
            </a:r>
          </a:p>
        </p:txBody>
      </p:sp>
      <p:sp>
        <p:nvSpPr>
          <p:cNvPr id="1027" name="Rectangle 3"/>
          <p:cNvSpPr>
            <a:spLocks noGrp="1" noChangeArrowheads="1"/>
          </p:cNvSpPr>
          <p:nvPr userDrawn="1">
            <p:ph type="body" idx="1"/>
          </p:nvPr>
        </p:nvSpPr>
        <p:spPr bwMode="auto">
          <a:xfrm>
            <a:off x="356616" y="1079426"/>
            <a:ext cx="8513064" cy="330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sym typeface="Arial" pitchFamily="34" charset="0"/>
              </a:rPr>
              <a:t>Click to edit Master text styles</a:t>
            </a:r>
          </a:p>
          <a:p>
            <a:pPr lvl="1"/>
            <a:r>
              <a:rPr lang="en-US" dirty="0">
                <a:sym typeface="Arial" pitchFamily="34" charset="0"/>
              </a:rPr>
              <a:t>Second level</a:t>
            </a:r>
          </a:p>
          <a:p>
            <a:pPr lvl="2"/>
            <a:r>
              <a:rPr lang="en-US" dirty="0">
                <a:sym typeface="Arial" pitchFamily="34" charset="0"/>
              </a:rPr>
              <a:t>Third level</a:t>
            </a:r>
          </a:p>
          <a:p>
            <a:pPr lvl="3"/>
            <a:r>
              <a:rPr lang="en-US" dirty="0">
                <a:sym typeface="Arial" pitchFamily="34" charset="0"/>
              </a:rPr>
              <a:t>Fourth level</a:t>
            </a:r>
          </a:p>
        </p:txBody>
      </p:sp>
      <p:sp>
        <p:nvSpPr>
          <p:cNvPr id="2"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pPr defTabSz="457200" fontAlgn="base">
              <a:spcBef>
                <a:spcPct val="0"/>
              </a:spcBef>
              <a:spcAft>
                <a:spcPct val="0"/>
              </a:spcAft>
            </a:pPr>
            <a:fld id="{96A97DD0-5BE7-4856-A2A9-C42C6688E607}" type="slidenum">
              <a:rPr/>
              <a:pPr defTabSz="457200" fontAlgn="base">
                <a:spcBef>
                  <a:spcPct val="0"/>
                </a:spcBef>
                <a:spcAft>
                  <a:spcPct val="0"/>
                </a:spcAft>
              </a:pPr>
              <a:t>‹#›</a:t>
            </a:fld>
            <a:endParaRPr dirty="0"/>
          </a:p>
        </p:txBody>
      </p:sp>
      <p:sp>
        <p:nvSpPr>
          <p:cNvPr id="9" name="Rectangle 4"/>
          <p:cNvSpPr>
            <a:spLocks noChangeArrowheads="1"/>
          </p:cNvSpPr>
          <p:nvPr userDrawn="1"/>
        </p:nvSpPr>
        <p:spPr bwMode="ltGray">
          <a:xfrm>
            <a:off x="5985510" y="4946904"/>
            <a:ext cx="2472136" cy="154518"/>
          </a:xfrm>
          <a:prstGeom prst="rect">
            <a:avLst/>
          </a:prstGeom>
          <a:noFill/>
          <a:ln w="9525">
            <a:noFill/>
            <a:miter lim="800000"/>
            <a:headEnd/>
            <a:tailEnd/>
          </a:ln>
          <a:effectLst/>
        </p:spPr>
        <p:txBody>
          <a:bodyPr wrap="square" lIns="61586" tIns="30792" rIns="61586" bIns="30792" anchor="b">
            <a:spAutoFit/>
          </a:bodyPr>
          <a:lstStyle/>
          <a:p>
            <a:pPr algn="r" defTabSz="610744"/>
            <a:r>
              <a:rPr lang="en-US" sz="600" dirty="0">
                <a:solidFill>
                  <a:srgbClr val="000000"/>
                </a:solidFill>
                <a:ea typeface="ＭＳ Ｐゴシック" charset="0"/>
                <a:cs typeface="CiscoSans Thin"/>
              </a:rPr>
              <a:t>© 2018  Cisco and/or its affiliates. All rights reserved.   Cisco Public</a:t>
            </a:r>
          </a:p>
        </p:txBody>
      </p:sp>
      <p:grpSp>
        <p:nvGrpSpPr>
          <p:cNvPr id="5" name="Group 4"/>
          <p:cNvGrpSpPr/>
          <p:nvPr userDrawn="1"/>
        </p:nvGrpSpPr>
        <p:grpSpPr>
          <a:xfrm>
            <a:off x="454861" y="4785454"/>
            <a:ext cx="820227" cy="274319"/>
            <a:chOff x="1741456" y="4513412"/>
            <a:chExt cx="1027381" cy="343600"/>
          </a:xfrm>
        </p:grpSpPr>
        <p:sp>
          <p:nvSpPr>
            <p:cNvPr id="10" name="Freeform: Shape 1"/>
            <p:cNvSpPr/>
            <p:nvPr/>
          </p:nvSpPr>
          <p:spPr>
            <a:xfrm>
              <a:off x="2624973" y="4513412"/>
              <a:ext cx="143864" cy="343030"/>
            </a:xfrm>
            <a:custGeom>
              <a:avLst/>
              <a:gdLst/>
              <a:ahLst/>
              <a:cxnLst>
                <a:cxn ang="3cd4">
                  <a:pos x="hc" y="t"/>
                </a:cxn>
                <a:cxn ang="cd2">
                  <a:pos x="l" y="vc"/>
                </a:cxn>
                <a:cxn ang="cd4">
                  <a:pos x="hc" y="b"/>
                </a:cxn>
                <a:cxn ang="0">
                  <a:pos x="r" y="vc"/>
                </a:cxn>
              </a:cxnLst>
              <a:rect l="l" t="t" r="r" b="b"/>
              <a:pathLst>
                <a:path w="758" h="1806">
                  <a:moveTo>
                    <a:pt x="242" y="829"/>
                  </a:moveTo>
                  <a:cubicBezTo>
                    <a:pt x="215" y="896"/>
                    <a:pt x="204" y="941"/>
                    <a:pt x="204" y="964"/>
                  </a:cubicBezTo>
                  <a:cubicBezTo>
                    <a:pt x="183" y="999"/>
                    <a:pt x="175" y="1070"/>
                    <a:pt x="175" y="1097"/>
                  </a:cubicBezTo>
                  <a:lnTo>
                    <a:pt x="175" y="1129"/>
                  </a:lnTo>
                  <a:lnTo>
                    <a:pt x="223" y="1208"/>
                  </a:lnTo>
                  <a:cubicBezTo>
                    <a:pt x="250" y="1245"/>
                    <a:pt x="218" y="1258"/>
                    <a:pt x="292" y="1282"/>
                  </a:cubicBezTo>
                  <a:cubicBezTo>
                    <a:pt x="318" y="1282"/>
                    <a:pt x="340" y="1261"/>
                    <a:pt x="353" y="1221"/>
                  </a:cubicBezTo>
                  <a:lnTo>
                    <a:pt x="353" y="1208"/>
                  </a:lnTo>
                  <a:cubicBezTo>
                    <a:pt x="353" y="1113"/>
                    <a:pt x="387" y="978"/>
                    <a:pt x="419" y="888"/>
                  </a:cubicBezTo>
                  <a:cubicBezTo>
                    <a:pt x="419" y="845"/>
                    <a:pt x="456" y="718"/>
                    <a:pt x="588" y="406"/>
                  </a:cubicBezTo>
                  <a:cubicBezTo>
                    <a:pt x="588" y="371"/>
                    <a:pt x="618" y="308"/>
                    <a:pt x="678" y="210"/>
                  </a:cubicBezTo>
                  <a:cubicBezTo>
                    <a:pt x="729" y="125"/>
                    <a:pt x="742" y="138"/>
                    <a:pt x="758" y="128"/>
                  </a:cubicBezTo>
                  <a:lnTo>
                    <a:pt x="758" y="80"/>
                  </a:lnTo>
                  <a:lnTo>
                    <a:pt x="739" y="61"/>
                  </a:lnTo>
                  <a:cubicBezTo>
                    <a:pt x="739" y="61"/>
                    <a:pt x="721" y="43"/>
                    <a:pt x="671" y="22"/>
                  </a:cubicBezTo>
                  <a:cubicBezTo>
                    <a:pt x="671" y="22"/>
                    <a:pt x="620" y="0"/>
                    <a:pt x="604" y="0"/>
                  </a:cubicBezTo>
                  <a:cubicBezTo>
                    <a:pt x="588" y="0"/>
                    <a:pt x="557" y="32"/>
                    <a:pt x="530" y="93"/>
                  </a:cubicBezTo>
                  <a:close/>
                  <a:moveTo>
                    <a:pt x="14" y="1738"/>
                  </a:moveTo>
                  <a:cubicBezTo>
                    <a:pt x="14" y="1772"/>
                    <a:pt x="-18" y="1783"/>
                    <a:pt x="16" y="1806"/>
                  </a:cubicBezTo>
                  <a:lnTo>
                    <a:pt x="77" y="1806"/>
                  </a:lnTo>
                  <a:cubicBezTo>
                    <a:pt x="144" y="1775"/>
                    <a:pt x="167" y="1716"/>
                    <a:pt x="252" y="1528"/>
                  </a:cubicBezTo>
                  <a:lnTo>
                    <a:pt x="252" y="1486"/>
                  </a:lnTo>
                  <a:cubicBezTo>
                    <a:pt x="252" y="1460"/>
                    <a:pt x="273" y="1446"/>
                    <a:pt x="218" y="1412"/>
                  </a:cubicBezTo>
                  <a:lnTo>
                    <a:pt x="202" y="1412"/>
                  </a:lnTo>
                  <a:cubicBezTo>
                    <a:pt x="93" y="1409"/>
                    <a:pt x="67" y="1465"/>
                    <a:pt x="14" y="1682"/>
                  </a:cubicBezTo>
                  <a:close/>
                </a:path>
              </a:pathLst>
            </a:custGeom>
            <a:solidFill>
              <a:srgbClr val="000000"/>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1" name="Freeform: Shape 2"/>
            <p:cNvSpPr/>
            <p:nvPr/>
          </p:nvSpPr>
          <p:spPr>
            <a:xfrm>
              <a:off x="2244124" y="4551801"/>
              <a:ext cx="81339" cy="304261"/>
            </a:xfrm>
            <a:custGeom>
              <a:avLst/>
              <a:gdLst/>
              <a:ahLst/>
              <a:cxnLst>
                <a:cxn ang="3cd4">
                  <a:pos x="hc" y="t"/>
                </a:cxn>
                <a:cxn ang="cd2">
                  <a:pos x="l" y="vc"/>
                </a:cxn>
                <a:cxn ang="cd4">
                  <a:pos x="hc" y="b"/>
                </a:cxn>
                <a:cxn ang="0">
                  <a:pos x="r" y="vc"/>
                </a:cxn>
              </a:cxnLst>
              <a:rect l="l" t="t" r="r" b="b"/>
              <a:pathLst>
                <a:path w="429" h="1602">
                  <a:moveTo>
                    <a:pt x="244" y="1533"/>
                  </a:moveTo>
                  <a:cubicBezTo>
                    <a:pt x="209" y="1533"/>
                    <a:pt x="199" y="1483"/>
                    <a:pt x="183" y="1329"/>
                  </a:cubicBezTo>
                  <a:cubicBezTo>
                    <a:pt x="201" y="1064"/>
                    <a:pt x="223" y="884"/>
                    <a:pt x="241" y="789"/>
                  </a:cubicBezTo>
                  <a:cubicBezTo>
                    <a:pt x="323" y="384"/>
                    <a:pt x="307" y="458"/>
                    <a:pt x="366" y="320"/>
                  </a:cubicBezTo>
                  <a:cubicBezTo>
                    <a:pt x="424" y="180"/>
                    <a:pt x="429" y="161"/>
                    <a:pt x="429" y="119"/>
                  </a:cubicBezTo>
                  <a:cubicBezTo>
                    <a:pt x="429" y="71"/>
                    <a:pt x="376" y="32"/>
                    <a:pt x="268" y="0"/>
                  </a:cubicBezTo>
                  <a:lnTo>
                    <a:pt x="260" y="0"/>
                  </a:lnTo>
                  <a:lnTo>
                    <a:pt x="257" y="2"/>
                  </a:lnTo>
                  <a:cubicBezTo>
                    <a:pt x="257" y="2"/>
                    <a:pt x="254" y="5"/>
                    <a:pt x="241" y="63"/>
                  </a:cubicBezTo>
                  <a:lnTo>
                    <a:pt x="209" y="201"/>
                  </a:lnTo>
                  <a:cubicBezTo>
                    <a:pt x="130" y="535"/>
                    <a:pt x="127" y="564"/>
                    <a:pt x="109" y="614"/>
                  </a:cubicBezTo>
                  <a:cubicBezTo>
                    <a:pt x="-8" y="1138"/>
                    <a:pt x="0" y="1213"/>
                    <a:pt x="0" y="1340"/>
                  </a:cubicBezTo>
                  <a:cubicBezTo>
                    <a:pt x="5" y="1385"/>
                    <a:pt x="27" y="1432"/>
                    <a:pt x="66" y="1483"/>
                  </a:cubicBezTo>
                  <a:cubicBezTo>
                    <a:pt x="146" y="1562"/>
                    <a:pt x="212" y="1602"/>
                    <a:pt x="257" y="1602"/>
                  </a:cubicBezTo>
                  <a:close/>
                </a:path>
              </a:pathLst>
            </a:custGeom>
            <a:solidFill>
              <a:srgbClr val="000000"/>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Shape 3"/>
            <p:cNvSpPr/>
            <p:nvPr/>
          </p:nvSpPr>
          <p:spPr>
            <a:xfrm>
              <a:off x="2307789" y="4611664"/>
              <a:ext cx="82479" cy="244587"/>
            </a:xfrm>
            <a:custGeom>
              <a:avLst/>
              <a:gdLst/>
              <a:ahLst/>
              <a:cxnLst>
                <a:cxn ang="3cd4">
                  <a:pos x="hc" y="t"/>
                </a:cxn>
                <a:cxn ang="cd2">
                  <a:pos x="l" y="vc"/>
                </a:cxn>
                <a:cxn ang="cd4">
                  <a:pos x="hc" y="b"/>
                </a:cxn>
                <a:cxn ang="0">
                  <a:pos x="r" y="vc"/>
                </a:cxn>
              </a:cxnLst>
              <a:rect l="l" t="t" r="r" b="b"/>
              <a:pathLst>
                <a:path w="435" h="1288">
                  <a:moveTo>
                    <a:pt x="270" y="204"/>
                  </a:moveTo>
                  <a:lnTo>
                    <a:pt x="294" y="212"/>
                  </a:lnTo>
                  <a:cubicBezTo>
                    <a:pt x="331" y="206"/>
                    <a:pt x="379" y="164"/>
                    <a:pt x="435" y="82"/>
                  </a:cubicBezTo>
                  <a:lnTo>
                    <a:pt x="432" y="71"/>
                  </a:lnTo>
                  <a:cubicBezTo>
                    <a:pt x="429" y="45"/>
                    <a:pt x="395" y="21"/>
                    <a:pt x="329" y="0"/>
                  </a:cubicBezTo>
                  <a:lnTo>
                    <a:pt x="321" y="0"/>
                  </a:lnTo>
                  <a:cubicBezTo>
                    <a:pt x="302" y="3"/>
                    <a:pt x="284" y="69"/>
                    <a:pt x="270" y="204"/>
                  </a:cubicBezTo>
                  <a:close/>
                  <a:moveTo>
                    <a:pt x="210" y="1218"/>
                  </a:moveTo>
                  <a:lnTo>
                    <a:pt x="199" y="1189"/>
                  </a:lnTo>
                  <a:cubicBezTo>
                    <a:pt x="194" y="1048"/>
                    <a:pt x="194" y="956"/>
                    <a:pt x="204" y="913"/>
                  </a:cubicBezTo>
                  <a:lnTo>
                    <a:pt x="194" y="884"/>
                  </a:lnTo>
                  <a:cubicBezTo>
                    <a:pt x="191" y="829"/>
                    <a:pt x="196" y="800"/>
                    <a:pt x="207" y="800"/>
                  </a:cubicBezTo>
                  <a:cubicBezTo>
                    <a:pt x="220" y="712"/>
                    <a:pt x="236" y="662"/>
                    <a:pt x="249" y="651"/>
                  </a:cubicBezTo>
                  <a:cubicBezTo>
                    <a:pt x="255" y="590"/>
                    <a:pt x="286" y="511"/>
                    <a:pt x="347" y="413"/>
                  </a:cubicBezTo>
                  <a:cubicBezTo>
                    <a:pt x="345" y="381"/>
                    <a:pt x="281" y="341"/>
                    <a:pt x="165" y="291"/>
                  </a:cubicBezTo>
                  <a:cubicBezTo>
                    <a:pt x="133" y="294"/>
                    <a:pt x="106" y="360"/>
                    <a:pt x="82" y="484"/>
                  </a:cubicBezTo>
                  <a:cubicBezTo>
                    <a:pt x="16" y="768"/>
                    <a:pt x="-10" y="969"/>
                    <a:pt x="3" y="1086"/>
                  </a:cubicBezTo>
                  <a:cubicBezTo>
                    <a:pt x="14" y="1168"/>
                    <a:pt x="24" y="1207"/>
                    <a:pt x="40" y="1207"/>
                  </a:cubicBezTo>
                  <a:cubicBezTo>
                    <a:pt x="96" y="1268"/>
                    <a:pt x="157" y="1295"/>
                    <a:pt x="225" y="1287"/>
                  </a:cubicBezTo>
                  <a:close/>
                </a:path>
              </a:pathLst>
            </a:custGeom>
            <a:solidFill>
              <a:srgbClr val="000000"/>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Shape 4"/>
            <p:cNvSpPr/>
            <p:nvPr/>
          </p:nvSpPr>
          <p:spPr>
            <a:xfrm>
              <a:off x="2387038" y="4639791"/>
              <a:ext cx="173891" cy="216270"/>
            </a:xfrm>
            <a:custGeom>
              <a:avLst/>
              <a:gdLst/>
              <a:ahLst/>
              <a:cxnLst>
                <a:cxn ang="3cd4">
                  <a:pos x="hc" y="t"/>
                </a:cxn>
                <a:cxn ang="cd2">
                  <a:pos x="l" y="vc"/>
                </a:cxn>
                <a:cxn ang="cd4">
                  <a:pos x="hc" y="b"/>
                </a:cxn>
                <a:cxn ang="0">
                  <a:pos x="r" y="vc"/>
                </a:cxn>
              </a:cxnLst>
              <a:rect l="l" t="t" r="r" b="b"/>
              <a:pathLst>
                <a:path w="916" h="1139">
                  <a:moveTo>
                    <a:pt x="871" y="172"/>
                  </a:moveTo>
                  <a:cubicBezTo>
                    <a:pt x="900" y="141"/>
                    <a:pt x="916" y="114"/>
                    <a:pt x="916" y="95"/>
                  </a:cubicBezTo>
                  <a:cubicBezTo>
                    <a:pt x="916" y="37"/>
                    <a:pt x="892" y="5"/>
                    <a:pt x="795" y="0"/>
                  </a:cubicBezTo>
                  <a:cubicBezTo>
                    <a:pt x="773" y="0"/>
                    <a:pt x="736" y="35"/>
                    <a:pt x="683" y="106"/>
                  </a:cubicBezTo>
                  <a:cubicBezTo>
                    <a:pt x="644" y="252"/>
                    <a:pt x="599" y="350"/>
                    <a:pt x="543" y="403"/>
                  </a:cubicBezTo>
                  <a:cubicBezTo>
                    <a:pt x="456" y="596"/>
                    <a:pt x="389" y="723"/>
                    <a:pt x="344" y="781"/>
                  </a:cubicBezTo>
                  <a:cubicBezTo>
                    <a:pt x="331" y="832"/>
                    <a:pt x="318" y="858"/>
                    <a:pt x="307" y="858"/>
                  </a:cubicBezTo>
                  <a:lnTo>
                    <a:pt x="305" y="858"/>
                  </a:lnTo>
                  <a:cubicBezTo>
                    <a:pt x="305" y="858"/>
                    <a:pt x="302" y="858"/>
                    <a:pt x="299" y="773"/>
                  </a:cubicBezTo>
                  <a:lnTo>
                    <a:pt x="294" y="569"/>
                  </a:lnTo>
                  <a:lnTo>
                    <a:pt x="302" y="498"/>
                  </a:lnTo>
                  <a:lnTo>
                    <a:pt x="286" y="416"/>
                  </a:lnTo>
                  <a:lnTo>
                    <a:pt x="294" y="397"/>
                  </a:lnTo>
                  <a:lnTo>
                    <a:pt x="278" y="363"/>
                  </a:lnTo>
                  <a:lnTo>
                    <a:pt x="286" y="339"/>
                  </a:lnTo>
                  <a:lnTo>
                    <a:pt x="286" y="334"/>
                  </a:lnTo>
                  <a:cubicBezTo>
                    <a:pt x="286" y="286"/>
                    <a:pt x="207" y="249"/>
                    <a:pt x="45" y="220"/>
                  </a:cubicBezTo>
                  <a:cubicBezTo>
                    <a:pt x="24" y="225"/>
                    <a:pt x="11" y="236"/>
                    <a:pt x="0" y="249"/>
                  </a:cubicBezTo>
                  <a:lnTo>
                    <a:pt x="0" y="260"/>
                  </a:lnTo>
                  <a:cubicBezTo>
                    <a:pt x="29" y="260"/>
                    <a:pt x="53" y="474"/>
                    <a:pt x="74" y="906"/>
                  </a:cubicBezTo>
                  <a:cubicBezTo>
                    <a:pt x="74" y="993"/>
                    <a:pt x="93" y="1049"/>
                    <a:pt x="133" y="1073"/>
                  </a:cubicBezTo>
                  <a:cubicBezTo>
                    <a:pt x="170" y="1115"/>
                    <a:pt x="215" y="1139"/>
                    <a:pt x="273" y="1139"/>
                  </a:cubicBezTo>
                  <a:lnTo>
                    <a:pt x="302" y="1139"/>
                  </a:lnTo>
                  <a:lnTo>
                    <a:pt x="305" y="1136"/>
                  </a:lnTo>
                  <a:cubicBezTo>
                    <a:pt x="305" y="1136"/>
                    <a:pt x="307" y="1134"/>
                    <a:pt x="342" y="1054"/>
                  </a:cubicBezTo>
                  <a:lnTo>
                    <a:pt x="432" y="848"/>
                  </a:lnTo>
                  <a:cubicBezTo>
                    <a:pt x="516" y="667"/>
                    <a:pt x="569" y="564"/>
                    <a:pt x="593" y="540"/>
                  </a:cubicBezTo>
                  <a:cubicBezTo>
                    <a:pt x="620" y="474"/>
                    <a:pt x="641" y="440"/>
                    <a:pt x="652" y="434"/>
                  </a:cubicBezTo>
                  <a:lnTo>
                    <a:pt x="654" y="434"/>
                  </a:lnTo>
                  <a:cubicBezTo>
                    <a:pt x="654" y="434"/>
                    <a:pt x="657" y="434"/>
                    <a:pt x="712" y="368"/>
                  </a:cubicBezTo>
                  <a:close/>
                </a:path>
              </a:pathLst>
            </a:custGeom>
            <a:solidFill>
              <a:srgbClr val="000000"/>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4" name="Freeform: Shape 5"/>
            <p:cNvSpPr/>
            <p:nvPr/>
          </p:nvSpPr>
          <p:spPr>
            <a:xfrm>
              <a:off x="2518358" y="4655945"/>
              <a:ext cx="124099" cy="201067"/>
            </a:xfrm>
            <a:custGeom>
              <a:avLst/>
              <a:gdLst/>
              <a:ahLst/>
              <a:cxnLst>
                <a:cxn ang="3cd4">
                  <a:pos x="hc" y="t"/>
                </a:cxn>
                <a:cxn ang="cd2">
                  <a:pos x="l" y="vc"/>
                </a:cxn>
                <a:cxn ang="cd4">
                  <a:pos x="hc" y="b"/>
                </a:cxn>
                <a:cxn ang="0">
                  <a:pos x="r" y="vc"/>
                </a:cxn>
              </a:cxnLst>
              <a:rect l="l" t="t" r="r" b="b"/>
              <a:pathLst>
                <a:path w="654" h="1059">
                  <a:moveTo>
                    <a:pt x="337" y="53"/>
                  </a:moveTo>
                  <a:cubicBezTo>
                    <a:pt x="276" y="108"/>
                    <a:pt x="233" y="167"/>
                    <a:pt x="204" y="230"/>
                  </a:cubicBezTo>
                  <a:lnTo>
                    <a:pt x="201" y="233"/>
                  </a:lnTo>
                  <a:cubicBezTo>
                    <a:pt x="201" y="233"/>
                    <a:pt x="199" y="236"/>
                    <a:pt x="183" y="262"/>
                  </a:cubicBezTo>
                  <a:lnTo>
                    <a:pt x="125" y="368"/>
                  </a:lnTo>
                  <a:cubicBezTo>
                    <a:pt x="43" y="564"/>
                    <a:pt x="0" y="710"/>
                    <a:pt x="0" y="808"/>
                  </a:cubicBezTo>
                  <a:lnTo>
                    <a:pt x="0" y="826"/>
                  </a:lnTo>
                  <a:cubicBezTo>
                    <a:pt x="0" y="861"/>
                    <a:pt x="21" y="900"/>
                    <a:pt x="66" y="945"/>
                  </a:cubicBezTo>
                  <a:cubicBezTo>
                    <a:pt x="109" y="1019"/>
                    <a:pt x="159" y="1059"/>
                    <a:pt x="220" y="1059"/>
                  </a:cubicBezTo>
                  <a:cubicBezTo>
                    <a:pt x="268" y="1049"/>
                    <a:pt x="294" y="1038"/>
                    <a:pt x="294" y="1030"/>
                  </a:cubicBezTo>
                  <a:cubicBezTo>
                    <a:pt x="339" y="998"/>
                    <a:pt x="360" y="977"/>
                    <a:pt x="360" y="964"/>
                  </a:cubicBezTo>
                  <a:cubicBezTo>
                    <a:pt x="432" y="874"/>
                    <a:pt x="477" y="800"/>
                    <a:pt x="501" y="739"/>
                  </a:cubicBezTo>
                  <a:lnTo>
                    <a:pt x="501" y="733"/>
                  </a:lnTo>
                  <a:lnTo>
                    <a:pt x="485" y="720"/>
                  </a:lnTo>
                  <a:lnTo>
                    <a:pt x="469" y="733"/>
                  </a:lnTo>
                  <a:cubicBezTo>
                    <a:pt x="392" y="845"/>
                    <a:pt x="310" y="924"/>
                    <a:pt x="220" y="972"/>
                  </a:cubicBezTo>
                  <a:cubicBezTo>
                    <a:pt x="204" y="972"/>
                    <a:pt x="191" y="961"/>
                    <a:pt x="183" y="943"/>
                  </a:cubicBezTo>
                  <a:cubicBezTo>
                    <a:pt x="183" y="813"/>
                    <a:pt x="233" y="641"/>
                    <a:pt x="331" y="421"/>
                  </a:cubicBezTo>
                  <a:lnTo>
                    <a:pt x="382" y="424"/>
                  </a:lnTo>
                  <a:cubicBezTo>
                    <a:pt x="382" y="424"/>
                    <a:pt x="411" y="426"/>
                    <a:pt x="440" y="416"/>
                  </a:cubicBezTo>
                  <a:lnTo>
                    <a:pt x="530" y="379"/>
                  </a:lnTo>
                  <a:cubicBezTo>
                    <a:pt x="588" y="349"/>
                    <a:pt x="628" y="299"/>
                    <a:pt x="654" y="230"/>
                  </a:cubicBezTo>
                  <a:lnTo>
                    <a:pt x="654" y="159"/>
                  </a:lnTo>
                  <a:cubicBezTo>
                    <a:pt x="646" y="111"/>
                    <a:pt x="577" y="58"/>
                    <a:pt x="448" y="0"/>
                  </a:cubicBezTo>
                  <a:lnTo>
                    <a:pt x="411" y="0"/>
                  </a:lnTo>
                  <a:close/>
                  <a:moveTo>
                    <a:pt x="374" y="349"/>
                  </a:moveTo>
                  <a:cubicBezTo>
                    <a:pt x="453" y="244"/>
                    <a:pt x="506" y="191"/>
                    <a:pt x="535" y="191"/>
                  </a:cubicBezTo>
                  <a:lnTo>
                    <a:pt x="543" y="191"/>
                  </a:lnTo>
                  <a:lnTo>
                    <a:pt x="551" y="196"/>
                  </a:lnTo>
                  <a:cubicBezTo>
                    <a:pt x="498" y="310"/>
                    <a:pt x="448" y="368"/>
                    <a:pt x="405" y="368"/>
                  </a:cubicBezTo>
                  <a:lnTo>
                    <a:pt x="376" y="355"/>
                  </a:lnTo>
                  <a:lnTo>
                    <a:pt x="376" y="349"/>
                  </a:lnTo>
                  <a:close/>
                </a:path>
              </a:pathLst>
            </a:custGeom>
            <a:solidFill>
              <a:srgbClr val="000000"/>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Shape 6"/>
            <p:cNvSpPr/>
            <p:nvPr/>
          </p:nvSpPr>
          <p:spPr>
            <a:xfrm>
              <a:off x="1741456" y="4718660"/>
              <a:ext cx="122009" cy="137212"/>
            </a:xfrm>
            <a:custGeom>
              <a:avLst/>
              <a:gdLst/>
              <a:ahLst/>
              <a:cxnLst>
                <a:cxn ang="3cd4">
                  <a:pos x="hc" y="t"/>
                </a:cxn>
                <a:cxn ang="cd2">
                  <a:pos x="l" y="vc"/>
                </a:cxn>
                <a:cxn ang="cd4">
                  <a:pos x="hc" y="b"/>
                </a:cxn>
                <a:cxn ang="0">
                  <a:pos x="r" y="vc"/>
                </a:cxn>
              </a:cxnLst>
              <a:rect l="l" t="t" r="r" b="b"/>
              <a:pathLst>
                <a:path w="643" h="723">
                  <a:moveTo>
                    <a:pt x="495" y="442"/>
                  </a:moveTo>
                  <a:cubicBezTo>
                    <a:pt x="490" y="495"/>
                    <a:pt x="455" y="598"/>
                    <a:pt x="339" y="598"/>
                  </a:cubicBezTo>
                  <a:cubicBezTo>
                    <a:pt x="233" y="598"/>
                    <a:pt x="151" y="522"/>
                    <a:pt x="151" y="363"/>
                  </a:cubicBezTo>
                  <a:cubicBezTo>
                    <a:pt x="151" y="220"/>
                    <a:pt x="222" y="127"/>
                    <a:pt x="339" y="127"/>
                  </a:cubicBezTo>
                  <a:cubicBezTo>
                    <a:pt x="434" y="127"/>
                    <a:pt x="482" y="199"/>
                    <a:pt x="490" y="249"/>
                  </a:cubicBezTo>
                  <a:lnTo>
                    <a:pt x="635" y="249"/>
                  </a:lnTo>
                  <a:cubicBezTo>
                    <a:pt x="627" y="161"/>
                    <a:pt x="559" y="0"/>
                    <a:pt x="339" y="0"/>
                  </a:cubicBezTo>
                  <a:cubicBezTo>
                    <a:pt x="130" y="0"/>
                    <a:pt x="0" y="156"/>
                    <a:pt x="0" y="360"/>
                  </a:cubicBezTo>
                  <a:cubicBezTo>
                    <a:pt x="0" y="577"/>
                    <a:pt x="140" y="723"/>
                    <a:pt x="339" y="723"/>
                  </a:cubicBezTo>
                  <a:cubicBezTo>
                    <a:pt x="566" y="723"/>
                    <a:pt x="638" y="537"/>
                    <a:pt x="643" y="439"/>
                  </a:cubicBezTo>
                  <a:close/>
                </a:path>
              </a:pathLst>
            </a:custGeom>
            <a:solidFill>
              <a:srgbClr val="000000"/>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Shape 7"/>
            <p:cNvSpPr/>
            <p:nvPr/>
          </p:nvSpPr>
          <p:spPr>
            <a:xfrm>
              <a:off x="1876198" y="4721701"/>
              <a:ext cx="27556" cy="23375"/>
            </a:xfrm>
            <a:custGeom>
              <a:avLst/>
              <a:gdLst/>
              <a:ahLst/>
              <a:cxnLst>
                <a:cxn ang="3cd4">
                  <a:pos x="hc" y="t"/>
                </a:cxn>
                <a:cxn ang="cd2">
                  <a:pos x="l" y="vc"/>
                </a:cxn>
                <a:cxn ang="cd4">
                  <a:pos x="hc" y="b"/>
                </a:cxn>
                <a:cxn ang="0">
                  <a:pos x="r" y="vc"/>
                </a:cxn>
              </a:cxnLst>
              <a:rect l="l" t="t" r="r" b="b"/>
              <a:pathLst>
                <a:path w="146" h="124">
                  <a:moveTo>
                    <a:pt x="73" y="124"/>
                  </a:moveTo>
                  <a:lnTo>
                    <a:pt x="0" y="124"/>
                  </a:lnTo>
                  <a:lnTo>
                    <a:pt x="0" y="0"/>
                  </a:lnTo>
                  <a:lnTo>
                    <a:pt x="146" y="0"/>
                  </a:lnTo>
                  <a:lnTo>
                    <a:pt x="146" y="124"/>
                  </a:lnTo>
                  <a:close/>
                </a:path>
              </a:pathLst>
            </a:custGeom>
            <a:solidFill>
              <a:srgbClr val="000000"/>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Shape 8"/>
            <p:cNvSpPr/>
            <p:nvPr/>
          </p:nvSpPr>
          <p:spPr>
            <a:xfrm>
              <a:off x="1876198" y="4757809"/>
              <a:ext cx="27556" cy="95022"/>
            </a:xfrm>
            <a:custGeom>
              <a:avLst/>
              <a:gdLst/>
              <a:ahLst/>
              <a:cxnLst>
                <a:cxn ang="3cd4">
                  <a:pos x="hc" y="t"/>
                </a:cxn>
                <a:cxn ang="cd2">
                  <a:pos x="l" y="vc"/>
                </a:cxn>
                <a:cxn ang="cd4">
                  <a:pos x="hc" y="b"/>
                </a:cxn>
                <a:cxn ang="0">
                  <a:pos x="r" y="vc"/>
                </a:cxn>
              </a:cxnLst>
              <a:rect l="l" t="t" r="r" b="b"/>
              <a:pathLst>
                <a:path w="146" h="501">
                  <a:moveTo>
                    <a:pt x="73" y="501"/>
                  </a:moveTo>
                  <a:lnTo>
                    <a:pt x="0" y="501"/>
                  </a:lnTo>
                  <a:lnTo>
                    <a:pt x="0" y="0"/>
                  </a:lnTo>
                  <a:lnTo>
                    <a:pt x="146" y="0"/>
                  </a:lnTo>
                  <a:lnTo>
                    <a:pt x="146" y="501"/>
                  </a:lnTo>
                  <a:close/>
                </a:path>
              </a:pathLst>
            </a:custGeom>
            <a:solidFill>
              <a:srgbClr val="000000"/>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Shape 9"/>
            <p:cNvSpPr/>
            <p:nvPr/>
          </p:nvSpPr>
          <p:spPr>
            <a:xfrm>
              <a:off x="1914967" y="4755338"/>
              <a:ext cx="90461" cy="100533"/>
            </a:xfrm>
            <a:custGeom>
              <a:avLst/>
              <a:gdLst/>
              <a:ahLst/>
              <a:cxnLst>
                <a:cxn ang="3cd4">
                  <a:pos x="hc" y="t"/>
                </a:cxn>
                <a:cxn ang="cd2">
                  <a:pos x="l" y="vc"/>
                </a:cxn>
                <a:cxn ang="cd4">
                  <a:pos x="hc" y="b"/>
                </a:cxn>
                <a:cxn ang="0">
                  <a:pos x="r" y="vc"/>
                </a:cxn>
              </a:cxnLst>
              <a:rect l="l" t="t" r="r" b="b"/>
              <a:pathLst>
                <a:path w="477" h="530">
                  <a:moveTo>
                    <a:pt x="16" y="146"/>
                  </a:moveTo>
                  <a:cubicBezTo>
                    <a:pt x="16" y="252"/>
                    <a:pt x="109" y="284"/>
                    <a:pt x="162" y="297"/>
                  </a:cubicBezTo>
                  <a:cubicBezTo>
                    <a:pt x="175" y="299"/>
                    <a:pt x="212" y="310"/>
                    <a:pt x="225" y="313"/>
                  </a:cubicBezTo>
                  <a:cubicBezTo>
                    <a:pt x="278" y="326"/>
                    <a:pt x="326" y="337"/>
                    <a:pt x="326" y="379"/>
                  </a:cubicBezTo>
                  <a:cubicBezTo>
                    <a:pt x="326" y="408"/>
                    <a:pt x="294" y="432"/>
                    <a:pt x="236" y="432"/>
                  </a:cubicBezTo>
                  <a:cubicBezTo>
                    <a:pt x="178" y="432"/>
                    <a:pt x="143" y="403"/>
                    <a:pt x="138" y="352"/>
                  </a:cubicBezTo>
                  <a:lnTo>
                    <a:pt x="0" y="352"/>
                  </a:lnTo>
                  <a:cubicBezTo>
                    <a:pt x="6" y="405"/>
                    <a:pt x="35" y="530"/>
                    <a:pt x="236" y="530"/>
                  </a:cubicBezTo>
                  <a:cubicBezTo>
                    <a:pt x="424" y="530"/>
                    <a:pt x="477" y="427"/>
                    <a:pt x="477" y="368"/>
                  </a:cubicBezTo>
                  <a:cubicBezTo>
                    <a:pt x="477" y="302"/>
                    <a:pt x="435" y="246"/>
                    <a:pt x="310" y="215"/>
                  </a:cubicBezTo>
                  <a:cubicBezTo>
                    <a:pt x="302" y="212"/>
                    <a:pt x="262" y="204"/>
                    <a:pt x="247" y="199"/>
                  </a:cubicBezTo>
                  <a:cubicBezTo>
                    <a:pt x="183" y="183"/>
                    <a:pt x="165" y="172"/>
                    <a:pt x="165" y="141"/>
                  </a:cubicBezTo>
                  <a:cubicBezTo>
                    <a:pt x="165" y="111"/>
                    <a:pt x="196" y="98"/>
                    <a:pt x="231" y="98"/>
                  </a:cubicBezTo>
                  <a:cubicBezTo>
                    <a:pt x="310" y="98"/>
                    <a:pt x="326" y="138"/>
                    <a:pt x="326" y="162"/>
                  </a:cubicBezTo>
                  <a:lnTo>
                    <a:pt x="464" y="162"/>
                  </a:lnTo>
                  <a:cubicBezTo>
                    <a:pt x="464" y="109"/>
                    <a:pt x="427" y="0"/>
                    <a:pt x="231" y="0"/>
                  </a:cubicBezTo>
                  <a:cubicBezTo>
                    <a:pt x="74" y="0"/>
                    <a:pt x="16" y="80"/>
                    <a:pt x="16" y="146"/>
                  </a:cubicBezTo>
                  <a:close/>
                </a:path>
              </a:pathLst>
            </a:custGeom>
            <a:solidFill>
              <a:srgbClr val="000000"/>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9" name="Freeform: Shape 10"/>
            <p:cNvSpPr/>
            <p:nvPr/>
          </p:nvSpPr>
          <p:spPr>
            <a:xfrm>
              <a:off x="2012080" y="4755338"/>
              <a:ext cx="97493" cy="100533"/>
            </a:xfrm>
            <a:custGeom>
              <a:avLst/>
              <a:gdLst/>
              <a:ahLst/>
              <a:cxnLst>
                <a:cxn ang="3cd4">
                  <a:pos x="hc" y="t"/>
                </a:cxn>
                <a:cxn ang="cd2">
                  <a:pos x="l" y="vc"/>
                </a:cxn>
                <a:cxn ang="cd4">
                  <a:pos x="hc" y="b"/>
                </a:cxn>
                <a:cxn ang="0">
                  <a:pos x="r" y="vc"/>
                </a:cxn>
              </a:cxnLst>
              <a:rect l="l" t="t" r="r" b="b"/>
              <a:pathLst>
                <a:path w="514" h="530">
                  <a:moveTo>
                    <a:pt x="376" y="331"/>
                  </a:moveTo>
                  <a:cubicBezTo>
                    <a:pt x="366" y="379"/>
                    <a:pt x="334" y="424"/>
                    <a:pt x="270" y="424"/>
                  </a:cubicBezTo>
                  <a:cubicBezTo>
                    <a:pt x="191" y="424"/>
                    <a:pt x="151" y="355"/>
                    <a:pt x="151" y="265"/>
                  </a:cubicBezTo>
                  <a:cubicBezTo>
                    <a:pt x="151" y="196"/>
                    <a:pt x="178" y="103"/>
                    <a:pt x="270" y="103"/>
                  </a:cubicBezTo>
                  <a:cubicBezTo>
                    <a:pt x="329" y="103"/>
                    <a:pt x="363" y="143"/>
                    <a:pt x="371" y="188"/>
                  </a:cubicBezTo>
                  <a:lnTo>
                    <a:pt x="511" y="188"/>
                  </a:lnTo>
                  <a:cubicBezTo>
                    <a:pt x="503" y="109"/>
                    <a:pt x="445" y="0"/>
                    <a:pt x="268" y="0"/>
                  </a:cubicBezTo>
                  <a:cubicBezTo>
                    <a:pt x="112" y="0"/>
                    <a:pt x="0" y="103"/>
                    <a:pt x="0" y="265"/>
                  </a:cubicBezTo>
                  <a:cubicBezTo>
                    <a:pt x="0" y="427"/>
                    <a:pt x="109" y="530"/>
                    <a:pt x="268" y="530"/>
                  </a:cubicBezTo>
                  <a:cubicBezTo>
                    <a:pt x="453" y="530"/>
                    <a:pt x="506" y="413"/>
                    <a:pt x="514" y="334"/>
                  </a:cubicBezTo>
                  <a:lnTo>
                    <a:pt x="376" y="334"/>
                  </a:lnTo>
                  <a:close/>
                </a:path>
              </a:pathLst>
            </a:custGeom>
            <a:solidFill>
              <a:srgbClr val="000000"/>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0" name="Freeform: Shape 11"/>
            <p:cNvSpPr/>
            <p:nvPr/>
          </p:nvSpPr>
          <p:spPr>
            <a:xfrm>
              <a:off x="2117744" y="4755338"/>
              <a:ext cx="101104" cy="100533"/>
            </a:xfrm>
            <a:custGeom>
              <a:avLst/>
              <a:gdLst/>
              <a:ahLst/>
              <a:cxnLst>
                <a:cxn ang="3cd4">
                  <a:pos x="hc" y="t"/>
                </a:cxn>
                <a:cxn ang="cd2">
                  <a:pos x="l" y="vc"/>
                </a:cxn>
                <a:cxn ang="cd4">
                  <a:pos x="hc" y="b"/>
                </a:cxn>
                <a:cxn ang="0">
                  <a:pos x="r" y="vc"/>
                </a:cxn>
              </a:cxnLst>
              <a:rect l="l" t="t" r="r" b="b"/>
              <a:pathLst>
                <a:path w="533" h="530">
                  <a:moveTo>
                    <a:pt x="268" y="0"/>
                  </a:moveTo>
                  <a:cubicBezTo>
                    <a:pt x="109" y="0"/>
                    <a:pt x="0" y="103"/>
                    <a:pt x="0" y="265"/>
                  </a:cubicBezTo>
                  <a:cubicBezTo>
                    <a:pt x="0" y="427"/>
                    <a:pt x="109" y="530"/>
                    <a:pt x="268" y="530"/>
                  </a:cubicBezTo>
                  <a:cubicBezTo>
                    <a:pt x="424" y="530"/>
                    <a:pt x="533" y="429"/>
                    <a:pt x="533" y="265"/>
                  </a:cubicBezTo>
                  <a:cubicBezTo>
                    <a:pt x="533" y="98"/>
                    <a:pt x="419" y="0"/>
                    <a:pt x="268" y="0"/>
                  </a:cubicBezTo>
                  <a:close/>
                  <a:moveTo>
                    <a:pt x="265" y="424"/>
                  </a:moveTo>
                  <a:cubicBezTo>
                    <a:pt x="188" y="424"/>
                    <a:pt x="146" y="355"/>
                    <a:pt x="146" y="265"/>
                  </a:cubicBezTo>
                  <a:cubicBezTo>
                    <a:pt x="149" y="196"/>
                    <a:pt x="175" y="103"/>
                    <a:pt x="265" y="103"/>
                  </a:cubicBezTo>
                  <a:cubicBezTo>
                    <a:pt x="347" y="103"/>
                    <a:pt x="382" y="183"/>
                    <a:pt x="382" y="265"/>
                  </a:cubicBezTo>
                  <a:cubicBezTo>
                    <a:pt x="382" y="347"/>
                    <a:pt x="347" y="424"/>
                    <a:pt x="265" y="424"/>
                  </a:cubicBezTo>
                  <a:close/>
                </a:path>
              </a:pathLst>
            </a:custGeom>
            <a:solidFill>
              <a:srgbClr val="000000"/>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2874139451"/>
      </p:ext>
    </p:extLst>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 id="2147484171" r:id="rId11"/>
    <p:sldLayoutId id="2147484172" r:id="rId12"/>
    <p:sldLayoutId id="2147484173" r:id="rId13"/>
    <p:sldLayoutId id="2147484174" r:id="rId14"/>
    <p:sldLayoutId id="2147484175" r:id="rId15"/>
    <p:sldLayoutId id="2147484176" r:id="rId16"/>
    <p:sldLayoutId id="2147484177" r:id="rId17"/>
    <p:sldLayoutId id="2147484178" r:id="rId18"/>
    <p:sldLayoutId id="2147484179" r:id="rId19"/>
    <p:sldLayoutId id="2147484180" r:id="rId20"/>
    <p:sldLayoutId id="2147484181" r:id="rId21"/>
    <p:sldLayoutId id="2147484182" r:id="rId22"/>
    <p:sldLayoutId id="2147484183" r:id="rId23"/>
    <p:sldLayoutId id="2147484184" r:id="rId24"/>
    <p:sldLayoutId id="2147484185" r:id="rId25"/>
    <p:sldLayoutId id="2147484186" r:id="rId26"/>
    <p:sldLayoutId id="2147484187" r:id="rId27"/>
    <p:sldLayoutId id="2147484188" r:id="rId28"/>
    <p:sldLayoutId id="2147484189" r:id="rId29"/>
    <p:sldLayoutId id="2147484190" r:id="rId30"/>
    <p:sldLayoutId id="2147484191" r:id="rId31"/>
    <p:sldLayoutId id="2147484192" r:id="rId32"/>
    <p:sldLayoutId id="2147484193" r:id="rId33"/>
    <p:sldLayoutId id="2147484194" r:id="rId34"/>
    <p:sldLayoutId id="2147484195" r:id="rId35"/>
    <p:sldLayoutId id="2147484196" r:id="rId36"/>
    <p:sldLayoutId id="2147484197" r:id="rId37"/>
    <p:sldLayoutId id="2147484198" r:id="rId38"/>
    <p:sldLayoutId id="2147484199" r:id="rId39"/>
    <p:sldLayoutId id="2147484200" r:id="rId40"/>
    <p:sldLayoutId id="2147484201" r:id="rId41"/>
    <p:sldLayoutId id="2147484202" r:id="rId42"/>
    <p:sldLayoutId id="2147484203" r:id="rId43"/>
    <p:sldLayoutId id="2147484204" r:id="rId44"/>
  </p:sldLayoutIdLst>
  <p:transition/>
  <p:hf sldNum="0" hdr="0" dt="0"/>
  <p:txStyles>
    <p:titleStyle>
      <a:lvl1pPr marL="6251" indent="-6251" algn="l" rtl="0" eaLnBrk="1" fontAlgn="base" hangingPunct="1">
        <a:lnSpc>
          <a:spcPct val="90000"/>
        </a:lnSpc>
        <a:spcBef>
          <a:spcPct val="0"/>
        </a:spcBef>
        <a:spcAft>
          <a:spcPct val="0"/>
        </a:spcAft>
        <a:defRPr lang="en-US" sz="2800" b="0" kern="1200" dirty="0" smtClean="0">
          <a:solidFill>
            <a:schemeClr val="accent6"/>
          </a:solidFill>
          <a:latin typeface="+mj-lt"/>
          <a:ea typeface="+mj-ea"/>
          <a:cs typeface="+mj-cs"/>
          <a:sym typeface="Arial" pitchFamily="34" charset="0"/>
        </a:defRPr>
      </a:lvl1pPr>
      <a:lvl2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p:titleStyle>
    <p:bodyStyle>
      <a:lvl1pPr marL="187523" indent="-185738" algn="l" rtl="0" eaLnBrk="1" fontAlgn="base" hangingPunct="1">
        <a:lnSpc>
          <a:spcPct val="90000"/>
        </a:lnSpc>
        <a:spcBef>
          <a:spcPts val="1200"/>
        </a:spcBef>
        <a:spcAft>
          <a:spcPct val="0"/>
        </a:spcAft>
        <a:buClrTx/>
        <a:buSzPct val="8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1" fontAlgn="base" hangingPunct="1">
        <a:lnSpc>
          <a:spcPct val="90000"/>
        </a:lnSpc>
        <a:spcBef>
          <a:spcPts val="400"/>
        </a:spcBef>
        <a:spcAft>
          <a:spcPct val="0"/>
        </a:spcAft>
        <a:buClrTx/>
        <a:buSzPct val="80000"/>
        <a:buFont typeface="Arial" panose="020B0604020202020204" pitchFamily="34" charset="0"/>
        <a:buChar char="•"/>
        <a:defRPr sz="1600">
          <a:solidFill>
            <a:schemeClr val="tx1"/>
          </a:solidFill>
          <a:latin typeface="+mn-lt"/>
          <a:ea typeface="+mn-ea"/>
          <a:cs typeface="+mn-cs"/>
          <a:sym typeface="Arial" pitchFamily="34" charset="0"/>
        </a:defRPr>
      </a:lvl2pPr>
      <a:lvl3pPr marL="546497"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4pPr>
      <a:lvl5pPr marL="773311" indent="-66973" algn="l" rtl="0" eaLnBrk="1" fontAlgn="base" hangingPunct="1">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p:bodyStyle>
    <p:otherStyle>
      <a:defPPr>
        <a:defRPr lang="en-US"/>
      </a:defPPr>
      <a:lvl1pPr marL="0" algn="l" defTabSz="257175" rtl="0" eaLnBrk="1" latinLnBrk="0" hangingPunct="1">
        <a:defRPr sz="1000" kern="1200">
          <a:solidFill>
            <a:schemeClr val="tx1"/>
          </a:solidFill>
          <a:latin typeface="+mn-lt"/>
          <a:ea typeface="+mn-ea"/>
          <a:cs typeface="+mn-cs"/>
        </a:defRPr>
      </a:lvl1pPr>
      <a:lvl2pPr marL="257175" algn="l" defTabSz="257175" rtl="0" eaLnBrk="1" latinLnBrk="0" hangingPunct="1">
        <a:defRPr sz="1000" kern="1200">
          <a:solidFill>
            <a:schemeClr val="tx1"/>
          </a:solidFill>
          <a:latin typeface="+mn-lt"/>
          <a:ea typeface="+mn-ea"/>
          <a:cs typeface="+mn-cs"/>
        </a:defRPr>
      </a:lvl2pPr>
      <a:lvl3pPr marL="514350" algn="l" defTabSz="257175" rtl="0" eaLnBrk="1" latinLnBrk="0" hangingPunct="1">
        <a:defRPr sz="1000" kern="1200">
          <a:solidFill>
            <a:schemeClr val="tx1"/>
          </a:solidFill>
          <a:latin typeface="+mn-lt"/>
          <a:ea typeface="+mn-ea"/>
          <a:cs typeface="+mn-cs"/>
        </a:defRPr>
      </a:lvl3pPr>
      <a:lvl4pPr marL="771525" algn="l" defTabSz="257175" rtl="0" eaLnBrk="1" latinLnBrk="0" hangingPunct="1">
        <a:defRPr sz="1000" kern="1200">
          <a:solidFill>
            <a:schemeClr val="tx1"/>
          </a:solidFill>
          <a:latin typeface="+mn-lt"/>
          <a:ea typeface="+mn-ea"/>
          <a:cs typeface="+mn-cs"/>
        </a:defRPr>
      </a:lvl4pPr>
      <a:lvl5pPr marL="1028700" algn="l" defTabSz="257175" rtl="0" eaLnBrk="1" latinLnBrk="0" hangingPunct="1">
        <a:defRPr sz="1000" kern="1200">
          <a:solidFill>
            <a:schemeClr val="tx1"/>
          </a:solidFill>
          <a:latin typeface="+mn-lt"/>
          <a:ea typeface="+mn-ea"/>
          <a:cs typeface="+mn-cs"/>
        </a:defRPr>
      </a:lvl5pPr>
      <a:lvl6pPr marL="1285875" algn="l" defTabSz="257175" rtl="0" eaLnBrk="1" latinLnBrk="0" hangingPunct="1">
        <a:defRPr sz="1000" kern="1200">
          <a:solidFill>
            <a:schemeClr val="tx1"/>
          </a:solidFill>
          <a:latin typeface="+mn-lt"/>
          <a:ea typeface="+mn-ea"/>
          <a:cs typeface="+mn-cs"/>
        </a:defRPr>
      </a:lvl6pPr>
      <a:lvl7pPr marL="1543050" algn="l" defTabSz="257175" rtl="0" eaLnBrk="1" latinLnBrk="0" hangingPunct="1">
        <a:defRPr sz="1000" kern="1200">
          <a:solidFill>
            <a:schemeClr val="tx1"/>
          </a:solidFill>
          <a:latin typeface="+mn-lt"/>
          <a:ea typeface="+mn-ea"/>
          <a:cs typeface="+mn-cs"/>
        </a:defRPr>
      </a:lvl7pPr>
      <a:lvl8pPr marL="1800225" algn="l" defTabSz="257175" rtl="0" eaLnBrk="1" latinLnBrk="0" hangingPunct="1">
        <a:defRPr sz="1000" kern="1200">
          <a:solidFill>
            <a:schemeClr val="tx1"/>
          </a:solidFill>
          <a:latin typeface="+mn-lt"/>
          <a:ea typeface="+mn-ea"/>
          <a:cs typeface="+mn-cs"/>
        </a:defRPr>
      </a:lvl8pPr>
      <a:lvl9pPr marL="2057400" algn="l" defTabSz="257175" rtl="0" eaLnBrk="1" latinLnBrk="0" hangingPunct="1">
        <a:defRPr sz="1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guide id="3" pos="288">
          <p15:clr>
            <a:srgbClr val="F26B43"/>
          </p15:clr>
        </p15:guide>
        <p15:guide id="4" pos="5496">
          <p15:clr>
            <a:srgbClr val="F26B43"/>
          </p15:clr>
        </p15:guide>
        <p15:guide id="5" orient="horz" pos="5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477680" y="4741655"/>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dirty="0">
                <a:solidFill>
                  <a:schemeClr val="bg2">
                    <a:lumMod val="6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210675341"/>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 id="2147484223" r:id="rId18"/>
    <p:sldLayoutId id="2147484224" r:id="rId19"/>
    <p:sldLayoutId id="2147484225" r:id="rId20"/>
    <p:sldLayoutId id="2147484226" r:id="rId21"/>
    <p:sldLayoutId id="2147484227" r:id="rId22"/>
    <p:sldLayoutId id="2147484228" r:id="rId23"/>
    <p:sldLayoutId id="2147484229" r:id="rId24"/>
    <p:sldLayoutId id="2147484230" r:id="rId25"/>
    <p:sldLayoutId id="2147484231" r:id="rId26"/>
    <p:sldLayoutId id="2147484232" r:id="rId27"/>
    <p:sldLayoutId id="2147484233" r:id="rId28"/>
    <p:sldLayoutId id="2147484234" r:id="rId29"/>
    <p:sldLayoutId id="2147484235" r:id="rId30"/>
    <p:sldLayoutId id="2147484236" r:id="rId31"/>
  </p:sldLayoutIdLst>
  <p:txStyles>
    <p:titleStyle>
      <a:lvl1pPr algn="l" defTabSz="684196" rtl="0" eaLnBrk="1" fontAlgn="base" hangingPunct="1">
        <a:lnSpc>
          <a:spcPct val="80000"/>
        </a:lnSpc>
        <a:spcBef>
          <a:spcPct val="0"/>
        </a:spcBef>
        <a:spcAft>
          <a:spcPct val="0"/>
        </a:spcAft>
        <a:defRPr lang="en-US" sz="2800" b="0" i="0"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241.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emf"/><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44.emf"/><Relationship Id="rId5" Type="http://schemas.openxmlformats.org/officeDocument/2006/relationships/image" Target="../media/image43.emf"/><Relationship Id="rId4" Type="http://schemas.openxmlformats.org/officeDocument/2006/relationships/image" Target="../media/image4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275.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12.xml"/><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9.emf"/><Relationship Id="rId7"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63.xml"/><Relationship Id="rId6" Type="http://schemas.openxmlformats.org/officeDocument/2006/relationships/image" Target="../media/image51.png"/><Relationship Id="rId5" Type="http://schemas.openxmlformats.org/officeDocument/2006/relationships/image" Target="../media/image48.emf"/><Relationship Id="rId4" Type="http://schemas.openxmlformats.org/officeDocument/2006/relationships/image" Target="../media/image50.png"/><Relationship Id="rId9"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image" Target="../media/image48.emf"/><Relationship Id="rId7"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6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8.xml"/></Relationships>
</file>

<file path=ppt/slides/_rels/slide19.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2.xml"/></Relationships>
</file>

<file path=ppt/slides/_rels/slide20.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image" Target="../media/image58.png"/><Relationship Id="rId3" Type="http://schemas.openxmlformats.org/officeDocument/2006/relationships/tags" Target="../tags/tag7.xml"/><Relationship Id="rId21" Type="http://schemas.openxmlformats.org/officeDocument/2006/relationships/tags" Target="../tags/tag25.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image" Target="../media/image57.png"/><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29" Type="http://schemas.openxmlformats.org/officeDocument/2006/relationships/image" Target="../media/image61.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image" Target="../media/image56.png"/><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notesSlide" Target="../notesSlides/notesSlide18.xml"/><Relationship Id="rId28" Type="http://schemas.openxmlformats.org/officeDocument/2006/relationships/image" Target="../media/image60.png"/><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slideLayout" Target="../slideLayouts/slideLayout13.xml"/><Relationship Id="rId27" Type="http://schemas.openxmlformats.org/officeDocument/2006/relationships/image" Target="../media/image59.svg"/></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19.xml"/><Relationship Id="rId3" Type="http://schemas.openxmlformats.org/officeDocument/2006/relationships/tags" Target="../tags/tag28.xml"/><Relationship Id="rId7" Type="http://schemas.openxmlformats.org/officeDocument/2006/relationships/slideLayout" Target="../slideLayouts/slideLayout13.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image" Target="../media/image62.png"/><Relationship Id="rId4" Type="http://schemas.openxmlformats.org/officeDocument/2006/relationships/tags" Target="../tags/tag29.xml"/><Relationship Id="rId9" Type="http://schemas.openxmlformats.org/officeDocument/2006/relationships/image" Target="../media/image61.png"/></Relationships>
</file>

<file path=ppt/slides/_rels/slide22.xml.rels><?xml version="1.0" encoding="UTF-8" standalone="yes"?>
<Relationships xmlns="http://schemas.openxmlformats.org/package/2006/relationships"><Relationship Id="rId13" Type="http://schemas.openxmlformats.org/officeDocument/2006/relationships/tags" Target="../tags/tag44.xml"/><Relationship Id="rId18" Type="http://schemas.openxmlformats.org/officeDocument/2006/relationships/tags" Target="../tags/tag49.xml"/><Relationship Id="rId26" Type="http://schemas.openxmlformats.org/officeDocument/2006/relationships/tags" Target="../tags/tag57.xml"/><Relationship Id="rId39" Type="http://schemas.openxmlformats.org/officeDocument/2006/relationships/notesSlide" Target="../notesSlides/notesSlide20.xml"/><Relationship Id="rId21" Type="http://schemas.openxmlformats.org/officeDocument/2006/relationships/tags" Target="../tags/tag52.xml"/><Relationship Id="rId34" Type="http://schemas.openxmlformats.org/officeDocument/2006/relationships/tags" Target="../tags/tag65.xml"/><Relationship Id="rId42" Type="http://schemas.openxmlformats.org/officeDocument/2006/relationships/image" Target="../media/image58.png"/><Relationship Id="rId47" Type="http://schemas.openxmlformats.org/officeDocument/2006/relationships/image" Target="../media/image66.png"/><Relationship Id="rId7" Type="http://schemas.openxmlformats.org/officeDocument/2006/relationships/tags" Target="../tags/tag38.xml"/><Relationship Id="rId2" Type="http://schemas.openxmlformats.org/officeDocument/2006/relationships/tags" Target="../tags/tag33.xml"/><Relationship Id="rId16" Type="http://schemas.openxmlformats.org/officeDocument/2006/relationships/tags" Target="../tags/tag47.xml"/><Relationship Id="rId29" Type="http://schemas.openxmlformats.org/officeDocument/2006/relationships/tags" Target="../tags/tag60.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tags" Target="../tags/tag55.xml"/><Relationship Id="rId32" Type="http://schemas.openxmlformats.org/officeDocument/2006/relationships/tags" Target="../tags/tag63.xml"/><Relationship Id="rId37" Type="http://schemas.openxmlformats.org/officeDocument/2006/relationships/tags" Target="../tags/tag68.xml"/><Relationship Id="rId40" Type="http://schemas.openxmlformats.org/officeDocument/2006/relationships/image" Target="../media/image56.png"/><Relationship Id="rId45" Type="http://schemas.openxmlformats.org/officeDocument/2006/relationships/image" Target="../media/image64.png"/><Relationship Id="rId5" Type="http://schemas.openxmlformats.org/officeDocument/2006/relationships/tags" Target="../tags/tag36.xml"/><Relationship Id="rId15" Type="http://schemas.openxmlformats.org/officeDocument/2006/relationships/tags" Target="../tags/tag46.xml"/><Relationship Id="rId23" Type="http://schemas.openxmlformats.org/officeDocument/2006/relationships/tags" Target="../tags/tag54.xml"/><Relationship Id="rId28" Type="http://schemas.openxmlformats.org/officeDocument/2006/relationships/tags" Target="../tags/tag59.xml"/><Relationship Id="rId36" Type="http://schemas.openxmlformats.org/officeDocument/2006/relationships/tags" Target="../tags/tag67.xml"/><Relationship Id="rId10" Type="http://schemas.openxmlformats.org/officeDocument/2006/relationships/tags" Target="../tags/tag41.xml"/><Relationship Id="rId19" Type="http://schemas.openxmlformats.org/officeDocument/2006/relationships/tags" Target="../tags/tag50.xml"/><Relationship Id="rId31" Type="http://schemas.openxmlformats.org/officeDocument/2006/relationships/tags" Target="../tags/tag62.xml"/><Relationship Id="rId44" Type="http://schemas.openxmlformats.org/officeDocument/2006/relationships/image" Target="../media/image63.png"/><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tags" Target="../tags/tag53.xml"/><Relationship Id="rId27" Type="http://schemas.openxmlformats.org/officeDocument/2006/relationships/tags" Target="../tags/tag58.xml"/><Relationship Id="rId30" Type="http://schemas.openxmlformats.org/officeDocument/2006/relationships/tags" Target="../tags/tag61.xml"/><Relationship Id="rId35" Type="http://schemas.openxmlformats.org/officeDocument/2006/relationships/tags" Target="../tags/tag66.xml"/><Relationship Id="rId43" Type="http://schemas.openxmlformats.org/officeDocument/2006/relationships/image" Target="../media/image59.svg"/><Relationship Id="rId8" Type="http://schemas.openxmlformats.org/officeDocument/2006/relationships/tags" Target="../tags/tag39.xml"/><Relationship Id="rId3" Type="http://schemas.openxmlformats.org/officeDocument/2006/relationships/tags" Target="../tags/tag34.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tags" Target="../tags/tag56.xml"/><Relationship Id="rId33" Type="http://schemas.openxmlformats.org/officeDocument/2006/relationships/tags" Target="../tags/tag64.xml"/><Relationship Id="rId38" Type="http://schemas.openxmlformats.org/officeDocument/2006/relationships/slideLayout" Target="../slideLayouts/slideLayout13.xml"/><Relationship Id="rId46" Type="http://schemas.openxmlformats.org/officeDocument/2006/relationships/image" Target="../media/image65.png"/><Relationship Id="rId20" Type="http://schemas.openxmlformats.org/officeDocument/2006/relationships/tags" Target="../tags/tag51.xml"/><Relationship Id="rId41" Type="http://schemas.openxmlformats.org/officeDocument/2006/relationships/image" Target="../media/image57.png"/></Relationships>
</file>

<file path=ppt/slides/_rels/slide23.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13.xml"/><Relationship Id="rId7" Type="http://schemas.openxmlformats.org/officeDocument/2006/relationships/image" Target="../media/image66.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59.svg"/><Relationship Id="rId5" Type="http://schemas.openxmlformats.org/officeDocument/2006/relationships/image" Target="../media/image58.png"/><Relationship Id="rId10" Type="http://schemas.openxmlformats.org/officeDocument/2006/relationships/image" Target="../media/image64.png"/><Relationship Id="rId4" Type="http://schemas.openxmlformats.org/officeDocument/2006/relationships/notesSlide" Target="../notesSlides/notesSlide21.xml"/><Relationship Id="rId9" Type="http://schemas.openxmlformats.org/officeDocument/2006/relationships/image" Target="../media/image63.png"/></Relationships>
</file>

<file path=ppt/slides/_rels/slide24.xml.rels><?xml version="1.0" encoding="UTF-8" standalone="yes"?>
<Relationships xmlns="http://schemas.openxmlformats.org/package/2006/relationships"><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image" Target="../media/image65.png"/><Relationship Id="rId21" Type="http://schemas.openxmlformats.org/officeDocument/2006/relationships/slideLayout" Target="../slideLayouts/slideLayout13.xml"/><Relationship Id="rId34" Type="http://schemas.openxmlformats.org/officeDocument/2006/relationships/image" Target="../media/image72.svg"/><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image" Target="../media/image66.png"/><Relationship Id="rId33" Type="http://schemas.openxmlformats.org/officeDocument/2006/relationships/image" Target="../media/image71.png"/><Relationship Id="rId38" Type="http://schemas.openxmlformats.org/officeDocument/2006/relationships/image" Target="../media/image76.svg"/><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tags" Target="../tags/tag90.xml"/><Relationship Id="rId29" Type="http://schemas.openxmlformats.org/officeDocument/2006/relationships/image" Target="../media/image67.png"/><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image" Target="../media/image59.svg"/><Relationship Id="rId32" Type="http://schemas.openxmlformats.org/officeDocument/2006/relationships/image" Target="../media/image70.svg"/><Relationship Id="rId37" Type="http://schemas.openxmlformats.org/officeDocument/2006/relationships/image" Target="../media/image75.png"/><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image" Target="../media/image58.png"/><Relationship Id="rId28" Type="http://schemas.openxmlformats.org/officeDocument/2006/relationships/image" Target="../media/image64.png"/><Relationship Id="rId36" Type="http://schemas.openxmlformats.org/officeDocument/2006/relationships/image" Target="../media/image74.svg"/><Relationship Id="rId10" Type="http://schemas.openxmlformats.org/officeDocument/2006/relationships/tags" Target="../tags/tag80.xml"/><Relationship Id="rId19" Type="http://schemas.openxmlformats.org/officeDocument/2006/relationships/tags" Target="../tags/tag89.xml"/><Relationship Id="rId31" Type="http://schemas.openxmlformats.org/officeDocument/2006/relationships/image" Target="../media/image69.png"/><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notesSlide" Target="../notesSlides/notesSlide22.xml"/><Relationship Id="rId27" Type="http://schemas.openxmlformats.org/officeDocument/2006/relationships/image" Target="../media/image63.png"/><Relationship Id="rId30" Type="http://schemas.openxmlformats.org/officeDocument/2006/relationships/image" Target="../media/image68.svg"/><Relationship Id="rId35" Type="http://schemas.openxmlformats.org/officeDocument/2006/relationships/image" Target="../media/image73.png"/><Relationship Id="rId8" Type="http://schemas.openxmlformats.org/officeDocument/2006/relationships/tags" Target="../tags/tag78.xml"/><Relationship Id="rId3" Type="http://schemas.openxmlformats.org/officeDocument/2006/relationships/tags" Target="../tags/tag73.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275.xml"/><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4.xml"/><Relationship Id="rId1" Type="http://schemas.openxmlformats.org/officeDocument/2006/relationships/slideLayout" Target="../slideLayouts/slideLayout299.xml"/></Relationships>
</file>

<file path=ppt/slides/_rels/slide2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5.xml"/><Relationship Id="rId1" Type="http://schemas.openxmlformats.org/officeDocument/2006/relationships/slideLayout" Target="../slideLayouts/slideLayout299.xml"/><Relationship Id="rId6" Type="http://schemas.openxmlformats.org/officeDocument/2006/relationships/image" Target="../media/image79.png"/><Relationship Id="rId5" Type="http://schemas.openxmlformats.org/officeDocument/2006/relationships/image" Target="../media/image48.emf"/><Relationship Id="rId4" Type="http://schemas.microsoft.com/office/2007/relationships/hdphoto" Target="../media/hdphoto1.wdp"/></Relationships>
</file>

<file path=ppt/slides/_rels/slide2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299.xml"/><Relationship Id="rId5" Type="http://schemas.openxmlformats.org/officeDocument/2006/relationships/image" Target="../media/image82.png"/><Relationship Id="rId4" Type="http://schemas.openxmlformats.org/officeDocument/2006/relationships/image" Target="../media/image81.w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99.xml"/></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7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9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99.xml"/></Relationships>
</file>

<file path=ppt/slides/_rels/slide3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0.xml"/><Relationship Id="rId1" Type="http://schemas.openxmlformats.org/officeDocument/2006/relationships/slideLayout" Target="../slideLayouts/slideLayout29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9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99.xml"/></Relationships>
</file>

<file path=ppt/slides/_rels/slide35.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notesSlide" Target="../notesSlides/notesSlide32.xml"/><Relationship Id="rId1" Type="http://schemas.openxmlformats.org/officeDocument/2006/relationships/slideLayout" Target="../slideLayouts/slideLayout299.xml"/><Relationship Id="rId5" Type="http://schemas.openxmlformats.org/officeDocument/2006/relationships/image" Target="../media/image86.png"/><Relationship Id="rId4" Type="http://schemas.openxmlformats.org/officeDocument/2006/relationships/image" Target="../media/image85.emf"/></Relationships>
</file>

<file path=ppt/slides/_rels/slide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3.xml"/><Relationship Id="rId1" Type="http://schemas.openxmlformats.org/officeDocument/2006/relationships/slideLayout" Target="../slideLayouts/slideLayout275.xml"/></Relationships>
</file>

<file path=ppt/slides/_rels/slide3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275.xml"/><Relationship Id="rId4" Type="http://schemas.openxmlformats.org/officeDocument/2006/relationships/image" Target="../media/image31.png"/></Relationships>
</file>

<file path=ppt/slides/_rels/slide3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5.xml"/><Relationship Id="rId1" Type="http://schemas.openxmlformats.org/officeDocument/2006/relationships/slideLayout" Target="../slideLayouts/slideLayout32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29.xml"/></Relationships>
</file>

<file path=ppt/slides/_rels/slide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7.xml"/><Relationship Id="rId1" Type="http://schemas.openxmlformats.org/officeDocument/2006/relationships/slideLayout" Target="../slideLayouts/slideLayout346.xml"/><Relationship Id="rId5" Type="http://schemas.openxmlformats.org/officeDocument/2006/relationships/image" Target="../media/image90.png"/><Relationship Id="rId4" Type="http://schemas.openxmlformats.org/officeDocument/2006/relationships/image" Target="../media/image89.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46.xml"/><Relationship Id="rId1" Type="http://schemas.openxmlformats.org/officeDocument/2006/relationships/tags" Target="../tags/tag91.xml"/><Relationship Id="rId6" Type="http://schemas.openxmlformats.org/officeDocument/2006/relationships/image" Target="../media/image92.png"/><Relationship Id="rId5" Type="http://schemas.microsoft.com/office/2007/relationships/hdphoto" Target="../media/hdphoto2.wdp"/><Relationship Id="rId4"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9.xml"/><Relationship Id="rId1" Type="http://schemas.openxmlformats.org/officeDocument/2006/relationships/slideLayout" Target="../slideLayouts/slideLayout346.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46.xml"/><Relationship Id="rId7" Type="http://schemas.openxmlformats.org/officeDocument/2006/relationships/image" Target="../media/image95.tiff"/><Relationship Id="rId2" Type="http://schemas.openxmlformats.org/officeDocument/2006/relationships/tags" Target="../tags/tag92.xml"/><Relationship Id="rId1" Type="http://schemas.openxmlformats.org/officeDocument/2006/relationships/vmlDrawing" Target="../drawings/vmlDrawing4.vml"/><Relationship Id="rId6" Type="http://schemas.openxmlformats.org/officeDocument/2006/relationships/image" Target="../media/image94.emf"/><Relationship Id="rId5" Type="http://schemas.openxmlformats.org/officeDocument/2006/relationships/oleObject" Target="../embeddings/oleObject4.bin"/><Relationship Id="rId4" Type="http://schemas.openxmlformats.org/officeDocument/2006/relationships/notesSlide" Target="../notesSlides/notesSlide40.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46.xml"/><Relationship Id="rId7" Type="http://schemas.openxmlformats.org/officeDocument/2006/relationships/image" Target="../media/image96.png"/><Relationship Id="rId2" Type="http://schemas.openxmlformats.org/officeDocument/2006/relationships/tags" Target="../tags/tag93.xml"/><Relationship Id="rId1" Type="http://schemas.openxmlformats.org/officeDocument/2006/relationships/vmlDrawing" Target="../drawings/vmlDrawing5.vml"/><Relationship Id="rId6" Type="http://schemas.openxmlformats.org/officeDocument/2006/relationships/image" Target="../media/image26.emf"/><Relationship Id="rId5" Type="http://schemas.openxmlformats.org/officeDocument/2006/relationships/oleObject" Target="../embeddings/oleObject5.bin"/><Relationship Id="rId4" Type="http://schemas.openxmlformats.org/officeDocument/2006/relationships/notesSlide" Target="../notesSlides/notesSlide41.xml"/></Relationships>
</file>

<file path=ppt/slides/_rels/slide45.xml.rels><?xml version="1.0" encoding="UTF-8" standalone="yes"?>
<Relationships xmlns="http://schemas.openxmlformats.org/package/2006/relationships"><Relationship Id="rId8" Type="http://schemas.openxmlformats.org/officeDocument/2006/relationships/image" Target="../media/image98.tiff"/><Relationship Id="rId13" Type="http://schemas.openxmlformats.org/officeDocument/2006/relationships/image" Target="../media/image103.png"/><Relationship Id="rId18" Type="http://schemas.openxmlformats.org/officeDocument/2006/relationships/image" Target="../media/image108.png"/><Relationship Id="rId3" Type="http://schemas.openxmlformats.org/officeDocument/2006/relationships/slideLayout" Target="../slideLayouts/slideLayout329.xml"/><Relationship Id="rId21" Type="http://schemas.openxmlformats.org/officeDocument/2006/relationships/image" Target="../media/image111.png"/><Relationship Id="rId7" Type="http://schemas.openxmlformats.org/officeDocument/2006/relationships/image" Target="../media/image97.tiff"/><Relationship Id="rId12" Type="http://schemas.openxmlformats.org/officeDocument/2006/relationships/image" Target="../media/image102.png"/><Relationship Id="rId17" Type="http://schemas.openxmlformats.org/officeDocument/2006/relationships/image" Target="../media/image107.tiff"/><Relationship Id="rId2" Type="http://schemas.openxmlformats.org/officeDocument/2006/relationships/tags" Target="../tags/tag94.xml"/><Relationship Id="rId16" Type="http://schemas.openxmlformats.org/officeDocument/2006/relationships/image" Target="../media/image106.png"/><Relationship Id="rId20" Type="http://schemas.openxmlformats.org/officeDocument/2006/relationships/image" Target="../media/image110.tiff"/><Relationship Id="rId1" Type="http://schemas.openxmlformats.org/officeDocument/2006/relationships/vmlDrawing" Target="../drawings/vmlDrawing6.vml"/><Relationship Id="rId6" Type="http://schemas.openxmlformats.org/officeDocument/2006/relationships/image" Target="../media/image94.emf"/><Relationship Id="rId11" Type="http://schemas.openxmlformats.org/officeDocument/2006/relationships/image" Target="../media/image101.tiff"/><Relationship Id="rId5" Type="http://schemas.openxmlformats.org/officeDocument/2006/relationships/oleObject" Target="../embeddings/oleObject6.bin"/><Relationship Id="rId15" Type="http://schemas.openxmlformats.org/officeDocument/2006/relationships/image" Target="../media/image105.tiff"/><Relationship Id="rId10" Type="http://schemas.openxmlformats.org/officeDocument/2006/relationships/image" Target="../media/image100.tiff"/><Relationship Id="rId19" Type="http://schemas.openxmlformats.org/officeDocument/2006/relationships/image" Target="../media/image109.tiff"/><Relationship Id="rId4" Type="http://schemas.openxmlformats.org/officeDocument/2006/relationships/notesSlide" Target="../notesSlides/notesSlide42.xml"/><Relationship Id="rId9" Type="http://schemas.openxmlformats.org/officeDocument/2006/relationships/image" Target="../media/image99.tiff"/><Relationship Id="rId14" Type="http://schemas.openxmlformats.org/officeDocument/2006/relationships/image" Target="../media/image104.png"/></Relationships>
</file>

<file path=ppt/slides/_rels/slide4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3.xml"/><Relationship Id="rId1" Type="http://schemas.openxmlformats.org/officeDocument/2006/relationships/slideLayout" Target="../slideLayouts/slideLayout275.xml"/></Relationships>
</file>

<file path=ppt/slides/_rels/slide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4.xml"/><Relationship Id="rId1" Type="http://schemas.openxmlformats.org/officeDocument/2006/relationships/slideLayout" Target="../slideLayouts/slideLayout275.xml"/><Relationship Id="rId4" Type="http://schemas.openxmlformats.org/officeDocument/2006/relationships/image" Target="../media/image31.png"/></Relationships>
</file>

<file path=ppt/slides/_rels/slide4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5.xml"/><Relationship Id="rId1" Type="http://schemas.openxmlformats.org/officeDocument/2006/relationships/slideLayout" Target="../slideLayouts/slideLayout164.xml"/><Relationship Id="rId4" Type="http://schemas.openxmlformats.org/officeDocument/2006/relationships/image" Target="../media/image113.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47.xml"/></Relationships>
</file>

<file path=ppt/slides/_rels/slide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33.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7.xml"/></Relationships>
</file>

<file path=ppt/slides/_rels/slide51.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47.xml"/></Relationships>
</file>

<file path=ppt/slides/_rels/slide52.xml.rels><?xml version="1.0" encoding="UTF-8" standalone="yes"?>
<Relationships xmlns="http://schemas.openxmlformats.org/package/2006/relationships"><Relationship Id="rId3" Type="http://schemas.openxmlformats.org/officeDocument/2006/relationships/image" Target="../media/image115.tiff"/><Relationship Id="rId2" Type="http://schemas.openxmlformats.org/officeDocument/2006/relationships/notesSlide" Target="../notesSlides/notesSlide46.xml"/><Relationship Id="rId1" Type="http://schemas.openxmlformats.org/officeDocument/2006/relationships/slideLayout" Target="../slideLayouts/slideLayout146.xml"/><Relationship Id="rId4" Type="http://schemas.openxmlformats.org/officeDocument/2006/relationships/image" Target="../media/image116.png"/></Relationships>
</file>

<file path=ppt/slides/_rels/slide53.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46.xml"/></Relationships>
</file>

<file path=ppt/slides/_rels/slide54.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46.xml"/></Relationships>
</file>

<file path=ppt/slides/_rels/slide55.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46.xml"/></Relationships>
</file>

<file path=ppt/slides/_rels/slide5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146.xml"/></Relationships>
</file>

<file path=ppt/slides/_rels/slide57.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147.xml"/></Relationships>
</file>

<file path=ppt/slides/_rels/slide58.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46.xml"/></Relationships>
</file>

<file path=ppt/slides/_rels/slide5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24.png"/><Relationship Id="rId1" Type="http://schemas.openxmlformats.org/officeDocument/2006/relationships/slideLayout" Target="../slideLayouts/slideLayout146.xml"/><Relationship Id="rId4" Type="http://schemas.openxmlformats.org/officeDocument/2006/relationships/image" Target="../media/image125.png"/></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37.emf"/><Relationship Id="rId5" Type="http://schemas.openxmlformats.org/officeDocument/2006/relationships/image" Target="../media/image36.svg"/><Relationship Id="rId4" Type="http://schemas.openxmlformats.org/officeDocument/2006/relationships/image" Target="../media/image35.png"/></Relationships>
</file>

<file path=ppt/slides/_rels/slide6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7.xml"/><Relationship Id="rId1" Type="http://schemas.openxmlformats.org/officeDocument/2006/relationships/slideLayout" Target="../slideLayouts/slideLayout299.xml"/></Relationships>
</file>

<file path=ppt/slides/_rels/slide61.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tags" Target="../tags/tag112.xml"/><Relationship Id="rId26" Type="http://schemas.openxmlformats.org/officeDocument/2006/relationships/image" Target="../media/image58.png"/><Relationship Id="rId3" Type="http://schemas.openxmlformats.org/officeDocument/2006/relationships/tags" Target="../tags/tag97.xml"/><Relationship Id="rId21" Type="http://schemas.openxmlformats.org/officeDocument/2006/relationships/image" Target="../media/image127.png"/><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image" Target="../media/image131.png"/><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notesSlide" Target="../notesSlides/notesSlide48.xml"/><Relationship Id="rId29" Type="http://schemas.openxmlformats.org/officeDocument/2006/relationships/image" Target="../media/image31.png"/><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image" Target="../media/image130.svg"/><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image" Target="../media/image129.png"/><Relationship Id="rId28" Type="http://schemas.openxmlformats.org/officeDocument/2006/relationships/image" Target="../media/image64.png"/><Relationship Id="rId10" Type="http://schemas.openxmlformats.org/officeDocument/2006/relationships/tags" Target="../tags/tag104.xml"/><Relationship Id="rId19" Type="http://schemas.openxmlformats.org/officeDocument/2006/relationships/slideLayout" Target="../slideLayouts/slideLayout148.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image" Target="../media/image128.svg"/><Relationship Id="rId27" Type="http://schemas.openxmlformats.org/officeDocument/2006/relationships/image" Target="../media/image59.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9"/>
          <p:cNvSpPr>
            <a:spLocks noGrp="1"/>
          </p:cNvSpPr>
          <p:nvPr>
            <p:ph type="subTitle" idx="1"/>
          </p:nvPr>
        </p:nvSpPr>
        <p:spPr/>
        <p:txBody>
          <a:bodyPr/>
          <a:lstStyle/>
          <a:p>
            <a:r>
              <a:rPr lang="en-US" sz="1400" dirty="0"/>
              <a:t>Christopher Say </a:t>
            </a:r>
            <a:r>
              <a:rPr lang="en-US" sz="600" dirty="0"/>
              <a:t>– CCIE RS|SP|DC</a:t>
            </a:r>
          </a:p>
        </p:txBody>
      </p:sp>
      <p:sp>
        <p:nvSpPr>
          <p:cNvPr id="8" name="Text Placeholder 7"/>
          <p:cNvSpPr>
            <a:spLocks noGrp="1"/>
          </p:cNvSpPr>
          <p:nvPr>
            <p:ph type="body" sz="quarter" idx="11"/>
          </p:nvPr>
        </p:nvSpPr>
        <p:spPr/>
        <p:txBody>
          <a:bodyPr/>
          <a:lstStyle/>
          <a:p>
            <a:r>
              <a:rPr lang="en-US" sz="1000" dirty="0"/>
              <a:t>Technical Solutions Architect </a:t>
            </a:r>
            <a:r>
              <a:rPr lang="en-US" sz="800" dirty="0"/>
              <a:t>(Datacenter)</a:t>
            </a:r>
          </a:p>
        </p:txBody>
      </p:sp>
      <p:sp>
        <p:nvSpPr>
          <p:cNvPr id="9" name="Text Placeholder 8"/>
          <p:cNvSpPr>
            <a:spLocks noGrp="1"/>
          </p:cNvSpPr>
          <p:nvPr>
            <p:ph type="body" sz="quarter" idx="12"/>
          </p:nvPr>
        </p:nvSpPr>
        <p:spPr/>
        <p:txBody>
          <a:bodyPr/>
          <a:lstStyle/>
          <a:p>
            <a:r>
              <a:rPr lang="en-US" sz="1000" dirty="0"/>
              <a:t>csaychoh@cisco.com</a:t>
            </a:r>
          </a:p>
        </p:txBody>
      </p:sp>
      <p:sp>
        <p:nvSpPr>
          <p:cNvPr id="13" name="Text Placeholder 12"/>
          <p:cNvSpPr>
            <a:spLocks noGrp="1"/>
          </p:cNvSpPr>
          <p:nvPr>
            <p:ph type="body" sz="quarter" idx="13"/>
          </p:nvPr>
        </p:nvSpPr>
        <p:spPr/>
        <p:txBody>
          <a:bodyPr/>
          <a:lstStyle/>
          <a:p>
            <a:r>
              <a:rPr lang="en-US" dirty="0">
                <a:solidFill>
                  <a:schemeClr val="bg2"/>
                </a:solidFill>
              </a:rPr>
              <a:t>Cisco’s Integrated Security</a:t>
            </a:r>
          </a:p>
        </p:txBody>
      </p:sp>
      <p:sp>
        <p:nvSpPr>
          <p:cNvPr id="3" name="Title 2"/>
          <p:cNvSpPr>
            <a:spLocks noGrp="1"/>
          </p:cNvSpPr>
          <p:nvPr>
            <p:ph type="ctrTitle"/>
          </p:nvPr>
        </p:nvSpPr>
        <p:spPr>
          <a:xfrm>
            <a:off x="425765" y="2529571"/>
            <a:ext cx="8340152" cy="587326"/>
          </a:xfrm>
        </p:spPr>
        <p:txBody>
          <a:bodyPr/>
          <a:lstStyle/>
          <a:p>
            <a:r>
              <a:rPr lang="en-US" sz="3600" dirty="0">
                <a:solidFill>
                  <a:schemeClr val="bg2"/>
                </a:solidFill>
              </a:rPr>
              <a:t>Next-Generation Datacenter</a:t>
            </a:r>
          </a:p>
        </p:txBody>
      </p:sp>
      <p:pic>
        <p:nvPicPr>
          <p:cNvPr id="2" name="Picture 1"/>
          <p:cNvPicPr>
            <a:picLocks noChangeAspect="1"/>
          </p:cNvPicPr>
          <p:nvPr/>
        </p:nvPicPr>
        <p:blipFill rotWithShape="1">
          <a:blip r:embed="rId3">
            <a:alphaModFix amt="48000"/>
            <a:extLst>
              <a:ext uri="{28A0092B-C50C-407E-A947-70E740481C1C}">
                <a14:useLocalDpi xmlns:a14="http://schemas.microsoft.com/office/drawing/2010/main"/>
              </a:ext>
            </a:extLst>
          </a:blip>
          <a:srcRect/>
          <a:stretch/>
        </p:blipFill>
        <p:spPr>
          <a:xfrm>
            <a:off x="7151569" y="0"/>
            <a:ext cx="1992432" cy="5143500"/>
          </a:xfrm>
          <a:prstGeom prst="rect">
            <a:avLst/>
          </a:prstGeom>
        </p:spPr>
      </p:pic>
    </p:spTree>
    <p:extLst>
      <p:ext uri="{BB962C8B-B14F-4D97-AF65-F5344CB8AC3E}">
        <p14:creationId xmlns:p14="http://schemas.microsoft.com/office/powerpoint/2010/main" val="17054851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hidden="1">
            <a:extLst>
              <a:ext uri="{FF2B5EF4-FFF2-40B4-BE49-F238E27FC236}">
                <a16:creationId xmlns:a16="http://schemas.microsoft.com/office/drawing/2014/main" id="{398C0DF1-1A08-4B4E-B53B-C1DC70824D5A}"/>
              </a:ext>
            </a:extLst>
          </p:cNvPr>
          <p:cNvPicPr>
            <a:picLocks noChangeAspect="1"/>
          </p:cNvPicPr>
          <p:nvPr/>
        </p:nvPicPr>
        <p:blipFill>
          <a:blip r:embed="rId3"/>
          <a:stretch>
            <a:fillRect/>
          </a:stretch>
        </p:blipFill>
        <p:spPr>
          <a:xfrm>
            <a:off x="0" y="0"/>
            <a:ext cx="9144000" cy="5143500"/>
          </a:xfrm>
          <a:prstGeom prst="rect">
            <a:avLst/>
          </a:prstGeom>
        </p:spPr>
      </p:pic>
      <p:pic>
        <p:nvPicPr>
          <p:cNvPr id="15" name="Picture 14" hidden="1">
            <a:extLst>
              <a:ext uri="{FF2B5EF4-FFF2-40B4-BE49-F238E27FC236}">
                <a16:creationId xmlns:a16="http://schemas.microsoft.com/office/drawing/2014/main" id="{8F0B2918-7BC2-4F40-87D0-7610F89D733C}"/>
              </a:ext>
            </a:extLst>
          </p:cNvPr>
          <p:cNvPicPr>
            <a:picLocks noChangeAspect="1"/>
          </p:cNvPicPr>
          <p:nvPr/>
        </p:nvPicPr>
        <p:blipFill>
          <a:blip r:embed="rId4"/>
          <a:stretch>
            <a:fillRect/>
          </a:stretch>
        </p:blipFill>
        <p:spPr>
          <a:xfrm>
            <a:off x="2" y="0"/>
            <a:ext cx="9143999" cy="5143500"/>
          </a:xfrm>
          <a:prstGeom prst="rect">
            <a:avLst/>
          </a:prstGeom>
        </p:spPr>
      </p:pic>
      <p:sp>
        <p:nvSpPr>
          <p:cNvPr id="69" name="Freeform: Shape 68">
            <a:extLst>
              <a:ext uri="{FF2B5EF4-FFF2-40B4-BE49-F238E27FC236}">
                <a16:creationId xmlns:a16="http://schemas.microsoft.com/office/drawing/2014/main" id="{1C6765AD-48CD-4326-A813-C75D95D6A112}"/>
              </a:ext>
            </a:extLst>
          </p:cNvPr>
          <p:cNvSpPr/>
          <p:nvPr/>
        </p:nvSpPr>
        <p:spPr>
          <a:xfrm>
            <a:off x="1" y="2234949"/>
            <a:ext cx="1153307" cy="815347"/>
          </a:xfrm>
          <a:custGeom>
            <a:avLst/>
            <a:gdLst>
              <a:gd name="connsiteX0" fmla="*/ 1225166 w 1225166"/>
              <a:gd name="connsiteY0" fmla="*/ 0 h 3460913"/>
              <a:gd name="connsiteX1" fmla="*/ 1225166 w 1225166"/>
              <a:gd name="connsiteY1" fmla="*/ 3460913 h 3460913"/>
              <a:gd name="connsiteX2" fmla="*/ 0 w 1225166"/>
              <a:gd name="connsiteY2" fmla="*/ 3460913 h 3460913"/>
              <a:gd name="connsiteX3" fmla="*/ 0 w 1225166"/>
              <a:gd name="connsiteY3" fmla="*/ 815347 h 3460913"/>
              <a:gd name="connsiteX4" fmla="*/ 36029 w 1225166"/>
              <a:gd name="connsiteY4" fmla="*/ 782506 h 3460913"/>
              <a:gd name="connsiteX5" fmla="*/ 1054928 w 1225166"/>
              <a:gd name="connsiteY5" fmla="*/ 86717 h 3460913"/>
              <a:gd name="connsiteX0" fmla="*/ 1225166 w 1316606"/>
              <a:gd name="connsiteY0" fmla="*/ 3460913 h 3552353"/>
              <a:gd name="connsiteX1" fmla="*/ 0 w 1316606"/>
              <a:gd name="connsiteY1" fmla="*/ 3460913 h 3552353"/>
              <a:gd name="connsiteX2" fmla="*/ 0 w 1316606"/>
              <a:gd name="connsiteY2" fmla="*/ 815347 h 3552353"/>
              <a:gd name="connsiteX3" fmla="*/ 36029 w 1316606"/>
              <a:gd name="connsiteY3" fmla="*/ 782506 h 3552353"/>
              <a:gd name="connsiteX4" fmla="*/ 1054928 w 1316606"/>
              <a:gd name="connsiteY4" fmla="*/ 86717 h 3552353"/>
              <a:gd name="connsiteX5" fmla="*/ 1225166 w 1316606"/>
              <a:gd name="connsiteY5" fmla="*/ 0 h 3552353"/>
              <a:gd name="connsiteX6" fmla="*/ 1316606 w 1316606"/>
              <a:gd name="connsiteY6" fmla="*/ 3552353 h 3552353"/>
              <a:gd name="connsiteX0" fmla="*/ 1225166 w 1225166"/>
              <a:gd name="connsiteY0" fmla="*/ 3460913 h 3460913"/>
              <a:gd name="connsiteX1" fmla="*/ 0 w 1225166"/>
              <a:gd name="connsiteY1" fmla="*/ 3460913 h 3460913"/>
              <a:gd name="connsiteX2" fmla="*/ 0 w 1225166"/>
              <a:gd name="connsiteY2" fmla="*/ 815347 h 3460913"/>
              <a:gd name="connsiteX3" fmla="*/ 36029 w 1225166"/>
              <a:gd name="connsiteY3" fmla="*/ 782506 h 3460913"/>
              <a:gd name="connsiteX4" fmla="*/ 1054928 w 1225166"/>
              <a:gd name="connsiteY4" fmla="*/ 86717 h 3460913"/>
              <a:gd name="connsiteX5" fmla="*/ 1225166 w 1225166"/>
              <a:gd name="connsiteY5" fmla="*/ 0 h 3460913"/>
              <a:gd name="connsiteX0" fmla="*/ 0 w 1225166"/>
              <a:gd name="connsiteY0" fmla="*/ 3460913 h 3460913"/>
              <a:gd name="connsiteX1" fmla="*/ 0 w 1225166"/>
              <a:gd name="connsiteY1" fmla="*/ 815347 h 3460913"/>
              <a:gd name="connsiteX2" fmla="*/ 36029 w 1225166"/>
              <a:gd name="connsiteY2" fmla="*/ 782506 h 3460913"/>
              <a:gd name="connsiteX3" fmla="*/ 1054928 w 1225166"/>
              <a:gd name="connsiteY3" fmla="*/ 86717 h 3460913"/>
              <a:gd name="connsiteX4" fmla="*/ 1225166 w 1225166"/>
              <a:gd name="connsiteY4" fmla="*/ 0 h 3460913"/>
              <a:gd name="connsiteX0" fmla="*/ 0 w 1225166"/>
              <a:gd name="connsiteY0" fmla="*/ 815347 h 815347"/>
              <a:gd name="connsiteX1" fmla="*/ 36029 w 1225166"/>
              <a:gd name="connsiteY1" fmla="*/ 782506 h 815347"/>
              <a:gd name="connsiteX2" fmla="*/ 1054928 w 1225166"/>
              <a:gd name="connsiteY2" fmla="*/ 86717 h 815347"/>
              <a:gd name="connsiteX3" fmla="*/ 1225166 w 1225166"/>
              <a:gd name="connsiteY3" fmla="*/ 0 h 815347"/>
            </a:gdLst>
            <a:ahLst/>
            <a:cxnLst>
              <a:cxn ang="0">
                <a:pos x="connsiteX0" y="connsiteY0"/>
              </a:cxn>
              <a:cxn ang="0">
                <a:pos x="connsiteX1" y="connsiteY1"/>
              </a:cxn>
              <a:cxn ang="0">
                <a:pos x="connsiteX2" y="connsiteY2"/>
              </a:cxn>
              <a:cxn ang="0">
                <a:pos x="connsiteX3" y="connsiteY3"/>
              </a:cxn>
            </a:cxnLst>
            <a:rect l="l" t="t" r="r" b="b"/>
            <a:pathLst>
              <a:path w="1225166" h="815347">
                <a:moveTo>
                  <a:pt x="0" y="815347"/>
                </a:moveTo>
                <a:lnTo>
                  <a:pt x="36029" y="782506"/>
                </a:lnTo>
                <a:cubicBezTo>
                  <a:pt x="335519" y="522556"/>
                  <a:pt x="677717" y="288789"/>
                  <a:pt x="1054928" y="86717"/>
                </a:cubicBezTo>
                <a:lnTo>
                  <a:pt x="1225166" y="0"/>
                </a:lnTo>
              </a:path>
            </a:pathLst>
          </a:custGeom>
          <a:ln w="38100" cap="rnd">
            <a:solidFill>
              <a:schemeClr val="tx1">
                <a:lumMod val="10000"/>
                <a:lumOff val="90000"/>
              </a:schemeClr>
            </a:solidFill>
            <a:prstDash val="sysDash"/>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8" name="Group 7">
            <a:extLst>
              <a:ext uri="{FF2B5EF4-FFF2-40B4-BE49-F238E27FC236}">
                <a16:creationId xmlns:a16="http://schemas.microsoft.com/office/drawing/2014/main" id="{6EDEC2BB-6B9E-4F80-ACA8-7166A92C5EA8}"/>
              </a:ext>
            </a:extLst>
          </p:cNvPr>
          <p:cNvGrpSpPr/>
          <p:nvPr/>
        </p:nvGrpSpPr>
        <p:grpSpPr>
          <a:xfrm>
            <a:off x="1005033" y="1586744"/>
            <a:ext cx="1351652" cy="1281225"/>
            <a:chOff x="1005033" y="2348166"/>
            <a:chExt cx="1351652" cy="1281225"/>
          </a:xfrm>
        </p:grpSpPr>
        <p:pic>
          <p:nvPicPr>
            <p:cNvPr id="18" name="Picture 17">
              <a:extLst>
                <a:ext uri="{FF2B5EF4-FFF2-40B4-BE49-F238E27FC236}">
                  <a16:creationId xmlns:a16="http://schemas.microsoft.com/office/drawing/2014/main" id="{064CB52A-8BCF-4F7F-A99D-694FDBE9C1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25166" y="2348166"/>
              <a:ext cx="911383" cy="911892"/>
            </a:xfrm>
            <a:prstGeom prst="rect">
              <a:avLst/>
            </a:prstGeom>
          </p:spPr>
        </p:pic>
        <p:sp>
          <p:nvSpPr>
            <p:cNvPr id="28" name="TextBox 27">
              <a:extLst>
                <a:ext uri="{FF2B5EF4-FFF2-40B4-BE49-F238E27FC236}">
                  <a16:creationId xmlns:a16="http://schemas.microsoft.com/office/drawing/2014/main" id="{2C7DA07E-6D5F-4736-991A-7EE214FEE28E}"/>
                </a:ext>
              </a:extLst>
            </p:cNvPr>
            <p:cNvSpPr txBox="1"/>
            <p:nvPr/>
          </p:nvSpPr>
          <p:spPr>
            <a:xfrm>
              <a:off x="1005033" y="3260059"/>
              <a:ext cx="1351652" cy="369332"/>
            </a:xfrm>
            <a:prstGeom prst="rect">
              <a:avLst/>
            </a:prstGeom>
            <a:noFill/>
          </p:spPr>
          <p:txBody>
            <a:bodyPr wrap="none" rtlCol="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6EBE4A"/>
                  </a:solidFill>
                  <a:effectLst/>
                  <a:uLnTx/>
                  <a:uFillTx/>
                  <a:latin typeface="Arial" charset="0"/>
                  <a:ea typeface="ＭＳ Ｐゴシック" charset="0"/>
                  <a:cs typeface="CiscoSansTT" panose="020B0503020201020303" pitchFamily="34" charset="0"/>
                </a:rPr>
                <a:t>Automation</a:t>
              </a:r>
            </a:p>
          </p:txBody>
        </p:sp>
      </p:grpSp>
      <p:grpSp>
        <p:nvGrpSpPr>
          <p:cNvPr id="10" name="Group 9">
            <a:extLst>
              <a:ext uri="{FF2B5EF4-FFF2-40B4-BE49-F238E27FC236}">
                <a16:creationId xmlns:a16="http://schemas.microsoft.com/office/drawing/2014/main" id="{FE681F21-DEED-4B80-BC2E-DDD3A6736565}"/>
              </a:ext>
            </a:extLst>
          </p:cNvPr>
          <p:cNvGrpSpPr/>
          <p:nvPr/>
        </p:nvGrpSpPr>
        <p:grpSpPr>
          <a:xfrm>
            <a:off x="6954032" y="1586744"/>
            <a:ext cx="1018228" cy="1281225"/>
            <a:chOff x="6954030" y="2348166"/>
            <a:chExt cx="1018227" cy="1281225"/>
          </a:xfrm>
        </p:grpSpPr>
        <p:pic>
          <p:nvPicPr>
            <p:cNvPr id="26" name="Picture 25">
              <a:extLst>
                <a:ext uri="{FF2B5EF4-FFF2-40B4-BE49-F238E27FC236}">
                  <a16:creationId xmlns:a16="http://schemas.microsoft.com/office/drawing/2014/main" id="{5BE7C87C-1494-483F-8B85-8057D9CE5DB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007451" y="2348166"/>
              <a:ext cx="911383" cy="911892"/>
            </a:xfrm>
            <a:prstGeom prst="rect">
              <a:avLst/>
            </a:prstGeom>
          </p:spPr>
        </p:pic>
        <p:sp>
          <p:nvSpPr>
            <p:cNvPr id="29" name="TextBox 28">
              <a:extLst>
                <a:ext uri="{FF2B5EF4-FFF2-40B4-BE49-F238E27FC236}">
                  <a16:creationId xmlns:a16="http://schemas.microsoft.com/office/drawing/2014/main" id="{583E3FAA-386D-4687-8E93-DB76ACB1BD5F}"/>
                </a:ext>
              </a:extLst>
            </p:cNvPr>
            <p:cNvSpPr txBox="1"/>
            <p:nvPr/>
          </p:nvSpPr>
          <p:spPr>
            <a:xfrm>
              <a:off x="6954030" y="3260059"/>
              <a:ext cx="1018227" cy="369332"/>
            </a:xfrm>
            <a:prstGeom prst="rect">
              <a:avLst/>
            </a:prstGeom>
            <a:noFill/>
          </p:spPr>
          <p:txBody>
            <a:bodyPr wrap="none" rtlCol="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BAB18"/>
                  </a:solidFill>
                  <a:effectLst/>
                  <a:uLnTx/>
                  <a:uFillTx/>
                  <a:latin typeface="Arial" charset="0"/>
                  <a:ea typeface="ＭＳ Ｐゴシック" charset="0"/>
                  <a:cs typeface="CiscoSansTT" panose="020B0503020201020303" pitchFamily="34" charset="0"/>
                </a:rPr>
                <a:t>Security</a:t>
              </a:r>
            </a:p>
          </p:txBody>
        </p:sp>
      </p:grpSp>
      <p:grpSp>
        <p:nvGrpSpPr>
          <p:cNvPr id="9" name="Group 8">
            <a:extLst>
              <a:ext uri="{FF2B5EF4-FFF2-40B4-BE49-F238E27FC236}">
                <a16:creationId xmlns:a16="http://schemas.microsoft.com/office/drawing/2014/main" id="{2CD0BF41-0344-43D7-ACF5-29C55512B169}"/>
              </a:ext>
            </a:extLst>
          </p:cNvPr>
          <p:cNvGrpSpPr/>
          <p:nvPr/>
        </p:nvGrpSpPr>
        <p:grpSpPr>
          <a:xfrm>
            <a:off x="3960293" y="1068632"/>
            <a:ext cx="1223413" cy="1281225"/>
            <a:chOff x="3960293" y="1830054"/>
            <a:chExt cx="1223413" cy="1281225"/>
          </a:xfrm>
        </p:grpSpPr>
        <p:sp>
          <p:nvSpPr>
            <p:cNvPr id="23" name="TextBox 22">
              <a:extLst>
                <a:ext uri="{FF2B5EF4-FFF2-40B4-BE49-F238E27FC236}">
                  <a16:creationId xmlns:a16="http://schemas.microsoft.com/office/drawing/2014/main" id="{E6407A56-87B6-497E-BDF4-7D3D0E2A174E}"/>
                </a:ext>
              </a:extLst>
            </p:cNvPr>
            <p:cNvSpPr txBox="1"/>
            <p:nvPr/>
          </p:nvSpPr>
          <p:spPr>
            <a:xfrm>
              <a:off x="3960293" y="2741947"/>
              <a:ext cx="1223413" cy="369332"/>
            </a:xfrm>
            <a:prstGeom prst="rect">
              <a:avLst/>
            </a:prstGeom>
            <a:noFill/>
          </p:spPr>
          <p:txBody>
            <a:bodyPr wrap="none" rtlCol="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BCEB"/>
                  </a:solidFill>
                  <a:effectLst/>
                  <a:uLnTx/>
                  <a:uFillTx/>
                  <a:latin typeface="Arial" charset="0"/>
                  <a:ea typeface="ＭＳ Ｐゴシック" charset="0"/>
                  <a:cs typeface="CiscoSansTT" panose="020B0503020201020303" pitchFamily="34" charset="0"/>
                </a:rPr>
                <a:t>Multicloud</a:t>
              </a:r>
            </a:p>
          </p:txBody>
        </p:sp>
        <p:pic>
          <p:nvPicPr>
            <p:cNvPr id="27" name="Picture 26">
              <a:extLst>
                <a:ext uri="{FF2B5EF4-FFF2-40B4-BE49-F238E27FC236}">
                  <a16:creationId xmlns:a16="http://schemas.microsoft.com/office/drawing/2014/main" id="{616978B5-26EA-4667-91D4-DCA1BFF249F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116308" y="1830054"/>
              <a:ext cx="911384" cy="911892"/>
            </a:xfrm>
            <a:prstGeom prst="rect">
              <a:avLst/>
            </a:prstGeom>
          </p:spPr>
        </p:pic>
      </p:grpSp>
      <p:sp>
        <p:nvSpPr>
          <p:cNvPr id="2" name="Rectangle 1">
            <a:extLst>
              <a:ext uri="{FF2B5EF4-FFF2-40B4-BE49-F238E27FC236}">
                <a16:creationId xmlns:a16="http://schemas.microsoft.com/office/drawing/2014/main" id="{24ADB5CC-84AA-F647-B9BB-1ED59BA4C9F9}"/>
              </a:ext>
            </a:extLst>
          </p:cNvPr>
          <p:cNvSpPr/>
          <p:nvPr/>
        </p:nvSpPr>
        <p:spPr>
          <a:xfrm>
            <a:off x="590638" y="3001262"/>
            <a:ext cx="2361537" cy="54592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6EBE4A"/>
                </a:solidFill>
                <a:effectLst/>
                <a:uLnTx/>
                <a:uFillTx/>
                <a:latin typeface="CiscoSansTT ExtraLight"/>
                <a:ea typeface="+mn-ea"/>
                <a:cs typeface="+mn-cs"/>
              </a:rPr>
              <a:t>Automate wherever possible, and transform IT into a strategic business enabler.</a:t>
            </a:r>
          </a:p>
        </p:txBody>
      </p:sp>
      <p:sp>
        <p:nvSpPr>
          <p:cNvPr id="22" name="Rectangle 21">
            <a:extLst>
              <a:ext uri="{FF2B5EF4-FFF2-40B4-BE49-F238E27FC236}">
                <a16:creationId xmlns:a16="http://schemas.microsoft.com/office/drawing/2014/main" id="{6E1E14D2-F3BE-624A-9A63-9E4E25B4A795}"/>
              </a:ext>
            </a:extLst>
          </p:cNvPr>
          <p:cNvSpPr/>
          <p:nvPr/>
        </p:nvSpPr>
        <p:spPr>
          <a:xfrm>
            <a:off x="3292518" y="2349857"/>
            <a:ext cx="2558964" cy="61443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BCEB"/>
                </a:solidFill>
                <a:effectLst/>
                <a:uLnTx/>
                <a:uFillTx/>
                <a:latin typeface="CiscoSansTT ExtraLight"/>
                <a:ea typeface="+mn-ea"/>
                <a:cs typeface="+mn-cs"/>
              </a:rPr>
              <a:t>Design so that location doesn’t matter</a:t>
            </a:r>
            <a:r>
              <a:rPr lang="en-US" sz="1200" dirty="0">
                <a:solidFill>
                  <a:srgbClr val="00BCEB"/>
                </a:solidFill>
                <a:latin typeface="CiscoSansTT ExtraLight"/>
              </a:rPr>
              <a:t>, e</a:t>
            </a:r>
            <a:r>
              <a:rPr kumimoji="0" lang="en-US" sz="1200" b="0" i="0" u="none" strike="noStrike" kern="1200" cap="none" spc="0" normalizeH="0" baseline="0" noProof="0" dirty="0" err="1">
                <a:ln>
                  <a:noFill/>
                </a:ln>
                <a:solidFill>
                  <a:srgbClr val="00BCEB"/>
                </a:solidFill>
                <a:effectLst/>
                <a:uLnTx/>
                <a:uFillTx/>
                <a:latin typeface="CiscoSansTT ExtraLight"/>
                <a:ea typeface="+mn-ea"/>
                <a:cs typeface="+mn-cs"/>
              </a:rPr>
              <a:t>mbracing</a:t>
            </a:r>
            <a:r>
              <a:rPr kumimoji="0" lang="en-US" sz="1200" b="0" i="0" u="none" strike="noStrike" kern="1200" cap="none" spc="0" normalizeH="0" baseline="0" noProof="0" dirty="0">
                <a:ln>
                  <a:noFill/>
                </a:ln>
                <a:solidFill>
                  <a:srgbClr val="00BCEB"/>
                </a:solidFill>
                <a:effectLst/>
                <a:uLnTx/>
                <a:uFillTx/>
                <a:latin typeface="CiscoSansTT ExtraLight"/>
                <a:ea typeface="+mn-ea"/>
                <a:cs typeface="+mn-cs"/>
              </a:rPr>
              <a:t> Multicloud as an opportunity, not a hinderance.</a:t>
            </a:r>
          </a:p>
        </p:txBody>
      </p:sp>
      <p:sp>
        <p:nvSpPr>
          <p:cNvPr id="24" name="Rectangle 23">
            <a:extLst>
              <a:ext uri="{FF2B5EF4-FFF2-40B4-BE49-F238E27FC236}">
                <a16:creationId xmlns:a16="http://schemas.microsoft.com/office/drawing/2014/main" id="{02605FCF-3F2A-A349-A3F5-86EA1788100E}"/>
              </a:ext>
            </a:extLst>
          </p:cNvPr>
          <p:cNvSpPr/>
          <p:nvPr/>
        </p:nvSpPr>
        <p:spPr>
          <a:xfrm>
            <a:off x="6390255" y="2964292"/>
            <a:ext cx="2145779" cy="57795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BAB18"/>
                </a:solidFill>
                <a:effectLst/>
                <a:uLnTx/>
                <a:uFillTx/>
                <a:latin typeface="CiscoSansTT ExtraLight"/>
                <a:ea typeface="+mn-ea"/>
                <a:cs typeface="+mn-cs"/>
              </a:rPr>
              <a:t>Integrate security from the ground-up, providing pervasive defense in depth.</a:t>
            </a:r>
          </a:p>
        </p:txBody>
      </p:sp>
      <p:sp>
        <p:nvSpPr>
          <p:cNvPr id="4" name="Title 3">
            <a:extLst>
              <a:ext uri="{FF2B5EF4-FFF2-40B4-BE49-F238E27FC236}">
                <a16:creationId xmlns:a16="http://schemas.microsoft.com/office/drawing/2014/main" id="{807A0C02-F075-4636-B3C9-3E4239CAEB08}"/>
              </a:ext>
            </a:extLst>
          </p:cNvPr>
          <p:cNvSpPr>
            <a:spLocks noGrp="1"/>
          </p:cNvSpPr>
          <p:nvPr>
            <p:ph type="title"/>
          </p:nvPr>
        </p:nvSpPr>
        <p:spPr/>
        <p:txBody>
          <a:bodyPr/>
          <a:lstStyle/>
          <a:p>
            <a:r>
              <a:rPr lang="en-US" dirty="0"/>
              <a:t>Cisco Data Center: Pillars for Success</a:t>
            </a:r>
          </a:p>
        </p:txBody>
      </p:sp>
      <p:sp>
        <p:nvSpPr>
          <p:cNvPr id="78" name="Freeform: Shape 77">
            <a:extLst>
              <a:ext uri="{FF2B5EF4-FFF2-40B4-BE49-F238E27FC236}">
                <a16:creationId xmlns:a16="http://schemas.microsoft.com/office/drawing/2014/main" id="{583FAD5C-9986-497B-87BB-68BC90CEC790}"/>
              </a:ext>
            </a:extLst>
          </p:cNvPr>
          <p:cNvSpPr/>
          <p:nvPr/>
        </p:nvSpPr>
        <p:spPr>
          <a:xfrm>
            <a:off x="7990693" y="2234949"/>
            <a:ext cx="1153307" cy="815347"/>
          </a:xfrm>
          <a:custGeom>
            <a:avLst/>
            <a:gdLst>
              <a:gd name="connsiteX0" fmla="*/ 0 w 1225166"/>
              <a:gd name="connsiteY0" fmla="*/ 0 h 3460913"/>
              <a:gd name="connsiteX1" fmla="*/ 170239 w 1225166"/>
              <a:gd name="connsiteY1" fmla="*/ 86717 h 3460913"/>
              <a:gd name="connsiteX2" fmla="*/ 1189137 w 1225166"/>
              <a:gd name="connsiteY2" fmla="*/ 782506 h 3460913"/>
              <a:gd name="connsiteX3" fmla="*/ 1225166 w 1225166"/>
              <a:gd name="connsiteY3" fmla="*/ 815347 h 3460913"/>
              <a:gd name="connsiteX4" fmla="*/ 1225166 w 1225166"/>
              <a:gd name="connsiteY4" fmla="*/ 3460913 h 3460913"/>
              <a:gd name="connsiteX5" fmla="*/ 0 w 1225166"/>
              <a:gd name="connsiteY5" fmla="*/ 3460913 h 3460913"/>
              <a:gd name="connsiteX0" fmla="*/ 1225166 w 1316606"/>
              <a:gd name="connsiteY0" fmla="*/ 3460913 h 3552353"/>
              <a:gd name="connsiteX1" fmla="*/ 0 w 1316606"/>
              <a:gd name="connsiteY1" fmla="*/ 3460913 h 3552353"/>
              <a:gd name="connsiteX2" fmla="*/ 0 w 1316606"/>
              <a:gd name="connsiteY2" fmla="*/ 0 h 3552353"/>
              <a:gd name="connsiteX3" fmla="*/ 170239 w 1316606"/>
              <a:gd name="connsiteY3" fmla="*/ 86717 h 3552353"/>
              <a:gd name="connsiteX4" fmla="*/ 1189137 w 1316606"/>
              <a:gd name="connsiteY4" fmla="*/ 782506 h 3552353"/>
              <a:gd name="connsiteX5" fmla="*/ 1225166 w 1316606"/>
              <a:gd name="connsiteY5" fmla="*/ 815347 h 3552353"/>
              <a:gd name="connsiteX6" fmla="*/ 1316606 w 1316606"/>
              <a:gd name="connsiteY6" fmla="*/ 3552353 h 3552353"/>
              <a:gd name="connsiteX0" fmla="*/ 1225166 w 1225166"/>
              <a:gd name="connsiteY0" fmla="*/ 3460913 h 3460913"/>
              <a:gd name="connsiteX1" fmla="*/ 0 w 1225166"/>
              <a:gd name="connsiteY1" fmla="*/ 3460913 h 3460913"/>
              <a:gd name="connsiteX2" fmla="*/ 0 w 1225166"/>
              <a:gd name="connsiteY2" fmla="*/ 0 h 3460913"/>
              <a:gd name="connsiteX3" fmla="*/ 170239 w 1225166"/>
              <a:gd name="connsiteY3" fmla="*/ 86717 h 3460913"/>
              <a:gd name="connsiteX4" fmla="*/ 1189137 w 1225166"/>
              <a:gd name="connsiteY4" fmla="*/ 782506 h 3460913"/>
              <a:gd name="connsiteX5" fmla="*/ 1225166 w 1225166"/>
              <a:gd name="connsiteY5" fmla="*/ 815347 h 3460913"/>
              <a:gd name="connsiteX0" fmla="*/ 0 w 1225166"/>
              <a:gd name="connsiteY0" fmla="*/ 3460913 h 3460913"/>
              <a:gd name="connsiteX1" fmla="*/ 0 w 1225166"/>
              <a:gd name="connsiteY1" fmla="*/ 0 h 3460913"/>
              <a:gd name="connsiteX2" fmla="*/ 170239 w 1225166"/>
              <a:gd name="connsiteY2" fmla="*/ 86717 h 3460913"/>
              <a:gd name="connsiteX3" fmla="*/ 1189137 w 1225166"/>
              <a:gd name="connsiteY3" fmla="*/ 782506 h 3460913"/>
              <a:gd name="connsiteX4" fmla="*/ 1225166 w 1225166"/>
              <a:gd name="connsiteY4" fmla="*/ 815347 h 3460913"/>
              <a:gd name="connsiteX0" fmla="*/ 0 w 1225166"/>
              <a:gd name="connsiteY0" fmla="*/ 0 h 815347"/>
              <a:gd name="connsiteX1" fmla="*/ 170239 w 1225166"/>
              <a:gd name="connsiteY1" fmla="*/ 86717 h 815347"/>
              <a:gd name="connsiteX2" fmla="*/ 1189137 w 1225166"/>
              <a:gd name="connsiteY2" fmla="*/ 782506 h 815347"/>
              <a:gd name="connsiteX3" fmla="*/ 1225166 w 1225166"/>
              <a:gd name="connsiteY3" fmla="*/ 815347 h 815347"/>
            </a:gdLst>
            <a:ahLst/>
            <a:cxnLst>
              <a:cxn ang="0">
                <a:pos x="connsiteX0" y="connsiteY0"/>
              </a:cxn>
              <a:cxn ang="0">
                <a:pos x="connsiteX1" y="connsiteY1"/>
              </a:cxn>
              <a:cxn ang="0">
                <a:pos x="connsiteX2" y="connsiteY2"/>
              </a:cxn>
              <a:cxn ang="0">
                <a:pos x="connsiteX3" y="connsiteY3"/>
              </a:cxn>
            </a:cxnLst>
            <a:rect l="l" t="t" r="r" b="b"/>
            <a:pathLst>
              <a:path w="1225166" h="815347">
                <a:moveTo>
                  <a:pt x="0" y="0"/>
                </a:moveTo>
                <a:lnTo>
                  <a:pt x="170239" y="86717"/>
                </a:lnTo>
                <a:cubicBezTo>
                  <a:pt x="547449" y="288789"/>
                  <a:pt x="889647" y="522556"/>
                  <a:pt x="1189137" y="782506"/>
                </a:cubicBezTo>
                <a:lnTo>
                  <a:pt x="1225166" y="815347"/>
                </a:lnTo>
              </a:path>
            </a:pathLst>
          </a:custGeom>
          <a:ln w="38100" cap="rnd">
            <a:solidFill>
              <a:schemeClr val="tx1">
                <a:lumMod val="10000"/>
                <a:lumOff val="90000"/>
              </a:schemeClr>
            </a:solidFill>
            <a:prstDash val="sysDash"/>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75" name="Freeform: Shape 74">
            <a:extLst>
              <a:ext uri="{FF2B5EF4-FFF2-40B4-BE49-F238E27FC236}">
                <a16:creationId xmlns:a16="http://schemas.microsoft.com/office/drawing/2014/main" id="{51F34067-85D1-412F-B96A-4E0E769D74CA}"/>
              </a:ext>
            </a:extLst>
          </p:cNvPr>
          <p:cNvSpPr/>
          <p:nvPr/>
        </p:nvSpPr>
        <p:spPr>
          <a:xfrm>
            <a:off x="2216243" y="1498967"/>
            <a:ext cx="1828206" cy="362259"/>
          </a:xfrm>
          <a:custGeom>
            <a:avLst/>
            <a:gdLst>
              <a:gd name="connsiteX0" fmla="*/ 1971924 w 1971924"/>
              <a:gd name="connsiteY0" fmla="*/ 0 h 4196894"/>
              <a:gd name="connsiteX1" fmla="*/ 1971924 w 1971924"/>
              <a:gd name="connsiteY1" fmla="*/ 4196894 h 4196894"/>
              <a:gd name="connsiteX2" fmla="*/ 0 w 1971924"/>
              <a:gd name="connsiteY2" fmla="*/ 4196894 h 4196894"/>
              <a:gd name="connsiteX3" fmla="*/ 0 w 1971924"/>
              <a:gd name="connsiteY3" fmla="*/ 362259 h 4196894"/>
              <a:gd name="connsiteX4" fmla="*/ 139522 w 1971924"/>
              <a:gd name="connsiteY4" fmla="*/ 317076 h 4196894"/>
              <a:gd name="connsiteX5" fmla="*/ 1826595 w 1971924"/>
              <a:gd name="connsiteY5" fmla="*/ 7916 h 4196894"/>
              <a:gd name="connsiteX6" fmla="*/ 1971924 w 1971924"/>
              <a:gd name="connsiteY6" fmla="*/ 0 h 4196894"/>
              <a:gd name="connsiteX0" fmla="*/ 1971924 w 2063364"/>
              <a:gd name="connsiteY0" fmla="*/ 4196894 h 4288334"/>
              <a:gd name="connsiteX1" fmla="*/ 0 w 2063364"/>
              <a:gd name="connsiteY1" fmla="*/ 4196894 h 4288334"/>
              <a:gd name="connsiteX2" fmla="*/ 0 w 2063364"/>
              <a:gd name="connsiteY2" fmla="*/ 362259 h 4288334"/>
              <a:gd name="connsiteX3" fmla="*/ 139522 w 2063364"/>
              <a:gd name="connsiteY3" fmla="*/ 317076 h 4288334"/>
              <a:gd name="connsiteX4" fmla="*/ 1826595 w 2063364"/>
              <a:gd name="connsiteY4" fmla="*/ 7916 h 4288334"/>
              <a:gd name="connsiteX5" fmla="*/ 1971924 w 2063364"/>
              <a:gd name="connsiteY5" fmla="*/ 0 h 4288334"/>
              <a:gd name="connsiteX6" fmla="*/ 2063364 w 2063364"/>
              <a:gd name="connsiteY6" fmla="*/ 4288334 h 4288334"/>
              <a:gd name="connsiteX0" fmla="*/ 1971924 w 1971924"/>
              <a:gd name="connsiteY0" fmla="*/ 4196894 h 4196894"/>
              <a:gd name="connsiteX1" fmla="*/ 0 w 1971924"/>
              <a:gd name="connsiteY1" fmla="*/ 4196894 h 4196894"/>
              <a:gd name="connsiteX2" fmla="*/ 0 w 1971924"/>
              <a:gd name="connsiteY2" fmla="*/ 362259 h 4196894"/>
              <a:gd name="connsiteX3" fmla="*/ 139522 w 1971924"/>
              <a:gd name="connsiteY3" fmla="*/ 317076 h 4196894"/>
              <a:gd name="connsiteX4" fmla="*/ 1826595 w 1971924"/>
              <a:gd name="connsiteY4" fmla="*/ 7916 h 4196894"/>
              <a:gd name="connsiteX5" fmla="*/ 1971924 w 1971924"/>
              <a:gd name="connsiteY5" fmla="*/ 0 h 4196894"/>
              <a:gd name="connsiteX0" fmla="*/ 0 w 1971924"/>
              <a:gd name="connsiteY0" fmla="*/ 4196894 h 4196894"/>
              <a:gd name="connsiteX1" fmla="*/ 0 w 1971924"/>
              <a:gd name="connsiteY1" fmla="*/ 362259 h 4196894"/>
              <a:gd name="connsiteX2" fmla="*/ 139522 w 1971924"/>
              <a:gd name="connsiteY2" fmla="*/ 317076 h 4196894"/>
              <a:gd name="connsiteX3" fmla="*/ 1826595 w 1971924"/>
              <a:gd name="connsiteY3" fmla="*/ 7916 h 4196894"/>
              <a:gd name="connsiteX4" fmla="*/ 1971924 w 1971924"/>
              <a:gd name="connsiteY4" fmla="*/ 0 h 4196894"/>
              <a:gd name="connsiteX0" fmla="*/ 0 w 1971924"/>
              <a:gd name="connsiteY0" fmla="*/ 362259 h 362259"/>
              <a:gd name="connsiteX1" fmla="*/ 139522 w 1971924"/>
              <a:gd name="connsiteY1" fmla="*/ 317076 h 362259"/>
              <a:gd name="connsiteX2" fmla="*/ 1826595 w 1971924"/>
              <a:gd name="connsiteY2" fmla="*/ 7916 h 362259"/>
              <a:gd name="connsiteX3" fmla="*/ 1971924 w 1971924"/>
              <a:gd name="connsiteY3" fmla="*/ 0 h 362259"/>
            </a:gdLst>
            <a:ahLst/>
            <a:cxnLst>
              <a:cxn ang="0">
                <a:pos x="connsiteX0" y="connsiteY0"/>
              </a:cxn>
              <a:cxn ang="0">
                <a:pos x="connsiteX1" y="connsiteY1"/>
              </a:cxn>
              <a:cxn ang="0">
                <a:pos x="connsiteX2" y="connsiteY2"/>
              </a:cxn>
              <a:cxn ang="0">
                <a:pos x="connsiteX3" y="connsiteY3"/>
              </a:cxn>
            </a:cxnLst>
            <a:rect l="l" t="t" r="r" b="b"/>
            <a:pathLst>
              <a:path w="1971924" h="362259">
                <a:moveTo>
                  <a:pt x="0" y="362259"/>
                </a:moveTo>
                <a:lnTo>
                  <a:pt x="139522" y="317076"/>
                </a:lnTo>
                <a:cubicBezTo>
                  <a:pt x="666973" y="157271"/>
                  <a:pt x="1233763" y="51043"/>
                  <a:pt x="1826595" y="7916"/>
                </a:cubicBezTo>
                <a:lnTo>
                  <a:pt x="1971924" y="0"/>
                </a:lnTo>
              </a:path>
            </a:pathLst>
          </a:custGeom>
          <a:ln w="38100" cap="rnd">
            <a:solidFill>
              <a:schemeClr val="tx1">
                <a:lumMod val="10000"/>
                <a:lumOff val="90000"/>
              </a:schemeClr>
            </a:solidFill>
            <a:prstDash val="sysDash"/>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77" name="Freeform: Shape 76">
            <a:extLst>
              <a:ext uri="{FF2B5EF4-FFF2-40B4-BE49-F238E27FC236}">
                <a16:creationId xmlns:a16="http://schemas.microsoft.com/office/drawing/2014/main" id="{AEE642F7-EB64-4A37-B2B7-DE0F6079536B}"/>
              </a:ext>
            </a:extLst>
          </p:cNvPr>
          <p:cNvSpPr/>
          <p:nvPr/>
        </p:nvSpPr>
        <p:spPr>
          <a:xfrm>
            <a:off x="5099548" y="1499655"/>
            <a:ext cx="1853432" cy="368884"/>
          </a:xfrm>
          <a:custGeom>
            <a:avLst/>
            <a:gdLst>
              <a:gd name="connsiteX0" fmla="*/ 0 w 1971924"/>
              <a:gd name="connsiteY0" fmla="*/ 0 h 4196206"/>
              <a:gd name="connsiteX1" fmla="*/ 132720 w 1971924"/>
              <a:gd name="connsiteY1" fmla="*/ 7229 h 4196206"/>
              <a:gd name="connsiteX2" fmla="*/ 1819794 w 1971924"/>
              <a:gd name="connsiteY2" fmla="*/ 316388 h 4196206"/>
              <a:gd name="connsiteX3" fmla="*/ 1971924 w 1971924"/>
              <a:gd name="connsiteY3" fmla="*/ 368884 h 4196206"/>
              <a:gd name="connsiteX4" fmla="*/ 1971924 w 1971924"/>
              <a:gd name="connsiteY4" fmla="*/ 4196206 h 4196206"/>
              <a:gd name="connsiteX5" fmla="*/ 0 w 1971924"/>
              <a:gd name="connsiteY5" fmla="*/ 4196206 h 4196206"/>
              <a:gd name="connsiteX0" fmla="*/ 1971924 w 2063364"/>
              <a:gd name="connsiteY0" fmla="*/ 4196206 h 4287646"/>
              <a:gd name="connsiteX1" fmla="*/ 0 w 2063364"/>
              <a:gd name="connsiteY1" fmla="*/ 4196206 h 4287646"/>
              <a:gd name="connsiteX2" fmla="*/ 0 w 2063364"/>
              <a:gd name="connsiteY2" fmla="*/ 0 h 4287646"/>
              <a:gd name="connsiteX3" fmla="*/ 132720 w 2063364"/>
              <a:gd name="connsiteY3" fmla="*/ 7229 h 4287646"/>
              <a:gd name="connsiteX4" fmla="*/ 1819794 w 2063364"/>
              <a:gd name="connsiteY4" fmla="*/ 316388 h 4287646"/>
              <a:gd name="connsiteX5" fmla="*/ 1971924 w 2063364"/>
              <a:gd name="connsiteY5" fmla="*/ 368884 h 4287646"/>
              <a:gd name="connsiteX6" fmla="*/ 2063364 w 2063364"/>
              <a:gd name="connsiteY6" fmla="*/ 4287646 h 4287646"/>
              <a:gd name="connsiteX0" fmla="*/ 1971924 w 1971924"/>
              <a:gd name="connsiteY0" fmla="*/ 4196206 h 4196206"/>
              <a:gd name="connsiteX1" fmla="*/ 0 w 1971924"/>
              <a:gd name="connsiteY1" fmla="*/ 4196206 h 4196206"/>
              <a:gd name="connsiteX2" fmla="*/ 0 w 1971924"/>
              <a:gd name="connsiteY2" fmla="*/ 0 h 4196206"/>
              <a:gd name="connsiteX3" fmla="*/ 132720 w 1971924"/>
              <a:gd name="connsiteY3" fmla="*/ 7229 h 4196206"/>
              <a:gd name="connsiteX4" fmla="*/ 1819794 w 1971924"/>
              <a:gd name="connsiteY4" fmla="*/ 316388 h 4196206"/>
              <a:gd name="connsiteX5" fmla="*/ 1971924 w 1971924"/>
              <a:gd name="connsiteY5" fmla="*/ 368884 h 4196206"/>
              <a:gd name="connsiteX0" fmla="*/ 0 w 1971924"/>
              <a:gd name="connsiteY0" fmla="*/ 4196206 h 4196206"/>
              <a:gd name="connsiteX1" fmla="*/ 0 w 1971924"/>
              <a:gd name="connsiteY1" fmla="*/ 0 h 4196206"/>
              <a:gd name="connsiteX2" fmla="*/ 132720 w 1971924"/>
              <a:gd name="connsiteY2" fmla="*/ 7229 h 4196206"/>
              <a:gd name="connsiteX3" fmla="*/ 1819794 w 1971924"/>
              <a:gd name="connsiteY3" fmla="*/ 316388 h 4196206"/>
              <a:gd name="connsiteX4" fmla="*/ 1971924 w 1971924"/>
              <a:gd name="connsiteY4" fmla="*/ 368884 h 4196206"/>
              <a:gd name="connsiteX0" fmla="*/ 0 w 1971924"/>
              <a:gd name="connsiteY0" fmla="*/ 0 h 368884"/>
              <a:gd name="connsiteX1" fmla="*/ 132720 w 1971924"/>
              <a:gd name="connsiteY1" fmla="*/ 7229 h 368884"/>
              <a:gd name="connsiteX2" fmla="*/ 1819794 w 1971924"/>
              <a:gd name="connsiteY2" fmla="*/ 316388 h 368884"/>
              <a:gd name="connsiteX3" fmla="*/ 1971924 w 1971924"/>
              <a:gd name="connsiteY3" fmla="*/ 368884 h 368884"/>
            </a:gdLst>
            <a:ahLst/>
            <a:cxnLst>
              <a:cxn ang="0">
                <a:pos x="connsiteX0" y="connsiteY0"/>
              </a:cxn>
              <a:cxn ang="0">
                <a:pos x="connsiteX1" y="connsiteY1"/>
              </a:cxn>
              <a:cxn ang="0">
                <a:pos x="connsiteX2" y="connsiteY2"/>
              </a:cxn>
              <a:cxn ang="0">
                <a:pos x="connsiteX3" y="connsiteY3"/>
              </a:cxn>
            </a:cxnLst>
            <a:rect l="l" t="t" r="r" b="b"/>
            <a:pathLst>
              <a:path w="1971924" h="368884">
                <a:moveTo>
                  <a:pt x="0" y="0"/>
                </a:moveTo>
                <a:lnTo>
                  <a:pt x="132720" y="7229"/>
                </a:lnTo>
                <a:cubicBezTo>
                  <a:pt x="725552" y="50355"/>
                  <a:pt x="1292342" y="156583"/>
                  <a:pt x="1819794" y="316388"/>
                </a:cubicBezTo>
                <a:lnTo>
                  <a:pt x="1971924" y="368884"/>
                </a:lnTo>
              </a:path>
            </a:pathLst>
          </a:custGeom>
          <a:ln w="38100" cap="rnd">
            <a:solidFill>
              <a:schemeClr val="tx1">
                <a:lumMod val="10000"/>
                <a:lumOff val="90000"/>
              </a:schemeClr>
            </a:solidFill>
            <a:prstDash val="sysDash"/>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21" name="Rectangle 20">
            <a:extLst>
              <a:ext uri="{FF2B5EF4-FFF2-40B4-BE49-F238E27FC236}">
                <a16:creationId xmlns:a16="http://schemas.microsoft.com/office/drawing/2014/main" id="{5821BC52-F6E9-2B49-BA7A-749CE359F729}"/>
              </a:ext>
            </a:extLst>
          </p:cNvPr>
          <p:cNvSpPr/>
          <p:nvPr/>
        </p:nvSpPr>
        <p:spPr>
          <a:xfrm>
            <a:off x="708795" y="3986041"/>
            <a:ext cx="7520805" cy="73584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Tree>
    <p:extLst>
      <p:ext uri="{BB962C8B-B14F-4D97-AF65-F5344CB8AC3E}">
        <p14:creationId xmlns:p14="http://schemas.microsoft.com/office/powerpoint/2010/main" val="2937399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100000" fill="hold" nodeType="withEffect">
                                  <p:stCondLst>
                                    <p:cond delay="0"/>
                                  </p:stCondLst>
                                  <p:childTnLst>
                                    <p:animScale>
                                      <p:cBhvr>
                                        <p:cTn id="6" dur="1500" fill="hold"/>
                                        <p:tgtEl>
                                          <p:spTgt spid="15"/>
                                        </p:tgtEl>
                                      </p:cBhvr>
                                      <p:by x="45000" y="45000"/>
                                    </p:animScale>
                                  </p:childTnLst>
                                </p:cTn>
                              </p:par>
                              <p:par>
                                <p:cTn id="7" presetID="42" presetClass="path" presetSubtype="0" decel="100000" fill="hold" nodeType="withEffect">
                                  <p:stCondLst>
                                    <p:cond delay="0"/>
                                  </p:stCondLst>
                                  <p:childTnLst>
                                    <p:animMotion origin="layout" path="M 0 0 L 0 0.30988 " pathEditMode="relative" rAng="0" ptsTypes="AA">
                                      <p:cBhvr>
                                        <p:cTn id="8" dur="1500" fill="hold"/>
                                        <p:tgtEl>
                                          <p:spTgt spid="15"/>
                                        </p:tgtEl>
                                        <p:attrNameLst>
                                          <p:attrName>ppt_x</p:attrName>
                                          <p:attrName>ppt_y</p:attrName>
                                        </p:attrNameLst>
                                      </p:cBhvr>
                                      <p:rCtr x="0" y="15494"/>
                                    </p:animMotion>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69"/>
                                        </p:tgtEl>
                                        <p:attrNameLst>
                                          <p:attrName>style.visibility</p:attrName>
                                        </p:attrNameLst>
                                      </p:cBhvr>
                                      <p:to>
                                        <p:strVal val="visible"/>
                                      </p:to>
                                    </p:set>
                                    <p:animEffect transition="in" filter="wipe(left)">
                                      <p:cBhvr>
                                        <p:cTn id="13" dur="500"/>
                                        <p:tgtEl>
                                          <p:spTgt spid="69"/>
                                        </p:tgtEl>
                                      </p:cBhvr>
                                    </p:animEffect>
                                  </p:childTnLst>
                                </p:cTn>
                              </p:par>
                              <p:par>
                                <p:cTn id="14" presetID="10" presetClass="entr" presetSubtype="0" fill="hold" nodeType="withEffect">
                                  <p:stCondLst>
                                    <p:cond delay="25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750"/>
                                        <p:tgtEl>
                                          <p:spTgt spid="8"/>
                                        </p:tgtEl>
                                      </p:cBhvr>
                                    </p:animEffect>
                                  </p:childTnLst>
                                </p:cTn>
                              </p:par>
                              <p:par>
                                <p:cTn id="17" presetID="10" presetClass="entr" presetSubtype="0" fill="hold" grpId="0" nodeType="withEffect">
                                  <p:stCondLst>
                                    <p:cond delay="75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par>
                                <p:cTn id="20" presetID="42" presetClass="path" presetSubtype="0" accel="50000" decel="50000" fill="hold" grpId="1" nodeType="withEffect">
                                  <p:stCondLst>
                                    <p:cond delay="750"/>
                                  </p:stCondLst>
                                  <p:childTnLst>
                                    <p:animMotion origin="layout" path="M 2.77556E-17 -0.03333 L 2.77556E-17 0.00154 " pathEditMode="relative" rAng="0" ptsTypes="AA">
                                      <p:cBhvr>
                                        <p:cTn id="21" dur="750" fill="hold"/>
                                        <p:tgtEl>
                                          <p:spTgt spid="2"/>
                                        </p:tgtEl>
                                        <p:attrNameLst>
                                          <p:attrName>ppt_x</p:attrName>
                                          <p:attrName>ppt_y</p:attrName>
                                        </p:attrNameLst>
                                      </p:cBhvr>
                                      <p:rCtr x="0" y="1728"/>
                                    </p:animMotion>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75"/>
                                        </p:tgtEl>
                                        <p:attrNameLst>
                                          <p:attrName>style.visibility</p:attrName>
                                        </p:attrNameLst>
                                      </p:cBhvr>
                                      <p:to>
                                        <p:strVal val="visible"/>
                                      </p:to>
                                    </p:set>
                                    <p:animEffect transition="in" filter="wipe(left)">
                                      <p:cBhvr>
                                        <p:cTn id="26" dur="500"/>
                                        <p:tgtEl>
                                          <p:spTgt spid="75"/>
                                        </p:tgtEl>
                                      </p:cBhvr>
                                    </p:animEffect>
                                  </p:childTnLst>
                                </p:cTn>
                              </p:par>
                              <p:par>
                                <p:cTn id="27" presetID="10" presetClass="entr" presetSubtype="0" fill="hold" nodeType="withEffect">
                                  <p:stCondLst>
                                    <p:cond delay="25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750"/>
                                        <p:tgtEl>
                                          <p:spTgt spid="9"/>
                                        </p:tgtEl>
                                      </p:cBhvr>
                                    </p:animEffect>
                                  </p:childTnLst>
                                </p:cTn>
                              </p:par>
                              <p:par>
                                <p:cTn id="30" presetID="10" presetClass="entr" presetSubtype="0" fill="hold" grpId="0" nodeType="withEffect">
                                  <p:stCondLst>
                                    <p:cond delay="75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750"/>
                                        <p:tgtEl>
                                          <p:spTgt spid="22"/>
                                        </p:tgtEl>
                                      </p:cBhvr>
                                    </p:animEffect>
                                  </p:childTnLst>
                                </p:cTn>
                              </p:par>
                              <p:par>
                                <p:cTn id="33" presetID="42" presetClass="path" presetSubtype="0" accel="50000" decel="50000" fill="hold" grpId="1" nodeType="withEffect">
                                  <p:stCondLst>
                                    <p:cond delay="750"/>
                                  </p:stCondLst>
                                  <p:childTnLst>
                                    <p:animMotion origin="layout" path="M 0 -0.03334 L 0 0.00154 " pathEditMode="relative" rAng="0" ptsTypes="AA">
                                      <p:cBhvr>
                                        <p:cTn id="34" dur="750" fill="hold"/>
                                        <p:tgtEl>
                                          <p:spTgt spid="22"/>
                                        </p:tgtEl>
                                        <p:attrNameLst>
                                          <p:attrName>ppt_x</p:attrName>
                                          <p:attrName>ppt_y</p:attrName>
                                        </p:attrNameLst>
                                      </p:cBhvr>
                                      <p:rCtr x="0" y="1728"/>
                                    </p:animMotion>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77"/>
                                        </p:tgtEl>
                                        <p:attrNameLst>
                                          <p:attrName>style.visibility</p:attrName>
                                        </p:attrNameLst>
                                      </p:cBhvr>
                                      <p:to>
                                        <p:strVal val="visible"/>
                                      </p:to>
                                    </p:set>
                                    <p:animEffect transition="in" filter="wipe(left)">
                                      <p:cBhvr>
                                        <p:cTn id="39" dur="500"/>
                                        <p:tgtEl>
                                          <p:spTgt spid="77"/>
                                        </p:tgtEl>
                                      </p:cBhvr>
                                    </p:animEffect>
                                  </p:childTnLst>
                                </p:cTn>
                              </p:par>
                              <p:par>
                                <p:cTn id="40" presetID="10" presetClass="entr" presetSubtype="0" fill="hold" nodeType="withEffect">
                                  <p:stCondLst>
                                    <p:cond delay="25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750"/>
                                        <p:tgtEl>
                                          <p:spTgt spid="10"/>
                                        </p:tgtEl>
                                      </p:cBhvr>
                                    </p:animEffect>
                                  </p:childTnLst>
                                </p:cTn>
                              </p:par>
                              <p:par>
                                <p:cTn id="43" presetID="22" presetClass="entr" presetSubtype="8" fill="hold" grpId="0" nodeType="withEffect">
                                  <p:stCondLst>
                                    <p:cond delay="750"/>
                                  </p:stCondLst>
                                  <p:childTnLst>
                                    <p:set>
                                      <p:cBhvr>
                                        <p:cTn id="44" dur="1" fill="hold">
                                          <p:stCondLst>
                                            <p:cond delay="0"/>
                                          </p:stCondLst>
                                        </p:cTn>
                                        <p:tgtEl>
                                          <p:spTgt spid="78"/>
                                        </p:tgtEl>
                                        <p:attrNameLst>
                                          <p:attrName>style.visibility</p:attrName>
                                        </p:attrNameLst>
                                      </p:cBhvr>
                                      <p:to>
                                        <p:strVal val="visible"/>
                                      </p:to>
                                    </p:set>
                                    <p:animEffect transition="in" filter="wipe(left)">
                                      <p:cBhvr>
                                        <p:cTn id="45" dur="500"/>
                                        <p:tgtEl>
                                          <p:spTgt spid="78"/>
                                        </p:tgtEl>
                                      </p:cBhvr>
                                    </p:animEffect>
                                  </p:childTnLst>
                                </p:cTn>
                              </p:par>
                              <p:par>
                                <p:cTn id="46" presetID="10" presetClass="entr" presetSubtype="0" fill="hold" grpId="0" nodeType="withEffect">
                                  <p:stCondLst>
                                    <p:cond delay="125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750"/>
                                        <p:tgtEl>
                                          <p:spTgt spid="24"/>
                                        </p:tgtEl>
                                      </p:cBhvr>
                                    </p:animEffect>
                                  </p:childTnLst>
                                </p:cTn>
                              </p:par>
                              <p:par>
                                <p:cTn id="49" presetID="42" presetClass="path" presetSubtype="0" accel="50000" decel="50000" fill="hold" grpId="1" nodeType="withEffect">
                                  <p:stCondLst>
                                    <p:cond delay="1250"/>
                                  </p:stCondLst>
                                  <p:childTnLst>
                                    <p:animMotion origin="layout" path="M 4.16667E-6 -0.03334 L 4.16667E-6 0.00154 " pathEditMode="relative" rAng="0" ptsTypes="AA">
                                      <p:cBhvr>
                                        <p:cTn id="50" dur="750" fill="hold"/>
                                        <p:tgtEl>
                                          <p:spTgt spid="24"/>
                                        </p:tgtEl>
                                        <p:attrNameLst>
                                          <p:attrName>ppt_x</p:attrName>
                                          <p:attrName>ppt_y</p:attrName>
                                        </p:attrNameLst>
                                      </p:cBhvr>
                                      <p:rCtr x="0" y="17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2" grpId="0"/>
      <p:bldP spid="2" grpId="1"/>
      <p:bldP spid="22" grpId="0"/>
      <p:bldP spid="22" grpId="1"/>
      <p:bldP spid="24" grpId="0"/>
      <p:bldP spid="24" grpId="1"/>
      <p:bldP spid="78" grpId="0" animBg="1"/>
      <p:bldP spid="75" grpId="0" animBg="1"/>
      <p:bldP spid="7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5"/>
          <p:cNvSpPr>
            <a:spLocks noGrp="1"/>
          </p:cNvSpPr>
          <p:nvPr>
            <p:ph type="title"/>
          </p:nvPr>
        </p:nvSpPr>
        <p:spPr/>
        <p:txBody>
          <a:bodyPr/>
          <a:lstStyle/>
          <a:p>
            <a:r>
              <a:rPr lang="en-US" dirty="0"/>
              <a:t>Managing the Anywhere Data Center</a:t>
            </a:r>
          </a:p>
        </p:txBody>
      </p:sp>
      <p:sp>
        <p:nvSpPr>
          <p:cNvPr id="20" name="Rectangle 7"/>
          <p:cNvSpPr>
            <a:spLocks noChangeArrowheads="1"/>
          </p:cNvSpPr>
          <p:nvPr/>
        </p:nvSpPr>
        <p:spPr bwMode="ltGray">
          <a:xfrm>
            <a:off x="7366839" y="5124290"/>
            <a:ext cx="218414" cy="154518"/>
          </a:xfrm>
          <a:prstGeom prst="rect">
            <a:avLst/>
          </a:prstGeom>
          <a:noFill/>
          <a:ln w="9525" algn="ctr">
            <a:noFill/>
            <a:miter lim="800000"/>
            <a:headEnd/>
            <a:tailEnd/>
          </a:ln>
          <a:effectLst/>
        </p:spPr>
        <p:txBody>
          <a:bodyPr wrap="none" lIns="61586" tIns="30792" rIns="61586" bIns="30792"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600" b="0" i="0" u="none" strike="noStrike" kern="1200" cap="none" spc="0" normalizeH="0" baseline="0" noProof="0">
                <a:ln>
                  <a:noFill/>
                </a:ln>
                <a:solidFill>
                  <a:srgbClr val="000000">
                    <a:alpha val="25000"/>
                  </a:srgbClr>
                </a:solidFill>
                <a:effectLst/>
                <a:uLnTx/>
                <a:uFillTx/>
                <a:latin typeface="CiscoSansTT ExtraLight"/>
                <a:ea typeface=""/>
                <a:cs typeface="CiscoSans Thin"/>
              </a:rPr>
              <a:pPr marL="0" marR="0" lvl="0" indent="0" algn="r" defTabSz="610744" rtl="0" eaLnBrk="1" fontAlgn="auto" latinLnBrk="0" hangingPunct="1">
                <a:lnSpc>
                  <a:spcPct val="100000"/>
                </a:lnSpc>
                <a:spcBef>
                  <a:spcPts val="0"/>
                </a:spcBef>
                <a:spcAft>
                  <a:spcPts val="0"/>
                </a:spcAft>
                <a:buClrTx/>
                <a:buSzTx/>
                <a:buFontTx/>
                <a:buNone/>
                <a:tabLst/>
                <a:defRPr/>
              </a:pPr>
              <a:t>11</a:t>
            </a:fld>
            <a:endParaRPr kumimoji="0" lang="en-US" sz="600" b="0" i="0" u="none" strike="noStrike" kern="1200" cap="none" spc="0" normalizeH="0" baseline="0" noProof="0" dirty="0">
              <a:ln>
                <a:noFill/>
              </a:ln>
              <a:solidFill>
                <a:srgbClr val="000000">
                  <a:alpha val="25000"/>
                </a:srgbClr>
              </a:solidFill>
              <a:effectLst/>
              <a:uLnTx/>
              <a:uFillTx/>
              <a:latin typeface="CiscoSansTT ExtraLight"/>
              <a:ea typeface=""/>
              <a:cs typeface="CiscoSans Thin"/>
            </a:endParaRPr>
          </a:p>
        </p:txBody>
      </p:sp>
      <p:sp>
        <p:nvSpPr>
          <p:cNvPr id="22" name="Rectangle 4"/>
          <p:cNvSpPr>
            <a:spLocks noChangeArrowheads="1"/>
          </p:cNvSpPr>
          <p:nvPr/>
        </p:nvSpPr>
        <p:spPr bwMode="ltGray">
          <a:xfrm>
            <a:off x="6147037" y="5124290"/>
            <a:ext cx="2658018" cy="154518"/>
          </a:xfrm>
          <a:prstGeom prst="rect">
            <a:avLst/>
          </a:prstGeom>
          <a:noFill/>
          <a:ln w="9525">
            <a:noFill/>
            <a:miter lim="800000"/>
            <a:headEnd/>
            <a:tailEnd/>
          </a:ln>
          <a:effectLst/>
        </p:spPr>
        <p:txBody>
          <a:bodyPr lIns="61586" tIns="30792" rIns="61586" bIns="30792"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alpha val="25000"/>
                  </a:srgbClr>
                </a:solidFill>
                <a:effectLst/>
                <a:uLnTx/>
                <a:uFillTx/>
                <a:latin typeface="CiscoSansTT ExtraLight"/>
                <a:ea typeface=""/>
                <a:cs typeface="CiscoSans Thin"/>
              </a:rPr>
              <a:t>© 2017 Cisco and/or its affiliates. All rights reserved.</a:t>
            </a:r>
          </a:p>
        </p:txBody>
      </p:sp>
      <p:sp>
        <p:nvSpPr>
          <p:cNvPr id="26" name="TextBox 25">
            <a:extLst>
              <a:ext uri="{FF2B5EF4-FFF2-40B4-BE49-F238E27FC236}">
                <a16:creationId xmlns:a16="http://schemas.microsoft.com/office/drawing/2014/main" id="{C6B758BB-6DD6-46EE-A069-1D05873F2D84}"/>
              </a:ext>
            </a:extLst>
          </p:cNvPr>
          <p:cNvSpPr txBox="1"/>
          <p:nvPr/>
        </p:nvSpPr>
        <p:spPr>
          <a:xfrm>
            <a:off x="6281919" y="2331391"/>
            <a:ext cx="1120821" cy="400110"/>
          </a:xfrm>
          <a:prstGeom prst="rect">
            <a:avLst/>
          </a:prstGeom>
          <a:noFill/>
        </p:spPr>
        <p:txBody>
          <a:bodyPr wrap="none" rtlCol="0">
            <a:spAutoFit/>
          </a:bodyPr>
          <a:lstStyle/>
          <a:p>
            <a:pPr lvl="0" algn="ctr"/>
            <a:r>
              <a:rPr lang="en-US" sz="2000" dirty="0">
                <a:solidFill>
                  <a:srgbClr val="00BCEB"/>
                </a:solidFill>
                <a:latin typeface="CiscoSansTT ExtraLight"/>
              </a:rPr>
              <a:t>Security</a:t>
            </a:r>
          </a:p>
        </p:txBody>
      </p:sp>
      <p:sp>
        <p:nvSpPr>
          <p:cNvPr id="32" name="TextBox 31">
            <a:extLst>
              <a:ext uri="{FF2B5EF4-FFF2-40B4-BE49-F238E27FC236}">
                <a16:creationId xmlns:a16="http://schemas.microsoft.com/office/drawing/2014/main" id="{119ADA34-C2A6-4A22-84C8-5256ACBCA5F7}"/>
              </a:ext>
            </a:extLst>
          </p:cNvPr>
          <p:cNvSpPr txBox="1"/>
          <p:nvPr/>
        </p:nvSpPr>
        <p:spPr>
          <a:xfrm>
            <a:off x="1669352" y="2340161"/>
            <a:ext cx="1492716" cy="400110"/>
          </a:xfrm>
          <a:prstGeom prst="rect">
            <a:avLst/>
          </a:prstGeom>
          <a:noFill/>
        </p:spPr>
        <p:txBody>
          <a:bodyPr wrap="none" rtlCol="0">
            <a:spAutoFit/>
          </a:bodyPr>
          <a:lstStyle/>
          <a:p>
            <a:pPr lvl="0" algn="ctr"/>
            <a:r>
              <a:rPr lang="en-US" sz="2000" dirty="0">
                <a:solidFill>
                  <a:srgbClr val="00BCEB"/>
                </a:solidFill>
                <a:latin typeface="CiscoSansTT ExtraLight"/>
              </a:rPr>
              <a:t>Automation</a:t>
            </a:r>
          </a:p>
        </p:txBody>
      </p:sp>
      <p:cxnSp>
        <p:nvCxnSpPr>
          <p:cNvPr id="42" name="Straight Connector 41">
            <a:extLst>
              <a:ext uri="{FF2B5EF4-FFF2-40B4-BE49-F238E27FC236}">
                <a16:creationId xmlns:a16="http://schemas.microsoft.com/office/drawing/2014/main" id="{083F337A-FC26-469B-9C58-4EB75767D85D}"/>
              </a:ext>
            </a:extLst>
          </p:cNvPr>
          <p:cNvCxnSpPr>
            <a:cxnSpLocks/>
          </p:cNvCxnSpPr>
          <p:nvPr/>
        </p:nvCxnSpPr>
        <p:spPr>
          <a:xfrm>
            <a:off x="2188696" y="2752732"/>
            <a:ext cx="45402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58BDA21-91A7-46B4-A6C4-F21357260CCA}"/>
              </a:ext>
            </a:extLst>
          </p:cNvPr>
          <p:cNvCxnSpPr>
            <a:cxnSpLocks/>
          </p:cNvCxnSpPr>
          <p:nvPr/>
        </p:nvCxnSpPr>
        <p:spPr>
          <a:xfrm>
            <a:off x="6615318" y="2757423"/>
            <a:ext cx="45402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E5E7D242-F9AC-9147-8BA6-CB6A95CDD83B}"/>
              </a:ext>
            </a:extLst>
          </p:cNvPr>
          <p:cNvSpPr txBox="1"/>
          <p:nvPr/>
        </p:nvSpPr>
        <p:spPr>
          <a:xfrm>
            <a:off x="5905839" y="2821004"/>
            <a:ext cx="1953668" cy="830997"/>
          </a:xfrm>
          <a:prstGeom prst="rect">
            <a:avLst/>
          </a:prstGeom>
          <a:noFill/>
        </p:spPr>
        <p:txBody>
          <a:bodyPr wrap="square" rtlCol="0">
            <a:spAutoFit/>
          </a:bodyPr>
          <a:lstStyle/>
          <a:p>
            <a:pPr algn="ctr">
              <a:spcBef>
                <a:spcPts val="600"/>
              </a:spcBef>
              <a:defRPr/>
            </a:pPr>
            <a:r>
              <a:rPr lang="en-US" sz="1200" dirty="0">
                <a:solidFill>
                  <a:schemeClr val="bg1"/>
                </a:solidFill>
                <a:latin typeface="+mn-lt"/>
              </a:rPr>
              <a:t>“It takes an average of </a:t>
            </a:r>
            <a:r>
              <a:rPr lang="en-US" sz="1200" b="1" dirty="0">
                <a:solidFill>
                  <a:schemeClr val="bg1"/>
                </a:solidFill>
                <a:latin typeface="+mn-lt"/>
              </a:rPr>
              <a:t>191 days</a:t>
            </a:r>
            <a:r>
              <a:rPr lang="en-US" sz="1200" dirty="0">
                <a:solidFill>
                  <a:schemeClr val="bg1"/>
                </a:solidFill>
                <a:latin typeface="+mn-lt"/>
              </a:rPr>
              <a:t> for businesses to detect a </a:t>
            </a:r>
            <a:r>
              <a:rPr lang="en-US" sz="1200" b="1" dirty="0">
                <a:solidFill>
                  <a:schemeClr val="bg1"/>
                </a:solidFill>
                <a:latin typeface="+mn-lt"/>
              </a:rPr>
              <a:t>security breach</a:t>
            </a:r>
            <a:r>
              <a:rPr lang="en-US" sz="1200" dirty="0">
                <a:solidFill>
                  <a:schemeClr val="bg1"/>
                </a:solidFill>
                <a:latin typeface="+mn-lt"/>
              </a:rPr>
              <a:t>.”</a:t>
            </a:r>
          </a:p>
        </p:txBody>
      </p:sp>
      <p:sp>
        <p:nvSpPr>
          <p:cNvPr id="18" name="TextBox 17">
            <a:extLst>
              <a:ext uri="{FF2B5EF4-FFF2-40B4-BE49-F238E27FC236}">
                <a16:creationId xmlns:a16="http://schemas.microsoft.com/office/drawing/2014/main" id="{5109B8E8-3A96-4DE5-B22B-7C19C1B4786F}"/>
              </a:ext>
            </a:extLst>
          </p:cNvPr>
          <p:cNvSpPr txBox="1"/>
          <p:nvPr/>
        </p:nvSpPr>
        <p:spPr>
          <a:xfrm>
            <a:off x="4068000" y="2349706"/>
            <a:ext cx="1353256" cy="400110"/>
          </a:xfrm>
          <a:prstGeom prst="rect">
            <a:avLst/>
          </a:prstGeom>
          <a:noFill/>
        </p:spPr>
        <p:txBody>
          <a:bodyPr wrap="none" rtlCol="0">
            <a:spAutoFit/>
          </a:bodyPr>
          <a:lstStyle/>
          <a:p>
            <a:pPr lvl="0" algn="ctr"/>
            <a:r>
              <a:rPr lang="en-US" sz="2000" dirty="0">
                <a:solidFill>
                  <a:srgbClr val="00BCEB"/>
                </a:solidFill>
                <a:latin typeface="CiscoSansTT ExtraLight"/>
              </a:rPr>
              <a:t>Multicloud</a:t>
            </a:r>
          </a:p>
        </p:txBody>
      </p:sp>
      <p:cxnSp>
        <p:nvCxnSpPr>
          <p:cNvPr id="19" name="Straight Connector 18">
            <a:extLst>
              <a:ext uri="{FF2B5EF4-FFF2-40B4-BE49-F238E27FC236}">
                <a16:creationId xmlns:a16="http://schemas.microsoft.com/office/drawing/2014/main" id="{6B83B75D-C8B8-4EE5-B599-70F2AFFB0333}"/>
              </a:ext>
            </a:extLst>
          </p:cNvPr>
          <p:cNvCxnSpPr>
            <a:cxnSpLocks/>
          </p:cNvCxnSpPr>
          <p:nvPr/>
        </p:nvCxnSpPr>
        <p:spPr>
          <a:xfrm>
            <a:off x="4517613" y="2762277"/>
            <a:ext cx="45402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6" name="Oval 125">
            <a:extLst>
              <a:ext uri="{FF2B5EF4-FFF2-40B4-BE49-F238E27FC236}">
                <a16:creationId xmlns:a16="http://schemas.microsoft.com/office/drawing/2014/main" id="{53A6824D-9257-43C7-83D8-786E843370C6}"/>
              </a:ext>
            </a:extLst>
          </p:cNvPr>
          <p:cNvSpPr/>
          <p:nvPr/>
        </p:nvSpPr>
        <p:spPr>
          <a:xfrm>
            <a:off x="1872939" y="1232616"/>
            <a:ext cx="1112874" cy="1110943"/>
          </a:xfrm>
          <a:prstGeom prst="ellipse">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00" b="1" dirty="0">
                <a:solidFill>
                  <a:schemeClr val="bg2"/>
                </a:solidFill>
              </a:rPr>
              <a:t>40%</a:t>
            </a:r>
          </a:p>
        </p:txBody>
      </p:sp>
      <p:sp>
        <p:nvSpPr>
          <p:cNvPr id="128" name="TextBox 127">
            <a:extLst>
              <a:ext uri="{FF2B5EF4-FFF2-40B4-BE49-F238E27FC236}">
                <a16:creationId xmlns:a16="http://schemas.microsoft.com/office/drawing/2014/main" id="{A3443C51-E9F5-42F5-B283-028402CA0F6B}"/>
              </a:ext>
            </a:extLst>
          </p:cNvPr>
          <p:cNvSpPr txBox="1"/>
          <p:nvPr/>
        </p:nvSpPr>
        <p:spPr>
          <a:xfrm>
            <a:off x="3764872" y="2818258"/>
            <a:ext cx="1953669" cy="1200329"/>
          </a:xfrm>
          <a:prstGeom prst="rect">
            <a:avLst/>
          </a:prstGeom>
          <a:noFill/>
        </p:spPr>
        <p:txBody>
          <a:bodyPr wrap="square" rtlCol="0">
            <a:spAutoFit/>
          </a:bodyPr>
          <a:lstStyle/>
          <a:p>
            <a:pPr lvl="0" algn="ctr">
              <a:spcBef>
                <a:spcPts val="600"/>
              </a:spcBef>
              <a:defRPr/>
            </a:pPr>
            <a:r>
              <a:rPr lang="en-US" sz="1200" b="1" dirty="0">
                <a:solidFill>
                  <a:schemeClr val="bg1"/>
                </a:solidFill>
                <a:latin typeface="+mn-lt"/>
              </a:rPr>
              <a:t>“93% of cloud adopters </a:t>
            </a:r>
            <a:r>
              <a:rPr lang="en-US" sz="1200" dirty="0">
                <a:solidFill>
                  <a:schemeClr val="bg1"/>
                </a:solidFill>
                <a:latin typeface="+mn-lt"/>
              </a:rPr>
              <a:t>intent to be using </a:t>
            </a:r>
            <a:r>
              <a:rPr lang="en-US" sz="1200" b="1" dirty="0">
                <a:solidFill>
                  <a:schemeClr val="bg1"/>
                </a:solidFill>
                <a:latin typeface="+mn-lt"/>
              </a:rPr>
              <a:t>multiple clouds </a:t>
            </a:r>
            <a:r>
              <a:rPr lang="en-US" sz="1200" dirty="0">
                <a:solidFill>
                  <a:schemeClr val="bg1"/>
                </a:solidFill>
                <a:latin typeface="+mn-lt"/>
              </a:rPr>
              <a:t>in the next </a:t>
            </a:r>
            <a:r>
              <a:rPr lang="en-US" sz="1200" b="1" dirty="0">
                <a:solidFill>
                  <a:schemeClr val="bg1"/>
                </a:solidFill>
                <a:latin typeface="+mn-lt"/>
              </a:rPr>
              <a:t>12 months</a:t>
            </a:r>
            <a:r>
              <a:rPr lang="en-US" sz="1200" dirty="0">
                <a:solidFill>
                  <a:schemeClr val="bg1"/>
                </a:solidFill>
                <a:latin typeface="+mn-lt"/>
              </a:rPr>
              <a:t>, and </a:t>
            </a:r>
            <a:r>
              <a:rPr lang="en-US" sz="1200" b="1" dirty="0">
                <a:solidFill>
                  <a:schemeClr val="bg1"/>
                </a:solidFill>
                <a:latin typeface="+mn-lt"/>
              </a:rPr>
              <a:t>58% of cloud adopters</a:t>
            </a:r>
            <a:r>
              <a:rPr lang="en-US" sz="1200" dirty="0">
                <a:solidFill>
                  <a:schemeClr val="bg1"/>
                </a:solidFill>
                <a:latin typeface="+mn-lt"/>
              </a:rPr>
              <a:t> work with at least </a:t>
            </a:r>
            <a:r>
              <a:rPr lang="en-US" sz="1200" b="1" dirty="0">
                <a:solidFill>
                  <a:schemeClr val="bg1"/>
                </a:solidFill>
                <a:latin typeface="+mn-lt"/>
              </a:rPr>
              <a:t>4 vendors</a:t>
            </a:r>
            <a:r>
              <a:rPr lang="en-US" sz="1200" dirty="0">
                <a:solidFill>
                  <a:schemeClr val="bg1"/>
                </a:solidFill>
                <a:latin typeface="+mn-lt"/>
              </a:rPr>
              <a:t>.”</a:t>
            </a:r>
          </a:p>
        </p:txBody>
      </p:sp>
      <p:sp>
        <p:nvSpPr>
          <p:cNvPr id="129" name="Oval 128">
            <a:extLst>
              <a:ext uri="{FF2B5EF4-FFF2-40B4-BE49-F238E27FC236}">
                <a16:creationId xmlns:a16="http://schemas.microsoft.com/office/drawing/2014/main" id="{79D90C15-EC0D-496B-BA07-6DFCBA2D2A6E}"/>
              </a:ext>
            </a:extLst>
          </p:cNvPr>
          <p:cNvSpPr/>
          <p:nvPr/>
        </p:nvSpPr>
        <p:spPr>
          <a:xfrm>
            <a:off x="4190774" y="1238763"/>
            <a:ext cx="1112874" cy="1110943"/>
          </a:xfrm>
          <a:prstGeom prst="ellipse">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00" b="1" dirty="0">
                <a:solidFill>
                  <a:schemeClr val="bg2"/>
                </a:solidFill>
              </a:rPr>
              <a:t>93%</a:t>
            </a:r>
          </a:p>
        </p:txBody>
      </p:sp>
      <p:sp>
        <p:nvSpPr>
          <p:cNvPr id="130" name="Oval 129">
            <a:extLst>
              <a:ext uri="{FF2B5EF4-FFF2-40B4-BE49-F238E27FC236}">
                <a16:creationId xmlns:a16="http://schemas.microsoft.com/office/drawing/2014/main" id="{21668F60-8CFD-4A57-9E88-E3F1AB5195DC}"/>
              </a:ext>
            </a:extLst>
          </p:cNvPr>
          <p:cNvSpPr/>
          <p:nvPr/>
        </p:nvSpPr>
        <p:spPr>
          <a:xfrm>
            <a:off x="6265327" y="1233909"/>
            <a:ext cx="1112874" cy="1110943"/>
          </a:xfrm>
          <a:prstGeom prst="ellipse">
            <a:avLst/>
          </a:prstGeom>
          <a:solidFill>
            <a:schemeClr val="accent5"/>
          </a:solid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00" b="1" dirty="0">
                <a:solidFill>
                  <a:schemeClr val="bg2"/>
                </a:solidFill>
              </a:rPr>
              <a:t>191 </a:t>
            </a:r>
            <a:r>
              <a:rPr lang="en-US" sz="1200" b="1" dirty="0">
                <a:solidFill>
                  <a:schemeClr val="bg2"/>
                </a:solidFill>
              </a:rPr>
              <a:t>days</a:t>
            </a:r>
            <a:endParaRPr lang="en-US" sz="2000" b="1" dirty="0">
              <a:solidFill>
                <a:schemeClr val="bg2"/>
              </a:solidFill>
            </a:endParaRPr>
          </a:p>
        </p:txBody>
      </p:sp>
      <p:sp>
        <p:nvSpPr>
          <p:cNvPr id="23" name="TextBox 22">
            <a:extLst>
              <a:ext uri="{FF2B5EF4-FFF2-40B4-BE49-F238E27FC236}">
                <a16:creationId xmlns:a16="http://schemas.microsoft.com/office/drawing/2014/main" id="{6B3C2E67-2344-43FF-A3BB-9DE149FBF560}"/>
              </a:ext>
            </a:extLst>
          </p:cNvPr>
          <p:cNvSpPr txBox="1"/>
          <p:nvPr/>
        </p:nvSpPr>
        <p:spPr>
          <a:xfrm>
            <a:off x="1367041" y="2817086"/>
            <a:ext cx="2175906" cy="1200329"/>
          </a:xfrm>
          <a:prstGeom prst="rect">
            <a:avLst/>
          </a:prstGeom>
          <a:noFill/>
        </p:spPr>
        <p:txBody>
          <a:bodyPr wrap="square" rtlCol="0">
            <a:spAutoFit/>
          </a:bodyPr>
          <a:lstStyle/>
          <a:p>
            <a:pPr algn="ctr">
              <a:spcBef>
                <a:spcPts val="600"/>
              </a:spcBef>
              <a:defRPr/>
            </a:pPr>
            <a:r>
              <a:rPr lang="en-US" sz="1200" dirty="0">
                <a:solidFill>
                  <a:schemeClr val="bg1"/>
                </a:solidFill>
                <a:latin typeface="+mn-lt"/>
              </a:rPr>
              <a:t>“By 2022, nearly </a:t>
            </a:r>
            <a:r>
              <a:rPr lang="en-US" sz="1200" b="1" dirty="0">
                <a:solidFill>
                  <a:schemeClr val="bg1"/>
                </a:solidFill>
                <a:latin typeface="+mn-lt"/>
              </a:rPr>
              <a:t>40% of operational processes </a:t>
            </a:r>
            <a:r>
              <a:rPr lang="en-US" sz="1200" dirty="0">
                <a:solidFill>
                  <a:schemeClr val="bg1"/>
                </a:solidFill>
                <a:latin typeface="+mn-lt"/>
              </a:rPr>
              <a:t>will be </a:t>
            </a:r>
            <a:r>
              <a:rPr lang="en-US" sz="1200" b="1" dirty="0">
                <a:solidFill>
                  <a:schemeClr val="bg1"/>
                </a:solidFill>
                <a:latin typeface="+mn-lt"/>
              </a:rPr>
              <a:t>self-healing and self-learning,</a:t>
            </a:r>
            <a:r>
              <a:rPr lang="en-US" sz="1200" dirty="0">
                <a:solidFill>
                  <a:schemeClr val="bg1"/>
                </a:solidFill>
                <a:latin typeface="+mn-lt"/>
              </a:rPr>
              <a:t> minimizing the need for human intervention or adjustments.”</a:t>
            </a:r>
          </a:p>
        </p:txBody>
      </p:sp>
      <p:sp>
        <p:nvSpPr>
          <p:cNvPr id="24" name="TextBox 23">
            <a:extLst>
              <a:ext uri="{FF2B5EF4-FFF2-40B4-BE49-F238E27FC236}">
                <a16:creationId xmlns:a16="http://schemas.microsoft.com/office/drawing/2014/main" id="{2AFF67F8-3239-46E9-88BD-23FC38034186}"/>
              </a:ext>
            </a:extLst>
          </p:cNvPr>
          <p:cNvSpPr txBox="1"/>
          <p:nvPr/>
        </p:nvSpPr>
        <p:spPr>
          <a:xfrm>
            <a:off x="5905839" y="4258245"/>
            <a:ext cx="2230544" cy="338554"/>
          </a:xfrm>
          <a:prstGeom prst="rect">
            <a:avLst/>
          </a:prstGeom>
          <a:noFill/>
        </p:spPr>
        <p:txBody>
          <a:bodyPr wrap="square" rtlCol="0">
            <a:spAutoFit/>
          </a:bodyPr>
          <a:lstStyle/>
          <a:p>
            <a:pPr algn="ctr">
              <a:spcBef>
                <a:spcPts val="0"/>
              </a:spcBef>
              <a:defRPr/>
            </a:pPr>
            <a:r>
              <a:rPr lang="en-US" sz="800" i="1" dirty="0">
                <a:solidFill>
                  <a:schemeClr val="bg1"/>
                </a:solidFill>
                <a:latin typeface="+mn-lt"/>
              </a:rPr>
              <a:t>The 30 Cybersecurity Stats That Matter Most, </a:t>
            </a:r>
            <a:r>
              <a:rPr lang="en-US" sz="800" dirty="0">
                <a:solidFill>
                  <a:schemeClr val="bg1"/>
                </a:solidFill>
                <a:latin typeface="+mn-lt"/>
              </a:rPr>
              <a:t>TechBeacon, March 22, 2018</a:t>
            </a:r>
          </a:p>
        </p:txBody>
      </p:sp>
      <p:sp>
        <p:nvSpPr>
          <p:cNvPr id="25" name="TextBox 24">
            <a:extLst>
              <a:ext uri="{FF2B5EF4-FFF2-40B4-BE49-F238E27FC236}">
                <a16:creationId xmlns:a16="http://schemas.microsoft.com/office/drawing/2014/main" id="{0397FEB8-3509-4562-82E6-1C2633B9A5B1}"/>
              </a:ext>
            </a:extLst>
          </p:cNvPr>
          <p:cNvSpPr txBox="1"/>
          <p:nvPr/>
        </p:nvSpPr>
        <p:spPr>
          <a:xfrm>
            <a:off x="3655393" y="4250562"/>
            <a:ext cx="2179046" cy="338554"/>
          </a:xfrm>
          <a:prstGeom prst="rect">
            <a:avLst/>
          </a:prstGeom>
          <a:noFill/>
        </p:spPr>
        <p:txBody>
          <a:bodyPr wrap="square" rtlCol="0">
            <a:spAutoFit/>
          </a:bodyPr>
          <a:lstStyle/>
          <a:p>
            <a:pPr algn="ctr">
              <a:spcBef>
                <a:spcPts val="600"/>
              </a:spcBef>
              <a:defRPr/>
            </a:pPr>
            <a:r>
              <a:rPr lang="en-US" sz="800" i="1" dirty="0">
                <a:solidFill>
                  <a:schemeClr val="bg1"/>
                </a:solidFill>
                <a:latin typeface="+mn-lt"/>
              </a:rPr>
              <a:t>Multicloud Is the New Normal, </a:t>
            </a:r>
            <a:r>
              <a:rPr lang="en-US" sz="800" dirty="0">
                <a:solidFill>
                  <a:schemeClr val="bg1"/>
                </a:solidFill>
                <a:latin typeface="+mn-lt"/>
              </a:rPr>
              <a:t>an IDC InfoBrief, sponsored by Cisco, March 2018</a:t>
            </a:r>
          </a:p>
        </p:txBody>
      </p:sp>
      <p:sp>
        <p:nvSpPr>
          <p:cNvPr id="27" name="TextBox 26">
            <a:extLst>
              <a:ext uri="{FF2B5EF4-FFF2-40B4-BE49-F238E27FC236}">
                <a16:creationId xmlns:a16="http://schemas.microsoft.com/office/drawing/2014/main" id="{7A8D775E-676B-4F23-92FB-85BF2AB7DFF6}"/>
              </a:ext>
            </a:extLst>
          </p:cNvPr>
          <p:cNvSpPr txBox="1"/>
          <p:nvPr/>
        </p:nvSpPr>
        <p:spPr>
          <a:xfrm>
            <a:off x="1341423" y="4258245"/>
            <a:ext cx="2175906" cy="338554"/>
          </a:xfrm>
          <a:prstGeom prst="rect">
            <a:avLst/>
          </a:prstGeom>
          <a:noFill/>
        </p:spPr>
        <p:txBody>
          <a:bodyPr wrap="square" rtlCol="0">
            <a:spAutoFit/>
          </a:bodyPr>
          <a:lstStyle/>
          <a:p>
            <a:pPr algn="ctr">
              <a:spcBef>
                <a:spcPts val="600"/>
              </a:spcBef>
              <a:defRPr/>
            </a:pPr>
            <a:r>
              <a:rPr lang="en-US" sz="800" i="1" dirty="0">
                <a:solidFill>
                  <a:schemeClr val="bg1"/>
                </a:solidFill>
                <a:latin typeface="+mn-lt"/>
              </a:rPr>
              <a:t>Operating Model Transformation Leverages Connected Systems, </a:t>
            </a:r>
            <a:r>
              <a:rPr lang="en-US" sz="800" dirty="0">
                <a:solidFill>
                  <a:schemeClr val="bg1"/>
                </a:solidFill>
                <a:latin typeface="+mn-lt"/>
              </a:rPr>
              <a:t>IDC, 2018</a:t>
            </a:r>
          </a:p>
        </p:txBody>
      </p:sp>
    </p:spTree>
    <p:extLst>
      <p:ext uri="{BB962C8B-B14F-4D97-AF65-F5344CB8AC3E}">
        <p14:creationId xmlns:p14="http://schemas.microsoft.com/office/powerpoint/2010/main" val="1849855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812800" y="2921356"/>
            <a:ext cx="4604453"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itle 1"/>
          <p:cNvSpPr>
            <a:spLocks noGrp="1"/>
          </p:cNvSpPr>
          <p:nvPr>
            <p:ph type="title"/>
          </p:nvPr>
        </p:nvSpPr>
        <p:spPr>
          <a:xfrm>
            <a:off x="711200" y="2028422"/>
            <a:ext cx="4706052" cy="812357"/>
          </a:xfrm>
        </p:spPr>
        <p:txBody>
          <a:bodyPr>
            <a:normAutofit/>
          </a:bodyPr>
          <a:lstStyle/>
          <a:p>
            <a:pPr algn="l"/>
            <a:r>
              <a:rPr lang="en-US" sz="3200" b="1" dirty="0"/>
              <a:t>Cisco Integrated Security</a:t>
            </a:r>
            <a:endParaRPr lang="en-US" sz="3200" b="1" i="1" dirty="0"/>
          </a:p>
        </p:txBody>
      </p:sp>
      <p:pic>
        <p:nvPicPr>
          <p:cNvPr id="3" name="Picture 2"/>
          <p:cNvPicPr>
            <a:picLocks noChangeAspect="1"/>
          </p:cNvPicPr>
          <p:nvPr/>
        </p:nvPicPr>
        <p:blipFill>
          <a:blip r:embed="rId3"/>
          <a:stretch>
            <a:fillRect/>
          </a:stretch>
        </p:blipFill>
        <p:spPr>
          <a:xfrm>
            <a:off x="5935995" y="1351142"/>
            <a:ext cx="2153906" cy="1570215"/>
          </a:xfrm>
          <a:prstGeom prst="rect">
            <a:avLst/>
          </a:prstGeom>
        </p:spPr>
      </p:pic>
      <p:pic>
        <p:nvPicPr>
          <p:cNvPr id="7" name="Picture 2" descr="C:\Users\spius\Pictures\cisco logo blue gradient.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6169764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is Data Being Stolen? Via People</a:t>
            </a:r>
          </a:p>
        </p:txBody>
      </p:sp>
      <p:sp>
        <p:nvSpPr>
          <p:cNvPr id="6" name="TextBox 5"/>
          <p:cNvSpPr txBox="1"/>
          <p:nvPr/>
        </p:nvSpPr>
        <p:spPr>
          <a:xfrm>
            <a:off x="5755433" y="1244715"/>
            <a:ext cx="2893267" cy="738664"/>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alpha val="75000"/>
                  </a:srgbClr>
                </a:solidFill>
                <a:effectLst/>
                <a:uLnTx/>
                <a:uFillTx/>
                <a:latin typeface="CiscoSansTT ExtraLight"/>
                <a:ea typeface="ＭＳ Ｐゴシック" charset="0"/>
              </a:rPr>
              <a:t>of malicious payloads are delivered through email </a:t>
            </a:r>
            <a:r>
              <a:rPr kumimoji="0" lang="en-US" sz="1400" b="0" i="0" u="none" strike="noStrike" kern="1200" cap="none" spc="0" normalizeH="0" baseline="0" noProof="0" dirty="0">
                <a:ln>
                  <a:noFill/>
                </a:ln>
                <a:solidFill>
                  <a:srgbClr val="00BCEB">
                    <a:alpha val="75000"/>
                  </a:srgbClr>
                </a:solidFill>
                <a:effectLst/>
                <a:uLnTx/>
                <a:uFillTx/>
                <a:latin typeface="CiscoSansTT ExtraLight"/>
                <a:ea typeface="ＭＳ Ｐゴシック" charset="0"/>
              </a:rPr>
              <a:t>(73%) </a:t>
            </a:r>
            <a:r>
              <a:rPr kumimoji="0" lang="en-US" sz="1400" b="0" i="0" u="none" strike="noStrike" kern="1200" cap="none" spc="0" normalizeH="0" baseline="0" noProof="0" dirty="0">
                <a:ln>
                  <a:noFill/>
                </a:ln>
                <a:solidFill>
                  <a:srgbClr val="282828">
                    <a:alpha val="75000"/>
                  </a:srgbClr>
                </a:solidFill>
                <a:effectLst/>
                <a:uLnTx/>
                <a:uFillTx/>
                <a:latin typeface="CiscoSansTT ExtraLight"/>
                <a:ea typeface="ＭＳ Ｐゴシック" charset="0"/>
              </a:rPr>
              <a:t>and web </a:t>
            </a:r>
            <a:r>
              <a:rPr kumimoji="0" lang="en-US" sz="1400" b="0" i="0" u="none" strike="noStrike" kern="1200" cap="none" spc="0" normalizeH="0" baseline="0" noProof="0" dirty="0">
                <a:ln>
                  <a:noFill/>
                </a:ln>
                <a:solidFill>
                  <a:srgbClr val="00BCEB">
                    <a:alpha val="75000"/>
                  </a:srgbClr>
                </a:solidFill>
                <a:effectLst/>
                <a:uLnTx/>
                <a:uFillTx/>
                <a:latin typeface="CiscoSansTT ExtraLight"/>
                <a:ea typeface="ＭＳ Ｐゴシック" charset="0"/>
              </a:rPr>
              <a:t>(13%)</a:t>
            </a:r>
          </a:p>
        </p:txBody>
      </p:sp>
      <p:grpSp>
        <p:nvGrpSpPr>
          <p:cNvPr id="7" name="Group 6"/>
          <p:cNvGrpSpPr/>
          <p:nvPr/>
        </p:nvGrpSpPr>
        <p:grpSpPr>
          <a:xfrm>
            <a:off x="4928718" y="1237403"/>
            <a:ext cx="725488" cy="725488"/>
            <a:chOff x="4537075" y="7963694"/>
            <a:chExt cx="725488" cy="725488"/>
          </a:xfrm>
        </p:grpSpPr>
        <p:grpSp>
          <p:nvGrpSpPr>
            <p:cNvPr id="8" name="Group 7"/>
            <p:cNvGrpSpPr/>
            <p:nvPr/>
          </p:nvGrpSpPr>
          <p:grpSpPr>
            <a:xfrm>
              <a:off x="4537075" y="7963694"/>
              <a:ext cx="725488" cy="725488"/>
              <a:chOff x="4537075" y="7963694"/>
              <a:chExt cx="725488" cy="725488"/>
            </a:xfrm>
          </p:grpSpPr>
          <p:sp>
            <p:nvSpPr>
              <p:cNvPr id="10" name="Oval 147"/>
              <p:cNvSpPr>
                <a:spLocks noChangeArrowheads="1"/>
              </p:cNvSpPr>
              <p:nvPr/>
            </p:nvSpPr>
            <p:spPr bwMode="auto">
              <a:xfrm>
                <a:off x="4537075" y="7963694"/>
                <a:ext cx="725488" cy="725488"/>
              </a:xfrm>
              <a:prstGeom prst="ellipse">
                <a:avLst/>
              </a:prstGeom>
              <a:noFill/>
              <a:ln w="82550">
                <a:solidFill>
                  <a:schemeClr val="bg2">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11" name="Freeform 148"/>
              <p:cNvSpPr>
                <a:spLocks/>
              </p:cNvSpPr>
              <p:nvPr/>
            </p:nvSpPr>
            <p:spPr bwMode="auto">
              <a:xfrm>
                <a:off x="4537075" y="7963694"/>
                <a:ext cx="722313" cy="722313"/>
              </a:xfrm>
              <a:custGeom>
                <a:avLst/>
                <a:gdLst>
                  <a:gd name="T0" fmla="*/ 132 w 265"/>
                  <a:gd name="T1" fmla="*/ 0 h 265"/>
                  <a:gd name="T2" fmla="*/ 265 w 265"/>
                  <a:gd name="T3" fmla="*/ 133 h 265"/>
                  <a:gd name="T4" fmla="*/ 132 w 265"/>
                  <a:gd name="T5" fmla="*/ 265 h 265"/>
                  <a:gd name="T6" fmla="*/ 0 w 265"/>
                  <a:gd name="T7" fmla="*/ 133 h 265"/>
                  <a:gd name="T8" fmla="*/ 29 w 265"/>
                  <a:gd name="T9" fmla="*/ 49 h 265"/>
                </a:gdLst>
                <a:ahLst/>
                <a:cxnLst>
                  <a:cxn ang="0">
                    <a:pos x="T0" y="T1"/>
                  </a:cxn>
                  <a:cxn ang="0">
                    <a:pos x="T2" y="T3"/>
                  </a:cxn>
                  <a:cxn ang="0">
                    <a:pos x="T4" y="T5"/>
                  </a:cxn>
                  <a:cxn ang="0">
                    <a:pos x="T6" y="T7"/>
                  </a:cxn>
                  <a:cxn ang="0">
                    <a:pos x="T8" y="T9"/>
                  </a:cxn>
                </a:cxnLst>
                <a:rect l="0" t="0" r="r" b="b"/>
                <a:pathLst>
                  <a:path w="265" h="265">
                    <a:moveTo>
                      <a:pt x="132" y="0"/>
                    </a:moveTo>
                    <a:cubicBezTo>
                      <a:pt x="205" y="0"/>
                      <a:pt x="265" y="59"/>
                      <a:pt x="265" y="133"/>
                    </a:cubicBezTo>
                    <a:cubicBezTo>
                      <a:pt x="265" y="206"/>
                      <a:pt x="205" y="265"/>
                      <a:pt x="132" y="265"/>
                    </a:cubicBezTo>
                    <a:cubicBezTo>
                      <a:pt x="59" y="265"/>
                      <a:pt x="0" y="206"/>
                      <a:pt x="0" y="133"/>
                    </a:cubicBezTo>
                    <a:cubicBezTo>
                      <a:pt x="0" y="100"/>
                      <a:pt x="9" y="74"/>
                      <a:pt x="29" y="49"/>
                    </a:cubicBezTo>
                  </a:path>
                </a:pathLst>
              </a:custGeom>
              <a:noFill/>
              <a:ln w="8255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sp>
          <p:nvSpPr>
            <p:cNvPr id="9" name="TextBox 8"/>
            <p:cNvSpPr txBox="1"/>
            <p:nvPr/>
          </p:nvSpPr>
          <p:spPr>
            <a:xfrm>
              <a:off x="4545013" y="8116546"/>
              <a:ext cx="709612" cy="400110"/>
            </a:xfrm>
            <a:prstGeom prst="rect">
              <a:avLst/>
            </a:prstGeom>
            <a:noFill/>
          </p:spPr>
          <p:txBody>
            <a:bodyPr wrap="square" lIns="0" r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6EBE4A"/>
                  </a:solidFill>
                  <a:effectLst/>
                  <a:uLnTx/>
                  <a:uFillTx/>
                  <a:latin typeface="CiscoSansTT ExtraLight"/>
                  <a:ea typeface="ＭＳ Ｐゴシック" charset="0"/>
                </a:rPr>
                <a:t>86%</a:t>
              </a:r>
            </a:p>
          </p:txBody>
        </p:sp>
      </p:grpSp>
      <p:grpSp>
        <p:nvGrpSpPr>
          <p:cNvPr id="12" name="Group 11"/>
          <p:cNvGrpSpPr/>
          <p:nvPr/>
        </p:nvGrpSpPr>
        <p:grpSpPr>
          <a:xfrm>
            <a:off x="571701" y="1249353"/>
            <a:ext cx="722376" cy="725488"/>
            <a:chOff x="399203" y="7963694"/>
            <a:chExt cx="728663" cy="725488"/>
          </a:xfrm>
        </p:grpSpPr>
        <p:grpSp>
          <p:nvGrpSpPr>
            <p:cNvPr id="13" name="Group 12"/>
            <p:cNvGrpSpPr/>
            <p:nvPr/>
          </p:nvGrpSpPr>
          <p:grpSpPr>
            <a:xfrm>
              <a:off x="399203" y="7963694"/>
              <a:ext cx="728663" cy="725488"/>
              <a:chOff x="400050" y="7963694"/>
              <a:chExt cx="728663" cy="725488"/>
            </a:xfrm>
          </p:grpSpPr>
          <p:sp>
            <p:nvSpPr>
              <p:cNvPr id="15" name="Oval 137"/>
              <p:cNvSpPr>
                <a:spLocks noChangeArrowheads="1"/>
              </p:cNvSpPr>
              <p:nvPr/>
            </p:nvSpPr>
            <p:spPr bwMode="auto">
              <a:xfrm>
                <a:off x="403225" y="7963694"/>
                <a:ext cx="725488" cy="725488"/>
              </a:xfrm>
              <a:prstGeom prst="ellipse">
                <a:avLst/>
              </a:prstGeom>
              <a:noFill/>
              <a:ln w="82550">
                <a:solidFill>
                  <a:schemeClr val="bg2">
                    <a:lumMod val="8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16" name="Freeform 138"/>
              <p:cNvSpPr>
                <a:spLocks/>
              </p:cNvSpPr>
              <p:nvPr/>
            </p:nvSpPr>
            <p:spPr bwMode="auto">
              <a:xfrm>
                <a:off x="400050" y="7963694"/>
                <a:ext cx="723900" cy="722313"/>
              </a:xfrm>
              <a:custGeom>
                <a:avLst/>
                <a:gdLst>
                  <a:gd name="T0" fmla="*/ 133 w 265"/>
                  <a:gd name="T1" fmla="*/ 0 h 265"/>
                  <a:gd name="T2" fmla="*/ 265 w 265"/>
                  <a:gd name="T3" fmla="*/ 133 h 265"/>
                  <a:gd name="T4" fmla="*/ 133 w 265"/>
                  <a:gd name="T5" fmla="*/ 265 h 265"/>
                  <a:gd name="T6" fmla="*/ 0 w 265"/>
                  <a:gd name="T7" fmla="*/ 133 h 265"/>
                  <a:gd name="T8" fmla="*/ 9 w 265"/>
                  <a:gd name="T9" fmla="*/ 85 h 265"/>
                </a:gdLst>
                <a:ahLst/>
                <a:cxnLst>
                  <a:cxn ang="0">
                    <a:pos x="T0" y="T1"/>
                  </a:cxn>
                  <a:cxn ang="0">
                    <a:pos x="T2" y="T3"/>
                  </a:cxn>
                  <a:cxn ang="0">
                    <a:pos x="T4" y="T5"/>
                  </a:cxn>
                  <a:cxn ang="0">
                    <a:pos x="T6" y="T7"/>
                  </a:cxn>
                  <a:cxn ang="0">
                    <a:pos x="T8" y="T9"/>
                  </a:cxn>
                </a:cxnLst>
                <a:rect l="0" t="0" r="r" b="b"/>
                <a:pathLst>
                  <a:path w="265" h="265">
                    <a:moveTo>
                      <a:pt x="133" y="0"/>
                    </a:moveTo>
                    <a:cubicBezTo>
                      <a:pt x="206" y="0"/>
                      <a:pt x="265" y="59"/>
                      <a:pt x="265" y="133"/>
                    </a:cubicBezTo>
                    <a:cubicBezTo>
                      <a:pt x="265" y="206"/>
                      <a:pt x="206" y="265"/>
                      <a:pt x="133" y="265"/>
                    </a:cubicBezTo>
                    <a:cubicBezTo>
                      <a:pt x="60" y="265"/>
                      <a:pt x="0" y="206"/>
                      <a:pt x="0" y="133"/>
                    </a:cubicBezTo>
                    <a:cubicBezTo>
                      <a:pt x="0" y="115"/>
                      <a:pt x="3" y="101"/>
                      <a:pt x="9" y="85"/>
                    </a:cubicBezTo>
                  </a:path>
                </a:pathLst>
              </a:custGeom>
              <a:noFill/>
              <a:ln w="8255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sp>
          <p:nvSpPr>
            <p:cNvPr id="14" name="TextBox 13"/>
            <p:cNvSpPr txBox="1"/>
            <p:nvPr/>
          </p:nvSpPr>
          <p:spPr>
            <a:xfrm>
              <a:off x="408728" y="8121153"/>
              <a:ext cx="709612" cy="400110"/>
            </a:xfrm>
            <a:prstGeom prst="rect">
              <a:avLst/>
            </a:prstGeom>
            <a:noFill/>
          </p:spPr>
          <p:txBody>
            <a:bodyPr wrap="square" lIns="0" r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6EBE4A"/>
                  </a:solidFill>
                  <a:effectLst/>
                  <a:uLnTx/>
                  <a:uFillTx/>
                  <a:latin typeface="CiscoSansTT ExtraLight"/>
                  <a:ea typeface="ＭＳ Ｐゴシック" charset="0"/>
                </a:rPr>
                <a:t>81%</a:t>
              </a:r>
            </a:p>
          </p:txBody>
        </p:sp>
      </p:grpSp>
      <p:sp>
        <p:nvSpPr>
          <p:cNvPr id="17" name="TextBox 16"/>
          <p:cNvSpPr txBox="1"/>
          <p:nvPr/>
        </p:nvSpPr>
        <p:spPr>
          <a:xfrm>
            <a:off x="1451145" y="1256665"/>
            <a:ext cx="3128791" cy="738664"/>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alpha val="75000"/>
                  </a:srgbClr>
                </a:solidFill>
                <a:effectLst/>
                <a:uLnTx/>
                <a:uFillTx/>
                <a:latin typeface="CiscoSansTT ExtraLight"/>
                <a:ea typeface="ＭＳ Ｐゴシック" charset="0"/>
              </a:rPr>
              <a:t>of hacking-related breaches leveraged either stolen and/or </a:t>
            </a:r>
            <a:br>
              <a:rPr kumimoji="0" lang="en-US" sz="1400" b="0" i="0" u="none" strike="noStrike" kern="1200" cap="none" spc="0" normalizeH="0" baseline="0" noProof="0" dirty="0">
                <a:ln>
                  <a:noFill/>
                </a:ln>
                <a:solidFill>
                  <a:srgbClr val="282828">
                    <a:alpha val="75000"/>
                  </a:srgbClr>
                </a:solidFill>
                <a:effectLst/>
                <a:uLnTx/>
                <a:uFillTx/>
                <a:latin typeface="CiscoSansTT ExtraLight"/>
                <a:ea typeface="ＭＳ Ｐゴシック" charset="0"/>
              </a:rPr>
            </a:br>
            <a:r>
              <a:rPr kumimoji="0" lang="en-US" sz="1400" b="0" i="0" u="none" strike="noStrike" kern="1200" cap="none" spc="0" normalizeH="0" baseline="0" noProof="0" dirty="0">
                <a:ln>
                  <a:noFill/>
                </a:ln>
                <a:solidFill>
                  <a:srgbClr val="282828">
                    <a:alpha val="75000"/>
                  </a:srgbClr>
                </a:solidFill>
                <a:effectLst/>
                <a:uLnTx/>
                <a:uFillTx/>
                <a:latin typeface="CiscoSansTT ExtraLight"/>
                <a:ea typeface="ＭＳ Ｐゴシック" charset="0"/>
              </a:rPr>
              <a:t>weak passwords</a:t>
            </a:r>
          </a:p>
        </p:txBody>
      </p:sp>
      <p:pic>
        <p:nvPicPr>
          <p:cNvPr id="3" name="Picture 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8340" y="2344730"/>
            <a:ext cx="2718098" cy="2277162"/>
          </a:xfrm>
          <a:prstGeom prst="rect">
            <a:avLst/>
          </a:prstGeom>
          <a:noFill/>
          <a:ln>
            <a:noFill/>
          </a:ln>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534409" y="2317514"/>
            <a:ext cx="2504425" cy="2324023"/>
          </a:xfrm>
          <a:prstGeom prst="rect">
            <a:avLst/>
          </a:prstGeom>
          <a:noFill/>
          <a:ln>
            <a:noFill/>
          </a:ln>
        </p:spPr>
      </p:pic>
      <p:cxnSp>
        <p:nvCxnSpPr>
          <p:cNvPr id="29" name="Straight Connector 28">
            <a:extLst>
              <a:ext uri="{FF2B5EF4-FFF2-40B4-BE49-F238E27FC236}">
                <a16:creationId xmlns:a16="http://schemas.microsoft.com/office/drawing/2014/main" id="{539CA5AF-ED19-4466-85C0-AA3C2BE2A3D0}"/>
              </a:ext>
            </a:extLst>
          </p:cNvPr>
          <p:cNvCxnSpPr/>
          <p:nvPr/>
        </p:nvCxnSpPr>
        <p:spPr>
          <a:xfrm>
            <a:off x="4572000" y="1237403"/>
            <a:ext cx="0" cy="304844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5" name="Group 69">
            <a:extLst>
              <a:ext uri="{FF2B5EF4-FFF2-40B4-BE49-F238E27FC236}">
                <a16:creationId xmlns:a16="http://schemas.microsoft.com/office/drawing/2014/main" id="{015F9365-EEC7-4255-B2FC-411EE92CA343}"/>
              </a:ext>
            </a:extLst>
          </p:cNvPr>
          <p:cNvGrpSpPr>
            <a:grpSpLocks noChangeAspect="1"/>
          </p:cNvGrpSpPr>
          <p:nvPr/>
        </p:nvGrpSpPr>
        <p:grpSpPr bwMode="auto">
          <a:xfrm>
            <a:off x="2397608" y="2063935"/>
            <a:ext cx="356421" cy="356701"/>
            <a:chOff x="2278" y="1021"/>
            <a:chExt cx="2544" cy="2546"/>
          </a:xfrm>
        </p:grpSpPr>
        <p:sp>
          <p:nvSpPr>
            <p:cNvPr id="26" name="Freeform 70">
              <a:extLst>
                <a:ext uri="{FF2B5EF4-FFF2-40B4-BE49-F238E27FC236}">
                  <a16:creationId xmlns:a16="http://schemas.microsoft.com/office/drawing/2014/main" id="{6B7B7274-EC0B-4A5B-96BA-421F15C367AF}"/>
                </a:ext>
              </a:extLst>
            </p:cNvPr>
            <p:cNvSpPr>
              <a:spLocks/>
            </p:cNvSpPr>
            <p:nvPr/>
          </p:nvSpPr>
          <p:spPr bwMode="auto">
            <a:xfrm>
              <a:off x="2278" y="1021"/>
              <a:ext cx="2544" cy="2546"/>
            </a:xfrm>
            <a:custGeom>
              <a:avLst/>
              <a:gdLst>
                <a:gd name="T0" fmla="*/ 720 w 1440"/>
                <a:gd name="T1" fmla="*/ 0 h 1440"/>
                <a:gd name="T2" fmla="*/ 0 w 1440"/>
                <a:gd name="T3" fmla="*/ 720 h 1440"/>
                <a:gd name="T4" fmla="*/ 705 w 1440"/>
                <a:gd name="T5" fmla="*/ 1439 h 1440"/>
                <a:gd name="T6" fmla="*/ 720 w 1440"/>
                <a:gd name="T7" fmla="*/ 1440 h 1440"/>
                <a:gd name="T8" fmla="*/ 1439 w 1440"/>
                <a:gd name="T9" fmla="*/ 762 h 1440"/>
                <a:gd name="T10" fmla="*/ 1440 w 1440"/>
                <a:gd name="T11" fmla="*/ 720 h 1440"/>
                <a:gd name="T12" fmla="*/ 720 w 1440"/>
                <a:gd name="T13" fmla="*/ 0 h 1440"/>
              </a:gdLst>
              <a:ahLst/>
              <a:cxnLst>
                <a:cxn ang="0">
                  <a:pos x="T0" y="T1"/>
                </a:cxn>
                <a:cxn ang="0">
                  <a:pos x="T2" y="T3"/>
                </a:cxn>
                <a:cxn ang="0">
                  <a:pos x="T4" y="T5"/>
                </a:cxn>
                <a:cxn ang="0">
                  <a:pos x="T6" y="T7"/>
                </a:cxn>
                <a:cxn ang="0">
                  <a:pos x="T8" y="T9"/>
                </a:cxn>
                <a:cxn ang="0">
                  <a:pos x="T10" y="T11"/>
                </a:cxn>
                <a:cxn ang="0">
                  <a:pos x="T12" y="T13"/>
                </a:cxn>
              </a:cxnLst>
              <a:rect l="0" t="0" r="r" b="b"/>
              <a:pathLst>
                <a:path w="1440" h="1440">
                  <a:moveTo>
                    <a:pt x="720" y="0"/>
                  </a:moveTo>
                  <a:cubicBezTo>
                    <a:pt x="323" y="0"/>
                    <a:pt x="0" y="322"/>
                    <a:pt x="0" y="720"/>
                  </a:cubicBezTo>
                  <a:cubicBezTo>
                    <a:pt x="0" y="1112"/>
                    <a:pt x="314" y="1431"/>
                    <a:pt x="705" y="1439"/>
                  </a:cubicBezTo>
                  <a:cubicBezTo>
                    <a:pt x="710" y="1440"/>
                    <a:pt x="715" y="1440"/>
                    <a:pt x="720" y="1440"/>
                  </a:cubicBezTo>
                  <a:cubicBezTo>
                    <a:pt x="1104" y="1440"/>
                    <a:pt x="1417" y="1140"/>
                    <a:pt x="1439" y="762"/>
                  </a:cubicBezTo>
                  <a:cubicBezTo>
                    <a:pt x="1440" y="748"/>
                    <a:pt x="1440" y="734"/>
                    <a:pt x="1440" y="720"/>
                  </a:cubicBezTo>
                  <a:cubicBezTo>
                    <a:pt x="1440" y="322"/>
                    <a:pt x="1118" y="0"/>
                    <a:pt x="720"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7" name="Freeform 71">
              <a:extLst>
                <a:ext uri="{FF2B5EF4-FFF2-40B4-BE49-F238E27FC236}">
                  <a16:creationId xmlns:a16="http://schemas.microsoft.com/office/drawing/2014/main" id="{46E78F34-10FE-445C-80E5-1DA30D8CBF3E}"/>
                </a:ext>
              </a:extLst>
            </p:cNvPr>
            <p:cNvSpPr>
              <a:spLocks/>
            </p:cNvSpPr>
            <p:nvPr/>
          </p:nvSpPr>
          <p:spPr bwMode="auto">
            <a:xfrm>
              <a:off x="3199" y="1503"/>
              <a:ext cx="689" cy="725"/>
            </a:xfrm>
            <a:custGeom>
              <a:avLst/>
              <a:gdLst>
                <a:gd name="T0" fmla="*/ 63 w 390"/>
                <a:gd name="T1" fmla="*/ 375 h 410"/>
                <a:gd name="T2" fmla="*/ 63 w 390"/>
                <a:gd name="T3" fmla="*/ 410 h 410"/>
                <a:gd name="T4" fmla="*/ 103 w 390"/>
                <a:gd name="T5" fmla="*/ 410 h 410"/>
                <a:gd name="T6" fmla="*/ 103 w 390"/>
                <a:gd name="T7" fmla="*/ 390 h 410"/>
                <a:gd name="T8" fmla="*/ 118 w 390"/>
                <a:gd name="T9" fmla="*/ 375 h 410"/>
                <a:gd name="T10" fmla="*/ 133 w 390"/>
                <a:gd name="T11" fmla="*/ 390 h 410"/>
                <a:gd name="T12" fmla="*/ 133 w 390"/>
                <a:gd name="T13" fmla="*/ 410 h 410"/>
                <a:gd name="T14" fmla="*/ 177 w 390"/>
                <a:gd name="T15" fmla="*/ 410 h 410"/>
                <a:gd name="T16" fmla="*/ 177 w 390"/>
                <a:gd name="T17" fmla="*/ 390 h 410"/>
                <a:gd name="T18" fmla="*/ 192 w 390"/>
                <a:gd name="T19" fmla="*/ 375 h 410"/>
                <a:gd name="T20" fmla="*/ 207 w 390"/>
                <a:gd name="T21" fmla="*/ 390 h 410"/>
                <a:gd name="T22" fmla="*/ 207 w 390"/>
                <a:gd name="T23" fmla="*/ 410 h 410"/>
                <a:gd name="T24" fmla="*/ 251 w 390"/>
                <a:gd name="T25" fmla="*/ 410 h 410"/>
                <a:gd name="T26" fmla="*/ 251 w 390"/>
                <a:gd name="T27" fmla="*/ 390 h 410"/>
                <a:gd name="T28" fmla="*/ 266 w 390"/>
                <a:gd name="T29" fmla="*/ 375 h 410"/>
                <a:gd name="T30" fmla="*/ 281 w 390"/>
                <a:gd name="T31" fmla="*/ 390 h 410"/>
                <a:gd name="T32" fmla="*/ 281 w 390"/>
                <a:gd name="T33" fmla="*/ 410 h 410"/>
                <a:gd name="T34" fmla="*/ 326 w 390"/>
                <a:gd name="T35" fmla="*/ 410 h 410"/>
                <a:gd name="T36" fmla="*/ 326 w 390"/>
                <a:gd name="T37" fmla="*/ 383 h 410"/>
                <a:gd name="T38" fmla="*/ 330 w 390"/>
                <a:gd name="T39" fmla="*/ 373 h 410"/>
                <a:gd name="T40" fmla="*/ 390 w 390"/>
                <a:gd name="T41" fmla="*/ 216 h 410"/>
                <a:gd name="T42" fmla="*/ 199 w 390"/>
                <a:gd name="T43" fmla="*/ 0 h 410"/>
                <a:gd name="T44" fmla="*/ 0 w 390"/>
                <a:gd name="T45" fmla="*/ 216 h 410"/>
                <a:gd name="T46" fmla="*/ 60 w 390"/>
                <a:gd name="T47" fmla="*/ 365 h 410"/>
                <a:gd name="T48" fmla="*/ 63 w 390"/>
                <a:gd name="T49" fmla="*/ 375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0" h="410">
                  <a:moveTo>
                    <a:pt x="63" y="375"/>
                  </a:moveTo>
                  <a:cubicBezTo>
                    <a:pt x="63" y="410"/>
                    <a:pt x="63" y="410"/>
                    <a:pt x="63" y="410"/>
                  </a:cubicBezTo>
                  <a:cubicBezTo>
                    <a:pt x="103" y="410"/>
                    <a:pt x="103" y="410"/>
                    <a:pt x="103" y="410"/>
                  </a:cubicBezTo>
                  <a:cubicBezTo>
                    <a:pt x="103" y="390"/>
                    <a:pt x="103" y="390"/>
                    <a:pt x="103" y="390"/>
                  </a:cubicBezTo>
                  <a:cubicBezTo>
                    <a:pt x="103" y="382"/>
                    <a:pt x="109" y="375"/>
                    <a:pt x="118" y="375"/>
                  </a:cubicBezTo>
                  <a:cubicBezTo>
                    <a:pt x="126" y="375"/>
                    <a:pt x="133" y="382"/>
                    <a:pt x="133" y="390"/>
                  </a:cubicBezTo>
                  <a:cubicBezTo>
                    <a:pt x="133" y="410"/>
                    <a:pt x="133" y="410"/>
                    <a:pt x="133" y="410"/>
                  </a:cubicBezTo>
                  <a:cubicBezTo>
                    <a:pt x="177" y="410"/>
                    <a:pt x="177" y="410"/>
                    <a:pt x="177" y="410"/>
                  </a:cubicBezTo>
                  <a:cubicBezTo>
                    <a:pt x="177" y="390"/>
                    <a:pt x="177" y="390"/>
                    <a:pt x="177" y="390"/>
                  </a:cubicBezTo>
                  <a:cubicBezTo>
                    <a:pt x="177" y="382"/>
                    <a:pt x="183" y="375"/>
                    <a:pt x="192" y="375"/>
                  </a:cubicBezTo>
                  <a:cubicBezTo>
                    <a:pt x="200" y="375"/>
                    <a:pt x="207" y="382"/>
                    <a:pt x="207" y="390"/>
                  </a:cubicBezTo>
                  <a:cubicBezTo>
                    <a:pt x="207" y="410"/>
                    <a:pt x="207" y="410"/>
                    <a:pt x="207" y="410"/>
                  </a:cubicBezTo>
                  <a:cubicBezTo>
                    <a:pt x="251" y="410"/>
                    <a:pt x="251" y="410"/>
                    <a:pt x="251" y="410"/>
                  </a:cubicBezTo>
                  <a:cubicBezTo>
                    <a:pt x="251" y="390"/>
                    <a:pt x="251" y="390"/>
                    <a:pt x="251" y="390"/>
                  </a:cubicBezTo>
                  <a:cubicBezTo>
                    <a:pt x="251" y="382"/>
                    <a:pt x="258" y="375"/>
                    <a:pt x="266" y="375"/>
                  </a:cubicBezTo>
                  <a:cubicBezTo>
                    <a:pt x="274" y="375"/>
                    <a:pt x="281" y="382"/>
                    <a:pt x="281" y="390"/>
                  </a:cubicBezTo>
                  <a:cubicBezTo>
                    <a:pt x="281" y="410"/>
                    <a:pt x="281" y="410"/>
                    <a:pt x="281" y="410"/>
                  </a:cubicBezTo>
                  <a:cubicBezTo>
                    <a:pt x="326" y="410"/>
                    <a:pt x="326" y="410"/>
                    <a:pt x="326" y="410"/>
                  </a:cubicBezTo>
                  <a:cubicBezTo>
                    <a:pt x="326" y="383"/>
                    <a:pt x="326" y="383"/>
                    <a:pt x="326" y="383"/>
                  </a:cubicBezTo>
                  <a:cubicBezTo>
                    <a:pt x="326" y="379"/>
                    <a:pt x="328" y="376"/>
                    <a:pt x="330" y="373"/>
                  </a:cubicBezTo>
                  <a:cubicBezTo>
                    <a:pt x="370" y="325"/>
                    <a:pt x="390" y="272"/>
                    <a:pt x="390" y="216"/>
                  </a:cubicBezTo>
                  <a:cubicBezTo>
                    <a:pt x="390" y="99"/>
                    <a:pt x="302" y="0"/>
                    <a:pt x="199" y="0"/>
                  </a:cubicBezTo>
                  <a:cubicBezTo>
                    <a:pt x="89" y="0"/>
                    <a:pt x="0" y="97"/>
                    <a:pt x="0" y="216"/>
                  </a:cubicBezTo>
                  <a:cubicBezTo>
                    <a:pt x="0" y="266"/>
                    <a:pt x="21" y="319"/>
                    <a:pt x="60" y="365"/>
                  </a:cubicBezTo>
                  <a:cubicBezTo>
                    <a:pt x="62" y="368"/>
                    <a:pt x="63" y="371"/>
                    <a:pt x="63" y="37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8" name="Freeform 72">
              <a:extLst>
                <a:ext uri="{FF2B5EF4-FFF2-40B4-BE49-F238E27FC236}">
                  <a16:creationId xmlns:a16="http://schemas.microsoft.com/office/drawing/2014/main" id="{949FE044-EDD4-49F7-B974-F23F32B40F7C}"/>
                </a:ext>
              </a:extLst>
            </p:cNvPr>
            <p:cNvSpPr>
              <a:spLocks/>
            </p:cNvSpPr>
            <p:nvPr/>
          </p:nvSpPr>
          <p:spPr bwMode="auto">
            <a:xfrm>
              <a:off x="3310" y="2281"/>
              <a:ext cx="465" cy="98"/>
            </a:xfrm>
            <a:custGeom>
              <a:avLst/>
              <a:gdLst>
                <a:gd name="T0" fmla="*/ 263 w 263"/>
                <a:gd name="T1" fmla="*/ 22 h 55"/>
                <a:gd name="T2" fmla="*/ 263 w 263"/>
                <a:gd name="T3" fmla="*/ 0 h 55"/>
                <a:gd name="T4" fmla="*/ 218 w 263"/>
                <a:gd name="T5" fmla="*/ 0 h 55"/>
                <a:gd name="T6" fmla="*/ 218 w 263"/>
                <a:gd name="T7" fmla="*/ 16 h 55"/>
                <a:gd name="T8" fmla="*/ 203 w 263"/>
                <a:gd name="T9" fmla="*/ 31 h 55"/>
                <a:gd name="T10" fmla="*/ 188 w 263"/>
                <a:gd name="T11" fmla="*/ 16 h 55"/>
                <a:gd name="T12" fmla="*/ 188 w 263"/>
                <a:gd name="T13" fmla="*/ 0 h 55"/>
                <a:gd name="T14" fmla="*/ 144 w 263"/>
                <a:gd name="T15" fmla="*/ 0 h 55"/>
                <a:gd name="T16" fmla="*/ 144 w 263"/>
                <a:gd name="T17" fmla="*/ 16 h 55"/>
                <a:gd name="T18" fmla="*/ 129 w 263"/>
                <a:gd name="T19" fmla="*/ 31 h 55"/>
                <a:gd name="T20" fmla="*/ 114 w 263"/>
                <a:gd name="T21" fmla="*/ 16 h 55"/>
                <a:gd name="T22" fmla="*/ 114 w 263"/>
                <a:gd name="T23" fmla="*/ 0 h 55"/>
                <a:gd name="T24" fmla="*/ 70 w 263"/>
                <a:gd name="T25" fmla="*/ 0 h 55"/>
                <a:gd name="T26" fmla="*/ 70 w 263"/>
                <a:gd name="T27" fmla="*/ 16 h 55"/>
                <a:gd name="T28" fmla="*/ 55 w 263"/>
                <a:gd name="T29" fmla="*/ 31 h 55"/>
                <a:gd name="T30" fmla="*/ 40 w 263"/>
                <a:gd name="T31" fmla="*/ 16 h 55"/>
                <a:gd name="T32" fmla="*/ 40 w 263"/>
                <a:gd name="T33" fmla="*/ 0 h 55"/>
                <a:gd name="T34" fmla="*/ 0 w 263"/>
                <a:gd name="T35" fmla="*/ 0 h 55"/>
                <a:gd name="T36" fmla="*/ 0 w 263"/>
                <a:gd name="T37" fmla="*/ 22 h 55"/>
                <a:gd name="T38" fmla="*/ 33 w 263"/>
                <a:gd name="T39" fmla="*/ 55 h 55"/>
                <a:gd name="T40" fmla="*/ 231 w 263"/>
                <a:gd name="T41" fmla="*/ 55 h 55"/>
                <a:gd name="T42" fmla="*/ 263 w 263"/>
                <a:gd name="T43" fmla="*/ 2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3" h="55">
                  <a:moveTo>
                    <a:pt x="263" y="22"/>
                  </a:moveTo>
                  <a:cubicBezTo>
                    <a:pt x="263" y="0"/>
                    <a:pt x="263" y="0"/>
                    <a:pt x="263" y="0"/>
                  </a:cubicBezTo>
                  <a:cubicBezTo>
                    <a:pt x="218" y="0"/>
                    <a:pt x="218" y="0"/>
                    <a:pt x="218" y="0"/>
                  </a:cubicBezTo>
                  <a:cubicBezTo>
                    <a:pt x="218" y="16"/>
                    <a:pt x="218" y="16"/>
                    <a:pt x="218" y="16"/>
                  </a:cubicBezTo>
                  <a:cubicBezTo>
                    <a:pt x="218" y="24"/>
                    <a:pt x="211" y="31"/>
                    <a:pt x="203" y="31"/>
                  </a:cubicBezTo>
                  <a:cubicBezTo>
                    <a:pt x="195" y="31"/>
                    <a:pt x="188" y="24"/>
                    <a:pt x="188" y="16"/>
                  </a:cubicBezTo>
                  <a:cubicBezTo>
                    <a:pt x="188" y="0"/>
                    <a:pt x="188" y="0"/>
                    <a:pt x="188" y="0"/>
                  </a:cubicBezTo>
                  <a:cubicBezTo>
                    <a:pt x="144" y="0"/>
                    <a:pt x="144" y="0"/>
                    <a:pt x="144" y="0"/>
                  </a:cubicBezTo>
                  <a:cubicBezTo>
                    <a:pt x="144" y="16"/>
                    <a:pt x="144" y="16"/>
                    <a:pt x="144" y="16"/>
                  </a:cubicBezTo>
                  <a:cubicBezTo>
                    <a:pt x="144" y="24"/>
                    <a:pt x="137" y="31"/>
                    <a:pt x="129" y="31"/>
                  </a:cubicBezTo>
                  <a:cubicBezTo>
                    <a:pt x="120" y="31"/>
                    <a:pt x="114" y="24"/>
                    <a:pt x="114" y="16"/>
                  </a:cubicBezTo>
                  <a:cubicBezTo>
                    <a:pt x="114" y="0"/>
                    <a:pt x="114" y="0"/>
                    <a:pt x="114" y="0"/>
                  </a:cubicBezTo>
                  <a:cubicBezTo>
                    <a:pt x="70" y="0"/>
                    <a:pt x="70" y="0"/>
                    <a:pt x="70" y="0"/>
                  </a:cubicBezTo>
                  <a:cubicBezTo>
                    <a:pt x="70" y="16"/>
                    <a:pt x="70" y="16"/>
                    <a:pt x="70" y="16"/>
                  </a:cubicBezTo>
                  <a:cubicBezTo>
                    <a:pt x="70" y="24"/>
                    <a:pt x="63" y="31"/>
                    <a:pt x="55" y="31"/>
                  </a:cubicBezTo>
                  <a:cubicBezTo>
                    <a:pt x="46" y="31"/>
                    <a:pt x="40" y="24"/>
                    <a:pt x="40" y="16"/>
                  </a:cubicBezTo>
                  <a:cubicBezTo>
                    <a:pt x="40" y="0"/>
                    <a:pt x="40" y="0"/>
                    <a:pt x="40" y="0"/>
                  </a:cubicBezTo>
                  <a:cubicBezTo>
                    <a:pt x="0" y="0"/>
                    <a:pt x="0" y="0"/>
                    <a:pt x="0" y="0"/>
                  </a:cubicBezTo>
                  <a:cubicBezTo>
                    <a:pt x="0" y="22"/>
                    <a:pt x="0" y="22"/>
                    <a:pt x="0" y="22"/>
                  </a:cubicBezTo>
                  <a:cubicBezTo>
                    <a:pt x="0" y="46"/>
                    <a:pt x="10" y="55"/>
                    <a:pt x="33" y="55"/>
                  </a:cubicBezTo>
                  <a:cubicBezTo>
                    <a:pt x="231" y="55"/>
                    <a:pt x="231" y="55"/>
                    <a:pt x="231" y="55"/>
                  </a:cubicBezTo>
                  <a:cubicBezTo>
                    <a:pt x="247" y="55"/>
                    <a:pt x="263" y="45"/>
                    <a:pt x="263" y="2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0" name="Freeform 74">
              <a:extLst>
                <a:ext uri="{FF2B5EF4-FFF2-40B4-BE49-F238E27FC236}">
                  <a16:creationId xmlns:a16="http://schemas.microsoft.com/office/drawing/2014/main" id="{D99A9DE9-FDDB-4F38-8934-1EF98CBEFD78}"/>
                </a:ext>
              </a:extLst>
            </p:cNvPr>
            <p:cNvSpPr>
              <a:spLocks/>
            </p:cNvSpPr>
            <p:nvPr/>
          </p:nvSpPr>
          <p:spPr bwMode="auto">
            <a:xfrm>
              <a:off x="2854" y="2223"/>
              <a:ext cx="1378" cy="794"/>
            </a:xfrm>
            <a:custGeom>
              <a:avLst/>
              <a:gdLst>
                <a:gd name="T0" fmla="*/ 384 w 780"/>
                <a:gd name="T1" fmla="*/ 252 h 449"/>
                <a:gd name="T2" fmla="*/ 396 w 780"/>
                <a:gd name="T3" fmla="*/ 252 h 449"/>
                <a:gd name="T4" fmla="*/ 661 w 780"/>
                <a:gd name="T5" fmla="*/ 382 h 449"/>
                <a:gd name="T6" fmla="*/ 653 w 780"/>
                <a:gd name="T7" fmla="*/ 406 h 449"/>
                <a:gd name="T8" fmla="*/ 730 w 780"/>
                <a:gd name="T9" fmla="*/ 406 h 449"/>
                <a:gd name="T10" fmla="*/ 745 w 780"/>
                <a:gd name="T11" fmla="*/ 366 h 449"/>
                <a:gd name="T12" fmla="*/ 737 w 780"/>
                <a:gd name="T13" fmla="*/ 297 h 449"/>
                <a:gd name="T14" fmla="*/ 693 w 780"/>
                <a:gd name="T15" fmla="*/ 329 h 449"/>
                <a:gd name="T16" fmla="*/ 475 w 780"/>
                <a:gd name="T17" fmla="*/ 238 h 449"/>
                <a:gd name="T18" fmla="*/ 475 w 780"/>
                <a:gd name="T19" fmla="*/ 211 h 449"/>
                <a:gd name="T20" fmla="*/ 698 w 780"/>
                <a:gd name="T21" fmla="*/ 132 h 449"/>
                <a:gd name="T22" fmla="*/ 780 w 780"/>
                <a:gd name="T23" fmla="*/ 109 h 449"/>
                <a:gd name="T24" fmla="*/ 730 w 780"/>
                <a:gd name="T25" fmla="*/ 60 h 449"/>
                <a:gd name="T26" fmla="*/ 696 w 780"/>
                <a:gd name="T27" fmla="*/ 0 h 449"/>
                <a:gd name="T28" fmla="*/ 665 w 780"/>
                <a:gd name="T29" fmla="*/ 57 h 449"/>
                <a:gd name="T30" fmla="*/ 660 w 780"/>
                <a:gd name="T31" fmla="*/ 82 h 449"/>
                <a:gd name="T32" fmla="*/ 384 w 780"/>
                <a:gd name="T33" fmla="*/ 197 h 449"/>
                <a:gd name="T34" fmla="*/ 110 w 780"/>
                <a:gd name="T35" fmla="*/ 68 h 449"/>
                <a:gd name="T36" fmla="*/ 119 w 780"/>
                <a:gd name="T37" fmla="*/ 35 h 449"/>
                <a:gd name="T38" fmla="*/ 41 w 780"/>
                <a:gd name="T39" fmla="*/ 35 h 449"/>
                <a:gd name="T40" fmla="*/ 48 w 780"/>
                <a:gd name="T41" fmla="*/ 65 h 449"/>
                <a:gd name="T42" fmla="*/ 0 w 780"/>
                <a:gd name="T43" fmla="*/ 109 h 449"/>
                <a:gd name="T44" fmla="*/ 71 w 780"/>
                <a:gd name="T45" fmla="*/ 135 h 449"/>
                <a:gd name="T46" fmla="*/ 296 w 780"/>
                <a:gd name="T47" fmla="*/ 211 h 449"/>
                <a:gd name="T48" fmla="*/ 297 w 780"/>
                <a:gd name="T49" fmla="*/ 238 h 449"/>
                <a:gd name="T50" fmla="*/ 76 w 780"/>
                <a:gd name="T51" fmla="*/ 328 h 449"/>
                <a:gd name="T52" fmla="*/ 35 w 780"/>
                <a:gd name="T53" fmla="*/ 297 h 449"/>
                <a:gd name="T54" fmla="*/ 35 w 780"/>
                <a:gd name="T55" fmla="*/ 366 h 449"/>
                <a:gd name="T56" fmla="*/ 45 w 780"/>
                <a:gd name="T57" fmla="*/ 392 h 449"/>
                <a:gd name="T58" fmla="*/ 76 w 780"/>
                <a:gd name="T59" fmla="*/ 449 h 449"/>
                <a:gd name="T60" fmla="*/ 115 w 780"/>
                <a:gd name="T61" fmla="*/ 392 h 449"/>
                <a:gd name="T62" fmla="*/ 119 w 780"/>
                <a:gd name="T63" fmla="*/ 368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0" h="449">
                  <a:moveTo>
                    <a:pt x="119" y="368"/>
                  </a:moveTo>
                  <a:cubicBezTo>
                    <a:pt x="384" y="252"/>
                    <a:pt x="384" y="252"/>
                    <a:pt x="384" y="252"/>
                  </a:cubicBezTo>
                  <a:cubicBezTo>
                    <a:pt x="386" y="251"/>
                    <a:pt x="388" y="251"/>
                    <a:pt x="390" y="251"/>
                  </a:cubicBezTo>
                  <a:cubicBezTo>
                    <a:pt x="392" y="251"/>
                    <a:pt x="394" y="251"/>
                    <a:pt x="396" y="252"/>
                  </a:cubicBezTo>
                  <a:cubicBezTo>
                    <a:pt x="652" y="368"/>
                    <a:pt x="652" y="368"/>
                    <a:pt x="652" y="368"/>
                  </a:cubicBezTo>
                  <a:cubicBezTo>
                    <a:pt x="658" y="370"/>
                    <a:pt x="661" y="376"/>
                    <a:pt x="661" y="382"/>
                  </a:cubicBezTo>
                  <a:cubicBezTo>
                    <a:pt x="661" y="389"/>
                    <a:pt x="658" y="396"/>
                    <a:pt x="655" y="401"/>
                  </a:cubicBezTo>
                  <a:cubicBezTo>
                    <a:pt x="654" y="403"/>
                    <a:pt x="653" y="405"/>
                    <a:pt x="653" y="406"/>
                  </a:cubicBezTo>
                  <a:cubicBezTo>
                    <a:pt x="653" y="431"/>
                    <a:pt x="671" y="449"/>
                    <a:pt x="696" y="449"/>
                  </a:cubicBezTo>
                  <a:cubicBezTo>
                    <a:pt x="726" y="449"/>
                    <a:pt x="730" y="422"/>
                    <a:pt x="730" y="406"/>
                  </a:cubicBezTo>
                  <a:cubicBezTo>
                    <a:pt x="730" y="382"/>
                    <a:pt x="730" y="382"/>
                    <a:pt x="730" y="382"/>
                  </a:cubicBezTo>
                  <a:cubicBezTo>
                    <a:pt x="730" y="373"/>
                    <a:pt x="737" y="366"/>
                    <a:pt x="745" y="366"/>
                  </a:cubicBezTo>
                  <a:cubicBezTo>
                    <a:pt x="762" y="366"/>
                    <a:pt x="780" y="348"/>
                    <a:pt x="780" y="332"/>
                  </a:cubicBezTo>
                  <a:cubicBezTo>
                    <a:pt x="780" y="302"/>
                    <a:pt x="753" y="297"/>
                    <a:pt x="737" y="297"/>
                  </a:cubicBezTo>
                  <a:cubicBezTo>
                    <a:pt x="716" y="297"/>
                    <a:pt x="707" y="303"/>
                    <a:pt x="702" y="320"/>
                  </a:cubicBezTo>
                  <a:cubicBezTo>
                    <a:pt x="700" y="324"/>
                    <a:pt x="697" y="327"/>
                    <a:pt x="693" y="329"/>
                  </a:cubicBezTo>
                  <a:cubicBezTo>
                    <a:pt x="690" y="331"/>
                    <a:pt x="685" y="331"/>
                    <a:pt x="681" y="329"/>
                  </a:cubicBezTo>
                  <a:cubicBezTo>
                    <a:pt x="475" y="238"/>
                    <a:pt x="475" y="238"/>
                    <a:pt x="475" y="238"/>
                  </a:cubicBezTo>
                  <a:cubicBezTo>
                    <a:pt x="469" y="236"/>
                    <a:pt x="466" y="230"/>
                    <a:pt x="466" y="224"/>
                  </a:cubicBezTo>
                  <a:cubicBezTo>
                    <a:pt x="466" y="218"/>
                    <a:pt x="470" y="213"/>
                    <a:pt x="475" y="211"/>
                  </a:cubicBezTo>
                  <a:cubicBezTo>
                    <a:pt x="682" y="128"/>
                    <a:pt x="682" y="128"/>
                    <a:pt x="682" y="128"/>
                  </a:cubicBezTo>
                  <a:cubicBezTo>
                    <a:pt x="687" y="126"/>
                    <a:pt x="694" y="127"/>
                    <a:pt x="698" y="132"/>
                  </a:cubicBezTo>
                  <a:cubicBezTo>
                    <a:pt x="712" y="145"/>
                    <a:pt x="725" y="152"/>
                    <a:pt x="737" y="152"/>
                  </a:cubicBezTo>
                  <a:cubicBezTo>
                    <a:pt x="762" y="152"/>
                    <a:pt x="780" y="134"/>
                    <a:pt x="780" y="109"/>
                  </a:cubicBezTo>
                  <a:cubicBezTo>
                    <a:pt x="780" y="93"/>
                    <a:pt x="762" y="75"/>
                    <a:pt x="745" y="75"/>
                  </a:cubicBezTo>
                  <a:cubicBezTo>
                    <a:pt x="737" y="75"/>
                    <a:pt x="730" y="68"/>
                    <a:pt x="730" y="60"/>
                  </a:cubicBezTo>
                  <a:cubicBezTo>
                    <a:pt x="730" y="35"/>
                    <a:pt x="730" y="35"/>
                    <a:pt x="730" y="35"/>
                  </a:cubicBezTo>
                  <a:cubicBezTo>
                    <a:pt x="730" y="18"/>
                    <a:pt x="720" y="0"/>
                    <a:pt x="696" y="0"/>
                  </a:cubicBezTo>
                  <a:cubicBezTo>
                    <a:pt x="671" y="0"/>
                    <a:pt x="653" y="19"/>
                    <a:pt x="653" y="35"/>
                  </a:cubicBezTo>
                  <a:cubicBezTo>
                    <a:pt x="653" y="45"/>
                    <a:pt x="657" y="49"/>
                    <a:pt x="665" y="57"/>
                  </a:cubicBezTo>
                  <a:cubicBezTo>
                    <a:pt x="668" y="61"/>
                    <a:pt x="670" y="66"/>
                    <a:pt x="669" y="71"/>
                  </a:cubicBezTo>
                  <a:cubicBezTo>
                    <a:pt x="668" y="75"/>
                    <a:pt x="665" y="80"/>
                    <a:pt x="660" y="82"/>
                  </a:cubicBezTo>
                  <a:cubicBezTo>
                    <a:pt x="396" y="197"/>
                    <a:pt x="396" y="197"/>
                    <a:pt x="396" y="197"/>
                  </a:cubicBezTo>
                  <a:cubicBezTo>
                    <a:pt x="392" y="199"/>
                    <a:pt x="388" y="199"/>
                    <a:pt x="384" y="197"/>
                  </a:cubicBezTo>
                  <a:cubicBezTo>
                    <a:pt x="119" y="82"/>
                    <a:pt x="119" y="82"/>
                    <a:pt x="119" y="82"/>
                  </a:cubicBezTo>
                  <a:cubicBezTo>
                    <a:pt x="114" y="79"/>
                    <a:pt x="110" y="74"/>
                    <a:pt x="110" y="68"/>
                  </a:cubicBezTo>
                  <a:cubicBezTo>
                    <a:pt x="110" y="61"/>
                    <a:pt x="113" y="56"/>
                    <a:pt x="115" y="51"/>
                  </a:cubicBezTo>
                  <a:cubicBezTo>
                    <a:pt x="117" y="46"/>
                    <a:pt x="119" y="42"/>
                    <a:pt x="119" y="35"/>
                  </a:cubicBezTo>
                  <a:cubicBezTo>
                    <a:pt x="119" y="19"/>
                    <a:pt x="100" y="0"/>
                    <a:pt x="76" y="0"/>
                  </a:cubicBezTo>
                  <a:cubicBezTo>
                    <a:pt x="59" y="0"/>
                    <a:pt x="41" y="18"/>
                    <a:pt x="41" y="35"/>
                  </a:cubicBezTo>
                  <a:cubicBezTo>
                    <a:pt x="41" y="43"/>
                    <a:pt x="42" y="45"/>
                    <a:pt x="45" y="49"/>
                  </a:cubicBezTo>
                  <a:cubicBezTo>
                    <a:pt x="50" y="53"/>
                    <a:pt x="51" y="60"/>
                    <a:pt x="48" y="65"/>
                  </a:cubicBezTo>
                  <a:cubicBezTo>
                    <a:pt x="46" y="71"/>
                    <a:pt x="41" y="75"/>
                    <a:pt x="35" y="75"/>
                  </a:cubicBezTo>
                  <a:cubicBezTo>
                    <a:pt x="11" y="75"/>
                    <a:pt x="0" y="92"/>
                    <a:pt x="0" y="109"/>
                  </a:cubicBezTo>
                  <a:cubicBezTo>
                    <a:pt x="0" y="134"/>
                    <a:pt x="18" y="152"/>
                    <a:pt x="35" y="152"/>
                  </a:cubicBezTo>
                  <a:cubicBezTo>
                    <a:pt x="60" y="152"/>
                    <a:pt x="67" y="142"/>
                    <a:pt x="71" y="135"/>
                  </a:cubicBezTo>
                  <a:cubicBezTo>
                    <a:pt x="74" y="128"/>
                    <a:pt x="83" y="125"/>
                    <a:pt x="90" y="128"/>
                  </a:cubicBezTo>
                  <a:cubicBezTo>
                    <a:pt x="296" y="211"/>
                    <a:pt x="296" y="211"/>
                    <a:pt x="296" y="211"/>
                  </a:cubicBezTo>
                  <a:cubicBezTo>
                    <a:pt x="302" y="213"/>
                    <a:pt x="306" y="218"/>
                    <a:pt x="306" y="224"/>
                  </a:cubicBezTo>
                  <a:cubicBezTo>
                    <a:pt x="306" y="230"/>
                    <a:pt x="302" y="236"/>
                    <a:pt x="297" y="238"/>
                  </a:cubicBezTo>
                  <a:cubicBezTo>
                    <a:pt x="90" y="329"/>
                    <a:pt x="90" y="329"/>
                    <a:pt x="90" y="329"/>
                  </a:cubicBezTo>
                  <a:cubicBezTo>
                    <a:pt x="86" y="331"/>
                    <a:pt x="80" y="331"/>
                    <a:pt x="76" y="328"/>
                  </a:cubicBezTo>
                  <a:cubicBezTo>
                    <a:pt x="72" y="325"/>
                    <a:pt x="69" y="321"/>
                    <a:pt x="69" y="315"/>
                  </a:cubicBezTo>
                  <a:cubicBezTo>
                    <a:pt x="69" y="299"/>
                    <a:pt x="45" y="297"/>
                    <a:pt x="35" y="297"/>
                  </a:cubicBezTo>
                  <a:cubicBezTo>
                    <a:pt x="17" y="297"/>
                    <a:pt x="0" y="308"/>
                    <a:pt x="0" y="332"/>
                  </a:cubicBezTo>
                  <a:cubicBezTo>
                    <a:pt x="0" y="349"/>
                    <a:pt x="11" y="366"/>
                    <a:pt x="35" y="366"/>
                  </a:cubicBezTo>
                  <a:cubicBezTo>
                    <a:pt x="41" y="366"/>
                    <a:pt x="46" y="370"/>
                    <a:pt x="48" y="376"/>
                  </a:cubicBezTo>
                  <a:cubicBezTo>
                    <a:pt x="51" y="381"/>
                    <a:pt x="50" y="388"/>
                    <a:pt x="45" y="392"/>
                  </a:cubicBezTo>
                  <a:cubicBezTo>
                    <a:pt x="42" y="396"/>
                    <a:pt x="41" y="398"/>
                    <a:pt x="41" y="406"/>
                  </a:cubicBezTo>
                  <a:cubicBezTo>
                    <a:pt x="41" y="431"/>
                    <a:pt x="60" y="449"/>
                    <a:pt x="76" y="449"/>
                  </a:cubicBezTo>
                  <a:cubicBezTo>
                    <a:pt x="101" y="449"/>
                    <a:pt x="119" y="431"/>
                    <a:pt x="119" y="406"/>
                  </a:cubicBezTo>
                  <a:cubicBezTo>
                    <a:pt x="119" y="398"/>
                    <a:pt x="119" y="396"/>
                    <a:pt x="115" y="392"/>
                  </a:cubicBezTo>
                  <a:cubicBezTo>
                    <a:pt x="111" y="389"/>
                    <a:pt x="110" y="384"/>
                    <a:pt x="111" y="379"/>
                  </a:cubicBezTo>
                  <a:cubicBezTo>
                    <a:pt x="112" y="374"/>
                    <a:pt x="115" y="370"/>
                    <a:pt x="119" y="368"/>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1" name="Freeform 75">
              <a:extLst>
                <a:ext uri="{FF2B5EF4-FFF2-40B4-BE49-F238E27FC236}">
                  <a16:creationId xmlns:a16="http://schemas.microsoft.com/office/drawing/2014/main" id="{B4011311-DF73-4B3F-A479-3D4A19BC612D}"/>
                </a:ext>
              </a:extLst>
            </p:cNvPr>
            <p:cNvSpPr>
              <a:spLocks noEditPoints="1"/>
            </p:cNvSpPr>
            <p:nvPr/>
          </p:nvSpPr>
          <p:spPr bwMode="auto">
            <a:xfrm>
              <a:off x="2801" y="1450"/>
              <a:ext cx="1996" cy="2117"/>
            </a:xfrm>
            <a:custGeom>
              <a:avLst/>
              <a:gdLst>
                <a:gd name="T0" fmla="*/ 581 w 1130"/>
                <a:gd name="T1" fmla="*/ 75 h 1197"/>
                <a:gd name="T2" fmla="*/ 258 w 1130"/>
                <a:gd name="T3" fmla="*/ 410 h 1197"/>
                <a:gd name="T4" fmla="*/ 174 w 1130"/>
                <a:gd name="T5" fmla="*/ 496 h 1197"/>
                <a:gd name="T6" fmla="*/ 41 w 1130"/>
                <a:gd name="T7" fmla="*/ 472 h 1197"/>
                <a:gd name="T8" fmla="*/ 65 w 1130"/>
                <a:gd name="T9" fmla="*/ 619 h 1197"/>
                <a:gd name="T10" fmla="*/ 124 w 1130"/>
                <a:gd name="T11" fmla="*/ 732 h 1197"/>
                <a:gd name="T12" fmla="*/ 42 w 1130"/>
                <a:gd name="T13" fmla="*/ 830 h 1197"/>
                <a:gd name="T14" fmla="*/ 360 w 1130"/>
                <a:gd name="T15" fmla="*/ 1194 h 1197"/>
                <a:gd name="T16" fmla="*/ 618 w 1130"/>
                <a:gd name="T17" fmla="*/ 132 h 1197"/>
                <a:gd name="T18" fmla="*/ 225 w 1130"/>
                <a:gd name="T19" fmla="*/ 246 h 1197"/>
                <a:gd name="T20" fmla="*/ 555 w 1130"/>
                <a:gd name="T21" fmla="*/ 403 h 1197"/>
                <a:gd name="T22" fmla="*/ 506 w 1130"/>
                <a:gd name="T23" fmla="*/ 440 h 1197"/>
                <a:gd name="T24" fmla="*/ 476 w 1130"/>
                <a:gd name="T25" fmla="*/ 420 h 1197"/>
                <a:gd name="T26" fmla="*/ 432 w 1130"/>
                <a:gd name="T27" fmla="*/ 420 h 1197"/>
                <a:gd name="T28" fmla="*/ 402 w 1130"/>
                <a:gd name="T29" fmla="*/ 440 h 1197"/>
                <a:gd name="T30" fmla="*/ 343 w 1130"/>
                <a:gd name="T31" fmla="*/ 405 h 1197"/>
                <a:gd name="T32" fmla="*/ 288 w 1130"/>
                <a:gd name="T33" fmla="*/ 440 h 1197"/>
                <a:gd name="T34" fmla="*/ 225 w 1130"/>
                <a:gd name="T35" fmla="*/ 246 h 1197"/>
                <a:gd name="T36" fmla="*/ 288 w 1130"/>
                <a:gd name="T37" fmla="*/ 492 h 1197"/>
                <a:gd name="T38" fmla="*/ 328 w 1130"/>
                <a:gd name="T39" fmla="*/ 486 h 1197"/>
                <a:gd name="T40" fmla="*/ 358 w 1130"/>
                <a:gd name="T41" fmla="*/ 470 h 1197"/>
                <a:gd name="T42" fmla="*/ 417 w 1130"/>
                <a:gd name="T43" fmla="*/ 501 h 1197"/>
                <a:gd name="T44" fmla="*/ 476 w 1130"/>
                <a:gd name="T45" fmla="*/ 470 h 1197"/>
                <a:gd name="T46" fmla="*/ 506 w 1130"/>
                <a:gd name="T47" fmla="*/ 486 h 1197"/>
                <a:gd name="T48" fmla="*/ 551 w 1130"/>
                <a:gd name="T49" fmla="*/ 492 h 1197"/>
                <a:gd name="T50" fmla="*/ 420 w 1130"/>
                <a:gd name="T51" fmla="*/ 604 h 1197"/>
                <a:gd name="T52" fmla="*/ 519 w 1130"/>
                <a:gd name="T53" fmla="*/ 555 h 1197"/>
                <a:gd name="T54" fmla="*/ 149 w 1130"/>
                <a:gd name="T55" fmla="*/ 843 h 1197"/>
                <a:gd name="T56" fmla="*/ 75 w 1130"/>
                <a:gd name="T57" fmla="*/ 829 h 1197"/>
                <a:gd name="T58" fmla="*/ 30 w 1130"/>
                <a:gd name="T59" fmla="*/ 769 h 1197"/>
                <a:gd name="T60" fmla="*/ 106 w 1130"/>
                <a:gd name="T61" fmla="*/ 765 h 1197"/>
                <a:gd name="T62" fmla="*/ 336 w 1130"/>
                <a:gd name="T63" fmla="*/ 661 h 1197"/>
                <a:gd name="T64" fmla="*/ 101 w 1130"/>
                <a:gd name="T65" fmla="*/ 572 h 1197"/>
                <a:gd name="T66" fmla="*/ 65 w 1130"/>
                <a:gd name="T67" fmla="*/ 512 h 1197"/>
                <a:gd name="T68" fmla="*/ 71 w 1130"/>
                <a:gd name="T69" fmla="*/ 472 h 1197"/>
                <a:gd name="T70" fmla="*/ 145 w 1130"/>
                <a:gd name="T71" fmla="*/ 488 h 1197"/>
                <a:gd name="T72" fmla="*/ 414 w 1130"/>
                <a:gd name="T73" fmla="*/ 634 h 1197"/>
                <a:gd name="T74" fmla="*/ 699 w 1130"/>
                <a:gd name="T75" fmla="*/ 508 h 1197"/>
                <a:gd name="T76" fmla="*/ 726 w 1130"/>
                <a:gd name="T77" fmla="*/ 437 h 1197"/>
                <a:gd name="T78" fmla="*/ 775 w 1130"/>
                <a:gd name="T79" fmla="*/ 512 h 1197"/>
                <a:gd name="T80" fmla="*/ 728 w 1130"/>
                <a:gd name="T81" fmla="*/ 569 h 1197"/>
                <a:gd name="T82" fmla="*/ 496 w 1130"/>
                <a:gd name="T83" fmla="*/ 661 h 1197"/>
                <a:gd name="T84" fmla="*/ 723 w 1130"/>
                <a:gd name="T85" fmla="*/ 766 h 1197"/>
                <a:gd name="T86" fmla="*/ 810 w 1130"/>
                <a:gd name="T87" fmla="*/ 769 h 1197"/>
                <a:gd name="T88" fmla="*/ 760 w 1130"/>
                <a:gd name="T89" fmla="*/ 843 h 1197"/>
                <a:gd name="T90" fmla="*/ 685 w 1130"/>
                <a:gd name="T91" fmla="*/ 838 h 1197"/>
                <a:gd name="T92" fmla="*/ 426 w 1130"/>
                <a:gd name="T93" fmla="*/ 689 h 1197"/>
                <a:gd name="T94" fmla="*/ 149 w 1130"/>
                <a:gd name="T95" fmla="*/ 805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30" h="1197">
                  <a:moveTo>
                    <a:pt x="424" y="1197"/>
                  </a:moveTo>
                  <a:cubicBezTo>
                    <a:pt x="772" y="1197"/>
                    <a:pt x="1063" y="950"/>
                    <a:pt x="1130" y="621"/>
                  </a:cubicBezTo>
                  <a:cubicBezTo>
                    <a:pt x="581" y="75"/>
                    <a:pt x="581" y="75"/>
                    <a:pt x="581" y="75"/>
                  </a:cubicBezTo>
                  <a:cubicBezTo>
                    <a:pt x="540" y="29"/>
                    <a:pt x="485" y="0"/>
                    <a:pt x="424" y="0"/>
                  </a:cubicBezTo>
                  <a:cubicBezTo>
                    <a:pt x="298" y="0"/>
                    <a:pt x="195" y="110"/>
                    <a:pt x="195" y="246"/>
                  </a:cubicBezTo>
                  <a:cubicBezTo>
                    <a:pt x="195" y="301"/>
                    <a:pt x="218" y="359"/>
                    <a:pt x="258" y="410"/>
                  </a:cubicBezTo>
                  <a:cubicBezTo>
                    <a:pt x="258" y="492"/>
                    <a:pt x="258" y="492"/>
                    <a:pt x="258" y="492"/>
                  </a:cubicBezTo>
                  <a:cubicBezTo>
                    <a:pt x="258" y="515"/>
                    <a:pt x="266" y="532"/>
                    <a:pt x="280" y="543"/>
                  </a:cubicBezTo>
                  <a:cubicBezTo>
                    <a:pt x="174" y="496"/>
                    <a:pt x="174" y="496"/>
                    <a:pt x="174" y="496"/>
                  </a:cubicBezTo>
                  <a:cubicBezTo>
                    <a:pt x="176" y="491"/>
                    <a:pt x="179" y="482"/>
                    <a:pt x="179" y="472"/>
                  </a:cubicBezTo>
                  <a:cubicBezTo>
                    <a:pt x="179" y="437"/>
                    <a:pt x="145" y="407"/>
                    <a:pt x="106" y="407"/>
                  </a:cubicBezTo>
                  <a:cubicBezTo>
                    <a:pt x="73" y="407"/>
                    <a:pt x="41" y="439"/>
                    <a:pt x="41" y="472"/>
                  </a:cubicBezTo>
                  <a:cubicBezTo>
                    <a:pt x="41" y="476"/>
                    <a:pt x="41" y="480"/>
                    <a:pt x="42" y="485"/>
                  </a:cubicBezTo>
                  <a:cubicBezTo>
                    <a:pt x="14" y="494"/>
                    <a:pt x="0" y="520"/>
                    <a:pt x="0" y="546"/>
                  </a:cubicBezTo>
                  <a:cubicBezTo>
                    <a:pt x="0" y="586"/>
                    <a:pt x="30" y="619"/>
                    <a:pt x="65" y="619"/>
                  </a:cubicBezTo>
                  <a:cubicBezTo>
                    <a:pt x="93" y="619"/>
                    <a:pt x="110" y="609"/>
                    <a:pt x="120" y="598"/>
                  </a:cubicBezTo>
                  <a:cubicBezTo>
                    <a:pt x="282" y="662"/>
                    <a:pt x="282" y="662"/>
                    <a:pt x="282" y="662"/>
                  </a:cubicBezTo>
                  <a:cubicBezTo>
                    <a:pt x="124" y="732"/>
                    <a:pt x="124" y="732"/>
                    <a:pt x="124" y="732"/>
                  </a:cubicBezTo>
                  <a:cubicBezTo>
                    <a:pt x="115" y="714"/>
                    <a:pt x="94" y="704"/>
                    <a:pt x="65" y="704"/>
                  </a:cubicBezTo>
                  <a:cubicBezTo>
                    <a:pt x="33" y="704"/>
                    <a:pt x="0" y="727"/>
                    <a:pt x="0" y="769"/>
                  </a:cubicBezTo>
                  <a:cubicBezTo>
                    <a:pt x="0" y="795"/>
                    <a:pt x="14" y="821"/>
                    <a:pt x="42" y="830"/>
                  </a:cubicBezTo>
                  <a:cubicBezTo>
                    <a:pt x="41" y="835"/>
                    <a:pt x="41" y="840"/>
                    <a:pt x="41" y="843"/>
                  </a:cubicBezTo>
                  <a:cubicBezTo>
                    <a:pt x="41" y="864"/>
                    <a:pt x="49" y="883"/>
                    <a:pt x="62" y="896"/>
                  </a:cubicBezTo>
                  <a:cubicBezTo>
                    <a:pt x="360" y="1194"/>
                    <a:pt x="360" y="1194"/>
                    <a:pt x="360" y="1194"/>
                  </a:cubicBezTo>
                  <a:cubicBezTo>
                    <a:pt x="376" y="1195"/>
                    <a:pt x="392" y="1196"/>
                    <a:pt x="409" y="1196"/>
                  </a:cubicBezTo>
                  <a:cubicBezTo>
                    <a:pt x="414" y="1197"/>
                    <a:pt x="419" y="1197"/>
                    <a:pt x="424" y="1197"/>
                  </a:cubicBezTo>
                  <a:close/>
                  <a:moveTo>
                    <a:pt x="618" y="132"/>
                  </a:moveTo>
                  <a:cubicBezTo>
                    <a:pt x="618" y="132"/>
                    <a:pt x="618" y="132"/>
                    <a:pt x="618" y="131"/>
                  </a:cubicBezTo>
                  <a:cubicBezTo>
                    <a:pt x="618" y="132"/>
                    <a:pt x="618" y="132"/>
                    <a:pt x="618" y="132"/>
                  </a:cubicBezTo>
                  <a:close/>
                  <a:moveTo>
                    <a:pt x="225" y="246"/>
                  </a:moveTo>
                  <a:cubicBezTo>
                    <a:pt x="225" y="127"/>
                    <a:pt x="314" y="30"/>
                    <a:pt x="424" y="30"/>
                  </a:cubicBezTo>
                  <a:cubicBezTo>
                    <a:pt x="527" y="30"/>
                    <a:pt x="615" y="129"/>
                    <a:pt x="615" y="246"/>
                  </a:cubicBezTo>
                  <a:cubicBezTo>
                    <a:pt x="615" y="302"/>
                    <a:pt x="595" y="355"/>
                    <a:pt x="555" y="403"/>
                  </a:cubicBezTo>
                  <a:cubicBezTo>
                    <a:pt x="553" y="406"/>
                    <a:pt x="551" y="409"/>
                    <a:pt x="551" y="413"/>
                  </a:cubicBezTo>
                  <a:cubicBezTo>
                    <a:pt x="551" y="440"/>
                    <a:pt x="551" y="440"/>
                    <a:pt x="551" y="440"/>
                  </a:cubicBezTo>
                  <a:cubicBezTo>
                    <a:pt x="506" y="440"/>
                    <a:pt x="506" y="440"/>
                    <a:pt x="506" y="440"/>
                  </a:cubicBezTo>
                  <a:cubicBezTo>
                    <a:pt x="506" y="420"/>
                    <a:pt x="506" y="420"/>
                    <a:pt x="506" y="420"/>
                  </a:cubicBezTo>
                  <a:cubicBezTo>
                    <a:pt x="506" y="412"/>
                    <a:pt x="499" y="405"/>
                    <a:pt x="491" y="405"/>
                  </a:cubicBezTo>
                  <a:cubicBezTo>
                    <a:pt x="483" y="405"/>
                    <a:pt x="476" y="412"/>
                    <a:pt x="476" y="420"/>
                  </a:cubicBezTo>
                  <a:cubicBezTo>
                    <a:pt x="476" y="440"/>
                    <a:pt x="476" y="440"/>
                    <a:pt x="476" y="440"/>
                  </a:cubicBezTo>
                  <a:cubicBezTo>
                    <a:pt x="432" y="440"/>
                    <a:pt x="432" y="440"/>
                    <a:pt x="432" y="440"/>
                  </a:cubicBezTo>
                  <a:cubicBezTo>
                    <a:pt x="432" y="420"/>
                    <a:pt x="432" y="420"/>
                    <a:pt x="432" y="420"/>
                  </a:cubicBezTo>
                  <a:cubicBezTo>
                    <a:pt x="432" y="412"/>
                    <a:pt x="425" y="405"/>
                    <a:pt x="417" y="405"/>
                  </a:cubicBezTo>
                  <a:cubicBezTo>
                    <a:pt x="408" y="405"/>
                    <a:pt x="402" y="412"/>
                    <a:pt x="402" y="420"/>
                  </a:cubicBezTo>
                  <a:cubicBezTo>
                    <a:pt x="402" y="440"/>
                    <a:pt x="402" y="440"/>
                    <a:pt x="402" y="440"/>
                  </a:cubicBezTo>
                  <a:cubicBezTo>
                    <a:pt x="358" y="440"/>
                    <a:pt x="358" y="440"/>
                    <a:pt x="358" y="440"/>
                  </a:cubicBezTo>
                  <a:cubicBezTo>
                    <a:pt x="358" y="420"/>
                    <a:pt x="358" y="420"/>
                    <a:pt x="358" y="420"/>
                  </a:cubicBezTo>
                  <a:cubicBezTo>
                    <a:pt x="358" y="412"/>
                    <a:pt x="351" y="405"/>
                    <a:pt x="343" y="405"/>
                  </a:cubicBezTo>
                  <a:cubicBezTo>
                    <a:pt x="334" y="405"/>
                    <a:pt x="328" y="412"/>
                    <a:pt x="328" y="420"/>
                  </a:cubicBezTo>
                  <a:cubicBezTo>
                    <a:pt x="328" y="440"/>
                    <a:pt x="328" y="440"/>
                    <a:pt x="328" y="440"/>
                  </a:cubicBezTo>
                  <a:cubicBezTo>
                    <a:pt x="288" y="440"/>
                    <a:pt x="288" y="440"/>
                    <a:pt x="288" y="440"/>
                  </a:cubicBezTo>
                  <a:cubicBezTo>
                    <a:pt x="288" y="405"/>
                    <a:pt x="288" y="405"/>
                    <a:pt x="288" y="405"/>
                  </a:cubicBezTo>
                  <a:cubicBezTo>
                    <a:pt x="288" y="401"/>
                    <a:pt x="287" y="398"/>
                    <a:pt x="285" y="395"/>
                  </a:cubicBezTo>
                  <a:cubicBezTo>
                    <a:pt x="246" y="349"/>
                    <a:pt x="225" y="296"/>
                    <a:pt x="225" y="246"/>
                  </a:cubicBezTo>
                  <a:close/>
                  <a:moveTo>
                    <a:pt x="519" y="525"/>
                  </a:moveTo>
                  <a:cubicBezTo>
                    <a:pt x="321" y="525"/>
                    <a:pt x="321" y="525"/>
                    <a:pt x="321" y="525"/>
                  </a:cubicBezTo>
                  <a:cubicBezTo>
                    <a:pt x="298" y="525"/>
                    <a:pt x="288" y="516"/>
                    <a:pt x="288" y="492"/>
                  </a:cubicBezTo>
                  <a:cubicBezTo>
                    <a:pt x="288" y="470"/>
                    <a:pt x="288" y="470"/>
                    <a:pt x="288" y="470"/>
                  </a:cubicBezTo>
                  <a:cubicBezTo>
                    <a:pt x="328" y="470"/>
                    <a:pt x="328" y="470"/>
                    <a:pt x="328" y="470"/>
                  </a:cubicBezTo>
                  <a:cubicBezTo>
                    <a:pt x="328" y="486"/>
                    <a:pt x="328" y="486"/>
                    <a:pt x="328" y="486"/>
                  </a:cubicBezTo>
                  <a:cubicBezTo>
                    <a:pt x="328" y="494"/>
                    <a:pt x="334" y="501"/>
                    <a:pt x="343" y="501"/>
                  </a:cubicBezTo>
                  <a:cubicBezTo>
                    <a:pt x="351" y="501"/>
                    <a:pt x="358" y="494"/>
                    <a:pt x="358" y="486"/>
                  </a:cubicBezTo>
                  <a:cubicBezTo>
                    <a:pt x="358" y="470"/>
                    <a:pt x="358" y="470"/>
                    <a:pt x="358" y="470"/>
                  </a:cubicBezTo>
                  <a:cubicBezTo>
                    <a:pt x="402" y="470"/>
                    <a:pt x="402" y="470"/>
                    <a:pt x="402" y="470"/>
                  </a:cubicBezTo>
                  <a:cubicBezTo>
                    <a:pt x="402" y="486"/>
                    <a:pt x="402" y="486"/>
                    <a:pt x="402" y="486"/>
                  </a:cubicBezTo>
                  <a:cubicBezTo>
                    <a:pt x="402" y="494"/>
                    <a:pt x="408" y="501"/>
                    <a:pt x="417" y="501"/>
                  </a:cubicBezTo>
                  <a:cubicBezTo>
                    <a:pt x="425" y="501"/>
                    <a:pt x="432" y="494"/>
                    <a:pt x="432" y="486"/>
                  </a:cubicBezTo>
                  <a:cubicBezTo>
                    <a:pt x="432" y="470"/>
                    <a:pt x="432" y="470"/>
                    <a:pt x="432" y="470"/>
                  </a:cubicBezTo>
                  <a:cubicBezTo>
                    <a:pt x="476" y="470"/>
                    <a:pt x="476" y="470"/>
                    <a:pt x="476" y="470"/>
                  </a:cubicBezTo>
                  <a:cubicBezTo>
                    <a:pt x="476" y="486"/>
                    <a:pt x="476" y="486"/>
                    <a:pt x="476" y="486"/>
                  </a:cubicBezTo>
                  <a:cubicBezTo>
                    <a:pt x="476" y="494"/>
                    <a:pt x="483" y="501"/>
                    <a:pt x="491" y="501"/>
                  </a:cubicBezTo>
                  <a:cubicBezTo>
                    <a:pt x="499" y="501"/>
                    <a:pt x="506" y="494"/>
                    <a:pt x="506" y="486"/>
                  </a:cubicBezTo>
                  <a:cubicBezTo>
                    <a:pt x="506" y="470"/>
                    <a:pt x="506" y="470"/>
                    <a:pt x="506" y="470"/>
                  </a:cubicBezTo>
                  <a:cubicBezTo>
                    <a:pt x="551" y="470"/>
                    <a:pt x="551" y="470"/>
                    <a:pt x="551" y="470"/>
                  </a:cubicBezTo>
                  <a:cubicBezTo>
                    <a:pt x="551" y="492"/>
                    <a:pt x="551" y="492"/>
                    <a:pt x="551" y="492"/>
                  </a:cubicBezTo>
                  <a:cubicBezTo>
                    <a:pt x="551" y="515"/>
                    <a:pt x="535" y="525"/>
                    <a:pt x="519" y="525"/>
                  </a:cubicBezTo>
                  <a:close/>
                  <a:moveTo>
                    <a:pt x="540" y="551"/>
                  </a:moveTo>
                  <a:cubicBezTo>
                    <a:pt x="420" y="604"/>
                    <a:pt x="420" y="604"/>
                    <a:pt x="420" y="604"/>
                  </a:cubicBezTo>
                  <a:cubicBezTo>
                    <a:pt x="303" y="553"/>
                    <a:pt x="303" y="553"/>
                    <a:pt x="303" y="553"/>
                  </a:cubicBezTo>
                  <a:cubicBezTo>
                    <a:pt x="309" y="554"/>
                    <a:pt x="315" y="555"/>
                    <a:pt x="321" y="555"/>
                  </a:cubicBezTo>
                  <a:cubicBezTo>
                    <a:pt x="519" y="555"/>
                    <a:pt x="519" y="555"/>
                    <a:pt x="519" y="555"/>
                  </a:cubicBezTo>
                  <a:cubicBezTo>
                    <a:pt x="526" y="555"/>
                    <a:pt x="533" y="554"/>
                    <a:pt x="540" y="551"/>
                  </a:cubicBezTo>
                  <a:close/>
                  <a:moveTo>
                    <a:pt x="145" y="829"/>
                  </a:moveTo>
                  <a:cubicBezTo>
                    <a:pt x="149" y="833"/>
                    <a:pt x="149" y="835"/>
                    <a:pt x="149" y="843"/>
                  </a:cubicBezTo>
                  <a:cubicBezTo>
                    <a:pt x="149" y="868"/>
                    <a:pt x="131" y="886"/>
                    <a:pt x="106" y="886"/>
                  </a:cubicBezTo>
                  <a:cubicBezTo>
                    <a:pt x="90" y="886"/>
                    <a:pt x="71" y="868"/>
                    <a:pt x="71" y="843"/>
                  </a:cubicBezTo>
                  <a:cubicBezTo>
                    <a:pt x="71" y="835"/>
                    <a:pt x="72" y="833"/>
                    <a:pt x="75" y="829"/>
                  </a:cubicBezTo>
                  <a:cubicBezTo>
                    <a:pt x="80" y="825"/>
                    <a:pt x="81" y="818"/>
                    <a:pt x="78" y="813"/>
                  </a:cubicBezTo>
                  <a:cubicBezTo>
                    <a:pt x="76" y="807"/>
                    <a:pt x="71" y="803"/>
                    <a:pt x="65" y="803"/>
                  </a:cubicBezTo>
                  <a:cubicBezTo>
                    <a:pt x="41" y="803"/>
                    <a:pt x="30" y="786"/>
                    <a:pt x="30" y="769"/>
                  </a:cubicBezTo>
                  <a:cubicBezTo>
                    <a:pt x="30" y="745"/>
                    <a:pt x="47" y="734"/>
                    <a:pt x="65" y="734"/>
                  </a:cubicBezTo>
                  <a:cubicBezTo>
                    <a:pt x="75" y="734"/>
                    <a:pt x="99" y="736"/>
                    <a:pt x="99" y="752"/>
                  </a:cubicBezTo>
                  <a:cubicBezTo>
                    <a:pt x="99" y="758"/>
                    <a:pt x="102" y="762"/>
                    <a:pt x="106" y="765"/>
                  </a:cubicBezTo>
                  <a:cubicBezTo>
                    <a:pt x="110" y="768"/>
                    <a:pt x="116" y="768"/>
                    <a:pt x="120" y="766"/>
                  </a:cubicBezTo>
                  <a:cubicBezTo>
                    <a:pt x="327" y="675"/>
                    <a:pt x="327" y="675"/>
                    <a:pt x="327" y="675"/>
                  </a:cubicBezTo>
                  <a:cubicBezTo>
                    <a:pt x="332" y="673"/>
                    <a:pt x="336" y="667"/>
                    <a:pt x="336" y="661"/>
                  </a:cubicBezTo>
                  <a:cubicBezTo>
                    <a:pt x="336" y="655"/>
                    <a:pt x="332" y="650"/>
                    <a:pt x="326" y="648"/>
                  </a:cubicBezTo>
                  <a:cubicBezTo>
                    <a:pt x="120" y="565"/>
                    <a:pt x="120" y="565"/>
                    <a:pt x="120" y="565"/>
                  </a:cubicBezTo>
                  <a:cubicBezTo>
                    <a:pt x="113" y="562"/>
                    <a:pt x="104" y="565"/>
                    <a:pt x="101" y="572"/>
                  </a:cubicBezTo>
                  <a:cubicBezTo>
                    <a:pt x="97" y="579"/>
                    <a:pt x="90" y="589"/>
                    <a:pt x="65" y="589"/>
                  </a:cubicBezTo>
                  <a:cubicBezTo>
                    <a:pt x="48" y="589"/>
                    <a:pt x="30" y="571"/>
                    <a:pt x="30" y="546"/>
                  </a:cubicBezTo>
                  <a:cubicBezTo>
                    <a:pt x="30" y="529"/>
                    <a:pt x="41" y="512"/>
                    <a:pt x="65" y="512"/>
                  </a:cubicBezTo>
                  <a:cubicBezTo>
                    <a:pt x="71" y="512"/>
                    <a:pt x="76" y="508"/>
                    <a:pt x="78" y="502"/>
                  </a:cubicBezTo>
                  <a:cubicBezTo>
                    <a:pt x="81" y="497"/>
                    <a:pt x="80" y="490"/>
                    <a:pt x="75" y="486"/>
                  </a:cubicBezTo>
                  <a:cubicBezTo>
                    <a:pt x="72" y="482"/>
                    <a:pt x="71" y="480"/>
                    <a:pt x="71" y="472"/>
                  </a:cubicBezTo>
                  <a:cubicBezTo>
                    <a:pt x="71" y="455"/>
                    <a:pt x="89" y="437"/>
                    <a:pt x="106" y="437"/>
                  </a:cubicBezTo>
                  <a:cubicBezTo>
                    <a:pt x="130" y="437"/>
                    <a:pt x="149" y="456"/>
                    <a:pt x="149" y="472"/>
                  </a:cubicBezTo>
                  <a:cubicBezTo>
                    <a:pt x="149" y="479"/>
                    <a:pt x="147" y="483"/>
                    <a:pt x="145" y="488"/>
                  </a:cubicBezTo>
                  <a:cubicBezTo>
                    <a:pt x="143" y="493"/>
                    <a:pt x="140" y="498"/>
                    <a:pt x="140" y="505"/>
                  </a:cubicBezTo>
                  <a:cubicBezTo>
                    <a:pt x="140" y="511"/>
                    <a:pt x="144" y="516"/>
                    <a:pt x="149" y="519"/>
                  </a:cubicBezTo>
                  <a:cubicBezTo>
                    <a:pt x="414" y="634"/>
                    <a:pt x="414" y="634"/>
                    <a:pt x="414" y="634"/>
                  </a:cubicBezTo>
                  <a:cubicBezTo>
                    <a:pt x="418" y="636"/>
                    <a:pt x="422" y="636"/>
                    <a:pt x="426" y="634"/>
                  </a:cubicBezTo>
                  <a:cubicBezTo>
                    <a:pt x="690" y="519"/>
                    <a:pt x="690" y="519"/>
                    <a:pt x="690" y="519"/>
                  </a:cubicBezTo>
                  <a:cubicBezTo>
                    <a:pt x="695" y="517"/>
                    <a:pt x="698" y="512"/>
                    <a:pt x="699" y="508"/>
                  </a:cubicBezTo>
                  <a:cubicBezTo>
                    <a:pt x="700" y="503"/>
                    <a:pt x="698" y="498"/>
                    <a:pt x="695" y="494"/>
                  </a:cubicBezTo>
                  <a:cubicBezTo>
                    <a:pt x="687" y="486"/>
                    <a:pt x="683" y="482"/>
                    <a:pt x="683" y="472"/>
                  </a:cubicBezTo>
                  <a:cubicBezTo>
                    <a:pt x="683" y="456"/>
                    <a:pt x="701" y="437"/>
                    <a:pt x="726" y="437"/>
                  </a:cubicBezTo>
                  <a:cubicBezTo>
                    <a:pt x="750" y="437"/>
                    <a:pt x="760" y="455"/>
                    <a:pt x="760" y="472"/>
                  </a:cubicBezTo>
                  <a:cubicBezTo>
                    <a:pt x="760" y="497"/>
                    <a:pt x="760" y="497"/>
                    <a:pt x="760" y="497"/>
                  </a:cubicBezTo>
                  <a:cubicBezTo>
                    <a:pt x="760" y="505"/>
                    <a:pt x="767" y="512"/>
                    <a:pt x="775" y="512"/>
                  </a:cubicBezTo>
                  <a:cubicBezTo>
                    <a:pt x="792" y="512"/>
                    <a:pt x="810" y="530"/>
                    <a:pt x="810" y="546"/>
                  </a:cubicBezTo>
                  <a:cubicBezTo>
                    <a:pt x="810" y="571"/>
                    <a:pt x="792" y="589"/>
                    <a:pt x="767" y="589"/>
                  </a:cubicBezTo>
                  <a:cubicBezTo>
                    <a:pt x="755" y="589"/>
                    <a:pt x="742" y="582"/>
                    <a:pt x="728" y="569"/>
                  </a:cubicBezTo>
                  <a:cubicBezTo>
                    <a:pt x="724" y="564"/>
                    <a:pt x="717" y="563"/>
                    <a:pt x="712" y="565"/>
                  </a:cubicBezTo>
                  <a:cubicBezTo>
                    <a:pt x="505" y="648"/>
                    <a:pt x="505" y="648"/>
                    <a:pt x="505" y="648"/>
                  </a:cubicBezTo>
                  <a:cubicBezTo>
                    <a:pt x="500" y="650"/>
                    <a:pt x="496" y="655"/>
                    <a:pt x="496" y="661"/>
                  </a:cubicBezTo>
                  <a:cubicBezTo>
                    <a:pt x="496" y="667"/>
                    <a:pt x="499" y="673"/>
                    <a:pt x="505" y="675"/>
                  </a:cubicBezTo>
                  <a:cubicBezTo>
                    <a:pt x="711" y="766"/>
                    <a:pt x="711" y="766"/>
                    <a:pt x="711" y="766"/>
                  </a:cubicBezTo>
                  <a:cubicBezTo>
                    <a:pt x="715" y="768"/>
                    <a:pt x="720" y="768"/>
                    <a:pt x="723" y="766"/>
                  </a:cubicBezTo>
                  <a:cubicBezTo>
                    <a:pt x="727" y="764"/>
                    <a:pt x="730" y="761"/>
                    <a:pt x="732" y="757"/>
                  </a:cubicBezTo>
                  <a:cubicBezTo>
                    <a:pt x="737" y="740"/>
                    <a:pt x="746" y="734"/>
                    <a:pt x="767" y="734"/>
                  </a:cubicBezTo>
                  <a:cubicBezTo>
                    <a:pt x="783" y="734"/>
                    <a:pt x="810" y="739"/>
                    <a:pt x="810" y="769"/>
                  </a:cubicBezTo>
                  <a:cubicBezTo>
                    <a:pt x="810" y="785"/>
                    <a:pt x="792" y="803"/>
                    <a:pt x="775" y="803"/>
                  </a:cubicBezTo>
                  <a:cubicBezTo>
                    <a:pt x="767" y="803"/>
                    <a:pt x="760" y="810"/>
                    <a:pt x="760" y="819"/>
                  </a:cubicBezTo>
                  <a:cubicBezTo>
                    <a:pt x="760" y="843"/>
                    <a:pt x="760" y="843"/>
                    <a:pt x="760" y="843"/>
                  </a:cubicBezTo>
                  <a:cubicBezTo>
                    <a:pt x="760" y="859"/>
                    <a:pt x="756" y="886"/>
                    <a:pt x="726" y="886"/>
                  </a:cubicBezTo>
                  <a:cubicBezTo>
                    <a:pt x="701" y="886"/>
                    <a:pt x="683" y="868"/>
                    <a:pt x="683" y="843"/>
                  </a:cubicBezTo>
                  <a:cubicBezTo>
                    <a:pt x="683" y="842"/>
                    <a:pt x="684" y="840"/>
                    <a:pt x="685" y="838"/>
                  </a:cubicBezTo>
                  <a:cubicBezTo>
                    <a:pt x="688" y="833"/>
                    <a:pt x="691" y="826"/>
                    <a:pt x="691" y="819"/>
                  </a:cubicBezTo>
                  <a:cubicBezTo>
                    <a:pt x="691" y="813"/>
                    <a:pt x="688" y="807"/>
                    <a:pt x="682" y="805"/>
                  </a:cubicBezTo>
                  <a:cubicBezTo>
                    <a:pt x="426" y="689"/>
                    <a:pt x="426" y="689"/>
                    <a:pt x="426" y="689"/>
                  </a:cubicBezTo>
                  <a:cubicBezTo>
                    <a:pt x="424" y="688"/>
                    <a:pt x="422" y="688"/>
                    <a:pt x="420" y="688"/>
                  </a:cubicBezTo>
                  <a:cubicBezTo>
                    <a:pt x="418" y="688"/>
                    <a:pt x="416" y="688"/>
                    <a:pt x="414" y="689"/>
                  </a:cubicBezTo>
                  <a:cubicBezTo>
                    <a:pt x="149" y="805"/>
                    <a:pt x="149" y="805"/>
                    <a:pt x="149" y="805"/>
                  </a:cubicBezTo>
                  <a:cubicBezTo>
                    <a:pt x="145" y="807"/>
                    <a:pt x="142" y="811"/>
                    <a:pt x="141" y="816"/>
                  </a:cubicBezTo>
                  <a:cubicBezTo>
                    <a:pt x="140" y="821"/>
                    <a:pt x="141" y="826"/>
                    <a:pt x="145" y="829"/>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2" name="Freeform 76">
              <a:extLst>
                <a:ext uri="{FF2B5EF4-FFF2-40B4-BE49-F238E27FC236}">
                  <a16:creationId xmlns:a16="http://schemas.microsoft.com/office/drawing/2014/main" id="{F29DF730-10D6-47A0-B809-5729E9F83F7F}"/>
                </a:ext>
              </a:extLst>
            </p:cNvPr>
            <p:cNvSpPr>
              <a:spLocks noEditPoints="1"/>
            </p:cNvSpPr>
            <p:nvPr/>
          </p:nvSpPr>
          <p:spPr bwMode="auto">
            <a:xfrm>
              <a:off x="3246" y="1742"/>
              <a:ext cx="265" cy="244"/>
            </a:xfrm>
            <a:custGeom>
              <a:avLst/>
              <a:gdLst>
                <a:gd name="T0" fmla="*/ 150 w 150"/>
                <a:gd name="T1" fmla="*/ 55 h 138"/>
                <a:gd name="T2" fmla="*/ 75 w 150"/>
                <a:gd name="T3" fmla="*/ 0 h 138"/>
                <a:gd name="T4" fmla="*/ 0 w 150"/>
                <a:gd name="T5" fmla="*/ 55 h 138"/>
                <a:gd name="T6" fmla="*/ 75 w 150"/>
                <a:gd name="T7" fmla="*/ 138 h 138"/>
                <a:gd name="T8" fmla="*/ 150 w 150"/>
                <a:gd name="T9" fmla="*/ 55 h 138"/>
                <a:gd name="T10" fmla="*/ 30 w 150"/>
                <a:gd name="T11" fmla="*/ 55 h 138"/>
                <a:gd name="T12" fmla="*/ 75 w 150"/>
                <a:gd name="T13" fmla="*/ 30 h 138"/>
                <a:gd name="T14" fmla="*/ 120 w 150"/>
                <a:gd name="T15" fmla="*/ 55 h 138"/>
                <a:gd name="T16" fmla="*/ 75 w 150"/>
                <a:gd name="T17" fmla="*/ 108 h 138"/>
                <a:gd name="T18" fmla="*/ 30 w 150"/>
                <a:gd name="T19" fmla="*/ 5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38">
                  <a:moveTo>
                    <a:pt x="150" y="55"/>
                  </a:moveTo>
                  <a:cubicBezTo>
                    <a:pt x="150" y="24"/>
                    <a:pt x="117" y="0"/>
                    <a:pt x="75" y="0"/>
                  </a:cubicBezTo>
                  <a:cubicBezTo>
                    <a:pt x="33" y="0"/>
                    <a:pt x="0" y="24"/>
                    <a:pt x="0" y="55"/>
                  </a:cubicBezTo>
                  <a:cubicBezTo>
                    <a:pt x="0" y="84"/>
                    <a:pt x="31" y="138"/>
                    <a:pt x="75" y="138"/>
                  </a:cubicBezTo>
                  <a:cubicBezTo>
                    <a:pt x="118" y="138"/>
                    <a:pt x="150" y="84"/>
                    <a:pt x="150" y="55"/>
                  </a:cubicBezTo>
                  <a:close/>
                  <a:moveTo>
                    <a:pt x="30" y="55"/>
                  </a:moveTo>
                  <a:cubicBezTo>
                    <a:pt x="30" y="43"/>
                    <a:pt x="49" y="30"/>
                    <a:pt x="75" y="30"/>
                  </a:cubicBezTo>
                  <a:cubicBezTo>
                    <a:pt x="100" y="30"/>
                    <a:pt x="120" y="43"/>
                    <a:pt x="120" y="55"/>
                  </a:cubicBezTo>
                  <a:cubicBezTo>
                    <a:pt x="120" y="70"/>
                    <a:pt x="98" y="108"/>
                    <a:pt x="75" y="108"/>
                  </a:cubicBezTo>
                  <a:cubicBezTo>
                    <a:pt x="51" y="108"/>
                    <a:pt x="30" y="70"/>
                    <a:pt x="30" y="55"/>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3" name="Freeform 77">
              <a:extLst>
                <a:ext uri="{FF2B5EF4-FFF2-40B4-BE49-F238E27FC236}">
                  <a16:creationId xmlns:a16="http://schemas.microsoft.com/office/drawing/2014/main" id="{C4E1E267-932D-4481-826C-68BF8E65A886}"/>
                </a:ext>
              </a:extLst>
            </p:cNvPr>
            <p:cNvSpPr>
              <a:spLocks noEditPoints="1"/>
            </p:cNvSpPr>
            <p:nvPr/>
          </p:nvSpPr>
          <p:spPr bwMode="auto">
            <a:xfrm>
              <a:off x="3578" y="1742"/>
              <a:ext cx="265" cy="244"/>
            </a:xfrm>
            <a:custGeom>
              <a:avLst/>
              <a:gdLst>
                <a:gd name="T0" fmla="*/ 75 w 150"/>
                <a:gd name="T1" fmla="*/ 138 h 138"/>
                <a:gd name="T2" fmla="*/ 150 w 150"/>
                <a:gd name="T3" fmla="*/ 55 h 138"/>
                <a:gd name="T4" fmla="*/ 75 w 150"/>
                <a:gd name="T5" fmla="*/ 0 h 138"/>
                <a:gd name="T6" fmla="*/ 0 w 150"/>
                <a:gd name="T7" fmla="*/ 55 h 138"/>
                <a:gd name="T8" fmla="*/ 75 w 150"/>
                <a:gd name="T9" fmla="*/ 138 h 138"/>
                <a:gd name="T10" fmla="*/ 75 w 150"/>
                <a:gd name="T11" fmla="*/ 30 h 138"/>
                <a:gd name="T12" fmla="*/ 120 w 150"/>
                <a:gd name="T13" fmla="*/ 55 h 138"/>
                <a:gd name="T14" fmla="*/ 75 w 150"/>
                <a:gd name="T15" fmla="*/ 108 h 138"/>
                <a:gd name="T16" fmla="*/ 30 w 150"/>
                <a:gd name="T17" fmla="*/ 55 h 138"/>
                <a:gd name="T18" fmla="*/ 75 w 150"/>
                <a:gd name="T19" fmla="*/ 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38">
                  <a:moveTo>
                    <a:pt x="75" y="138"/>
                  </a:moveTo>
                  <a:cubicBezTo>
                    <a:pt x="118" y="138"/>
                    <a:pt x="150" y="84"/>
                    <a:pt x="150" y="55"/>
                  </a:cubicBezTo>
                  <a:cubicBezTo>
                    <a:pt x="150" y="24"/>
                    <a:pt x="117" y="0"/>
                    <a:pt x="75" y="0"/>
                  </a:cubicBezTo>
                  <a:cubicBezTo>
                    <a:pt x="33" y="0"/>
                    <a:pt x="0" y="24"/>
                    <a:pt x="0" y="55"/>
                  </a:cubicBezTo>
                  <a:cubicBezTo>
                    <a:pt x="0" y="84"/>
                    <a:pt x="32" y="138"/>
                    <a:pt x="75" y="138"/>
                  </a:cubicBezTo>
                  <a:close/>
                  <a:moveTo>
                    <a:pt x="75" y="30"/>
                  </a:moveTo>
                  <a:cubicBezTo>
                    <a:pt x="101" y="30"/>
                    <a:pt x="120" y="43"/>
                    <a:pt x="120" y="55"/>
                  </a:cubicBezTo>
                  <a:cubicBezTo>
                    <a:pt x="120" y="70"/>
                    <a:pt x="98" y="108"/>
                    <a:pt x="75" y="108"/>
                  </a:cubicBezTo>
                  <a:cubicBezTo>
                    <a:pt x="51" y="108"/>
                    <a:pt x="30" y="70"/>
                    <a:pt x="30" y="55"/>
                  </a:cubicBezTo>
                  <a:cubicBezTo>
                    <a:pt x="30" y="43"/>
                    <a:pt x="49" y="30"/>
                    <a:pt x="75" y="3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4" name="Freeform 78">
              <a:extLst>
                <a:ext uri="{FF2B5EF4-FFF2-40B4-BE49-F238E27FC236}">
                  <a16:creationId xmlns:a16="http://schemas.microsoft.com/office/drawing/2014/main" id="{80216DF8-30D6-4A15-861A-5115D7E8E9F7}"/>
                </a:ext>
              </a:extLst>
            </p:cNvPr>
            <p:cNvSpPr>
              <a:spLocks noEditPoints="1"/>
            </p:cNvSpPr>
            <p:nvPr/>
          </p:nvSpPr>
          <p:spPr bwMode="auto">
            <a:xfrm>
              <a:off x="3246" y="1742"/>
              <a:ext cx="265" cy="244"/>
            </a:xfrm>
            <a:custGeom>
              <a:avLst/>
              <a:gdLst>
                <a:gd name="T0" fmla="*/ 75 w 150"/>
                <a:gd name="T1" fmla="*/ 138 h 138"/>
                <a:gd name="T2" fmla="*/ 0 w 150"/>
                <a:gd name="T3" fmla="*/ 55 h 138"/>
                <a:gd name="T4" fmla="*/ 75 w 150"/>
                <a:gd name="T5" fmla="*/ 0 h 138"/>
                <a:gd name="T6" fmla="*/ 150 w 150"/>
                <a:gd name="T7" fmla="*/ 55 h 138"/>
                <a:gd name="T8" fmla="*/ 75 w 150"/>
                <a:gd name="T9" fmla="*/ 138 h 138"/>
                <a:gd name="T10" fmla="*/ 75 w 150"/>
                <a:gd name="T11" fmla="*/ 30 h 138"/>
                <a:gd name="T12" fmla="*/ 30 w 150"/>
                <a:gd name="T13" fmla="*/ 55 h 138"/>
                <a:gd name="T14" fmla="*/ 75 w 150"/>
                <a:gd name="T15" fmla="*/ 108 h 138"/>
                <a:gd name="T16" fmla="*/ 120 w 150"/>
                <a:gd name="T17" fmla="*/ 55 h 138"/>
                <a:gd name="T18" fmla="*/ 75 w 150"/>
                <a:gd name="T19" fmla="*/ 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38">
                  <a:moveTo>
                    <a:pt x="75" y="138"/>
                  </a:moveTo>
                  <a:cubicBezTo>
                    <a:pt x="31" y="138"/>
                    <a:pt x="0" y="84"/>
                    <a:pt x="0" y="55"/>
                  </a:cubicBezTo>
                  <a:cubicBezTo>
                    <a:pt x="0" y="24"/>
                    <a:pt x="33" y="0"/>
                    <a:pt x="75" y="0"/>
                  </a:cubicBezTo>
                  <a:cubicBezTo>
                    <a:pt x="117" y="0"/>
                    <a:pt x="150" y="24"/>
                    <a:pt x="150" y="55"/>
                  </a:cubicBezTo>
                  <a:cubicBezTo>
                    <a:pt x="150" y="84"/>
                    <a:pt x="118" y="138"/>
                    <a:pt x="75" y="138"/>
                  </a:cubicBezTo>
                  <a:close/>
                  <a:moveTo>
                    <a:pt x="75" y="30"/>
                  </a:moveTo>
                  <a:cubicBezTo>
                    <a:pt x="49" y="30"/>
                    <a:pt x="30" y="43"/>
                    <a:pt x="30" y="55"/>
                  </a:cubicBezTo>
                  <a:cubicBezTo>
                    <a:pt x="30" y="70"/>
                    <a:pt x="51" y="108"/>
                    <a:pt x="75" y="108"/>
                  </a:cubicBezTo>
                  <a:cubicBezTo>
                    <a:pt x="98" y="108"/>
                    <a:pt x="120" y="70"/>
                    <a:pt x="120" y="55"/>
                  </a:cubicBezTo>
                  <a:cubicBezTo>
                    <a:pt x="120" y="43"/>
                    <a:pt x="100" y="30"/>
                    <a:pt x="75"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 name="Freeform 79">
              <a:extLst>
                <a:ext uri="{FF2B5EF4-FFF2-40B4-BE49-F238E27FC236}">
                  <a16:creationId xmlns:a16="http://schemas.microsoft.com/office/drawing/2014/main" id="{05D7334B-3236-4D24-A18D-781C5BD82887}"/>
                </a:ext>
              </a:extLst>
            </p:cNvPr>
            <p:cNvSpPr>
              <a:spLocks noEditPoints="1"/>
            </p:cNvSpPr>
            <p:nvPr/>
          </p:nvSpPr>
          <p:spPr bwMode="auto">
            <a:xfrm>
              <a:off x="3578" y="1742"/>
              <a:ext cx="265" cy="244"/>
            </a:xfrm>
            <a:custGeom>
              <a:avLst/>
              <a:gdLst>
                <a:gd name="T0" fmla="*/ 75 w 150"/>
                <a:gd name="T1" fmla="*/ 138 h 138"/>
                <a:gd name="T2" fmla="*/ 0 w 150"/>
                <a:gd name="T3" fmla="*/ 55 h 138"/>
                <a:gd name="T4" fmla="*/ 75 w 150"/>
                <a:gd name="T5" fmla="*/ 0 h 138"/>
                <a:gd name="T6" fmla="*/ 150 w 150"/>
                <a:gd name="T7" fmla="*/ 55 h 138"/>
                <a:gd name="T8" fmla="*/ 75 w 150"/>
                <a:gd name="T9" fmla="*/ 138 h 138"/>
                <a:gd name="T10" fmla="*/ 75 w 150"/>
                <a:gd name="T11" fmla="*/ 30 h 138"/>
                <a:gd name="T12" fmla="*/ 30 w 150"/>
                <a:gd name="T13" fmla="*/ 55 h 138"/>
                <a:gd name="T14" fmla="*/ 75 w 150"/>
                <a:gd name="T15" fmla="*/ 108 h 138"/>
                <a:gd name="T16" fmla="*/ 120 w 150"/>
                <a:gd name="T17" fmla="*/ 55 h 138"/>
                <a:gd name="T18" fmla="*/ 75 w 150"/>
                <a:gd name="T19" fmla="*/ 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38">
                  <a:moveTo>
                    <a:pt x="75" y="138"/>
                  </a:moveTo>
                  <a:cubicBezTo>
                    <a:pt x="32" y="138"/>
                    <a:pt x="0" y="84"/>
                    <a:pt x="0" y="55"/>
                  </a:cubicBezTo>
                  <a:cubicBezTo>
                    <a:pt x="0" y="24"/>
                    <a:pt x="33" y="0"/>
                    <a:pt x="75" y="0"/>
                  </a:cubicBezTo>
                  <a:cubicBezTo>
                    <a:pt x="117" y="0"/>
                    <a:pt x="150" y="24"/>
                    <a:pt x="150" y="55"/>
                  </a:cubicBezTo>
                  <a:cubicBezTo>
                    <a:pt x="150" y="84"/>
                    <a:pt x="118" y="138"/>
                    <a:pt x="75" y="138"/>
                  </a:cubicBezTo>
                  <a:close/>
                  <a:moveTo>
                    <a:pt x="75" y="30"/>
                  </a:moveTo>
                  <a:cubicBezTo>
                    <a:pt x="49" y="30"/>
                    <a:pt x="30" y="43"/>
                    <a:pt x="30" y="55"/>
                  </a:cubicBezTo>
                  <a:cubicBezTo>
                    <a:pt x="30" y="70"/>
                    <a:pt x="51" y="108"/>
                    <a:pt x="75" y="108"/>
                  </a:cubicBezTo>
                  <a:cubicBezTo>
                    <a:pt x="98" y="108"/>
                    <a:pt x="120" y="70"/>
                    <a:pt x="120" y="55"/>
                  </a:cubicBezTo>
                  <a:cubicBezTo>
                    <a:pt x="120" y="43"/>
                    <a:pt x="101" y="30"/>
                    <a:pt x="75"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 name="Freeform 80">
              <a:extLst>
                <a:ext uri="{FF2B5EF4-FFF2-40B4-BE49-F238E27FC236}">
                  <a16:creationId xmlns:a16="http://schemas.microsoft.com/office/drawing/2014/main" id="{4D4921F5-C6E0-4EA9-816E-6AD54E7755DC}"/>
                </a:ext>
              </a:extLst>
            </p:cNvPr>
            <p:cNvSpPr>
              <a:spLocks noEditPoints="1"/>
            </p:cNvSpPr>
            <p:nvPr/>
          </p:nvSpPr>
          <p:spPr bwMode="auto">
            <a:xfrm>
              <a:off x="2801" y="1450"/>
              <a:ext cx="1484" cy="1620"/>
            </a:xfrm>
            <a:custGeom>
              <a:avLst/>
              <a:gdLst>
                <a:gd name="T0" fmla="*/ 550 w 840"/>
                <a:gd name="T1" fmla="*/ 662 h 916"/>
                <a:gd name="T2" fmla="*/ 840 w 840"/>
                <a:gd name="T3" fmla="*/ 546 h 916"/>
                <a:gd name="T4" fmla="*/ 726 w 840"/>
                <a:gd name="T5" fmla="*/ 407 h 916"/>
                <a:gd name="T6" fmla="*/ 549 w 840"/>
                <a:gd name="T7" fmla="*/ 548 h 916"/>
                <a:gd name="T8" fmla="*/ 645 w 840"/>
                <a:gd name="T9" fmla="*/ 246 h 916"/>
                <a:gd name="T10" fmla="*/ 258 w 840"/>
                <a:gd name="T11" fmla="*/ 410 h 916"/>
                <a:gd name="T12" fmla="*/ 174 w 840"/>
                <a:gd name="T13" fmla="*/ 496 h 916"/>
                <a:gd name="T14" fmla="*/ 41 w 840"/>
                <a:gd name="T15" fmla="*/ 472 h 916"/>
                <a:gd name="T16" fmla="*/ 65 w 840"/>
                <a:gd name="T17" fmla="*/ 619 h 916"/>
                <a:gd name="T18" fmla="*/ 124 w 840"/>
                <a:gd name="T19" fmla="*/ 732 h 916"/>
                <a:gd name="T20" fmla="*/ 42 w 840"/>
                <a:gd name="T21" fmla="*/ 830 h 916"/>
                <a:gd name="T22" fmla="*/ 179 w 840"/>
                <a:gd name="T23" fmla="*/ 843 h 916"/>
                <a:gd name="T24" fmla="*/ 657 w 840"/>
                <a:gd name="T25" fmla="*/ 827 h 916"/>
                <a:gd name="T26" fmla="*/ 790 w 840"/>
                <a:gd name="T27" fmla="*/ 843 h 916"/>
                <a:gd name="T28" fmla="*/ 767 w 840"/>
                <a:gd name="T29" fmla="*/ 704 h 916"/>
                <a:gd name="T30" fmla="*/ 321 w 840"/>
                <a:gd name="T31" fmla="*/ 525 h 916"/>
                <a:gd name="T32" fmla="*/ 328 w 840"/>
                <a:gd name="T33" fmla="*/ 470 h 916"/>
                <a:gd name="T34" fmla="*/ 358 w 840"/>
                <a:gd name="T35" fmla="*/ 486 h 916"/>
                <a:gd name="T36" fmla="*/ 402 w 840"/>
                <a:gd name="T37" fmla="*/ 486 h 916"/>
                <a:gd name="T38" fmla="*/ 432 w 840"/>
                <a:gd name="T39" fmla="*/ 470 h 916"/>
                <a:gd name="T40" fmla="*/ 491 w 840"/>
                <a:gd name="T41" fmla="*/ 501 h 916"/>
                <a:gd name="T42" fmla="*/ 551 w 840"/>
                <a:gd name="T43" fmla="*/ 470 h 916"/>
                <a:gd name="T44" fmla="*/ 424 w 840"/>
                <a:gd name="T45" fmla="*/ 30 h 916"/>
                <a:gd name="T46" fmla="*/ 551 w 840"/>
                <a:gd name="T47" fmla="*/ 413 h 916"/>
                <a:gd name="T48" fmla="*/ 506 w 840"/>
                <a:gd name="T49" fmla="*/ 420 h 916"/>
                <a:gd name="T50" fmla="*/ 476 w 840"/>
                <a:gd name="T51" fmla="*/ 440 h 916"/>
                <a:gd name="T52" fmla="*/ 417 w 840"/>
                <a:gd name="T53" fmla="*/ 405 h 916"/>
                <a:gd name="T54" fmla="*/ 358 w 840"/>
                <a:gd name="T55" fmla="*/ 440 h 916"/>
                <a:gd name="T56" fmla="*/ 328 w 840"/>
                <a:gd name="T57" fmla="*/ 420 h 916"/>
                <a:gd name="T58" fmla="*/ 288 w 840"/>
                <a:gd name="T59" fmla="*/ 405 h 916"/>
                <a:gd name="T60" fmla="*/ 321 w 840"/>
                <a:gd name="T61" fmla="*/ 555 h 916"/>
                <a:gd name="T62" fmla="*/ 420 w 840"/>
                <a:gd name="T63" fmla="*/ 604 h 916"/>
                <a:gd name="T64" fmla="*/ 775 w 840"/>
                <a:gd name="T65" fmla="*/ 803 h 916"/>
                <a:gd name="T66" fmla="*/ 726 w 840"/>
                <a:gd name="T67" fmla="*/ 886 h 916"/>
                <a:gd name="T68" fmla="*/ 691 w 840"/>
                <a:gd name="T69" fmla="*/ 819 h 916"/>
                <a:gd name="T70" fmla="*/ 420 w 840"/>
                <a:gd name="T71" fmla="*/ 688 h 916"/>
                <a:gd name="T72" fmla="*/ 141 w 840"/>
                <a:gd name="T73" fmla="*/ 816 h 916"/>
                <a:gd name="T74" fmla="*/ 106 w 840"/>
                <a:gd name="T75" fmla="*/ 886 h 916"/>
                <a:gd name="T76" fmla="*/ 78 w 840"/>
                <a:gd name="T77" fmla="*/ 813 h 916"/>
                <a:gd name="T78" fmla="*/ 65 w 840"/>
                <a:gd name="T79" fmla="*/ 734 h 916"/>
                <a:gd name="T80" fmla="*/ 120 w 840"/>
                <a:gd name="T81" fmla="*/ 766 h 916"/>
                <a:gd name="T82" fmla="*/ 326 w 840"/>
                <a:gd name="T83" fmla="*/ 648 h 916"/>
                <a:gd name="T84" fmla="*/ 65 w 840"/>
                <a:gd name="T85" fmla="*/ 589 h 916"/>
                <a:gd name="T86" fmla="*/ 78 w 840"/>
                <a:gd name="T87" fmla="*/ 502 h 916"/>
                <a:gd name="T88" fmla="*/ 106 w 840"/>
                <a:gd name="T89" fmla="*/ 437 h 916"/>
                <a:gd name="T90" fmla="*/ 140 w 840"/>
                <a:gd name="T91" fmla="*/ 505 h 916"/>
                <a:gd name="T92" fmla="*/ 426 w 840"/>
                <a:gd name="T93" fmla="*/ 634 h 916"/>
                <a:gd name="T94" fmla="*/ 695 w 840"/>
                <a:gd name="T95" fmla="*/ 494 h 916"/>
                <a:gd name="T96" fmla="*/ 760 w 840"/>
                <a:gd name="T97" fmla="*/ 472 h 916"/>
                <a:gd name="T98" fmla="*/ 810 w 840"/>
                <a:gd name="T99" fmla="*/ 546 h 916"/>
                <a:gd name="T100" fmla="*/ 712 w 840"/>
                <a:gd name="T101" fmla="*/ 565 h 916"/>
                <a:gd name="T102" fmla="*/ 505 w 840"/>
                <a:gd name="T103" fmla="*/ 675 h 916"/>
                <a:gd name="T104" fmla="*/ 732 w 840"/>
                <a:gd name="T105" fmla="*/ 757 h 916"/>
                <a:gd name="T106" fmla="*/ 775 w 840"/>
                <a:gd name="T107" fmla="*/ 803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0" h="916">
                  <a:moveTo>
                    <a:pt x="767" y="704"/>
                  </a:moveTo>
                  <a:cubicBezTo>
                    <a:pt x="740" y="704"/>
                    <a:pt x="721" y="714"/>
                    <a:pt x="710" y="733"/>
                  </a:cubicBezTo>
                  <a:cubicBezTo>
                    <a:pt x="550" y="662"/>
                    <a:pt x="550" y="662"/>
                    <a:pt x="550" y="662"/>
                  </a:cubicBezTo>
                  <a:cubicBezTo>
                    <a:pt x="714" y="597"/>
                    <a:pt x="714" y="597"/>
                    <a:pt x="714" y="597"/>
                  </a:cubicBezTo>
                  <a:cubicBezTo>
                    <a:pt x="731" y="611"/>
                    <a:pt x="749" y="619"/>
                    <a:pt x="767" y="619"/>
                  </a:cubicBezTo>
                  <a:cubicBezTo>
                    <a:pt x="808" y="619"/>
                    <a:pt x="840" y="588"/>
                    <a:pt x="840" y="546"/>
                  </a:cubicBezTo>
                  <a:cubicBezTo>
                    <a:pt x="840" y="518"/>
                    <a:pt x="817" y="491"/>
                    <a:pt x="790" y="484"/>
                  </a:cubicBezTo>
                  <a:cubicBezTo>
                    <a:pt x="790" y="472"/>
                    <a:pt x="790" y="472"/>
                    <a:pt x="790" y="472"/>
                  </a:cubicBezTo>
                  <a:cubicBezTo>
                    <a:pt x="790" y="440"/>
                    <a:pt x="768" y="407"/>
                    <a:pt x="726" y="407"/>
                  </a:cubicBezTo>
                  <a:cubicBezTo>
                    <a:pt x="686" y="407"/>
                    <a:pt x="653" y="437"/>
                    <a:pt x="653" y="472"/>
                  </a:cubicBezTo>
                  <a:cubicBezTo>
                    <a:pt x="653" y="483"/>
                    <a:pt x="656" y="492"/>
                    <a:pt x="660" y="499"/>
                  </a:cubicBezTo>
                  <a:cubicBezTo>
                    <a:pt x="549" y="548"/>
                    <a:pt x="549" y="548"/>
                    <a:pt x="549" y="548"/>
                  </a:cubicBezTo>
                  <a:cubicBezTo>
                    <a:pt x="567" y="538"/>
                    <a:pt x="581" y="520"/>
                    <a:pt x="581" y="492"/>
                  </a:cubicBezTo>
                  <a:cubicBezTo>
                    <a:pt x="581" y="418"/>
                    <a:pt x="581" y="418"/>
                    <a:pt x="581" y="418"/>
                  </a:cubicBezTo>
                  <a:cubicBezTo>
                    <a:pt x="623" y="366"/>
                    <a:pt x="645" y="308"/>
                    <a:pt x="645" y="246"/>
                  </a:cubicBezTo>
                  <a:cubicBezTo>
                    <a:pt x="645" y="113"/>
                    <a:pt x="544" y="0"/>
                    <a:pt x="424" y="0"/>
                  </a:cubicBezTo>
                  <a:cubicBezTo>
                    <a:pt x="298" y="0"/>
                    <a:pt x="195" y="110"/>
                    <a:pt x="195" y="246"/>
                  </a:cubicBezTo>
                  <a:cubicBezTo>
                    <a:pt x="195" y="301"/>
                    <a:pt x="218" y="359"/>
                    <a:pt x="258" y="410"/>
                  </a:cubicBezTo>
                  <a:cubicBezTo>
                    <a:pt x="258" y="492"/>
                    <a:pt x="258" y="492"/>
                    <a:pt x="258" y="492"/>
                  </a:cubicBezTo>
                  <a:cubicBezTo>
                    <a:pt x="258" y="515"/>
                    <a:pt x="266" y="532"/>
                    <a:pt x="280" y="543"/>
                  </a:cubicBezTo>
                  <a:cubicBezTo>
                    <a:pt x="174" y="496"/>
                    <a:pt x="174" y="496"/>
                    <a:pt x="174" y="496"/>
                  </a:cubicBezTo>
                  <a:cubicBezTo>
                    <a:pt x="176" y="491"/>
                    <a:pt x="179" y="482"/>
                    <a:pt x="179" y="472"/>
                  </a:cubicBezTo>
                  <a:cubicBezTo>
                    <a:pt x="179" y="437"/>
                    <a:pt x="145" y="407"/>
                    <a:pt x="106" y="407"/>
                  </a:cubicBezTo>
                  <a:cubicBezTo>
                    <a:pt x="73" y="407"/>
                    <a:pt x="41" y="439"/>
                    <a:pt x="41" y="472"/>
                  </a:cubicBezTo>
                  <a:cubicBezTo>
                    <a:pt x="41" y="476"/>
                    <a:pt x="41" y="480"/>
                    <a:pt x="42" y="485"/>
                  </a:cubicBezTo>
                  <a:cubicBezTo>
                    <a:pt x="14" y="494"/>
                    <a:pt x="0" y="520"/>
                    <a:pt x="0" y="546"/>
                  </a:cubicBezTo>
                  <a:cubicBezTo>
                    <a:pt x="0" y="586"/>
                    <a:pt x="30" y="619"/>
                    <a:pt x="65" y="619"/>
                  </a:cubicBezTo>
                  <a:cubicBezTo>
                    <a:pt x="93" y="619"/>
                    <a:pt x="110" y="609"/>
                    <a:pt x="120" y="598"/>
                  </a:cubicBezTo>
                  <a:cubicBezTo>
                    <a:pt x="282" y="662"/>
                    <a:pt x="282" y="662"/>
                    <a:pt x="282" y="662"/>
                  </a:cubicBezTo>
                  <a:cubicBezTo>
                    <a:pt x="124" y="732"/>
                    <a:pt x="124" y="732"/>
                    <a:pt x="124" y="732"/>
                  </a:cubicBezTo>
                  <a:cubicBezTo>
                    <a:pt x="115" y="714"/>
                    <a:pt x="94" y="704"/>
                    <a:pt x="65" y="704"/>
                  </a:cubicBezTo>
                  <a:cubicBezTo>
                    <a:pt x="33" y="704"/>
                    <a:pt x="0" y="727"/>
                    <a:pt x="0" y="769"/>
                  </a:cubicBezTo>
                  <a:cubicBezTo>
                    <a:pt x="0" y="795"/>
                    <a:pt x="14" y="821"/>
                    <a:pt x="42" y="830"/>
                  </a:cubicBezTo>
                  <a:cubicBezTo>
                    <a:pt x="41" y="835"/>
                    <a:pt x="41" y="840"/>
                    <a:pt x="41" y="843"/>
                  </a:cubicBezTo>
                  <a:cubicBezTo>
                    <a:pt x="41" y="883"/>
                    <a:pt x="71" y="916"/>
                    <a:pt x="106" y="916"/>
                  </a:cubicBezTo>
                  <a:cubicBezTo>
                    <a:pt x="147" y="916"/>
                    <a:pt x="179" y="885"/>
                    <a:pt x="179" y="843"/>
                  </a:cubicBezTo>
                  <a:cubicBezTo>
                    <a:pt x="179" y="838"/>
                    <a:pt x="179" y="832"/>
                    <a:pt x="177" y="826"/>
                  </a:cubicBezTo>
                  <a:cubicBezTo>
                    <a:pt x="420" y="719"/>
                    <a:pt x="420" y="719"/>
                    <a:pt x="420" y="719"/>
                  </a:cubicBezTo>
                  <a:cubicBezTo>
                    <a:pt x="657" y="827"/>
                    <a:pt x="657" y="827"/>
                    <a:pt x="657" y="827"/>
                  </a:cubicBezTo>
                  <a:cubicBezTo>
                    <a:pt x="655" y="831"/>
                    <a:pt x="653" y="837"/>
                    <a:pt x="653" y="843"/>
                  </a:cubicBezTo>
                  <a:cubicBezTo>
                    <a:pt x="653" y="885"/>
                    <a:pt x="684" y="916"/>
                    <a:pt x="726" y="916"/>
                  </a:cubicBezTo>
                  <a:cubicBezTo>
                    <a:pt x="765" y="916"/>
                    <a:pt x="790" y="887"/>
                    <a:pt x="790" y="843"/>
                  </a:cubicBezTo>
                  <a:cubicBezTo>
                    <a:pt x="790" y="831"/>
                    <a:pt x="790" y="831"/>
                    <a:pt x="790" y="831"/>
                  </a:cubicBezTo>
                  <a:cubicBezTo>
                    <a:pt x="817" y="824"/>
                    <a:pt x="840" y="797"/>
                    <a:pt x="840" y="769"/>
                  </a:cubicBezTo>
                  <a:cubicBezTo>
                    <a:pt x="840" y="730"/>
                    <a:pt x="811" y="704"/>
                    <a:pt x="767" y="704"/>
                  </a:cubicBezTo>
                  <a:close/>
                  <a:moveTo>
                    <a:pt x="551" y="492"/>
                  </a:moveTo>
                  <a:cubicBezTo>
                    <a:pt x="551" y="515"/>
                    <a:pt x="535" y="525"/>
                    <a:pt x="519" y="525"/>
                  </a:cubicBezTo>
                  <a:cubicBezTo>
                    <a:pt x="321" y="525"/>
                    <a:pt x="321" y="525"/>
                    <a:pt x="321" y="525"/>
                  </a:cubicBezTo>
                  <a:cubicBezTo>
                    <a:pt x="298" y="525"/>
                    <a:pt x="288" y="516"/>
                    <a:pt x="288" y="492"/>
                  </a:cubicBezTo>
                  <a:cubicBezTo>
                    <a:pt x="288" y="470"/>
                    <a:pt x="288" y="470"/>
                    <a:pt x="288" y="470"/>
                  </a:cubicBezTo>
                  <a:cubicBezTo>
                    <a:pt x="328" y="470"/>
                    <a:pt x="328" y="470"/>
                    <a:pt x="328" y="470"/>
                  </a:cubicBezTo>
                  <a:cubicBezTo>
                    <a:pt x="328" y="486"/>
                    <a:pt x="328" y="486"/>
                    <a:pt x="328" y="486"/>
                  </a:cubicBezTo>
                  <a:cubicBezTo>
                    <a:pt x="328" y="494"/>
                    <a:pt x="334" y="501"/>
                    <a:pt x="343" y="501"/>
                  </a:cubicBezTo>
                  <a:cubicBezTo>
                    <a:pt x="351" y="501"/>
                    <a:pt x="358" y="494"/>
                    <a:pt x="358" y="486"/>
                  </a:cubicBezTo>
                  <a:cubicBezTo>
                    <a:pt x="358" y="470"/>
                    <a:pt x="358" y="470"/>
                    <a:pt x="358" y="470"/>
                  </a:cubicBezTo>
                  <a:cubicBezTo>
                    <a:pt x="402" y="470"/>
                    <a:pt x="402" y="470"/>
                    <a:pt x="402" y="470"/>
                  </a:cubicBezTo>
                  <a:cubicBezTo>
                    <a:pt x="402" y="486"/>
                    <a:pt x="402" y="486"/>
                    <a:pt x="402" y="486"/>
                  </a:cubicBezTo>
                  <a:cubicBezTo>
                    <a:pt x="402" y="494"/>
                    <a:pt x="408" y="501"/>
                    <a:pt x="417" y="501"/>
                  </a:cubicBezTo>
                  <a:cubicBezTo>
                    <a:pt x="425" y="501"/>
                    <a:pt x="432" y="494"/>
                    <a:pt x="432" y="486"/>
                  </a:cubicBezTo>
                  <a:cubicBezTo>
                    <a:pt x="432" y="470"/>
                    <a:pt x="432" y="470"/>
                    <a:pt x="432" y="470"/>
                  </a:cubicBezTo>
                  <a:cubicBezTo>
                    <a:pt x="476" y="470"/>
                    <a:pt x="476" y="470"/>
                    <a:pt x="476" y="470"/>
                  </a:cubicBezTo>
                  <a:cubicBezTo>
                    <a:pt x="476" y="486"/>
                    <a:pt x="476" y="486"/>
                    <a:pt x="476" y="486"/>
                  </a:cubicBezTo>
                  <a:cubicBezTo>
                    <a:pt x="476" y="494"/>
                    <a:pt x="483" y="501"/>
                    <a:pt x="491" y="501"/>
                  </a:cubicBezTo>
                  <a:cubicBezTo>
                    <a:pt x="499" y="501"/>
                    <a:pt x="506" y="494"/>
                    <a:pt x="506" y="486"/>
                  </a:cubicBezTo>
                  <a:cubicBezTo>
                    <a:pt x="506" y="470"/>
                    <a:pt x="506" y="470"/>
                    <a:pt x="506" y="470"/>
                  </a:cubicBezTo>
                  <a:cubicBezTo>
                    <a:pt x="551" y="470"/>
                    <a:pt x="551" y="470"/>
                    <a:pt x="551" y="470"/>
                  </a:cubicBezTo>
                  <a:lnTo>
                    <a:pt x="551" y="492"/>
                  </a:lnTo>
                  <a:close/>
                  <a:moveTo>
                    <a:pt x="225" y="246"/>
                  </a:moveTo>
                  <a:cubicBezTo>
                    <a:pt x="225" y="127"/>
                    <a:pt x="314" y="30"/>
                    <a:pt x="424" y="30"/>
                  </a:cubicBezTo>
                  <a:cubicBezTo>
                    <a:pt x="527" y="30"/>
                    <a:pt x="615" y="129"/>
                    <a:pt x="615" y="246"/>
                  </a:cubicBezTo>
                  <a:cubicBezTo>
                    <a:pt x="615" y="302"/>
                    <a:pt x="595" y="355"/>
                    <a:pt x="555" y="403"/>
                  </a:cubicBezTo>
                  <a:cubicBezTo>
                    <a:pt x="553" y="406"/>
                    <a:pt x="551" y="409"/>
                    <a:pt x="551" y="413"/>
                  </a:cubicBezTo>
                  <a:cubicBezTo>
                    <a:pt x="551" y="440"/>
                    <a:pt x="551" y="440"/>
                    <a:pt x="551" y="440"/>
                  </a:cubicBezTo>
                  <a:cubicBezTo>
                    <a:pt x="506" y="440"/>
                    <a:pt x="506" y="440"/>
                    <a:pt x="506" y="440"/>
                  </a:cubicBezTo>
                  <a:cubicBezTo>
                    <a:pt x="506" y="420"/>
                    <a:pt x="506" y="420"/>
                    <a:pt x="506" y="420"/>
                  </a:cubicBezTo>
                  <a:cubicBezTo>
                    <a:pt x="506" y="412"/>
                    <a:pt x="499" y="405"/>
                    <a:pt x="491" y="405"/>
                  </a:cubicBezTo>
                  <a:cubicBezTo>
                    <a:pt x="483" y="405"/>
                    <a:pt x="476" y="412"/>
                    <a:pt x="476" y="420"/>
                  </a:cubicBezTo>
                  <a:cubicBezTo>
                    <a:pt x="476" y="440"/>
                    <a:pt x="476" y="440"/>
                    <a:pt x="476" y="440"/>
                  </a:cubicBezTo>
                  <a:cubicBezTo>
                    <a:pt x="432" y="440"/>
                    <a:pt x="432" y="440"/>
                    <a:pt x="432" y="440"/>
                  </a:cubicBezTo>
                  <a:cubicBezTo>
                    <a:pt x="432" y="420"/>
                    <a:pt x="432" y="420"/>
                    <a:pt x="432" y="420"/>
                  </a:cubicBezTo>
                  <a:cubicBezTo>
                    <a:pt x="432" y="412"/>
                    <a:pt x="425" y="405"/>
                    <a:pt x="417" y="405"/>
                  </a:cubicBezTo>
                  <a:cubicBezTo>
                    <a:pt x="408" y="405"/>
                    <a:pt x="402" y="412"/>
                    <a:pt x="402" y="420"/>
                  </a:cubicBezTo>
                  <a:cubicBezTo>
                    <a:pt x="402" y="440"/>
                    <a:pt x="402" y="440"/>
                    <a:pt x="402" y="440"/>
                  </a:cubicBezTo>
                  <a:cubicBezTo>
                    <a:pt x="358" y="440"/>
                    <a:pt x="358" y="440"/>
                    <a:pt x="358" y="440"/>
                  </a:cubicBezTo>
                  <a:cubicBezTo>
                    <a:pt x="358" y="420"/>
                    <a:pt x="358" y="420"/>
                    <a:pt x="358" y="420"/>
                  </a:cubicBezTo>
                  <a:cubicBezTo>
                    <a:pt x="358" y="412"/>
                    <a:pt x="351" y="405"/>
                    <a:pt x="343" y="405"/>
                  </a:cubicBezTo>
                  <a:cubicBezTo>
                    <a:pt x="334" y="405"/>
                    <a:pt x="328" y="412"/>
                    <a:pt x="328" y="420"/>
                  </a:cubicBezTo>
                  <a:cubicBezTo>
                    <a:pt x="328" y="440"/>
                    <a:pt x="328" y="440"/>
                    <a:pt x="328" y="440"/>
                  </a:cubicBezTo>
                  <a:cubicBezTo>
                    <a:pt x="288" y="440"/>
                    <a:pt x="288" y="440"/>
                    <a:pt x="288" y="440"/>
                  </a:cubicBezTo>
                  <a:cubicBezTo>
                    <a:pt x="288" y="405"/>
                    <a:pt x="288" y="405"/>
                    <a:pt x="288" y="405"/>
                  </a:cubicBezTo>
                  <a:cubicBezTo>
                    <a:pt x="288" y="401"/>
                    <a:pt x="287" y="398"/>
                    <a:pt x="285" y="395"/>
                  </a:cubicBezTo>
                  <a:cubicBezTo>
                    <a:pt x="246" y="349"/>
                    <a:pt x="225" y="296"/>
                    <a:pt x="225" y="246"/>
                  </a:cubicBezTo>
                  <a:close/>
                  <a:moveTo>
                    <a:pt x="321" y="555"/>
                  </a:moveTo>
                  <a:cubicBezTo>
                    <a:pt x="519" y="555"/>
                    <a:pt x="519" y="555"/>
                    <a:pt x="519" y="555"/>
                  </a:cubicBezTo>
                  <a:cubicBezTo>
                    <a:pt x="526" y="555"/>
                    <a:pt x="533" y="554"/>
                    <a:pt x="540" y="551"/>
                  </a:cubicBezTo>
                  <a:cubicBezTo>
                    <a:pt x="420" y="604"/>
                    <a:pt x="420" y="604"/>
                    <a:pt x="420" y="604"/>
                  </a:cubicBezTo>
                  <a:cubicBezTo>
                    <a:pt x="303" y="553"/>
                    <a:pt x="303" y="553"/>
                    <a:pt x="303" y="553"/>
                  </a:cubicBezTo>
                  <a:cubicBezTo>
                    <a:pt x="309" y="554"/>
                    <a:pt x="315" y="555"/>
                    <a:pt x="321" y="555"/>
                  </a:cubicBezTo>
                  <a:close/>
                  <a:moveTo>
                    <a:pt x="775" y="803"/>
                  </a:moveTo>
                  <a:cubicBezTo>
                    <a:pt x="767" y="803"/>
                    <a:pt x="760" y="810"/>
                    <a:pt x="760" y="819"/>
                  </a:cubicBezTo>
                  <a:cubicBezTo>
                    <a:pt x="760" y="843"/>
                    <a:pt x="760" y="843"/>
                    <a:pt x="760" y="843"/>
                  </a:cubicBezTo>
                  <a:cubicBezTo>
                    <a:pt x="760" y="859"/>
                    <a:pt x="756" y="886"/>
                    <a:pt x="726" y="886"/>
                  </a:cubicBezTo>
                  <a:cubicBezTo>
                    <a:pt x="701" y="886"/>
                    <a:pt x="683" y="868"/>
                    <a:pt x="683" y="843"/>
                  </a:cubicBezTo>
                  <a:cubicBezTo>
                    <a:pt x="683" y="842"/>
                    <a:pt x="684" y="840"/>
                    <a:pt x="685" y="838"/>
                  </a:cubicBezTo>
                  <a:cubicBezTo>
                    <a:pt x="688" y="833"/>
                    <a:pt x="691" y="826"/>
                    <a:pt x="691" y="819"/>
                  </a:cubicBezTo>
                  <a:cubicBezTo>
                    <a:pt x="691" y="813"/>
                    <a:pt x="688" y="807"/>
                    <a:pt x="682" y="805"/>
                  </a:cubicBezTo>
                  <a:cubicBezTo>
                    <a:pt x="426" y="689"/>
                    <a:pt x="426" y="689"/>
                    <a:pt x="426" y="689"/>
                  </a:cubicBezTo>
                  <a:cubicBezTo>
                    <a:pt x="424" y="688"/>
                    <a:pt x="422" y="688"/>
                    <a:pt x="420" y="688"/>
                  </a:cubicBezTo>
                  <a:cubicBezTo>
                    <a:pt x="418" y="688"/>
                    <a:pt x="416" y="688"/>
                    <a:pt x="414" y="689"/>
                  </a:cubicBezTo>
                  <a:cubicBezTo>
                    <a:pt x="149" y="805"/>
                    <a:pt x="149" y="805"/>
                    <a:pt x="149" y="805"/>
                  </a:cubicBezTo>
                  <a:cubicBezTo>
                    <a:pt x="145" y="807"/>
                    <a:pt x="142" y="811"/>
                    <a:pt x="141" y="816"/>
                  </a:cubicBezTo>
                  <a:cubicBezTo>
                    <a:pt x="140" y="821"/>
                    <a:pt x="141" y="826"/>
                    <a:pt x="145" y="829"/>
                  </a:cubicBezTo>
                  <a:cubicBezTo>
                    <a:pt x="149" y="833"/>
                    <a:pt x="149" y="835"/>
                    <a:pt x="149" y="843"/>
                  </a:cubicBezTo>
                  <a:cubicBezTo>
                    <a:pt x="149" y="868"/>
                    <a:pt x="131" y="886"/>
                    <a:pt x="106" y="886"/>
                  </a:cubicBezTo>
                  <a:cubicBezTo>
                    <a:pt x="90" y="886"/>
                    <a:pt x="71" y="868"/>
                    <a:pt x="71" y="843"/>
                  </a:cubicBezTo>
                  <a:cubicBezTo>
                    <a:pt x="71" y="835"/>
                    <a:pt x="72" y="833"/>
                    <a:pt x="75" y="829"/>
                  </a:cubicBezTo>
                  <a:cubicBezTo>
                    <a:pt x="80" y="825"/>
                    <a:pt x="81" y="818"/>
                    <a:pt x="78" y="813"/>
                  </a:cubicBezTo>
                  <a:cubicBezTo>
                    <a:pt x="76" y="807"/>
                    <a:pt x="71" y="803"/>
                    <a:pt x="65" y="803"/>
                  </a:cubicBezTo>
                  <a:cubicBezTo>
                    <a:pt x="41" y="803"/>
                    <a:pt x="30" y="786"/>
                    <a:pt x="30" y="769"/>
                  </a:cubicBezTo>
                  <a:cubicBezTo>
                    <a:pt x="30" y="745"/>
                    <a:pt x="47" y="734"/>
                    <a:pt x="65" y="734"/>
                  </a:cubicBezTo>
                  <a:cubicBezTo>
                    <a:pt x="75" y="734"/>
                    <a:pt x="99" y="736"/>
                    <a:pt x="99" y="752"/>
                  </a:cubicBezTo>
                  <a:cubicBezTo>
                    <a:pt x="99" y="758"/>
                    <a:pt x="102" y="762"/>
                    <a:pt x="106" y="765"/>
                  </a:cubicBezTo>
                  <a:cubicBezTo>
                    <a:pt x="110" y="768"/>
                    <a:pt x="116" y="768"/>
                    <a:pt x="120" y="766"/>
                  </a:cubicBezTo>
                  <a:cubicBezTo>
                    <a:pt x="327" y="675"/>
                    <a:pt x="327" y="675"/>
                    <a:pt x="327" y="675"/>
                  </a:cubicBezTo>
                  <a:cubicBezTo>
                    <a:pt x="332" y="673"/>
                    <a:pt x="336" y="667"/>
                    <a:pt x="336" y="661"/>
                  </a:cubicBezTo>
                  <a:cubicBezTo>
                    <a:pt x="336" y="655"/>
                    <a:pt x="332" y="650"/>
                    <a:pt x="326" y="648"/>
                  </a:cubicBezTo>
                  <a:cubicBezTo>
                    <a:pt x="120" y="565"/>
                    <a:pt x="120" y="565"/>
                    <a:pt x="120" y="565"/>
                  </a:cubicBezTo>
                  <a:cubicBezTo>
                    <a:pt x="113" y="562"/>
                    <a:pt x="104" y="565"/>
                    <a:pt x="101" y="572"/>
                  </a:cubicBezTo>
                  <a:cubicBezTo>
                    <a:pt x="97" y="579"/>
                    <a:pt x="90" y="589"/>
                    <a:pt x="65" y="589"/>
                  </a:cubicBezTo>
                  <a:cubicBezTo>
                    <a:pt x="48" y="589"/>
                    <a:pt x="30" y="571"/>
                    <a:pt x="30" y="546"/>
                  </a:cubicBezTo>
                  <a:cubicBezTo>
                    <a:pt x="30" y="529"/>
                    <a:pt x="41" y="512"/>
                    <a:pt x="65" y="512"/>
                  </a:cubicBezTo>
                  <a:cubicBezTo>
                    <a:pt x="71" y="512"/>
                    <a:pt x="76" y="508"/>
                    <a:pt x="78" y="502"/>
                  </a:cubicBezTo>
                  <a:cubicBezTo>
                    <a:pt x="81" y="497"/>
                    <a:pt x="80" y="490"/>
                    <a:pt x="75" y="486"/>
                  </a:cubicBezTo>
                  <a:cubicBezTo>
                    <a:pt x="72" y="482"/>
                    <a:pt x="71" y="480"/>
                    <a:pt x="71" y="472"/>
                  </a:cubicBezTo>
                  <a:cubicBezTo>
                    <a:pt x="71" y="455"/>
                    <a:pt x="89" y="437"/>
                    <a:pt x="106" y="437"/>
                  </a:cubicBezTo>
                  <a:cubicBezTo>
                    <a:pt x="130" y="437"/>
                    <a:pt x="149" y="456"/>
                    <a:pt x="149" y="472"/>
                  </a:cubicBezTo>
                  <a:cubicBezTo>
                    <a:pt x="149" y="479"/>
                    <a:pt x="147" y="483"/>
                    <a:pt x="145" y="488"/>
                  </a:cubicBezTo>
                  <a:cubicBezTo>
                    <a:pt x="143" y="493"/>
                    <a:pt x="140" y="498"/>
                    <a:pt x="140" y="505"/>
                  </a:cubicBezTo>
                  <a:cubicBezTo>
                    <a:pt x="140" y="511"/>
                    <a:pt x="144" y="516"/>
                    <a:pt x="149" y="519"/>
                  </a:cubicBezTo>
                  <a:cubicBezTo>
                    <a:pt x="414" y="634"/>
                    <a:pt x="414" y="634"/>
                    <a:pt x="414" y="634"/>
                  </a:cubicBezTo>
                  <a:cubicBezTo>
                    <a:pt x="418" y="636"/>
                    <a:pt x="422" y="636"/>
                    <a:pt x="426" y="634"/>
                  </a:cubicBezTo>
                  <a:cubicBezTo>
                    <a:pt x="690" y="519"/>
                    <a:pt x="690" y="519"/>
                    <a:pt x="690" y="519"/>
                  </a:cubicBezTo>
                  <a:cubicBezTo>
                    <a:pt x="695" y="517"/>
                    <a:pt x="698" y="512"/>
                    <a:pt x="699" y="508"/>
                  </a:cubicBezTo>
                  <a:cubicBezTo>
                    <a:pt x="700" y="503"/>
                    <a:pt x="698" y="498"/>
                    <a:pt x="695" y="494"/>
                  </a:cubicBezTo>
                  <a:cubicBezTo>
                    <a:pt x="687" y="486"/>
                    <a:pt x="683" y="482"/>
                    <a:pt x="683" y="472"/>
                  </a:cubicBezTo>
                  <a:cubicBezTo>
                    <a:pt x="683" y="456"/>
                    <a:pt x="701" y="437"/>
                    <a:pt x="726" y="437"/>
                  </a:cubicBezTo>
                  <a:cubicBezTo>
                    <a:pt x="750" y="437"/>
                    <a:pt x="760" y="455"/>
                    <a:pt x="760" y="472"/>
                  </a:cubicBezTo>
                  <a:cubicBezTo>
                    <a:pt x="760" y="497"/>
                    <a:pt x="760" y="497"/>
                    <a:pt x="760" y="497"/>
                  </a:cubicBezTo>
                  <a:cubicBezTo>
                    <a:pt x="760" y="505"/>
                    <a:pt x="767" y="512"/>
                    <a:pt x="775" y="512"/>
                  </a:cubicBezTo>
                  <a:cubicBezTo>
                    <a:pt x="792" y="512"/>
                    <a:pt x="810" y="530"/>
                    <a:pt x="810" y="546"/>
                  </a:cubicBezTo>
                  <a:cubicBezTo>
                    <a:pt x="810" y="571"/>
                    <a:pt x="792" y="589"/>
                    <a:pt x="767" y="589"/>
                  </a:cubicBezTo>
                  <a:cubicBezTo>
                    <a:pt x="755" y="589"/>
                    <a:pt x="742" y="582"/>
                    <a:pt x="728" y="569"/>
                  </a:cubicBezTo>
                  <a:cubicBezTo>
                    <a:pt x="724" y="564"/>
                    <a:pt x="717" y="563"/>
                    <a:pt x="712" y="565"/>
                  </a:cubicBezTo>
                  <a:cubicBezTo>
                    <a:pt x="505" y="648"/>
                    <a:pt x="505" y="648"/>
                    <a:pt x="505" y="648"/>
                  </a:cubicBezTo>
                  <a:cubicBezTo>
                    <a:pt x="500" y="650"/>
                    <a:pt x="496" y="655"/>
                    <a:pt x="496" y="661"/>
                  </a:cubicBezTo>
                  <a:cubicBezTo>
                    <a:pt x="496" y="667"/>
                    <a:pt x="499" y="673"/>
                    <a:pt x="505" y="675"/>
                  </a:cubicBezTo>
                  <a:cubicBezTo>
                    <a:pt x="711" y="766"/>
                    <a:pt x="711" y="766"/>
                    <a:pt x="711" y="766"/>
                  </a:cubicBezTo>
                  <a:cubicBezTo>
                    <a:pt x="715" y="768"/>
                    <a:pt x="720" y="768"/>
                    <a:pt x="723" y="766"/>
                  </a:cubicBezTo>
                  <a:cubicBezTo>
                    <a:pt x="727" y="764"/>
                    <a:pt x="730" y="761"/>
                    <a:pt x="732" y="757"/>
                  </a:cubicBezTo>
                  <a:cubicBezTo>
                    <a:pt x="737" y="740"/>
                    <a:pt x="746" y="734"/>
                    <a:pt x="767" y="734"/>
                  </a:cubicBezTo>
                  <a:cubicBezTo>
                    <a:pt x="783" y="734"/>
                    <a:pt x="810" y="739"/>
                    <a:pt x="810" y="769"/>
                  </a:cubicBezTo>
                  <a:cubicBezTo>
                    <a:pt x="810" y="785"/>
                    <a:pt x="792" y="803"/>
                    <a:pt x="775" y="80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37" name="Group 69">
            <a:extLst>
              <a:ext uri="{FF2B5EF4-FFF2-40B4-BE49-F238E27FC236}">
                <a16:creationId xmlns:a16="http://schemas.microsoft.com/office/drawing/2014/main" id="{86F115A1-0D16-4AC8-B2BE-43A5DA8A45BF}"/>
              </a:ext>
            </a:extLst>
          </p:cNvPr>
          <p:cNvGrpSpPr>
            <a:grpSpLocks noChangeAspect="1"/>
          </p:cNvGrpSpPr>
          <p:nvPr/>
        </p:nvGrpSpPr>
        <p:grpSpPr bwMode="auto">
          <a:xfrm>
            <a:off x="6757387" y="2063935"/>
            <a:ext cx="356421" cy="356701"/>
            <a:chOff x="2278" y="1021"/>
            <a:chExt cx="2544" cy="2546"/>
          </a:xfrm>
        </p:grpSpPr>
        <p:sp>
          <p:nvSpPr>
            <p:cNvPr id="38" name="Freeform 70">
              <a:extLst>
                <a:ext uri="{FF2B5EF4-FFF2-40B4-BE49-F238E27FC236}">
                  <a16:creationId xmlns:a16="http://schemas.microsoft.com/office/drawing/2014/main" id="{89031647-BF09-4003-8F8D-0FE2D4C22C3E}"/>
                </a:ext>
              </a:extLst>
            </p:cNvPr>
            <p:cNvSpPr>
              <a:spLocks/>
            </p:cNvSpPr>
            <p:nvPr/>
          </p:nvSpPr>
          <p:spPr bwMode="auto">
            <a:xfrm>
              <a:off x="2278" y="1021"/>
              <a:ext cx="2544" cy="2546"/>
            </a:xfrm>
            <a:custGeom>
              <a:avLst/>
              <a:gdLst>
                <a:gd name="T0" fmla="*/ 720 w 1440"/>
                <a:gd name="T1" fmla="*/ 0 h 1440"/>
                <a:gd name="T2" fmla="*/ 0 w 1440"/>
                <a:gd name="T3" fmla="*/ 720 h 1440"/>
                <a:gd name="T4" fmla="*/ 705 w 1440"/>
                <a:gd name="T5" fmla="*/ 1439 h 1440"/>
                <a:gd name="T6" fmla="*/ 720 w 1440"/>
                <a:gd name="T7" fmla="*/ 1440 h 1440"/>
                <a:gd name="T8" fmla="*/ 1439 w 1440"/>
                <a:gd name="T9" fmla="*/ 762 h 1440"/>
                <a:gd name="T10" fmla="*/ 1440 w 1440"/>
                <a:gd name="T11" fmla="*/ 720 h 1440"/>
                <a:gd name="T12" fmla="*/ 720 w 1440"/>
                <a:gd name="T13" fmla="*/ 0 h 1440"/>
              </a:gdLst>
              <a:ahLst/>
              <a:cxnLst>
                <a:cxn ang="0">
                  <a:pos x="T0" y="T1"/>
                </a:cxn>
                <a:cxn ang="0">
                  <a:pos x="T2" y="T3"/>
                </a:cxn>
                <a:cxn ang="0">
                  <a:pos x="T4" y="T5"/>
                </a:cxn>
                <a:cxn ang="0">
                  <a:pos x="T6" y="T7"/>
                </a:cxn>
                <a:cxn ang="0">
                  <a:pos x="T8" y="T9"/>
                </a:cxn>
                <a:cxn ang="0">
                  <a:pos x="T10" y="T11"/>
                </a:cxn>
                <a:cxn ang="0">
                  <a:pos x="T12" y="T13"/>
                </a:cxn>
              </a:cxnLst>
              <a:rect l="0" t="0" r="r" b="b"/>
              <a:pathLst>
                <a:path w="1440" h="1440">
                  <a:moveTo>
                    <a:pt x="720" y="0"/>
                  </a:moveTo>
                  <a:cubicBezTo>
                    <a:pt x="323" y="0"/>
                    <a:pt x="0" y="322"/>
                    <a:pt x="0" y="720"/>
                  </a:cubicBezTo>
                  <a:cubicBezTo>
                    <a:pt x="0" y="1112"/>
                    <a:pt x="314" y="1431"/>
                    <a:pt x="705" y="1439"/>
                  </a:cubicBezTo>
                  <a:cubicBezTo>
                    <a:pt x="710" y="1440"/>
                    <a:pt x="715" y="1440"/>
                    <a:pt x="720" y="1440"/>
                  </a:cubicBezTo>
                  <a:cubicBezTo>
                    <a:pt x="1104" y="1440"/>
                    <a:pt x="1417" y="1140"/>
                    <a:pt x="1439" y="762"/>
                  </a:cubicBezTo>
                  <a:cubicBezTo>
                    <a:pt x="1440" y="748"/>
                    <a:pt x="1440" y="734"/>
                    <a:pt x="1440" y="720"/>
                  </a:cubicBezTo>
                  <a:cubicBezTo>
                    <a:pt x="1440" y="322"/>
                    <a:pt x="1118" y="0"/>
                    <a:pt x="720"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9" name="Freeform 71">
              <a:extLst>
                <a:ext uri="{FF2B5EF4-FFF2-40B4-BE49-F238E27FC236}">
                  <a16:creationId xmlns:a16="http://schemas.microsoft.com/office/drawing/2014/main" id="{9BD777BA-5D0C-48E6-ABC0-08079F0B6246}"/>
                </a:ext>
              </a:extLst>
            </p:cNvPr>
            <p:cNvSpPr>
              <a:spLocks/>
            </p:cNvSpPr>
            <p:nvPr/>
          </p:nvSpPr>
          <p:spPr bwMode="auto">
            <a:xfrm>
              <a:off x="3199" y="1503"/>
              <a:ext cx="689" cy="725"/>
            </a:xfrm>
            <a:custGeom>
              <a:avLst/>
              <a:gdLst>
                <a:gd name="T0" fmla="*/ 63 w 390"/>
                <a:gd name="T1" fmla="*/ 375 h 410"/>
                <a:gd name="T2" fmla="*/ 63 w 390"/>
                <a:gd name="T3" fmla="*/ 410 h 410"/>
                <a:gd name="T4" fmla="*/ 103 w 390"/>
                <a:gd name="T5" fmla="*/ 410 h 410"/>
                <a:gd name="T6" fmla="*/ 103 w 390"/>
                <a:gd name="T7" fmla="*/ 390 h 410"/>
                <a:gd name="T8" fmla="*/ 118 w 390"/>
                <a:gd name="T9" fmla="*/ 375 h 410"/>
                <a:gd name="T10" fmla="*/ 133 w 390"/>
                <a:gd name="T11" fmla="*/ 390 h 410"/>
                <a:gd name="T12" fmla="*/ 133 w 390"/>
                <a:gd name="T13" fmla="*/ 410 h 410"/>
                <a:gd name="T14" fmla="*/ 177 w 390"/>
                <a:gd name="T15" fmla="*/ 410 h 410"/>
                <a:gd name="T16" fmla="*/ 177 w 390"/>
                <a:gd name="T17" fmla="*/ 390 h 410"/>
                <a:gd name="T18" fmla="*/ 192 w 390"/>
                <a:gd name="T19" fmla="*/ 375 h 410"/>
                <a:gd name="T20" fmla="*/ 207 w 390"/>
                <a:gd name="T21" fmla="*/ 390 h 410"/>
                <a:gd name="T22" fmla="*/ 207 w 390"/>
                <a:gd name="T23" fmla="*/ 410 h 410"/>
                <a:gd name="T24" fmla="*/ 251 w 390"/>
                <a:gd name="T25" fmla="*/ 410 h 410"/>
                <a:gd name="T26" fmla="*/ 251 w 390"/>
                <a:gd name="T27" fmla="*/ 390 h 410"/>
                <a:gd name="T28" fmla="*/ 266 w 390"/>
                <a:gd name="T29" fmla="*/ 375 h 410"/>
                <a:gd name="T30" fmla="*/ 281 w 390"/>
                <a:gd name="T31" fmla="*/ 390 h 410"/>
                <a:gd name="T32" fmla="*/ 281 w 390"/>
                <a:gd name="T33" fmla="*/ 410 h 410"/>
                <a:gd name="T34" fmla="*/ 326 w 390"/>
                <a:gd name="T35" fmla="*/ 410 h 410"/>
                <a:gd name="T36" fmla="*/ 326 w 390"/>
                <a:gd name="T37" fmla="*/ 383 h 410"/>
                <a:gd name="T38" fmla="*/ 330 w 390"/>
                <a:gd name="T39" fmla="*/ 373 h 410"/>
                <a:gd name="T40" fmla="*/ 390 w 390"/>
                <a:gd name="T41" fmla="*/ 216 h 410"/>
                <a:gd name="T42" fmla="*/ 199 w 390"/>
                <a:gd name="T43" fmla="*/ 0 h 410"/>
                <a:gd name="T44" fmla="*/ 0 w 390"/>
                <a:gd name="T45" fmla="*/ 216 h 410"/>
                <a:gd name="T46" fmla="*/ 60 w 390"/>
                <a:gd name="T47" fmla="*/ 365 h 410"/>
                <a:gd name="T48" fmla="*/ 63 w 390"/>
                <a:gd name="T49" fmla="*/ 375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0" h="410">
                  <a:moveTo>
                    <a:pt x="63" y="375"/>
                  </a:moveTo>
                  <a:cubicBezTo>
                    <a:pt x="63" y="410"/>
                    <a:pt x="63" y="410"/>
                    <a:pt x="63" y="410"/>
                  </a:cubicBezTo>
                  <a:cubicBezTo>
                    <a:pt x="103" y="410"/>
                    <a:pt x="103" y="410"/>
                    <a:pt x="103" y="410"/>
                  </a:cubicBezTo>
                  <a:cubicBezTo>
                    <a:pt x="103" y="390"/>
                    <a:pt x="103" y="390"/>
                    <a:pt x="103" y="390"/>
                  </a:cubicBezTo>
                  <a:cubicBezTo>
                    <a:pt x="103" y="382"/>
                    <a:pt x="109" y="375"/>
                    <a:pt x="118" y="375"/>
                  </a:cubicBezTo>
                  <a:cubicBezTo>
                    <a:pt x="126" y="375"/>
                    <a:pt x="133" y="382"/>
                    <a:pt x="133" y="390"/>
                  </a:cubicBezTo>
                  <a:cubicBezTo>
                    <a:pt x="133" y="410"/>
                    <a:pt x="133" y="410"/>
                    <a:pt x="133" y="410"/>
                  </a:cubicBezTo>
                  <a:cubicBezTo>
                    <a:pt x="177" y="410"/>
                    <a:pt x="177" y="410"/>
                    <a:pt x="177" y="410"/>
                  </a:cubicBezTo>
                  <a:cubicBezTo>
                    <a:pt x="177" y="390"/>
                    <a:pt x="177" y="390"/>
                    <a:pt x="177" y="390"/>
                  </a:cubicBezTo>
                  <a:cubicBezTo>
                    <a:pt x="177" y="382"/>
                    <a:pt x="183" y="375"/>
                    <a:pt x="192" y="375"/>
                  </a:cubicBezTo>
                  <a:cubicBezTo>
                    <a:pt x="200" y="375"/>
                    <a:pt x="207" y="382"/>
                    <a:pt x="207" y="390"/>
                  </a:cubicBezTo>
                  <a:cubicBezTo>
                    <a:pt x="207" y="410"/>
                    <a:pt x="207" y="410"/>
                    <a:pt x="207" y="410"/>
                  </a:cubicBezTo>
                  <a:cubicBezTo>
                    <a:pt x="251" y="410"/>
                    <a:pt x="251" y="410"/>
                    <a:pt x="251" y="410"/>
                  </a:cubicBezTo>
                  <a:cubicBezTo>
                    <a:pt x="251" y="390"/>
                    <a:pt x="251" y="390"/>
                    <a:pt x="251" y="390"/>
                  </a:cubicBezTo>
                  <a:cubicBezTo>
                    <a:pt x="251" y="382"/>
                    <a:pt x="258" y="375"/>
                    <a:pt x="266" y="375"/>
                  </a:cubicBezTo>
                  <a:cubicBezTo>
                    <a:pt x="274" y="375"/>
                    <a:pt x="281" y="382"/>
                    <a:pt x="281" y="390"/>
                  </a:cubicBezTo>
                  <a:cubicBezTo>
                    <a:pt x="281" y="410"/>
                    <a:pt x="281" y="410"/>
                    <a:pt x="281" y="410"/>
                  </a:cubicBezTo>
                  <a:cubicBezTo>
                    <a:pt x="326" y="410"/>
                    <a:pt x="326" y="410"/>
                    <a:pt x="326" y="410"/>
                  </a:cubicBezTo>
                  <a:cubicBezTo>
                    <a:pt x="326" y="383"/>
                    <a:pt x="326" y="383"/>
                    <a:pt x="326" y="383"/>
                  </a:cubicBezTo>
                  <a:cubicBezTo>
                    <a:pt x="326" y="379"/>
                    <a:pt x="328" y="376"/>
                    <a:pt x="330" y="373"/>
                  </a:cubicBezTo>
                  <a:cubicBezTo>
                    <a:pt x="370" y="325"/>
                    <a:pt x="390" y="272"/>
                    <a:pt x="390" y="216"/>
                  </a:cubicBezTo>
                  <a:cubicBezTo>
                    <a:pt x="390" y="99"/>
                    <a:pt x="302" y="0"/>
                    <a:pt x="199" y="0"/>
                  </a:cubicBezTo>
                  <a:cubicBezTo>
                    <a:pt x="89" y="0"/>
                    <a:pt x="0" y="97"/>
                    <a:pt x="0" y="216"/>
                  </a:cubicBezTo>
                  <a:cubicBezTo>
                    <a:pt x="0" y="266"/>
                    <a:pt x="21" y="319"/>
                    <a:pt x="60" y="365"/>
                  </a:cubicBezTo>
                  <a:cubicBezTo>
                    <a:pt x="62" y="368"/>
                    <a:pt x="63" y="371"/>
                    <a:pt x="63" y="375"/>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 name="Freeform 72">
              <a:extLst>
                <a:ext uri="{FF2B5EF4-FFF2-40B4-BE49-F238E27FC236}">
                  <a16:creationId xmlns:a16="http://schemas.microsoft.com/office/drawing/2014/main" id="{AC04DCCE-038E-4711-93CF-5AAF08D62E13}"/>
                </a:ext>
              </a:extLst>
            </p:cNvPr>
            <p:cNvSpPr>
              <a:spLocks/>
            </p:cNvSpPr>
            <p:nvPr/>
          </p:nvSpPr>
          <p:spPr bwMode="auto">
            <a:xfrm>
              <a:off x="3310" y="2281"/>
              <a:ext cx="465" cy="98"/>
            </a:xfrm>
            <a:custGeom>
              <a:avLst/>
              <a:gdLst>
                <a:gd name="T0" fmla="*/ 263 w 263"/>
                <a:gd name="T1" fmla="*/ 22 h 55"/>
                <a:gd name="T2" fmla="*/ 263 w 263"/>
                <a:gd name="T3" fmla="*/ 0 h 55"/>
                <a:gd name="T4" fmla="*/ 218 w 263"/>
                <a:gd name="T5" fmla="*/ 0 h 55"/>
                <a:gd name="T6" fmla="*/ 218 w 263"/>
                <a:gd name="T7" fmla="*/ 16 h 55"/>
                <a:gd name="T8" fmla="*/ 203 w 263"/>
                <a:gd name="T9" fmla="*/ 31 h 55"/>
                <a:gd name="T10" fmla="*/ 188 w 263"/>
                <a:gd name="T11" fmla="*/ 16 h 55"/>
                <a:gd name="T12" fmla="*/ 188 w 263"/>
                <a:gd name="T13" fmla="*/ 0 h 55"/>
                <a:gd name="T14" fmla="*/ 144 w 263"/>
                <a:gd name="T15" fmla="*/ 0 h 55"/>
                <a:gd name="T16" fmla="*/ 144 w 263"/>
                <a:gd name="T17" fmla="*/ 16 h 55"/>
                <a:gd name="T18" fmla="*/ 129 w 263"/>
                <a:gd name="T19" fmla="*/ 31 h 55"/>
                <a:gd name="T20" fmla="*/ 114 w 263"/>
                <a:gd name="T21" fmla="*/ 16 h 55"/>
                <a:gd name="T22" fmla="*/ 114 w 263"/>
                <a:gd name="T23" fmla="*/ 0 h 55"/>
                <a:gd name="T24" fmla="*/ 70 w 263"/>
                <a:gd name="T25" fmla="*/ 0 h 55"/>
                <a:gd name="T26" fmla="*/ 70 w 263"/>
                <a:gd name="T27" fmla="*/ 16 h 55"/>
                <a:gd name="T28" fmla="*/ 55 w 263"/>
                <a:gd name="T29" fmla="*/ 31 h 55"/>
                <a:gd name="T30" fmla="*/ 40 w 263"/>
                <a:gd name="T31" fmla="*/ 16 h 55"/>
                <a:gd name="T32" fmla="*/ 40 w 263"/>
                <a:gd name="T33" fmla="*/ 0 h 55"/>
                <a:gd name="T34" fmla="*/ 0 w 263"/>
                <a:gd name="T35" fmla="*/ 0 h 55"/>
                <a:gd name="T36" fmla="*/ 0 w 263"/>
                <a:gd name="T37" fmla="*/ 22 h 55"/>
                <a:gd name="T38" fmla="*/ 33 w 263"/>
                <a:gd name="T39" fmla="*/ 55 h 55"/>
                <a:gd name="T40" fmla="*/ 231 w 263"/>
                <a:gd name="T41" fmla="*/ 55 h 55"/>
                <a:gd name="T42" fmla="*/ 263 w 263"/>
                <a:gd name="T43" fmla="*/ 2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3" h="55">
                  <a:moveTo>
                    <a:pt x="263" y="22"/>
                  </a:moveTo>
                  <a:cubicBezTo>
                    <a:pt x="263" y="0"/>
                    <a:pt x="263" y="0"/>
                    <a:pt x="263" y="0"/>
                  </a:cubicBezTo>
                  <a:cubicBezTo>
                    <a:pt x="218" y="0"/>
                    <a:pt x="218" y="0"/>
                    <a:pt x="218" y="0"/>
                  </a:cubicBezTo>
                  <a:cubicBezTo>
                    <a:pt x="218" y="16"/>
                    <a:pt x="218" y="16"/>
                    <a:pt x="218" y="16"/>
                  </a:cubicBezTo>
                  <a:cubicBezTo>
                    <a:pt x="218" y="24"/>
                    <a:pt x="211" y="31"/>
                    <a:pt x="203" y="31"/>
                  </a:cubicBezTo>
                  <a:cubicBezTo>
                    <a:pt x="195" y="31"/>
                    <a:pt x="188" y="24"/>
                    <a:pt x="188" y="16"/>
                  </a:cubicBezTo>
                  <a:cubicBezTo>
                    <a:pt x="188" y="0"/>
                    <a:pt x="188" y="0"/>
                    <a:pt x="188" y="0"/>
                  </a:cubicBezTo>
                  <a:cubicBezTo>
                    <a:pt x="144" y="0"/>
                    <a:pt x="144" y="0"/>
                    <a:pt x="144" y="0"/>
                  </a:cubicBezTo>
                  <a:cubicBezTo>
                    <a:pt x="144" y="16"/>
                    <a:pt x="144" y="16"/>
                    <a:pt x="144" y="16"/>
                  </a:cubicBezTo>
                  <a:cubicBezTo>
                    <a:pt x="144" y="24"/>
                    <a:pt x="137" y="31"/>
                    <a:pt x="129" y="31"/>
                  </a:cubicBezTo>
                  <a:cubicBezTo>
                    <a:pt x="120" y="31"/>
                    <a:pt x="114" y="24"/>
                    <a:pt x="114" y="16"/>
                  </a:cubicBezTo>
                  <a:cubicBezTo>
                    <a:pt x="114" y="0"/>
                    <a:pt x="114" y="0"/>
                    <a:pt x="114" y="0"/>
                  </a:cubicBezTo>
                  <a:cubicBezTo>
                    <a:pt x="70" y="0"/>
                    <a:pt x="70" y="0"/>
                    <a:pt x="70" y="0"/>
                  </a:cubicBezTo>
                  <a:cubicBezTo>
                    <a:pt x="70" y="16"/>
                    <a:pt x="70" y="16"/>
                    <a:pt x="70" y="16"/>
                  </a:cubicBezTo>
                  <a:cubicBezTo>
                    <a:pt x="70" y="24"/>
                    <a:pt x="63" y="31"/>
                    <a:pt x="55" y="31"/>
                  </a:cubicBezTo>
                  <a:cubicBezTo>
                    <a:pt x="46" y="31"/>
                    <a:pt x="40" y="24"/>
                    <a:pt x="40" y="16"/>
                  </a:cubicBezTo>
                  <a:cubicBezTo>
                    <a:pt x="40" y="0"/>
                    <a:pt x="40" y="0"/>
                    <a:pt x="40" y="0"/>
                  </a:cubicBezTo>
                  <a:cubicBezTo>
                    <a:pt x="0" y="0"/>
                    <a:pt x="0" y="0"/>
                    <a:pt x="0" y="0"/>
                  </a:cubicBezTo>
                  <a:cubicBezTo>
                    <a:pt x="0" y="22"/>
                    <a:pt x="0" y="22"/>
                    <a:pt x="0" y="22"/>
                  </a:cubicBezTo>
                  <a:cubicBezTo>
                    <a:pt x="0" y="46"/>
                    <a:pt x="10" y="55"/>
                    <a:pt x="33" y="55"/>
                  </a:cubicBezTo>
                  <a:cubicBezTo>
                    <a:pt x="231" y="55"/>
                    <a:pt x="231" y="55"/>
                    <a:pt x="231" y="55"/>
                  </a:cubicBezTo>
                  <a:cubicBezTo>
                    <a:pt x="247" y="55"/>
                    <a:pt x="263" y="45"/>
                    <a:pt x="263" y="2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 name="Freeform 74">
              <a:extLst>
                <a:ext uri="{FF2B5EF4-FFF2-40B4-BE49-F238E27FC236}">
                  <a16:creationId xmlns:a16="http://schemas.microsoft.com/office/drawing/2014/main" id="{E9D7BE86-5166-4A25-864A-00DA513FC70F}"/>
                </a:ext>
              </a:extLst>
            </p:cNvPr>
            <p:cNvSpPr>
              <a:spLocks/>
            </p:cNvSpPr>
            <p:nvPr/>
          </p:nvSpPr>
          <p:spPr bwMode="auto">
            <a:xfrm>
              <a:off x="2854" y="2223"/>
              <a:ext cx="1378" cy="794"/>
            </a:xfrm>
            <a:custGeom>
              <a:avLst/>
              <a:gdLst>
                <a:gd name="T0" fmla="*/ 384 w 780"/>
                <a:gd name="T1" fmla="*/ 252 h 449"/>
                <a:gd name="T2" fmla="*/ 396 w 780"/>
                <a:gd name="T3" fmla="*/ 252 h 449"/>
                <a:gd name="T4" fmla="*/ 661 w 780"/>
                <a:gd name="T5" fmla="*/ 382 h 449"/>
                <a:gd name="T6" fmla="*/ 653 w 780"/>
                <a:gd name="T7" fmla="*/ 406 h 449"/>
                <a:gd name="T8" fmla="*/ 730 w 780"/>
                <a:gd name="T9" fmla="*/ 406 h 449"/>
                <a:gd name="T10" fmla="*/ 745 w 780"/>
                <a:gd name="T11" fmla="*/ 366 h 449"/>
                <a:gd name="T12" fmla="*/ 737 w 780"/>
                <a:gd name="T13" fmla="*/ 297 h 449"/>
                <a:gd name="T14" fmla="*/ 693 w 780"/>
                <a:gd name="T15" fmla="*/ 329 h 449"/>
                <a:gd name="T16" fmla="*/ 475 w 780"/>
                <a:gd name="T17" fmla="*/ 238 h 449"/>
                <a:gd name="T18" fmla="*/ 475 w 780"/>
                <a:gd name="T19" fmla="*/ 211 h 449"/>
                <a:gd name="T20" fmla="*/ 698 w 780"/>
                <a:gd name="T21" fmla="*/ 132 h 449"/>
                <a:gd name="T22" fmla="*/ 780 w 780"/>
                <a:gd name="T23" fmla="*/ 109 h 449"/>
                <a:gd name="T24" fmla="*/ 730 w 780"/>
                <a:gd name="T25" fmla="*/ 60 h 449"/>
                <a:gd name="T26" fmla="*/ 696 w 780"/>
                <a:gd name="T27" fmla="*/ 0 h 449"/>
                <a:gd name="T28" fmla="*/ 665 w 780"/>
                <a:gd name="T29" fmla="*/ 57 h 449"/>
                <a:gd name="T30" fmla="*/ 660 w 780"/>
                <a:gd name="T31" fmla="*/ 82 h 449"/>
                <a:gd name="T32" fmla="*/ 384 w 780"/>
                <a:gd name="T33" fmla="*/ 197 h 449"/>
                <a:gd name="T34" fmla="*/ 110 w 780"/>
                <a:gd name="T35" fmla="*/ 68 h 449"/>
                <a:gd name="T36" fmla="*/ 119 w 780"/>
                <a:gd name="T37" fmla="*/ 35 h 449"/>
                <a:gd name="T38" fmla="*/ 41 w 780"/>
                <a:gd name="T39" fmla="*/ 35 h 449"/>
                <a:gd name="T40" fmla="*/ 48 w 780"/>
                <a:gd name="T41" fmla="*/ 65 h 449"/>
                <a:gd name="T42" fmla="*/ 0 w 780"/>
                <a:gd name="T43" fmla="*/ 109 h 449"/>
                <a:gd name="T44" fmla="*/ 71 w 780"/>
                <a:gd name="T45" fmla="*/ 135 h 449"/>
                <a:gd name="T46" fmla="*/ 296 w 780"/>
                <a:gd name="T47" fmla="*/ 211 h 449"/>
                <a:gd name="T48" fmla="*/ 297 w 780"/>
                <a:gd name="T49" fmla="*/ 238 h 449"/>
                <a:gd name="T50" fmla="*/ 76 w 780"/>
                <a:gd name="T51" fmla="*/ 328 h 449"/>
                <a:gd name="T52" fmla="*/ 35 w 780"/>
                <a:gd name="T53" fmla="*/ 297 h 449"/>
                <a:gd name="T54" fmla="*/ 35 w 780"/>
                <a:gd name="T55" fmla="*/ 366 h 449"/>
                <a:gd name="T56" fmla="*/ 45 w 780"/>
                <a:gd name="T57" fmla="*/ 392 h 449"/>
                <a:gd name="T58" fmla="*/ 76 w 780"/>
                <a:gd name="T59" fmla="*/ 449 h 449"/>
                <a:gd name="T60" fmla="*/ 115 w 780"/>
                <a:gd name="T61" fmla="*/ 392 h 449"/>
                <a:gd name="T62" fmla="*/ 119 w 780"/>
                <a:gd name="T63" fmla="*/ 368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0" h="449">
                  <a:moveTo>
                    <a:pt x="119" y="368"/>
                  </a:moveTo>
                  <a:cubicBezTo>
                    <a:pt x="384" y="252"/>
                    <a:pt x="384" y="252"/>
                    <a:pt x="384" y="252"/>
                  </a:cubicBezTo>
                  <a:cubicBezTo>
                    <a:pt x="386" y="251"/>
                    <a:pt x="388" y="251"/>
                    <a:pt x="390" y="251"/>
                  </a:cubicBezTo>
                  <a:cubicBezTo>
                    <a:pt x="392" y="251"/>
                    <a:pt x="394" y="251"/>
                    <a:pt x="396" y="252"/>
                  </a:cubicBezTo>
                  <a:cubicBezTo>
                    <a:pt x="652" y="368"/>
                    <a:pt x="652" y="368"/>
                    <a:pt x="652" y="368"/>
                  </a:cubicBezTo>
                  <a:cubicBezTo>
                    <a:pt x="658" y="370"/>
                    <a:pt x="661" y="376"/>
                    <a:pt x="661" y="382"/>
                  </a:cubicBezTo>
                  <a:cubicBezTo>
                    <a:pt x="661" y="389"/>
                    <a:pt x="658" y="396"/>
                    <a:pt x="655" y="401"/>
                  </a:cubicBezTo>
                  <a:cubicBezTo>
                    <a:pt x="654" y="403"/>
                    <a:pt x="653" y="405"/>
                    <a:pt x="653" y="406"/>
                  </a:cubicBezTo>
                  <a:cubicBezTo>
                    <a:pt x="653" y="431"/>
                    <a:pt x="671" y="449"/>
                    <a:pt x="696" y="449"/>
                  </a:cubicBezTo>
                  <a:cubicBezTo>
                    <a:pt x="726" y="449"/>
                    <a:pt x="730" y="422"/>
                    <a:pt x="730" y="406"/>
                  </a:cubicBezTo>
                  <a:cubicBezTo>
                    <a:pt x="730" y="382"/>
                    <a:pt x="730" y="382"/>
                    <a:pt x="730" y="382"/>
                  </a:cubicBezTo>
                  <a:cubicBezTo>
                    <a:pt x="730" y="373"/>
                    <a:pt x="737" y="366"/>
                    <a:pt x="745" y="366"/>
                  </a:cubicBezTo>
                  <a:cubicBezTo>
                    <a:pt x="762" y="366"/>
                    <a:pt x="780" y="348"/>
                    <a:pt x="780" y="332"/>
                  </a:cubicBezTo>
                  <a:cubicBezTo>
                    <a:pt x="780" y="302"/>
                    <a:pt x="753" y="297"/>
                    <a:pt x="737" y="297"/>
                  </a:cubicBezTo>
                  <a:cubicBezTo>
                    <a:pt x="716" y="297"/>
                    <a:pt x="707" y="303"/>
                    <a:pt x="702" y="320"/>
                  </a:cubicBezTo>
                  <a:cubicBezTo>
                    <a:pt x="700" y="324"/>
                    <a:pt x="697" y="327"/>
                    <a:pt x="693" y="329"/>
                  </a:cubicBezTo>
                  <a:cubicBezTo>
                    <a:pt x="690" y="331"/>
                    <a:pt x="685" y="331"/>
                    <a:pt x="681" y="329"/>
                  </a:cubicBezTo>
                  <a:cubicBezTo>
                    <a:pt x="475" y="238"/>
                    <a:pt x="475" y="238"/>
                    <a:pt x="475" y="238"/>
                  </a:cubicBezTo>
                  <a:cubicBezTo>
                    <a:pt x="469" y="236"/>
                    <a:pt x="466" y="230"/>
                    <a:pt x="466" y="224"/>
                  </a:cubicBezTo>
                  <a:cubicBezTo>
                    <a:pt x="466" y="218"/>
                    <a:pt x="470" y="213"/>
                    <a:pt x="475" y="211"/>
                  </a:cubicBezTo>
                  <a:cubicBezTo>
                    <a:pt x="682" y="128"/>
                    <a:pt x="682" y="128"/>
                    <a:pt x="682" y="128"/>
                  </a:cubicBezTo>
                  <a:cubicBezTo>
                    <a:pt x="687" y="126"/>
                    <a:pt x="694" y="127"/>
                    <a:pt x="698" y="132"/>
                  </a:cubicBezTo>
                  <a:cubicBezTo>
                    <a:pt x="712" y="145"/>
                    <a:pt x="725" y="152"/>
                    <a:pt x="737" y="152"/>
                  </a:cubicBezTo>
                  <a:cubicBezTo>
                    <a:pt x="762" y="152"/>
                    <a:pt x="780" y="134"/>
                    <a:pt x="780" y="109"/>
                  </a:cubicBezTo>
                  <a:cubicBezTo>
                    <a:pt x="780" y="93"/>
                    <a:pt x="762" y="75"/>
                    <a:pt x="745" y="75"/>
                  </a:cubicBezTo>
                  <a:cubicBezTo>
                    <a:pt x="737" y="75"/>
                    <a:pt x="730" y="68"/>
                    <a:pt x="730" y="60"/>
                  </a:cubicBezTo>
                  <a:cubicBezTo>
                    <a:pt x="730" y="35"/>
                    <a:pt x="730" y="35"/>
                    <a:pt x="730" y="35"/>
                  </a:cubicBezTo>
                  <a:cubicBezTo>
                    <a:pt x="730" y="18"/>
                    <a:pt x="720" y="0"/>
                    <a:pt x="696" y="0"/>
                  </a:cubicBezTo>
                  <a:cubicBezTo>
                    <a:pt x="671" y="0"/>
                    <a:pt x="653" y="19"/>
                    <a:pt x="653" y="35"/>
                  </a:cubicBezTo>
                  <a:cubicBezTo>
                    <a:pt x="653" y="45"/>
                    <a:pt x="657" y="49"/>
                    <a:pt x="665" y="57"/>
                  </a:cubicBezTo>
                  <a:cubicBezTo>
                    <a:pt x="668" y="61"/>
                    <a:pt x="670" y="66"/>
                    <a:pt x="669" y="71"/>
                  </a:cubicBezTo>
                  <a:cubicBezTo>
                    <a:pt x="668" y="75"/>
                    <a:pt x="665" y="80"/>
                    <a:pt x="660" y="82"/>
                  </a:cubicBezTo>
                  <a:cubicBezTo>
                    <a:pt x="396" y="197"/>
                    <a:pt x="396" y="197"/>
                    <a:pt x="396" y="197"/>
                  </a:cubicBezTo>
                  <a:cubicBezTo>
                    <a:pt x="392" y="199"/>
                    <a:pt x="388" y="199"/>
                    <a:pt x="384" y="197"/>
                  </a:cubicBezTo>
                  <a:cubicBezTo>
                    <a:pt x="119" y="82"/>
                    <a:pt x="119" y="82"/>
                    <a:pt x="119" y="82"/>
                  </a:cubicBezTo>
                  <a:cubicBezTo>
                    <a:pt x="114" y="79"/>
                    <a:pt x="110" y="74"/>
                    <a:pt x="110" y="68"/>
                  </a:cubicBezTo>
                  <a:cubicBezTo>
                    <a:pt x="110" y="61"/>
                    <a:pt x="113" y="56"/>
                    <a:pt x="115" y="51"/>
                  </a:cubicBezTo>
                  <a:cubicBezTo>
                    <a:pt x="117" y="46"/>
                    <a:pt x="119" y="42"/>
                    <a:pt x="119" y="35"/>
                  </a:cubicBezTo>
                  <a:cubicBezTo>
                    <a:pt x="119" y="19"/>
                    <a:pt x="100" y="0"/>
                    <a:pt x="76" y="0"/>
                  </a:cubicBezTo>
                  <a:cubicBezTo>
                    <a:pt x="59" y="0"/>
                    <a:pt x="41" y="18"/>
                    <a:pt x="41" y="35"/>
                  </a:cubicBezTo>
                  <a:cubicBezTo>
                    <a:pt x="41" y="43"/>
                    <a:pt x="42" y="45"/>
                    <a:pt x="45" y="49"/>
                  </a:cubicBezTo>
                  <a:cubicBezTo>
                    <a:pt x="50" y="53"/>
                    <a:pt x="51" y="60"/>
                    <a:pt x="48" y="65"/>
                  </a:cubicBezTo>
                  <a:cubicBezTo>
                    <a:pt x="46" y="71"/>
                    <a:pt x="41" y="75"/>
                    <a:pt x="35" y="75"/>
                  </a:cubicBezTo>
                  <a:cubicBezTo>
                    <a:pt x="11" y="75"/>
                    <a:pt x="0" y="92"/>
                    <a:pt x="0" y="109"/>
                  </a:cubicBezTo>
                  <a:cubicBezTo>
                    <a:pt x="0" y="134"/>
                    <a:pt x="18" y="152"/>
                    <a:pt x="35" y="152"/>
                  </a:cubicBezTo>
                  <a:cubicBezTo>
                    <a:pt x="60" y="152"/>
                    <a:pt x="67" y="142"/>
                    <a:pt x="71" y="135"/>
                  </a:cubicBezTo>
                  <a:cubicBezTo>
                    <a:pt x="74" y="128"/>
                    <a:pt x="83" y="125"/>
                    <a:pt x="90" y="128"/>
                  </a:cubicBezTo>
                  <a:cubicBezTo>
                    <a:pt x="296" y="211"/>
                    <a:pt x="296" y="211"/>
                    <a:pt x="296" y="211"/>
                  </a:cubicBezTo>
                  <a:cubicBezTo>
                    <a:pt x="302" y="213"/>
                    <a:pt x="306" y="218"/>
                    <a:pt x="306" y="224"/>
                  </a:cubicBezTo>
                  <a:cubicBezTo>
                    <a:pt x="306" y="230"/>
                    <a:pt x="302" y="236"/>
                    <a:pt x="297" y="238"/>
                  </a:cubicBezTo>
                  <a:cubicBezTo>
                    <a:pt x="90" y="329"/>
                    <a:pt x="90" y="329"/>
                    <a:pt x="90" y="329"/>
                  </a:cubicBezTo>
                  <a:cubicBezTo>
                    <a:pt x="86" y="331"/>
                    <a:pt x="80" y="331"/>
                    <a:pt x="76" y="328"/>
                  </a:cubicBezTo>
                  <a:cubicBezTo>
                    <a:pt x="72" y="325"/>
                    <a:pt x="69" y="321"/>
                    <a:pt x="69" y="315"/>
                  </a:cubicBezTo>
                  <a:cubicBezTo>
                    <a:pt x="69" y="299"/>
                    <a:pt x="45" y="297"/>
                    <a:pt x="35" y="297"/>
                  </a:cubicBezTo>
                  <a:cubicBezTo>
                    <a:pt x="17" y="297"/>
                    <a:pt x="0" y="308"/>
                    <a:pt x="0" y="332"/>
                  </a:cubicBezTo>
                  <a:cubicBezTo>
                    <a:pt x="0" y="349"/>
                    <a:pt x="11" y="366"/>
                    <a:pt x="35" y="366"/>
                  </a:cubicBezTo>
                  <a:cubicBezTo>
                    <a:pt x="41" y="366"/>
                    <a:pt x="46" y="370"/>
                    <a:pt x="48" y="376"/>
                  </a:cubicBezTo>
                  <a:cubicBezTo>
                    <a:pt x="51" y="381"/>
                    <a:pt x="50" y="388"/>
                    <a:pt x="45" y="392"/>
                  </a:cubicBezTo>
                  <a:cubicBezTo>
                    <a:pt x="42" y="396"/>
                    <a:pt x="41" y="398"/>
                    <a:pt x="41" y="406"/>
                  </a:cubicBezTo>
                  <a:cubicBezTo>
                    <a:pt x="41" y="431"/>
                    <a:pt x="60" y="449"/>
                    <a:pt x="76" y="449"/>
                  </a:cubicBezTo>
                  <a:cubicBezTo>
                    <a:pt x="101" y="449"/>
                    <a:pt x="119" y="431"/>
                    <a:pt x="119" y="406"/>
                  </a:cubicBezTo>
                  <a:cubicBezTo>
                    <a:pt x="119" y="398"/>
                    <a:pt x="119" y="396"/>
                    <a:pt x="115" y="392"/>
                  </a:cubicBezTo>
                  <a:cubicBezTo>
                    <a:pt x="111" y="389"/>
                    <a:pt x="110" y="384"/>
                    <a:pt x="111" y="379"/>
                  </a:cubicBezTo>
                  <a:cubicBezTo>
                    <a:pt x="112" y="374"/>
                    <a:pt x="115" y="370"/>
                    <a:pt x="119" y="368"/>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2" name="Freeform 75">
              <a:extLst>
                <a:ext uri="{FF2B5EF4-FFF2-40B4-BE49-F238E27FC236}">
                  <a16:creationId xmlns:a16="http://schemas.microsoft.com/office/drawing/2014/main" id="{46F8EA18-DA5B-4D77-B1B8-0AF375912069}"/>
                </a:ext>
              </a:extLst>
            </p:cNvPr>
            <p:cNvSpPr>
              <a:spLocks noEditPoints="1"/>
            </p:cNvSpPr>
            <p:nvPr/>
          </p:nvSpPr>
          <p:spPr bwMode="auto">
            <a:xfrm>
              <a:off x="2801" y="1450"/>
              <a:ext cx="1996" cy="2117"/>
            </a:xfrm>
            <a:custGeom>
              <a:avLst/>
              <a:gdLst>
                <a:gd name="T0" fmla="*/ 581 w 1130"/>
                <a:gd name="T1" fmla="*/ 75 h 1197"/>
                <a:gd name="T2" fmla="*/ 258 w 1130"/>
                <a:gd name="T3" fmla="*/ 410 h 1197"/>
                <a:gd name="T4" fmla="*/ 174 w 1130"/>
                <a:gd name="T5" fmla="*/ 496 h 1197"/>
                <a:gd name="T6" fmla="*/ 41 w 1130"/>
                <a:gd name="T7" fmla="*/ 472 h 1197"/>
                <a:gd name="T8" fmla="*/ 65 w 1130"/>
                <a:gd name="T9" fmla="*/ 619 h 1197"/>
                <a:gd name="T10" fmla="*/ 124 w 1130"/>
                <a:gd name="T11" fmla="*/ 732 h 1197"/>
                <a:gd name="T12" fmla="*/ 42 w 1130"/>
                <a:gd name="T13" fmla="*/ 830 h 1197"/>
                <a:gd name="T14" fmla="*/ 360 w 1130"/>
                <a:gd name="T15" fmla="*/ 1194 h 1197"/>
                <a:gd name="T16" fmla="*/ 618 w 1130"/>
                <a:gd name="T17" fmla="*/ 132 h 1197"/>
                <a:gd name="T18" fmla="*/ 225 w 1130"/>
                <a:gd name="T19" fmla="*/ 246 h 1197"/>
                <a:gd name="T20" fmla="*/ 555 w 1130"/>
                <a:gd name="T21" fmla="*/ 403 h 1197"/>
                <a:gd name="T22" fmla="*/ 506 w 1130"/>
                <a:gd name="T23" fmla="*/ 440 h 1197"/>
                <a:gd name="T24" fmla="*/ 476 w 1130"/>
                <a:gd name="T25" fmla="*/ 420 h 1197"/>
                <a:gd name="T26" fmla="*/ 432 w 1130"/>
                <a:gd name="T27" fmla="*/ 420 h 1197"/>
                <a:gd name="T28" fmla="*/ 402 w 1130"/>
                <a:gd name="T29" fmla="*/ 440 h 1197"/>
                <a:gd name="T30" fmla="*/ 343 w 1130"/>
                <a:gd name="T31" fmla="*/ 405 h 1197"/>
                <a:gd name="T32" fmla="*/ 288 w 1130"/>
                <a:gd name="T33" fmla="*/ 440 h 1197"/>
                <a:gd name="T34" fmla="*/ 225 w 1130"/>
                <a:gd name="T35" fmla="*/ 246 h 1197"/>
                <a:gd name="T36" fmla="*/ 288 w 1130"/>
                <a:gd name="T37" fmla="*/ 492 h 1197"/>
                <a:gd name="T38" fmla="*/ 328 w 1130"/>
                <a:gd name="T39" fmla="*/ 486 h 1197"/>
                <a:gd name="T40" fmla="*/ 358 w 1130"/>
                <a:gd name="T41" fmla="*/ 470 h 1197"/>
                <a:gd name="T42" fmla="*/ 417 w 1130"/>
                <a:gd name="T43" fmla="*/ 501 h 1197"/>
                <a:gd name="T44" fmla="*/ 476 w 1130"/>
                <a:gd name="T45" fmla="*/ 470 h 1197"/>
                <a:gd name="T46" fmla="*/ 506 w 1130"/>
                <a:gd name="T47" fmla="*/ 486 h 1197"/>
                <a:gd name="T48" fmla="*/ 551 w 1130"/>
                <a:gd name="T49" fmla="*/ 492 h 1197"/>
                <a:gd name="T50" fmla="*/ 420 w 1130"/>
                <a:gd name="T51" fmla="*/ 604 h 1197"/>
                <a:gd name="T52" fmla="*/ 519 w 1130"/>
                <a:gd name="T53" fmla="*/ 555 h 1197"/>
                <a:gd name="T54" fmla="*/ 149 w 1130"/>
                <a:gd name="T55" fmla="*/ 843 h 1197"/>
                <a:gd name="T56" fmla="*/ 75 w 1130"/>
                <a:gd name="T57" fmla="*/ 829 h 1197"/>
                <a:gd name="T58" fmla="*/ 30 w 1130"/>
                <a:gd name="T59" fmla="*/ 769 h 1197"/>
                <a:gd name="T60" fmla="*/ 106 w 1130"/>
                <a:gd name="T61" fmla="*/ 765 h 1197"/>
                <a:gd name="T62" fmla="*/ 336 w 1130"/>
                <a:gd name="T63" fmla="*/ 661 h 1197"/>
                <a:gd name="T64" fmla="*/ 101 w 1130"/>
                <a:gd name="T65" fmla="*/ 572 h 1197"/>
                <a:gd name="T66" fmla="*/ 65 w 1130"/>
                <a:gd name="T67" fmla="*/ 512 h 1197"/>
                <a:gd name="T68" fmla="*/ 71 w 1130"/>
                <a:gd name="T69" fmla="*/ 472 h 1197"/>
                <a:gd name="T70" fmla="*/ 145 w 1130"/>
                <a:gd name="T71" fmla="*/ 488 h 1197"/>
                <a:gd name="T72" fmla="*/ 414 w 1130"/>
                <a:gd name="T73" fmla="*/ 634 h 1197"/>
                <a:gd name="T74" fmla="*/ 699 w 1130"/>
                <a:gd name="T75" fmla="*/ 508 h 1197"/>
                <a:gd name="T76" fmla="*/ 726 w 1130"/>
                <a:gd name="T77" fmla="*/ 437 h 1197"/>
                <a:gd name="T78" fmla="*/ 775 w 1130"/>
                <a:gd name="T79" fmla="*/ 512 h 1197"/>
                <a:gd name="T80" fmla="*/ 728 w 1130"/>
                <a:gd name="T81" fmla="*/ 569 h 1197"/>
                <a:gd name="T82" fmla="*/ 496 w 1130"/>
                <a:gd name="T83" fmla="*/ 661 h 1197"/>
                <a:gd name="T84" fmla="*/ 723 w 1130"/>
                <a:gd name="T85" fmla="*/ 766 h 1197"/>
                <a:gd name="T86" fmla="*/ 810 w 1130"/>
                <a:gd name="T87" fmla="*/ 769 h 1197"/>
                <a:gd name="T88" fmla="*/ 760 w 1130"/>
                <a:gd name="T89" fmla="*/ 843 h 1197"/>
                <a:gd name="T90" fmla="*/ 685 w 1130"/>
                <a:gd name="T91" fmla="*/ 838 h 1197"/>
                <a:gd name="T92" fmla="*/ 426 w 1130"/>
                <a:gd name="T93" fmla="*/ 689 h 1197"/>
                <a:gd name="T94" fmla="*/ 149 w 1130"/>
                <a:gd name="T95" fmla="*/ 805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30" h="1197">
                  <a:moveTo>
                    <a:pt x="424" y="1197"/>
                  </a:moveTo>
                  <a:cubicBezTo>
                    <a:pt x="772" y="1197"/>
                    <a:pt x="1063" y="950"/>
                    <a:pt x="1130" y="621"/>
                  </a:cubicBezTo>
                  <a:cubicBezTo>
                    <a:pt x="581" y="75"/>
                    <a:pt x="581" y="75"/>
                    <a:pt x="581" y="75"/>
                  </a:cubicBezTo>
                  <a:cubicBezTo>
                    <a:pt x="540" y="29"/>
                    <a:pt x="485" y="0"/>
                    <a:pt x="424" y="0"/>
                  </a:cubicBezTo>
                  <a:cubicBezTo>
                    <a:pt x="298" y="0"/>
                    <a:pt x="195" y="110"/>
                    <a:pt x="195" y="246"/>
                  </a:cubicBezTo>
                  <a:cubicBezTo>
                    <a:pt x="195" y="301"/>
                    <a:pt x="218" y="359"/>
                    <a:pt x="258" y="410"/>
                  </a:cubicBezTo>
                  <a:cubicBezTo>
                    <a:pt x="258" y="492"/>
                    <a:pt x="258" y="492"/>
                    <a:pt x="258" y="492"/>
                  </a:cubicBezTo>
                  <a:cubicBezTo>
                    <a:pt x="258" y="515"/>
                    <a:pt x="266" y="532"/>
                    <a:pt x="280" y="543"/>
                  </a:cubicBezTo>
                  <a:cubicBezTo>
                    <a:pt x="174" y="496"/>
                    <a:pt x="174" y="496"/>
                    <a:pt x="174" y="496"/>
                  </a:cubicBezTo>
                  <a:cubicBezTo>
                    <a:pt x="176" y="491"/>
                    <a:pt x="179" y="482"/>
                    <a:pt x="179" y="472"/>
                  </a:cubicBezTo>
                  <a:cubicBezTo>
                    <a:pt x="179" y="437"/>
                    <a:pt x="145" y="407"/>
                    <a:pt x="106" y="407"/>
                  </a:cubicBezTo>
                  <a:cubicBezTo>
                    <a:pt x="73" y="407"/>
                    <a:pt x="41" y="439"/>
                    <a:pt x="41" y="472"/>
                  </a:cubicBezTo>
                  <a:cubicBezTo>
                    <a:pt x="41" y="476"/>
                    <a:pt x="41" y="480"/>
                    <a:pt x="42" y="485"/>
                  </a:cubicBezTo>
                  <a:cubicBezTo>
                    <a:pt x="14" y="494"/>
                    <a:pt x="0" y="520"/>
                    <a:pt x="0" y="546"/>
                  </a:cubicBezTo>
                  <a:cubicBezTo>
                    <a:pt x="0" y="586"/>
                    <a:pt x="30" y="619"/>
                    <a:pt x="65" y="619"/>
                  </a:cubicBezTo>
                  <a:cubicBezTo>
                    <a:pt x="93" y="619"/>
                    <a:pt x="110" y="609"/>
                    <a:pt x="120" y="598"/>
                  </a:cubicBezTo>
                  <a:cubicBezTo>
                    <a:pt x="282" y="662"/>
                    <a:pt x="282" y="662"/>
                    <a:pt x="282" y="662"/>
                  </a:cubicBezTo>
                  <a:cubicBezTo>
                    <a:pt x="124" y="732"/>
                    <a:pt x="124" y="732"/>
                    <a:pt x="124" y="732"/>
                  </a:cubicBezTo>
                  <a:cubicBezTo>
                    <a:pt x="115" y="714"/>
                    <a:pt x="94" y="704"/>
                    <a:pt x="65" y="704"/>
                  </a:cubicBezTo>
                  <a:cubicBezTo>
                    <a:pt x="33" y="704"/>
                    <a:pt x="0" y="727"/>
                    <a:pt x="0" y="769"/>
                  </a:cubicBezTo>
                  <a:cubicBezTo>
                    <a:pt x="0" y="795"/>
                    <a:pt x="14" y="821"/>
                    <a:pt x="42" y="830"/>
                  </a:cubicBezTo>
                  <a:cubicBezTo>
                    <a:pt x="41" y="835"/>
                    <a:pt x="41" y="840"/>
                    <a:pt x="41" y="843"/>
                  </a:cubicBezTo>
                  <a:cubicBezTo>
                    <a:pt x="41" y="864"/>
                    <a:pt x="49" y="883"/>
                    <a:pt x="62" y="896"/>
                  </a:cubicBezTo>
                  <a:cubicBezTo>
                    <a:pt x="360" y="1194"/>
                    <a:pt x="360" y="1194"/>
                    <a:pt x="360" y="1194"/>
                  </a:cubicBezTo>
                  <a:cubicBezTo>
                    <a:pt x="376" y="1195"/>
                    <a:pt x="392" y="1196"/>
                    <a:pt x="409" y="1196"/>
                  </a:cubicBezTo>
                  <a:cubicBezTo>
                    <a:pt x="414" y="1197"/>
                    <a:pt x="419" y="1197"/>
                    <a:pt x="424" y="1197"/>
                  </a:cubicBezTo>
                  <a:close/>
                  <a:moveTo>
                    <a:pt x="618" y="132"/>
                  </a:moveTo>
                  <a:cubicBezTo>
                    <a:pt x="618" y="132"/>
                    <a:pt x="618" y="132"/>
                    <a:pt x="618" y="131"/>
                  </a:cubicBezTo>
                  <a:cubicBezTo>
                    <a:pt x="618" y="132"/>
                    <a:pt x="618" y="132"/>
                    <a:pt x="618" y="132"/>
                  </a:cubicBezTo>
                  <a:close/>
                  <a:moveTo>
                    <a:pt x="225" y="246"/>
                  </a:moveTo>
                  <a:cubicBezTo>
                    <a:pt x="225" y="127"/>
                    <a:pt x="314" y="30"/>
                    <a:pt x="424" y="30"/>
                  </a:cubicBezTo>
                  <a:cubicBezTo>
                    <a:pt x="527" y="30"/>
                    <a:pt x="615" y="129"/>
                    <a:pt x="615" y="246"/>
                  </a:cubicBezTo>
                  <a:cubicBezTo>
                    <a:pt x="615" y="302"/>
                    <a:pt x="595" y="355"/>
                    <a:pt x="555" y="403"/>
                  </a:cubicBezTo>
                  <a:cubicBezTo>
                    <a:pt x="553" y="406"/>
                    <a:pt x="551" y="409"/>
                    <a:pt x="551" y="413"/>
                  </a:cubicBezTo>
                  <a:cubicBezTo>
                    <a:pt x="551" y="440"/>
                    <a:pt x="551" y="440"/>
                    <a:pt x="551" y="440"/>
                  </a:cubicBezTo>
                  <a:cubicBezTo>
                    <a:pt x="506" y="440"/>
                    <a:pt x="506" y="440"/>
                    <a:pt x="506" y="440"/>
                  </a:cubicBezTo>
                  <a:cubicBezTo>
                    <a:pt x="506" y="420"/>
                    <a:pt x="506" y="420"/>
                    <a:pt x="506" y="420"/>
                  </a:cubicBezTo>
                  <a:cubicBezTo>
                    <a:pt x="506" y="412"/>
                    <a:pt x="499" y="405"/>
                    <a:pt x="491" y="405"/>
                  </a:cubicBezTo>
                  <a:cubicBezTo>
                    <a:pt x="483" y="405"/>
                    <a:pt x="476" y="412"/>
                    <a:pt x="476" y="420"/>
                  </a:cubicBezTo>
                  <a:cubicBezTo>
                    <a:pt x="476" y="440"/>
                    <a:pt x="476" y="440"/>
                    <a:pt x="476" y="440"/>
                  </a:cubicBezTo>
                  <a:cubicBezTo>
                    <a:pt x="432" y="440"/>
                    <a:pt x="432" y="440"/>
                    <a:pt x="432" y="440"/>
                  </a:cubicBezTo>
                  <a:cubicBezTo>
                    <a:pt x="432" y="420"/>
                    <a:pt x="432" y="420"/>
                    <a:pt x="432" y="420"/>
                  </a:cubicBezTo>
                  <a:cubicBezTo>
                    <a:pt x="432" y="412"/>
                    <a:pt x="425" y="405"/>
                    <a:pt x="417" y="405"/>
                  </a:cubicBezTo>
                  <a:cubicBezTo>
                    <a:pt x="408" y="405"/>
                    <a:pt x="402" y="412"/>
                    <a:pt x="402" y="420"/>
                  </a:cubicBezTo>
                  <a:cubicBezTo>
                    <a:pt x="402" y="440"/>
                    <a:pt x="402" y="440"/>
                    <a:pt x="402" y="440"/>
                  </a:cubicBezTo>
                  <a:cubicBezTo>
                    <a:pt x="358" y="440"/>
                    <a:pt x="358" y="440"/>
                    <a:pt x="358" y="440"/>
                  </a:cubicBezTo>
                  <a:cubicBezTo>
                    <a:pt x="358" y="420"/>
                    <a:pt x="358" y="420"/>
                    <a:pt x="358" y="420"/>
                  </a:cubicBezTo>
                  <a:cubicBezTo>
                    <a:pt x="358" y="412"/>
                    <a:pt x="351" y="405"/>
                    <a:pt x="343" y="405"/>
                  </a:cubicBezTo>
                  <a:cubicBezTo>
                    <a:pt x="334" y="405"/>
                    <a:pt x="328" y="412"/>
                    <a:pt x="328" y="420"/>
                  </a:cubicBezTo>
                  <a:cubicBezTo>
                    <a:pt x="328" y="440"/>
                    <a:pt x="328" y="440"/>
                    <a:pt x="328" y="440"/>
                  </a:cubicBezTo>
                  <a:cubicBezTo>
                    <a:pt x="288" y="440"/>
                    <a:pt x="288" y="440"/>
                    <a:pt x="288" y="440"/>
                  </a:cubicBezTo>
                  <a:cubicBezTo>
                    <a:pt x="288" y="405"/>
                    <a:pt x="288" y="405"/>
                    <a:pt x="288" y="405"/>
                  </a:cubicBezTo>
                  <a:cubicBezTo>
                    <a:pt x="288" y="401"/>
                    <a:pt x="287" y="398"/>
                    <a:pt x="285" y="395"/>
                  </a:cubicBezTo>
                  <a:cubicBezTo>
                    <a:pt x="246" y="349"/>
                    <a:pt x="225" y="296"/>
                    <a:pt x="225" y="246"/>
                  </a:cubicBezTo>
                  <a:close/>
                  <a:moveTo>
                    <a:pt x="519" y="525"/>
                  </a:moveTo>
                  <a:cubicBezTo>
                    <a:pt x="321" y="525"/>
                    <a:pt x="321" y="525"/>
                    <a:pt x="321" y="525"/>
                  </a:cubicBezTo>
                  <a:cubicBezTo>
                    <a:pt x="298" y="525"/>
                    <a:pt x="288" y="516"/>
                    <a:pt x="288" y="492"/>
                  </a:cubicBezTo>
                  <a:cubicBezTo>
                    <a:pt x="288" y="470"/>
                    <a:pt x="288" y="470"/>
                    <a:pt x="288" y="470"/>
                  </a:cubicBezTo>
                  <a:cubicBezTo>
                    <a:pt x="328" y="470"/>
                    <a:pt x="328" y="470"/>
                    <a:pt x="328" y="470"/>
                  </a:cubicBezTo>
                  <a:cubicBezTo>
                    <a:pt x="328" y="486"/>
                    <a:pt x="328" y="486"/>
                    <a:pt x="328" y="486"/>
                  </a:cubicBezTo>
                  <a:cubicBezTo>
                    <a:pt x="328" y="494"/>
                    <a:pt x="334" y="501"/>
                    <a:pt x="343" y="501"/>
                  </a:cubicBezTo>
                  <a:cubicBezTo>
                    <a:pt x="351" y="501"/>
                    <a:pt x="358" y="494"/>
                    <a:pt x="358" y="486"/>
                  </a:cubicBezTo>
                  <a:cubicBezTo>
                    <a:pt x="358" y="470"/>
                    <a:pt x="358" y="470"/>
                    <a:pt x="358" y="470"/>
                  </a:cubicBezTo>
                  <a:cubicBezTo>
                    <a:pt x="402" y="470"/>
                    <a:pt x="402" y="470"/>
                    <a:pt x="402" y="470"/>
                  </a:cubicBezTo>
                  <a:cubicBezTo>
                    <a:pt x="402" y="486"/>
                    <a:pt x="402" y="486"/>
                    <a:pt x="402" y="486"/>
                  </a:cubicBezTo>
                  <a:cubicBezTo>
                    <a:pt x="402" y="494"/>
                    <a:pt x="408" y="501"/>
                    <a:pt x="417" y="501"/>
                  </a:cubicBezTo>
                  <a:cubicBezTo>
                    <a:pt x="425" y="501"/>
                    <a:pt x="432" y="494"/>
                    <a:pt x="432" y="486"/>
                  </a:cubicBezTo>
                  <a:cubicBezTo>
                    <a:pt x="432" y="470"/>
                    <a:pt x="432" y="470"/>
                    <a:pt x="432" y="470"/>
                  </a:cubicBezTo>
                  <a:cubicBezTo>
                    <a:pt x="476" y="470"/>
                    <a:pt x="476" y="470"/>
                    <a:pt x="476" y="470"/>
                  </a:cubicBezTo>
                  <a:cubicBezTo>
                    <a:pt x="476" y="486"/>
                    <a:pt x="476" y="486"/>
                    <a:pt x="476" y="486"/>
                  </a:cubicBezTo>
                  <a:cubicBezTo>
                    <a:pt x="476" y="494"/>
                    <a:pt x="483" y="501"/>
                    <a:pt x="491" y="501"/>
                  </a:cubicBezTo>
                  <a:cubicBezTo>
                    <a:pt x="499" y="501"/>
                    <a:pt x="506" y="494"/>
                    <a:pt x="506" y="486"/>
                  </a:cubicBezTo>
                  <a:cubicBezTo>
                    <a:pt x="506" y="470"/>
                    <a:pt x="506" y="470"/>
                    <a:pt x="506" y="470"/>
                  </a:cubicBezTo>
                  <a:cubicBezTo>
                    <a:pt x="551" y="470"/>
                    <a:pt x="551" y="470"/>
                    <a:pt x="551" y="470"/>
                  </a:cubicBezTo>
                  <a:cubicBezTo>
                    <a:pt x="551" y="492"/>
                    <a:pt x="551" y="492"/>
                    <a:pt x="551" y="492"/>
                  </a:cubicBezTo>
                  <a:cubicBezTo>
                    <a:pt x="551" y="515"/>
                    <a:pt x="535" y="525"/>
                    <a:pt x="519" y="525"/>
                  </a:cubicBezTo>
                  <a:close/>
                  <a:moveTo>
                    <a:pt x="540" y="551"/>
                  </a:moveTo>
                  <a:cubicBezTo>
                    <a:pt x="420" y="604"/>
                    <a:pt x="420" y="604"/>
                    <a:pt x="420" y="604"/>
                  </a:cubicBezTo>
                  <a:cubicBezTo>
                    <a:pt x="303" y="553"/>
                    <a:pt x="303" y="553"/>
                    <a:pt x="303" y="553"/>
                  </a:cubicBezTo>
                  <a:cubicBezTo>
                    <a:pt x="309" y="554"/>
                    <a:pt x="315" y="555"/>
                    <a:pt x="321" y="555"/>
                  </a:cubicBezTo>
                  <a:cubicBezTo>
                    <a:pt x="519" y="555"/>
                    <a:pt x="519" y="555"/>
                    <a:pt x="519" y="555"/>
                  </a:cubicBezTo>
                  <a:cubicBezTo>
                    <a:pt x="526" y="555"/>
                    <a:pt x="533" y="554"/>
                    <a:pt x="540" y="551"/>
                  </a:cubicBezTo>
                  <a:close/>
                  <a:moveTo>
                    <a:pt x="145" y="829"/>
                  </a:moveTo>
                  <a:cubicBezTo>
                    <a:pt x="149" y="833"/>
                    <a:pt x="149" y="835"/>
                    <a:pt x="149" y="843"/>
                  </a:cubicBezTo>
                  <a:cubicBezTo>
                    <a:pt x="149" y="868"/>
                    <a:pt x="131" y="886"/>
                    <a:pt x="106" y="886"/>
                  </a:cubicBezTo>
                  <a:cubicBezTo>
                    <a:pt x="90" y="886"/>
                    <a:pt x="71" y="868"/>
                    <a:pt x="71" y="843"/>
                  </a:cubicBezTo>
                  <a:cubicBezTo>
                    <a:pt x="71" y="835"/>
                    <a:pt x="72" y="833"/>
                    <a:pt x="75" y="829"/>
                  </a:cubicBezTo>
                  <a:cubicBezTo>
                    <a:pt x="80" y="825"/>
                    <a:pt x="81" y="818"/>
                    <a:pt x="78" y="813"/>
                  </a:cubicBezTo>
                  <a:cubicBezTo>
                    <a:pt x="76" y="807"/>
                    <a:pt x="71" y="803"/>
                    <a:pt x="65" y="803"/>
                  </a:cubicBezTo>
                  <a:cubicBezTo>
                    <a:pt x="41" y="803"/>
                    <a:pt x="30" y="786"/>
                    <a:pt x="30" y="769"/>
                  </a:cubicBezTo>
                  <a:cubicBezTo>
                    <a:pt x="30" y="745"/>
                    <a:pt x="47" y="734"/>
                    <a:pt x="65" y="734"/>
                  </a:cubicBezTo>
                  <a:cubicBezTo>
                    <a:pt x="75" y="734"/>
                    <a:pt x="99" y="736"/>
                    <a:pt x="99" y="752"/>
                  </a:cubicBezTo>
                  <a:cubicBezTo>
                    <a:pt x="99" y="758"/>
                    <a:pt x="102" y="762"/>
                    <a:pt x="106" y="765"/>
                  </a:cubicBezTo>
                  <a:cubicBezTo>
                    <a:pt x="110" y="768"/>
                    <a:pt x="116" y="768"/>
                    <a:pt x="120" y="766"/>
                  </a:cubicBezTo>
                  <a:cubicBezTo>
                    <a:pt x="327" y="675"/>
                    <a:pt x="327" y="675"/>
                    <a:pt x="327" y="675"/>
                  </a:cubicBezTo>
                  <a:cubicBezTo>
                    <a:pt x="332" y="673"/>
                    <a:pt x="336" y="667"/>
                    <a:pt x="336" y="661"/>
                  </a:cubicBezTo>
                  <a:cubicBezTo>
                    <a:pt x="336" y="655"/>
                    <a:pt x="332" y="650"/>
                    <a:pt x="326" y="648"/>
                  </a:cubicBezTo>
                  <a:cubicBezTo>
                    <a:pt x="120" y="565"/>
                    <a:pt x="120" y="565"/>
                    <a:pt x="120" y="565"/>
                  </a:cubicBezTo>
                  <a:cubicBezTo>
                    <a:pt x="113" y="562"/>
                    <a:pt x="104" y="565"/>
                    <a:pt x="101" y="572"/>
                  </a:cubicBezTo>
                  <a:cubicBezTo>
                    <a:pt x="97" y="579"/>
                    <a:pt x="90" y="589"/>
                    <a:pt x="65" y="589"/>
                  </a:cubicBezTo>
                  <a:cubicBezTo>
                    <a:pt x="48" y="589"/>
                    <a:pt x="30" y="571"/>
                    <a:pt x="30" y="546"/>
                  </a:cubicBezTo>
                  <a:cubicBezTo>
                    <a:pt x="30" y="529"/>
                    <a:pt x="41" y="512"/>
                    <a:pt x="65" y="512"/>
                  </a:cubicBezTo>
                  <a:cubicBezTo>
                    <a:pt x="71" y="512"/>
                    <a:pt x="76" y="508"/>
                    <a:pt x="78" y="502"/>
                  </a:cubicBezTo>
                  <a:cubicBezTo>
                    <a:pt x="81" y="497"/>
                    <a:pt x="80" y="490"/>
                    <a:pt x="75" y="486"/>
                  </a:cubicBezTo>
                  <a:cubicBezTo>
                    <a:pt x="72" y="482"/>
                    <a:pt x="71" y="480"/>
                    <a:pt x="71" y="472"/>
                  </a:cubicBezTo>
                  <a:cubicBezTo>
                    <a:pt x="71" y="455"/>
                    <a:pt x="89" y="437"/>
                    <a:pt x="106" y="437"/>
                  </a:cubicBezTo>
                  <a:cubicBezTo>
                    <a:pt x="130" y="437"/>
                    <a:pt x="149" y="456"/>
                    <a:pt x="149" y="472"/>
                  </a:cubicBezTo>
                  <a:cubicBezTo>
                    <a:pt x="149" y="479"/>
                    <a:pt x="147" y="483"/>
                    <a:pt x="145" y="488"/>
                  </a:cubicBezTo>
                  <a:cubicBezTo>
                    <a:pt x="143" y="493"/>
                    <a:pt x="140" y="498"/>
                    <a:pt x="140" y="505"/>
                  </a:cubicBezTo>
                  <a:cubicBezTo>
                    <a:pt x="140" y="511"/>
                    <a:pt x="144" y="516"/>
                    <a:pt x="149" y="519"/>
                  </a:cubicBezTo>
                  <a:cubicBezTo>
                    <a:pt x="414" y="634"/>
                    <a:pt x="414" y="634"/>
                    <a:pt x="414" y="634"/>
                  </a:cubicBezTo>
                  <a:cubicBezTo>
                    <a:pt x="418" y="636"/>
                    <a:pt x="422" y="636"/>
                    <a:pt x="426" y="634"/>
                  </a:cubicBezTo>
                  <a:cubicBezTo>
                    <a:pt x="690" y="519"/>
                    <a:pt x="690" y="519"/>
                    <a:pt x="690" y="519"/>
                  </a:cubicBezTo>
                  <a:cubicBezTo>
                    <a:pt x="695" y="517"/>
                    <a:pt x="698" y="512"/>
                    <a:pt x="699" y="508"/>
                  </a:cubicBezTo>
                  <a:cubicBezTo>
                    <a:pt x="700" y="503"/>
                    <a:pt x="698" y="498"/>
                    <a:pt x="695" y="494"/>
                  </a:cubicBezTo>
                  <a:cubicBezTo>
                    <a:pt x="687" y="486"/>
                    <a:pt x="683" y="482"/>
                    <a:pt x="683" y="472"/>
                  </a:cubicBezTo>
                  <a:cubicBezTo>
                    <a:pt x="683" y="456"/>
                    <a:pt x="701" y="437"/>
                    <a:pt x="726" y="437"/>
                  </a:cubicBezTo>
                  <a:cubicBezTo>
                    <a:pt x="750" y="437"/>
                    <a:pt x="760" y="455"/>
                    <a:pt x="760" y="472"/>
                  </a:cubicBezTo>
                  <a:cubicBezTo>
                    <a:pt x="760" y="497"/>
                    <a:pt x="760" y="497"/>
                    <a:pt x="760" y="497"/>
                  </a:cubicBezTo>
                  <a:cubicBezTo>
                    <a:pt x="760" y="505"/>
                    <a:pt x="767" y="512"/>
                    <a:pt x="775" y="512"/>
                  </a:cubicBezTo>
                  <a:cubicBezTo>
                    <a:pt x="792" y="512"/>
                    <a:pt x="810" y="530"/>
                    <a:pt x="810" y="546"/>
                  </a:cubicBezTo>
                  <a:cubicBezTo>
                    <a:pt x="810" y="571"/>
                    <a:pt x="792" y="589"/>
                    <a:pt x="767" y="589"/>
                  </a:cubicBezTo>
                  <a:cubicBezTo>
                    <a:pt x="755" y="589"/>
                    <a:pt x="742" y="582"/>
                    <a:pt x="728" y="569"/>
                  </a:cubicBezTo>
                  <a:cubicBezTo>
                    <a:pt x="724" y="564"/>
                    <a:pt x="717" y="563"/>
                    <a:pt x="712" y="565"/>
                  </a:cubicBezTo>
                  <a:cubicBezTo>
                    <a:pt x="505" y="648"/>
                    <a:pt x="505" y="648"/>
                    <a:pt x="505" y="648"/>
                  </a:cubicBezTo>
                  <a:cubicBezTo>
                    <a:pt x="500" y="650"/>
                    <a:pt x="496" y="655"/>
                    <a:pt x="496" y="661"/>
                  </a:cubicBezTo>
                  <a:cubicBezTo>
                    <a:pt x="496" y="667"/>
                    <a:pt x="499" y="673"/>
                    <a:pt x="505" y="675"/>
                  </a:cubicBezTo>
                  <a:cubicBezTo>
                    <a:pt x="711" y="766"/>
                    <a:pt x="711" y="766"/>
                    <a:pt x="711" y="766"/>
                  </a:cubicBezTo>
                  <a:cubicBezTo>
                    <a:pt x="715" y="768"/>
                    <a:pt x="720" y="768"/>
                    <a:pt x="723" y="766"/>
                  </a:cubicBezTo>
                  <a:cubicBezTo>
                    <a:pt x="727" y="764"/>
                    <a:pt x="730" y="761"/>
                    <a:pt x="732" y="757"/>
                  </a:cubicBezTo>
                  <a:cubicBezTo>
                    <a:pt x="737" y="740"/>
                    <a:pt x="746" y="734"/>
                    <a:pt x="767" y="734"/>
                  </a:cubicBezTo>
                  <a:cubicBezTo>
                    <a:pt x="783" y="734"/>
                    <a:pt x="810" y="739"/>
                    <a:pt x="810" y="769"/>
                  </a:cubicBezTo>
                  <a:cubicBezTo>
                    <a:pt x="810" y="785"/>
                    <a:pt x="792" y="803"/>
                    <a:pt x="775" y="803"/>
                  </a:cubicBezTo>
                  <a:cubicBezTo>
                    <a:pt x="767" y="803"/>
                    <a:pt x="760" y="810"/>
                    <a:pt x="760" y="819"/>
                  </a:cubicBezTo>
                  <a:cubicBezTo>
                    <a:pt x="760" y="843"/>
                    <a:pt x="760" y="843"/>
                    <a:pt x="760" y="843"/>
                  </a:cubicBezTo>
                  <a:cubicBezTo>
                    <a:pt x="760" y="859"/>
                    <a:pt x="756" y="886"/>
                    <a:pt x="726" y="886"/>
                  </a:cubicBezTo>
                  <a:cubicBezTo>
                    <a:pt x="701" y="886"/>
                    <a:pt x="683" y="868"/>
                    <a:pt x="683" y="843"/>
                  </a:cubicBezTo>
                  <a:cubicBezTo>
                    <a:pt x="683" y="842"/>
                    <a:pt x="684" y="840"/>
                    <a:pt x="685" y="838"/>
                  </a:cubicBezTo>
                  <a:cubicBezTo>
                    <a:pt x="688" y="833"/>
                    <a:pt x="691" y="826"/>
                    <a:pt x="691" y="819"/>
                  </a:cubicBezTo>
                  <a:cubicBezTo>
                    <a:pt x="691" y="813"/>
                    <a:pt x="688" y="807"/>
                    <a:pt x="682" y="805"/>
                  </a:cubicBezTo>
                  <a:cubicBezTo>
                    <a:pt x="426" y="689"/>
                    <a:pt x="426" y="689"/>
                    <a:pt x="426" y="689"/>
                  </a:cubicBezTo>
                  <a:cubicBezTo>
                    <a:pt x="424" y="688"/>
                    <a:pt x="422" y="688"/>
                    <a:pt x="420" y="688"/>
                  </a:cubicBezTo>
                  <a:cubicBezTo>
                    <a:pt x="418" y="688"/>
                    <a:pt x="416" y="688"/>
                    <a:pt x="414" y="689"/>
                  </a:cubicBezTo>
                  <a:cubicBezTo>
                    <a:pt x="149" y="805"/>
                    <a:pt x="149" y="805"/>
                    <a:pt x="149" y="805"/>
                  </a:cubicBezTo>
                  <a:cubicBezTo>
                    <a:pt x="145" y="807"/>
                    <a:pt x="142" y="811"/>
                    <a:pt x="141" y="816"/>
                  </a:cubicBezTo>
                  <a:cubicBezTo>
                    <a:pt x="140" y="821"/>
                    <a:pt x="141" y="826"/>
                    <a:pt x="145" y="829"/>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3" name="Freeform 76">
              <a:extLst>
                <a:ext uri="{FF2B5EF4-FFF2-40B4-BE49-F238E27FC236}">
                  <a16:creationId xmlns:a16="http://schemas.microsoft.com/office/drawing/2014/main" id="{7CCDD955-EB21-4C00-9FB7-90B7FB571319}"/>
                </a:ext>
              </a:extLst>
            </p:cNvPr>
            <p:cNvSpPr>
              <a:spLocks noEditPoints="1"/>
            </p:cNvSpPr>
            <p:nvPr/>
          </p:nvSpPr>
          <p:spPr bwMode="auto">
            <a:xfrm>
              <a:off x="3246" y="1742"/>
              <a:ext cx="265" cy="244"/>
            </a:xfrm>
            <a:custGeom>
              <a:avLst/>
              <a:gdLst>
                <a:gd name="T0" fmla="*/ 150 w 150"/>
                <a:gd name="T1" fmla="*/ 55 h 138"/>
                <a:gd name="T2" fmla="*/ 75 w 150"/>
                <a:gd name="T3" fmla="*/ 0 h 138"/>
                <a:gd name="T4" fmla="*/ 0 w 150"/>
                <a:gd name="T5" fmla="*/ 55 h 138"/>
                <a:gd name="T6" fmla="*/ 75 w 150"/>
                <a:gd name="T7" fmla="*/ 138 h 138"/>
                <a:gd name="T8" fmla="*/ 150 w 150"/>
                <a:gd name="T9" fmla="*/ 55 h 138"/>
                <a:gd name="T10" fmla="*/ 30 w 150"/>
                <a:gd name="T11" fmla="*/ 55 h 138"/>
                <a:gd name="T12" fmla="*/ 75 w 150"/>
                <a:gd name="T13" fmla="*/ 30 h 138"/>
                <a:gd name="T14" fmla="*/ 120 w 150"/>
                <a:gd name="T15" fmla="*/ 55 h 138"/>
                <a:gd name="T16" fmla="*/ 75 w 150"/>
                <a:gd name="T17" fmla="*/ 108 h 138"/>
                <a:gd name="T18" fmla="*/ 30 w 150"/>
                <a:gd name="T19" fmla="*/ 5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38">
                  <a:moveTo>
                    <a:pt x="150" y="55"/>
                  </a:moveTo>
                  <a:cubicBezTo>
                    <a:pt x="150" y="24"/>
                    <a:pt x="117" y="0"/>
                    <a:pt x="75" y="0"/>
                  </a:cubicBezTo>
                  <a:cubicBezTo>
                    <a:pt x="33" y="0"/>
                    <a:pt x="0" y="24"/>
                    <a:pt x="0" y="55"/>
                  </a:cubicBezTo>
                  <a:cubicBezTo>
                    <a:pt x="0" y="84"/>
                    <a:pt x="31" y="138"/>
                    <a:pt x="75" y="138"/>
                  </a:cubicBezTo>
                  <a:cubicBezTo>
                    <a:pt x="118" y="138"/>
                    <a:pt x="150" y="84"/>
                    <a:pt x="150" y="55"/>
                  </a:cubicBezTo>
                  <a:close/>
                  <a:moveTo>
                    <a:pt x="30" y="55"/>
                  </a:moveTo>
                  <a:cubicBezTo>
                    <a:pt x="30" y="43"/>
                    <a:pt x="49" y="30"/>
                    <a:pt x="75" y="30"/>
                  </a:cubicBezTo>
                  <a:cubicBezTo>
                    <a:pt x="100" y="30"/>
                    <a:pt x="120" y="43"/>
                    <a:pt x="120" y="55"/>
                  </a:cubicBezTo>
                  <a:cubicBezTo>
                    <a:pt x="120" y="70"/>
                    <a:pt x="98" y="108"/>
                    <a:pt x="75" y="108"/>
                  </a:cubicBezTo>
                  <a:cubicBezTo>
                    <a:pt x="51" y="108"/>
                    <a:pt x="30" y="70"/>
                    <a:pt x="30" y="55"/>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4" name="Freeform 77">
              <a:extLst>
                <a:ext uri="{FF2B5EF4-FFF2-40B4-BE49-F238E27FC236}">
                  <a16:creationId xmlns:a16="http://schemas.microsoft.com/office/drawing/2014/main" id="{9AED1640-48EF-4305-AE42-C695E6443005}"/>
                </a:ext>
              </a:extLst>
            </p:cNvPr>
            <p:cNvSpPr>
              <a:spLocks noEditPoints="1"/>
            </p:cNvSpPr>
            <p:nvPr/>
          </p:nvSpPr>
          <p:spPr bwMode="auto">
            <a:xfrm>
              <a:off x="3578" y="1742"/>
              <a:ext cx="265" cy="244"/>
            </a:xfrm>
            <a:custGeom>
              <a:avLst/>
              <a:gdLst>
                <a:gd name="T0" fmla="*/ 75 w 150"/>
                <a:gd name="T1" fmla="*/ 138 h 138"/>
                <a:gd name="T2" fmla="*/ 150 w 150"/>
                <a:gd name="T3" fmla="*/ 55 h 138"/>
                <a:gd name="T4" fmla="*/ 75 w 150"/>
                <a:gd name="T5" fmla="*/ 0 h 138"/>
                <a:gd name="T6" fmla="*/ 0 w 150"/>
                <a:gd name="T7" fmla="*/ 55 h 138"/>
                <a:gd name="T8" fmla="*/ 75 w 150"/>
                <a:gd name="T9" fmla="*/ 138 h 138"/>
                <a:gd name="T10" fmla="*/ 75 w 150"/>
                <a:gd name="T11" fmla="*/ 30 h 138"/>
                <a:gd name="T12" fmla="*/ 120 w 150"/>
                <a:gd name="T13" fmla="*/ 55 h 138"/>
                <a:gd name="T14" fmla="*/ 75 w 150"/>
                <a:gd name="T15" fmla="*/ 108 h 138"/>
                <a:gd name="T16" fmla="*/ 30 w 150"/>
                <a:gd name="T17" fmla="*/ 55 h 138"/>
                <a:gd name="T18" fmla="*/ 75 w 150"/>
                <a:gd name="T19" fmla="*/ 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38">
                  <a:moveTo>
                    <a:pt x="75" y="138"/>
                  </a:moveTo>
                  <a:cubicBezTo>
                    <a:pt x="118" y="138"/>
                    <a:pt x="150" y="84"/>
                    <a:pt x="150" y="55"/>
                  </a:cubicBezTo>
                  <a:cubicBezTo>
                    <a:pt x="150" y="24"/>
                    <a:pt x="117" y="0"/>
                    <a:pt x="75" y="0"/>
                  </a:cubicBezTo>
                  <a:cubicBezTo>
                    <a:pt x="33" y="0"/>
                    <a:pt x="0" y="24"/>
                    <a:pt x="0" y="55"/>
                  </a:cubicBezTo>
                  <a:cubicBezTo>
                    <a:pt x="0" y="84"/>
                    <a:pt x="32" y="138"/>
                    <a:pt x="75" y="138"/>
                  </a:cubicBezTo>
                  <a:close/>
                  <a:moveTo>
                    <a:pt x="75" y="30"/>
                  </a:moveTo>
                  <a:cubicBezTo>
                    <a:pt x="101" y="30"/>
                    <a:pt x="120" y="43"/>
                    <a:pt x="120" y="55"/>
                  </a:cubicBezTo>
                  <a:cubicBezTo>
                    <a:pt x="120" y="70"/>
                    <a:pt x="98" y="108"/>
                    <a:pt x="75" y="108"/>
                  </a:cubicBezTo>
                  <a:cubicBezTo>
                    <a:pt x="51" y="108"/>
                    <a:pt x="30" y="70"/>
                    <a:pt x="30" y="55"/>
                  </a:cubicBezTo>
                  <a:cubicBezTo>
                    <a:pt x="30" y="43"/>
                    <a:pt x="49" y="30"/>
                    <a:pt x="75" y="3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5" name="Freeform 78">
              <a:extLst>
                <a:ext uri="{FF2B5EF4-FFF2-40B4-BE49-F238E27FC236}">
                  <a16:creationId xmlns:a16="http://schemas.microsoft.com/office/drawing/2014/main" id="{957C6184-69AD-4EB0-84C7-F14D8CAD82A7}"/>
                </a:ext>
              </a:extLst>
            </p:cNvPr>
            <p:cNvSpPr>
              <a:spLocks noEditPoints="1"/>
            </p:cNvSpPr>
            <p:nvPr/>
          </p:nvSpPr>
          <p:spPr bwMode="auto">
            <a:xfrm>
              <a:off x="3246" y="1742"/>
              <a:ext cx="265" cy="244"/>
            </a:xfrm>
            <a:custGeom>
              <a:avLst/>
              <a:gdLst>
                <a:gd name="T0" fmla="*/ 75 w 150"/>
                <a:gd name="T1" fmla="*/ 138 h 138"/>
                <a:gd name="T2" fmla="*/ 0 w 150"/>
                <a:gd name="T3" fmla="*/ 55 h 138"/>
                <a:gd name="T4" fmla="*/ 75 w 150"/>
                <a:gd name="T5" fmla="*/ 0 h 138"/>
                <a:gd name="T6" fmla="*/ 150 w 150"/>
                <a:gd name="T7" fmla="*/ 55 h 138"/>
                <a:gd name="T8" fmla="*/ 75 w 150"/>
                <a:gd name="T9" fmla="*/ 138 h 138"/>
                <a:gd name="T10" fmla="*/ 75 w 150"/>
                <a:gd name="T11" fmla="*/ 30 h 138"/>
                <a:gd name="T12" fmla="*/ 30 w 150"/>
                <a:gd name="T13" fmla="*/ 55 h 138"/>
                <a:gd name="T14" fmla="*/ 75 w 150"/>
                <a:gd name="T15" fmla="*/ 108 h 138"/>
                <a:gd name="T16" fmla="*/ 120 w 150"/>
                <a:gd name="T17" fmla="*/ 55 h 138"/>
                <a:gd name="T18" fmla="*/ 75 w 150"/>
                <a:gd name="T19" fmla="*/ 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38">
                  <a:moveTo>
                    <a:pt x="75" y="138"/>
                  </a:moveTo>
                  <a:cubicBezTo>
                    <a:pt x="31" y="138"/>
                    <a:pt x="0" y="84"/>
                    <a:pt x="0" y="55"/>
                  </a:cubicBezTo>
                  <a:cubicBezTo>
                    <a:pt x="0" y="24"/>
                    <a:pt x="33" y="0"/>
                    <a:pt x="75" y="0"/>
                  </a:cubicBezTo>
                  <a:cubicBezTo>
                    <a:pt x="117" y="0"/>
                    <a:pt x="150" y="24"/>
                    <a:pt x="150" y="55"/>
                  </a:cubicBezTo>
                  <a:cubicBezTo>
                    <a:pt x="150" y="84"/>
                    <a:pt x="118" y="138"/>
                    <a:pt x="75" y="138"/>
                  </a:cubicBezTo>
                  <a:close/>
                  <a:moveTo>
                    <a:pt x="75" y="30"/>
                  </a:moveTo>
                  <a:cubicBezTo>
                    <a:pt x="49" y="30"/>
                    <a:pt x="30" y="43"/>
                    <a:pt x="30" y="55"/>
                  </a:cubicBezTo>
                  <a:cubicBezTo>
                    <a:pt x="30" y="70"/>
                    <a:pt x="51" y="108"/>
                    <a:pt x="75" y="108"/>
                  </a:cubicBezTo>
                  <a:cubicBezTo>
                    <a:pt x="98" y="108"/>
                    <a:pt x="120" y="70"/>
                    <a:pt x="120" y="55"/>
                  </a:cubicBezTo>
                  <a:cubicBezTo>
                    <a:pt x="120" y="43"/>
                    <a:pt x="100" y="30"/>
                    <a:pt x="75"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6" name="Freeform 79">
              <a:extLst>
                <a:ext uri="{FF2B5EF4-FFF2-40B4-BE49-F238E27FC236}">
                  <a16:creationId xmlns:a16="http://schemas.microsoft.com/office/drawing/2014/main" id="{687DF6B2-7B50-47FA-8BDB-4B80D87A3B9E}"/>
                </a:ext>
              </a:extLst>
            </p:cNvPr>
            <p:cNvSpPr>
              <a:spLocks noEditPoints="1"/>
            </p:cNvSpPr>
            <p:nvPr/>
          </p:nvSpPr>
          <p:spPr bwMode="auto">
            <a:xfrm>
              <a:off x="3578" y="1742"/>
              <a:ext cx="265" cy="244"/>
            </a:xfrm>
            <a:custGeom>
              <a:avLst/>
              <a:gdLst>
                <a:gd name="T0" fmla="*/ 75 w 150"/>
                <a:gd name="T1" fmla="*/ 138 h 138"/>
                <a:gd name="T2" fmla="*/ 0 w 150"/>
                <a:gd name="T3" fmla="*/ 55 h 138"/>
                <a:gd name="T4" fmla="*/ 75 w 150"/>
                <a:gd name="T5" fmla="*/ 0 h 138"/>
                <a:gd name="T6" fmla="*/ 150 w 150"/>
                <a:gd name="T7" fmla="*/ 55 h 138"/>
                <a:gd name="T8" fmla="*/ 75 w 150"/>
                <a:gd name="T9" fmla="*/ 138 h 138"/>
                <a:gd name="T10" fmla="*/ 75 w 150"/>
                <a:gd name="T11" fmla="*/ 30 h 138"/>
                <a:gd name="T12" fmla="*/ 30 w 150"/>
                <a:gd name="T13" fmla="*/ 55 h 138"/>
                <a:gd name="T14" fmla="*/ 75 w 150"/>
                <a:gd name="T15" fmla="*/ 108 h 138"/>
                <a:gd name="T16" fmla="*/ 120 w 150"/>
                <a:gd name="T17" fmla="*/ 55 h 138"/>
                <a:gd name="T18" fmla="*/ 75 w 150"/>
                <a:gd name="T19" fmla="*/ 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38">
                  <a:moveTo>
                    <a:pt x="75" y="138"/>
                  </a:moveTo>
                  <a:cubicBezTo>
                    <a:pt x="32" y="138"/>
                    <a:pt x="0" y="84"/>
                    <a:pt x="0" y="55"/>
                  </a:cubicBezTo>
                  <a:cubicBezTo>
                    <a:pt x="0" y="24"/>
                    <a:pt x="33" y="0"/>
                    <a:pt x="75" y="0"/>
                  </a:cubicBezTo>
                  <a:cubicBezTo>
                    <a:pt x="117" y="0"/>
                    <a:pt x="150" y="24"/>
                    <a:pt x="150" y="55"/>
                  </a:cubicBezTo>
                  <a:cubicBezTo>
                    <a:pt x="150" y="84"/>
                    <a:pt x="118" y="138"/>
                    <a:pt x="75" y="138"/>
                  </a:cubicBezTo>
                  <a:close/>
                  <a:moveTo>
                    <a:pt x="75" y="30"/>
                  </a:moveTo>
                  <a:cubicBezTo>
                    <a:pt x="49" y="30"/>
                    <a:pt x="30" y="43"/>
                    <a:pt x="30" y="55"/>
                  </a:cubicBezTo>
                  <a:cubicBezTo>
                    <a:pt x="30" y="70"/>
                    <a:pt x="51" y="108"/>
                    <a:pt x="75" y="108"/>
                  </a:cubicBezTo>
                  <a:cubicBezTo>
                    <a:pt x="98" y="108"/>
                    <a:pt x="120" y="70"/>
                    <a:pt x="120" y="55"/>
                  </a:cubicBezTo>
                  <a:cubicBezTo>
                    <a:pt x="120" y="43"/>
                    <a:pt x="101" y="30"/>
                    <a:pt x="75"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 name="Freeform 80">
              <a:extLst>
                <a:ext uri="{FF2B5EF4-FFF2-40B4-BE49-F238E27FC236}">
                  <a16:creationId xmlns:a16="http://schemas.microsoft.com/office/drawing/2014/main" id="{6E9ACC85-A83C-49A2-88AE-58824C77CB7F}"/>
                </a:ext>
              </a:extLst>
            </p:cNvPr>
            <p:cNvSpPr>
              <a:spLocks noEditPoints="1"/>
            </p:cNvSpPr>
            <p:nvPr/>
          </p:nvSpPr>
          <p:spPr bwMode="auto">
            <a:xfrm>
              <a:off x="2801" y="1450"/>
              <a:ext cx="1484" cy="1620"/>
            </a:xfrm>
            <a:custGeom>
              <a:avLst/>
              <a:gdLst>
                <a:gd name="T0" fmla="*/ 550 w 840"/>
                <a:gd name="T1" fmla="*/ 662 h 916"/>
                <a:gd name="T2" fmla="*/ 840 w 840"/>
                <a:gd name="T3" fmla="*/ 546 h 916"/>
                <a:gd name="T4" fmla="*/ 726 w 840"/>
                <a:gd name="T5" fmla="*/ 407 h 916"/>
                <a:gd name="T6" fmla="*/ 549 w 840"/>
                <a:gd name="T7" fmla="*/ 548 h 916"/>
                <a:gd name="T8" fmla="*/ 645 w 840"/>
                <a:gd name="T9" fmla="*/ 246 h 916"/>
                <a:gd name="T10" fmla="*/ 258 w 840"/>
                <a:gd name="T11" fmla="*/ 410 h 916"/>
                <a:gd name="T12" fmla="*/ 174 w 840"/>
                <a:gd name="T13" fmla="*/ 496 h 916"/>
                <a:gd name="T14" fmla="*/ 41 w 840"/>
                <a:gd name="T15" fmla="*/ 472 h 916"/>
                <a:gd name="T16" fmla="*/ 65 w 840"/>
                <a:gd name="T17" fmla="*/ 619 h 916"/>
                <a:gd name="T18" fmla="*/ 124 w 840"/>
                <a:gd name="T19" fmla="*/ 732 h 916"/>
                <a:gd name="T20" fmla="*/ 42 w 840"/>
                <a:gd name="T21" fmla="*/ 830 h 916"/>
                <a:gd name="T22" fmla="*/ 179 w 840"/>
                <a:gd name="T23" fmla="*/ 843 h 916"/>
                <a:gd name="T24" fmla="*/ 657 w 840"/>
                <a:gd name="T25" fmla="*/ 827 h 916"/>
                <a:gd name="T26" fmla="*/ 790 w 840"/>
                <a:gd name="T27" fmla="*/ 843 h 916"/>
                <a:gd name="T28" fmla="*/ 767 w 840"/>
                <a:gd name="T29" fmla="*/ 704 h 916"/>
                <a:gd name="T30" fmla="*/ 321 w 840"/>
                <a:gd name="T31" fmla="*/ 525 h 916"/>
                <a:gd name="T32" fmla="*/ 328 w 840"/>
                <a:gd name="T33" fmla="*/ 470 h 916"/>
                <a:gd name="T34" fmla="*/ 358 w 840"/>
                <a:gd name="T35" fmla="*/ 486 h 916"/>
                <a:gd name="T36" fmla="*/ 402 w 840"/>
                <a:gd name="T37" fmla="*/ 486 h 916"/>
                <a:gd name="T38" fmla="*/ 432 w 840"/>
                <a:gd name="T39" fmla="*/ 470 h 916"/>
                <a:gd name="T40" fmla="*/ 491 w 840"/>
                <a:gd name="T41" fmla="*/ 501 h 916"/>
                <a:gd name="T42" fmla="*/ 551 w 840"/>
                <a:gd name="T43" fmla="*/ 470 h 916"/>
                <a:gd name="T44" fmla="*/ 424 w 840"/>
                <a:gd name="T45" fmla="*/ 30 h 916"/>
                <a:gd name="T46" fmla="*/ 551 w 840"/>
                <a:gd name="T47" fmla="*/ 413 h 916"/>
                <a:gd name="T48" fmla="*/ 506 w 840"/>
                <a:gd name="T49" fmla="*/ 420 h 916"/>
                <a:gd name="T50" fmla="*/ 476 w 840"/>
                <a:gd name="T51" fmla="*/ 440 h 916"/>
                <a:gd name="T52" fmla="*/ 417 w 840"/>
                <a:gd name="T53" fmla="*/ 405 h 916"/>
                <a:gd name="T54" fmla="*/ 358 w 840"/>
                <a:gd name="T55" fmla="*/ 440 h 916"/>
                <a:gd name="T56" fmla="*/ 328 w 840"/>
                <a:gd name="T57" fmla="*/ 420 h 916"/>
                <a:gd name="T58" fmla="*/ 288 w 840"/>
                <a:gd name="T59" fmla="*/ 405 h 916"/>
                <a:gd name="T60" fmla="*/ 321 w 840"/>
                <a:gd name="T61" fmla="*/ 555 h 916"/>
                <a:gd name="T62" fmla="*/ 420 w 840"/>
                <a:gd name="T63" fmla="*/ 604 h 916"/>
                <a:gd name="T64" fmla="*/ 775 w 840"/>
                <a:gd name="T65" fmla="*/ 803 h 916"/>
                <a:gd name="T66" fmla="*/ 726 w 840"/>
                <a:gd name="T67" fmla="*/ 886 h 916"/>
                <a:gd name="T68" fmla="*/ 691 w 840"/>
                <a:gd name="T69" fmla="*/ 819 h 916"/>
                <a:gd name="T70" fmla="*/ 420 w 840"/>
                <a:gd name="T71" fmla="*/ 688 h 916"/>
                <a:gd name="T72" fmla="*/ 141 w 840"/>
                <a:gd name="T73" fmla="*/ 816 h 916"/>
                <a:gd name="T74" fmla="*/ 106 w 840"/>
                <a:gd name="T75" fmla="*/ 886 h 916"/>
                <a:gd name="T76" fmla="*/ 78 w 840"/>
                <a:gd name="T77" fmla="*/ 813 h 916"/>
                <a:gd name="T78" fmla="*/ 65 w 840"/>
                <a:gd name="T79" fmla="*/ 734 h 916"/>
                <a:gd name="T80" fmla="*/ 120 w 840"/>
                <a:gd name="T81" fmla="*/ 766 h 916"/>
                <a:gd name="T82" fmla="*/ 326 w 840"/>
                <a:gd name="T83" fmla="*/ 648 h 916"/>
                <a:gd name="T84" fmla="*/ 65 w 840"/>
                <a:gd name="T85" fmla="*/ 589 h 916"/>
                <a:gd name="T86" fmla="*/ 78 w 840"/>
                <a:gd name="T87" fmla="*/ 502 h 916"/>
                <a:gd name="T88" fmla="*/ 106 w 840"/>
                <a:gd name="T89" fmla="*/ 437 h 916"/>
                <a:gd name="T90" fmla="*/ 140 w 840"/>
                <a:gd name="T91" fmla="*/ 505 h 916"/>
                <a:gd name="T92" fmla="*/ 426 w 840"/>
                <a:gd name="T93" fmla="*/ 634 h 916"/>
                <a:gd name="T94" fmla="*/ 695 w 840"/>
                <a:gd name="T95" fmla="*/ 494 h 916"/>
                <a:gd name="T96" fmla="*/ 760 w 840"/>
                <a:gd name="T97" fmla="*/ 472 h 916"/>
                <a:gd name="T98" fmla="*/ 810 w 840"/>
                <a:gd name="T99" fmla="*/ 546 h 916"/>
                <a:gd name="T100" fmla="*/ 712 w 840"/>
                <a:gd name="T101" fmla="*/ 565 h 916"/>
                <a:gd name="T102" fmla="*/ 505 w 840"/>
                <a:gd name="T103" fmla="*/ 675 h 916"/>
                <a:gd name="T104" fmla="*/ 732 w 840"/>
                <a:gd name="T105" fmla="*/ 757 h 916"/>
                <a:gd name="T106" fmla="*/ 775 w 840"/>
                <a:gd name="T107" fmla="*/ 803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0" h="916">
                  <a:moveTo>
                    <a:pt x="767" y="704"/>
                  </a:moveTo>
                  <a:cubicBezTo>
                    <a:pt x="740" y="704"/>
                    <a:pt x="721" y="714"/>
                    <a:pt x="710" y="733"/>
                  </a:cubicBezTo>
                  <a:cubicBezTo>
                    <a:pt x="550" y="662"/>
                    <a:pt x="550" y="662"/>
                    <a:pt x="550" y="662"/>
                  </a:cubicBezTo>
                  <a:cubicBezTo>
                    <a:pt x="714" y="597"/>
                    <a:pt x="714" y="597"/>
                    <a:pt x="714" y="597"/>
                  </a:cubicBezTo>
                  <a:cubicBezTo>
                    <a:pt x="731" y="611"/>
                    <a:pt x="749" y="619"/>
                    <a:pt x="767" y="619"/>
                  </a:cubicBezTo>
                  <a:cubicBezTo>
                    <a:pt x="808" y="619"/>
                    <a:pt x="840" y="588"/>
                    <a:pt x="840" y="546"/>
                  </a:cubicBezTo>
                  <a:cubicBezTo>
                    <a:pt x="840" y="518"/>
                    <a:pt x="817" y="491"/>
                    <a:pt x="790" y="484"/>
                  </a:cubicBezTo>
                  <a:cubicBezTo>
                    <a:pt x="790" y="472"/>
                    <a:pt x="790" y="472"/>
                    <a:pt x="790" y="472"/>
                  </a:cubicBezTo>
                  <a:cubicBezTo>
                    <a:pt x="790" y="440"/>
                    <a:pt x="768" y="407"/>
                    <a:pt x="726" y="407"/>
                  </a:cubicBezTo>
                  <a:cubicBezTo>
                    <a:pt x="686" y="407"/>
                    <a:pt x="653" y="437"/>
                    <a:pt x="653" y="472"/>
                  </a:cubicBezTo>
                  <a:cubicBezTo>
                    <a:pt x="653" y="483"/>
                    <a:pt x="656" y="492"/>
                    <a:pt x="660" y="499"/>
                  </a:cubicBezTo>
                  <a:cubicBezTo>
                    <a:pt x="549" y="548"/>
                    <a:pt x="549" y="548"/>
                    <a:pt x="549" y="548"/>
                  </a:cubicBezTo>
                  <a:cubicBezTo>
                    <a:pt x="567" y="538"/>
                    <a:pt x="581" y="520"/>
                    <a:pt x="581" y="492"/>
                  </a:cubicBezTo>
                  <a:cubicBezTo>
                    <a:pt x="581" y="418"/>
                    <a:pt x="581" y="418"/>
                    <a:pt x="581" y="418"/>
                  </a:cubicBezTo>
                  <a:cubicBezTo>
                    <a:pt x="623" y="366"/>
                    <a:pt x="645" y="308"/>
                    <a:pt x="645" y="246"/>
                  </a:cubicBezTo>
                  <a:cubicBezTo>
                    <a:pt x="645" y="113"/>
                    <a:pt x="544" y="0"/>
                    <a:pt x="424" y="0"/>
                  </a:cubicBezTo>
                  <a:cubicBezTo>
                    <a:pt x="298" y="0"/>
                    <a:pt x="195" y="110"/>
                    <a:pt x="195" y="246"/>
                  </a:cubicBezTo>
                  <a:cubicBezTo>
                    <a:pt x="195" y="301"/>
                    <a:pt x="218" y="359"/>
                    <a:pt x="258" y="410"/>
                  </a:cubicBezTo>
                  <a:cubicBezTo>
                    <a:pt x="258" y="492"/>
                    <a:pt x="258" y="492"/>
                    <a:pt x="258" y="492"/>
                  </a:cubicBezTo>
                  <a:cubicBezTo>
                    <a:pt x="258" y="515"/>
                    <a:pt x="266" y="532"/>
                    <a:pt x="280" y="543"/>
                  </a:cubicBezTo>
                  <a:cubicBezTo>
                    <a:pt x="174" y="496"/>
                    <a:pt x="174" y="496"/>
                    <a:pt x="174" y="496"/>
                  </a:cubicBezTo>
                  <a:cubicBezTo>
                    <a:pt x="176" y="491"/>
                    <a:pt x="179" y="482"/>
                    <a:pt x="179" y="472"/>
                  </a:cubicBezTo>
                  <a:cubicBezTo>
                    <a:pt x="179" y="437"/>
                    <a:pt x="145" y="407"/>
                    <a:pt x="106" y="407"/>
                  </a:cubicBezTo>
                  <a:cubicBezTo>
                    <a:pt x="73" y="407"/>
                    <a:pt x="41" y="439"/>
                    <a:pt x="41" y="472"/>
                  </a:cubicBezTo>
                  <a:cubicBezTo>
                    <a:pt x="41" y="476"/>
                    <a:pt x="41" y="480"/>
                    <a:pt x="42" y="485"/>
                  </a:cubicBezTo>
                  <a:cubicBezTo>
                    <a:pt x="14" y="494"/>
                    <a:pt x="0" y="520"/>
                    <a:pt x="0" y="546"/>
                  </a:cubicBezTo>
                  <a:cubicBezTo>
                    <a:pt x="0" y="586"/>
                    <a:pt x="30" y="619"/>
                    <a:pt x="65" y="619"/>
                  </a:cubicBezTo>
                  <a:cubicBezTo>
                    <a:pt x="93" y="619"/>
                    <a:pt x="110" y="609"/>
                    <a:pt x="120" y="598"/>
                  </a:cubicBezTo>
                  <a:cubicBezTo>
                    <a:pt x="282" y="662"/>
                    <a:pt x="282" y="662"/>
                    <a:pt x="282" y="662"/>
                  </a:cubicBezTo>
                  <a:cubicBezTo>
                    <a:pt x="124" y="732"/>
                    <a:pt x="124" y="732"/>
                    <a:pt x="124" y="732"/>
                  </a:cubicBezTo>
                  <a:cubicBezTo>
                    <a:pt x="115" y="714"/>
                    <a:pt x="94" y="704"/>
                    <a:pt x="65" y="704"/>
                  </a:cubicBezTo>
                  <a:cubicBezTo>
                    <a:pt x="33" y="704"/>
                    <a:pt x="0" y="727"/>
                    <a:pt x="0" y="769"/>
                  </a:cubicBezTo>
                  <a:cubicBezTo>
                    <a:pt x="0" y="795"/>
                    <a:pt x="14" y="821"/>
                    <a:pt x="42" y="830"/>
                  </a:cubicBezTo>
                  <a:cubicBezTo>
                    <a:pt x="41" y="835"/>
                    <a:pt x="41" y="840"/>
                    <a:pt x="41" y="843"/>
                  </a:cubicBezTo>
                  <a:cubicBezTo>
                    <a:pt x="41" y="883"/>
                    <a:pt x="71" y="916"/>
                    <a:pt x="106" y="916"/>
                  </a:cubicBezTo>
                  <a:cubicBezTo>
                    <a:pt x="147" y="916"/>
                    <a:pt x="179" y="885"/>
                    <a:pt x="179" y="843"/>
                  </a:cubicBezTo>
                  <a:cubicBezTo>
                    <a:pt x="179" y="838"/>
                    <a:pt x="179" y="832"/>
                    <a:pt x="177" y="826"/>
                  </a:cubicBezTo>
                  <a:cubicBezTo>
                    <a:pt x="420" y="719"/>
                    <a:pt x="420" y="719"/>
                    <a:pt x="420" y="719"/>
                  </a:cubicBezTo>
                  <a:cubicBezTo>
                    <a:pt x="657" y="827"/>
                    <a:pt x="657" y="827"/>
                    <a:pt x="657" y="827"/>
                  </a:cubicBezTo>
                  <a:cubicBezTo>
                    <a:pt x="655" y="831"/>
                    <a:pt x="653" y="837"/>
                    <a:pt x="653" y="843"/>
                  </a:cubicBezTo>
                  <a:cubicBezTo>
                    <a:pt x="653" y="885"/>
                    <a:pt x="684" y="916"/>
                    <a:pt x="726" y="916"/>
                  </a:cubicBezTo>
                  <a:cubicBezTo>
                    <a:pt x="765" y="916"/>
                    <a:pt x="790" y="887"/>
                    <a:pt x="790" y="843"/>
                  </a:cubicBezTo>
                  <a:cubicBezTo>
                    <a:pt x="790" y="831"/>
                    <a:pt x="790" y="831"/>
                    <a:pt x="790" y="831"/>
                  </a:cubicBezTo>
                  <a:cubicBezTo>
                    <a:pt x="817" y="824"/>
                    <a:pt x="840" y="797"/>
                    <a:pt x="840" y="769"/>
                  </a:cubicBezTo>
                  <a:cubicBezTo>
                    <a:pt x="840" y="730"/>
                    <a:pt x="811" y="704"/>
                    <a:pt x="767" y="704"/>
                  </a:cubicBezTo>
                  <a:close/>
                  <a:moveTo>
                    <a:pt x="551" y="492"/>
                  </a:moveTo>
                  <a:cubicBezTo>
                    <a:pt x="551" y="515"/>
                    <a:pt x="535" y="525"/>
                    <a:pt x="519" y="525"/>
                  </a:cubicBezTo>
                  <a:cubicBezTo>
                    <a:pt x="321" y="525"/>
                    <a:pt x="321" y="525"/>
                    <a:pt x="321" y="525"/>
                  </a:cubicBezTo>
                  <a:cubicBezTo>
                    <a:pt x="298" y="525"/>
                    <a:pt x="288" y="516"/>
                    <a:pt x="288" y="492"/>
                  </a:cubicBezTo>
                  <a:cubicBezTo>
                    <a:pt x="288" y="470"/>
                    <a:pt x="288" y="470"/>
                    <a:pt x="288" y="470"/>
                  </a:cubicBezTo>
                  <a:cubicBezTo>
                    <a:pt x="328" y="470"/>
                    <a:pt x="328" y="470"/>
                    <a:pt x="328" y="470"/>
                  </a:cubicBezTo>
                  <a:cubicBezTo>
                    <a:pt x="328" y="486"/>
                    <a:pt x="328" y="486"/>
                    <a:pt x="328" y="486"/>
                  </a:cubicBezTo>
                  <a:cubicBezTo>
                    <a:pt x="328" y="494"/>
                    <a:pt x="334" y="501"/>
                    <a:pt x="343" y="501"/>
                  </a:cubicBezTo>
                  <a:cubicBezTo>
                    <a:pt x="351" y="501"/>
                    <a:pt x="358" y="494"/>
                    <a:pt x="358" y="486"/>
                  </a:cubicBezTo>
                  <a:cubicBezTo>
                    <a:pt x="358" y="470"/>
                    <a:pt x="358" y="470"/>
                    <a:pt x="358" y="470"/>
                  </a:cubicBezTo>
                  <a:cubicBezTo>
                    <a:pt x="402" y="470"/>
                    <a:pt x="402" y="470"/>
                    <a:pt x="402" y="470"/>
                  </a:cubicBezTo>
                  <a:cubicBezTo>
                    <a:pt x="402" y="486"/>
                    <a:pt x="402" y="486"/>
                    <a:pt x="402" y="486"/>
                  </a:cubicBezTo>
                  <a:cubicBezTo>
                    <a:pt x="402" y="494"/>
                    <a:pt x="408" y="501"/>
                    <a:pt x="417" y="501"/>
                  </a:cubicBezTo>
                  <a:cubicBezTo>
                    <a:pt x="425" y="501"/>
                    <a:pt x="432" y="494"/>
                    <a:pt x="432" y="486"/>
                  </a:cubicBezTo>
                  <a:cubicBezTo>
                    <a:pt x="432" y="470"/>
                    <a:pt x="432" y="470"/>
                    <a:pt x="432" y="470"/>
                  </a:cubicBezTo>
                  <a:cubicBezTo>
                    <a:pt x="476" y="470"/>
                    <a:pt x="476" y="470"/>
                    <a:pt x="476" y="470"/>
                  </a:cubicBezTo>
                  <a:cubicBezTo>
                    <a:pt x="476" y="486"/>
                    <a:pt x="476" y="486"/>
                    <a:pt x="476" y="486"/>
                  </a:cubicBezTo>
                  <a:cubicBezTo>
                    <a:pt x="476" y="494"/>
                    <a:pt x="483" y="501"/>
                    <a:pt x="491" y="501"/>
                  </a:cubicBezTo>
                  <a:cubicBezTo>
                    <a:pt x="499" y="501"/>
                    <a:pt x="506" y="494"/>
                    <a:pt x="506" y="486"/>
                  </a:cubicBezTo>
                  <a:cubicBezTo>
                    <a:pt x="506" y="470"/>
                    <a:pt x="506" y="470"/>
                    <a:pt x="506" y="470"/>
                  </a:cubicBezTo>
                  <a:cubicBezTo>
                    <a:pt x="551" y="470"/>
                    <a:pt x="551" y="470"/>
                    <a:pt x="551" y="470"/>
                  </a:cubicBezTo>
                  <a:lnTo>
                    <a:pt x="551" y="492"/>
                  </a:lnTo>
                  <a:close/>
                  <a:moveTo>
                    <a:pt x="225" y="246"/>
                  </a:moveTo>
                  <a:cubicBezTo>
                    <a:pt x="225" y="127"/>
                    <a:pt x="314" y="30"/>
                    <a:pt x="424" y="30"/>
                  </a:cubicBezTo>
                  <a:cubicBezTo>
                    <a:pt x="527" y="30"/>
                    <a:pt x="615" y="129"/>
                    <a:pt x="615" y="246"/>
                  </a:cubicBezTo>
                  <a:cubicBezTo>
                    <a:pt x="615" y="302"/>
                    <a:pt x="595" y="355"/>
                    <a:pt x="555" y="403"/>
                  </a:cubicBezTo>
                  <a:cubicBezTo>
                    <a:pt x="553" y="406"/>
                    <a:pt x="551" y="409"/>
                    <a:pt x="551" y="413"/>
                  </a:cubicBezTo>
                  <a:cubicBezTo>
                    <a:pt x="551" y="440"/>
                    <a:pt x="551" y="440"/>
                    <a:pt x="551" y="440"/>
                  </a:cubicBezTo>
                  <a:cubicBezTo>
                    <a:pt x="506" y="440"/>
                    <a:pt x="506" y="440"/>
                    <a:pt x="506" y="440"/>
                  </a:cubicBezTo>
                  <a:cubicBezTo>
                    <a:pt x="506" y="420"/>
                    <a:pt x="506" y="420"/>
                    <a:pt x="506" y="420"/>
                  </a:cubicBezTo>
                  <a:cubicBezTo>
                    <a:pt x="506" y="412"/>
                    <a:pt x="499" y="405"/>
                    <a:pt x="491" y="405"/>
                  </a:cubicBezTo>
                  <a:cubicBezTo>
                    <a:pt x="483" y="405"/>
                    <a:pt x="476" y="412"/>
                    <a:pt x="476" y="420"/>
                  </a:cubicBezTo>
                  <a:cubicBezTo>
                    <a:pt x="476" y="440"/>
                    <a:pt x="476" y="440"/>
                    <a:pt x="476" y="440"/>
                  </a:cubicBezTo>
                  <a:cubicBezTo>
                    <a:pt x="432" y="440"/>
                    <a:pt x="432" y="440"/>
                    <a:pt x="432" y="440"/>
                  </a:cubicBezTo>
                  <a:cubicBezTo>
                    <a:pt x="432" y="420"/>
                    <a:pt x="432" y="420"/>
                    <a:pt x="432" y="420"/>
                  </a:cubicBezTo>
                  <a:cubicBezTo>
                    <a:pt x="432" y="412"/>
                    <a:pt x="425" y="405"/>
                    <a:pt x="417" y="405"/>
                  </a:cubicBezTo>
                  <a:cubicBezTo>
                    <a:pt x="408" y="405"/>
                    <a:pt x="402" y="412"/>
                    <a:pt x="402" y="420"/>
                  </a:cubicBezTo>
                  <a:cubicBezTo>
                    <a:pt x="402" y="440"/>
                    <a:pt x="402" y="440"/>
                    <a:pt x="402" y="440"/>
                  </a:cubicBezTo>
                  <a:cubicBezTo>
                    <a:pt x="358" y="440"/>
                    <a:pt x="358" y="440"/>
                    <a:pt x="358" y="440"/>
                  </a:cubicBezTo>
                  <a:cubicBezTo>
                    <a:pt x="358" y="420"/>
                    <a:pt x="358" y="420"/>
                    <a:pt x="358" y="420"/>
                  </a:cubicBezTo>
                  <a:cubicBezTo>
                    <a:pt x="358" y="412"/>
                    <a:pt x="351" y="405"/>
                    <a:pt x="343" y="405"/>
                  </a:cubicBezTo>
                  <a:cubicBezTo>
                    <a:pt x="334" y="405"/>
                    <a:pt x="328" y="412"/>
                    <a:pt x="328" y="420"/>
                  </a:cubicBezTo>
                  <a:cubicBezTo>
                    <a:pt x="328" y="440"/>
                    <a:pt x="328" y="440"/>
                    <a:pt x="328" y="440"/>
                  </a:cubicBezTo>
                  <a:cubicBezTo>
                    <a:pt x="288" y="440"/>
                    <a:pt x="288" y="440"/>
                    <a:pt x="288" y="440"/>
                  </a:cubicBezTo>
                  <a:cubicBezTo>
                    <a:pt x="288" y="405"/>
                    <a:pt x="288" y="405"/>
                    <a:pt x="288" y="405"/>
                  </a:cubicBezTo>
                  <a:cubicBezTo>
                    <a:pt x="288" y="401"/>
                    <a:pt x="287" y="398"/>
                    <a:pt x="285" y="395"/>
                  </a:cubicBezTo>
                  <a:cubicBezTo>
                    <a:pt x="246" y="349"/>
                    <a:pt x="225" y="296"/>
                    <a:pt x="225" y="246"/>
                  </a:cubicBezTo>
                  <a:close/>
                  <a:moveTo>
                    <a:pt x="321" y="555"/>
                  </a:moveTo>
                  <a:cubicBezTo>
                    <a:pt x="519" y="555"/>
                    <a:pt x="519" y="555"/>
                    <a:pt x="519" y="555"/>
                  </a:cubicBezTo>
                  <a:cubicBezTo>
                    <a:pt x="526" y="555"/>
                    <a:pt x="533" y="554"/>
                    <a:pt x="540" y="551"/>
                  </a:cubicBezTo>
                  <a:cubicBezTo>
                    <a:pt x="420" y="604"/>
                    <a:pt x="420" y="604"/>
                    <a:pt x="420" y="604"/>
                  </a:cubicBezTo>
                  <a:cubicBezTo>
                    <a:pt x="303" y="553"/>
                    <a:pt x="303" y="553"/>
                    <a:pt x="303" y="553"/>
                  </a:cubicBezTo>
                  <a:cubicBezTo>
                    <a:pt x="309" y="554"/>
                    <a:pt x="315" y="555"/>
                    <a:pt x="321" y="555"/>
                  </a:cubicBezTo>
                  <a:close/>
                  <a:moveTo>
                    <a:pt x="775" y="803"/>
                  </a:moveTo>
                  <a:cubicBezTo>
                    <a:pt x="767" y="803"/>
                    <a:pt x="760" y="810"/>
                    <a:pt x="760" y="819"/>
                  </a:cubicBezTo>
                  <a:cubicBezTo>
                    <a:pt x="760" y="843"/>
                    <a:pt x="760" y="843"/>
                    <a:pt x="760" y="843"/>
                  </a:cubicBezTo>
                  <a:cubicBezTo>
                    <a:pt x="760" y="859"/>
                    <a:pt x="756" y="886"/>
                    <a:pt x="726" y="886"/>
                  </a:cubicBezTo>
                  <a:cubicBezTo>
                    <a:pt x="701" y="886"/>
                    <a:pt x="683" y="868"/>
                    <a:pt x="683" y="843"/>
                  </a:cubicBezTo>
                  <a:cubicBezTo>
                    <a:pt x="683" y="842"/>
                    <a:pt x="684" y="840"/>
                    <a:pt x="685" y="838"/>
                  </a:cubicBezTo>
                  <a:cubicBezTo>
                    <a:pt x="688" y="833"/>
                    <a:pt x="691" y="826"/>
                    <a:pt x="691" y="819"/>
                  </a:cubicBezTo>
                  <a:cubicBezTo>
                    <a:pt x="691" y="813"/>
                    <a:pt x="688" y="807"/>
                    <a:pt x="682" y="805"/>
                  </a:cubicBezTo>
                  <a:cubicBezTo>
                    <a:pt x="426" y="689"/>
                    <a:pt x="426" y="689"/>
                    <a:pt x="426" y="689"/>
                  </a:cubicBezTo>
                  <a:cubicBezTo>
                    <a:pt x="424" y="688"/>
                    <a:pt x="422" y="688"/>
                    <a:pt x="420" y="688"/>
                  </a:cubicBezTo>
                  <a:cubicBezTo>
                    <a:pt x="418" y="688"/>
                    <a:pt x="416" y="688"/>
                    <a:pt x="414" y="689"/>
                  </a:cubicBezTo>
                  <a:cubicBezTo>
                    <a:pt x="149" y="805"/>
                    <a:pt x="149" y="805"/>
                    <a:pt x="149" y="805"/>
                  </a:cubicBezTo>
                  <a:cubicBezTo>
                    <a:pt x="145" y="807"/>
                    <a:pt x="142" y="811"/>
                    <a:pt x="141" y="816"/>
                  </a:cubicBezTo>
                  <a:cubicBezTo>
                    <a:pt x="140" y="821"/>
                    <a:pt x="141" y="826"/>
                    <a:pt x="145" y="829"/>
                  </a:cubicBezTo>
                  <a:cubicBezTo>
                    <a:pt x="149" y="833"/>
                    <a:pt x="149" y="835"/>
                    <a:pt x="149" y="843"/>
                  </a:cubicBezTo>
                  <a:cubicBezTo>
                    <a:pt x="149" y="868"/>
                    <a:pt x="131" y="886"/>
                    <a:pt x="106" y="886"/>
                  </a:cubicBezTo>
                  <a:cubicBezTo>
                    <a:pt x="90" y="886"/>
                    <a:pt x="71" y="868"/>
                    <a:pt x="71" y="843"/>
                  </a:cubicBezTo>
                  <a:cubicBezTo>
                    <a:pt x="71" y="835"/>
                    <a:pt x="72" y="833"/>
                    <a:pt x="75" y="829"/>
                  </a:cubicBezTo>
                  <a:cubicBezTo>
                    <a:pt x="80" y="825"/>
                    <a:pt x="81" y="818"/>
                    <a:pt x="78" y="813"/>
                  </a:cubicBezTo>
                  <a:cubicBezTo>
                    <a:pt x="76" y="807"/>
                    <a:pt x="71" y="803"/>
                    <a:pt x="65" y="803"/>
                  </a:cubicBezTo>
                  <a:cubicBezTo>
                    <a:pt x="41" y="803"/>
                    <a:pt x="30" y="786"/>
                    <a:pt x="30" y="769"/>
                  </a:cubicBezTo>
                  <a:cubicBezTo>
                    <a:pt x="30" y="745"/>
                    <a:pt x="47" y="734"/>
                    <a:pt x="65" y="734"/>
                  </a:cubicBezTo>
                  <a:cubicBezTo>
                    <a:pt x="75" y="734"/>
                    <a:pt x="99" y="736"/>
                    <a:pt x="99" y="752"/>
                  </a:cubicBezTo>
                  <a:cubicBezTo>
                    <a:pt x="99" y="758"/>
                    <a:pt x="102" y="762"/>
                    <a:pt x="106" y="765"/>
                  </a:cubicBezTo>
                  <a:cubicBezTo>
                    <a:pt x="110" y="768"/>
                    <a:pt x="116" y="768"/>
                    <a:pt x="120" y="766"/>
                  </a:cubicBezTo>
                  <a:cubicBezTo>
                    <a:pt x="327" y="675"/>
                    <a:pt x="327" y="675"/>
                    <a:pt x="327" y="675"/>
                  </a:cubicBezTo>
                  <a:cubicBezTo>
                    <a:pt x="332" y="673"/>
                    <a:pt x="336" y="667"/>
                    <a:pt x="336" y="661"/>
                  </a:cubicBezTo>
                  <a:cubicBezTo>
                    <a:pt x="336" y="655"/>
                    <a:pt x="332" y="650"/>
                    <a:pt x="326" y="648"/>
                  </a:cubicBezTo>
                  <a:cubicBezTo>
                    <a:pt x="120" y="565"/>
                    <a:pt x="120" y="565"/>
                    <a:pt x="120" y="565"/>
                  </a:cubicBezTo>
                  <a:cubicBezTo>
                    <a:pt x="113" y="562"/>
                    <a:pt x="104" y="565"/>
                    <a:pt x="101" y="572"/>
                  </a:cubicBezTo>
                  <a:cubicBezTo>
                    <a:pt x="97" y="579"/>
                    <a:pt x="90" y="589"/>
                    <a:pt x="65" y="589"/>
                  </a:cubicBezTo>
                  <a:cubicBezTo>
                    <a:pt x="48" y="589"/>
                    <a:pt x="30" y="571"/>
                    <a:pt x="30" y="546"/>
                  </a:cubicBezTo>
                  <a:cubicBezTo>
                    <a:pt x="30" y="529"/>
                    <a:pt x="41" y="512"/>
                    <a:pt x="65" y="512"/>
                  </a:cubicBezTo>
                  <a:cubicBezTo>
                    <a:pt x="71" y="512"/>
                    <a:pt x="76" y="508"/>
                    <a:pt x="78" y="502"/>
                  </a:cubicBezTo>
                  <a:cubicBezTo>
                    <a:pt x="81" y="497"/>
                    <a:pt x="80" y="490"/>
                    <a:pt x="75" y="486"/>
                  </a:cubicBezTo>
                  <a:cubicBezTo>
                    <a:pt x="72" y="482"/>
                    <a:pt x="71" y="480"/>
                    <a:pt x="71" y="472"/>
                  </a:cubicBezTo>
                  <a:cubicBezTo>
                    <a:pt x="71" y="455"/>
                    <a:pt x="89" y="437"/>
                    <a:pt x="106" y="437"/>
                  </a:cubicBezTo>
                  <a:cubicBezTo>
                    <a:pt x="130" y="437"/>
                    <a:pt x="149" y="456"/>
                    <a:pt x="149" y="472"/>
                  </a:cubicBezTo>
                  <a:cubicBezTo>
                    <a:pt x="149" y="479"/>
                    <a:pt x="147" y="483"/>
                    <a:pt x="145" y="488"/>
                  </a:cubicBezTo>
                  <a:cubicBezTo>
                    <a:pt x="143" y="493"/>
                    <a:pt x="140" y="498"/>
                    <a:pt x="140" y="505"/>
                  </a:cubicBezTo>
                  <a:cubicBezTo>
                    <a:pt x="140" y="511"/>
                    <a:pt x="144" y="516"/>
                    <a:pt x="149" y="519"/>
                  </a:cubicBezTo>
                  <a:cubicBezTo>
                    <a:pt x="414" y="634"/>
                    <a:pt x="414" y="634"/>
                    <a:pt x="414" y="634"/>
                  </a:cubicBezTo>
                  <a:cubicBezTo>
                    <a:pt x="418" y="636"/>
                    <a:pt x="422" y="636"/>
                    <a:pt x="426" y="634"/>
                  </a:cubicBezTo>
                  <a:cubicBezTo>
                    <a:pt x="690" y="519"/>
                    <a:pt x="690" y="519"/>
                    <a:pt x="690" y="519"/>
                  </a:cubicBezTo>
                  <a:cubicBezTo>
                    <a:pt x="695" y="517"/>
                    <a:pt x="698" y="512"/>
                    <a:pt x="699" y="508"/>
                  </a:cubicBezTo>
                  <a:cubicBezTo>
                    <a:pt x="700" y="503"/>
                    <a:pt x="698" y="498"/>
                    <a:pt x="695" y="494"/>
                  </a:cubicBezTo>
                  <a:cubicBezTo>
                    <a:pt x="687" y="486"/>
                    <a:pt x="683" y="482"/>
                    <a:pt x="683" y="472"/>
                  </a:cubicBezTo>
                  <a:cubicBezTo>
                    <a:pt x="683" y="456"/>
                    <a:pt x="701" y="437"/>
                    <a:pt x="726" y="437"/>
                  </a:cubicBezTo>
                  <a:cubicBezTo>
                    <a:pt x="750" y="437"/>
                    <a:pt x="760" y="455"/>
                    <a:pt x="760" y="472"/>
                  </a:cubicBezTo>
                  <a:cubicBezTo>
                    <a:pt x="760" y="497"/>
                    <a:pt x="760" y="497"/>
                    <a:pt x="760" y="497"/>
                  </a:cubicBezTo>
                  <a:cubicBezTo>
                    <a:pt x="760" y="505"/>
                    <a:pt x="767" y="512"/>
                    <a:pt x="775" y="512"/>
                  </a:cubicBezTo>
                  <a:cubicBezTo>
                    <a:pt x="792" y="512"/>
                    <a:pt x="810" y="530"/>
                    <a:pt x="810" y="546"/>
                  </a:cubicBezTo>
                  <a:cubicBezTo>
                    <a:pt x="810" y="571"/>
                    <a:pt x="792" y="589"/>
                    <a:pt x="767" y="589"/>
                  </a:cubicBezTo>
                  <a:cubicBezTo>
                    <a:pt x="755" y="589"/>
                    <a:pt x="742" y="582"/>
                    <a:pt x="728" y="569"/>
                  </a:cubicBezTo>
                  <a:cubicBezTo>
                    <a:pt x="724" y="564"/>
                    <a:pt x="717" y="563"/>
                    <a:pt x="712" y="565"/>
                  </a:cubicBezTo>
                  <a:cubicBezTo>
                    <a:pt x="505" y="648"/>
                    <a:pt x="505" y="648"/>
                    <a:pt x="505" y="648"/>
                  </a:cubicBezTo>
                  <a:cubicBezTo>
                    <a:pt x="500" y="650"/>
                    <a:pt x="496" y="655"/>
                    <a:pt x="496" y="661"/>
                  </a:cubicBezTo>
                  <a:cubicBezTo>
                    <a:pt x="496" y="667"/>
                    <a:pt x="499" y="673"/>
                    <a:pt x="505" y="675"/>
                  </a:cubicBezTo>
                  <a:cubicBezTo>
                    <a:pt x="711" y="766"/>
                    <a:pt x="711" y="766"/>
                    <a:pt x="711" y="766"/>
                  </a:cubicBezTo>
                  <a:cubicBezTo>
                    <a:pt x="715" y="768"/>
                    <a:pt x="720" y="768"/>
                    <a:pt x="723" y="766"/>
                  </a:cubicBezTo>
                  <a:cubicBezTo>
                    <a:pt x="727" y="764"/>
                    <a:pt x="730" y="761"/>
                    <a:pt x="732" y="757"/>
                  </a:cubicBezTo>
                  <a:cubicBezTo>
                    <a:pt x="737" y="740"/>
                    <a:pt x="746" y="734"/>
                    <a:pt x="767" y="734"/>
                  </a:cubicBezTo>
                  <a:cubicBezTo>
                    <a:pt x="783" y="734"/>
                    <a:pt x="810" y="739"/>
                    <a:pt x="810" y="769"/>
                  </a:cubicBezTo>
                  <a:cubicBezTo>
                    <a:pt x="810" y="785"/>
                    <a:pt x="792" y="803"/>
                    <a:pt x="775" y="80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Tree>
    <p:extLst>
      <p:ext uri="{BB962C8B-B14F-4D97-AF65-F5344CB8AC3E}">
        <p14:creationId xmlns:p14="http://schemas.microsoft.com/office/powerpoint/2010/main" val="4125818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294015"/>
            <a:ext cx="8345488" cy="731837"/>
          </a:xfrm>
        </p:spPr>
        <p:txBody>
          <a:bodyPr/>
          <a:lstStyle/>
          <a:p>
            <a:r>
              <a:rPr lang="en-US" sz="2400" b="1" dirty="0"/>
              <a:t>Yesterday’s Network Security was about the Perimeter… </a:t>
            </a:r>
          </a:p>
        </p:txBody>
      </p:sp>
      <p:cxnSp>
        <p:nvCxnSpPr>
          <p:cNvPr id="658" name="Straight Connector 657">
            <a:extLst>
              <a:ext uri="{FF2B5EF4-FFF2-40B4-BE49-F238E27FC236}">
                <a16:creationId xmlns:a16="http://schemas.microsoft.com/office/drawing/2014/main" id="{A5A0D071-64E2-4E35-8B19-9BFD4CCB3048}"/>
              </a:ext>
            </a:extLst>
          </p:cNvPr>
          <p:cNvCxnSpPr>
            <a:cxnSpLocks/>
            <a:stCxn id="657" idx="2"/>
            <a:endCxn id="802" idx="0"/>
          </p:cNvCxnSpPr>
          <p:nvPr/>
        </p:nvCxnSpPr>
        <p:spPr>
          <a:xfrm rot="5400000">
            <a:off x="3018792" y="1353038"/>
            <a:ext cx="187162" cy="1616993"/>
          </a:xfrm>
          <a:prstGeom prst="bentConnector3">
            <a:avLst>
              <a:gd name="adj1" fmla="val 50000"/>
            </a:avLst>
          </a:prstGeom>
          <a:ln>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5F5BF3EC-7964-4C6B-8F5C-D451BD3DBAEF}"/>
              </a:ext>
            </a:extLst>
          </p:cNvPr>
          <p:cNvGrpSpPr/>
          <p:nvPr/>
        </p:nvGrpSpPr>
        <p:grpSpPr>
          <a:xfrm>
            <a:off x="1868056" y="2113318"/>
            <a:ext cx="250531" cy="250530"/>
            <a:chOff x="1839742" y="2184425"/>
            <a:chExt cx="265768" cy="265767"/>
          </a:xfrm>
        </p:grpSpPr>
        <p:sp>
          <p:nvSpPr>
            <p:cNvPr id="349" name="Oval 263">
              <a:extLst>
                <a:ext uri="{FF2B5EF4-FFF2-40B4-BE49-F238E27FC236}">
                  <a16:creationId xmlns:a16="http://schemas.microsoft.com/office/drawing/2014/main" id="{85FE0DF4-726D-4A63-B5BA-53A98A55FBFE}"/>
                </a:ext>
              </a:extLst>
            </p:cNvPr>
            <p:cNvSpPr>
              <a:spLocks/>
            </p:cNvSpPr>
            <p:nvPr/>
          </p:nvSpPr>
          <p:spPr bwMode="auto">
            <a:xfrm>
              <a:off x="1839742" y="2184425"/>
              <a:ext cx="265768" cy="265767"/>
            </a:xfrm>
            <a:prstGeom prst="ellipse">
              <a:avLst/>
            </a:prstGeom>
            <a:solidFill>
              <a:schemeClr val="bg2">
                <a:lumMod val="95000"/>
              </a:schemeClr>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solidFill>
                <a:effectLst/>
                <a:uLnTx/>
                <a:uFillTx/>
                <a:latin typeface="Arial" panose="020B0604020202020204" pitchFamily="34" charset="0"/>
                <a:ea typeface="ＭＳ Ｐゴシック" charset="0"/>
                <a:cs typeface="Arial" panose="020B0604020202020204" pitchFamily="34" charset="0"/>
              </a:endParaRPr>
            </a:p>
          </p:txBody>
        </p:sp>
        <p:grpSp>
          <p:nvGrpSpPr>
            <p:cNvPr id="350" name="Group 349">
              <a:extLst>
                <a:ext uri="{FF2B5EF4-FFF2-40B4-BE49-F238E27FC236}">
                  <a16:creationId xmlns:a16="http://schemas.microsoft.com/office/drawing/2014/main" id="{466DD547-4D4A-48F2-B823-02CE497E0799}"/>
                </a:ext>
              </a:extLst>
            </p:cNvPr>
            <p:cNvGrpSpPr/>
            <p:nvPr/>
          </p:nvGrpSpPr>
          <p:grpSpPr>
            <a:xfrm>
              <a:off x="1910118" y="2252129"/>
              <a:ext cx="125017" cy="130357"/>
              <a:chOff x="7014745" y="2607158"/>
              <a:chExt cx="327213" cy="300721"/>
            </a:xfrm>
            <a:solidFill>
              <a:srgbClr val="6EBE4A"/>
            </a:solidFill>
          </p:grpSpPr>
          <p:grpSp>
            <p:nvGrpSpPr>
              <p:cNvPr id="353" name="Group 352">
                <a:extLst>
                  <a:ext uri="{FF2B5EF4-FFF2-40B4-BE49-F238E27FC236}">
                    <a16:creationId xmlns:a16="http://schemas.microsoft.com/office/drawing/2014/main" id="{DD12A4E5-70B1-4E52-9C88-EEC687914778}"/>
                  </a:ext>
                </a:extLst>
              </p:cNvPr>
              <p:cNvGrpSpPr/>
              <p:nvPr/>
            </p:nvGrpSpPr>
            <p:grpSpPr>
              <a:xfrm>
                <a:off x="7064683" y="2607158"/>
                <a:ext cx="277275" cy="300721"/>
                <a:chOff x="-1599788" y="144780"/>
                <a:chExt cx="450850" cy="459376"/>
              </a:xfrm>
              <a:grpFill/>
            </p:grpSpPr>
            <p:sp>
              <p:nvSpPr>
                <p:cNvPr id="363" name="Rectangle: Rounded Corners 362">
                  <a:extLst>
                    <a:ext uri="{FF2B5EF4-FFF2-40B4-BE49-F238E27FC236}">
                      <a16:creationId xmlns:a16="http://schemas.microsoft.com/office/drawing/2014/main" id="{AA410358-9BE9-4215-AC8C-42A4A163B05B}"/>
                    </a:ext>
                  </a:extLst>
                </p:cNvPr>
                <p:cNvSpPr/>
                <p:nvPr/>
              </p:nvSpPr>
              <p:spPr>
                <a:xfrm>
                  <a:off x="-1599788" y="144780"/>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64" name="Rectangle: Rounded Corners 363">
                  <a:extLst>
                    <a:ext uri="{FF2B5EF4-FFF2-40B4-BE49-F238E27FC236}">
                      <a16:creationId xmlns:a16="http://schemas.microsoft.com/office/drawing/2014/main" id="{292F3088-1805-4AAF-9646-9206A87E3B2E}"/>
                    </a:ext>
                  </a:extLst>
                </p:cNvPr>
                <p:cNvSpPr/>
                <p:nvPr/>
              </p:nvSpPr>
              <p:spPr>
                <a:xfrm>
                  <a:off x="-1599788" y="558437"/>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65" name="Rectangle: Rounded Corners 364">
                  <a:extLst>
                    <a:ext uri="{FF2B5EF4-FFF2-40B4-BE49-F238E27FC236}">
                      <a16:creationId xmlns:a16="http://schemas.microsoft.com/office/drawing/2014/main" id="{14F53561-22CE-4D3B-B604-66A9D4A55B7A}"/>
                    </a:ext>
                  </a:extLst>
                </p:cNvPr>
                <p:cNvSpPr/>
                <p:nvPr/>
              </p:nvSpPr>
              <p:spPr>
                <a:xfrm>
                  <a:off x="-1599788" y="351608"/>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66" name="Rectangle: Rounded Corners 365">
                  <a:extLst>
                    <a:ext uri="{FF2B5EF4-FFF2-40B4-BE49-F238E27FC236}">
                      <a16:creationId xmlns:a16="http://schemas.microsoft.com/office/drawing/2014/main" id="{E7769AF4-9C87-4A48-B88A-9E6CCCA5F2EF}"/>
                    </a:ext>
                  </a:extLst>
                </p:cNvPr>
                <p:cNvSpPr/>
                <p:nvPr/>
              </p:nvSpPr>
              <p:spPr>
                <a:xfrm>
                  <a:off x="-1599788" y="248194"/>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67" name="Rectangle: Rounded Corners 366">
                  <a:extLst>
                    <a:ext uri="{FF2B5EF4-FFF2-40B4-BE49-F238E27FC236}">
                      <a16:creationId xmlns:a16="http://schemas.microsoft.com/office/drawing/2014/main" id="{CA26BD04-CE9E-4347-82BB-395ACFC440EE}"/>
                    </a:ext>
                  </a:extLst>
                </p:cNvPr>
                <p:cNvSpPr/>
                <p:nvPr/>
              </p:nvSpPr>
              <p:spPr>
                <a:xfrm>
                  <a:off x="-1599788" y="455022"/>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57" name="Group 356">
                <a:extLst>
                  <a:ext uri="{FF2B5EF4-FFF2-40B4-BE49-F238E27FC236}">
                    <a16:creationId xmlns:a16="http://schemas.microsoft.com/office/drawing/2014/main" id="{C0800325-D2F0-4CCB-B781-995AFD706E8C}"/>
                  </a:ext>
                </a:extLst>
              </p:cNvPr>
              <p:cNvGrpSpPr/>
              <p:nvPr/>
            </p:nvGrpSpPr>
            <p:grpSpPr>
              <a:xfrm>
                <a:off x="7014745" y="2607158"/>
                <a:ext cx="27432" cy="300721"/>
                <a:chOff x="-1599788" y="144780"/>
                <a:chExt cx="450850" cy="459376"/>
              </a:xfrm>
              <a:grpFill/>
            </p:grpSpPr>
            <p:sp>
              <p:nvSpPr>
                <p:cNvPr id="358" name="Rectangle: Rounded Corners 357">
                  <a:extLst>
                    <a:ext uri="{FF2B5EF4-FFF2-40B4-BE49-F238E27FC236}">
                      <a16:creationId xmlns:a16="http://schemas.microsoft.com/office/drawing/2014/main" id="{407A56D0-D88F-43C5-8449-F57766C4FC07}"/>
                    </a:ext>
                  </a:extLst>
                </p:cNvPr>
                <p:cNvSpPr/>
                <p:nvPr/>
              </p:nvSpPr>
              <p:spPr>
                <a:xfrm>
                  <a:off x="-1599788" y="144780"/>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59" name="Rectangle: Rounded Corners 358">
                  <a:extLst>
                    <a:ext uri="{FF2B5EF4-FFF2-40B4-BE49-F238E27FC236}">
                      <a16:creationId xmlns:a16="http://schemas.microsoft.com/office/drawing/2014/main" id="{6F066494-144C-4207-86B5-EBDE2D91E277}"/>
                    </a:ext>
                  </a:extLst>
                </p:cNvPr>
                <p:cNvSpPr/>
                <p:nvPr/>
              </p:nvSpPr>
              <p:spPr>
                <a:xfrm>
                  <a:off x="-1599788" y="558437"/>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60" name="Rectangle: Rounded Corners 359">
                  <a:extLst>
                    <a:ext uri="{FF2B5EF4-FFF2-40B4-BE49-F238E27FC236}">
                      <a16:creationId xmlns:a16="http://schemas.microsoft.com/office/drawing/2014/main" id="{1C09D0AA-80CF-4312-B2B4-C1B9B3C96A61}"/>
                    </a:ext>
                  </a:extLst>
                </p:cNvPr>
                <p:cNvSpPr/>
                <p:nvPr/>
              </p:nvSpPr>
              <p:spPr>
                <a:xfrm>
                  <a:off x="-1599788" y="351608"/>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61" name="Rectangle: Rounded Corners 360">
                  <a:extLst>
                    <a:ext uri="{FF2B5EF4-FFF2-40B4-BE49-F238E27FC236}">
                      <a16:creationId xmlns:a16="http://schemas.microsoft.com/office/drawing/2014/main" id="{74FCC91C-58E4-4BD0-93C9-CC80E4B6DD70}"/>
                    </a:ext>
                  </a:extLst>
                </p:cNvPr>
                <p:cNvSpPr/>
                <p:nvPr/>
              </p:nvSpPr>
              <p:spPr>
                <a:xfrm>
                  <a:off x="-1599788" y="248194"/>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62" name="Rectangle: Rounded Corners 361">
                  <a:extLst>
                    <a:ext uri="{FF2B5EF4-FFF2-40B4-BE49-F238E27FC236}">
                      <a16:creationId xmlns:a16="http://schemas.microsoft.com/office/drawing/2014/main" id="{4438AD54-D03D-49DD-92AA-890D45B873D5}"/>
                    </a:ext>
                  </a:extLst>
                </p:cNvPr>
                <p:cNvSpPr/>
                <p:nvPr/>
              </p:nvSpPr>
              <p:spPr>
                <a:xfrm>
                  <a:off x="-1599788" y="455022"/>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grpSp>
      <p:grpSp>
        <p:nvGrpSpPr>
          <p:cNvPr id="109" name="Group 108">
            <a:extLst>
              <a:ext uri="{FF2B5EF4-FFF2-40B4-BE49-F238E27FC236}">
                <a16:creationId xmlns:a16="http://schemas.microsoft.com/office/drawing/2014/main" id="{4F0DB63D-5655-444A-81F9-5D1AB6400BEB}"/>
              </a:ext>
            </a:extLst>
          </p:cNvPr>
          <p:cNvGrpSpPr/>
          <p:nvPr/>
        </p:nvGrpSpPr>
        <p:grpSpPr>
          <a:xfrm>
            <a:off x="1869468" y="3723596"/>
            <a:ext cx="250531" cy="250530"/>
            <a:chOff x="1839742" y="3786303"/>
            <a:chExt cx="265768" cy="265767"/>
          </a:xfrm>
        </p:grpSpPr>
        <p:sp>
          <p:nvSpPr>
            <p:cNvPr id="530" name="Oval 263">
              <a:extLst>
                <a:ext uri="{FF2B5EF4-FFF2-40B4-BE49-F238E27FC236}">
                  <a16:creationId xmlns:a16="http://schemas.microsoft.com/office/drawing/2014/main" id="{14BAD0E0-6B18-414C-9A86-EF9A08EFE814}"/>
                </a:ext>
              </a:extLst>
            </p:cNvPr>
            <p:cNvSpPr>
              <a:spLocks/>
            </p:cNvSpPr>
            <p:nvPr/>
          </p:nvSpPr>
          <p:spPr bwMode="auto">
            <a:xfrm>
              <a:off x="1839742" y="3786303"/>
              <a:ext cx="265768" cy="265767"/>
            </a:xfrm>
            <a:prstGeom prst="ellipse">
              <a:avLst/>
            </a:prstGeom>
            <a:solidFill>
              <a:schemeClr val="bg2">
                <a:lumMod val="95000"/>
              </a:schemeClr>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solidFill>
                <a:effectLst/>
                <a:uLnTx/>
                <a:uFillTx/>
                <a:latin typeface="Arial" panose="020B0604020202020204" pitchFamily="34" charset="0"/>
                <a:ea typeface="ＭＳ Ｐゴシック" charset="0"/>
                <a:cs typeface="Arial" panose="020B0604020202020204" pitchFamily="34" charset="0"/>
              </a:endParaRPr>
            </a:p>
          </p:txBody>
        </p:sp>
        <p:grpSp>
          <p:nvGrpSpPr>
            <p:cNvPr id="531" name="Group 530">
              <a:extLst>
                <a:ext uri="{FF2B5EF4-FFF2-40B4-BE49-F238E27FC236}">
                  <a16:creationId xmlns:a16="http://schemas.microsoft.com/office/drawing/2014/main" id="{CFA04D90-F080-4C79-968E-04A20E059957}"/>
                </a:ext>
              </a:extLst>
            </p:cNvPr>
            <p:cNvGrpSpPr/>
            <p:nvPr/>
          </p:nvGrpSpPr>
          <p:grpSpPr>
            <a:xfrm>
              <a:off x="1910118" y="3854007"/>
              <a:ext cx="125017" cy="130357"/>
              <a:chOff x="7014745" y="2607158"/>
              <a:chExt cx="327213" cy="300721"/>
            </a:xfrm>
            <a:solidFill>
              <a:schemeClr val="accent2"/>
            </a:solidFill>
          </p:grpSpPr>
          <p:grpSp>
            <p:nvGrpSpPr>
              <p:cNvPr id="533" name="Group 532">
                <a:extLst>
                  <a:ext uri="{FF2B5EF4-FFF2-40B4-BE49-F238E27FC236}">
                    <a16:creationId xmlns:a16="http://schemas.microsoft.com/office/drawing/2014/main" id="{EFB9EFC8-CBAE-4A54-9C60-49F591263346}"/>
                  </a:ext>
                </a:extLst>
              </p:cNvPr>
              <p:cNvGrpSpPr/>
              <p:nvPr/>
            </p:nvGrpSpPr>
            <p:grpSpPr>
              <a:xfrm>
                <a:off x="7064683" y="2607158"/>
                <a:ext cx="277275" cy="300721"/>
                <a:chOff x="-1599788" y="144780"/>
                <a:chExt cx="450850" cy="459376"/>
              </a:xfrm>
              <a:grpFill/>
            </p:grpSpPr>
            <p:sp>
              <p:nvSpPr>
                <p:cNvPr id="540" name="Rectangle: Rounded Corners 539">
                  <a:extLst>
                    <a:ext uri="{FF2B5EF4-FFF2-40B4-BE49-F238E27FC236}">
                      <a16:creationId xmlns:a16="http://schemas.microsoft.com/office/drawing/2014/main" id="{B5C095A0-EC26-443B-AAE4-7E6313C686B9}"/>
                    </a:ext>
                  </a:extLst>
                </p:cNvPr>
                <p:cNvSpPr/>
                <p:nvPr/>
              </p:nvSpPr>
              <p:spPr>
                <a:xfrm>
                  <a:off x="-1599788" y="144780"/>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41" name="Rectangle: Rounded Corners 540">
                  <a:extLst>
                    <a:ext uri="{FF2B5EF4-FFF2-40B4-BE49-F238E27FC236}">
                      <a16:creationId xmlns:a16="http://schemas.microsoft.com/office/drawing/2014/main" id="{D12A37FC-6615-4D5A-B2B0-2629E2BBC48F}"/>
                    </a:ext>
                  </a:extLst>
                </p:cNvPr>
                <p:cNvSpPr/>
                <p:nvPr/>
              </p:nvSpPr>
              <p:spPr>
                <a:xfrm>
                  <a:off x="-1599788" y="558437"/>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42" name="Rectangle: Rounded Corners 541">
                  <a:extLst>
                    <a:ext uri="{FF2B5EF4-FFF2-40B4-BE49-F238E27FC236}">
                      <a16:creationId xmlns:a16="http://schemas.microsoft.com/office/drawing/2014/main" id="{79E81A7E-88E5-4C9F-8648-F07D7A949CE0}"/>
                    </a:ext>
                  </a:extLst>
                </p:cNvPr>
                <p:cNvSpPr/>
                <p:nvPr/>
              </p:nvSpPr>
              <p:spPr>
                <a:xfrm>
                  <a:off x="-1599788" y="351608"/>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43" name="Rectangle: Rounded Corners 542">
                  <a:extLst>
                    <a:ext uri="{FF2B5EF4-FFF2-40B4-BE49-F238E27FC236}">
                      <a16:creationId xmlns:a16="http://schemas.microsoft.com/office/drawing/2014/main" id="{390E5DC9-92B5-485F-8E85-48C6FA37BB8E}"/>
                    </a:ext>
                  </a:extLst>
                </p:cNvPr>
                <p:cNvSpPr/>
                <p:nvPr/>
              </p:nvSpPr>
              <p:spPr>
                <a:xfrm>
                  <a:off x="-1599788" y="248194"/>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44" name="Rectangle: Rounded Corners 543">
                  <a:extLst>
                    <a:ext uri="{FF2B5EF4-FFF2-40B4-BE49-F238E27FC236}">
                      <a16:creationId xmlns:a16="http://schemas.microsoft.com/office/drawing/2014/main" id="{0B7E7F7F-5539-4BA2-B1FF-1509814B8AF2}"/>
                    </a:ext>
                  </a:extLst>
                </p:cNvPr>
                <p:cNvSpPr/>
                <p:nvPr/>
              </p:nvSpPr>
              <p:spPr>
                <a:xfrm>
                  <a:off x="-1599788" y="455022"/>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534" name="Group 533">
                <a:extLst>
                  <a:ext uri="{FF2B5EF4-FFF2-40B4-BE49-F238E27FC236}">
                    <a16:creationId xmlns:a16="http://schemas.microsoft.com/office/drawing/2014/main" id="{444BF677-F46B-4F43-93B5-2B663B10B5E4}"/>
                  </a:ext>
                </a:extLst>
              </p:cNvPr>
              <p:cNvGrpSpPr/>
              <p:nvPr/>
            </p:nvGrpSpPr>
            <p:grpSpPr>
              <a:xfrm>
                <a:off x="7014745" y="2607158"/>
                <a:ext cx="27432" cy="300721"/>
                <a:chOff x="-1599788" y="144780"/>
                <a:chExt cx="450850" cy="459376"/>
              </a:xfrm>
              <a:grpFill/>
            </p:grpSpPr>
            <p:sp>
              <p:nvSpPr>
                <p:cNvPr id="535" name="Rectangle: Rounded Corners 534">
                  <a:extLst>
                    <a:ext uri="{FF2B5EF4-FFF2-40B4-BE49-F238E27FC236}">
                      <a16:creationId xmlns:a16="http://schemas.microsoft.com/office/drawing/2014/main" id="{B5C1316F-9C9E-413E-88B3-F1B1D496691C}"/>
                    </a:ext>
                  </a:extLst>
                </p:cNvPr>
                <p:cNvSpPr/>
                <p:nvPr/>
              </p:nvSpPr>
              <p:spPr>
                <a:xfrm>
                  <a:off x="-1599788" y="144780"/>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36" name="Rectangle: Rounded Corners 535">
                  <a:extLst>
                    <a:ext uri="{FF2B5EF4-FFF2-40B4-BE49-F238E27FC236}">
                      <a16:creationId xmlns:a16="http://schemas.microsoft.com/office/drawing/2014/main" id="{F403BACE-2DC2-4E31-8913-AF034B419ED7}"/>
                    </a:ext>
                  </a:extLst>
                </p:cNvPr>
                <p:cNvSpPr/>
                <p:nvPr/>
              </p:nvSpPr>
              <p:spPr>
                <a:xfrm>
                  <a:off x="-1599788" y="558437"/>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37" name="Rectangle: Rounded Corners 536">
                  <a:extLst>
                    <a:ext uri="{FF2B5EF4-FFF2-40B4-BE49-F238E27FC236}">
                      <a16:creationId xmlns:a16="http://schemas.microsoft.com/office/drawing/2014/main" id="{F9B135C0-CC57-407B-9C55-C05FF7B27576}"/>
                    </a:ext>
                  </a:extLst>
                </p:cNvPr>
                <p:cNvSpPr/>
                <p:nvPr/>
              </p:nvSpPr>
              <p:spPr>
                <a:xfrm>
                  <a:off x="-1599788" y="351608"/>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38" name="Rectangle: Rounded Corners 537">
                  <a:extLst>
                    <a:ext uri="{FF2B5EF4-FFF2-40B4-BE49-F238E27FC236}">
                      <a16:creationId xmlns:a16="http://schemas.microsoft.com/office/drawing/2014/main" id="{9BCFBAB2-83AD-4F8C-9697-4AF872578F03}"/>
                    </a:ext>
                  </a:extLst>
                </p:cNvPr>
                <p:cNvSpPr/>
                <p:nvPr/>
              </p:nvSpPr>
              <p:spPr>
                <a:xfrm>
                  <a:off x="-1599788" y="248194"/>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39" name="Rectangle: Rounded Corners 538">
                  <a:extLst>
                    <a:ext uri="{FF2B5EF4-FFF2-40B4-BE49-F238E27FC236}">
                      <a16:creationId xmlns:a16="http://schemas.microsoft.com/office/drawing/2014/main" id="{025472D8-9B21-4AC9-B487-C83C91BC9067}"/>
                    </a:ext>
                  </a:extLst>
                </p:cNvPr>
                <p:cNvSpPr/>
                <p:nvPr/>
              </p:nvSpPr>
              <p:spPr>
                <a:xfrm>
                  <a:off x="-1599788" y="455022"/>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grpSp>
      <p:grpSp>
        <p:nvGrpSpPr>
          <p:cNvPr id="37" name="Group 36">
            <a:extLst>
              <a:ext uri="{FF2B5EF4-FFF2-40B4-BE49-F238E27FC236}">
                <a16:creationId xmlns:a16="http://schemas.microsoft.com/office/drawing/2014/main" id="{C5FEEEE7-A916-4336-87D7-76EB576FA4FF}"/>
              </a:ext>
            </a:extLst>
          </p:cNvPr>
          <p:cNvGrpSpPr/>
          <p:nvPr/>
        </p:nvGrpSpPr>
        <p:grpSpPr>
          <a:xfrm>
            <a:off x="5007435" y="2341036"/>
            <a:ext cx="250531" cy="250530"/>
            <a:chOff x="5282429" y="2184425"/>
            <a:chExt cx="265768" cy="265767"/>
          </a:xfrm>
        </p:grpSpPr>
        <p:sp>
          <p:nvSpPr>
            <p:cNvPr id="250" name="Oval 263">
              <a:extLst>
                <a:ext uri="{FF2B5EF4-FFF2-40B4-BE49-F238E27FC236}">
                  <a16:creationId xmlns:a16="http://schemas.microsoft.com/office/drawing/2014/main" id="{AA4588BC-9872-46FB-A25A-CADEE6615AB0}"/>
                </a:ext>
              </a:extLst>
            </p:cNvPr>
            <p:cNvSpPr>
              <a:spLocks/>
            </p:cNvSpPr>
            <p:nvPr/>
          </p:nvSpPr>
          <p:spPr bwMode="auto">
            <a:xfrm>
              <a:off x="5282429" y="2184425"/>
              <a:ext cx="265768" cy="265767"/>
            </a:xfrm>
            <a:prstGeom prst="ellipse">
              <a:avLst/>
            </a:prstGeom>
            <a:solidFill>
              <a:schemeClr val="bg2">
                <a:lumMod val="95000"/>
              </a:schemeClr>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solidFill>
                <a:effectLst/>
                <a:uLnTx/>
                <a:uFillTx/>
                <a:latin typeface="Arial" panose="020B0604020202020204" pitchFamily="34" charset="0"/>
                <a:ea typeface="ＭＳ Ｐゴシック" charset="0"/>
                <a:cs typeface="Arial" panose="020B0604020202020204" pitchFamily="34" charset="0"/>
              </a:endParaRPr>
            </a:p>
          </p:txBody>
        </p:sp>
        <p:grpSp>
          <p:nvGrpSpPr>
            <p:cNvPr id="294" name="Group 293">
              <a:extLst>
                <a:ext uri="{FF2B5EF4-FFF2-40B4-BE49-F238E27FC236}">
                  <a16:creationId xmlns:a16="http://schemas.microsoft.com/office/drawing/2014/main" id="{9BD80397-91F2-4AB4-86FC-1154A385DBFB}"/>
                </a:ext>
              </a:extLst>
            </p:cNvPr>
            <p:cNvGrpSpPr/>
            <p:nvPr/>
          </p:nvGrpSpPr>
          <p:grpSpPr>
            <a:xfrm>
              <a:off x="5352805" y="2252129"/>
              <a:ext cx="125017" cy="130357"/>
              <a:chOff x="7014745" y="2607158"/>
              <a:chExt cx="327213" cy="300721"/>
            </a:xfrm>
            <a:solidFill>
              <a:srgbClr val="6EBE4A"/>
            </a:solidFill>
          </p:grpSpPr>
          <p:grpSp>
            <p:nvGrpSpPr>
              <p:cNvPr id="295" name="Group 294">
                <a:extLst>
                  <a:ext uri="{FF2B5EF4-FFF2-40B4-BE49-F238E27FC236}">
                    <a16:creationId xmlns:a16="http://schemas.microsoft.com/office/drawing/2014/main" id="{25E8EAAB-D870-4A74-97A5-406CFB2782F1}"/>
                  </a:ext>
                </a:extLst>
              </p:cNvPr>
              <p:cNvGrpSpPr/>
              <p:nvPr/>
            </p:nvGrpSpPr>
            <p:grpSpPr>
              <a:xfrm>
                <a:off x="7064683" y="2607158"/>
                <a:ext cx="277275" cy="300721"/>
                <a:chOff x="-1599788" y="144780"/>
                <a:chExt cx="450850" cy="459376"/>
              </a:xfrm>
              <a:grpFill/>
            </p:grpSpPr>
            <p:sp>
              <p:nvSpPr>
                <p:cNvPr id="302" name="Rectangle: Rounded Corners 301">
                  <a:extLst>
                    <a:ext uri="{FF2B5EF4-FFF2-40B4-BE49-F238E27FC236}">
                      <a16:creationId xmlns:a16="http://schemas.microsoft.com/office/drawing/2014/main" id="{722EA5ED-6BC5-4770-A320-43C81269B868}"/>
                    </a:ext>
                  </a:extLst>
                </p:cNvPr>
                <p:cNvSpPr/>
                <p:nvPr/>
              </p:nvSpPr>
              <p:spPr>
                <a:xfrm>
                  <a:off x="-1599788" y="144780"/>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03" name="Rectangle: Rounded Corners 302">
                  <a:extLst>
                    <a:ext uri="{FF2B5EF4-FFF2-40B4-BE49-F238E27FC236}">
                      <a16:creationId xmlns:a16="http://schemas.microsoft.com/office/drawing/2014/main" id="{204E4240-3461-4493-9C6F-FA4295D174D5}"/>
                    </a:ext>
                  </a:extLst>
                </p:cNvPr>
                <p:cNvSpPr/>
                <p:nvPr/>
              </p:nvSpPr>
              <p:spPr>
                <a:xfrm>
                  <a:off x="-1599788" y="558437"/>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04" name="Rectangle: Rounded Corners 303">
                  <a:extLst>
                    <a:ext uri="{FF2B5EF4-FFF2-40B4-BE49-F238E27FC236}">
                      <a16:creationId xmlns:a16="http://schemas.microsoft.com/office/drawing/2014/main" id="{C4213FC1-1043-413D-8FD5-733BA7A297B2}"/>
                    </a:ext>
                  </a:extLst>
                </p:cNvPr>
                <p:cNvSpPr/>
                <p:nvPr/>
              </p:nvSpPr>
              <p:spPr>
                <a:xfrm>
                  <a:off x="-1599788" y="351608"/>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05" name="Rectangle: Rounded Corners 304">
                  <a:extLst>
                    <a:ext uri="{FF2B5EF4-FFF2-40B4-BE49-F238E27FC236}">
                      <a16:creationId xmlns:a16="http://schemas.microsoft.com/office/drawing/2014/main" id="{30AD1016-A4AA-4D73-A30D-7BA82D2DC869}"/>
                    </a:ext>
                  </a:extLst>
                </p:cNvPr>
                <p:cNvSpPr/>
                <p:nvPr/>
              </p:nvSpPr>
              <p:spPr>
                <a:xfrm>
                  <a:off x="-1599788" y="248194"/>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06" name="Rectangle: Rounded Corners 305">
                  <a:extLst>
                    <a:ext uri="{FF2B5EF4-FFF2-40B4-BE49-F238E27FC236}">
                      <a16:creationId xmlns:a16="http://schemas.microsoft.com/office/drawing/2014/main" id="{338C2925-D34A-4AA4-A4A0-63AA50A393C6}"/>
                    </a:ext>
                  </a:extLst>
                </p:cNvPr>
                <p:cNvSpPr/>
                <p:nvPr/>
              </p:nvSpPr>
              <p:spPr>
                <a:xfrm>
                  <a:off x="-1599788" y="455022"/>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296" name="Group 295">
                <a:extLst>
                  <a:ext uri="{FF2B5EF4-FFF2-40B4-BE49-F238E27FC236}">
                    <a16:creationId xmlns:a16="http://schemas.microsoft.com/office/drawing/2014/main" id="{8FE00122-09DD-44D5-872D-54772C11AD74}"/>
                  </a:ext>
                </a:extLst>
              </p:cNvPr>
              <p:cNvGrpSpPr/>
              <p:nvPr/>
            </p:nvGrpSpPr>
            <p:grpSpPr>
              <a:xfrm>
                <a:off x="7014745" y="2607158"/>
                <a:ext cx="27432" cy="300721"/>
                <a:chOff x="-1599788" y="144780"/>
                <a:chExt cx="450850" cy="459376"/>
              </a:xfrm>
              <a:grpFill/>
            </p:grpSpPr>
            <p:sp>
              <p:nvSpPr>
                <p:cNvPr id="297" name="Rectangle: Rounded Corners 296">
                  <a:extLst>
                    <a:ext uri="{FF2B5EF4-FFF2-40B4-BE49-F238E27FC236}">
                      <a16:creationId xmlns:a16="http://schemas.microsoft.com/office/drawing/2014/main" id="{8AAF10C1-F983-44FC-BA4B-0BFAC0E4D081}"/>
                    </a:ext>
                  </a:extLst>
                </p:cNvPr>
                <p:cNvSpPr/>
                <p:nvPr/>
              </p:nvSpPr>
              <p:spPr>
                <a:xfrm>
                  <a:off x="-1599788" y="144780"/>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98" name="Rectangle: Rounded Corners 297">
                  <a:extLst>
                    <a:ext uri="{FF2B5EF4-FFF2-40B4-BE49-F238E27FC236}">
                      <a16:creationId xmlns:a16="http://schemas.microsoft.com/office/drawing/2014/main" id="{BB2456F5-403B-4FAD-9E87-255959124808}"/>
                    </a:ext>
                  </a:extLst>
                </p:cNvPr>
                <p:cNvSpPr/>
                <p:nvPr/>
              </p:nvSpPr>
              <p:spPr>
                <a:xfrm>
                  <a:off x="-1599788" y="558437"/>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99" name="Rectangle: Rounded Corners 298">
                  <a:extLst>
                    <a:ext uri="{FF2B5EF4-FFF2-40B4-BE49-F238E27FC236}">
                      <a16:creationId xmlns:a16="http://schemas.microsoft.com/office/drawing/2014/main" id="{89DDF9DD-26E9-4BDB-959C-61F893184EA0}"/>
                    </a:ext>
                  </a:extLst>
                </p:cNvPr>
                <p:cNvSpPr/>
                <p:nvPr/>
              </p:nvSpPr>
              <p:spPr>
                <a:xfrm>
                  <a:off x="-1599788" y="351608"/>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00" name="Rectangle: Rounded Corners 299">
                  <a:extLst>
                    <a:ext uri="{FF2B5EF4-FFF2-40B4-BE49-F238E27FC236}">
                      <a16:creationId xmlns:a16="http://schemas.microsoft.com/office/drawing/2014/main" id="{988BB05A-8C9F-4E75-8C06-FBE7D6D8D349}"/>
                    </a:ext>
                  </a:extLst>
                </p:cNvPr>
                <p:cNvSpPr/>
                <p:nvPr/>
              </p:nvSpPr>
              <p:spPr>
                <a:xfrm>
                  <a:off x="-1599788" y="248194"/>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01" name="Rectangle: Rounded Corners 300">
                  <a:extLst>
                    <a:ext uri="{FF2B5EF4-FFF2-40B4-BE49-F238E27FC236}">
                      <a16:creationId xmlns:a16="http://schemas.microsoft.com/office/drawing/2014/main" id="{F01834F1-8951-4111-A3A2-8FAC577C7C38}"/>
                    </a:ext>
                  </a:extLst>
                </p:cNvPr>
                <p:cNvSpPr/>
                <p:nvPr/>
              </p:nvSpPr>
              <p:spPr>
                <a:xfrm>
                  <a:off x="-1599788" y="455022"/>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grpSp>
      <p:grpSp>
        <p:nvGrpSpPr>
          <p:cNvPr id="125" name="Group 124">
            <a:extLst>
              <a:ext uri="{FF2B5EF4-FFF2-40B4-BE49-F238E27FC236}">
                <a16:creationId xmlns:a16="http://schemas.microsoft.com/office/drawing/2014/main" id="{3D5DC212-48C8-4894-96EF-E3E39A2CAAA3}"/>
              </a:ext>
            </a:extLst>
          </p:cNvPr>
          <p:cNvGrpSpPr/>
          <p:nvPr/>
        </p:nvGrpSpPr>
        <p:grpSpPr>
          <a:xfrm>
            <a:off x="4959439" y="3723596"/>
            <a:ext cx="250531" cy="250530"/>
            <a:chOff x="5282429" y="3786303"/>
            <a:chExt cx="265768" cy="265767"/>
          </a:xfrm>
        </p:grpSpPr>
        <p:sp>
          <p:nvSpPr>
            <p:cNvPr id="546" name="Oval 263">
              <a:extLst>
                <a:ext uri="{FF2B5EF4-FFF2-40B4-BE49-F238E27FC236}">
                  <a16:creationId xmlns:a16="http://schemas.microsoft.com/office/drawing/2014/main" id="{274DB33A-6012-432C-A248-8F70798770F8}"/>
                </a:ext>
              </a:extLst>
            </p:cNvPr>
            <p:cNvSpPr>
              <a:spLocks/>
            </p:cNvSpPr>
            <p:nvPr/>
          </p:nvSpPr>
          <p:spPr bwMode="auto">
            <a:xfrm>
              <a:off x="5282429" y="3786303"/>
              <a:ext cx="265768" cy="265767"/>
            </a:xfrm>
            <a:prstGeom prst="ellipse">
              <a:avLst/>
            </a:prstGeom>
            <a:solidFill>
              <a:schemeClr val="bg2">
                <a:lumMod val="95000"/>
              </a:schemeClr>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solidFill>
                <a:effectLst/>
                <a:uLnTx/>
                <a:uFillTx/>
                <a:latin typeface="Arial" panose="020B0604020202020204" pitchFamily="34" charset="0"/>
                <a:ea typeface="ＭＳ Ｐゴシック" charset="0"/>
                <a:cs typeface="Arial" panose="020B0604020202020204" pitchFamily="34" charset="0"/>
              </a:endParaRPr>
            </a:p>
          </p:txBody>
        </p:sp>
        <p:grpSp>
          <p:nvGrpSpPr>
            <p:cNvPr id="547" name="Group 546">
              <a:extLst>
                <a:ext uri="{FF2B5EF4-FFF2-40B4-BE49-F238E27FC236}">
                  <a16:creationId xmlns:a16="http://schemas.microsoft.com/office/drawing/2014/main" id="{F4D30D82-3698-4F91-9079-2CC58DA55A47}"/>
                </a:ext>
              </a:extLst>
            </p:cNvPr>
            <p:cNvGrpSpPr/>
            <p:nvPr/>
          </p:nvGrpSpPr>
          <p:grpSpPr>
            <a:xfrm>
              <a:off x="5352805" y="3854007"/>
              <a:ext cx="125017" cy="130357"/>
              <a:chOff x="7014745" y="2607158"/>
              <a:chExt cx="327213" cy="300721"/>
            </a:xfrm>
            <a:solidFill>
              <a:srgbClr val="6EBE4A"/>
            </a:solidFill>
          </p:grpSpPr>
          <p:grpSp>
            <p:nvGrpSpPr>
              <p:cNvPr id="549" name="Group 548">
                <a:extLst>
                  <a:ext uri="{FF2B5EF4-FFF2-40B4-BE49-F238E27FC236}">
                    <a16:creationId xmlns:a16="http://schemas.microsoft.com/office/drawing/2014/main" id="{D766D52F-2063-417C-85A5-E85239584682}"/>
                  </a:ext>
                </a:extLst>
              </p:cNvPr>
              <p:cNvGrpSpPr/>
              <p:nvPr/>
            </p:nvGrpSpPr>
            <p:grpSpPr>
              <a:xfrm>
                <a:off x="7064683" y="2607158"/>
                <a:ext cx="277275" cy="300721"/>
                <a:chOff x="-1599788" y="144780"/>
                <a:chExt cx="450850" cy="459376"/>
              </a:xfrm>
              <a:grpFill/>
            </p:grpSpPr>
            <p:sp>
              <p:nvSpPr>
                <p:cNvPr id="556" name="Rectangle: Rounded Corners 555">
                  <a:extLst>
                    <a:ext uri="{FF2B5EF4-FFF2-40B4-BE49-F238E27FC236}">
                      <a16:creationId xmlns:a16="http://schemas.microsoft.com/office/drawing/2014/main" id="{3CA0B1CB-05DE-432F-AA62-C68F6FC3F42D}"/>
                    </a:ext>
                  </a:extLst>
                </p:cNvPr>
                <p:cNvSpPr/>
                <p:nvPr/>
              </p:nvSpPr>
              <p:spPr>
                <a:xfrm>
                  <a:off x="-1599788" y="144780"/>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7" name="Rectangle: Rounded Corners 556">
                  <a:extLst>
                    <a:ext uri="{FF2B5EF4-FFF2-40B4-BE49-F238E27FC236}">
                      <a16:creationId xmlns:a16="http://schemas.microsoft.com/office/drawing/2014/main" id="{52FE4D74-601D-4915-A006-B380229E2072}"/>
                    </a:ext>
                  </a:extLst>
                </p:cNvPr>
                <p:cNvSpPr/>
                <p:nvPr/>
              </p:nvSpPr>
              <p:spPr>
                <a:xfrm>
                  <a:off x="-1599788" y="558437"/>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8" name="Rectangle: Rounded Corners 557">
                  <a:extLst>
                    <a:ext uri="{FF2B5EF4-FFF2-40B4-BE49-F238E27FC236}">
                      <a16:creationId xmlns:a16="http://schemas.microsoft.com/office/drawing/2014/main" id="{1B265255-F9AB-438A-86DD-263B4054F2F5}"/>
                    </a:ext>
                  </a:extLst>
                </p:cNvPr>
                <p:cNvSpPr/>
                <p:nvPr/>
              </p:nvSpPr>
              <p:spPr>
                <a:xfrm>
                  <a:off x="-1599788" y="351608"/>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9" name="Rectangle: Rounded Corners 558">
                  <a:extLst>
                    <a:ext uri="{FF2B5EF4-FFF2-40B4-BE49-F238E27FC236}">
                      <a16:creationId xmlns:a16="http://schemas.microsoft.com/office/drawing/2014/main" id="{7D88ED24-11EF-48DC-A1D5-52AC52D9A777}"/>
                    </a:ext>
                  </a:extLst>
                </p:cNvPr>
                <p:cNvSpPr/>
                <p:nvPr/>
              </p:nvSpPr>
              <p:spPr>
                <a:xfrm>
                  <a:off x="-1599788" y="248194"/>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60" name="Rectangle: Rounded Corners 559">
                  <a:extLst>
                    <a:ext uri="{FF2B5EF4-FFF2-40B4-BE49-F238E27FC236}">
                      <a16:creationId xmlns:a16="http://schemas.microsoft.com/office/drawing/2014/main" id="{17016901-79BF-45F1-AB2D-3FB24ED8230C}"/>
                    </a:ext>
                  </a:extLst>
                </p:cNvPr>
                <p:cNvSpPr/>
                <p:nvPr/>
              </p:nvSpPr>
              <p:spPr>
                <a:xfrm>
                  <a:off x="-1599788" y="455022"/>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550" name="Group 549">
                <a:extLst>
                  <a:ext uri="{FF2B5EF4-FFF2-40B4-BE49-F238E27FC236}">
                    <a16:creationId xmlns:a16="http://schemas.microsoft.com/office/drawing/2014/main" id="{6FB47645-8EAD-4DFB-AFAA-B028FF64F9AA}"/>
                  </a:ext>
                </a:extLst>
              </p:cNvPr>
              <p:cNvGrpSpPr/>
              <p:nvPr/>
            </p:nvGrpSpPr>
            <p:grpSpPr>
              <a:xfrm>
                <a:off x="7014745" y="2607158"/>
                <a:ext cx="27432" cy="300721"/>
                <a:chOff x="-1599788" y="144780"/>
                <a:chExt cx="450850" cy="459376"/>
              </a:xfrm>
              <a:grpFill/>
            </p:grpSpPr>
            <p:sp>
              <p:nvSpPr>
                <p:cNvPr id="551" name="Rectangle: Rounded Corners 550">
                  <a:extLst>
                    <a:ext uri="{FF2B5EF4-FFF2-40B4-BE49-F238E27FC236}">
                      <a16:creationId xmlns:a16="http://schemas.microsoft.com/office/drawing/2014/main" id="{710E7238-8847-4328-9BE6-F028F88AB460}"/>
                    </a:ext>
                  </a:extLst>
                </p:cNvPr>
                <p:cNvSpPr/>
                <p:nvPr/>
              </p:nvSpPr>
              <p:spPr>
                <a:xfrm>
                  <a:off x="-1599788" y="144780"/>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2" name="Rectangle: Rounded Corners 551">
                  <a:extLst>
                    <a:ext uri="{FF2B5EF4-FFF2-40B4-BE49-F238E27FC236}">
                      <a16:creationId xmlns:a16="http://schemas.microsoft.com/office/drawing/2014/main" id="{402D63F4-6953-4E8C-A6F7-BA138B6005FC}"/>
                    </a:ext>
                  </a:extLst>
                </p:cNvPr>
                <p:cNvSpPr/>
                <p:nvPr/>
              </p:nvSpPr>
              <p:spPr>
                <a:xfrm>
                  <a:off x="-1599788" y="558437"/>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3" name="Rectangle: Rounded Corners 552">
                  <a:extLst>
                    <a:ext uri="{FF2B5EF4-FFF2-40B4-BE49-F238E27FC236}">
                      <a16:creationId xmlns:a16="http://schemas.microsoft.com/office/drawing/2014/main" id="{AC6B03DD-9ED7-4A2C-A91F-8CAC2D18C3ED}"/>
                    </a:ext>
                  </a:extLst>
                </p:cNvPr>
                <p:cNvSpPr/>
                <p:nvPr/>
              </p:nvSpPr>
              <p:spPr>
                <a:xfrm>
                  <a:off x="-1599788" y="351608"/>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4" name="Rectangle: Rounded Corners 553">
                  <a:extLst>
                    <a:ext uri="{FF2B5EF4-FFF2-40B4-BE49-F238E27FC236}">
                      <a16:creationId xmlns:a16="http://schemas.microsoft.com/office/drawing/2014/main" id="{87790AF0-E7F0-4BFF-B401-7CCBF03428B0}"/>
                    </a:ext>
                  </a:extLst>
                </p:cNvPr>
                <p:cNvSpPr/>
                <p:nvPr/>
              </p:nvSpPr>
              <p:spPr>
                <a:xfrm>
                  <a:off x="-1599788" y="248194"/>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5" name="Rectangle: Rounded Corners 554">
                  <a:extLst>
                    <a:ext uri="{FF2B5EF4-FFF2-40B4-BE49-F238E27FC236}">
                      <a16:creationId xmlns:a16="http://schemas.microsoft.com/office/drawing/2014/main" id="{0F358737-2FCF-4F8C-83DC-24CB70F8D44B}"/>
                    </a:ext>
                  </a:extLst>
                </p:cNvPr>
                <p:cNvSpPr/>
                <p:nvPr/>
              </p:nvSpPr>
              <p:spPr>
                <a:xfrm>
                  <a:off x="-1599788" y="455022"/>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grpSp>
      <p:cxnSp>
        <p:nvCxnSpPr>
          <p:cNvPr id="677" name="Straight Connector 657">
            <a:extLst>
              <a:ext uri="{FF2B5EF4-FFF2-40B4-BE49-F238E27FC236}">
                <a16:creationId xmlns:a16="http://schemas.microsoft.com/office/drawing/2014/main" id="{A946354F-A737-47C9-9D01-AEFD1ADA653D}"/>
              </a:ext>
            </a:extLst>
          </p:cNvPr>
          <p:cNvCxnSpPr>
            <a:cxnSpLocks/>
            <a:stCxn id="657" idx="2"/>
            <a:endCxn id="786" idx="0"/>
          </p:cNvCxnSpPr>
          <p:nvPr/>
        </p:nvCxnSpPr>
        <p:spPr>
          <a:xfrm rot="16200000" flipH="1">
            <a:off x="4250193" y="1738629"/>
            <a:ext cx="778674" cy="1437322"/>
          </a:xfrm>
          <a:prstGeom prst="bentConnector3">
            <a:avLst>
              <a:gd name="adj1" fmla="val 50000"/>
            </a:avLst>
          </a:prstGeom>
          <a:ln>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0E1E0743-A25B-4D89-9257-596AC0ABE9A4}"/>
              </a:ext>
            </a:extLst>
          </p:cNvPr>
          <p:cNvGrpSpPr/>
          <p:nvPr/>
        </p:nvGrpSpPr>
        <p:grpSpPr>
          <a:xfrm>
            <a:off x="2129853" y="3027082"/>
            <a:ext cx="2814312" cy="776518"/>
            <a:chOff x="2071291" y="3261591"/>
            <a:chExt cx="2985473" cy="823744"/>
          </a:xfrm>
        </p:grpSpPr>
        <p:grpSp>
          <p:nvGrpSpPr>
            <p:cNvPr id="373" name="Group 372">
              <a:extLst>
                <a:ext uri="{FF2B5EF4-FFF2-40B4-BE49-F238E27FC236}">
                  <a16:creationId xmlns:a16="http://schemas.microsoft.com/office/drawing/2014/main" id="{EE83FD90-7419-451D-A161-10DDF1CC16C8}"/>
                </a:ext>
              </a:extLst>
            </p:cNvPr>
            <p:cNvGrpSpPr/>
            <p:nvPr/>
          </p:nvGrpSpPr>
          <p:grpSpPr>
            <a:xfrm>
              <a:off x="2255897" y="3261591"/>
              <a:ext cx="2616261" cy="485949"/>
              <a:chOff x="2255897" y="2811886"/>
              <a:chExt cx="2616261" cy="904237"/>
            </a:xfrm>
          </p:grpSpPr>
          <p:cxnSp>
            <p:nvCxnSpPr>
              <p:cNvPr id="374" name="Connector: Elbow 78">
                <a:extLst>
                  <a:ext uri="{FF2B5EF4-FFF2-40B4-BE49-F238E27FC236}">
                    <a16:creationId xmlns:a16="http://schemas.microsoft.com/office/drawing/2014/main" id="{CDA7988F-0BF6-44C7-BDA8-95B149103B3D}"/>
                  </a:ext>
                </a:extLst>
              </p:cNvPr>
              <p:cNvCxnSpPr>
                <a:cxnSpLocks/>
              </p:cNvCxnSpPr>
              <p:nvPr/>
            </p:nvCxnSpPr>
            <p:spPr>
              <a:xfrm flipV="1">
                <a:off x="4872158" y="2811886"/>
                <a:ext cx="0" cy="904237"/>
              </a:xfrm>
              <a:prstGeom prst="straightConnector1">
                <a:avLst/>
              </a:pr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cxnSp>
          <p:cxnSp>
            <p:nvCxnSpPr>
              <p:cNvPr id="375" name="Connector: Elbow 78">
                <a:extLst>
                  <a:ext uri="{FF2B5EF4-FFF2-40B4-BE49-F238E27FC236}">
                    <a16:creationId xmlns:a16="http://schemas.microsoft.com/office/drawing/2014/main" id="{3C5926D9-84F3-4A79-B892-7F3AA7D83E8E}"/>
                  </a:ext>
                </a:extLst>
              </p:cNvPr>
              <p:cNvCxnSpPr>
                <a:cxnSpLocks/>
              </p:cNvCxnSpPr>
              <p:nvPr/>
            </p:nvCxnSpPr>
            <p:spPr>
              <a:xfrm flipV="1">
                <a:off x="2255897" y="2811887"/>
                <a:ext cx="0" cy="904236"/>
              </a:xfrm>
              <a:prstGeom prst="straightConnector1">
                <a:avLst/>
              </a:pr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18" name="Group 17">
              <a:extLst>
                <a:ext uri="{FF2B5EF4-FFF2-40B4-BE49-F238E27FC236}">
                  <a16:creationId xmlns:a16="http://schemas.microsoft.com/office/drawing/2014/main" id="{A5B28271-E3E1-472F-A8F5-875B8109194C}"/>
                </a:ext>
              </a:extLst>
            </p:cNvPr>
            <p:cNvGrpSpPr/>
            <p:nvPr/>
          </p:nvGrpSpPr>
          <p:grpSpPr>
            <a:xfrm>
              <a:off x="2071291" y="3716123"/>
              <a:ext cx="2985473" cy="369212"/>
              <a:chOff x="2071291" y="3716123"/>
              <a:chExt cx="2985473" cy="369212"/>
            </a:xfrm>
          </p:grpSpPr>
          <p:grpSp>
            <p:nvGrpSpPr>
              <p:cNvPr id="17" name="Group 16">
                <a:extLst>
                  <a:ext uri="{FF2B5EF4-FFF2-40B4-BE49-F238E27FC236}">
                    <a16:creationId xmlns:a16="http://schemas.microsoft.com/office/drawing/2014/main" id="{D1DD6D92-D91E-4DCE-949C-03CC5F4FBF99}"/>
                  </a:ext>
                </a:extLst>
              </p:cNvPr>
              <p:cNvGrpSpPr/>
              <p:nvPr/>
            </p:nvGrpSpPr>
            <p:grpSpPr>
              <a:xfrm>
                <a:off x="2071291" y="3716123"/>
                <a:ext cx="1120292" cy="369212"/>
                <a:chOff x="2071291" y="3716123"/>
                <a:chExt cx="1120292" cy="369212"/>
              </a:xfrm>
            </p:grpSpPr>
            <p:cxnSp>
              <p:nvCxnSpPr>
                <p:cNvPr id="54" name="Straight Connector 53">
                  <a:extLst>
                    <a:ext uri="{FF2B5EF4-FFF2-40B4-BE49-F238E27FC236}">
                      <a16:creationId xmlns:a16="http://schemas.microsoft.com/office/drawing/2014/main" id="{78679537-0EF0-49C3-B439-EF820F97158F}"/>
                    </a:ext>
                  </a:extLst>
                </p:cNvPr>
                <p:cNvCxnSpPr>
                  <a:cxnSpLocks/>
                  <a:stCxn id="795" idx="6"/>
                  <a:endCxn id="832" idx="2"/>
                </p:cNvCxnSpPr>
                <p:nvPr/>
              </p:nvCxnSpPr>
              <p:spPr>
                <a:xfrm>
                  <a:off x="2440503" y="3900729"/>
                  <a:ext cx="381868" cy="0"/>
                </a:xfrm>
                <a:prstGeom prst="line">
                  <a:avLst/>
                </a:pr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cxnSp>
            <p:grpSp>
              <p:nvGrpSpPr>
                <p:cNvPr id="794" name="Group 793">
                  <a:extLst>
                    <a:ext uri="{FF2B5EF4-FFF2-40B4-BE49-F238E27FC236}">
                      <a16:creationId xmlns:a16="http://schemas.microsoft.com/office/drawing/2014/main" id="{4382CAEE-1288-4BF4-8B3B-13501F8F60A6}"/>
                    </a:ext>
                  </a:extLst>
                </p:cNvPr>
                <p:cNvGrpSpPr/>
                <p:nvPr/>
              </p:nvGrpSpPr>
              <p:grpSpPr>
                <a:xfrm>
                  <a:off x="2071291" y="3716123"/>
                  <a:ext cx="369212" cy="369212"/>
                  <a:chOff x="4682991" y="1019790"/>
                  <a:chExt cx="548640" cy="548640"/>
                </a:xfrm>
              </p:grpSpPr>
              <p:sp>
                <p:nvSpPr>
                  <p:cNvPr id="795" name="Oval 263">
                    <a:extLst>
                      <a:ext uri="{FF2B5EF4-FFF2-40B4-BE49-F238E27FC236}">
                        <a16:creationId xmlns:a16="http://schemas.microsoft.com/office/drawing/2014/main" id="{4A43B3FD-C126-4720-A94E-53D175E4BA9E}"/>
                      </a:ext>
                    </a:extLst>
                  </p:cNvPr>
                  <p:cNvSpPr>
                    <a:spLocks/>
                  </p:cNvSpPr>
                  <p:nvPr/>
                </p:nvSpPr>
                <p:spPr bwMode="auto">
                  <a:xfrm>
                    <a:off x="4682991" y="1019790"/>
                    <a:ext cx="548640" cy="548640"/>
                  </a:xfrm>
                  <a:prstGeom prst="ellipse">
                    <a:avLst/>
                  </a:prstGeom>
                  <a:solidFill>
                    <a:schemeClr val="accent2"/>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76767"/>
                      </a:solidFill>
                      <a:effectLst/>
                      <a:uLnTx/>
                      <a:uFillTx/>
                      <a:latin typeface="Arial" panose="020B0604020202020204" pitchFamily="34" charset="0"/>
                      <a:ea typeface="ＭＳ Ｐゴシック" charset="0"/>
                      <a:cs typeface="Arial" panose="020B0604020202020204" pitchFamily="34" charset="0"/>
                    </a:endParaRPr>
                  </a:p>
                </p:txBody>
              </p:sp>
              <p:grpSp>
                <p:nvGrpSpPr>
                  <p:cNvPr id="796" name="Group 795">
                    <a:extLst>
                      <a:ext uri="{FF2B5EF4-FFF2-40B4-BE49-F238E27FC236}">
                        <a16:creationId xmlns:a16="http://schemas.microsoft.com/office/drawing/2014/main" id="{0896BFA7-41CA-40F6-A61A-356FE4558741}"/>
                      </a:ext>
                    </a:extLst>
                  </p:cNvPr>
                  <p:cNvGrpSpPr/>
                  <p:nvPr/>
                </p:nvGrpSpPr>
                <p:grpSpPr>
                  <a:xfrm>
                    <a:off x="4789549" y="1151957"/>
                    <a:ext cx="335524" cy="284307"/>
                    <a:chOff x="4780856" y="1109136"/>
                    <a:chExt cx="335524" cy="284307"/>
                  </a:xfrm>
                </p:grpSpPr>
                <p:sp>
                  <p:nvSpPr>
                    <p:cNvPr id="797" name="Freeform 297">
                      <a:extLst>
                        <a:ext uri="{FF2B5EF4-FFF2-40B4-BE49-F238E27FC236}">
                          <a16:creationId xmlns:a16="http://schemas.microsoft.com/office/drawing/2014/main" id="{61A81B1F-0C41-4B74-8996-04ED24B33284}"/>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98" name="Freeform 298">
                      <a:extLst>
                        <a:ext uri="{FF2B5EF4-FFF2-40B4-BE49-F238E27FC236}">
                          <a16:creationId xmlns:a16="http://schemas.microsoft.com/office/drawing/2014/main" id="{C4950B5C-A4AA-4165-8D3D-D74F54D187F5}"/>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99" name="Freeform 299">
                      <a:extLst>
                        <a:ext uri="{FF2B5EF4-FFF2-40B4-BE49-F238E27FC236}">
                          <a16:creationId xmlns:a16="http://schemas.microsoft.com/office/drawing/2014/main" id="{592B3C70-964F-4473-8EC6-DA130D25626B}"/>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00" name="Freeform 300">
                      <a:extLst>
                        <a:ext uri="{FF2B5EF4-FFF2-40B4-BE49-F238E27FC236}">
                          <a16:creationId xmlns:a16="http://schemas.microsoft.com/office/drawing/2014/main" id="{A3E74CE9-1414-4A25-BF39-E9DA793F7E5F}"/>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831" name="Group 830">
                  <a:extLst>
                    <a:ext uri="{FF2B5EF4-FFF2-40B4-BE49-F238E27FC236}">
                      <a16:creationId xmlns:a16="http://schemas.microsoft.com/office/drawing/2014/main" id="{C1C06CE9-EF5B-4920-A606-EB1D52C1ECF1}"/>
                    </a:ext>
                  </a:extLst>
                </p:cNvPr>
                <p:cNvGrpSpPr/>
                <p:nvPr/>
              </p:nvGrpSpPr>
              <p:grpSpPr>
                <a:xfrm>
                  <a:off x="2822371" y="3716123"/>
                  <a:ext cx="369212" cy="369212"/>
                  <a:chOff x="4267363" y="2915258"/>
                  <a:chExt cx="548640" cy="548640"/>
                </a:xfrm>
              </p:grpSpPr>
              <p:sp>
                <p:nvSpPr>
                  <p:cNvPr id="832" name="Oval 263">
                    <a:extLst>
                      <a:ext uri="{FF2B5EF4-FFF2-40B4-BE49-F238E27FC236}">
                        <a16:creationId xmlns:a16="http://schemas.microsoft.com/office/drawing/2014/main" id="{A290BC9F-F023-4ADF-8B4B-3466810A2239}"/>
                      </a:ext>
                    </a:extLst>
                  </p:cNvPr>
                  <p:cNvSpPr>
                    <a:spLocks/>
                  </p:cNvSpPr>
                  <p:nvPr/>
                </p:nvSpPr>
                <p:spPr bwMode="auto">
                  <a:xfrm>
                    <a:off x="4267363" y="2915258"/>
                    <a:ext cx="548640" cy="548640"/>
                  </a:xfrm>
                  <a:prstGeom prst="ellipse">
                    <a:avLst/>
                  </a:prstGeom>
                  <a:solidFill>
                    <a:srgbClr val="E9E9E9"/>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76767"/>
                      </a:solidFill>
                      <a:effectLst/>
                      <a:uLnTx/>
                      <a:uFillTx/>
                      <a:latin typeface="Arial" panose="020B0604020202020204" pitchFamily="34" charset="0"/>
                      <a:ea typeface="ＭＳ Ｐゴシック" charset="0"/>
                      <a:cs typeface="Arial" panose="020B0604020202020204" pitchFamily="34" charset="0"/>
                    </a:endParaRPr>
                  </a:p>
                </p:txBody>
              </p:sp>
              <p:sp>
                <p:nvSpPr>
                  <p:cNvPr id="833" name="object 424">
                    <a:extLst>
                      <a:ext uri="{FF2B5EF4-FFF2-40B4-BE49-F238E27FC236}">
                        <a16:creationId xmlns:a16="http://schemas.microsoft.com/office/drawing/2014/main" id="{0451A38B-8357-4B04-85B0-7EFEE1924136}"/>
                      </a:ext>
                    </a:extLst>
                  </p:cNvPr>
                  <p:cNvSpPr/>
                  <p:nvPr/>
                </p:nvSpPr>
                <p:spPr>
                  <a:xfrm>
                    <a:off x="4405503" y="3248452"/>
                    <a:ext cx="273263" cy="107076"/>
                  </a:xfrm>
                  <a:custGeom>
                    <a:avLst/>
                    <a:gdLst/>
                    <a:ahLst/>
                    <a:cxnLst/>
                    <a:rect l="l" t="t" r="r" b="b"/>
                    <a:pathLst>
                      <a:path w="669290" h="262254">
                        <a:moveTo>
                          <a:pt x="668489" y="0"/>
                        </a:moveTo>
                        <a:lnTo>
                          <a:pt x="0" y="1193"/>
                        </a:lnTo>
                        <a:lnTo>
                          <a:pt x="469" y="262064"/>
                        </a:lnTo>
                        <a:lnTo>
                          <a:pt x="668959" y="260870"/>
                        </a:lnTo>
                        <a:lnTo>
                          <a:pt x="668849" y="199643"/>
                        </a:lnTo>
                        <a:lnTo>
                          <a:pt x="335864" y="199643"/>
                        </a:lnTo>
                        <a:lnTo>
                          <a:pt x="322226" y="198526"/>
                        </a:lnTo>
                        <a:lnTo>
                          <a:pt x="286588" y="180111"/>
                        </a:lnTo>
                        <a:lnTo>
                          <a:pt x="267601" y="146786"/>
                        </a:lnTo>
                        <a:lnTo>
                          <a:pt x="96862" y="146786"/>
                        </a:lnTo>
                        <a:lnTo>
                          <a:pt x="96862" y="122326"/>
                        </a:lnTo>
                        <a:lnTo>
                          <a:pt x="266090" y="122326"/>
                        </a:lnTo>
                        <a:lnTo>
                          <a:pt x="268308" y="111248"/>
                        </a:lnTo>
                        <a:lnTo>
                          <a:pt x="307751" y="66658"/>
                        </a:lnTo>
                        <a:lnTo>
                          <a:pt x="333746" y="61194"/>
                        </a:lnTo>
                        <a:lnTo>
                          <a:pt x="668600" y="61194"/>
                        </a:lnTo>
                        <a:lnTo>
                          <a:pt x="668489" y="0"/>
                        </a:lnTo>
                        <a:close/>
                      </a:path>
                      <a:path w="669290" h="262254">
                        <a:moveTo>
                          <a:pt x="668600" y="61194"/>
                        </a:moveTo>
                        <a:lnTo>
                          <a:pt x="333746" y="61194"/>
                        </a:lnTo>
                        <a:lnTo>
                          <a:pt x="359898" y="65856"/>
                        </a:lnTo>
                        <a:lnTo>
                          <a:pt x="383031" y="80695"/>
                        </a:lnTo>
                        <a:lnTo>
                          <a:pt x="390820" y="89699"/>
                        </a:lnTo>
                        <a:lnTo>
                          <a:pt x="396874" y="99801"/>
                        </a:lnTo>
                        <a:lnTo>
                          <a:pt x="401119" y="110758"/>
                        </a:lnTo>
                        <a:lnTo>
                          <a:pt x="403478" y="122326"/>
                        </a:lnTo>
                        <a:lnTo>
                          <a:pt x="581774" y="122326"/>
                        </a:lnTo>
                        <a:lnTo>
                          <a:pt x="581774" y="146786"/>
                        </a:lnTo>
                        <a:lnTo>
                          <a:pt x="402069" y="146786"/>
                        </a:lnTo>
                        <a:lnTo>
                          <a:pt x="399321" y="155533"/>
                        </a:lnTo>
                        <a:lnTo>
                          <a:pt x="374083" y="187472"/>
                        </a:lnTo>
                        <a:lnTo>
                          <a:pt x="335864" y="199643"/>
                        </a:lnTo>
                        <a:lnTo>
                          <a:pt x="668849" y="199643"/>
                        </a:lnTo>
                        <a:lnTo>
                          <a:pt x="668600" y="61194"/>
                        </a:lnTo>
                        <a:close/>
                      </a:path>
                    </a:pathLst>
                  </a:custGeom>
                  <a:solidFill>
                    <a:srgbClr val="00BCEB"/>
                  </a:solidFill>
                </p:spPr>
                <p:txBody>
                  <a:bodyPr wrap="square" lIns="0" tIns="0" rIns="0" bIns="0" rtlCol="0"/>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834" name="Group 833">
                    <a:extLst>
                      <a:ext uri="{FF2B5EF4-FFF2-40B4-BE49-F238E27FC236}">
                        <a16:creationId xmlns:a16="http://schemas.microsoft.com/office/drawing/2014/main" id="{85F2B618-73BA-4A8E-9337-5A56037E07D7}"/>
                      </a:ext>
                    </a:extLst>
                  </p:cNvPr>
                  <p:cNvGrpSpPr/>
                  <p:nvPr/>
                </p:nvGrpSpPr>
                <p:grpSpPr>
                  <a:xfrm>
                    <a:off x="4422922" y="3030100"/>
                    <a:ext cx="238375" cy="192830"/>
                    <a:chOff x="5121843" y="3876582"/>
                    <a:chExt cx="437148" cy="353618"/>
                  </a:xfrm>
                </p:grpSpPr>
                <p:sp>
                  <p:nvSpPr>
                    <p:cNvPr id="835" name="Freeform 176">
                      <a:extLst>
                        <a:ext uri="{FF2B5EF4-FFF2-40B4-BE49-F238E27FC236}">
                          <a16:creationId xmlns:a16="http://schemas.microsoft.com/office/drawing/2014/main" id="{B27579BA-395E-42CB-B9EE-A8C5A3A644A0}"/>
                        </a:ext>
                      </a:extLst>
                    </p:cNvPr>
                    <p:cNvSpPr>
                      <a:spLocks/>
                    </p:cNvSpPr>
                    <p:nvPr/>
                  </p:nvSpPr>
                  <p:spPr bwMode="auto">
                    <a:xfrm>
                      <a:off x="5291689" y="4129962"/>
                      <a:ext cx="100237" cy="100238"/>
                    </a:xfrm>
                    <a:custGeom>
                      <a:avLst/>
                      <a:gdLst>
                        <a:gd name="T0" fmla="*/ 31 w 213"/>
                        <a:gd name="T1" fmla="*/ 31 h 213"/>
                        <a:gd name="T2" fmla="*/ 17 w 213"/>
                        <a:gd name="T3" fmla="*/ 48 h 213"/>
                        <a:gd name="T4" fmla="*/ 8 w 213"/>
                        <a:gd name="T5" fmla="*/ 67 h 213"/>
                        <a:gd name="T6" fmla="*/ 2 w 213"/>
                        <a:gd name="T7" fmla="*/ 86 h 213"/>
                        <a:gd name="T8" fmla="*/ 0 w 213"/>
                        <a:gd name="T9" fmla="*/ 107 h 213"/>
                        <a:gd name="T10" fmla="*/ 2 w 213"/>
                        <a:gd name="T11" fmla="*/ 127 h 213"/>
                        <a:gd name="T12" fmla="*/ 8 w 213"/>
                        <a:gd name="T13" fmla="*/ 146 h 213"/>
                        <a:gd name="T14" fmla="*/ 17 w 213"/>
                        <a:gd name="T15" fmla="*/ 166 h 213"/>
                        <a:gd name="T16" fmla="*/ 31 w 213"/>
                        <a:gd name="T17" fmla="*/ 182 h 213"/>
                        <a:gd name="T18" fmla="*/ 39 w 213"/>
                        <a:gd name="T19" fmla="*/ 190 h 213"/>
                        <a:gd name="T20" fmla="*/ 57 w 213"/>
                        <a:gd name="T21" fmla="*/ 202 h 213"/>
                        <a:gd name="T22" fmla="*/ 76 w 213"/>
                        <a:gd name="T23" fmla="*/ 210 h 213"/>
                        <a:gd name="T24" fmla="*/ 97 w 213"/>
                        <a:gd name="T25" fmla="*/ 213 h 213"/>
                        <a:gd name="T26" fmla="*/ 117 w 213"/>
                        <a:gd name="T27" fmla="*/ 213 h 213"/>
                        <a:gd name="T28" fmla="*/ 137 w 213"/>
                        <a:gd name="T29" fmla="*/ 210 h 213"/>
                        <a:gd name="T30" fmla="*/ 157 w 213"/>
                        <a:gd name="T31" fmla="*/ 202 h 213"/>
                        <a:gd name="T32" fmla="*/ 174 w 213"/>
                        <a:gd name="T33" fmla="*/ 190 h 213"/>
                        <a:gd name="T34" fmla="*/ 182 w 213"/>
                        <a:gd name="T35" fmla="*/ 182 h 213"/>
                        <a:gd name="T36" fmla="*/ 196 w 213"/>
                        <a:gd name="T37" fmla="*/ 166 h 213"/>
                        <a:gd name="T38" fmla="*/ 206 w 213"/>
                        <a:gd name="T39" fmla="*/ 146 h 213"/>
                        <a:gd name="T40" fmla="*/ 212 w 213"/>
                        <a:gd name="T41" fmla="*/ 127 h 213"/>
                        <a:gd name="T42" fmla="*/ 213 w 213"/>
                        <a:gd name="T43" fmla="*/ 107 h 213"/>
                        <a:gd name="T44" fmla="*/ 212 w 213"/>
                        <a:gd name="T45" fmla="*/ 86 h 213"/>
                        <a:gd name="T46" fmla="*/ 206 w 213"/>
                        <a:gd name="T47" fmla="*/ 67 h 213"/>
                        <a:gd name="T48" fmla="*/ 196 w 213"/>
                        <a:gd name="T49" fmla="*/ 48 h 213"/>
                        <a:gd name="T50" fmla="*/ 182 w 213"/>
                        <a:gd name="T51" fmla="*/ 31 h 213"/>
                        <a:gd name="T52" fmla="*/ 174 w 213"/>
                        <a:gd name="T53" fmla="*/ 24 h 213"/>
                        <a:gd name="T54" fmla="*/ 157 w 213"/>
                        <a:gd name="T55" fmla="*/ 12 h 213"/>
                        <a:gd name="T56" fmla="*/ 137 w 213"/>
                        <a:gd name="T57" fmla="*/ 4 h 213"/>
                        <a:gd name="T58" fmla="*/ 117 w 213"/>
                        <a:gd name="T59" fmla="*/ 0 h 213"/>
                        <a:gd name="T60" fmla="*/ 97 w 213"/>
                        <a:gd name="T61" fmla="*/ 0 h 213"/>
                        <a:gd name="T62" fmla="*/ 76 w 213"/>
                        <a:gd name="T63" fmla="*/ 4 h 213"/>
                        <a:gd name="T64" fmla="*/ 57 w 213"/>
                        <a:gd name="T65" fmla="*/ 12 h 213"/>
                        <a:gd name="T66" fmla="*/ 39 w 213"/>
                        <a:gd name="T67" fmla="*/ 24 h 213"/>
                        <a:gd name="T68" fmla="*/ 31 w 213"/>
                        <a:gd name="T69" fmla="*/ 3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213">
                          <a:moveTo>
                            <a:pt x="31" y="31"/>
                          </a:moveTo>
                          <a:lnTo>
                            <a:pt x="31" y="31"/>
                          </a:lnTo>
                          <a:lnTo>
                            <a:pt x="24" y="39"/>
                          </a:lnTo>
                          <a:lnTo>
                            <a:pt x="17" y="48"/>
                          </a:lnTo>
                          <a:lnTo>
                            <a:pt x="12" y="57"/>
                          </a:lnTo>
                          <a:lnTo>
                            <a:pt x="8" y="67"/>
                          </a:lnTo>
                          <a:lnTo>
                            <a:pt x="4" y="76"/>
                          </a:lnTo>
                          <a:lnTo>
                            <a:pt x="2" y="86"/>
                          </a:lnTo>
                          <a:lnTo>
                            <a:pt x="1" y="97"/>
                          </a:lnTo>
                          <a:lnTo>
                            <a:pt x="0" y="107"/>
                          </a:lnTo>
                          <a:lnTo>
                            <a:pt x="1" y="116"/>
                          </a:lnTo>
                          <a:lnTo>
                            <a:pt x="2" y="127"/>
                          </a:lnTo>
                          <a:lnTo>
                            <a:pt x="4" y="137"/>
                          </a:lnTo>
                          <a:lnTo>
                            <a:pt x="8" y="146"/>
                          </a:lnTo>
                          <a:lnTo>
                            <a:pt x="12" y="157"/>
                          </a:lnTo>
                          <a:lnTo>
                            <a:pt x="17" y="166"/>
                          </a:lnTo>
                          <a:lnTo>
                            <a:pt x="24" y="174"/>
                          </a:lnTo>
                          <a:lnTo>
                            <a:pt x="31" y="182"/>
                          </a:lnTo>
                          <a:lnTo>
                            <a:pt x="31" y="182"/>
                          </a:lnTo>
                          <a:lnTo>
                            <a:pt x="39" y="190"/>
                          </a:lnTo>
                          <a:lnTo>
                            <a:pt x="48" y="196"/>
                          </a:lnTo>
                          <a:lnTo>
                            <a:pt x="57" y="202"/>
                          </a:lnTo>
                          <a:lnTo>
                            <a:pt x="67" y="206"/>
                          </a:lnTo>
                          <a:lnTo>
                            <a:pt x="76" y="210"/>
                          </a:lnTo>
                          <a:lnTo>
                            <a:pt x="86" y="212"/>
                          </a:lnTo>
                          <a:lnTo>
                            <a:pt x="97" y="213"/>
                          </a:lnTo>
                          <a:lnTo>
                            <a:pt x="107" y="213"/>
                          </a:lnTo>
                          <a:lnTo>
                            <a:pt x="117" y="213"/>
                          </a:lnTo>
                          <a:lnTo>
                            <a:pt x="127" y="212"/>
                          </a:lnTo>
                          <a:lnTo>
                            <a:pt x="137" y="210"/>
                          </a:lnTo>
                          <a:lnTo>
                            <a:pt x="147" y="206"/>
                          </a:lnTo>
                          <a:lnTo>
                            <a:pt x="157" y="202"/>
                          </a:lnTo>
                          <a:lnTo>
                            <a:pt x="166" y="196"/>
                          </a:lnTo>
                          <a:lnTo>
                            <a:pt x="174" y="190"/>
                          </a:lnTo>
                          <a:lnTo>
                            <a:pt x="182" y="182"/>
                          </a:lnTo>
                          <a:lnTo>
                            <a:pt x="182" y="182"/>
                          </a:lnTo>
                          <a:lnTo>
                            <a:pt x="190" y="174"/>
                          </a:lnTo>
                          <a:lnTo>
                            <a:pt x="196" y="166"/>
                          </a:lnTo>
                          <a:lnTo>
                            <a:pt x="202" y="157"/>
                          </a:lnTo>
                          <a:lnTo>
                            <a:pt x="206" y="146"/>
                          </a:lnTo>
                          <a:lnTo>
                            <a:pt x="210" y="137"/>
                          </a:lnTo>
                          <a:lnTo>
                            <a:pt x="212" y="127"/>
                          </a:lnTo>
                          <a:lnTo>
                            <a:pt x="213" y="116"/>
                          </a:lnTo>
                          <a:lnTo>
                            <a:pt x="213" y="107"/>
                          </a:lnTo>
                          <a:lnTo>
                            <a:pt x="213" y="97"/>
                          </a:lnTo>
                          <a:lnTo>
                            <a:pt x="212" y="86"/>
                          </a:lnTo>
                          <a:lnTo>
                            <a:pt x="210" y="76"/>
                          </a:lnTo>
                          <a:lnTo>
                            <a:pt x="206" y="67"/>
                          </a:lnTo>
                          <a:lnTo>
                            <a:pt x="202" y="57"/>
                          </a:lnTo>
                          <a:lnTo>
                            <a:pt x="196" y="48"/>
                          </a:lnTo>
                          <a:lnTo>
                            <a:pt x="190" y="39"/>
                          </a:lnTo>
                          <a:lnTo>
                            <a:pt x="182" y="31"/>
                          </a:lnTo>
                          <a:lnTo>
                            <a:pt x="182" y="31"/>
                          </a:lnTo>
                          <a:lnTo>
                            <a:pt x="174" y="24"/>
                          </a:lnTo>
                          <a:lnTo>
                            <a:pt x="166" y="17"/>
                          </a:lnTo>
                          <a:lnTo>
                            <a:pt x="157" y="12"/>
                          </a:lnTo>
                          <a:lnTo>
                            <a:pt x="147" y="8"/>
                          </a:lnTo>
                          <a:lnTo>
                            <a:pt x="137" y="4"/>
                          </a:lnTo>
                          <a:lnTo>
                            <a:pt x="127" y="2"/>
                          </a:lnTo>
                          <a:lnTo>
                            <a:pt x="117" y="0"/>
                          </a:lnTo>
                          <a:lnTo>
                            <a:pt x="107" y="0"/>
                          </a:lnTo>
                          <a:lnTo>
                            <a:pt x="97" y="0"/>
                          </a:lnTo>
                          <a:lnTo>
                            <a:pt x="86" y="2"/>
                          </a:lnTo>
                          <a:lnTo>
                            <a:pt x="76" y="4"/>
                          </a:lnTo>
                          <a:lnTo>
                            <a:pt x="67" y="8"/>
                          </a:lnTo>
                          <a:lnTo>
                            <a:pt x="57" y="12"/>
                          </a:lnTo>
                          <a:lnTo>
                            <a:pt x="48" y="17"/>
                          </a:lnTo>
                          <a:lnTo>
                            <a:pt x="39" y="24"/>
                          </a:lnTo>
                          <a:lnTo>
                            <a:pt x="31" y="31"/>
                          </a:lnTo>
                          <a:lnTo>
                            <a:pt x="31" y="31"/>
                          </a:lnTo>
                          <a:close/>
                        </a:path>
                      </a:pathLst>
                    </a:custGeom>
                    <a:solidFill>
                      <a:srgbClr val="9CE5F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Arial"/>
                        <a:ea typeface="ＭＳ Ｐゴシック" charset="0"/>
                        <a:cs typeface="+mn-cs"/>
                      </a:endParaRPr>
                    </a:p>
                  </p:txBody>
                </p:sp>
                <p:sp>
                  <p:nvSpPr>
                    <p:cNvPr id="836" name="Freeform 177">
                      <a:extLst>
                        <a:ext uri="{FF2B5EF4-FFF2-40B4-BE49-F238E27FC236}">
                          <a16:creationId xmlns:a16="http://schemas.microsoft.com/office/drawing/2014/main" id="{4601A57A-5461-4FE5-A56A-0E21FD2B4DEC}"/>
                        </a:ext>
                      </a:extLst>
                    </p:cNvPr>
                    <p:cNvSpPr>
                      <a:spLocks/>
                    </p:cNvSpPr>
                    <p:nvPr/>
                  </p:nvSpPr>
                  <p:spPr bwMode="auto">
                    <a:xfrm>
                      <a:off x="5244355" y="4049215"/>
                      <a:ext cx="194907" cy="69611"/>
                    </a:xfrm>
                    <a:custGeom>
                      <a:avLst/>
                      <a:gdLst>
                        <a:gd name="T0" fmla="*/ 302 w 424"/>
                        <a:gd name="T1" fmla="*/ 15 h 155"/>
                        <a:gd name="T2" fmla="*/ 257 w 424"/>
                        <a:gd name="T3" fmla="*/ 4 h 155"/>
                        <a:gd name="T4" fmla="*/ 212 w 424"/>
                        <a:gd name="T5" fmla="*/ 0 h 155"/>
                        <a:gd name="T6" fmla="*/ 184 w 424"/>
                        <a:gd name="T7" fmla="*/ 1 h 155"/>
                        <a:gd name="T8" fmla="*/ 131 w 424"/>
                        <a:gd name="T9" fmla="*/ 12 h 155"/>
                        <a:gd name="T10" fmla="*/ 81 w 424"/>
                        <a:gd name="T11" fmla="*/ 32 h 155"/>
                        <a:gd name="T12" fmla="*/ 56 w 424"/>
                        <a:gd name="T13" fmla="*/ 47 h 155"/>
                        <a:gd name="T14" fmla="*/ 33 w 424"/>
                        <a:gd name="T15" fmla="*/ 64 h 155"/>
                        <a:gd name="T16" fmla="*/ 11 w 424"/>
                        <a:gd name="T17" fmla="*/ 83 h 155"/>
                        <a:gd name="T18" fmla="*/ 7 w 424"/>
                        <a:gd name="T19" fmla="*/ 90 h 155"/>
                        <a:gd name="T20" fmla="*/ 0 w 424"/>
                        <a:gd name="T21" fmla="*/ 105 h 155"/>
                        <a:gd name="T22" fmla="*/ 0 w 424"/>
                        <a:gd name="T23" fmla="*/ 121 h 155"/>
                        <a:gd name="T24" fmla="*/ 7 w 424"/>
                        <a:gd name="T25" fmla="*/ 136 h 155"/>
                        <a:gd name="T26" fmla="*/ 11 w 424"/>
                        <a:gd name="T27" fmla="*/ 142 h 155"/>
                        <a:gd name="T28" fmla="*/ 25 w 424"/>
                        <a:gd name="T29" fmla="*/ 151 h 155"/>
                        <a:gd name="T30" fmla="*/ 41 w 424"/>
                        <a:gd name="T31" fmla="*/ 155 h 155"/>
                        <a:gd name="T32" fmla="*/ 49 w 424"/>
                        <a:gd name="T33" fmla="*/ 154 h 155"/>
                        <a:gd name="T34" fmla="*/ 64 w 424"/>
                        <a:gd name="T35" fmla="*/ 148 h 155"/>
                        <a:gd name="T36" fmla="*/ 70 w 424"/>
                        <a:gd name="T37" fmla="*/ 142 h 155"/>
                        <a:gd name="T38" fmla="*/ 102 w 424"/>
                        <a:gd name="T39" fmla="*/ 117 h 155"/>
                        <a:gd name="T40" fmla="*/ 137 w 424"/>
                        <a:gd name="T41" fmla="*/ 98 h 155"/>
                        <a:gd name="T42" fmla="*/ 174 w 424"/>
                        <a:gd name="T43" fmla="*/ 88 h 155"/>
                        <a:gd name="T44" fmla="*/ 212 w 424"/>
                        <a:gd name="T45" fmla="*/ 84 h 155"/>
                        <a:gd name="T46" fmla="*/ 228 w 424"/>
                        <a:gd name="T47" fmla="*/ 84 h 155"/>
                        <a:gd name="T48" fmla="*/ 261 w 424"/>
                        <a:gd name="T49" fmla="*/ 90 h 155"/>
                        <a:gd name="T50" fmla="*/ 276 w 424"/>
                        <a:gd name="T51" fmla="*/ 95 h 155"/>
                        <a:gd name="T52" fmla="*/ 316 w 424"/>
                        <a:gd name="T53" fmla="*/ 113 h 155"/>
                        <a:gd name="T54" fmla="*/ 353 w 424"/>
                        <a:gd name="T55" fmla="*/ 142 h 155"/>
                        <a:gd name="T56" fmla="*/ 360 w 424"/>
                        <a:gd name="T57" fmla="*/ 148 h 155"/>
                        <a:gd name="T58" fmla="*/ 375 w 424"/>
                        <a:gd name="T59" fmla="*/ 154 h 155"/>
                        <a:gd name="T60" fmla="*/ 391 w 424"/>
                        <a:gd name="T61" fmla="*/ 154 h 155"/>
                        <a:gd name="T62" fmla="*/ 406 w 424"/>
                        <a:gd name="T63" fmla="*/ 148 h 155"/>
                        <a:gd name="T64" fmla="*/ 412 w 424"/>
                        <a:gd name="T65" fmla="*/ 142 h 155"/>
                        <a:gd name="T66" fmla="*/ 421 w 424"/>
                        <a:gd name="T67" fmla="*/ 128 h 155"/>
                        <a:gd name="T68" fmla="*/ 424 w 424"/>
                        <a:gd name="T69" fmla="*/ 113 h 155"/>
                        <a:gd name="T70" fmla="*/ 421 w 424"/>
                        <a:gd name="T71" fmla="*/ 97 h 155"/>
                        <a:gd name="T72" fmla="*/ 412 w 424"/>
                        <a:gd name="T73" fmla="*/ 83 h 155"/>
                        <a:gd name="T74" fmla="*/ 400 w 424"/>
                        <a:gd name="T75" fmla="*/ 72 h 155"/>
                        <a:gd name="T76" fmla="*/ 374 w 424"/>
                        <a:gd name="T77" fmla="*/ 51 h 155"/>
                        <a:gd name="T78" fmla="*/ 346 w 424"/>
                        <a:gd name="T79" fmla="*/ 35 h 155"/>
                        <a:gd name="T80" fmla="*/ 317 w 424"/>
                        <a:gd name="T81" fmla="*/ 21 h 155"/>
                        <a:gd name="T82" fmla="*/ 302 w 424"/>
                        <a:gd name="T83" fmla="*/ 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4" h="155">
                          <a:moveTo>
                            <a:pt x="302" y="15"/>
                          </a:moveTo>
                          <a:lnTo>
                            <a:pt x="302" y="15"/>
                          </a:lnTo>
                          <a:lnTo>
                            <a:pt x="280" y="8"/>
                          </a:lnTo>
                          <a:lnTo>
                            <a:pt x="257" y="4"/>
                          </a:lnTo>
                          <a:lnTo>
                            <a:pt x="235" y="1"/>
                          </a:lnTo>
                          <a:lnTo>
                            <a:pt x="212" y="0"/>
                          </a:lnTo>
                          <a:lnTo>
                            <a:pt x="212" y="0"/>
                          </a:lnTo>
                          <a:lnTo>
                            <a:pt x="184" y="1"/>
                          </a:lnTo>
                          <a:lnTo>
                            <a:pt x="158" y="6"/>
                          </a:lnTo>
                          <a:lnTo>
                            <a:pt x="131" y="12"/>
                          </a:lnTo>
                          <a:lnTo>
                            <a:pt x="105" y="21"/>
                          </a:lnTo>
                          <a:lnTo>
                            <a:pt x="81" y="32"/>
                          </a:lnTo>
                          <a:lnTo>
                            <a:pt x="68" y="39"/>
                          </a:lnTo>
                          <a:lnTo>
                            <a:pt x="56" y="47"/>
                          </a:lnTo>
                          <a:lnTo>
                            <a:pt x="45" y="56"/>
                          </a:lnTo>
                          <a:lnTo>
                            <a:pt x="33" y="64"/>
                          </a:lnTo>
                          <a:lnTo>
                            <a:pt x="22" y="73"/>
                          </a:lnTo>
                          <a:lnTo>
                            <a:pt x="11" y="83"/>
                          </a:lnTo>
                          <a:lnTo>
                            <a:pt x="11" y="83"/>
                          </a:lnTo>
                          <a:lnTo>
                            <a:pt x="7" y="90"/>
                          </a:lnTo>
                          <a:lnTo>
                            <a:pt x="2" y="97"/>
                          </a:lnTo>
                          <a:lnTo>
                            <a:pt x="0" y="105"/>
                          </a:lnTo>
                          <a:lnTo>
                            <a:pt x="0" y="113"/>
                          </a:lnTo>
                          <a:lnTo>
                            <a:pt x="0" y="121"/>
                          </a:lnTo>
                          <a:lnTo>
                            <a:pt x="2" y="128"/>
                          </a:lnTo>
                          <a:lnTo>
                            <a:pt x="7" y="136"/>
                          </a:lnTo>
                          <a:lnTo>
                            <a:pt x="11" y="142"/>
                          </a:lnTo>
                          <a:lnTo>
                            <a:pt x="11" y="142"/>
                          </a:lnTo>
                          <a:lnTo>
                            <a:pt x="18" y="148"/>
                          </a:lnTo>
                          <a:lnTo>
                            <a:pt x="25" y="151"/>
                          </a:lnTo>
                          <a:lnTo>
                            <a:pt x="33" y="154"/>
                          </a:lnTo>
                          <a:lnTo>
                            <a:pt x="41" y="155"/>
                          </a:lnTo>
                          <a:lnTo>
                            <a:pt x="41" y="155"/>
                          </a:lnTo>
                          <a:lnTo>
                            <a:pt x="49" y="154"/>
                          </a:lnTo>
                          <a:lnTo>
                            <a:pt x="57" y="151"/>
                          </a:lnTo>
                          <a:lnTo>
                            <a:pt x="64" y="148"/>
                          </a:lnTo>
                          <a:lnTo>
                            <a:pt x="70" y="142"/>
                          </a:lnTo>
                          <a:lnTo>
                            <a:pt x="70" y="142"/>
                          </a:lnTo>
                          <a:lnTo>
                            <a:pt x="86" y="128"/>
                          </a:lnTo>
                          <a:lnTo>
                            <a:pt x="102" y="117"/>
                          </a:lnTo>
                          <a:lnTo>
                            <a:pt x="119" y="106"/>
                          </a:lnTo>
                          <a:lnTo>
                            <a:pt x="137" y="98"/>
                          </a:lnTo>
                          <a:lnTo>
                            <a:pt x="154" y="92"/>
                          </a:lnTo>
                          <a:lnTo>
                            <a:pt x="174" y="88"/>
                          </a:lnTo>
                          <a:lnTo>
                            <a:pt x="192" y="84"/>
                          </a:lnTo>
                          <a:lnTo>
                            <a:pt x="212" y="84"/>
                          </a:lnTo>
                          <a:lnTo>
                            <a:pt x="212" y="84"/>
                          </a:lnTo>
                          <a:lnTo>
                            <a:pt x="228" y="84"/>
                          </a:lnTo>
                          <a:lnTo>
                            <a:pt x="244" y="87"/>
                          </a:lnTo>
                          <a:lnTo>
                            <a:pt x="261" y="90"/>
                          </a:lnTo>
                          <a:lnTo>
                            <a:pt x="276" y="95"/>
                          </a:lnTo>
                          <a:lnTo>
                            <a:pt x="276" y="95"/>
                          </a:lnTo>
                          <a:lnTo>
                            <a:pt x="296" y="103"/>
                          </a:lnTo>
                          <a:lnTo>
                            <a:pt x="316" y="113"/>
                          </a:lnTo>
                          <a:lnTo>
                            <a:pt x="336" y="127"/>
                          </a:lnTo>
                          <a:lnTo>
                            <a:pt x="353" y="142"/>
                          </a:lnTo>
                          <a:lnTo>
                            <a:pt x="353" y="142"/>
                          </a:lnTo>
                          <a:lnTo>
                            <a:pt x="360" y="148"/>
                          </a:lnTo>
                          <a:lnTo>
                            <a:pt x="367" y="151"/>
                          </a:lnTo>
                          <a:lnTo>
                            <a:pt x="375" y="154"/>
                          </a:lnTo>
                          <a:lnTo>
                            <a:pt x="383" y="155"/>
                          </a:lnTo>
                          <a:lnTo>
                            <a:pt x="391" y="154"/>
                          </a:lnTo>
                          <a:lnTo>
                            <a:pt x="398" y="151"/>
                          </a:lnTo>
                          <a:lnTo>
                            <a:pt x="406" y="148"/>
                          </a:lnTo>
                          <a:lnTo>
                            <a:pt x="412" y="142"/>
                          </a:lnTo>
                          <a:lnTo>
                            <a:pt x="412" y="142"/>
                          </a:lnTo>
                          <a:lnTo>
                            <a:pt x="417" y="136"/>
                          </a:lnTo>
                          <a:lnTo>
                            <a:pt x="421" y="128"/>
                          </a:lnTo>
                          <a:lnTo>
                            <a:pt x="423" y="121"/>
                          </a:lnTo>
                          <a:lnTo>
                            <a:pt x="424" y="113"/>
                          </a:lnTo>
                          <a:lnTo>
                            <a:pt x="423" y="105"/>
                          </a:lnTo>
                          <a:lnTo>
                            <a:pt x="421" y="97"/>
                          </a:lnTo>
                          <a:lnTo>
                            <a:pt x="417" y="90"/>
                          </a:lnTo>
                          <a:lnTo>
                            <a:pt x="412" y="83"/>
                          </a:lnTo>
                          <a:lnTo>
                            <a:pt x="412" y="83"/>
                          </a:lnTo>
                          <a:lnTo>
                            <a:pt x="400" y="72"/>
                          </a:lnTo>
                          <a:lnTo>
                            <a:pt x="387" y="61"/>
                          </a:lnTo>
                          <a:lnTo>
                            <a:pt x="374" y="51"/>
                          </a:lnTo>
                          <a:lnTo>
                            <a:pt x="360" y="43"/>
                          </a:lnTo>
                          <a:lnTo>
                            <a:pt x="346" y="35"/>
                          </a:lnTo>
                          <a:lnTo>
                            <a:pt x="332" y="27"/>
                          </a:lnTo>
                          <a:lnTo>
                            <a:pt x="317" y="21"/>
                          </a:lnTo>
                          <a:lnTo>
                            <a:pt x="302" y="15"/>
                          </a:lnTo>
                          <a:lnTo>
                            <a:pt x="302" y="15"/>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Arial"/>
                        <a:ea typeface="ＭＳ Ｐゴシック" charset="0"/>
                        <a:cs typeface="+mn-cs"/>
                      </a:endParaRPr>
                    </a:p>
                  </p:txBody>
                </p:sp>
                <p:sp>
                  <p:nvSpPr>
                    <p:cNvPr id="837" name="Freeform 178">
                      <a:extLst>
                        <a:ext uri="{FF2B5EF4-FFF2-40B4-BE49-F238E27FC236}">
                          <a16:creationId xmlns:a16="http://schemas.microsoft.com/office/drawing/2014/main" id="{1F7159D2-8F53-442F-9110-E8DACFC54235}"/>
                        </a:ext>
                      </a:extLst>
                    </p:cNvPr>
                    <p:cNvSpPr>
                      <a:spLocks/>
                    </p:cNvSpPr>
                    <p:nvPr/>
                  </p:nvSpPr>
                  <p:spPr bwMode="auto">
                    <a:xfrm>
                      <a:off x="5183099" y="3962898"/>
                      <a:ext cx="317419" cy="97455"/>
                    </a:xfrm>
                    <a:custGeom>
                      <a:avLst/>
                      <a:gdLst>
                        <a:gd name="T0" fmla="*/ 341 w 682"/>
                        <a:gd name="T1" fmla="*/ 0 h 208"/>
                        <a:gd name="T2" fmla="*/ 296 w 682"/>
                        <a:gd name="T3" fmla="*/ 2 h 208"/>
                        <a:gd name="T4" fmla="*/ 252 w 682"/>
                        <a:gd name="T5" fmla="*/ 9 h 208"/>
                        <a:gd name="T6" fmla="*/ 208 w 682"/>
                        <a:gd name="T7" fmla="*/ 19 h 208"/>
                        <a:gd name="T8" fmla="*/ 166 w 682"/>
                        <a:gd name="T9" fmla="*/ 34 h 208"/>
                        <a:gd name="T10" fmla="*/ 124 w 682"/>
                        <a:gd name="T11" fmla="*/ 54 h 208"/>
                        <a:gd name="T12" fmla="*/ 85 w 682"/>
                        <a:gd name="T13" fmla="*/ 77 h 208"/>
                        <a:gd name="T14" fmla="*/ 47 w 682"/>
                        <a:gd name="T15" fmla="*/ 105 h 208"/>
                        <a:gd name="T16" fmla="*/ 12 w 682"/>
                        <a:gd name="T17" fmla="*/ 137 h 208"/>
                        <a:gd name="T18" fmla="*/ 6 w 682"/>
                        <a:gd name="T19" fmla="*/ 143 h 208"/>
                        <a:gd name="T20" fmla="*/ 1 w 682"/>
                        <a:gd name="T21" fmla="*/ 158 h 208"/>
                        <a:gd name="T22" fmla="*/ 1 w 682"/>
                        <a:gd name="T23" fmla="*/ 174 h 208"/>
                        <a:gd name="T24" fmla="*/ 6 w 682"/>
                        <a:gd name="T25" fmla="*/ 189 h 208"/>
                        <a:gd name="T26" fmla="*/ 12 w 682"/>
                        <a:gd name="T27" fmla="*/ 196 h 208"/>
                        <a:gd name="T28" fmla="*/ 26 w 682"/>
                        <a:gd name="T29" fmla="*/ 205 h 208"/>
                        <a:gd name="T30" fmla="*/ 41 w 682"/>
                        <a:gd name="T31" fmla="*/ 208 h 208"/>
                        <a:gd name="T32" fmla="*/ 49 w 682"/>
                        <a:gd name="T33" fmla="*/ 208 h 208"/>
                        <a:gd name="T34" fmla="*/ 64 w 682"/>
                        <a:gd name="T35" fmla="*/ 201 h 208"/>
                        <a:gd name="T36" fmla="*/ 71 w 682"/>
                        <a:gd name="T37" fmla="*/ 196 h 208"/>
                        <a:gd name="T38" fmla="*/ 100 w 682"/>
                        <a:gd name="T39" fmla="*/ 169 h 208"/>
                        <a:gd name="T40" fmla="*/ 131 w 682"/>
                        <a:gd name="T41" fmla="*/ 146 h 208"/>
                        <a:gd name="T42" fmla="*/ 163 w 682"/>
                        <a:gd name="T43" fmla="*/ 128 h 208"/>
                        <a:gd name="T44" fmla="*/ 197 w 682"/>
                        <a:gd name="T45" fmla="*/ 112 h 208"/>
                        <a:gd name="T46" fmla="*/ 233 w 682"/>
                        <a:gd name="T47" fmla="*/ 99 h 208"/>
                        <a:gd name="T48" fmla="*/ 268 w 682"/>
                        <a:gd name="T49" fmla="*/ 91 h 208"/>
                        <a:gd name="T50" fmla="*/ 304 w 682"/>
                        <a:gd name="T51" fmla="*/ 85 h 208"/>
                        <a:gd name="T52" fmla="*/ 341 w 682"/>
                        <a:gd name="T53" fmla="*/ 84 h 208"/>
                        <a:gd name="T54" fmla="*/ 360 w 682"/>
                        <a:gd name="T55" fmla="*/ 84 h 208"/>
                        <a:gd name="T56" fmla="*/ 395 w 682"/>
                        <a:gd name="T57" fmla="*/ 88 h 208"/>
                        <a:gd name="T58" fmla="*/ 432 w 682"/>
                        <a:gd name="T59" fmla="*/ 94 h 208"/>
                        <a:gd name="T60" fmla="*/ 467 w 682"/>
                        <a:gd name="T61" fmla="*/ 105 h 208"/>
                        <a:gd name="T62" fmla="*/ 501 w 682"/>
                        <a:gd name="T63" fmla="*/ 119 h 208"/>
                        <a:gd name="T64" fmla="*/ 535 w 682"/>
                        <a:gd name="T65" fmla="*/ 136 h 208"/>
                        <a:gd name="T66" fmla="*/ 566 w 682"/>
                        <a:gd name="T67" fmla="*/ 158 h 208"/>
                        <a:gd name="T68" fmla="*/ 596 w 682"/>
                        <a:gd name="T69" fmla="*/ 182 h 208"/>
                        <a:gd name="T70" fmla="*/ 611 w 682"/>
                        <a:gd name="T71" fmla="*/ 196 h 208"/>
                        <a:gd name="T72" fmla="*/ 625 w 682"/>
                        <a:gd name="T73" fmla="*/ 205 h 208"/>
                        <a:gd name="T74" fmla="*/ 640 w 682"/>
                        <a:gd name="T75" fmla="*/ 208 h 208"/>
                        <a:gd name="T76" fmla="*/ 656 w 682"/>
                        <a:gd name="T77" fmla="*/ 205 h 208"/>
                        <a:gd name="T78" fmla="*/ 670 w 682"/>
                        <a:gd name="T79" fmla="*/ 196 h 208"/>
                        <a:gd name="T80" fmla="*/ 675 w 682"/>
                        <a:gd name="T81" fmla="*/ 189 h 208"/>
                        <a:gd name="T82" fmla="*/ 682 w 682"/>
                        <a:gd name="T83" fmla="*/ 174 h 208"/>
                        <a:gd name="T84" fmla="*/ 682 w 682"/>
                        <a:gd name="T85" fmla="*/ 158 h 208"/>
                        <a:gd name="T86" fmla="*/ 675 w 682"/>
                        <a:gd name="T87" fmla="*/ 143 h 208"/>
                        <a:gd name="T88" fmla="*/ 670 w 682"/>
                        <a:gd name="T89" fmla="*/ 137 h 208"/>
                        <a:gd name="T90" fmla="*/ 634 w 682"/>
                        <a:gd name="T91" fmla="*/ 105 h 208"/>
                        <a:gd name="T92" fmla="*/ 597 w 682"/>
                        <a:gd name="T93" fmla="*/ 77 h 208"/>
                        <a:gd name="T94" fmla="*/ 557 w 682"/>
                        <a:gd name="T95" fmla="*/ 54 h 208"/>
                        <a:gd name="T96" fmla="*/ 515 w 682"/>
                        <a:gd name="T97" fmla="*/ 34 h 208"/>
                        <a:gd name="T98" fmla="*/ 473 w 682"/>
                        <a:gd name="T99" fmla="*/ 19 h 208"/>
                        <a:gd name="T100" fmla="*/ 430 w 682"/>
                        <a:gd name="T101" fmla="*/ 9 h 208"/>
                        <a:gd name="T102" fmla="*/ 385 w 682"/>
                        <a:gd name="T103" fmla="*/ 2 h 208"/>
                        <a:gd name="T104" fmla="*/ 341 w 682"/>
                        <a:gd name="T10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2" h="208">
                          <a:moveTo>
                            <a:pt x="341" y="0"/>
                          </a:moveTo>
                          <a:lnTo>
                            <a:pt x="341" y="0"/>
                          </a:lnTo>
                          <a:lnTo>
                            <a:pt x="318" y="1"/>
                          </a:lnTo>
                          <a:lnTo>
                            <a:pt x="296" y="2"/>
                          </a:lnTo>
                          <a:lnTo>
                            <a:pt x="274" y="6"/>
                          </a:lnTo>
                          <a:lnTo>
                            <a:pt x="252" y="9"/>
                          </a:lnTo>
                          <a:lnTo>
                            <a:pt x="230" y="14"/>
                          </a:lnTo>
                          <a:lnTo>
                            <a:pt x="208" y="19"/>
                          </a:lnTo>
                          <a:lnTo>
                            <a:pt x="186" y="26"/>
                          </a:lnTo>
                          <a:lnTo>
                            <a:pt x="166" y="34"/>
                          </a:lnTo>
                          <a:lnTo>
                            <a:pt x="145" y="44"/>
                          </a:lnTo>
                          <a:lnTo>
                            <a:pt x="124" y="54"/>
                          </a:lnTo>
                          <a:lnTo>
                            <a:pt x="105" y="64"/>
                          </a:lnTo>
                          <a:lnTo>
                            <a:pt x="85" y="77"/>
                          </a:lnTo>
                          <a:lnTo>
                            <a:pt x="65" y="90"/>
                          </a:lnTo>
                          <a:lnTo>
                            <a:pt x="47" y="105"/>
                          </a:lnTo>
                          <a:lnTo>
                            <a:pt x="30" y="120"/>
                          </a:lnTo>
                          <a:lnTo>
                            <a:pt x="12" y="137"/>
                          </a:lnTo>
                          <a:lnTo>
                            <a:pt x="12" y="137"/>
                          </a:lnTo>
                          <a:lnTo>
                            <a:pt x="6" y="143"/>
                          </a:lnTo>
                          <a:lnTo>
                            <a:pt x="3" y="150"/>
                          </a:lnTo>
                          <a:lnTo>
                            <a:pt x="1" y="158"/>
                          </a:lnTo>
                          <a:lnTo>
                            <a:pt x="0" y="166"/>
                          </a:lnTo>
                          <a:lnTo>
                            <a:pt x="1" y="174"/>
                          </a:lnTo>
                          <a:lnTo>
                            <a:pt x="3" y="182"/>
                          </a:lnTo>
                          <a:lnTo>
                            <a:pt x="6" y="189"/>
                          </a:lnTo>
                          <a:lnTo>
                            <a:pt x="12" y="196"/>
                          </a:lnTo>
                          <a:lnTo>
                            <a:pt x="12" y="196"/>
                          </a:lnTo>
                          <a:lnTo>
                            <a:pt x="18" y="201"/>
                          </a:lnTo>
                          <a:lnTo>
                            <a:pt x="26" y="205"/>
                          </a:lnTo>
                          <a:lnTo>
                            <a:pt x="33" y="208"/>
                          </a:lnTo>
                          <a:lnTo>
                            <a:pt x="41" y="208"/>
                          </a:lnTo>
                          <a:lnTo>
                            <a:pt x="41" y="208"/>
                          </a:lnTo>
                          <a:lnTo>
                            <a:pt x="49" y="208"/>
                          </a:lnTo>
                          <a:lnTo>
                            <a:pt x="57" y="205"/>
                          </a:lnTo>
                          <a:lnTo>
                            <a:pt x="64" y="201"/>
                          </a:lnTo>
                          <a:lnTo>
                            <a:pt x="71" y="196"/>
                          </a:lnTo>
                          <a:lnTo>
                            <a:pt x="71" y="196"/>
                          </a:lnTo>
                          <a:lnTo>
                            <a:pt x="85" y="182"/>
                          </a:lnTo>
                          <a:lnTo>
                            <a:pt x="100" y="169"/>
                          </a:lnTo>
                          <a:lnTo>
                            <a:pt x="115" y="158"/>
                          </a:lnTo>
                          <a:lnTo>
                            <a:pt x="131" y="146"/>
                          </a:lnTo>
                          <a:lnTo>
                            <a:pt x="147" y="136"/>
                          </a:lnTo>
                          <a:lnTo>
                            <a:pt x="163" y="128"/>
                          </a:lnTo>
                          <a:lnTo>
                            <a:pt x="181" y="119"/>
                          </a:lnTo>
                          <a:lnTo>
                            <a:pt x="197" y="112"/>
                          </a:lnTo>
                          <a:lnTo>
                            <a:pt x="214" y="105"/>
                          </a:lnTo>
                          <a:lnTo>
                            <a:pt x="233" y="99"/>
                          </a:lnTo>
                          <a:lnTo>
                            <a:pt x="250" y="94"/>
                          </a:lnTo>
                          <a:lnTo>
                            <a:pt x="268" y="91"/>
                          </a:lnTo>
                          <a:lnTo>
                            <a:pt x="286" y="88"/>
                          </a:lnTo>
                          <a:lnTo>
                            <a:pt x="304" y="85"/>
                          </a:lnTo>
                          <a:lnTo>
                            <a:pt x="323" y="84"/>
                          </a:lnTo>
                          <a:lnTo>
                            <a:pt x="341" y="84"/>
                          </a:lnTo>
                          <a:lnTo>
                            <a:pt x="341" y="84"/>
                          </a:lnTo>
                          <a:lnTo>
                            <a:pt x="360" y="84"/>
                          </a:lnTo>
                          <a:lnTo>
                            <a:pt x="378" y="85"/>
                          </a:lnTo>
                          <a:lnTo>
                            <a:pt x="395" y="88"/>
                          </a:lnTo>
                          <a:lnTo>
                            <a:pt x="414" y="91"/>
                          </a:lnTo>
                          <a:lnTo>
                            <a:pt x="432" y="94"/>
                          </a:lnTo>
                          <a:lnTo>
                            <a:pt x="450" y="99"/>
                          </a:lnTo>
                          <a:lnTo>
                            <a:pt x="467" y="105"/>
                          </a:lnTo>
                          <a:lnTo>
                            <a:pt x="484" y="112"/>
                          </a:lnTo>
                          <a:lnTo>
                            <a:pt x="501" y="119"/>
                          </a:lnTo>
                          <a:lnTo>
                            <a:pt x="519" y="128"/>
                          </a:lnTo>
                          <a:lnTo>
                            <a:pt x="535" y="136"/>
                          </a:lnTo>
                          <a:lnTo>
                            <a:pt x="551" y="146"/>
                          </a:lnTo>
                          <a:lnTo>
                            <a:pt x="566" y="158"/>
                          </a:lnTo>
                          <a:lnTo>
                            <a:pt x="581" y="169"/>
                          </a:lnTo>
                          <a:lnTo>
                            <a:pt x="596" y="182"/>
                          </a:lnTo>
                          <a:lnTo>
                            <a:pt x="611" y="196"/>
                          </a:lnTo>
                          <a:lnTo>
                            <a:pt x="611" y="196"/>
                          </a:lnTo>
                          <a:lnTo>
                            <a:pt x="617" y="201"/>
                          </a:lnTo>
                          <a:lnTo>
                            <a:pt x="625" y="205"/>
                          </a:lnTo>
                          <a:lnTo>
                            <a:pt x="632" y="208"/>
                          </a:lnTo>
                          <a:lnTo>
                            <a:pt x="640" y="208"/>
                          </a:lnTo>
                          <a:lnTo>
                            <a:pt x="648" y="208"/>
                          </a:lnTo>
                          <a:lnTo>
                            <a:pt x="656" y="205"/>
                          </a:lnTo>
                          <a:lnTo>
                            <a:pt x="663" y="201"/>
                          </a:lnTo>
                          <a:lnTo>
                            <a:pt x="670" y="196"/>
                          </a:lnTo>
                          <a:lnTo>
                            <a:pt x="670" y="196"/>
                          </a:lnTo>
                          <a:lnTo>
                            <a:pt x="675" y="189"/>
                          </a:lnTo>
                          <a:lnTo>
                            <a:pt x="679" y="182"/>
                          </a:lnTo>
                          <a:lnTo>
                            <a:pt x="682" y="174"/>
                          </a:lnTo>
                          <a:lnTo>
                            <a:pt x="682" y="166"/>
                          </a:lnTo>
                          <a:lnTo>
                            <a:pt x="682" y="158"/>
                          </a:lnTo>
                          <a:lnTo>
                            <a:pt x="679" y="150"/>
                          </a:lnTo>
                          <a:lnTo>
                            <a:pt x="675" y="143"/>
                          </a:lnTo>
                          <a:lnTo>
                            <a:pt x="670" y="137"/>
                          </a:lnTo>
                          <a:lnTo>
                            <a:pt x="670" y="137"/>
                          </a:lnTo>
                          <a:lnTo>
                            <a:pt x="653" y="120"/>
                          </a:lnTo>
                          <a:lnTo>
                            <a:pt x="634" y="105"/>
                          </a:lnTo>
                          <a:lnTo>
                            <a:pt x="616" y="90"/>
                          </a:lnTo>
                          <a:lnTo>
                            <a:pt x="597" y="77"/>
                          </a:lnTo>
                          <a:lnTo>
                            <a:pt x="578" y="64"/>
                          </a:lnTo>
                          <a:lnTo>
                            <a:pt x="557" y="54"/>
                          </a:lnTo>
                          <a:lnTo>
                            <a:pt x="536" y="44"/>
                          </a:lnTo>
                          <a:lnTo>
                            <a:pt x="515" y="34"/>
                          </a:lnTo>
                          <a:lnTo>
                            <a:pt x="495" y="26"/>
                          </a:lnTo>
                          <a:lnTo>
                            <a:pt x="473" y="19"/>
                          </a:lnTo>
                          <a:lnTo>
                            <a:pt x="452" y="14"/>
                          </a:lnTo>
                          <a:lnTo>
                            <a:pt x="430" y="9"/>
                          </a:lnTo>
                          <a:lnTo>
                            <a:pt x="408" y="6"/>
                          </a:lnTo>
                          <a:lnTo>
                            <a:pt x="385" y="2"/>
                          </a:lnTo>
                          <a:lnTo>
                            <a:pt x="363" y="1"/>
                          </a:lnTo>
                          <a:lnTo>
                            <a:pt x="341" y="0"/>
                          </a:lnTo>
                          <a:lnTo>
                            <a:pt x="341"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Arial"/>
                        <a:ea typeface="ＭＳ Ｐゴシック" charset="0"/>
                        <a:cs typeface="+mn-cs"/>
                      </a:endParaRPr>
                    </a:p>
                  </p:txBody>
                </p:sp>
                <p:sp>
                  <p:nvSpPr>
                    <p:cNvPr id="838" name="Freeform 179">
                      <a:extLst>
                        <a:ext uri="{FF2B5EF4-FFF2-40B4-BE49-F238E27FC236}">
                          <a16:creationId xmlns:a16="http://schemas.microsoft.com/office/drawing/2014/main" id="{CEC692C3-7897-4B5B-A2C5-24E07BA4F7A5}"/>
                        </a:ext>
                      </a:extLst>
                    </p:cNvPr>
                    <p:cNvSpPr>
                      <a:spLocks/>
                    </p:cNvSpPr>
                    <p:nvPr/>
                  </p:nvSpPr>
                  <p:spPr bwMode="auto">
                    <a:xfrm>
                      <a:off x="5121843" y="3876582"/>
                      <a:ext cx="437148" cy="125299"/>
                    </a:xfrm>
                    <a:custGeom>
                      <a:avLst/>
                      <a:gdLst>
                        <a:gd name="T0" fmla="*/ 495 w 946"/>
                        <a:gd name="T1" fmla="*/ 0 h 270"/>
                        <a:gd name="T2" fmla="*/ 430 w 946"/>
                        <a:gd name="T3" fmla="*/ 3 h 270"/>
                        <a:gd name="T4" fmla="*/ 366 w 946"/>
                        <a:gd name="T5" fmla="*/ 13 h 270"/>
                        <a:gd name="T6" fmla="*/ 303 w 946"/>
                        <a:gd name="T7" fmla="*/ 28 h 270"/>
                        <a:gd name="T8" fmla="*/ 241 w 946"/>
                        <a:gd name="T9" fmla="*/ 50 h 270"/>
                        <a:gd name="T10" fmla="*/ 180 w 946"/>
                        <a:gd name="T11" fmla="*/ 77 h 270"/>
                        <a:gd name="T12" fmla="*/ 121 w 946"/>
                        <a:gd name="T13" fmla="*/ 112 h 270"/>
                        <a:gd name="T14" fmla="*/ 65 w 946"/>
                        <a:gd name="T15" fmla="*/ 152 h 270"/>
                        <a:gd name="T16" fmla="*/ 12 w 946"/>
                        <a:gd name="T17" fmla="*/ 198 h 270"/>
                        <a:gd name="T18" fmla="*/ 6 w 946"/>
                        <a:gd name="T19" fmla="*/ 204 h 270"/>
                        <a:gd name="T20" fmla="*/ 1 w 946"/>
                        <a:gd name="T21" fmla="*/ 219 h 270"/>
                        <a:gd name="T22" fmla="*/ 0 w 946"/>
                        <a:gd name="T23" fmla="*/ 235 h 270"/>
                        <a:gd name="T24" fmla="*/ 5 w 946"/>
                        <a:gd name="T25" fmla="*/ 250 h 270"/>
                        <a:gd name="T26" fmla="*/ 11 w 946"/>
                        <a:gd name="T27" fmla="*/ 257 h 270"/>
                        <a:gd name="T28" fmla="*/ 25 w 946"/>
                        <a:gd name="T29" fmla="*/ 266 h 270"/>
                        <a:gd name="T30" fmla="*/ 41 w 946"/>
                        <a:gd name="T31" fmla="*/ 270 h 270"/>
                        <a:gd name="T32" fmla="*/ 49 w 946"/>
                        <a:gd name="T33" fmla="*/ 269 h 270"/>
                        <a:gd name="T34" fmla="*/ 64 w 946"/>
                        <a:gd name="T35" fmla="*/ 263 h 270"/>
                        <a:gd name="T36" fmla="*/ 70 w 946"/>
                        <a:gd name="T37" fmla="*/ 258 h 270"/>
                        <a:gd name="T38" fmla="*/ 117 w 946"/>
                        <a:gd name="T39" fmla="*/ 217 h 270"/>
                        <a:gd name="T40" fmla="*/ 167 w 946"/>
                        <a:gd name="T41" fmla="*/ 182 h 270"/>
                        <a:gd name="T42" fmla="*/ 218 w 946"/>
                        <a:gd name="T43" fmla="*/ 152 h 270"/>
                        <a:gd name="T44" fmla="*/ 272 w 946"/>
                        <a:gd name="T45" fmla="*/ 127 h 270"/>
                        <a:gd name="T46" fmla="*/ 326 w 946"/>
                        <a:gd name="T47" fmla="*/ 108 h 270"/>
                        <a:gd name="T48" fmla="*/ 381 w 946"/>
                        <a:gd name="T49" fmla="*/ 95 h 270"/>
                        <a:gd name="T50" fmla="*/ 438 w 946"/>
                        <a:gd name="T51" fmla="*/ 86 h 270"/>
                        <a:gd name="T52" fmla="*/ 495 w 946"/>
                        <a:gd name="T53" fmla="*/ 83 h 270"/>
                        <a:gd name="T54" fmla="*/ 521 w 946"/>
                        <a:gd name="T55" fmla="*/ 84 h 270"/>
                        <a:gd name="T56" fmla="*/ 573 w 946"/>
                        <a:gd name="T57" fmla="*/ 89 h 270"/>
                        <a:gd name="T58" fmla="*/ 625 w 946"/>
                        <a:gd name="T59" fmla="*/ 99 h 270"/>
                        <a:gd name="T60" fmla="*/ 675 w 946"/>
                        <a:gd name="T61" fmla="*/ 114 h 270"/>
                        <a:gd name="T62" fmla="*/ 723 w 946"/>
                        <a:gd name="T63" fmla="*/ 134 h 270"/>
                        <a:gd name="T64" fmla="*/ 769 w 946"/>
                        <a:gd name="T65" fmla="*/ 158 h 270"/>
                        <a:gd name="T66" fmla="*/ 813 w 946"/>
                        <a:gd name="T67" fmla="*/ 188 h 270"/>
                        <a:gd name="T68" fmla="*/ 855 w 946"/>
                        <a:gd name="T69" fmla="*/ 223 h 270"/>
                        <a:gd name="T70" fmla="*/ 874 w 946"/>
                        <a:gd name="T71" fmla="*/ 241 h 270"/>
                        <a:gd name="T72" fmla="*/ 888 w 946"/>
                        <a:gd name="T73" fmla="*/ 250 h 270"/>
                        <a:gd name="T74" fmla="*/ 903 w 946"/>
                        <a:gd name="T75" fmla="*/ 254 h 270"/>
                        <a:gd name="T76" fmla="*/ 919 w 946"/>
                        <a:gd name="T77" fmla="*/ 251 h 270"/>
                        <a:gd name="T78" fmla="*/ 933 w 946"/>
                        <a:gd name="T79" fmla="*/ 242 h 270"/>
                        <a:gd name="T80" fmla="*/ 939 w 946"/>
                        <a:gd name="T81" fmla="*/ 236 h 270"/>
                        <a:gd name="T82" fmla="*/ 945 w 946"/>
                        <a:gd name="T83" fmla="*/ 221 h 270"/>
                        <a:gd name="T84" fmla="*/ 946 w 946"/>
                        <a:gd name="T85" fmla="*/ 205 h 270"/>
                        <a:gd name="T86" fmla="*/ 939 w 946"/>
                        <a:gd name="T87" fmla="*/ 190 h 270"/>
                        <a:gd name="T88" fmla="*/ 934 w 946"/>
                        <a:gd name="T89" fmla="*/ 183 h 270"/>
                        <a:gd name="T90" fmla="*/ 888 w 946"/>
                        <a:gd name="T91" fmla="*/ 141 h 270"/>
                        <a:gd name="T92" fmla="*/ 838 w 946"/>
                        <a:gd name="T93" fmla="*/ 103 h 270"/>
                        <a:gd name="T94" fmla="*/ 787 w 946"/>
                        <a:gd name="T95" fmla="*/ 71 h 270"/>
                        <a:gd name="T96" fmla="*/ 731 w 946"/>
                        <a:gd name="T97" fmla="*/ 46 h 270"/>
                        <a:gd name="T98" fmla="*/ 673 w 946"/>
                        <a:gd name="T99" fmla="*/ 25 h 270"/>
                        <a:gd name="T100" fmla="*/ 615 w 946"/>
                        <a:gd name="T101" fmla="*/ 11 h 270"/>
                        <a:gd name="T102" fmla="*/ 555 w 946"/>
                        <a:gd name="T103" fmla="*/ 3 h 270"/>
                        <a:gd name="T104" fmla="*/ 495 w 946"/>
                        <a:gd name="T10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6" h="270">
                          <a:moveTo>
                            <a:pt x="495" y="0"/>
                          </a:moveTo>
                          <a:lnTo>
                            <a:pt x="495" y="0"/>
                          </a:lnTo>
                          <a:lnTo>
                            <a:pt x="462" y="1"/>
                          </a:lnTo>
                          <a:lnTo>
                            <a:pt x="430" y="3"/>
                          </a:lnTo>
                          <a:lnTo>
                            <a:pt x="398" y="7"/>
                          </a:lnTo>
                          <a:lnTo>
                            <a:pt x="366" y="13"/>
                          </a:lnTo>
                          <a:lnTo>
                            <a:pt x="334" y="20"/>
                          </a:lnTo>
                          <a:lnTo>
                            <a:pt x="303" y="28"/>
                          </a:lnTo>
                          <a:lnTo>
                            <a:pt x="272" y="38"/>
                          </a:lnTo>
                          <a:lnTo>
                            <a:pt x="241" y="50"/>
                          </a:lnTo>
                          <a:lnTo>
                            <a:pt x="210" y="63"/>
                          </a:lnTo>
                          <a:lnTo>
                            <a:pt x="180" y="77"/>
                          </a:lnTo>
                          <a:lnTo>
                            <a:pt x="151" y="95"/>
                          </a:lnTo>
                          <a:lnTo>
                            <a:pt x="121" y="112"/>
                          </a:lnTo>
                          <a:lnTo>
                            <a:pt x="93" y="131"/>
                          </a:lnTo>
                          <a:lnTo>
                            <a:pt x="65" y="152"/>
                          </a:lnTo>
                          <a:lnTo>
                            <a:pt x="39" y="174"/>
                          </a:lnTo>
                          <a:lnTo>
                            <a:pt x="12" y="198"/>
                          </a:lnTo>
                          <a:lnTo>
                            <a:pt x="12" y="198"/>
                          </a:lnTo>
                          <a:lnTo>
                            <a:pt x="6" y="204"/>
                          </a:lnTo>
                          <a:lnTo>
                            <a:pt x="3" y="212"/>
                          </a:lnTo>
                          <a:lnTo>
                            <a:pt x="1" y="219"/>
                          </a:lnTo>
                          <a:lnTo>
                            <a:pt x="0" y="227"/>
                          </a:lnTo>
                          <a:lnTo>
                            <a:pt x="0" y="235"/>
                          </a:lnTo>
                          <a:lnTo>
                            <a:pt x="2" y="243"/>
                          </a:lnTo>
                          <a:lnTo>
                            <a:pt x="5" y="250"/>
                          </a:lnTo>
                          <a:lnTo>
                            <a:pt x="11" y="257"/>
                          </a:lnTo>
                          <a:lnTo>
                            <a:pt x="11" y="257"/>
                          </a:lnTo>
                          <a:lnTo>
                            <a:pt x="18" y="263"/>
                          </a:lnTo>
                          <a:lnTo>
                            <a:pt x="25" y="266"/>
                          </a:lnTo>
                          <a:lnTo>
                            <a:pt x="33" y="269"/>
                          </a:lnTo>
                          <a:lnTo>
                            <a:pt x="41" y="270"/>
                          </a:lnTo>
                          <a:lnTo>
                            <a:pt x="41" y="270"/>
                          </a:lnTo>
                          <a:lnTo>
                            <a:pt x="49" y="269"/>
                          </a:lnTo>
                          <a:lnTo>
                            <a:pt x="56" y="266"/>
                          </a:lnTo>
                          <a:lnTo>
                            <a:pt x="64" y="263"/>
                          </a:lnTo>
                          <a:lnTo>
                            <a:pt x="70" y="258"/>
                          </a:lnTo>
                          <a:lnTo>
                            <a:pt x="70" y="258"/>
                          </a:lnTo>
                          <a:lnTo>
                            <a:pt x="93" y="238"/>
                          </a:lnTo>
                          <a:lnTo>
                            <a:pt x="117" y="217"/>
                          </a:lnTo>
                          <a:lnTo>
                            <a:pt x="141" y="198"/>
                          </a:lnTo>
                          <a:lnTo>
                            <a:pt x="167" y="182"/>
                          </a:lnTo>
                          <a:lnTo>
                            <a:pt x="192" y="166"/>
                          </a:lnTo>
                          <a:lnTo>
                            <a:pt x="218" y="152"/>
                          </a:lnTo>
                          <a:lnTo>
                            <a:pt x="244" y="138"/>
                          </a:lnTo>
                          <a:lnTo>
                            <a:pt x="272" y="127"/>
                          </a:lnTo>
                          <a:lnTo>
                            <a:pt x="298" y="116"/>
                          </a:lnTo>
                          <a:lnTo>
                            <a:pt x="326" y="108"/>
                          </a:lnTo>
                          <a:lnTo>
                            <a:pt x="354" y="100"/>
                          </a:lnTo>
                          <a:lnTo>
                            <a:pt x="381" y="95"/>
                          </a:lnTo>
                          <a:lnTo>
                            <a:pt x="410" y="90"/>
                          </a:lnTo>
                          <a:lnTo>
                            <a:pt x="438" y="86"/>
                          </a:lnTo>
                          <a:lnTo>
                            <a:pt x="466" y="84"/>
                          </a:lnTo>
                          <a:lnTo>
                            <a:pt x="495" y="83"/>
                          </a:lnTo>
                          <a:lnTo>
                            <a:pt x="495" y="83"/>
                          </a:lnTo>
                          <a:lnTo>
                            <a:pt x="521" y="84"/>
                          </a:lnTo>
                          <a:lnTo>
                            <a:pt x="546" y="86"/>
                          </a:lnTo>
                          <a:lnTo>
                            <a:pt x="573" y="89"/>
                          </a:lnTo>
                          <a:lnTo>
                            <a:pt x="600" y="93"/>
                          </a:lnTo>
                          <a:lnTo>
                            <a:pt x="625" y="99"/>
                          </a:lnTo>
                          <a:lnTo>
                            <a:pt x="650" y="106"/>
                          </a:lnTo>
                          <a:lnTo>
                            <a:pt x="675" y="114"/>
                          </a:lnTo>
                          <a:lnTo>
                            <a:pt x="699" y="123"/>
                          </a:lnTo>
                          <a:lnTo>
                            <a:pt x="723" y="134"/>
                          </a:lnTo>
                          <a:lnTo>
                            <a:pt x="746" y="145"/>
                          </a:lnTo>
                          <a:lnTo>
                            <a:pt x="769" y="158"/>
                          </a:lnTo>
                          <a:lnTo>
                            <a:pt x="792" y="172"/>
                          </a:lnTo>
                          <a:lnTo>
                            <a:pt x="813" y="188"/>
                          </a:lnTo>
                          <a:lnTo>
                            <a:pt x="835" y="204"/>
                          </a:lnTo>
                          <a:lnTo>
                            <a:pt x="855" y="223"/>
                          </a:lnTo>
                          <a:lnTo>
                            <a:pt x="874" y="241"/>
                          </a:lnTo>
                          <a:lnTo>
                            <a:pt x="874" y="241"/>
                          </a:lnTo>
                          <a:lnTo>
                            <a:pt x="880" y="247"/>
                          </a:lnTo>
                          <a:lnTo>
                            <a:pt x="888" y="250"/>
                          </a:lnTo>
                          <a:lnTo>
                            <a:pt x="895" y="254"/>
                          </a:lnTo>
                          <a:lnTo>
                            <a:pt x="903" y="254"/>
                          </a:lnTo>
                          <a:lnTo>
                            <a:pt x="911" y="254"/>
                          </a:lnTo>
                          <a:lnTo>
                            <a:pt x="919" y="251"/>
                          </a:lnTo>
                          <a:lnTo>
                            <a:pt x="926" y="248"/>
                          </a:lnTo>
                          <a:lnTo>
                            <a:pt x="933" y="242"/>
                          </a:lnTo>
                          <a:lnTo>
                            <a:pt x="933" y="242"/>
                          </a:lnTo>
                          <a:lnTo>
                            <a:pt x="939" y="236"/>
                          </a:lnTo>
                          <a:lnTo>
                            <a:pt x="942" y="230"/>
                          </a:lnTo>
                          <a:lnTo>
                            <a:pt x="945" y="221"/>
                          </a:lnTo>
                          <a:lnTo>
                            <a:pt x="946" y="213"/>
                          </a:lnTo>
                          <a:lnTo>
                            <a:pt x="946" y="205"/>
                          </a:lnTo>
                          <a:lnTo>
                            <a:pt x="943" y="197"/>
                          </a:lnTo>
                          <a:lnTo>
                            <a:pt x="939" y="190"/>
                          </a:lnTo>
                          <a:lnTo>
                            <a:pt x="934" y="183"/>
                          </a:lnTo>
                          <a:lnTo>
                            <a:pt x="934" y="183"/>
                          </a:lnTo>
                          <a:lnTo>
                            <a:pt x="911" y="161"/>
                          </a:lnTo>
                          <a:lnTo>
                            <a:pt x="888" y="141"/>
                          </a:lnTo>
                          <a:lnTo>
                            <a:pt x="864" y="121"/>
                          </a:lnTo>
                          <a:lnTo>
                            <a:pt x="838" y="103"/>
                          </a:lnTo>
                          <a:lnTo>
                            <a:pt x="813" y="86"/>
                          </a:lnTo>
                          <a:lnTo>
                            <a:pt x="787" y="71"/>
                          </a:lnTo>
                          <a:lnTo>
                            <a:pt x="759" y="58"/>
                          </a:lnTo>
                          <a:lnTo>
                            <a:pt x="731" y="46"/>
                          </a:lnTo>
                          <a:lnTo>
                            <a:pt x="702" y="35"/>
                          </a:lnTo>
                          <a:lnTo>
                            <a:pt x="673" y="25"/>
                          </a:lnTo>
                          <a:lnTo>
                            <a:pt x="645" y="18"/>
                          </a:lnTo>
                          <a:lnTo>
                            <a:pt x="615" y="11"/>
                          </a:lnTo>
                          <a:lnTo>
                            <a:pt x="585" y="7"/>
                          </a:lnTo>
                          <a:lnTo>
                            <a:pt x="555" y="3"/>
                          </a:lnTo>
                          <a:lnTo>
                            <a:pt x="525" y="1"/>
                          </a:lnTo>
                          <a:lnTo>
                            <a:pt x="495" y="0"/>
                          </a:lnTo>
                          <a:lnTo>
                            <a:pt x="495"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Arial"/>
                        <a:ea typeface="ＭＳ Ｐゴシック" charset="0"/>
                        <a:cs typeface="+mn-cs"/>
                      </a:endParaRPr>
                    </a:p>
                  </p:txBody>
                </p:sp>
              </p:grpSp>
            </p:grpSp>
          </p:grpSp>
          <p:grpSp>
            <p:nvGrpSpPr>
              <p:cNvPr id="16" name="Group 15">
                <a:extLst>
                  <a:ext uri="{FF2B5EF4-FFF2-40B4-BE49-F238E27FC236}">
                    <a16:creationId xmlns:a16="http://schemas.microsoft.com/office/drawing/2014/main" id="{67545E9A-6A8B-4C78-89BD-0F9B012BA280}"/>
                  </a:ext>
                </a:extLst>
              </p:cNvPr>
              <p:cNvGrpSpPr/>
              <p:nvPr/>
            </p:nvGrpSpPr>
            <p:grpSpPr>
              <a:xfrm>
                <a:off x="3940287" y="3716123"/>
                <a:ext cx="1116477" cy="369212"/>
                <a:chOff x="3940287" y="3716123"/>
                <a:chExt cx="1116477" cy="369212"/>
              </a:xfrm>
            </p:grpSpPr>
            <p:cxnSp>
              <p:nvCxnSpPr>
                <p:cNvPr id="67" name="Straight Connector 66">
                  <a:extLst>
                    <a:ext uri="{FF2B5EF4-FFF2-40B4-BE49-F238E27FC236}">
                      <a16:creationId xmlns:a16="http://schemas.microsoft.com/office/drawing/2014/main" id="{28FF67E4-CF39-4EE8-A6AB-C8833F634A3D}"/>
                    </a:ext>
                  </a:extLst>
                </p:cNvPr>
                <p:cNvCxnSpPr>
                  <a:cxnSpLocks/>
                  <a:stCxn id="856" idx="3"/>
                  <a:endCxn id="809" idx="2"/>
                </p:cNvCxnSpPr>
                <p:nvPr/>
              </p:nvCxnSpPr>
              <p:spPr>
                <a:xfrm>
                  <a:off x="4309073" y="3900665"/>
                  <a:ext cx="378479" cy="64"/>
                </a:xfrm>
                <a:prstGeom prst="line">
                  <a:avLst/>
                </a:pr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cxnSp>
            <p:grpSp>
              <p:nvGrpSpPr>
                <p:cNvPr id="808" name="Group 807">
                  <a:extLst>
                    <a:ext uri="{FF2B5EF4-FFF2-40B4-BE49-F238E27FC236}">
                      <a16:creationId xmlns:a16="http://schemas.microsoft.com/office/drawing/2014/main" id="{31BCE351-58A5-42FF-8451-C208B284DA2C}"/>
                    </a:ext>
                  </a:extLst>
                </p:cNvPr>
                <p:cNvGrpSpPr/>
                <p:nvPr/>
              </p:nvGrpSpPr>
              <p:grpSpPr>
                <a:xfrm>
                  <a:off x="4687552" y="3716123"/>
                  <a:ext cx="369212" cy="369212"/>
                  <a:chOff x="4682991" y="1019790"/>
                  <a:chExt cx="548640" cy="548640"/>
                </a:xfrm>
              </p:grpSpPr>
              <p:sp>
                <p:nvSpPr>
                  <p:cNvPr id="809" name="Oval 263">
                    <a:extLst>
                      <a:ext uri="{FF2B5EF4-FFF2-40B4-BE49-F238E27FC236}">
                        <a16:creationId xmlns:a16="http://schemas.microsoft.com/office/drawing/2014/main" id="{F458DCA7-22C7-483D-A98A-A1371126573A}"/>
                      </a:ext>
                    </a:extLst>
                  </p:cNvPr>
                  <p:cNvSpPr>
                    <a:spLocks/>
                  </p:cNvSpPr>
                  <p:nvPr/>
                </p:nvSpPr>
                <p:spPr bwMode="auto">
                  <a:xfrm>
                    <a:off x="4682991" y="1019790"/>
                    <a:ext cx="548640" cy="548640"/>
                  </a:xfrm>
                  <a:prstGeom prst="ellipse">
                    <a:avLst/>
                  </a:prstGeom>
                  <a:solidFill>
                    <a:schemeClr val="accent2"/>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76767"/>
                      </a:solidFill>
                      <a:effectLst/>
                      <a:uLnTx/>
                      <a:uFillTx/>
                      <a:latin typeface="Arial" panose="020B0604020202020204" pitchFamily="34" charset="0"/>
                      <a:ea typeface="ＭＳ Ｐゴシック" charset="0"/>
                      <a:cs typeface="Arial" panose="020B0604020202020204" pitchFamily="34" charset="0"/>
                    </a:endParaRPr>
                  </a:p>
                </p:txBody>
              </p:sp>
              <p:grpSp>
                <p:nvGrpSpPr>
                  <p:cNvPr id="810" name="Group 809">
                    <a:extLst>
                      <a:ext uri="{FF2B5EF4-FFF2-40B4-BE49-F238E27FC236}">
                        <a16:creationId xmlns:a16="http://schemas.microsoft.com/office/drawing/2014/main" id="{32C8F597-706C-4E8F-9E7D-665DC9C9FB44}"/>
                      </a:ext>
                    </a:extLst>
                  </p:cNvPr>
                  <p:cNvGrpSpPr/>
                  <p:nvPr/>
                </p:nvGrpSpPr>
                <p:grpSpPr>
                  <a:xfrm>
                    <a:off x="4789549" y="1151957"/>
                    <a:ext cx="335524" cy="284307"/>
                    <a:chOff x="4780856" y="1109136"/>
                    <a:chExt cx="335524" cy="284307"/>
                  </a:xfrm>
                </p:grpSpPr>
                <p:sp>
                  <p:nvSpPr>
                    <p:cNvPr id="811" name="Freeform 297">
                      <a:extLst>
                        <a:ext uri="{FF2B5EF4-FFF2-40B4-BE49-F238E27FC236}">
                          <a16:creationId xmlns:a16="http://schemas.microsoft.com/office/drawing/2014/main" id="{CEC639BE-09E6-47DA-A3A2-24FAD9720F8F}"/>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12" name="Freeform 298">
                      <a:extLst>
                        <a:ext uri="{FF2B5EF4-FFF2-40B4-BE49-F238E27FC236}">
                          <a16:creationId xmlns:a16="http://schemas.microsoft.com/office/drawing/2014/main" id="{241BB5E8-47D1-48BA-9366-CB1650B235DD}"/>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13" name="Freeform 299">
                      <a:extLst>
                        <a:ext uri="{FF2B5EF4-FFF2-40B4-BE49-F238E27FC236}">
                          <a16:creationId xmlns:a16="http://schemas.microsoft.com/office/drawing/2014/main" id="{E5B351B7-BEEE-4641-96D9-7F9ADF42FD74}"/>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14" name="Freeform 300">
                      <a:extLst>
                        <a:ext uri="{FF2B5EF4-FFF2-40B4-BE49-F238E27FC236}">
                          <a16:creationId xmlns:a16="http://schemas.microsoft.com/office/drawing/2014/main" id="{C61629E9-6B31-443B-B8CA-FF0FDBEF0867}"/>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855" name="Group 854">
                  <a:extLst>
                    <a:ext uri="{FF2B5EF4-FFF2-40B4-BE49-F238E27FC236}">
                      <a16:creationId xmlns:a16="http://schemas.microsoft.com/office/drawing/2014/main" id="{FAA0E9EC-7DD7-4EB0-AFE6-11857555E29B}"/>
                    </a:ext>
                  </a:extLst>
                </p:cNvPr>
                <p:cNvGrpSpPr/>
                <p:nvPr/>
              </p:nvGrpSpPr>
              <p:grpSpPr>
                <a:xfrm>
                  <a:off x="3940287" y="3716123"/>
                  <a:ext cx="368786" cy="369212"/>
                  <a:chOff x="4814888" y="2215702"/>
                  <a:chExt cx="548006" cy="548640"/>
                </a:xfrm>
              </p:grpSpPr>
              <p:sp>
                <p:nvSpPr>
                  <p:cNvPr id="856" name="Freeform 5">
                    <a:extLst>
                      <a:ext uri="{FF2B5EF4-FFF2-40B4-BE49-F238E27FC236}">
                        <a16:creationId xmlns:a16="http://schemas.microsoft.com/office/drawing/2014/main" id="{21186A23-FF10-457D-A9B4-7ED0E30ED9EF}"/>
                      </a:ext>
                    </a:extLst>
                  </p:cNvPr>
                  <p:cNvSpPr>
                    <a:spLocks/>
                  </p:cNvSpPr>
                  <p:nvPr/>
                </p:nvSpPr>
                <p:spPr bwMode="auto">
                  <a:xfrm>
                    <a:off x="4814888" y="2215702"/>
                    <a:ext cx="548006" cy="54864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rgbClr val="E9E9E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57" name="Freeform 6">
                    <a:extLst>
                      <a:ext uri="{FF2B5EF4-FFF2-40B4-BE49-F238E27FC236}">
                        <a16:creationId xmlns:a16="http://schemas.microsoft.com/office/drawing/2014/main" id="{5A79DA04-1F4F-4329-ACF8-A1ECDA8BA850}"/>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58" name="Freeform 7">
                    <a:extLst>
                      <a:ext uri="{FF2B5EF4-FFF2-40B4-BE49-F238E27FC236}">
                        <a16:creationId xmlns:a16="http://schemas.microsoft.com/office/drawing/2014/main" id="{4EE69B5C-05A5-40CB-9675-6B02C0270476}"/>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59" name="Freeform 8">
                    <a:extLst>
                      <a:ext uri="{FF2B5EF4-FFF2-40B4-BE49-F238E27FC236}">
                        <a16:creationId xmlns:a16="http://schemas.microsoft.com/office/drawing/2014/main" id="{C8D64E18-0BF0-4CA6-BCC5-3E0E48D8E7B9}"/>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70"/>
                          <a:pt x="69" y="0"/>
                          <a:pt x="154" y="0"/>
                        </a:cubicBezTo>
                        <a:lnTo>
                          <a:pt x="1195" y="0"/>
                        </a:lnTo>
                        <a:cubicBezTo>
                          <a:pt x="1281" y="0"/>
                          <a:pt x="1350" y="70"/>
                          <a:pt x="1350" y="156"/>
                        </a:cubicBezTo>
                        <a:lnTo>
                          <a:pt x="1350" y="572"/>
                        </a:lnTo>
                        <a:cubicBezTo>
                          <a:pt x="1350" y="658"/>
                          <a:pt x="1281" y="728"/>
                          <a:pt x="1195" y="728"/>
                        </a:cubicBezTo>
                        <a:lnTo>
                          <a:pt x="154" y="728"/>
                        </a:lnTo>
                        <a:cubicBezTo>
                          <a:pt x="69" y="728"/>
                          <a:pt x="0" y="658"/>
                          <a:pt x="0" y="572"/>
                        </a:cubicBezTo>
                        <a:lnTo>
                          <a:pt x="0" y="156"/>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60" name="Freeform 9">
                    <a:extLst>
                      <a:ext uri="{FF2B5EF4-FFF2-40B4-BE49-F238E27FC236}">
                        <a16:creationId xmlns:a16="http://schemas.microsoft.com/office/drawing/2014/main" id="{970D084E-3141-4197-9B0C-59E7A053A828}"/>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69"/>
                          <a:pt x="69" y="0"/>
                          <a:pt x="154" y="0"/>
                        </a:cubicBezTo>
                        <a:lnTo>
                          <a:pt x="1195" y="0"/>
                        </a:lnTo>
                        <a:cubicBezTo>
                          <a:pt x="1281" y="0"/>
                          <a:pt x="1350" y="69"/>
                          <a:pt x="1350" y="156"/>
                        </a:cubicBezTo>
                        <a:lnTo>
                          <a:pt x="1350" y="572"/>
                        </a:lnTo>
                        <a:cubicBezTo>
                          <a:pt x="1350" y="658"/>
                          <a:pt x="1281" y="728"/>
                          <a:pt x="1195" y="728"/>
                        </a:cubicBezTo>
                        <a:lnTo>
                          <a:pt x="154" y="728"/>
                        </a:lnTo>
                        <a:cubicBezTo>
                          <a:pt x="69" y="728"/>
                          <a:pt x="0" y="658"/>
                          <a:pt x="0" y="572"/>
                        </a:cubicBezTo>
                        <a:lnTo>
                          <a:pt x="0" y="156"/>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61" name="Freeform 13">
                    <a:extLst>
                      <a:ext uri="{FF2B5EF4-FFF2-40B4-BE49-F238E27FC236}">
                        <a16:creationId xmlns:a16="http://schemas.microsoft.com/office/drawing/2014/main" id="{C9EC3934-B615-4B8D-969E-BB274791E028}"/>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62" name="Freeform 14">
                    <a:extLst>
                      <a:ext uri="{FF2B5EF4-FFF2-40B4-BE49-F238E27FC236}">
                        <a16:creationId xmlns:a16="http://schemas.microsoft.com/office/drawing/2014/main" id="{837BA5D6-EF5E-412F-92EC-C3EF0F8553C0}"/>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63" name="Freeform 15">
                    <a:extLst>
                      <a:ext uri="{FF2B5EF4-FFF2-40B4-BE49-F238E27FC236}">
                        <a16:creationId xmlns:a16="http://schemas.microsoft.com/office/drawing/2014/main" id="{F0682CB6-1FCA-4D72-9F31-9DE151E32C5D}"/>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64" name="Freeform 16">
                    <a:extLst>
                      <a:ext uri="{FF2B5EF4-FFF2-40B4-BE49-F238E27FC236}">
                        <a16:creationId xmlns:a16="http://schemas.microsoft.com/office/drawing/2014/main" id="{EE2BCAA5-1739-4DD5-B53C-7AD6B8D4FCCB}"/>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65" name="Freeform 17">
                    <a:extLst>
                      <a:ext uri="{FF2B5EF4-FFF2-40B4-BE49-F238E27FC236}">
                        <a16:creationId xmlns:a16="http://schemas.microsoft.com/office/drawing/2014/main" id="{33E51A10-827A-4F57-B64F-4028606ECEFC}"/>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66" name="Freeform 18">
                    <a:extLst>
                      <a:ext uri="{FF2B5EF4-FFF2-40B4-BE49-F238E27FC236}">
                        <a16:creationId xmlns:a16="http://schemas.microsoft.com/office/drawing/2014/main" id="{8897E33F-5940-4EC8-AA83-B2677B74DC81}"/>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67" name="Freeform 10">
                    <a:extLst>
                      <a:ext uri="{FF2B5EF4-FFF2-40B4-BE49-F238E27FC236}">
                        <a16:creationId xmlns:a16="http://schemas.microsoft.com/office/drawing/2014/main" id="{5C19072A-DF73-40BB-A16E-26A287BC21AC}"/>
                      </a:ext>
                    </a:extLst>
                  </p:cNvPr>
                  <p:cNvSpPr>
                    <a:spLocks/>
                  </p:cNvSpPr>
                  <p:nvPr/>
                </p:nvSpPr>
                <p:spPr bwMode="auto">
                  <a:xfrm>
                    <a:off x="5019974" y="2372635"/>
                    <a:ext cx="304390" cy="205185"/>
                  </a:xfrm>
                  <a:custGeom>
                    <a:avLst/>
                    <a:gdLst>
                      <a:gd name="T0" fmla="*/ 0 w 1048"/>
                      <a:gd name="T1" fmla="*/ 82 h 705"/>
                      <a:gd name="T2" fmla="*/ 0 w 1048"/>
                      <a:gd name="T3" fmla="*/ 82 h 705"/>
                      <a:gd name="T4" fmla="*/ 81 w 1048"/>
                      <a:gd name="T5" fmla="*/ 0 h 705"/>
                      <a:gd name="T6" fmla="*/ 967 w 1048"/>
                      <a:gd name="T7" fmla="*/ 0 h 705"/>
                      <a:gd name="T8" fmla="*/ 1048 w 1048"/>
                      <a:gd name="T9" fmla="*/ 82 h 705"/>
                      <a:gd name="T10" fmla="*/ 1048 w 1048"/>
                      <a:gd name="T11" fmla="*/ 624 h 705"/>
                      <a:gd name="T12" fmla="*/ 967 w 1048"/>
                      <a:gd name="T13" fmla="*/ 705 h 705"/>
                      <a:gd name="T14" fmla="*/ 81 w 1048"/>
                      <a:gd name="T15" fmla="*/ 705 h 705"/>
                      <a:gd name="T16" fmla="*/ 0 w 1048"/>
                      <a:gd name="T17" fmla="*/ 624 h 705"/>
                      <a:gd name="T18" fmla="*/ 0 w 1048"/>
                      <a:gd name="T19"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705">
                        <a:moveTo>
                          <a:pt x="0" y="82"/>
                        </a:moveTo>
                        <a:lnTo>
                          <a:pt x="0" y="82"/>
                        </a:lnTo>
                        <a:cubicBezTo>
                          <a:pt x="0" y="37"/>
                          <a:pt x="36" y="0"/>
                          <a:pt x="81" y="0"/>
                        </a:cubicBezTo>
                        <a:lnTo>
                          <a:pt x="967" y="0"/>
                        </a:lnTo>
                        <a:cubicBezTo>
                          <a:pt x="1011" y="0"/>
                          <a:pt x="1048" y="37"/>
                          <a:pt x="1048" y="82"/>
                        </a:cubicBezTo>
                        <a:lnTo>
                          <a:pt x="1048" y="624"/>
                        </a:lnTo>
                        <a:cubicBezTo>
                          <a:pt x="1048" y="668"/>
                          <a:pt x="1011" y="705"/>
                          <a:pt x="967" y="705"/>
                        </a:cubicBezTo>
                        <a:lnTo>
                          <a:pt x="81" y="705"/>
                        </a:lnTo>
                        <a:cubicBezTo>
                          <a:pt x="36" y="705"/>
                          <a:pt x="0" y="668"/>
                          <a:pt x="0" y="624"/>
                        </a:cubicBezTo>
                        <a:lnTo>
                          <a:pt x="0" y="82"/>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68" name="Rectangle: Rounded Corners 867">
                    <a:extLst>
                      <a:ext uri="{FF2B5EF4-FFF2-40B4-BE49-F238E27FC236}">
                        <a16:creationId xmlns:a16="http://schemas.microsoft.com/office/drawing/2014/main" id="{A179AC3E-6C3D-474F-8370-1EB523CE4552}"/>
                      </a:ext>
                    </a:extLst>
                  </p:cNvPr>
                  <p:cNvSpPr/>
                  <p:nvPr/>
                </p:nvSpPr>
                <p:spPr>
                  <a:xfrm>
                    <a:off x="5098452" y="2601637"/>
                    <a:ext cx="147435" cy="19155"/>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869" name="Rectangle: Rounded Corners 868">
                    <a:extLst>
                      <a:ext uri="{FF2B5EF4-FFF2-40B4-BE49-F238E27FC236}">
                        <a16:creationId xmlns:a16="http://schemas.microsoft.com/office/drawing/2014/main" id="{B79C3976-83F3-4C59-B91E-2D3D31783C24}"/>
                      </a:ext>
                    </a:extLst>
                  </p:cNvPr>
                  <p:cNvSpPr/>
                  <p:nvPr/>
                </p:nvSpPr>
                <p:spPr>
                  <a:xfrm>
                    <a:off x="5146148" y="2581388"/>
                    <a:ext cx="52042" cy="1668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870" name="Rectangle: Rounded Corners 869">
                    <a:extLst>
                      <a:ext uri="{FF2B5EF4-FFF2-40B4-BE49-F238E27FC236}">
                        <a16:creationId xmlns:a16="http://schemas.microsoft.com/office/drawing/2014/main" id="{A1BDF6C4-F353-48A5-983F-D11D326F52E2}"/>
                      </a:ext>
                    </a:extLst>
                  </p:cNvPr>
                  <p:cNvSpPr/>
                  <p:nvPr/>
                </p:nvSpPr>
                <p:spPr>
                  <a:xfrm>
                    <a:off x="4881676" y="2620538"/>
                    <a:ext cx="414429" cy="19155"/>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grpSp>
        </p:grpSp>
      </p:grpSp>
      <p:sp>
        <p:nvSpPr>
          <p:cNvPr id="424" name="Rectangle: Rounded Corners 423">
            <a:extLst>
              <a:ext uri="{FF2B5EF4-FFF2-40B4-BE49-F238E27FC236}">
                <a16:creationId xmlns:a16="http://schemas.microsoft.com/office/drawing/2014/main" id="{AC84EA60-8636-4E1D-9686-A9447261501F}"/>
              </a:ext>
            </a:extLst>
          </p:cNvPr>
          <p:cNvSpPr/>
          <p:nvPr/>
        </p:nvSpPr>
        <p:spPr>
          <a:xfrm>
            <a:off x="1189562" y="1779214"/>
            <a:ext cx="4687712" cy="2327852"/>
          </a:xfrm>
          <a:prstGeom prst="roundRect">
            <a:avLst>
              <a:gd name="adj" fmla="val 9707"/>
            </a:avLst>
          </a:pr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801" name="Group 800">
            <a:extLst>
              <a:ext uri="{FF2B5EF4-FFF2-40B4-BE49-F238E27FC236}">
                <a16:creationId xmlns:a16="http://schemas.microsoft.com/office/drawing/2014/main" id="{483452B3-DA14-4415-92FC-40D31B2E7F8D}"/>
              </a:ext>
            </a:extLst>
          </p:cNvPr>
          <p:cNvGrpSpPr/>
          <p:nvPr/>
        </p:nvGrpSpPr>
        <p:grpSpPr>
          <a:xfrm>
            <a:off x="2129853" y="2255115"/>
            <a:ext cx="348045" cy="348045"/>
            <a:chOff x="4682991" y="1019790"/>
            <a:chExt cx="548640" cy="548640"/>
          </a:xfrm>
        </p:grpSpPr>
        <p:sp>
          <p:nvSpPr>
            <p:cNvPr id="802" name="Oval 263">
              <a:extLst>
                <a:ext uri="{FF2B5EF4-FFF2-40B4-BE49-F238E27FC236}">
                  <a16:creationId xmlns:a16="http://schemas.microsoft.com/office/drawing/2014/main" id="{3C9DDE97-E2A3-48E6-A922-CBEAD4965D86}"/>
                </a:ext>
              </a:extLst>
            </p:cNvPr>
            <p:cNvSpPr>
              <a:spLocks/>
            </p:cNvSpPr>
            <p:nvPr/>
          </p:nvSpPr>
          <p:spPr bwMode="auto">
            <a:xfrm>
              <a:off x="4682991" y="1019790"/>
              <a:ext cx="548640" cy="548640"/>
            </a:xfrm>
            <a:prstGeom prst="ellipse">
              <a:avLst/>
            </a:prstGeom>
            <a:solidFill>
              <a:schemeClr val="accent2"/>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solidFill>
                <a:effectLst/>
                <a:uLnTx/>
                <a:uFillTx/>
                <a:latin typeface="Arial" panose="020B0604020202020204" pitchFamily="34" charset="0"/>
                <a:ea typeface="ＭＳ Ｐゴシック" charset="0"/>
                <a:cs typeface="Arial" panose="020B0604020202020204" pitchFamily="34" charset="0"/>
              </a:endParaRPr>
            </a:p>
          </p:txBody>
        </p:sp>
        <p:grpSp>
          <p:nvGrpSpPr>
            <p:cNvPr id="803" name="Group 802">
              <a:extLst>
                <a:ext uri="{FF2B5EF4-FFF2-40B4-BE49-F238E27FC236}">
                  <a16:creationId xmlns:a16="http://schemas.microsoft.com/office/drawing/2014/main" id="{724CA031-DC74-4B3B-8759-DE859915881F}"/>
                </a:ext>
              </a:extLst>
            </p:cNvPr>
            <p:cNvGrpSpPr/>
            <p:nvPr/>
          </p:nvGrpSpPr>
          <p:grpSpPr>
            <a:xfrm>
              <a:off x="4789549" y="1151957"/>
              <a:ext cx="335524" cy="284307"/>
              <a:chOff x="4780856" y="1109136"/>
              <a:chExt cx="335524" cy="284307"/>
            </a:xfrm>
          </p:grpSpPr>
          <p:sp>
            <p:nvSpPr>
              <p:cNvPr id="804" name="Freeform 297">
                <a:extLst>
                  <a:ext uri="{FF2B5EF4-FFF2-40B4-BE49-F238E27FC236}">
                    <a16:creationId xmlns:a16="http://schemas.microsoft.com/office/drawing/2014/main" id="{A7DBE689-7579-4C06-80F3-05094CF6FF53}"/>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05" name="Freeform 298">
                <a:extLst>
                  <a:ext uri="{FF2B5EF4-FFF2-40B4-BE49-F238E27FC236}">
                    <a16:creationId xmlns:a16="http://schemas.microsoft.com/office/drawing/2014/main" id="{489A03B3-0775-43AB-B413-51E09A61FFB5}"/>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06" name="Freeform 299">
                <a:extLst>
                  <a:ext uri="{FF2B5EF4-FFF2-40B4-BE49-F238E27FC236}">
                    <a16:creationId xmlns:a16="http://schemas.microsoft.com/office/drawing/2014/main" id="{28BB0FF6-289E-4315-9E3A-621D6DBDFB8E}"/>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07" name="Freeform 300">
                <a:extLst>
                  <a:ext uri="{FF2B5EF4-FFF2-40B4-BE49-F238E27FC236}">
                    <a16:creationId xmlns:a16="http://schemas.microsoft.com/office/drawing/2014/main" id="{76E43897-B2B9-453B-B765-4A1859E01FF7}"/>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815" name="Group 814">
            <a:extLst>
              <a:ext uri="{FF2B5EF4-FFF2-40B4-BE49-F238E27FC236}">
                <a16:creationId xmlns:a16="http://schemas.microsoft.com/office/drawing/2014/main" id="{F800F219-FB11-4135-AC13-545660D46373}"/>
              </a:ext>
            </a:extLst>
          </p:cNvPr>
          <p:cNvGrpSpPr/>
          <p:nvPr/>
        </p:nvGrpSpPr>
        <p:grpSpPr>
          <a:xfrm>
            <a:off x="4596120" y="2255114"/>
            <a:ext cx="348045" cy="348045"/>
            <a:chOff x="4682991" y="1019790"/>
            <a:chExt cx="548640" cy="548640"/>
          </a:xfrm>
        </p:grpSpPr>
        <p:sp>
          <p:nvSpPr>
            <p:cNvPr id="816" name="Oval 263">
              <a:extLst>
                <a:ext uri="{FF2B5EF4-FFF2-40B4-BE49-F238E27FC236}">
                  <a16:creationId xmlns:a16="http://schemas.microsoft.com/office/drawing/2014/main" id="{E3C075AA-E774-4B67-B752-C98C18EAA35C}"/>
                </a:ext>
              </a:extLst>
            </p:cNvPr>
            <p:cNvSpPr>
              <a:spLocks/>
            </p:cNvSpPr>
            <p:nvPr/>
          </p:nvSpPr>
          <p:spPr bwMode="auto">
            <a:xfrm>
              <a:off x="4682991" y="1019790"/>
              <a:ext cx="548640" cy="548640"/>
            </a:xfrm>
            <a:prstGeom prst="ellipse">
              <a:avLst/>
            </a:prstGeom>
            <a:solidFill>
              <a:schemeClr val="accent2"/>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solidFill>
                <a:effectLst/>
                <a:uLnTx/>
                <a:uFillTx/>
                <a:latin typeface="Arial" panose="020B0604020202020204" pitchFamily="34" charset="0"/>
                <a:ea typeface="ＭＳ Ｐゴシック" charset="0"/>
                <a:cs typeface="Arial" panose="020B0604020202020204" pitchFamily="34" charset="0"/>
              </a:endParaRPr>
            </a:p>
          </p:txBody>
        </p:sp>
        <p:grpSp>
          <p:nvGrpSpPr>
            <p:cNvPr id="817" name="Group 816">
              <a:extLst>
                <a:ext uri="{FF2B5EF4-FFF2-40B4-BE49-F238E27FC236}">
                  <a16:creationId xmlns:a16="http://schemas.microsoft.com/office/drawing/2014/main" id="{C216B977-7012-472A-A4F9-1A6520DB205C}"/>
                </a:ext>
              </a:extLst>
            </p:cNvPr>
            <p:cNvGrpSpPr/>
            <p:nvPr/>
          </p:nvGrpSpPr>
          <p:grpSpPr>
            <a:xfrm>
              <a:off x="4789549" y="1151957"/>
              <a:ext cx="335524" cy="284307"/>
              <a:chOff x="4780856" y="1109136"/>
              <a:chExt cx="335524" cy="284307"/>
            </a:xfrm>
          </p:grpSpPr>
          <p:sp>
            <p:nvSpPr>
              <p:cNvPr id="818" name="Freeform 297">
                <a:extLst>
                  <a:ext uri="{FF2B5EF4-FFF2-40B4-BE49-F238E27FC236}">
                    <a16:creationId xmlns:a16="http://schemas.microsoft.com/office/drawing/2014/main" id="{2DBC7490-FD11-4A2A-B49C-9C12A5E270C0}"/>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19" name="Freeform 298">
                <a:extLst>
                  <a:ext uri="{FF2B5EF4-FFF2-40B4-BE49-F238E27FC236}">
                    <a16:creationId xmlns:a16="http://schemas.microsoft.com/office/drawing/2014/main" id="{9B49D928-1B42-4607-9190-B6AD9C671721}"/>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20" name="Freeform 299">
                <a:extLst>
                  <a:ext uri="{FF2B5EF4-FFF2-40B4-BE49-F238E27FC236}">
                    <a16:creationId xmlns:a16="http://schemas.microsoft.com/office/drawing/2014/main" id="{36668E1A-0C23-4251-8D68-87012003A219}"/>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21" name="Freeform 300">
                <a:extLst>
                  <a:ext uri="{FF2B5EF4-FFF2-40B4-BE49-F238E27FC236}">
                    <a16:creationId xmlns:a16="http://schemas.microsoft.com/office/drawing/2014/main" id="{978FA865-1A3E-4632-BF85-0F813DF78C57}"/>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823" name="Group 822">
            <a:extLst>
              <a:ext uri="{FF2B5EF4-FFF2-40B4-BE49-F238E27FC236}">
                <a16:creationId xmlns:a16="http://schemas.microsoft.com/office/drawing/2014/main" id="{DF8BC8C5-A1B8-420B-9F7E-FB6480722F7E}"/>
              </a:ext>
            </a:extLst>
          </p:cNvPr>
          <p:cNvGrpSpPr/>
          <p:nvPr/>
        </p:nvGrpSpPr>
        <p:grpSpPr>
          <a:xfrm>
            <a:off x="3891263" y="2256210"/>
            <a:ext cx="348045" cy="348045"/>
            <a:chOff x="4267363" y="2915258"/>
            <a:chExt cx="548640" cy="548640"/>
          </a:xfrm>
        </p:grpSpPr>
        <p:sp>
          <p:nvSpPr>
            <p:cNvPr id="824" name="Oval 263">
              <a:extLst>
                <a:ext uri="{FF2B5EF4-FFF2-40B4-BE49-F238E27FC236}">
                  <a16:creationId xmlns:a16="http://schemas.microsoft.com/office/drawing/2014/main" id="{283CE696-8B9D-40D8-8E63-6A9CCCFA6FB9}"/>
                </a:ext>
              </a:extLst>
            </p:cNvPr>
            <p:cNvSpPr>
              <a:spLocks/>
            </p:cNvSpPr>
            <p:nvPr/>
          </p:nvSpPr>
          <p:spPr bwMode="auto">
            <a:xfrm>
              <a:off x="4267363" y="2915258"/>
              <a:ext cx="548640" cy="548640"/>
            </a:xfrm>
            <a:prstGeom prst="ellipse">
              <a:avLst/>
            </a:prstGeom>
            <a:solidFill>
              <a:srgbClr val="E9E9E9"/>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76767"/>
                </a:solidFill>
                <a:effectLst/>
                <a:uLnTx/>
                <a:uFillTx/>
                <a:latin typeface="Arial" panose="020B0604020202020204" pitchFamily="34" charset="0"/>
                <a:ea typeface="ＭＳ Ｐゴシック" charset="0"/>
                <a:cs typeface="Arial" panose="020B0604020202020204" pitchFamily="34" charset="0"/>
              </a:endParaRPr>
            </a:p>
          </p:txBody>
        </p:sp>
        <p:sp>
          <p:nvSpPr>
            <p:cNvPr id="825" name="object 424">
              <a:extLst>
                <a:ext uri="{FF2B5EF4-FFF2-40B4-BE49-F238E27FC236}">
                  <a16:creationId xmlns:a16="http://schemas.microsoft.com/office/drawing/2014/main" id="{E5626C61-FBBE-4494-9FE0-AEB53B20EE76}"/>
                </a:ext>
              </a:extLst>
            </p:cNvPr>
            <p:cNvSpPr/>
            <p:nvPr/>
          </p:nvSpPr>
          <p:spPr>
            <a:xfrm>
              <a:off x="4405503" y="3248452"/>
              <a:ext cx="273263" cy="107076"/>
            </a:xfrm>
            <a:custGeom>
              <a:avLst/>
              <a:gdLst/>
              <a:ahLst/>
              <a:cxnLst/>
              <a:rect l="l" t="t" r="r" b="b"/>
              <a:pathLst>
                <a:path w="669290" h="262254">
                  <a:moveTo>
                    <a:pt x="668489" y="0"/>
                  </a:moveTo>
                  <a:lnTo>
                    <a:pt x="0" y="1193"/>
                  </a:lnTo>
                  <a:lnTo>
                    <a:pt x="469" y="262064"/>
                  </a:lnTo>
                  <a:lnTo>
                    <a:pt x="668959" y="260870"/>
                  </a:lnTo>
                  <a:lnTo>
                    <a:pt x="668849" y="199643"/>
                  </a:lnTo>
                  <a:lnTo>
                    <a:pt x="335864" y="199643"/>
                  </a:lnTo>
                  <a:lnTo>
                    <a:pt x="322226" y="198526"/>
                  </a:lnTo>
                  <a:lnTo>
                    <a:pt x="286588" y="180111"/>
                  </a:lnTo>
                  <a:lnTo>
                    <a:pt x="267601" y="146786"/>
                  </a:lnTo>
                  <a:lnTo>
                    <a:pt x="96862" y="146786"/>
                  </a:lnTo>
                  <a:lnTo>
                    <a:pt x="96862" y="122326"/>
                  </a:lnTo>
                  <a:lnTo>
                    <a:pt x="266090" y="122326"/>
                  </a:lnTo>
                  <a:lnTo>
                    <a:pt x="268308" y="111248"/>
                  </a:lnTo>
                  <a:lnTo>
                    <a:pt x="307751" y="66658"/>
                  </a:lnTo>
                  <a:lnTo>
                    <a:pt x="333746" y="61194"/>
                  </a:lnTo>
                  <a:lnTo>
                    <a:pt x="668600" y="61194"/>
                  </a:lnTo>
                  <a:lnTo>
                    <a:pt x="668489" y="0"/>
                  </a:lnTo>
                  <a:close/>
                </a:path>
                <a:path w="669290" h="262254">
                  <a:moveTo>
                    <a:pt x="668600" y="61194"/>
                  </a:moveTo>
                  <a:lnTo>
                    <a:pt x="333746" y="61194"/>
                  </a:lnTo>
                  <a:lnTo>
                    <a:pt x="359898" y="65856"/>
                  </a:lnTo>
                  <a:lnTo>
                    <a:pt x="383031" y="80695"/>
                  </a:lnTo>
                  <a:lnTo>
                    <a:pt x="390820" y="89699"/>
                  </a:lnTo>
                  <a:lnTo>
                    <a:pt x="396874" y="99801"/>
                  </a:lnTo>
                  <a:lnTo>
                    <a:pt x="401119" y="110758"/>
                  </a:lnTo>
                  <a:lnTo>
                    <a:pt x="403478" y="122326"/>
                  </a:lnTo>
                  <a:lnTo>
                    <a:pt x="581774" y="122326"/>
                  </a:lnTo>
                  <a:lnTo>
                    <a:pt x="581774" y="146786"/>
                  </a:lnTo>
                  <a:lnTo>
                    <a:pt x="402069" y="146786"/>
                  </a:lnTo>
                  <a:lnTo>
                    <a:pt x="399321" y="155533"/>
                  </a:lnTo>
                  <a:lnTo>
                    <a:pt x="374083" y="187472"/>
                  </a:lnTo>
                  <a:lnTo>
                    <a:pt x="335864" y="199643"/>
                  </a:lnTo>
                  <a:lnTo>
                    <a:pt x="668849" y="199643"/>
                  </a:lnTo>
                  <a:lnTo>
                    <a:pt x="668600" y="61194"/>
                  </a:lnTo>
                  <a:close/>
                </a:path>
              </a:pathLst>
            </a:custGeom>
            <a:solidFill>
              <a:srgbClr val="00BCEB"/>
            </a:solidFill>
          </p:spPr>
          <p:txBody>
            <a:bodyPr wrap="square" lIns="0" tIns="0" rIns="0" bIns="0" rtlCol="0"/>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826" name="Group 825">
              <a:extLst>
                <a:ext uri="{FF2B5EF4-FFF2-40B4-BE49-F238E27FC236}">
                  <a16:creationId xmlns:a16="http://schemas.microsoft.com/office/drawing/2014/main" id="{4CF70380-E2A1-4886-B8BD-808C4621C054}"/>
                </a:ext>
              </a:extLst>
            </p:cNvPr>
            <p:cNvGrpSpPr/>
            <p:nvPr/>
          </p:nvGrpSpPr>
          <p:grpSpPr>
            <a:xfrm>
              <a:off x="4422922" y="3030100"/>
              <a:ext cx="238375" cy="192830"/>
              <a:chOff x="5121843" y="3876582"/>
              <a:chExt cx="437148" cy="353618"/>
            </a:xfrm>
          </p:grpSpPr>
          <p:sp>
            <p:nvSpPr>
              <p:cNvPr id="827" name="Freeform 176">
                <a:extLst>
                  <a:ext uri="{FF2B5EF4-FFF2-40B4-BE49-F238E27FC236}">
                    <a16:creationId xmlns:a16="http://schemas.microsoft.com/office/drawing/2014/main" id="{3B88C57F-1B55-436F-9E54-B763CB5822DA}"/>
                  </a:ext>
                </a:extLst>
              </p:cNvPr>
              <p:cNvSpPr>
                <a:spLocks/>
              </p:cNvSpPr>
              <p:nvPr/>
            </p:nvSpPr>
            <p:spPr bwMode="auto">
              <a:xfrm>
                <a:off x="5291689" y="4129962"/>
                <a:ext cx="100237" cy="100238"/>
              </a:xfrm>
              <a:custGeom>
                <a:avLst/>
                <a:gdLst>
                  <a:gd name="T0" fmla="*/ 31 w 213"/>
                  <a:gd name="T1" fmla="*/ 31 h 213"/>
                  <a:gd name="T2" fmla="*/ 17 w 213"/>
                  <a:gd name="T3" fmla="*/ 48 h 213"/>
                  <a:gd name="T4" fmla="*/ 8 w 213"/>
                  <a:gd name="T5" fmla="*/ 67 h 213"/>
                  <a:gd name="T6" fmla="*/ 2 w 213"/>
                  <a:gd name="T7" fmla="*/ 86 h 213"/>
                  <a:gd name="T8" fmla="*/ 0 w 213"/>
                  <a:gd name="T9" fmla="*/ 107 h 213"/>
                  <a:gd name="T10" fmla="*/ 2 w 213"/>
                  <a:gd name="T11" fmla="*/ 127 h 213"/>
                  <a:gd name="T12" fmla="*/ 8 w 213"/>
                  <a:gd name="T13" fmla="*/ 146 h 213"/>
                  <a:gd name="T14" fmla="*/ 17 w 213"/>
                  <a:gd name="T15" fmla="*/ 166 h 213"/>
                  <a:gd name="T16" fmla="*/ 31 w 213"/>
                  <a:gd name="T17" fmla="*/ 182 h 213"/>
                  <a:gd name="T18" fmla="*/ 39 w 213"/>
                  <a:gd name="T19" fmla="*/ 190 h 213"/>
                  <a:gd name="T20" fmla="*/ 57 w 213"/>
                  <a:gd name="T21" fmla="*/ 202 h 213"/>
                  <a:gd name="T22" fmla="*/ 76 w 213"/>
                  <a:gd name="T23" fmla="*/ 210 h 213"/>
                  <a:gd name="T24" fmla="*/ 97 w 213"/>
                  <a:gd name="T25" fmla="*/ 213 h 213"/>
                  <a:gd name="T26" fmla="*/ 117 w 213"/>
                  <a:gd name="T27" fmla="*/ 213 h 213"/>
                  <a:gd name="T28" fmla="*/ 137 w 213"/>
                  <a:gd name="T29" fmla="*/ 210 h 213"/>
                  <a:gd name="T30" fmla="*/ 157 w 213"/>
                  <a:gd name="T31" fmla="*/ 202 h 213"/>
                  <a:gd name="T32" fmla="*/ 174 w 213"/>
                  <a:gd name="T33" fmla="*/ 190 h 213"/>
                  <a:gd name="T34" fmla="*/ 182 w 213"/>
                  <a:gd name="T35" fmla="*/ 182 h 213"/>
                  <a:gd name="T36" fmla="*/ 196 w 213"/>
                  <a:gd name="T37" fmla="*/ 166 h 213"/>
                  <a:gd name="T38" fmla="*/ 206 w 213"/>
                  <a:gd name="T39" fmla="*/ 146 h 213"/>
                  <a:gd name="T40" fmla="*/ 212 w 213"/>
                  <a:gd name="T41" fmla="*/ 127 h 213"/>
                  <a:gd name="T42" fmla="*/ 213 w 213"/>
                  <a:gd name="T43" fmla="*/ 107 h 213"/>
                  <a:gd name="T44" fmla="*/ 212 w 213"/>
                  <a:gd name="T45" fmla="*/ 86 h 213"/>
                  <a:gd name="T46" fmla="*/ 206 w 213"/>
                  <a:gd name="T47" fmla="*/ 67 h 213"/>
                  <a:gd name="T48" fmla="*/ 196 w 213"/>
                  <a:gd name="T49" fmla="*/ 48 h 213"/>
                  <a:gd name="T50" fmla="*/ 182 w 213"/>
                  <a:gd name="T51" fmla="*/ 31 h 213"/>
                  <a:gd name="T52" fmla="*/ 174 w 213"/>
                  <a:gd name="T53" fmla="*/ 24 h 213"/>
                  <a:gd name="T54" fmla="*/ 157 w 213"/>
                  <a:gd name="T55" fmla="*/ 12 h 213"/>
                  <a:gd name="T56" fmla="*/ 137 w 213"/>
                  <a:gd name="T57" fmla="*/ 4 h 213"/>
                  <a:gd name="T58" fmla="*/ 117 w 213"/>
                  <a:gd name="T59" fmla="*/ 0 h 213"/>
                  <a:gd name="T60" fmla="*/ 97 w 213"/>
                  <a:gd name="T61" fmla="*/ 0 h 213"/>
                  <a:gd name="T62" fmla="*/ 76 w 213"/>
                  <a:gd name="T63" fmla="*/ 4 h 213"/>
                  <a:gd name="T64" fmla="*/ 57 w 213"/>
                  <a:gd name="T65" fmla="*/ 12 h 213"/>
                  <a:gd name="T66" fmla="*/ 39 w 213"/>
                  <a:gd name="T67" fmla="*/ 24 h 213"/>
                  <a:gd name="T68" fmla="*/ 31 w 213"/>
                  <a:gd name="T69" fmla="*/ 3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213">
                    <a:moveTo>
                      <a:pt x="31" y="31"/>
                    </a:moveTo>
                    <a:lnTo>
                      <a:pt x="31" y="31"/>
                    </a:lnTo>
                    <a:lnTo>
                      <a:pt x="24" y="39"/>
                    </a:lnTo>
                    <a:lnTo>
                      <a:pt x="17" y="48"/>
                    </a:lnTo>
                    <a:lnTo>
                      <a:pt x="12" y="57"/>
                    </a:lnTo>
                    <a:lnTo>
                      <a:pt x="8" y="67"/>
                    </a:lnTo>
                    <a:lnTo>
                      <a:pt x="4" y="76"/>
                    </a:lnTo>
                    <a:lnTo>
                      <a:pt x="2" y="86"/>
                    </a:lnTo>
                    <a:lnTo>
                      <a:pt x="1" y="97"/>
                    </a:lnTo>
                    <a:lnTo>
                      <a:pt x="0" y="107"/>
                    </a:lnTo>
                    <a:lnTo>
                      <a:pt x="1" y="116"/>
                    </a:lnTo>
                    <a:lnTo>
                      <a:pt x="2" y="127"/>
                    </a:lnTo>
                    <a:lnTo>
                      <a:pt x="4" y="137"/>
                    </a:lnTo>
                    <a:lnTo>
                      <a:pt x="8" y="146"/>
                    </a:lnTo>
                    <a:lnTo>
                      <a:pt x="12" y="157"/>
                    </a:lnTo>
                    <a:lnTo>
                      <a:pt x="17" y="166"/>
                    </a:lnTo>
                    <a:lnTo>
                      <a:pt x="24" y="174"/>
                    </a:lnTo>
                    <a:lnTo>
                      <a:pt x="31" y="182"/>
                    </a:lnTo>
                    <a:lnTo>
                      <a:pt x="31" y="182"/>
                    </a:lnTo>
                    <a:lnTo>
                      <a:pt x="39" y="190"/>
                    </a:lnTo>
                    <a:lnTo>
                      <a:pt x="48" y="196"/>
                    </a:lnTo>
                    <a:lnTo>
                      <a:pt x="57" y="202"/>
                    </a:lnTo>
                    <a:lnTo>
                      <a:pt x="67" y="206"/>
                    </a:lnTo>
                    <a:lnTo>
                      <a:pt x="76" y="210"/>
                    </a:lnTo>
                    <a:lnTo>
                      <a:pt x="86" y="212"/>
                    </a:lnTo>
                    <a:lnTo>
                      <a:pt x="97" y="213"/>
                    </a:lnTo>
                    <a:lnTo>
                      <a:pt x="107" y="213"/>
                    </a:lnTo>
                    <a:lnTo>
                      <a:pt x="117" y="213"/>
                    </a:lnTo>
                    <a:lnTo>
                      <a:pt x="127" y="212"/>
                    </a:lnTo>
                    <a:lnTo>
                      <a:pt x="137" y="210"/>
                    </a:lnTo>
                    <a:lnTo>
                      <a:pt x="147" y="206"/>
                    </a:lnTo>
                    <a:lnTo>
                      <a:pt x="157" y="202"/>
                    </a:lnTo>
                    <a:lnTo>
                      <a:pt x="166" y="196"/>
                    </a:lnTo>
                    <a:lnTo>
                      <a:pt x="174" y="190"/>
                    </a:lnTo>
                    <a:lnTo>
                      <a:pt x="182" y="182"/>
                    </a:lnTo>
                    <a:lnTo>
                      <a:pt x="182" y="182"/>
                    </a:lnTo>
                    <a:lnTo>
                      <a:pt x="190" y="174"/>
                    </a:lnTo>
                    <a:lnTo>
                      <a:pt x="196" y="166"/>
                    </a:lnTo>
                    <a:lnTo>
                      <a:pt x="202" y="157"/>
                    </a:lnTo>
                    <a:lnTo>
                      <a:pt x="206" y="146"/>
                    </a:lnTo>
                    <a:lnTo>
                      <a:pt x="210" y="137"/>
                    </a:lnTo>
                    <a:lnTo>
                      <a:pt x="212" y="127"/>
                    </a:lnTo>
                    <a:lnTo>
                      <a:pt x="213" y="116"/>
                    </a:lnTo>
                    <a:lnTo>
                      <a:pt x="213" y="107"/>
                    </a:lnTo>
                    <a:lnTo>
                      <a:pt x="213" y="97"/>
                    </a:lnTo>
                    <a:lnTo>
                      <a:pt x="212" y="86"/>
                    </a:lnTo>
                    <a:lnTo>
                      <a:pt x="210" y="76"/>
                    </a:lnTo>
                    <a:lnTo>
                      <a:pt x="206" y="67"/>
                    </a:lnTo>
                    <a:lnTo>
                      <a:pt x="202" y="57"/>
                    </a:lnTo>
                    <a:lnTo>
                      <a:pt x="196" y="48"/>
                    </a:lnTo>
                    <a:lnTo>
                      <a:pt x="190" y="39"/>
                    </a:lnTo>
                    <a:lnTo>
                      <a:pt x="182" y="31"/>
                    </a:lnTo>
                    <a:lnTo>
                      <a:pt x="182" y="31"/>
                    </a:lnTo>
                    <a:lnTo>
                      <a:pt x="174" y="24"/>
                    </a:lnTo>
                    <a:lnTo>
                      <a:pt x="166" y="17"/>
                    </a:lnTo>
                    <a:lnTo>
                      <a:pt x="157" y="12"/>
                    </a:lnTo>
                    <a:lnTo>
                      <a:pt x="147" y="8"/>
                    </a:lnTo>
                    <a:lnTo>
                      <a:pt x="137" y="4"/>
                    </a:lnTo>
                    <a:lnTo>
                      <a:pt x="127" y="2"/>
                    </a:lnTo>
                    <a:lnTo>
                      <a:pt x="117" y="0"/>
                    </a:lnTo>
                    <a:lnTo>
                      <a:pt x="107" y="0"/>
                    </a:lnTo>
                    <a:lnTo>
                      <a:pt x="97" y="0"/>
                    </a:lnTo>
                    <a:lnTo>
                      <a:pt x="86" y="2"/>
                    </a:lnTo>
                    <a:lnTo>
                      <a:pt x="76" y="4"/>
                    </a:lnTo>
                    <a:lnTo>
                      <a:pt x="67" y="8"/>
                    </a:lnTo>
                    <a:lnTo>
                      <a:pt x="57" y="12"/>
                    </a:lnTo>
                    <a:lnTo>
                      <a:pt x="48" y="17"/>
                    </a:lnTo>
                    <a:lnTo>
                      <a:pt x="39" y="24"/>
                    </a:lnTo>
                    <a:lnTo>
                      <a:pt x="31" y="31"/>
                    </a:lnTo>
                    <a:lnTo>
                      <a:pt x="31" y="31"/>
                    </a:lnTo>
                    <a:close/>
                  </a:path>
                </a:pathLst>
              </a:custGeom>
              <a:solidFill>
                <a:srgbClr val="9CE5F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Arial"/>
                  <a:ea typeface="ＭＳ Ｐゴシック" charset="0"/>
                  <a:cs typeface="+mn-cs"/>
                </a:endParaRPr>
              </a:p>
            </p:txBody>
          </p:sp>
          <p:sp>
            <p:nvSpPr>
              <p:cNvPr id="828" name="Freeform 177">
                <a:extLst>
                  <a:ext uri="{FF2B5EF4-FFF2-40B4-BE49-F238E27FC236}">
                    <a16:creationId xmlns:a16="http://schemas.microsoft.com/office/drawing/2014/main" id="{4839A211-A650-4A11-823D-EFB960D2D2D5}"/>
                  </a:ext>
                </a:extLst>
              </p:cNvPr>
              <p:cNvSpPr>
                <a:spLocks/>
              </p:cNvSpPr>
              <p:nvPr/>
            </p:nvSpPr>
            <p:spPr bwMode="auto">
              <a:xfrm>
                <a:off x="5244355" y="4049215"/>
                <a:ext cx="194907" cy="69611"/>
              </a:xfrm>
              <a:custGeom>
                <a:avLst/>
                <a:gdLst>
                  <a:gd name="T0" fmla="*/ 302 w 424"/>
                  <a:gd name="T1" fmla="*/ 15 h 155"/>
                  <a:gd name="T2" fmla="*/ 257 w 424"/>
                  <a:gd name="T3" fmla="*/ 4 h 155"/>
                  <a:gd name="T4" fmla="*/ 212 w 424"/>
                  <a:gd name="T5" fmla="*/ 0 h 155"/>
                  <a:gd name="T6" fmla="*/ 184 w 424"/>
                  <a:gd name="T7" fmla="*/ 1 h 155"/>
                  <a:gd name="T8" fmla="*/ 131 w 424"/>
                  <a:gd name="T9" fmla="*/ 12 h 155"/>
                  <a:gd name="T10" fmla="*/ 81 w 424"/>
                  <a:gd name="T11" fmla="*/ 32 h 155"/>
                  <a:gd name="T12" fmla="*/ 56 w 424"/>
                  <a:gd name="T13" fmla="*/ 47 h 155"/>
                  <a:gd name="T14" fmla="*/ 33 w 424"/>
                  <a:gd name="T15" fmla="*/ 64 h 155"/>
                  <a:gd name="T16" fmla="*/ 11 w 424"/>
                  <a:gd name="T17" fmla="*/ 83 h 155"/>
                  <a:gd name="T18" fmla="*/ 7 w 424"/>
                  <a:gd name="T19" fmla="*/ 90 h 155"/>
                  <a:gd name="T20" fmla="*/ 0 w 424"/>
                  <a:gd name="T21" fmla="*/ 105 h 155"/>
                  <a:gd name="T22" fmla="*/ 0 w 424"/>
                  <a:gd name="T23" fmla="*/ 121 h 155"/>
                  <a:gd name="T24" fmla="*/ 7 w 424"/>
                  <a:gd name="T25" fmla="*/ 136 h 155"/>
                  <a:gd name="T26" fmla="*/ 11 w 424"/>
                  <a:gd name="T27" fmla="*/ 142 h 155"/>
                  <a:gd name="T28" fmla="*/ 25 w 424"/>
                  <a:gd name="T29" fmla="*/ 151 h 155"/>
                  <a:gd name="T30" fmla="*/ 41 w 424"/>
                  <a:gd name="T31" fmla="*/ 155 h 155"/>
                  <a:gd name="T32" fmla="*/ 49 w 424"/>
                  <a:gd name="T33" fmla="*/ 154 h 155"/>
                  <a:gd name="T34" fmla="*/ 64 w 424"/>
                  <a:gd name="T35" fmla="*/ 148 h 155"/>
                  <a:gd name="T36" fmla="*/ 70 w 424"/>
                  <a:gd name="T37" fmla="*/ 142 h 155"/>
                  <a:gd name="T38" fmla="*/ 102 w 424"/>
                  <a:gd name="T39" fmla="*/ 117 h 155"/>
                  <a:gd name="T40" fmla="*/ 137 w 424"/>
                  <a:gd name="T41" fmla="*/ 98 h 155"/>
                  <a:gd name="T42" fmla="*/ 174 w 424"/>
                  <a:gd name="T43" fmla="*/ 88 h 155"/>
                  <a:gd name="T44" fmla="*/ 212 w 424"/>
                  <a:gd name="T45" fmla="*/ 84 h 155"/>
                  <a:gd name="T46" fmla="*/ 228 w 424"/>
                  <a:gd name="T47" fmla="*/ 84 h 155"/>
                  <a:gd name="T48" fmla="*/ 261 w 424"/>
                  <a:gd name="T49" fmla="*/ 90 h 155"/>
                  <a:gd name="T50" fmla="*/ 276 w 424"/>
                  <a:gd name="T51" fmla="*/ 95 h 155"/>
                  <a:gd name="T52" fmla="*/ 316 w 424"/>
                  <a:gd name="T53" fmla="*/ 113 h 155"/>
                  <a:gd name="T54" fmla="*/ 353 w 424"/>
                  <a:gd name="T55" fmla="*/ 142 h 155"/>
                  <a:gd name="T56" fmla="*/ 360 w 424"/>
                  <a:gd name="T57" fmla="*/ 148 h 155"/>
                  <a:gd name="T58" fmla="*/ 375 w 424"/>
                  <a:gd name="T59" fmla="*/ 154 h 155"/>
                  <a:gd name="T60" fmla="*/ 391 w 424"/>
                  <a:gd name="T61" fmla="*/ 154 h 155"/>
                  <a:gd name="T62" fmla="*/ 406 w 424"/>
                  <a:gd name="T63" fmla="*/ 148 h 155"/>
                  <a:gd name="T64" fmla="*/ 412 w 424"/>
                  <a:gd name="T65" fmla="*/ 142 h 155"/>
                  <a:gd name="T66" fmla="*/ 421 w 424"/>
                  <a:gd name="T67" fmla="*/ 128 h 155"/>
                  <a:gd name="T68" fmla="*/ 424 w 424"/>
                  <a:gd name="T69" fmla="*/ 113 h 155"/>
                  <a:gd name="T70" fmla="*/ 421 w 424"/>
                  <a:gd name="T71" fmla="*/ 97 h 155"/>
                  <a:gd name="T72" fmla="*/ 412 w 424"/>
                  <a:gd name="T73" fmla="*/ 83 h 155"/>
                  <a:gd name="T74" fmla="*/ 400 w 424"/>
                  <a:gd name="T75" fmla="*/ 72 h 155"/>
                  <a:gd name="T76" fmla="*/ 374 w 424"/>
                  <a:gd name="T77" fmla="*/ 51 h 155"/>
                  <a:gd name="T78" fmla="*/ 346 w 424"/>
                  <a:gd name="T79" fmla="*/ 35 h 155"/>
                  <a:gd name="T80" fmla="*/ 317 w 424"/>
                  <a:gd name="T81" fmla="*/ 21 h 155"/>
                  <a:gd name="T82" fmla="*/ 302 w 424"/>
                  <a:gd name="T83" fmla="*/ 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4" h="155">
                    <a:moveTo>
                      <a:pt x="302" y="15"/>
                    </a:moveTo>
                    <a:lnTo>
                      <a:pt x="302" y="15"/>
                    </a:lnTo>
                    <a:lnTo>
                      <a:pt x="280" y="8"/>
                    </a:lnTo>
                    <a:lnTo>
                      <a:pt x="257" y="4"/>
                    </a:lnTo>
                    <a:lnTo>
                      <a:pt x="235" y="1"/>
                    </a:lnTo>
                    <a:lnTo>
                      <a:pt x="212" y="0"/>
                    </a:lnTo>
                    <a:lnTo>
                      <a:pt x="212" y="0"/>
                    </a:lnTo>
                    <a:lnTo>
                      <a:pt x="184" y="1"/>
                    </a:lnTo>
                    <a:lnTo>
                      <a:pt x="158" y="6"/>
                    </a:lnTo>
                    <a:lnTo>
                      <a:pt x="131" y="12"/>
                    </a:lnTo>
                    <a:lnTo>
                      <a:pt x="105" y="21"/>
                    </a:lnTo>
                    <a:lnTo>
                      <a:pt x="81" y="32"/>
                    </a:lnTo>
                    <a:lnTo>
                      <a:pt x="68" y="39"/>
                    </a:lnTo>
                    <a:lnTo>
                      <a:pt x="56" y="47"/>
                    </a:lnTo>
                    <a:lnTo>
                      <a:pt x="45" y="56"/>
                    </a:lnTo>
                    <a:lnTo>
                      <a:pt x="33" y="64"/>
                    </a:lnTo>
                    <a:lnTo>
                      <a:pt x="22" y="73"/>
                    </a:lnTo>
                    <a:lnTo>
                      <a:pt x="11" y="83"/>
                    </a:lnTo>
                    <a:lnTo>
                      <a:pt x="11" y="83"/>
                    </a:lnTo>
                    <a:lnTo>
                      <a:pt x="7" y="90"/>
                    </a:lnTo>
                    <a:lnTo>
                      <a:pt x="2" y="97"/>
                    </a:lnTo>
                    <a:lnTo>
                      <a:pt x="0" y="105"/>
                    </a:lnTo>
                    <a:lnTo>
                      <a:pt x="0" y="113"/>
                    </a:lnTo>
                    <a:lnTo>
                      <a:pt x="0" y="121"/>
                    </a:lnTo>
                    <a:lnTo>
                      <a:pt x="2" y="128"/>
                    </a:lnTo>
                    <a:lnTo>
                      <a:pt x="7" y="136"/>
                    </a:lnTo>
                    <a:lnTo>
                      <a:pt x="11" y="142"/>
                    </a:lnTo>
                    <a:lnTo>
                      <a:pt x="11" y="142"/>
                    </a:lnTo>
                    <a:lnTo>
                      <a:pt x="18" y="148"/>
                    </a:lnTo>
                    <a:lnTo>
                      <a:pt x="25" y="151"/>
                    </a:lnTo>
                    <a:lnTo>
                      <a:pt x="33" y="154"/>
                    </a:lnTo>
                    <a:lnTo>
                      <a:pt x="41" y="155"/>
                    </a:lnTo>
                    <a:lnTo>
                      <a:pt x="41" y="155"/>
                    </a:lnTo>
                    <a:lnTo>
                      <a:pt x="49" y="154"/>
                    </a:lnTo>
                    <a:lnTo>
                      <a:pt x="57" y="151"/>
                    </a:lnTo>
                    <a:lnTo>
                      <a:pt x="64" y="148"/>
                    </a:lnTo>
                    <a:lnTo>
                      <a:pt x="70" y="142"/>
                    </a:lnTo>
                    <a:lnTo>
                      <a:pt x="70" y="142"/>
                    </a:lnTo>
                    <a:lnTo>
                      <a:pt x="86" y="128"/>
                    </a:lnTo>
                    <a:lnTo>
                      <a:pt x="102" y="117"/>
                    </a:lnTo>
                    <a:lnTo>
                      <a:pt x="119" y="106"/>
                    </a:lnTo>
                    <a:lnTo>
                      <a:pt x="137" y="98"/>
                    </a:lnTo>
                    <a:lnTo>
                      <a:pt x="154" y="92"/>
                    </a:lnTo>
                    <a:lnTo>
                      <a:pt x="174" y="88"/>
                    </a:lnTo>
                    <a:lnTo>
                      <a:pt x="192" y="84"/>
                    </a:lnTo>
                    <a:lnTo>
                      <a:pt x="212" y="84"/>
                    </a:lnTo>
                    <a:lnTo>
                      <a:pt x="212" y="84"/>
                    </a:lnTo>
                    <a:lnTo>
                      <a:pt x="228" y="84"/>
                    </a:lnTo>
                    <a:lnTo>
                      <a:pt x="244" y="87"/>
                    </a:lnTo>
                    <a:lnTo>
                      <a:pt x="261" y="90"/>
                    </a:lnTo>
                    <a:lnTo>
                      <a:pt x="276" y="95"/>
                    </a:lnTo>
                    <a:lnTo>
                      <a:pt x="276" y="95"/>
                    </a:lnTo>
                    <a:lnTo>
                      <a:pt x="296" y="103"/>
                    </a:lnTo>
                    <a:lnTo>
                      <a:pt x="316" y="113"/>
                    </a:lnTo>
                    <a:lnTo>
                      <a:pt x="336" y="127"/>
                    </a:lnTo>
                    <a:lnTo>
                      <a:pt x="353" y="142"/>
                    </a:lnTo>
                    <a:lnTo>
                      <a:pt x="353" y="142"/>
                    </a:lnTo>
                    <a:lnTo>
                      <a:pt x="360" y="148"/>
                    </a:lnTo>
                    <a:lnTo>
                      <a:pt x="367" y="151"/>
                    </a:lnTo>
                    <a:lnTo>
                      <a:pt x="375" y="154"/>
                    </a:lnTo>
                    <a:lnTo>
                      <a:pt x="383" y="155"/>
                    </a:lnTo>
                    <a:lnTo>
                      <a:pt x="391" y="154"/>
                    </a:lnTo>
                    <a:lnTo>
                      <a:pt x="398" y="151"/>
                    </a:lnTo>
                    <a:lnTo>
                      <a:pt x="406" y="148"/>
                    </a:lnTo>
                    <a:lnTo>
                      <a:pt x="412" y="142"/>
                    </a:lnTo>
                    <a:lnTo>
                      <a:pt x="412" y="142"/>
                    </a:lnTo>
                    <a:lnTo>
                      <a:pt x="417" y="136"/>
                    </a:lnTo>
                    <a:lnTo>
                      <a:pt x="421" y="128"/>
                    </a:lnTo>
                    <a:lnTo>
                      <a:pt x="423" y="121"/>
                    </a:lnTo>
                    <a:lnTo>
                      <a:pt x="424" y="113"/>
                    </a:lnTo>
                    <a:lnTo>
                      <a:pt x="423" y="105"/>
                    </a:lnTo>
                    <a:lnTo>
                      <a:pt x="421" y="97"/>
                    </a:lnTo>
                    <a:lnTo>
                      <a:pt x="417" y="90"/>
                    </a:lnTo>
                    <a:lnTo>
                      <a:pt x="412" y="83"/>
                    </a:lnTo>
                    <a:lnTo>
                      <a:pt x="412" y="83"/>
                    </a:lnTo>
                    <a:lnTo>
                      <a:pt x="400" y="72"/>
                    </a:lnTo>
                    <a:lnTo>
                      <a:pt x="387" y="61"/>
                    </a:lnTo>
                    <a:lnTo>
                      <a:pt x="374" y="51"/>
                    </a:lnTo>
                    <a:lnTo>
                      <a:pt x="360" y="43"/>
                    </a:lnTo>
                    <a:lnTo>
                      <a:pt x="346" y="35"/>
                    </a:lnTo>
                    <a:lnTo>
                      <a:pt x="332" y="27"/>
                    </a:lnTo>
                    <a:lnTo>
                      <a:pt x="317" y="21"/>
                    </a:lnTo>
                    <a:lnTo>
                      <a:pt x="302" y="15"/>
                    </a:lnTo>
                    <a:lnTo>
                      <a:pt x="302" y="15"/>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Arial"/>
                  <a:ea typeface="ＭＳ Ｐゴシック" charset="0"/>
                  <a:cs typeface="+mn-cs"/>
                </a:endParaRPr>
              </a:p>
            </p:txBody>
          </p:sp>
          <p:sp>
            <p:nvSpPr>
              <p:cNvPr id="829" name="Freeform 178">
                <a:extLst>
                  <a:ext uri="{FF2B5EF4-FFF2-40B4-BE49-F238E27FC236}">
                    <a16:creationId xmlns:a16="http://schemas.microsoft.com/office/drawing/2014/main" id="{503C3F8F-3B01-4DB4-85A6-67AA03E1A951}"/>
                  </a:ext>
                </a:extLst>
              </p:cNvPr>
              <p:cNvSpPr>
                <a:spLocks/>
              </p:cNvSpPr>
              <p:nvPr/>
            </p:nvSpPr>
            <p:spPr bwMode="auto">
              <a:xfrm>
                <a:off x="5183099" y="3962898"/>
                <a:ext cx="317419" cy="97455"/>
              </a:xfrm>
              <a:custGeom>
                <a:avLst/>
                <a:gdLst>
                  <a:gd name="T0" fmla="*/ 341 w 682"/>
                  <a:gd name="T1" fmla="*/ 0 h 208"/>
                  <a:gd name="T2" fmla="*/ 296 w 682"/>
                  <a:gd name="T3" fmla="*/ 2 h 208"/>
                  <a:gd name="T4" fmla="*/ 252 w 682"/>
                  <a:gd name="T5" fmla="*/ 9 h 208"/>
                  <a:gd name="T6" fmla="*/ 208 w 682"/>
                  <a:gd name="T7" fmla="*/ 19 h 208"/>
                  <a:gd name="T8" fmla="*/ 166 w 682"/>
                  <a:gd name="T9" fmla="*/ 34 h 208"/>
                  <a:gd name="T10" fmla="*/ 124 w 682"/>
                  <a:gd name="T11" fmla="*/ 54 h 208"/>
                  <a:gd name="T12" fmla="*/ 85 w 682"/>
                  <a:gd name="T13" fmla="*/ 77 h 208"/>
                  <a:gd name="T14" fmla="*/ 47 w 682"/>
                  <a:gd name="T15" fmla="*/ 105 h 208"/>
                  <a:gd name="T16" fmla="*/ 12 w 682"/>
                  <a:gd name="T17" fmla="*/ 137 h 208"/>
                  <a:gd name="T18" fmla="*/ 6 w 682"/>
                  <a:gd name="T19" fmla="*/ 143 h 208"/>
                  <a:gd name="T20" fmla="*/ 1 w 682"/>
                  <a:gd name="T21" fmla="*/ 158 h 208"/>
                  <a:gd name="T22" fmla="*/ 1 w 682"/>
                  <a:gd name="T23" fmla="*/ 174 h 208"/>
                  <a:gd name="T24" fmla="*/ 6 w 682"/>
                  <a:gd name="T25" fmla="*/ 189 h 208"/>
                  <a:gd name="T26" fmla="*/ 12 w 682"/>
                  <a:gd name="T27" fmla="*/ 196 h 208"/>
                  <a:gd name="T28" fmla="*/ 26 w 682"/>
                  <a:gd name="T29" fmla="*/ 205 h 208"/>
                  <a:gd name="T30" fmla="*/ 41 w 682"/>
                  <a:gd name="T31" fmla="*/ 208 h 208"/>
                  <a:gd name="T32" fmla="*/ 49 w 682"/>
                  <a:gd name="T33" fmla="*/ 208 h 208"/>
                  <a:gd name="T34" fmla="*/ 64 w 682"/>
                  <a:gd name="T35" fmla="*/ 201 h 208"/>
                  <a:gd name="T36" fmla="*/ 71 w 682"/>
                  <a:gd name="T37" fmla="*/ 196 h 208"/>
                  <a:gd name="T38" fmla="*/ 100 w 682"/>
                  <a:gd name="T39" fmla="*/ 169 h 208"/>
                  <a:gd name="T40" fmla="*/ 131 w 682"/>
                  <a:gd name="T41" fmla="*/ 146 h 208"/>
                  <a:gd name="T42" fmla="*/ 163 w 682"/>
                  <a:gd name="T43" fmla="*/ 128 h 208"/>
                  <a:gd name="T44" fmla="*/ 197 w 682"/>
                  <a:gd name="T45" fmla="*/ 112 h 208"/>
                  <a:gd name="T46" fmla="*/ 233 w 682"/>
                  <a:gd name="T47" fmla="*/ 99 h 208"/>
                  <a:gd name="T48" fmla="*/ 268 w 682"/>
                  <a:gd name="T49" fmla="*/ 91 h 208"/>
                  <a:gd name="T50" fmla="*/ 304 w 682"/>
                  <a:gd name="T51" fmla="*/ 85 h 208"/>
                  <a:gd name="T52" fmla="*/ 341 w 682"/>
                  <a:gd name="T53" fmla="*/ 84 h 208"/>
                  <a:gd name="T54" fmla="*/ 360 w 682"/>
                  <a:gd name="T55" fmla="*/ 84 h 208"/>
                  <a:gd name="T56" fmla="*/ 395 w 682"/>
                  <a:gd name="T57" fmla="*/ 88 h 208"/>
                  <a:gd name="T58" fmla="*/ 432 w 682"/>
                  <a:gd name="T59" fmla="*/ 94 h 208"/>
                  <a:gd name="T60" fmla="*/ 467 w 682"/>
                  <a:gd name="T61" fmla="*/ 105 h 208"/>
                  <a:gd name="T62" fmla="*/ 501 w 682"/>
                  <a:gd name="T63" fmla="*/ 119 h 208"/>
                  <a:gd name="T64" fmla="*/ 535 w 682"/>
                  <a:gd name="T65" fmla="*/ 136 h 208"/>
                  <a:gd name="T66" fmla="*/ 566 w 682"/>
                  <a:gd name="T67" fmla="*/ 158 h 208"/>
                  <a:gd name="T68" fmla="*/ 596 w 682"/>
                  <a:gd name="T69" fmla="*/ 182 h 208"/>
                  <a:gd name="T70" fmla="*/ 611 w 682"/>
                  <a:gd name="T71" fmla="*/ 196 h 208"/>
                  <a:gd name="T72" fmla="*/ 625 w 682"/>
                  <a:gd name="T73" fmla="*/ 205 h 208"/>
                  <a:gd name="T74" fmla="*/ 640 w 682"/>
                  <a:gd name="T75" fmla="*/ 208 h 208"/>
                  <a:gd name="T76" fmla="*/ 656 w 682"/>
                  <a:gd name="T77" fmla="*/ 205 h 208"/>
                  <a:gd name="T78" fmla="*/ 670 w 682"/>
                  <a:gd name="T79" fmla="*/ 196 h 208"/>
                  <a:gd name="T80" fmla="*/ 675 w 682"/>
                  <a:gd name="T81" fmla="*/ 189 h 208"/>
                  <a:gd name="T82" fmla="*/ 682 w 682"/>
                  <a:gd name="T83" fmla="*/ 174 h 208"/>
                  <a:gd name="T84" fmla="*/ 682 w 682"/>
                  <a:gd name="T85" fmla="*/ 158 h 208"/>
                  <a:gd name="T86" fmla="*/ 675 w 682"/>
                  <a:gd name="T87" fmla="*/ 143 h 208"/>
                  <a:gd name="T88" fmla="*/ 670 w 682"/>
                  <a:gd name="T89" fmla="*/ 137 h 208"/>
                  <a:gd name="T90" fmla="*/ 634 w 682"/>
                  <a:gd name="T91" fmla="*/ 105 h 208"/>
                  <a:gd name="T92" fmla="*/ 597 w 682"/>
                  <a:gd name="T93" fmla="*/ 77 h 208"/>
                  <a:gd name="T94" fmla="*/ 557 w 682"/>
                  <a:gd name="T95" fmla="*/ 54 h 208"/>
                  <a:gd name="T96" fmla="*/ 515 w 682"/>
                  <a:gd name="T97" fmla="*/ 34 h 208"/>
                  <a:gd name="T98" fmla="*/ 473 w 682"/>
                  <a:gd name="T99" fmla="*/ 19 h 208"/>
                  <a:gd name="T100" fmla="*/ 430 w 682"/>
                  <a:gd name="T101" fmla="*/ 9 h 208"/>
                  <a:gd name="T102" fmla="*/ 385 w 682"/>
                  <a:gd name="T103" fmla="*/ 2 h 208"/>
                  <a:gd name="T104" fmla="*/ 341 w 682"/>
                  <a:gd name="T10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2" h="208">
                    <a:moveTo>
                      <a:pt x="341" y="0"/>
                    </a:moveTo>
                    <a:lnTo>
                      <a:pt x="341" y="0"/>
                    </a:lnTo>
                    <a:lnTo>
                      <a:pt x="318" y="1"/>
                    </a:lnTo>
                    <a:lnTo>
                      <a:pt x="296" y="2"/>
                    </a:lnTo>
                    <a:lnTo>
                      <a:pt x="274" y="6"/>
                    </a:lnTo>
                    <a:lnTo>
                      <a:pt x="252" y="9"/>
                    </a:lnTo>
                    <a:lnTo>
                      <a:pt x="230" y="14"/>
                    </a:lnTo>
                    <a:lnTo>
                      <a:pt x="208" y="19"/>
                    </a:lnTo>
                    <a:lnTo>
                      <a:pt x="186" y="26"/>
                    </a:lnTo>
                    <a:lnTo>
                      <a:pt x="166" y="34"/>
                    </a:lnTo>
                    <a:lnTo>
                      <a:pt x="145" y="44"/>
                    </a:lnTo>
                    <a:lnTo>
                      <a:pt x="124" y="54"/>
                    </a:lnTo>
                    <a:lnTo>
                      <a:pt x="105" y="64"/>
                    </a:lnTo>
                    <a:lnTo>
                      <a:pt x="85" y="77"/>
                    </a:lnTo>
                    <a:lnTo>
                      <a:pt x="65" y="90"/>
                    </a:lnTo>
                    <a:lnTo>
                      <a:pt x="47" y="105"/>
                    </a:lnTo>
                    <a:lnTo>
                      <a:pt x="30" y="120"/>
                    </a:lnTo>
                    <a:lnTo>
                      <a:pt x="12" y="137"/>
                    </a:lnTo>
                    <a:lnTo>
                      <a:pt x="12" y="137"/>
                    </a:lnTo>
                    <a:lnTo>
                      <a:pt x="6" y="143"/>
                    </a:lnTo>
                    <a:lnTo>
                      <a:pt x="3" y="150"/>
                    </a:lnTo>
                    <a:lnTo>
                      <a:pt x="1" y="158"/>
                    </a:lnTo>
                    <a:lnTo>
                      <a:pt x="0" y="166"/>
                    </a:lnTo>
                    <a:lnTo>
                      <a:pt x="1" y="174"/>
                    </a:lnTo>
                    <a:lnTo>
                      <a:pt x="3" y="182"/>
                    </a:lnTo>
                    <a:lnTo>
                      <a:pt x="6" y="189"/>
                    </a:lnTo>
                    <a:lnTo>
                      <a:pt x="12" y="196"/>
                    </a:lnTo>
                    <a:lnTo>
                      <a:pt x="12" y="196"/>
                    </a:lnTo>
                    <a:lnTo>
                      <a:pt x="18" y="201"/>
                    </a:lnTo>
                    <a:lnTo>
                      <a:pt x="26" y="205"/>
                    </a:lnTo>
                    <a:lnTo>
                      <a:pt x="33" y="208"/>
                    </a:lnTo>
                    <a:lnTo>
                      <a:pt x="41" y="208"/>
                    </a:lnTo>
                    <a:lnTo>
                      <a:pt x="41" y="208"/>
                    </a:lnTo>
                    <a:lnTo>
                      <a:pt x="49" y="208"/>
                    </a:lnTo>
                    <a:lnTo>
                      <a:pt x="57" y="205"/>
                    </a:lnTo>
                    <a:lnTo>
                      <a:pt x="64" y="201"/>
                    </a:lnTo>
                    <a:lnTo>
                      <a:pt x="71" y="196"/>
                    </a:lnTo>
                    <a:lnTo>
                      <a:pt x="71" y="196"/>
                    </a:lnTo>
                    <a:lnTo>
                      <a:pt x="85" y="182"/>
                    </a:lnTo>
                    <a:lnTo>
                      <a:pt x="100" y="169"/>
                    </a:lnTo>
                    <a:lnTo>
                      <a:pt x="115" y="158"/>
                    </a:lnTo>
                    <a:lnTo>
                      <a:pt x="131" y="146"/>
                    </a:lnTo>
                    <a:lnTo>
                      <a:pt x="147" y="136"/>
                    </a:lnTo>
                    <a:lnTo>
                      <a:pt x="163" y="128"/>
                    </a:lnTo>
                    <a:lnTo>
                      <a:pt x="181" y="119"/>
                    </a:lnTo>
                    <a:lnTo>
                      <a:pt x="197" y="112"/>
                    </a:lnTo>
                    <a:lnTo>
                      <a:pt x="214" y="105"/>
                    </a:lnTo>
                    <a:lnTo>
                      <a:pt x="233" y="99"/>
                    </a:lnTo>
                    <a:lnTo>
                      <a:pt x="250" y="94"/>
                    </a:lnTo>
                    <a:lnTo>
                      <a:pt x="268" y="91"/>
                    </a:lnTo>
                    <a:lnTo>
                      <a:pt x="286" y="88"/>
                    </a:lnTo>
                    <a:lnTo>
                      <a:pt x="304" y="85"/>
                    </a:lnTo>
                    <a:lnTo>
                      <a:pt x="323" y="84"/>
                    </a:lnTo>
                    <a:lnTo>
                      <a:pt x="341" y="84"/>
                    </a:lnTo>
                    <a:lnTo>
                      <a:pt x="341" y="84"/>
                    </a:lnTo>
                    <a:lnTo>
                      <a:pt x="360" y="84"/>
                    </a:lnTo>
                    <a:lnTo>
                      <a:pt x="378" y="85"/>
                    </a:lnTo>
                    <a:lnTo>
                      <a:pt x="395" y="88"/>
                    </a:lnTo>
                    <a:lnTo>
                      <a:pt x="414" y="91"/>
                    </a:lnTo>
                    <a:lnTo>
                      <a:pt x="432" y="94"/>
                    </a:lnTo>
                    <a:lnTo>
                      <a:pt x="450" y="99"/>
                    </a:lnTo>
                    <a:lnTo>
                      <a:pt x="467" y="105"/>
                    </a:lnTo>
                    <a:lnTo>
                      <a:pt x="484" y="112"/>
                    </a:lnTo>
                    <a:lnTo>
                      <a:pt x="501" y="119"/>
                    </a:lnTo>
                    <a:lnTo>
                      <a:pt x="519" y="128"/>
                    </a:lnTo>
                    <a:lnTo>
                      <a:pt x="535" y="136"/>
                    </a:lnTo>
                    <a:lnTo>
                      <a:pt x="551" y="146"/>
                    </a:lnTo>
                    <a:lnTo>
                      <a:pt x="566" y="158"/>
                    </a:lnTo>
                    <a:lnTo>
                      <a:pt x="581" y="169"/>
                    </a:lnTo>
                    <a:lnTo>
                      <a:pt x="596" y="182"/>
                    </a:lnTo>
                    <a:lnTo>
                      <a:pt x="611" y="196"/>
                    </a:lnTo>
                    <a:lnTo>
                      <a:pt x="611" y="196"/>
                    </a:lnTo>
                    <a:lnTo>
                      <a:pt x="617" y="201"/>
                    </a:lnTo>
                    <a:lnTo>
                      <a:pt x="625" y="205"/>
                    </a:lnTo>
                    <a:lnTo>
                      <a:pt x="632" y="208"/>
                    </a:lnTo>
                    <a:lnTo>
                      <a:pt x="640" y="208"/>
                    </a:lnTo>
                    <a:lnTo>
                      <a:pt x="648" y="208"/>
                    </a:lnTo>
                    <a:lnTo>
                      <a:pt x="656" y="205"/>
                    </a:lnTo>
                    <a:lnTo>
                      <a:pt x="663" y="201"/>
                    </a:lnTo>
                    <a:lnTo>
                      <a:pt x="670" y="196"/>
                    </a:lnTo>
                    <a:lnTo>
                      <a:pt x="670" y="196"/>
                    </a:lnTo>
                    <a:lnTo>
                      <a:pt x="675" y="189"/>
                    </a:lnTo>
                    <a:lnTo>
                      <a:pt x="679" y="182"/>
                    </a:lnTo>
                    <a:lnTo>
                      <a:pt x="682" y="174"/>
                    </a:lnTo>
                    <a:lnTo>
                      <a:pt x="682" y="166"/>
                    </a:lnTo>
                    <a:lnTo>
                      <a:pt x="682" y="158"/>
                    </a:lnTo>
                    <a:lnTo>
                      <a:pt x="679" y="150"/>
                    </a:lnTo>
                    <a:lnTo>
                      <a:pt x="675" y="143"/>
                    </a:lnTo>
                    <a:lnTo>
                      <a:pt x="670" y="137"/>
                    </a:lnTo>
                    <a:lnTo>
                      <a:pt x="670" y="137"/>
                    </a:lnTo>
                    <a:lnTo>
                      <a:pt x="653" y="120"/>
                    </a:lnTo>
                    <a:lnTo>
                      <a:pt x="634" y="105"/>
                    </a:lnTo>
                    <a:lnTo>
                      <a:pt x="616" y="90"/>
                    </a:lnTo>
                    <a:lnTo>
                      <a:pt x="597" y="77"/>
                    </a:lnTo>
                    <a:lnTo>
                      <a:pt x="578" y="64"/>
                    </a:lnTo>
                    <a:lnTo>
                      <a:pt x="557" y="54"/>
                    </a:lnTo>
                    <a:lnTo>
                      <a:pt x="536" y="44"/>
                    </a:lnTo>
                    <a:lnTo>
                      <a:pt x="515" y="34"/>
                    </a:lnTo>
                    <a:lnTo>
                      <a:pt x="495" y="26"/>
                    </a:lnTo>
                    <a:lnTo>
                      <a:pt x="473" y="19"/>
                    </a:lnTo>
                    <a:lnTo>
                      <a:pt x="452" y="14"/>
                    </a:lnTo>
                    <a:lnTo>
                      <a:pt x="430" y="9"/>
                    </a:lnTo>
                    <a:lnTo>
                      <a:pt x="408" y="6"/>
                    </a:lnTo>
                    <a:lnTo>
                      <a:pt x="385" y="2"/>
                    </a:lnTo>
                    <a:lnTo>
                      <a:pt x="363" y="1"/>
                    </a:lnTo>
                    <a:lnTo>
                      <a:pt x="341" y="0"/>
                    </a:lnTo>
                    <a:lnTo>
                      <a:pt x="341"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Arial"/>
                  <a:ea typeface="ＭＳ Ｐゴシック" charset="0"/>
                  <a:cs typeface="+mn-cs"/>
                </a:endParaRPr>
              </a:p>
            </p:txBody>
          </p:sp>
          <p:sp>
            <p:nvSpPr>
              <p:cNvPr id="830" name="Freeform 179">
                <a:extLst>
                  <a:ext uri="{FF2B5EF4-FFF2-40B4-BE49-F238E27FC236}">
                    <a16:creationId xmlns:a16="http://schemas.microsoft.com/office/drawing/2014/main" id="{49356A3D-F610-4767-8800-25C8E05D13B5}"/>
                  </a:ext>
                </a:extLst>
              </p:cNvPr>
              <p:cNvSpPr>
                <a:spLocks/>
              </p:cNvSpPr>
              <p:nvPr/>
            </p:nvSpPr>
            <p:spPr bwMode="auto">
              <a:xfrm>
                <a:off x="5121843" y="3876582"/>
                <a:ext cx="437148" cy="125299"/>
              </a:xfrm>
              <a:custGeom>
                <a:avLst/>
                <a:gdLst>
                  <a:gd name="T0" fmla="*/ 495 w 946"/>
                  <a:gd name="T1" fmla="*/ 0 h 270"/>
                  <a:gd name="T2" fmla="*/ 430 w 946"/>
                  <a:gd name="T3" fmla="*/ 3 h 270"/>
                  <a:gd name="T4" fmla="*/ 366 w 946"/>
                  <a:gd name="T5" fmla="*/ 13 h 270"/>
                  <a:gd name="T6" fmla="*/ 303 w 946"/>
                  <a:gd name="T7" fmla="*/ 28 h 270"/>
                  <a:gd name="T8" fmla="*/ 241 w 946"/>
                  <a:gd name="T9" fmla="*/ 50 h 270"/>
                  <a:gd name="T10" fmla="*/ 180 w 946"/>
                  <a:gd name="T11" fmla="*/ 77 h 270"/>
                  <a:gd name="T12" fmla="*/ 121 w 946"/>
                  <a:gd name="T13" fmla="*/ 112 h 270"/>
                  <a:gd name="T14" fmla="*/ 65 w 946"/>
                  <a:gd name="T15" fmla="*/ 152 h 270"/>
                  <a:gd name="T16" fmla="*/ 12 w 946"/>
                  <a:gd name="T17" fmla="*/ 198 h 270"/>
                  <a:gd name="T18" fmla="*/ 6 w 946"/>
                  <a:gd name="T19" fmla="*/ 204 h 270"/>
                  <a:gd name="T20" fmla="*/ 1 w 946"/>
                  <a:gd name="T21" fmla="*/ 219 h 270"/>
                  <a:gd name="T22" fmla="*/ 0 w 946"/>
                  <a:gd name="T23" fmla="*/ 235 h 270"/>
                  <a:gd name="T24" fmla="*/ 5 w 946"/>
                  <a:gd name="T25" fmla="*/ 250 h 270"/>
                  <a:gd name="T26" fmla="*/ 11 w 946"/>
                  <a:gd name="T27" fmla="*/ 257 h 270"/>
                  <a:gd name="T28" fmla="*/ 25 w 946"/>
                  <a:gd name="T29" fmla="*/ 266 h 270"/>
                  <a:gd name="T30" fmla="*/ 41 w 946"/>
                  <a:gd name="T31" fmla="*/ 270 h 270"/>
                  <a:gd name="T32" fmla="*/ 49 w 946"/>
                  <a:gd name="T33" fmla="*/ 269 h 270"/>
                  <a:gd name="T34" fmla="*/ 64 w 946"/>
                  <a:gd name="T35" fmla="*/ 263 h 270"/>
                  <a:gd name="T36" fmla="*/ 70 w 946"/>
                  <a:gd name="T37" fmla="*/ 258 h 270"/>
                  <a:gd name="T38" fmla="*/ 117 w 946"/>
                  <a:gd name="T39" fmla="*/ 217 h 270"/>
                  <a:gd name="T40" fmla="*/ 167 w 946"/>
                  <a:gd name="T41" fmla="*/ 182 h 270"/>
                  <a:gd name="T42" fmla="*/ 218 w 946"/>
                  <a:gd name="T43" fmla="*/ 152 h 270"/>
                  <a:gd name="T44" fmla="*/ 272 w 946"/>
                  <a:gd name="T45" fmla="*/ 127 h 270"/>
                  <a:gd name="T46" fmla="*/ 326 w 946"/>
                  <a:gd name="T47" fmla="*/ 108 h 270"/>
                  <a:gd name="T48" fmla="*/ 381 w 946"/>
                  <a:gd name="T49" fmla="*/ 95 h 270"/>
                  <a:gd name="T50" fmla="*/ 438 w 946"/>
                  <a:gd name="T51" fmla="*/ 86 h 270"/>
                  <a:gd name="T52" fmla="*/ 495 w 946"/>
                  <a:gd name="T53" fmla="*/ 83 h 270"/>
                  <a:gd name="T54" fmla="*/ 521 w 946"/>
                  <a:gd name="T55" fmla="*/ 84 h 270"/>
                  <a:gd name="T56" fmla="*/ 573 w 946"/>
                  <a:gd name="T57" fmla="*/ 89 h 270"/>
                  <a:gd name="T58" fmla="*/ 625 w 946"/>
                  <a:gd name="T59" fmla="*/ 99 h 270"/>
                  <a:gd name="T60" fmla="*/ 675 w 946"/>
                  <a:gd name="T61" fmla="*/ 114 h 270"/>
                  <a:gd name="T62" fmla="*/ 723 w 946"/>
                  <a:gd name="T63" fmla="*/ 134 h 270"/>
                  <a:gd name="T64" fmla="*/ 769 w 946"/>
                  <a:gd name="T65" fmla="*/ 158 h 270"/>
                  <a:gd name="T66" fmla="*/ 813 w 946"/>
                  <a:gd name="T67" fmla="*/ 188 h 270"/>
                  <a:gd name="T68" fmla="*/ 855 w 946"/>
                  <a:gd name="T69" fmla="*/ 223 h 270"/>
                  <a:gd name="T70" fmla="*/ 874 w 946"/>
                  <a:gd name="T71" fmla="*/ 241 h 270"/>
                  <a:gd name="T72" fmla="*/ 888 w 946"/>
                  <a:gd name="T73" fmla="*/ 250 h 270"/>
                  <a:gd name="T74" fmla="*/ 903 w 946"/>
                  <a:gd name="T75" fmla="*/ 254 h 270"/>
                  <a:gd name="T76" fmla="*/ 919 w 946"/>
                  <a:gd name="T77" fmla="*/ 251 h 270"/>
                  <a:gd name="T78" fmla="*/ 933 w 946"/>
                  <a:gd name="T79" fmla="*/ 242 h 270"/>
                  <a:gd name="T80" fmla="*/ 939 w 946"/>
                  <a:gd name="T81" fmla="*/ 236 h 270"/>
                  <a:gd name="T82" fmla="*/ 945 w 946"/>
                  <a:gd name="T83" fmla="*/ 221 h 270"/>
                  <a:gd name="T84" fmla="*/ 946 w 946"/>
                  <a:gd name="T85" fmla="*/ 205 h 270"/>
                  <a:gd name="T86" fmla="*/ 939 w 946"/>
                  <a:gd name="T87" fmla="*/ 190 h 270"/>
                  <a:gd name="T88" fmla="*/ 934 w 946"/>
                  <a:gd name="T89" fmla="*/ 183 h 270"/>
                  <a:gd name="T90" fmla="*/ 888 w 946"/>
                  <a:gd name="T91" fmla="*/ 141 h 270"/>
                  <a:gd name="T92" fmla="*/ 838 w 946"/>
                  <a:gd name="T93" fmla="*/ 103 h 270"/>
                  <a:gd name="T94" fmla="*/ 787 w 946"/>
                  <a:gd name="T95" fmla="*/ 71 h 270"/>
                  <a:gd name="T96" fmla="*/ 731 w 946"/>
                  <a:gd name="T97" fmla="*/ 46 h 270"/>
                  <a:gd name="T98" fmla="*/ 673 w 946"/>
                  <a:gd name="T99" fmla="*/ 25 h 270"/>
                  <a:gd name="T100" fmla="*/ 615 w 946"/>
                  <a:gd name="T101" fmla="*/ 11 h 270"/>
                  <a:gd name="T102" fmla="*/ 555 w 946"/>
                  <a:gd name="T103" fmla="*/ 3 h 270"/>
                  <a:gd name="T104" fmla="*/ 495 w 946"/>
                  <a:gd name="T10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6" h="270">
                    <a:moveTo>
                      <a:pt x="495" y="0"/>
                    </a:moveTo>
                    <a:lnTo>
                      <a:pt x="495" y="0"/>
                    </a:lnTo>
                    <a:lnTo>
                      <a:pt x="462" y="1"/>
                    </a:lnTo>
                    <a:lnTo>
                      <a:pt x="430" y="3"/>
                    </a:lnTo>
                    <a:lnTo>
                      <a:pt x="398" y="7"/>
                    </a:lnTo>
                    <a:lnTo>
                      <a:pt x="366" y="13"/>
                    </a:lnTo>
                    <a:lnTo>
                      <a:pt x="334" y="20"/>
                    </a:lnTo>
                    <a:lnTo>
                      <a:pt x="303" y="28"/>
                    </a:lnTo>
                    <a:lnTo>
                      <a:pt x="272" y="38"/>
                    </a:lnTo>
                    <a:lnTo>
                      <a:pt x="241" y="50"/>
                    </a:lnTo>
                    <a:lnTo>
                      <a:pt x="210" y="63"/>
                    </a:lnTo>
                    <a:lnTo>
                      <a:pt x="180" y="77"/>
                    </a:lnTo>
                    <a:lnTo>
                      <a:pt x="151" y="95"/>
                    </a:lnTo>
                    <a:lnTo>
                      <a:pt x="121" y="112"/>
                    </a:lnTo>
                    <a:lnTo>
                      <a:pt x="93" y="131"/>
                    </a:lnTo>
                    <a:lnTo>
                      <a:pt x="65" y="152"/>
                    </a:lnTo>
                    <a:lnTo>
                      <a:pt x="39" y="174"/>
                    </a:lnTo>
                    <a:lnTo>
                      <a:pt x="12" y="198"/>
                    </a:lnTo>
                    <a:lnTo>
                      <a:pt x="12" y="198"/>
                    </a:lnTo>
                    <a:lnTo>
                      <a:pt x="6" y="204"/>
                    </a:lnTo>
                    <a:lnTo>
                      <a:pt x="3" y="212"/>
                    </a:lnTo>
                    <a:lnTo>
                      <a:pt x="1" y="219"/>
                    </a:lnTo>
                    <a:lnTo>
                      <a:pt x="0" y="227"/>
                    </a:lnTo>
                    <a:lnTo>
                      <a:pt x="0" y="235"/>
                    </a:lnTo>
                    <a:lnTo>
                      <a:pt x="2" y="243"/>
                    </a:lnTo>
                    <a:lnTo>
                      <a:pt x="5" y="250"/>
                    </a:lnTo>
                    <a:lnTo>
                      <a:pt x="11" y="257"/>
                    </a:lnTo>
                    <a:lnTo>
                      <a:pt x="11" y="257"/>
                    </a:lnTo>
                    <a:lnTo>
                      <a:pt x="18" y="263"/>
                    </a:lnTo>
                    <a:lnTo>
                      <a:pt x="25" y="266"/>
                    </a:lnTo>
                    <a:lnTo>
                      <a:pt x="33" y="269"/>
                    </a:lnTo>
                    <a:lnTo>
                      <a:pt x="41" y="270"/>
                    </a:lnTo>
                    <a:lnTo>
                      <a:pt x="41" y="270"/>
                    </a:lnTo>
                    <a:lnTo>
                      <a:pt x="49" y="269"/>
                    </a:lnTo>
                    <a:lnTo>
                      <a:pt x="56" y="266"/>
                    </a:lnTo>
                    <a:lnTo>
                      <a:pt x="64" y="263"/>
                    </a:lnTo>
                    <a:lnTo>
                      <a:pt x="70" y="258"/>
                    </a:lnTo>
                    <a:lnTo>
                      <a:pt x="70" y="258"/>
                    </a:lnTo>
                    <a:lnTo>
                      <a:pt x="93" y="238"/>
                    </a:lnTo>
                    <a:lnTo>
                      <a:pt x="117" y="217"/>
                    </a:lnTo>
                    <a:lnTo>
                      <a:pt x="141" y="198"/>
                    </a:lnTo>
                    <a:lnTo>
                      <a:pt x="167" y="182"/>
                    </a:lnTo>
                    <a:lnTo>
                      <a:pt x="192" y="166"/>
                    </a:lnTo>
                    <a:lnTo>
                      <a:pt x="218" y="152"/>
                    </a:lnTo>
                    <a:lnTo>
                      <a:pt x="244" y="138"/>
                    </a:lnTo>
                    <a:lnTo>
                      <a:pt x="272" y="127"/>
                    </a:lnTo>
                    <a:lnTo>
                      <a:pt x="298" y="116"/>
                    </a:lnTo>
                    <a:lnTo>
                      <a:pt x="326" y="108"/>
                    </a:lnTo>
                    <a:lnTo>
                      <a:pt x="354" y="100"/>
                    </a:lnTo>
                    <a:lnTo>
                      <a:pt x="381" y="95"/>
                    </a:lnTo>
                    <a:lnTo>
                      <a:pt x="410" y="90"/>
                    </a:lnTo>
                    <a:lnTo>
                      <a:pt x="438" y="86"/>
                    </a:lnTo>
                    <a:lnTo>
                      <a:pt x="466" y="84"/>
                    </a:lnTo>
                    <a:lnTo>
                      <a:pt x="495" y="83"/>
                    </a:lnTo>
                    <a:lnTo>
                      <a:pt x="495" y="83"/>
                    </a:lnTo>
                    <a:lnTo>
                      <a:pt x="521" y="84"/>
                    </a:lnTo>
                    <a:lnTo>
                      <a:pt x="546" y="86"/>
                    </a:lnTo>
                    <a:lnTo>
                      <a:pt x="573" y="89"/>
                    </a:lnTo>
                    <a:lnTo>
                      <a:pt x="600" y="93"/>
                    </a:lnTo>
                    <a:lnTo>
                      <a:pt x="625" y="99"/>
                    </a:lnTo>
                    <a:lnTo>
                      <a:pt x="650" y="106"/>
                    </a:lnTo>
                    <a:lnTo>
                      <a:pt x="675" y="114"/>
                    </a:lnTo>
                    <a:lnTo>
                      <a:pt x="699" y="123"/>
                    </a:lnTo>
                    <a:lnTo>
                      <a:pt x="723" y="134"/>
                    </a:lnTo>
                    <a:lnTo>
                      <a:pt x="746" y="145"/>
                    </a:lnTo>
                    <a:lnTo>
                      <a:pt x="769" y="158"/>
                    </a:lnTo>
                    <a:lnTo>
                      <a:pt x="792" y="172"/>
                    </a:lnTo>
                    <a:lnTo>
                      <a:pt x="813" y="188"/>
                    </a:lnTo>
                    <a:lnTo>
                      <a:pt x="835" y="204"/>
                    </a:lnTo>
                    <a:lnTo>
                      <a:pt x="855" y="223"/>
                    </a:lnTo>
                    <a:lnTo>
                      <a:pt x="874" y="241"/>
                    </a:lnTo>
                    <a:lnTo>
                      <a:pt x="874" y="241"/>
                    </a:lnTo>
                    <a:lnTo>
                      <a:pt x="880" y="247"/>
                    </a:lnTo>
                    <a:lnTo>
                      <a:pt x="888" y="250"/>
                    </a:lnTo>
                    <a:lnTo>
                      <a:pt x="895" y="254"/>
                    </a:lnTo>
                    <a:lnTo>
                      <a:pt x="903" y="254"/>
                    </a:lnTo>
                    <a:lnTo>
                      <a:pt x="911" y="254"/>
                    </a:lnTo>
                    <a:lnTo>
                      <a:pt x="919" y="251"/>
                    </a:lnTo>
                    <a:lnTo>
                      <a:pt x="926" y="248"/>
                    </a:lnTo>
                    <a:lnTo>
                      <a:pt x="933" y="242"/>
                    </a:lnTo>
                    <a:lnTo>
                      <a:pt x="933" y="242"/>
                    </a:lnTo>
                    <a:lnTo>
                      <a:pt x="939" y="236"/>
                    </a:lnTo>
                    <a:lnTo>
                      <a:pt x="942" y="230"/>
                    </a:lnTo>
                    <a:lnTo>
                      <a:pt x="945" y="221"/>
                    </a:lnTo>
                    <a:lnTo>
                      <a:pt x="946" y="213"/>
                    </a:lnTo>
                    <a:lnTo>
                      <a:pt x="946" y="205"/>
                    </a:lnTo>
                    <a:lnTo>
                      <a:pt x="943" y="197"/>
                    </a:lnTo>
                    <a:lnTo>
                      <a:pt x="939" y="190"/>
                    </a:lnTo>
                    <a:lnTo>
                      <a:pt x="934" y="183"/>
                    </a:lnTo>
                    <a:lnTo>
                      <a:pt x="934" y="183"/>
                    </a:lnTo>
                    <a:lnTo>
                      <a:pt x="911" y="161"/>
                    </a:lnTo>
                    <a:lnTo>
                      <a:pt x="888" y="141"/>
                    </a:lnTo>
                    <a:lnTo>
                      <a:pt x="864" y="121"/>
                    </a:lnTo>
                    <a:lnTo>
                      <a:pt x="838" y="103"/>
                    </a:lnTo>
                    <a:lnTo>
                      <a:pt x="813" y="86"/>
                    </a:lnTo>
                    <a:lnTo>
                      <a:pt x="787" y="71"/>
                    </a:lnTo>
                    <a:lnTo>
                      <a:pt x="759" y="58"/>
                    </a:lnTo>
                    <a:lnTo>
                      <a:pt x="731" y="46"/>
                    </a:lnTo>
                    <a:lnTo>
                      <a:pt x="702" y="35"/>
                    </a:lnTo>
                    <a:lnTo>
                      <a:pt x="673" y="25"/>
                    </a:lnTo>
                    <a:lnTo>
                      <a:pt x="645" y="18"/>
                    </a:lnTo>
                    <a:lnTo>
                      <a:pt x="615" y="11"/>
                    </a:lnTo>
                    <a:lnTo>
                      <a:pt x="585" y="7"/>
                    </a:lnTo>
                    <a:lnTo>
                      <a:pt x="555" y="3"/>
                    </a:lnTo>
                    <a:lnTo>
                      <a:pt x="525" y="1"/>
                    </a:lnTo>
                    <a:lnTo>
                      <a:pt x="495" y="0"/>
                    </a:lnTo>
                    <a:lnTo>
                      <a:pt x="495"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Arial"/>
                  <a:ea typeface="ＭＳ Ｐゴシック" charset="0"/>
                  <a:cs typeface="+mn-cs"/>
                </a:endParaRPr>
              </a:p>
            </p:txBody>
          </p:sp>
        </p:grpSp>
      </p:grpSp>
      <p:grpSp>
        <p:nvGrpSpPr>
          <p:cNvPr id="839" name="Group 838">
            <a:extLst>
              <a:ext uri="{FF2B5EF4-FFF2-40B4-BE49-F238E27FC236}">
                <a16:creationId xmlns:a16="http://schemas.microsoft.com/office/drawing/2014/main" id="{9511F6F4-3BFB-4066-89DD-E37FD8B00101}"/>
              </a:ext>
            </a:extLst>
          </p:cNvPr>
          <p:cNvGrpSpPr/>
          <p:nvPr/>
        </p:nvGrpSpPr>
        <p:grpSpPr>
          <a:xfrm>
            <a:off x="2837840" y="2256210"/>
            <a:ext cx="347643" cy="348045"/>
            <a:chOff x="4814888" y="2215702"/>
            <a:chExt cx="548006" cy="548640"/>
          </a:xfrm>
        </p:grpSpPr>
        <p:sp>
          <p:nvSpPr>
            <p:cNvPr id="840" name="Freeform 5">
              <a:extLst>
                <a:ext uri="{FF2B5EF4-FFF2-40B4-BE49-F238E27FC236}">
                  <a16:creationId xmlns:a16="http://schemas.microsoft.com/office/drawing/2014/main" id="{F98475DE-198F-4525-8D95-D0D2B4FE98F4}"/>
                </a:ext>
              </a:extLst>
            </p:cNvPr>
            <p:cNvSpPr>
              <a:spLocks/>
            </p:cNvSpPr>
            <p:nvPr/>
          </p:nvSpPr>
          <p:spPr bwMode="auto">
            <a:xfrm>
              <a:off x="4814888" y="2215702"/>
              <a:ext cx="548006" cy="54864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rgbClr val="E9E9E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41" name="Freeform 6">
              <a:extLst>
                <a:ext uri="{FF2B5EF4-FFF2-40B4-BE49-F238E27FC236}">
                  <a16:creationId xmlns:a16="http://schemas.microsoft.com/office/drawing/2014/main" id="{18B451D0-94CA-42AF-9EFD-59DB5BDF1148}"/>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42" name="Freeform 7">
              <a:extLst>
                <a:ext uri="{FF2B5EF4-FFF2-40B4-BE49-F238E27FC236}">
                  <a16:creationId xmlns:a16="http://schemas.microsoft.com/office/drawing/2014/main" id="{E7F03182-EBC3-49F3-96E1-75813ABFA60E}"/>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43" name="Freeform 8">
              <a:extLst>
                <a:ext uri="{FF2B5EF4-FFF2-40B4-BE49-F238E27FC236}">
                  <a16:creationId xmlns:a16="http://schemas.microsoft.com/office/drawing/2014/main" id="{C9200890-EEE8-4CA7-B655-5773366EE93E}"/>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70"/>
                    <a:pt x="69" y="0"/>
                    <a:pt x="154" y="0"/>
                  </a:cubicBezTo>
                  <a:lnTo>
                    <a:pt x="1195" y="0"/>
                  </a:lnTo>
                  <a:cubicBezTo>
                    <a:pt x="1281" y="0"/>
                    <a:pt x="1350" y="70"/>
                    <a:pt x="1350" y="156"/>
                  </a:cubicBezTo>
                  <a:lnTo>
                    <a:pt x="1350" y="572"/>
                  </a:lnTo>
                  <a:cubicBezTo>
                    <a:pt x="1350" y="658"/>
                    <a:pt x="1281" y="728"/>
                    <a:pt x="1195" y="728"/>
                  </a:cubicBezTo>
                  <a:lnTo>
                    <a:pt x="154" y="728"/>
                  </a:lnTo>
                  <a:cubicBezTo>
                    <a:pt x="69" y="728"/>
                    <a:pt x="0" y="658"/>
                    <a:pt x="0" y="572"/>
                  </a:cubicBezTo>
                  <a:lnTo>
                    <a:pt x="0" y="156"/>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44" name="Freeform 9">
              <a:extLst>
                <a:ext uri="{FF2B5EF4-FFF2-40B4-BE49-F238E27FC236}">
                  <a16:creationId xmlns:a16="http://schemas.microsoft.com/office/drawing/2014/main" id="{32A5C111-485E-4CE7-8770-0E3CFFFF5B76}"/>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69"/>
                    <a:pt x="69" y="0"/>
                    <a:pt x="154" y="0"/>
                  </a:cubicBezTo>
                  <a:lnTo>
                    <a:pt x="1195" y="0"/>
                  </a:lnTo>
                  <a:cubicBezTo>
                    <a:pt x="1281" y="0"/>
                    <a:pt x="1350" y="69"/>
                    <a:pt x="1350" y="156"/>
                  </a:cubicBezTo>
                  <a:lnTo>
                    <a:pt x="1350" y="572"/>
                  </a:lnTo>
                  <a:cubicBezTo>
                    <a:pt x="1350" y="658"/>
                    <a:pt x="1281" y="728"/>
                    <a:pt x="1195" y="728"/>
                  </a:cubicBezTo>
                  <a:lnTo>
                    <a:pt x="154" y="728"/>
                  </a:lnTo>
                  <a:cubicBezTo>
                    <a:pt x="69" y="728"/>
                    <a:pt x="0" y="658"/>
                    <a:pt x="0" y="572"/>
                  </a:cubicBezTo>
                  <a:lnTo>
                    <a:pt x="0" y="156"/>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45" name="Freeform 13">
              <a:extLst>
                <a:ext uri="{FF2B5EF4-FFF2-40B4-BE49-F238E27FC236}">
                  <a16:creationId xmlns:a16="http://schemas.microsoft.com/office/drawing/2014/main" id="{899FE3AF-5CED-48F9-BC9E-154E70283A0B}"/>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46" name="Freeform 14">
              <a:extLst>
                <a:ext uri="{FF2B5EF4-FFF2-40B4-BE49-F238E27FC236}">
                  <a16:creationId xmlns:a16="http://schemas.microsoft.com/office/drawing/2014/main" id="{BA099311-5E45-47FA-B181-A8511FF00BE1}"/>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47" name="Freeform 15">
              <a:extLst>
                <a:ext uri="{FF2B5EF4-FFF2-40B4-BE49-F238E27FC236}">
                  <a16:creationId xmlns:a16="http://schemas.microsoft.com/office/drawing/2014/main" id="{DE6D441B-9B5E-48A7-89EC-66300A72A3C7}"/>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48" name="Freeform 16">
              <a:extLst>
                <a:ext uri="{FF2B5EF4-FFF2-40B4-BE49-F238E27FC236}">
                  <a16:creationId xmlns:a16="http://schemas.microsoft.com/office/drawing/2014/main" id="{1A561BF1-C20F-4B0D-9463-A6B82E4D2701}"/>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49" name="Freeform 17">
              <a:extLst>
                <a:ext uri="{FF2B5EF4-FFF2-40B4-BE49-F238E27FC236}">
                  <a16:creationId xmlns:a16="http://schemas.microsoft.com/office/drawing/2014/main" id="{D63C4935-45EE-4A27-A64D-E8C15757F089}"/>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50" name="Freeform 18">
              <a:extLst>
                <a:ext uri="{FF2B5EF4-FFF2-40B4-BE49-F238E27FC236}">
                  <a16:creationId xmlns:a16="http://schemas.microsoft.com/office/drawing/2014/main" id="{23B5731E-124E-403F-96C8-12C3FDEA5BCD}"/>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51" name="Freeform 10">
              <a:extLst>
                <a:ext uri="{FF2B5EF4-FFF2-40B4-BE49-F238E27FC236}">
                  <a16:creationId xmlns:a16="http://schemas.microsoft.com/office/drawing/2014/main" id="{A627C794-CA82-46B4-A0B0-D89F6B8A336E}"/>
                </a:ext>
              </a:extLst>
            </p:cNvPr>
            <p:cNvSpPr>
              <a:spLocks/>
            </p:cNvSpPr>
            <p:nvPr/>
          </p:nvSpPr>
          <p:spPr bwMode="auto">
            <a:xfrm>
              <a:off x="5019974" y="2372635"/>
              <a:ext cx="304390" cy="205185"/>
            </a:xfrm>
            <a:custGeom>
              <a:avLst/>
              <a:gdLst>
                <a:gd name="T0" fmla="*/ 0 w 1048"/>
                <a:gd name="T1" fmla="*/ 82 h 705"/>
                <a:gd name="T2" fmla="*/ 0 w 1048"/>
                <a:gd name="T3" fmla="*/ 82 h 705"/>
                <a:gd name="T4" fmla="*/ 81 w 1048"/>
                <a:gd name="T5" fmla="*/ 0 h 705"/>
                <a:gd name="T6" fmla="*/ 967 w 1048"/>
                <a:gd name="T7" fmla="*/ 0 h 705"/>
                <a:gd name="T8" fmla="*/ 1048 w 1048"/>
                <a:gd name="T9" fmla="*/ 82 h 705"/>
                <a:gd name="T10" fmla="*/ 1048 w 1048"/>
                <a:gd name="T11" fmla="*/ 624 h 705"/>
                <a:gd name="T12" fmla="*/ 967 w 1048"/>
                <a:gd name="T13" fmla="*/ 705 h 705"/>
                <a:gd name="T14" fmla="*/ 81 w 1048"/>
                <a:gd name="T15" fmla="*/ 705 h 705"/>
                <a:gd name="T16" fmla="*/ 0 w 1048"/>
                <a:gd name="T17" fmla="*/ 624 h 705"/>
                <a:gd name="T18" fmla="*/ 0 w 1048"/>
                <a:gd name="T19"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705">
                  <a:moveTo>
                    <a:pt x="0" y="82"/>
                  </a:moveTo>
                  <a:lnTo>
                    <a:pt x="0" y="82"/>
                  </a:lnTo>
                  <a:cubicBezTo>
                    <a:pt x="0" y="37"/>
                    <a:pt x="36" y="0"/>
                    <a:pt x="81" y="0"/>
                  </a:cubicBezTo>
                  <a:lnTo>
                    <a:pt x="967" y="0"/>
                  </a:lnTo>
                  <a:cubicBezTo>
                    <a:pt x="1011" y="0"/>
                    <a:pt x="1048" y="37"/>
                    <a:pt x="1048" y="82"/>
                  </a:cubicBezTo>
                  <a:lnTo>
                    <a:pt x="1048" y="624"/>
                  </a:lnTo>
                  <a:cubicBezTo>
                    <a:pt x="1048" y="668"/>
                    <a:pt x="1011" y="705"/>
                    <a:pt x="967" y="705"/>
                  </a:cubicBezTo>
                  <a:lnTo>
                    <a:pt x="81" y="705"/>
                  </a:lnTo>
                  <a:cubicBezTo>
                    <a:pt x="36" y="705"/>
                    <a:pt x="0" y="668"/>
                    <a:pt x="0" y="624"/>
                  </a:cubicBezTo>
                  <a:lnTo>
                    <a:pt x="0" y="82"/>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52" name="Rectangle: Rounded Corners 851">
              <a:extLst>
                <a:ext uri="{FF2B5EF4-FFF2-40B4-BE49-F238E27FC236}">
                  <a16:creationId xmlns:a16="http://schemas.microsoft.com/office/drawing/2014/main" id="{B12A3C56-2E75-414C-A702-B44323EC8CED}"/>
                </a:ext>
              </a:extLst>
            </p:cNvPr>
            <p:cNvSpPr/>
            <p:nvPr/>
          </p:nvSpPr>
          <p:spPr>
            <a:xfrm>
              <a:off x="5098452" y="2601637"/>
              <a:ext cx="147435" cy="19155"/>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53" name="Rectangle: Rounded Corners 852">
              <a:extLst>
                <a:ext uri="{FF2B5EF4-FFF2-40B4-BE49-F238E27FC236}">
                  <a16:creationId xmlns:a16="http://schemas.microsoft.com/office/drawing/2014/main" id="{F3E0A37B-077B-49F2-9E84-63AEBF6EF390}"/>
                </a:ext>
              </a:extLst>
            </p:cNvPr>
            <p:cNvSpPr/>
            <p:nvPr/>
          </p:nvSpPr>
          <p:spPr>
            <a:xfrm>
              <a:off x="5146148" y="2581388"/>
              <a:ext cx="52042" cy="1668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54" name="Rectangle: Rounded Corners 853">
              <a:extLst>
                <a:ext uri="{FF2B5EF4-FFF2-40B4-BE49-F238E27FC236}">
                  <a16:creationId xmlns:a16="http://schemas.microsoft.com/office/drawing/2014/main" id="{445032FC-4B7A-45AD-BA69-D94ABD329B5E}"/>
                </a:ext>
              </a:extLst>
            </p:cNvPr>
            <p:cNvSpPr/>
            <p:nvPr/>
          </p:nvSpPr>
          <p:spPr>
            <a:xfrm>
              <a:off x="4881676" y="2620538"/>
              <a:ext cx="414429" cy="19155"/>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63" name="Group 62">
            <a:extLst>
              <a:ext uri="{FF2B5EF4-FFF2-40B4-BE49-F238E27FC236}">
                <a16:creationId xmlns:a16="http://schemas.microsoft.com/office/drawing/2014/main" id="{1EBF8AA0-CBE0-4CC7-B76A-17F472F2B8C9}"/>
              </a:ext>
            </a:extLst>
          </p:cNvPr>
          <p:cNvGrpSpPr/>
          <p:nvPr/>
        </p:nvGrpSpPr>
        <p:grpSpPr>
          <a:xfrm>
            <a:off x="3708937" y="1275145"/>
            <a:ext cx="250531" cy="250530"/>
            <a:chOff x="3901934" y="1227720"/>
            <a:chExt cx="265768" cy="265767"/>
          </a:xfrm>
        </p:grpSpPr>
        <p:sp>
          <p:nvSpPr>
            <p:cNvPr id="515" name="Oval 263">
              <a:extLst>
                <a:ext uri="{FF2B5EF4-FFF2-40B4-BE49-F238E27FC236}">
                  <a16:creationId xmlns:a16="http://schemas.microsoft.com/office/drawing/2014/main" id="{127491CC-A739-4DF5-987F-25CD84A2C0F5}"/>
                </a:ext>
              </a:extLst>
            </p:cNvPr>
            <p:cNvSpPr>
              <a:spLocks/>
            </p:cNvSpPr>
            <p:nvPr/>
          </p:nvSpPr>
          <p:spPr bwMode="auto">
            <a:xfrm>
              <a:off x="3901934" y="1227720"/>
              <a:ext cx="265768" cy="265767"/>
            </a:xfrm>
            <a:prstGeom prst="ellipse">
              <a:avLst/>
            </a:prstGeom>
            <a:solidFill>
              <a:schemeClr val="bg2">
                <a:lumMod val="95000"/>
              </a:schemeClr>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solidFill>
                <a:effectLst/>
                <a:uLnTx/>
                <a:uFillTx/>
                <a:latin typeface="Arial" panose="020B0604020202020204" pitchFamily="34" charset="0"/>
                <a:ea typeface="ＭＳ Ｐゴシック" charset="0"/>
                <a:cs typeface="Arial" panose="020B0604020202020204" pitchFamily="34" charset="0"/>
              </a:endParaRPr>
            </a:p>
          </p:txBody>
        </p:sp>
        <p:grpSp>
          <p:nvGrpSpPr>
            <p:cNvPr id="516" name="Group 515">
              <a:extLst>
                <a:ext uri="{FF2B5EF4-FFF2-40B4-BE49-F238E27FC236}">
                  <a16:creationId xmlns:a16="http://schemas.microsoft.com/office/drawing/2014/main" id="{DA3EA310-3E57-4E19-9F07-F20E504CAE35}"/>
                </a:ext>
              </a:extLst>
            </p:cNvPr>
            <p:cNvGrpSpPr/>
            <p:nvPr/>
          </p:nvGrpSpPr>
          <p:grpSpPr>
            <a:xfrm>
              <a:off x="3972310" y="1295424"/>
              <a:ext cx="125017" cy="130359"/>
              <a:chOff x="7014745" y="2607160"/>
              <a:chExt cx="327213" cy="300726"/>
            </a:xfrm>
            <a:solidFill>
              <a:srgbClr val="FBAB18"/>
            </a:solidFill>
          </p:grpSpPr>
          <p:grpSp>
            <p:nvGrpSpPr>
              <p:cNvPr id="518" name="Group 517">
                <a:extLst>
                  <a:ext uri="{FF2B5EF4-FFF2-40B4-BE49-F238E27FC236}">
                    <a16:creationId xmlns:a16="http://schemas.microsoft.com/office/drawing/2014/main" id="{597EFB4B-EE26-4216-87D8-4BE0F65262E1}"/>
                  </a:ext>
                </a:extLst>
              </p:cNvPr>
              <p:cNvGrpSpPr/>
              <p:nvPr/>
            </p:nvGrpSpPr>
            <p:grpSpPr>
              <a:xfrm>
                <a:off x="7064683" y="2607160"/>
                <a:ext cx="277275" cy="300726"/>
                <a:chOff x="-1599788" y="144780"/>
                <a:chExt cx="450850" cy="459376"/>
              </a:xfrm>
              <a:grpFill/>
            </p:grpSpPr>
            <p:sp>
              <p:nvSpPr>
                <p:cNvPr id="525" name="Rectangle: Rounded Corners 524">
                  <a:extLst>
                    <a:ext uri="{FF2B5EF4-FFF2-40B4-BE49-F238E27FC236}">
                      <a16:creationId xmlns:a16="http://schemas.microsoft.com/office/drawing/2014/main" id="{45E42AAF-C143-490C-B0F7-367DC4CC295C}"/>
                    </a:ext>
                  </a:extLst>
                </p:cNvPr>
                <p:cNvSpPr/>
                <p:nvPr/>
              </p:nvSpPr>
              <p:spPr>
                <a:xfrm>
                  <a:off x="-1599788" y="144780"/>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6" name="Rectangle: Rounded Corners 525">
                  <a:extLst>
                    <a:ext uri="{FF2B5EF4-FFF2-40B4-BE49-F238E27FC236}">
                      <a16:creationId xmlns:a16="http://schemas.microsoft.com/office/drawing/2014/main" id="{A439DC4C-4F64-4ACF-8FEA-416524391F5F}"/>
                    </a:ext>
                  </a:extLst>
                </p:cNvPr>
                <p:cNvSpPr/>
                <p:nvPr/>
              </p:nvSpPr>
              <p:spPr>
                <a:xfrm>
                  <a:off x="-1599788" y="558437"/>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7" name="Rectangle: Rounded Corners 526">
                  <a:extLst>
                    <a:ext uri="{FF2B5EF4-FFF2-40B4-BE49-F238E27FC236}">
                      <a16:creationId xmlns:a16="http://schemas.microsoft.com/office/drawing/2014/main" id="{BF4A4C4E-FC7B-4FE4-B6AF-7DF8B4F1023D}"/>
                    </a:ext>
                  </a:extLst>
                </p:cNvPr>
                <p:cNvSpPr/>
                <p:nvPr/>
              </p:nvSpPr>
              <p:spPr>
                <a:xfrm>
                  <a:off x="-1599788" y="351608"/>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8" name="Rectangle: Rounded Corners 527">
                  <a:extLst>
                    <a:ext uri="{FF2B5EF4-FFF2-40B4-BE49-F238E27FC236}">
                      <a16:creationId xmlns:a16="http://schemas.microsoft.com/office/drawing/2014/main" id="{DF1766BC-2707-44DC-95F2-1C60C97D85CF}"/>
                    </a:ext>
                  </a:extLst>
                </p:cNvPr>
                <p:cNvSpPr/>
                <p:nvPr/>
              </p:nvSpPr>
              <p:spPr>
                <a:xfrm>
                  <a:off x="-1599788" y="248194"/>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9" name="Rectangle: Rounded Corners 528">
                  <a:extLst>
                    <a:ext uri="{FF2B5EF4-FFF2-40B4-BE49-F238E27FC236}">
                      <a16:creationId xmlns:a16="http://schemas.microsoft.com/office/drawing/2014/main" id="{567E7E49-291C-4BB8-A714-F234E1577745}"/>
                    </a:ext>
                  </a:extLst>
                </p:cNvPr>
                <p:cNvSpPr/>
                <p:nvPr/>
              </p:nvSpPr>
              <p:spPr>
                <a:xfrm>
                  <a:off x="-1599788" y="455022"/>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519" name="Group 518">
                <a:extLst>
                  <a:ext uri="{FF2B5EF4-FFF2-40B4-BE49-F238E27FC236}">
                    <a16:creationId xmlns:a16="http://schemas.microsoft.com/office/drawing/2014/main" id="{4115DB78-5A30-47DB-84EA-D0A75331E228}"/>
                  </a:ext>
                </a:extLst>
              </p:cNvPr>
              <p:cNvGrpSpPr/>
              <p:nvPr/>
            </p:nvGrpSpPr>
            <p:grpSpPr>
              <a:xfrm>
                <a:off x="7014745" y="2607160"/>
                <a:ext cx="27432" cy="300726"/>
                <a:chOff x="-1599788" y="144780"/>
                <a:chExt cx="450850" cy="459376"/>
              </a:xfrm>
              <a:grpFill/>
            </p:grpSpPr>
            <p:sp>
              <p:nvSpPr>
                <p:cNvPr id="520" name="Rectangle: Rounded Corners 519">
                  <a:extLst>
                    <a:ext uri="{FF2B5EF4-FFF2-40B4-BE49-F238E27FC236}">
                      <a16:creationId xmlns:a16="http://schemas.microsoft.com/office/drawing/2014/main" id="{9959C77F-E4F0-4F77-9BDD-6031155956D1}"/>
                    </a:ext>
                  </a:extLst>
                </p:cNvPr>
                <p:cNvSpPr/>
                <p:nvPr/>
              </p:nvSpPr>
              <p:spPr>
                <a:xfrm>
                  <a:off x="-1599788" y="144780"/>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1" name="Rectangle: Rounded Corners 520">
                  <a:extLst>
                    <a:ext uri="{FF2B5EF4-FFF2-40B4-BE49-F238E27FC236}">
                      <a16:creationId xmlns:a16="http://schemas.microsoft.com/office/drawing/2014/main" id="{0B37854D-C7EC-4274-8B1A-F1957878FFBF}"/>
                    </a:ext>
                  </a:extLst>
                </p:cNvPr>
                <p:cNvSpPr/>
                <p:nvPr/>
              </p:nvSpPr>
              <p:spPr>
                <a:xfrm>
                  <a:off x="-1599788" y="558437"/>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2" name="Rectangle: Rounded Corners 521">
                  <a:extLst>
                    <a:ext uri="{FF2B5EF4-FFF2-40B4-BE49-F238E27FC236}">
                      <a16:creationId xmlns:a16="http://schemas.microsoft.com/office/drawing/2014/main" id="{C27CCDFB-77E1-42FD-BC66-0AFE965FDCCF}"/>
                    </a:ext>
                  </a:extLst>
                </p:cNvPr>
                <p:cNvSpPr/>
                <p:nvPr/>
              </p:nvSpPr>
              <p:spPr>
                <a:xfrm>
                  <a:off x="-1599788" y="351608"/>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3" name="Rectangle: Rounded Corners 522">
                  <a:extLst>
                    <a:ext uri="{FF2B5EF4-FFF2-40B4-BE49-F238E27FC236}">
                      <a16:creationId xmlns:a16="http://schemas.microsoft.com/office/drawing/2014/main" id="{0252AB36-1763-4BFB-BEC0-10DE99D95872}"/>
                    </a:ext>
                  </a:extLst>
                </p:cNvPr>
                <p:cNvSpPr/>
                <p:nvPr/>
              </p:nvSpPr>
              <p:spPr>
                <a:xfrm>
                  <a:off x="-1599788" y="248194"/>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4" name="Rectangle: Rounded Corners 523">
                  <a:extLst>
                    <a:ext uri="{FF2B5EF4-FFF2-40B4-BE49-F238E27FC236}">
                      <a16:creationId xmlns:a16="http://schemas.microsoft.com/office/drawing/2014/main" id="{0BBEFC6F-5024-4F7B-B93D-F3855CFA2100}"/>
                    </a:ext>
                  </a:extLst>
                </p:cNvPr>
                <p:cNvSpPr/>
                <p:nvPr/>
              </p:nvSpPr>
              <p:spPr>
                <a:xfrm>
                  <a:off x="-1599788" y="455022"/>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grpSp>
      <p:grpSp>
        <p:nvGrpSpPr>
          <p:cNvPr id="58" name="Group 57">
            <a:extLst>
              <a:ext uri="{FF2B5EF4-FFF2-40B4-BE49-F238E27FC236}">
                <a16:creationId xmlns:a16="http://schemas.microsoft.com/office/drawing/2014/main" id="{B216D9E3-A77D-4768-8D58-52293E2ED34B}"/>
              </a:ext>
            </a:extLst>
          </p:cNvPr>
          <p:cNvGrpSpPr/>
          <p:nvPr/>
        </p:nvGrpSpPr>
        <p:grpSpPr>
          <a:xfrm>
            <a:off x="6113268" y="2584663"/>
            <a:ext cx="250531" cy="250530"/>
            <a:chOff x="6469624" y="2639425"/>
            <a:chExt cx="265768" cy="265767"/>
          </a:xfrm>
        </p:grpSpPr>
        <p:sp>
          <p:nvSpPr>
            <p:cNvPr id="563" name="Oval 263">
              <a:extLst>
                <a:ext uri="{FF2B5EF4-FFF2-40B4-BE49-F238E27FC236}">
                  <a16:creationId xmlns:a16="http://schemas.microsoft.com/office/drawing/2014/main" id="{9C77678E-2345-43EA-98A6-647664439E72}"/>
                </a:ext>
              </a:extLst>
            </p:cNvPr>
            <p:cNvSpPr>
              <a:spLocks/>
            </p:cNvSpPr>
            <p:nvPr/>
          </p:nvSpPr>
          <p:spPr bwMode="auto">
            <a:xfrm>
              <a:off x="6469624" y="2639425"/>
              <a:ext cx="265768" cy="265767"/>
            </a:xfrm>
            <a:prstGeom prst="ellipse">
              <a:avLst/>
            </a:prstGeom>
            <a:solidFill>
              <a:schemeClr val="bg2">
                <a:lumMod val="95000"/>
              </a:schemeClr>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solidFill>
                <a:effectLst/>
                <a:uLnTx/>
                <a:uFillTx/>
                <a:latin typeface="Arial" panose="020B0604020202020204" pitchFamily="34" charset="0"/>
                <a:ea typeface="ＭＳ Ｐゴシック" charset="0"/>
                <a:cs typeface="Arial" panose="020B0604020202020204" pitchFamily="34" charset="0"/>
              </a:endParaRPr>
            </a:p>
          </p:txBody>
        </p:sp>
        <p:grpSp>
          <p:nvGrpSpPr>
            <p:cNvPr id="564" name="Group 563">
              <a:extLst>
                <a:ext uri="{FF2B5EF4-FFF2-40B4-BE49-F238E27FC236}">
                  <a16:creationId xmlns:a16="http://schemas.microsoft.com/office/drawing/2014/main" id="{52B2A960-4B29-4996-AFE1-011CB0871F01}"/>
                </a:ext>
              </a:extLst>
            </p:cNvPr>
            <p:cNvGrpSpPr/>
            <p:nvPr/>
          </p:nvGrpSpPr>
          <p:grpSpPr>
            <a:xfrm>
              <a:off x="6540000" y="2707129"/>
              <a:ext cx="125017" cy="130359"/>
              <a:chOff x="7014745" y="2607160"/>
              <a:chExt cx="327213" cy="300726"/>
            </a:xfrm>
            <a:solidFill>
              <a:srgbClr val="FBAB18"/>
            </a:solidFill>
          </p:grpSpPr>
          <p:grpSp>
            <p:nvGrpSpPr>
              <p:cNvPr id="566" name="Group 565">
                <a:extLst>
                  <a:ext uri="{FF2B5EF4-FFF2-40B4-BE49-F238E27FC236}">
                    <a16:creationId xmlns:a16="http://schemas.microsoft.com/office/drawing/2014/main" id="{0CC232C2-38DF-4721-AB13-E64C65721CCD}"/>
                  </a:ext>
                </a:extLst>
              </p:cNvPr>
              <p:cNvGrpSpPr/>
              <p:nvPr/>
            </p:nvGrpSpPr>
            <p:grpSpPr>
              <a:xfrm>
                <a:off x="7064683" y="2607160"/>
                <a:ext cx="277275" cy="300726"/>
                <a:chOff x="-1599788" y="144780"/>
                <a:chExt cx="450850" cy="459376"/>
              </a:xfrm>
              <a:grpFill/>
            </p:grpSpPr>
            <p:sp>
              <p:nvSpPr>
                <p:cNvPr id="573" name="Rectangle: Rounded Corners 572">
                  <a:extLst>
                    <a:ext uri="{FF2B5EF4-FFF2-40B4-BE49-F238E27FC236}">
                      <a16:creationId xmlns:a16="http://schemas.microsoft.com/office/drawing/2014/main" id="{BBA55FC6-6E79-4F46-9A53-26DAE9492AD3}"/>
                    </a:ext>
                  </a:extLst>
                </p:cNvPr>
                <p:cNvSpPr/>
                <p:nvPr/>
              </p:nvSpPr>
              <p:spPr>
                <a:xfrm>
                  <a:off x="-1599788" y="144780"/>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74" name="Rectangle: Rounded Corners 573">
                  <a:extLst>
                    <a:ext uri="{FF2B5EF4-FFF2-40B4-BE49-F238E27FC236}">
                      <a16:creationId xmlns:a16="http://schemas.microsoft.com/office/drawing/2014/main" id="{666A8817-5204-4B11-AEF4-02F1E51AA113}"/>
                    </a:ext>
                  </a:extLst>
                </p:cNvPr>
                <p:cNvSpPr/>
                <p:nvPr/>
              </p:nvSpPr>
              <p:spPr>
                <a:xfrm>
                  <a:off x="-1599788" y="558437"/>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75" name="Rectangle: Rounded Corners 574">
                  <a:extLst>
                    <a:ext uri="{FF2B5EF4-FFF2-40B4-BE49-F238E27FC236}">
                      <a16:creationId xmlns:a16="http://schemas.microsoft.com/office/drawing/2014/main" id="{6C1770E1-B837-49DA-9B04-8A6180455CAC}"/>
                    </a:ext>
                  </a:extLst>
                </p:cNvPr>
                <p:cNvSpPr/>
                <p:nvPr/>
              </p:nvSpPr>
              <p:spPr>
                <a:xfrm>
                  <a:off x="-1599788" y="351608"/>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76" name="Rectangle: Rounded Corners 575">
                  <a:extLst>
                    <a:ext uri="{FF2B5EF4-FFF2-40B4-BE49-F238E27FC236}">
                      <a16:creationId xmlns:a16="http://schemas.microsoft.com/office/drawing/2014/main" id="{8C8E26F0-8BEC-4692-9208-DF62545C031B}"/>
                    </a:ext>
                  </a:extLst>
                </p:cNvPr>
                <p:cNvSpPr/>
                <p:nvPr/>
              </p:nvSpPr>
              <p:spPr>
                <a:xfrm>
                  <a:off x="-1599788" y="248194"/>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77" name="Rectangle: Rounded Corners 576">
                  <a:extLst>
                    <a:ext uri="{FF2B5EF4-FFF2-40B4-BE49-F238E27FC236}">
                      <a16:creationId xmlns:a16="http://schemas.microsoft.com/office/drawing/2014/main" id="{DED4ED31-D7F4-4994-82AE-7B232ED86530}"/>
                    </a:ext>
                  </a:extLst>
                </p:cNvPr>
                <p:cNvSpPr/>
                <p:nvPr/>
              </p:nvSpPr>
              <p:spPr>
                <a:xfrm>
                  <a:off x="-1599788" y="455022"/>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567" name="Group 566">
                <a:extLst>
                  <a:ext uri="{FF2B5EF4-FFF2-40B4-BE49-F238E27FC236}">
                    <a16:creationId xmlns:a16="http://schemas.microsoft.com/office/drawing/2014/main" id="{31F5ECB9-3A19-470A-A762-598F3A9E98BD}"/>
                  </a:ext>
                </a:extLst>
              </p:cNvPr>
              <p:cNvGrpSpPr/>
              <p:nvPr/>
            </p:nvGrpSpPr>
            <p:grpSpPr>
              <a:xfrm>
                <a:off x="7014745" y="2607160"/>
                <a:ext cx="27432" cy="300726"/>
                <a:chOff x="-1599788" y="144780"/>
                <a:chExt cx="450850" cy="459376"/>
              </a:xfrm>
              <a:grpFill/>
            </p:grpSpPr>
            <p:sp>
              <p:nvSpPr>
                <p:cNvPr id="568" name="Rectangle: Rounded Corners 567">
                  <a:extLst>
                    <a:ext uri="{FF2B5EF4-FFF2-40B4-BE49-F238E27FC236}">
                      <a16:creationId xmlns:a16="http://schemas.microsoft.com/office/drawing/2014/main" id="{751533B3-4B15-4848-8710-D521DBCE14AB}"/>
                    </a:ext>
                  </a:extLst>
                </p:cNvPr>
                <p:cNvSpPr/>
                <p:nvPr/>
              </p:nvSpPr>
              <p:spPr>
                <a:xfrm>
                  <a:off x="-1599788" y="144780"/>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69" name="Rectangle: Rounded Corners 568">
                  <a:extLst>
                    <a:ext uri="{FF2B5EF4-FFF2-40B4-BE49-F238E27FC236}">
                      <a16:creationId xmlns:a16="http://schemas.microsoft.com/office/drawing/2014/main" id="{7CC53BA9-70F1-4A7F-9EE2-98B73E9FF209}"/>
                    </a:ext>
                  </a:extLst>
                </p:cNvPr>
                <p:cNvSpPr/>
                <p:nvPr/>
              </p:nvSpPr>
              <p:spPr>
                <a:xfrm>
                  <a:off x="-1599788" y="558437"/>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70" name="Rectangle: Rounded Corners 569">
                  <a:extLst>
                    <a:ext uri="{FF2B5EF4-FFF2-40B4-BE49-F238E27FC236}">
                      <a16:creationId xmlns:a16="http://schemas.microsoft.com/office/drawing/2014/main" id="{81DE4C32-86BD-4E52-977C-E952269C713B}"/>
                    </a:ext>
                  </a:extLst>
                </p:cNvPr>
                <p:cNvSpPr/>
                <p:nvPr/>
              </p:nvSpPr>
              <p:spPr>
                <a:xfrm>
                  <a:off x="-1599788" y="351608"/>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71" name="Rectangle: Rounded Corners 570">
                  <a:extLst>
                    <a:ext uri="{FF2B5EF4-FFF2-40B4-BE49-F238E27FC236}">
                      <a16:creationId xmlns:a16="http://schemas.microsoft.com/office/drawing/2014/main" id="{799D9874-2369-4BFD-8DB1-8FAD53076A35}"/>
                    </a:ext>
                  </a:extLst>
                </p:cNvPr>
                <p:cNvSpPr/>
                <p:nvPr/>
              </p:nvSpPr>
              <p:spPr>
                <a:xfrm>
                  <a:off x="-1599788" y="248194"/>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72" name="Rectangle: Rounded Corners 571">
                  <a:extLst>
                    <a:ext uri="{FF2B5EF4-FFF2-40B4-BE49-F238E27FC236}">
                      <a16:creationId xmlns:a16="http://schemas.microsoft.com/office/drawing/2014/main" id="{D9A8F43A-F211-4752-A2B9-8CE2754AC485}"/>
                    </a:ext>
                  </a:extLst>
                </p:cNvPr>
                <p:cNvSpPr/>
                <p:nvPr/>
              </p:nvSpPr>
              <p:spPr>
                <a:xfrm>
                  <a:off x="-1599788" y="455022"/>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grpSp>
      <p:grpSp>
        <p:nvGrpSpPr>
          <p:cNvPr id="61" name="Group 60">
            <a:extLst>
              <a:ext uri="{FF2B5EF4-FFF2-40B4-BE49-F238E27FC236}">
                <a16:creationId xmlns:a16="http://schemas.microsoft.com/office/drawing/2014/main" id="{7CA77141-BBBB-4A1E-9930-4BD33A971A12}"/>
              </a:ext>
            </a:extLst>
          </p:cNvPr>
          <p:cNvGrpSpPr/>
          <p:nvPr/>
        </p:nvGrpSpPr>
        <p:grpSpPr>
          <a:xfrm>
            <a:off x="687502" y="2599764"/>
            <a:ext cx="250531" cy="250530"/>
            <a:chOff x="628314" y="2639425"/>
            <a:chExt cx="265768" cy="265767"/>
          </a:xfrm>
        </p:grpSpPr>
        <p:sp>
          <p:nvSpPr>
            <p:cNvPr id="595" name="Oval 263">
              <a:extLst>
                <a:ext uri="{FF2B5EF4-FFF2-40B4-BE49-F238E27FC236}">
                  <a16:creationId xmlns:a16="http://schemas.microsoft.com/office/drawing/2014/main" id="{262C7505-9142-4100-8E00-D0113E8ADAFF}"/>
                </a:ext>
              </a:extLst>
            </p:cNvPr>
            <p:cNvSpPr>
              <a:spLocks/>
            </p:cNvSpPr>
            <p:nvPr/>
          </p:nvSpPr>
          <p:spPr bwMode="auto">
            <a:xfrm>
              <a:off x="628314" y="2639425"/>
              <a:ext cx="265768" cy="265767"/>
            </a:xfrm>
            <a:prstGeom prst="ellipse">
              <a:avLst/>
            </a:prstGeom>
            <a:solidFill>
              <a:schemeClr val="bg2">
                <a:lumMod val="95000"/>
              </a:schemeClr>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solidFill>
                <a:effectLst/>
                <a:uLnTx/>
                <a:uFillTx/>
                <a:latin typeface="Arial" panose="020B0604020202020204" pitchFamily="34" charset="0"/>
                <a:ea typeface="ＭＳ Ｐゴシック" charset="0"/>
                <a:cs typeface="Arial" panose="020B0604020202020204" pitchFamily="34" charset="0"/>
              </a:endParaRPr>
            </a:p>
          </p:txBody>
        </p:sp>
        <p:grpSp>
          <p:nvGrpSpPr>
            <p:cNvPr id="596" name="Group 595">
              <a:extLst>
                <a:ext uri="{FF2B5EF4-FFF2-40B4-BE49-F238E27FC236}">
                  <a16:creationId xmlns:a16="http://schemas.microsoft.com/office/drawing/2014/main" id="{13016062-EFC0-46C0-9035-016A6522E24A}"/>
                </a:ext>
              </a:extLst>
            </p:cNvPr>
            <p:cNvGrpSpPr/>
            <p:nvPr/>
          </p:nvGrpSpPr>
          <p:grpSpPr>
            <a:xfrm>
              <a:off x="698690" y="2707129"/>
              <a:ext cx="125017" cy="130359"/>
              <a:chOff x="7014745" y="2607160"/>
              <a:chExt cx="327213" cy="300726"/>
            </a:xfrm>
            <a:solidFill>
              <a:srgbClr val="FBAB18"/>
            </a:solidFill>
          </p:grpSpPr>
          <p:grpSp>
            <p:nvGrpSpPr>
              <p:cNvPr id="598" name="Group 597">
                <a:extLst>
                  <a:ext uri="{FF2B5EF4-FFF2-40B4-BE49-F238E27FC236}">
                    <a16:creationId xmlns:a16="http://schemas.microsoft.com/office/drawing/2014/main" id="{0052C52D-B34A-4369-BA88-28150B5B88B4}"/>
                  </a:ext>
                </a:extLst>
              </p:cNvPr>
              <p:cNvGrpSpPr/>
              <p:nvPr/>
            </p:nvGrpSpPr>
            <p:grpSpPr>
              <a:xfrm>
                <a:off x="7064683" y="2607160"/>
                <a:ext cx="277275" cy="300726"/>
                <a:chOff x="-1599788" y="144780"/>
                <a:chExt cx="450850" cy="459376"/>
              </a:xfrm>
              <a:grpFill/>
            </p:grpSpPr>
            <p:sp>
              <p:nvSpPr>
                <p:cNvPr id="605" name="Rectangle: Rounded Corners 604">
                  <a:extLst>
                    <a:ext uri="{FF2B5EF4-FFF2-40B4-BE49-F238E27FC236}">
                      <a16:creationId xmlns:a16="http://schemas.microsoft.com/office/drawing/2014/main" id="{6F19A085-4178-4434-A3A9-B224C1999A62}"/>
                    </a:ext>
                  </a:extLst>
                </p:cNvPr>
                <p:cNvSpPr/>
                <p:nvPr/>
              </p:nvSpPr>
              <p:spPr>
                <a:xfrm>
                  <a:off x="-1599788" y="144780"/>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06" name="Rectangle: Rounded Corners 605">
                  <a:extLst>
                    <a:ext uri="{FF2B5EF4-FFF2-40B4-BE49-F238E27FC236}">
                      <a16:creationId xmlns:a16="http://schemas.microsoft.com/office/drawing/2014/main" id="{7346E671-C285-4D03-A0AA-42E1EDF984E3}"/>
                    </a:ext>
                  </a:extLst>
                </p:cNvPr>
                <p:cNvSpPr/>
                <p:nvPr/>
              </p:nvSpPr>
              <p:spPr>
                <a:xfrm>
                  <a:off x="-1599788" y="558437"/>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07" name="Rectangle: Rounded Corners 606">
                  <a:extLst>
                    <a:ext uri="{FF2B5EF4-FFF2-40B4-BE49-F238E27FC236}">
                      <a16:creationId xmlns:a16="http://schemas.microsoft.com/office/drawing/2014/main" id="{60765E4F-E996-4AA6-A9E3-AA5D89C829A7}"/>
                    </a:ext>
                  </a:extLst>
                </p:cNvPr>
                <p:cNvSpPr/>
                <p:nvPr/>
              </p:nvSpPr>
              <p:spPr>
                <a:xfrm>
                  <a:off x="-1599788" y="351608"/>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08" name="Rectangle: Rounded Corners 607">
                  <a:extLst>
                    <a:ext uri="{FF2B5EF4-FFF2-40B4-BE49-F238E27FC236}">
                      <a16:creationId xmlns:a16="http://schemas.microsoft.com/office/drawing/2014/main" id="{2830F63F-3C6E-43EE-98CE-9C0D8EA9AB9D}"/>
                    </a:ext>
                  </a:extLst>
                </p:cNvPr>
                <p:cNvSpPr/>
                <p:nvPr/>
              </p:nvSpPr>
              <p:spPr>
                <a:xfrm>
                  <a:off x="-1599788" y="248194"/>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09" name="Rectangle: Rounded Corners 608">
                  <a:extLst>
                    <a:ext uri="{FF2B5EF4-FFF2-40B4-BE49-F238E27FC236}">
                      <a16:creationId xmlns:a16="http://schemas.microsoft.com/office/drawing/2014/main" id="{87E9B13E-62AC-4FCE-89F7-9840A4DA25A3}"/>
                    </a:ext>
                  </a:extLst>
                </p:cNvPr>
                <p:cNvSpPr/>
                <p:nvPr/>
              </p:nvSpPr>
              <p:spPr>
                <a:xfrm>
                  <a:off x="-1599788" y="455022"/>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599" name="Group 598">
                <a:extLst>
                  <a:ext uri="{FF2B5EF4-FFF2-40B4-BE49-F238E27FC236}">
                    <a16:creationId xmlns:a16="http://schemas.microsoft.com/office/drawing/2014/main" id="{9D6766A9-C9DD-47E7-AAFE-E8B30787FF92}"/>
                  </a:ext>
                </a:extLst>
              </p:cNvPr>
              <p:cNvGrpSpPr/>
              <p:nvPr/>
            </p:nvGrpSpPr>
            <p:grpSpPr>
              <a:xfrm>
                <a:off x="7014745" y="2607160"/>
                <a:ext cx="27432" cy="300726"/>
                <a:chOff x="-1599788" y="144780"/>
                <a:chExt cx="450850" cy="459376"/>
              </a:xfrm>
              <a:grpFill/>
            </p:grpSpPr>
            <p:sp>
              <p:nvSpPr>
                <p:cNvPr id="600" name="Rectangle: Rounded Corners 599">
                  <a:extLst>
                    <a:ext uri="{FF2B5EF4-FFF2-40B4-BE49-F238E27FC236}">
                      <a16:creationId xmlns:a16="http://schemas.microsoft.com/office/drawing/2014/main" id="{B28AD5B0-87CD-4F7C-B98E-7331A74B7313}"/>
                    </a:ext>
                  </a:extLst>
                </p:cNvPr>
                <p:cNvSpPr/>
                <p:nvPr/>
              </p:nvSpPr>
              <p:spPr>
                <a:xfrm>
                  <a:off x="-1599788" y="144780"/>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01" name="Rectangle: Rounded Corners 600">
                  <a:extLst>
                    <a:ext uri="{FF2B5EF4-FFF2-40B4-BE49-F238E27FC236}">
                      <a16:creationId xmlns:a16="http://schemas.microsoft.com/office/drawing/2014/main" id="{D0329F93-7C78-4287-998D-7C1EC399218A}"/>
                    </a:ext>
                  </a:extLst>
                </p:cNvPr>
                <p:cNvSpPr/>
                <p:nvPr/>
              </p:nvSpPr>
              <p:spPr>
                <a:xfrm>
                  <a:off x="-1599788" y="558437"/>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02" name="Rectangle: Rounded Corners 601">
                  <a:extLst>
                    <a:ext uri="{FF2B5EF4-FFF2-40B4-BE49-F238E27FC236}">
                      <a16:creationId xmlns:a16="http://schemas.microsoft.com/office/drawing/2014/main" id="{F7754B2B-18D8-4775-92DF-0207A488B7F1}"/>
                    </a:ext>
                  </a:extLst>
                </p:cNvPr>
                <p:cNvSpPr/>
                <p:nvPr/>
              </p:nvSpPr>
              <p:spPr>
                <a:xfrm>
                  <a:off x="-1599788" y="351608"/>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03" name="Rectangle: Rounded Corners 602">
                  <a:extLst>
                    <a:ext uri="{FF2B5EF4-FFF2-40B4-BE49-F238E27FC236}">
                      <a16:creationId xmlns:a16="http://schemas.microsoft.com/office/drawing/2014/main" id="{38456900-DE35-4471-9A0B-78C9C9DA10CE}"/>
                    </a:ext>
                  </a:extLst>
                </p:cNvPr>
                <p:cNvSpPr/>
                <p:nvPr/>
              </p:nvSpPr>
              <p:spPr>
                <a:xfrm>
                  <a:off x="-1599788" y="248194"/>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04" name="Rectangle: Rounded Corners 603">
                  <a:extLst>
                    <a:ext uri="{FF2B5EF4-FFF2-40B4-BE49-F238E27FC236}">
                      <a16:creationId xmlns:a16="http://schemas.microsoft.com/office/drawing/2014/main" id="{CFFEF8A3-0641-4FF9-B6E5-7F35B8607B56}"/>
                    </a:ext>
                  </a:extLst>
                </p:cNvPr>
                <p:cNvSpPr/>
                <p:nvPr/>
              </p:nvSpPr>
              <p:spPr>
                <a:xfrm>
                  <a:off x="-1599788" y="455022"/>
                  <a:ext cx="450850" cy="45719"/>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grpSp>
      <p:grpSp>
        <p:nvGrpSpPr>
          <p:cNvPr id="4" name="Group 3">
            <a:extLst>
              <a:ext uri="{FF2B5EF4-FFF2-40B4-BE49-F238E27FC236}">
                <a16:creationId xmlns:a16="http://schemas.microsoft.com/office/drawing/2014/main" id="{7E8A6995-5D4F-4F92-B018-D388A013819E}"/>
              </a:ext>
            </a:extLst>
          </p:cNvPr>
          <p:cNvGrpSpPr/>
          <p:nvPr/>
        </p:nvGrpSpPr>
        <p:grpSpPr>
          <a:xfrm>
            <a:off x="2965172" y="1856969"/>
            <a:ext cx="1911395" cy="210999"/>
            <a:chOff x="3093340" y="1881895"/>
            <a:chExt cx="1837041" cy="178523"/>
          </a:xfrm>
        </p:grpSpPr>
        <p:sp>
          <p:nvSpPr>
            <p:cNvPr id="657" name="TextBox 656">
              <a:extLst>
                <a:ext uri="{FF2B5EF4-FFF2-40B4-BE49-F238E27FC236}">
                  <a16:creationId xmlns:a16="http://schemas.microsoft.com/office/drawing/2014/main" id="{E33C4A03-8663-465E-9BA1-94384D9D79F5}"/>
                </a:ext>
              </a:extLst>
            </p:cNvPr>
            <p:cNvSpPr txBox="1"/>
            <p:nvPr/>
          </p:nvSpPr>
          <p:spPr>
            <a:xfrm flipH="1">
              <a:off x="3093340" y="1881895"/>
              <a:ext cx="1837041" cy="178510"/>
            </a:xfrm>
            <a:prstGeom prst="rect">
              <a:avLst/>
            </a:prstGeom>
            <a:noFill/>
          </p:spPr>
          <p:txBody>
            <a:bodyPr wrap="square" lIns="0" tIns="27432" rIns="0" bIns="27432"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5073"/>
                  </a:solidFill>
                  <a:effectLst/>
                  <a:uLnTx/>
                  <a:uFillTx/>
                  <a:latin typeface="CiscoSansTT ExtraLight"/>
                  <a:ea typeface="ＭＳ Ｐゴシック" charset="0"/>
                  <a:cs typeface="+mn-cs"/>
                </a:rPr>
                <a:t>Routers and switches each had one job</a:t>
              </a:r>
            </a:p>
          </p:txBody>
        </p:sp>
        <p:cxnSp>
          <p:nvCxnSpPr>
            <p:cNvPr id="679" name="Straight Connector 678">
              <a:extLst>
                <a:ext uri="{FF2B5EF4-FFF2-40B4-BE49-F238E27FC236}">
                  <a16:creationId xmlns:a16="http://schemas.microsoft.com/office/drawing/2014/main" id="{53046CB5-CBB1-4184-8944-F7CB94FD5060}"/>
                </a:ext>
              </a:extLst>
            </p:cNvPr>
            <p:cNvCxnSpPr>
              <a:cxnSpLocks/>
            </p:cNvCxnSpPr>
            <p:nvPr/>
          </p:nvCxnSpPr>
          <p:spPr>
            <a:xfrm flipH="1">
              <a:off x="3148965" y="2060418"/>
              <a:ext cx="1739625" cy="0"/>
            </a:xfrm>
            <a:prstGeom prst="line">
              <a:avLst/>
            </a:prstGeom>
            <a:ln>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427" name="Freeform 7">
            <a:extLst>
              <a:ext uri="{FF2B5EF4-FFF2-40B4-BE49-F238E27FC236}">
                <a16:creationId xmlns:a16="http://schemas.microsoft.com/office/drawing/2014/main" id="{45F2DC54-5645-4138-A9B0-D8256FB929D5}"/>
              </a:ext>
            </a:extLst>
          </p:cNvPr>
          <p:cNvSpPr>
            <a:spLocks noEditPoints="1"/>
          </p:cNvSpPr>
          <p:nvPr/>
        </p:nvSpPr>
        <p:spPr bwMode="auto">
          <a:xfrm>
            <a:off x="676241" y="3069661"/>
            <a:ext cx="105718" cy="114124"/>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30" name="Freeform 7">
            <a:extLst>
              <a:ext uri="{FF2B5EF4-FFF2-40B4-BE49-F238E27FC236}">
                <a16:creationId xmlns:a16="http://schemas.microsoft.com/office/drawing/2014/main" id="{9FE05DE4-E1B1-418C-9625-C283B8E75946}"/>
              </a:ext>
            </a:extLst>
          </p:cNvPr>
          <p:cNvSpPr>
            <a:spLocks noEditPoints="1"/>
          </p:cNvSpPr>
          <p:nvPr/>
        </p:nvSpPr>
        <p:spPr bwMode="auto">
          <a:xfrm>
            <a:off x="821477" y="3233625"/>
            <a:ext cx="105718" cy="114124"/>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36" name="Freeform 7">
            <a:extLst>
              <a:ext uri="{FF2B5EF4-FFF2-40B4-BE49-F238E27FC236}">
                <a16:creationId xmlns:a16="http://schemas.microsoft.com/office/drawing/2014/main" id="{D9854B35-F564-43D1-A3AC-D7683EB80835}"/>
              </a:ext>
            </a:extLst>
          </p:cNvPr>
          <p:cNvSpPr>
            <a:spLocks noEditPoints="1"/>
          </p:cNvSpPr>
          <p:nvPr/>
        </p:nvSpPr>
        <p:spPr bwMode="auto">
          <a:xfrm>
            <a:off x="6159878" y="3233625"/>
            <a:ext cx="105718" cy="114124"/>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7210277B-7787-464B-9CAF-32C504F3E94A}"/>
              </a:ext>
            </a:extLst>
          </p:cNvPr>
          <p:cNvSpPr/>
          <p:nvPr/>
        </p:nvSpPr>
        <p:spPr>
          <a:xfrm>
            <a:off x="1180596" y="3025922"/>
            <a:ext cx="4712607" cy="0"/>
          </a:xfrm>
          <a:custGeom>
            <a:avLst/>
            <a:gdLst>
              <a:gd name="connsiteX0" fmla="*/ 0 w 4999219"/>
              <a:gd name="connsiteY0" fmla="*/ 0 h 0"/>
              <a:gd name="connsiteX1" fmla="*/ 4999219 w 4999219"/>
              <a:gd name="connsiteY1" fmla="*/ 0 h 0"/>
            </a:gdLst>
            <a:ahLst/>
            <a:cxnLst>
              <a:cxn ang="0">
                <a:pos x="connsiteX0" y="connsiteY0"/>
              </a:cxn>
              <a:cxn ang="0">
                <a:pos x="connsiteX1" y="connsiteY1"/>
              </a:cxn>
            </a:cxnLst>
            <a:rect l="l" t="t" r="r" b="b"/>
            <a:pathLst>
              <a:path w="4999219">
                <a:moveTo>
                  <a:pt x="0" y="0"/>
                </a:moveTo>
                <a:lnTo>
                  <a:pt x="4999219" y="0"/>
                </a:lnTo>
              </a:path>
            </a:pathLst>
          </a:cu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776" name="Group 775">
            <a:extLst>
              <a:ext uri="{FF2B5EF4-FFF2-40B4-BE49-F238E27FC236}">
                <a16:creationId xmlns:a16="http://schemas.microsoft.com/office/drawing/2014/main" id="{63361FBA-77E2-4BD0-B2C2-8E88C577212F}"/>
              </a:ext>
            </a:extLst>
          </p:cNvPr>
          <p:cNvGrpSpPr/>
          <p:nvPr/>
        </p:nvGrpSpPr>
        <p:grpSpPr>
          <a:xfrm>
            <a:off x="1525355" y="2846627"/>
            <a:ext cx="348045" cy="348045"/>
            <a:chOff x="3647234" y="2505303"/>
            <a:chExt cx="594360" cy="594360"/>
          </a:xfrm>
        </p:grpSpPr>
        <p:sp>
          <p:nvSpPr>
            <p:cNvPr id="777" name="Oval 776">
              <a:extLst>
                <a:ext uri="{FF2B5EF4-FFF2-40B4-BE49-F238E27FC236}">
                  <a16:creationId xmlns:a16="http://schemas.microsoft.com/office/drawing/2014/main" id="{01951407-D70A-42E4-BA11-B2D20F4DF7E8}"/>
                </a:ext>
              </a:extLst>
            </p:cNvPr>
            <p:cNvSpPr/>
            <p:nvPr/>
          </p:nvSpPr>
          <p:spPr>
            <a:xfrm>
              <a:off x="3647234" y="2505303"/>
              <a:ext cx="594360" cy="59436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778" name="Group 777">
              <a:extLst>
                <a:ext uri="{FF2B5EF4-FFF2-40B4-BE49-F238E27FC236}">
                  <a16:creationId xmlns:a16="http://schemas.microsoft.com/office/drawing/2014/main" id="{0617392E-4DED-46CA-A977-0C870D59F8C3}"/>
                </a:ext>
              </a:extLst>
            </p:cNvPr>
            <p:cNvGrpSpPr/>
            <p:nvPr/>
          </p:nvGrpSpPr>
          <p:grpSpPr>
            <a:xfrm>
              <a:off x="3761080" y="2619016"/>
              <a:ext cx="366840" cy="366825"/>
              <a:chOff x="4034392" y="1826565"/>
              <a:chExt cx="248145" cy="248145"/>
            </a:xfrm>
            <a:solidFill>
              <a:schemeClr val="accent2"/>
            </a:solidFill>
          </p:grpSpPr>
          <p:grpSp>
            <p:nvGrpSpPr>
              <p:cNvPr id="779" name="Group 778">
                <a:extLst>
                  <a:ext uri="{FF2B5EF4-FFF2-40B4-BE49-F238E27FC236}">
                    <a16:creationId xmlns:a16="http://schemas.microsoft.com/office/drawing/2014/main" id="{AB16C510-37DA-4968-A2BE-22078497C4C2}"/>
                  </a:ext>
                </a:extLst>
              </p:cNvPr>
              <p:cNvGrpSpPr/>
              <p:nvPr/>
            </p:nvGrpSpPr>
            <p:grpSpPr>
              <a:xfrm>
                <a:off x="4127062" y="1826565"/>
                <a:ext cx="62740" cy="248145"/>
                <a:chOff x="4120827" y="1826565"/>
                <a:chExt cx="62740" cy="248145"/>
              </a:xfrm>
              <a:grpFill/>
            </p:grpSpPr>
            <p:sp>
              <p:nvSpPr>
                <p:cNvPr id="783" name="Freeform 39">
                  <a:extLst>
                    <a:ext uri="{FF2B5EF4-FFF2-40B4-BE49-F238E27FC236}">
                      <a16:creationId xmlns:a16="http://schemas.microsoft.com/office/drawing/2014/main" id="{1AEE85E5-9716-401B-933E-877FCE57019D}"/>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784" name="Freeform 40">
                  <a:extLst>
                    <a:ext uri="{FF2B5EF4-FFF2-40B4-BE49-F238E27FC236}">
                      <a16:creationId xmlns:a16="http://schemas.microsoft.com/office/drawing/2014/main" id="{6E9B47AC-1193-4D8E-BD68-63515D123144}"/>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nvGrpSpPr>
              <p:cNvPr id="780" name="Group 779">
                <a:extLst>
                  <a:ext uri="{FF2B5EF4-FFF2-40B4-BE49-F238E27FC236}">
                    <a16:creationId xmlns:a16="http://schemas.microsoft.com/office/drawing/2014/main" id="{F2BB4A4B-6D1B-4868-9DCD-8E72CBF283DE}"/>
                  </a:ext>
                </a:extLst>
              </p:cNvPr>
              <p:cNvGrpSpPr/>
              <p:nvPr/>
            </p:nvGrpSpPr>
            <p:grpSpPr>
              <a:xfrm rot="5400000">
                <a:off x="4127095" y="1826598"/>
                <a:ext cx="62740" cy="248145"/>
                <a:chOff x="4120827" y="1826565"/>
                <a:chExt cx="62740" cy="248145"/>
              </a:xfrm>
              <a:grpFill/>
            </p:grpSpPr>
            <p:sp>
              <p:nvSpPr>
                <p:cNvPr id="781" name="Freeform 37">
                  <a:extLst>
                    <a:ext uri="{FF2B5EF4-FFF2-40B4-BE49-F238E27FC236}">
                      <a16:creationId xmlns:a16="http://schemas.microsoft.com/office/drawing/2014/main" id="{0F2AB3BC-F55D-41DE-B82D-EA00A6306F05}"/>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782" name="Freeform 38">
                  <a:extLst>
                    <a:ext uri="{FF2B5EF4-FFF2-40B4-BE49-F238E27FC236}">
                      <a16:creationId xmlns:a16="http://schemas.microsoft.com/office/drawing/2014/main" id="{DF08253F-13BA-4771-B43D-26E52A309636}"/>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grpSp>
      <p:grpSp>
        <p:nvGrpSpPr>
          <p:cNvPr id="785" name="Group 784">
            <a:extLst>
              <a:ext uri="{FF2B5EF4-FFF2-40B4-BE49-F238E27FC236}">
                <a16:creationId xmlns:a16="http://schemas.microsoft.com/office/drawing/2014/main" id="{2B640425-C8C1-4F28-9A6B-EEDEE66C48F8}"/>
              </a:ext>
            </a:extLst>
          </p:cNvPr>
          <p:cNvGrpSpPr/>
          <p:nvPr/>
        </p:nvGrpSpPr>
        <p:grpSpPr>
          <a:xfrm>
            <a:off x="5184168" y="2846627"/>
            <a:ext cx="348045" cy="348045"/>
            <a:chOff x="3647234" y="2505303"/>
            <a:chExt cx="594360" cy="594360"/>
          </a:xfrm>
        </p:grpSpPr>
        <p:sp>
          <p:nvSpPr>
            <p:cNvPr id="786" name="Oval 785">
              <a:extLst>
                <a:ext uri="{FF2B5EF4-FFF2-40B4-BE49-F238E27FC236}">
                  <a16:creationId xmlns:a16="http://schemas.microsoft.com/office/drawing/2014/main" id="{763E48BF-325D-4509-999F-50EFEE866174}"/>
                </a:ext>
              </a:extLst>
            </p:cNvPr>
            <p:cNvSpPr/>
            <p:nvPr/>
          </p:nvSpPr>
          <p:spPr>
            <a:xfrm>
              <a:off x="3647234" y="2505303"/>
              <a:ext cx="594360" cy="59436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787" name="Group 786">
              <a:extLst>
                <a:ext uri="{FF2B5EF4-FFF2-40B4-BE49-F238E27FC236}">
                  <a16:creationId xmlns:a16="http://schemas.microsoft.com/office/drawing/2014/main" id="{664FBB45-62C8-4A95-A48C-B12985162D95}"/>
                </a:ext>
              </a:extLst>
            </p:cNvPr>
            <p:cNvGrpSpPr/>
            <p:nvPr/>
          </p:nvGrpSpPr>
          <p:grpSpPr>
            <a:xfrm>
              <a:off x="3761080" y="2619016"/>
              <a:ext cx="366840" cy="366825"/>
              <a:chOff x="4034392" y="1826565"/>
              <a:chExt cx="248145" cy="248145"/>
            </a:xfrm>
            <a:solidFill>
              <a:schemeClr val="accent2"/>
            </a:solidFill>
          </p:grpSpPr>
          <p:grpSp>
            <p:nvGrpSpPr>
              <p:cNvPr id="788" name="Group 787">
                <a:extLst>
                  <a:ext uri="{FF2B5EF4-FFF2-40B4-BE49-F238E27FC236}">
                    <a16:creationId xmlns:a16="http://schemas.microsoft.com/office/drawing/2014/main" id="{323B7FEF-297E-4232-AD64-34FEE3404074}"/>
                  </a:ext>
                </a:extLst>
              </p:cNvPr>
              <p:cNvGrpSpPr/>
              <p:nvPr/>
            </p:nvGrpSpPr>
            <p:grpSpPr>
              <a:xfrm>
                <a:off x="4127062" y="1826565"/>
                <a:ext cx="62740" cy="248145"/>
                <a:chOff x="4120827" y="1826565"/>
                <a:chExt cx="62740" cy="248145"/>
              </a:xfrm>
              <a:grpFill/>
            </p:grpSpPr>
            <p:sp>
              <p:nvSpPr>
                <p:cNvPr id="792" name="Freeform 39">
                  <a:extLst>
                    <a:ext uri="{FF2B5EF4-FFF2-40B4-BE49-F238E27FC236}">
                      <a16:creationId xmlns:a16="http://schemas.microsoft.com/office/drawing/2014/main" id="{D4E7640A-1914-4FE8-838E-29B75E81465F}"/>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793" name="Freeform 40">
                  <a:extLst>
                    <a:ext uri="{FF2B5EF4-FFF2-40B4-BE49-F238E27FC236}">
                      <a16:creationId xmlns:a16="http://schemas.microsoft.com/office/drawing/2014/main" id="{73262B72-64C5-45C9-922D-8AF7035596A3}"/>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nvGrpSpPr>
              <p:cNvPr id="789" name="Group 788">
                <a:extLst>
                  <a:ext uri="{FF2B5EF4-FFF2-40B4-BE49-F238E27FC236}">
                    <a16:creationId xmlns:a16="http://schemas.microsoft.com/office/drawing/2014/main" id="{060E2645-1AA1-42A3-A97B-1FB748B7FA57}"/>
                  </a:ext>
                </a:extLst>
              </p:cNvPr>
              <p:cNvGrpSpPr/>
              <p:nvPr/>
            </p:nvGrpSpPr>
            <p:grpSpPr>
              <a:xfrm rot="5400000">
                <a:off x="4127095" y="1826598"/>
                <a:ext cx="62740" cy="248145"/>
                <a:chOff x="4120827" y="1826565"/>
                <a:chExt cx="62740" cy="248145"/>
              </a:xfrm>
              <a:grpFill/>
            </p:grpSpPr>
            <p:sp>
              <p:nvSpPr>
                <p:cNvPr id="790" name="Freeform 37">
                  <a:extLst>
                    <a:ext uri="{FF2B5EF4-FFF2-40B4-BE49-F238E27FC236}">
                      <a16:creationId xmlns:a16="http://schemas.microsoft.com/office/drawing/2014/main" id="{705F63EA-0DAA-4EB6-8E44-38B6AD26CBBC}"/>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791" name="Freeform 38">
                  <a:extLst>
                    <a:ext uri="{FF2B5EF4-FFF2-40B4-BE49-F238E27FC236}">
                      <a16:creationId xmlns:a16="http://schemas.microsoft.com/office/drawing/2014/main" id="{0EC46461-15E5-4FDD-BC53-FB0FC1D9AFAD}"/>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grpSp>
      <p:pic>
        <p:nvPicPr>
          <p:cNvPr id="822" name="Picture 821">
            <a:extLst>
              <a:ext uri="{FF2B5EF4-FFF2-40B4-BE49-F238E27FC236}">
                <a16:creationId xmlns:a16="http://schemas.microsoft.com/office/drawing/2014/main" id="{2D11799F-36B9-4B87-AB30-1E57B5A6792D}"/>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364694" y="2845850"/>
            <a:ext cx="348045" cy="348045"/>
          </a:xfrm>
          <a:prstGeom prst="rect">
            <a:avLst/>
          </a:prstGeom>
        </p:spPr>
      </p:pic>
      <p:grpSp>
        <p:nvGrpSpPr>
          <p:cNvPr id="24" name="Group 23">
            <a:extLst>
              <a:ext uri="{FF2B5EF4-FFF2-40B4-BE49-F238E27FC236}">
                <a16:creationId xmlns:a16="http://schemas.microsoft.com/office/drawing/2014/main" id="{516A2106-8904-4687-84B2-46E6AD3C7561}"/>
              </a:ext>
            </a:extLst>
          </p:cNvPr>
          <p:cNvGrpSpPr/>
          <p:nvPr/>
        </p:nvGrpSpPr>
        <p:grpSpPr>
          <a:xfrm>
            <a:off x="2303520" y="2607369"/>
            <a:ext cx="2467407" cy="408002"/>
            <a:chOff x="2255520" y="2816352"/>
            <a:chExt cx="2617470" cy="432816"/>
          </a:xfrm>
        </p:grpSpPr>
        <p:sp>
          <p:nvSpPr>
            <p:cNvPr id="21" name="Freeform: Shape 20">
              <a:extLst>
                <a:ext uri="{FF2B5EF4-FFF2-40B4-BE49-F238E27FC236}">
                  <a16:creationId xmlns:a16="http://schemas.microsoft.com/office/drawing/2014/main" id="{3D2B2EC5-9F4B-40C2-B5E5-EC56DC893FD7}"/>
                </a:ext>
              </a:extLst>
            </p:cNvPr>
            <p:cNvSpPr/>
            <p:nvPr/>
          </p:nvSpPr>
          <p:spPr>
            <a:xfrm>
              <a:off x="2255520" y="2816352"/>
              <a:ext cx="0" cy="432816"/>
            </a:xfrm>
            <a:custGeom>
              <a:avLst/>
              <a:gdLst>
                <a:gd name="connsiteX0" fmla="*/ 0 w 0"/>
                <a:gd name="connsiteY0" fmla="*/ 432816 h 432816"/>
                <a:gd name="connsiteX1" fmla="*/ 0 w 0"/>
                <a:gd name="connsiteY1" fmla="*/ 0 h 432816"/>
              </a:gdLst>
              <a:ahLst/>
              <a:cxnLst>
                <a:cxn ang="0">
                  <a:pos x="connsiteX0" y="connsiteY0"/>
                </a:cxn>
                <a:cxn ang="0">
                  <a:pos x="connsiteX1" y="connsiteY1"/>
                </a:cxn>
              </a:cxnLst>
              <a:rect l="l" t="t" r="r" b="b"/>
              <a:pathLst>
                <a:path h="432816">
                  <a:moveTo>
                    <a:pt x="0" y="432816"/>
                  </a:moveTo>
                  <a:lnTo>
                    <a:pt x="0" y="0"/>
                  </a:lnTo>
                </a:path>
              </a:pathLst>
            </a:cu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386" name="Freeform: Shape 385">
              <a:extLst>
                <a:ext uri="{FF2B5EF4-FFF2-40B4-BE49-F238E27FC236}">
                  <a16:creationId xmlns:a16="http://schemas.microsoft.com/office/drawing/2014/main" id="{EF3AC142-090F-4343-A178-4C29D9EEE8B2}"/>
                </a:ext>
              </a:extLst>
            </p:cNvPr>
            <p:cNvSpPr/>
            <p:nvPr/>
          </p:nvSpPr>
          <p:spPr>
            <a:xfrm>
              <a:off x="4872990" y="2816352"/>
              <a:ext cx="0" cy="432816"/>
            </a:xfrm>
            <a:custGeom>
              <a:avLst/>
              <a:gdLst>
                <a:gd name="connsiteX0" fmla="*/ 0 w 0"/>
                <a:gd name="connsiteY0" fmla="*/ 432816 h 432816"/>
                <a:gd name="connsiteX1" fmla="*/ 0 w 0"/>
                <a:gd name="connsiteY1" fmla="*/ 0 h 432816"/>
              </a:gdLst>
              <a:ahLst/>
              <a:cxnLst>
                <a:cxn ang="0">
                  <a:pos x="connsiteX0" y="connsiteY0"/>
                </a:cxn>
                <a:cxn ang="0">
                  <a:pos x="connsiteX1" y="connsiteY1"/>
                </a:cxn>
              </a:cxnLst>
              <a:rect l="l" t="t" r="r" b="b"/>
              <a:pathLst>
                <a:path h="432816">
                  <a:moveTo>
                    <a:pt x="0" y="432816"/>
                  </a:moveTo>
                  <a:lnTo>
                    <a:pt x="0" y="0"/>
                  </a:lnTo>
                </a:path>
              </a:pathLst>
            </a:cu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grpSp>
        <p:nvGrpSpPr>
          <p:cNvPr id="25" name="Group 24">
            <a:extLst>
              <a:ext uri="{FF2B5EF4-FFF2-40B4-BE49-F238E27FC236}">
                <a16:creationId xmlns:a16="http://schemas.microsoft.com/office/drawing/2014/main" id="{BF1ED1F6-0BFB-42FB-945E-FB8FBB968C1A}"/>
              </a:ext>
            </a:extLst>
          </p:cNvPr>
          <p:cNvGrpSpPr/>
          <p:nvPr/>
        </p:nvGrpSpPr>
        <p:grpSpPr>
          <a:xfrm>
            <a:off x="2471126" y="2433058"/>
            <a:ext cx="2145363" cy="0"/>
            <a:chOff x="2433320" y="2631440"/>
            <a:chExt cx="2275840" cy="0"/>
          </a:xfrm>
        </p:grpSpPr>
        <p:sp>
          <p:nvSpPr>
            <p:cNvPr id="22" name="Freeform: Shape 21">
              <a:extLst>
                <a:ext uri="{FF2B5EF4-FFF2-40B4-BE49-F238E27FC236}">
                  <a16:creationId xmlns:a16="http://schemas.microsoft.com/office/drawing/2014/main" id="{660F6B5D-AE9E-4B67-A0F6-0184D67FCC04}"/>
                </a:ext>
              </a:extLst>
            </p:cNvPr>
            <p:cNvSpPr/>
            <p:nvPr/>
          </p:nvSpPr>
          <p:spPr>
            <a:xfrm>
              <a:off x="2433320" y="2631440"/>
              <a:ext cx="396240" cy="0"/>
            </a:xfrm>
            <a:custGeom>
              <a:avLst/>
              <a:gdLst>
                <a:gd name="connsiteX0" fmla="*/ 0 w 396240"/>
                <a:gd name="connsiteY0" fmla="*/ 0 h 0"/>
                <a:gd name="connsiteX1" fmla="*/ 396240 w 396240"/>
                <a:gd name="connsiteY1" fmla="*/ 0 h 0"/>
              </a:gdLst>
              <a:ahLst/>
              <a:cxnLst>
                <a:cxn ang="0">
                  <a:pos x="connsiteX0" y="connsiteY0"/>
                </a:cxn>
                <a:cxn ang="0">
                  <a:pos x="connsiteX1" y="connsiteY1"/>
                </a:cxn>
              </a:cxnLst>
              <a:rect l="l" t="t" r="r" b="b"/>
              <a:pathLst>
                <a:path w="396240">
                  <a:moveTo>
                    <a:pt x="0" y="0"/>
                  </a:moveTo>
                  <a:lnTo>
                    <a:pt x="396240" y="0"/>
                  </a:lnTo>
                </a:path>
              </a:pathLst>
            </a:cu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387" name="Freeform: Shape 386">
              <a:extLst>
                <a:ext uri="{FF2B5EF4-FFF2-40B4-BE49-F238E27FC236}">
                  <a16:creationId xmlns:a16="http://schemas.microsoft.com/office/drawing/2014/main" id="{9734411A-57A1-43E5-B42F-F13A3E352DF8}"/>
                </a:ext>
              </a:extLst>
            </p:cNvPr>
            <p:cNvSpPr/>
            <p:nvPr/>
          </p:nvSpPr>
          <p:spPr>
            <a:xfrm>
              <a:off x="4312920" y="2631440"/>
              <a:ext cx="396240" cy="0"/>
            </a:xfrm>
            <a:custGeom>
              <a:avLst/>
              <a:gdLst>
                <a:gd name="connsiteX0" fmla="*/ 0 w 396240"/>
                <a:gd name="connsiteY0" fmla="*/ 0 h 0"/>
                <a:gd name="connsiteX1" fmla="*/ 396240 w 396240"/>
                <a:gd name="connsiteY1" fmla="*/ 0 h 0"/>
              </a:gdLst>
              <a:ahLst/>
              <a:cxnLst>
                <a:cxn ang="0">
                  <a:pos x="connsiteX0" y="connsiteY0"/>
                </a:cxn>
                <a:cxn ang="0">
                  <a:pos x="connsiteX1" y="connsiteY1"/>
                </a:cxn>
              </a:cxnLst>
              <a:rect l="l" t="t" r="r" b="b"/>
              <a:pathLst>
                <a:path w="396240">
                  <a:moveTo>
                    <a:pt x="0" y="0"/>
                  </a:moveTo>
                  <a:lnTo>
                    <a:pt x="396240" y="0"/>
                  </a:lnTo>
                </a:path>
              </a:pathLst>
            </a:cu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grpSp>
        <p:nvGrpSpPr>
          <p:cNvPr id="391" name="Group 390">
            <a:extLst>
              <a:ext uri="{FF2B5EF4-FFF2-40B4-BE49-F238E27FC236}">
                <a16:creationId xmlns:a16="http://schemas.microsoft.com/office/drawing/2014/main" id="{F4D14A36-5B95-4DAD-ACA5-B0EDC8183AE4}"/>
              </a:ext>
            </a:extLst>
          </p:cNvPr>
          <p:cNvGrpSpPr/>
          <p:nvPr/>
        </p:nvGrpSpPr>
        <p:grpSpPr>
          <a:xfrm>
            <a:off x="3366282" y="1446657"/>
            <a:ext cx="344067" cy="344067"/>
            <a:chOff x="1817606" y="2379531"/>
            <a:chExt cx="594360" cy="594360"/>
          </a:xfrm>
        </p:grpSpPr>
        <p:sp>
          <p:nvSpPr>
            <p:cNvPr id="395" name="Freeform 5">
              <a:extLst>
                <a:ext uri="{FF2B5EF4-FFF2-40B4-BE49-F238E27FC236}">
                  <a16:creationId xmlns:a16="http://schemas.microsoft.com/office/drawing/2014/main" id="{40EB4E92-4293-4C5C-BB14-3858CAE9D567}"/>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403" name="Group 157">
              <a:extLst>
                <a:ext uri="{FF2B5EF4-FFF2-40B4-BE49-F238E27FC236}">
                  <a16:creationId xmlns:a16="http://schemas.microsoft.com/office/drawing/2014/main" id="{F3E4E886-7EBE-4034-A6C3-B05BC0C75C43}"/>
                </a:ext>
              </a:extLst>
            </p:cNvPr>
            <p:cNvGrpSpPr>
              <a:grpSpLocks noChangeAspect="1"/>
            </p:cNvGrpSpPr>
            <p:nvPr/>
          </p:nvGrpSpPr>
          <p:grpSpPr>
            <a:xfrm>
              <a:off x="1928007" y="2538225"/>
              <a:ext cx="373559" cy="276972"/>
              <a:chOff x="13636625" y="1373188"/>
              <a:chExt cx="1330325" cy="825500"/>
            </a:xfrm>
            <a:solidFill>
              <a:schemeClr val="bg2"/>
            </a:solidFill>
          </p:grpSpPr>
          <p:sp>
            <p:nvSpPr>
              <p:cNvPr id="405" name="Rectangle 17">
                <a:extLst>
                  <a:ext uri="{FF2B5EF4-FFF2-40B4-BE49-F238E27FC236}">
                    <a16:creationId xmlns:a16="http://schemas.microsoft.com/office/drawing/2014/main" id="{23440EC0-E2F4-4872-81AC-9EBE621A7004}"/>
                  </a:ext>
                </a:extLst>
              </p:cNvPr>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06" name="Rectangle 18">
                <a:extLst>
                  <a:ext uri="{FF2B5EF4-FFF2-40B4-BE49-F238E27FC236}">
                    <a16:creationId xmlns:a16="http://schemas.microsoft.com/office/drawing/2014/main" id="{D548C198-3C8D-4B51-9A51-C1216F7ACBC3}"/>
                  </a:ext>
                </a:extLst>
              </p:cNvPr>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07" name="Rectangle 19">
                <a:extLst>
                  <a:ext uri="{FF2B5EF4-FFF2-40B4-BE49-F238E27FC236}">
                    <a16:creationId xmlns:a16="http://schemas.microsoft.com/office/drawing/2014/main" id="{B3E7CB5D-4E38-4D5F-9E8A-B8589F94DF76}"/>
                  </a:ext>
                </a:extLst>
              </p:cNvPr>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08" name="Rectangle 20">
                <a:extLst>
                  <a:ext uri="{FF2B5EF4-FFF2-40B4-BE49-F238E27FC236}">
                    <a16:creationId xmlns:a16="http://schemas.microsoft.com/office/drawing/2014/main" id="{7FC2F1E6-7294-4B1D-8612-7CB8CF74E73F}"/>
                  </a:ext>
                </a:extLst>
              </p:cNvPr>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09" name="Rectangle 21">
                <a:extLst>
                  <a:ext uri="{FF2B5EF4-FFF2-40B4-BE49-F238E27FC236}">
                    <a16:creationId xmlns:a16="http://schemas.microsoft.com/office/drawing/2014/main" id="{02EBCC15-DE2C-4C04-874F-275C42FD3559}"/>
                  </a:ext>
                </a:extLst>
              </p:cNvPr>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11" name="Rectangle 22">
                <a:extLst>
                  <a:ext uri="{FF2B5EF4-FFF2-40B4-BE49-F238E27FC236}">
                    <a16:creationId xmlns:a16="http://schemas.microsoft.com/office/drawing/2014/main" id="{28AF72B0-D01E-475D-A36F-D594772AA49B}"/>
                  </a:ext>
                </a:extLst>
              </p:cNvPr>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12" name="Rectangle 23">
                <a:extLst>
                  <a:ext uri="{FF2B5EF4-FFF2-40B4-BE49-F238E27FC236}">
                    <a16:creationId xmlns:a16="http://schemas.microsoft.com/office/drawing/2014/main" id="{65BE58BF-DE60-4854-8299-ACF95C2BF784}"/>
                  </a:ext>
                </a:extLst>
              </p:cNvPr>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14" name="Rectangle 24">
                <a:extLst>
                  <a:ext uri="{FF2B5EF4-FFF2-40B4-BE49-F238E27FC236}">
                    <a16:creationId xmlns:a16="http://schemas.microsoft.com/office/drawing/2014/main" id="{43EE94FC-3887-430A-88B6-48036075D3CD}"/>
                  </a:ext>
                </a:extLst>
              </p:cNvPr>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15" name="Rectangle 25">
                <a:extLst>
                  <a:ext uri="{FF2B5EF4-FFF2-40B4-BE49-F238E27FC236}">
                    <a16:creationId xmlns:a16="http://schemas.microsoft.com/office/drawing/2014/main" id="{F314010B-9862-4732-BD3B-3CBEFA492902}"/>
                  </a:ext>
                </a:extLst>
              </p:cNvPr>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17" name="Rectangle 26">
                <a:extLst>
                  <a:ext uri="{FF2B5EF4-FFF2-40B4-BE49-F238E27FC236}">
                    <a16:creationId xmlns:a16="http://schemas.microsoft.com/office/drawing/2014/main" id="{7F3EAA57-C8CE-4B24-867F-1255A9978E4F}"/>
                  </a:ext>
                </a:extLst>
              </p:cNvPr>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18" name="Rectangle 27">
                <a:extLst>
                  <a:ext uri="{FF2B5EF4-FFF2-40B4-BE49-F238E27FC236}">
                    <a16:creationId xmlns:a16="http://schemas.microsoft.com/office/drawing/2014/main" id="{D666CB06-0196-4CBE-BA99-7BFEC35A8991}"/>
                  </a:ext>
                </a:extLst>
              </p:cNvPr>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20" name="Rectangle 28">
                <a:extLst>
                  <a:ext uri="{FF2B5EF4-FFF2-40B4-BE49-F238E27FC236}">
                    <a16:creationId xmlns:a16="http://schemas.microsoft.com/office/drawing/2014/main" id="{7030BCB5-DA5C-4D22-B851-DDEBDA5B3A8C}"/>
                  </a:ext>
                </a:extLst>
              </p:cNvPr>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21" name="Rectangle 29">
                <a:extLst>
                  <a:ext uri="{FF2B5EF4-FFF2-40B4-BE49-F238E27FC236}">
                    <a16:creationId xmlns:a16="http://schemas.microsoft.com/office/drawing/2014/main" id="{C7F62A5A-2011-424F-A1B6-33DE9FA6459B}"/>
                  </a:ext>
                </a:extLst>
              </p:cNvPr>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22" name="Rectangle 30">
                <a:extLst>
                  <a:ext uri="{FF2B5EF4-FFF2-40B4-BE49-F238E27FC236}">
                    <a16:creationId xmlns:a16="http://schemas.microsoft.com/office/drawing/2014/main" id="{5BB2BE8B-FD38-4D60-822E-64303FA11BD9}"/>
                  </a:ext>
                </a:extLst>
              </p:cNvPr>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23" name="Rectangle 31">
                <a:extLst>
                  <a:ext uri="{FF2B5EF4-FFF2-40B4-BE49-F238E27FC236}">
                    <a16:creationId xmlns:a16="http://schemas.microsoft.com/office/drawing/2014/main" id="{DD6014AB-AEB9-407B-996C-527EDB7CFDE6}"/>
                  </a:ext>
                </a:extLst>
              </p:cNvPr>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25" name="Rectangle 32">
                <a:extLst>
                  <a:ext uri="{FF2B5EF4-FFF2-40B4-BE49-F238E27FC236}">
                    <a16:creationId xmlns:a16="http://schemas.microsoft.com/office/drawing/2014/main" id="{D76F59A5-349E-4513-8732-74A37B864E2D}"/>
                  </a:ext>
                </a:extLst>
              </p:cNvPr>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26" name="Rectangle 33">
                <a:extLst>
                  <a:ext uri="{FF2B5EF4-FFF2-40B4-BE49-F238E27FC236}">
                    <a16:creationId xmlns:a16="http://schemas.microsoft.com/office/drawing/2014/main" id="{7C4F2C4A-D88B-4B46-B0B6-476E70C1EA81}"/>
                  </a:ext>
                </a:extLst>
              </p:cNvPr>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28" name="Rectangle 34">
                <a:extLst>
                  <a:ext uri="{FF2B5EF4-FFF2-40B4-BE49-F238E27FC236}">
                    <a16:creationId xmlns:a16="http://schemas.microsoft.com/office/drawing/2014/main" id="{EE283E06-1389-4FC2-A123-4625DB922C84}"/>
                  </a:ext>
                </a:extLst>
              </p:cNvPr>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29" name="Rectangle 35">
                <a:extLst>
                  <a:ext uri="{FF2B5EF4-FFF2-40B4-BE49-F238E27FC236}">
                    <a16:creationId xmlns:a16="http://schemas.microsoft.com/office/drawing/2014/main" id="{ADF511F0-2664-4E98-8D9D-6F6A1B1222E9}"/>
                  </a:ext>
                </a:extLst>
              </p:cNvPr>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31" name="Rectangle 36">
                <a:extLst>
                  <a:ext uri="{FF2B5EF4-FFF2-40B4-BE49-F238E27FC236}">
                    <a16:creationId xmlns:a16="http://schemas.microsoft.com/office/drawing/2014/main" id="{A3ED8EBF-32D6-4659-9F22-D9147C403E1C}"/>
                  </a:ext>
                </a:extLst>
              </p:cNvPr>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432" name="Rectangle 37">
                <a:extLst>
                  <a:ext uri="{FF2B5EF4-FFF2-40B4-BE49-F238E27FC236}">
                    <a16:creationId xmlns:a16="http://schemas.microsoft.com/office/drawing/2014/main" id="{9C2F3497-16F8-4426-BF69-3AF08563A5AC}"/>
                  </a:ext>
                </a:extLst>
              </p:cNvPr>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grpSp>
      </p:grpSp>
      <p:sp>
        <p:nvSpPr>
          <p:cNvPr id="410" name="Freeform 7">
            <a:extLst>
              <a:ext uri="{FF2B5EF4-FFF2-40B4-BE49-F238E27FC236}">
                <a16:creationId xmlns:a16="http://schemas.microsoft.com/office/drawing/2014/main" id="{D0FEC83C-95DE-4D60-9C0F-8C69728DA4FA}"/>
              </a:ext>
            </a:extLst>
          </p:cNvPr>
          <p:cNvSpPr>
            <a:spLocks noEditPoints="1"/>
          </p:cNvSpPr>
          <p:nvPr/>
        </p:nvSpPr>
        <p:spPr bwMode="auto">
          <a:xfrm>
            <a:off x="3173532" y="1442101"/>
            <a:ext cx="105718" cy="114124"/>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13" name="Freeform 7">
            <a:extLst>
              <a:ext uri="{FF2B5EF4-FFF2-40B4-BE49-F238E27FC236}">
                <a16:creationId xmlns:a16="http://schemas.microsoft.com/office/drawing/2014/main" id="{FE0079C3-7BA4-421F-80A0-F149912D075F}"/>
              </a:ext>
            </a:extLst>
          </p:cNvPr>
          <p:cNvSpPr>
            <a:spLocks noEditPoints="1"/>
          </p:cNvSpPr>
          <p:nvPr/>
        </p:nvSpPr>
        <p:spPr bwMode="auto">
          <a:xfrm>
            <a:off x="3502438" y="1241171"/>
            <a:ext cx="105718" cy="114124"/>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16" name="Freeform 7">
            <a:extLst>
              <a:ext uri="{FF2B5EF4-FFF2-40B4-BE49-F238E27FC236}">
                <a16:creationId xmlns:a16="http://schemas.microsoft.com/office/drawing/2014/main" id="{8573083F-99EE-42F2-B891-FCB95AE8039C}"/>
              </a:ext>
            </a:extLst>
          </p:cNvPr>
          <p:cNvSpPr>
            <a:spLocks noEditPoints="1"/>
          </p:cNvSpPr>
          <p:nvPr/>
        </p:nvSpPr>
        <p:spPr bwMode="auto">
          <a:xfrm>
            <a:off x="3313880" y="1301269"/>
            <a:ext cx="105718" cy="114124"/>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BCA98A49-FD05-4AE8-A9B4-5AAC0D98FF15}"/>
              </a:ext>
            </a:extLst>
          </p:cNvPr>
          <p:cNvGrpSpPr/>
          <p:nvPr/>
        </p:nvGrpSpPr>
        <p:grpSpPr>
          <a:xfrm>
            <a:off x="845322" y="1446657"/>
            <a:ext cx="5373182" cy="2995217"/>
            <a:chOff x="844564" y="1446627"/>
            <a:chExt cx="5699970" cy="3177381"/>
          </a:xfrm>
        </p:grpSpPr>
        <p:sp>
          <p:nvSpPr>
            <p:cNvPr id="356" name="Rectangle: Rounded Corners 355">
              <a:extLst>
                <a:ext uri="{FF2B5EF4-FFF2-40B4-BE49-F238E27FC236}">
                  <a16:creationId xmlns:a16="http://schemas.microsoft.com/office/drawing/2014/main" id="{565B9F29-7D7F-4D58-8155-8063A94288E6}"/>
                </a:ext>
              </a:extLst>
            </p:cNvPr>
            <p:cNvSpPr/>
            <p:nvPr/>
          </p:nvSpPr>
          <p:spPr>
            <a:xfrm>
              <a:off x="1042621" y="1636296"/>
              <a:ext cx="5318290" cy="2814093"/>
            </a:xfrm>
            <a:prstGeom prst="roundRect">
              <a:avLst>
                <a:gd name="adj" fmla="val 14277"/>
              </a:avLst>
            </a:prstGeom>
            <a:noFill/>
            <a:ln w="12700" cap="rnd" cmpd="sng">
              <a:solidFill>
                <a:schemeClr val="accent5"/>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680" name="Group 679">
              <a:extLst>
                <a:ext uri="{FF2B5EF4-FFF2-40B4-BE49-F238E27FC236}">
                  <a16:creationId xmlns:a16="http://schemas.microsoft.com/office/drawing/2014/main" id="{AD762125-B27C-4727-A9FE-CD38D154BAD7}"/>
                </a:ext>
              </a:extLst>
            </p:cNvPr>
            <p:cNvGrpSpPr/>
            <p:nvPr/>
          </p:nvGrpSpPr>
          <p:grpSpPr>
            <a:xfrm>
              <a:off x="844564" y="2930916"/>
              <a:ext cx="369212" cy="369212"/>
              <a:chOff x="1817606" y="2379531"/>
              <a:chExt cx="594360" cy="594360"/>
            </a:xfrm>
          </p:grpSpPr>
          <p:sp>
            <p:nvSpPr>
              <p:cNvPr id="681" name="Freeform 5">
                <a:extLst>
                  <a:ext uri="{FF2B5EF4-FFF2-40B4-BE49-F238E27FC236}">
                    <a16:creationId xmlns:a16="http://schemas.microsoft.com/office/drawing/2014/main" id="{0CA0AD24-61D2-4AB9-8CB1-FA027531DE71}"/>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682" name="Group 157">
                <a:extLst>
                  <a:ext uri="{FF2B5EF4-FFF2-40B4-BE49-F238E27FC236}">
                    <a16:creationId xmlns:a16="http://schemas.microsoft.com/office/drawing/2014/main" id="{296E3B2E-08AE-454C-AECB-B38A0AA179DE}"/>
                  </a:ext>
                </a:extLst>
              </p:cNvPr>
              <p:cNvGrpSpPr>
                <a:grpSpLocks noChangeAspect="1"/>
              </p:cNvGrpSpPr>
              <p:nvPr/>
            </p:nvGrpSpPr>
            <p:grpSpPr>
              <a:xfrm>
                <a:off x="1928007" y="2538225"/>
                <a:ext cx="373559" cy="276972"/>
                <a:chOff x="13636625" y="1373188"/>
                <a:chExt cx="1330325" cy="825500"/>
              </a:xfrm>
              <a:solidFill>
                <a:schemeClr val="bg2"/>
              </a:solidFill>
            </p:grpSpPr>
            <p:sp>
              <p:nvSpPr>
                <p:cNvPr id="683" name="Rectangle 17">
                  <a:extLst>
                    <a:ext uri="{FF2B5EF4-FFF2-40B4-BE49-F238E27FC236}">
                      <a16:creationId xmlns:a16="http://schemas.microsoft.com/office/drawing/2014/main" id="{BEFE3A8A-2923-436D-9DDD-B1D0ADC7C645}"/>
                    </a:ext>
                  </a:extLst>
                </p:cNvPr>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684" name="Rectangle 18">
                  <a:extLst>
                    <a:ext uri="{FF2B5EF4-FFF2-40B4-BE49-F238E27FC236}">
                      <a16:creationId xmlns:a16="http://schemas.microsoft.com/office/drawing/2014/main" id="{9CDE7141-7766-4A41-AD29-9F11DAEFFAB9}"/>
                    </a:ext>
                  </a:extLst>
                </p:cNvPr>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685" name="Rectangle 19">
                  <a:extLst>
                    <a:ext uri="{FF2B5EF4-FFF2-40B4-BE49-F238E27FC236}">
                      <a16:creationId xmlns:a16="http://schemas.microsoft.com/office/drawing/2014/main" id="{C39E8FA4-4AA1-4797-AF1C-EB5EBB1F2425}"/>
                    </a:ext>
                  </a:extLst>
                </p:cNvPr>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686" name="Rectangle 20">
                  <a:extLst>
                    <a:ext uri="{FF2B5EF4-FFF2-40B4-BE49-F238E27FC236}">
                      <a16:creationId xmlns:a16="http://schemas.microsoft.com/office/drawing/2014/main" id="{5005480A-12E8-48C7-8D28-AACADE21BB36}"/>
                    </a:ext>
                  </a:extLst>
                </p:cNvPr>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687" name="Rectangle 21">
                  <a:extLst>
                    <a:ext uri="{FF2B5EF4-FFF2-40B4-BE49-F238E27FC236}">
                      <a16:creationId xmlns:a16="http://schemas.microsoft.com/office/drawing/2014/main" id="{DF003F6E-88EC-4E99-99BC-69537C1EFC5C}"/>
                    </a:ext>
                  </a:extLst>
                </p:cNvPr>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688" name="Rectangle 22">
                  <a:extLst>
                    <a:ext uri="{FF2B5EF4-FFF2-40B4-BE49-F238E27FC236}">
                      <a16:creationId xmlns:a16="http://schemas.microsoft.com/office/drawing/2014/main" id="{1338E25B-CE89-4E4D-8121-F7067D5AF74B}"/>
                    </a:ext>
                  </a:extLst>
                </p:cNvPr>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689" name="Rectangle 23">
                  <a:extLst>
                    <a:ext uri="{FF2B5EF4-FFF2-40B4-BE49-F238E27FC236}">
                      <a16:creationId xmlns:a16="http://schemas.microsoft.com/office/drawing/2014/main" id="{F67257F7-D503-475B-AF18-95093E813512}"/>
                    </a:ext>
                  </a:extLst>
                </p:cNvPr>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690" name="Rectangle 24">
                  <a:extLst>
                    <a:ext uri="{FF2B5EF4-FFF2-40B4-BE49-F238E27FC236}">
                      <a16:creationId xmlns:a16="http://schemas.microsoft.com/office/drawing/2014/main" id="{7FA365BB-60AC-4CBF-A3E4-B773E64BEE43}"/>
                    </a:ext>
                  </a:extLst>
                </p:cNvPr>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691" name="Rectangle 25">
                  <a:extLst>
                    <a:ext uri="{FF2B5EF4-FFF2-40B4-BE49-F238E27FC236}">
                      <a16:creationId xmlns:a16="http://schemas.microsoft.com/office/drawing/2014/main" id="{E7C004B6-0852-4502-B075-354E6EAA9472}"/>
                    </a:ext>
                  </a:extLst>
                </p:cNvPr>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692" name="Rectangle 26">
                  <a:extLst>
                    <a:ext uri="{FF2B5EF4-FFF2-40B4-BE49-F238E27FC236}">
                      <a16:creationId xmlns:a16="http://schemas.microsoft.com/office/drawing/2014/main" id="{6BEF29C9-E1AB-4304-AC03-303998C12AAE}"/>
                    </a:ext>
                  </a:extLst>
                </p:cNvPr>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693" name="Rectangle 27">
                  <a:extLst>
                    <a:ext uri="{FF2B5EF4-FFF2-40B4-BE49-F238E27FC236}">
                      <a16:creationId xmlns:a16="http://schemas.microsoft.com/office/drawing/2014/main" id="{2F1E020C-C053-4779-A08B-62D9EA7D375D}"/>
                    </a:ext>
                  </a:extLst>
                </p:cNvPr>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694" name="Rectangle 28">
                  <a:extLst>
                    <a:ext uri="{FF2B5EF4-FFF2-40B4-BE49-F238E27FC236}">
                      <a16:creationId xmlns:a16="http://schemas.microsoft.com/office/drawing/2014/main" id="{256B59C2-C930-43A8-9C1A-E758D7EB0163}"/>
                    </a:ext>
                  </a:extLst>
                </p:cNvPr>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695" name="Rectangle 29">
                  <a:extLst>
                    <a:ext uri="{FF2B5EF4-FFF2-40B4-BE49-F238E27FC236}">
                      <a16:creationId xmlns:a16="http://schemas.microsoft.com/office/drawing/2014/main" id="{0A9DB51E-CE4F-498D-B456-7CA7B7B0066B}"/>
                    </a:ext>
                  </a:extLst>
                </p:cNvPr>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696" name="Rectangle 30">
                  <a:extLst>
                    <a:ext uri="{FF2B5EF4-FFF2-40B4-BE49-F238E27FC236}">
                      <a16:creationId xmlns:a16="http://schemas.microsoft.com/office/drawing/2014/main" id="{137D5EB7-AD5B-4BBC-926F-36CFCA752D74}"/>
                    </a:ext>
                  </a:extLst>
                </p:cNvPr>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697" name="Rectangle 31">
                  <a:extLst>
                    <a:ext uri="{FF2B5EF4-FFF2-40B4-BE49-F238E27FC236}">
                      <a16:creationId xmlns:a16="http://schemas.microsoft.com/office/drawing/2014/main" id="{8B8BAA0E-2E33-4986-928C-52602B9F7C60}"/>
                    </a:ext>
                  </a:extLst>
                </p:cNvPr>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698" name="Rectangle 32">
                  <a:extLst>
                    <a:ext uri="{FF2B5EF4-FFF2-40B4-BE49-F238E27FC236}">
                      <a16:creationId xmlns:a16="http://schemas.microsoft.com/office/drawing/2014/main" id="{7AF8B081-B904-4F55-924A-9D842ECBEC02}"/>
                    </a:ext>
                  </a:extLst>
                </p:cNvPr>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699" name="Rectangle 33">
                  <a:extLst>
                    <a:ext uri="{FF2B5EF4-FFF2-40B4-BE49-F238E27FC236}">
                      <a16:creationId xmlns:a16="http://schemas.microsoft.com/office/drawing/2014/main" id="{EA0989D9-9B73-461D-B66D-2448EE18C5EF}"/>
                    </a:ext>
                  </a:extLst>
                </p:cNvPr>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00" name="Rectangle 34">
                  <a:extLst>
                    <a:ext uri="{FF2B5EF4-FFF2-40B4-BE49-F238E27FC236}">
                      <a16:creationId xmlns:a16="http://schemas.microsoft.com/office/drawing/2014/main" id="{55A61C9F-A1C1-436A-9D51-2368ED0C7BF2}"/>
                    </a:ext>
                  </a:extLst>
                </p:cNvPr>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01" name="Rectangle 35">
                  <a:extLst>
                    <a:ext uri="{FF2B5EF4-FFF2-40B4-BE49-F238E27FC236}">
                      <a16:creationId xmlns:a16="http://schemas.microsoft.com/office/drawing/2014/main" id="{1CB9FFE1-6FD3-4935-80C1-CEC408FAF448}"/>
                    </a:ext>
                  </a:extLst>
                </p:cNvPr>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02" name="Rectangle 36">
                  <a:extLst>
                    <a:ext uri="{FF2B5EF4-FFF2-40B4-BE49-F238E27FC236}">
                      <a16:creationId xmlns:a16="http://schemas.microsoft.com/office/drawing/2014/main" id="{4F193334-51A3-4B98-AD91-D895A4F515CF}"/>
                    </a:ext>
                  </a:extLst>
                </p:cNvPr>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03" name="Rectangle 37">
                  <a:extLst>
                    <a:ext uri="{FF2B5EF4-FFF2-40B4-BE49-F238E27FC236}">
                      <a16:creationId xmlns:a16="http://schemas.microsoft.com/office/drawing/2014/main" id="{628B8684-CFA6-40EA-A899-10DC190D5F10}"/>
                    </a:ext>
                  </a:extLst>
                </p:cNvPr>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grpSp>
        </p:grpSp>
        <p:grpSp>
          <p:nvGrpSpPr>
            <p:cNvPr id="704" name="Group 703">
              <a:extLst>
                <a:ext uri="{FF2B5EF4-FFF2-40B4-BE49-F238E27FC236}">
                  <a16:creationId xmlns:a16="http://schemas.microsoft.com/office/drawing/2014/main" id="{DC2E776B-3758-4A79-A4A6-07C96C44D296}"/>
                </a:ext>
              </a:extLst>
            </p:cNvPr>
            <p:cNvGrpSpPr/>
            <p:nvPr/>
          </p:nvGrpSpPr>
          <p:grpSpPr>
            <a:xfrm>
              <a:off x="3517160" y="1446627"/>
              <a:ext cx="369212" cy="369212"/>
              <a:chOff x="1817606" y="2379531"/>
              <a:chExt cx="594360" cy="594360"/>
            </a:xfrm>
          </p:grpSpPr>
          <p:sp>
            <p:nvSpPr>
              <p:cNvPr id="705" name="Freeform 5">
                <a:extLst>
                  <a:ext uri="{FF2B5EF4-FFF2-40B4-BE49-F238E27FC236}">
                    <a16:creationId xmlns:a16="http://schemas.microsoft.com/office/drawing/2014/main" id="{40D0DDA1-2656-4317-B7B5-55B2E9A1644A}"/>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706" name="Group 157">
                <a:extLst>
                  <a:ext uri="{FF2B5EF4-FFF2-40B4-BE49-F238E27FC236}">
                    <a16:creationId xmlns:a16="http://schemas.microsoft.com/office/drawing/2014/main" id="{BDE402FD-A87B-4682-BC27-54852312FA6B}"/>
                  </a:ext>
                </a:extLst>
              </p:cNvPr>
              <p:cNvGrpSpPr>
                <a:grpSpLocks noChangeAspect="1"/>
              </p:cNvGrpSpPr>
              <p:nvPr/>
            </p:nvGrpSpPr>
            <p:grpSpPr>
              <a:xfrm>
                <a:off x="1928007" y="2538225"/>
                <a:ext cx="373559" cy="276972"/>
                <a:chOff x="13636625" y="1373188"/>
                <a:chExt cx="1330325" cy="825500"/>
              </a:xfrm>
              <a:solidFill>
                <a:schemeClr val="bg2"/>
              </a:solidFill>
            </p:grpSpPr>
            <p:sp>
              <p:nvSpPr>
                <p:cNvPr id="707" name="Rectangle 17">
                  <a:extLst>
                    <a:ext uri="{FF2B5EF4-FFF2-40B4-BE49-F238E27FC236}">
                      <a16:creationId xmlns:a16="http://schemas.microsoft.com/office/drawing/2014/main" id="{06FA36A3-E277-4113-9EE3-2D05A8495FE4}"/>
                    </a:ext>
                  </a:extLst>
                </p:cNvPr>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08" name="Rectangle 18">
                  <a:extLst>
                    <a:ext uri="{FF2B5EF4-FFF2-40B4-BE49-F238E27FC236}">
                      <a16:creationId xmlns:a16="http://schemas.microsoft.com/office/drawing/2014/main" id="{12D8CCDD-4F9F-4EEB-88F3-02126C056E80}"/>
                    </a:ext>
                  </a:extLst>
                </p:cNvPr>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09" name="Rectangle 19">
                  <a:extLst>
                    <a:ext uri="{FF2B5EF4-FFF2-40B4-BE49-F238E27FC236}">
                      <a16:creationId xmlns:a16="http://schemas.microsoft.com/office/drawing/2014/main" id="{2482F8AF-27AD-407B-981C-34F0EEBD45C7}"/>
                    </a:ext>
                  </a:extLst>
                </p:cNvPr>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10" name="Rectangle 20">
                  <a:extLst>
                    <a:ext uri="{FF2B5EF4-FFF2-40B4-BE49-F238E27FC236}">
                      <a16:creationId xmlns:a16="http://schemas.microsoft.com/office/drawing/2014/main" id="{0867076A-AE8C-413B-B51A-BA14C7B011FE}"/>
                    </a:ext>
                  </a:extLst>
                </p:cNvPr>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11" name="Rectangle 21">
                  <a:extLst>
                    <a:ext uri="{FF2B5EF4-FFF2-40B4-BE49-F238E27FC236}">
                      <a16:creationId xmlns:a16="http://schemas.microsoft.com/office/drawing/2014/main" id="{9F336BB7-ABAA-4853-9E6D-BF85C8FB9A00}"/>
                    </a:ext>
                  </a:extLst>
                </p:cNvPr>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12" name="Rectangle 22">
                  <a:extLst>
                    <a:ext uri="{FF2B5EF4-FFF2-40B4-BE49-F238E27FC236}">
                      <a16:creationId xmlns:a16="http://schemas.microsoft.com/office/drawing/2014/main" id="{DEB33812-1108-4CCD-A3D3-4F55C3D52C41}"/>
                    </a:ext>
                  </a:extLst>
                </p:cNvPr>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13" name="Rectangle 23">
                  <a:extLst>
                    <a:ext uri="{FF2B5EF4-FFF2-40B4-BE49-F238E27FC236}">
                      <a16:creationId xmlns:a16="http://schemas.microsoft.com/office/drawing/2014/main" id="{4DEB768B-851A-49C3-9B86-D0DCA380AC80}"/>
                    </a:ext>
                  </a:extLst>
                </p:cNvPr>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14" name="Rectangle 24">
                  <a:extLst>
                    <a:ext uri="{FF2B5EF4-FFF2-40B4-BE49-F238E27FC236}">
                      <a16:creationId xmlns:a16="http://schemas.microsoft.com/office/drawing/2014/main" id="{8F776869-15F0-47C3-9CDB-9D542E7804E9}"/>
                    </a:ext>
                  </a:extLst>
                </p:cNvPr>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15" name="Rectangle 25">
                  <a:extLst>
                    <a:ext uri="{FF2B5EF4-FFF2-40B4-BE49-F238E27FC236}">
                      <a16:creationId xmlns:a16="http://schemas.microsoft.com/office/drawing/2014/main" id="{422FA3D6-CB86-4BD4-9748-5B2BEAEC8135}"/>
                    </a:ext>
                  </a:extLst>
                </p:cNvPr>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16" name="Rectangle 26">
                  <a:extLst>
                    <a:ext uri="{FF2B5EF4-FFF2-40B4-BE49-F238E27FC236}">
                      <a16:creationId xmlns:a16="http://schemas.microsoft.com/office/drawing/2014/main" id="{588C999D-F07C-4111-A195-8104DCC5A5D9}"/>
                    </a:ext>
                  </a:extLst>
                </p:cNvPr>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17" name="Rectangle 27">
                  <a:extLst>
                    <a:ext uri="{FF2B5EF4-FFF2-40B4-BE49-F238E27FC236}">
                      <a16:creationId xmlns:a16="http://schemas.microsoft.com/office/drawing/2014/main" id="{FE3344E0-C84A-4978-B58E-820FF6F71219}"/>
                    </a:ext>
                  </a:extLst>
                </p:cNvPr>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18" name="Rectangle 28">
                  <a:extLst>
                    <a:ext uri="{FF2B5EF4-FFF2-40B4-BE49-F238E27FC236}">
                      <a16:creationId xmlns:a16="http://schemas.microsoft.com/office/drawing/2014/main" id="{BCB0A35F-6D90-44C1-8A4B-097A6A848161}"/>
                    </a:ext>
                  </a:extLst>
                </p:cNvPr>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19" name="Rectangle 29">
                  <a:extLst>
                    <a:ext uri="{FF2B5EF4-FFF2-40B4-BE49-F238E27FC236}">
                      <a16:creationId xmlns:a16="http://schemas.microsoft.com/office/drawing/2014/main" id="{F6765AC7-A9D5-4D40-87B3-BF27C804E8CC}"/>
                    </a:ext>
                  </a:extLst>
                </p:cNvPr>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20" name="Rectangle 30">
                  <a:extLst>
                    <a:ext uri="{FF2B5EF4-FFF2-40B4-BE49-F238E27FC236}">
                      <a16:creationId xmlns:a16="http://schemas.microsoft.com/office/drawing/2014/main" id="{939465A8-8ECF-49FB-8020-F204777FFBCF}"/>
                    </a:ext>
                  </a:extLst>
                </p:cNvPr>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21" name="Rectangle 31">
                  <a:extLst>
                    <a:ext uri="{FF2B5EF4-FFF2-40B4-BE49-F238E27FC236}">
                      <a16:creationId xmlns:a16="http://schemas.microsoft.com/office/drawing/2014/main" id="{9ACE19C1-57C6-485F-B7B4-444A3FE0FCAD}"/>
                    </a:ext>
                  </a:extLst>
                </p:cNvPr>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22" name="Rectangle 32">
                  <a:extLst>
                    <a:ext uri="{FF2B5EF4-FFF2-40B4-BE49-F238E27FC236}">
                      <a16:creationId xmlns:a16="http://schemas.microsoft.com/office/drawing/2014/main" id="{43F44260-CC92-4ED6-85DA-7803D5026F02}"/>
                    </a:ext>
                  </a:extLst>
                </p:cNvPr>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23" name="Rectangle 33">
                  <a:extLst>
                    <a:ext uri="{FF2B5EF4-FFF2-40B4-BE49-F238E27FC236}">
                      <a16:creationId xmlns:a16="http://schemas.microsoft.com/office/drawing/2014/main" id="{817131A8-9E3A-4A08-8FC9-2622440EE186}"/>
                    </a:ext>
                  </a:extLst>
                </p:cNvPr>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24" name="Rectangle 34">
                  <a:extLst>
                    <a:ext uri="{FF2B5EF4-FFF2-40B4-BE49-F238E27FC236}">
                      <a16:creationId xmlns:a16="http://schemas.microsoft.com/office/drawing/2014/main" id="{32BB89E8-1E02-4286-9260-8E4569FFAA83}"/>
                    </a:ext>
                  </a:extLst>
                </p:cNvPr>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25" name="Rectangle 35">
                  <a:extLst>
                    <a:ext uri="{FF2B5EF4-FFF2-40B4-BE49-F238E27FC236}">
                      <a16:creationId xmlns:a16="http://schemas.microsoft.com/office/drawing/2014/main" id="{CE633475-559A-45B7-A95D-7F4C54D52BC1}"/>
                    </a:ext>
                  </a:extLst>
                </p:cNvPr>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26" name="Rectangle 36">
                  <a:extLst>
                    <a:ext uri="{FF2B5EF4-FFF2-40B4-BE49-F238E27FC236}">
                      <a16:creationId xmlns:a16="http://schemas.microsoft.com/office/drawing/2014/main" id="{959DF2F9-4FF0-432D-B219-7810C059CFD1}"/>
                    </a:ext>
                  </a:extLst>
                </p:cNvPr>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27" name="Rectangle 37">
                  <a:extLst>
                    <a:ext uri="{FF2B5EF4-FFF2-40B4-BE49-F238E27FC236}">
                      <a16:creationId xmlns:a16="http://schemas.microsoft.com/office/drawing/2014/main" id="{D545292B-CDEA-447E-A03F-9EB84213E138}"/>
                    </a:ext>
                  </a:extLst>
                </p:cNvPr>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grpSp>
        </p:grpSp>
        <p:grpSp>
          <p:nvGrpSpPr>
            <p:cNvPr id="728" name="Group 727">
              <a:extLst>
                <a:ext uri="{FF2B5EF4-FFF2-40B4-BE49-F238E27FC236}">
                  <a16:creationId xmlns:a16="http://schemas.microsoft.com/office/drawing/2014/main" id="{6ADF3C05-8D03-4EB5-9E39-18FB3BD13D71}"/>
                </a:ext>
              </a:extLst>
            </p:cNvPr>
            <p:cNvGrpSpPr/>
            <p:nvPr/>
          </p:nvGrpSpPr>
          <p:grpSpPr>
            <a:xfrm>
              <a:off x="3517160" y="4254796"/>
              <a:ext cx="369212" cy="369212"/>
              <a:chOff x="1817606" y="2379531"/>
              <a:chExt cx="594360" cy="594360"/>
            </a:xfrm>
          </p:grpSpPr>
          <p:sp>
            <p:nvSpPr>
              <p:cNvPr id="729" name="Freeform 5">
                <a:extLst>
                  <a:ext uri="{FF2B5EF4-FFF2-40B4-BE49-F238E27FC236}">
                    <a16:creationId xmlns:a16="http://schemas.microsoft.com/office/drawing/2014/main" id="{89B4BA80-1F8D-4ABE-9E91-0E5716F2CF52}"/>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730" name="Group 157">
                <a:extLst>
                  <a:ext uri="{FF2B5EF4-FFF2-40B4-BE49-F238E27FC236}">
                    <a16:creationId xmlns:a16="http://schemas.microsoft.com/office/drawing/2014/main" id="{869F72FB-3634-4764-85F7-54E44190C90E}"/>
                  </a:ext>
                </a:extLst>
              </p:cNvPr>
              <p:cNvGrpSpPr>
                <a:grpSpLocks noChangeAspect="1"/>
              </p:cNvGrpSpPr>
              <p:nvPr/>
            </p:nvGrpSpPr>
            <p:grpSpPr>
              <a:xfrm>
                <a:off x="1928007" y="2538225"/>
                <a:ext cx="373559" cy="276972"/>
                <a:chOff x="13636625" y="1373188"/>
                <a:chExt cx="1330325" cy="825500"/>
              </a:xfrm>
              <a:solidFill>
                <a:schemeClr val="bg2"/>
              </a:solidFill>
            </p:grpSpPr>
            <p:sp>
              <p:nvSpPr>
                <p:cNvPr id="731" name="Rectangle 17">
                  <a:extLst>
                    <a:ext uri="{FF2B5EF4-FFF2-40B4-BE49-F238E27FC236}">
                      <a16:creationId xmlns:a16="http://schemas.microsoft.com/office/drawing/2014/main" id="{4F0B097B-C738-4A49-BCB3-FC9BFA9AD25A}"/>
                    </a:ext>
                  </a:extLst>
                </p:cNvPr>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32" name="Rectangle 18">
                  <a:extLst>
                    <a:ext uri="{FF2B5EF4-FFF2-40B4-BE49-F238E27FC236}">
                      <a16:creationId xmlns:a16="http://schemas.microsoft.com/office/drawing/2014/main" id="{81E9E08D-BDC8-4A4C-A3B7-55857BCF1BDC}"/>
                    </a:ext>
                  </a:extLst>
                </p:cNvPr>
                <p:cNvSpPr>
                  <a:spLocks noChangeArrowheads="1"/>
                </p:cNvSpPr>
                <p:nvPr/>
              </p:nvSpPr>
              <p:spPr bwMode="auto">
                <a:xfrm>
                  <a:off x="14100174" y="1373188"/>
                  <a:ext cx="406398" cy="88901"/>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33" name="Rectangle 19">
                  <a:extLst>
                    <a:ext uri="{FF2B5EF4-FFF2-40B4-BE49-F238E27FC236}">
                      <a16:creationId xmlns:a16="http://schemas.microsoft.com/office/drawing/2014/main" id="{16AC4775-9F17-4DB7-96C9-B736C23D6F6C}"/>
                    </a:ext>
                  </a:extLst>
                </p:cNvPr>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34" name="Rectangle 20">
                  <a:extLst>
                    <a:ext uri="{FF2B5EF4-FFF2-40B4-BE49-F238E27FC236}">
                      <a16:creationId xmlns:a16="http://schemas.microsoft.com/office/drawing/2014/main" id="{5881CE32-844D-4857-82A5-79F8894B7A59}"/>
                    </a:ext>
                  </a:extLst>
                </p:cNvPr>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35" name="Rectangle 21">
                  <a:extLst>
                    <a:ext uri="{FF2B5EF4-FFF2-40B4-BE49-F238E27FC236}">
                      <a16:creationId xmlns:a16="http://schemas.microsoft.com/office/drawing/2014/main" id="{182C78BC-94BC-4B20-9D56-987C33450F05}"/>
                    </a:ext>
                  </a:extLst>
                </p:cNvPr>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36" name="Rectangle 22">
                  <a:extLst>
                    <a:ext uri="{FF2B5EF4-FFF2-40B4-BE49-F238E27FC236}">
                      <a16:creationId xmlns:a16="http://schemas.microsoft.com/office/drawing/2014/main" id="{41A90D3B-0188-40BD-8827-19E229916EC1}"/>
                    </a:ext>
                  </a:extLst>
                </p:cNvPr>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37" name="Rectangle 23">
                  <a:extLst>
                    <a:ext uri="{FF2B5EF4-FFF2-40B4-BE49-F238E27FC236}">
                      <a16:creationId xmlns:a16="http://schemas.microsoft.com/office/drawing/2014/main" id="{A6D63036-5B61-448D-A850-59803A437E38}"/>
                    </a:ext>
                  </a:extLst>
                </p:cNvPr>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38" name="Rectangle 24">
                  <a:extLst>
                    <a:ext uri="{FF2B5EF4-FFF2-40B4-BE49-F238E27FC236}">
                      <a16:creationId xmlns:a16="http://schemas.microsoft.com/office/drawing/2014/main" id="{2B35A97E-42EC-4412-B3C9-B4A60B04E8CD}"/>
                    </a:ext>
                  </a:extLst>
                </p:cNvPr>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39" name="Rectangle 25">
                  <a:extLst>
                    <a:ext uri="{FF2B5EF4-FFF2-40B4-BE49-F238E27FC236}">
                      <a16:creationId xmlns:a16="http://schemas.microsoft.com/office/drawing/2014/main" id="{A28D209D-E609-4054-83A8-803B73E593C7}"/>
                    </a:ext>
                  </a:extLst>
                </p:cNvPr>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40" name="Rectangle 26">
                  <a:extLst>
                    <a:ext uri="{FF2B5EF4-FFF2-40B4-BE49-F238E27FC236}">
                      <a16:creationId xmlns:a16="http://schemas.microsoft.com/office/drawing/2014/main" id="{60352534-627C-4DC1-A84E-1C61DFFAE65A}"/>
                    </a:ext>
                  </a:extLst>
                </p:cNvPr>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41" name="Rectangle 27">
                  <a:extLst>
                    <a:ext uri="{FF2B5EF4-FFF2-40B4-BE49-F238E27FC236}">
                      <a16:creationId xmlns:a16="http://schemas.microsoft.com/office/drawing/2014/main" id="{231D3D90-8FE0-4ED6-A380-5FDD0B238B57}"/>
                    </a:ext>
                  </a:extLst>
                </p:cNvPr>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42" name="Rectangle 28">
                  <a:extLst>
                    <a:ext uri="{FF2B5EF4-FFF2-40B4-BE49-F238E27FC236}">
                      <a16:creationId xmlns:a16="http://schemas.microsoft.com/office/drawing/2014/main" id="{86C8183F-7298-492C-9B92-C3DAA9BB022C}"/>
                    </a:ext>
                  </a:extLst>
                </p:cNvPr>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43" name="Rectangle 29">
                  <a:extLst>
                    <a:ext uri="{FF2B5EF4-FFF2-40B4-BE49-F238E27FC236}">
                      <a16:creationId xmlns:a16="http://schemas.microsoft.com/office/drawing/2014/main" id="{6D1DD128-5496-43C0-89C0-3477A559D710}"/>
                    </a:ext>
                  </a:extLst>
                </p:cNvPr>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44" name="Rectangle 30">
                  <a:extLst>
                    <a:ext uri="{FF2B5EF4-FFF2-40B4-BE49-F238E27FC236}">
                      <a16:creationId xmlns:a16="http://schemas.microsoft.com/office/drawing/2014/main" id="{910D7690-D2AC-44F0-907A-161808545A58}"/>
                    </a:ext>
                  </a:extLst>
                </p:cNvPr>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45" name="Rectangle 31">
                  <a:extLst>
                    <a:ext uri="{FF2B5EF4-FFF2-40B4-BE49-F238E27FC236}">
                      <a16:creationId xmlns:a16="http://schemas.microsoft.com/office/drawing/2014/main" id="{137492EB-B907-4F0F-8BC0-B93245A2BF6D}"/>
                    </a:ext>
                  </a:extLst>
                </p:cNvPr>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46" name="Rectangle 32">
                  <a:extLst>
                    <a:ext uri="{FF2B5EF4-FFF2-40B4-BE49-F238E27FC236}">
                      <a16:creationId xmlns:a16="http://schemas.microsoft.com/office/drawing/2014/main" id="{8C55CCB3-03C0-4DDD-8A61-705224A4C1D8}"/>
                    </a:ext>
                  </a:extLst>
                </p:cNvPr>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47" name="Rectangle 33">
                  <a:extLst>
                    <a:ext uri="{FF2B5EF4-FFF2-40B4-BE49-F238E27FC236}">
                      <a16:creationId xmlns:a16="http://schemas.microsoft.com/office/drawing/2014/main" id="{F4EDA259-6C2E-4D0F-A7CA-154623AE68F9}"/>
                    </a:ext>
                  </a:extLst>
                </p:cNvPr>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48" name="Rectangle 34">
                  <a:extLst>
                    <a:ext uri="{FF2B5EF4-FFF2-40B4-BE49-F238E27FC236}">
                      <a16:creationId xmlns:a16="http://schemas.microsoft.com/office/drawing/2014/main" id="{A325046C-ED38-4BDB-A104-D6D6880FF672}"/>
                    </a:ext>
                  </a:extLst>
                </p:cNvPr>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49" name="Rectangle 35">
                  <a:extLst>
                    <a:ext uri="{FF2B5EF4-FFF2-40B4-BE49-F238E27FC236}">
                      <a16:creationId xmlns:a16="http://schemas.microsoft.com/office/drawing/2014/main" id="{04AEEBFF-E95F-41D6-B559-634F61E51ADE}"/>
                    </a:ext>
                  </a:extLst>
                </p:cNvPr>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50" name="Rectangle 36">
                  <a:extLst>
                    <a:ext uri="{FF2B5EF4-FFF2-40B4-BE49-F238E27FC236}">
                      <a16:creationId xmlns:a16="http://schemas.microsoft.com/office/drawing/2014/main" id="{AF5DDD29-2508-42D9-80B2-4B8D0C5B38D9}"/>
                    </a:ext>
                  </a:extLst>
                </p:cNvPr>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51" name="Rectangle 37">
                  <a:extLst>
                    <a:ext uri="{FF2B5EF4-FFF2-40B4-BE49-F238E27FC236}">
                      <a16:creationId xmlns:a16="http://schemas.microsoft.com/office/drawing/2014/main" id="{8A8F77B1-BB6B-42AC-BFC0-C813BCF1AB4A}"/>
                    </a:ext>
                  </a:extLst>
                </p:cNvPr>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grpSp>
        </p:grpSp>
        <p:grpSp>
          <p:nvGrpSpPr>
            <p:cNvPr id="752" name="Group 751">
              <a:extLst>
                <a:ext uri="{FF2B5EF4-FFF2-40B4-BE49-F238E27FC236}">
                  <a16:creationId xmlns:a16="http://schemas.microsoft.com/office/drawing/2014/main" id="{F4032D8F-3662-4216-BC6C-6F16EFFF26F8}"/>
                </a:ext>
              </a:extLst>
            </p:cNvPr>
            <p:cNvGrpSpPr/>
            <p:nvPr/>
          </p:nvGrpSpPr>
          <p:grpSpPr>
            <a:xfrm>
              <a:off x="6175322" y="2930916"/>
              <a:ext cx="369212" cy="369212"/>
              <a:chOff x="1817606" y="2379531"/>
              <a:chExt cx="594360" cy="594360"/>
            </a:xfrm>
          </p:grpSpPr>
          <p:sp>
            <p:nvSpPr>
              <p:cNvPr id="753" name="Freeform 5">
                <a:extLst>
                  <a:ext uri="{FF2B5EF4-FFF2-40B4-BE49-F238E27FC236}">
                    <a16:creationId xmlns:a16="http://schemas.microsoft.com/office/drawing/2014/main" id="{E7864B13-DC2A-4670-AEE6-F7BFF936918F}"/>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754" name="Group 157">
                <a:extLst>
                  <a:ext uri="{FF2B5EF4-FFF2-40B4-BE49-F238E27FC236}">
                    <a16:creationId xmlns:a16="http://schemas.microsoft.com/office/drawing/2014/main" id="{03956073-ABAB-4851-AB69-32EE5F03C960}"/>
                  </a:ext>
                </a:extLst>
              </p:cNvPr>
              <p:cNvGrpSpPr>
                <a:grpSpLocks noChangeAspect="1"/>
              </p:cNvGrpSpPr>
              <p:nvPr/>
            </p:nvGrpSpPr>
            <p:grpSpPr>
              <a:xfrm>
                <a:off x="1928007" y="2538225"/>
                <a:ext cx="373559" cy="276972"/>
                <a:chOff x="13636625" y="1373188"/>
                <a:chExt cx="1330325" cy="825500"/>
              </a:xfrm>
              <a:solidFill>
                <a:schemeClr val="bg2"/>
              </a:solidFill>
            </p:grpSpPr>
            <p:sp>
              <p:nvSpPr>
                <p:cNvPr id="755" name="Rectangle 17">
                  <a:extLst>
                    <a:ext uri="{FF2B5EF4-FFF2-40B4-BE49-F238E27FC236}">
                      <a16:creationId xmlns:a16="http://schemas.microsoft.com/office/drawing/2014/main" id="{6ED784DC-0ADC-4702-8A8F-7832F5A990E2}"/>
                    </a:ext>
                  </a:extLst>
                </p:cNvPr>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56" name="Rectangle 18">
                  <a:extLst>
                    <a:ext uri="{FF2B5EF4-FFF2-40B4-BE49-F238E27FC236}">
                      <a16:creationId xmlns:a16="http://schemas.microsoft.com/office/drawing/2014/main" id="{27E9BF02-5E7E-4BF2-9C64-B9EAD40D05BA}"/>
                    </a:ext>
                  </a:extLst>
                </p:cNvPr>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57" name="Rectangle 19">
                  <a:extLst>
                    <a:ext uri="{FF2B5EF4-FFF2-40B4-BE49-F238E27FC236}">
                      <a16:creationId xmlns:a16="http://schemas.microsoft.com/office/drawing/2014/main" id="{7AA28CCF-0C81-4688-A484-EFC33E74A3A3}"/>
                    </a:ext>
                  </a:extLst>
                </p:cNvPr>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58" name="Rectangle 20">
                  <a:extLst>
                    <a:ext uri="{FF2B5EF4-FFF2-40B4-BE49-F238E27FC236}">
                      <a16:creationId xmlns:a16="http://schemas.microsoft.com/office/drawing/2014/main" id="{4F0BB8AD-FACC-495F-AE34-299917D7051D}"/>
                    </a:ext>
                  </a:extLst>
                </p:cNvPr>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59" name="Rectangle 21">
                  <a:extLst>
                    <a:ext uri="{FF2B5EF4-FFF2-40B4-BE49-F238E27FC236}">
                      <a16:creationId xmlns:a16="http://schemas.microsoft.com/office/drawing/2014/main" id="{D0669911-C0A6-46C5-BDAD-9482ACF7F410}"/>
                    </a:ext>
                  </a:extLst>
                </p:cNvPr>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60" name="Rectangle 22">
                  <a:extLst>
                    <a:ext uri="{FF2B5EF4-FFF2-40B4-BE49-F238E27FC236}">
                      <a16:creationId xmlns:a16="http://schemas.microsoft.com/office/drawing/2014/main" id="{FC1CF54D-BCC5-430F-AD9D-7B547AACCD6C}"/>
                    </a:ext>
                  </a:extLst>
                </p:cNvPr>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61" name="Rectangle 23">
                  <a:extLst>
                    <a:ext uri="{FF2B5EF4-FFF2-40B4-BE49-F238E27FC236}">
                      <a16:creationId xmlns:a16="http://schemas.microsoft.com/office/drawing/2014/main" id="{08684D09-E011-40A4-A73D-0A0641C0C76F}"/>
                    </a:ext>
                  </a:extLst>
                </p:cNvPr>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62" name="Rectangle 24">
                  <a:extLst>
                    <a:ext uri="{FF2B5EF4-FFF2-40B4-BE49-F238E27FC236}">
                      <a16:creationId xmlns:a16="http://schemas.microsoft.com/office/drawing/2014/main" id="{3B2B34EC-57F6-4F24-9E0E-439E1A0A3E0A}"/>
                    </a:ext>
                  </a:extLst>
                </p:cNvPr>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63" name="Rectangle 25">
                  <a:extLst>
                    <a:ext uri="{FF2B5EF4-FFF2-40B4-BE49-F238E27FC236}">
                      <a16:creationId xmlns:a16="http://schemas.microsoft.com/office/drawing/2014/main" id="{0295D006-A4B1-4108-B206-7932A6F1D86B}"/>
                    </a:ext>
                  </a:extLst>
                </p:cNvPr>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64" name="Rectangle 26">
                  <a:extLst>
                    <a:ext uri="{FF2B5EF4-FFF2-40B4-BE49-F238E27FC236}">
                      <a16:creationId xmlns:a16="http://schemas.microsoft.com/office/drawing/2014/main" id="{DFFAAD77-FA27-4910-B956-B6238351A5A6}"/>
                    </a:ext>
                  </a:extLst>
                </p:cNvPr>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65" name="Rectangle 27">
                  <a:extLst>
                    <a:ext uri="{FF2B5EF4-FFF2-40B4-BE49-F238E27FC236}">
                      <a16:creationId xmlns:a16="http://schemas.microsoft.com/office/drawing/2014/main" id="{F15FD0CE-B299-4B4E-B33F-0B22EBD2C9ED}"/>
                    </a:ext>
                  </a:extLst>
                </p:cNvPr>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66" name="Rectangle 28">
                  <a:extLst>
                    <a:ext uri="{FF2B5EF4-FFF2-40B4-BE49-F238E27FC236}">
                      <a16:creationId xmlns:a16="http://schemas.microsoft.com/office/drawing/2014/main" id="{5E565BAE-D956-442A-B127-7F5ADBB9175D}"/>
                    </a:ext>
                  </a:extLst>
                </p:cNvPr>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67" name="Rectangle 29">
                  <a:extLst>
                    <a:ext uri="{FF2B5EF4-FFF2-40B4-BE49-F238E27FC236}">
                      <a16:creationId xmlns:a16="http://schemas.microsoft.com/office/drawing/2014/main" id="{0ADC21D9-A255-4733-AD1C-D8FA3673C65C}"/>
                    </a:ext>
                  </a:extLst>
                </p:cNvPr>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68" name="Rectangle 30">
                  <a:extLst>
                    <a:ext uri="{FF2B5EF4-FFF2-40B4-BE49-F238E27FC236}">
                      <a16:creationId xmlns:a16="http://schemas.microsoft.com/office/drawing/2014/main" id="{08BF57BD-7123-4A98-8E50-5E94FA487089}"/>
                    </a:ext>
                  </a:extLst>
                </p:cNvPr>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69" name="Rectangle 31">
                  <a:extLst>
                    <a:ext uri="{FF2B5EF4-FFF2-40B4-BE49-F238E27FC236}">
                      <a16:creationId xmlns:a16="http://schemas.microsoft.com/office/drawing/2014/main" id="{CD4BC9DB-E876-4390-B740-C8F4AC5AF86B}"/>
                    </a:ext>
                  </a:extLst>
                </p:cNvPr>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70" name="Rectangle 32">
                  <a:extLst>
                    <a:ext uri="{FF2B5EF4-FFF2-40B4-BE49-F238E27FC236}">
                      <a16:creationId xmlns:a16="http://schemas.microsoft.com/office/drawing/2014/main" id="{8E1789A3-AD8D-44AA-B758-CFEEE845C33E}"/>
                    </a:ext>
                  </a:extLst>
                </p:cNvPr>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71" name="Rectangle 33">
                  <a:extLst>
                    <a:ext uri="{FF2B5EF4-FFF2-40B4-BE49-F238E27FC236}">
                      <a16:creationId xmlns:a16="http://schemas.microsoft.com/office/drawing/2014/main" id="{C60F3994-D331-4EA2-B45D-5E01C6786020}"/>
                    </a:ext>
                  </a:extLst>
                </p:cNvPr>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72" name="Rectangle 34">
                  <a:extLst>
                    <a:ext uri="{FF2B5EF4-FFF2-40B4-BE49-F238E27FC236}">
                      <a16:creationId xmlns:a16="http://schemas.microsoft.com/office/drawing/2014/main" id="{B1B9977B-8A35-4F74-9633-C0D7947A13DE}"/>
                    </a:ext>
                  </a:extLst>
                </p:cNvPr>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73" name="Rectangle 35">
                  <a:extLst>
                    <a:ext uri="{FF2B5EF4-FFF2-40B4-BE49-F238E27FC236}">
                      <a16:creationId xmlns:a16="http://schemas.microsoft.com/office/drawing/2014/main" id="{EBD71528-8331-45DF-A374-EC04C27582ED}"/>
                    </a:ext>
                  </a:extLst>
                </p:cNvPr>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74" name="Rectangle 36">
                  <a:extLst>
                    <a:ext uri="{FF2B5EF4-FFF2-40B4-BE49-F238E27FC236}">
                      <a16:creationId xmlns:a16="http://schemas.microsoft.com/office/drawing/2014/main" id="{DE8C770B-94AC-4E34-80B8-301193F8CC94}"/>
                    </a:ext>
                  </a:extLst>
                </p:cNvPr>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775" name="Rectangle 37">
                  <a:extLst>
                    <a:ext uri="{FF2B5EF4-FFF2-40B4-BE49-F238E27FC236}">
                      <a16:creationId xmlns:a16="http://schemas.microsoft.com/office/drawing/2014/main" id="{2DAC9890-A630-4BFD-B6BF-05B86C46D692}"/>
                    </a:ext>
                  </a:extLst>
                </p:cNvPr>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grpSp>
        </p:grpSp>
      </p:grpSp>
      <p:sp>
        <p:nvSpPr>
          <p:cNvPr id="396" name="Freeform: Shape 395">
            <a:extLst>
              <a:ext uri="{FF2B5EF4-FFF2-40B4-BE49-F238E27FC236}">
                <a16:creationId xmlns:a16="http://schemas.microsoft.com/office/drawing/2014/main" id="{5339D3AA-A9F0-4527-8CAD-F72330E2BA4D}"/>
              </a:ext>
            </a:extLst>
          </p:cNvPr>
          <p:cNvSpPr/>
          <p:nvPr/>
        </p:nvSpPr>
        <p:spPr>
          <a:xfrm flipH="1">
            <a:off x="822433" y="1521131"/>
            <a:ext cx="1319477" cy="78571"/>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bg1"/>
            </a:solidFill>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33" name="TextBox 432">
            <a:extLst>
              <a:ext uri="{FF2B5EF4-FFF2-40B4-BE49-F238E27FC236}">
                <a16:creationId xmlns:a16="http://schemas.microsoft.com/office/drawing/2014/main" id="{021A7074-AA20-4873-972A-35403F7EA885}"/>
              </a:ext>
            </a:extLst>
          </p:cNvPr>
          <p:cNvSpPr txBox="1"/>
          <p:nvPr/>
        </p:nvSpPr>
        <p:spPr>
          <a:xfrm>
            <a:off x="744491" y="1100184"/>
            <a:ext cx="1632054" cy="406184"/>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BCEB"/>
                </a:solidFill>
                <a:effectLst/>
                <a:uLnTx/>
                <a:uFillTx/>
                <a:latin typeface="CiscoSansTT ExtraLight"/>
                <a:ea typeface="ＭＳ Ｐゴシック" charset="0"/>
              </a:rPr>
              <a:t>Firewalls secured</a:t>
            </a:r>
          </a:p>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BCEB"/>
                </a:solidFill>
                <a:effectLst/>
                <a:uLnTx/>
                <a:uFillTx/>
                <a:latin typeface="CiscoSansTT ExtraLight"/>
                <a:ea typeface="ＭＳ Ｐゴシック" charset="0"/>
              </a:rPr>
              <a:t>your perimeter</a:t>
            </a:r>
          </a:p>
        </p:txBody>
      </p:sp>
      <p:sp>
        <p:nvSpPr>
          <p:cNvPr id="435" name="TextBox 434">
            <a:extLst>
              <a:ext uri="{FF2B5EF4-FFF2-40B4-BE49-F238E27FC236}">
                <a16:creationId xmlns:a16="http://schemas.microsoft.com/office/drawing/2014/main" id="{CE5642C8-48E2-458C-8E4A-E4F2009DDCC8}"/>
              </a:ext>
            </a:extLst>
          </p:cNvPr>
          <p:cNvSpPr txBox="1"/>
          <p:nvPr/>
        </p:nvSpPr>
        <p:spPr>
          <a:xfrm>
            <a:off x="6667188" y="1877574"/>
            <a:ext cx="1508792" cy="307777"/>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BAB18"/>
                </a:solidFill>
                <a:effectLst/>
                <a:uLnTx/>
                <a:uFillTx/>
                <a:latin typeface="CiscoSansTT ExtraLight"/>
                <a:ea typeface="ＭＳ Ｐゴシック" charset="0"/>
              </a:rPr>
              <a:t>Firewall</a:t>
            </a:r>
          </a:p>
        </p:txBody>
      </p:sp>
      <p:sp>
        <p:nvSpPr>
          <p:cNvPr id="438" name="Freeform: Shape 437">
            <a:extLst>
              <a:ext uri="{FF2B5EF4-FFF2-40B4-BE49-F238E27FC236}">
                <a16:creationId xmlns:a16="http://schemas.microsoft.com/office/drawing/2014/main" id="{744A8680-9FE4-4B16-A818-500996F0EBDF}"/>
              </a:ext>
            </a:extLst>
          </p:cNvPr>
          <p:cNvSpPr/>
          <p:nvPr/>
        </p:nvSpPr>
        <p:spPr>
          <a:xfrm>
            <a:off x="6085884" y="2185351"/>
            <a:ext cx="2018625" cy="109963"/>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bg1"/>
            </a:solidFill>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39" name="Rectangle 438">
            <a:extLst>
              <a:ext uri="{FF2B5EF4-FFF2-40B4-BE49-F238E27FC236}">
                <a16:creationId xmlns:a16="http://schemas.microsoft.com/office/drawing/2014/main" id="{AAFC6E70-B7DE-40A3-8F0C-37173960C435}"/>
              </a:ext>
            </a:extLst>
          </p:cNvPr>
          <p:cNvSpPr/>
          <p:nvPr/>
        </p:nvSpPr>
        <p:spPr>
          <a:xfrm>
            <a:off x="6637489" y="2174042"/>
            <a:ext cx="1931055" cy="1016560"/>
          </a:xfrm>
          <a:prstGeom prst="rect">
            <a:avLst/>
          </a:prstGeom>
        </p:spPr>
        <p:txBody>
          <a:bodyPr wrap="square">
            <a:spAutoFit/>
          </a:bodyPr>
          <a:lstStyle/>
          <a:p>
            <a:pPr marL="171450" marR="0" lvl="0" indent="-171450" algn="l" defTabSz="457200" rtl="0" eaLnBrk="1" fontAlgn="base" latinLnBrk="0" hangingPunct="1">
              <a:lnSpc>
                <a:spcPct val="2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282828"/>
                </a:solidFill>
                <a:effectLst/>
                <a:uLnTx/>
                <a:uFillTx/>
                <a:latin typeface="CiscoSansTT ExtraLight"/>
                <a:ea typeface="ＭＳ Ｐゴシック" charset="0"/>
              </a:rPr>
              <a:t>Visibility</a:t>
            </a:r>
          </a:p>
          <a:p>
            <a:pPr marL="171450" marR="0" lvl="0" indent="-171450" algn="l" defTabSz="457200" rtl="0" eaLnBrk="1" fontAlgn="base" latinLnBrk="0" hangingPunct="1">
              <a:lnSpc>
                <a:spcPct val="2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282828"/>
                </a:solidFill>
                <a:effectLst/>
                <a:uLnTx/>
                <a:uFillTx/>
                <a:latin typeface="CiscoSansTT ExtraLight"/>
                <a:ea typeface="ＭＳ Ｐゴシック" charset="0"/>
              </a:rPr>
              <a:t>Segmentation</a:t>
            </a:r>
          </a:p>
          <a:p>
            <a:pPr marL="171450" marR="0" lvl="0" indent="-171450" algn="l" defTabSz="457200" rtl="0" eaLnBrk="1" fontAlgn="base" latinLnBrk="0" hangingPunct="1">
              <a:lnSpc>
                <a:spcPct val="2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282828"/>
                </a:solidFill>
                <a:effectLst/>
                <a:uLnTx/>
                <a:uFillTx/>
                <a:latin typeface="CiscoSansTT ExtraLight"/>
                <a:ea typeface="ＭＳ Ｐゴシック" charset="0"/>
              </a:rPr>
              <a:t>Threat Protection</a:t>
            </a:r>
          </a:p>
        </p:txBody>
      </p:sp>
      <p:sp>
        <p:nvSpPr>
          <p:cNvPr id="440" name="TextBox 439">
            <a:extLst>
              <a:ext uri="{FF2B5EF4-FFF2-40B4-BE49-F238E27FC236}">
                <a16:creationId xmlns:a16="http://schemas.microsoft.com/office/drawing/2014/main" id="{8AEF9C4F-B36D-4093-8F2D-39A2C1EEAE8A}"/>
              </a:ext>
            </a:extLst>
          </p:cNvPr>
          <p:cNvSpPr txBox="1"/>
          <p:nvPr/>
        </p:nvSpPr>
        <p:spPr>
          <a:xfrm>
            <a:off x="4356933" y="1033488"/>
            <a:ext cx="2669156" cy="430887"/>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r" defTabSz="457189"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BCEB"/>
                </a:solidFill>
                <a:effectLst/>
                <a:uLnTx/>
                <a:uFillTx/>
                <a:latin typeface="CiscoSansTT ExtraLight"/>
                <a:ea typeface="ＭＳ Ｐゴシック" charset="0"/>
              </a:rPr>
              <a:t>Knowing what’s on your network was limited to </a:t>
            </a:r>
            <a:r>
              <a:rPr kumimoji="0" lang="en-US" sz="1100" b="1" i="0" u="none" strike="noStrike" kern="1200" cap="none" spc="0" normalizeH="0" baseline="0" noProof="0" dirty="0">
                <a:ln>
                  <a:noFill/>
                </a:ln>
                <a:solidFill>
                  <a:srgbClr val="00BCEB"/>
                </a:solidFill>
                <a:effectLst/>
                <a:uLnTx/>
                <a:uFillTx/>
                <a:latin typeface="CiscoSansTT ExtraLight"/>
                <a:ea typeface="ＭＳ Ｐゴシック" charset="0"/>
              </a:rPr>
              <a:t>visibility from the firewall</a:t>
            </a:r>
          </a:p>
        </p:txBody>
      </p:sp>
      <p:sp>
        <p:nvSpPr>
          <p:cNvPr id="441" name="Freeform: Shape 440">
            <a:extLst>
              <a:ext uri="{FF2B5EF4-FFF2-40B4-BE49-F238E27FC236}">
                <a16:creationId xmlns:a16="http://schemas.microsoft.com/office/drawing/2014/main" id="{DABAF99E-628A-4C9E-B6A7-ED1247FFADDE}"/>
              </a:ext>
            </a:extLst>
          </p:cNvPr>
          <p:cNvSpPr/>
          <p:nvPr/>
        </p:nvSpPr>
        <p:spPr>
          <a:xfrm>
            <a:off x="4415958" y="1453799"/>
            <a:ext cx="2516470" cy="100916"/>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bg1"/>
            </a:solidFill>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Tree>
    <p:extLst>
      <p:ext uri="{BB962C8B-B14F-4D97-AF65-F5344CB8AC3E}">
        <p14:creationId xmlns:p14="http://schemas.microsoft.com/office/powerpoint/2010/main" val="23743104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2" name="Group 341">
            <a:extLst>
              <a:ext uri="{FF2B5EF4-FFF2-40B4-BE49-F238E27FC236}">
                <a16:creationId xmlns:a16="http://schemas.microsoft.com/office/drawing/2014/main" id="{F76801AC-7FBD-48E1-9B7C-41D72AA0EC5E}"/>
              </a:ext>
            </a:extLst>
          </p:cNvPr>
          <p:cNvGrpSpPr/>
          <p:nvPr/>
        </p:nvGrpSpPr>
        <p:grpSpPr>
          <a:xfrm>
            <a:off x="3022577" y="1489353"/>
            <a:ext cx="3089542" cy="3156472"/>
            <a:chOff x="6731001" y="5445126"/>
            <a:chExt cx="4103687" cy="4192588"/>
          </a:xfrm>
          <a:solidFill>
            <a:srgbClr val="D0D0D0"/>
          </a:solidFill>
        </p:grpSpPr>
        <p:sp>
          <p:nvSpPr>
            <p:cNvPr id="344" name="Oval 5">
              <a:extLst>
                <a:ext uri="{FF2B5EF4-FFF2-40B4-BE49-F238E27FC236}">
                  <a16:creationId xmlns:a16="http://schemas.microsoft.com/office/drawing/2014/main" id="{8256299B-1A25-4744-9141-E0EE0CCA773A}"/>
                </a:ext>
              </a:extLst>
            </p:cNvPr>
            <p:cNvSpPr>
              <a:spLocks noChangeArrowheads="1"/>
            </p:cNvSpPr>
            <p:nvPr/>
          </p:nvSpPr>
          <p:spPr bwMode="auto">
            <a:xfrm>
              <a:off x="8631238" y="7088188"/>
              <a:ext cx="258763" cy="257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45" name="Oval 6">
              <a:extLst>
                <a:ext uri="{FF2B5EF4-FFF2-40B4-BE49-F238E27FC236}">
                  <a16:creationId xmlns:a16="http://schemas.microsoft.com/office/drawing/2014/main" id="{22CED341-9227-4AD2-B777-1D23FA5D21C9}"/>
                </a:ext>
              </a:extLst>
            </p:cNvPr>
            <p:cNvSpPr>
              <a:spLocks noChangeArrowheads="1"/>
            </p:cNvSpPr>
            <p:nvPr/>
          </p:nvSpPr>
          <p:spPr bwMode="auto">
            <a:xfrm>
              <a:off x="10429876" y="6365876"/>
              <a:ext cx="200025" cy="201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46" name="Oval 7">
              <a:extLst>
                <a:ext uri="{FF2B5EF4-FFF2-40B4-BE49-F238E27FC236}">
                  <a16:creationId xmlns:a16="http://schemas.microsoft.com/office/drawing/2014/main" id="{5525C7B6-78D6-4B5E-AFFC-CB8DEA8BBCBE}"/>
                </a:ext>
              </a:extLst>
            </p:cNvPr>
            <p:cNvSpPr>
              <a:spLocks noChangeArrowheads="1"/>
            </p:cNvSpPr>
            <p:nvPr/>
          </p:nvSpPr>
          <p:spPr bwMode="auto">
            <a:xfrm>
              <a:off x="7770813" y="8007351"/>
              <a:ext cx="200025" cy="201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49" name="Oval 8">
              <a:extLst>
                <a:ext uri="{FF2B5EF4-FFF2-40B4-BE49-F238E27FC236}">
                  <a16:creationId xmlns:a16="http://schemas.microsoft.com/office/drawing/2014/main" id="{72E0ACE3-385C-4A26-8A71-2CC47C8E260C}"/>
                </a:ext>
              </a:extLst>
            </p:cNvPr>
            <p:cNvSpPr>
              <a:spLocks noChangeArrowheads="1"/>
            </p:cNvSpPr>
            <p:nvPr/>
          </p:nvSpPr>
          <p:spPr bwMode="auto">
            <a:xfrm>
              <a:off x="9148763" y="7689851"/>
              <a:ext cx="157163"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0" name="Oval 9">
              <a:extLst>
                <a:ext uri="{FF2B5EF4-FFF2-40B4-BE49-F238E27FC236}">
                  <a16:creationId xmlns:a16="http://schemas.microsoft.com/office/drawing/2014/main" id="{84E18C1B-79A4-4222-B6F7-4305796B0ECB}"/>
                </a:ext>
              </a:extLst>
            </p:cNvPr>
            <p:cNvSpPr>
              <a:spLocks noChangeArrowheads="1"/>
            </p:cNvSpPr>
            <p:nvPr/>
          </p:nvSpPr>
          <p:spPr bwMode="auto">
            <a:xfrm>
              <a:off x="8937626" y="8296276"/>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2" name="Oval 10">
              <a:extLst>
                <a:ext uri="{FF2B5EF4-FFF2-40B4-BE49-F238E27FC236}">
                  <a16:creationId xmlns:a16="http://schemas.microsoft.com/office/drawing/2014/main" id="{19CE6D8F-0456-4C29-B276-909924A6603F}"/>
                </a:ext>
              </a:extLst>
            </p:cNvPr>
            <p:cNvSpPr>
              <a:spLocks noChangeArrowheads="1"/>
            </p:cNvSpPr>
            <p:nvPr/>
          </p:nvSpPr>
          <p:spPr bwMode="auto">
            <a:xfrm>
              <a:off x="8491538" y="7874001"/>
              <a:ext cx="52388"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3" name="Oval 11">
              <a:extLst>
                <a:ext uri="{FF2B5EF4-FFF2-40B4-BE49-F238E27FC236}">
                  <a16:creationId xmlns:a16="http://schemas.microsoft.com/office/drawing/2014/main" id="{123E7749-B77D-408F-B276-1941338FAB63}"/>
                </a:ext>
              </a:extLst>
            </p:cNvPr>
            <p:cNvSpPr>
              <a:spLocks noChangeArrowheads="1"/>
            </p:cNvSpPr>
            <p:nvPr/>
          </p:nvSpPr>
          <p:spPr bwMode="auto">
            <a:xfrm>
              <a:off x="9631363" y="6411913"/>
              <a:ext cx="157163" cy="155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4" name="Oval 12">
              <a:extLst>
                <a:ext uri="{FF2B5EF4-FFF2-40B4-BE49-F238E27FC236}">
                  <a16:creationId xmlns:a16="http://schemas.microsoft.com/office/drawing/2014/main" id="{EC8A4C9F-04F2-4D75-BC76-6AEAEEF92DA1}"/>
                </a:ext>
              </a:extLst>
            </p:cNvPr>
            <p:cNvSpPr>
              <a:spLocks noChangeArrowheads="1"/>
            </p:cNvSpPr>
            <p:nvPr/>
          </p:nvSpPr>
          <p:spPr bwMode="auto">
            <a:xfrm>
              <a:off x="9747251" y="6053138"/>
              <a:ext cx="68263"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5" name="Oval 13">
              <a:extLst>
                <a:ext uri="{FF2B5EF4-FFF2-40B4-BE49-F238E27FC236}">
                  <a16:creationId xmlns:a16="http://schemas.microsoft.com/office/drawing/2014/main" id="{30A9828F-8388-45EE-B45F-57E01641C6F5}"/>
                </a:ext>
              </a:extLst>
            </p:cNvPr>
            <p:cNvSpPr>
              <a:spLocks noChangeArrowheads="1"/>
            </p:cNvSpPr>
            <p:nvPr/>
          </p:nvSpPr>
          <p:spPr bwMode="auto">
            <a:xfrm>
              <a:off x="10042526" y="5984876"/>
              <a:ext cx="68263"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6" name="Oval 14">
              <a:extLst>
                <a:ext uri="{FF2B5EF4-FFF2-40B4-BE49-F238E27FC236}">
                  <a16:creationId xmlns:a16="http://schemas.microsoft.com/office/drawing/2014/main" id="{DC7856BF-1145-4960-8513-D4DF6A8EE441}"/>
                </a:ext>
              </a:extLst>
            </p:cNvPr>
            <p:cNvSpPr>
              <a:spLocks noChangeArrowheads="1"/>
            </p:cNvSpPr>
            <p:nvPr/>
          </p:nvSpPr>
          <p:spPr bwMode="auto">
            <a:xfrm>
              <a:off x="10229851" y="6040438"/>
              <a:ext cx="68263"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7" name="Oval 15">
              <a:extLst>
                <a:ext uri="{FF2B5EF4-FFF2-40B4-BE49-F238E27FC236}">
                  <a16:creationId xmlns:a16="http://schemas.microsoft.com/office/drawing/2014/main" id="{7DCFE9E6-669D-4973-B86E-58AE2A32D27C}"/>
                </a:ext>
              </a:extLst>
            </p:cNvPr>
            <p:cNvSpPr>
              <a:spLocks noChangeArrowheads="1"/>
            </p:cNvSpPr>
            <p:nvPr/>
          </p:nvSpPr>
          <p:spPr bwMode="auto">
            <a:xfrm>
              <a:off x="9709151" y="5664201"/>
              <a:ext cx="68263" cy="714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8" name="Oval 16">
              <a:extLst>
                <a:ext uri="{FF2B5EF4-FFF2-40B4-BE49-F238E27FC236}">
                  <a16:creationId xmlns:a16="http://schemas.microsoft.com/office/drawing/2014/main" id="{B0F3DA6D-AA36-43F0-8F58-52DBC362321B}"/>
                </a:ext>
              </a:extLst>
            </p:cNvPr>
            <p:cNvSpPr>
              <a:spLocks noChangeArrowheads="1"/>
            </p:cNvSpPr>
            <p:nvPr/>
          </p:nvSpPr>
          <p:spPr bwMode="auto">
            <a:xfrm>
              <a:off x="9451976" y="5697538"/>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9" name="Oval 17">
              <a:extLst>
                <a:ext uri="{FF2B5EF4-FFF2-40B4-BE49-F238E27FC236}">
                  <a16:creationId xmlns:a16="http://schemas.microsoft.com/office/drawing/2014/main" id="{7998CDE1-EB13-4B97-A531-CE702E0C5562}"/>
                </a:ext>
              </a:extLst>
            </p:cNvPr>
            <p:cNvSpPr>
              <a:spLocks noChangeArrowheads="1"/>
            </p:cNvSpPr>
            <p:nvPr/>
          </p:nvSpPr>
          <p:spPr bwMode="auto">
            <a:xfrm>
              <a:off x="9280526" y="5524501"/>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0" name="Oval 18">
              <a:extLst>
                <a:ext uri="{FF2B5EF4-FFF2-40B4-BE49-F238E27FC236}">
                  <a16:creationId xmlns:a16="http://schemas.microsoft.com/office/drawing/2014/main" id="{D827BC25-DA8E-4357-918E-11A5D194808F}"/>
                </a:ext>
              </a:extLst>
            </p:cNvPr>
            <p:cNvSpPr>
              <a:spLocks noChangeArrowheads="1"/>
            </p:cNvSpPr>
            <p:nvPr/>
          </p:nvSpPr>
          <p:spPr bwMode="auto">
            <a:xfrm>
              <a:off x="9075738" y="5464176"/>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1" name="Oval 19">
              <a:extLst>
                <a:ext uri="{FF2B5EF4-FFF2-40B4-BE49-F238E27FC236}">
                  <a16:creationId xmlns:a16="http://schemas.microsoft.com/office/drawing/2014/main" id="{66CB4C2D-8427-4419-8495-721E2EC92802}"/>
                </a:ext>
              </a:extLst>
            </p:cNvPr>
            <p:cNvSpPr>
              <a:spLocks noChangeArrowheads="1"/>
            </p:cNvSpPr>
            <p:nvPr/>
          </p:nvSpPr>
          <p:spPr bwMode="auto">
            <a:xfrm>
              <a:off x="8691563" y="54451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2" name="Oval 20">
              <a:extLst>
                <a:ext uri="{FF2B5EF4-FFF2-40B4-BE49-F238E27FC236}">
                  <a16:creationId xmlns:a16="http://schemas.microsoft.com/office/drawing/2014/main" id="{E8267561-7B5D-4D10-917E-B5700640558B}"/>
                </a:ext>
              </a:extLst>
            </p:cNvPr>
            <p:cNvSpPr>
              <a:spLocks noChangeArrowheads="1"/>
            </p:cNvSpPr>
            <p:nvPr/>
          </p:nvSpPr>
          <p:spPr bwMode="auto">
            <a:xfrm>
              <a:off x="8809038" y="5627688"/>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3" name="Oval 21">
              <a:extLst>
                <a:ext uri="{FF2B5EF4-FFF2-40B4-BE49-F238E27FC236}">
                  <a16:creationId xmlns:a16="http://schemas.microsoft.com/office/drawing/2014/main" id="{C4CA0727-BDC1-43C4-B1FB-C76D9466C417}"/>
                </a:ext>
              </a:extLst>
            </p:cNvPr>
            <p:cNvSpPr>
              <a:spLocks noChangeArrowheads="1"/>
            </p:cNvSpPr>
            <p:nvPr/>
          </p:nvSpPr>
          <p:spPr bwMode="auto">
            <a:xfrm>
              <a:off x="8509001" y="601503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4" name="Oval 22">
              <a:extLst>
                <a:ext uri="{FF2B5EF4-FFF2-40B4-BE49-F238E27FC236}">
                  <a16:creationId xmlns:a16="http://schemas.microsoft.com/office/drawing/2014/main" id="{4738EA20-FA70-4950-A59C-692F581B4800}"/>
                </a:ext>
              </a:extLst>
            </p:cNvPr>
            <p:cNvSpPr>
              <a:spLocks noChangeArrowheads="1"/>
            </p:cNvSpPr>
            <p:nvPr/>
          </p:nvSpPr>
          <p:spPr bwMode="auto">
            <a:xfrm>
              <a:off x="9202738" y="5967413"/>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5" name="Oval 23">
              <a:extLst>
                <a:ext uri="{FF2B5EF4-FFF2-40B4-BE49-F238E27FC236}">
                  <a16:creationId xmlns:a16="http://schemas.microsoft.com/office/drawing/2014/main" id="{747F7C05-D364-4C9D-927F-5628BAE7CBF1}"/>
                </a:ext>
              </a:extLst>
            </p:cNvPr>
            <p:cNvSpPr>
              <a:spLocks noChangeArrowheads="1"/>
            </p:cNvSpPr>
            <p:nvPr/>
          </p:nvSpPr>
          <p:spPr bwMode="auto">
            <a:xfrm>
              <a:off x="8396288" y="5580063"/>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6" name="Oval 24">
              <a:extLst>
                <a:ext uri="{FF2B5EF4-FFF2-40B4-BE49-F238E27FC236}">
                  <a16:creationId xmlns:a16="http://schemas.microsoft.com/office/drawing/2014/main" id="{DDAEF375-187F-4913-9CB8-37298675A46E}"/>
                </a:ext>
              </a:extLst>
            </p:cNvPr>
            <p:cNvSpPr>
              <a:spLocks noChangeArrowheads="1"/>
            </p:cNvSpPr>
            <p:nvPr/>
          </p:nvSpPr>
          <p:spPr bwMode="auto">
            <a:xfrm>
              <a:off x="8396288" y="5484813"/>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7" name="Oval 25">
              <a:extLst>
                <a:ext uri="{FF2B5EF4-FFF2-40B4-BE49-F238E27FC236}">
                  <a16:creationId xmlns:a16="http://schemas.microsoft.com/office/drawing/2014/main" id="{6EACC2ED-4ABB-4345-90B0-DE15C2A176DC}"/>
                </a:ext>
              </a:extLst>
            </p:cNvPr>
            <p:cNvSpPr>
              <a:spLocks noChangeArrowheads="1"/>
            </p:cNvSpPr>
            <p:nvPr/>
          </p:nvSpPr>
          <p:spPr bwMode="auto">
            <a:xfrm>
              <a:off x="8086726" y="5762626"/>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8" name="Oval 26">
              <a:extLst>
                <a:ext uri="{FF2B5EF4-FFF2-40B4-BE49-F238E27FC236}">
                  <a16:creationId xmlns:a16="http://schemas.microsoft.com/office/drawing/2014/main" id="{485253FD-346F-4B34-A288-E06F6A73C21C}"/>
                </a:ext>
              </a:extLst>
            </p:cNvPr>
            <p:cNvSpPr>
              <a:spLocks noChangeArrowheads="1"/>
            </p:cNvSpPr>
            <p:nvPr/>
          </p:nvSpPr>
          <p:spPr bwMode="auto">
            <a:xfrm>
              <a:off x="7964488" y="57626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9" name="Oval 27">
              <a:extLst>
                <a:ext uri="{FF2B5EF4-FFF2-40B4-BE49-F238E27FC236}">
                  <a16:creationId xmlns:a16="http://schemas.microsoft.com/office/drawing/2014/main" id="{416CBEC7-232C-4EC2-9A14-0B5DB8431BE3}"/>
                </a:ext>
              </a:extLst>
            </p:cNvPr>
            <p:cNvSpPr>
              <a:spLocks noChangeArrowheads="1"/>
            </p:cNvSpPr>
            <p:nvPr/>
          </p:nvSpPr>
          <p:spPr bwMode="auto">
            <a:xfrm>
              <a:off x="7767638" y="57118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0" name="Oval 28">
              <a:extLst>
                <a:ext uri="{FF2B5EF4-FFF2-40B4-BE49-F238E27FC236}">
                  <a16:creationId xmlns:a16="http://schemas.microsoft.com/office/drawing/2014/main" id="{FEACFABD-AFBE-4ACE-9A3F-226F283E934D}"/>
                </a:ext>
              </a:extLst>
            </p:cNvPr>
            <p:cNvSpPr>
              <a:spLocks noChangeArrowheads="1"/>
            </p:cNvSpPr>
            <p:nvPr/>
          </p:nvSpPr>
          <p:spPr bwMode="auto">
            <a:xfrm>
              <a:off x="7577138" y="5840413"/>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1" name="Oval 29">
              <a:extLst>
                <a:ext uri="{FF2B5EF4-FFF2-40B4-BE49-F238E27FC236}">
                  <a16:creationId xmlns:a16="http://schemas.microsoft.com/office/drawing/2014/main" id="{3209D3B9-0A58-45BF-89FC-632C9E636D73}"/>
                </a:ext>
              </a:extLst>
            </p:cNvPr>
            <p:cNvSpPr>
              <a:spLocks noChangeArrowheads="1"/>
            </p:cNvSpPr>
            <p:nvPr/>
          </p:nvSpPr>
          <p:spPr bwMode="auto">
            <a:xfrm>
              <a:off x="7242176" y="6116638"/>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2" name="Oval 30">
              <a:extLst>
                <a:ext uri="{FF2B5EF4-FFF2-40B4-BE49-F238E27FC236}">
                  <a16:creationId xmlns:a16="http://schemas.microsoft.com/office/drawing/2014/main" id="{52E3EEA0-4F77-4B33-AE72-033DB043C40B}"/>
                </a:ext>
              </a:extLst>
            </p:cNvPr>
            <p:cNvSpPr>
              <a:spLocks noChangeArrowheads="1"/>
            </p:cNvSpPr>
            <p:nvPr/>
          </p:nvSpPr>
          <p:spPr bwMode="auto">
            <a:xfrm>
              <a:off x="7138988" y="631507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3" name="Oval 31">
              <a:extLst>
                <a:ext uri="{FF2B5EF4-FFF2-40B4-BE49-F238E27FC236}">
                  <a16:creationId xmlns:a16="http://schemas.microsoft.com/office/drawing/2014/main" id="{2F1C04EC-A760-4DE0-95BF-E9F65430A8C0}"/>
                </a:ext>
              </a:extLst>
            </p:cNvPr>
            <p:cNvSpPr>
              <a:spLocks noChangeArrowheads="1"/>
            </p:cNvSpPr>
            <p:nvPr/>
          </p:nvSpPr>
          <p:spPr bwMode="auto">
            <a:xfrm>
              <a:off x="7197726" y="65754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4" name="Oval 32">
              <a:extLst>
                <a:ext uri="{FF2B5EF4-FFF2-40B4-BE49-F238E27FC236}">
                  <a16:creationId xmlns:a16="http://schemas.microsoft.com/office/drawing/2014/main" id="{57CF123E-9F71-4173-8523-646A14E875E3}"/>
                </a:ext>
              </a:extLst>
            </p:cNvPr>
            <p:cNvSpPr>
              <a:spLocks noChangeArrowheads="1"/>
            </p:cNvSpPr>
            <p:nvPr/>
          </p:nvSpPr>
          <p:spPr bwMode="auto">
            <a:xfrm>
              <a:off x="7065963" y="653097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5" name="Oval 33">
              <a:extLst>
                <a:ext uri="{FF2B5EF4-FFF2-40B4-BE49-F238E27FC236}">
                  <a16:creationId xmlns:a16="http://schemas.microsoft.com/office/drawing/2014/main" id="{1D380989-1411-4C20-B01A-5D47BB5007BF}"/>
                </a:ext>
              </a:extLst>
            </p:cNvPr>
            <p:cNvSpPr>
              <a:spLocks noChangeArrowheads="1"/>
            </p:cNvSpPr>
            <p:nvPr/>
          </p:nvSpPr>
          <p:spPr bwMode="auto">
            <a:xfrm>
              <a:off x="7366001" y="64912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6" name="Oval 34">
              <a:extLst>
                <a:ext uri="{FF2B5EF4-FFF2-40B4-BE49-F238E27FC236}">
                  <a16:creationId xmlns:a16="http://schemas.microsoft.com/office/drawing/2014/main" id="{A392A1CB-3CB9-4C13-BFD7-6207958F4FE8}"/>
                </a:ext>
              </a:extLst>
            </p:cNvPr>
            <p:cNvSpPr>
              <a:spLocks noChangeArrowheads="1"/>
            </p:cNvSpPr>
            <p:nvPr/>
          </p:nvSpPr>
          <p:spPr bwMode="auto">
            <a:xfrm>
              <a:off x="6897688" y="68421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7" name="Oval 35">
              <a:extLst>
                <a:ext uri="{FF2B5EF4-FFF2-40B4-BE49-F238E27FC236}">
                  <a16:creationId xmlns:a16="http://schemas.microsoft.com/office/drawing/2014/main" id="{8C99B651-1E51-4BEE-AB8C-698B0EF5160A}"/>
                </a:ext>
              </a:extLst>
            </p:cNvPr>
            <p:cNvSpPr>
              <a:spLocks noChangeArrowheads="1"/>
            </p:cNvSpPr>
            <p:nvPr/>
          </p:nvSpPr>
          <p:spPr bwMode="auto">
            <a:xfrm>
              <a:off x="6811963" y="711835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8" name="Oval 36">
              <a:extLst>
                <a:ext uri="{FF2B5EF4-FFF2-40B4-BE49-F238E27FC236}">
                  <a16:creationId xmlns:a16="http://schemas.microsoft.com/office/drawing/2014/main" id="{3C4BE2CA-3B4E-4CC0-9F81-0D25886EA7BF}"/>
                </a:ext>
              </a:extLst>
            </p:cNvPr>
            <p:cNvSpPr>
              <a:spLocks noChangeArrowheads="1"/>
            </p:cNvSpPr>
            <p:nvPr/>
          </p:nvSpPr>
          <p:spPr bwMode="auto">
            <a:xfrm>
              <a:off x="6731001" y="7245351"/>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9" name="Oval 37">
              <a:extLst>
                <a:ext uri="{FF2B5EF4-FFF2-40B4-BE49-F238E27FC236}">
                  <a16:creationId xmlns:a16="http://schemas.microsoft.com/office/drawing/2014/main" id="{3CD7A6B5-AD9D-497C-8E02-31604C090644}"/>
                </a:ext>
              </a:extLst>
            </p:cNvPr>
            <p:cNvSpPr>
              <a:spLocks noChangeArrowheads="1"/>
            </p:cNvSpPr>
            <p:nvPr/>
          </p:nvSpPr>
          <p:spPr bwMode="auto">
            <a:xfrm>
              <a:off x="6851651" y="7389813"/>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80" name="Oval 38">
              <a:extLst>
                <a:ext uri="{FF2B5EF4-FFF2-40B4-BE49-F238E27FC236}">
                  <a16:creationId xmlns:a16="http://schemas.microsoft.com/office/drawing/2014/main" id="{40E05BAC-C1BB-4240-B0E6-AAF8B6101A99}"/>
                </a:ext>
              </a:extLst>
            </p:cNvPr>
            <p:cNvSpPr>
              <a:spLocks noChangeArrowheads="1"/>
            </p:cNvSpPr>
            <p:nvPr/>
          </p:nvSpPr>
          <p:spPr bwMode="auto">
            <a:xfrm>
              <a:off x="7096126" y="700563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81" name="Oval 39">
              <a:extLst>
                <a:ext uri="{FF2B5EF4-FFF2-40B4-BE49-F238E27FC236}">
                  <a16:creationId xmlns:a16="http://schemas.microsoft.com/office/drawing/2014/main" id="{DBD09294-5229-489F-A235-F91D7B58B2E3}"/>
                </a:ext>
              </a:extLst>
            </p:cNvPr>
            <p:cNvSpPr>
              <a:spLocks noChangeArrowheads="1"/>
            </p:cNvSpPr>
            <p:nvPr/>
          </p:nvSpPr>
          <p:spPr bwMode="auto">
            <a:xfrm>
              <a:off x="7361238" y="7504113"/>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82" name="Oval 40">
              <a:extLst>
                <a:ext uri="{FF2B5EF4-FFF2-40B4-BE49-F238E27FC236}">
                  <a16:creationId xmlns:a16="http://schemas.microsoft.com/office/drawing/2014/main" id="{166F5D12-8A42-4E6F-8FF4-49291B64DEE4}"/>
                </a:ext>
              </a:extLst>
            </p:cNvPr>
            <p:cNvSpPr>
              <a:spLocks noChangeArrowheads="1"/>
            </p:cNvSpPr>
            <p:nvPr/>
          </p:nvSpPr>
          <p:spPr bwMode="auto">
            <a:xfrm>
              <a:off x="6943726" y="76422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83" name="Oval 41">
              <a:extLst>
                <a:ext uri="{FF2B5EF4-FFF2-40B4-BE49-F238E27FC236}">
                  <a16:creationId xmlns:a16="http://schemas.microsoft.com/office/drawing/2014/main" id="{7719930E-E67B-4E8C-B6D3-0625E150F69A}"/>
                </a:ext>
              </a:extLst>
            </p:cNvPr>
            <p:cNvSpPr>
              <a:spLocks noChangeArrowheads="1"/>
            </p:cNvSpPr>
            <p:nvPr/>
          </p:nvSpPr>
          <p:spPr bwMode="auto">
            <a:xfrm>
              <a:off x="6981826" y="789305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86" name="Oval 42">
              <a:extLst>
                <a:ext uri="{FF2B5EF4-FFF2-40B4-BE49-F238E27FC236}">
                  <a16:creationId xmlns:a16="http://schemas.microsoft.com/office/drawing/2014/main" id="{8EA810FD-9C4F-455C-B521-3A27C90BB1EF}"/>
                </a:ext>
              </a:extLst>
            </p:cNvPr>
            <p:cNvSpPr>
              <a:spLocks noChangeArrowheads="1"/>
            </p:cNvSpPr>
            <p:nvPr/>
          </p:nvSpPr>
          <p:spPr bwMode="auto">
            <a:xfrm>
              <a:off x="6757988" y="77787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87" name="Oval 43">
              <a:extLst>
                <a:ext uri="{FF2B5EF4-FFF2-40B4-BE49-F238E27FC236}">
                  <a16:creationId xmlns:a16="http://schemas.microsoft.com/office/drawing/2014/main" id="{DE1753FC-E7F5-4121-B449-3B57DFD0AA5E}"/>
                </a:ext>
              </a:extLst>
            </p:cNvPr>
            <p:cNvSpPr>
              <a:spLocks noChangeArrowheads="1"/>
            </p:cNvSpPr>
            <p:nvPr/>
          </p:nvSpPr>
          <p:spPr bwMode="auto">
            <a:xfrm>
              <a:off x="6781801" y="7867651"/>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88" name="Oval 44">
              <a:extLst>
                <a:ext uri="{FF2B5EF4-FFF2-40B4-BE49-F238E27FC236}">
                  <a16:creationId xmlns:a16="http://schemas.microsoft.com/office/drawing/2014/main" id="{B43BF15B-1622-4D15-9432-B3D92F3C0883}"/>
                </a:ext>
              </a:extLst>
            </p:cNvPr>
            <p:cNvSpPr>
              <a:spLocks noChangeArrowheads="1"/>
            </p:cNvSpPr>
            <p:nvPr/>
          </p:nvSpPr>
          <p:spPr bwMode="auto">
            <a:xfrm>
              <a:off x="6896101" y="8329613"/>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96" name="Oval 45">
              <a:extLst>
                <a:ext uri="{FF2B5EF4-FFF2-40B4-BE49-F238E27FC236}">
                  <a16:creationId xmlns:a16="http://schemas.microsoft.com/office/drawing/2014/main" id="{3569E2CC-7F93-4B48-B3DC-5B4A56AF02FA}"/>
                </a:ext>
              </a:extLst>
            </p:cNvPr>
            <p:cNvSpPr>
              <a:spLocks noChangeArrowheads="1"/>
            </p:cNvSpPr>
            <p:nvPr/>
          </p:nvSpPr>
          <p:spPr bwMode="auto">
            <a:xfrm>
              <a:off x="6981826" y="8262938"/>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99" name="Oval 46">
              <a:extLst>
                <a:ext uri="{FF2B5EF4-FFF2-40B4-BE49-F238E27FC236}">
                  <a16:creationId xmlns:a16="http://schemas.microsoft.com/office/drawing/2014/main" id="{BADEDA56-21F9-46FC-A04B-AD7FD89D3039}"/>
                </a:ext>
              </a:extLst>
            </p:cNvPr>
            <p:cNvSpPr>
              <a:spLocks noChangeArrowheads="1"/>
            </p:cNvSpPr>
            <p:nvPr/>
          </p:nvSpPr>
          <p:spPr bwMode="auto">
            <a:xfrm>
              <a:off x="7016751" y="840263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1" name="Oval 47">
              <a:extLst>
                <a:ext uri="{FF2B5EF4-FFF2-40B4-BE49-F238E27FC236}">
                  <a16:creationId xmlns:a16="http://schemas.microsoft.com/office/drawing/2014/main" id="{DDD20768-453F-4ED2-AF0E-D1CBBC9C863E}"/>
                </a:ext>
              </a:extLst>
            </p:cNvPr>
            <p:cNvSpPr>
              <a:spLocks noChangeArrowheads="1"/>
            </p:cNvSpPr>
            <p:nvPr/>
          </p:nvSpPr>
          <p:spPr bwMode="auto">
            <a:xfrm>
              <a:off x="7289801" y="8208963"/>
              <a:ext cx="65088"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4" name="Oval 48">
              <a:extLst>
                <a:ext uri="{FF2B5EF4-FFF2-40B4-BE49-F238E27FC236}">
                  <a16:creationId xmlns:a16="http://schemas.microsoft.com/office/drawing/2014/main" id="{8E636EAA-47FF-4867-B6A3-958ADD00400D}"/>
                </a:ext>
              </a:extLst>
            </p:cNvPr>
            <p:cNvSpPr>
              <a:spLocks noChangeArrowheads="1"/>
            </p:cNvSpPr>
            <p:nvPr/>
          </p:nvSpPr>
          <p:spPr bwMode="auto">
            <a:xfrm>
              <a:off x="7131051" y="86804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6" name="Oval 49">
              <a:extLst>
                <a:ext uri="{FF2B5EF4-FFF2-40B4-BE49-F238E27FC236}">
                  <a16:creationId xmlns:a16="http://schemas.microsoft.com/office/drawing/2014/main" id="{64D69A76-9935-4A0D-9F2C-4CABF6823D67}"/>
                </a:ext>
              </a:extLst>
            </p:cNvPr>
            <p:cNvSpPr>
              <a:spLocks noChangeArrowheads="1"/>
            </p:cNvSpPr>
            <p:nvPr/>
          </p:nvSpPr>
          <p:spPr bwMode="auto">
            <a:xfrm>
              <a:off x="7210426" y="882173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7" name="Oval 50">
              <a:extLst>
                <a:ext uri="{FF2B5EF4-FFF2-40B4-BE49-F238E27FC236}">
                  <a16:creationId xmlns:a16="http://schemas.microsoft.com/office/drawing/2014/main" id="{C0F287AB-BF5C-4680-A830-9EC5FCB48041}"/>
                </a:ext>
              </a:extLst>
            </p:cNvPr>
            <p:cNvSpPr>
              <a:spLocks noChangeArrowheads="1"/>
            </p:cNvSpPr>
            <p:nvPr/>
          </p:nvSpPr>
          <p:spPr bwMode="auto">
            <a:xfrm>
              <a:off x="7354888" y="8742363"/>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8" name="Oval 51">
              <a:extLst>
                <a:ext uri="{FF2B5EF4-FFF2-40B4-BE49-F238E27FC236}">
                  <a16:creationId xmlns:a16="http://schemas.microsoft.com/office/drawing/2014/main" id="{506149E4-EDEE-47FE-A4ED-6E1353E51F44}"/>
                </a:ext>
              </a:extLst>
            </p:cNvPr>
            <p:cNvSpPr>
              <a:spLocks noChangeArrowheads="1"/>
            </p:cNvSpPr>
            <p:nvPr/>
          </p:nvSpPr>
          <p:spPr bwMode="auto">
            <a:xfrm>
              <a:off x="7399338" y="8847138"/>
              <a:ext cx="80963"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9" name="Oval 52">
              <a:extLst>
                <a:ext uri="{FF2B5EF4-FFF2-40B4-BE49-F238E27FC236}">
                  <a16:creationId xmlns:a16="http://schemas.microsoft.com/office/drawing/2014/main" id="{541FE235-8F37-48D5-AD10-20AB3D41179E}"/>
                </a:ext>
              </a:extLst>
            </p:cNvPr>
            <p:cNvSpPr>
              <a:spLocks noChangeArrowheads="1"/>
            </p:cNvSpPr>
            <p:nvPr/>
          </p:nvSpPr>
          <p:spPr bwMode="auto">
            <a:xfrm>
              <a:off x="7797801" y="8709026"/>
              <a:ext cx="74613"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0" name="Oval 53">
              <a:extLst>
                <a:ext uri="{FF2B5EF4-FFF2-40B4-BE49-F238E27FC236}">
                  <a16:creationId xmlns:a16="http://schemas.microsoft.com/office/drawing/2014/main" id="{D96CCEA0-D57E-4321-BA02-396289F4F161}"/>
                </a:ext>
              </a:extLst>
            </p:cNvPr>
            <p:cNvSpPr>
              <a:spLocks noChangeArrowheads="1"/>
            </p:cNvSpPr>
            <p:nvPr/>
          </p:nvSpPr>
          <p:spPr bwMode="auto">
            <a:xfrm>
              <a:off x="8377238" y="8528051"/>
              <a:ext cx="71438"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1" name="Oval 54">
              <a:extLst>
                <a:ext uri="{FF2B5EF4-FFF2-40B4-BE49-F238E27FC236}">
                  <a16:creationId xmlns:a16="http://schemas.microsoft.com/office/drawing/2014/main" id="{91600ED4-D506-4E84-B5C0-CAC91F2317F8}"/>
                </a:ext>
              </a:extLst>
            </p:cNvPr>
            <p:cNvSpPr>
              <a:spLocks noChangeArrowheads="1"/>
            </p:cNvSpPr>
            <p:nvPr/>
          </p:nvSpPr>
          <p:spPr bwMode="auto">
            <a:xfrm>
              <a:off x="7027863" y="7040563"/>
              <a:ext cx="55563" cy="57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2" name="Oval 55">
              <a:extLst>
                <a:ext uri="{FF2B5EF4-FFF2-40B4-BE49-F238E27FC236}">
                  <a16:creationId xmlns:a16="http://schemas.microsoft.com/office/drawing/2014/main" id="{E7470F0D-58C6-4DF5-8896-DF6909511D71}"/>
                </a:ext>
              </a:extLst>
            </p:cNvPr>
            <p:cNvSpPr>
              <a:spLocks noChangeArrowheads="1"/>
            </p:cNvSpPr>
            <p:nvPr/>
          </p:nvSpPr>
          <p:spPr bwMode="auto">
            <a:xfrm>
              <a:off x="6897688" y="664210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3" name="Oval 56">
              <a:extLst>
                <a:ext uri="{FF2B5EF4-FFF2-40B4-BE49-F238E27FC236}">
                  <a16:creationId xmlns:a16="http://schemas.microsoft.com/office/drawing/2014/main" id="{60F6D671-AF24-4CA8-89BF-6EA56D79CD8F}"/>
                </a:ext>
              </a:extLst>
            </p:cNvPr>
            <p:cNvSpPr>
              <a:spLocks noChangeArrowheads="1"/>
            </p:cNvSpPr>
            <p:nvPr/>
          </p:nvSpPr>
          <p:spPr bwMode="auto">
            <a:xfrm>
              <a:off x="8112126" y="5562601"/>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4" name="Oval 57">
              <a:extLst>
                <a:ext uri="{FF2B5EF4-FFF2-40B4-BE49-F238E27FC236}">
                  <a16:creationId xmlns:a16="http://schemas.microsoft.com/office/drawing/2014/main" id="{25D26DB0-9453-4987-BF8F-4B504BD1BDAA}"/>
                </a:ext>
              </a:extLst>
            </p:cNvPr>
            <p:cNvSpPr>
              <a:spLocks noChangeArrowheads="1"/>
            </p:cNvSpPr>
            <p:nvPr/>
          </p:nvSpPr>
          <p:spPr bwMode="auto">
            <a:xfrm>
              <a:off x="8383588" y="9020176"/>
              <a:ext cx="157163" cy="155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5" name="Oval 58">
              <a:extLst>
                <a:ext uri="{FF2B5EF4-FFF2-40B4-BE49-F238E27FC236}">
                  <a16:creationId xmlns:a16="http://schemas.microsoft.com/office/drawing/2014/main" id="{9E66F324-B59B-4168-80D3-7DE34AA0EC08}"/>
                </a:ext>
              </a:extLst>
            </p:cNvPr>
            <p:cNvSpPr>
              <a:spLocks noChangeArrowheads="1"/>
            </p:cNvSpPr>
            <p:nvPr/>
          </p:nvSpPr>
          <p:spPr bwMode="auto">
            <a:xfrm>
              <a:off x="9026526" y="8823326"/>
              <a:ext cx="44450"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6" name="Oval 59">
              <a:extLst>
                <a:ext uri="{FF2B5EF4-FFF2-40B4-BE49-F238E27FC236}">
                  <a16:creationId xmlns:a16="http://schemas.microsoft.com/office/drawing/2014/main" id="{7EE62D40-B818-47F0-8CA7-928488332682}"/>
                </a:ext>
              </a:extLst>
            </p:cNvPr>
            <p:cNvSpPr>
              <a:spLocks noChangeArrowheads="1"/>
            </p:cNvSpPr>
            <p:nvPr/>
          </p:nvSpPr>
          <p:spPr bwMode="auto">
            <a:xfrm>
              <a:off x="9093201" y="9255126"/>
              <a:ext cx="63500"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7" name="Oval 60">
              <a:extLst>
                <a:ext uri="{FF2B5EF4-FFF2-40B4-BE49-F238E27FC236}">
                  <a16:creationId xmlns:a16="http://schemas.microsoft.com/office/drawing/2014/main" id="{42EB5267-C868-473F-81AC-6EFB3740AE6D}"/>
                </a:ext>
              </a:extLst>
            </p:cNvPr>
            <p:cNvSpPr>
              <a:spLocks noChangeArrowheads="1"/>
            </p:cNvSpPr>
            <p:nvPr/>
          </p:nvSpPr>
          <p:spPr bwMode="auto">
            <a:xfrm>
              <a:off x="9124951" y="95186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8" name="Oval 61">
              <a:extLst>
                <a:ext uri="{FF2B5EF4-FFF2-40B4-BE49-F238E27FC236}">
                  <a16:creationId xmlns:a16="http://schemas.microsoft.com/office/drawing/2014/main" id="{39A2F3C7-95D4-47BB-A54E-19EF805753CB}"/>
                </a:ext>
              </a:extLst>
            </p:cNvPr>
            <p:cNvSpPr>
              <a:spLocks noChangeArrowheads="1"/>
            </p:cNvSpPr>
            <p:nvPr/>
          </p:nvSpPr>
          <p:spPr bwMode="auto">
            <a:xfrm>
              <a:off x="8604251" y="9537701"/>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9" name="Oval 62">
              <a:extLst>
                <a:ext uri="{FF2B5EF4-FFF2-40B4-BE49-F238E27FC236}">
                  <a16:creationId xmlns:a16="http://schemas.microsoft.com/office/drawing/2014/main" id="{627D7A8F-6DB5-4E90-BEDC-CF9433F190F9}"/>
                </a:ext>
              </a:extLst>
            </p:cNvPr>
            <p:cNvSpPr>
              <a:spLocks noChangeArrowheads="1"/>
            </p:cNvSpPr>
            <p:nvPr/>
          </p:nvSpPr>
          <p:spPr bwMode="auto">
            <a:xfrm>
              <a:off x="8524876" y="9444038"/>
              <a:ext cx="68263"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20" name="Oval 63">
              <a:extLst>
                <a:ext uri="{FF2B5EF4-FFF2-40B4-BE49-F238E27FC236}">
                  <a16:creationId xmlns:a16="http://schemas.microsoft.com/office/drawing/2014/main" id="{739BB231-1259-4053-B3BC-30BE68F08372}"/>
                </a:ext>
              </a:extLst>
            </p:cNvPr>
            <p:cNvSpPr>
              <a:spLocks noChangeArrowheads="1"/>
            </p:cNvSpPr>
            <p:nvPr/>
          </p:nvSpPr>
          <p:spPr bwMode="auto">
            <a:xfrm>
              <a:off x="8235951" y="9444038"/>
              <a:ext cx="71438"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43" name="Oval 64">
              <a:extLst>
                <a:ext uri="{FF2B5EF4-FFF2-40B4-BE49-F238E27FC236}">
                  <a16:creationId xmlns:a16="http://schemas.microsoft.com/office/drawing/2014/main" id="{B9B37B37-AE9B-4B79-95C8-5641BCDBE125}"/>
                </a:ext>
              </a:extLst>
            </p:cNvPr>
            <p:cNvSpPr>
              <a:spLocks noChangeArrowheads="1"/>
            </p:cNvSpPr>
            <p:nvPr/>
          </p:nvSpPr>
          <p:spPr bwMode="auto">
            <a:xfrm>
              <a:off x="8026401" y="9417051"/>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44" name="Oval 65">
              <a:extLst>
                <a:ext uri="{FF2B5EF4-FFF2-40B4-BE49-F238E27FC236}">
                  <a16:creationId xmlns:a16="http://schemas.microsoft.com/office/drawing/2014/main" id="{EB5471FD-0B74-4142-AB28-8CC36EAE34B5}"/>
                </a:ext>
              </a:extLst>
            </p:cNvPr>
            <p:cNvSpPr>
              <a:spLocks noChangeArrowheads="1"/>
            </p:cNvSpPr>
            <p:nvPr/>
          </p:nvSpPr>
          <p:spPr bwMode="auto">
            <a:xfrm>
              <a:off x="7874001" y="9169401"/>
              <a:ext cx="71438"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45" name="Oval 66">
              <a:extLst>
                <a:ext uri="{FF2B5EF4-FFF2-40B4-BE49-F238E27FC236}">
                  <a16:creationId xmlns:a16="http://schemas.microsoft.com/office/drawing/2014/main" id="{74A58BB8-D35B-4418-9268-61FAD057990E}"/>
                </a:ext>
              </a:extLst>
            </p:cNvPr>
            <p:cNvSpPr>
              <a:spLocks noChangeArrowheads="1"/>
            </p:cNvSpPr>
            <p:nvPr/>
          </p:nvSpPr>
          <p:spPr bwMode="auto">
            <a:xfrm>
              <a:off x="7494588" y="9086851"/>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46" name="Oval 67">
              <a:extLst>
                <a:ext uri="{FF2B5EF4-FFF2-40B4-BE49-F238E27FC236}">
                  <a16:creationId xmlns:a16="http://schemas.microsoft.com/office/drawing/2014/main" id="{BBB1D485-1745-4F3E-BFF7-D5FE6887B550}"/>
                </a:ext>
              </a:extLst>
            </p:cNvPr>
            <p:cNvSpPr>
              <a:spLocks noChangeArrowheads="1"/>
            </p:cNvSpPr>
            <p:nvPr/>
          </p:nvSpPr>
          <p:spPr bwMode="auto">
            <a:xfrm>
              <a:off x="7640638" y="9196388"/>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47" name="Oval 68">
              <a:extLst>
                <a:ext uri="{FF2B5EF4-FFF2-40B4-BE49-F238E27FC236}">
                  <a16:creationId xmlns:a16="http://schemas.microsoft.com/office/drawing/2014/main" id="{A1832D9D-3517-44FD-A30A-C85E78C1C263}"/>
                </a:ext>
              </a:extLst>
            </p:cNvPr>
            <p:cNvSpPr>
              <a:spLocks noChangeArrowheads="1"/>
            </p:cNvSpPr>
            <p:nvPr/>
          </p:nvSpPr>
          <p:spPr bwMode="auto">
            <a:xfrm>
              <a:off x="9610726" y="938688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48" name="Oval 69">
              <a:extLst>
                <a:ext uri="{FF2B5EF4-FFF2-40B4-BE49-F238E27FC236}">
                  <a16:creationId xmlns:a16="http://schemas.microsoft.com/office/drawing/2014/main" id="{4ACFA20B-6B7D-46DD-95A3-28FA26CF701D}"/>
                </a:ext>
              </a:extLst>
            </p:cNvPr>
            <p:cNvSpPr>
              <a:spLocks noChangeArrowheads="1"/>
            </p:cNvSpPr>
            <p:nvPr/>
          </p:nvSpPr>
          <p:spPr bwMode="auto">
            <a:xfrm>
              <a:off x="9675813" y="9236076"/>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49" name="Oval 70">
              <a:extLst>
                <a:ext uri="{FF2B5EF4-FFF2-40B4-BE49-F238E27FC236}">
                  <a16:creationId xmlns:a16="http://schemas.microsoft.com/office/drawing/2014/main" id="{454EE391-75C5-49FA-831F-12B1C709A903}"/>
                </a:ext>
              </a:extLst>
            </p:cNvPr>
            <p:cNvSpPr>
              <a:spLocks noChangeArrowheads="1"/>
            </p:cNvSpPr>
            <p:nvPr/>
          </p:nvSpPr>
          <p:spPr bwMode="auto">
            <a:xfrm>
              <a:off x="7815263" y="6184901"/>
              <a:ext cx="155575"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50" name="Oval 71">
              <a:extLst>
                <a:ext uri="{FF2B5EF4-FFF2-40B4-BE49-F238E27FC236}">
                  <a16:creationId xmlns:a16="http://schemas.microsoft.com/office/drawing/2014/main" id="{C6F42B2C-F4BC-4837-81CD-E7121FD1471B}"/>
                </a:ext>
              </a:extLst>
            </p:cNvPr>
            <p:cNvSpPr>
              <a:spLocks noChangeArrowheads="1"/>
            </p:cNvSpPr>
            <p:nvPr/>
          </p:nvSpPr>
          <p:spPr bwMode="auto">
            <a:xfrm>
              <a:off x="7586663" y="6842126"/>
              <a:ext cx="68263"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51" name="Oval 72">
              <a:extLst>
                <a:ext uri="{FF2B5EF4-FFF2-40B4-BE49-F238E27FC236}">
                  <a16:creationId xmlns:a16="http://schemas.microsoft.com/office/drawing/2014/main" id="{445CBB45-01CF-4B84-BCD7-36508E9FECB9}"/>
                </a:ext>
              </a:extLst>
            </p:cNvPr>
            <p:cNvSpPr>
              <a:spLocks noChangeArrowheads="1"/>
            </p:cNvSpPr>
            <p:nvPr/>
          </p:nvSpPr>
          <p:spPr bwMode="auto">
            <a:xfrm>
              <a:off x="8229601" y="6615113"/>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52" name="Oval 73">
              <a:extLst>
                <a:ext uri="{FF2B5EF4-FFF2-40B4-BE49-F238E27FC236}">
                  <a16:creationId xmlns:a16="http://schemas.microsoft.com/office/drawing/2014/main" id="{1431E187-73B4-4633-9EA2-4DAEF6F46C05}"/>
                </a:ext>
              </a:extLst>
            </p:cNvPr>
            <p:cNvSpPr>
              <a:spLocks noChangeArrowheads="1"/>
            </p:cNvSpPr>
            <p:nvPr/>
          </p:nvSpPr>
          <p:spPr bwMode="auto">
            <a:xfrm>
              <a:off x="8996363" y="6470651"/>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53" name="Oval 74">
              <a:extLst>
                <a:ext uri="{FF2B5EF4-FFF2-40B4-BE49-F238E27FC236}">
                  <a16:creationId xmlns:a16="http://schemas.microsoft.com/office/drawing/2014/main" id="{B71B7F0E-618E-4EBA-990F-E237BBC7336E}"/>
                </a:ext>
              </a:extLst>
            </p:cNvPr>
            <p:cNvSpPr>
              <a:spLocks noChangeArrowheads="1"/>
            </p:cNvSpPr>
            <p:nvPr/>
          </p:nvSpPr>
          <p:spPr bwMode="auto">
            <a:xfrm>
              <a:off x="9475788" y="7061201"/>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54" name="Oval 75">
              <a:extLst>
                <a:ext uri="{FF2B5EF4-FFF2-40B4-BE49-F238E27FC236}">
                  <a16:creationId xmlns:a16="http://schemas.microsoft.com/office/drawing/2014/main" id="{85C00D34-053D-493E-BDA1-AAE4A75BC4C8}"/>
                </a:ext>
              </a:extLst>
            </p:cNvPr>
            <p:cNvSpPr>
              <a:spLocks noChangeArrowheads="1"/>
            </p:cNvSpPr>
            <p:nvPr/>
          </p:nvSpPr>
          <p:spPr bwMode="auto">
            <a:xfrm>
              <a:off x="10120313" y="699452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55" name="Oval 76">
              <a:extLst>
                <a:ext uri="{FF2B5EF4-FFF2-40B4-BE49-F238E27FC236}">
                  <a16:creationId xmlns:a16="http://schemas.microsoft.com/office/drawing/2014/main" id="{E2DC71C1-E595-4E3A-B01B-795D7863C8AC}"/>
                </a:ext>
              </a:extLst>
            </p:cNvPr>
            <p:cNvSpPr>
              <a:spLocks noChangeArrowheads="1"/>
            </p:cNvSpPr>
            <p:nvPr/>
          </p:nvSpPr>
          <p:spPr bwMode="auto">
            <a:xfrm>
              <a:off x="10561638" y="699452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68" name="Oval 77">
              <a:extLst>
                <a:ext uri="{FF2B5EF4-FFF2-40B4-BE49-F238E27FC236}">
                  <a16:creationId xmlns:a16="http://schemas.microsoft.com/office/drawing/2014/main" id="{F813C2E7-89CE-4306-B870-F52F15FF62DC}"/>
                </a:ext>
              </a:extLst>
            </p:cNvPr>
            <p:cNvSpPr>
              <a:spLocks noChangeArrowheads="1"/>
            </p:cNvSpPr>
            <p:nvPr/>
          </p:nvSpPr>
          <p:spPr bwMode="auto">
            <a:xfrm>
              <a:off x="10768013" y="7037388"/>
              <a:ext cx="66675"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69" name="Oval 78">
              <a:extLst>
                <a:ext uri="{FF2B5EF4-FFF2-40B4-BE49-F238E27FC236}">
                  <a16:creationId xmlns:a16="http://schemas.microsoft.com/office/drawing/2014/main" id="{253A9E83-F32F-4BA7-952F-DECD2084DF00}"/>
                </a:ext>
              </a:extLst>
            </p:cNvPr>
            <p:cNvSpPr>
              <a:spLocks noChangeArrowheads="1"/>
            </p:cNvSpPr>
            <p:nvPr/>
          </p:nvSpPr>
          <p:spPr bwMode="auto">
            <a:xfrm>
              <a:off x="10186988" y="644207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0" name="Oval 79">
              <a:extLst>
                <a:ext uri="{FF2B5EF4-FFF2-40B4-BE49-F238E27FC236}">
                  <a16:creationId xmlns:a16="http://schemas.microsoft.com/office/drawing/2014/main" id="{A5F09E5B-6F47-46E8-BEF1-5F556410F7A9}"/>
                </a:ext>
              </a:extLst>
            </p:cNvPr>
            <p:cNvSpPr>
              <a:spLocks noChangeArrowheads="1"/>
            </p:cNvSpPr>
            <p:nvPr/>
          </p:nvSpPr>
          <p:spPr bwMode="auto">
            <a:xfrm>
              <a:off x="7985126" y="73247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1" name="Oval 80">
              <a:extLst>
                <a:ext uri="{FF2B5EF4-FFF2-40B4-BE49-F238E27FC236}">
                  <a16:creationId xmlns:a16="http://schemas.microsoft.com/office/drawing/2014/main" id="{E02084CA-1666-48F7-826E-CC21DF6DF498}"/>
                </a:ext>
              </a:extLst>
            </p:cNvPr>
            <p:cNvSpPr>
              <a:spLocks noChangeArrowheads="1"/>
            </p:cNvSpPr>
            <p:nvPr/>
          </p:nvSpPr>
          <p:spPr bwMode="auto">
            <a:xfrm>
              <a:off x="10496551" y="8515351"/>
              <a:ext cx="133350" cy="1333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2" name="Oval 81">
              <a:extLst>
                <a:ext uri="{FF2B5EF4-FFF2-40B4-BE49-F238E27FC236}">
                  <a16:creationId xmlns:a16="http://schemas.microsoft.com/office/drawing/2014/main" id="{32EE9F1A-D244-47DF-BA12-B7FEAD511802}"/>
                </a:ext>
              </a:extLst>
            </p:cNvPr>
            <p:cNvSpPr>
              <a:spLocks noChangeArrowheads="1"/>
            </p:cNvSpPr>
            <p:nvPr/>
          </p:nvSpPr>
          <p:spPr bwMode="auto">
            <a:xfrm>
              <a:off x="10123488" y="904398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0" name="Freeform 83">
              <a:extLst>
                <a:ext uri="{FF2B5EF4-FFF2-40B4-BE49-F238E27FC236}">
                  <a16:creationId xmlns:a16="http://schemas.microsoft.com/office/drawing/2014/main" id="{30B48451-58CC-4FE6-A66D-CDE5F0DB4994}"/>
                </a:ext>
              </a:extLst>
            </p:cNvPr>
            <p:cNvSpPr>
              <a:spLocks/>
            </p:cNvSpPr>
            <p:nvPr/>
          </p:nvSpPr>
          <p:spPr bwMode="auto">
            <a:xfrm>
              <a:off x="9517063" y="8323263"/>
              <a:ext cx="85725" cy="85725"/>
            </a:xfrm>
            <a:custGeom>
              <a:avLst/>
              <a:gdLst>
                <a:gd name="T0" fmla="*/ 17 w 40"/>
                <a:gd name="T1" fmla="*/ 38 h 40"/>
                <a:gd name="T2" fmla="*/ 2 w 40"/>
                <a:gd name="T3" fmla="*/ 17 h 40"/>
                <a:gd name="T4" fmla="*/ 23 w 40"/>
                <a:gd name="T5" fmla="*/ 2 h 40"/>
                <a:gd name="T6" fmla="*/ 38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3" y="0"/>
                    <a:pt x="23" y="2"/>
                  </a:cubicBezTo>
                  <a:cubicBezTo>
                    <a:pt x="33" y="4"/>
                    <a:pt x="40" y="13"/>
                    <a:pt x="38" y="23"/>
                  </a:cubicBezTo>
                  <a:cubicBezTo>
                    <a:pt x="36"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1" name="Freeform 84">
              <a:extLst>
                <a:ext uri="{FF2B5EF4-FFF2-40B4-BE49-F238E27FC236}">
                  <a16:creationId xmlns:a16="http://schemas.microsoft.com/office/drawing/2014/main" id="{40CCBF2F-CCFD-4784-AFF9-9D22349B6BB0}"/>
                </a:ext>
              </a:extLst>
            </p:cNvPr>
            <p:cNvSpPr>
              <a:spLocks/>
            </p:cNvSpPr>
            <p:nvPr/>
          </p:nvSpPr>
          <p:spPr bwMode="auto">
            <a:xfrm>
              <a:off x="10109201" y="8281988"/>
              <a:ext cx="85725" cy="88900"/>
            </a:xfrm>
            <a:custGeom>
              <a:avLst/>
              <a:gdLst>
                <a:gd name="T0" fmla="*/ 16 w 40"/>
                <a:gd name="T1" fmla="*/ 39 h 41"/>
                <a:gd name="T2" fmla="*/ 1 w 40"/>
                <a:gd name="T3" fmla="*/ 17 h 41"/>
                <a:gd name="T4" fmla="*/ 23 w 40"/>
                <a:gd name="T5" fmla="*/ 2 h 41"/>
                <a:gd name="T6" fmla="*/ 38 w 40"/>
                <a:gd name="T7" fmla="*/ 24 h 41"/>
                <a:gd name="T8" fmla="*/ 16 w 40"/>
                <a:gd name="T9" fmla="*/ 39 h 41"/>
              </a:gdLst>
              <a:ahLst/>
              <a:cxnLst>
                <a:cxn ang="0">
                  <a:pos x="T0" y="T1"/>
                </a:cxn>
                <a:cxn ang="0">
                  <a:pos x="T2" y="T3"/>
                </a:cxn>
                <a:cxn ang="0">
                  <a:pos x="T4" y="T5"/>
                </a:cxn>
                <a:cxn ang="0">
                  <a:pos x="T6" y="T7"/>
                </a:cxn>
                <a:cxn ang="0">
                  <a:pos x="T8" y="T9"/>
                </a:cxn>
              </a:cxnLst>
              <a:rect l="0" t="0" r="r" b="b"/>
              <a:pathLst>
                <a:path w="40" h="41">
                  <a:moveTo>
                    <a:pt x="16" y="39"/>
                  </a:moveTo>
                  <a:cubicBezTo>
                    <a:pt x="6" y="37"/>
                    <a:pt x="0" y="27"/>
                    <a:pt x="1" y="17"/>
                  </a:cubicBezTo>
                  <a:cubicBezTo>
                    <a:pt x="3" y="7"/>
                    <a:pt x="13" y="0"/>
                    <a:pt x="23" y="2"/>
                  </a:cubicBezTo>
                  <a:cubicBezTo>
                    <a:pt x="33" y="4"/>
                    <a:pt x="40" y="14"/>
                    <a:pt x="38" y="24"/>
                  </a:cubicBezTo>
                  <a:cubicBezTo>
                    <a:pt x="36" y="34"/>
                    <a:pt x="26" y="41"/>
                    <a:pt x="16"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2" name="Freeform 85">
              <a:extLst>
                <a:ext uri="{FF2B5EF4-FFF2-40B4-BE49-F238E27FC236}">
                  <a16:creationId xmlns:a16="http://schemas.microsoft.com/office/drawing/2014/main" id="{8B39A91A-9CE2-4375-B8D8-50BE70952E54}"/>
                </a:ext>
              </a:extLst>
            </p:cNvPr>
            <p:cNvSpPr>
              <a:spLocks/>
            </p:cNvSpPr>
            <p:nvPr/>
          </p:nvSpPr>
          <p:spPr bwMode="auto">
            <a:xfrm>
              <a:off x="10545763" y="8174038"/>
              <a:ext cx="85725" cy="85725"/>
            </a:xfrm>
            <a:custGeom>
              <a:avLst/>
              <a:gdLst>
                <a:gd name="T0" fmla="*/ 17 w 40"/>
                <a:gd name="T1" fmla="*/ 38 h 40"/>
                <a:gd name="T2" fmla="*/ 2 w 40"/>
                <a:gd name="T3" fmla="*/ 17 h 40"/>
                <a:gd name="T4" fmla="*/ 24 w 40"/>
                <a:gd name="T5" fmla="*/ 2 h 40"/>
                <a:gd name="T6" fmla="*/ 39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4" y="0"/>
                    <a:pt x="24" y="2"/>
                  </a:cubicBezTo>
                  <a:cubicBezTo>
                    <a:pt x="34" y="4"/>
                    <a:pt x="40" y="13"/>
                    <a:pt x="39" y="23"/>
                  </a:cubicBezTo>
                  <a:cubicBezTo>
                    <a:pt x="37"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3" name="Freeform 86">
              <a:extLst>
                <a:ext uri="{FF2B5EF4-FFF2-40B4-BE49-F238E27FC236}">
                  <a16:creationId xmlns:a16="http://schemas.microsoft.com/office/drawing/2014/main" id="{51A4E666-5735-4A0A-B2FE-80D575DD6DC5}"/>
                </a:ext>
              </a:extLst>
            </p:cNvPr>
            <p:cNvSpPr>
              <a:spLocks/>
            </p:cNvSpPr>
            <p:nvPr/>
          </p:nvSpPr>
          <p:spPr bwMode="auto">
            <a:xfrm>
              <a:off x="10431463" y="7635876"/>
              <a:ext cx="87313" cy="87313"/>
            </a:xfrm>
            <a:custGeom>
              <a:avLst/>
              <a:gdLst>
                <a:gd name="T0" fmla="*/ 17 w 40"/>
                <a:gd name="T1" fmla="*/ 38 h 40"/>
                <a:gd name="T2" fmla="*/ 2 w 40"/>
                <a:gd name="T3" fmla="*/ 17 h 40"/>
                <a:gd name="T4" fmla="*/ 24 w 40"/>
                <a:gd name="T5" fmla="*/ 2 h 40"/>
                <a:gd name="T6" fmla="*/ 39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4" y="0"/>
                    <a:pt x="24" y="2"/>
                  </a:cubicBezTo>
                  <a:cubicBezTo>
                    <a:pt x="34" y="4"/>
                    <a:pt x="40" y="13"/>
                    <a:pt x="39" y="23"/>
                  </a:cubicBezTo>
                  <a:cubicBezTo>
                    <a:pt x="37"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4" name="Freeform 87">
              <a:extLst>
                <a:ext uri="{FF2B5EF4-FFF2-40B4-BE49-F238E27FC236}">
                  <a16:creationId xmlns:a16="http://schemas.microsoft.com/office/drawing/2014/main" id="{123331AD-9A48-40FD-A455-824EBE783B29}"/>
                </a:ext>
              </a:extLst>
            </p:cNvPr>
            <p:cNvSpPr>
              <a:spLocks/>
            </p:cNvSpPr>
            <p:nvPr/>
          </p:nvSpPr>
          <p:spPr bwMode="auto">
            <a:xfrm>
              <a:off x="9867901" y="7691438"/>
              <a:ext cx="85725" cy="87313"/>
            </a:xfrm>
            <a:custGeom>
              <a:avLst/>
              <a:gdLst>
                <a:gd name="T0" fmla="*/ 17 w 40"/>
                <a:gd name="T1" fmla="*/ 38 h 40"/>
                <a:gd name="T2" fmla="*/ 2 w 40"/>
                <a:gd name="T3" fmla="*/ 17 h 40"/>
                <a:gd name="T4" fmla="*/ 24 w 40"/>
                <a:gd name="T5" fmla="*/ 2 h 40"/>
                <a:gd name="T6" fmla="*/ 39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4" y="0"/>
                    <a:pt x="24" y="2"/>
                  </a:cubicBezTo>
                  <a:cubicBezTo>
                    <a:pt x="34" y="4"/>
                    <a:pt x="40" y="13"/>
                    <a:pt x="39" y="23"/>
                  </a:cubicBezTo>
                  <a:cubicBezTo>
                    <a:pt x="37"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5" name="Freeform 88">
              <a:extLst>
                <a:ext uri="{FF2B5EF4-FFF2-40B4-BE49-F238E27FC236}">
                  <a16:creationId xmlns:a16="http://schemas.microsoft.com/office/drawing/2014/main" id="{533A545F-707B-4DE9-B449-62A4A2D28DA2}"/>
                </a:ext>
              </a:extLst>
            </p:cNvPr>
            <p:cNvSpPr>
              <a:spLocks/>
            </p:cNvSpPr>
            <p:nvPr/>
          </p:nvSpPr>
          <p:spPr bwMode="auto">
            <a:xfrm>
              <a:off x="10731501" y="8029576"/>
              <a:ext cx="85725" cy="87313"/>
            </a:xfrm>
            <a:custGeom>
              <a:avLst/>
              <a:gdLst>
                <a:gd name="T0" fmla="*/ 17 w 40"/>
                <a:gd name="T1" fmla="*/ 39 h 41"/>
                <a:gd name="T2" fmla="*/ 2 w 40"/>
                <a:gd name="T3" fmla="*/ 17 h 41"/>
                <a:gd name="T4" fmla="*/ 24 w 40"/>
                <a:gd name="T5" fmla="*/ 2 h 41"/>
                <a:gd name="T6" fmla="*/ 39 w 40"/>
                <a:gd name="T7" fmla="*/ 24 h 41"/>
                <a:gd name="T8" fmla="*/ 17 w 40"/>
                <a:gd name="T9" fmla="*/ 39 h 41"/>
              </a:gdLst>
              <a:ahLst/>
              <a:cxnLst>
                <a:cxn ang="0">
                  <a:pos x="T0" y="T1"/>
                </a:cxn>
                <a:cxn ang="0">
                  <a:pos x="T2" y="T3"/>
                </a:cxn>
                <a:cxn ang="0">
                  <a:pos x="T4" y="T5"/>
                </a:cxn>
                <a:cxn ang="0">
                  <a:pos x="T6" y="T7"/>
                </a:cxn>
                <a:cxn ang="0">
                  <a:pos x="T8" y="T9"/>
                </a:cxn>
              </a:cxnLst>
              <a:rect l="0" t="0" r="r" b="b"/>
              <a:pathLst>
                <a:path w="40" h="41">
                  <a:moveTo>
                    <a:pt x="17" y="39"/>
                  </a:moveTo>
                  <a:cubicBezTo>
                    <a:pt x="7" y="37"/>
                    <a:pt x="0" y="27"/>
                    <a:pt x="2" y="17"/>
                  </a:cubicBezTo>
                  <a:cubicBezTo>
                    <a:pt x="4" y="7"/>
                    <a:pt x="14" y="0"/>
                    <a:pt x="24" y="2"/>
                  </a:cubicBezTo>
                  <a:cubicBezTo>
                    <a:pt x="34" y="4"/>
                    <a:pt x="40" y="14"/>
                    <a:pt x="39" y="24"/>
                  </a:cubicBezTo>
                  <a:cubicBezTo>
                    <a:pt x="37" y="34"/>
                    <a:pt x="27" y="41"/>
                    <a:pt x="1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6" name="Freeform 89">
              <a:extLst>
                <a:ext uri="{FF2B5EF4-FFF2-40B4-BE49-F238E27FC236}">
                  <a16:creationId xmlns:a16="http://schemas.microsoft.com/office/drawing/2014/main" id="{83254549-8E2B-4A66-8DD4-7E04C08213AF}"/>
                </a:ext>
              </a:extLst>
            </p:cNvPr>
            <p:cNvSpPr>
              <a:spLocks/>
            </p:cNvSpPr>
            <p:nvPr/>
          </p:nvSpPr>
          <p:spPr bwMode="auto">
            <a:xfrm>
              <a:off x="10731501" y="7570788"/>
              <a:ext cx="85725" cy="88900"/>
            </a:xfrm>
            <a:custGeom>
              <a:avLst/>
              <a:gdLst>
                <a:gd name="T0" fmla="*/ 17 w 40"/>
                <a:gd name="T1" fmla="*/ 39 h 41"/>
                <a:gd name="T2" fmla="*/ 2 w 40"/>
                <a:gd name="T3" fmla="*/ 17 h 41"/>
                <a:gd name="T4" fmla="*/ 24 w 40"/>
                <a:gd name="T5" fmla="*/ 2 h 41"/>
                <a:gd name="T6" fmla="*/ 39 w 40"/>
                <a:gd name="T7" fmla="*/ 24 h 41"/>
                <a:gd name="T8" fmla="*/ 17 w 40"/>
                <a:gd name="T9" fmla="*/ 39 h 41"/>
              </a:gdLst>
              <a:ahLst/>
              <a:cxnLst>
                <a:cxn ang="0">
                  <a:pos x="T0" y="T1"/>
                </a:cxn>
                <a:cxn ang="0">
                  <a:pos x="T2" y="T3"/>
                </a:cxn>
                <a:cxn ang="0">
                  <a:pos x="T4" y="T5"/>
                </a:cxn>
                <a:cxn ang="0">
                  <a:pos x="T6" y="T7"/>
                </a:cxn>
                <a:cxn ang="0">
                  <a:pos x="T8" y="T9"/>
                </a:cxn>
              </a:cxnLst>
              <a:rect l="0" t="0" r="r" b="b"/>
              <a:pathLst>
                <a:path w="40" h="41">
                  <a:moveTo>
                    <a:pt x="17" y="39"/>
                  </a:moveTo>
                  <a:cubicBezTo>
                    <a:pt x="7" y="37"/>
                    <a:pt x="0" y="27"/>
                    <a:pt x="2" y="17"/>
                  </a:cubicBezTo>
                  <a:cubicBezTo>
                    <a:pt x="4" y="7"/>
                    <a:pt x="14" y="0"/>
                    <a:pt x="24" y="2"/>
                  </a:cubicBezTo>
                  <a:cubicBezTo>
                    <a:pt x="34" y="4"/>
                    <a:pt x="40" y="14"/>
                    <a:pt x="39" y="24"/>
                  </a:cubicBezTo>
                  <a:cubicBezTo>
                    <a:pt x="37" y="34"/>
                    <a:pt x="27" y="41"/>
                    <a:pt x="1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7" name="Freeform 90">
              <a:extLst>
                <a:ext uri="{FF2B5EF4-FFF2-40B4-BE49-F238E27FC236}">
                  <a16:creationId xmlns:a16="http://schemas.microsoft.com/office/drawing/2014/main" id="{9DA7F062-797A-448B-94FF-2CCBF2148F90}"/>
                </a:ext>
              </a:extLst>
            </p:cNvPr>
            <p:cNvSpPr>
              <a:spLocks noEditPoints="1"/>
            </p:cNvSpPr>
            <p:nvPr/>
          </p:nvSpPr>
          <p:spPr bwMode="auto">
            <a:xfrm>
              <a:off x="6764338" y="5513388"/>
              <a:ext cx="3805238" cy="3914775"/>
            </a:xfrm>
            <a:custGeom>
              <a:avLst/>
              <a:gdLst>
                <a:gd name="T0" fmla="*/ 424 w 2397"/>
                <a:gd name="T1" fmla="*/ 2129 h 2466"/>
                <a:gd name="T2" fmla="*/ 1034 w 2397"/>
                <a:gd name="T3" fmla="*/ 1921 h 2466"/>
                <a:gd name="T4" fmla="*/ 254 w 2397"/>
                <a:gd name="T5" fmla="*/ 2017 h 2466"/>
                <a:gd name="T6" fmla="*/ 680 w 2397"/>
                <a:gd name="T7" fmla="*/ 1604 h 2466"/>
                <a:gd name="T8" fmla="*/ 156 w 2397"/>
                <a:gd name="T9" fmla="*/ 1515 h 2466"/>
                <a:gd name="T10" fmla="*/ 14 w 2397"/>
                <a:gd name="T11" fmla="*/ 1447 h 2466"/>
                <a:gd name="T12" fmla="*/ 110 w 2397"/>
                <a:gd name="T13" fmla="*/ 861 h 2466"/>
                <a:gd name="T14" fmla="*/ 216 w 2397"/>
                <a:gd name="T15" fmla="*/ 664 h 2466"/>
                <a:gd name="T16" fmla="*/ 792 w 2397"/>
                <a:gd name="T17" fmla="*/ 1167 h 2466"/>
                <a:gd name="T18" fmla="*/ 1597 w 2397"/>
                <a:gd name="T19" fmla="*/ 663 h 2466"/>
                <a:gd name="T20" fmla="*/ 1609 w 2397"/>
                <a:gd name="T21" fmla="*/ 34 h 2466"/>
                <a:gd name="T22" fmla="*/ 1056 w 2397"/>
                <a:gd name="T23" fmla="*/ 0 h 2466"/>
                <a:gd name="T24" fmla="*/ 1050 w 2397"/>
                <a:gd name="T25" fmla="*/ 12 h 2466"/>
                <a:gd name="T26" fmla="*/ 1609 w 2397"/>
                <a:gd name="T27" fmla="*/ 29 h 2466"/>
                <a:gd name="T28" fmla="*/ 1868 w 2397"/>
                <a:gd name="T29" fmla="*/ 390 h 2466"/>
                <a:gd name="T30" fmla="*/ 1869 w 2397"/>
                <a:gd name="T31" fmla="*/ 397 h 2466"/>
                <a:gd name="T32" fmla="*/ 1830 w 2397"/>
                <a:gd name="T33" fmla="*/ 1832 h 2466"/>
                <a:gd name="T34" fmla="*/ 2397 w 2397"/>
                <a:gd name="T35" fmla="*/ 1933 h 2466"/>
                <a:gd name="T36" fmla="*/ 1830 w 2397"/>
                <a:gd name="T37" fmla="*/ 1838 h 2466"/>
                <a:gd name="T38" fmla="*/ 2389 w 2397"/>
                <a:gd name="T39" fmla="*/ 1934 h 2466"/>
                <a:gd name="T40" fmla="*/ 402 w 2397"/>
                <a:gd name="T41" fmla="*/ 2061 h 2466"/>
                <a:gd name="T42" fmla="*/ 1852 w 2397"/>
                <a:gd name="T43" fmla="*/ 633 h 2466"/>
                <a:gd name="T44" fmla="*/ 1559 w 2397"/>
                <a:gd name="T45" fmla="*/ 1413 h 2466"/>
                <a:gd name="T46" fmla="*/ 1110 w 2397"/>
                <a:gd name="T47" fmla="*/ 1504 h 2466"/>
                <a:gd name="T48" fmla="*/ 674 w 2397"/>
                <a:gd name="T49" fmla="*/ 2039 h 2466"/>
                <a:gd name="T50" fmla="*/ 676 w 2397"/>
                <a:gd name="T51" fmla="*/ 1615 h 2466"/>
                <a:gd name="T52" fmla="*/ 821 w 2397"/>
                <a:gd name="T53" fmla="*/ 1596 h 2466"/>
                <a:gd name="T54" fmla="*/ 36 w 2397"/>
                <a:gd name="T55" fmla="*/ 1503 h 2466"/>
                <a:gd name="T56" fmla="*/ 197 w 2397"/>
                <a:gd name="T57" fmla="*/ 1198 h 2466"/>
                <a:gd name="T58" fmla="*/ 125 w 2397"/>
                <a:gd name="T59" fmla="*/ 1168 h 2466"/>
                <a:gd name="T60" fmla="*/ 202 w 2397"/>
                <a:gd name="T61" fmla="*/ 1194 h 2466"/>
                <a:gd name="T62" fmla="*/ 765 w 2397"/>
                <a:gd name="T63" fmla="*/ 1510 h 2466"/>
                <a:gd name="T64" fmla="*/ 116 w 2397"/>
                <a:gd name="T65" fmla="*/ 861 h 2466"/>
                <a:gd name="T66" fmla="*/ 231 w 2397"/>
                <a:gd name="T67" fmla="*/ 964 h 2466"/>
                <a:gd name="T68" fmla="*/ 778 w 2397"/>
                <a:gd name="T69" fmla="*/ 1519 h 2466"/>
                <a:gd name="T70" fmla="*/ 959 w 2397"/>
                <a:gd name="T71" fmla="*/ 1349 h 2466"/>
                <a:gd name="T72" fmla="*/ 691 w 2397"/>
                <a:gd name="T73" fmla="*/ 1593 h 2466"/>
                <a:gd name="T74" fmla="*/ 772 w 2397"/>
                <a:gd name="T75" fmla="*/ 1510 h 2466"/>
                <a:gd name="T76" fmla="*/ 944 w 2397"/>
                <a:gd name="T77" fmla="*/ 1333 h 2466"/>
                <a:gd name="T78" fmla="*/ 1559 w 2397"/>
                <a:gd name="T79" fmla="*/ 1406 h 2466"/>
                <a:gd name="T80" fmla="*/ 1600 w 2397"/>
                <a:gd name="T81" fmla="*/ 668 h 2466"/>
                <a:gd name="T82" fmla="*/ 961 w 2397"/>
                <a:gd name="T83" fmla="*/ 1343 h 2466"/>
                <a:gd name="T84" fmla="*/ 140 w 2397"/>
                <a:gd name="T85" fmla="*/ 1345 h 2466"/>
                <a:gd name="T86" fmla="*/ 544 w 2397"/>
                <a:gd name="T87" fmla="*/ 860 h 2466"/>
                <a:gd name="T88" fmla="*/ 1247 w 2397"/>
                <a:gd name="T89" fmla="*/ 1015 h 2466"/>
                <a:gd name="T90" fmla="*/ 183 w 2397"/>
                <a:gd name="T91" fmla="*/ 1186 h 2466"/>
                <a:gd name="T92" fmla="*/ 183 w 2397"/>
                <a:gd name="T93" fmla="*/ 1186 h 2466"/>
                <a:gd name="T94" fmla="*/ 1852 w 2397"/>
                <a:gd name="T95" fmla="*/ 616 h 2466"/>
                <a:gd name="T96" fmla="*/ 1872 w 2397"/>
                <a:gd name="T97" fmla="*/ 612 h 2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97" h="2466">
                  <a:moveTo>
                    <a:pt x="1811" y="2466"/>
                  </a:moveTo>
                  <a:lnTo>
                    <a:pt x="1825" y="1838"/>
                  </a:lnTo>
                  <a:lnTo>
                    <a:pt x="424" y="2129"/>
                  </a:lnTo>
                  <a:lnTo>
                    <a:pt x="394" y="2057"/>
                  </a:lnTo>
                  <a:lnTo>
                    <a:pt x="673" y="2034"/>
                  </a:lnTo>
                  <a:lnTo>
                    <a:pt x="1034" y="1921"/>
                  </a:lnTo>
                  <a:lnTo>
                    <a:pt x="824" y="1600"/>
                  </a:lnTo>
                  <a:lnTo>
                    <a:pt x="664" y="1654"/>
                  </a:lnTo>
                  <a:lnTo>
                    <a:pt x="254" y="2017"/>
                  </a:lnTo>
                  <a:lnTo>
                    <a:pt x="250" y="2013"/>
                  </a:lnTo>
                  <a:lnTo>
                    <a:pt x="672" y="1611"/>
                  </a:lnTo>
                  <a:lnTo>
                    <a:pt x="680" y="1604"/>
                  </a:lnTo>
                  <a:lnTo>
                    <a:pt x="398" y="1281"/>
                  </a:lnTo>
                  <a:lnTo>
                    <a:pt x="202" y="1200"/>
                  </a:lnTo>
                  <a:lnTo>
                    <a:pt x="156" y="1515"/>
                  </a:lnTo>
                  <a:lnTo>
                    <a:pt x="107" y="1806"/>
                  </a:lnTo>
                  <a:lnTo>
                    <a:pt x="30" y="1504"/>
                  </a:lnTo>
                  <a:lnTo>
                    <a:pt x="14" y="1447"/>
                  </a:lnTo>
                  <a:lnTo>
                    <a:pt x="0" y="1110"/>
                  </a:lnTo>
                  <a:lnTo>
                    <a:pt x="125" y="1162"/>
                  </a:lnTo>
                  <a:lnTo>
                    <a:pt x="110" y="861"/>
                  </a:lnTo>
                  <a:lnTo>
                    <a:pt x="106" y="735"/>
                  </a:lnTo>
                  <a:lnTo>
                    <a:pt x="215" y="661"/>
                  </a:lnTo>
                  <a:lnTo>
                    <a:pt x="216" y="664"/>
                  </a:lnTo>
                  <a:lnTo>
                    <a:pt x="769" y="1506"/>
                  </a:lnTo>
                  <a:lnTo>
                    <a:pt x="940" y="1329"/>
                  </a:lnTo>
                  <a:lnTo>
                    <a:pt x="792" y="1167"/>
                  </a:lnTo>
                  <a:lnTo>
                    <a:pt x="535" y="856"/>
                  </a:lnTo>
                  <a:lnTo>
                    <a:pt x="539" y="856"/>
                  </a:lnTo>
                  <a:lnTo>
                    <a:pt x="1597" y="663"/>
                  </a:lnTo>
                  <a:lnTo>
                    <a:pt x="1864" y="396"/>
                  </a:lnTo>
                  <a:lnTo>
                    <a:pt x="1852" y="120"/>
                  </a:lnTo>
                  <a:lnTo>
                    <a:pt x="1609" y="34"/>
                  </a:lnTo>
                  <a:lnTo>
                    <a:pt x="1312" y="98"/>
                  </a:lnTo>
                  <a:lnTo>
                    <a:pt x="848" y="185"/>
                  </a:lnTo>
                  <a:lnTo>
                    <a:pt x="1056" y="0"/>
                  </a:lnTo>
                  <a:lnTo>
                    <a:pt x="1056" y="67"/>
                  </a:lnTo>
                  <a:lnTo>
                    <a:pt x="1050" y="67"/>
                  </a:lnTo>
                  <a:lnTo>
                    <a:pt x="1050" y="12"/>
                  </a:lnTo>
                  <a:lnTo>
                    <a:pt x="866" y="177"/>
                  </a:lnTo>
                  <a:lnTo>
                    <a:pt x="1311" y="94"/>
                  </a:lnTo>
                  <a:lnTo>
                    <a:pt x="1609" y="29"/>
                  </a:lnTo>
                  <a:lnTo>
                    <a:pt x="1857" y="116"/>
                  </a:lnTo>
                  <a:lnTo>
                    <a:pt x="1857" y="117"/>
                  </a:lnTo>
                  <a:lnTo>
                    <a:pt x="1868" y="390"/>
                  </a:lnTo>
                  <a:lnTo>
                    <a:pt x="1899" y="361"/>
                  </a:lnTo>
                  <a:lnTo>
                    <a:pt x="1903" y="363"/>
                  </a:lnTo>
                  <a:lnTo>
                    <a:pt x="1869" y="397"/>
                  </a:lnTo>
                  <a:lnTo>
                    <a:pt x="1878" y="616"/>
                  </a:lnTo>
                  <a:lnTo>
                    <a:pt x="1857" y="620"/>
                  </a:lnTo>
                  <a:lnTo>
                    <a:pt x="1830" y="1832"/>
                  </a:lnTo>
                  <a:lnTo>
                    <a:pt x="2134" y="1768"/>
                  </a:lnTo>
                  <a:lnTo>
                    <a:pt x="2135" y="1770"/>
                  </a:lnTo>
                  <a:lnTo>
                    <a:pt x="2397" y="1933"/>
                  </a:lnTo>
                  <a:lnTo>
                    <a:pt x="2135" y="2243"/>
                  </a:lnTo>
                  <a:lnTo>
                    <a:pt x="1811" y="2466"/>
                  </a:lnTo>
                  <a:close/>
                  <a:moveTo>
                    <a:pt x="1830" y="1838"/>
                  </a:moveTo>
                  <a:lnTo>
                    <a:pt x="1817" y="2455"/>
                  </a:lnTo>
                  <a:lnTo>
                    <a:pt x="2131" y="2239"/>
                  </a:lnTo>
                  <a:lnTo>
                    <a:pt x="2389" y="1934"/>
                  </a:lnTo>
                  <a:lnTo>
                    <a:pt x="2133" y="1775"/>
                  </a:lnTo>
                  <a:lnTo>
                    <a:pt x="1830" y="1838"/>
                  </a:lnTo>
                  <a:close/>
                  <a:moveTo>
                    <a:pt x="402" y="2061"/>
                  </a:moveTo>
                  <a:lnTo>
                    <a:pt x="428" y="2122"/>
                  </a:lnTo>
                  <a:lnTo>
                    <a:pt x="1825" y="1832"/>
                  </a:lnTo>
                  <a:lnTo>
                    <a:pt x="1852" y="633"/>
                  </a:lnTo>
                  <a:lnTo>
                    <a:pt x="1731" y="997"/>
                  </a:lnTo>
                  <a:lnTo>
                    <a:pt x="1562" y="1416"/>
                  </a:lnTo>
                  <a:lnTo>
                    <a:pt x="1559" y="1413"/>
                  </a:lnTo>
                  <a:lnTo>
                    <a:pt x="1221" y="1106"/>
                  </a:lnTo>
                  <a:lnTo>
                    <a:pt x="963" y="1347"/>
                  </a:lnTo>
                  <a:lnTo>
                    <a:pt x="1110" y="1504"/>
                  </a:lnTo>
                  <a:lnTo>
                    <a:pt x="829" y="1598"/>
                  </a:lnTo>
                  <a:lnTo>
                    <a:pt x="1043" y="1923"/>
                  </a:lnTo>
                  <a:lnTo>
                    <a:pt x="674" y="2039"/>
                  </a:lnTo>
                  <a:lnTo>
                    <a:pt x="402" y="2061"/>
                  </a:lnTo>
                  <a:close/>
                  <a:moveTo>
                    <a:pt x="773" y="1523"/>
                  </a:moveTo>
                  <a:lnTo>
                    <a:pt x="676" y="1615"/>
                  </a:lnTo>
                  <a:lnTo>
                    <a:pt x="364" y="1912"/>
                  </a:lnTo>
                  <a:lnTo>
                    <a:pt x="661" y="1649"/>
                  </a:lnTo>
                  <a:lnTo>
                    <a:pt x="821" y="1596"/>
                  </a:lnTo>
                  <a:lnTo>
                    <a:pt x="773" y="1523"/>
                  </a:lnTo>
                  <a:close/>
                  <a:moveTo>
                    <a:pt x="19" y="1447"/>
                  </a:moveTo>
                  <a:lnTo>
                    <a:pt x="36" y="1503"/>
                  </a:lnTo>
                  <a:lnTo>
                    <a:pt x="106" y="1781"/>
                  </a:lnTo>
                  <a:lnTo>
                    <a:pt x="151" y="1514"/>
                  </a:lnTo>
                  <a:lnTo>
                    <a:pt x="197" y="1198"/>
                  </a:lnTo>
                  <a:lnTo>
                    <a:pt x="182" y="1192"/>
                  </a:lnTo>
                  <a:lnTo>
                    <a:pt x="136" y="1383"/>
                  </a:lnTo>
                  <a:lnTo>
                    <a:pt x="125" y="1168"/>
                  </a:lnTo>
                  <a:lnTo>
                    <a:pt x="6" y="1118"/>
                  </a:lnTo>
                  <a:lnTo>
                    <a:pt x="19" y="1447"/>
                  </a:lnTo>
                  <a:close/>
                  <a:moveTo>
                    <a:pt x="202" y="1194"/>
                  </a:moveTo>
                  <a:lnTo>
                    <a:pt x="402" y="1276"/>
                  </a:lnTo>
                  <a:lnTo>
                    <a:pt x="681" y="1596"/>
                  </a:lnTo>
                  <a:lnTo>
                    <a:pt x="765" y="1510"/>
                  </a:lnTo>
                  <a:lnTo>
                    <a:pt x="213" y="669"/>
                  </a:lnTo>
                  <a:lnTo>
                    <a:pt x="112" y="737"/>
                  </a:lnTo>
                  <a:lnTo>
                    <a:pt x="116" y="861"/>
                  </a:lnTo>
                  <a:lnTo>
                    <a:pt x="131" y="1164"/>
                  </a:lnTo>
                  <a:lnTo>
                    <a:pt x="178" y="1183"/>
                  </a:lnTo>
                  <a:lnTo>
                    <a:pt x="231" y="964"/>
                  </a:lnTo>
                  <a:lnTo>
                    <a:pt x="236" y="964"/>
                  </a:lnTo>
                  <a:lnTo>
                    <a:pt x="202" y="1194"/>
                  </a:lnTo>
                  <a:close/>
                  <a:moveTo>
                    <a:pt x="778" y="1519"/>
                  </a:moveTo>
                  <a:lnTo>
                    <a:pt x="826" y="1593"/>
                  </a:lnTo>
                  <a:lnTo>
                    <a:pt x="1099" y="1502"/>
                  </a:lnTo>
                  <a:lnTo>
                    <a:pt x="959" y="1349"/>
                  </a:lnTo>
                  <a:lnTo>
                    <a:pt x="778" y="1519"/>
                  </a:lnTo>
                  <a:close/>
                  <a:moveTo>
                    <a:pt x="768" y="1514"/>
                  </a:moveTo>
                  <a:lnTo>
                    <a:pt x="691" y="1593"/>
                  </a:lnTo>
                  <a:lnTo>
                    <a:pt x="771" y="1518"/>
                  </a:lnTo>
                  <a:lnTo>
                    <a:pt x="768" y="1514"/>
                  </a:lnTo>
                  <a:close/>
                  <a:moveTo>
                    <a:pt x="772" y="1510"/>
                  </a:moveTo>
                  <a:lnTo>
                    <a:pt x="775" y="1515"/>
                  </a:lnTo>
                  <a:lnTo>
                    <a:pt x="957" y="1345"/>
                  </a:lnTo>
                  <a:lnTo>
                    <a:pt x="944" y="1333"/>
                  </a:lnTo>
                  <a:lnTo>
                    <a:pt x="772" y="1510"/>
                  </a:lnTo>
                  <a:close/>
                  <a:moveTo>
                    <a:pt x="1221" y="1098"/>
                  </a:moveTo>
                  <a:lnTo>
                    <a:pt x="1559" y="1406"/>
                  </a:lnTo>
                  <a:lnTo>
                    <a:pt x="1727" y="994"/>
                  </a:lnTo>
                  <a:lnTo>
                    <a:pt x="1849" y="622"/>
                  </a:lnTo>
                  <a:lnTo>
                    <a:pt x="1600" y="668"/>
                  </a:lnTo>
                  <a:lnTo>
                    <a:pt x="1250" y="1019"/>
                  </a:lnTo>
                  <a:lnTo>
                    <a:pt x="948" y="1329"/>
                  </a:lnTo>
                  <a:lnTo>
                    <a:pt x="961" y="1343"/>
                  </a:lnTo>
                  <a:lnTo>
                    <a:pt x="1221" y="1098"/>
                  </a:lnTo>
                  <a:close/>
                  <a:moveTo>
                    <a:pt x="131" y="1170"/>
                  </a:moveTo>
                  <a:lnTo>
                    <a:pt x="140" y="1345"/>
                  </a:lnTo>
                  <a:lnTo>
                    <a:pt x="177" y="1189"/>
                  </a:lnTo>
                  <a:lnTo>
                    <a:pt x="131" y="1170"/>
                  </a:lnTo>
                  <a:close/>
                  <a:moveTo>
                    <a:pt x="544" y="860"/>
                  </a:moveTo>
                  <a:lnTo>
                    <a:pt x="797" y="1164"/>
                  </a:lnTo>
                  <a:lnTo>
                    <a:pt x="944" y="1325"/>
                  </a:lnTo>
                  <a:lnTo>
                    <a:pt x="1247" y="1015"/>
                  </a:lnTo>
                  <a:lnTo>
                    <a:pt x="1590" y="669"/>
                  </a:lnTo>
                  <a:lnTo>
                    <a:pt x="544" y="860"/>
                  </a:lnTo>
                  <a:close/>
                  <a:moveTo>
                    <a:pt x="183" y="1186"/>
                  </a:moveTo>
                  <a:lnTo>
                    <a:pt x="198" y="1192"/>
                  </a:lnTo>
                  <a:lnTo>
                    <a:pt x="223" y="1023"/>
                  </a:lnTo>
                  <a:lnTo>
                    <a:pt x="183" y="1186"/>
                  </a:lnTo>
                  <a:close/>
                  <a:moveTo>
                    <a:pt x="1864" y="403"/>
                  </a:moveTo>
                  <a:lnTo>
                    <a:pt x="1606" y="661"/>
                  </a:lnTo>
                  <a:lnTo>
                    <a:pt x="1852" y="616"/>
                  </a:lnTo>
                  <a:lnTo>
                    <a:pt x="1859" y="597"/>
                  </a:lnTo>
                  <a:lnTo>
                    <a:pt x="1857" y="615"/>
                  </a:lnTo>
                  <a:lnTo>
                    <a:pt x="1872" y="612"/>
                  </a:lnTo>
                  <a:lnTo>
                    <a:pt x="1864" y="4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8" name="Freeform 91">
              <a:extLst>
                <a:ext uri="{FF2B5EF4-FFF2-40B4-BE49-F238E27FC236}">
                  <a16:creationId xmlns:a16="http://schemas.microsoft.com/office/drawing/2014/main" id="{A2FFDB82-8C87-453F-AFD6-C6174266F060}"/>
                </a:ext>
              </a:extLst>
            </p:cNvPr>
            <p:cNvSpPr>
              <a:spLocks noEditPoints="1"/>
            </p:cNvSpPr>
            <p:nvPr/>
          </p:nvSpPr>
          <p:spPr bwMode="auto">
            <a:xfrm>
              <a:off x="7229476" y="5584826"/>
              <a:ext cx="3579813" cy="2747963"/>
            </a:xfrm>
            <a:custGeom>
              <a:avLst/>
              <a:gdLst>
                <a:gd name="T0" fmla="*/ 1823 w 2255"/>
                <a:gd name="T1" fmla="*/ 1731 h 1731"/>
                <a:gd name="T2" fmla="*/ 1681 w 2255"/>
                <a:gd name="T3" fmla="*/ 1647 h 1731"/>
                <a:gd name="T4" fmla="*/ 1091 w 2255"/>
                <a:gd name="T5" fmla="*/ 1727 h 1731"/>
                <a:gd name="T6" fmla="*/ 1090 w 2255"/>
                <a:gd name="T7" fmla="*/ 1727 h 1731"/>
                <a:gd name="T8" fmla="*/ 806 w 2255"/>
                <a:gd name="T9" fmla="*/ 1458 h 1731"/>
                <a:gd name="T10" fmla="*/ 810 w 2255"/>
                <a:gd name="T11" fmla="*/ 1455 h 1731"/>
                <a:gd name="T12" fmla="*/ 1152 w 2255"/>
                <a:gd name="T13" fmla="*/ 1333 h 1731"/>
                <a:gd name="T14" fmla="*/ 0 w 2255"/>
                <a:gd name="T15" fmla="*/ 649 h 1731"/>
                <a:gd name="T16" fmla="*/ 215 w 2255"/>
                <a:gd name="T17" fmla="*/ 359 h 1731"/>
                <a:gd name="T18" fmla="*/ 186 w 2255"/>
                <a:gd name="T19" fmla="*/ 320 h 1731"/>
                <a:gd name="T20" fmla="*/ 186 w 2255"/>
                <a:gd name="T21" fmla="*/ 318 h 1731"/>
                <a:gd name="T22" fmla="*/ 357 w 2255"/>
                <a:gd name="T23" fmla="*/ 102 h 1731"/>
                <a:gd name="T24" fmla="*/ 357 w 2255"/>
                <a:gd name="T25" fmla="*/ 102 h 1731"/>
                <a:gd name="T26" fmla="*/ 571 w 2255"/>
                <a:gd name="T27" fmla="*/ 0 h 1731"/>
                <a:gd name="T28" fmla="*/ 573 w 2255"/>
                <a:gd name="T29" fmla="*/ 0 h 1731"/>
                <a:gd name="T30" fmla="*/ 1279 w 2255"/>
                <a:gd name="T31" fmla="*/ 267 h 1731"/>
                <a:gd name="T32" fmla="*/ 830 w 2255"/>
                <a:gd name="T33" fmla="*/ 298 h 1731"/>
                <a:gd name="T34" fmla="*/ 830 w 2255"/>
                <a:gd name="T35" fmla="*/ 292 h 1731"/>
                <a:gd name="T36" fmla="*/ 1255 w 2255"/>
                <a:gd name="T37" fmla="*/ 263 h 1731"/>
                <a:gd name="T38" fmla="*/ 573 w 2255"/>
                <a:gd name="T39" fmla="*/ 5 h 1731"/>
                <a:gd name="T40" fmla="*/ 360 w 2255"/>
                <a:gd name="T41" fmla="*/ 106 h 1731"/>
                <a:gd name="T42" fmla="*/ 193 w 2255"/>
                <a:gd name="T43" fmla="*/ 320 h 1731"/>
                <a:gd name="T44" fmla="*/ 221 w 2255"/>
                <a:gd name="T45" fmla="*/ 359 h 1731"/>
                <a:gd name="T46" fmla="*/ 8 w 2255"/>
                <a:gd name="T47" fmla="*/ 647 h 1731"/>
                <a:gd name="T48" fmla="*/ 1159 w 2255"/>
                <a:gd name="T49" fmla="*/ 1330 h 1731"/>
                <a:gd name="T50" fmla="*/ 1811 w 2255"/>
                <a:gd name="T51" fmla="*/ 1094 h 1731"/>
                <a:gd name="T52" fmla="*/ 2078 w 2255"/>
                <a:gd name="T53" fmla="*/ 533 h 1731"/>
                <a:gd name="T54" fmla="*/ 2255 w 2255"/>
                <a:gd name="T55" fmla="*/ 939 h 1731"/>
                <a:gd name="T56" fmla="*/ 2252 w 2255"/>
                <a:gd name="T57" fmla="*/ 940 h 1731"/>
                <a:gd name="T58" fmla="*/ 1815 w 2255"/>
                <a:gd name="T59" fmla="*/ 1098 h 1731"/>
                <a:gd name="T60" fmla="*/ 1692 w 2255"/>
                <a:gd name="T61" fmla="*/ 1357 h 1731"/>
                <a:gd name="T62" fmla="*/ 1292 w 2255"/>
                <a:gd name="T63" fmla="*/ 1385 h 1731"/>
                <a:gd name="T64" fmla="*/ 1292 w 2255"/>
                <a:gd name="T65" fmla="*/ 1379 h 1731"/>
                <a:gd name="T66" fmla="*/ 1688 w 2255"/>
                <a:gd name="T67" fmla="*/ 1352 h 1731"/>
                <a:gd name="T68" fmla="*/ 1808 w 2255"/>
                <a:gd name="T69" fmla="*/ 1100 h 1731"/>
                <a:gd name="T70" fmla="*/ 1164 w 2255"/>
                <a:gd name="T71" fmla="*/ 1333 h 1731"/>
                <a:gd name="T72" fmla="*/ 1682 w 2255"/>
                <a:gd name="T73" fmla="*/ 1640 h 1731"/>
                <a:gd name="T74" fmla="*/ 2244 w 2255"/>
                <a:gd name="T75" fmla="*/ 1564 h 1731"/>
                <a:gd name="T76" fmla="*/ 2118 w 2255"/>
                <a:gd name="T77" fmla="*/ 1661 h 1731"/>
                <a:gd name="T78" fmla="*/ 1823 w 2255"/>
                <a:gd name="T79" fmla="*/ 1731 h 1731"/>
                <a:gd name="T80" fmla="*/ 1689 w 2255"/>
                <a:gd name="T81" fmla="*/ 1646 h 1731"/>
                <a:gd name="T82" fmla="*/ 1823 w 2255"/>
                <a:gd name="T83" fmla="*/ 1726 h 1731"/>
                <a:gd name="T84" fmla="*/ 2115 w 2255"/>
                <a:gd name="T85" fmla="*/ 1655 h 1731"/>
                <a:gd name="T86" fmla="*/ 2223 w 2255"/>
                <a:gd name="T87" fmla="*/ 1572 h 1731"/>
                <a:gd name="T88" fmla="*/ 1689 w 2255"/>
                <a:gd name="T89" fmla="*/ 1646 h 1731"/>
                <a:gd name="T90" fmla="*/ 817 w 2255"/>
                <a:gd name="T91" fmla="*/ 1459 h 1731"/>
                <a:gd name="T92" fmla="*/ 1092 w 2255"/>
                <a:gd name="T93" fmla="*/ 1722 h 1731"/>
                <a:gd name="T94" fmla="*/ 1673 w 2255"/>
                <a:gd name="T95" fmla="*/ 1642 h 1731"/>
                <a:gd name="T96" fmla="*/ 1157 w 2255"/>
                <a:gd name="T97" fmla="*/ 1336 h 1731"/>
                <a:gd name="T98" fmla="*/ 817 w 2255"/>
                <a:gd name="T99" fmla="*/ 1459 h 1731"/>
                <a:gd name="T100" fmla="*/ 2078 w 2255"/>
                <a:gd name="T101" fmla="*/ 547 h 1731"/>
                <a:gd name="T102" fmla="*/ 1819 w 2255"/>
                <a:gd name="T103" fmla="*/ 1091 h 1731"/>
                <a:gd name="T104" fmla="*/ 2247 w 2255"/>
                <a:gd name="T105" fmla="*/ 936 h 1731"/>
                <a:gd name="T106" fmla="*/ 2078 w 2255"/>
                <a:gd name="T107" fmla="*/ 547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55" h="1731">
                  <a:moveTo>
                    <a:pt x="1823" y="1731"/>
                  </a:moveTo>
                  <a:lnTo>
                    <a:pt x="1681" y="1647"/>
                  </a:lnTo>
                  <a:lnTo>
                    <a:pt x="1091" y="1727"/>
                  </a:lnTo>
                  <a:lnTo>
                    <a:pt x="1090" y="1727"/>
                  </a:lnTo>
                  <a:lnTo>
                    <a:pt x="806" y="1458"/>
                  </a:lnTo>
                  <a:lnTo>
                    <a:pt x="810" y="1455"/>
                  </a:lnTo>
                  <a:lnTo>
                    <a:pt x="1152" y="1333"/>
                  </a:lnTo>
                  <a:lnTo>
                    <a:pt x="0" y="649"/>
                  </a:lnTo>
                  <a:lnTo>
                    <a:pt x="215" y="359"/>
                  </a:lnTo>
                  <a:lnTo>
                    <a:pt x="186" y="320"/>
                  </a:lnTo>
                  <a:lnTo>
                    <a:pt x="186" y="318"/>
                  </a:lnTo>
                  <a:lnTo>
                    <a:pt x="357" y="102"/>
                  </a:lnTo>
                  <a:lnTo>
                    <a:pt x="357" y="102"/>
                  </a:lnTo>
                  <a:lnTo>
                    <a:pt x="571" y="0"/>
                  </a:lnTo>
                  <a:lnTo>
                    <a:pt x="573" y="0"/>
                  </a:lnTo>
                  <a:lnTo>
                    <a:pt x="1279" y="267"/>
                  </a:lnTo>
                  <a:lnTo>
                    <a:pt x="830" y="298"/>
                  </a:lnTo>
                  <a:lnTo>
                    <a:pt x="830" y="292"/>
                  </a:lnTo>
                  <a:lnTo>
                    <a:pt x="1255" y="263"/>
                  </a:lnTo>
                  <a:lnTo>
                    <a:pt x="573" y="5"/>
                  </a:lnTo>
                  <a:lnTo>
                    <a:pt x="360" y="106"/>
                  </a:lnTo>
                  <a:lnTo>
                    <a:pt x="193" y="320"/>
                  </a:lnTo>
                  <a:lnTo>
                    <a:pt x="221" y="359"/>
                  </a:lnTo>
                  <a:lnTo>
                    <a:pt x="8" y="647"/>
                  </a:lnTo>
                  <a:lnTo>
                    <a:pt x="1159" y="1330"/>
                  </a:lnTo>
                  <a:lnTo>
                    <a:pt x="1811" y="1094"/>
                  </a:lnTo>
                  <a:lnTo>
                    <a:pt x="2078" y="533"/>
                  </a:lnTo>
                  <a:lnTo>
                    <a:pt x="2255" y="939"/>
                  </a:lnTo>
                  <a:lnTo>
                    <a:pt x="2252" y="940"/>
                  </a:lnTo>
                  <a:lnTo>
                    <a:pt x="1815" y="1098"/>
                  </a:lnTo>
                  <a:lnTo>
                    <a:pt x="1692" y="1357"/>
                  </a:lnTo>
                  <a:lnTo>
                    <a:pt x="1292" y="1385"/>
                  </a:lnTo>
                  <a:lnTo>
                    <a:pt x="1292" y="1379"/>
                  </a:lnTo>
                  <a:lnTo>
                    <a:pt x="1688" y="1352"/>
                  </a:lnTo>
                  <a:lnTo>
                    <a:pt x="1808" y="1100"/>
                  </a:lnTo>
                  <a:lnTo>
                    <a:pt x="1164" y="1333"/>
                  </a:lnTo>
                  <a:lnTo>
                    <a:pt x="1682" y="1640"/>
                  </a:lnTo>
                  <a:lnTo>
                    <a:pt x="2244" y="1564"/>
                  </a:lnTo>
                  <a:lnTo>
                    <a:pt x="2118" y="1661"/>
                  </a:lnTo>
                  <a:lnTo>
                    <a:pt x="1823" y="1731"/>
                  </a:lnTo>
                  <a:close/>
                  <a:moveTo>
                    <a:pt x="1689" y="1646"/>
                  </a:moveTo>
                  <a:lnTo>
                    <a:pt x="1823" y="1726"/>
                  </a:lnTo>
                  <a:lnTo>
                    <a:pt x="2115" y="1655"/>
                  </a:lnTo>
                  <a:lnTo>
                    <a:pt x="2223" y="1572"/>
                  </a:lnTo>
                  <a:lnTo>
                    <a:pt x="1689" y="1646"/>
                  </a:lnTo>
                  <a:close/>
                  <a:moveTo>
                    <a:pt x="817" y="1459"/>
                  </a:moveTo>
                  <a:lnTo>
                    <a:pt x="1092" y="1722"/>
                  </a:lnTo>
                  <a:lnTo>
                    <a:pt x="1673" y="1642"/>
                  </a:lnTo>
                  <a:lnTo>
                    <a:pt x="1157" y="1336"/>
                  </a:lnTo>
                  <a:lnTo>
                    <a:pt x="817" y="1459"/>
                  </a:lnTo>
                  <a:close/>
                  <a:moveTo>
                    <a:pt x="2078" y="547"/>
                  </a:moveTo>
                  <a:lnTo>
                    <a:pt x="1819" y="1091"/>
                  </a:lnTo>
                  <a:lnTo>
                    <a:pt x="2247" y="936"/>
                  </a:lnTo>
                  <a:lnTo>
                    <a:pt x="2078" y="5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9" name="Freeform 92">
              <a:extLst>
                <a:ext uri="{FF2B5EF4-FFF2-40B4-BE49-F238E27FC236}">
                  <a16:creationId xmlns:a16="http://schemas.microsoft.com/office/drawing/2014/main" id="{4964983B-4C67-40C6-A145-F5FB4B5FCF04}"/>
                </a:ext>
              </a:extLst>
            </p:cNvPr>
            <p:cNvSpPr>
              <a:spLocks noEditPoints="1"/>
            </p:cNvSpPr>
            <p:nvPr/>
          </p:nvSpPr>
          <p:spPr bwMode="auto">
            <a:xfrm>
              <a:off x="7004051" y="5795963"/>
              <a:ext cx="3476625" cy="3094038"/>
            </a:xfrm>
            <a:custGeom>
              <a:avLst/>
              <a:gdLst>
                <a:gd name="T0" fmla="*/ 274 w 2190"/>
                <a:gd name="T1" fmla="*/ 1949 h 1949"/>
                <a:gd name="T2" fmla="*/ 148 w 2190"/>
                <a:gd name="T3" fmla="*/ 1929 h 1949"/>
                <a:gd name="T4" fmla="*/ 79 w 2190"/>
                <a:gd name="T5" fmla="*/ 1647 h 1949"/>
                <a:gd name="T6" fmla="*/ 26 w 2190"/>
                <a:gd name="T7" fmla="*/ 1666 h 1949"/>
                <a:gd name="T8" fmla="*/ 5 w 2190"/>
                <a:gd name="T9" fmla="*/ 1574 h 1949"/>
                <a:gd name="T10" fmla="*/ 0 w 2190"/>
                <a:gd name="T11" fmla="*/ 1313 h 1949"/>
                <a:gd name="T12" fmla="*/ 81 w 2190"/>
                <a:gd name="T13" fmla="*/ 1641 h 1949"/>
                <a:gd name="T14" fmla="*/ 548 w 2190"/>
                <a:gd name="T15" fmla="*/ 1473 h 1949"/>
                <a:gd name="T16" fmla="*/ 953 w 2190"/>
                <a:gd name="T17" fmla="*/ 1322 h 1949"/>
                <a:gd name="T18" fmla="*/ 1409 w 2190"/>
                <a:gd name="T19" fmla="*/ 1262 h 1949"/>
                <a:gd name="T20" fmla="*/ 1736 w 2190"/>
                <a:gd name="T21" fmla="*/ 1228 h 1949"/>
                <a:gd name="T22" fmla="*/ 1896 w 2190"/>
                <a:gd name="T23" fmla="*/ 748 h 1949"/>
                <a:gd name="T24" fmla="*/ 800 w 2190"/>
                <a:gd name="T25" fmla="*/ 542 h 1949"/>
                <a:gd name="T26" fmla="*/ 1132 w 2190"/>
                <a:gd name="T27" fmla="*/ 917 h 1949"/>
                <a:gd name="T28" fmla="*/ 1046 w 2190"/>
                <a:gd name="T29" fmla="*/ 897 h 1949"/>
                <a:gd name="T30" fmla="*/ 1046 w 2190"/>
                <a:gd name="T31" fmla="*/ 897 h 1949"/>
                <a:gd name="T32" fmla="*/ 357 w 2190"/>
                <a:gd name="T33" fmla="*/ 226 h 1949"/>
                <a:gd name="T34" fmla="*/ 628 w 2190"/>
                <a:gd name="T35" fmla="*/ 0 h 1949"/>
                <a:gd name="T36" fmla="*/ 715 w 2190"/>
                <a:gd name="T37" fmla="*/ 0 h 1949"/>
                <a:gd name="T38" fmla="*/ 715 w 2190"/>
                <a:gd name="T39" fmla="*/ 6 h 1949"/>
                <a:gd name="T40" fmla="*/ 631 w 2190"/>
                <a:gd name="T41" fmla="*/ 6 h 1949"/>
                <a:gd name="T42" fmla="*/ 365 w 2190"/>
                <a:gd name="T43" fmla="*/ 226 h 1949"/>
                <a:gd name="T44" fmla="*/ 1048 w 2190"/>
                <a:gd name="T45" fmla="*/ 891 h 1949"/>
                <a:gd name="T46" fmla="*/ 1116 w 2190"/>
                <a:gd name="T47" fmla="*/ 908 h 1949"/>
                <a:gd name="T48" fmla="*/ 785 w 2190"/>
                <a:gd name="T49" fmla="*/ 533 h 1949"/>
                <a:gd name="T50" fmla="*/ 1898 w 2190"/>
                <a:gd name="T51" fmla="*/ 743 h 1949"/>
                <a:gd name="T52" fmla="*/ 2002 w 2190"/>
                <a:gd name="T53" fmla="*/ 427 h 1949"/>
                <a:gd name="T54" fmla="*/ 2007 w 2190"/>
                <a:gd name="T55" fmla="*/ 429 h 1949"/>
                <a:gd name="T56" fmla="*/ 1903 w 2190"/>
                <a:gd name="T57" fmla="*/ 744 h 1949"/>
                <a:gd name="T58" fmla="*/ 1984 w 2190"/>
                <a:gd name="T59" fmla="*/ 759 h 1949"/>
                <a:gd name="T60" fmla="*/ 1984 w 2190"/>
                <a:gd name="T61" fmla="*/ 761 h 1949"/>
                <a:gd name="T62" fmla="*/ 2190 w 2190"/>
                <a:gd name="T63" fmla="*/ 1189 h 1949"/>
                <a:gd name="T64" fmla="*/ 1832 w 2190"/>
                <a:gd name="T65" fmla="*/ 1224 h 1949"/>
                <a:gd name="T66" fmla="*/ 1740 w 2190"/>
                <a:gd name="T67" fmla="*/ 1234 h 1949"/>
                <a:gd name="T68" fmla="*/ 1614 w 2190"/>
                <a:gd name="T69" fmla="*/ 1616 h 1949"/>
                <a:gd name="T70" fmla="*/ 1982 w 2190"/>
                <a:gd name="T71" fmla="*/ 1573 h 1949"/>
                <a:gd name="T72" fmla="*/ 1983 w 2190"/>
                <a:gd name="T73" fmla="*/ 1578 h 1949"/>
                <a:gd name="T74" fmla="*/ 274 w 2190"/>
                <a:gd name="T75" fmla="*/ 1949 h 1949"/>
                <a:gd name="T76" fmla="*/ 152 w 2190"/>
                <a:gd name="T77" fmla="*/ 1924 h 1949"/>
                <a:gd name="T78" fmla="*/ 274 w 2190"/>
                <a:gd name="T79" fmla="*/ 1944 h 1949"/>
                <a:gd name="T80" fmla="*/ 1929 w 2190"/>
                <a:gd name="T81" fmla="*/ 1585 h 1949"/>
                <a:gd name="T82" fmla="*/ 1606 w 2190"/>
                <a:gd name="T83" fmla="*/ 1622 h 1949"/>
                <a:gd name="T84" fmla="*/ 1607 w 2190"/>
                <a:gd name="T85" fmla="*/ 1617 h 1949"/>
                <a:gd name="T86" fmla="*/ 1735 w 2190"/>
                <a:gd name="T87" fmla="*/ 1234 h 1949"/>
                <a:gd name="T88" fmla="*/ 1409 w 2190"/>
                <a:gd name="T89" fmla="*/ 1268 h 1949"/>
                <a:gd name="T90" fmla="*/ 953 w 2190"/>
                <a:gd name="T91" fmla="*/ 1328 h 1949"/>
                <a:gd name="T92" fmla="*/ 549 w 2190"/>
                <a:gd name="T93" fmla="*/ 1479 h 1949"/>
                <a:gd name="T94" fmla="*/ 83 w 2190"/>
                <a:gd name="T95" fmla="*/ 1646 h 1949"/>
                <a:gd name="T96" fmla="*/ 152 w 2190"/>
                <a:gd name="T97" fmla="*/ 1924 h 1949"/>
                <a:gd name="T98" fmla="*/ 11 w 2190"/>
                <a:gd name="T99" fmla="*/ 1574 h 1949"/>
                <a:gd name="T100" fmla="*/ 30 w 2190"/>
                <a:gd name="T101" fmla="*/ 1658 h 1949"/>
                <a:gd name="T102" fmla="*/ 77 w 2190"/>
                <a:gd name="T103" fmla="*/ 1642 h 1949"/>
                <a:gd name="T104" fmla="*/ 7 w 2190"/>
                <a:gd name="T105" fmla="*/ 1360 h 1949"/>
                <a:gd name="T106" fmla="*/ 11 w 2190"/>
                <a:gd name="T107" fmla="*/ 1574 h 1949"/>
                <a:gd name="T108" fmla="*/ 1902 w 2190"/>
                <a:gd name="T109" fmla="*/ 750 h 1949"/>
                <a:gd name="T110" fmla="*/ 1743 w 2190"/>
                <a:gd name="T111" fmla="*/ 1228 h 1949"/>
                <a:gd name="T112" fmla="*/ 1831 w 2190"/>
                <a:gd name="T113" fmla="*/ 1219 h 1949"/>
                <a:gd name="T114" fmla="*/ 2182 w 2190"/>
                <a:gd name="T115" fmla="*/ 1184 h 1949"/>
                <a:gd name="T116" fmla="*/ 1980 w 2190"/>
                <a:gd name="T117" fmla="*/ 765 h 1949"/>
                <a:gd name="T118" fmla="*/ 1902 w 2190"/>
                <a:gd name="T119" fmla="*/ 750 h 1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90" h="1949">
                  <a:moveTo>
                    <a:pt x="274" y="1949"/>
                  </a:moveTo>
                  <a:lnTo>
                    <a:pt x="148" y="1929"/>
                  </a:lnTo>
                  <a:lnTo>
                    <a:pt x="79" y="1647"/>
                  </a:lnTo>
                  <a:lnTo>
                    <a:pt x="26" y="1666"/>
                  </a:lnTo>
                  <a:lnTo>
                    <a:pt x="5" y="1574"/>
                  </a:lnTo>
                  <a:lnTo>
                    <a:pt x="0" y="1313"/>
                  </a:lnTo>
                  <a:lnTo>
                    <a:pt x="81" y="1641"/>
                  </a:lnTo>
                  <a:lnTo>
                    <a:pt x="548" y="1473"/>
                  </a:lnTo>
                  <a:lnTo>
                    <a:pt x="953" y="1322"/>
                  </a:lnTo>
                  <a:lnTo>
                    <a:pt x="1409" y="1262"/>
                  </a:lnTo>
                  <a:lnTo>
                    <a:pt x="1736" y="1228"/>
                  </a:lnTo>
                  <a:lnTo>
                    <a:pt x="1896" y="748"/>
                  </a:lnTo>
                  <a:lnTo>
                    <a:pt x="800" y="542"/>
                  </a:lnTo>
                  <a:lnTo>
                    <a:pt x="1132" y="917"/>
                  </a:lnTo>
                  <a:lnTo>
                    <a:pt x="1046" y="897"/>
                  </a:lnTo>
                  <a:lnTo>
                    <a:pt x="1046" y="897"/>
                  </a:lnTo>
                  <a:lnTo>
                    <a:pt x="357" y="226"/>
                  </a:lnTo>
                  <a:lnTo>
                    <a:pt x="628" y="0"/>
                  </a:lnTo>
                  <a:lnTo>
                    <a:pt x="715" y="0"/>
                  </a:lnTo>
                  <a:lnTo>
                    <a:pt x="715" y="6"/>
                  </a:lnTo>
                  <a:lnTo>
                    <a:pt x="631" y="6"/>
                  </a:lnTo>
                  <a:lnTo>
                    <a:pt x="365" y="226"/>
                  </a:lnTo>
                  <a:lnTo>
                    <a:pt x="1048" y="891"/>
                  </a:lnTo>
                  <a:lnTo>
                    <a:pt x="1116" y="908"/>
                  </a:lnTo>
                  <a:lnTo>
                    <a:pt x="785" y="533"/>
                  </a:lnTo>
                  <a:lnTo>
                    <a:pt x="1898" y="743"/>
                  </a:lnTo>
                  <a:lnTo>
                    <a:pt x="2002" y="427"/>
                  </a:lnTo>
                  <a:lnTo>
                    <a:pt x="2007" y="429"/>
                  </a:lnTo>
                  <a:lnTo>
                    <a:pt x="1903" y="744"/>
                  </a:lnTo>
                  <a:lnTo>
                    <a:pt x="1984" y="759"/>
                  </a:lnTo>
                  <a:lnTo>
                    <a:pt x="1984" y="761"/>
                  </a:lnTo>
                  <a:lnTo>
                    <a:pt x="2190" y="1189"/>
                  </a:lnTo>
                  <a:lnTo>
                    <a:pt x="1832" y="1224"/>
                  </a:lnTo>
                  <a:lnTo>
                    <a:pt x="1740" y="1234"/>
                  </a:lnTo>
                  <a:lnTo>
                    <a:pt x="1614" y="1616"/>
                  </a:lnTo>
                  <a:lnTo>
                    <a:pt x="1982" y="1573"/>
                  </a:lnTo>
                  <a:lnTo>
                    <a:pt x="1983" y="1578"/>
                  </a:lnTo>
                  <a:lnTo>
                    <a:pt x="274" y="1949"/>
                  </a:lnTo>
                  <a:close/>
                  <a:moveTo>
                    <a:pt x="152" y="1924"/>
                  </a:moveTo>
                  <a:lnTo>
                    <a:pt x="274" y="1944"/>
                  </a:lnTo>
                  <a:lnTo>
                    <a:pt x="1929" y="1585"/>
                  </a:lnTo>
                  <a:lnTo>
                    <a:pt x="1606" y="1622"/>
                  </a:lnTo>
                  <a:lnTo>
                    <a:pt x="1607" y="1617"/>
                  </a:lnTo>
                  <a:lnTo>
                    <a:pt x="1735" y="1234"/>
                  </a:lnTo>
                  <a:lnTo>
                    <a:pt x="1409" y="1268"/>
                  </a:lnTo>
                  <a:lnTo>
                    <a:pt x="953" y="1328"/>
                  </a:lnTo>
                  <a:lnTo>
                    <a:pt x="549" y="1479"/>
                  </a:lnTo>
                  <a:lnTo>
                    <a:pt x="83" y="1646"/>
                  </a:lnTo>
                  <a:lnTo>
                    <a:pt x="152" y="1924"/>
                  </a:lnTo>
                  <a:close/>
                  <a:moveTo>
                    <a:pt x="11" y="1574"/>
                  </a:moveTo>
                  <a:lnTo>
                    <a:pt x="30" y="1658"/>
                  </a:lnTo>
                  <a:lnTo>
                    <a:pt x="77" y="1642"/>
                  </a:lnTo>
                  <a:lnTo>
                    <a:pt x="7" y="1360"/>
                  </a:lnTo>
                  <a:lnTo>
                    <a:pt x="11" y="1574"/>
                  </a:lnTo>
                  <a:close/>
                  <a:moveTo>
                    <a:pt x="1902" y="750"/>
                  </a:moveTo>
                  <a:lnTo>
                    <a:pt x="1743" y="1228"/>
                  </a:lnTo>
                  <a:lnTo>
                    <a:pt x="1831" y="1219"/>
                  </a:lnTo>
                  <a:lnTo>
                    <a:pt x="2182" y="1184"/>
                  </a:lnTo>
                  <a:lnTo>
                    <a:pt x="1980" y="765"/>
                  </a:lnTo>
                  <a:lnTo>
                    <a:pt x="1902" y="7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0" name="Freeform 93">
              <a:extLst>
                <a:ext uri="{FF2B5EF4-FFF2-40B4-BE49-F238E27FC236}">
                  <a16:creationId xmlns:a16="http://schemas.microsoft.com/office/drawing/2014/main" id="{33E77E2C-364E-4AEE-B489-BA3ECF4A86EA}"/>
                </a:ext>
              </a:extLst>
            </p:cNvPr>
            <p:cNvSpPr>
              <a:spLocks noEditPoints="1"/>
            </p:cNvSpPr>
            <p:nvPr/>
          </p:nvSpPr>
          <p:spPr bwMode="auto">
            <a:xfrm>
              <a:off x="7939088" y="5476876"/>
              <a:ext cx="2327275" cy="795338"/>
            </a:xfrm>
            <a:custGeom>
              <a:avLst/>
              <a:gdLst>
                <a:gd name="T0" fmla="*/ 0 w 1466"/>
                <a:gd name="T1" fmla="*/ 501 h 501"/>
                <a:gd name="T2" fmla="*/ 38 w 1466"/>
                <a:gd name="T3" fmla="*/ 204 h 501"/>
                <a:gd name="T4" fmla="*/ 43 w 1466"/>
                <a:gd name="T5" fmla="*/ 204 h 501"/>
                <a:gd name="T6" fmla="*/ 6 w 1466"/>
                <a:gd name="T7" fmla="*/ 492 h 501"/>
                <a:gd name="T8" fmla="*/ 383 w 1466"/>
                <a:gd name="T9" fmla="*/ 360 h 501"/>
                <a:gd name="T10" fmla="*/ 926 w 1466"/>
                <a:gd name="T11" fmla="*/ 177 h 501"/>
                <a:gd name="T12" fmla="*/ 482 w 1466"/>
                <a:gd name="T13" fmla="*/ 0 h 501"/>
                <a:gd name="T14" fmla="*/ 740 w 1466"/>
                <a:gd name="T15" fmla="*/ 14 h 501"/>
                <a:gd name="T16" fmla="*/ 984 w 1466"/>
                <a:gd name="T17" fmla="*/ 163 h 501"/>
                <a:gd name="T18" fmla="*/ 942 w 1466"/>
                <a:gd name="T19" fmla="*/ 177 h 501"/>
                <a:gd name="T20" fmla="*/ 1346 w 1466"/>
                <a:gd name="T21" fmla="*/ 339 h 501"/>
                <a:gd name="T22" fmla="*/ 1466 w 1466"/>
                <a:gd name="T23" fmla="*/ 374 h 501"/>
                <a:gd name="T24" fmla="*/ 1464 w 1466"/>
                <a:gd name="T25" fmla="*/ 379 h 501"/>
                <a:gd name="T26" fmla="*/ 1345 w 1466"/>
                <a:gd name="T27" fmla="*/ 344 h 501"/>
                <a:gd name="T28" fmla="*/ 934 w 1466"/>
                <a:gd name="T29" fmla="*/ 180 h 501"/>
                <a:gd name="T30" fmla="*/ 385 w 1466"/>
                <a:gd name="T31" fmla="*/ 366 h 501"/>
                <a:gd name="T32" fmla="*/ 0 w 1466"/>
                <a:gd name="T33" fmla="*/ 501 h 501"/>
                <a:gd name="T34" fmla="*/ 515 w 1466"/>
                <a:gd name="T35" fmla="*/ 7 h 501"/>
                <a:gd name="T36" fmla="*/ 934 w 1466"/>
                <a:gd name="T37" fmla="*/ 174 h 501"/>
                <a:gd name="T38" fmla="*/ 971 w 1466"/>
                <a:gd name="T39" fmla="*/ 162 h 501"/>
                <a:gd name="T40" fmla="*/ 739 w 1466"/>
                <a:gd name="T41" fmla="*/ 18 h 501"/>
                <a:gd name="T42" fmla="*/ 515 w 1466"/>
                <a:gd name="T43" fmla="*/ 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66" h="501">
                  <a:moveTo>
                    <a:pt x="0" y="501"/>
                  </a:moveTo>
                  <a:lnTo>
                    <a:pt x="38" y="204"/>
                  </a:lnTo>
                  <a:lnTo>
                    <a:pt x="43" y="204"/>
                  </a:lnTo>
                  <a:lnTo>
                    <a:pt x="6" y="492"/>
                  </a:lnTo>
                  <a:lnTo>
                    <a:pt x="383" y="360"/>
                  </a:lnTo>
                  <a:lnTo>
                    <a:pt x="926" y="177"/>
                  </a:lnTo>
                  <a:lnTo>
                    <a:pt x="482" y="0"/>
                  </a:lnTo>
                  <a:lnTo>
                    <a:pt x="740" y="14"/>
                  </a:lnTo>
                  <a:lnTo>
                    <a:pt x="984" y="163"/>
                  </a:lnTo>
                  <a:lnTo>
                    <a:pt x="942" y="177"/>
                  </a:lnTo>
                  <a:lnTo>
                    <a:pt x="1346" y="339"/>
                  </a:lnTo>
                  <a:lnTo>
                    <a:pt x="1466" y="374"/>
                  </a:lnTo>
                  <a:lnTo>
                    <a:pt x="1464" y="379"/>
                  </a:lnTo>
                  <a:lnTo>
                    <a:pt x="1345" y="344"/>
                  </a:lnTo>
                  <a:lnTo>
                    <a:pt x="934" y="180"/>
                  </a:lnTo>
                  <a:lnTo>
                    <a:pt x="385" y="366"/>
                  </a:lnTo>
                  <a:lnTo>
                    <a:pt x="0" y="501"/>
                  </a:lnTo>
                  <a:close/>
                  <a:moveTo>
                    <a:pt x="515" y="7"/>
                  </a:moveTo>
                  <a:lnTo>
                    <a:pt x="934" y="174"/>
                  </a:lnTo>
                  <a:lnTo>
                    <a:pt x="971" y="162"/>
                  </a:lnTo>
                  <a:lnTo>
                    <a:pt x="739" y="18"/>
                  </a:lnTo>
                  <a:lnTo>
                    <a:pt x="51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1" name="Freeform 94">
              <a:extLst>
                <a:ext uri="{FF2B5EF4-FFF2-40B4-BE49-F238E27FC236}">
                  <a16:creationId xmlns:a16="http://schemas.microsoft.com/office/drawing/2014/main" id="{25B0C654-CA8C-4952-9D51-6BF75ABF9FC9}"/>
                </a:ext>
              </a:extLst>
            </p:cNvPr>
            <p:cNvSpPr>
              <a:spLocks/>
            </p:cNvSpPr>
            <p:nvPr/>
          </p:nvSpPr>
          <p:spPr bwMode="auto">
            <a:xfrm>
              <a:off x="7608888" y="5516563"/>
              <a:ext cx="2435225" cy="1685925"/>
            </a:xfrm>
            <a:custGeom>
              <a:avLst/>
              <a:gdLst>
                <a:gd name="T0" fmla="*/ 754 w 1534"/>
                <a:gd name="T1" fmla="*/ 1062 h 1062"/>
                <a:gd name="T2" fmla="*/ 741 w 1534"/>
                <a:gd name="T3" fmla="*/ 1033 h 1062"/>
                <a:gd name="T4" fmla="*/ 741 w 1534"/>
                <a:gd name="T5" fmla="*/ 1032 h 1062"/>
                <a:gd name="T6" fmla="*/ 891 w 1534"/>
                <a:gd name="T7" fmla="*/ 622 h 1062"/>
                <a:gd name="T8" fmla="*/ 521 w 1534"/>
                <a:gd name="T9" fmla="*/ 9 h 1062"/>
                <a:gd name="T10" fmla="*/ 334 w 1534"/>
                <a:gd name="T11" fmla="*/ 182 h 1062"/>
                <a:gd name="T12" fmla="*/ 247 w 1534"/>
                <a:gd name="T13" fmla="*/ 182 h 1062"/>
                <a:gd name="T14" fmla="*/ 125 w 1534"/>
                <a:gd name="T15" fmla="*/ 150 h 1062"/>
                <a:gd name="T16" fmla="*/ 8 w 1534"/>
                <a:gd name="T17" fmla="*/ 228 h 1062"/>
                <a:gd name="T18" fmla="*/ 414 w 1534"/>
                <a:gd name="T19" fmla="*/ 711 h 1062"/>
                <a:gd name="T20" fmla="*/ 410 w 1534"/>
                <a:gd name="T21" fmla="*/ 715 h 1062"/>
                <a:gd name="T22" fmla="*/ 0 w 1534"/>
                <a:gd name="T23" fmla="*/ 227 h 1062"/>
                <a:gd name="T24" fmla="*/ 125 w 1534"/>
                <a:gd name="T25" fmla="*/ 144 h 1062"/>
                <a:gd name="T26" fmla="*/ 248 w 1534"/>
                <a:gd name="T27" fmla="*/ 176 h 1062"/>
                <a:gd name="T28" fmla="*/ 332 w 1534"/>
                <a:gd name="T29" fmla="*/ 176 h 1062"/>
                <a:gd name="T30" fmla="*/ 522 w 1534"/>
                <a:gd name="T31" fmla="*/ 0 h 1062"/>
                <a:gd name="T32" fmla="*/ 897 w 1534"/>
                <a:gd name="T33" fmla="*/ 621 h 1062"/>
                <a:gd name="T34" fmla="*/ 897 w 1534"/>
                <a:gd name="T35" fmla="*/ 622 h 1062"/>
                <a:gd name="T36" fmla="*/ 746 w 1534"/>
                <a:gd name="T37" fmla="*/ 1033 h 1062"/>
                <a:gd name="T38" fmla="*/ 757 w 1534"/>
                <a:gd name="T39" fmla="*/ 1052 h 1062"/>
                <a:gd name="T40" fmla="*/ 1530 w 1534"/>
                <a:gd name="T41" fmla="*/ 315 h 1062"/>
                <a:gd name="T42" fmla="*/ 1534 w 1534"/>
                <a:gd name="T43" fmla="*/ 318 h 1062"/>
                <a:gd name="T44" fmla="*/ 754 w 1534"/>
                <a:gd name="T45" fmla="*/ 1062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4" h="1062">
                  <a:moveTo>
                    <a:pt x="754" y="1062"/>
                  </a:moveTo>
                  <a:lnTo>
                    <a:pt x="741" y="1033"/>
                  </a:lnTo>
                  <a:lnTo>
                    <a:pt x="741" y="1032"/>
                  </a:lnTo>
                  <a:lnTo>
                    <a:pt x="891" y="622"/>
                  </a:lnTo>
                  <a:lnTo>
                    <a:pt x="521" y="9"/>
                  </a:lnTo>
                  <a:lnTo>
                    <a:pt x="334" y="182"/>
                  </a:lnTo>
                  <a:lnTo>
                    <a:pt x="247" y="182"/>
                  </a:lnTo>
                  <a:lnTo>
                    <a:pt x="125" y="150"/>
                  </a:lnTo>
                  <a:lnTo>
                    <a:pt x="8" y="228"/>
                  </a:lnTo>
                  <a:lnTo>
                    <a:pt x="414" y="711"/>
                  </a:lnTo>
                  <a:lnTo>
                    <a:pt x="410" y="715"/>
                  </a:lnTo>
                  <a:lnTo>
                    <a:pt x="0" y="227"/>
                  </a:lnTo>
                  <a:lnTo>
                    <a:pt x="125" y="144"/>
                  </a:lnTo>
                  <a:lnTo>
                    <a:pt x="248" y="176"/>
                  </a:lnTo>
                  <a:lnTo>
                    <a:pt x="332" y="176"/>
                  </a:lnTo>
                  <a:lnTo>
                    <a:pt x="522" y="0"/>
                  </a:lnTo>
                  <a:lnTo>
                    <a:pt x="897" y="621"/>
                  </a:lnTo>
                  <a:lnTo>
                    <a:pt x="897" y="622"/>
                  </a:lnTo>
                  <a:lnTo>
                    <a:pt x="746" y="1033"/>
                  </a:lnTo>
                  <a:lnTo>
                    <a:pt x="757" y="1052"/>
                  </a:lnTo>
                  <a:lnTo>
                    <a:pt x="1530" y="315"/>
                  </a:lnTo>
                  <a:lnTo>
                    <a:pt x="1534" y="318"/>
                  </a:lnTo>
                  <a:lnTo>
                    <a:pt x="754" y="10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2" name="Freeform 95">
              <a:extLst>
                <a:ext uri="{FF2B5EF4-FFF2-40B4-BE49-F238E27FC236}">
                  <a16:creationId xmlns:a16="http://schemas.microsoft.com/office/drawing/2014/main" id="{8A8B6456-9218-413E-B199-68DBE519B612}"/>
                </a:ext>
              </a:extLst>
            </p:cNvPr>
            <p:cNvSpPr>
              <a:spLocks noEditPoints="1"/>
            </p:cNvSpPr>
            <p:nvPr/>
          </p:nvSpPr>
          <p:spPr bwMode="auto">
            <a:xfrm>
              <a:off x="7313613" y="5800726"/>
              <a:ext cx="1250950" cy="3683000"/>
            </a:xfrm>
            <a:custGeom>
              <a:avLst/>
              <a:gdLst>
                <a:gd name="T0" fmla="*/ 788 w 788"/>
                <a:gd name="T1" fmla="*/ 2320 h 2320"/>
                <a:gd name="T2" fmla="*/ 395 w 788"/>
                <a:gd name="T3" fmla="*/ 2154 h 2320"/>
                <a:gd name="T4" fmla="*/ 613 w 788"/>
                <a:gd name="T5" fmla="*/ 2320 h 2320"/>
                <a:gd name="T6" fmla="*/ 470 w 788"/>
                <a:gd name="T7" fmla="*/ 2303 h 2320"/>
                <a:gd name="T8" fmla="*/ 227 w 788"/>
                <a:gd name="T9" fmla="*/ 2164 h 2320"/>
                <a:gd name="T10" fmla="*/ 133 w 788"/>
                <a:gd name="T11" fmla="*/ 2093 h 2320"/>
                <a:gd name="T12" fmla="*/ 133 w 788"/>
                <a:gd name="T13" fmla="*/ 2092 h 2320"/>
                <a:gd name="T14" fmla="*/ 193 w 788"/>
                <a:gd name="T15" fmla="*/ 1677 h 2320"/>
                <a:gd name="T16" fmla="*/ 0 w 788"/>
                <a:gd name="T17" fmla="*/ 1536 h 2320"/>
                <a:gd name="T18" fmla="*/ 220 w 788"/>
                <a:gd name="T19" fmla="*/ 1483 h 2320"/>
                <a:gd name="T20" fmla="*/ 432 w 788"/>
                <a:gd name="T21" fmla="*/ 0 h 2320"/>
                <a:gd name="T22" fmla="*/ 437 w 788"/>
                <a:gd name="T23" fmla="*/ 0 h 2320"/>
                <a:gd name="T24" fmla="*/ 225 w 788"/>
                <a:gd name="T25" fmla="*/ 1481 h 2320"/>
                <a:gd name="T26" fmla="*/ 350 w 788"/>
                <a:gd name="T27" fmla="*/ 1450 h 2320"/>
                <a:gd name="T28" fmla="*/ 352 w 788"/>
                <a:gd name="T29" fmla="*/ 1455 h 2320"/>
                <a:gd name="T30" fmla="*/ 225 w 788"/>
                <a:gd name="T31" fmla="*/ 1487 h 2320"/>
                <a:gd name="T32" fmla="*/ 198 w 788"/>
                <a:gd name="T33" fmla="*/ 1674 h 2320"/>
                <a:gd name="T34" fmla="*/ 726 w 788"/>
                <a:gd name="T35" fmla="*/ 2058 h 2320"/>
                <a:gd name="T36" fmla="*/ 727 w 788"/>
                <a:gd name="T37" fmla="*/ 2059 h 2320"/>
                <a:gd name="T38" fmla="*/ 788 w 788"/>
                <a:gd name="T39" fmla="*/ 2320 h 2320"/>
                <a:gd name="T40" fmla="*/ 472 w 788"/>
                <a:gd name="T41" fmla="*/ 2297 h 2320"/>
                <a:gd name="T42" fmla="*/ 593 w 788"/>
                <a:gd name="T43" fmla="*/ 2312 h 2320"/>
                <a:gd name="T44" fmla="*/ 357 w 788"/>
                <a:gd name="T45" fmla="*/ 2133 h 2320"/>
                <a:gd name="T46" fmla="*/ 780 w 788"/>
                <a:gd name="T47" fmla="*/ 2311 h 2320"/>
                <a:gd name="T48" fmla="*/ 722 w 788"/>
                <a:gd name="T49" fmla="*/ 2062 h 2320"/>
                <a:gd name="T50" fmla="*/ 197 w 788"/>
                <a:gd name="T51" fmla="*/ 1680 h 2320"/>
                <a:gd name="T52" fmla="*/ 139 w 788"/>
                <a:gd name="T53" fmla="*/ 2091 h 2320"/>
                <a:gd name="T54" fmla="*/ 229 w 788"/>
                <a:gd name="T55" fmla="*/ 2160 h 2320"/>
                <a:gd name="T56" fmla="*/ 472 w 788"/>
                <a:gd name="T57" fmla="*/ 2297 h 2320"/>
                <a:gd name="T58" fmla="*/ 12 w 788"/>
                <a:gd name="T59" fmla="*/ 1538 h 2320"/>
                <a:gd name="T60" fmla="*/ 193 w 788"/>
                <a:gd name="T61" fmla="*/ 1670 h 2320"/>
                <a:gd name="T62" fmla="*/ 219 w 788"/>
                <a:gd name="T63" fmla="*/ 1488 h 2320"/>
                <a:gd name="T64" fmla="*/ 12 w 788"/>
                <a:gd name="T65" fmla="*/ 1538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8" h="2320">
                  <a:moveTo>
                    <a:pt x="788" y="2320"/>
                  </a:moveTo>
                  <a:lnTo>
                    <a:pt x="395" y="2154"/>
                  </a:lnTo>
                  <a:lnTo>
                    <a:pt x="613" y="2320"/>
                  </a:lnTo>
                  <a:lnTo>
                    <a:pt x="470" y="2303"/>
                  </a:lnTo>
                  <a:lnTo>
                    <a:pt x="227" y="2164"/>
                  </a:lnTo>
                  <a:lnTo>
                    <a:pt x="133" y="2093"/>
                  </a:lnTo>
                  <a:lnTo>
                    <a:pt x="133" y="2092"/>
                  </a:lnTo>
                  <a:lnTo>
                    <a:pt x="193" y="1677"/>
                  </a:lnTo>
                  <a:lnTo>
                    <a:pt x="0" y="1536"/>
                  </a:lnTo>
                  <a:lnTo>
                    <a:pt x="220" y="1483"/>
                  </a:lnTo>
                  <a:lnTo>
                    <a:pt x="432" y="0"/>
                  </a:lnTo>
                  <a:lnTo>
                    <a:pt x="437" y="0"/>
                  </a:lnTo>
                  <a:lnTo>
                    <a:pt x="225" y="1481"/>
                  </a:lnTo>
                  <a:lnTo>
                    <a:pt x="350" y="1450"/>
                  </a:lnTo>
                  <a:lnTo>
                    <a:pt x="352" y="1455"/>
                  </a:lnTo>
                  <a:lnTo>
                    <a:pt x="225" y="1487"/>
                  </a:lnTo>
                  <a:lnTo>
                    <a:pt x="198" y="1674"/>
                  </a:lnTo>
                  <a:lnTo>
                    <a:pt x="726" y="2058"/>
                  </a:lnTo>
                  <a:lnTo>
                    <a:pt x="727" y="2059"/>
                  </a:lnTo>
                  <a:lnTo>
                    <a:pt x="788" y="2320"/>
                  </a:lnTo>
                  <a:close/>
                  <a:moveTo>
                    <a:pt x="472" y="2297"/>
                  </a:moveTo>
                  <a:lnTo>
                    <a:pt x="593" y="2312"/>
                  </a:lnTo>
                  <a:lnTo>
                    <a:pt x="357" y="2133"/>
                  </a:lnTo>
                  <a:lnTo>
                    <a:pt x="780" y="2311"/>
                  </a:lnTo>
                  <a:lnTo>
                    <a:pt x="722" y="2062"/>
                  </a:lnTo>
                  <a:lnTo>
                    <a:pt x="197" y="1680"/>
                  </a:lnTo>
                  <a:lnTo>
                    <a:pt x="139" y="2091"/>
                  </a:lnTo>
                  <a:lnTo>
                    <a:pt x="229" y="2160"/>
                  </a:lnTo>
                  <a:lnTo>
                    <a:pt x="472" y="2297"/>
                  </a:lnTo>
                  <a:close/>
                  <a:moveTo>
                    <a:pt x="12" y="1538"/>
                  </a:moveTo>
                  <a:lnTo>
                    <a:pt x="193" y="1670"/>
                  </a:lnTo>
                  <a:lnTo>
                    <a:pt x="219" y="1488"/>
                  </a:lnTo>
                  <a:lnTo>
                    <a:pt x="12" y="15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3" name="Freeform 96">
              <a:extLst>
                <a:ext uri="{FF2B5EF4-FFF2-40B4-BE49-F238E27FC236}">
                  <a16:creationId xmlns:a16="http://schemas.microsoft.com/office/drawing/2014/main" id="{23E1973D-7EC4-4522-9616-5B7EE9503763}"/>
                </a:ext>
              </a:extLst>
            </p:cNvPr>
            <p:cNvSpPr>
              <a:spLocks/>
            </p:cNvSpPr>
            <p:nvPr/>
          </p:nvSpPr>
          <p:spPr bwMode="auto">
            <a:xfrm>
              <a:off x="7354888" y="8778876"/>
              <a:ext cx="1806575" cy="812800"/>
            </a:xfrm>
            <a:custGeom>
              <a:avLst/>
              <a:gdLst>
                <a:gd name="T0" fmla="*/ 818 w 1138"/>
                <a:gd name="T1" fmla="*/ 512 h 512"/>
                <a:gd name="T2" fmla="*/ 818 w 1138"/>
                <a:gd name="T3" fmla="*/ 512 h 512"/>
                <a:gd name="T4" fmla="*/ 576 w 1138"/>
                <a:gd name="T5" fmla="*/ 443 h 512"/>
                <a:gd name="T6" fmla="*/ 578 w 1138"/>
                <a:gd name="T7" fmla="*/ 438 h 512"/>
                <a:gd name="T8" fmla="*/ 819 w 1138"/>
                <a:gd name="T9" fmla="*/ 507 h 512"/>
                <a:gd name="T10" fmla="*/ 1133 w 1138"/>
                <a:gd name="T11" fmla="*/ 484 h 512"/>
                <a:gd name="T12" fmla="*/ 1065 w 1138"/>
                <a:gd name="T13" fmla="*/ 31 h 512"/>
                <a:gd name="T14" fmla="*/ 0 w 1138"/>
                <a:gd name="T15" fmla="*/ 5 h 512"/>
                <a:gd name="T16" fmla="*/ 0 w 1138"/>
                <a:gd name="T17" fmla="*/ 0 h 512"/>
                <a:gd name="T18" fmla="*/ 1069 w 1138"/>
                <a:gd name="T19" fmla="*/ 25 h 512"/>
                <a:gd name="T20" fmla="*/ 1070 w 1138"/>
                <a:gd name="T21" fmla="*/ 28 h 512"/>
                <a:gd name="T22" fmla="*/ 1138 w 1138"/>
                <a:gd name="T23" fmla="*/ 489 h 512"/>
                <a:gd name="T24" fmla="*/ 818 w 1138"/>
                <a:gd name="T25"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8" h="512">
                  <a:moveTo>
                    <a:pt x="818" y="512"/>
                  </a:moveTo>
                  <a:lnTo>
                    <a:pt x="818" y="512"/>
                  </a:lnTo>
                  <a:lnTo>
                    <a:pt x="576" y="443"/>
                  </a:lnTo>
                  <a:lnTo>
                    <a:pt x="578" y="438"/>
                  </a:lnTo>
                  <a:lnTo>
                    <a:pt x="819" y="507"/>
                  </a:lnTo>
                  <a:lnTo>
                    <a:pt x="1133" y="484"/>
                  </a:lnTo>
                  <a:lnTo>
                    <a:pt x="1065" y="31"/>
                  </a:lnTo>
                  <a:lnTo>
                    <a:pt x="0" y="5"/>
                  </a:lnTo>
                  <a:lnTo>
                    <a:pt x="0" y="0"/>
                  </a:lnTo>
                  <a:lnTo>
                    <a:pt x="1069" y="25"/>
                  </a:lnTo>
                  <a:lnTo>
                    <a:pt x="1070" y="28"/>
                  </a:lnTo>
                  <a:lnTo>
                    <a:pt x="1138" y="489"/>
                  </a:lnTo>
                  <a:lnTo>
                    <a:pt x="818" y="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4" name="Freeform 97">
              <a:extLst>
                <a:ext uri="{FF2B5EF4-FFF2-40B4-BE49-F238E27FC236}">
                  <a16:creationId xmlns:a16="http://schemas.microsoft.com/office/drawing/2014/main" id="{40E6993C-4AF6-4904-92A1-221A368F74D4}"/>
                </a:ext>
              </a:extLst>
            </p:cNvPr>
            <p:cNvSpPr>
              <a:spLocks/>
            </p:cNvSpPr>
            <p:nvPr/>
          </p:nvSpPr>
          <p:spPr bwMode="auto">
            <a:xfrm>
              <a:off x="9155113" y="8208963"/>
              <a:ext cx="1449388" cy="1346200"/>
            </a:xfrm>
            <a:custGeom>
              <a:avLst/>
              <a:gdLst>
                <a:gd name="T0" fmla="*/ 3 w 913"/>
                <a:gd name="T1" fmla="*/ 848 h 848"/>
                <a:gd name="T2" fmla="*/ 0 w 913"/>
                <a:gd name="T3" fmla="*/ 844 h 848"/>
                <a:gd name="T4" fmla="*/ 894 w 913"/>
                <a:gd name="T5" fmla="*/ 10 h 848"/>
                <a:gd name="T6" fmla="*/ 628 w 913"/>
                <a:gd name="T7" fmla="*/ 76 h 848"/>
                <a:gd name="T8" fmla="*/ 627 w 913"/>
                <a:gd name="T9" fmla="*/ 72 h 848"/>
                <a:gd name="T10" fmla="*/ 913 w 913"/>
                <a:gd name="T11" fmla="*/ 0 h 848"/>
                <a:gd name="T12" fmla="*/ 3 w 913"/>
                <a:gd name="T13" fmla="*/ 848 h 848"/>
              </a:gdLst>
              <a:ahLst/>
              <a:cxnLst>
                <a:cxn ang="0">
                  <a:pos x="T0" y="T1"/>
                </a:cxn>
                <a:cxn ang="0">
                  <a:pos x="T2" y="T3"/>
                </a:cxn>
                <a:cxn ang="0">
                  <a:pos x="T4" y="T5"/>
                </a:cxn>
                <a:cxn ang="0">
                  <a:pos x="T6" y="T7"/>
                </a:cxn>
                <a:cxn ang="0">
                  <a:pos x="T8" y="T9"/>
                </a:cxn>
                <a:cxn ang="0">
                  <a:pos x="T10" y="T11"/>
                </a:cxn>
                <a:cxn ang="0">
                  <a:pos x="T12" y="T13"/>
                </a:cxn>
              </a:cxnLst>
              <a:rect l="0" t="0" r="r" b="b"/>
              <a:pathLst>
                <a:path w="913" h="848">
                  <a:moveTo>
                    <a:pt x="3" y="848"/>
                  </a:moveTo>
                  <a:lnTo>
                    <a:pt x="0" y="844"/>
                  </a:lnTo>
                  <a:lnTo>
                    <a:pt x="894" y="10"/>
                  </a:lnTo>
                  <a:lnTo>
                    <a:pt x="628" y="76"/>
                  </a:lnTo>
                  <a:lnTo>
                    <a:pt x="627" y="72"/>
                  </a:lnTo>
                  <a:lnTo>
                    <a:pt x="913" y="0"/>
                  </a:lnTo>
                  <a:lnTo>
                    <a:pt x="3" y="8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5" name="Freeform 98">
              <a:extLst>
                <a:ext uri="{FF2B5EF4-FFF2-40B4-BE49-F238E27FC236}">
                  <a16:creationId xmlns:a16="http://schemas.microsoft.com/office/drawing/2014/main" id="{7B1FFA35-6060-4FA1-BE05-91BC713944CD}"/>
                </a:ext>
              </a:extLst>
            </p:cNvPr>
            <p:cNvSpPr>
              <a:spLocks/>
            </p:cNvSpPr>
            <p:nvPr/>
          </p:nvSpPr>
          <p:spPr bwMode="auto">
            <a:xfrm>
              <a:off x="9153526" y="6502401"/>
              <a:ext cx="555625" cy="3049588"/>
            </a:xfrm>
            <a:custGeom>
              <a:avLst/>
              <a:gdLst>
                <a:gd name="T0" fmla="*/ 5 w 350"/>
                <a:gd name="T1" fmla="*/ 1921 h 1921"/>
                <a:gd name="T2" fmla="*/ 0 w 350"/>
                <a:gd name="T3" fmla="*/ 1921 h 1921"/>
                <a:gd name="T4" fmla="*/ 344 w 350"/>
                <a:gd name="T5" fmla="*/ 0 h 1921"/>
                <a:gd name="T6" fmla="*/ 350 w 350"/>
                <a:gd name="T7" fmla="*/ 1 h 1921"/>
                <a:gd name="T8" fmla="*/ 5 w 350"/>
                <a:gd name="T9" fmla="*/ 1921 h 1921"/>
              </a:gdLst>
              <a:ahLst/>
              <a:cxnLst>
                <a:cxn ang="0">
                  <a:pos x="T0" y="T1"/>
                </a:cxn>
                <a:cxn ang="0">
                  <a:pos x="T2" y="T3"/>
                </a:cxn>
                <a:cxn ang="0">
                  <a:pos x="T4" y="T5"/>
                </a:cxn>
                <a:cxn ang="0">
                  <a:pos x="T6" y="T7"/>
                </a:cxn>
                <a:cxn ang="0">
                  <a:pos x="T8" y="T9"/>
                </a:cxn>
              </a:cxnLst>
              <a:rect l="0" t="0" r="r" b="b"/>
              <a:pathLst>
                <a:path w="350" h="1921">
                  <a:moveTo>
                    <a:pt x="5" y="1921"/>
                  </a:moveTo>
                  <a:lnTo>
                    <a:pt x="0" y="1921"/>
                  </a:lnTo>
                  <a:lnTo>
                    <a:pt x="344" y="0"/>
                  </a:lnTo>
                  <a:lnTo>
                    <a:pt x="350" y="1"/>
                  </a:lnTo>
                  <a:lnTo>
                    <a:pt x="5" y="19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6" name="Freeform 99">
              <a:extLst>
                <a:ext uri="{FF2B5EF4-FFF2-40B4-BE49-F238E27FC236}">
                  <a16:creationId xmlns:a16="http://schemas.microsoft.com/office/drawing/2014/main" id="{3BC3F6F5-0615-4CB8-B3E1-AF41AD54C7BA}"/>
                </a:ext>
              </a:extLst>
            </p:cNvPr>
            <p:cNvSpPr>
              <a:spLocks/>
            </p:cNvSpPr>
            <p:nvPr/>
          </p:nvSpPr>
          <p:spPr bwMode="auto">
            <a:xfrm>
              <a:off x="10217151" y="6472238"/>
              <a:ext cx="563563" cy="1211263"/>
            </a:xfrm>
            <a:custGeom>
              <a:avLst/>
              <a:gdLst>
                <a:gd name="T0" fmla="*/ 164 w 355"/>
                <a:gd name="T1" fmla="*/ 763 h 763"/>
                <a:gd name="T2" fmla="*/ 162 w 355"/>
                <a:gd name="T3" fmla="*/ 758 h 763"/>
                <a:gd name="T4" fmla="*/ 348 w 355"/>
                <a:gd name="T5" fmla="*/ 718 h 763"/>
                <a:gd name="T6" fmla="*/ 236 w 355"/>
                <a:gd name="T7" fmla="*/ 351 h 763"/>
                <a:gd name="T8" fmla="*/ 0 w 355"/>
                <a:gd name="T9" fmla="*/ 3 h 763"/>
                <a:gd name="T10" fmla="*/ 4 w 355"/>
                <a:gd name="T11" fmla="*/ 0 h 763"/>
                <a:gd name="T12" fmla="*/ 240 w 355"/>
                <a:gd name="T13" fmla="*/ 348 h 763"/>
                <a:gd name="T14" fmla="*/ 241 w 355"/>
                <a:gd name="T15" fmla="*/ 350 h 763"/>
                <a:gd name="T16" fmla="*/ 355 w 355"/>
                <a:gd name="T17" fmla="*/ 722 h 763"/>
                <a:gd name="T18" fmla="*/ 164 w 355"/>
                <a:gd name="T19" fmla="*/ 76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763">
                  <a:moveTo>
                    <a:pt x="164" y="763"/>
                  </a:moveTo>
                  <a:lnTo>
                    <a:pt x="162" y="758"/>
                  </a:lnTo>
                  <a:lnTo>
                    <a:pt x="348" y="718"/>
                  </a:lnTo>
                  <a:lnTo>
                    <a:pt x="236" y="351"/>
                  </a:lnTo>
                  <a:lnTo>
                    <a:pt x="0" y="3"/>
                  </a:lnTo>
                  <a:lnTo>
                    <a:pt x="4" y="0"/>
                  </a:lnTo>
                  <a:lnTo>
                    <a:pt x="240" y="348"/>
                  </a:lnTo>
                  <a:lnTo>
                    <a:pt x="241" y="350"/>
                  </a:lnTo>
                  <a:lnTo>
                    <a:pt x="355" y="722"/>
                  </a:lnTo>
                  <a:lnTo>
                    <a:pt x="164" y="7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7" name="Oval 100">
              <a:extLst>
                <a:ext uri="{FF2B5EF4-FFF2-40B4-BE49-F238E27FC236}">
                  <a16:creationId xmlns:a16="http://schemas.microsoft.com/office/drawing/2014/main" id="{9EC9DB01-7F27-4D80-BB4B-EA4363DBDC45}"/>
                </a:ext>
              </a:extLst>
            </p:cNvPr>
            <p:cNvSpPr>
              <a:spLocks noChangeArrowheads="1"/>
            </p:cNvSpPr>
            <p:nvPr/>
          </p:nvSpPr>
          <p:spPr bwMode="auto">
            <a:xfrm>
              <a:off x="10218738" y="8782051"/>
              <a:ext cx="34925" cy="33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8" name="Oval 101">
              <a:extLst>
                <a:ext uri="{FF2B5EF4-FFF2-40B4-BE49-F238E27FC236}">
                  <a16:creationId xmlns:a16="http://schemas.microsoft.com/office/drawing/2014/main" id="{9A380919-58C8-4329-9873-A42BA7042841}"/>
                </a:ext>
              </a:extLst>
            </p:cNvPr>
            <p:cNvSpPr>
              <a:spLocks noChangeArrowheads="1"/>
            </p:cNvSpPr>
            <p:nvPr/>
          </p:nvSpPr>
          <p:spPr bwMode="auto">
            <a:xfrm>
              <a:off x="7493001" y="6035676"/>
              <a:ext cx="74613"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9" name="Oval 102">
              <a:extLst>
                <a:ext uri="{FF2B5EF4-FFF2-40B4-BE49-F238E27FC236}">
                  <a16:creationId xmlns:a16="http://schemas.microsoft.com/office/drawing/2014/main" id="{5A5C3C60-0501-4566-8C7A-60FC7BB04587}"/>
                </a:ext>
              </a:extLst>
            </p:cNvPr>
            <p:cNvSpPr>
              <a:spLocks noChangeArrowheads="1"/>
            </p:cNvSpPr>
            <p:nvPr/>
          </p:nvSpPr>
          <p:spPr bwMode="auto">
            <a:xfrm>
              <a:off x="7534276" y="611663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0" name="Freeform 103">
              <a:extLst>
                <a:ext uri="{FF2B5EF4-FFF2-40B4-BE49-F238E27FC236}">
                  <a16:creationId xmlns:a16="http://schemas.microsoft.com/office/drawing/2014/main" id="{BAD88E0F-2D30-41DE-A4D3-F4321BD24224}"/>
                </a:ext>
              </a:extLst>
            </p:cNvPr>
            <p:cNvSpPr>
              <a:spLocks/>
            </p:cNvSpPr>
            <p:nvPr/>
          </p:nvSpPr>
          <p:spPr bwMode="auto">
            <a:xfrm>
              <a:off x="9559926" y="8361363"/>
              <a:ext cx="681038" cy="441325"/>
            </a:xfrm>
            <a:custGeom>
              <a:avLst/>
              <a:gdLst>
                <a:gd name="T0" fmla="*/ 425 w 429"/>
                <a:gd name="T1" fmla="*/ 278 h 278"/>
                <a:gd name="T2" fmla="*/ 197 w 429"/>
                <a:gd name="T3" fmla="*/ 16 h 278"/>
                <a:gd name="T4" fmla="*/ 0 w 429"/>
                <a:gd name="T5" fmla="*/ 6 h 278"/>
                <a:gd name="T6" fmla="*/ 0 w 429"/>
                <a:gd name="T7" fmla="*/ 0 h 278"/>
                <a:gd name="T8" fmla="*/ 199 w 429"/>
                <a:gd name="T9" fmla="*/ 11 h 278"/>
                <a:gd name="T10" fmla="*/ 429 w 429"/>
                <a:gd name="T11" fmla="*/ 274 h 278"/>
                <a:gd name="T12" fmla="*/ 425 w 429"/>
                <a:gd name="T13" fmla="*/ 278 h 278"/>
              </a:gdLst>
              <a:ahLst/>
              <a:cxnLst>
                <a:cxn ang="0">
                  <a:pos x="T0" y="T1"/>
                </a:cxn>
                <a:cxn ang="0">
                  <a:pos x="T2" y="T3"/>
                </a:cxn>
                <a:cxn ang="0">
                  <a:pos x="T4" y="T5"/>
                </a:cxn>
                <a:cxn ang="0">
                  <a:pos x="T6" y="T7"/>
                </a:cxn>
                <a:cxn ang="0">
                  <a:pos x="T8" y="T9"/>
                </a:cxn>
                <a:cxn ang="0">
                  <a:pos x="T10" y="T11"/>
                </a:cxn>
                <a:cxn ang="0">
                  <a:pos x="T12" y="T13"/>
                </a:cxn>
              </a:cxnLst>
              <a:rect l="0" t="0" r="r" b="b"/>
              <a:pathLst>
                <a:path w="429" h="278">
                  <a:moveTo>
                    <a:pt x="425" y="278"/>
                  </a:moveTo>
                  <a:lnTo>
                    <a:pt x="197" y="16"/>
                  </a:lnTo>
                  <a:lnTo>
                    <a:pt x="0" y="6"/>
                  </a:lnTo>
                  <a:lnTo>
                    <a:pt x="0" y="0"/>
                  </a:lnTo>
                  <a:lnTo>
                    <a:pt x="199" y="11"/>
                  </a:lnTo>
                  <a:lnTo>
                    <a:pt x="429" y="274"/>
                  </a:lnTo>
                  <a:lnTo>
                    <a:pt x="425"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1" name="Freeform 104">
              <a:extLst>
                <a:ext uri="{FF2B5EF4-FFF2-40B4-BE49-F238E27FC236}">
                  <a16:creationId xmlns:a16="http://schemas.microsoft.com/office/drawing/2014/main" id="{52247205-8901-4D50-84D0-002A3CAACBE2}"/>
                </a:ext>
              </a:extLst>
            </p:cNvPr>
            <p:cNvSpPr>
              <a:spLocks/>
            </p:cNvSpPr>
            <p:nvPr/>
          </p:nvSpPr>
          <p:spPr bwMode="auto">
            <a:xfrm>
              <a:off x="6786563" y="7118351"/>
              <a:ext cx="225425" cy="1262063"/>
            </a:xfrm>
            <a:custGeom>
              <a:avLst/>
              <a:gdLst>
                <a:gd name="T0" fmla="*/ 93 w 142"/>
                <a:gd name="T1" fmla="*/ 795 h 795"/>
                <a:gd name="T2" fmla="*/ 16 w 142"/>
                <a:gd name="T3" fmla="*/ 514 h 795"/>
                <a:gd name="T4" fmla="*/ 0 w 142"/>
                <a:gd name="T5" fmla="*/ 436 h 795"/>
                <a:gd name="T6" fmla="*/ 0 w 142"/>
                <a:gd name="T7" fmla="*/ 436 h 795"/>
                <a:gd name="T8" fmla="*/ 38 w 142"/>
                <a:gd name="T9" fmla="*/ 0 h 795"/>
                <a:gd name="T10" fmla="*/ 43 w 142"/>
                <a:gd name="T11" fmla="*/ 0 h 795"/>
                <a:gd name="T12" fmla="*/ 5 w 142"/>
                <a:gd name="T13" fmla="*/ 436 h 795"/>
                <a:gd name="T14" fmla="*/ 22 w 142"/>
                <a:gd name="T15" fmla="*/ 512 h 795"/>
                <a:gd name="T16" fmla="*/ 92 w 142"/>
                <a:gd name="T17" fmla="*/ 771 h 795"/>
                <a:gd name="T18" fmla="*/ 137 w 142"/>
                <a:gd name="T19" fmla="*/ 503 h 795"/>
                <a:gd name="T20" fmla="*/ 121 w 142"/>
                <a:gd name="T21" fmla="*/ 355 h 795"/>
                <a:gd name="T22" fmla="*/ 62 w 142"/>
                <a:gd name="T23" fmla="*/ 196 h 795"/>
                <a:gd name="T24" fmla="*/ 68 w 142"/>
                <a:gd name="T25" fmla="*/ 194 h 795"/>
                <a:gd name="T26" fmla="*/ 126 w 142"/>
                <a:gd name="T27" fmla="*/ 353 h 795"/>
                <a:gd name="T28" fmla="*/ 142 w 142"/>
                <a:gd name="T29" fmla="*/ 503 h 795"/>
                <a:gd name="T30" fmla="*/ 142 w 142"/>
                <a:gd name="T31" fmla="*/ 504 h 795"/>
                <a:gd name="T32" fmla="*/ 93 w 142"/>
                <a:gd name="T33" fmla="*/ 795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795">
                  <a:moveTo>
                    <a:pt x="93" y="795"/>
                  </a:moveTo>
                  <a:lnTo>
                    <a:pt x="16" y="514"/>
                  </a:lnTo>
                  <a:lnTo>
                    <a:pt x="0" y="436"/>
                  </a:lnTo>
                  <a:lnTo>
                    <a:pt x="0" y="436"/>
                  </a:lnTo>
                  <a:lnTo>
                    <a:pt x="38" y="0"/>
                  </a:lnTo>
                  <a:lnTo>
                    <a:pt x="43" y="0"/>
                  </a:lnTo>
                  <a:lnTo>
                    <a:pt x="5" y="436"/>
                  </a:lnTo>
                  <a:lnTo>
                    <a:pt x="22" y="512"/>
                  </a:lnTo>
                  <a:lnTo>
                    <a:pt x="92" y="771"/>
                  </a:lnTo>
                  <a:lnTo>
                    <a:pt x="137" y="503"/>
                  </a:lnTo>
                  <a:lnTo>
                    <a:pt x="121" y="355"/>
                  </a:lnTo>
                  <a:lnTo>
                    <a:pt x="62" y="196"/>
                  </a:lnTo>
                  <a:lnTo>
                    <a:pt x="68" y="194"/>
                  </a:lnTo>
                  <a:lnTo>
                    <a:pt x="126" y="353"/>
                  </a:lnTo>
                  <a:lnTo>
                    <a:pt x="142" y="503"/>
                  </a:lnTo>
                  <a:lnTo>
                    <a:pt x="142" y="504"/>
                  </a:lnTo>
                  <a:lnTo>
                    <a:pt x="93" y="7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2" name="Freeform 105">
              <a:extLst>
                <a:ext uri="{FF2B5EF4-FFF2-40B4-BE49-F238E27FC236}">
                  <a16:creationId xmlns:a16="http://schemas.microsoft.com/office/drawing/2014/main" id="{C10227AA-3BC7-4ACF-93AB-8D9311397662}"/>
                </a:ext>
              </a:extLst>
            </p:cNvPr>
            <p:cNvSpPr>
              <a:spLocks noEditPoints="1"/>
            </p:cNvSpPr>
            <p:nvPr/>
          </p:nvSpPr>
          <p:spPr bwMode="auto">
            <a:xfrm>
              <a:off x="6811963" y="7408863"/>
              <a:ext cx="200025" cy="971550"/>
            </a:xfrm>
            <a:custGeom>
              <a:avLst/>
              <a:gdLst>
                <a:gd name="T0" fmla="*/ 73 w 126"/>
                <a:gd name="T1" fmla="*/ 612 h 612"/>
                <a:gd name="T2" fmla="*/ 0 w 126"/>
                <a:gd name="T3" fmla="*/ 310 h 612"/>
                <a:gd name="T4" fmla="*/ 0 w 126"/>
                <a:gd name="T5" fmla="*/ 309 h 612"/>
                <a:gd name="T6" fmla="*/ 48 w 126"/>
                <a:gd name="T7" fmla="*/ 0 h 612"/>
                <a:gd name="T8" fmla="*/ 110 w 126"/>
                <a:gd name="T9" fmla="*/ 170 h 612"/>
                <a:gd name="T10" fmla="*/ 126 w 126"/>
                <a:gd name="T11" fmla="*/ 325 h 612"/>
                <a:gd name="T12" fmla="*/ 73 w 126"/>
                <a:gd name="T13" fmla="*/ 612 h 612"/>
                <a:gd name="T14" fmla="*/ 6 w 126"/>
                <a:gd name="T15" fmla="*/ 309 h 612"/>
                <a:gd name="T16" fmla="*/ 73 w 126"/>
                <a:gd name="T17" fmla="*/ 587 h 612"/>
                <a:gd name="T18" fmla="*/ 121 w 126"/>
                <a:gd name="T19" fmla="*/ 325 h 612"/>
                <a:gd name="T20" fmla="*/ 105 w 126"/>
                <a:gd name="T21" fmla="*/ 172 h 612"/>
                <a:gd name="T22" fmla="*/ 50 w 126"/>
                <a:gd name="T23" fmla="*/ 22 h 612"/>
                <a:gd name="T24" fmla="*/ 6 w 126"/>
                <a:gd name="T25" fmla="*/ 309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612">
                  <a:moveTo>
                    <a:pt x="73" y="612"/>
                  </a:moveTo>
                  <a:lnTo>
                    <a:pt x="0" y="310"/>
                  </a:lnTo>
                  <a:lnTo>
                    <a:pt x="0" y="309"/>
                  </a:lnTo>
                  <a:lnTo>
                    <a:pt x="48" y="0"/>
                  </a:lnTo>
                  <a:lnTo>
                    <a:pt x="110" y="170"/>
                  </a:lnTo>
                  <a:lnTo>
                    <a:pt x="126" y="325"/>
                  </a:lnTo>
                  <a:lnTo>
                    <a:pt x="73" y="612"/>
                  </a:lnTo>
                  <a:close/>
                  <a:moveTo>
                    <a:pt x="6" y="309"/>
                  </a:moveTo>
                  <a:lnTo>
                    <a:pt x="73" y="587"/>
                  </a:lnTo>
                  <a:lnTo>
                    <a:pt x="121" y="325"/>
                  </a:lnTo>
                  <a:lnTo>
                    <a:pt x="105" y="172"/>
                  </a:lnTo>
                  <a:lnTo>
                    <a:pt x="50" y="22"/>
                  </a:lnTo>
                  <a:lnTo>
                    <a:pt x="6"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3" name="Freeform 106">
              <a:extLst>
                <a:ext uri="{FF2B5EF4-FFF2-40B4-BE49-F238E27FC236}">
                  <a16:creationId xmlns:a16="http://schemas.microsoft.com/office/drawing/2014/main" id="{43E8DB46-3D94-4654-9FEE-CE90C3D57387}"/>
                </a:ext>
              </a:extLst>
            </p:cNvPr>
            <p:cNvSpPr>
              <a:spLocks/>
            </p:cNvSpPr>
            <p:nvPr/>
          </p:nvSpPr>
          <p:spPr bwMode="auto">
            <a:xfrm>
              <a:off x="6846888" y="7154863"/>
              <a:ext cx="47625" cy="274638"/>
            </a:xfrm>
            <a:custGeom>
              <a:avLst/>
              <a:gdLst>
                <a:gd name="T0" fmla="*/ 24 w 30"/>
                <a:gd name="T1" fmla="*/ 173 h 173"/>
                <a:gd name="T2" fmla="*/ 0 w 30"/>
                <a:gd name="T3" fmla="*/ 1 h 173"/>
                <a:gd name="T4" fmla="*/ 5 w 30"/>
                <a:gd name="T5" fmla="*/ 0 h 173"/>
                <a:gd name="T6" fmla="*/ 30 w 30"/>
                <a:gd name="T7" fmla="*/ 171 h 173"/>
                <a:gd name="T8" fmla="*/ 24 w 30"/>
                <a:gd name="T9" fmla="*/ 173 h 173"/>
              </a:gdLst>
              <a:ahLst/>
              <a:cxnLst>
                <a:cxn ang="0">
                  <a:pos x="T0" y="T1"/>
                </a:cxn>
                <a:cxn ang="0">
                  <a:pos x="T2" y="T3"/>
                </a:cxn>
                <a:cxn ang="0">
                  <a:pos x="T4" y="T5"/>
                </a:cxn>
                <a:cxn ang="0">
                  <a:pos x="T6" y="T7"/>
                </a:cxn>
                <a:cxn ang="0">
                  <a:pos x="T8" y="T9"/>
                </a:cxn>
              </a:cxnLst>
              <a:rect l="0" t="0" r="r" b="b"/>
              <a:pathLst>
                <a:path w="30" h="173">
                  <a:moveTo>
                    <a:pt x="24" y="173"/>
                  </a:moveTo>
                  <a:lnTo>
                    <a:pt x="0" y="1"/>
                  </a:lnTo>
                  <a:lnTo>
                    <a:pt x="5" y="0"/>
                  </a:lnTo>
                  <a:lnTo>
                    <a:pt x="30" y="171"/>
                  </a:lnTo>
                  <a:lnTo>
                    <a:pt x="2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4" name="Freeform 107">
              <a:extLst>
                <a:ext uri="{FF2B5EF4-FFF2-40B4-BE49-F238E27FC236}">
                  <a16:creationId xmlns:a16="http://schemas.microsoft.com/office/drawing/2014/main" id="{0D37C570-6A60-483C-8DAC-DDFCDF2DEB1E}"/>
                </a:ext>
              </a:extLst>
            </p:cNvPr>
            <p:cNvSpPr>
              <a:spLocks/>
            </p:cNvSpPr>
            <p:nvPr/>
          </p:nvSpPr>
          <p:spPr bwMode="auto">
            <a:xfrm>
              <a:off x="7277101" y="6154738"/>
              <a:ext cx="403225" cy="3041650"/>
            </a:xfrm>
            <a:custGeom>
              <a:avLst/>
              <a:gdLst>
                <a:gd name="T0" fmla="*/ 248 w 254"/>
                <a:gd name="T1" fmla="*/ 1916 h 1916"/>
                <a:gd name="T2" fmla="*/ 0 w 254"/>
                <a:gd name="T3" fmla="*/ 0 h 1916"/>
                <a:gd name="T4" fmla="*/ 4 w 254"/>
                <a:gd name="T5" fmla="*/ 0 h 1916"/>
                <a:gd name="T6" fmla="*/ 254 w 254"/>
                <a:gd name="T7" fmla="*/ 1916 h 1916"/>
                <a:gd name="T8" fmla="*/ 248 w 254"/>
                <a:gd name="T9" fmla="*/ 1916 h 1916"/>
              </a:gdLst>
              <a:ahLst/>
              <a:cxnLst>
                <a:cxn ang="0">
                  <a:pos x="T0" y="T1"/>
                </a:cxn>
                <a:cxn ang="0">
                  <a:pos x="T2" y="T3"/>
                </a:cxn>
                <a:cxn ang="0">
                  <a:pos x="T4" y="T5"/>
                </a:cxn>
                <a:cxn ang="0">
                  <a:pos x="T6" y="T7"/>
                </a:cxn>
                <a:cxn ang="0">
                  <a:pos x="T8" y="T9"/>
                </a:cxn>
              </a:cxnLst>
              <a:rect l="0" t="0" r="r" b="b"/>
              <a:pathLst>
                <a:path w="254" h="1916">
                  <a:moveTo>
                    <a:pt x="248" y="1916"/>
                  </a:moveTo>
                  <a:lnTo>
                    <a:pt x="0" y="0"/>
                  </a:lnTo>
                  <a:lnTo>
                    <a:pt x="4" y="0"/>
                  </a:lnTo>
                  <a:lnTo>
                    <a:pt x="254" y="1916"/>
                  </a:lnTo>
                  <a:lnTo>
                    <a:pt x="248" y="19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5" name="Freeform 108">
              <a:extLst>
                <a:ext uri="{FF2B5EF4-FFF2-40B4-BE49-F238E27FC236}">
                  <a16:creationId xmlns:a16="http://schemas.microsoft.com/office/drawing/2014/main" id="{DEC1E584-9122-472F-8D13-3BE1CAB776F7}"/>
                </a:ext>
              </a:extLst>
            </p:cNvPr>
            <p:cNvSpPr>
              <a:spLocks/>
            </p:cNvSpPr>
            <p:nvPr/>
          </p:nvSpPr>
          <p:spPr bwMode="auto">
            <a:xfrm>
              <a:off x="7173913" y="5873751"/>
              <a:ext cx="404813" cy="742950"/>
            </a:xfrm>
            <a:custGeom>
              <a:avLst/>
              <a:gdLst>
                <a:gd name="T0" fmla="*/ 41 w 255"/>
                <a:gd name="T1" fmla="*/ 468 h 468"/>
                <a:gd name="T2" fmla="*/ 38 w 255"/>
                <a:gd name="T3" fmla="*/ 464 h 468"/>
                <a:gd name="T4" fmla="*/ 140 w 255"/>
                <a:gd name="T5" fmla="*/ 414 h 468"/>
                <a:gd name="T6" fmla="*/ 0 w 255"/>
                <a:gd name="T7" fmla="*/ 302 h 468"/>
                <a:gd name="T8" fmla="*/ 65 w 255"/>
                <a:gd name="T9" fmla="*/ 174 h 468"/>
                <a:gd name="T10" fmla="*/ 252 w 255"/>
                <a:gd name="T11" fmla="*/ 0 h 468"/>
                <a:gd name="T12" fmla="*/ 255 w 255"/>
                <a:gd name="T13" fmla="*/ 4 h 468"/>
                <a:gd name="T14" fmla="*/ 69 w 255"/>
                <a:gd name="T15" fmla="*/ 178 h 468"/>
                <a:gd name="T16" fmla="*/ 7 w 255"/>
                <a:gd name="T17" fmla="*/ 301 h 468"/>
                <a:gd name="T18" fmla="*/ 151 w 255"/>
                <a:gd name="T19" fmla="*/ 414 h 468"/>
                <a:gd name="T20" fmla="*/ 41 w 255"/>
                <a:gd name="T21"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5" h="468">
                  <a:moveTo>
                    <a:pt x="41" y="468"/>
                  </a:moveTo>
                  <a:lnTo>
                    <a:pt x="38" y="464"/>
                  </a:lnTo>
                  <a:lnTo>
                    <a:pt x="140" y="414"/>
                  </a:lnTo>
                  <a:lnTo>
                    <a:pt x="0" y="302"/>
                  </a:lnTo>
                  <a:lnTo>
                    <a:pt x="65" y="174"/>
                  </a:lnTo>
                  <a:lnTo>
                    <a:pt x="252" y="0"/>
                  </a:lnTo>
                  <a:lnTo>
                    <a:pt x="255" y="4"/>
                  </a:lnTo>
                  <a:lnTo>
                    <a:pt x="69" y="178"/>
                  </a:lnTo>
                  <a:lnTo>
                    <a:pt x="7" y="301"/>
                  </a:lnTo>
                  <a:lnTo>
                    <a:pt x="151" y="414"/>
                  </a:lnTo>
                  <a:lnTo>
                    <a:pt x="41" y="4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8" name="Group 17">
            <a:extLst>
              <a:ext uri="{FF2B5EF4-FFF2-40B4-BE49-F238E27FC236}">
                <a16:creationId xmlns:a16="http://schemas.microsoft.com/office/drawing/2014/main" id="{3EAE13FB-DA02-4CBC-8B54-F7EC1E6EF15B}"/>
              </a:ext>
            </a:extLst>
          </p:cNvPr>
          <p:cNvGrpSpPr/>
          <p:nvPr/>
        </p:nvGrpSpPr>
        <p:grpSpPr>
          <a:xfrm>
            <a:off x="1043992" y="1889880"/>
            <a:ext cx="2141394" cy="2338372"/>
            <a:chOff x="2055838" y="1992260"/>
            <a:chExt cx="1112909" cy="2063274"/>
          </a:xfrm>
        </p:grpSpPr>
        <p:sp>
          <p:nvSpPr>
            <p:cNvPr id="303" name="Freeform: Shape 302">
              <a:extLst>
                <a:ext uri="{FF2B5EF4-FFF2-40B4-BE49-F238E27FC236}">
                  <a16:creationId xmlns:a16="http://schemas.microsoft.com/office/drawing/2014/main" id="{F13DDED1-5F74-44F2-9A49-80201991855D}"/>
                </a:ext>
              </a:extLst>
            </p:cNvPr>
            <p:cNvSpPr/>
            <p:nvPr/>
          </p:nvSpPr>
          <p:spPr>
            <a:xfrm flipH="1">
              <a:off x="2055838" y="1992260"/>
              <a:ext cx="1112909" cy="102928"/>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bg1"/>
              </a:solidFill>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05" name="Freeform: Shape 304">
              <a:extLst>
                <a:ext uri="{FF2B5EF4-FFF2-40B4-BE49-F238E27FC236}">
                  <a16:creationId xmlns:a16="http://schemas.microsoft.com/office/drawing/2014/main" id="{F5FE49FD-181C-4AEF-8E4C-189D97C70AA4}"/>
                </a:ext>
              </a:extLst>
            </p:cNvPr>
            <p:cNvSpPr/>
            <p:nvPr/>
          </p:nvSpPr>
          <p:spPr>
            <a:xfrm flipH="1" flipV="1">
              <a:off x="2055838" y="3952606"/>
              <a:ext cx="1112909" cy="102928"/>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bg1"/>
              </a:solidFill>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292" name="TextBox 291">
            <a:extLst>
              <a:ext uri="{FF2B5EF4-FFF2-40B4-BE49-F238E27FC236}">
                <a16:creationId xmlns:a16="http://schemas.microsoft.com/office/drawing/2014/main" id="{71B11533-8665-42EF-92F8-89C8622D351E}"/>
              </a:ext>
            </a:extLst>
          </p:cNvPr>
          <p:cNvSpPr txBox="1"/>
          <p:nvPr/>
        </p:nvSpPr>
        <p:spPr>
          <a:xfrm>
            <a:off x="6419281" y="1489353"/>
            <a:ext cx="1806268" cy="430887"/>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r" defTabSz="457189"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BCEB"/>
                </a:solidFill>
                <a:effectLst/>
                <a:uLnTx/>
                <a:uFillTx/>
                <a:latin typeface="CiscoSansTT ExtraLight"/>
                <a:ea typeface="ＭＳ Ｐゴシック" charset="0"/>
              </a:rPr>
              <a:t>Threats </a:t>
            </a:r>
            <a:r>
              <a:rPr kumimoji="0" lang="en-US" sz="1100" b="0" i="0" u="none" strike="noStrike" kern="1200" cap="none" spc="0" normalizeH="0" baseline="0" noProof="0" dirty="0">
                <a:ln>
                  <a:noFill/>
                </a:ln>
                <a:solidFill>
                  <a:srgbClr val="00BCEB"/>
                </a:solidFill>
                <a:effectLst/>
                <a:uLnTx/>
                <a:uFillTx/>
                <a:latin typeface="CiscoSansTT ExtraLight"/>
                <a:ea typeface="ＭＳ Ｐゴシック" charset="0"/>
              </a:rPr>
              <a:t>are more numerous and complex</a:t>
            </a:r>
          </a:p>
        </p:txBody>
      </p:sp>
      <p:sp>
        <p:nvSpPr>
          <p:cNvPr id="297" name="TextBox 296">
            <a:extLst>
              <a:ext uri="{FF2B5EF4-FFF2-40B4-BE49-F238E27FC236}">
                <a16:creationId xmlns:a16="http://schemas.microsoft.com/office/drawing/2014/main" id="{49731B1D-B3D3-485E-8BA2-74A2CF968F38}"/>
              </a:ext>
            </a:extLst>
          </p:cNvPr>
          <p:cNvSpPr txBox="1"/>
          <p:nvPr/>
        </p:nvSpPr>
        <p:spPr>
          <a:xfrm>
            <a:off x="6098973" y="3795367"/>
            <a:ext cx="2064856" cy="430887"/>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r" defTabSz="457189"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BCEB"/>
                </a:solidFill>
                <a:effectLst/>
                <a:uLnTx/>
                <a:uFillTx/>
                <a:latin typeface="CiscoSansTT ExtraLight"/>
                <a:ea typeface="ＭＳ Ｐゴシック" charset="0"/>
              </a:rPr>
              <a:t>Threats </a:t>
            </a:r>
            <a:r>
              <a:rPr kumimoji="0" lang="en-US" sz="1100" b="0" i="0" u="none" strike="noStrike" kern="1200" cap="none" spc="0" normalizeH="0" baseline="0" noProof="0" dirty="0">
                <a:ln>
                  <a:noFill/>
                </a:ln>
                <a:solidFill>
                  <a:srgbClr val="00BCEB"/>
                </a:solidFill>
                <a:effectLst/>
                <a:uLnTx/>
                <a:uFillTx/>
                <a:latin typeface="CiscoSansTT ExtraLight"/>
                <a:ea typeface="ＭＳ Ｐゴシック" charset="0"/>
              </a:rPr>
              <a:t>are using encryption to evade detection</a:t>
            </a:r>
          </a:p>
        </p:txBody>
      </p:sp>
      <p:sp>
        <p:nvSpPr>
          <p:cNvPr id="304" name="TextBox 303">
            <a:extLst>
              <a:ext uri="{FF2B5EF4-FFF2-40B4-BE49-F238E27FC236}">
                <a16:creationId xmlns:a16="http://schemas.microsoft.com/office/drawing/2014/main" id="{6A699942-0A5E-4A79-A4FC-921D76602B0B}"/>
              </a:ext>
            </a:extLst>
          </p:cNvPr>
          <p:cNvSpPr txBox="1"/>
          <p:nvPr/>
        </p:nvSpPr>
        <p:spPr>
          <a:xfrm>
            <a:off x="961311" y="1479354"/>
            <a:ext cx="1404762" cy="430887"/>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BCEB"/>
                </a:solidFill>
                <a:effectLst/>
                <a:uLnTx/>
                <a:uFillTx/>
                <a:latin typeface="CiscoSansTT ExtraLight"/>
                <a:ea typeface="ＭＳ Ｐゴシック" charset="0"/>
              </a:rPr>
              <a:t>More IoT devices </a:t>
            </a:r>
            <a:r>
              <a:rPr kumimoji="0" lang="en-US" sz="1100" b="0" i="0" u="none" strike="noStrike" kern="1200" cap="none" spc="0" normalizeH="0" baseline="0" noProof="0" dirty="0">
                <a:ln>
                  <a:noFill/>
                </a:ln>
                <a:solidFill>
                  <a:srgbClr val="00BCEB"/>
                </a:solidFill>
                <a:effectLst/>
                <a:uLnTx/>
                <a:uFillTx/>
                <a:latin typeface="CiscoSansTT ExtraLight"/>
                <a:ea typeface="ＭＳ Ｐゴシック" charset="0"/>
              </a:rPr>
              <a:t>connect everyday</a:t>
            </a:r>
          </a:p>
        </p:txBody>
      </p:sp>
      <p:sp>
        <p:nvSpPr>
          <p:cNvPr id="306" name="TextBox 305">
            <a:extLst>
              <a:ext uri="{FF2B5EF4-FFF2-40B4-BE49-F238E27FC236}">
                <a16:creationId xmlns:a16="http://schemas.microsoft.com/office/drawing/2014/main" id="{E020D315-2022-4BBF-8704-31561BF4E539}"/>
              </a:ext>
            </a:extLst>
          </p:cNvPr>
          <p:cNvSpPr txBox="1"/>
          <p:nvPr/>
        </p:nvSpPr>
        <p:spPr>
          <a:xfrm>
            <a:off x="1028117" y="3797365"/>
            <a:ext cx="1596616" cy="430887"/>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BCEB"/>
                </a:solidFill>
                <a:effectLst/>
                <a:uLnTx/>
                <a:uFillTx/>
                <a:latin typeface="CiscoSansTT ExtraLight"/>
                <a:ea typeface="ＭＳ Ｐゴシック" charset="0"/>
              </a:rPr>
              <a:t>Users work anywhere </a:t>
            </a:r>
            <a:r>
              <a:rPr kumimoji="0" lang="en-US" sz="1100" b="0" i="0" u="none" strike="noStrike" kern="1200" cap="none" spc="0" normalizeH="0" baseline="0" noProof="0" dirty="0">
                <a:ln>
                  <a:noFill/>
                </a:ln>
                <a:solidFill>
                  <a:srgbClr val="00BCEB"/>
                </a:solidFill>
                <a:effectLst/>
                <a:uLnTx/>
                <a:uFillTx/>
                <a:latin typeface="CiscoSansTT ExtraLight"/>
                <a:ea typeface="ＭＳ Ｐゴシック" charset="0"/>
              </a:rPr>
              <a:t>across many devices</a:t>
            </a:r>
          </a:p>
        </p:txBody>
      </p:sp>
      <p:pic>
        <p:nvPicPr>
          <p:cNvPr id="287" name="Picture 286">
            <a:extLst>
              <a:ext uri="{FF2B5EF4-FFF2-40B4-BE49-F238E27FC236}">
                <a16:creationId xmlns:a16="http://schemas.microsoft.com/office/drawing/2014/main" id="{91D258BA-0C19-418E-A1DB-BA41F8A121B7}"/>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168803" y="1962922"/>
            <a:ext cx="496464" cy="498764"/>
          </a:xfrm>
          <a:prstGeom prst="rect">
            <a:avLst/>
          </a:prstGeom>
        </p:spPr>
      </p:pic>
      <p:grpSp>
        <p:nvGrpSpPr>
          <p:cNvPr id="38" name="Group 37">
            <a:extLst>
              <a:ext uri="{FF2B5EF4-FFF2-40B4-BE49-F238E27FC236}">
                <a16:creationId xmlns:a16="http://schemas.microsoft.com/office/drawing/2014/main" id="{E4197AB5-CFC4-42FB-907E-341884F1F0CD}"/>
              </a:ext>
            </a:extLst>
          </p:cNvPr>
          <p:cNvGrpSpPr/>
          <p:nvPr/>
        </p:nvGrpSpPr>
        <p:grpSpPr>
          <a:xfrm>
            <a:off x="5549254" y="1962922"/>
            <a:ext cx="498764" cy="498764"/>
            <a:chOff x="4202412" y="2133067"/>
            <a:chExt cx="498764" cy="498764"/>
          </a:xfrm>
        </p:grpSpPr>
        <p:sp>
          <p:nvSpPr>
            <p:cNvPr id="31" name="Oval 30">
              <a:extLst>
                <a:ext uri="{FF2B5EF4-FFF2-40B4-BE49-F238E27FC236}">
                  <a16:creationId xmlns:a16="http://schemas.microsoft.com/office/drawing/2014/main" id="{B32C404F-21A7-4607-9584-D98F03628A25}"/>
                </a:ext>
              </a:extLst>
            </p:cNvPr>
            <p:cNvSpPr/>
            <p:nvPr/>
          </p:nvSpPr>
          <p:spPr>
            <a:xfrm>
              <a:off x="4202412" y="2133067"/>
              <a:ext cx="498764" cy="498764"/>
            </a:xfrm>
            <a:prstGeom prst="ellipse">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43" marR="0" lvl="0" indent="-285743"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30" name="Group 29">
              <a:extLst>
                <a:ext uri="{FF2B5EF4-FFF2-40B4-BE49-F238E27FC236}">
                  <a16:creationId xmlns:a16="http://schemas.microsoft.com/office/drawing/2014/main" id="{1784C94A-ECA7-41FB-9758-939466413903}"/>
                </a:ext>
              </a:extLst>
            </p:cNvPr>
            <p:cNvGrpSpPr/>
            <p:nvPr/>
          </p:nvGrpSpPr>
          <p:grpSpPr>
            <a:xfrm>
              <a:off x="4238607" y="2260303"/>
              <a:ext cx="426375" cy="208862"/>
              <a:chOff x="4003849" y="2762704"/>
              <a:chExt cx="601852" cy="294821"/>
            </a:xfrm>
            <a:solidFill>
              <a:srgbClr val="00BCEB"/>
            </a:solidFill>
          </p:grpSpPr>
          <p:sp>
            <p:nvSpPr>
              <p:cNvPr id="254" name="Freeform 225">
                <a:extLst>
                  <a:ext uri="{FF2B5EF4-FFF2-40B4-BE49-F238E27FC236}">
                    <a16:creationId xmlns:a16="http://schemas.microsoft.com/office/drawing/2014/main" id="{79C3A5FE-4FB4-4D72-95A5-A2065B929C62}"/>
                  </a:ext>
                </a:extLst>
              </p:cNvPr>
              <p:cNvSpPr>
                <a:spLocks/>
              </p:cNvSpPr>
              <p:nvPr/>
            </p:nvSpPr>
            <p:spPr bwMode="auto">
              <a:xfrm>
                <a:off x="4003849" y="2929013"/>
                <a:ext cx="601852" cy="128512"/>
              </a:xfrm>
              <a:custGeom>
                <a:avLst/>
                <a:gdLst>
                  <a:gd name="T0" fmla="*/ 389 w 436"/>
                  <a:gd name="T1" fmla="*/ 93 h 93"/>
                  <a:gd name="T2" fmla="*/ 47 w 436"/>
                  <a:gd name="T3" fmla="*/ 93 h 93"/>
                  <a:gd name="T4" fmla="*/ 0 w 436"/>
                  <a:gd name="T5" fmla="*/ 46 h 93"/>
                  <a:gd name="T6" fmla="*/ 0 w 436"/>
                  <a:gd name="T7" fmla="*/ 46 h 93"/>
                  <a:gd name="T8" fmla="*/ 47 w 436"/>
                  <a:gd name="T9" fmla="*/ 0 h 93"/>
                  <a:gd name="T10" fmla="*/ 389 w 436"/>
                  <a:gd name="T11" fmla="*/ 0 h 93"/>
                  <a:gd name="T12" fmla="*/ 436 w 436"/>
                  <a:gd name="T13" fmla="*/ 46 h 93"/>
                  <a:gd name="T14" fmla="*/ 436 w 436"/>
                  <a:gd name="T15" fmla="*/ 46 h 93"/>
                  <a:gd name="T16" fmla="*/ 389 w 436"/>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6" h="93">
                    <a:moveTo>
                      <a:pt x="389" y="93"/>
                    </a:moveTo>
                    <a:cubicBezTo>
                      <a:pt x="47" y="93"/>
                      <a:pt x="47" y="93"/>
                      <a:pt x="47" y="93"/>
                    </a:cubicBezTo>
                    <a:cubicBezTo>
                      <a:pt x="21" y="93"/>
                      <a:pt x="0" y="72"/>
                      <a:pt x="0" y="46"/>
                    </a:cubicBezTo>
                    <a:cubicBezTo>
                      <a:pt x="0" y="46"/>
                      <a:pt x="0" y="46"/>
                      <a:pt x="0" y="46"/>
                    </a:cubicBezTo>
                    <a:cubicBezTo>
                      <a:pt x="0" y="21"/>
                      <a:pt x="21" y="0"/>
                      <a:pt x="47" y="0"/>
                    </a:cubicBezTo>
                    <a:cubicBezTo>
                      <a:pt x="389" y="0"/>
                      <a:pt x="389" y="0"/>
                      <a:pt x="389" y="0"/>
                    </a:cubicBezTo>
                    <a:cubicBezTo>
                      <a:pt x="415" y="0"/>
                      <a:pt x="436" y="21"/>
                      <a:pt x="436" y="46"/>
                    </a:cubicBezTo>
                    <a:cubicBezTo>
                      <a:pt x="436" y="46"/>
                      <a:pt x="436" y="46"/>
                      <a:pt x="436" y="46"/>
                    </a:cubicBezTo>
                    <a:cubicBezTo>
                      <a:pt x="436" y="72"/>
                      <a:pt x="415" y="93"/>
                      <a:pt x="389"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55" name="Freeform 226">
                <a:extLst>
                  <a:ext uri="{FF2B5EF4-FFF2-40B4-BE49-F238E27FC236}">
                    <a16:creationId xmlns:a16="http://schemas.microsoft.com/office/drawing/2014/main" id="{3771E46B-2947-4802-9E0E-F4772183D509}"/>
                  </a:ext>
                </a:extLst>
              </p:cNvPr>
              <p:cNvSpPr>
                <a:spLocks/>
              </p:cNvSpPr>
              <p:nvPr/>
            </p:nvSpPr>
            <p:spPr bwMode="auto">
              <a:xfrm>
                <a:off x="4136431" y="2845858"/>
                <a:ext cx="426239" cy="128512"/>
              </a:xfrm>
              <a:custGeom>
                <a:avLst/>
                <a:gdLst>
                  <a:gd name="T0" fmla="*/ 262 w 309"/>
                  <a:gd name="T1" fmla="*/ 93 h 93"/>
                  <a:gd name="T2" fmla="*/ 46 w 309"/>
                  <a:gd name="T3" fmla="*/ 93 h 93"/>
                  <a:gd name="T4" fmla="*/ 0 w 309"/>
                  <a:gd name="T5" fmla="*/ 47 h 93"/>
                  <a:gd name="T6" fmla="*/ 0 w 309"/>
                  <a:gd name="T7" fmla="*/ 47 h 93"/>
                  <a:gd name="T8" fmla="*/ 46 w 309"/>
                  <a:gd name="T9" fmla="*/ 0 h 93"/>
                  <a:gd name="T10" fmla="*/ 262 w 309"/>
                  <a:gd name="T11" fmla="*/ 0 h 93"/>
                  <a:gd name="T12" fmla="*/ 309 w 309"/>
                  <a:gd name="T13" fmla="*/ 47 h 93"/>
                  <a:gd name="T14" fmla="*/ 309 w 309"/>
                  <a:gd name="T15" fmla="*/ 47 h 93"/>
                  <a:gd name="T16" fmla="*/ 262 w 309"/>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93">
                    <a:moveTo>
                      <a:pt x="262" y="93"/>
                    </a:moveTo>
                    <a:cubicBezTo>
                      <a:pt x="46" y="93"/>
                      <a:pt x="46" y="93"/>
                      <a:pt x="46" y="93"/>
                    </a:cubicBezTo>
                    <a:cubicBezTo>
                      <a:pt x="21" y="93"/>
                      <a:pt x="0" y="72"/>
                      <a:pt x="0" y="47"/>
                    </a:cubicBezTo>
                    <a:cubicBezTo>
                      <a:pt x="0" y="47"/>
                      <a:pt x="0" y="47"/>
                      <a:pt x="0" y="47"/>
                    </a:cubicBezTo>
                    <a:cubicBezTo>
                      <a:pt x="0" y="21"/>
                      <a:pt x="21" y="0"/>
                      <a:pt x="46" y="0"/>
                    </a:cubicBezTo>
                    <a:cubicBezTo>
                      <a:pt x="262" y="0"/>
                      <a:pt x="262" y="0"/>
                      <a:pt x="262" y="0"/>
                    </a:cubicBezTo>
                    <a:cubicBezTo>
                      <a:pt x="288" y="0"/>
                      <a:pt x="309" y="21"/>
                      <a:pt x="309" y="47"/>
                    </a:cubicBezTo>
                    <a:cubicBezTo>
                      <a:pt x="309" y="47"/>
                      <a:pt x="309" y="47"/>
                      <a:pt x="309" y="47"/>
                    </a:cubicBezTo>
                    <a:cubicBezTo>
                      <a:pt x="309" y="72"/>
                      <a:pt x="288" y="93"/>
                      <a:pt x="262"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56" name="Freeform 227">
                <a:extLst>
                  <a:ext uri="{FF2B5EF4-FFF2-40B4-BE49-F238E27FC236}">
                    <a16:creationId xmlns:a16="http://schemas.microsoft.com/office/drawing/2014/main" id="{3CD69CF0-7A7E-470E-A347-4EC80679E67A}"/>
                  </a:ext>
                </a:extLst>
              </p:cNvPr>
              <p:cNvSpPr>
                <a:spLocks/>
              </p:cNvSpPr>
              <p:nvPr/>
            </p:nvSpPr>
            <p:spPr bwMode="auto">
              <a:xfrm>
                <a:off x="4304485" y="2762704"/>
                <a:ext cx="202944" cy="130256"/>
              </a:xfrm>
              <a:custGeom>
                <a:avLst/>
                <a:gdLst>
                  <a:gd name="T0" fmla="*/ 100 w 147"/>
                  <a:gd name="T1" fmla="*/ 94 h 94"/>
                  <a:gd name="T2" fmla="*/ 47 w 147"/>
                  <a:gd name="T3" fmla="*/ 94 h 94"/>
                  <a:gd name="T4" fmla="*/ 0 w 147"/>
                  <a:gd name="T5" fmla="*/ 47 h 94"/>
                  <a:gd name="T6" fmla="*/ 0 w 147"/>
                  <a:gd name="T7" fmla="*/ 47 h 94"/>
                  <a:gd name="T8" fmla="*/ 47 w 147"/>
                  <a:gd name="T9" fmla="*/ 0 h 94"/>
                  <a:gd name="T10" fmla="*/ 100 w 147"/>
                  <a:gd name="T11" fmla="*/ 0 h 94"/>
                  <a:gd name="T12" fmla="*/ 147 w 147"/>
                  <a:gd name="T13" fmla="*/ 47 h 94"/>
                  <a:gd name="T14" fmla="*/ 147 w 147"/>
                  <a:gd name="T15" fmla="*/ 47 h 94"/>
                  <a:gd name="T16" fmla="*/ 100 w 147"/>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94">
                    <a:moveTo>
                      <a:pt x="100" y="94"/>
                    </a:moveTo>
                    <a:cubicBezTo>
                      <a:pt x="47" y="94"/>
                      <a:pt x="47" y="94"/>
                      <a:pt x="47" y="94"/>
                    </a:cubicBezTo>
                    <a:cubicBezTo>
                      <a:pt x="21" y="94"/>
                      <a:pt x="0" y="73"/>
                      <a:pt x="0" y="47"/>
                    </a:cubicBezTo>
                    <a:cubicBezTo>
                      <a:pt x="0" y="47"/>
                      <a:pt x="0" y="47"/>
                      <a:pt x="0" y="47"/>
                    </a:cubicBezTo>
                    <a:cubicBezTo>
                      <a:pt x="0" y="21"/>
                      <a:pt x="21" y="0"/>
                      <a:pt x="47" y="0"/>
                    </a:cubicBezTo>
                    <a:cubicBezTo>
                      <a:pt x="100" y="0"/>
                      <a:pt x="100" y="0"/>
                      <a:pt x="100" y="0"/>
                    </a:cubicBezTo>
                    <a:cubicBezTo>
                      <a:pt x="126" y="0"/>
                      <a:pt x="147" y="21"/>
                      <a:pt x="147" y="47"/>
                    </a:cubicBezTo>
                    <a:cubicBezTo>
                      <a:pt x="147" y="47"/>
                      <a:pt x="147" y="47"/>
                      <a:pt x="147" y="47"/>
                    </a:cubicBezTo>
                    <a:cubicBezTo>
                      <a:pt x="147" y="73"/>
                      <a:pt x="126" y="94"/>
                      <a:pt x="10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35" name="Group 34">
              <a:extLst>
                <a:ext uri="{FF2B5EF4-FFF2-40B4-BE49-F238E27FC236}">
                  <a16:creationId xmlns:a16="http://schemas.microsoft.com/office/drawing/2014/main" id="{D628865B-AB38-4D07-B927-D0710644CC56}"/>
                </a:ext>
              </a:extLst>
            </p:cNvPr>
            <p:cNvGrpSpPr/>
            <p:nvPr/>
          </p:nvGrpSpPr>
          <p:grpSpPr>
            <a:xfrm>
              <a:off x="4355466" y="2317249"/>
              <a:ext cx="252999" cy="139573"/>
              <a:chOff x="4548966" y="2245520"/>
              <a:chExt cx="278299" cy="153530"/>
            </a:xfrm>
            <a:solidFill>
              <a:srgbClr val="9CE5F7"/>
            </a:solidFill>
          </p:grpSpPr>
          <p:sp>
            <p:nvSpPr>
              <p:cNvPr id="226" name="Freeform 195">
                <a:extLst>
                  <a:ext uri="{FF2B5EF4-FFF2-40B4-BE49-F238E27FC236}">
                    <a16:creationId xmlns:a16="http://schemas.microsoft.com/office/drawing/2014/main" id="{77227684-8F74-44D0-BD05-03F68CAE1A29}"/>
                  </a:ext>
                </a:extLst>
              </p:cNvPr>
              <p:cNvSpPr>
                <a:spLocks/>
              </p:cNvSpPr>
              <p:nvPr/>
            </p:nvSpPr>
            <p:spPr bwMode="auto">
              <a:xfrm>
                <a:off x="4620444" y="2268359"/>
                <a:ext cx="63865" cy="114619"/>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2" name="Freeform 201">
                <a:extLst>
                  <a:ext uri="{FF2B5EF4-FFF2-40B4-BE49-F238E27FC236}">
                    <a16:creationId xmlns:a16="http://schemas.microsoft.com/office/drawing/2014/main" id="{8DEB28CE-6A34-4C29-8CBC-481881AF5AB2}"/>
                  </a:ext>
                </a:extLst>
              </p:cNvPr>
              <p:cNvSpPr>
                <a:spLocks/>
              </p:cNvSpPr>
              <p:nvPr/>
            </p:nvSpPr>
            <p:spPr bwMode="auto">
              <a:xfrm>
                <a:off x="4692345" y="2245520"/>
                <a:ext cx="63442" cy="153530"/>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8" name="Freeform 207">
                <a:extLst>
                  <a:ext uri="{FF2B5EF4-FFF2-40B4-BE49-F238E27FC236}">
                    <a16:creationId xmlns:a16="http://schemas.microsoft.com/office/drawing/2014/main" id="{B43D0CA5-B835-46DC-9798-4C45CE101A2F}"/>
                  </a:ext>
                </a:extLst>
              </p:cNvPr>
              <p:cNvSpPr>
                <a:spLocks/>
              </p:cNvSpPr>
              <p:nvPr/>
            </p:nvSpPr>
            <p:spPr bwMode="auto">
              <a:xfrm>
                <a:off x="4764669" y="2268359"/>
                <a:ext cx="62596" cy="114619"/>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44" name="Freeform 213">
                <a:extLst>
                  <a:ext uri="{FF2B5EF4-FFF2-40B4-BE49-F238E27FC236}">
                    <a16:creationId xmlns:a16="http://schemas.microsoft.com/office/drawing/2014/main" id="{74CFD506-6768-4366-A59B-BA9364B303D2}"/>
                  </a:ext>
                </a:extLst>
              </p:cNvPr>
              <p:cNvSpPr>
                <a:spLocks/>
              </p:cNvSpPr>
              <p:nvPr/>
            </p:nvSpPr>
            <p:spPr bwMode="auto">
              <a:xfrm>
                <a:off x="4548966" y="2268359"/>
                <a:ext cx="63019" cy="114619"/>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32" name="Group 31">
              <a:extLst>
                <a:ext uri="{FF2B5EF4-FFF2-40B4-BE49-F238E27FC236}">
                  <a16:creationId xmlns:a16="http://schemas.microsoft.com/office/drawing/2014/main" id="{BAD3FA78-1FBC-4FB5-8D9A-53B1B5AE55A0}"/>
                </a:ext>
              </a:extLst>
            </p:cNvPr>
            <p:cNvGrpSpPr/>
            <p:nvPr/>
          </p:nvGrpSpPr>
          <p:grpSpPr>
            <a:xfrm>
              <a:off x="4369692" y="2334167"/>
              <a:ext cx="224546" cy="88435"/>
              <a:chOff x="4136471" y="2091022"/>
              <a:chExt cx="247001" cy="97278"/>
            </a:xfrm>
          </p:grpSpPr>
          <p:sp>
            <p:nvSpPr>
              <p:cNvPr id="227" name="Line 196">
                <a:extLst>
                  <a:ext uri="{FF2B5EF4-FFF2-40B4-BE49-F238E27FC236}">
                    <a16:creationId xmlns:a16="http://schemas.microsoft.com/office/drawing/2014/main" id="{E0CCEEC9-EE31-4F2A-96FD-4007A341943D}"/>
                  </a:ext>
                </a:extLst>
              </p:cNvPr>
              <p:cNvSpPr>
                <a:spLocks noChangeShapeType="1"/>
              </p:cNvSpPr>
              <p:nvPr/>
            </p:nvSpPr>
            <p:spPr bwMode="auto">
              <a:xfrm>
                <a:off x="4208372" y="2113861"/>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28" name="Line 197">
                <a:extLst>
                  <a:ext uri="{FF2B5EF4-FFF2-40B4-BE49-F238E27FC236}">
                    <a16:creationId xmlns:a16="http://schemas.microsoft.com/office/drawing/2014/main" id="{4ED6CC83-8043-46EA-90B5-D96C0E3CF31F}"/>
                  </a:ext>
                </a:extLst>
              </p:cNvPr>
              <p:cNvSpPr>
                <a:spLocks noChangeShapeType="1"/>
              </p:cNvSpPr>
              <p:nvPr/>
            </p:nvSpPr>
            <p:spPr bwMode="auto">
              <a:xfrm>
                <a:off x="4208372" y="2132048"/>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29" name="Line 198">
                <a:extLst>
                  <a:ext uri="{FF2B5EF4-FFF2-40B4-BE49-F238E27FC236}">
                    <a16:creationId xmlns:a16="http://schemas.microsoft.com/office/drawing/2014/main" id="{DAC0BFF4-DED5-4688-B4C7-8345DD0DFE31}"/>
                  </a:ext>
                </a:extLst>
              </p:cNvPr>
              <p:cNvSpPr>
                <a:spLocks noChangeShapeType="1"/>
              </p:cNvSpPr>
              <p:nvPr/>
            </p:nvSpPr>
            <p:spPr bwMode="auto">
              <a:xfrm>
                <a:off x="4208372" y="2151080"/>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0" name="Line 199">
                <a:extLst>
                  <a:ext uri="{FF2B5EF4-FFF2-40B4-BE49-F238E27FC236}">
                    <a16:creationId xmlns:a16="http://schemas.microsoft.com/office/drawing/2014/main" id="{93C27A02-99AB-47EA-BBF5-E05F24C94A3B}"/>
                  </a:ext>
                </a:extLst>
              </p:cNvPr>
              <p:cNvSpPr>
                <a:spLocks noChangeShapeType="1"/>
              </p:cNvSpPr>
              <p:nvPr/>
            </p:nvSpPr>
            <p:spPr bwMode="auto">
              <a:xfrm>
                <a:off x="4208372" y="2169690"/>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1" name="Line 200">
                <a:extLst>
                  <a:ext uri="{FF2B5EF4-FFF2-40B4-BE49-F238E27FC236}">
                    <a16:creationId xmlns:a16="http://schemas.microsoft.com/office/drawing/2014/main" id="{7FAEE6BF-EB91-44A8-ABE6-B93239649E24}"/>
                  </a:ext>
                </a:extLst>
              </p:cNvPr>
              <p:cNvSpPr>
                <a:spLocks noChangeShapeType="1"/>
              </p:cNvSpPr>
              <p:nvPr/>
            </p:nvSpPr>
            <p:spPr bwMode="auto">
              <a:xfrm>
                <a:off x="4208372" y="2188300"/>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3" name="Line 202">
                <a:extLst>
                  <a:ext uri="{FF2B5EF4-FFF2-40B4-BE49-F238E27FC236}">
                    <a16:creationId xmlns:a16="http://schemas.microsoft.com/office/drawing/2014/main" id="{FF9B0C0B-9771-46E6-8B2E-306D570D4F92}"/>
                  </a:ext>
                </a:extLst>
              </p:cNvPr>
              <p:cNvSpPr>
                <a:spLocks noChangeShapeType="1"/>
              </p:cNvSpPr>
              <p:nvPr/>
            </p:nvSpPr>
            <p:spPr bwMode="auto">
              <a:xfrm>
                <a:off x="4279850" y="2091022"/>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4" name="Line 203">
                <a:extLst>
                  <a:ext uri="{FF2B5EF4-FFF2-40B4-BE49-F238E27FC236}">
                    <a16:creationId xmlns:a16="http://schemas.microsoft.com/office/drawing/2014/main" id="{3E8F3F01-584F-410D-82AC-2C960BD2C0F3}"/>
                  </a:ext>
                </a:extLst>
              </p:cNvPr>
              <p:cNvSpPr>
                <a:spLocks noChangeShapeType="1"/>
              </p:cNvSpPr>
              <p:nvPr/>
            </p:nvSpPr>
            <p:spPr bwMode="auto">
              <a:xfrm>
                <a:off x="4279850" y="2110054"/>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5" name="Line 204">
                <a:extLst>
                  <a:ext uri="{FF2B5EF4-FFF2-40B4-BE49-F238E27FC236}">
                    <a16:creationId xmlns:a16="http://schemas.microsoft.com/office/drawing/2014/main" id="{BA20711D-A7D3-4D97-90E3-B3F302EE1EFF}"/>
                  </a:ext>
                </a:extLst>
              </p:cNvPr>
              <p:cNvSpPr>
                <a:spLocks noChangeShapeType="1"/>
              </p:cNvSpPr>
              <p:nvPr/>
            </p:nvSpPr>
            <p:spPr bwMode="auto">
              <a:xfrm>
                <a:off x="4279850" y="2128664"/>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6" name="Line 205">
                <a:extLst>
                  <a:ext uri="{FF2B5EF4-FFF2-40B4-BE49-F238E27FC236}">
                    <a16:creationId xmlns:a16="http://schemas.microsoft.com/office/drawing/2014/main" id="{749768BF-1FE0-432E-9DD0-AC0A75F0B363}"/>
                  </a:ext>
                </a:extLst>
              </p:cNvPr>
              <p:cNvSpPr>
                <a:spLocks noChangeShapeType="1"/>
              </p:cNvSpPr>
              <p:nvPr/>
            </p:nvSpPr>
            <p:spPr bwMode="auto">
              <a:xfrm>
                <a:off x="4279850" y="2147274"/>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7" name="Line 206">
                <a:extLst>
                  <a:ext uri="{FF2B5EF4-FFF2-40B4-BE49-F238E27FC236}">
                    <a16:creationId xmlns:a16="http://schemas.microsoft.com/office/drawing/2014/main" id="{042C7210-6D1C-4673-A1AC-5BDF0C015BD1}"/>
                  </a:ext>
                </a:extLst>
              </p:cNvPr>
              <p:cNvSpPr>
                <a:spLocks noChangeShapeType="1"/>
              </p:cNvSpPr>
              <p:nvPr/>
            </p:nvSpPr>
            <p:spPr bwMode="auto">
              <a:xfrm>
                <a:off x="4279850" y="2166306"/>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39" name="Line 208">
                <a:extLst>
                  <a:ext uri="{FF2B5EF4-FFF2-40B4-BE49-F238E27FC236}">
                    <a16:creationId xmlns:a16="http://schemas.microsoft.com/office/drawing/2014/main" id="{1C3E33E4-2085-4D44-9788-D4C931CDD926}"/>
                  </a:ext>
                </a:extLst>
              </p:cNvPr>
              <p:cNvSpPr>
                <a:spLocks noChangeShapeType="1"/>
              </p:cNvSpPr>
              <p:nvPr/>
            </p:nvSpPr>
            <p:spPr bwMode="auto">
              <a:xfrm>
                <a:off x="4352174" y="2113861"/>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40" name="Line 209">
                <a:extLst>
                  <a:ext uri="{FF2B5EF4-FFF2-40B4-BE49-F238E27FC236}">
                    <a16:creationId xmlns:a16="http://schemas.microsoft.com/office/drawing/2014/main" id="{388F9D6C-8C0C-473F-809B-193C967B47F3}"/>
                  </a:ext>
                </a:extLst>
              </p:cNvPr>
              <p:cNvSpPr>
                <a:spLocks noChangeShapeType="1"/>
              </p:cNvSpPr>
              <p:nvPr/>
            </p:nvSpPr>
            <p:spPr bwMode="auto">
              <a:xfrm>
                <a:off x="4352174" y="2132048"/>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41" name="Line 210">
                <a:extLst>
                  <a:ext uri="{FF2B5EF4-FFF2-40B4-BE49-F238E27FC236}">
                    <a16:creationId xmlns:a16="http://schemas.microsoft.com/office/drawing/2014/main" id="{31570AD2-B5AB-41AE-A326-CDE4807C7B28}"/>
                  </a:ext>
                </a:extLst>
              </p:cNvPr>
              <p:cNvSpPr>
                <a:spLocks noChangeShapeType="1"/>
              </p:cNvSpPr>
              <p:nvPr/>
            </p:nvSpPr>
            <p:spPr bwMode="auto">
              <a:xfrm>
                <a:off x="4352174" y="215108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42" name="Line 211">
                <a:extLst>
                  <a:ext uri="{FF2B5EF4-FFF2-40B4-BE49-F238E27FC236}">
                    <a16:creationId xmlns:a16="http://schemas.microsoft.com/office/drawing/2014/main" id="{B0905ECB-4CFC-4FFE-AC5B-64021E73EDF2}"/>
                  </a:ext>
                </a:extLst>
              </p:cNvPr>
              <p:cNvSpPr>
                <a:spLocks noChangeShapeType="1"/>
              </p:cNvSpPr>
              <p:nvPr/>
            </p:nvSpPr>
            <p:spPr bwMode="auto">
              <a:xfrm>
                <a:off x="4352174" y="216969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43" name="Line 212">
                <a:extLst>
                  <a:ext uri="{FF2B5EF4-FFF2-40B4-BE49-F238E27FC236}">
                    <a16:creationId xmlns:a16="http://schemas.microsoft.com/office/drawing/2014/main" id="{8C3EBD18-AE98-48F5-A506-A675B363DE54}"/>
                  </a:ext>
                </a:extLst>
              </p:cNvPr>
              <p:cNvSpPr>
                <a:spLocks noChangeShapeType="1"/>
              </p:cNvSpPr>
              <p:nvPr/>
            </p:nvSpPr>
            <p:spPr bwMode="auto">
              <a:xfrm>
                <a:off x="4352174" y="218830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45" name="Line 214">
                <a:extLst>
                  <a:ext uri="{FF2B5EF4-FFF2-40B4-BE49-F238E27FC236}">
                    <a16:creationId xmlns:a16="http://schemas.microsoft.com/office/drawing/2014/main" id="{68C028BB-E5E0-4A4A-8A97-A8DCDC223F53}"/>
                  </a:ext>
                </a:extLst>
              </p:cNvPr>
              <p:cNvSpPr>
                <a:spLocks noChangeShapeType="1"/>
              </p:cNvSpPr>
              <p:nvPr/>
            </p:nvSpPr>
            <p:spPr bwMode="auto">
              <a:xfrm>
                <a:off x="4136471" y="2113861"/>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46" name="Line 215">
                <a:extLst>
                  <a:ext uri="{FF2B5EF4-FFF2-40B4-BE49-F238E27FC236}">
                    <a16:creationId xmlns:a16="http://schemas.microsoft.com/office/drawing/2014/main" id="{F658D55C-6722-419F-8C7B-14C3A8AB1528}"/>
                  </a:ext>
                </a:extLst>
              </p:cNvPr>
              <p:cNvSpPr>
                <a:spLocks noChangeShapeType="1"/>
              </p:cNvSpPr>
              <p:nvPr/>
            </p:nvSpPr>
            <p:spPr bwMode="auto">
              <a:xfrm>
                <a:off x="4136471" y="2132048"/>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47" name="Line 216">
                <a:extLst>
                  <a:ext uri="{FF2B5EF4-FFF2-40B4-BE49-F238E27FC236}">
                    <a16:creationId xmlns:a16="http://schemas.microsoft.com/office/drawing/2014/main" id="{9234E65A-0DCF-4055-9AC8-33ABCD31A0F4}"/>
                  </a:ext>
                </a:extLst>
              </p:cNvPr>
              <p:cNvSpPr>
                <a:spLocks noChangeShapeType="1"/>
              </p:cNvSpPr>
              <p:nvPr/>
            </p:nvSpPr>
            <p:spPr bwMode="auto">
              <a:xfrm>
                <a:off x="4136471" y="215108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48" name="Line 217">
                <a:extLst>
                  <a:ext uri="{FF2B5EF4-FFF2-40B4-BE49-F238E27FC236}">
                    <a16:creationId xmlns:a16="http://schemas.microsoft.com/office/drawing/2014/main" id="{7B70C6F0-F507-476E-AF77-B18B59C883B8}"/>
                  </a:ext>
                </a:extLst>
              </p:cNvPr>
              <p:cNvSpPr>
                <a:spLocks noChangeShapeType="1"/>
              </p:cNvSpPr>
              <p:nvPr/>
            </p:nvSpPr>
            <p:spPr bwMode="auto">
              <a:xfrm>
                <a:off x="4136471" y="216969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49" name="Line 218">
                <a:extLst>
                  <a:ext uri="{FF2B5EF4-FFF2-40B4-BE49-F238E27FC236}">
                    <a16:creationId xmlns:a16="http://schemas.microsoft.com/office/drawing/2014/main" id="{E96FA09F-B483-4D86-8004-EC6183C4B034}"/>
                  </a:ext>
                </a:extLst>
              </p:cNvPr>
              <p:cNvSpPr>
                <a:spLocks noChangeShapeType="1"/>
              </p:cNvSpPr>
              <p:nvPr/>
            </p:nvSpPr>
            <p:spPr bwMode="auto">
              <a:xfrm>
                <a:off x="4136471" y="218830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sp>
        <p:nvSpPr>
          <p:cNvPr id="314" name="Freeform: Shape 313">
            <a:extLst>
              <a:ext uri="{FF2B5EF4-FFF2-40B4-BE49-F238E27FC236}">
                <a16:creationId xmlns:a16="http://schemas.microsoft.com/office/drawing/2014/main" id="{6564EB62-A722-4D1C-B7C1-9BECEC2D3F25}"/>
              </a:ext>
            </a:extLst>
          </p:cNvPr>
          <p:cNvSpPr/>
          <p:nvPr/>
        </p:nvSpPr>
        <p:spPr>
          <a:xfrm>
            <a:off x="6014442" y="1889881"/>
            <a:ext cx="2141394" cy="116651"/>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bg1"/>
            </a:solidFill>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15" name="Freeform: Shape 314">
            <a:extLst>
              <a:ext uri="{FF2B5EF4-FFF2-40B4-BE49-F238E27FC236}">
                <a16:creationId xmlns:a16="http://schemas.microsoft.com/office/drawing/2014/main" id="{B5623E8D-4EEA-4583-B1D9-B9B1AFFBE465}"/>
              </a:ext>
            </a:extLst>
          </p:cNvPr>
          <p:cNvSpPr/>
          <p:nvPr/>
        </p:nvSpPr>
        <p:spPr>
          <a:xfrm flipV="1">
            <a:off x="6014442" y="4111602"/>
            <a:ext cx="2141394" cy="116651"/>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bg1"/>
            </a:solidFill>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24" name="Freeform 7">
            <a:extLst>
              <a:ext uri="{FF2B5EF4-FFF2-40B4-BE49-F238E27FC236}">
                <a16:creationId xmlns:a16="http://schemas.microsoft.com/office/drawing/2014/main" id="{4A06D302-448D-4E27-B741-ADFCDAFF1B65}"/>
              </a:ext>
            </a:extLst>
          </p:cNvPr>
          <p:cNvSpPr>
            <a:spLocks noEditPoints="1"/>
          </p:cNvSpPr>
          <p:nvPr/>
        </p:nvSpPr>
        <p:spPr bwMode="auto">
          <a:xfrm>
            <a:off x="3294837" y="2846395"/>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257" name="Freeform 7">
            <a:extLst>
              <a:ext uri="{FF2B5EF4-FFF2-40B4-BE49-F238E27FC236}">
                <a16:creationId xmlns:a16="http://schemas.microsoft.com/office/drawing/2014/main" id="{58098AB0-5ABE-4704-87A7-39594E6FD301}"/>
              </a:ext>
            </a:extLst>
          </p:cNvPr>
          <p:cNvSpPr>
            <a:spLocks noEditPoints="1"/>
          </p:cNvSpPr>
          <p:nvPr/>
        </p:nvSpPr>
        <p:spPr bwMode="auto">
          <a:xfrm>
            <a:off x="4390233" y="4171082"/>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268" name="Freeform 7">
            <a:extLst>
              <a:ext uri="{FF2B5EF4-FFF2-40B4-BE49-F238E27FC236}">
                <a16:creationId xmlns:a16="http://schemas.microsoft.com/office/drawing/2014/main" id="{DD84AB4F-CD4D-4DDF-A24F-082EF4F98E9B}"/>
              </a:ext>
            </a:extLst>
          </p:cNvPr>
          <p:cNvSpPr>
            <a:spLocks noEditPoints="1"/>
          </p:cNvSpPr>
          <p:nvPr/>
        </p:nvSpPr>
        <p:spPr bwMode="auto">
          <a:xfrm>
            <a:off x="5742759" y="3008459"/>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275" name="Freeform 7">
            <a:extLst>
              <a:ext uri="{FF2B5EF4-FFF2-40B4-BE49-F238E27FC236}">
                <a16:creationId xmlns:a16="http://schemas.microsoft.com/office/drawing/2014/main" id="{08CCC2CC-B09E-431B-82D7-CEA04FCEFE19}"/>
              </a:ext>
            </a:extLst>
          </p:cNvPr>
          <p:cNvSpPr>
            <a:spLocks noEditPoints="1"/>
          </p:cNvSpPr>
          <p:nvPr/>
        </p:nvSpPr>
        <p:spPr bwMode="auto">
          <a:xfrm>
            <a:off x="6087837" y="3237005"/>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313" name="Freeform 7">
            <a:extLst>
              <a:ext uri="{FF2B5EF4-FFF2-40B4-BE49-F238E27FC236}">
                <a16:creationId xmlns:a16="http://schemas.microsoft.com/office/drawing/2014/main" id="{6B088F1E-654F-4E63-BAFB-45C80B8A99B6}"/>
              </a:ext>
            </a:extLst>
          </p:cNvPr>
          <p:cNvSpPr>
            <a:spLocks noEditPoints="1"/>
          </p:cNvSpPr>
          <p:nvPr/>
        </p:nvSpPr>
        <p:spPr bwMode="auto">
          <a:xfrm>
            <a:off x="4970454" y="2000014"/>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51" name="AutoShape 20">
            <a:extLst>
              <a:ext uri="{FF2B5EF4-FFF2-40B4-BE49-F238E27FC236}">
                <a16:creationId xmlns:a16="http://schemas.microsoft.com/office/drawing/2014/main" id="{A80884BA-2E39-4C40-AA2B-8B942252FCA0}"/>
              </a:ext>
            </a:extLst>
          </p:cNvPr>
          <p:cNvSpPr>
            <a:spLocks noChangeAspect="1" noChangeArrowheads="1" noTextEdit="1"/>
          </p:cNvSpPr>
          <p:nvPr/>
        </p:nvSpPr>
        <p:spPr bwMode="auto">
          <a:xfrm>
            <a:off x="5550191" y="3648176"/>
            <a:ext cx="495300" cy="4984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2" name="Freeform 22">
            <a:extLst>
              <a:ext uri="{FF2B5EF4-FFF2-40B4-BE49-F238E27FC236}">
                <a16:creationId xmlns:a16="http://schemas.microsoft.com/office/drawing/2014/main" id="{26CC472B-7A57-4843-B9D4-04E718679152}"/>
              </a:ext>
            </a:extLst>
          </p:cNvPr>
          <p:cNvSpPr>
            <a:spLocks/>
          </p:cNvSpPr>
          <p:nvPr/>
        </p:nvSpPr>
        <p:spPr bwMode="auto">
          <a:xfrm>
            <a:off x="5550192" y="3648176"/>
            <a:ext cx="496888" cy="498475"/>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rgbClr val="E9E9E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pic>
        <p:nvPicPr>
          <p:cNvPr id="333" name="Picture 332" descr="A picture containing basketball&#10;&#10;Description generated with high confidence" hidden="1">
            <a:extLst>
              <a:ext uri="{FF2B5EF4-FFF2-40B4-BE49-F238E27FC236}">
                <a16:creationId xmlns:a16="http://schemas.microsoft.com/office/drawing/2014/main" id="{1541B7E0-01D6-4754-82EB-380DF22233DE}"/>
              </a:ext>
            </a:extLst>
          </p:cNvPr>
          <p:cNvPicPr>
            <a:picLocks noChangeAspect="1"/>
          </p:cNvPicPr>
          <p:nvPr/>
        </p:nvPicPr>
        <p:blipFill rotWithShape="1">
          <a:blip r:embed="rId4">
            <a:duotone>
              <a:schemeClr val="bg2">
                <a:shade val="45000"/>
                <a:satMod val="135000"/>
              </a:schemeClr>
              <a:prstClr val="white"/>
            </a:duotone>
          </a:blip>
          <a:srcRect l="18933" t="18957" r="18874" b="19993"/>
          <a:stretch/>
        </p:blipFill>
        <p:spPr>
          <a:xfrm>
            <a:off x="3027840" y="1416470"/>
            <a:ext cx="3273900" cy="3213690"/>
          </a:xfrm>
          <a:prstGeom prst="rect">
            <a:avLst/>
          </a:prstGeom>
        </p:spPr>
      </p:pic>
      <p:sp>
        <p:nvSpPr>
          <p:cNvPr id="551" name="Rectangle 550">
            <a:extLst>
              <a:ext uri="{FF2B5EF4-FFF2-40B4-BE49-F238E27FC236}">
                <a16:creationId xmlns:a16="http://schemas.microsoft.com/office/drawing/2014/main" id="{31955A5E-42A9-4B99-AF22-3D225798778E}"/>
              </a:ext>
            </a:extLst>
          </p:cNvPr>
          <p:cNvSpPr/>
          <p:nvPr/>
        </p:nvSpPr>
        <p:spPr>
          <a:xfrm>
            <a:off x="4284497" y="1843127"/>
            <a:ext cx="205336" cy="213141"/>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43" marR="0" lvl="0" indent="-285743"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334" name="Group 333">
            <a:extLst>
              <a:ext uri="{FF2B5EF4-FFF2-40B4-BE49-F238E27FC236}">
                <a16:creationId xmlns:a16="http://schemas.microsoft.com/office/drawing/2014/main" id="{55BEF2F7-142B-4073-BD33-26F48CA8E292}"/>
              </a:ext>
            </a:extLst>
          </p:cNvPr>
          <p:cNvGrpSpPr/>
          <p:nvPr/>
        </p:nvGrpSpPr>
        <p:grpSpPr>
          <a:xfrm>
            <a:off x="4097613" y="3621737"/>
            <a:ext cx="251862" cy="312190"/>
            <a:chOff x="3933631" y="3630183"/>
            <a:chExt cx="277048" cy="343409"/>
          </a:xfrm>
        </p:grpSpPr>
        <p:sp>
          <p:nvSpPr>
            <p:cNvPr id="337" name="Freeform: Shape 336">
              <a:extLst>
                <a:ext uri="{FF2B5EF4-FFF2-40B4-BE49-F238E27FC236}">
                  <a16:creationId xmlns:a16="http://schemas.microsoft.com/office/drawing/2014/main" id="{6CE2D5FA-943E-4130-8C6F-8A1A9D38736F}"/>
                </a:ext>
              </a:extLst>
            </p:cNvPr>
            <p:cNvSpPr>
              <a:spLocks/>
            </p:cNvSpPr>
            <p:nvPr/>
          </p:nvSpPr>
          <p:spPr bwMode="auto">
            <a:xfrm>
              <a:off x="3933631" y="3630183"/>
              <a:ext cx="277048" cy="343409"/>
            </a:xfrm>
            <a:custGeom>
              <a:avLst/>
              <a:gdLst>
                <a:gd name="connsiteX0" fmla="*/ 23087 w 277048"/>
                <a:gd name="connsiteY0" fmla="*/ 0 h 343409"/>
                <a:gd name="connsiteX1" fmla="*/ 182851 w 277048"/>
                <a:gd name="connsiteY1" fmla="*/ 0 h 343409"/>
                <a:gd name="connsiteX2" fmla="*/ 182851 w 277048"/>
                <a:gd name="connsiteY2" fmla="*/ 34862 h 343409"/>
                <a:gd name="connsiteX3" fmla="*/ 182851 w 277048"/>
                <a:gd name="connsiteY3" fmla="*/ 67177 h 343409"/>
                <a:gd name="connsiteX4" fmla="*/ 210771 w 277048"/>
                <a:gd name="connsiteY4" fmla="*/ 95031 h 343409"/>
                <a:gd name="connsiteX5" fmla="*/ 276596 w 277048"/>
                <a:gd name="connsiteY5" fmla="*/ 95031 h 343409"/>
                <a:gd name="connsiteX6" fmla="*/ 277048 w 277048"/>
                <a:gd name="connsiteY6" fmla="*/ 95031 h 343409"/>
                <a:gd name="connsiteX7" fmla="*/ 277048 w 277048"/>
                <a:gd name="connsiteY7" fmla="*/ 98825 h 343409"/>
                <a:gd name="connsiteX8" fmla="*/ 277048 w 277048"/>
                <a:gd name="connsiteY8" fmla="*/ 320344 h 343409"/>
                <a:gd name="connsiteX9" fmla="*/ 253961 w 277048"/>
                <a:gd name="connsiteY9" fmla="*/ 343409 h 343409"/>
                <a:gd name="connsiteX10" fmla="*/ 23087 w 277048"/>
                <a:gd name="connsiteY10" fmla="*/ 343409 h 343409"/>
                <a:gd name="connsiteX11" fmla="*/ 0 w 277048"/>
                <a:gd name="connsiteY11" fmla="*/ 320344 h 343409"/>
                <a:gd name="connsiteX12" fmla="*/ 0 w 277048"/>
                <a:gd name="connsiteY12" fmla="*/ 23065 h 343409"/>
                <a:gd name="connsiteX13" fmla="*/ 23087 w 277048"/>
                <a:gd name="connsiteY13" fmla="*/ 0 h 34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7048" h="343409">
                  <a:moveTo>
                    <a:pt x="23087" y="0"/>
                  </a:moveTo>
                  <a:lnTo>
                    <a:pt x="182851" y="0"/>
                  </a:lnTo>
                  <a:lnTo>
                    <a:pt x="182851" y="34862"/>
                  </a:lnTo>
                  <a:cubicBezTo>
                    <a:pt x="182851" y="67177"/>
                    <a:pt x="182851" y="67177"/>
                    <a:pt x="182851" y="67177"/>
                  </a:cubicBezTo>
                  <a:cubicBezTo>
                    <a:pt x="182851" y="82652"/>
                    <a:pt x="196035" y="95031"/>
                    <a:pt x="210771" y="95031"/>
                  </a:cubicBezTo>
                  <a:cubicBezTo>
                    <a:pt x="248385" y="95031"/>
                    <a:pt x="267192" y="95031"/>
                    <a:pt x="276596" y="95031"/>
                  </a:cubicBezTo>
                  <a:lnTo>
                    <a:pt x="277048" y="95031"/>
                  </a:lnTo>
                  <a:lnTo>
                    <a:pt x="277048" y="98825"/>
                  </a:lnTo>
                  <a:cubicBezTo>
                    <a:pt x="277048" y="119378"/>
                    <a:pt x="277048" y="174187"/>
                    <a:pt x="277048" y="320344"/>
                  </a:cubicBezTo>
                  <a:cubicBezTo>
                    <a:pt x="277048" y="333158"/>
                    <a:pt x="266146" y="343409"/>
                    <a:pt x="253961" y="343409"/>
                  </a:cubicBezTo>
                  <a:cubicBezTo>
                    <a:pt x="253961" y="343409"/>
                    <a:pt x="253961" y="343409"/>
                    <a:pt x="23087" y="343409"/>
                  </a:cubicBezTo>
                  <a:cubicBezTo>
                    <a:pt x="10261" y="343409"/>
                    <a:pt x="0" y="333158"/>
                    <a:pt x="0" y="320344"/>
                  </a:cubicBezTo>
                  <a:cubicBezTo>
                    <a:pt x="0" y="320344"/>
                    <a:pt x="0" y="320344"/>
                    <a:pt x="0" y="23065"/>
                  </a:cubicBezTo>
                  <a:cubicBezTo>
                    <a:pt x="0" y="10251"/>
                    <a:pt x="10261" y="0"/>
                    <a:pt x="2308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38" name="Freeform 23">
              <a:extLst>
                <a:ext uri="{FF2B5EF4-FFF2-40B4-BE49-F238E27FC236}">
                  <a16:creationId xmlns:a16="http://schemas.microsoft.com/office/drawing/2014/main" id="{8256D24F-91A3-4D1F-BF85-8FF15DB83C6A}"/>
                </a:ext>
              </a:extLst>
            </p:cNvPr>
            <p:cNvSpPr>
              <a:spLocks/>
            </p:cNvSpPr>
            <p:nvPr/>
          </p:nvSpPr>
          <p:spPr bwMode="auto">
            <a:xfrm>
              <a:off x="3972207" y="3694926"/>
              <a:ext cx="123013" cy="25628"/>
            </a:xfrm>
            <a:custGeom>
              <a:avLst/>
              <a:gdLst>
                <a:gd name="T0" fmla="*/ 172 w 192"/>
                <a:gd name="T1" fmla="*/ 40 h 40"/>
                <a:gd name="T2" fmla="*/ 20 w 192"/>
                <a:gd name="T3" fmla="*/ 40 h 40"/>
                <a:gd name="T4" fmla="*/ 0 w 192"/>
                <a:gd name="T5" fmla="*/ 20 h 40"/>
                <a:gd name="T6" fmla="*/ 20 w 192"/>
                <a:gd name="T7" fmla="*/ 0 h 40"/>
                <a:gd name="T8" fmla="*/ 172 w 192"/>
                <a:gd name="T9" fmla="*/ 0 h 40"/>
                <a:gd name="T10" fmla="*/ 192 w 192"/>
                <a:gd name="T11" fmla="*/ 20 h 40"/>
                <a:gd name="T12" fmla="*/ 172 w 19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92" h="40">
                  <a:moveTo>
                    <a:pt x="172" y="40"/>
                  </a:moveTo>
                  <a:cubicBezTo>
                    <a:pt x="20" y="40"/>
                    <a:pt x="20" y="40"/>
                    <a:pt x="20" y="40"/>
                  </a:cubicBezTo>
                  <a:cubicBezTo>
                    <a:pt x="9" y="40"/>
                    <a:pt x="0" y="31"/>
                    <a:pt x="0" y="20"/>
                  </a:cubicBezTo>
                  <a:cubicBezTo>
                    <a:pt x="0" y="9"/>
                    <a:pt x="9" y="0"/>
                    <a:pt x="20" y="0"/>
                  </a:cubicBezTo>
                  <a:cubicBezTo>
                    <a:pt x="172" y="0"/>
                    <a:pt x="172" y="0"/>
                    <a:pt x="172" y="0"/>
                  </a:cubicBezTo>
                  <a:cubicBezTo>
                    <a:pt x="183" y="0"/>
                    <a:pt x="192" y="9"/>
                    <a:pt x="192" y="20"/>
                  </a:cubicBezTo>
                  <a:cubicBezTo>
                    <a:pt x="192" y="31"/>
                    <a:pt x="183" y="40"/>
                    <a:pt x="172" y="4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1" name="Freeform 24">
              <a:extLst>
                <a:ext uri="{FF2B5EF4-FFF2-40B4-BE49-F238E27FC236}">
                  <a16:creationId xmlns:a16="http://schemas.microsoft.com/office/drawing/2014/main" id="{073E536C-0350-49BF-A434-C4C2F623D63E}"/>
                </a:ext>
              </a:extLst>
            </p:cNvPr>
            <p:cNvSpPr>
              <a:spLocks/>
            </p:cNvSpPr>
            <p:nvPr/>
          </p:nvSpPr>
          <p:spPr bwMode="auto">
            <a:xfrm>
              <a:off x="3972207" y="3757781"/>
              <a:ext cx="197468" cy="25628"/>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3" name="Freeform 25">
              <a:extLst>
                <a:ext uri="{FF2B5EF4-FFF2-40B4-BE49-F238E27FC236}">
                  <a16:creationId xmlns:a16="http://schemas.microsoft.com/office/drawing/2014/main" id="{09A672A2-3BDE-4E5B-AB4B-0645B8910DFC}"/>
                </a:ext>
              </a:extLst>
            </p:cNvPr>
            <p:cNvSpPr>
              <a:spLocks/>
            </p:cNvSpPr>
            <p:nvPr/>
          </p:nvSpPr>
          <p:spPr bwMode="auto">
            <a:xfrm>
              <a:off x="3972207" y="3821176"/>
              <a:ext cx="197468" cy="25628"/>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4" name="Freeform 26">
              <a:extLst>
                <a:ext uri="{FF2B5EF4-FFF2-40B4-BE49-F238E27FC236}">
                  <a16:creationId xmlns:a16="http://schemas.microsoft.com/office/drawing/2014/main" id="{76DBDE0D-8A85-48CD-95BA-CD3BC2EDEA69}"/>
                </a:ext>
              </a:extLst>
            </p:cNvPr>
            <p:cNvSpPr>
              <a:spLocks/>
            </p:cNvSpPr>
            <p:nvPr/>
          </p:nvSpPr>
          <p:spPr bwMode="auto">
            <a:xfrm>
              <a:off x="3972207" y="3884570"/>
              <a:ext cx="197468" cy="25628"/>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5" name="Freeform 27">
              <a:extLst>
                <a:ext uri="{FF2B5EF4-FFF2-40B4-BE49-F238E27FC236}">
                  <a16:creationId xmlns:a16="http://schemas.microsoft.com/office/drawing/2014/main" id="{940AD8B0-2719-43CD-B9BA-EA5642CC5384}"/>
                </a:ext>
              </a:extLst>
            </p:cNvPr>
            <p:cNvSpPr>
              <a:spLocks/>
            </p:cNvSpPr>
            <p:nvPr/>
          </p:nvSpPr>
          <p:spPr bwMode="auto">
            <a:xfrm>
              <a:off x="4125433" y="3630183"/>
              <a:ext cx="85246" cy="86324"/>
            </a:xfrm>
            <a:custGeom>
              <a:avLst/>
              <a:gdLst>
                <a:gd name="T0" fmla="*/ 133 w 133"/>
                <a:gd name="T1" fmla="*/ 135 h 135"/>
                <a:gd name="T2" fmla="*/ 0 w 133"/>
                <a:gd name="T3" fmla="*/ 0 h 135"/>
                <a:gd name="T4" fmla="*/ 0 w 133"/>
                <a:gd name="T5" fmla="*/ 0 h 135"/>
                <a:gd name="T6" fmla="*/ 0 w 133"/>
                <a:gd name="T7" fmla="*/ 99 h 135"/>
                <a:gd name="T8" fmla="*/ 36 w 133"/>
                <a:gd name="T9" fmla="*/ 135 h 135"/>
                <a:gd name="T10" fmla="*/ 133 w 133"/>
                <a:gd name="T11" fmla="*/ 135 h 135"/>
              </a:gdLst>
              <a:ahLst/>
              <a:cxnLst>
                <a:cxn ang="0">
                  <a:pos x="T0" y="T1"/>
                </a:cxn>
                <a:cxn ang="0">
                  <a:pos x="T2" y="T3"/>
                </a:cxn>
                <a:cxn ang="0">
                  <a:pos x="T4" y="T5"/>
                </a:cxn>
                <a:cxn ang="0">
                  <a:pos x="T6" y="T7"/>
                </a:cxn>
                <a:cxn ang="0">
                  <a:pos x="T8" y="T9"/>
                </a:cxn>
                <a:cxn ang="0">
                  <a:pos x="T10" y="T11"/>
                </a:cxn>
              </a:cxnLst>
              <a:rect l="0" t="0" r="r" b="b"/>
              <a:pathLst>
                <a:path w="133" h="135">
                  <a:moveTo>
                    <a:pt x="133" y="135"/>
                  </a:moveTo>
                  <a:cubicBezTo>
                    <a:pt x="0" y="0"/>
                    <a:pt x="0" y="0"/>
                    <a:pt x="0" y="0"/>
                  </a:cubicBezTo>
                  <a:cubicBezTo>
                    <a:pt x="0" y="0"/>
                    <a:pt x="0" y="0"/>
                    <a:pt x="0" y="0"/>
                  </a:cubicBezTo>
                  <a:cubicBezTo>
                    <a:pt x="0" y="99"/>
                    <a:pt x="0" y="99"/>
                    <a:pt x="0" y="99"/>
                  </a:cubicBezTo>
                  <a:cubicBezTo>
                    <a:pt x="0" y="119"/>
                    <a:pt x="17" y="135"/>
                    <a:pt x="36" y="135"/>
                  </a:cubicBezTo>
                  <a:cubicBezTo>
                    <a:pt x="133" y="135"/>
                    <a:pt x="133" y="135"/>
                    <a:pt x="133" y="135"/>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536" name="Group 535">
            <a:extLst>
              <a:ext uri="{FF2B5EF4-FFF2-40B4-BE49-F238E27FC236}">
                <a16:creationId xmlns:a16="http://schemas.microsoft.com/office/drawing/2014/main" id="{4F26C2F4-B05E-4623-884C-B809086DABF6}"/>
              </a:ext>
            </a:extLst>
          </p:cNvPr>
          <p:cNvGrpSpPr/>
          <p:nvPr/>
        </p:nvGrpSpPr>
        <p:grpSpPr>
          <a:xfrm>
            <a:off x="4258848" y="1759592"/>
            <a:ext cx="351842" cy="350535"/>
            <a:chOff x="3983265" y="1801321"/>
            <a:chExt cx="387026" cy="385589"/>
          </a:xfrm>
        </p:grpSpPr>
        <p:sp>
          <p:nvSpPr>
            <p:cNvPr id="537" name="Freeform 7">
              <a:extLst>
                <a:ext uri="{FF2B5EF4-FFF2-40B4-BE49-F238E27FC236}">
                  <a16:creationId xmlns:a16="http://schemas.microsoft.com/office/drawing/2014/main" id="{39561F1C-D671-4A3F-A348-DBDC2E935E00}"/>
                </a:ext>
              </a:extLst>
            </p:cNvPr>
            <p:cNvSpPr>
              <a:spLocks noChangeAspect="1" noEditPoints="1"/>
            </p:cNvSpPr>
            <p:nvPr/>
          </p:nvSpPr>
          <p:spPr bwMode="auto">
            <a:xfrm>
              <a:off x="3983265" y="1901405"/>
              <a:ext cx="265663" cy="285505"/>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82293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35" normalizeH="0" baseline="0" noProof="0">
                <a:ln>
                  <a:noFill/>
                </a:ln>
                <a:solidFill>
                  <a:srgbClr val="005073"/>
                </a:solidFill>
                <a:effectLst/>
                <a:uLnTx/>
                <a:uFillTx/>
                <a:latin typeface="Segoe Light" pitchFamily="34" charset="0"/>
                <a:ea typeface="+mn-ea"/>
                <a:cs typeface="+mn-cs"/>
              </a:endParaRPr>
            </a:p>
          </p:txBody>
        </p:sp>
        <p:grpSp>
          <p:nvGrpSpPr>
            <p:cNvPr id="538" name="Group 537">
              <a:extLst>
                <a:ext uri="{FF2B5EF4-FFF2-40B4-BE49-F238E27FC236}">
                  <a16:creationId xmlns:a16="http://schemas.microsoft.com/office/drawing/2014/main" id="{2F89DE31-92E4-4258-867F-0E6D7B3D6B2C}"/>
                </a:ext>
              </a:extLst>
            </p:cNvPr>
            <p:cNvGrpSpPr/>
            <p:nvPr/>
          </p:nvGrpSpPr>
          <p:grpSpPr>
            <a:xfrm>
              <a:off x="4141657" y="1801321"/>
              <a:ext cx="228634" cy="228634"/>
              <a:chOff x="7810428" y="2867531"/>
              <a:chExt cx="1045553" cy="1045553"/>
            </a:xfrm>
          </p:grpSpPr>
          <p:sp>
            <p:nvSpPr>
              <p:cNvPr id="539" name="Oval 538">
                <a:extLst>
                  <a:ext uri="{FF2B5EF4-FFF2-40B4-BE49-F238E27FC236}">
                    <a16:creationId xmlns:a16="http://schemas.microsoft.com/office/drawing/2014/main" id="{F4589ADB-FB84-475A-B937-D26B6E90BEDD}"/>
                  </a:ext>
                </a:extLst>
              </p:cNvPr>
              <p:cNvSpPr/>
              <p:nvPr/>
            </p:nvSpPr>
            <p:spPr>
              <a:xfrm>
                <a:off x="7810428" y="2867531"/>
                <a:ext cx="1045553" cy="104555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43" marR="0" lvl="0" indent="-285743"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540" name="Freeform 45">
                <a:extLst>
                  <a:ext uri="{FF2B5EF4-FFF2-40B4-BE49-F238E27FC236}">
                    <a16:creationId xmlns:a16="http://schemas.microsoft.com/office/drawing/2014/main" id="{3C6067A4-B3F1-4F51-AA1E-92B3BC6D7E98}"/>
                  </a:ext>
                </a:extLst>
              </p:cNvPr>
              <p:cNvSpPr>
                <a:spLocks/>
              </p:cNvSpPr>
              <p:nvPr/>
            </p:nvSpPr>
            <p:spPr bwMode="auto">
              <a:xfrm>
                <a:off x="8195534" y="3137386"/>
                <a:ext cx="346045" cy="505843"/>
              </a:xfrm>
              <a:custGeom>
                <a:avLst/>
                <a:gdLst>
                  <a:gd name="T0" fmla="*/ 20 w 328"/>
                  <a:gd name="T1" fmla="*/ 2 h 311"/>
                  <a:gd name="T2" fmla="*/ 20 w 328"/>
                  <a:gd name="T3" fmla="*/ 2 h 311"/>
                  <a:gd name="T4" fmla="*/ 16 w 328"/>
                  <a:gd name="T5" fmla="*/ 0 h 311"/>
                  <a:gd name="T6" fmla="*/ 13 w 328"/>
                  <a:gd name="T7" fmla="*/ 0 h 311"/>
                  <a:gd name="T8" fmla="*/ 9 w 328"/>
                  <a:gd name="T9" fmla="*/ 0 h 311"/>
                  <a:gd name="T10" fmla="*/ 6 w 328"/>
                  <a:gd name="T11" fmla="*/ 1 h 311"/>
                  <a:gd name="T12" fmla="*/ 3 w 328"/>
                  <a:gd name="T13" fmla="*/ 3 h 311"/>
                  <a:gd name="T14" fmla="*/ 1 w 328"/>
                  <a:gd name="T15" fmla="*/ 6 h 311"/>
                  <a:gd name="T16" fmla="*/ 0 w 328"/>
                  <a:gd name="T17" fmla="*/ 9 h 311"/>
                  <a:gd name="T18" fmla="*/ 0 w 328"/>
                  <a:gd name="T19" fmla="*/ 15 h 311"/>
                  <a:gd name="T20" fmla="*/ 0 w 328"/>
                  <a:gd name="T21" fmla="*/ 296 h 311"/>
                  <a:gd name="T22" fmla="*/ 0 w 328"/>
                  <a:gd name="T23" fmla="*/ 296 h 311"/>
                  <a:gd name="T24" fmla="*/ 0 w 328"/>
                  <a:gd name="T25" fmla="*/ 300 h 311"/>
                  <a:gd name="T26" fmla="*/ 1 w 328"/>
                  <a:gd name="T27" fmla="*/ 304 h 311"/>
                  <a:gd name="T28" fmla="*/ 3 w 328"/>
                  <a:gd name="T29" fmla="*/ 307 h 311"/>
                  <a:gd name="T30" fmla="*/ 6 w 328"/>
                  <a:gd name="T31" fmla="*/ 309 h 311"/>
                  <a:gd name="T32" fmla="*/ 9 w 328"/>
                  <a:gd name="T33" fmla="*/ 311 h 311"/>
                  <a:gd name="T34" fmla="*/ 13 w 328"/>
                  <a:gd name="T35" fmla="*/ 311 h 311"/>
                  <a:gd name="T36" fmla="*/ 16 w 328"/>
                  <a:gd name="T37" fmla="*/ 310 h 311"/>
                  <a:gd name="T38" fmla="*/ 20 w 328"/>
                  <a:gd name="T39" fmla="*/ 309 h 311"/>
                  <a:gd name="T40" fmla="*/ 320 w 328"/>
                  <a:gd name="T41" fmla="*/ 165 h 311"/>
                  <a:gd name="T42" fmla="*/ 320 w 328"/>
                  <a:gd name="T43" fmla="*/ 165 h 311"/>
                  <a:gd name="T44" fmla="*/ 323 w 328"/>
                  <a:gd name="T45" fmla="*/ 163 h 311"/>
                  <a:gd name="T46" fmla="*/ 326 w 328"/>
                  <a:gd name="T47" fmla="*/ 161 h 311"/>
                  <a:gd name="T48" fmla="*/ 327 w 328"/>
                  <a:gd name="T49" fmla="*/ 157 h 311"/>
                  <a:gd name="T50" fmla="*/ 328 w 328"/>
                  <a:gd name="T51" fmla="*/ 155 h 311"/>
                  <a:gd name="T52" fmla="*/ 327 w 328"/>
                  <a:gd name="T53" fmla="*/ 152 h 311"/>
                  <a:gd name="T54" fmla="*/ 326 w 328"/>
                  <a:gd name="T55" fmla="*/ 150 h 311"/>
                  <a:gd name="T56" fmla="*/ 323 w 328"/>
                  <a:gd name="T57" fmla="*/ 148 h 311"/>
                  <a:gd name="T58" fmla="*/ 320 w 328"/>
                  <a:gd name="T59" fmla="*/ 145 h 311"/>
                  <a:gd name="T60" fmla="*/ 20 w 328"/>
                  <a:gd name="T61" fmla="*/ 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8" h="311">
                    <a:moveTo>
                      <a:pt x="20" y="2"/>
                    </a:moveTo>
                    <a:lnTo>
                      <a:pt x="20" y="2"/>
                    </a:lnTo>
                    <a:lnTo>
                      <a:pt x="16" y="0"/>
                    </a:lnTo>
                    <a:lnTo>
                      <a:pt x="13" y="0"/>
                    </a:lnTo>
                    <a:lnTo>
                      <a:pt x="9" y="0"/>
                    </a:lnTo>
                    <a:lnTo>
                      <a:pt x="6" y="1"/>
                    </a:lnTo>
                    <a:lnTo>
                      <a:pt x="3" y="3"/>
                    </a:lnTo>
                    <a:lnTo>
                      <a:pt x="1" y="6"/>
                    </a:lnTo>
                    <a:lnTo>
                      <a:pt x="0" y="9"/>
                    </a:lnTo>
                    <a:lnTo>
                      <a:pt x="0" y="15"/>
                    </a:lnTo>
                    <a:lnTo>
                      <a:pt x="0" y="296"/>
                    </a:lnTo>
                    <a:lnTo>
                      <a:pt x="0" y="296"/>
                    </a:lnTo>
                    <a:lnTo>
                      <a:pt x="0" y="300"/>
                    </a:lnTo>
                    <a:lnTo>
                      <a:pt x="1" y="304"/>
                    </a:lnTo>
                    <a:lnTo>
                      <a:pt x="3" y="307"/>
                    </a:lnTo>
                    <a:lnTo>
                      <a:pt x="6" y="309"/>
                    </a:lnTo>
                    <a:lnTo>
                      <a:pt x="9" y="311"/>
                    </a:lnTo>
                    <a:lnTo>
                      <a:pt x="13" y="311"/>
                    </a:lnTo>
                    <a:lnTo>
                      <a:pt x="16" y="310"/>
                    </a:lnTo>
                    <a:lnTo>
                      <a:pt x="20" y="309"/>
                    </a:lnTo>
                    <a:lnTo>
                      <a:pt x="320" y="165"/>
                    </a:lnTo>
                    <a:lnTo>
                      <a:pt x="320" y="165"/>
                    </a:lnTo>
                    <a:lnTo>
                      <a:pt x="323" y="163"/>
                    </a:lnTo>
                    <a:lnTo>
                      <a:pt x="326" y="161"/>
                    </a:lnTo>
                    <a:lnTo>
                      <a:pt x="327" y="157"/>
                    </a:lnTo>
                    <a:lnTo>
                      <a:pt x="328" y="155"/>
                    </a:lnTo>
                    <a:lnTo>
                      <a:pt x="327" y="152"/>
                    </a:lnTo>
                    <a:lnTo>
                      <a:pt x="326" y="150"/>
                    </a:lnTo>
                    <a:lnTo>
                      <a:pt x="323" y="148"/>
                    </a:lnTo>
                    <a:lnTo>
                      <a:pt x="320" y="145"/>
                    </a:lnTo>
                    <a:lnTo>
                      <a:pt x="20" y="2"/>
                    </a:ln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541" name="Group 540">
            <a:extLst>
              <a:ext uri="{FF2B5EF4-FFF2-40B4-BE49-F238E27FC236}">
                <a16:creationId xmlns:a16="http://schemas.microsoft.com/office/drawing/2014/main" id="{524727A2-5212-4666-AE28-888F2FD10C1D}"/>
              </a:ext>
            </a:extLst>
          </p:cNvPr>
          <p:cNvGrpSpPr/>
          <p:nvPr/>
        </p:nvGrpSpPr>
        <p:grpSpPr>
          <a:xfrm>
            <a:off x="4923409" y="3828237"/>
            <a:ext cx="343886" cy="332593"/>
            <a:chOff x="4887300" y="3745015"/>
            <a:chExt cx="416102" cy="402437"/>
          </a:xfrm>
        </p:grpSpPr>
        <p:grpSp>
          <p:nvGrpSpPr>
            <p:cNvPr id="542" name="Group 541">
              <a:extLst>
                <a:ext uri="{FF2B5EF4-FFF2-40B4-BE49-F238E27FC236}">
                  <a16:creationId xmlns:a16="http://schemas.microsoft.com/office/drawing/2014/main" id="{E11996A8-4035-4D08-BA43-BB7FD19025D9}"/>
                </a:ext>
              </a:extLst>
            </p:cNvPr>
            <p:cNvGrpSpPr/>
            <p:nvPr/>
          </p:nvGrpSpPr>
          <p:grpSpPr>
            <a:xfrm>
              <a:off x="4887300" y="3745015"/>
              <a:ext cx="416102" cy="402437"/>
              <a:chOff x="4887300" y="3745015"/>
              <a:chExt cx="416102" cy="402437"/>
            </a:xfrm>
          </p:grpSpPr>
          <p:grpSp>
            <p:nvGrpSpPr>
              <p:cNvPr id="545" name="Group 544">
                <a:extLst>
                  <a:ext uri="{FF2B5EF4-FFF2-40B4-BE49-F238E27FC236}">
                    <a16:creationId xmlns:a16="http://schemas.microsoft.com/office/drawing/2014/main" id="{ADE02295-90EF-43EA-B152-DD0CA06CCF5C}"/>
                  </a:ext>
                </a:extLst>
              </p:cNvPr>
              <p:cNvGrpSpPr/>
              <p:nvPr/>
            </p:nvGrpSpPr>
            <p:grpSpPr>
              <a:xfrm>
                <a:off x="4887300" y="3869816"/>
                <a:ext cx="213372" cy="277636"/>
                <a:chOff x="4619563" y="3054970"/>
                <a:chExt cx="270569" cy="352060"/>
              </a:xfrm>
            </p:grpSpPr>
            <p:sp>
              <p:nvSpPr>
                <p:cNvPr id="549" name="Oval 21">
                  <a:extLst>
                    <a:ext uri="{FF2B5EF4-FFF2-40B4-BE49-F238E27FC236}">
                      <a16:creationId xmlns:a16="http://schemas.microsoft.com/office/drawing/2014/main" id="{E70BD0CA-99DF-427C-B8B5-D83241347552}"/>
                    </a:ext>
                  </a:extLst>
                </p:cNvPr>
                <p:cNvSpPr>
                  <a:spLocks noChangeArrowheads="1"/>
                </p:cNvSpPr>
                <p:nvPr/>
              </p:nvSpPr>
              <p:spPr bwMode="auto">
                <a:xfrm>
                  <a:off x="4682991" y="3054970"/>
                  <a:ext cx="146123" cy="14451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50" name="Freeform 44">
                  <a:extLst>
                    <a:ext uri="{FF2B5EF4-FFF2-40B4-BE49-F238E27FC236}">
                      <a16:creationId xmlns:a16="http://schemas.microsoft.com/office/drawing/2014/main" id="{F8703BDB-73F7-4D2A-8E19-DAB399A0C1B9}"/>
                    </a:ext>
                  </a:extLst>
                </p:cNvPr>
                <p:cNvSpPr/>
                <p:nvPr/>
              </p:nvSpPr>
              <p:spPr>
                <a:xfrm>
                  <a:off x="4619563" y="3224376"/>
                  <a:ext cx="270569" cy="182654"/>
                </a:xfrm>
                <a:custGeom>
                  <a:avLst/>
                  <a:gdLst>
                    <a:gd name="connsiteX0" fmla="*/ 267494 w 534988"/>
                    <a:gd name="connsiteY0" fmla="*/ 0 h 361156"/>
                    <a:gd name="connsiteX1" fmla="*/ 534988 w 534988"/>
                    <a:gd name="connsiteY1" fmla="*/ 267643 h 361156"/>
                    <a:gd name="connsiteX2" fmla="*/ 534988 w 534988"/>
                    <a:gd name="connsiteY2" fmla="*/ 361156 h 361156"/>
                    <a:gd name="connsiteX3" fmla="*/ 0 w 534988"/>
                    <a:gd name="connsiteY3" fmla="*/ 361156 h 361156"/>
                    <a:gd name="connsiteX4" fmla="*/ 0 w 534988"/>
                    <a:gd name="connsiteY4" fmla="*/ 334082 h 361156"/>
                    <a:gd name="connsiteX5" fmla="*/ 0 w 534988"/>
                    <a:gd name="connsiteY5" fmla="*/ 267643 h 361156"/>
                    <a:gd name="connsiteX6" fmla="*/ 267494 w 534988"/>
                    <a:gd name="connsiteY6" fmla="*/ 0 h 36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988" h="361156">
                      <a:moveTo>
                        <a:pt x="267494" y="0"/>
                      </a:moveTo>
                      <a:cubicBezTo>
                        <a:pt x="414427" y="0"/>
                        <a:pt x="534988" y="120628"/>
                        <a:pt x="534988" y="267643"/>
                      </a:cubicBezTo>
                      <a:lnTo>
                        <a:pt x="534988" y="361156"/>
                      </a:lnTo>
                      <a:lnTo>
                        <a:pt x="0" y="361156"/>
                      </a:lnTo>
                      <a:lnTo>
                        <a:pt x="0" y="334082"/>
                      </a:lnTo>
                      <a:cubicBezTo>
                        <a:pt x="0" y="267643"/>
                        <a:pt x="0" y="267643"/>
                        <a:pt x="0" y="267643"/>
                      </a:cubicBezTo>
                      <a:cubicBezTo>
                        <a:pt x="0" y="120628"/>
                        <a:pt x="120561" y="0"/>
                        <a:pt x="26749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546" name="Group 545">
                <a:extLst>
                  <a:ext uri="{FF2B5EF4-FFF2-40B4-BE49-F238E27FC236}">
                    <a16:creationId xmlns:a16="http://schemas.microsoft.com/office/drawing/2014/main" id="{32FD7EA7-E47F-45F8-9B95-CAF196D0ADA1}"/>
                  </a:ext>
                </a:extLst>
              </p:cNvPr>
              <p:cNvGrpSpPr>
                <a:grpSpLocks noChangeAspect="1"/>
              </p:cNvGrpSpPr>
              <p:nvPr/>
            </p:nvGrpSpPr>
            <p:grpSpPr>
              <a:xfrm>
                <a:off x="5073272" y="3745015"/>
                <a:ext cx="230130" cy="208143"/>
                <a:chOff x="3461667" y="-394359"/>
                <a:chExt cx="313990" cy="283991"/>
              </a:xfrm>
            </p:grpSpPr>
            <p:sp>
              <p:nvSpPr>
                <p:cNvPr id="547" name="Freeform 96">
                  <a:extLst>
                    <a:ext uri="{FF2B5EF4-FFF2-40B4-BE49-F238E27FC236}">
                      <a16:creationId xmlns:a16="http://schemas.microsoft.com/office/drawing/2014/main" id="{8280A25E-FF8C-4A91-B343-747811392913}"/>
                    </a:ext>
                  </a:extLst>
                </p:cNvPr>
                <p:cNvSpPr>
                  <a:spLocks noChangeAspect="1"/>
                </p:cNvSpPr>
                <p:nvPr/>
              </p:nvSpPr>
              <p:spPr bwMode="auto">
                <a:xfrm>
                  <a:off x="3506666" y="-247364"/>
                  <a:ext cx="119996" cy="136996"/>
                </a:xfrm>
                <a:custGeom>
                  <a:avLst/>
                  <a:gdLst>
                    <a:gd name="T0" fmla="*/ 120 w 120"/>
                    <a:gd name="T1" fmla="*/ 0 h 137"/>
                    <a:gd name="T2" fmla="*/ 0 w 120"/>
                    <a:gd name="T3" fmla="*/ 0 h 137"/>
                    <a:gd name="T4" fmla="*/ 0 w 120"/>
                    <a:gd name="T5" fmla="*/ 137 h 137"/>
                    <a:gd name="T6" fmla="*/ 120 w 120"/>
                    <a:gd name="T7" fmla="*/ 0 h 137"/>
                  </a:gdLst>
                  <a:ahLst/>
                  <a:cxnLst>
                    <a:cxn ang="0">
                      <a:pos x="T0" y="T1"/>
                    </a:cxn>
                    <a:cxn ang="0">
                      <a:pos x="T2" y="T3"/>
                    </a:cxn>
                    <a:cxn ang="0">
                      <a:pos x="T4" y="T5"/>
                    </a:cxn>
                    <a:cxn ang="0">
                      <a:pos x="T6" y="T7"/>
                    </a:cxn>
                  </a:cxnLst>
                  <a:rect l="0" t="0" r="r" b="b"/>
                  <a:pathLst>
                    <a:path w="120" h="137">
                      <a:moveTo>
                        <a:pt x="120" y="0"/>
                      </a:moveTo>
                      <a:lnTo>
                        <a:pt x="0" y="0"/>
                      </a:lnTo>
                      <a:lnTo>
                        <a:pt x="0" y="137"/>
                      </a:lnTo>
                      <a:lnTo>
                        <a:pt x="120" y="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48" name="Freeform 97">
                  <a:extLst>
                    <a:ext uri="{FF2B5EF4-FFF2-40B4-BE49-F238E27FC236}">
                      <a16:creationId xmlns:a16="http://schemas.microsoft.com/office/drawing/2014/main" id="{2E198C43-7F22-4E61-805B-DB5C68EDBCC2}"/>
                    </a:ext>
                  </a:extLst>
                </p:cNvPr>
                <p:cNvSpPr>
                  <a:spLocks noChangeAspect="1"/>
                </p:cNvSpPr>
                <p:nvPr/>
              </p:nvSpPr>
              <p:spPr bwMode="auto">
                <a:xfrm>
                  <a:off x="3461667" y="-394359"/>
                  <a:ext cx="313990" cy="193994"/>
                </a:xfrm>
                <a:custGeom>
                  <a:avLst/>
                  <a:gdLst>
                    <a:gd name="T0" fmla="*/ 119 w 133"/>
                    <a:gd name="T1" fmla="*/ 82 h 82"/>
                    <a:gd name="T2" fmla="*/ 14 w 133"/>
                    <a:gd name="T3" fmla="*/ 82 h 82"/>
                    <a:gd name="T4" fmla="*/ 0 w 133"/>
                    <a:gd name="T5" fmla="*/ 68 h 82"/>
                    <a:gd name="T6" fmla="*/ 0 w 133"/>
                    <a:gd name="T7" fmla="*/ 14 h 82"/>
                    <a:gd name="T8" fmla="*/ 14 w 133"/>
                    <a:gd name="T9" fmla="*/ 0 h 82"/>
                    <a:gd name="T10" fmla="*/ 119 w 133"/>
                    <a:gd name="T11" fmla="*/ 0 h 82"/>
                    <a:gd name="T12" fmla="*/ 133 w 133"/>
                    <a:gd name="T13" fmla="*/ 14 h 82"/>
                    <a:gd name="T14" fmla="*/ 133 w 133"/>
                    <a:gd name="T15" fmla="*/ 68 h 82"/>
                    <a:gd name="T16" fmla="*/ 119 w 133"/>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82">
                      <a:moveTo>
                        <a:pt x="119" y="82"/>
                      </a:moveTo>
                      <a:cubicBezTo>
                        <a:pt x="14" y="82"/>
                        <a:pt x="14" y="82"/>
                        <a:pt x="14" y="82"/>
                      </a:cubicBezTo>
                      <a:cubicBezTo>
                        <a:pt x="6" y="82"/>
                        <a:pt x="0" y="75"/>
                        <a:pt x="0" y="68"/>
                      </a:cubicBezTo>
                      <a:cubicBezTo>
                        <a:pt x="0" y="14"/>
                        <a:pt x="0" y="14"/>
                        <a:pt x="0" y="14"/>
                      </a:cubicBezTo>
                      <a:cubicBezTo>
                        <a:pt x="0" y="6"/>
                        <a:pt x="6" y="0"/>
                        <a:pt x="14" y="0"/>
                      </a:cubicBezTo>
                      <a:cubicBezTo>
                        <a:pt x="119" y="0"/>
                        <a:pt x="119" y="0"/>
                        <a:pt x="119" y="0"/>
                      </a:cubicBezTo>
                      <a:cubicBezTo>
                        <a:pt x="127" y="0"/>
                        <a:pt x="133" y="6"/>
                        <a:pt x="133" y="14"/>
                      </a:cubicBezTo>
                      <a:cubicBezTo>
                        <a:pt x="133" y="68"/>
                        <a:pt x="133" y="68"/>
                        <a:pt x="133" y="68"/>
                      </a:cubicBezTo>
                      <a:cubicBezTo>
                        <a:pt x="133" y="75"/>
                        <a:pt x="127" y="82"/>
                        <a:pt x="119" y="82"/>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sp>
          <p:nvSpPr>
            <p:cNvPr id="543" name="Freeform 24">
              <a:extLst>
                <a:ext uri="{FF2B5EF4-FFF2-40B4-BE49-F238E27FC236}">
                  <a16:creationId xmlns:a16="http://schemas.microsoft.com/office/drawing/2014/main" id="{ECEB70EF-73E3-4259-A8E4-FFAD0AF649B4}"/>
                </a:ext>
              </a:extLst>
            </p:cNvPr>
            <p:cNvSpPr>
              <a:spLocks/>
            </p:cNvSpPr>
            <p:nvPr/>
          </p:nvSpPr>
          <p:spPr bwMode="auto">
            <a:xfrm>
              <a:off x="5106739" y="3779407"/>
              <a:ext cx="163196" cy="21180"/>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44" name="Freeform 24">
              <a:extLst>
                <a:ext uri="{FF2B5EF4-FFF2-40B4-BE49-F238E27FC236}">
                  <a16:creationId xmlns:a16="http://schemas.microsoft.com/office/drawing/2014/main" id="{45418739-6E73-4F30-B5F8-54649DF00B5D}"/>
                </a:ext>
              </a:extLst>
            </p:cNvPr>
            <p:cNvSpPr>
              <a:spLocks/>
            </p:cNvSpPr>
            <p:nvPr/>
          </p:nvSpPr>
          <p:spPr bwMode="auto">
            <a:xfrm>
              <a:off x="5106739" y="3824565"/>
              <a:ext cx="163196" cy="21180"/>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
        <p:nvSpPr>
          <p:cNvPr id="553" name="Freeform 7">
            <a:extLst>
              <a:ext uri="{FF2B5EF4-FFF2-40B4-BE49-F238E27FC236}">
                <a16:creationId xmlns:a16="http://schemas.microsoft.com/office/drawing/2014/main" id="{87032F38-F067-4BFA-8139-4A2213064580}"/>
              </a:ext>
            </a:extLst>
          </p:cNvPr>
          <p:cNvSpPr>
            <a:spLocks noEditPoints="1"/>
          </p:cNvSpPr>
          <p:nvPr/>
        </p:nvSpPr>
        <p:spPr bwMode="auto">
          <a:xfrm>
            <a:off x="5332608" y="4149493"/>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96" name="Group 195">
            <a:extLst>
              <a:ext uri="{FF2B5EF4-FFF2-40B4-BE49-F238E27FC236}">
                <a16:creationId xmlns:a16="http://schemas.microsoft.com/office/drawing/2014/main" id="{FB3FE397-216D-4CDF-AEAA-A3DA4D84DCD8}"/>
              </a:ext>
            </a:extLst>
          </p:cNvPr>
          <p:cNvGrpSpPr/>
          <p:nvPr/>
        </p:nvGrpSpPr>
        <p:grpSpPr>
          <a:xfrm>
            <a:off x="3162502" y="3648176"/>
            <a:ext cx="498476" cy="498475"/>
            <a:chOff x="2868473" y="4248325"/>
            <a:chExt cx="498476" cy="498475"/>
          </a:xfrm>
        </p:grpSpPr>
        <p:sp>
          <p:nvSpPr>
            <p:cNvPr id="33" name="Freeform 27">
              <a:extLst>
                <a:ext uri="{FF2B5EF4-FFF2-40B4-BE49-F238E27FC236}">
                  <a16:creationId xmlns:a16="http://schemas.microsoft.com/office/drawing/2014/main" id="{405FF0CA-2563-41C2-89A6-0C1C6F6818EA}"/>
                </a:ext>
              </a:extLst>
            </p:cNvPr>
            <p:cNvSpPr>
              <a:spLocks/>
            </p:cNvSpPr>
            <p:nvPr/>
          </p:nvSpPr>
          <p:spPr bwMode="auto">
            <a:xfrm>
              <a:off x="2868473" y="4248325"/>
              <a:ext cx="498476" cy="498475"/>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rgbClr val="E9E9E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195" name="Group 194">
              <a:extLst>
                <a:ext uri="{FF2B5EF4-FFF2-40B4-BE49-F238E27FC236}">
                  <a16:creationId xmlns:a16="http://schemas.microsoft.com/office/drawing/2014/main" id="{A63EC292-3220-4C44-B860-597256CA154E}"/>
                </a:ext>
              </a:extLst>
            </p:cNvPr>
            <p:cNvGrpSpPr/>
            <p:nvPr/>
          </p:nvGrpSpPr>
          <p:grpSpPr>
            <a:xfrm>
              <a:off x="2921052" y="4368931"/>
              <a:ext cx="393276" cy="257262"/>
              <a:chOff x="2916019" y="4368931"/>
              <a:chExt cx="393276" cy="257262"/>
            </a:xfrm>
          </p:grpSpPr>
          <p:grpSp>
            <p:nvGrpSpPr>
              <p:cNvPr id="194" name="Group 193">
                <a:extLst>
                  <a:ext uri="{FF2B5EF4-FFF2-40B4-BE49-F238E27FC236}">
                    <a16:creationId xmlns:a16="http://schemas.microsoft.com/office/drawing/2014/main" id="{E8772DC0-8B29-43A2-AFB3-C4A7091A25B2}"/>
                  </a:ext>
                </a:extLst>
              </p:cNvPr>
              <p:cNvGrpSpPr/>
              <p:nvPr/>
            </p:nvGrpSpPr>
            <p:grpSpPr>
              <a:xfrm>
                <a:off x="3105507" y="4368931"/>
                <a:ext cx="203788" cy="257262"/>
                <a:chOff x="3031986" y="4288013"/>
                <a:chExt cx="320676" cy="404813"/>
              </a:xfrm>
            </p:grpSpPr>
            <p:sp>
              <p:nvSpPr>
                <p:cNvPr id="34" name="Freeform 28">
                  <a:extLst>
                    <a:ext uri="{FF2B5EF4-FFF2-40B4-BE49-F238E27FC236}">
                      <a16:creationId xmlns:a16="http://schemas.microsoft.com/office/drawing/2014/main" id="{689514E1-89F4-4819-84D1-6B186AC5A02E}"/>
                    </a:ext>
                  </a:extLst>
                </p:cNvPr>
                <p:cNvSpPr>
                  <a:spLocks/>
                </p:cNvSpPr>
                <p:nvPr/>
              </p:nvSpPr>
              <p:spPr bwMode="auto">
                <a:xfrm>
                  <a:off x="3305036" y="4375325"/>
                  <a:ext cx="46038" cy="120650"/>
                </a:xfrm>
                <a:custGeom>
                  <a:avLst/>
                  <a:gdLst>
                    <a:gd name="T0" fmla="*/ 5 w 268"/>
                    <a:gd name="T1" fmla="*/ 144 h 693"/>
                    <a:gd name="T2" fmla="*/ 5 w 268"/>
                    <a:gd name="T3" fmla="*/ 144 h 693"/>
                    <a:gd name="T4" fmla="*/ 268 w 268"/>
                    <a:gd name="T5" fmla="*/ 0 h 693"/>
                    <a:gd name="T6" fmla="*/ 268 w 268"/>
                    <a:gd name="T7" fmla="*/ 32 h 693"/>
                    <a:gd name="T8" fmla="*/ 176 w 268"/>
                    <a:gd name="T9" fmla="*/ 188 h 693"/>
                    <a:gd name="T10" fmla="*/ 256 w 268"/>
                    <a:gd name="T11" fmla="*/ 211 h 693"/>
                    <a:gd name="T12" fmla="*/ 199 w 268"/>
                    <a:gd name="T13" fmla="*/ 295 h 693"/>
                    <a:gd name="T14" fmla="*/ 179 w 268"/>
                    <a:gd name="T15" fmla="*/ 373 h 693"/>
                    <a:gd name="T16" fmla="*/ 259 w 268"/>
                    <a:gd name="T17" fmla="*/ 373 h 693"/>
                    <a:gd name="T18" fmla="*/ 205 w 268"/>
                    <a:gd name="T19" fmla="*/ 468 h 693"/>
                    <a:gd name="T20" fmla="*/ 205 w 268"/>
                    <a:gd name="T21" fmla="*/ 523 h 693"/>
                    <a:gd name="T22" fmla="*/ 259 w 268"/>
                    <a:gd name="T23" fmla="*/ 523 h 693"/>
                    <a:gd name="T24" fmla="*/ 140 w 268"/>
                    <a:gd name="T25" fmla="*/ 693 h 693"/>
                    <a:gd name="T26" fmla="*/ 29 w 268"/>
                    <a:gd name="T27" fmla="*/ 529 h 693"/>
                    <a:gd name="T28" fmla="*/ 2 w 268"/>
                    <a:gd name="T29" fmla="*/ 442 h 693"/>
                    <a:gd name="T30" fmla="*/ 5 w 268"/>
                    <a:gd name="T31" fmla="*/ 144 h 693"/>
                    <a:gd name="T32" fmla="*/ 5 w 268"/>
                    <a:gd name="T33" fmla="*/ 14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8" h="693">
                      <a:moveTo>
                        <a:pt x="5" y="144"/>
                      </a:moveTo>
                      <a:lnTo>
                        <a:pt x="5" y="144"/>
                      </a:lnTo>
                      <a:lnTo>
                        <a:pt x="268" y="0"/>
                      </a:lnTo>
                      <a:lnTo>
                        <a:pt x="268" y="32"/>
                      </a:lnTo>
                      <a:lnTo>
                        <a:pt x="176" y="188"/>
                      </a:lnTo>
                      <a:lnTo>
                        <a:pt x="256" y="211"/>
                      </a:lnTo>
                      <a:lnTo>
                        <a:pt x="199" y="295"/>
                      </a:lnTo>
                      <a:lnTo>
                        <a:pt x="179" y="373"/>
                      </a:lnTo>
                      <a:lnTo>
                        <a:pt x="259" y="373"/>
                      </a:lnTo>
                      <a:lnTo>
                        <a:pt x="205" y="468"/>
                      </a:lnTo>
                      <a:lnTo>
                        <a:pt x="205" y="523"/>
                      </a:lnTo>
                      <a:lnTo>
                        <a:pt x="259" y="523"/>
                      </a:lnTo>
                      <a:lnTo>
                        <a:pt x="140" y="693"/>
                      </a:lnTo>
                      <a:lnTo>
                        <a:pt x="29" y="529"/>
                      </a:lnTo>
                      <a:lnTo>
                        <a:pt x="2" y="442"/>
                      </a:lnTo>
                      <a:cubicBezTo>
                        <a:pt x="1" y="344"/>
                        <a:pt x="0" y="245"/>
                        <a:pt x="5" y="144"/>
                      </a:cubicBezTo>
                      <a:lnTo>
                        <a:pt x="5" y="144"/>
                      </a:lnTo>
                      <a:close/>
                    </a:path>
                  </a:pathLst>
                </a:custGeom>
                <a:solidFill>
                  <a:srgbClr val="CB850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 name="Freeform 29">
                  <a:extLst>
                    <a:ext uri="{FF2B5EF4-FFF2-40B4-BE49-F238E27FC236}">
                      <a16:creationId xmlns:a16="http://schemas.microsoft.com/office/drawing/2014/main" id="{0042243F-C10B-43FA-BB81-8A55F0214486}"/>
                    </a:ext>
                  </a:extLst>
                </p:cNvPr>
                <p:cNvSpPr>
                  <a:spLocks/>
                </p:cNvSpPr>
                <p:nvPr/>
              </p:nvSpPr>
              <p:spPr bwMode="auto">
                <a:xfrm>
                  <a:off x="3212961" y="4467400"/>
                  <a:ext cx="112713" cy="87313"/>
                </a:xfrm>
                <a:custGeom>
                  <a:avLst/>
                  <a:gdLst>
                    <a:gd name="T0" fmla="*/ 613 w 657"/>
                    <a:gd name="T1" fmla="*/ 68 h 499"/>
                    <a:gd name="T2" fmla="*/ 613 w 657"/>
                    <a:gd name="T3" fmla="*/ 68 h 499"/>
                    <a:gd name="T4" fmla="*/ 407 w 657"/>
                    <a:gd name="T5" fmla="*/ 373 h 499"/>
                    <a:gd name="T6" fmla="*/ 44 w 657"/>
                    <a:gd name="T7" fmla="*/ 431 h 499"/>
                    <a:gd name="T8" fmla="*/ 250 w 657"/>
                    <a:gd name="T9" fmla="*/ 126 h 499"/>
                    <a:gd name="T10" fmla="*/ 613 w 657"/>
                    <a:gd name="T11" fmla="*/ 68 h 499"/>
                    <a:gd name="T12" fmla="*/ 613 w 657"/>
                    <a:gd name="T13" fmla="*/ 68 h 499"/>
                  </a:gdLst>
                  <a:ahLst/>
                  <a:cxnLst>
                    <a:cxn ang="0">
                      <a:pos x="T0" y="T1"/>
                    </a:cxn>
                    <a:cxn ang="0">
                      <a:pos x="T2" y="T3"/>
                    </a:cxn>
                    <a:cxn ang="0">
                      <a:pos x="T4" y="T5"/>
                    </a:cxn>
                    <a:cxn ang="0">
                      <a:pos x="T6" y="T7"/>
                    </a:cxn>
                    <a:cxn ang="0">
                      <a:pos x="T8" y="T9"/>
                    </a:cxn>
                    <a:cxn ang="0">
                      <a:pos x="T10" y="T11"/>
                    </a:cxn>
                    <a:cxn ang="0">
                      <a:pos x="T12" y="T13"/>
                    </a:cxn>
                  </a:cxnLst>
                  <a:rect l="0" t="0" r="r" b="b"/>
                  <a:pathLst>
                    <a:path w="657" h="499">
                      <a:moveTo>
                        <a:pt x="613" y="68"/>
                      </a:moveTo>
                      <a:lnTo>
                        <a:pt x="613" y="68"/>
                      </a:lnTo>
                      <a:cubicBezTo>
                        <a:pt x="657" y="136"/>
                        <a:pt x="564" y="272"/>
                        <a:pt x="407" y="373"/>
                      </a:cubicBezTo>
                      <a:cubicBezTo>
                        <a:pt x="250" y="473"/>
                        <a:pt x="87" y="499"/>
                        <a:pt x="44" y="431"/>
                      </a:cubicBezTo>
                      <a:cubicBezTo>
                        <a:pt x="0" y="363"/>
                        <a:pt x="93" y="227"/>
                        <a:pt x="250" y="126"/>
                      </a:cubicBezTo>
                      <a:cubicBezTo>
                        <a:pt x="407" y="26"/>
                        <a:pt x="570" y="0"/>
                        <a:pt x="613" y="68"/>
                      </a:cubicBezTo>
                      <a:lnTo>
                        <a:pt x="613" y="68"/>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 name="Freeform 30">
                  <a:extLst>
                    <a:ext uri="{FF2B5EF4-FFF2-40B4-BE49-F238E27FC236}">
                      <a16:creationId xmlns:a16="http://schemas.microsoft.com/office/drawing/2014/main" id="{ADBDC80E-ABDA-4739-A8AC-2BD1DDA344D3}"/>
                    </a:ext>
                  </a:extLst>
                </p:cNvPr>
                <p:cNvSpPr>
                  <a:spLocks/>
                </p:cNvSpPr>
                <p:nvPr/>
              </p:nvSpPr>
              <p:spPr bwMode="auto">
                <a:xfrm>
                  <a:off x="3206611" y="4288013"/>
                  <a:ext cx="128588" cy="230188"/>
                </a:xfrm>
                <a:custGeom>
                  <a:avLst/>
                  <a:gdLst>
                    <a:gd name="T0" fmla="*/ 652 w 747"/>
                    <a:gd name="T1" fmla="*/ 0 h 1334"/>
                    <a:gd name="T2" fmla="*/ 652 w 747"/>
                    <a:gd name="T3" fmla="*/ 0 h 1334"/>
                    <a:gd name="T4" fmla="*/ 95 w 747"/>
                    <a:gd name="T5" fmla="*/ 0 h 1334"/>
                    <a:gd name="T6" fmla="*/ 0 w 747"/>
                    <a:gd name="T7" fmla="*/ 95 h 1334"/>
                    <a:gd name="T8" fmla="*/ 0 w 747"/>
                    <a:gd name="T9" fmla="*/ 1238 h 1334"/>
                    <a:gd name="T10" fmla="*/ 95 w 747"/>
                    <a:gd name="T11" fmla="*/ 1334 h 1334"/>
                    <a:gd name="T12" fmla="*/ 652 w 747"/>
                    <a:gd name="T13" fmla="*/ 1334 h 1334"/>
                    <a:gd name="T14" fmla="*/ 747 w 747"/>
                    <a:gd name="T15" fmla="*/ 1238 h 1334"/>
                    <a:gd name="T16" fmla="*/ 747 w 747"/>
                    <a:gd name="T17" fmla="*/ 95 h 1334"/>
                    <a:gd name="T18" fmla="*/ 652 w 747"/>
                    <a:gd name="T19" fmla="*/ 0 h 1334"/>
                    <a:gd name="T20" fmla="*/ 652 w 747"/>
                    <a:gd name="T21" fmla="*/ 0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7" h="1334">
                      <a:moveTo>
                        <a:pt x="652" y="0"/>
                      </a:moveTo>
                      <a:lnTo>
                        <a:pt x="652" y="0"/>
                      </a:lnTo>
                      <a:cubicBezTo>
                        <a:pt x="95" y="0"/>
                        <a:pt x="95" y="0"/>
                        <a:pt x="95" y="0"/>
                      </a:cubicBezTo>
                      <a:cubicBezTo>
                        <a:pt x="42" y="0"/>
                        <a:pt x="0" y="42"/>
                        <a:pt x="0" y="95"/>
                      </a:cubicBezTo>
                      <a:cubicBezTo>
                        <a:pt x="0" y="1238"/>
                        <a:pt x="0" y="1238"/>
                        <a:pt x="0" y="1238"/>
                      </a:cubicBezTo>
                      <a:cubicBezTo>
                        <a:pt x="0" y="1291"/>
                        <a:pt x="42" y="1334"/>
                        <a:pt x="95" y="1334"/>
                      </a:cubicBezTo>
                      <a:cubicBezTo>
                        <a:pt x="652" y="1334"/>
                        <a:pt x="652" y="1334"/>
                        <a:pt x="652" y="1334"/>
                      </a:cubicBezTo>
                      <a:cubicBezTo>
                        <a:pt x="705" y="1334"/>
                        <a:pt x="747" y="1291"/>
                        <a:pt x="747" y="1238"/>
                      </a:cubicBezTo>
                      <a:cubicBezTo>
                        <a:pt x="747" y="95"/>
                        <a:pt x="747" y="95"/>
                        <a:pt x="747" y="95"/>
                      </a:cubicBezTo>
                      <a:cubicBezTo>
                        <a:pt x="747" y="42"/>
                        <a:pt x="705" y="0"/>
                        <a:pt x="652" y="0"/>
                      </a:cubicBezTo>
                      <a:lnTo>
                        <a:pt x="652" y="0"/>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9" name="Freeform 31">
                  <a:extLst>
                    <a:ext uri="{FF2B5EF4-FFF2-40B4-BE49-F238E27FC236}">
                      <a16:creationId xmlns:a16="http://schemas.microsoft.com/office/drawing/2014/main" id="{98A05F84-8A93-4FC3-80EC-FCB2E0CBACA9}"/>
                    </a:ext>
                  </a:extLst>
                </p:cNvPr>
                <p:cNvSpPr>
                  <a:spLocks/>
                </p:cNvSpPr>
                <p:nvPr/>
              </p:nvSpPr>
              <p:spPr bwMode="auto">
                <a:xfrm>
                  <a:off x="3263761" y="4492800"/>
                  <a:ext cx="15875" cy="15875"/>
                </a:xfrm>
                <a:custGeom>
                  <a:avLst/>
                  <a:gdLst>
                    <a:gd name="T0" fmla="*/ 0 w 94"/>
                    <a:gd name="T1" fmla="*/ 47 h 93"/>
                    <a:gd name="T2" fmla="*/ 0 w 94"/>
                    <a:gd name="T3" fmla="*/ 47 h 93"/>
                    <a:gd name="T4" fmla="*/ 47 w 94"/>
                    <a:gd name="T5" fmla="*/ 0 h 93"/>
                    <a:gd name="T6" fmla="*/ 94 w 94"/>
                    <a:gd name="T7" fmla="*/ 47 h 93"/>
                    <a:gd name="T8" fmla="*/ 47 w 94"/>
                    <a:gd name="T9" fmla="*/ 93 h 93"/>
                    <a:gd name="T10" fmla="*/ 0 w 94"/>
                    <a:gd name="T11" fmla="*/ 47 h 93"/>
                    <a:gd name="T12" fmla="*/ 0 w 94"/>
                    <a:gd name="T13" fmla="*/ 47 h 93"/>
                  </a:gdLst>
                  <a:ahLst/>
                  <a:cxnLst>
                    <a:cxn ang="0">
                      <a:pos x="T0" y="T1"/>
                    </a:cxn>
                    <a:cxn ang="0">
                      <a:pos x="T2" y="T3"/>
                    </a:cxn>
                    <a:cxn ang="0">
                      <a:pos x="T4" y="T5"/>
                    </a:cxn>
                    <a:cxn ang="0">
                      <a:pos x="T6" y="T7"/>
                    </a:cxn>
                    <a:cxn ang="0">
                      <a:pos x="T8" y="T9"/>
                    </a:cxn>
                    <a:cxn ang="0">
                      <a:pos x="T10" y="T11"/>
                    </a:cxn>
                    <a:cxn ang="0">
                      <a:pos x="T12" y="T13"/>
                    </a:cxn>
                  </a:cxnLst>
                  <a:rect l="0" t="0" r="r" b="b"/>
                  <a:pathLst>
                    <a:path w="94" h="93">
                      <a:moveTo>
                        <a:pt x="0" y="47"/>
                      </a:moveTo>
                      <a:lnTo>
                        <a:pt x="0" y="47"/>
                      </a:lnTo>
                      <a:cubicBezTo>
                        <a:pt x="0" y="21"/>
                        <a:pt x="21" y="0"/>
                        <a:pt x="47" y="0"/>
                      </a:cubicBezTo>
                      <a:cubicBezTo>
                        <a:pt x="73" y="0"/>
                        <a:pt x="94" y="21"/>
                        <a:pt x="94" y="47"/>
                      </a:cubicBezTo>
                      <a:cubicBezTo>
                        <a:pt x="94" y="72"/>
                        <a:pt x="73" y="93"/>
                        <a:pt x="47" y="93"/>
                      </a:cubicBezTo>
                      <a:cubicBezTo>
                        <a:pt x="21" y="93"/>
                        <a:pt x="0" y="72"/>
                        <a:pt x="0" y="47"/>
                      </a:cubicBezTo>
                      <a:lnTo>
                        <a:pt x="0" y="47"/>
                      </a:lnTo>
                      <a:close/>
                    </a:path>
                  </a:pathLst>
                </a:custGeom>
                <a:solidFill>
                  <a:srgbClr val="00507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 name="Freeform 32">
                  <a:extLst>
                    <a:ext uri="{FF2B5EF4-FFF2-40B4-BE49-F238E27FC236}">
                      <a16:creationId xmlns:a16="http://schemas.microsoft.com/office/drawing/2014/main" id="{BDF10377-DD5C-48D0-A217-8D805658332A}"/>
                    </a:ext>
                  </a:extLst>
                </p:cNvPr>
                <p:cNvSpPr>
                  <a:spLocks/>
                </p:cNvSpPr>
                <p:nvPr/>
              </p:nvSpPr>
              <p:spPr bwMode="auto">
                <a:xfrm>
                  <a:off x="3219311" y="4319763"/>
                  <a:ext cx="104775" cy="158750"/>
                </a:xfrm>
                <a:custGeom>
                  <a:avLst/>
                  <a:gdLst>
                    <a:gd name="T0" fmla="*/ 0 w 600"/>
                    <a:gd name="T1" fmla="*/ 920 h 920"/>
                    <a:gd name="T2" fmla="*/ 0 w 600"/>
                    <a:gd name="T3" fmla="*/ 920 h 920"/>
                    <a:gd name="T4" fmla="*/ 600 w 600"/>
                    <a:gd name="T5" fmla="*/ 920 h 920"/>
                    <a:gd name="T6" fmla="*/ 600 w 600"/>
                    <a:gd name="T7" fmla="*/ 0 h 920"/>
                    <a:gd name="T8" fmla="*/ 0 w 600"/>
                    <a:gd name="T9" fmla="*/ 0 h 920"/>
                    <a:gd name="T10" fmla="*/ 0 w 600"/>
                    <a:gd name="T11" fmla="*/ 920 h 920"/>
                  </a:gdLst>
                  <a:ahLst/>
                  <a:cxnLst>
                    <a:cxn ang="0">
                      <a:pos x="T0" y="T1"/>
                    </a:cxn>
                    <a:cxn ang="0">
                      <a:pos x="T2" y="T3"/>
                    </a:cxn>
                    <a:cxn ang="0">
                      <a:pos x="T4" y="T5"/>
                    </a:cxn>
                    <a:cxn ang="0">
                      <a:pos x="T6" y="T7"/>
                    </a:cxn>
                    <a:cxn ang="0">
                      <a:pos x="T8" y="T9"/>
                    </a:cxn>
                    <a:cxn ang="0">
                      <a:pos x="T10" y="T11"/>
                    </a:cxn>
                  </a:cxnLst>
                  <a:rect l="0" t="0" r="r" b="b"/>
                  <a:pathLst>
                    <a:path w="600" h="920">
                      <a:moveTo>
                        <a:pt x="0" y="920"/>
                      </a:moveTo>
                      <a:lnTo>
                        <a:pt x="0" y="920"/>
                      </a:lnTo>
                      <a:lnTo>
                        <a:pt x="600" y="920"/>
                      </a:lnTo>
                      <a:lnTo>
                        <a:pt x="600" y="0"/>
                      </a:lnTo>
                      <a:lnTo>
                        <a:pt x="0" y="0"/>
                      </a:lnTo>
                      <a:lnTo>
                        <a:pt x="0" y="920"/>
                      </a:lnTo>
                      <a:close/>
                    </a:path>
                  </a:pathLst>
                </a:custGeom>
                <a:solidFill>
                  <a:srgbClr val="00507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 name="Freeform 33">
                  <a:extLst>
                    <a:ext uri="{FF2B5EF4-FFF2-40B4-BE49-F238E27FC236}">
                      <a16:creationId xmlns:a16="http://schemas.microsoft.com/office/drawing/2014/main" id="{8F44E872-781F-4140-8930-FCB0E38DAC93}"/>
                    </a:ext>
                  </a:extLst>
                </p:cNvPr>
                <p:cNvSpPr>
                  <a:spLocks/>
                </p:cNvSpPr>
                <p:nvPr/>
              </p:nvSpPr>
              <p:spPr bwMode="auto">
                <a:xfrm>
                  <a:off x="3206611" y="4394375"/>
                  <a:ext cx="53975" cy="46038"/>
                </a:xfrm>
                <a:custGeom>
                  <a:avLst/>
                  <a:gdLst>
                    <a:gd name="T0" fmla="*/ 288 w 315"/>
                    <a:gd name="T1" fmla="*/ 228 h 264"/>
                    <a:gd name="T2" fmla="*/ 288 w 315"/>
                    <a:gd name="T3" fmla="*/ 228 h 264"/>
                    <a:gd name="T4" fmla="*/ 109 w 315"/>
                    <a:gd name="T5" fmla="*/ 199 h 264"/>
                    <a:gd name="T6" fmla="*/ 27 w 315"/>
                    <a:gd name="T7" fmla="*/ 37 h 264"/>
                    <a:gd name="T8" fmla="*/ 206 w 315"/>
                    <a:gd name="T9" fmla="*/ 66 h 264"/>
                    <a:gd name="T10" fmla="*/ 288 w 315"/>
                    <a:gd name="T11" fmla="*/ 228 h 264"/>
                    <a:gd name="T12" fmla="*/ 288 w 315"/>
                    <a:gd name="T13" fmla="*/ 228 h 264"/>
                  </a:gdLst>
                  <a:ahLst/>
                  <a:cxnLst>
                    <a:cxn ang="0">
                      <a:pos x="T0" y="T1"/>
                    </a:cxn>
                    <a:cxn ang="0">
                      <a:pos x="T2" y="T3"/>
                    </a:cxn>
                    <a:cxn ang="0">
                      <a:pos x="T4" y="T5"/>
                    </a:cxn>
                    <a:cxn ang="0">
                      <a:pos x="T6" y="T7"/>
                    </a:cxn>
                    <a:cxn ang="0">
                      <a:pos x="T8" y="T9"/>
                    </a:cxn>
                    <a:cxn ang="0">
                      <a:pos x="T10" y="T11"/>
                    </a:cxn>
                    <a:cxn ang="0">
                      <a:pos x="T12" y="T13"/>
                    </a:cxn>
                  </a:cxnLst>
                  <a:rect l="0" t="0" r="r" b="b"/>
                  <a:pathLst>
                    <a:path w="315" h="264">
                      <a:moveTo>
                        <a:pt x="288" y="228"/>
                      </a:moveTo>
                      <a:lnTo>
                        <a:pt x="288" y="228"/>
                      </a:lnTo>
                      <a:cubicBezTo>
                        <a:pt x="261" y="264"/>
                        <a:pt x="181" y="251"/>
                        <a:pt x="109" y="199"/>
                      </a:cubicBezTo>
                      <a:cubicBezTo>
                        <a:pt x="37" y="146"/>
                        <a:pt x="0" y="74"/>
                        <a:pt x="27" y="37"/>
                      </a:cubicBezTo>
                      <a:cubicBezTo>
                        <a:pt x="53" y="0"/>
                        <a:pt x="134" y="13"/>
                        <a:pt x="206" y="66"/>
                      </a:cubicBezTo>
                      <a:cubicBezTo>
                        <a:pt x="278" y="118"/>
                        <a:pt x="315" y="191"/>
                        <a:pt x="288" y="228"/>
                      </a:cubicBezTo>
                      <a:lnTo>
                        <a:pt x="288" y="228"/>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2" name="Freeform 34">
                  <a:extLst>
                    <a:ext uri="{FF2B5EF4-FFF2-40B4-BE49-F238E27FC236}">
                      <a16:creationId xmlns:a16="http://schemas.microsoft.com/office/drawing/2014/main" id="{5393C7B2-AA4E-442C-9AC3-50D07F0870A6}"/>
                    </a:ext>
                  </a:extLst>
                </p:cNvPr>
                <p:cNvSpPr>
                  <a:spLocks/>
                </p:cNvSpPr>
                <p:nvPr/>
              </p:nvSpPr>
              <p:spPr bwMode="auto">
                <a:xfrm>
                  <a:off x="3165336" y="4392788"/>
                  <a:ext cx="68263" cy="77788"/>
                </a:xfrm>
                <a:custGeom>
                  <a:avLst/>
                  <a:gdLst>
                    <a:gd name="T0" fmla="*/ 353 w 397"/>
                    <a:gd name="T1" fmla="*/ 37 h 448"/>
                    <a:gd name="T2" fmla="*/ 353 w 397"/>
                    <a:gd name="T3" fmla="*/ 37 h 448"/>
                    <a:gd name="T4" fmla="*/ 279 w 397"/>
                    <a:gd name="T5" fmla="*/ 291 h 448"/>
                    <a:gd name="T6" fmla="*/ 45 w 397"/>
                    <a:gd name="T7" fmla="*/ 411 h 448"/>
                    <a:gd name="T8" fmla="*/ 118 w 397"/>
                    <a:gd name="T9" fmla="*/ 158 h 448"/>
                    <a:gd name="T10" fmla="*/ 353 w 397"/>
                    <a:gd name="T11" fmla="*/ 37 h 448"/>
                    <a:gd name="T12" fmla="*/ 353 w 397"/>
                    <a:gd name="T13" fmla="*/ 37 h 448"/>
                  </a:gdLst>
                  <a:ahLst/>
                  <a:cxnLst>
                    <a:cxn ang="0">
                      <a:pos x="T0" y="T1"/>
                    </a:cxn>
                    <a:cxn ang="0">
                      <a:pos x="T2" y="T3"/>
                    </a:cxn>
                    <a:cxn ang="0">
                      <a:pos x="T4" y="T5"/>
                    </a:cxn>
                    <a:cxn ang="0">
                      <a:pos x="T6" y="T7"/>
                    </a:cxn>
                    <a:cxn ang="0">
                      <a:pos x="T8" y="T9"/>
                    </a:cxn>
                    <a:cxn ang="0">
                      <a:pos x="T10" y="T11"/>
                    </a:cxn>
                    <a:cxn ang="0">
                      <a:pos x="T12" y="T13"/>
                    </a:cxn>
                  </a:cxnLst>
                  <a:rect l="0" t="0" r="r" b="b"/>
                  <a:pathLst>
                    <a:path w="397" h="448">
                      <a:moveTo>
                        <a:pt x="353" y="37"/>
                      </a:moveTo>
                      <a:lnTo>
                        <a:pt x="353" y="37"/>
                      </a:lnTo>
                      <a:cubicBezTo>
                        <a:pt x="397" y="74"/>
                        <a:pt x="364" y="187"/>
                        <a:pt x="279" y="291"/>
                      </a:cubicBezTo>
                      <a:cubicBezTo>
                        <a:pt x="194" y="394"/>
                        <a:pt x="89" y="448"/>
                        <a:pt x="45" y="411"/>
                      </a:cubicBezTo>
                      <a:cubicBezTo>
                        <a:pt x="0" y="375"/>
                        <a:pt x="33" y="261"/>
                        <a:pt x="118" y="158"/>
                      </a:cubicBezTo>
                      <a:cubicBezTo>
                        <a:pt x="203" y="55"/>
                        <a:pt x="308" y="0"/>
                        <a:pt x="353" y="37"/>
                      </a:cubicBezTo>
                      <a:lnTo>
                        <a:pt x="353" y="37"/>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3" name="Freeform 35">
                  <a:extLst>
                    <a:ext uri="{FF2B5EF4-FFF2-40B4-BE49-F238E27FC236}">
                      <a16:creationId xmlns:a16="http://schemas.microsoft.com/office/drawing/2014/main" id="{01DBBBFE-E9A2-4AF5-B90E-858D53C5EA5F}"/>
                    </a:ext>
                  </a:extLst>
                </p:cNvPr>
                <p:cNvSpPr>
                  <a:spLocks/>
                </p:cNvSpPr>
                <p:nvPr/>
              </p:nvSpPr>
              <p:spPr bwMode="auto">
                <a:xfrm>
                  <a:off x="3163749" y="4434063"/>
                  <a:ext cx="61913" cy="68263"/>
                </a:xfrm>
                <a:custGeom>
                  <a:avLst/>
                  <a:gdLst>
                    <a:gd name="T0" fmla="*/ 262 w 352"/>
                    <a:gd name="T1" fmla="*/ 357 h 396"/>
                    <a:gd name="T2" fmla="*/ 262 w 352"/>
                    <a:gd name="T3" fmla="*/ 357 h 396"/>
                    <a:gd name="T4" fmla="*/ 48 w 352"/>
                    <a:gd name="T5" fmla="*/ 268 h 396"/>
                    <a:gd name="T6" fmla="*/ 90 w 352"/>
                    <a:gd name="T7" fmla="*/ 39 h 396"/>
                    <a:gd name="T8" fmla="*/ 305 w 352"/>
                    <a:gd name="T9" fmla="*/ 128 h 396"/>
                    <a:gd name="T10" fmla="*/ 262 w 352"/>
                    <a:gd name="T11" fmla="*/ 357 h 396"/>
                    <a:gd name="T12" fmla="*/ 262 w 352"/>
                    <a:gd name="T13" fmla="*/ 357 h 396"/>
                  </a:gdLst>
                  <a:ahLst/>
                  <a:cxnLst>
                    <a:cxn ang="0">
                      <a:pos x="T0" y="T1"/>
                    </a:cxn>
                    <a:cxn ang="0">
                      <a:pos x="T2" y="T3"/>
                    </a:cxn>
                    <a:cxn ang="0">
                      <a:pos x="T4" y="T5"/>
                    </a:cxn>
                    <a:cxn ang="0">
                      <a:pos x="T6" y="T7"/>
                    </a:cxn>
                    <a:cxn ang="0">
                      <a:pos x="T8" y="T9"/>
                    </a:cxn>
                    <a:cxn ang="0">
                      <a:pos x="T10" y="T11"/>
                    </a:cxn>
                    <a:cxn ang="0">
                      <a:pos x="T12" y="T13"/>
                    </a:cxn>
                  </a:cxnLst>
                  <a:rect l="0" t="0" r="r" b="b"/>
                  <a:pathLst>
                    <a:path w="352" h="396">
                      <a:moveTo>
                        <a:pt x="262" y="357"/>
                      </a:moveTo>
                      <a:lnTo>
                        <a:pt x="262" y="357"/>
                      </a:lnTo>
                      <a:cubicBezTo>
                        <a:pt x="191" y="396"/>
                        <a:pt x="95" y="355"/>
                        <a:pt x="48" y="268"/>
                      </a:cubicBezTo>
                      <a:cubicBezTo>
                        <a:pt x="0" y="180"/>
                        <a:pt x="19" y="77"/>
                        <a:pt x="90" y="39"/>
                      </a:cubicBezTo>
                      <a:cubicBezTo>
                        <a:pt x="161" y="0"/>
                        <a:pt x="257" y="40"/>
                        <a:pt x="305" y="128"/>
                      </a:cubicBezTo>
                      <a:cubicBezTo>
                        <a:pt x="352" y="216"/>
                        <a:pt x="333" y="319"/>
                        <a:pt x="262" y="357"/>
                      </a:cubicBezTo>
                      <a:lnTo>
                        <a:pt x="262" y="357"/>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4" name="Freeform 36">
                  <a:extLst>
                    <a:ext uri="{FF2B5EF4-FFF2-40B4-BE49-F238E27FC236}">
                      <a16:creationId xmlns:a16="http://schemas.microsoft.com/office/drawing/2014/main" id="{F9ED7FD3-CB67-4917-802B-F8540B5B9BD6}"/>
                    </a:ext>
                  </a:extLst>
                </p:cNvPr>
                <p:cNvSpPr>
                  <a:spLocks/>
                </p:cNvSpPr>
                <p:nvPr/>
              </p:nvSpPr>
              <p:spPr bwMode="auto">
                <a:xfrm>
                  <a:off x="3146286" y="4465813"/>
                  <a:ext cx="112713" cy="119063"/>
                </a:xfrm>
                <a:custGeom>
                  <a:avLst/>
                  <a:gdLst>
                    <a:gd name="T0" fmla="*/ 654 w 654"/>
                    <a:gd name="T1" fmla="*/ 448 h 693"/>
                    <a:gd name="T2" fmla="*/ 654 w 654"/>
                    <a:gd name="T3" fmla="*/ 448 h 693"/>
                    <a:gd name="T4" fmla="*/ 512 w 654"/>
                    <a:gd name="T5" fmla="*/ 514 h 693"/>
                    <a:gd name="T6" fmla="*/ 428 w 654"/>
                    <a:gd name="T7" fmla="*/ 595 h 693"/>
                    <a:gd name="T8" fmla="*/ 318 w 654"/>
                    <a:gd name="T9" fmla="*/ 693 h 693"/>
                    <a:gd name="T10" fmla="*/ 133 w 654"/>
                    <a:gd name="T11" fmla="*/ 508 h 693"/>
                    <a:gd name="T12" fmla="*/ 0 w 654"/>
                    <a:gd name="T13" fmla="*/ 370 h 693"/>
                    <a:gd name="T14" fmla="*/ 84 w 654"/>
                    <a:gd name="T15" fmla="*/ 292 h 693"/>
                    <a:gd name="T16" fmla="*/ 125 w 654"/>
                    <a:gd name="T17" fmla="*/ 153 h 693"/>
                    <a:gd name="T18" fmla="*/ 133 w 654"/>
                    <a:gd name="T19" fmla="*/ 0 h 693"/>
                    <a:gd name="T20" fmla="*/ 258 w 654"/>
                    <a:gd name="T21" fmla="*/ 72 h 693"/>
                    <a:gd name="T22" fmla="*/ 353 w 654"/>
                    <a:gd name="T23" fmla="*/ 110 h 693"/>
                    <a:gd name="T24" fmla="*/ 622 w 654"/>
                    <a:gd name="T25" fmla="*/ 352 h 693"/>
                    <a:gd name="T26" fmla="*/ 654 w 654"/>
                    <a:gd name="T27" fmla="*/ 448 h 693"/>
                    <a:gd name="T28" fmla="*/ 654 w 654"/>
                    <a:gd name="T29" fmla="*/ 448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4" h="693">
                      <a:moveTo>
                        <a:pt x="654" y="448"/>
                      </a:moveTo>
                      <a:lnTo>
                        <a:pt x="654" y="448"/>
                      </a:lnTo>
                      <a:lnTo>
                        <a:pt x="512" y="514"/>
                      </a:lnTo>
                      <a:lnTo>
                        <a:pt x="428" y="595"/>
                      </a:lnTo>
                      <a:lnTo>
                        <a:pt x="318" y="693"/>
                      </a:lnTo>
                      <a:lnTo>
                        <a:pt x="133" y="508"/>
                      </a:lnTo>
                      <a:lnTo>
                        <a:pt x="0" y="370"/>
                      </a:lnTo>
                      <a:lnTo>
                        <a:pt x="84" y="292"/>
                      </a:lnTo>
                      <a:lnTo>
                        <a:pt x="125" y="153"/>
                      </a:lnTo>
                      <a:lnTo>
                        <a:pt x="133" y="0"/>
                      </a:lnTo>
                      <a:lnTo>
                        <a:pt x="258" y="72"/>
                      </a:lnTo>
                      <a:lnTo>
                        <a:pt x="353" y="110"/>
                      </a:lnTo>
                      <a:lnTo>
                        <a:pt x="622" y="352"/>
                      </a:lnTo>
                      <a:lnTo>
                        <a:pt x="654" y="448"/>
                      </a:lnTo>
                      <a:lnTo>
                        <a:pt x="654" y="448"/>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5" name="Freeform 37">
                  <a:extLst>
                    <a:ext uri="{FF2B5EF4-FFF2-40B4-BE49-F238E27FC236}">
                      <a16:creationId xmlns:a16="http://schemas.microsoft.com/office/drawing/2014/main" id="{C3A6A268-3D04-4290-92DA-381EA854C0AA}"/>
                    </a:ext>
                  </a:extLst>
                </p:cNvPr>
                <p:cNvSpPr>
                  <a:spLocks/>
                </p:cNvSpPr>
                <p:nvPr/>
              </p:nvSpPr>
              <p:spPr bwMode="auto">
                <a:xfrm>
                  <a:off x="3316149" y="4364213"/>
                  <a:ext cx="36513" cy="30163"/>
                </a:xfrm>
                <a:custGeom>
                  <a:avLst/>
                  <a:gdLst>
                    <a:gd name="T0" fmla="*/ 14 w 211"/>
                    <a:gd name="T1" fmla="*/ 121 h 175"/>
                    <a:gd name="T2" fmla="*/ 14 w 211"/>
                    <a:gd name="T3" fmla="*/ 121 h 175"/>
                    <a:gd name="T4" fmla="*/ 80 w 211"/>
                    <a:gd name="T5" fmla="*/ 19 h 175"/>
                    <a:gd name="T6" fmla="*/ 197 w 211"/>
                    <a:gd name="T7" fmla="*/ 53 h 175"/>
                    <a:gd name="T8" fmla="*/ 131 w 211"/>
                    <a:gd name="T9" fmla="*/ 156 h 175"/>
                    <a:gd name="T10" fmla="*/ 14 w 211"/>
                    <a:gd name="T11" fmla="*/ 121 h 175"/>
                    <a:gd name="T12" fmla="*/ 14 w 211"/>
                    <a:gd name="T13" fmla="*/ 121 h 175"/>
                  </a:gdLst>
                  <a:ahLst/>
                  <a:cxnLst>
                    <a:cxn ang="0">
                      <a:pos x="T0" y="T1"/>
                    </a:cxn>
                    <a:cxn ang="0">
                      <a:pos x="T2" y="T3"/>
                    </a:cxn>
                    <a:cxn ang="0">
                      <a:pos x="T4" y="T5"/>
                    </a:cxn>
                    <a:cxn ang="0">
                      <a:pos x="T6" y="T7"/>
                    </a:cxn>
                    <a:cxn ang="0">
                      <a:pos x="T8" y="T9"/>
                    </a:cxn>
                    <a:cxn ang="0">
                      <a:pos x="T10" y="T11"/>
                    </a:cxn>
                    <a:cxn ang="0">
                      <a:pos x="T12" y="T13"/>
                    </a:cxn>
                  </a:cxnLst>
                  <a:rect l="0" t="0" r="r" b="b"/>
                  <a:pathLst>
                    <a:path w="211" h="175">
                      <a:moveTo>
                        <a:pt x="14" y="121"/>
                      </a:moveTo>
                      <a:lnTo>
                        <a:pt x="14" y="121"/>
                      </a:lnTo>
                      <a:cubicBezTo>
                        <a:pt x="0" y="83"/>
                        <a:pt x="29" y="38"/>
                        <a:pt x="80" y="19"/>
                      </a:cubicBezTo>
                      <a:cubicBezTo>
                        <a:pt x="131" y="0"/>
                        <a:pt x="183" y="16"/>
                        <a:pt x="197" y="53"/>
                      </a:cubicBezTo>
                      <a:cubicBezTo>
                        <a:pt x="211" y="91"/>
                        <a:pt x="182" y="137"/>
                        <a:pt x="131" y="156"/>
                      </a:cubicBezTo>
                      <a:cubicBezTo>
                        <a:pt x="80" y="175"/>
                        <a:pt x="28" y="159"/>
                        <a:pt x="14" y="121"/>
                      </a:cubicBezTo>
                      <a:lnTo>
                        <a:pt x="14" y="121"/>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6" name="Freeform 38">
                  <a:extLst>
                    <a:ext uri="{FF2B5EF4-FFF2-40B4-BE49-F238E27FC236}">
                      <a16:creationId xmlns:a16="http://schemas.microsoft.com/office/drawing/2014/main" id="{319DC993-9E03-47AD-90A1-628CE1A2E987}"/>
                    </a:ext>
                  </a:extLst>
                </p:cNvPr>
                <p:cNvSpPr>
                  <a:spLocks/>
                </p:cNvSpPr>
                <p:nvPr/>
              </p:nvSpPr>
              <p:spPr bwMode="auto">
                <a:xfrm>
                  <a:off x="3316149" y="4391200"/>
                  <a:ext cx="36513" cy="30163"/>
                </a:xfrm>
                <a:custGeom>
                  <a:avLst/>
                  <a:gdLst>
                    <a:gd name="T0" fmla="*/ 14 w 212"/>
                    <a:gd name="T1" fmla="*/ 122 h 175"/>
                    <a:gd name="T2" fmla="*/ 14 w 212"/>
                    <a:gd name="T3" fmla="*/ 122 h 175"/>
                    <a:gd name="T4" fmla="*/ 80 w 212"/>
                    <a:gd name="T5" fmla="*/ 19 h 175"/>
                    <a:gd name="T6" fmla="*/ 197 w 212"/>
                    <a:gd name="T7" fmla="*/ 54 h 175"/>
                    <a:gd name="T8" fmla="*/ 131 w 212"/>
                    <a:gd name="T9" fmla="*/ 156 h 175"/>
                    <a:gd name="T10" fmla="*/ 14 w 212"/>
                    <a:gd name="T11" fmla="*/ 122 h 175"/>
                    <a:gd name="T12" fmla="*/ 14 w 212"/>
                    <a:gd name="T13" fmla="*/ 122 h 175"/>
                  </a:gdLst>
                  <a:ahLst/>
                  <a:cxnLst>
                    <a:cxn ang="0">
                      <a:pos x="T0" y="T1"/>
                    </a:cxn>
                    <a:cxn ang="0">
                      <a:pos x="T2" y="T3"/>
                    </a:cxn>
                    <a:cxn ang="0">
                      <a:pos x="T4" y="T5"/>
                    </a:cxn>
                    <a:cxn ang="0">
                      <a:pos x="T6" y="T7"/>
                    </a:cxn>
                    <a:cxn ang="0">
                      <a:pos x="T8" y="T9"/>
                    </a:cxn>
                    <a:cxn ang="0">
                      <a:pos x="T10" y="T11"/>
                    </a:cxn>
                    <a:cxn ang="0">
                      <a:pos x="T12" y="T13"/>
                    </a:cxn>
                  </a:cxnLst>
                  <a:rect l="0" t="0" r="r" b="b"/>
                  <a:pathLst>
                    <a:path w="212" h="175">
                      <a:moveTo>
                        <a:pt x="14" y="122"/>
                      </a:moveTo>
                      <a:lnTo>
                        <a:pt x="14" y="122"/>
                      </a:lnTo>
                      <a:cubicBezTo>
                        <a:pt x="0" y="84"/>
                        <a:pt x="29" y="38"/>
                        <a:pt x="80" y="19"/>
                      </a:cubicBezTo>
                      <a:cubicBezTo>
                        <a:pt x="131" y="0"/>
                        <a:pt x="183" y="16"/>
                        <a:pt x="197" y="54"/>
                      </a:cubicBezTo>
                      <a:cubicBezTo>
                        <a:pt x="212" y="92"/>
                        <a:pt x="182" y="138"/>
                        <a:pt x="131" y="156"/>
                      </a:cubicBezTo>
                      <a:cubicBezTo>
                        <a:pt x="80" y="175"/>
                        <a:pt x="28" y="160"/>
                        <a:pt x="14" y="122"/>
                      </a:cubicBezTo>
                      <a:lnTo>
                        <a:pt x="14" y="122"/>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 name="Freeform 39">
                  <a:extLst>
                    <a:ext uri="{FF2B5EF4-FFF2-40B4-BE49-F238E27FC236}">
                      <a16:creationId xmlns:a16="http://schemas.microsoft.com/office/drawing/2014/main" id="{374C3CD9-9C75-4131-ABDF-986ECF66014F}"/>
                    </a:ext>
                  </a:extLst>
                </p:cNvPr>
                <p:cNvSpPr>
                  <a:spLocks/>
                </p:cNvSpPr>
                <p:nvPr/>
              </p:nvSpPr>
              <p:spPr bwMode="auto">
                <a:xfrm>
                  <a:off x="3316149" y="4419775"/>
                  <a:ext cx="36513" cy="30163"/>
                </a:xfrm>
                <a:custGeom>
                  <a:avLst/>
                  <a:gdLst>
                    <a:gd name="T0" fmla="*/ 14 w 211"/>
                    <a:gd name="T1" fmla="*/ 121 h 175"/>
                    <a:gd name="T2" fmla="*/ 14 w 211"/>
                    <a:gd name="T3" fmla="*/ 121 h 175"/>
                    <a:gd name="T4" fmla="*/ 80 w 211"/>
                    <a:gd name="T5" fmla="*/ 19 h 175"/>
                    <a:gd name="T6" fmla="*/ 197 w 211"/>
                    <a:gd name="T7" fmla="*/ 53 h 175"/>
                    <a:gd name="T8" fmla="*/ 131 w 211"/>
                    <a:gd name="T9" fmla="*/ 156 h 175"/>
                    <a:gd name="T10" fmla="*/ 14 w 211"/>
                    <a:gd name="T11" fmla="*/ 121 h 175"/>
                    <a:gd name="T12" fmla="*/ 14 w 211"/>
                    <a:gd name="T13" fmla="*/ 121 h 175"/>
                  </a:gdLst>
                  <a:ahLst/>
                  <a:cxnLst>
                    <a:cxn ang="0">
                      <a:pos x="T0" y="T1"/>
                    </a:cxn>
                    <a:cxn ang="0">
                      <a:pos x="T2" y="T3"/>
                    </a:cxn>
                    <a:cxn ang="0">
                      <a:pos x="T4" y="T5"/>
                    </a:cxn>
                    <a:cxn ang="0">
                      <a:pos x="T6" y="T7"/>
                    </a:cxn>
                    <a:cxn ang="0">
                      <a:pos x="T8" y="T9"/>
                    </a:cxn>
                    <a:cxn ang="0">
                      <a:pos x="T10" y="T11"/>
                    </a:cxn>
                    <a:cxn ang="0">
                      <a:pos x="T12" y="T13"/>
                    </a:cxn>
                  </a:cxnLst>
                  <a:rect l="0" t="0" r="r" b="b"/>
                  <a:pathLst>
                    <a:path w="211" h="175">
                      <a:moveTo>
                        <a:pt x="14" y="121"/>
                      </a:moveTo>
                      <a:lnTo>
                        <a:pt x="14" y="121"/>
                      </a:lnTo>
                      <a:cubicBezTo>
                        <a:pt x="0" y="83"/>
                        <a:pt x="29" y="38"/>
                        <a:pt x="80" y="19"/>
                      </a:cubicBezTo>
                      <a:cubicBezTo>
                        <a:pt x="131" y="0"/>
                        <a:pt x="183" y="16"/>
                        <a:pt x="197" y="53"/>
                      </a:cubicBezTo>
                      <a:cubicBezTo>
                        <a:pt x="211" y="91"/>
                        <a:pt x="182" y="137"/>
                        <a:pt x="131" y="156"/>
                      </a:cubicBezTo>
                      <a:cubicBezTo>
                        <a:pt x="80" y="175"/>
                        <a:pt x="28" y="159"/>
                        <a:pt x="14" y="121"/>
                      </a:cubicBezTo>
                      <a:lnTo>
                        <a:pt x="14" y="121"/>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8" name="Freeform 40">
                  <a:extLst>
                    <a:ext uri="{FF2B5EF4-FFF2-40B4-BE49-F238E27FC236}">
                      <a16:creationId xmlns:a16="http://schemas.microsoft.com/office/drawing/2014/main" id="{1269A01C-7E48-4EDA-B5A2-80C0DF9CA393}"/>
                    </a:ext>
                  </a:extLst>
                </p:cNvPr>
                <p:cNvSpPr>
                  <a:spLocks/>
                </p:cNvSpPr>
                <p:nvPr/>
              </p:nvSpPr>
              <p:spPr bwMode="auto">
                <a:xfrm>
                  <a:off x="3316149" y="4448350"/>
                  <a:ext cx="36513" cy="30163"/>
                </a:xfrm>
                <a:custGeom>
                  <a:avLst/>
                  <a:gdLst>
                    <a:gd name="T0" fmla="*/ 14 w 212"/>
                    <a:gd name="T1" fmla="*/ 122 h 175"/>
                    <a:gd name="T2" fmla="*/ 14 w 212"/>
                    <a:gd name="T3" fmla="*/ 122 h 175"/>
                    <a:gd name="T4" fmla="*/ 81 w 212"/>
                    <a:gd name="T5" fmla="*/ 19 h 175"/>
                    <a:gd name="T6" fmla="*/ 198 w 212"/>
                    <a:gd name="T7" fmla="*/ 54 h 175"/>
                    <a:gd name="T8" fmla="*/ 132 w 212"/>
                    <a:gd name="T9" fmla="*/ 156 h 175"/>
                    <a:gd name="T10" fmla="*/ 14 w 212"/>
                    <a:gd name="T11" fmla="*/ 122 h 175"/>
                    <a:gd name="T12" fmla="*/ 14 w 212"/>
                    <a:gd name="T13" fmla="*/ 122 h 175"/>
                  </a:gdLst>
                  <a:ahLst/>
                  <a:cxnLst>
                    <a:cxn ang="0">
                      <a:pos x="T0" y="T1"/>
                    </a:cxn>
                    <a:cxn ang="0">
                      <a:pos x="T2" y="T3"/>
                    </a:cxn>
                    <a:cxn ang="0">
                      <a:pos x="T4" y="T5"/>
                    </a:cxn>
                    <a:cxn ang="0">
                      <a:pos x="T6" y="T7"/>
                    </a:cxn>
                    <a:cxn ang="0">
                      <a:pos x="T8" y="T9"/>
                    </a:cxn>
                    <a:cxn ang="0">
                      <a:pos x="T10" y="T11"/>
                    </a:cxn>
                    <a:cxn ang="0">
                      <a:pos x="T12" y="T13"/>
                    </a:cxn>
                  </a:cxnLst>
                  <a:rect l="0" t="0" r="r" b="b"/>
                  <a:pathLst>
                    <a:path w="212" h="175">
                      <a:moveTo>
                        <a:pt x="14" y="122"/>
                      </a:moveTo>
                      <a:lnTo>
                        <a:pt x="14" y="122"/>
                      </a:lnTo>
                      <a:cubicBezTo>
                        <a:pt x="0" y="84"/>
                        <a:pt x="30" y="38"/>
                        <a:pt x="81" y="19"/>
                      </a:cubicBezTo>
                      <a:cubicBezTo>
                        <a:pt x="132" y="0"/>
                        <a:pt x="184" y="16"/>
                        <a:pt x="198" y="54"/>
                      </a:cubicBezTo>
                      <a:cubicBezTo>
                        <a:pt x="212" y="92"/>
                        <a:pt x="182" y="138"/>
                        <a:pt x="132" y="156"/>
                      </a:cubicBezTo>
                      <a:cubicBezTo>
                        <a:pt x="81" y="175"/>
                        <a:pt x="28" y="160"/>
                        <a:pt x="14" y="122"/>
                      </a:cubicBezTo>
                      <a:lnTo>
                        <a:pt x="14" y="122"/>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 name="Freeform 41">
                  <a:extLst>
                    <a:ext uri="{FF2B5EF4-FFF2-40B4-BE49-F238E27FC236}">
                      <a16:creationId xmlns:a16="http://schemas.microsoft.com/office/drawing/2014/main" id="{F10FF45F-3584-4561-86F1-94CAABE52048}"/>
                    </a:ext>
                  </a:extLst>
                </p:cNvPr>
                <p:cNvSpPr>
                  <a:spLocks/>
                </p:cNvSpPr>
                <p:nvPr/>
              </p:nvSpPr>
              <p:spPr bwMode="auto">
                <a:xfrm>
                  <a:off x="3143111" y="4526138"/>
                  <a:ext cx="60325" cy="60325"/>
                </a:xfrm>
                <a:custGeom>
                  <a:avLst/>
                  <a:gdLst>
                    <a:gd name="T0" fmla="*/ 0 w 352"/>
                    <a:gd name="T1" fmla="*/ 29 h 348"/>
                    <a:gd name="T2" fmla="*/ 0 w 352"/>
                    <a:gd name="T3" fmla="*/ 29 h 348"/>
                    <a:gd name="T4" fmla="*/ 30 w 352"/>
                    <a:gd name="T5" fmla="*/ 0 h 348"/>
                    <a:gd name="T6" fmla="*/ 352 w 352"/>
                    <a:gd name="T7" fmla="*/ 319 h 348"/>
                    <a:gd name="T8" fmla="*/ 322 w 352"/>
                    <a:gd name="T9" fmla="*/ 348 h 348"/>
                    <a:gd name="T10" fmla="*/ 0 w 352"/>
                    <a:gd name="T11" fmla="*/ 29 h 348"/>
                  </a:gdLst>
                  <a:ahLst/>
                  <a:cxnLst>
                    <a:cxn ang="0">
                      <a:pos x="T0" y="T1"/>
                    </a:cxn>
                    <a:cxn ang="0">
                      <a:pos x="T2" y="T3"/>
                    </a:cxn>
                    <a:cxn ang="0">
                      <a:pos x="T4" y="T5"/>
                    </a:cxn>
                    <a:cxn ang="0">
                      <a:pos x="T6" y="T7"/>
                    </a:cxn>
                    <a:cxn ang="0">
                      <a:pos x="T8" y="T9"/>
                    </a:cxn>
                    <a:cxn ang="0">
                      <a:pos x="T10" y="T11"/>
                    </a:cxn>
                  </a:cxnLst>
                  <a:rect l="0" t="0" r="r" b="b"/>
                  <a:pathLst>
                    <a:path w="352" h="348">
                      <a:moveTo>
                        <a:pt x="0" y="29"/>
                      </a:moveTo>
                      <a:lnTo>
                        <a:pt x="0" y="29"/>
                      </a:lnTo>
                      <a:lnTo>
                        <a:pt x="30" y="0"/>
                      </a:lnTo>
                      <a:lnTo>
                        <a:pt x="352" y="319"/>
                      </a:lnTo>
                      <a:lnTo>
                        <a:pt x="322" y="348"/>
                      </a:lnTo>
                      <a:lnTo>
                        <a:pt x="0" y="29"/>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 name="Freeform 42">
                  <a:extLst>
                    <a:ext uri="{FF2B5EF4-FFF2-40B4-BE49-F238E27FC236}">
                      <a16:creationId xmlns:a16="http://schemas.microsoft.com/office/drawing/2014/main" id="{7002BEB8-8C70-495E-AC8C-0AD2C8773B9D}"/>
                    </a:ext>
                  </a:extLst>
                </p:cNvPr>
                <p:cNvSpPr>
                  <a:spLocks/>
                </p:cNvSpPr>
                <p:nvPr/>
              </p:nvSpPr>
              <p:spPr bwMode="auto">
                <a:xfrm>
                  <a:off x="3120886" y="4521375"/>
                  <a:ext cx="82550" cy="80963"/>
                </a:xfrm>
                <a:custGeom>
                  <a:avLst/>
                  <a:gdLst>
                    <a:gd name="T0" fmla="*/ 0 w 472"/>
                    <a:gd name="T1" fmla="*/ 79 h 469"/>
                    <a:gd name="T2" fmla="*/ 0 w 472"/>
                    <a:gd name="T3" fmla="*/ 79 h 469"/>
                    <a:gd name="T4" fmla="*/ 78 w 472"/>
                    <a:gd name="T5" fmla="*/ 0 h 469"/>
                    <a:gd name="T6" fmla="*/ 472 w 472"/>
                    <a:gd name="T7" fmla="*/ 390 h 469"/>
                    <a:gd name="T8" fmla="*/ 393 w 472"/>
                    <a:gd name="T9" fmla="*/ 469 h 469"/>
                    <a:gd name="T10" fmla="*/ 0 w 472"/>
                    <a:gd name="T11" fmla="*/ 79 h 469"/>
                  </a:gdLst>
                  <a:ahLst/>
                  <a:cxnLst>
                    <a:cxn ang="0">
                      <a:pos x="T0" y="T1"/>
                    </a:cxn>
                    <a:cxn ang="0">
                      <a:pos x="T2" y="T3"/>
                    </a:cxn>
                    <a:cxn ang="0">
                      <a:pos x="T4" y="T5"/>
                    </a:cxn>
                    <a:cxn ang="0">
                      <a:pos x="T6" y="T7"/>
                    </a:cxn>
                    <a:cxn ang="0">
                      <a:pos x="T8" y="T9"/>
                    </a:cxn>
                    <a:cxn ang="0">
                      <a:pos x="T10" y="T11"/>
                    </a:cxn>
                  </a:cxnLst>
                  <a:rect l="0" t="0" r="r" b="b"/>
                  <a:pathLst>
                    <a:path w="472" h="469">
                      <a:moveTo>
                        <a:pt x="0" y="79"/>
                      </a:moveTo>
                      <a:lnTo>
                        <a:pt x="0" y="79"/>
                      </a:lnTo>
                      <a:lnTo>
                        <a:pt x="78" y="0"/>
                      </a:lnTo>
                      <a:lnTo>
                        <a:pt x="472" y="390"/>
                      </a:lnTo>
                      <a:lnTo>
                        <a:pt x="393" y="469"/>
                      </a:lnTo>
                      <a:lnTo>
                        <a:pt x="0" y="79"/>
                      </a:lnTo>
                      <a:close/>
                    </a:path>
                  </a:pathLst>
                </a:custGeom>
                <a:solidFill>
                  <a:srgbClr val="0089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1" name="Freeform 43">
                  <a:extLst>
                    <a:ext uri="{FF2B5EF4-FFF2-40B4-BE49-F238E27FC236}">
                      <a16:creationId xmlns:a16="http://schemas.microsoft.com/office/drawing/2014/main" id="{D56D4200-C415-4D0C-8B94-0DA71D42863B}"/>
                    </a:ext>
                  </a:extLst>
                </p:cNvPr>
                <p:cNvSpPr>
                  <a:spLocks/>
                </p:cNvSpPr>
                <p:nvPr/>
              </p:nvSpPr>
              <p:spPr bwMode="auto">
                <a:xfrm>
                  <a:off x="3120886" y="4521375"/>
                  <a:ext cx="82550" cy="80963"/>
                </a:xfrm>
                <a:custGeom>
                  <a:avLst/>
                  <a:gdLst>
                    <a:gd name="T0" fmla="*/ 0 w 472"/>
                    <a:gd name="T1" fmla="*/ 79 h 469"/>
                    <a:gd name="T2" fmla="*/ 0 w 472"/>
                    <a:gd name="T3" fmla="*/ 79 h 469"/>
                    <a:gd name="T4" fmla="*/ 78 w 472"/>
                    <a:gd name="T5" fmla="*/ 0 h 469"/>
                    <a:gd name="T6" fmla="*/ 472 w 472"/>
                    <a:gd name="T7" fmla="*/ 390 h 469"/>
                    <a:gd name="T8" fmla="*/ 393 w 472"/>
                    <a:gd name="T9" fmla="*/ 469 h 469"/>
                    <a:gd name="T10" fmla="*/ 0 w 472"/>
                    <a:gd name="T11" fmla="*/ 79 h 469"/>
                  </a:gdLst>
                  <a:ahLst/>
                  <a:cxnLst>
                    <a:cxn ang="0">
                      <a:pos x="T0" y="T1"/>
                    </a:cxn>
                    <a:cxn ang="0">
                      <a:pos x="T2" y="T3"/>
                    </a:cxn>
                    <a:cxn ang="0">
                      <a:pos x="T4" y="T5"/>
                    </a:cxn>
                    <a:cxn ang="0">
                      <a:pos x="T6" y="T7"/>
                    </a:cxn>
                    <a:cxn ang="0">
                      <a:pos x="T8" y="T9"/>
                    </a:cxn>
                    <a:cxn ang="0">
                      <a:pos x="T10" y="T11"/>
                    </a:cxn>
                  </a:cxnLst>
                  <a:rect l="0" t="0" r="r" b="b"/>
                  <a:pathLst>
                    <a:path w="472" h="469">
                      <a:moveTo>
                        <a:pt x="0" y="79"/>
                      </a:moveTo>
                      <a:lnTo>
                        <a:pt x="0" y="79"/>
                      </a:lnTo>
                      <a:lnTo>
                        <a:pt x="78" y="0"/>
                      </a:lnTo>
                      <a:lnTo>
                        <a:pt x="472" y="390"/>
                      </a:lnTo>
                      <a:lnTo>
                        <a:pt x="393" y="469"/>
                      </a:lnTo>
                      <a:lnTo>
                        <a:pt x="0" y="79"/>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92" name="Freeform 44">
                  <a:extLst>
                    <a:ext uri="{FF2B5EF4-FFF2-40B4-BE49-F238E27FC236}">
                      <a16:creationId xmlns:a16="http://schemas.microsoft.com/office/drawing/2014/main" id="{552DC00E-F876-443D-B559-1C1144E32EEB}"/>
                    </a:ext>
                  </a:extLst>
                </p:cNvPr>
                <p:cNvSpPr>
                  <a:spLocks/>
                </p:cNvSpPr>
                <p:nvPr/>
              </p:nvSpPr>
              <p:spPr bwMode="auto">
                <a:xfrm>
                  <a:off x="3070086" y="4567413"/>
                  <a:ext cx="131763" cy="125413"/>
                </a:xfrm>
                <a:custGeom>
                  <a:avLst/>
                  <a:gdLst>
                    <a:gd name="T0" fmla="*/ 494 w 764"/>
                    <a:gd name="T1" fmla="*/ 0 h 724"/>
                    <a:gd name="T2" fmla="*/ 494 w 764"/>
                    <a:gd name="T3" fmla="*/ 0 h 724"/>
                    <a:gd name="T4" fmla="*/ 764 w 764"/>
                    <a:gd name="T5" fmla="*/ 267 h 724"/>
                    <a:gd name="T6" fmla="*/ 310 w 764"/>
                    <a:gd name="T7" fmla="*/ 724 h 724"/>
                    <a:gd name="T8" fmla="*/ 306 w 764"/>
                    <a:gd name="T9" fmla="*/ 723 h 724"/>
                    <a:gd name="T10" fmla="*/ 73 w 764"/>
                    <a:gd name="T11" fmla="*/ 565 h 724"/>
                    <a:gd name="T12" fmla="*/ 0 w 764"/>
                    <a:gd name="T13" fmla="*/ 498 h 724"/>
                    <a:gd name="T14" fmla="*/ 494 w 764"/>
                    <a:gd name="T15" fmla="*/ 0 h 7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4" h="724">
                      <a:moveTo>
                        <a:pt x="494" y="0"/>
                      </a:moveTo>
                      <a:lnTo>
                        <a:pt x="494" y="0"/>
                      </a:lnTo>
                      <a:lnTo>
                        <a:pt x="764" y="267"/>
                      </a:lnTo>
                      <a:lnTo>
                        <a:pt x="310" y="724"/>
                      </a:lnTo>
                      <a:lnTo>
                        <a:pt x="306" y="723"/>
                      </a:lnTo>
                      <a:cubicBezTo>
                        <a:pt x="224" y="677"/>
                        <a:pt x="146" y="625"/>
                        <a:pt x="73" y="565"/>
                      </a:cubicBezTo>
                      <a:lnTo>
                        <a:pt x="0" y="498"/>
                      </a:lnTo>
                      <a:lnTo>
                        <a:pt x="494" y="0"/>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93" name="Freeform 45">
                  <a:extLst>
                    <a:ext uri="{FF2B5EF4-FFF2-40B4-BE49-F238E27FC236}">
                      <a16:creationId xmlns:a16="http://schemas.microsoft.com/office/drawing/2014/main" id="{811B37E1-0BD4-4763-96B3-F79684346960}"/>
                    </a:ext>
                  </a:extLst>
                </p:cNvPr>
                <p:cNvSpPr>
                  <a:spLocks/>
                </p:cNvSpPr>
                <p:nvPr/>
              </p:nvSpPr>
              <p:spPr bwMode="auto">
                <a:xfrm>
                  <a:off x="3031986" y="4524550"/>
                  <a:ext cx="123825" cy="130175"/>
                </a:xfrm>
                <a:custGeom>
                  <a:avLst/>
                  <a:gdLst>
                    <a:gd name="T0" fmla="*/ 462 w 716"/>
                    <a:gd name="T1" fmla="*/ 0 h 747"/>
                    <a:gd name="T2" fmla="*/ 462 w 716"/>
                    <a:gd name="T3" fmla="*/ 0 h 747"/>
                    <a:gd name="T4" fmla="*/ 716 w 716"/>
                    <a:gd name="T5" fmla="*/ 252 h 747"/>
                    <a:gd name="T6" fmla="*/ 225 w 716"/>
                    <a:gd name="T7" fmla="*/ 747 h 747"/>
                    <a:gd name="T8" fmla="*/ 209 w 716"/>
                    <a:gd name="T9" fmla="*/ 732 h 747"/>
                    <a:gd name="T10" fmla="*/ 31 w 716"/>
                    <a:gd name="T11" fmla="*/ 516 h 747"/>
                    <a:gd name="T12" fmla="*/ 0 w 716"/>
                    <a:gd name="T13" fmla="*/ 466 h 747"/>
                    <a:gd name="T14" fmla="*/ 462 w 716"/>
                    <a:gd name="T15" fmla="*/ 0 h 7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6" h="747">
                      <a:moveTo>
                        <a:pt x="462" y="0"/>
                      </a:moveTo>
                      <a:lnTo>
                        <a:pt x="462" y="0"/>
                      </a:lnTo>
                      <a:lnTo>
                        <a:pt x="716" y="252"/>
                      </a:lnTo>
                      <a:lnTo>
                        <a:pt x="225" y="747"/>
                      </a:lnTo>
                      <a:lnTo>
                        <a:pt x="209" y="732"/>
                      </a:lnTo>
                      <a:cubicBezTo>
                        <a:pt x="143" y="666"/>
                        <a:pt x="83" y="593"/>
                        <a:pt x="31" y="516"/>
                      </a:cubicBezTo>
                      <a:lnTo>
                        <a:pt x="0" y="466"/>
                      </a:lnTo>
                      <a:lnTo>
                        <a:pt x="462" y="0"/>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4" name="Group 3">
                <a:extLst>
                  <a:ext uri="{FF2B5EF4-FFF2-40B4-BE49-F238E27FC236}">
                    <a16:creationId xmlns:a16="http://schemas.microsoft.com/office/drawing/2014/main" id="{3E2995DB-70FC-4115-92E7-BD828DFECCB2}"/>
                  </a:ext>
                </a:extLst>
              </p:cNvPr>
              <p:cNvGrpSpPr/>
              <p:nvPr/>
            </p:nvGrpSpPr>
            <p:grpSpPr>
              <a:xfrm>
                <a:off x="2916019" y="4378364"/>
                <a:ext cx="156464" cy="238422"/>
                <a:chOff x="3476407" y="4717840"/>
                <a:chExt cx="311151" cy="474134"/>
              </a:xfrm>
            </p:grpSpPr>
            <p:sp>
              <p:nvSpPr>
                <p:cNvPr id="53" name="Freeform 23">
                  <a:extLst>
                    <a:ext uri="{FF2B5EF4-FFF2-40B4-BE49-F238E27FC236}">
                      <a16:creationId xmlns:a16="http://schemas.microsoft.com/office/drawing/2014/main" id="{684A412D-59E6-439A-BDD6-392EEEBA326C}"/>
                    </a:ext>
                  </a:extLst>
                </p:cNvPr>
                <p:cNvSpPr>
                  <a:spLocks/>
                </p:cNvSpPr>
                <p:nvPr/>
              </p:nvSpPr>
              <p:spPr bwMode="auto">
                <a:xfrm>
                  <a:off x="3556840" y="4935858"/>
                  <a:ext cx="150284" cy="69851"/>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4" name="Freeform 24">
                  <a:extLst>
                    <a:ext uri="{FF2B5EF4-FFF2-40B4-BE49-F238E27FC236}">
                      <a16:creationId xmlns:a16="http://schemas.microsoft.com/office/drawing/2014/main" id="{71986C89-1F65-4B8B-87B6-E278ECCB0405}"/>
                    </a:ext>
                  </a:extLst>
                </p:cNvPr>
                <p:cNvSpPr>
                  <a:spLocks/>
                </p:cNvSpPr>
                <p:nvPr/>
              </p:nvSpPr>
              <p:spPr bwMode="auto">
                <a:xfrm>
                  <a:off x="3556840" y="4935858"/>
                  <a:ext cx="150284" cy="69851"/>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5" name="Freeform 25">
                  <a:extLst>
                    <a:ext uri="{FF2B5EF4-FFF2-40B4-BE49-F238E27FC236}">
                      <a16:creationId xmlns:a16="http://schemas.microsoft.com/office/drawing/2014/main" id="{CFE2139D-FD23-4E30-968A-A0F18B54D65B}"/>
                    </a:ext>
                  </a:extLst>
                </p:cNvPr>
                <p:cNvSpPr>
                  <a:spLocks/>
                </p:cNvSpPr>
                <p:nvPr/>
              </p:nvSpPr>
              <p:spPr bwMode="auto">
                <a:xfrm>
                  <a:off x="3476407" y="4963373"/>
                  <a:ext cx="311151" cy="167217"/>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70"/>
                        <a:pt x="69" y="0"/>
                        <a:pt x="154" y="0"/>
                      </a:cubicBezTo>
                      <a:lnTo>
                        <a:pt x="1195" y="0"/>
                      </a:lnTo>
                      <a:cubicBezTo>
                        <a:pt x="1281" y="0"/>
                        <a:pt x="1350" y="70"/>
                        <a:pt x="1350" y="156"/>
                      </a:cubicBezTo>
                      <a:lnTo>
                        <a:pt x="1350" y="572"/>
                      </a:lnTo>
                      <a:cubicBezTo>
                        <a:pt x="1350" y="658"/>
                        <a:pt x="1281" y="728"/>
                        <a:pt x="1195" y="728"/>
                      </a:cubicBezTo>
                      <a:lnTo>
                        <a:pt x="154" y="728"/>
                      </a:lnTo>
                      <a:cubicBezTo>
                        <a:pt x="69" y="728"/>
                        <a:pt x="0" y="658"/>
                        <a:pt x="0" y="572"/>
                      </a:cubicBezTo>
                      <a:lnTo>
                        <a:pt x="0" y="156"/>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6" name="Freeform 26">
                  <a:extLst>
                    <a:ext uri="{FF2B5EF4-FFF2-40B4-BE49-F238E27FC236}">
                      <a16:creationId xmlns:a16="http://schemas.microsoft.com/office/drawing/2014/main" id="{43C0A330-79ED-40DD-9FDB-9DD941DB43F0}"/>
                    </a:ext>
                  </a:extLst>
                </p:cNvPr>
                <p:cNvSpPr>
                  <a:spLocks/>
                </p:cNvSpPr>
                <p:nvPr/>
              </p:nvSpPr>
              <p:spPr bwMode="auto">
                <a:xfrm>
                  <a:off x="3476407" y="4963373"/>
                  <a:ext cx="311151" cy="167217"/>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69"/>
                        <a:pt x="69" y="0"/>
                        <a:pt x="154" y="0"/>
                      </a:cubicBezTo>
                      <a:lnTo>
                        <a:pt x="1195" y="0"/>
                      </a:lnTo>
                      <a:cubicBezTo>
                        <a:pt x="1281" y="0"/>
                        <a:pt x="1350" y="69"/>
                        <a:pt x="1350" y="156"/>
                      </a:cubicBezTo>
                      <a:lnTo>
                        <a:pt x="1350" y="572"/>
                      </a:lnTo>
                      <a:cubicBezTo>
                        <a:pt x="1350" y="658"/>
                        <a:pt x="1281" y="728"/>
                        <a:pt x="1195" y="728"/>
                      </a:cubicBezTo>
                      <a:lnTo>
                        <a:pt x="154" y="728"/>
                      </a:lnTo>
                      <a:cubicBezTo>
                        <a:pt x="69" y="728"/>
                        <a:pt x="0" y="658"/>
                        <a:pt x="0" y="572"/>
                      </a:cubicBezTo>
                      <a:lnTo>
                        <a:pt x="0" y="156"/>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7" name="Freeform 27">
                  <a:extLst>
                    <a:ext uri="{FF2B5EF4-FFF2-40B4-BE49-F238E27FC236}">
                      <a16:creationId xmlns:a16="http://schemas.microsoft.com/office/drawing/2014/main" id="{A538DC4F-56CF-4DFD-9539-726713DE1379}"/>
                    </a:ext>
                  </a:extLst>
                </p:cNvPr>
                <p:cNvSpPr>
                  <a:spLocks/>
                </p:cNvSpPr>
                <p:nvPr/>
              </p:nvSpPr>
              <p:spPr bwMode="auto">
                <a:xfrm>
                  <a:off x="3512391" y="4997240"/>
                  <a:ext cx="241300" cy="162984"/>
                </a:xfrm>
                <a:custGeom>
                  <a:avLst/>
                  <a:gdLst>
                    <a:gd name="T0" fmla="*/ 0 w 1048"/>
                    <a:gd name="T1" fmla="*/ 82 h 705"/>
                    <a:gd name="T2" fmla="*/ 0 w 1048"/>
                    <a:gd name="T3" fmla="*/ 82 h 705"/>
                    <a:gd name="T4" fmla="*/ 81 w 1048"/>
                    <a:gd name="T5" fmla="*/ 0 h 705"/>
                    <a:gd name="T6" fmla="*/ 967 w 1048"/>
                    <a:gd name="T7" fmla="*/ 0 h 705"/>
                    <a:gd name="T8" fmla="*/ 1048 w 1048"/>
                    <a:gd name="T9" fmla="*/ 82 h 705"/>
                    <a:gd name="T10" fmla="*/ 1048 w 1048"/>
                    <a:gd name="T11" fmla="*/ 624 h 705"/>
                    <a:gd name="T12" fmla="*/ 967 w 1048"/>
                    <a:gd name="T13" fmla="*/ 705 h 705"/>
                    <a:gd name="T14" fmla="*/ 81 w 1048"/>
                    <a:gd name="T15" fmla="*/ 705 h 705"/>
                    <a:gd name="T16" fmla="*/ 0 w 1048"/>
                    <a:gd name="T17" fmla="*/ 624 h 705"/>
                    <a:gd name="T18" fmla="*/ 0 w 1048"/>
                    <a:gd name="T19"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705">
                      <a:moveTo>
                        <a:pt x="0" y="82"/>
                      </a:moveTo>
                      <a:lnTo>
                        <a:pt x="0" y="82"/>
                      </a:lnTo>
                      <a:cubicBezTo>
                        <a:pt x="0" y="37"/>
                        <a:pt x="36" y="0"/>
                        <a:pt x="81" y="0"/>
                      </a:cubicBezTo>
                      <a:lnTo>
                        <a:pt x="967" y="0"/>
                      </a:lnTo>
                      <a:cubicBezTo>
                        <a:pt x="1011" y="0"/>
                        <a:pt x="1048" y="37"/>
                        <a:pt x="1048" y="82"/>
                      </a:cubicBezTo>
                      <a:lnTo>
                        <a:pt x="1048" y="624"/>
                      </a:lnTo>
                      <a:cubicBezTo>
                        <a:pt x="1048" y="668"/>
                        <a:pt x="1011" y="705"/>
                        <a:pt x="967" y="705"/>
                      </a:cubicBezTo>
                      <a:lnTo>
                        <a:pt x="81" y="705"/>
                      </a:lnTo>
                      <a:cubicBezTo>
                        <a:pt x="36" y="705"/>
                        <a:pt x="0" y="668"/>
                        <a:pt x="0" y="624"/>
                      </a:cubicBezTo>
                      <a:lnTo>
                        <a:pt x="0" y="82"/>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 name="Freeform 28">
                  <a:extLst>
                    <a:ext uri="{FF2B5EF4-FFF2-40B4-BE49-F238E27FC236}">
                      <a16:creationId xmlns:a16="http://schemas.microsoft.com/office/drawing/2014/main" id="{8BD28E93-1467-4B4D-B260-59D6BE932668}"/>
                    </a:ext>
                  </a:extLst>
                </p:cNvPr>
                <p:cNvSpPr>
                  <a:spLocks/>
                </p:cNvSpPr>
                <p:nvPr/>
              </p:nvSpPr>
              <p:spPr bwMode="auto">
                <a:xfrm>
                  <a:off x="3607640" y="5056507"/>
                  <a:ext cx="44451" cy="44451"/>
                </a:xfrm>
                <a:custGeom>
                  <a:avLst/>
                  <a:gdLst>
                    <a:gd name="T0" fmla="*/ 0 w 186"/>
                    <a:gd name="T1" fmla="*/ 94 h 188"/>
                    <a:gd name="T2" fmla="*/ 0 w 186"/>
                    <a:gd name="T3" fmla="*/ 94 h 188"/>
                    <a:gd name="T4" fmla="*/ 93 w 186"/>
                    <a:gd name="T5" fmla="*/ 0 h 188"/>
                    <a:gd name="T6" fmla="*/ 186 w 186"/>
                    <a:gd name="T7" fmla="*/ 94 h 188"/>
                    <a:gd name="T8" fmla="*/ 93 w 186"/>
                    <a:gd name="T9" fmla="*/ 188 h 188"/>
                    <a:gd name="T10" fmla="*/ 0 w 186"/>
                    <a:gd name="T11" fmla="*/ 94 h 188"/>
                    <a:gd name="T12" fmla="*/ 0 w 186"/>
                    <a:gd name="T13" fmla="*/ 94 h 188"/>
                  </a:gdLst>
                  <a:ahLst/>
                  <a:cxnLst>
                    <a:cxn ang="0">
                      <a:pos x="T0" y="T1"/>
                    </a:cxn>
                    <a:cxn ang="0">
                      <a:pos x="T2" y="T3"/>
                    </a:cxn>
                    <a:cxn ang="0">
                      <a:pos x="T4" y="T5"/>
                    </a:cxn>
                    <a:cxn ang="0">
                      <a:pos x="T6" y="T7"/>
                    </a:cxn>
                    <a:cxn ang="0">
                      <a:pos x="T8" y="T9"/>
                    </a:cxn>
                    <a:cxn ang="0">
                      <a:pos x="T10" y="T11"/>
                    </a:cxn>
                    <a:cxn ang="0">
                      <a:pos x="T12" y="T13"/>
                    </a:cxn>
                  </a:cxnLst>
                  <a:rect l="0" t="0" r="r" b="b"/>
                  <a:pathLst>
                    <a:path w="186" h="188">
                      <a:moveTo>
                        <a:pt x="0" y="94"/>
                      </a:moveTo>
                      <a:lnTo>
                        <a:pt x="0" y="94"/>
                      </a:lnTo>
                      <a:cubicBezTo>
                        <a:pt x="0" y="42"/>
                        <a:pt x="42" y="0"/>
                        <a:pt x="93" y="0"/>
                      </a:cubicBezTo>
                      <a:cubicBezTo>
                        <a:pt x="145" y="0"/>
                        <a:pt x="186" y="42"/>
                        <a:pt x="186" y="94"/>
                      </a:cubicBezTo>
                      <a:cubicBezTo>
                        <a:pt x="186" y="146"/>
                        <a:pt x="145" y="188"/>
                        <a:pt x="93" y="188"/>
                      </a:cubicBezTo>
                      <a:cubicBezTo>
                        <a:pt x="42" y="188"/>
                        <a:pt x="0" y="146"/>
                        <a:pt x="0" y="94"/>
                      </a:cubicBezTo>
                      <a:lnTo>
                        <a:pt x="0" y="94"/>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 name="Freeform 29">
                  <a:extLst>
                    <a:ext uri="{FF2B5EF4-FFF2-40B4-BE49-F238E27FC236}">
                      <a16:creationId xmlns:a16="http://schemas.microsoft.com/office/drawing/2014/main" id="{276AE119-A070-4917-9755-83FB6D3A8E82}"/>
                    </a:ext>
                  </a:extLst>
                </p:cNvPr>
                <p:cNvSpPr>
                  <a:spLocks/>
                </p:cNvSpPr>
                <p:nvPr/>
              </p:nvSpPr>
              <p:spPr bwMode="auto">
                <a:xfrm>
                  <a:off x="3512391" y="5170807"/>
                  <a:ext cx="241300" cy="21167"/>
                </a:xfrm>
                <a:custGeom>
                  <a:avLst/>
                  <a:gdLst>
                    <a:gd name="T0" fmla="*/ 0 w 1048"/>
                    <a:gd name="T1" fmla="*/ 47 h 94"/>
                    <a:gd name="T2" fmla="*/ 0 w 1048"/>
                    <a:gd name="T3" fmla="*/ 47 h 94"/>
                    <a:gd name="T4" fmla="*/ 47 w 1048"/>
                    <a:gd name="T5" fmla="*/ 0 h 94"/>
                    <a:gd name="T6" fmla="*/ 1001 w 1048"/>
                    <a:gd name="T7" fmla="*/ 0 h 94"/>
                    <a:gd name="T8" fmla="*/ 1048 w 1048"/>
                    <a:gd name="T9" fmla="*/ 47 h 94"/>
                    <a:gd name="T10" fmla="*/ 1048 w 1048"/>
                    <a:gd name="T11" fmla="*/ 47 h 94"/>
                    <a:gd name="T12" fmla="*/ 1001 w 1048"/>
                    <a:gd name="T13" fmla="*/ 94 h 94"/>
                    <a:gd name="T14" fmla="*/ 47 w 1048"/>
                    <a:gd name="T15" fmla="*/ 94 h 94"/>
                    <a:gd name="T16" fmla="*/ 0 w 1048"/>
                    <a:gd name="T17" fmla="*/ 47 h 94"/>
                    <a:gd name="T18" fmla="*/ 0 w 1048"/>
                    <a:gd name="T19"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94">
                      <a:moveTo>
                        <a:pt x="0" y="47"/>
                      </a:moveTo>
                      <a:lnTo>
                        <a:pt x="0" y="47"/>
                      </a:lnTo>
                      <a:cubicBezTo>
                        <a:pt x="0" y="21"/>
                        <a:pt x="21" y="0"/>
                        <a:pt x="47" y="0"/>
                      </a:cubicBezTo>
                      <a:lnTo>
                        <a:pt x="1001" y="0"/>
                      </a:lnTo>
                      <a:cubicBezTo>
                        <a:pt x="1027" y="0"/>
                        <a:pt x="1048" y="21"/>
                        <a:pt x="1048" y="47"/>
                      </a:cubicBezTo>
                      <a:lnTo>
                        <a:pt x="1048" y="47"/>
                      </a:lnTo>
                      <a:cubicBezTo>
                        <a:pt x="1048" y="73"/>
                        <a:pt x="1027" y="94"/>
                        <a:pt x="1001" y="94"/>
                      </a:cubicBezTo>
                      <a:lnTo>
                        <a:pt x="47" y="94"/>
                      </a:lnTo>
                      <a:cubicBezTo>
                        <a:pt x="21" y="94"/>
                        <a:pt x="0" y="73"/>
                        <a:pt x="0" y="47"/>
                      </a:cubicBezTo>
                      <a:lnTo>
                        <a:pt x="0" y="47"/>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0" name="Freeform 30">
                  <a:extLst>
                    <a:ext uri="{FF2B5EF4-FFF2-40B4-BE49-F238E27FC236}">
                      <a16:creationId xmlns:a16="http://schemas.microsoft.com/office/drawing/2014/main" id="{FED1FD15-72FC-46EF-992B-1702E05966D6}"/>
                    </a:ext>
                  </a:extLst>
                </p:cNvPr>
                <p:cNvSpPr>
                  <a:spLocks/>
                </p:cNvSpPr>
                <p:nvPr/>
              </p:nvSpPr>
              <p:spPr bwMode="auto">
                <a:xfrm>
                  <a:off x="3535673" y="4717840"/>
                  <a:ext cx="192617" cy="196851"/>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2" name="Freeform 31">
                  <a:extLst>
                    <a:ext uri="{FF2B5EF4-FFF2-40B4-BE49-F238E27FC236}">
                      <a16:creationId xmlns:a16="http://schemas.microsoft.com/office/drawing/2014/main" id="{919CF4C4-9735-4099-A18A-836E488A98AC}"/>
                    </a:ext>
                  </a:extLst>
                </p:cNvPr>
                <p:cNvSpPr>
                  <a:spLocks/>
                </p:cNvSpPr>
                <p:nvPr/>
              </p:nvSpPr>
              <p:spPr bwMode="auto">
                <a:xfrm>
                  <a:off x="3535673" y="4717840"/>
                  <a:ext cx="192617" cy="196851"/>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3" name="Freeform 32">
                  <a:extLst>
                    <a:ext uri="{FF2B5EF4-FFF2-40B4-BE49-F238E27FC236}">
                      <a16:creationId xmlns:a16="http://schemas.microsoft.com/office/drawing/2014/main" id="{DEED4B3D-B76E-4BA3-B73B-7AE929A52E0F}"/>
                    </a:ext>
                  </a:extLst>
                </p:cNvPr>
                <p:cNvSpPr>
                  <a:spLocks/>
                </p:cNvSpPr>
                <p:nvPr/>
              </p:nvSpPr>
              <p:spPr bwMode="auto">
                <a:xfrm>
                  <a:off x="3556840" y="4766524"/>
                  <a:ext cx="150284" cy="152400"/>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58" name="Freeform 33">
                  <a:extLst>
                    <a:ext uri="{FF2B5EF4-FFF2-40B4-BE49-F238E27FC236}">
                      <a16:creationId xmlns:a16="http://schemas.microsoft.com/office/drawing/2014/main" id="{F9DB0F03-F7DD-4B20-BF3A-C6DD53E694F7}"/>
                    </a:ext>
                  </a:extLst>
                </p:cNvPr>
                <p:cNvSpPr>
                  <a:spLocks/>
                </p:cNvSpPr>
                <p:nvPr/>
              </p:nvSpPr>
              <p:spPr bwMode="auto">
                <a:xfrm>
                  <a:off x="3556840" y="4766524"/>
                  <a:ext cx="150284" cy="152400"/>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60" name="Freeform 34">
                  <a:extLst>
                    <a:ext uri="{FF2B5EF4-FFF2-40B4-BE49-F238E27FC236}">
                      <a16:creationId xmlns:a16="http://schemas.microsoft.com/office/drawing/2014/main" id="{7393F237-2128-4451-A9AA-C7C6BAEFFD93}"/>
                    </a:ext>
                  </a:extLst>
                </p:cNvPr>
                <p:cNvSpPr>
                  <a:spLocks/>
                </p:cNvSpPr>
                <p:nvPr/>
              </p:nvSpPr>
              <p:spPr bwMode="auto">
                <a:xfrm>
                  <a:off x="3550491" y="4749591"/>
                  <a:ext cx="110067" cy="114300"/>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61" name="Freeform 35">
                  <a:extLst>
                    <a:ext uri="{FF2B5EF4-FFF2-40B4-BE49-F238E27FC236}">
                      <a16:creationId xmlns:a16="http://schemas.microsoft.com/office/drawing/2014/main" id="{49B339F9-7402-4B75-B38B-CB470B80EB34}"/>
                    </a:ext>
                  </a:extLst>
                </p:cNvPr>
                <p:cNvSpPr>
                  <a:spLocks/>
                </p:cNvSpPr>
                <p:nvPr/>
              </p:nvSpPr>
              <p:spPr bwMode="auto">
                <a:xfrm>
                  <a:off x="3550491" y="4749591"/>
                  <a:ext cx="110067" cy="114300"/>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sp>
        <p:nvSpPr>
          <p:cNvPr id="3" name="Rectangle 2"/>
          <p:cNvSpPr/>
          <p:nvPr/>
        </p:nvSpPr>
        <p:spPr>
          <a:xfrm>
            <a:off x="1038586" y="4213452"/>
            <a:ext cx="2216941" cy="4001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By 2020, 2/3</a:t>
            </a:r>
            <a:r>
              <a:rPr kumimoji="0" lang="en-US" sz="1000" b="0" i="0" u="none" strike="noStrike" kern="1200" cap="none" spc="0" normalizeH="0" baseline="30000" noProof="0" dirty="0">
                <a:ln>
                  <a:noFill/>
                </a:ln>
                <a:solidFill>
                  <a:srgbClr val="282828"/>
                </a:solidFill>
                <a:effectLst/>
                <a:uLnTx/>
                <a:uFillTx/>
                <a:latin typeface="CiscoSansTT ExtraLight"/>
                <a:ea typeface="ＭＳ Ｐゴシック" charset="0"/>
              </a:rPr>
              <a:t>rds</a:t>
            </a: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 of all IP traffic will come from wireless and mobile devices</a:t>
            </a:r>
          </a:p>
        </p:txBody>
      </p:sp>
      <p:sp>
        <p:nvSpPr>
          <p:cNvPr id="322" name="Title 1"/>
          <p:cNvSpPr>
            <a:spLocks noGrp="1"/>
          </p:cNvSpPr>
          <p:nvPr>
            <p:ph type="title"/>
          </p:nvPr>
        </p:nvSpPr>
        <p:spPr>
          <a:xfrm>
            <a:off x="437766" y="341313"/>
            <a:ext cx="8345488" cy="731837"/>
          </a:xfrm>
        </p:spPr>
        <p:txBody>
          <a:bodyPr/>
          <a:lstStyle/>
          <a:p>
            <a:r>
              <a:rPr lang="en-US" dirty="0"/>
              <a:t>Digitization complicates visibility</a:t>
            </a:r>
          </a:p>
        </p:txBody>
      </p:sp>
      <p:sp>
        <p:nvSpPr>
          <p:cNvPr id="323" name="Text Placeholder 3">
            <a:extLst>
              <a:ext uri="{FF2B5EF4-FFF2-40B4-BE49-F238E27FC236}">
                <a16:creationId xmlns:a16="http://schemas.microsoft.com/office/drawing/2014/main" id="{41E04AB1-B815-431A-9FB8-DEDC7C614842}"/>
              </a:ext>
            </a:extLst>
          </p:cNvPr>
          <p:cNvSpPr>
            <a:spLocks noGrp="1"/>
          </p:cNvSpPr>
          <p:nvPr>
            <p:ph type="body" sz="quarter" idx="10"/>
          </p:nvPr>
        </p:nvSpPr>
        <p:spPr>
          <a:xfrm>
            <a:off x="437766" y="854212"/>
            <a:ext cx="8550370" cy="437876"/>
          </a:xfrm>
        </p:spPr>
        <p:txBody>
          <a:bodyPr/>
          <a:lstStyle/>
          <a:p>
            <a:r>
              <a:rPr lang="en-US" dirty="0"/>
              <a:t>Market demands have taken the network beyond your perimeter</a:t>
            </a:r>
          </a:p>
        </p:txBody>
      </p:sp>
      <p:sp>
        <p:nvSpPr>
          <p:cNvPr id="6" name="Rectangle 5"/>
          <p:cNvSpPr/>
          <p:nvPr/>
        </p:nvSpPr>
        <p:spPr>
          <a:xfrm>
            <a:off x="960027" y="1888263"/>
            <a:ext cx="1999421" cy="4001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Over 20B connected “things" will be in use by 2020</a:t>
            </a:r>
          </a:p>
        </p:txBody>
      </p:sp>
      <p:sp>
        <p:nvSpPr>
          <p:cNvPr id="7" name="Rectangle 6"/>
          <p:cNvSpPr/>
          <p:nvPr/>
        </p:nvSpPr>
        <p:spPr>
          <a:xfrm>
            <a:off x="6107223" y="1887194"/>
            <a:ext cx="2120267" cy="553998"/>
          </a:xfrm>
          <a:prstGeom prst="rect">
            <a:avLst/>
          </a:prstGeom>
        </p:spPr>
        <p:txBody>
          <a:bodyPr wrap="square">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Companies experienced a 27.4% average increase in security breaches in 2017</a:t>
            </a:r>
          </a:p>
        </p:txBody>
      </p:sp>
      <p:sp>
        <p:nvSpPr>
          <p:cNvPr id="976" name="Rectangle: Rounded Corners 975">
            <a:extLst>
              <a:ext uri="{FF2B5EF4-FFF2-40B4-BE49-F238E27FC236}">
                <a16:creationId xmlns:a16="http://schemas.microsoft.com/office/drawing/2014/main" id="{F7B58DAD-4525-4C6F-BB3D-4D5EB35E69D8}"/>
              </a:ext>
            </a:extLst>
          </p:cNvPr>
          <p:cNvSpPr/>
          <p:nvPr/>
        </p:nvSpPr>
        <p:spPr>
          <a:xfrm>
            <a:off x="3693807" y="2600960"/>
            <a:ext cx="1740008" cy="864063"/>
          </a:xfrm>
          <a:prstGeom prst="roundRect">
            <a:avLst>
              <a:gd name="adj" fmla="val 9707"/>
            </a:avLst>
          </a:prstGeom>
          <a:solidFill>
            <a:schemeClr val="bg2">
              <a:alpha val="90000"/>
            </a:schemeClr>
          </a:solidFill>
          <a:ln w="12700" cap="rnd" cmpd="sng">
            <a:solidFill>
              <a:schemeClr val="accent5"/>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276" name="Group 275">
            <a:extLst>
              <a:ext uri="{FF2B5EF4-FFF2-40B4-BE49-F238E27FC236}">
                <a16:creationId xmlns:a16="http://schemas.microsoft.com/office/drawing/2014/main" id="{23963084-6C66-4E94-950A-C5B2C93280A6}"/>
              </a:ext>
            </a:extLst>
          </p:cNvPr>
          <p:cNvGrpSpPr/>
          <p:nvPr/>
        </p:nvGrpSpPr>
        <p:grpSpPr>
          <a:xfrm>
            <a:off x="4389505" y="2319978"/>
            <a:ext cx="364993" cy="364993"/>
            <a:chOff x="1817606" y="2379531"/>
            <a:chExt cx="594360" cy="594360"/>
          </a:xfrm>
        </p:grpSpPr>
        <p:sp>
          <p:nvSpPr>
            <p:cNvPr id="277" name="Freeform 5">
              <a:extLst>
                <a:ext uri="{FF2B5EF4-FFF2-40B4-BE49-F238E27FC236}">
                  <a16:creationId xmlns:a16="http://schemas.microsoft.com/office/drawing/2014/main" id="{559F1A10-FEF6-4517-B243-539C75046125}"/>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278" name="Group 157">
              <a:extLst>
                <a:ext uri="{FF2B5EF4-FFF2-40B4-BE49-F238E27FC236}">
                  <a16:creationId xmlns:a16="http://schemas.microsoft.com/office/drawing/2014/main" id="{ADAD5978-8D1A-4CFB-B74C-48CED821EB2F}"/>
                </a:ext>
              </a:extLst>
            </p:cNvPr>
            <p:cNvGrpSpPr>
              <a:grpSpLocks noChangeAspect="1"/>
            </p:cNvGrpSpPr>
            <p:nvPr/>
          </p:nvGrpSpPr>
          <p:grpSpPr>
            <a:xfrm>
              <a:off x="1928007" y="2538225"/>
              <a:ext cx="373559" cy="276972"/>
              <a:chOff x="13636625" y="1373188"/>
              <a:chExt cx="1330325" cy="825500"/>
            </a:xfrm>
            <a:solidFill>
              <a:schemeClr val="bg2"/>
            </a:solidFill>
          </p:grpSpPr>
          <p:sp>
            <p:nvSpPr>
              <p:cNvPr id="279" name="Rectangle 17">
                <a:extLst>
                  <a:ext uri="{FF2B5EF4-FFF2-40B4-BE49-F238E27FC236}">
                    <a16:creationId xmlns:a16="http://schemas.microsoft.com/office/drawing/2014/main" id="{61EF2EEB-9DFA-427E-BF94-5D1223B56E97}"/>
                  </a:ext>
                </a:extLst>
              </p:cNvPr>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280" name="Rectangle 18">
                <a:extLst>
                  <a:ext uri="{FF2B5EF4-FFF2-40B4-BE49-F238E27FC236}">
                    <a16:creationId xmlns:a16="http://schemas.microsoft.com/office/drawing/2014/main" id="{531EEBBF-C647-41C7-B0D9-AA01C903BE8A}"/>
                  </a:ext>
                </a:extLst>
              </p:cNvPr>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281" name="Rectangle 19">
                <a:extLst>
                  <a:ext uri="{FF2B5EF4-FFF2-40B4-BE49-F238E27FC236}">
                    <a16:creationId xmlns:a16="http://schemas.microsoft.com/office/drawing/2014/main" id="{0BC2E976-B9F4-4717-AF3C-72594FC76E84}"/>
                  </a:ext>
                </a:extLst>
              </p:cNvPr>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282" name="Rectangle 20">
                <a:extLst>
                  <a:ext uri="{FF2B5EF4-FFF2-40B4-BE49-F238E27FC236}">
                    <a16:creationId xmlns:a16="http://schemas.microsoft.com/office/drawing/2014/main" id="{189C6A2A-A6A3-4A66-9A14-F2BC0A49EF12}"/>
                  </a:ext>
                </a:extLst>
              </p:cNvPr>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283" name="Rectangle 21">
                <a:extLst>
                  <a:ext uri="{FF2B5EF4-FFF2-40B4-BE49-F238E27FC236}">
                    <a16:creationId xmlns:a16="http://schemas.microsoft.com/office/drawing/2014/main" id="{3FAF4224-D42B-4965-847F-28F6C7BBABDA}"/>
                  </a:ext>
                </a:extLst>
              </p:cNvPr>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284" name="Rectangle 22">
                <a:extLst>
                  <a:ext uri="{FF2B5EF4-FFF2-40B4-BE49-F238E27FC236}">
                    <a16:creationId xmlns:a16="http://schemas.microsoft.com/office/drawing/2014/main" id="{0DCC2947-4498-4EF0-B88A-F190D6B9BC09}"/>
                  </a:ext>
                </a:extLst>
              </p:cNvPr>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285" name="Rectangle 23">
                <a:extLst>
                  <a:ext uri="{FF2B5EF4-FFF2-40B4-BE49-F238E27FC236}">
                    <a16:creationId xmlns:a16="http://schemas.microsoft.com/office/drawing/2014/main" id="{1B752912-E557-4A6F-A9F5-AB665B949646}"/>
                  </a:ext>
                </a:extLst>
              </p:cNvPr>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288" name="Rectangle 24">
                <a:extLst>
                  <a:ext uri="{FF2B5EF4-FFF2-40B4-BE49-F238E27FC236}">
                    <a16:creationId xmlns:a16="http://schemas.microsoft.com/office/drawing/2014/main" id="{FD7A4A38-CB85-4D32-8870-C6EABCE65F6D}"/>
                  </a:ext>
                </a:extLst>
              </p:cNvPr>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289" name="Rectangle 25">
                <a:extLst>
                  <a:ext uri="{FF2B5EF4-FFF2-40B4-BE49-F238E27FC236}">
                    <a16:creationId xmlns:a16="http://schemas.microsoft.com/office/drawing/2014/main" id="{DD28A06D-6F2B-493F-8291-DA1AA01E57B3}"/>
                  </a:ext>
                </a:extLst>
              </p:cNvPr>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290" name="Rectangle 26">
                <a:extLst>
                  <a:ext uri="{FF2B5EF4-FFF2-40B4-BE49-F238E27FC236}">
                    <a16:creationId xmlns:a16="http://schemas.microsoft.com/office/drawing/2014/main" id="{8166B773-FA57-4117-BE97-B468ACC94C63}"/>
                  </a:ext>
                </a:extLst>
              </p:cNvPr>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293" name="Rectangle 27">
                <a:extLst>
                  <a:ext uri="{FF2B5EF4-FFF2-40B4-BE49-F238E27FC236}">
                    <a16:creationId xmlns:a16="http://schemas.microsoft.com/office/drawing/2014/main" id="{F0A059E8-E82F-40FE-9BD6-DFC0C4796CB9}"/>
                  </a:ext>
                </a:extLst>
              </p:cNvPr>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294" name="Rectangle 28">
                <a:extLst>
                  <a:ext uri="{FF2B5EF4-FFF2-40B4-BE49-F238E27FC236}">
                    <a16:creationId xmlns:a16="http://schemas.microsoft.com/office/drawing/2014/main" id="{19C97E98-8B7E-44CB-83EA-F4879B231C79}"/>
                  </a:ext>
                </a:extLst>
              </p:cNvPr>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295" name="Rectangle 29">
                <a:extLst>
                  <a:ext uri="{FF2B5EF4-FFF2-40B4-BE49-F238E27FC236}">
                    <a16:creationId xmlns:a16="http://schemas.microsoft.com/office/drawing/2014/main" id="{4CE1FE7E-5E79-416D-B7A8-028D7DC3E2AC}"/>
                  </a:ext>
                </a:extLst>
              </p:cNvPr>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298" name="Rectangle 30">
                <a:extLst>
                  <a:ext uri="{FF2B5EF4-FFF2-40B4-BE49-F238E27FC236}">
                    <a16:creationId xmlns:a16="http://schemas.microsoft.com/office/drawing/2014/main" id="{34DE22A7-EDF3-477A-9756-9DD9A43201A7}"/>
                  </a:ext>
                </a:extLst>
              </p:cNvPr>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299" name="Rectangle 31">
                <a:extLst>
                  <a:ext uri="{FF2B5EF4-FFF2-40B4-BE49-F238E27FC236}">
                    <a16:creationId xmlns:a16="http://schemas.microsoft.com/office/drawing/2014/main" id="{1223365C-5CC8-4252-B2FC-876132902DB6}"/>
                  </a:ext>
                </a:extLst>
              </p:cNvPr>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00" name="Rectangle 32">
                <a:extLst>
                  <a:ext uri="{FF2B5EF4-FFF2-40B4-BE49-F238E27FC236}">
                    <a16:creationId xmlns:a16="http://schemas.microsoft.com/office/drawing/2014/main" id="{A18926D3-873C-4606-AD56-CC79086CC9CC}"/>
                  </a:ext>
                </a:extLst>
              </p:cNvPr>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01" name="Rectangle 33">
                <a:extLst>
                  <a:ext uri="{FF2B5EF4-FFF2-40B4-BE49-F238E27FC236}">
                    <a16:creationId xmlns:a16="http://schemas.microsoft.com/office/drawing/2014/main" id="{CEB96AF7-6AAC-463E-8B5F-19B1E2964ACD}"/>
                  </a:ext>
                </a:extLst>
              </p:cNvPr>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02" name="Rectangle 34">
                <a:extLst>
                  <a:ext uri="{FF2B5EF4-FFF2-40B4-BE49-F238E27FC236}">
                    <a16:creationId xmlns:a16="http://schemas.microsoft.com/office/drawing/2014/main" id="{FBD9C7C3-EED2-4109-B0BA-0C5CBB71E228}"/>
                  </a:ext>
                </a:extLst>
              </p:cNvPr>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07" name="Rectangle 35">
                <a:extLst>
                  <a:ext uri="{FF2B5EF4-FFF2-40B4-BE49-F238E27FC236}">
                    <a16:creationId xmlns:a16="http://schemas.microsoft.com/office/drawing/2014/main" id="{A9991798-6067-439E-BE2D-1B4B9AFDA047}"/>
                  </a:ext>
                </a:extLst>
              </p:cNvPr>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08" name="Rectangle 36">
                <a:extLst>
                  <a:ext uri="{FF2B5EF4-FFF2-40B4-BE49-F238E27FC236}">
                    <a16:creationId xmlns:a16="http://schemas.microsoft.com/office/drawing/2014/main" id="{D9732C79-0DA8-4F5C-A525-35A7B239B55A}"/>
                  </a:ext>
                </a:extLst>
              </p:cNvPr>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09" name="Rectangle 37">
                <a:extLst>
                  <a:ext uri="{FF2B5EF4-FFF2-40B4-BE49-F238E27FC236}">
                    <a16:creationId xmlns:a16="http://schemas.microsoft.com/office/drawing/2014/main" id="{3FEF8CF7-1987-45DE-AB91-C6EB603E5F1E}"/>
                  </a:ext>
                </a:extLst>
              </p:cNvPr>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grpSp>
      </p:grpSp>
      <p:sp>
        <p:nvSpPr>
          <p:cNvPr id="1054" name="Freeform: Shape 1053">
            <a:extLst>
              <a:ext uri="{FF2B5EF4-FFF2-40B4-BE49-F238E27FC236}">
                <a16:creationId xmlns:a16="http://schemas.microsoft.com/office/drawing/2014/main" id="{E42E2599-4A6F-457B-A43A-56654E67BF98}"/>
              </a:ext>
            </a:extLst>
          </p:cNvPr>
          <p:cNvSpPr/>
          <p:nvPr/>
        </p:nvSpPr>
        <p:spPr>
          <a:xfrm flipV="1">
            <a:off x="3694177" y="3161299"/>
            <a:ext cx="1742694" cy="58150"/>
          </a:xfrm>
          <a:custGeom>
            <a:avLst/>
            <a:gdLst>
              <a:gd name="connsiteX0" fmla="*/ 0 w 4999219"/>
              <a:gd name="connsiteY0" fmla="*/ 0 h 0"/>
              <a:gd name="connsiteX1" fmla="*/ 4999219 w 4999219"/>
              <a:gd name="connsiteY1" fmla="*/ 0 h 0"/>
            </a:gdLst>
            <a:ahLst/>
            <a:cxnLst>
              <a:cxn ang="0">
                <a:pos x="connsiteX0" y="connsiteY0"/>
              </a:cxn>
              <a:cxn ang="0">
                <a:pos x="connsiteX1" y="connsiteY1"/>
              </a:cxn>
            </a:cxnLst>
            <a:rect l="l" t="t" r="r" b="b"/>
            <a:pathLst>
              <a:path w="4999219">
                <a:moveTo>
                  <a:pt x="0" y="0"/>
                </a:moveTo>
                <a:lnTo>
                  <a:pt x="4999219" y="0"/>
                </a:lnTo>
              </a:path>
            </a:pathLst>
          </a:cu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pic>
        <p:nvPicPr>
          <p:cNvPr id="986" name="Picture 985">
            <a:extLst>
              <a:ext uri="{FF2B5EF4-FFF2-40B4-BE49-F238E27FC236}">
                <a16:creationId xmlns:a16="http://schemas.microsoft.com/office/drawing/2014/main" id="{02DFA7A4-C0AD-4D0B-9249-63437DB64CA5}"/>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4377960" y="3033390"/>
            <a:ext cx="375636" cy="375635"/>
          </a:xfrm>
          <a:prstGeom prst="rect">
            <a:avLst/>
          </a:prstGeom>
        </p:spPr>
      </p:pic>
      <p:grpSp>
        <p:nvGrpSpPr>
          <p:cNvPr id="25" name="Group 24">
            <a:extLst>
              <a:ext uri="{FF2B5EF4-FFF2-40B4-BE49-F238E27FC236}">
                <a16:creationId xmlns:a16="http://schemas.microsoft.com/office/drawing/2014/main" id="{86D79EFA-A90D-4593-8846-DB64FE55AE2F}"/>
              </a:ext>
            </a:extLst>
          </p:cNvPr>
          <p:cNvGrpSpPr/>
          <p:nvPr/>
        </p:nvGrpSpPr>
        <p:grpSpPr>
          <a:xfrm>
            <a:off x="4105196" y="2901315"/>
            <a:ext cx="915442" cy="318135"/>
            <a:chOff x="4105196" y="2901315"/>
            <a:chExt cx="915442" cy="318135"/>
          </a:xfrm>
        </p:grpSpPr>
        <p:sp>
          <p:nvSpPr>
            <p:cNvPr id="1066" name="Freeform: Shape 1065">
              <a:extLst>
                <a:ext uri="{FF2B5EF4-FFF2-40B4-BE49-F238E27FC236}">
                  <a16:creationId xmlns:a16="http://schemas.microsoft.com/office/drawing/2014/main" id="{2004E142-5730-4560-A553-97956B6E08D3}"/>
                </a:ext>
              </a:extLst>
            </p:cNvPr>
            <p:cNvSpPr/>
            <p:nvPr/>
          </p:nvSpPr>
          <p:spPr>
            <a:xfrm>
              <a:off x="4105196" y="2901315"/>
              <a:ext cx="0" cy="318135"/>
            </a:xfrm>
            <a:custGeom>
              <a:avLst/>
              <a:gdLst>
                <a:gd name="connsiteX0" fmla="*/ 0 w 0"/>
                <a:gd name="connsiteY0" fmla="*/ 432816 h 432816"/>
                <a:gd name="connsiteX1" fmla="*/ 0 w 0"/>
                <a:gd name="connsiteY1" fmla="*/ 0 h 432816"/>
              </a:gdLst>
              <a:ahLst/>
              <a:cxnLst>
                <a:cxn ang="0">
                  <a:pos x="connsiteX0" y="connsiteY0"/>
                </a:cxn>
                <a:cxn ang="0">
                  <a:pos x="connsiteX1" y="connsiteY1"/>
                </a:cxn>
              </a:cxnLst>
              <a:rect l="l" t="t" r="r" b="b"/>
              <a:pathLst>
                <a:path h="432816">
                  <a:moveTo>
                    <a:pt x="0" y="432816"/>
                  </a:moveTo>
                  <a:lnTo>
                    <a:pt x="0" y="0"/>
                  </a:lnTo>
                </a:path>
              </a:pathLst>
            </a:cu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1067" name="Freeform: Shape 1066">
              <a:extLst>
                <a:ext uri="{FF2B5EF4-FFF2-40B4-BE49-F238E27FC236}">
                  <a16:creationId xmlns:a16="http://schemas.microsoft.com/office/drawing/2014/main" id="{7FD49232-F98A-4CFA-BA6B-51BA89220E31}"/>
                </a:ext>
              </a:extLst>
            </p:cNvPr>
            <p:cNvSpPr/>
            <p:nvPr/>
          </p:nvSpPr>
          <p:spPr>
            <a:xfrm>
              <a:off x="5020638" y="2901315"/>
              <a:ext cx="0" cy="318135"/>
            </a:xfrm>
            <a:custGeom>
              <a:avLst/>
              <a:gdLst>
                <a:gd name="connsiteX0" fmla="*/ 0 w 0"/>
                <a:gd name="connsiteY0" fmla="*/ 432816 h 432816"/>
                <a:gd name="connsiteX1" fmla="*/ 0 w 0"/>
                <a:gd name="connsiteY1" fmla="*/ 0 h 432816"/>
              </a:gdLst>
              <a:ahLst/>
              <a:cxnLst>
                <a:cxn ang="0">
                  <a:pos x="connsiteX0" y="connsiteY0"/>
                </a:cxn>
                <a:cxn ang="0">
                  <a:pos x="connsiteX1" y="connsiteY1"/>
                </a:cxn>
              </a:cxnLst>
              <a:rect l="l" t="t" r="r" b="b"/>
              <a:pathLst>
                <a:path h="432816">
                  <a:moveTo>
                    <a:pt x="0" y="432816"/>
                  </a:moveTo>
                  <a:lnTo>
                    <a:pt x="0" y="0"/>
                  </a:lnTo>
                </a:path>
              </a:pathLst>
            </a:cu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grpSp>
        <p:nvGrpSpPr>
          <p:cNvPr id="24" name="Group 23">
            <a:extLst>
              <a:ext uri="{FF2B5EF4-FFF2-40B4-BE49-F238E27FC236}">
                <a16:creationId xmlns:a16="http://schemas.microsoft.com/office/drawing/2014/main" id="{1856346F-3FC2-4581-A79B-DC1A45343E81}"/>
              </a:ext>
            </a:extLst>
          </p:cNvPr>
          <p:cNvGrpSpPr/>
          <p:nvPr/>
        </p:nvGrpSpPr>
        <p:grpSpPr>
          <a:xfrm>
            <a:off x="4170327" y="2812418"/>
            <a:ext cx="795960" cy="0"/>
            <a:chOff x="4170327" y="2812418"/>
            <a:chExt cx="795960" cy="0"/>
          </a:xfrm>
        </p:grpSpPr>
        <p:sp>
          <p:nvSpPr>
            <p:cNvPr id="1064" name="Freeform: Shape 1063">
              <a:extLst>
                <a:ext uri="{FF2B5EF4-FFF2-40B4-BE49-F238E27FC236}">
                  <a16:creationId xmlns:a16="http://schemas.microsoft.com/office/drawing/2014/main" id="{593B046B-332D-492C-988E-3F0EBC8D06F1}"/>
                </a:ext>
              </a:extLst>
            </p:cNvPr>
            <p:cNvSpPr/>
            <p:nvPr/>
          </p:nvSpPr>
          <p:spPr>
            <a:xfrm>
              <a:off x="4170327" y="2812418"/>
              <a:ext cx="138582" cy="0"/>
            </a:xfrm>
            <a:custGeom>
              <a:avLst/>
              <a:gdLst>
                <a:gd name="connsiteX0" fmla="*/ 0 w 396240"/>
                <a:gd name="connsiteY0" fmla="*/ 0 h 0"/>
                <a:gd name="connsiteX1" fmla="*/ 396240 w 396240"/>
                <a:gd name="connsiteY1" fmla="*/ 0 h 0"/>
              </a:gdLst>
              <a:ahLst/>
              <a:cxnLst>
                <a:cxn ang="0">
                  <a:pos x="connsiteX0" y="connsiteY0"/>
                </a:cxn>
                <a:cxn ang="0">
                  <a:pos x="connsiteX1" y="connsiteY1"/>
                </a:cxn>
              </a:cxnLst>
              <a:rect l="l" t="t" r="r" b="b"/>
              <a:pathLst>
                <a:path w="396240">
                  <a:moveTo>
                    <a:pt x="0" y="0"/>
                  </a:moveTo>
                  <a:lnTo>
                    <a:pt x="396240" y="0"/>
                  </a:lnTo>
                </a:path>
              </a:pathLst>
            </a:cu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1065" name="Freeform: Shape 1064">
              <a:extLst>
                <a:ext uri="{FF2B5EF4-FFF2-40B4-BE49-F238E27FC236}">
                  <a16:creationId xmlns:a16="http://schemas.microsoft.com/office/drawing/2014/main" id="{E0687F78-EB26-4214-BBA2-B28639583400}"/>
                </a:ext>
              </a:extLst>
            </p:cNvPr>
            <p:cNvSpPr/>
            <p:nvPr/>
          </p:nvSpPr>
          <p:spPr>
            <a:xfrm>
              <a:off x="4827705" y="2812418"/>
              <a:ext cx="138582" cy="0"/>
            </a:xfrm>
            <a:custGeom>
              <a:avLst/>
              <a:gdLst>
                <a:gd name="connsiteX0" fmla="*/ 0 w 396240"/>
                <a:gd name="connsiteY0" fmla="*/ 0 h 0"/>
                <a:gd name="connsiteX1" fmla="*/ 396240 w 396240"/>
                <a:gd name="connsiteY1" fmla="*/ 0 h 0"/>
              </a:gdLst>
              <a:ahLst/>
              <a:cxnLst>
                <a:cxn ang="0">
                  <a:pos x="connsiteX0" y="connsiteY0"/>
                </a:cxn>
                <a:cxn ang="0">
                  <a:pos x="connsiteX1" y="connsiteY1"/>
                </a:cxn>
              </a:cxnLst>
              <a:rect l="l" t="t" r="r" b="b"/>
              <a:pathLst>
                <a:path w="396240">
                  <a:moveTo>
                    <a:pt x="0" y="0"/>
                  </a:moveTo>
                  <a:lnTo>
                    <a:pt x="396240" y="0"/>
                  </a:lnTo>
                </a:path>
              </a:pathLst>
            </a:cu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sp>
        <p:nvSpPr>
          <p:cNvPr id="326" name="Freeform 7">
            <a:extLst>
              <a:ext uri="{FF2B5EF4-FFF2-40B4-BE49-F238E27FC236}">
                <a16:creationId xmlns:a16="http://schemas.microsoft.com/office/drawing/2014/main" id="{C3041F84-D454-4956-A152-4C27A1D45705}"/>
              </a:ext>
            </a:extLst>
          </p:cNvPr>
          <p:cNvSpPr>
            <a:spLocks noEditPoints="1"/>
          </p:cNvSpPr>
          <p:nvPr/>
        </p:nvSpPr>
        <p:spPr bwMode="auto">
          <a:xfrm>
            <a:off x="3765241" y="1638311"/>
            <a:ext cx="143109" cy="154488"/>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348" name="Freeform 7">
            <a:extLst>
              <a:ext uri="{FF2B5EF4-FFF2-40B4-BE49-F238E27FC236}">
                <a16:creationId xmlns:a16="http://schemas.microsoft.com/office/drawing/2014/main" id="{38A3381D-5B65-48FD-A540-8B4CE6E3C194}"/>
              </a:ext>
            </a:extLst>
          </p:cNvPr>
          <p:cNvSpPr>
            <a:spLocks noEditPoints="1"/>
          </p:cNvSpPr>
          <p:nvPr/>
        </p:nvSpPr>
        <p:spPr bwMode="auto">
          <a:xfrm>
            <a:off x="4169980" y="2973195"/>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73" name="Freeform 7">
            <a:extLst>
              <a:ext uri="{FF2B5EF4-FFF2-40B4-BE49-F238E27FC236}">
                <a16:creationId xmlns:a16="http://schemas.microsoft.com/office/drawing/2014/main" id="{34096304-0F8E-4E9A-B65C-12D90E1CE174}"/>
              </a:ext>
            </a:extLst>
          </p:cNvPr>
          <p:cNvSpPr>
            <a:spLocks noEditPoints="1"/>
          </p:cNvSpPr>
          <p:nvPr/>
        </p:nvSpPr>
        <p:spPr bwMode="auto">
          <a:xfrm>
            <a:off x="4888410" y="3227130"/>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516" name="Freeform 7">
            <a:extLst>
              <a:ext uri="{FF2B5EF4-FFF2-40B4-BE49-F238E27FC236}">
                <a16:creationId xmlns:a16="http://schemas.microsoft.com/office/drawing/2014/main" id="{588119B7-1048-4ADA-8F28-4DD63C4A6BA1}"/>
              </a:ext>
            </a:extLst>
          </p:cNvPr>
          <p:cNvSpPr>
            <a:spLocks noEditPoints="1"/>
          </p:cNvSpPr>
          <p:nvPr/>
        </p:nvSpPr>
        <p:spPr bwMode="auto">
          <a:xfrm>
            <a:off x="5238061" y="2661999"/>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068" name="Group 1067">
            <a:extLst>
              <a:ext uri="{FF2B5EF4-FFF2-40B4-BE49-F238E27FC236}">
                <a16:creationId xmlns:a16="http://schemas.microsoft.com/office/drawing/2014/main" id="{ABB14C25-08A3-47D1-8B5A-6EBE9671A947}"/>
              </a:ext>
            </a:extLst>
          </p:cNvPr>
          <p:cNvGrpSpPr/>
          <p:nvPr/>
        </p:nvGrpSpPr>
        <p:grpSpPr>
          <a:xfrm>
            <a:off x="3775587" y="3114040"/>
            <a:ext cx="214912" cy="214912"/>
            <a:chOff x="3647234" y="2505303"/>
            <a:chExt cx="594360" cy="594360"/>
          </a:xfrm>
        </p:grpSpPr>
        <p:sp>
          <p:nvSpPr>
            <p:cNvPr id="1069" name="Oval 1068">
              <a:extLst>
                <a:ext uri="{FF2B5EF4-FFF2-40B4-BE49-F238E27FC236}">
                  <a16:creationId xmlns:a16="http://schemas.microsoft.com/office/drawing/2014/main" id="{8268AEFA-B46F-468B-A194-9AD4B1E325C8}"/>
                </a:ext>
              </a:extLst>
            </p:cNvPr>
            <p:cNvSpPr/>
            <p:nvPr/>
          </p:nvSpPr>
          <p:spPr>
            <a:xfrm>
              <a:off x="3647234" y="2505303"/>
              <a:ext cx="594360" cy="59436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070" name="Group 1069">
              <a:extLst>
                <a:ext uri="{FF2B5EF4-FFF2-40B4-BE49-F238E27FC236}">
                  <a16:creationId xmlns:a16="http://schemas.microsoft.com/office/drawing/2014/main" id="{F64A78FB-1FE7-477D-9B3B-46A0003988BF}"/>
                </a:ext>
              </a:extLst>
            </p:cNvPr>
            <p:cNvGrpSpPr/>
            <p:nvPr/>
          </p:nvGrpSpPr>
          <p:grpSpPr>
            <a:xfrm>
              <a:off x="3761080" y="2619016"/>
              <a:ext cx="366840" cy="366825"/>
              <a:chOff x="4034392" y="1826565"/>
              <a:chExt cx="248145" cy="248145"/>
            </a:xfrm>
            <a:solidFill>
              <a:schemeClr val="accent2"/>
            </a:solidFill>
          </p:grpSpPr>
          <p:grpSp>
            <p:nvGrpSpPr>
              <p:cNvPr id="1071" name="Group 1070">
                <a:extLst>
                  <a:ext uri="{FF2B5EF4-FFF2-40B4-BE49-F238E27FC236}">
                    <a16:creationId xmlns:a16="http://schemas.microsoft.com/office/drawing/2014/main" id="{AADF57AF-183E-4D20-9B57-A87925AD0FF6}"/>
                  </a:ext>
                </a:extLst>
              </p:cNvPr>
              <p:cNvGrpSpPr/>
              <p:nvPr/>
            </p:nvGrpSpPr>
            <p:grpSpPr>
              <a:xfrm>
                <a:off x="4127062" y="1826565"/>
                <a:ext cx="62740" cy="248145"/>
                <a:chOff x="4120827" y="1826565"/>
                <a:chExt cx="62740" cy="248145"/>
              </a:xfrm>
              <a:grpFill/>
            </p:grpSpPr>
            <p:sp>
              <p:nvSpPr>
                <p:cNvPr id="1075" name="Freeform 39">
                  <a:extLst>
                    <a:ext uri="{FF2B5EF4-FFF2-40B4-BE49-F238E27FC236}">
                      <a16:creationId xmlns:a16="http://schemas.microsoft.com/office/drawing/2014/main" id="{32DCD7AF-4096-46EB-B2AD-B2663E12A6AD}"/>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1076" name="Freeform 40">
                  <a:extLst>
                    <a:ext uri="{FF2B5EF4-FFF2-40B4-BE49-F238E27FC236}">
                      <a16:creationId xmlns:a16="http://schemas.microsoft.com/office/drawing/2014/main" id="{EDC25B8A-924D-4C9C-9147-23BB662E90D5}"/>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nvGrpSpPr>
              <p:cNvPr id="1072" name="Group 1071">
                <a:extLst>
                  <a:ext uri="{FF2B5EF4-FFF2-40B4-BE49-F238E27FC236}">
                    <a16:creationId xmlns:a16="http://schemas.microsoft.com/office/drawing/2014/main" id="{3A6A67A5-3181-47DF-A602-EA4144A9B674}"/>
                  </a:ext>
                </a:extLst>
              </p:cNvPr>
              <p:cNvGrpSpPr/>
              <p:nvPr/>
            </p:nvGrpSpPr>
            <p:grpSpPr>
              <a:xfrm rot="5400000">
                <a:off x="4127095" y="1826598"/>
                <a:ext cx="62740" cy="248145"/>
                <a:chOff x="4120827" y="1826565"/>
                <a:chExt cx="62740" cy="248145"/>
              </a:xfrm>
              <a:grpFill/>
            </p:grpSpPr>
            <p:sp>
              <p:nvSpPr>
                <p:cNvPr id="1073" name="Freeform 37">
                  <a:extLst>
                    <a:ext uri="{FF2B5EF4-FFF2-40B4-BE49-F238E27FC236}">
                      <a16:creationId xmlns:a16="http://schemas.microsoft.com/office/drawing/2014/main" id="{143FF0E0-F191-4559-9CEE-4CF2D6CBF77D}"/>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1074" name="Freeform 38">
                  <a:extLst>
                    <a:ext uri="{FF2B5EF4-FFF2-40B4-BE49-F238E27FC236}">
                      <a16:creationId xmlns:a16="http://schemas.microsoft.com/office/drawing/2014/main" id="{ED20BEB8-C091-47D5-BB1A-CD8712550B55}"/>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grpSp>
      <p:grpSp>
        <p:nvGrpSpPr>
          <p:cNvPr id="1077" name="Group 1076">
            <a:extLst>
              <a:ext uri="{FF2B5EF4-FFF2-40B4-BE49-F238E27FC236}">
                <a16:creationId xmlns:a16="http://schemas.microsoft.com/office/drawing/2014/main" id="{18AA911C-AC51-454D-A678-FB6605973D7A}"/>
              </a:ext>
            </a:extLst>
          </p:cNvPr>
          <p:cNvGrpSpPr/>
          <p:nvPr/>
        </p:nvGrpSpPr>
        <p:grpSpPr>
          <a:xfrm>
            <a:off x="5133683" y="3114040"/>
            <a:ext cx="214912" cy="214912"/>
            <a:chOff x="3647234" y="2505303"/>
            <a:chExt cx="594360" cy="594360"/>
          </a:xfrm>
        </p:grpSpPr>
        <p:sp>
          <p:nvSpPr>
            <p:cNvPr id="1078" name="Oval 1077">
              <a:extLst>
                <a:ext uri="{FF2B5EF4-FFF2-40B4-BE49-F238E27FC236}">
                  <a16:creationId xmlns:a16="http://schemas.microsoft.com/office/drawing/2014/main" id="{0FD895BB-E82C-4978-B36C-BE8CC6164619}"/>
                </a:ext>
              </a:extLst>
            </p:cNvPr>
            <p:cNvSpPr/>
            <p:nvPr/>
          </p:nvSpPr>
          <p:spPr>
            <a:xfrm>
              <a:off x="3647234" y="2505303"/>
              <a:ext cx="594360" cy="59436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079" name="Group 1078">
              <a:extLst>
                <a:ext uri="{FF2B5EF4-FFF2-40B4-BE49-F238E27FC236}">
                  <a16:creationId xmlns:a16="http://schemas.microsoft.com/office/drawing/2014/main" id="{2039A061-2831-45CA-8BCA-061B0E30E6E0}"/>
                </a:ext>
              </a:extLst>
            </p:cNvPr>
            <p:cNvGrpSpPr/>
            <p:nvPr/>
          </p:nvGrpSpPr>
          <p:grpSpPr>
            <a:xfrm>
              <a:off x="3761080" y="2619016"/>
              <a:ext cx="366840" cy="366825"/>
              <a:chOff x="4034392" y="1826565"/>
              <a:chExt cx="248145" cy="248145"/>
            </a:xfrm>
            <a:solidFill>
              <a:schemeClr val="accent2"/>
            </a:solidFill>
          </p:grpSpPr>
          <p:grpSp>
            <p:nvGrpSpPr>
              <p:cNvPr id="1080" name="Group 1079">
                <a:extLst>
                  <a:ext uri="{FF2B5EF4-FFF2-40B4-BE49-F238E27FC236}">
                    <a16:creationId xmlns:a16="http://schemas.microsoft.com/office/drawing/2014/main" id="{08528E64-014D-4EB1-98AE-CA43F1A7A19E}"/>
                  </a:ext>
                </a:extLst>
              </p:cNvPr>
              <p:cNvGrpSpPr/>
              <p:nvPr/>
            </p:nvGrpSpPr>
            <p:grpSpPr>
              <a:xfrm>
                <a:off x="4127062" y="1826565"/>
                <a:ext cx="62740" cy="248145"/>
                <a:chOff x="4120827" y="1826565"/>
                <a:chExt cx="62740" cy="248145"/>
              </a:xfrm>
              <a:grpFill/>
            </p:grpSpPr>
            <p:sp>
              <p:nvSpPr>
                <p:cNvPr id="1084" name="Freeform 39">
                  <a:extLst>
                    <a:ext uri="{FF2B5EF4-FFF2-40B4-BE49-F238E27FC236}">
                      <a16:creationId xmlns:a16="http://schemas.microsoft.com/office/drawing/2014/main" id="{B4618E3A-84EC-485A-B288-A4CF5C93F048}"/>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1085" name="Freeform 40">
                  <a:extLst>
                    <a:ext uri="{FF2B5EF4-FFF2-40B4-BE49-F238E27FC236}">
                      <a16:creationId xmlns:a16="http://schemas.microsoft.com/office/drawing/2014/main" id="{CEC34E7E-EEDB-4BD1-9E10-CEFF5AA40978}"/>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nvGrpSpPr>
              <p:cNvPr id="1081" name="Group 1080">
                <a:extLst>
                  <a:ext uri="{FF2B5EF4-FFF2-40B4-BE49-F238E27FC236}">
                    <a16:creationId xmlns:a16="http://schemas.microsoft.com/office/drawing/2014/main" id="{7A020606-550D-4B13-A5B5-5C9A2FC62231}"/>
                  </a:ext>
                </a:extLst>
              </p:cNvPr>
              <p:cNvGrpSpPr/>
              <p:nvPr/>
            </p:nvGrpSpPr>
            <p:grpSpPr>
              <a:xfrm rot="5400000">
                <a:off x="4127095" y="1826598"/>
                <a:ext cx="62740" cy="248145"/>
                <a:chOff x="4120827" y="1826565"/>
                <a:chExt cx="62740" cy="248145"/>
              </a:xfrm>
              <a:grpFill/>
            </p:grpSpPr>
            <p:sp>
              <p:nvSpPr>
                <p:cNvPr id="1082" name="Freeform 37">
                  <a:extLst>
                    <a:ext uri="{FF2B5EF4-FFF2-40B4-BE49-F238E27FC236}">
                      <a16:creationId xmlns:a16="http://schemas.microsoft.com/office/drawing/2014/main" id="{9BA67E3C-A32D-46C8-8FF0-DF6FADC3AA65}"/>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1083" name="Freeform 38">
                  <a:extLst>
                    <a:ext uri="{FF2B5EF4-FFF2-40B4-BE49-F238E27FC236}">
                      <a16:creationId xmlns:a16="http://schemas.microsoft.com/office/drawing/2014/main" id="{B38F42E7-ADF8-47E4-B4F1-904CE4C980CF}"/>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grpSp>
      <p:grpSp>
        <p:nvGrpSpPr>
          <p:cNvPr id="1086" name="Group 1085">
            <a:extLst>
              <a:ext uri="{FF2B5EF4-FFF2-40B4-BE49-F238E27FC236}">
                <a16:creationId xmlns:a16="http://schemas.microsoft.com/office/drawing/2014/main" id="{F641BE04-F979-494A-BBE0-52E0B7E96DD8}"/>
              </a:ext>
            </a:extLst>
          </p:cNvPr>
          <p:cNvGrpSpPr/>
          <p:nvPr/>
        </p:nvGrpSpPr>
        <p:grpSpPr>
          <a:xfrm>
            <a:off x="3999967" y="2706064"/>
            <a:ext cx="214912" cy="214912"/>
            <a:chOff x="4682991" y="1019790"/>
            <a:chExt cx="548640" cy="548640"/>
          </a:xfrm>
        </p:grpSpPr>
        <p:sp>
          <p:nvSpPr>
            <p:cNvPr id="1087" name="Oval 263">
              <a:extLst>
                <a:ext uri="{FF2B5EF4-FFF2-40B4-BE49-F238E27FC236}">
                  <a16:creationId xmlns:a16="http://schemas.microsoft.com/office/drawing/2014/main" id="{00B9D02B-CD3B-4055-9299-1FD6D5CD0EB9}"/>
                </a:ext>
              </a:extLst>
            </p:cNvPr>
            <p:cNvSpPr>
              <a:spLocks/>
            </p:cNvSpPr>
            <p:nvPr/>
          </p:nvSpPr>
          <p:spPr bwMode="auto">
            <a:xfrm>
              <a:off x="4682991" y="1019790"/>
              <a:ext cx="548640" cy="548640"/>
            </a:xfrm>
            <a:prstGeom prst="ellipse">
              <a:avLst/>
            </a:prstGeom>
            <a:solidFill>
              <a:schemeClr val="accent2"/>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solidFill>
                <a:effectLst/>
                <a:uLnTx/>
                <a:uFillTx/>
                <a:latin typeface="Arial" panose="020B0604020202020204" pitchFamily="34" charset="0"/>
                <a:ea typeface="ＭＳ Ｐゴシック" charset="0"/>
                <a:cs typeface="Arial" panose="020B0604020202020204" pitchFamily="34" charset="0"/>
              </a:endParaRPr>
            </a:p>
          </p:txBody>
        </p:sp>
        <p:grpSp>
          <p:nvGrpSpPr>
            <p:cNvPr id="1088" name="Group 1087">
              <a:extLst>
                <a:ext uri="{FF2B5EF4-FFF2-40B4-BE49-F238E27FC236}">
                  <a16:creationId xmlns:a16="http://schemas.microsoft.com/office/drawing/2014/main" id="{559CA049-6CC2-4F0F-BE3A-C7C7BE9543A5}"/>
                </a:ext>
              </a:extLst>
            </p:cNvPr>
            <p:cNvGrpSpPr/>
            <p:nvPr/>
          </p:nvGrpSpPr>
          <p:grpSpPr>
            <a:xfrm>
              <a:off x="4789549" y="1151957"/>
              <a:ext cx="335524" cy="284307"/>
              <a:chOff x="4780856" y="1109136"/>
              <a:chExt cx="335524" cy="284307"/>
            </a:xfrm>
          </p:grpSpPr>
          <p:sp>
            <p:nvSpPr>
              <p:cNvPr id="1089" name="Freeform 297">
                <a:extLst>
                  <a:ext uri="{FF2B5EF4-FFF2-40B4-BE49-F238E27FC236}">
                    <a16:creationId xmlns:a16="http://schemas.microsoft.com/office/drawing/2014/main" id="{95D16F97-7417-4D40-9FCC-52FDE36E3B6C}"/>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90" name="Freeform 298">
                <a:extLst>
                  <a:ext uri="{FF2B5EF4-FFF2-40B4-BE49-F238E27FC236}">
                    <a16:creationId xmlns:a16="http://schemas.microsoft.com/office/drawing/2014/main" id="{A0DBA1EA-77C0-40FD-9305-0D222ED7266C}"/>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91" name="Freeform 299">
                <a:extLst>
                  <a:ext uri="{FF2B5EF4-FFF2-40B4-BE49-F238E27FC236}">
                    <a16:creationId xmlns:a16="http://schemas.microsoft.com/office/drawing/2014/main" id="{5DBBB93C-7F15-4519-B1CD-3B097ABA8555}"/>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92" name="Freeform 300">
                <a:extLst>
                  <a:ext uri="{FF2B5EF4-FFF2-40B4-BE49-F238E27FC236}">
                    <a16:creationId xmlns:a16="http://schemas.microsoft.com/office/drawing/2014/main" id="{55FB8450-09AF-4D2E-BC2E-76318DA0F971}"/>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1093" name="Group 1092">
            <a:extLst>
              <a:ext uri="{FF2B5EF4-FFF2-40B4-BE49-F238E27FC236}">
                <a16:creationId xmlns:a16="http://schemas.microsoft.com/office/drawing/2014/main" id="{D1BA719E-BF44-4000-AFCD-8705EB533022}"/>
              </a:ext>
            </a:extLst>
          </p:cNvPr>
          <p:cNvGrpSpPr/>
          <p:nvPr/>
        </p:nvGrpSpPr>
        <p:grpSpPr>
          <a:xfrm>
            <a:off x="4915408" y="2706063"/>
            <a:ext cx="214912" cy="214912"/>
            <a:chOff x="4682991" y="1019790"/>
            <a:chExt cx="548640" cy="548640"/>
          </a:xfrm>
        </p:grpSpPr>
        <p:sp>
          <p:nvSpPr>
            <p:cNvPr id="1094" name="Oval 263">
              <a:extLst>
                <a:ext uri="{FF2B5EF4-FFF2-40B4-BE49-F238E27FC236}">
                  <a16:creationId xmlns:a16="http://schemas.microsoft.com/office/drawing/2014/main" id="{6485886A-D95A-4A9F-9CC1-E4B944F3A484}"/>
                </a:ext>
              </a:extLst>
            </p:cNvPr>
            <p:cNvSpPr>
              <a:spLocks/>
            </p:cNvSpPr>
            <p:nvPr/>
          </p:nvSpPr>
          <p:spPr bwMode="auto">
            <a:xfrm>
              <a:off x="4682991" y="1019790"/>
              <a:ext cx="548640" cy="548640"/>
            </a:xfrm>
            <a:prstGeom prst="ellipse">
              <a:avLst/>
            </a:prstGeom>
            <a:solidFill>
              <a:schemeClr val="accent2"/>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76767"/>
                </a:solidFill>
                <a:effectLst/>
                <a:uLnTx/>
                <a:uFillTx/>
                <a:latin typeface="Arial" panose="020B0604020202020204" pitchFamily="34" charset="0"/>
                <a:ea typeface="ＭＳ Ｐゴシック" charset="0"/>
                <a:cs typeface="Arial" panose="020B0604020202020204" pitchFamily="34" charset="0"/>
              </a:endParaRPr>
            </a:p>
          </p:txBody>
        </p:sp>
        <p:grpSp>
          <p:nvGrpSpPr>
            <p:cNvPr id="1095" name="Group 1094">
              <a:extLst>
                <a:ext uri="{FF2B5EF4-FFF2-40B4-BE49-F238E27FC236}">
                  <a16:creationId xmlns:a16="http://schemas.microsoft.com/office/drawing/2014/main" id="{21F944B4-9FB5-4A28-AEBD-E1B578B82AA7}"/>
                </a:ext>
              </a:extLst>
            </p:cNvPr>
            <p:cNvGrpSpPr/>
            <p:nvPr/>
          </p:nvGrpSpPr>
          <p:grpSpPr>
            <a:xfrm>
              <a:off x="4789549" y="1151957"/>
              <a:ext cx="335524" cy="284307"/>
              <a:chOff x="4780856" y="1109136"/>
              <a:chExt cx="335524" cy="284307"/>
            </a:xfrm>
          </p:grpSpPr>
          <p:sp>
            <p:nvSpPr>
              <p:cNvPr id="1096" name="Freeform 297">
                <a:extLst>
                  <a:ext uri="{FF2B5EF4-FFF2-40B4-BE49-F238E27FC236}">
                    <a16:creationId xmlns:a16="http://schemas.microsoft.com/office/drawing/2014/main" id="{C5867917-2EA4-4BA7-81E0-07CEC2B0E9A9}"/>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97" name="Freeform 298">
                <a:extLst>
                  <a:ext uri="{FF2B5EF4-FFF2-40B4-BE49-F238E27FC236}">
                    <a16:creationId xmlns:a16="http://schemas.microsoft.com/office/drawing/2014/main" id="{029B597A-3900-4FB6-B8AC-1F1135EB7C1A}"/>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98" name="Freeform 299">
                <a:extLst>
                  <a:ext uri="{FF2B5EF4-FFF2-40B4-BE49-F238E27FC236}">
                    <a16:creationId xmlns:a16="http://schemas.microsoft.com/office/drawing/2014/main" id="{522C8623-555E-4C23-8E07-368B9600B668}"/>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99" name="Freeform 300">
                <a:extLst>
                  <a:ext uri="{FF2B5EF4-FFF2-40B4-BE49-F238E27FC236}">
                    <a16:creationId xmlns:a16="http://schemas.microsoft.com/office/drawing/2014/main" id="{DE95A0D7-8775-4966-B45B-7E89897584F7}"/>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1100" name="Group 1099">
            <a:extLst>
              <a:ext uri="{FF2B5EF4-FFF2-40B4-BE49-F238E27FC236}">
                <a16:creationId xmlns:a16="http://schemas.microsoft.com/office/drawing/2014/main" id="{8A7BA850-46DE-4807-86AD-392057E58B7C}"/>
              </a:ext>
            </a:extLst>
          </p:cNvPr>
          <p:cNvGrpSpPr/>
          <p:nvPr/>
        </p:nvGrpSpPr>
        <p:grpSpPr>
          <a:xfrm>
            <a:off x="4630916" y="2706470"/>
            <a:ext cx="214912" cy="214912"/>
            <a:chOff x="4267363" y="2915258"/>
            <a:chExt cx="548640" cy="548640"/>
          </a:xfrm>
        </p:grpSpPr>
        <p:sp>
          <p:nvSpPr>
            <p:cNvPr id="1101" name="Oval 263">
              <a:extLst>
                <a:ext uri="{FF2B5EF4-FFF2-40B4-BE49-F238E27FC236}">
                  <a16:creationId xmlns:a16="http://schemas.microsoft.com/office/drawing/2014/main" id="{FDDC90CB-43CB-4E08-8A9E-8EDB0C8E39BF}"/>
                </a:ext>
              </a:extLst>
            </p:cNvPr>
            <p:cNvSpPr>
              <a:spLocks/>
            </p:cNvSpPr>
            <p:nvPr/>
          </p:nvSpPr>
          <p:spPr bwMode="auto">
            <a:xfrm>
              <a:off x="4267363" y="2915258"/>
              <a:ext cx="548640" cy="548640"/>
            </a:xfrm>
            <a:prstGeom prst="ellipse">
              <a:avLst/>
            </a:prstGeom>
            <a:solidFill>
              <a:srgbClr val="E9E9E9"/>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76767"/>
                </a:solidFill>
                <a:effectLst/>
                <a:uLnTx/>
                <a:uFillTx/>
                <a:latin typeface="Arial" panose="020B0604020202020204" pitchFamily="34" charset="0"/>
                <a:ea typeface="ＭＳ Ｐゴシック" charset="0"/>
                <a:cs typeface="Arial" panose="020B0604020202020204" pitchFamily="34" charset="0"/>
              </a:endParaRPr>
            </a:p>
          </p:txBody>
        </p:sp>
        <p:sp>
          <p:nvSpPr>
            <p:cNvPr id="1102" name="object 424">
              <a:extLst>
                <a:ext uri="{FF2B5EF4-FFF2-40B4-BE49-F238E27FC236}">
                  <a16:creationId xmlns:a16="http://schemas.microsoft.com/office/drawing/2014/main" id="{19E2AC4C-B415-48DB-8B62-AEF15D0F3C8E}"/>
                </a:ext>
              </a:extLst>
            </p:cNvPr>
            <p:cNvSpPr/>
            <p:nvPr/>
          </p:nvSpPr>
          <p:spPr>
            <a:xfrm>
              <a:off x="4405503" y="3248452"/>
              <a:ext cx="273263" cy="107076"/>
            </a:xfrm>
            <a:custGeom>
              <a:avLst/>
              <a:gdLst/>
              <a:ahLst/>
              <a:cxnLst/>
              <a:rect l="l" t="t" r="r" b="b"/>
              <a:pathLst>
                <a:path w="669290" h="262254">
                  <a:moveTo>
                    <a:pt x="668489" y="0"/>
                  </a:moveTo>
                  <a:lnTo>
                    <a:pt x="0" y="1193"/>
                  </a:lnTo>
                  <a:lnTo>
                    <a:pt x="469" y="262064"/>
                  </a:lnTo>
                  <a:lnTo>
                    <a:pt x="668959" y="260870"/>
                  </a:lnTo>
                  <a:lnTo>
                    <a:pt x="668849" y="199643"/>
                  </a:lnTo>
                  <a:lnTo>
                    <a:pt x="335864" y="199643"/>
                  </a:lnTo>
                  <a:lnTo>
                    <a:pt x="322226" y="198526"/>
                  </a:lnTo>
                  <a:lnTo>
                    <a:pt x="286588" y="180111"/>
                  </a:lnTo>
                  <a:lnTo>
                    <a:pt x="267601" y="146786"/>
                  </a:lnTo>
                  <a:lnTo>
                    <a:pt x="96862" y="146786"/>
                  </a:lnTo>
                  <a:lnTo>
                    <a:pt x="96862" y="122326"/>
                  </a:lnTo>
                  <a:lnTo>
                    <a:pt x="266090" y="122326"/>
                  </a:lnTo>
                  <a:lnTo>
                    <a:pt x="268308" y="111248"/>
                  </a:lnTo>
                  <a:lnTo>
                    <a:pt x="307751" y="66658"/>
                  </a:lnTo>
                  <a:lnTo>
                    <a:pt x="333746" y="61194"/>
                  </a:lnTo>
                  <a:lnTo>
                    <a:pt x="668600" y="61194"/>
                  </a:lnTo>
                  <a:lnTo>
                    <a:pt x="668489" y="0"/>
                  </a:lnTo>
                  <a:close/>
                </a:path>
                <a:path w="669290" h="262254">
                  <a:moveTo>
                    <a:pt x="668600" y="61194"/>
                  </a:moveTo>
                  <a:lnTo>
                    <a:pt x="333746" y="61194"/>
                  </a:lnTo>
                  <a:lnTo>
                    <a:pt x="359898" y="65856"/>
                  </a:lnTo>
                  <a:lnTo>
                    <a:pt x="383031" y="80695"/>
                  </a:lnTo>
                  <a:lnTo>
                    <a:pt x="390820" y="89699"/>
                  </a:lnTo>
                  <a:lnTo>
                    <a:pt x="396874" y="99801"/>
                  </a:lnTo>
                  <a:lnTo>
                    <a:pt x="401119" y="110758"/>
                  </a:lnTo>
                  <a:lnTo>
                    <a:pt x="403478" y="122326"/>
                  </a:lnTo>
                  <a:lnTo>
                    <a:pt x="581774" y="122326"/>
                  </a:lnTo>
                  <a:lnTo>
                    <a:pt x="581774" y="146786"/>
                  </a:lnTo>
                  <a:lnTo>
                    <a:pt x="402069" y="146786"/>
                  </a:lnTo>
                  <a:lnTo>
                    <a:pt x="399321" y="155533"/>
                  </a:lnTo>
                  <a:lnTo>
                    <a:pt x="374083" y="187472"/>
                  </a:lnTo>
                  <a:lnTo>
                    <a:pt x="335864" y="199643"/>
                  </a:lnTo>
                  <a:lnTo>
                    <a:pt x="668849" y="199643"/>
                  </a:lnTo>
                  <a:lnTo>
                    <a:pt x="668600" y="61194"/>
                  </a:lnTo>
                  <a:close/>
                </a:path>
              </a:pathLst>
            </a:custGeom>
            <a:solidFill>
              <a:srgbClr val="00BCEB"/>
            </a:solidFill>
          </p:spPr>
          <p:txBody>
            <a:bodyPr wrap="square" lIns="0" tIns="0" rIns="0" bIns="0" rtlCol="0"/>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1103" name="Group 1102">
              <a:extLst>
                <a:ext uri="{FF2B5EF4-FFF2-40B4-BE49-F238E27FC236}">
                  <a16:creationId xmlns:a16="http://schemas.microsoft.com/office/drawing/2014/main" id="{91BD55BB-83BF-4C4D-813B-34B02C8512E9}"/>
                </a:ext>
              </a:extLst>
            </p:cNvPr>
            <p:cNvGrpSpPr/>
            <p:nvPr/>
          </p:nvGrpSpPr>
          <p:grpSpPr>
            <a:xfrm>
              <a:off x="4422922" y="3030100"/>
              <a:ext cx="238375" cy="192830"/>
              <a:chOff x="5121843" y="3876582"/>
              <a:chExt cx="437148" cy="353618"/>
            </a:xfrm>
          </p:grpSpPr>
          <p:sp>
            <p:nvSpPr>
              <p:cNvPr id="1104" name="Freeform 176">
                <a:extLst>
                  <a:ext uri="{FF2B5EF4-FFF2-40B4-BE49-F238E27FC236}">
                    <a16:creationId xmlns:a16="http://schemas.microsoft.com/office/drawing/2014/main" id="{0309EBA0-18C3-4E29-8C9F-4FB172E9E7FE}"/>
                  </a:ext>
                </a:extLst>
              </p:cNvPr>
              <p:cNvSpPr>
                <a:spLocks/>
              </p:cNvSpPr>
              <p:nvPr/>
            </p:nvSpPr>
            <p:spPr bwMode="auto">
              <a:xfrm>
                <a:off x="5291689" y="4129962"/>
                <a:ext cx="100237" cy="100238"/>
              </a:xfrm>
              <a:custGeom>
                <a:avLst/>
                <a:gdLst>
                  <a:gd name="T0" fmla="*/ 31 w 213"/>
                  <a:gd name="T1" fmla="*/ 31 h 213"/>
                  <a:gd name="T2" fmla="*/ 17 w 213"/>
                  <a:gd name="T3" fmla="*/ 48 h 213"/>
                  <a:gd name="T4" fmla="*/ 8 w 213"/>
                  <a:gd name="T5" fmla="*/ 67 h 213"/>
                  <a:gd name="T6" fmla="*/ 2 w 213"/>
                  <a:gd name="T7" fmla="*/ 86 h 213"/>
                  <a:gd name="T8" fmla="*/ 0 w 213"/>
                  <a:gd name="T9" fmla="*/ 107 h 213"/>
                  <a:gd name="T10" fmla="*/ 2 w 213"/>
                  <a:gd name="T11" fmla="*/ 127 h 213"/>
                  <a:gd name="T12" fmla="*/ 8 w 213"/>
                  <a:gd name="T13" fmla="*/ 146 h 213"/>
                  <a:gd name="T14" fmla="*/ 17 w 213"/>
                  <a:gd name="T15" fmla="*/ 166 h 213"/>
                  <a:gd name="T16" fmla="*/ 31 w 213"/>
                  <a:gd name="T17" fmla="*/ 182 h 213"/>
                  <a:gd name="T18" fmla="*/ 39 w 213"/>
                  <a:gd name="T19" fmla="*/ 190 h 213"/>
                  <a:gd name="T20" fmla="*/ 57 w 213"/>
                  <a:gd name="T21" fmla="*/ 202 h 213"/>
                  <a:gd name="T22" fmla="*/ 76 w 213"/>
                  <a:gd name="T23" fmla="*/ 210 h 213"/>
                  <a:gd name="T24" fmla="*/ 97 w 213"/>
                  <a:gd name="T25" fmla="*/ 213 h 213"/>
                  <a:gd name="T26" fmla="*/ 117 w 213"/>
                  <a:gd name="T27" fmla="*/ 213 h 213"/>
                  <a:gd name="T28" fmla="*/ 137 w 213"/>
                  <a:gd name="T29" fmla="*/ 210 h 213"/>
                  <a:gd name="T30" fmla="*/ 157 w 213"/>
                  <a:gd name="T31" fmla="*/ 202 h 213"/>
                  <a:gd name="T32" fmla="*/ 174 w 213"/>
                  <a:gd name="T33" fmla="*/ 190 h 213"/>
                  <a:gd name="T34" fmla="*/ 182 w 213"/>
                  <a:gd name="T35" fmla="*/ 182 h 213"/>
                  <a:gd name="T36" fmla="*/ 196 w 213"/>
                  <a:gd name="T37" fmla="*/ 166 h 213"/>
                  <a:gd name="T38" fmla="*/ 206 w 213"/>
                  <a:gd name="T39" fmla="*/ 146 h 213"/>
                  <a:gd name="T40" fmla="*/ 212 w 213"/>
                  <a:gd name="T41" fmla="*/ 127 h 213"/>
                  <a:gd name="T42" fmla="*/ 213 w 213"/>
                  <a:gd name="T43" fmla="*/ 107 h 213"/>
                  <a:gd name="T44" fmla="*/ 212 w 213"/>
                  <a:gd name="T45" fmla="*/ 86 h 213"/>
                  <a:gd name="T46" fmla="*/ 206 w 213"/>
                  <a:gd name="T47" fmla="*/ 67 h 213"/>
                  <a:gd name="T48" fmla="*/ 196 w 213"/>
                  <a:gd name="T49" fmla="*/ 48 h 213"/>
                  <a:gd name="T50" fmla="*/ 182 w 213"/>
                  <a:gd name="T51" fmla="*/ 31 h 213"/>
                  <a:gd name="T52" fmla="*/ 174 w 213"/>
                  <a:gd name="T53" fmla="*/ 24 h 213"/>
                  <a:gd name="T54" fmla="*/ 157 w 213"/>
                  <a:gd name="T55" fmla="*/ 12 h 213"/>
                  <a:gd name="T56" fmla="*/ 137 w 213"/>
                  <a:gd name="T57" fmla="*/ 4 h 213"/>
                  <a:gd name="T58" fmla="*/ 117 w 213"/>
                  <a:gd name="T59" fmla="*/ 0 h 213"/>
                  <a:gd name="T60" fmla="*/ 97 w 213"/>
                  <a:gd name="T61" fmla="*/ 0 h 213"/>
                  <a:gd name="T62" fmla="*/ 76 w 213"/>
                  <a:gd name="T63" fmla="*/ 4 h 213"/>
                  <a:gd name="T64" fmla="*/ 57 w 213"/>
                  <a:gd name="T65" fmla="*/ 12 h 213"/>
                  <a:gd name="T66" fmla="*/ 39 w 213"/>
                  <a:gd name="T67" fmla="*/ 24 h 213"/>
                  <a:gd name="T68" fmla="*/ 31 w 213"/>
                  <a:gd name="T69" fmla="*/ 3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213">
                    <a:moveTo>
                      <a:pt x="31" y="31"/>
                    </a:moveTo>
                    <a:lnTo>
                      <a:pt x="31" y="31"/>
                    </a:lnTo>
                    <a:lnTo>
                      <a:pt x="24" y="39"/>
                    </a:lnTo>
                    <a:lnTo>
                      <a:pt x="17" y="48"/>
                    </a:lnTo>
                    <a:lnTo>
                      <a:pt x="12" y="57"/>
                    </a:lnTo>
                    <a:lnTo>
                      <a:pt x="8" y="67"/>
                    </a:lnTo>
                    <a:lnTo>
                      <a:pt x="4" y="76"/>
                    </a:lnTo>
                    <a:lnTo>
                      <a:pt x="2" y="86"/>
                    </a:lnTo>
                    <a:lnTo>
                      <a:pt x="1" y="97"/>
                    </a:lnTo>
                    <a:lnTo>
                      <a:pt x="0" y="107"/>
                    </a:lnTo>
                    <a:lnTo>
                      <a:pt x="1" y="116"/>
                    </a:lnTo>
                    <a:lnTo>
                      <a:pt x="2" y="127"/>
                    </a:lnTo>
                    <a:lnTo>
                      <a:pt x="4" y="137"/>
                    </a:lnTo>
                    <a:lnTo>
                      <a:pt x="8" y="146"/>
                    </a:lnTo>
                    <a:lnTo>
                      <a:pt x="12" y="157"/>
                    </a:lnTo>
                    <a:lnTo>
                      <a:pt x="17" y="166"/>
                    </a:lnTo>
                    <a:lnTo>
                      <a:pt x="24" y="174"/>
                    </a:lnTo>
                    <a:lnTo>
                      <a:pt x="31" y="182"/>
                    </a:lnTo>
                    <a:lnTo>
                      <a:pt x="31" y="182"/>
                    </a:lnTo>
                    <a:lnTo>
                      <a:pt x="39" y="190"/>
                    </a:lnTo>
                    <a:lnTo>
                      <a:pt x="48" y="196"/>
                    </a:lnTo>
                    <a:lnTo>
                      <a:pt x="57" y="202"/>
                    </a:lnTo>
                    <a:lnTo>
                      <a:pt x="67" y="206"/>
                    </a:lnTo>
                    <a:lnTo>
                      <a:pt x="76" y="210"/>
                    </a:lnTo>
                    <a:lnTo>
                      <a:pt x="86" y="212"/>
                    </a:lnTo>
                    <a:lnTo>
                      <a:pt x="97" y="213"/>
                    </a:lnTo>
                    <a:lnTo>
                      <a:pt x="107" y="213"/>
                    </a:lnTo>
                    <a:lnTo>
                      <a:pt x="117" y="213"/>
                    </a:lnTo>
                    <a:lnTo>
                      <a:pt x="127" y="212"/>
                    </a:lnTo>
                    <a:lnTo>
                      <a:pt x="137" y="210"/>
                    </a:lnTo>
                    <a:lnTo>
                      <a:pt x="147" y="206"/>
                    </a:lnTo>
                    <a:lnTo>
                      <a:pt x="157" y="202"/>
                    </a:lnTo>
                    <a:lnTo>
                      <a:pt x="166" y="196"/>
                    </a:lnTo>
                    <a:lnTo>
                      <a:pt x="174" y="190"/>
                    </a:lnTo>
                    <a:lnTo>
                      <a:pt x="182" y="182"/>
                    </a:lnTo>
                    <a:lnTo>
                      <a:pt x="182" y="182"/>
                    </a:lnTo>
                    <a:lnTo>
                      <a:pt x="190" y="174"/>
                    </a:lnTo>
                    <a:lnTo>
                      <a:pt x="196" y="166"/>
                    </a:lnTo>
                    <a:lnTo>
                      <a:pt x="202" y="157"/>
                    </a:lnTo>
                    <a:lnTo>
                      <a:pt x="206" y="146"/>
                    </a:lnTo>
                    <a:lnTo>
                      <a:pt x="210" y="137"/>
                    </a:lnTo>
                    <a:lnTo>
                      <a:pt x="212" y="127"/>
                    </a:lnTo>
                    <a:lnTo>
                      <a:pt x="213" y="116"/>
                    </a:lnTo>
                    <a:lnTo>
                      <a:pt x="213" y="107"/>
                    </a:lnTo>
                    <a:lnTo>
                      <a:pt x="213" y="97"/>
                    </a:lnTo>
                    <a:lnTo>
                      <a:pt x="212" y="86"/>
                    </a:lnTo>
                    <a:lnTo>
                      <a:pt x="210" y="76"/>
                    </a:lnTo>
                    <a:lnTo>
                      <a:pt x="206" y="67"/>
                    </a:lnTo>
                    <a:lnTo>
                      <a:pt x="202" y="57"/>
                    </a:lnTo>
                    <a:lnTo>
                      <a:pt x="196" y="48"/>
                    </a:lnTo>
                    <a:lnTo>
                      <a:pt x="190" y="39"/>
                    </a:lnTo>
                    <a:lnTo>
                      <a:pt x="182" y="31"/>
                    </a:lnTo>
                    <a:lnTo>
                      <a:pt x="182" y="31"/>
                    </a:lnTo>
                    <a:lnTo>
                      <a:pt x="174" y="24"/>
                    </a:lnTo>
                    <a:lnTo>
                      <a:pt x="166" y="17"/>
                    </a:lnTo>
                    <a:lnTo>
                      <a:pt x="157" y="12"/>
                    </a:lnTo>
                    <a:lnTo>
                      <a:pt x="147" y="8"/>
                    </a:lnTo>
                    <a:lnTo>
                      <a:pt x="137" y="4"/>
                    </a:lnTo>
                    <a:lnTo>
                      <a:pt x="127" y="2"/>
                    </a:lnTo>
                    <a:lnTo>
                      <a:pt x="117" y="0"/>
                    </a:lnTo>
                    <a:lnTo>
                      <a:pt x="107" y="0"/>
                    </a:lnTo>
                    <a:lnTo>
                      <a:pt x="97" y="0"/>
                    </a:lnTo>
                    <a:lnTo>
                      <a:pt x="86" y="2"/>
                    </a:lnTo>
                    <a:lnTo>
                      <a:pt x="76" y="4"/>
                    </a:lnTo>
                    <a:lnTo>
                      <a:pt x="67" y="8"/>
                    </a:lnTo>
                    <a:lnTo>
                      <a:pt x="57" y="12"/>
                    </a:lnTo>
                    <a:lnTo>
                      <a:pt x="48" y="17"/>
                    </a:lnTo>
                    <a:lnTo>
                      <a:pt x="39" y="24"/>
                    </a:lnTo>
                    <a:lnTo>
                      <a:pt x="31" y="31"/>
                    </a:lnTo>
                    <a:lnTo>
                      <a:pt x="31" y="31"/>
                    </a:lnTo>
                    <a:close/>
                  </a:path>
                </a:pathLst>
              </a:custGeom>
              <a:solidFill>
                <a:srgbClr val="9CE5F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Arial"/>
                  <a:ea typeface="ＭＳ Ｐゴシック" charset="0"/>
                  <a:cs typeface="+mn-cs"/>
                </a:endParaRPr>
              </a:p>
            </p:txBody>
          </p:sp>
          <p:sp>
            <p:nvSpPr>
              <p:cNvPr id="1105" name="Freeform 177">
                <a:extLst>
                  <a:ext uri="{FF2B5EF4-FFF2-40B4-BE49-F238E27FC236}">
                    <a16:creationId xmlns:a16="http://schemas.microsoft.com/office/drawing/2014/main" id="{503FBC33-AAD7-4764-8D11-F96763B48B59}"/>
                  </a:ext>
                </a:extLst>
              </p:cNvPr>
              <p:cNvSpPr>
                <a:spLocks/>
              </p:cNvSpPr>
              <p:nvPr/>
            </p:nvSpPr>
            <p:spPr bwMode="auto">
              <a:xfrm>
                <a:off x="5244355" y="4049215"/>
                <a:ext cx="194907" cy="69611"/>
              </a:xfrm>
              <a:custGeom>
                <a:avLst/>
                <a:gdLst>
                  <a:gd name="T0" fmla="*/ 302 w 424"/>
                  <a:gd name="T1" fmla="*/ 15 h 155"/>
                  <a:gd name="T2" fmla="*/ 257 w 424"/>
                  <a:gd name="T3" fmla="*/ 4 h 155"/>
                  <a:gd name="T4" fmla="*/ 212 w 424"/>
                  <a:gd name="T5" fmla="*/ 0 h 155"/>
                  <a:gd name="T6" fmla="*/ 184 w 424"/>
                  <a:gd name="T7" fmla="*/ 1 h 155"/>
                  <a:gd name="T8" fmla="*/ 131 w 424"/>
                  <a:gd name="T9" fmla="*/ 12 h 155"/>
                  <a:gd name="T10" fmla="*/ 81 w 424"/>
                  <a:gd name="T11" fmla="*/ 32 h 155"/>
                  <a:gd name="T12" fmla="*/ 56 w 424"/>
                  <a:gd name="T13" fmla="*/ 47 h 155"/>
                  <a:gd name="T14" fmla="*/ 33 w 424"/>
                  <a:gd name="T15" fmla="*/ 64 h 155"/>
                  <a:gd name="T16" fmla="*/ 11 w 424"/>
                  <a:gd name="T17" fmla="*/ 83 h 155"/>
                  <a:gd name="T18" fmla="*/ 7 w 424"/>
                  <a:gd name="T19" fmla="*/ 90 h 155"/>
                  <a:gd name="T20" fmla="*/ 0 w 424"/>
                  <a:gd name="T21" fmla="*/ 105 h 155"/>
                  <a:gd name="T22" fmla="*/ 0 w 424"/>
                  <a:gd name="T23" fmla="*/ 121 h 155"/>
                  <a:gd name="T24" fmla="*/ 7 w 424"/>
                  <a:gd name="T25" fmla="*/ 136 h 155"/>
                  <a:gd name="T26" fmla="*/ 11 w 424"/>
                  <a:gd name="T27" fmla="*/ 142 h 155"/>
                  <a:gd name="T28" fmla="*/ 25 w 424"/>
                  <a:gd name="T29" fmla="*/ 151 h 155"/>
                  <a:gd name="T30" fmla="*/ 41 w 424"/>
                  <a:gd name="T31" fmla="*/ 155 h 155"/>
                  <a:gd name="T32" fmla="*/ 49 w 424"/>
                  <a:gd name="T33" fmla="*/ 154 h 155"/>
                  <a:gd name="T34" fmla="*/ 64 w 424"/>
                  <a:gd name="T35" fmla="*/ 148 h 155"/>
                  <a:gd name="T36" fmla="*/ 70 w 424"/>
                  <a:gd name="T37" fmla="*/ 142 h 155"/>
                  <a:gd name="T38" fmla="*/ 102 w 424"/>
                  <a:gd name="T39" fmla="*/ 117 h 155"/>
                  <a:gd name="T40" fmla="*/ 137 w 424"/>
                  <a:gd name="T41" fmla="*/ 98 h 155"/>
                  <a:gd name="T42" fmla="*/ 174 w 424"/>
                  <a:gd name="T43" fmla="*/ 88 h 155"/>
                  <a:gd name="T44" fmla="*/ 212 w 424"/>
                  <a:gd name="T45" fmla="*/ 84 h 155"/>
                  <a:gd name="T46" fmla="*/ 228 w 424"/>
                  <a:gd name="T47" fmla="*/ 84 h 155"/>
                  <a:gd name="T48" fmla="*/ 261 w 424"/>
                  <a:gd name="T49" fmla="*/ 90 h 155"/>
                  <a:gd name="T50" fmla="*/ 276 w 424"/>
                  <a:gd name="T51" fmla="*/ 95 h 155"/>
                  <a:gd name="T52" fmla="*/ 316 w 424"/>
                  <a:gd name="T53" fmla="*/ 113 h 155"/>
                  <a:gd name="T54" fmla="*/ 353 w 424"/>
                  <a:gd name="T55" fmla="*/ 142 h 155"/>
                  <a:gd name="T56" fmla="*/ 360 w 424"/>
                  <a:gd name="T57" fmla="*/ 148 h 155"/>
                  <a:gd name="T58" fmla="*/ 375 w 424"/>
                  <a:gd name="T59" fmla="*/ 154 h 155"/>
                  <a:gd name="T60" fmla="*/ 391 w 424"/>
                  <a:gd name="T61" fmla="*/ 154 h 155"/>
                  <a:gd name="T62" fmla="*/ 406 w 424"/>
                  <a:gd name="T63" fmla="*/ 148 h 155"/>
                  <a:gd name="T64" fmla="*/ 412 w 424"/>
                  <a:gd name="T65" fmla="*/ 142 h 155"/>
                  <a:gd name="T66" fmla="*/ 421 w 424"/>
                  <a:gd name="T67" fmla="*/ 128 h 155"/>
                  <a:gd name="T68" fmla="*/ 424 w 424"/>
                  <a:gd name="T69" fmla="*/ 113 h 155"/>
                  <a:gd name="T70" fmla="*/ 421 w 424"/>
                  <a:gd name="T71" fmla="*/ 97 h 155"/>
                  <a:gd name="T72" fmla="*/ 412 w 424"/>
                  <a:gd name="T73" fmla="*/ 83 h 155"/>
                  <a:gd name="T74" fmla="*/ 400 w 424"/>
                  <a:gd name="T75" fmla="*/ 72 h 155"/>
                  <a:gd name="T76" fmla="*/ 374 w 424"/>
                  <a:gd name="T77" fmla="*/ 51 h 155"/>
                  <a:gd name="T78" fmla="*/ 346 w 424"/>
                  <a:gd name="T79" fmla="*/ 35 h 155"/>
                  <a:gd name="T80" fmla="*/ 317 w 424"/>
                  <a:gd name="T81" fmla="*/ 21 h 155"/>
                  <a:gd name="T82" fmla="*/ 302 w 424"/>
                  <a:gd name="T83" fmla="*/ 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4" h="155">
                    <a:moveTo>
                      <a:pt x="302" y="15"/>
                    </a:moveTo>
                    <a:lnTo>
                      <a:pt x="302" y="15"/>
                    </a:lnTo>
                    <a:lnTo>
                      <a:pt x="280" y="8"/>
                    </a:lnTo>
                    <a:lnTo>
                      <a:pt x="257" y="4"/>
                    </a:lnTo>
                    <a:lnTo>
                      <a:pt x="235" y="1"/>
                    </a:lnTo>
                    <a:lnTo>
                      <a:pt x="212" y="0"/>
                    </a:lnTo>
                    <a:lnTo>
                      <a:pt x="212" y="0"/>
                    </a:lnTo>
                    <a:lnTo>
                      <a:pt x="184" y="1"/>
                    </a:lnTo>
                    <a:lnTo>
                      <a:pt x="158" y="6"/>
                    </a:lnTo>
                    <a:lnTo>
                      <a:pt x="131" y="12"/>
                    </a:lnTo>
                    <a:lnTo>
                      <a:pt x="105" y="21"/>
                    </a:lnTo>
                    <a:lnTo>
                      <a:pt x="81" y="32"/>
                    </a:lnTo>
                    <a:lnTo>
                      <a:pt x="68" y="39"/>
                    </a:lnTo>
                    <a:lnTo>
                      <a:pt x="56" y="47"/>
                    </a:lnTo>
                    <a:lnTo>
                      <a:pt x="45" y="56"/>
                    </a:lnTo>
                    <a:lnTo>
                      <a:pt x="33" y="64"/>
                    </a:lnTo>
                    <a:lnTo>
                      <a:pt x="22" y="73"/>
                    </a:lnTo>
                    <a:lnTo>
                      <a:pt x="11" y="83"/>
                    </a:lnTo>
                    <a:lnTo>
                      <a:pt x="11" y="83"/>
                    </a:lnTo>
                    <a:lnTo>
                      <a:pt x="7" y="90"/>
                    </a:lnTo>
                    <a:lnTo>
                      <a:pt x="2" y="97"/>
                    </a:lnTo>
                    <a:lnTo>
                      <a:pt x="0" y="105"/>
                    </a:lnTo>
                    <a:lnTo>
                      <a:pt x="0" y="113"/>
                    </a:lnTo>
                    <a:lnTo>
                      <a:pt x="0" y="121"/>
                    </a:lnTo>
                    <a:lnTo>
                      <a:pt x="2" y="128"/>
                    </a:lnTo>
                    <a:lnTo>
                      <a:pt x="7" y="136"/>
                    </a:lnTo>
                    <a:lnTo>
                      <a:pt x="11" y="142"/>
                    </a:lnTo>
                    <a:lnTo>
                      <a:pt x="11" y="142"/>
                    </a:lnTo>
                    <a:lnTo>
                      <a:pt x="18" y="148"/>
                    </a:lnTo>
                    <a:lnTo>
                      <a:pt x="25" y="151"/>
                    </a:lnTo>
                    <a:lnTo>
                      <a:pt x="33" y="154"/>
                    </a:lnTo>
                    <a:lnTo>
                      <a:pt x="41" y="155"/>
                    </a:lnTo>
                    <a:lnTo>
                      <a:pt x="41" y="155"/>
                    </a:lnTo>
                    <a:lnTo>
                      <a:pt x="49" y="154"/>
                    </a:lnTo>
                    <a:lnTo>
                      <a:pt x="57" y="151"/>
                    </a:lnTo>
                    <a:lnTo>
                      <a:pt x="64" y="148"/>
                    </a:lnTo>
                    <a:lnTo>
                      <a:pt x="70" y="142"/>
                    </a:lnTo>
                    <a:lnTo>
                      <a:pt x="70" y="142"/>
                    </a:lnTo>
                    <a:lnTo>
                      <a:pt x="86" y="128"/>
                    </a:lnTo>
                    <a:lnTo>
                      <a:pt x="102" y="117"/>
                    </a:lnTo>
                    <a:lnTo>
                      <a:pt x="119" y="106"/>
                    </a:lnTo>
                    <a:lnTo>
                      <a:pt x="137" y="98"/>
                    </a:lnTo>
                    <a:lnTo>
                      <a:pt x="154" y="92"/>
                    </a:lnTo>
                    <a:lnTo>
                      <a:pt x="174" y="88"/>
                    </a:lnTo>
                    <a:lnTo>
                      <a:pt x="192" y="84"/>
                    </a:lnTo>
                    <a:lnTo>
                      <a:pt x="212" y="84"/>
                    </a:lnTo>
                    <a:lnTo>
                      <a:pt x="212" y="84"/>
                    </a:lnTo>
                    <a:lnTo>
                      <a:pt x="228" y="84"/>
                    </a:lnTo>
                    <a:lnTo>
                      <a:pt x="244" y="87"/>
                    </a:lnTo>
                    <a:lnTo>
                      <a:pt x="261" y="90"/>
                    </a:lnTo>
                    <a:lnTo>
                      <a:pt x="276" y="95"/>
                    </a:lnTo>
                    <a:lnTo>
                      <a:pt x="276" y="95"/>
                    </a:lnTo>
                    <a:lnTo>
                      <a:pt x="296" y="103"/>
                    </a:lnTo>
                    <a:lnTo>
                      <a:pt x="316" y="113"/>
                    </a:lnTo>
                    <a:lnTo>
                      <a:pt x="336" y="127"/>
                    </a:lnTo>
                    <a:lnTo>
                      <a:pt x="353" y="142"/>
                    </a:lnTo>
                    <a:lnTo>
                      <a:pt x="353" y="142"/>
                    </a:lnTo>
                    <a:lnTo>
                      <a:pt x="360" y="148"/>
                    </a:lnTo>
                    <a:lnTo>
                      <a:pt x="367" y="151"/>
                    </a:lnTo>
                    <a:lnTo>
                      <a:pt x="375" y="154"/>
                    </a:lnTo>
                    <a:lnTo>
                      <a:pt x="383" y="155"/>
                    </a:lnTo>
                    <a:lnTo>
                      <a:pt x="391" y="154"/>
                    </a:lnTo>
                    <a:lnTo>
                      <a:pt x="398" y="151"/>
                    </a:lnTo>
                    <a:lnTo>
                      <a:pt x="406" y="148"/>
                    </a:lnTo>
                    <a:lnTo>
                      <a:pt x="412" y="142"/>
                    </a:lnTo>
                    <a:lnTo>
                      <a:pt x="412" y="142"/>
                    </a:lnTo>
                    <a:lnTo>
                      <a:pt x="417" y="136"/>
                    </a:lnTo>
                    <a:lnTo>
                      <a:pt x="421" y="128"/>
                    </a:lnTo>
                    <a:lnTo>
                      <a:pt x="423" y="121"/>
                    </a:lnTo>
                    <a:lnTo>
                      <a:pt x="424" y="113"/>
                    </a:lnTo>
                    <a:lnTo>
                      <a:pt x="423" y="105"/>
                    </a:lnTo>
                    <a:lnTo>
                      <a:pt x="421" y="97"/>
                    </a:lnTo>
                    <a:lnTo>
                      <a:pt x="417" y="90"/>
                    </a:lnTo>
                    <a:lnTo>
                      <a:pt x="412" y="83"/>
                    </a:lnTo>
                    <a:lnTo>
                      <a:pt x="412" y="83"/>
                    </a:lnTo>
                    <a:lnTo>
                      <a:pt x="400" y="72"/>
                    </a:lnTo>
                    <a:lnTo>
                      <a:pt x="387" y="61"/>
                    </a:lnTo>
                    <a:lnTo>
                      <a:pt x="374" y="51"/>
                    </a:lnTo>
                    <a:lnTo>
                      <a:pt x="360" y="43"/>
                    </a:lnTo>
                    <a:lnTo>
                      <a:pt x="346" y="35"/>
                    </a:lnTo>
                    <a:lnTo>
                      <a:pt x="332" y="27"/>
                    </a:lnTo>
                    <a:lnTo>
                      <a:pt x="317" y="21"/>
                    </a:lnTo>
                    <a:lnTo>
                      <a:pt x="302" y="15"/>
                    </a:lnTo>
                    <a:lnTo>
                      <a:pt x="302" y="15"/>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Arial"/>
                  <a:ea typeface="ＭＳ Ｐゴシック" charset="0"/>
                  <a:cs typeface="+mn-cs"/>
                </a:endParaRPr>
              </a:p>
            </p:txBody>
          </p:sp>
          <p:sp>
            <p:nvSpPr>
              <p:cNvPr id="1106" name="Freeform 178">
                <a:extLst>
                  <a:ext uri="{FF2B5EF4-FFF2-40B4-BE49-F238E27FC236}">
                    <a16:creationId xmlns:a16="http://schemas.microsoft.com/office/drawing/2014/main" id="{219E5A4E-9C07-459D-807C-F402655AC1E6}"/>
                  </a:ext>
                </a:extLst>
              </p:cNvPr>
              <p:cNvSpPr>
                <a:spLocks/>
              </p:cNvSpPr>
              <p:nvPr/>
            </p:nvSpPr>
            <p:spPr bwMode="auto">
              <a:xfrm>
                <a:off x="5183099" y="3962898"/>
                <a:ext cx="317419" cy="97455"/>
              </a:xfrm>
              <a:custGeom>
                <a:avLst/>
                <a:gdLst>
                  <a:gd name="T0" fmla="*/ 341 w 682"/>
                  <a:gd name="T1" fmla="*/ 0 h 208"/>
                  <a:gd name="T2" fmla="*/ 296 w 682"/>
                  <a:gd name="T3" fmla="*/ 2 h 208"/>
                  <a:gd name="T4" fmla="*/ 252 w 682"/>
                  <a:gd name="T5" fmla="*/ 9 h 208"/>
                  <a:gd name="T6" fmla="*/ 208 w 682"/>
                  <a:gd name="T7" fmla="*/ 19 h 208"/>
                  <a:gd name="T8" fmla="*/ 166 w 682"/>
                  <a:gd name="T9" fmla="*/ 34 h 208"/>
                  <a:gd name="T10" fmla="*/ 124 w 682"/>
                  <a:gd name="T11" fmla="*/ 54 h 208"/>
                  <a:gd name="T12" fmla="*/ 85 w 682"/>
                  <a:gd name="T13" fmla="*/ 77 h 208"/>
                  <a:gd name="T14" fmla="*/ 47 w 682"/>
                  <a:gd name="T15" fmla="*/ 105 h 208"/>
                  <a:gd name="T16" fmla="*/ 12 w 682"/>
                  <a:gd name="T17" fmla="*/ 137 h 208"/>
                  <a:gd name="T18" fmla="*/ 6 w 682"/>
                  <a:gd name="T19" fmla="*/ 143 h 208"/>
                  <a:gd name="T20" fmla="*/ 1 w 682"/>
                  <a:gd name="T21" fmla="*/ 158 h 208"/>
                  <a:gd name="T22" fmla="*/ 1 w 682"/>
                  <a:gd name="T23" fmla="*/ 174 h 208"/>
                  <a:gd name="T24" fmla="*/ 6 w 682"/>
                  <a:gd name="T25" fmla="*/ 189 h 208"/>
                  <a:gd name="T26" fmla="*/ 12 w 682"/>
                  <a:gd name="T27" fmla="*/ 196 h 208"/>
                  <a:gd name="T28" fmla="*/ 26 w 682"/>
                  <a:gd name="T29" fmla="*/ 205 h 208"/>
                  <a:gd name="T30" fmla="*/ 41 w 682"/>
                  <a:gd name="T31" fmla="*/ 208 h 208"/>
                  <a:gd name="T32" fmla="*/ 49 w 682"/>
                  <a:gd name="T33" fmla="*/ 208 h 208"/>
                  <a:gd name="T34" fmla="*/ 64 w 682"/>
                  <a:gd name="T35" fmla="*/ 201 h 208"/>
                  <a:gd name="T36" fmla="*/ 71 w 682"/>
                  <a:gd name="T37" fmla="*/ 196 h 208"/>
                  <a:gd name="T38" fmla="*/ 100 w 682"/>
                  <a:gd name="T39" fmla="*/ 169 h 208"/>
                  <a:gd name="T40" fmla="*/ 131 w 682"/>
                  <a:gd name="T41" fmla="*/ 146 h 208"/>
                  <a:gd name="T42" fmla="*/ 163 w 682"/>
                  <a:gd name="T43" fmla="*/ 128 h 208"/>
                  <a:gd name="T44" fmla="*/ 197 w 682"/>
                  <a:gd name="T45" fmla="*/ 112 h 208"/>
                  <a:gd name="T46" fmla="*/ 233 w 682"/>
                  <a:gd name="T47" fmla="*/ 99 h 208"/>
                  <a:gd name="T48" fmla="*/ 268 w 682"/>
                  <a:gd name="T49" fmla="*/ 91 h 208"/>
                  <a:gd name="T50" fmla="*/ 304 w 682"/>
                  <a:gd name="T51" fmla="*/ 85 h 208"/>
                  <a:gd name="T52" fmla="*/ 341 w 682"/>
                  <a:gd name="T53" fmla="*/ 84 h 208"/>
                  <a:gd name="T54" fmla="*/ 360 w 682"/>
                  <a:gd name="T55" fmla="*/ 84 h 208"/>
                  <a:gd name="T56" fmla="*/ 395 w 682"/>
                  <a:gd name="T57" fmla="*/ 88 h 208"/>
                  <a:gd name="T58" fmla="*/ 432 w 682"/>
                  <a:gd name="T59" fmla="*/ 94 h 208"/>
                  <a:gd name="T60" fmla="*/ 467 w 682"/>
                  <a:gd name="T61" fmla="*/ 105 h 208"/>
                  <a:gd name="T62" fmla="*/ 501 w 682"/>
                  <a:gd name="T63" fmla="*/ 119 h 208"/>
                  <a:gd name="T64" fmla="*/ 535 w 682"/>
                  <a:gd name="T65" fmla="*/ 136 h 208"/>
                  <a:gd name="T66" fmla="*/ 566 w 682"/>
                  <a:gd name="T67" fmla="*/ 158 h 208"/>
                  <a:gd name="T68" fmla="*/ 596 w 682"/>
                  <a:gd name="T69" fmla="*/ 182 h 208"/>
                  <a:gd name="T70" fmla="*/ 611 w 682"/>
                  <a:gd name="T71" fmla="*/ 196 h 208"/>
                  <a:gd name="T72" fmla="*/ 625 w 682"/>
                  <a:gd name="T73" fmla="*/ 205 h 208"/>
                  <a:gd name="T74" fmla="*/ 640 w 682"/>
                  <a:gd name="T75" fmla="*/ 208 h 208"/>
                  <a:gd name="T76" fmla="*/ 656 w 682"/>
                  <a:gd name="T77" fmla="*/ 205 h 208"/>
                  <a:gd name="T78" fmla="*/ 670 w 682"/>
                  <a:gd name="T79" fmla="*/ 196 h 208"/>
                  <a:gd name="T80" fmla="*/ 675 w 682"/>
                  <a:gd name="T81" fmla="*/ 189 h 208"/>
                  <a:gd name="T82" fmla="*/ 682 w 682"/>
                  <a:gd name="T83" fmla="*/ 174 h 208"/>
                  <a:gd name="T84" fmla="*/ 682 w 682"/>
                  <a:gd name="T85" fmla="*/ 158 h 208"/>
                  <a:gd name="T86" fmla="*/ 675 w 682"/>
                  <a:gd name="T87" fmla="*/ 143 h 208"/>
                  <a:gd name="T88" fmla="*/ 670 w 682"/>
                  <a:gd name="T89" fmla="*/ 137 h 208"/>
                  <a:gd name="T90" fmla="*/ 634 w 682"/>
                  <a:gd name="T91" fmla="*/ 105 h 208"/>
                  <a:gd name="T92" fmla="*/ 597 w 682"/>
                  <a:gd name="T93" fmla="*/ 77 h 208"/>
                  <a:gd name="T94" fmla="*/ 557 w 682"/>
                  <a:gd name="T95" fmla="*/ 54 h 208"/>
                  <a:gd name="T96" fmla="*/ 515 w 682"/>
                  <a:gd name="T97" fmla="*/ 34 h 208"/>
                  <a:gd name="T98" fmla="*/ 473 w 682"/>
                  <a:gd name="T99" fmla="*/ 19 h 208"/>
                  <a:gd name="T100" fmla="*/ 430 w 682"/>
                  <a:gd name="T101" fmla="*/ 9 h 208"/>
                  <a:gd name="T102" fmla="*/ 385 w 682"/>
                  <a:gd name="T103" fmla="*/ 2 h 208"/>
                  <a:gd name="T104" fmla="*/ 341 w 682"/>
                  <a:gd name="T10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2" h="208">
                    <a:moveTo>
                      <a:pt x="341" y="0"/>
                    </a:moveTo>
                    <a:lnTo>
                      <a:pt x="341" y="0"/>
                    </a:lnTo>
                    <a:lnTo>
                      <a:pt x="318" y="1"/>
                    </a:lnTo>
                    <a:lnTo>
                      <a:pt x="296" y="2"/>
                    </a:lnTo>
                    <a:lnTo>
                      <a:pt x="274" y="6"/>
                    </a:lnTo>
                    <a:lnTo>
                      <a:pt x="252" y="9"/>
                    </a:lnTo>
                    <a:lnTo>
                      <a:pt x="230" y="14"/>
                    </a:lnTo>
                    <a:lnTo>
                      <a:pt x="208" y="19"/>
                    </a:lnTo>
                    <a:lnTo>
                      <a:pt x="186" y="26"/>
                    </a:lnTo>
                    <a:lnTo>
                      <a:pt x="166" y="34"/>
                    </a:lnTo>
                    <a:lnTo>
                      <a:pt x="145" y="44"/>
                    </a:lnTo>
                    <a:lnTo>
                      <a:pt x="124" y="54"/>
                    </a:lnTo>
                    <a:lnTo>
                      <a:pt x="105" y="64"/>
                    </a:lnTo>
                    <a:lnTo>
                      <a:pt x="85" y="77"/>
                    </a:lnTo>
                    <a:lnTo>
                      <a:pt x="65" y="90"/>
                    </a:lnTo>
                    <a:lnTo>
                      <a:pt x="47" y="105"/>
                    </a:lnTo>
                    <a:lnTo>
                      <a:pt x="30" y="120"/>
                    </a:lnTo>
                    <a:lnTo>
                      <a:pt x="12" y="137"/>
                    </a:lnTo>
                    <a:lnTo>
                      <a:pt x="12" y="137"/>
                    </a:lnTo>
                    <a:lnTo>
                      <a:pt x="6" y="143"/>
                    </a:lnTo>
                    <a:lnTo>
                      <a:pt x="3" y="150"/>
                    </a:lnTo>
                    <a:lnTo>
                      <a:pt x="1" y="158"/>
                    </a:lnTo>
                    <a:lnTo>
                      <a:pt x="0" y="166"/>
                    </a:lnTo>
                    <a:lnTo>
                      <a:pt x="1" y="174"/>
                    </a:lnTo>
                    <a:lnTo>
                      <a:pt x="3" y="182"/>
                    </a:lnTo>
                    <a:lnTo>
                      <a:pt x="6" y="189"/>
                    </a:lnTo>
                    <a:lnTo>
                      <a:pt x="12" y="196"/>
                    </a:lnTo>
                    <a:lnTo>
                      <a:pt x="12" y="196"/>
                    </a:lnTo>
                    <a:lnTo>
                      <a:pt x="18" y="201"/>
                    </a:lnTo>
                    <a:lnTo>
                      <a:pt x="26" y="205"/>
                    </a:lnTo>
                    <a:lnTo>
                      <a:pt x="33" y="208"/>
                    </a:lnTo>
                    <a:lnTo>
                      <a:pt x="41" y="208"/>
                    </a:lnTo>
                    <a:lnTo>
                      <a:pt x="41" y="208"/>
                    </a:lnTo>
                    <a:lnTo>
                      <a:pt x="49" y="208"/>
                    </a:lnTo>
                    <a:lnTo>
                      <a:pt x="57" y="205"/>
                    </a:lnTo>
                    <a:lnTo>
                      <a:pt x="64" y="201"/>
                    </a:lnTo>
                    <a:lnTo>
                      <a:pt x="71" y="196"/>
                    </a:lnTo>
                    <a:lnTo>
                      <a:pt x="71" y="196"/>
                    </a:lnTo>
                    <a:lnTo>
                      <a:pt x="85" y="182"/>
                    </a:lnTo>
                    <a:lnTo>
                      <a:pt x="100" y="169"/>
                    </a:lnTo>
                    <a:lnTo>
                      <a:pt x="115" y="158"/>
                    </a:lnTo>
                    <a:lnTo>
                      <a:pt x="131" y="146"/>
                    </a:lnTo>
                    <a:lnTo>
                      <a:pt x="147" y="136"/>
                    </a:lnTo>
                    <a:lnTo>
                      <a:pt x="163" y="128"/>
                    </a:lnTo>
                    <a:lnTo>
                      <a:pt x="181" y="119"/>
                    </a:lnTo>
                    <a:lnTo>
                      <a:pt x="197" y="112"/>
                    </a:lnTo>
                    <a:lnTo>
                      <a:pt x="214" y="105"/>
                    </a:lnTo>
                    <a:lnTo>
                      <a:pt x="233" y="99"/>
                    </a:lnTo>
                    <a:lnTo>
                      <a:pt x="250" y="94"/>
                    </a:lnTo>
                    <a:lnTo>
                      <a:pt x="268" y="91"/>
                    </a:lnTo>
                    <a:lnTo>
                      <a:pt x="286" y="88"/>
                    </a:lnTo>
                    <a:lnTo>
                      <a:pt x="304" y="85"/>
                    </a:lnTo>
                    <a:lnTo>
                      <a:pt x="323" y="84"/>
                    </a:lnTo>
                    <a:lnTo>
                      <a:pt x="341" y="84"/>
                    </a:lnTo>
                    <a:lnTo>
                      <a:pt x="341" y="84"/>
                    </a:lnTo>
                    <a:lnTo>
                      <a:pt x="360" y="84"/>
                    </a:lnTo>
                    <a:lnTo>
                      <a:pt x="378" y="85"/>
                    </a:lnTo>
                    <a:lnTo>
                      <a:pt x="395" y="88"/>
                    </a:lnTo>
                    <a:lnTo>
                      <a:pt x="414" y="91"/>
                    </a:lnTo>
                    <a:lnTo>
                      <a:pt x="432" y="94"/>
                    </a:lnTo>
                    <a:lnTo>
                      <a:pt x="450" y="99"/>
                    </a:lnTo>
                    <a:lnTo>
                      <a:pt x="467" y="105"/>
                    </a:lnTo>
                    <a:lnTo>
                      <a:pt x="484" y="112"/>
                    </a:lnTo>
                    <a:lnTo>
                      <a:pt x="501" y="119"/>
                    </a:lnTo>
                    <a:lnTo>
                      <a:pt x="519" y="128"/>
                    </a:lnTo>
                    <a:lnTo>
                      <a:pt x="535" y="136"/>
                    </a:lnTo>
                    <a:lnTo>
                      <a:pt x="551" y="146"/>
                    </a:lnTo>
                    <a:lnTo>
                      <a:pt x="566" y="158"/>
                    </a:lnTo>
                    <a:lnTo>
                      <a:pt x="581" y="169"/>
                    </a:lnTo>
                    <a:lnTo>
                      <a:pt x="596" y="182"/>
                    </a:lnTo>
                    <a:lnTo>
                      <a:pt x="611" y="196"/>
                    </a:lnTo>
                    <a:lnTo>
                      <a:pt x="611" y="196"/>
                    </a:lnTo>
                    <a:lnTo>
                      <a:pt x="617" y="201"/>
                    </a:lnTo>
                    <a:lnTo>
                      <a:pt x="625" y="205"/>
                    </a:lnTo>
                    <a:lnTo>
                      <a:pt x="632" y="208"/>
                    </a:lnTo>
                    <a:lnTo>
                      <a:pt x="640" y="208"/>
                    </a:lnTo>
                    <a:lnTo>
                      <a:pt x="648" y="208"/>
                    </a:lnTo>
                    <a:lnTo>
                      <a:pt x="656" y="205"/>
                    </a:lnTo>
                    <a:lnTo>
                      <a:pt x="663" y="201"/>
                    </a:lnTo>
                    <a:lnTo>
                      <a:pt x="670" y="196"/>
                    </a:lnTo>
                    <a:lnTo>
                      <a:pt x="670" y="196"/>
                    </a:lnTo>
                    <a:lnTo>
                      <a:pt x="675" y="189"/>
                    </a:lnTo>
                    <a:lnTo>
                      <a:pt x="679" y="182"/>
                    </a:lnTo>
                    <a:lnTo>
                      <a:pt x="682" y="174"/>
                    </a:lnTo>
                    <a:lnTo>
                      <a:pt x="682" y="166"/>
                    </a:lnTo>
                    <a:lnTo>
                      <a:pt x="682" y="158"/>
                    </a:lnTo>
                    <a:lnTo>
                      <a:pt x="679" y="150"/>
                    </a:lnTo>
                    <a:lnTo>
                      <a:pt x="675" y="143"/>
                    </a:lnTo>
                    <a:lnTo>
                      <a:pt x="670" y="137"/>
                    </a:lnTo>
                    <a:lnTo>
                      <a:pt x="670" y="137"/>
                    </a:lnTo>
                    <a:lnTo>
                      <a:pt x="653" y="120"/>
                    </a:lnTo>
                    <a:lnTo>
                      <a:pt x="634" y="105"/>
                    </a:lnTo>
                    <a:lnTo>
                      <a:pt x="616" y="90"/>
                    </a:lnTo>
                    <a:lnTo>
                      <a:pt x="597" y="77"/>
                    </a:lnTo>
                    <a:lnTo>
                      <a:pt x="578" y="64"/>
                    </a:lnTo>
                    <a:lnTo>
                      <a:pt x="557" y="54"/>
                    </a:lnTo>
                    <a:lnTo>
                      <a:pt x="536" y="44"/>
                    </a:lnTo>
                    <a:lnTo>
                      <a:pt x="515" y="34"/>
                    </a:lnTo>
                    <a:lnTo>
                      <a:pt x="495" y="26"/>
                    </a:lnTo>
                    <a:lnTo>
                      <a:pt x="473" y="19"/>
                    </a:lnTo>
                    <a:lnTo>
                      <a:pt x="452" y="14"/>
                    </a:lnTo>
                    <a:lnTo>
                      <a:pt x="430" y="9"/>
                    </a:lnTo>
                    <a:lnTo>
                      <a:pt x="408" y="6"/>
                    </a:lnTo>
                    <a:lnTo>
                      <a:pt x="385" y="2"/>
                    </a:lnTo>
                    <a:lnTo>
                      <a:pt x="363" y="1"/>
                    </a:lnTo>
                    <a:lnTo>
                      <a:pt x="341" y="0"/>
                    </a:lnTo>
                    <a:lnTo>
                      <a:pt x="341"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Arial"/>
                  <a:ea typeface="ＭＳ Ｐゴシック" charset="0"/>
                  <a:cs typeface="+mn-cs"/>
                </a:endParaRPr>
              </a:p>
            </p:txBody>
          </p:sp>
          <p:sp>
            <p:nvSpPr>
              <p:cNvPr id="1107" name="Freeform 179">
                <a:extLst>
                  <a:ext uri="{FF2B5EF4-FFF2-40B4-BE49-F238E27FC236}">
                    <a16:creationId xmlns:a16="http://schemas.microsoft.com/office/drawing/2014/main" id="{EB172981-0B0E-4468-B16E-8AEF509889DB}"/>
                  </a:ext>
                </a:extLst>
              </p:cNvPr>
              <p:cNvSpPr>
                <a:spLocks/>
              </p:cNvSpPr>
              <p:nvPr/>
            </p:nvSpPr>
            <p:spPr bwMode="auto">
              <a:xfrm>
                <a:off x="5121843" y="3876582"/>
                <a:ext cx="437148" cy="125299"/>
              </a:xfrm>
              <a:custGeom>
                <a:avLst/>
                <a:gdLst>
                  <a:gd name="T0" fmla="*/ 495 w 946"/>
                  <a:gd name="T1" fmla="*/ 0 h 270"/>
                  <a:gd name="T2" fmla="*/ 430 w 946"/>
                  <a:gd name="T3" fmla="*/ 3 h 270"/>
                  <a:gd name="T4" fmla="*/ 366 w 946"/>
                  <a:gd name="T5" fmla="*/ 13 h 270"/>
                  <a:gd name="T6" fmla="*/ 303 w 946"/>
                  <a:gd name="T7" fmla="*/ 28 h 270"/>
                  <a:gd name="T8" fmla="*/ 241 w 946"/>
                  <a:gd name="T9" fmla="*/ 50 h 270"/>
                  <a:gd name="T10" fmla="*/ 180 w 946"/>
                  <a:gd name="T11" fmla="*/ 77 h 270"/>
                  <a:gd name="T12" fmla="*/ 121 w 946"/>
                  <a:gd name="T13" fmla="*/ 112 h 270"/>
                  <a:gd name="T14" fmla="*/ 65 w 946"/>
                  <a:gd name="T15" fmla="*/ 152 h 270"/>
                  <a:gd name="T16" fmla="*/ 12 w 946"/>
                  <a:gd name="T17" fmla="*/ 198 h 270"/>
                  <a:gd name="T18" fmla="*/ 6 w 946"/>
                  <a:gd name="T19" fmla="*/ 204 h 270"/>
                  <a:gd name="T20" fmla="*/ 1 w 946"/>
                  <a:gd name="T21" fmla="*/ 219 h 270"/>
                  <a:gd name="T22" fmla="*/ 0 w 946"/>
                  <a:gd name="T23" fmla="*/ 235 h 270"/>
                  <a:gd name="T24" fmla="*/ 5 w 946"/>
                  <a:gd name="T25" fmla="*/ 250 h 270"/>
                  <a:gd name="T26" fmla="*/ 11 w 946"/>
                  <a:gd name="T27" fmla="*/ 257 h 270"/>
                  <a:gd name="T28" fmla="*/ 25 w 946"/>
                  <a:gd name="T29" fmla="*/ 266 h 270"/>
                  <a:gd name="T30" fmla="*/ 41 w 946"/>
                  <a:gd name="T31" fmla="*/ 270 h 270"/>
                  <a:gd name="T32" fmla="*/ 49 w 946"/>
                  <a:gd name="T33" fmla="*/ 269 h 270"/>
                  <a:gd name="T34" fmla="*/ 64 w 946"/>
                  <a:gd name="T35" fmla="*/ 263 h 270"/>
                  <a:gd name="T36" fmla="*/ 70 w 946"/>
                  <a:gd name="T37" fmla="*/ 258 h 270"/>
                  <a:gd name="T38" fmla="*/ 117 w 946"/>
                  <a:gd name="T39" fmla="*/ 217 h 270"/>
                  <a:gd name="T40" fmla="*/ 167 w 946"/>
                  <a:gd name="T41" fmla="*/ 182 h 270"/>
                  <a:gd name="T42" fmla="*/ 218 w 946"/>
                  <a:gd name="T43" fmla="*/ 152 h 270"/>
                  <a:gd name="T44" fmla="*/ 272 w 946"/>
                  <a:gd name="T45" fmla="*/ 127 h 270"/>
                  <a:gd name="T46" fmla="*/ 326 w 946"/>
                  <a:gd name="T47" fmla="*/ 108 h 270"/>
                  <a:gd name="T48" fmla="*/ 381 w 946"/>
                  <a:gd name="T49" fmla="*/ 95 h 270"/>
                  <a:gd name="T50" fmla="*/ 438 w 946"/>
                  <a:gd name="T51" fmla="*/ 86 h 270"/>
                  <a:gd name="T52" fmla="*/ 495 w 946"/>
                  <a:gd name="T53" fmla="*/ 83 h 270"/>
                  <a:gd name="T54" fmla="*/ 521 w 946"/>
                  <a:gd name="T55" fmla="*/ 84 h 270"/>
                  <a:gd name="T56" fmla="*/ 573 w 946"/>
                  <a:gd name="T57" fmla="*/ 89 h 270"/>
                  <a:gd name="T58" fmla="*/ 625 w 946"/>
                  <a:gd name="T59" fmla="*/ 99 h 270"/>
                  <a:gd name="T60" fmla="*/ 675 w 946"/>
                  <a:gd name="T61" fmla="*/ 114 h 270"/>
                  <a:gd name="T62" fmla="*/ 723 w 946"/>
                  <a:gd name="T63" fmla="*/ 134 h 270"/>
                  <a:gd name="T64" fmla="*/ 769 w 946"/>
                  <a:gd name="T65" fmla="*/ 158 h 270"/>
                  <a:gd name="T66" fmla="*/ 813 w 946"/>
                  <a:gd name="T67" fmla="*/ 188 h 270"/>
                  <a:gd name="T68" fmla="*/ 855 w 946"/>
                  <a:gd name="T69" fmla="*/ 223 h 270"/>
                  <a:gd name="T70" fmla="*/ 874 w 946"/>
                  <a:gd name="T71" fmla="*/ 241 h 270"/>
                  <a:gd name="T72" fmla="*/ 888 w 946"/>
                  <a:gd name="T73" fmla="*/ 250 h 270"/>
                  <a:gd name="T74" fmla="*/ 903 w 946"/>
                  <a:gd name="T75" fmla="*/ 254 h 270"/>
                  <a:gd name="T76" fmla="*/ 919 w 946"/>
                  <a:gd name="T77" fmla="*/ 251 h 270"/>
                  <a:gd name="T78" fmla="*/ 933 w 946"/>
                  <a:gd name="T79" fmla="*/ 242 h 270"/>
                  <a:gd name="T80" fmla="*/ 939 w 946"/>
                  <a:gd name="T81" fmla="*/ 236 h 270"/>
                  <a:gd name="T82" fmla="*/ 945 w 946"/>
                  <a:gd name="T83" fmla="*/ 221 h 270"/>
                  <a:gd name="T84" fmla="*/ 946 w 946"/>
                  <a:gd name="T85" fmla="*/ 205 h 270"/>
                  <a:gd name="T86" fmla="*/ 939 w 946"/>
                  <a:gd name="T87" fmla="*/ 190 h 270"/>
                  <a:gd name="T88" fmla="*/ 934 w 946"/>
                  <a:gd name="T89" fmla="*/ 183 h 270"/>
                  <a:gd name="T90" fmla="*/ 888 w 946"/>
                  <a:gd name="T91" fmla="*/ 141 h 270"/>
                  <a:gd name="T92" fmla="*/ 838 w 946"/>
                  <a:gd name="T93" fmla="*/ 103 h 270"/>
                  <a:gd name="T94" fmla="*/ 787 w 946"/>
                  <a:gd name="T95" fmla="*/ 71 h 270"/>
                  <a:gd name="T96" fmla="*/ 731 w 946"/>
                  <a:gd name="T97" fmla="*/ 46 h 270"/>
                  <a:gd name="T98" fmla="*/ 673 w 946"/>
                  <a:gd name="T99" fmla="*/ 25 h 270"/>
                  <a:gd name="T100" fmla="*/ 615 w 946"/>
                  <a:gd name="T101" fmla="*/ 11 h 270"/>
                  <a:gd name="T102" fmla="*/ 555 w 946"/>
                  <a:gd name="T103" fmla="*/ 3 h 270"/>
                  <a:gd name="T104" fmla="*/ 495 w 946"/>
                  <a:gd name="T10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6" h="270">
                    <a:moveTo>
                      <a:pt x="495" y="0"/>
                    </a:moveTo>
                    <a:lnTo>
                      <a:pt x="495" y="0"/>
                    </a:lnTo>
                    <a:lnTo>
                      <a:pt x="462" y="1"/>
                    </a:lnTo>
                    <a:lnTo>
                      <a:pt x="430" y="3"/>
                    </a:lnTo>
                    <a:lnTo>
                      <a:pt x="398" y="7"/>
                    </a:lnTo>
                    <a:lnTo>
                      <a:pt x="366" y="13"/>
                    </a:lnTo>
                    <a:lnTo>
                      <a:pt x="334" y="20"/>
                    </a:lnTo>
                    <a:lnTo>
                      <a:pt x="303" y="28"/>
                    </a:lnTo>
                    <a:lnTo>
                      <a:pt x="272" y="38"/>
                    </a:lnTo>
                    <a:lnTo>
                      <a:pt x="241" y="50"/>
                    </a:lnTo>
                    <a:lnTo>
                      <a:pt x="210" y="63"/>
                    </a:lnTo>
                    <a:lnTo>
                      <a:pt x="180" y="77"/>
                    </a:lnTo>
                    <a:lnTo>
                      <a:pt x="151" y="95"/>
                    </a:lnTo>
                    <a:lnTo>
                      <a:pt x="121" y="112"/>
                    </a:lnTo>
                    <a:lnTo>
                      <a:pt x="93" y="131"/>
                    </a:lnTo>
                    <a:lnTo>
                      <a:pt x="65" y="152"/>
                    </a:lnTo>
                    <a:lnTo>
                      <a:pt x="39" y="174"/>
                    </a:lnTo>
                    <a:lnTo>
                      <a:pt x="12" y="198"/>
                    </a:lnTo>
                    <a:lnTo>
                      <a:pt x="12" y="198"/>
                    </a:lnTo>
                    <a:lnTo>
                      <a:pt x="6" y="204"/>
                    </a:lnTo>
                    <a:lnTo>
                      <a:pt x="3" y="212"/>
                    </a:lnTo>
                    <a:lnTo>
                      <a:pt x="1" y="219"/>
                    </a:lnTo>
                    <a:lnTo>
                      <a:pt x="0" y="227"/>
                    </a:lnTo>
                    <a:lnTo>
                      <a:pt x="0" y="235"/>
                    </a:lnTo>
                    <a:lnTo>
                      <a:pt x="2" y="243"/>
                    </a:lnTo>
                    <a:lnTo>
                      <a:pt x="5" y="250"/>
                    </a:lnTo>
                    <a:lnTo>
                      <a:pt x="11" y="257"/>
                    </a:lnTo>
                    <a:lnTo>
                      <a:pt x="11" y="257"/>
                    </a:lnTo>
                    <a:lnTo>
                      <a:pt x="18" y="263"/>
                    </a:lnTo>
                    <a:lnTo>
                      <a:pt x="25" y="266"/>
                    </a:lnTo>
                    <a:lnTo>
                      <a:pt x="33" y="269"/>
                    </a:lnTo>
                    <a:lnTo>
                      <a:pt x="41" y="270"/>
                    </a:lnTo>
                    <a:lnTo>
                      <a:pt x="41" y="270"/>
                    </a:lnTo>
                    <a:lnTo>
                      <a:pt x="49" y="269"/>
                    </a:lnTo>
                    <a:lnTo>
                      <a:pt x="56" y="266"/>
                    </a:lnTo>
                    <a:lnTo>
                      <a:pt x="64" y="263"/>
                    </a:lnTo>
                    <a:lnTo>
                      <a:pt x="70" y="258"/>
                    </a:lnTo>
                    <a:lnTo>
                      <a:pt x="70" y="258"/>
                    </a:lnTo>
                    <a:lnTo>
                      <a:pt x="93" y="238"/>
                    </a:lnTo>
                    <a:lnTo>
                      <a:pt x="117" y="217"/>
                    </a:lnTo>
                    <a:lnTo>
                      <a:pt x="141" y="198"/>
                    </a:lnTo>
                    <a:lnTo>
                      <a:pt x="167" y="182"/>
                    </a:lnTo>
                    <a:lnTo>
                      <a:pt x="192" y="166"/>
                    </a:lnTo>
                    <a:lnTo>
                      <a:pt x="218" y="152"/>
                    </a:lnTo>
                    <a:lnTo>
                      <a:pt x="244" y="138"/>
                    </a:lnTo>
                    <a:lnTo>
                      <a:pt x="272" y="127"/>
                    </a:lnTo>
                    <a:lnTo>
                      <a:pt x="298" y="116"/>
                    </a:lnTo>
                    <a:lnTo>
                      <a:pt x="326" y="108"/>
                    </a:lnTo>
                    <a:lnTo>
                      <a:pt x="354" y="100"/>
                    </a:lnTo>
                    <a:lnTo>
                      <a:pt x="381" y="95"/>
                    </a:lnTo>
                    <a:lnTo>
                      <a:pt x="410" y="90"/>
                    </a:lnTo>
                    <a:lnTo>
                      <a:pt x="438" y="86"/>
                    </a:lnTo>
                    <a:lnTo>
                      <a:pt x="466" y="84"/>
                    </a:lnTo>
                    <a:lnTo>
                      <a:pt x="495" y="83"/>
                    </a:lnTo>
                    <a:lnTo>
                      <a:pt x="495" y="83"/>
                    </a:lnTo>
                    <a:lnTo>
                      <a:pt x="521" y="84"/>
                    </a:lnTo>
                    <a:lnTo>
                      <a:pt x="546" y="86"/>
                    </a:lnTo>
                    <a:lnTo>
                      <a:pt x="573" y="89"/>
                    </a:lnTo>
                    <a:lnTo>
                      <a:pt x="600" y="93"/>
                    </a:lnTo>
                    <a:lnTo>
                      <a:pt x="625" y="99"/>
                    </a:lnTo>
                    <a:lnTo>
                      <a:pt x="650" y="106"/>
                    </a:lnTo>
                    <a:lnTo>
                      <a:pt x="675" y="114"/>
                    </a:lnTo>
                    <a:lnTo>
                      <a:pt x="699" y="123"/>
                    </a:lnTo>
                    <a:lnTo>
                      <a:pt x="723" y="134"/>
                    </a:lnTo>
                    <a:lnTo>
                      <a:pt x="746" y="145"/>
                    </a:lnTo>
                    <a:lnTo>
                      <a:pt x="769" y="158"/>
                    </a:lnTo>
                    <a:lnTo>
                      <a:pt x="792" y="172"/>
                    </a:lnTo>
                    <a:lnTo>
                      <a:pt x="813" y="188"/>
                    </a:lnTo>
                    <a:lnTo>
                      <a:pt x="835" y="204"/>
                    </a:lnTo>
                    <a:lnTo>
                      <a:pt x="855" y="223"/>
                    </a:lnTo>
                    <a:lnTo>
                      <a:pt x="874" y="241"/>
                    </a:lnTo>
                    <a:lnTo>
                      <a:pt x="874" y="241"/>
                    </a:lnTo>
                    <a:lnTo>
                      <a:pt x="880" y="247"/>
                    </a:lnTo>
                    <a:lnTo>
                      <a:pt x="888" y="250"/>
                    </a:lnTo>
                    <a:lnTo>
                      <a:pt x="895" y="254"/>
                    </a:lnTo>
                    <a:lnTo>
                      <a:pt x="903" y="254"/>
                    </a:lnTo>
                    <a:lnTo>
                      <a:pt x="911" y="254"/>
                    </a:lnTo>
                    <a:lnTo>
                      <a:pt x="919" y="251"/>
                    </a:lnTo>
                    <a:lnTo>
                      <a:pt x="926" y="248"/>
                    </a:lnTo>
                    <a:lnTo>
                      <a:pt x="933" y="242"/>
                    </a:lnTo>
                    <a:lnTo>
                      <a:pt x="933" y="242"/>
                    </a:lnTo>
                    <a:lnTo>
                      <a:pt x="939" y="236"/>
                    </a:lnTo>
                    <a:lnTo>
                      <a:pt x="942" y="230"/>
                    </a:lnTo>
                    <a:lnTo>
                      <a:pt x="945" y="221"/>
                    </a:lnTo>
                    <a:lnTo>
                      <a:pt x="946" y="213"/>
                    </a:lnTo>
                    <a:lnTo>
                      <a:pt x="946" y="205"/>
                    </a:lnTo>
                    <a:lnTo>
                      <a:pt x="943" y="197"/>
                    </a:lnTo>
                    <a:lnTo>
                      <a:pt x="939" y="190"/>
                    </a:lnTo>
                    <a:lnTo>
                      <a:pt x="934" y="183"/>
                    </a:lnTo>
                    <a:lnTo>
                      <a:pt x="934" y="183"/>
                    </a:lnTo>
                    <a:lnTo>
                      <a:pt x="911" y="161"/>
                    </a:lnTo>
                    <a:lnTo>
                      <a:pt x="888" y="141"/>
                    </a:lnTo>
                    <a:lnTo>
                      <a:pt x="864" y="121"/>
                    </a:lnTo>
                    <a:lnTo>
                      <a:pt x="838" y="103"/>
                    </a:lnTo>
                    <a:lnTo>
                      <a:pt x="813" y="86"/>
                    </a:lnTo>
                    <a:lnTo>
                      <a:pt x="787" y="71"/>
                    </a:lnTo>
                    <a:lnTo>
                      <a:pt x="759" y="58"/>
                    </a:lnTo>
                    <a:lnTo>
                      <a:pt x="731" y="46"/>
                    </a:lnTo>
                    <a:lnTo>
                      <a:pt x="702" y="35"/>
                    </a:lnTo>
                    <a:lnTo>
                      <a:pt x="673" y="25"/>
                    </a:lnTo>
                    <a:lnTo>
                      <a:pt x="645" y="18"/>
                    </a:lnTo>
                    <a:lnTo>
                      <a:pt x="615" y="11"/>
                    </a:lnTo>
                    <a:lnTo>
                      <a:pt x="585" y="7"/>
                    </a:lnTo>
                    <a:lnTo>
                      <a:pt x="555" y="3"/>
                    </a:lnTo>
                    <a:lnTo>
                      <a:pt x="525" y="1"/>
                    </a:lnTo>
                    <a:lnTo>
                      <a:pt x="495" y="0"/>
                    </a:lnTo>
                    <a:lnTo>
                      <a:pt x="495"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Arial"/>
                  <a:ea typeface="ＭＳ Ｐゴシック" charset="0"/>
                  <a:cs typeface="+mn-cs"/>
                </a:endParaRPr>
              </a:p>
            </p:txBody>
          </p:sp>
        </p:grpSp>
      </p:grpSp>
      <p:grpSp>
        <p:nvGrpSpPr>
          <p:cNvPr id="1108" name="Group 1107">
            <a:extLst>
              <a:ext uri="{FF2B5EF4-FFF2-40B4-BE49-F238E27FC236}">
                <a16:creationId xmlns:a16="http://schemas.microsoft.com/office/drawing/2014/main" id="{9DF59703-C6E6-44BD-829E-67360D88A6D8}"/>
              </a:ext>
            </a:extLst>
          </p:cNvPr>
          <p:cNvGrpSpPr/>
          <p:nvPr/>
        </p:nvGrpSpPr>
        <p:grpSpPr>
          <a:xfrm>
            <a:off x="4285671" y="2706470"/>
            <a:ext cx="214666" cy="214912"/>
            <a:chOff x="4814888" y="2215702"/>
            <a:chExt cx="548006" cy="548640"/>
          </a:xfrm>
        </p:grpSpPr>
        <p:sp>
          <p:nvSpPr>
            <p:cNvPr id="1109" name="Freeform 5">
              <a:extLst>
                <a:ext uri="{FF2B5EF4-FFF2-40B4-BE49-F238E27FC236}">
                  <a16:creationId xmlns:a16="http://schemas.microsoft.com/office/drawing/2014/main" id="{7A729445-0C9E-4778-859E-35ABAF2FDFDA}"/>
                </a:ext>
              </a:extLst>
            </p:cNvPr>
            <p:cNvSpPr>
              <a:spLocks/>
            </p:cNvSpPr>
            <p:nvPr/>
          </p:nvSpPr>
          <p:spPr bwMode="auto">
            <a:xfrm>
              <a:off x="4814888" y="2215702"/>
              <a:ext cx="548006" cy="54864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rgbClr val="E9E9E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10" name="Freeform 6">
              <a:extLst>
                <a:ext uri="{FF2B5EF4-FFF2-40B4-BE49-F238E27FC236}">
                  <a16:creationId xmlns:a16="http://schemas.microsoft.com/office/drawing/2014/main" id="{092270B9-234A-43A8-A0D9-63B76BDFAE26}"/>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11" name="Freeform 7">
              <a:extLst>
                <a:ext uri="{FF2B5EF4-FFF2-40B4-BE49-F238E27FC236}">
                  <a16:creationId xmlns:a16="http://schemas.microsoft.com/office/drawing/2014/main" id="{0732E0C4-14D9-47A0-BD78-7368F47C3B8C}"/>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12" name="Freeform 8">
              <a:extLst>
                <a:ext uri="{FF2B5EF4-FFF2-40B4-BE49-F238E27FC236}">
                  <a16:creationId xmlns:a16="http://schemas.microsoft.com/office/drawing/2014/main" id="{63C4306F-6D5C-4791-811A-8912F7FDC73F}"/>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70"/>
                    <a:pt x="69" y="0"/>
                    <a:pt x="154" y="0"/>
                  </a:cubicBezTo>
                  <a:lnTo>
                    <a:pt x="1195" y="0"/>
                  </a:lnTo>
                  <a:cubicBezTo>
                    <a:pt x="1281" y="0"/>
                    <a:pt x="1350" y="70"/>
                    <a:pt x="1350" y="156"/>
                  </a:cubicBezTo>
                  <a:lnTo>
                    <a:pt x="1350" y="572"/>
                  </a:lnTo>
                  <a:cubicBezTo>
                    <a:pt x="1350" y="658"/>
                    <a:pt x="1281" y="728"/>
                    <a:pt x="1195" y="728"/>
                  </a:cubicBezTo>
                  <a:lnTo>
                    <a:pt x="154" y="728"/>
                  </a:lnTo>
                  <a:cubicBezTo>
                    <a:pt x="69" y="728"/>
                    <a:pt x="0" y="658"/>
                    <a:pt x="0" y="572"/>
                  </a:cubicBezTo>
                  <a:lnTo>
                    <a:pt x="0" y="156"/>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13" name="Freeform 9">
              <a:extLst>
                <a:ext uri="{FF2B5EF4-FFF2-40B4-BE49-F238E27FC236}">
                  <a16:creationId xmlns:a16="http://schemas.microsoft.com/office/drawing/2014/main" id="{C6FC00D2-A867-4002-951F-9764C8DB3718}"/>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69"/>
                    <a:pt x="69" y="0"/>
                    <a:pt x="154" y="0"/>
                  </a:cubicBezTo>
                  <a:lnTo>
                    <a:pt x="1195" y="0"/>
                  </a:lnTo>
                  <a:cubicBezTo>
                    <a:pt x="1281" y="0"/>
                    <a:pt x="1350" y="69"/>
                    <a:pt x="1350" y="156"/>
                  </a:cubicBezTo>
                  <a:lnTo>
                    <a:pt x="1350" y="572"/>
                  </a:lnTo>
                  <a:cubicBezTo>
                    <a:pt x="1350" y="658"/>
                    <a:pt x="1281" y="728"/>
                    <a:pt x="1195" y="728"/>
                  </a:cubicBezTo>
                  <a:lnTo>
                    <a:pt x="154" y="728"/>
                  </a:lnTo>
                  <a:cubicBezTo>
                    <a:pt x="69" y="728"/>
                    <a:pt x="0" y="658"/>
                    <a:pt x="0" y="572"/>
                  </a:cubicBezTo>
                  <a:lnTo>
                    <a:pt x="0" y="156"/>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14" name="Freeform 13">
              <a:extLst>
                <a:ext uri="{FF2B5EF4-FFF2-40B4-BE49-F238E27FC236}">
                  <a16:creationId xmlns:a16="http://schemas.microsoft.com/office/drawing/2014/main" id="{B27D92DB-1291-4775-898B-DE2B00A3650C}"/>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15" name="Freeform 14">
              <a:extLst>
                <a:ext uri="{FF2B5EF4-FFF2-40B4-BE49-F238E27FC236}">
                  <a16:creationId xmlns:a16="http://schemas.microsoft.com/office/drawing/2014/main" id="{40B763E8-9CDE-4531-9D18-F372BDAFC3A3}"/>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16" name="Freeform 15">
              <a:extLst>
                <a:ext uri="{FF2B5EF4-FFF2-40B4-BE49-F238E27FC236}">
                  <a16:creationId xmlns:a16="http://schemas.microsoft.com/office/drawing/2014/main" id="{4AB65CC8-8346-474F-B2DA-7CA914ADA541}"/>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17" name="Freeform 16">
              <a:extLst>
                <a:ext uri="{FF2B5EF4-FFF2-40B4-BE49-F238E27FC236}">
                  <a16:creationId xmlns:a16="http://schemas.microsoft.com/office/drawing/2014/main" id="{368E25B6-BABF-4A17-9501-57129DC44D32}"/>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18" name="Freeform 17">
              <a:extLst>
                <a:ext uri="{FF2B5EF4-FFF2-40B4-BE49-F238E27FC236}">
                  <a16:creationId xmlns:a16="http://schemas.microsoft.com/office/drawing/2014/main" id="{6F6B9E97-23FE-4444-A59F-E4D18CAA702F}"/>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19" name="Freeform 18">
              <a:extLst>
                <a:ext uri="{FF2B5EF4-FFF2-40B4-BE49-F238E27FC236}">
                  <a16:creationId xmlns:a16="http://schemas.microsoft.com/office/drawing/2014/main" id="{28707BF4-A3F1-4D38-BB61-B3966E4E9FCB}"/>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20" name="Freeform 10">
              <a:extLst>
                <a:ext uri="{FF2B5EF4-FFF2-40B4-BE49-F238E27FC236}">
                  <a16:creationId xmlns:a16="http://schemas.microsoft.com/office/drawing/2014/main" id="{97562402-A4E6-4C5C-A061-60DE100683BD}"/>
                </a:ext>
              </a:extLst>
            </p:cNvPr>
            <p:cNvSpPr>
              <a:spLocks/>
            </p:cNvSpPr>
            <p:nvPr/>
          </p:nvSpPr>
          <p:spPr bwMode="auto">
            <a:xfrm>
              <a:off x="5019974" y="2372635"/>
              <a:ext cx="304390" cy="205185"/>
            </a:xfrm>
            <a:custGeom>
              <a:avLst/>
              <a:gdLst>
                <a:gd name="T0" fmla="*/ 0 w 1048"/>
                <a:gd name="T1" fmla="*/ 82 h 705"/>
                <a:gd name="T2" fmla="*/ 0 w 1048"/>
                <a:gd name="T3" fmla="*/ 82 h 705"/>
                <a:gd name="T4" fmla="*/ 81 w 1048"/>
                <a:gd name="T5" fmla="*/ 0 h 705"/>
                <a:gd name="T6" fmla="*/ 967 w 1048"/>
                <a:gd name="T7" fmla="*/ 0 h 705"/>
                <a:gd name="T8" fmla="*/ 1048 w 1048"/>
                <a:gd name="T9" fmla="*/ 82 h 705"/>
                <a:gd name="T10" fmla="*/ 1048 w 1048"/>
                <a:gd name="T11" fmla="*/ 624 h 705"/>
                <a:gd name="T12" fmla="*/ 967 w 1048"/>
                <a:gd name="T13" fmla="*/ 705 h 705"/>
                <a:gd name="T14" fmla="*/ 81 w 1048"/>
                <a:gd name="T15" fmla="*/ 705 h 705"/>
                <a:gd name="T16" fmla="*/ 0 w 1048"/>
                <a:gd name="T17" fmla="*/ 624 h 705"/>
                <a:gd name="T18" fmla="*/ 0 w 1048"/>
                <a:gd name="T19"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705">
                  <a:moveTo>
                    <a:pt x="0" y="82"/>
                  </a:moveTo>
                  <a:lnTo>
                    <a:pt x="0" y="82"/>
                  </a:lnTo>
                  <a:cubicBezTo>
                    <a:pt x="0" y="37"/>
                    <a:pt x="36" y="0"/>
                    <a:pt x="81" y="0"/>
                  </a:cubicBezTo>
                  <a:lnTo>
                    <a:pt x="967" y="0"/>
                  </a:lnTo>
                  <a:cubicBezTo>
                    <a:pt x="1011" y="0"/>
                    <a:pt x="1048" y="37"/>
                    <a:pt x="1048" y="82"/>
                  </a:cubicBezTo>
                  <a:lnTo>
                    <a:pt x="1048" y="624"/>
                  </a:lnTo>
                  <a:cubicBezTo>
                    <a:pt x="1048" y="668"/>
                    <a:pt x="1011" y="705"/>
                    <a:pt x="967" y="705"/>
                  </a:cubicBezTo>
                  <a:lnTo>
                    <a:pt x="81" y="705"/>
                  </a:lnTo>
                  <a:cubicBezTo>
                    <a:pt x="36" y="705"/>
                    <a:pt x="0" y="668"/>
                    <a:pt x="0" y="624"/>
                  </a:cubicBezTo>
                  <a:lnTo>
                    <a:pt x="0" y="82"/>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21" name="Rectangle: Rounded Corners 1120">
              <a:extLst>
                <a:ext uri="{FF2B5EF4-FFF2-40B4-BE49-F238E27FC236}">
                  <a16:creationId xmlns:a16="http://schemas.microsoft.com/office/drawing/2014/main" id="{7704F9B0-E978-4F59-A6FC-0CF7160C40FD}"/>
                </a:ext>
              </a:extLst>
            </p:cNvPr>
            <p:cNvSpPr/>
            <p:nvPr/>
          </p:nvSpPr>
          <p:spPr>
            <a:xfrm>
              <a:off x="5098452" y="2601637"/>
              <a:ext cx="147435" cy="19155"/>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22" name="Rectangle: Rounded Corners 1121">
              <a:extLst>
                <a:ext uri="{FF2B5EF4-FFF2-40B4-BE49-F238E27FC236}">
                  <a16:creationId xmlns:a16="http://schemas.microsoft.com/office/drawing/2014/main" id="{82B33511-7F59-4D12-8C2F-90627A8C663B}"/>
                </a:ext>
              </a:extLst>
            </p:cNvPr>
            <p:cNvSpPr/>
            <p:nvPr/>
          </p:nvSpPr>
          <p:spPr>
            <a:xfrm>
              <a:off x="5146148" y="2581388"/>
              <a:ext cx="52042" cy="1668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23" name="Rectangle: Rounded Corners 1122">
              <a:extLst>
                <a:ext uri="{FF2B5EF4-FFF2-40B4-BE49-F238E27FC236}">
                  <a16:creationId xmlns:a16="http://schemas.microsoft.com/office/drawing/2014/main" id="{946D7C06-7C1A-4D44-B6BA-AE741CEF4CB5}"/>
                </a:ext>
              </a:extLst>
            </p:cNvPr>
            <p:cNvSpPr/>
            <p:nvPr/>
          </p:nvSpPr>
          <p:spPr>
            <a:xfrm>
              <a:off x="4881676" y="2620538"/>
              <a:ext cx="414429" cy="19155"/>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24" name="Group 323">
            <a:extLst>
              <a:ext uri="{FF2B5EF4-FFF2-40B4-BE49-F238E27FC236}">
                <a16:creationId xmlns:a16="http://schemas.microsoft.com/office/drawing/2014/main" id="{898584ED-563D-4F58-AF0F-97068DA6DEE6}"/>
              </a:ext>
            </a:extLst>
          </p:cNvPr>
          <p:cNvGrpSpPr/>
          <p:nvPr/>
        </p:nvGrpSpPr>
        <p:grpSpPr>
          <a:xfrm>
            <a:off x="4585005" y="3255673"/>
            <a:ext cx="171973" cy="171973"/>
            <a:chOff x="1817606" y="2379531"/>
            <a:chExt cx="594360" cy="594360"/>
          </a:xfrm>
          <a:effectLst>
            <a:glow rad="50800">
              <a:schemeClr val="accent5">
                <a:alpha val="34000"/>
              </a:schemeClr>
            </a:glow>
          </a:effectLst>
        </p:grpSpPr>
        <p:sp>
          <p:nvSpPr>
            <p:cNvPr id="325" name="Freeform 5">
              <a:extLst>
                <a:ext uri="{FF2B5EF4-FFF2-40B4-BE49-F238E27FC236}">
                  <a16:creationId xmlns:a16="http://schemas.microsoft.com/office/drawing/2014/main" id="{D098B7EE-B5DB-4C33-BACF-1EB65C559FF9}"/>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327" name="Group 157">
              <a:extLst>
                <a:ext uri="{FF2B5EF4-FFF2-40B4-BE49-F238E27FC236}">
                  <a16:creationId xmlns:a16="http://schemas.microsoft.com/office/drawing/2014/main" id="{EF0D5422-AB42-410C-93C9-AC3E8C6228CA}"/>
                </a:ext>
              </a:extLst>
            </p:cNvPr>
            <p:cNvGrpSpPr>
              <a:grpSpLocks noChangeAspect="1"/>
            </p:cNvGrpSpPr>
            <p:nvPr/>
          </p:nvGrpSpPr>
          <p:grpSpPr>
            <a:xfrm>
              <a:off x="1928007" y="2538225"/>
              <a:ext cx="373559" cy="276972"/>
              <a:chOff x="13636625" y="1373188"/>
              <a:chExt cx="1330325" cy="825500"/>
            </a:xfrm>
            <a:solidFill>
              <a:schemeClr val="bg2"/>
            </a:solidFill>
          </p:grpSpPr>
          <p:sp>
            <p:nvSpPr>
              <p:cNvPr id="328" name="Rectangle 17">
                <a:extLst>
                  <a:ext uri="{FF2B5EF4-FFF2-40B4-BE49-F238E27FC236}">
                    <a16:creationId xmlns:a16="http://schemas.microsoft.com/office/drawing/2014/main" id="{AD7173F5-EBBF-44E4-BBFD-C4692A156B4A}"/>
                  </a:ext>
                </a:extLst>
              </p:cNvPr>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29" name="Rectangle 18">
                <a:extLst>
                  <a:ext uri="{FF2B5EF4-FFF2-40B4-BE49-F238E27FC236}">
                    <a16:creationId xmlns:a16="http://schemas.microsoft.com/office/drawing/2014/main" id="{E609ADF9-E877-45B7-A7A1-2F1EC4BF2A18}"/>
                  </a:ext>
                </a:extLst>
              </p:cNvPr>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30" name="Rectangle 19">
                <a:extLst>
                  <a:ext uri="{FF2B5EF4-FFF2-40B4-BE49-F238E27FC236}">
                    <a16:creationId xmlns:a16="http://schemas.microsoft.com/office/drawing/2014/main" id="{B090A277-B69A-41D7-A67D-200A080574AA}"/>
                  </a:ext>
                </a:extLst>
              </p:cNvPr>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31" name="Rectangle 20">
                <a:extLst>
                  <a:ext uri="{FF2B5EF4-FFF2-40B4-BE49-F238E27FC236}">
                    <a16:creationId xmlns:a16="http://schemas.microsoft.com/office/drawing/2014/main" id="{F17D3A2A-E8D0-4907-94EC-5DE6DBD0B3F1}"/>
                  </a:ext>
                </a:extLst>
              </p:cNvPr>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32" name="Rectangle 21">
                <a:extLst>
                  <a:ext uri="{FF2B5EF4-FFF2-40B4-BE49-F238E27FC236}">
                    <a16:creationId xmlns:a16="http://schemas.microsoft.com/office/drawing/2014/main" id="{AF62CC20-E42C-4059-8258-5A23A8AF4A78}"/>
                  </a:ext>
                </a:extLst>
              </p:cNvPr>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35" name="Rectangle 22">
                <a:extLst>
                  <a:ext uri="{FF2B5EF4-FFF2-40B4-BE49-F238E27FC236}">
                    <a16:creationId xmlns:a16="http://schemas.microsoft.com/office/drawing/2014/main" id="{334ECE66-232E-4865-9DE8-C40D757ADB43}"/>
                  </a:ext>
                </a:extLst>
              </p:cNvPr>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36" name="Rectangle 23">
                <a:extLst>
                  <a:ext uri="{FF2B5EF4-FFF2-40B4-BE49-F238E27FC236}">
                    <a16:creationId xmlns:a16="http://schemas.microsoft.com/office/drawing/2014/main" id="{BCDB8AB8-007F-4CE6-A359-961347CA0401}"/>
                  </a:ext>
                </a:extLst>
              </p:cNvPr>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39" name="Rectangle 24">
                <a:extLst>
                  <a:ext uri="{FF2B5EF4-FFF2-40B4-BE49-F238E27FC236}">
                    <a16:creationId xmlns:a16="http://schemas.microsoft.com/office/drawing/2014/main" id="{FF0B7E04-79C8-4151-9410-E7E51B5B9384}"/>
                  </a:ext>
                </a:extLst>
              </p:cNvPr>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40" name="Rectangle 25">
                <a:extLst>
                  <a:ext uri="{FF2B5EF4-FFF2-40B4-BE49-F238E27FC236}">
                    <a16:creationId xmlns:a16="http://schemas.microsoft.com/office/drawing/2014/main" id="{4770BA17-4963-4586-B53F-51EA0885C8E0}"/>
                  </a:ext>
                </a:extLst>
              </p:cNvPr>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41" name="Rectangle 26">
                <a:extLst>
                  <a:ext uri="{FF2B5EF4-FFF2-40B4-BE49-F238E27FC236}">
                    <a16:creationId xmlns:a16="http://schemas.microsoft.com/office/drawing/2014/main" id="{C1C6FB80-EE88-472E-BB0A-352E86623B80}"/>
                  </a:ext>
                </a:extLst>
              </p:cNvPr>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43" name="Rectangle 27">
                <a:extLst>
                  <a:ext uri="{FF2B5EF4-FFF2-40B4-BE49-F238E27FC236}">
                    <a16:creationId xmlns:a16="http://schemas.microsoft.com/office/drawing/2014/main" id="{C3338BAB-CD03-44D8-9D0E-25E1727142A7}"/>
                  </a:ext>
                </a:extLst>
              </p:cNvPr>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47" name="Rectangle 28">
                <a:extLst>
                  <a:ext uri="{FF2B5EF4-FFF2-40B4-BE49-F238E27FC236}">
                    <a16:creationId xmlns:a16="http://schemas.microsoft.com/office/drawing/2014/main" id="{40DC5B96-3AC1-4C86-86FE-9277EE7247BE}"/>
                  </a:ext>
                </a:extLst>
              </p:cNvPr>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84" name="Rectangle 29">
                <a:extLst>
                  <a:ext uri="{FF2B5EF4-FFF2-40B4-BE49-F238E27FC236}">
                    <a16:creationId xmlns:a16="http://schemas.microsoft.com/office/drawing/2014/main" id="{B9D4FAD4-3CD6-4176-BD2F-2FF469D1D5C0}"/>
                  </a:ext>
                </a:extLst>
              </p:cNvPr>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85" name="Rectangle 30">
                <a:extLst>
                  <a:ext uri="{FF2B5EF4-FFF2-40B4-BE49-F238E27FC236}">
                    <a16:creationId xmlns:a16="http://schemas.microsoft.com/office/drawing/2014/main" id="{F8684737-A0EB-4826-BCB8-17E99A68C451}"/>
                  </a:ext>
                </a:extLst>
              </p:cNvPr>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89" name="Rectangle 31">
                <a:extLst>
                  <a:ext uri="{FF2B5EF4-FFF2-40B4-BE49-F238E27FC236}">
                    <a16:creationId xmlns:a16="http://schemas.microsoft.com/office/drawing/2014/main" id="{51598218-B8F0-4F75-82B3-1ED1734C4B58}"/>
                  </a:ext>
                </a:extLst>
              </p:cNvPr>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90" name="Rectangle 32">
                <a:extLst>
                  <a:ext uri="{FF2B5EF4-FFF2-40B4-BE49-F238E27FC236}">
                    <a16:creationId xmlns:a16="http://schemas.microsoft.com/office/drawing/2014/main" id="{D6C3C615-71BF-4AA3-9B01-47D0903D6248}"/>
                  </a:ext>
                </a:extLst>
              </p:cNvPr>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91" name="Rectangle 33">
                <a:extLst>
                  <a:ext uri="{FF2B5EF4-FFF2-40B4-BE49-F238E27FC236}">
                    <a16:creationId xmlns:a16="http://schemas.microsoft.com/office/drawing/2014/main" id="{B0839AA2-FBA3-4025-9488-FE224EDF8ED7}"/>
                  </a:ext>
                </a:extLst>
              </p:cNvPr>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92" name="Rectangle 34">
                <a:extLst>
                  <a:ext uri="{FF2B5EF4-FFF2-40B4-BE49-F238E27FC236}">
                    <a16:creationId xmlns:a16="http://schemas.microsoft.com/office/drawing/2014/main" id="{05A1278E-66B1-4C89-86A5-C00E34229F19}"/>
                  </a:ext>
                </a:extLst>
              </p:cNvPr>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93" name="Rectangle 35">
                <a:extLst>
                  <a:ext uri="{FF2B5EF4-FFF2-40B4-BE49-F238E27FC236}">
                    <a16:creationId xmlns:a16="http://schemas.microsoft.com/office/drawing/2014/main" id="{DC334FE6-F2A2-4495-B638-0332D0B44F6B}"/>
                  </a:ext>
                </a:extLst>
              </p:cNvPr>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94" name="Rectangle 36">
                <a:extLst>
                  <a:ext uri="{FF2B5EF4-FFF2-40B4-BE49-F238E27FC236}">
                    <a16:creationId xmlns:a16="http://schemas.microsoft.com/office/drawing/2014/main" id="{80ED7C5C-C48D-45AD-AB1E-7FCE1689B36F}"/>
                  </a:ext>
                </a:extLst>
              </p:cNvPr>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395" name="Rectangle 37">
                <a:extLst>
                  <a:ext uri="{FF2B5EF4-FFF2-40B4-BE49-F238E27FC236}">
                    <a16:creationId xmlns:a16="http://schemas.microsoft.com/office/drawing/2014/main" id="{D57075D3-2284-481F-86E3-4D5A96E4559A}"/>
                  </a:ext>
                </a:extLst>
              </p:cNvPr>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grpSp>
      </p:grpSp>
      <p:sp>
        <p:nvSpPr>
          <p:cNvPr id="423" name="Rectangle 422">
            <a:extLst>
              <a:ext uri="{FF2B5EF4-FFF2-40B4-BE49-F238E27FC236}">
                <a16:creationId xmlns:a16="http://schemas.microsoft.com/office/drawing/2014/main" id="{56142994-6CB2-43C4-B484-0BFEBCA36828}"/>
              </a:ext>
            </a:extLst>
          </p:cNvPr>
          <p:cNvSpPr/>
          <p:nvPr/>
        </p:nvSpPr>
        <p:spPr>
          <a:xfrm>
            <a:off x="5983484" y="4248225"/>
            <a:ext cx="2216941" cy="553998"/>
          </a:xfrm>
          <a:prstGeom prst="rect">
            <a:avLst/>
          </a:prstGeom>
        </p:spPr>
        <p:txBody>
          <a:bodyPr wrap="square" anchor="t">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3X increase in encrypted communication from malware in a 12-month period</a:t>
            </a:r>
          </a:p>
        </p:txBody>
      </p:sp>
      <p:sp>
        <p:nvSpPr>
          <p:cNvPr id="397" name="Freeform 7">
            <a:extLst>
              <a:ext uri="{FF2B5EF4-FFF2-40B4-BE49-F238E27FC236}">
                <a16:creationId xmlns:a16="http://schemas.microsoft.com/office/drawing/2014/main" id="{4A06D302-448D-4E27-B741-ADFCDAFF1B65}"/>
              </a:ext>
            </a:extLst>
          </p:cNvPr>
          <p:cNvSpPr>
            <a:spLocks noEditPoints="1"/>
          </p:cNvSpPr>
          <p:nvPr/>
        </p:nvSpPr>
        <p:spPr bwMode="auto">
          <a:xfrm>
            <a:off x="3371898" y="3668975"/>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398" name="Freeform 7">
            <a:extLst>
              <a:ext uri="{FF2B5EF4-FFF2-40B4-BE49-F238E27FC236}">
                <a16:creationId xmlns:a16="http://schemas.microsoft.com/office/drawing/2014/main" id="{4A06D302-448D-4E27-B741-ADFCDAFF1B65}"/>
              </a:ext>
            </a:extLst>
          </p:cNvPr>
          <p:cNvSpPr>
            <a:spLocks noEditPoints="1"/>
          </p:cNvSpPr>
          <p:nvPr/>
        </p:nvSpPr>
        <p:spPr bwMode="auto">
          <a:xfrm>
            <a:off x="3467938" y="2249640"/>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32" name="Oval 47">
            <a:extLst>
              <a:ext uri="{FF2B5EF4-FFF2-40B4-BE49-F238E27FC236}">
                <a16:creationId xmlns:a16="http://schemas.microsoft.com/office/drawing/2014/main" id="{B7057D2F-DF95-4F26-A801-47A159096704}"/>
              </a:ext>
            </a:extLst>
          </p:cNvPr>
          <p:cNvSpPr>
            <a:spLocks noChangeArrowheads="1"/>
          </p:cNvSpPr>
          <p:nvPr/>
        </p:nvSpPr>
        <p:spPr bwMode="auto">
          <a:xfrm flipH="1">
            <a:off x="5553674" y="3643765"/>
            <a:ext cx="495409" cy="496831"/>
          </a:xfrm>
          <a:prstGeom prst="ellipse">
            <a:avLst/>
          </a:pr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pic>
        <p:nvPicPr>
          <p:cNvPr id="433" name="Picture 432">
            <a:extLst>
              <a:ext uri="{FF2B5EF4-FFF2-40B4-BE49-F238E27FC236}">
                <a16:creationId xmlns:a16="http://schemas.microsoft.com/office/drawing/2014/main" id="{D929EC07-75E2-4B6D-B21E-6CE86B75A751}"/>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627915" y="3834213"/>
            <a:ext cx="46200" cy="77001"/>
          </a:xfrm>
          <a:prstGeom prst="rect">
            <a:avLst/>
          </a:prstGeom>
          <a:ln>
            <a:noFill/>
          </a:ln>
        </p:spPr>
      </p:pic>
      <p:pic>
        <p:nvPicPr>
          <p:cNvPr id="434" name="Picture 433">
            <a:extLst>
              <a:ext uri="{FF2B5EF4-FFF2-40B4-BE49-F238E27FC236}">
                <a16:creationId xmlns:a16="http://schemas.microsoft.com/office/drawing/2014/main" id="{83D56F24-11C8-43C6-89B4-932EAE87F708}"/>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680920" y="3834213"/>
            <a:ext cx="63141" cy="77001"/>
          </a:xfrm>
          <a:prstGeom prst="rect">
            <a:avLst/>
          </a:prstGeom>
          <a:ln>
            <a:noFill/>
          </a:ln>
        </p:spPr>
      </p:pic>
      <p:pic>
        <p:nvPicPr>
          <p:cNvPr id="435" name="Picture 434">
            <a:extLst>
              <a:ext uri="{FF2B5EF4-FFF2-40B4-BE49-F238E27FC236}">
                <a16:creationId xmlns:a16="http://schemas.microsoft.com/office/drawing/2014/main" id="{F5602E2E-92AF-4878-B7E2-D7366012A052}"/>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836585" y="3834213"/>
            <a:ext cx="46200" cy="77001"/>
          </a:xfrm>
          <a:prstGeom prst="rect">
            <a:avLst/>
          </a:prstGeom>
          <a:ln>
            <a:noFill/>
          </a:ln>
        </p:spPr>
      </p:pic>
      <p:pic>
        <p:nvPicPr>
          <p:cNvPr id="436" name="Picture 435">
            <a:extLst>
              <a:ext uri="{FF2B5EF4-FFF2-40B4-BE49-F238E27FC236}">
                <a16:creationId xmlns:a16="http://schemas.microsoft.com/office/drawing/2014/main" id="{E6E43537-8DBE-43A1-A31D-207B9047AE95}"/>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889590" y="3834213"/>
            <a:ext cx="63141" cy="77001"/>
          </a:xfrm>
          <a:prstGeom prst="rect">
            <a:avLst/>
          </a:prstGeom>
          <a:ln>
            <a:noFill/>
          </a:ln>
        </p:spPr>
      </p:pic>
      <p:pic>
        <p:nvPicPr>
          <p:cNvPr id="437" name="Picture 436">
            <a:extLst>
              <a:ext uri="{FF2B5EF4-FFF2-40B4-BE49-F238E27FC236}">
                <a16:creationId xmlns:a16="http://schemas.microsoft.com/office/drawing/2014/main" id="{F01E3C22-1291-4DE3-9D36-3D6296D80802}"/>
              </a:ext>
            </a:extLst>
          </p:cNvPr>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959534" y="3834213"/>
            <a:ext cx="63141" cy="77001"/>
          </a:xfrm>
          <a:prstGeom prst="rect">
            <a:avLst/>
          </a:prstGeom>
          <a:ln>
            <a:noFill/>
          </a:ln>
        </p:spPr>
      </p:pic>
      <p:grpSp>
        <p:nvGrpSpPr>
          <p:cNvPr id="438" name="Group 437">
            <a:extLst>
              <a:ext uri="{FF2B5EF4-FFF2-40B4-BE49-F238E27FC236}">
                <a16:creationId xmlns:a16="http://schemas.microsoft.com/office/drawing/2014/main" id="{7EBB0C08-B146-4BAC-AAB4-471EDE4D265A}"/>
              </a:ext>
            </a:extLst>
          </p:cNvPr>
          <p:cNvGrpSpPr/>
          <p:nvPr/>
        </p:nvGrpSpPr>
        <p:grpSpPr>
          <a:xfrm>
            <a:off x="5580804" y="3926747"/>
            <a:ext cx="463499" cy="77001"/>
            <a:chOff x="3744652" y="1647804"/>
            <a:chExt cx="715459" cy="118859"/>
          </a:xfrm>
        </p:grpSpPr>
        <p:pic>
          <p:nvPicPr>
            <p:cNvPr id="489" name="Picture 488">
              <a:extLst>
                <a:ext uri="{FF2B5EF4-FFF2-40B4-BE49-F238E27FC236}">
                  <a16:creationId xmlns:a16="http://schemas.microsoft.com/office/drawing/2014/main" id="{A2D27F64-F771-4BF3-88E2-456CE8EC88DF}"/>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75882" y="1647804"/>
              <a:ext cx="71316" cy="118859"/>
            </a:xfrm>
            <a:prstGeom prst="rect">
              <a:avLst/>
            </a:prstGeom>
            <a:ln>
              <a:noFill/>
            </a:ln>
          </p:spPr>
        </p:pic>
        <p:pic>
          <p:nvPicPr>
            <p:cNvPr id="517" name="Picture 516">
              <a:extLst>
                <a:ext uri="{FF2B5EF4-FFF2-40B4-BE49-F238E27FC236}">
                  <a16:creationId xmlns:a16="http://schemas.microsoft.com/office/drawing/2014/main" id="{F1A26199-4363-4C21-AA76-C613D489F71E}"/>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744652" y="1647804"/>
              <a:ext cx="97464" cy="118859"/>
            </a:xfrm>
            <a:prstGeom prst="rect">
              <a:avLst/>
            </a:prstGeom>
            <a:ln>
              <a:noFill/>
            </a:ln>
          </p:spPr>
        </p:pic>
        <p:pic>
          <p:nvPicPr>
            <p:cNvPr id="518" name="Picture 517">
              <a:extLst>
                <a:ext uri="{FF2B5EF4-FFF2-40B4-BE49-F238E27FC236}">
                  <a16:creationId xmlns:a16="http://schemas.microsoft.com/office/drawing/2014/main" id="{88441415-B834-4F43-925B-3B9C0CD4A695}"/>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44325" y="1647804"/>
              <a:ext cx="71315" cy="118859"/>
            </a:xfrm>
            <a:prstGeom prst="rect">
              <a:avLst/>
            </a:prstGeom>
            <a:ln>
              <a:noFill/>
            </a:ln>
          </p:spPr>
        </p:pic>
        <p:pic>
          <p:nvPicPr>
            <p:cNvPr id="519" name="Picture 518">
              <a:extLst>
                <a:ext uri="{FF2B5EF4-FFF2-40B4-BE49-F238E27FC236}">
                  <a16:creationId xmlns:a16="http://schemas.microsoft.com/office/drawing/2014/main" id="{3426B7DF-0857-4BDE-A33E-E87A2CEDA0F1}"/>
                </a:ext>
              </a:extLst>
            </p:cNvPr>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1087" y="1647804"/>
              <a:ext cx="97465" cy="118859"/>
            </a:xfrm>
            <a:prstGeom prst="rect">
              <a:avLst/>
            </a:prstGeom>
            <a:ln>
              <a:noFill/>
            </a:ln>
          </p:spPr>
        </p:pic>
        <p:pic>
          <p:nvPicPr>
            <p:cNvPr id="520" name="Picture 519">
              <a:extLst>
                <a:ext uri="{FF2B5EF4-FFF2-40B4-BE49-F238E27FC236}">
                  <a16:creationId xmlns:a16="http://schemas.microsoft.com/office/drawing/2014/main" id="{7A917D20-E95F-46A5-8B8C-F7226EEC8D26}"/>
                </a:ext>
              </a:extLst>
            </p:cNvPr>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57563" y="1647804"/>
              <a:ext cx="71315" cy="118859"/>
            </a:xfrm>
            <a:prstGeom prst="rect">
              <a:avLst/>
            </a:prstGeom>
            <a:ln>
              <a:noFill/>
            </a:ln>
          </p:spPr>
        </p:pic>
        <p:pic>
          <p:nvPicPr>
            <p:cNvPr id="521" name="Picture 520">
              <a:extLst>
                <a:ext uri="{FF2B5EF4-FFF2-40B4-BE49-F238E27FC236}">
                  <a16:creationId xmlns:a16="http://schemas.microsoft.com/office/drawing/2014/main" id="{0D8BD12F-B050-4436-B7B6-294436E4D70F}"/>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362647" y="1647804"/>
              <a:ext cx="97464" cy="118859"/>
            </a:xfrm>
            <a:prstGeom prst="rect">
              <a:avLst/>
            </a:prstGeom>
            <a:ln>
              <a:noFill/>
            </a:ln>
          </p:spPr>
        </p:pic>
      </p:grpSp>
      <p:grpSp>
        <p:nvGrpSpPr>
          <p:cNvPr id="439" name="Group 438">
            <a:extLst>
              <a:ext uri="{FF2B5EF4-FFF2-40B4-BE49-F238E27FC236}">
                <a16:creationId xmlns:a16="http://schemas.microsoft.com/office/drawing/2014/main" id="{081F3E3E-F773-4722-BC0E-DA5EC3B715AC}"/>
              </a:ext>
            </a:extLst>
          </p:cNvPr>
          <p:cNvGrpSpPr/>
          <p:nvPr/>
        </p:nvGrpSpPr>
        <p:grpSpPr>
          <a:xfrm>
            <a:off x="5644052" y="4019282"/>
            <a:ext cx="324402" cy="77001"/>
            <a:chOff x="3832730" y="1647804"/>
            <a:chExt cx="500748" cy="118859"/>
          </a:xfrm>
        </p:grpSpPr>
        <p:pic>
          <p:nvPicPr>
            <p:cNvPr id="484" name="Picture 483">
              <a:extLst>
                <a:ext uri="{FF2B5EF4-FFF2-40B4-BE49-F238E27FC236}">
                  <a16:creationId xmlns:a16="http://schemas.microsoft.com/office/drawing/2014/main" id="{A3E5EDFE-69BC-4203-9FEE-9BED5F37E2CE}"/>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2162" y="1647804"/>
              <a:ext cx="71316" cy="118859"/>
            </a:xfrm>
            <a:prstGeom prst="rect">
              <a:avLst/>
            </a:prstGeom>
            <a:ln>
              <a:noFill/>
            </a:ln>
          </p:spPr>
        </p:pic>
        <p:pic>
          <p:nvPicPr>
            <p:cNvPr id="485" name="Picture 484">
              <a:extLst>
                <a:ext uri="{FF2B5EF4-FFF2-40B4-BE49-F238E27FC236}">
                  <a16:creationId xmlns:a16="http://schemas.microsoft.com/office/drawing/2014/main" id="{3451AB94-5B2F-4A4F-91EF-5D2B8453337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149249" y="1647804"/>
              <a:ext cx="97465" cy="118859"/>
            </a:xfrm>
            <a:prstGeom prst="rect">
              <a:avLst/>
            </a:prstGeom>
            <a:ln>
              <a:noFill/>
            </a:ln>
          </p:spPr>
        </p:pic>
        <p:pic>
          <p:nvPicPr>
            <p:cNvPr id="486" name="Picture 485">
              <a:extLst>
                <a:ext uri="{FF2B5EF4-FFF2-40B4-BE49-F238E27FC236}">
                  <a16:creationId xmlns:a16="http://schemas.microsoft.com/office/drawing/2014/main" id="{500C7677-87B0-4422-8FEE-D83899CC8FB5}"/>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32730" y="1647804"/>
              <a:ext cx="71315" cy="118859"/>
            </a:xfrm>
            <a:prstGeom prst="rect">
              <a:avLst/>
            </a:prstGeom>
            <a:ln>
              <a:noFill/>
            </a:ln>
          </p:spPr>
        </p:pic>
        <p:pic>
          <p:nvPicPr>
            <p:cNvPr id="487" name="Picture 486">
              <a:extLst>
                <a:ext uri="{FF2B5EF4-FFF2-40B4-BE49-F238E27FC236}">
                  <a16:creationId xmlns:a16="http://schemas.microsoft.com/office/drawing/2014/main" id="{45631BCD-F393-4DEF-84C2-4752A912B5F0}"/>
                </a:ext>
              </a:extLst>
            </p:cNvPr>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17454" y="1647804"/>
              <a:ext cx="97464" cy="118859"/>
            </a:xfrm>
            <a:prstGeom prst="rect">
              <a:avLst/>
            </a:prstGeom>
            <a:ln>
              <a:noFill/>
            </a:ln>
          </p:spPr>
        </p:pic>
        <p:pic>
          <p:nvPicPr>
            <p:cNvPr id="488" name="Picture 487">
              <a:extLst>
                <a:ext uri="{FF2B5EF4-FFF2-40B4-BE49-F238E27FC236}">
                  <a16:creationId xmlns:a16="http://schemas.microsoft.com/office/drawing/2014/main" id="{7E0A1445-8F8E-480F-82F4-EA05920B227B}"/>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3351" y="1647804"/>
              <a:ext cx="97465" cy="118859"/>
            </a:xfrm>
            <a:prstGeom prst="rect">
              <a:avLst/>
            </a:prstGeom>
            <a:ln>
              <a:noFill/>
            </a:ln>
          </p:spPr>
        </p:pic>
      </p:grpSp>
      <p:pic>
        <p:nvPicPr>
          <p:cNvPr id="440" name="Picture 439">
            <a:extLst>
              <a:ext uri="{FF2B5EF4-FFF2-40B4-BE49-F238E27FC236}">
                <a16:creationId xmlns:a16="http://schemas.microsoft.com/office/drawing/2014/main" id="{CF9DF003-92D5-4B78-80B6-5AA3C296FA6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708557" y="3651769"/>
            <a:ext cx="63141" cy="77001"/>
          </a:xfrm>
          <a:prstGeom prst="rect">
            <a:avLst/>
          </a:prstGeom>
          <a:solidFill>
            <a:schemeClr val="bg2"/>
          </a:solidFill>
          <a:ln>
            <a:noFill/>
          </a:ln>
        </p:spPr>
      </p:pic>
      <p:pic>
        <p:nvPicPr>
          <p:cNvPr id="441" name="Picture 440">
            <a:extLst>
              <a:ext uri="{FF2B5EF4-FFF2-40B4-BE49-F238E27FC236}">
                <a16:creationId xmlns:a16="http://schemas.microsoft.com/office/drawing/2014/main" id="{BD2B0207-3213-4DCC-8120-1CE1C9C86BC8}"/>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836667" y="3651769"/>
            <a:ext cx="63141" cy="77001"/>
          </a:xfrm>
          <a:prstGeom prst="rect">
            <a:avLst/>
          </a:prstGeom>
          <a:ln>
            <a:noFill/>
          </a:ln>
        </p:spPr>
      </p:pic>
      <p:pic>
        <p:nvPicPr>
          <p:cNvPr id="442" name="Picture 441">
            <a:extLst>
              <a:ext uri="{FF2B5EF4-FFF2-40B4-BE49-F238E27FC236}">
                <a16:creationId xmlns:a16="http://schemas.microsoft.com/office/drawing/2014/main" id="{8E358E8B-D3BE-4097-AA1F-BC6742D7820A}"/>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781705" y="3651769"/>
            <a:ext cx="46200" cy="77001"/>
          </a:xfrm>
          <a:prstGeom prst="rect">
            <a:avLst/>
          </a:prstGeom>
          <a:ln>
            <a:noFill/>
          </a:ln>
        </p:spPr>
      </p:pic>
      <p:pic>
        <p:nvPicPr>
          <p:cNvPr id="456" name="Picture 455">
            <a:extLst>
              <a:ext uri="{FF2B5EF4-FFF2-40B4-BE49-F238E27FC236}">
                <a16:creationId xmlns:a16="http://schemas.microsoft.com/office/drawing/2014/main" id="{98735668-6B94-46F9-AFF8-A2B10EFCFF43}"/>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572424" y="3834213"/>
            <a:ext cx="46200" cy="77001"/>
          </a:xfrm>
          <a:prstGeom prst="rect">
            <a:avLst/>
          </a:prstGeom>
          <a:ln>
            <a:noFill/>
          </a:ln>
        </p:spPr>
      </p:pic>
      <p:sp>
        <p:nvSpPr>
          <p:cNvPr id="457" name="Freeform 7">
            <a:extLst>
              <a:ext uri="{FF2B5EF4-FFF2-40B4-BE49-F238E27FC236}">
                <a16:creationId xmlns:a16="http://schemas.microsoft.com/office/drawing/2014/main" id="{234D3F95-CF36-465D-8C7C-4FB2F26569C7}"/>
              </a:ext>
            </a:extLst>
          </p:cNvPr>
          <p:cNvSpPr>
            <a:spLocks noEditPoints="1"/>
          </p:cNvSpPr>
          <p:nvPr/>
        </p:nvSpPr>
        <p:spPr bwMode="auto">
          <a:xfrm>
            <a:off x="5752812" y="3835211"/>
            <a:ext cx="75693" cy="81711"/>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458" name="Group 457">
            <a:extLst>
              <a:ext uri="{FF2B5EF4-FFF2-40B4-BE49-F238E27FC236}">
                <a16:creationId xmlns:a16="http://schemas.microsoft.com/office/drawing/2014/main" id="{05E346F3-1FC7-4899-A34A-F3F4E8D104AC}"/>
              </a:ext>
            </a:extLst>
          </p:cNvPr>
          <p:cNvGrpSpPr/>
          <p:nvPr/>
        </p:nvGrpSpPr>
        <p:grpSpPr>
          <a:xfrm>
            <a:off x="5842986" y="3919204"/>
            <a:ext cx="68481" cy="86209"/>
            <a:chOff x="2476226" y="-1323925"/>
            <a:chExt cx="1051959" cy="1324272"/>
          </a:xfrm>
        </p:grpSpPr>
        <p:sp>
          <p:nvSpPr>
            <p:cNvPr id="482" name="Freeform 5">
              <a:extLst>
                <a:ext uri="{FF2B5EF4-FFF2-40B4-BE49-F238E27FC236}">
                  <a16:creationId xmlns:a16="http://schemas.microsoft.com/office/drawing/2014/main" id="{DCD87FAC-84C6-4BB4-A83B-5D33C57975F0}"/>
                </a:ext>
              </a:extLst>
            </p:cNvPr>
            <p:cNvSpPr>
              <a:spLocks/>
            </p:cNvSpPr>
            <p:nvPr/>
          </p:nvSpPr>
          <p:spPr bwMode="auto">
            <a:xfrm>
              <a:off x="2476226" y="-1323925"/>
              <a:ext cx="1051959" cy="1324272"/>
            </a:xfrm>
            <a:custGeom>
              <a:avLst/>
              <a:gdLst>
                <a:gd name="T0" fmla="*/ 432 w 433"/>
                <a:gd name="T1" fmla="*/ 34 h 547"/>
                <a:gd name="T2" fmla="*/ 418 w 433"/>
                <a:gd name="T3" fmla="*/ 17 h 547"/>
                <a:gd name="T4" fmla="*/ 372 w 433"/>
                <a:gd name="T5" fmla="*/ 76 h 547"/>
                <a:gd name="T6" fmla="*/ 63 w 433"/>
                <a:gd name="T7" fmla="*/ 77 h 547"/>
                <a:gd name="T8" fmla="*/ 21 w 433"/>
                <a:gd name="T9" fmla="*/ 32 h 547"/>
                <a:gd name="T10" fmla="*/ 6 w 433"/>
                <a:gd name="T11" fmla="*/ 16 h 547"/>
                <a:gd name="T12" fmla="*/ 16 w 433"/>
                <a:gd name="T13" fmla="*/ 111 h 547"/>
                <a:gd name="T14" fmla="*/ 9 w 433"/>
                <a:gd name="T15" fmla="*/ 218 h 547"/>
                <a:gd name="T16" fmla="*/ 13 w 433"/>
                <a:gd name="T17" fmla="*/ 313 h 547"/>
                <a:gd name="T18" fmla="*/ 12 w 433"/>
                <a:gd name="T19" fmla="*/ 351 h 547"/>
                <a:gd name="T20" fmla="*/ 15 w 433"/>
                <a:gd name="T21" fmla="*/ 379 h 547"/>
                <a:gd name="T22" fmla="*/ 18 w 433"/>
                <a:gd name="T23" fmla="*/ 418 h 547"/>
                <a:gd name="T24" fmla="*/ 45 w 433"/>
                <a:gd name="T25" fmla="*/ 418 h 547"/>
                <a:gd name="T26" fmla="*/ 37 w 433"/>
                <a:gd name="T27" fmla="*/ 404 h 547"/>
                <a:gd name="T28" fmla="*/ 34 w 433"/>
                <a:gd name="T29" fmla="*/ 378 h 547"/>
                <a:gd name="T30" fmla="*/ 37 w 433"/>
                <a:gd name="T31" fmla="*/ 352 h 547"/>
                <a:gd name="T32" fmla="*/ 43 w 433"/>
                <a:gd name="T33" fmla="*/ 331 h 547"/>
                <a:gd name="T34" fmla="*/ 131 w 433"/>
                <a:gd name="T35" fmla="*/ 449 h 547"/>
                <a:gd name="T36" fmla="*/ 149 w 433"/>
                <a:gd name="T37" fmla="*/ 516 h 547"/>
                <a:gd name="T38" fmla="*/ 84 w 433"/>
                <a:gd name="T39" fmla="*/ 508 h 547"/>
                <a:gd name="T40" fmla="*/ 56 w 433"/>
                <a:gd name="T41" fmla="*/ 540 h 547"/>
                <a:gd name="T42" fmla="*/ 84 w 433"/>
                <a:gd name="T43" fmla="*/ 547 h 547"/>
                <a:gd name="T44" fmla="*/ 153 w 433"/>
                <a:gd name="T45" fmla="*/ 546 h 547"/>
                <a:gd name="T46" fmla="*/ 169 w 433"/>
                <a:gd name="T47" fmla="*/ 541 h 547"/>
                <a:gd name="T48" fmla="*/ 163 w 433"/>
                <a:gd name="T49" fmla="*/ 447 h 547"/>
                <a:gd name="T50" fmla="*/ 217 w 433"/>
                <a:gd name="T51" fmla="*/ 426 h 547"/>
                <a:gd name="T52" fmla="*/ 268 w 433"/>
                <a:gd name="T53" fmla="*/ 448 h 547"/>
                <a:gd name="T54" fmla="*/ 265 w 433"/>
                <a:gd name="T55" fmla="*/ 541 h 547"/>
                <a:gd name="T56" fmla="*/ 280 w 433"/>
                <a:gd name="T57" fmla="*/ 546 h 547"/>
                <a:gd name="T58" fmla="*/ 349 w 433"/>
                <a:gd name="T59" fmla="*/ 547 h 547"/>
                <a:gd name="T60" fmla="*/ 377 w 433"/>
                <a:gd name="T61" fmla="*/ 540 h 547"/>
                <a:gd name="T62" fmla="*/ 349 w 433"/>
                <a:gd name="T63" fmla="*/ 508 h 547"/>
                <a:gd name="T64" fmla="*/ 283 w 433"/>
                <a:gd name="T65" fmla="*/ 516 h 547"/>
                <a:gd name="T66" fmla="*/ 300 w 433"/>
                <a:gd name="T67" fmla="*/ 448 h 547"/>
                <a:gd name="T68" fmla="*/ 391 w 433"/>
                <a:gd name="T69" fmla="*/ 331 h 547"/>
                <a:gd name="T70" fmla="*/ 396 w 433"/>
                <a:gd name="T71" fmla="*/ 352 h 547"/>
                <a:gd name="T72" fmla="*/ 400 w 433"/>
                <a:gd name="T73" fmla="*/ 378 h 547"/>
                <a:gd name="T74" fmla="*/ 397 w 433"/>
                <a:gd name="T75" fmla="*/ 404 h 547"/>
                <a:gd name="T76" fmla="*/ 388 w 433"/>
                <a:gd name="T77" fmla="*/ 418 h 547"/>
                <a:gd name="T78" fmla="*/ 416 w 433"/>
                <a:gd name="T79" fmla="*/ 418 h 547"/>
                <a:gd name="T80" fmla="*/ 418 w 433"/>
                <a:gd name="T81" fmla="*/ 379 h 547"/>
                <a:gd name="T82" fmla="*/ 422 w 433"/>
                <a:gd name="T83" fmla="*/ 351 h 547"/>
                <a:gd name="T84" fmla="*/ 421 w 433"/>
                <a:gd name="T85" fmla="*/ 313 h 547"/>
                <a:gd name="T86" fmla="*/ 425 w 433"/>
                <a:gd name="T87" fmla="*/ 218 h 547"/>
                <a:gd name="T88" fmla="*/ 417 w 433"/>
                <a:gd name="T89" fmla="*/ 111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3" h="547">
                  <a:moveTo>
                    <a:pt x="417" y="111"/>
                  </a:moveTo>
                  <a:cubicBezTo>
                    <a:pt x="423" y="99"/>
                    <a:pt x="427" y="86"/>
                    <a:pt x="430" y="73"/>
                  </a:cubicBezTo>
                  <a:cubicBezTo>
                    <a:pt x="432" y="60"/>
                    <a:pt x="433" y="47"/>
                    <a:pt x="432" y="34"/>
                  </a:cubicBezTo>
                  <a:cubicBezTo>
                    <a:pt x="431" y="28"/>
                    <a:pt x="429" y="22"/>
                    <a:pt x="427" y="16"/>
                  </a:cubicBezTo>
                  <a:cubicBezTo>
                    <a:pt x="425" y="10"/>
                    <a:pt x="422" y="5"/>
                    <a:pt x="419" y="0"/>
                  </a:cubicBezTo>
                  <a:cubicBezTo>
                    <a:pt x="419" y="6"/>
                    <a:pt x="419" y="12"/>
                    <a:pt x="418" y="17"/>
                  </a:cubicBezTo>
                  <a:cubicBezTo>
                    <a:pt x="417" y="22"/>
                    <a:pt x="415" y="27"/>
                    <a:pt x="413" y="32"/>
                  </a:cubicBezTo>
                  <a:cubicBezTo>
                    <a:pt x="408" y="41"/>
                    <a:pt x="402" y="50"/>
                    <a:pt x="395" y="57"/>
                  </a:cubicBezTo>
                  <a:cubicBezTo>
                    <a:pt x="388" y="64"/>
                    <a:pt x="381" y="70"/>
                    <a:pt x="372" y="76"/>
                  </a:cubicBezTo>
                  <a:cubicBezTo>
                    <a:pt x="372" y="76"/>
                    <a:pt x="371" y="77"/>
                    <a:pt x="370" y="77"/>
                  </a:cubicBezTo>
                  <a:cubicBezTo>
                    <a:pt x="332" y="36"/>
                    <a:pt x="277" y="10"/>
                    <a:pt x="217" y="10"/>
                  </a:cubicBezTo>
                  <a:cubicBezTo>
                    <a:pt x="156" y="10"/>
                    <a:pt x="101" y="36"/>
                    <a:pt x="63" y="77"/>
                  </a:cubicBezTo>
                  <a:cubicBezTo>
                    <a:pt x="63" y="77"/>
                    <a:pt x="62" y="76"/>
                    <a:pt x="61" y="76"/>
                  </a:cubicBezTo>
                  <a:cubicBezTo>
                    <a:pt x="53" y="70"/>
                    <a:pt x="45" y="64"/>
                    <a:pt x="38" y="57"/>
                  </a:cubicBezTo>
                  <a:cubicBezTo>
                    <a:pt x="31" y="50"/>
                    <a:pt x="25" y="41"/>
                    <a:pt x="21" y="32"/>
                  </a:cubicBezTo>
                  <a:cubicBezTo>
                    <a:pt x="19" y="27"/>
                    <a:pt x="17" y="22"/>
                    <a:pt x="16" y="17"/>
                  </a:cubicBezTo>
                  <a:cubicBezTo>
                    <a:pt x="15" y="12"/>
                    <a:pt x="14" y="6"/>
                    <a:pt x="15" y="0"/>
                  </a:cubicBezTo>
                  <a:cubicBezTo>
                    <a:pt x="11" y="5"/>
                    <a:pt x="9" y="10"/>
                    <a:pt x="6" y="16"/>
                  </a:cubicBezTo>
                  <a:cubicBezTo>
                    <a:pt x="4" y="22"/>
                    <a:pt x="3" y="28"/>
                    <a:pt x="2" y="34"/>
                  </a:cubicBezTo>
                  <a:cubicBezTo>
                    <a:pt x="0" y="47"/>
                    <a:pt x="1" y="60"/>
                    <a:pt x="4" y="73"/>
                  </a:cubicBezTo>
                  <a:cubicBezTo>
                    <a:pt x="7" y="86"/>
                    <a:pt x="11" y="99"/>
                    <a:pt x="16" y="111"/>
                  </a:cubicBezTo>
                  <a:cubicBezTo>
                    <a:pt x="19" y="117"/>
                    <a:pt x="22" y="123"/>
                    <a:pt x="25" y="128"/>
                  </a:cubicBezTo>
                  <a:cubicBezTo>
                    <a:pt x="26" y="130"/>
                    <a:pt x="26" y="131"/>
                    <a:pt x="27" y="132"/>
                  </a:cubicBezTo>
                  <a:cubicBezTo>
                    <a:pt x="15" y="158"/>
                    <a:pt x="9" y="187"/>
                    <a:pt x="9" y="218"/>
                  </a:cubicBezTo>
                  <a:cubicBezTo>
                    <a:pt x="9" y="244"/>
                    <a:pt x="14" y="269"/>
                    <a:pt x="22" y="292"/>
                  </a:cubicBezTo>
                  <a:cubicBezTo>
                    <a:pt x="22" y="293"/>
                    <a:pt x="21" y="294"/>
                    <a:pt x="21" y="295"/>
                  </a:cubicBezTo>
                  <a:cubicBezTo>
                    <a:pt x="17" y="301"/>
                    <a:pt x="14" y="306"/>
                    <a:pt x="13" y="313"/>
                  </a:cubicBezTo>
                  <a:cubicBezTo>
                    <a:pt x="11" y="319"/>
                    <a:pt x="10" y="325"/>
                    <a:pt x="10" y="331"/>
                  </a:cubicBezTo>
                  <a:cubicBezTo>
                    <a:pt x="11" y="341"/>
                    <a:pt x="11" y="341"/>
                    <a:pt x="11" y="341"/>
                  </a:cubicBezTo>
                  <a:cubicBezTo>
                    <a:pt x="11" y="344"/>
                    <a:pt x="11" y="347"/>
                    <a:pt x="12" y="351"/>
                  </a:cubicBezTo>
                  <a:cubicBezTo>
                    <a:pt x="12" y="354"/>
                    <a:pt x="12" y="357"/>
                    <a:pt x="12" y="360"/>
                  </a:cubicBezTo>
                  <a:cubicBezTo>
                    <a:pt x="13" y="363"/>
                    <a:pt x="13" y="367"/>
                    <a:pt x="13" y="370"/>
                  </a:cubicBezTo>
                  <a:cubicBezTo>
                    <a:pt x="14" y="373"/>
                    <a:pt x="14" y="376"/>
                    <a:pt x="15" y="379"/>
                  </a:cubicBezTo>
                  <a:cubicBezTo>
                    <a:pt x="17" y="389"/>
                    <a:pt x="17" y="389"/>
                    <a:pt x="17" y="389"/>
                  </a:cubicBezTo>
                  <a:cubicBezTo>
                    <a:pt x="19" y="393"/>
                    <a:pt x="20" y="398"/>
                    <a:pt x="22" y="402"/>
                  </a:cubicBezTo>
                  <a:cubicBezTo>
                    <a:pt x="19" y="406"/>
                    <a:pt x="18" y="413"/>
                    <a:pt x="18" y="418"/>
                  </a:cubicBezTo>
                  <a:cubicBezTo>
                    <a:pt x="18" y="426"/>
                    <a:pt x="24" y="431"/>
                    <a:pt x="31" y="431"/>
                  </a:cubicBezTo>
                  <a:cubicBezTo>
                    <a:pt x="39" y="431"/>
                    <a:pt x="45" y="426"/>
                    <a:pt x="45" y="418"/>
                  </a:cubicBezTo>
                  <a:cubicBezTo>
                    <a:pt x="45" y="418"/>
                    <a:pt x="45" y="418"/>
                    <a:pt x="45" y="418"/>
                  </a:cubicBezTo>
                  <a:cubicBezTo>
                    <a:pt x="48" y="416"/>
                    <a:pt x="49" y="412"/>
                    <a:pt x="47" y="408"/>
                  </a:cubicBezTo>
                  <a:cubicBezTo>
                    <a:pt x="45" y="404"/>
                    <a:pt x="40" y="402"/>
                    <a:pt x="37" y="404"/>
                  </a:cubicBezTo>
                  <a:cubicBezTo>
                    <a:pt x="37" y="404"/>
                    <a:pt x="37" y="404"/>
                    <a:pt x="37" y="404"/>
                  </a:cubicBezTo>
                  <a:cubicBezTo>
                    <a:pt x="35" y="403"/>
                    <a:pt x="34" y="402"/>
                    <a:pt x="33" y="402"/>
                  </a:cubicBezTo>
                  <a:cubicBezTo>
                    <a:pt x="33" y="397"/>
                    <a:pt x="33" y="392"/>
                    <a:pt x="33" y="387"/>
                  </a:cubicBezTo>
                  <a:cubicBezTo>
                    <a:pt x="34" y="378"/>
                    <a:pt x="34" y="378"/>
                    <a:pt x="34" y="378"/>
                  </a:cubicBezTo>
                  <a:cubicBezTo>
                    <a:pt x="34" y="375"/>
                    <a:pt x="34" y="372"/>
                    <a:pt x="35" y="369"/>
                  </a:cubicBezTo>
                  <a:cubicBezTo>
                    <a:pt x="35" y="366"/>
                    <a:pt x="35" y="364"/>
                    <a:pt x="36" y="361"/>
                  </a:cubicBezTo>
                  <a:cubicBezTo>
                    <a:pt x="36" y="358"/>
                    <a:pt x="37" y="355"/>
                    <a:pt x="37" y="352"/>
                  </a:cubicBezTo>
                  <a:cubicBezTo>
                    <a:pt x="38" y="349"/>
                    <a:pt x="38" y="346"/>
                    <a:pt x="39" y="343"/>
                  </a:cubicBezTo>
                  <a:cubicBezTo>
                    <a:pt x="42" y="335"/>
                    <a:pt x="42" y="335"/>
                    <a:pt x="42" y="335"/>
                  </a:cubicBezTo>
                  <a:cubicBezTo>
                    <a:pt x="42" y="334"/>
                    <a:pt x="42" y="332"/>
                    <a:pt x="43" y="331"/>
                  </a:cubicBezTo>
                  <a:cubicBezTo>
                    <a:pt x="63" y="363"/>
                    <a:pt x="92" y="388"/>
                    <a:pt x="126" y="405"/>
                  </a:cubicBezTo>
                  <a:cubicBezTo>
                    <a:pt x="125" y="411"/>
                    <a:pt x="125" y="418"/>
                    <a:pt x="127" y="424"/>
                  </a:cubicBezTo>
                  <a:cubicBezTo>
                    <a:pt x="128" y="433"/>
                    <a:pt x="130" y="441"/>
                    <a:pt x="131" y="449"/>
                  </a:cubicBezTo>
                  <a:cubicBezTo>
                    <a:pt x="133" y="457"/>
                    <a:pt x="134" y="466"/>
                    <a:pt x="136" y="474"/>
                  </a:cubicBezTo>
                  <a:cubicBezTo>
                    <a:pt x="138" y="482"/>
                    <a:pt x="140" y="490"/>
                    <a:pt x="143" y="498"/>
                  </a:cubicBezTo>
                  <a:cubicBezTo>
                    <a:pt x="145" y="504"/>
                    <a:pt x="147" y="510"/>
                    <a:pt x="149" y="516"/>
                  </a:cubicBezTo>
                  <a:cubicBezTo>
                    <a:pt x="146" y="513"/>
                    <a:pt x="143" y="510"/>
                    <a:pt x="139" y="508"/>
                  </a:cubicBezTo>
                  <a:cubicBezTo>
                    <a:pt x="130" y="502"/>
                    <a:pt x="121" y="499"/>
                    <a:pt x="112" y="499"/>
                  </a:cubicBezTo>
                  <a:cubicBezTo>
                    <a:pt x="102" y="499"/>
                    <a:pt x="93" y="502"/>
                    <a:pt x="84" y="508"/>
                  </a:cubicBezTo>
                  <a:cubicBezTo>
                    <a:pt x="79" y="511"/>
                    <a:pt x="75" y="515"/>
                    <a:pt x="70" y="520"/>
                  </a:cubicBezTo>
                  <a:cubicBezTo>
                    <a:pt x="68" y="523"/>
                    <a:pt x="65" y="525"/>
                    <a:pt x="63" y="529"/>
                  </a:cubicBezTo>
                  <a:cubicBezTo>
                    <a:pt x="61" y="532"/>
                    <a:pt x="59" y="536"/>
                    <a:pt x="56" y="540"/>
                  </a:cubicBezTo>
                  <a:cubicBezTo>
                    <a:pt x="56" y="545"/>
                    <a:pt x="56" y="545"/>
                    <a:pt x="56" y="545"/>
                  </a:cubicBezTo>
                  <a:cubicBezTo>
                    <a:pt x="61" y="545"/>
                    <a:pt x="65" y="546"/>
                    <a:pt x="70" y="546"/>
                  </a:cubicBezTo>
                  <a:cubicBezTo>
                    <a:pt x="84" y="547"/>
                    <a:pt x="84" y="547"/>
                    <a:pt x="84" y="547"/>
                  </a:cubicBezTo>
                  <a:cubicBezTo>
                    <a:pt x="93" y="547"/>
                    <a:pt x="102" y="547"/>
                    <a:pt x="112" y="547"/>
                  </a:cubicBezTo>
                  <a:cubicBezTo>
                    <a:pt x="121" y="547"/>
                    <a:pt x="130" y="547"/>
                    <a:pt x="139" y="547"/>
                  </a:cubicBezTo>
                  <a:cubicBezTo>
                    <a:pt x="153" y="546"/>
                    <a:pt x="153" y="546"/>
                    <a:pt x="153" y="546"/>
                  </a:cubicBezTo>
                  <a:cubicBezTo>
                    <a:pt x="158" y="546"/>
                    <a:pt x="163" y="545"/>
                    <a:pt x="167" y="545"/>
                  </a:cubicBezTo>
                  <a:cubicBezTo>
                    <a:pt x="167" y="542"/>
                    <a:pt x="167" y="542"/>
                    <a:pt x="167" y="542"/>
                  </a:cubicBezTo>
                  <a:cubicBezTo>
                    <a:pt x="169" y="541"/>
                    <a:pt x="169" y="541"/>
                    <a:pt x="169" y="541"/>
                  </a:cubicBezTo>
                  <a:cubicBezTo>
                    <a:pt x="164" y="526"/>
                    <a:pt x="163" y="510"/>
                    <a:pt x="162" y="495"/>
                  </a:cubicBezTo>
                  <a:cubicBezTo>
                    <a:pt x="162" y="487"/>
                    <a:pt x="162" y="479"/>
                    <a:pt x="162" y="471"/>
                  </a:cubicBezTo>
                  <a:cubicBezTo>
                    <a:pt x="163" y="463"/>
                    <a:pt x="163" y="455"/>
                    <a:pt x="163" y="447"/>
                  </a:cubicBezTo>
                  <a:cubicBezTo>
                    <a:pt x="164" y="439"/>
                    <a:pt x="165" y="431"/>
                    <a:pt x="166" y="424"/>
                  </a:cubicBezTo>
                  <a:cubicBezTo>
                    <a:pt x="166" y="422"/>
                    <a:pt x="167" y="421"/>
                    <a:pt x="167" y="420"/>
                  </a:cubicBezTo>
                  <a:cubicBezTo>
                    <a:pt x="183" y="424"/>
                    <a:pt x="199" y="426"/>
                    <a:pt x="217" y="426"/>
                  </a:cubicBezTo>
                  <a:cubicBezTo>
                    <a:pt x="233" y="426"/>
                    <a:pt x="248" y="424"/>
                    <a:pt x="263" y="420"/>
                  </a:cubicBezTo>
                  <a:cubicBezTo>
                    <a:pt x="263" y="422"/>
                    <a:pt x="263" y="423"/>
                    <a:pt x="264" y="424"/>
                  </a:cubicBezTo>
                  <a:cubicBezTo>
                    <a:pt x="265" y="432"/>
                    <a:pt x="267" y="440"/>
                    <a:pt x="268" y="448"/>
                  </a:cubicBezTo>
                  <a:cubicBezTo>
                    <a:pt x="268" y="455"/>
                    <a:pt x="269" y="463"/>
                    <a:pt x="269" y="471"/>
                  </a:cubicBezTo>
                  <a:cubicBezTo>
                    <a:pt x="270" y="479"/>
                    <a:pt x="270" y="487"/>
                    <a:pt x="270" y="495"/>
                  </a:cubicBezTo>
                  <a:cubicBezTo>
                    <a:pt x="270" y="510"/>
                    <a:pt x="269" y="526"/>
                    <a:pt x="265" y="541"/>
                  </a:cubicBezTo>
                  <a:cubicBezTo>
                    <a:pt x="266" y="542"/>
                    <a:pt x="266" y="542"/>
                    <a:pt x="266" y="542"/>
                  </a:cubicBezTo>
                  <a:cubicBezTo>
                    <a:pt x="266" y="545"/>
                    <a:pt x="266" y="545"/>
                    <a:pt x="266" y="545"/>
                  </a:cubicBezTo>
                  <a:cubicBezTo>
                    <a:pt x="271" y="545"/>
                    <a:pt x="275" y="546"/>
                    <a:pt x="280" y="546"/>
                  </a:cubicBezTo>
                  <a:cubicBezTo>
                    <a:pt x="294" y="547"/>
                    <a:pt x="294" y="547"/>
                    <a:pt x="294" y="547"/>
                  </a:cubicBezTo>
                  <a:cubicBezTo>
                    <a:pt x="303" y="547"/>
                    <a:pt x="312" y="547"/>
                    <a:pt x="322" y="547"/>
                  </a:cubicBezTo>
                  <a:cubicBezTo>
                    <a:pt x="331" y="547"/>
                    <a:pt x="340" y="547"/>
                    <a:pt x="349" y="547"/>
                  </a:cubicBezTo>
                  <a:cubicBezTo>
                    <a:pt x="363" y="546"/>
                    <a:pt x="363" y="546"/>
                    <a:pt x="363" y="546"/>
                  </a:cubicBezTo>
                  <a:cubicBezTo>
                    <a:pt x="368" y="546"/>
                    <a:pt x="373" y="545"/>
                    <a:pt x="377" y="545"/>
                  </a:cubicBezTo>
                  <a:cubicBezTo>
                    <a:pt x="377" y="540"/>
                    <a:pt x="377" y="540"/>
                    <a:pt x="377" y="540"/>
                  </a:cubicBezTo>
                  <a:cubicBezTo>
                    <a:pt x="375" y="536"/>
                    <a:pt x="373" y="532"/>
                    <a:pt x="370" y="529"/>
                  </a:cubicBezTo>
                  <a:cubicBezTo>
                    <a:pt x="368" y="525"/>
                    <a:pt x="366" y="523"/>
                    <a:pt x="363" y="520"/>
                  </a:cubicBezTo>
                  <a:cubicBezTo>
                    <a:pt x="359" y="515"/>
                    <a:pt x="354" y="511"/>
                    <a:pt x="349" y="508"/>
                  </a:cubicBezTo>
                  <a:cubicBezTo>
                    <a:pt x="340" y="502"/>
                    <a:pt x="331" y="499"/>
                    <a:pt x="322" y="499"/>
                  </a:cubicBezTo>
                  <a:cubicBezTo>
                    <a:pt x="312" y="499"/>
                    <a:pt x="303" y="502"/>
                    <a:pt x="294" y="508"/>
                  </a:cubicBezTo>
                  <a:cubicBezTo>
                    <a:pt x="290" y="510"/>
                    <a:pt x="287" y="513"/>
                    <a:pt x="283" y="516"/>
                  </a:cubicBezTo>
                  <a:cubicBezTo>
                    <a:pt x="286" y="510"/>
                    <a:pt x="288" y="504"/>
                    <a:pt x="290" y="498"/>
                  </a:cubicBezTo>
                  <a:cubicBezTo>
                    <a:pt x="292" y="489"/>
                    <a:pt x="294" y="481"/>
                    <a:pt x="296" y="473"/>
                  </a:cubicBezTo>
                  <a:cubicBezTo>
                    <a:pt x="297" y="465"/>
                    <a:pt x="298" y="456"/>
                    <a:pt x="300" y="448"/>
                  </a:cubicBezTo>
                  <a:cubicBezTo>
                    <a:pt x="300" y="440"/>
                    <a:pt x="302" y="432"/>
                    <a:pt x="303" y="423"/>
                  </a:cubicBezTo>
                  <a:cubicBezTo>
                    <a:pt x="304" y="418"/>
                    <a:pt x="304" y="412"/>
                    <a:pt x="304" y="407"/>
                  </a:cubicBezTo>
                  <a:cubicBezTo>
                    <a:pt x="339" y="390"/>
                    <a:pt x="370" y="364"/>
                    <a:pt x="391" y="331"/>
                  </a:cubicBezTo>
                  <a:cubicBezTo>
                    <a:pt x="391" y="332"/>
                    <a:pt x="392" y="334"/>
                    <a:pt x="392" y="335"/>
                  </a:cubicBezTo>
                  <a:cubicBezTo>
                    <a:pt x="394" y="343"/>
                    <a:pt x="394" y="343"/>
                    <a:pt x="394" y="343"/>
                  </a:cubicBezTo>
                  <a:cubicBezTo>
                    <a:pt x="395" y="346"/>
                    <a:pt x="396" y="349"/>
                    <a:pt x="396" y="352"/>
                  </a:cubicBezTo>
                  <a:cubicBezTo>
                    <a:pt x="397" y="355"/>
                    <a:pt x="397" y="358"/>
                    <a:pt x="398" y="361"/>
                  </a:cubicBezTo>
                  <a:cubicBezTo>
                    <a:pt x="398" y="364"/>
                    <a:pt x="399" y="366"/>
                    <a:pt x="399" y="369"/>
                  </a:cubicBezTo>
                  <a:cubicBezTo>
                    <a:pt x="399" y="372"/>
                    <a:pt x="400" y="375"/>
                    <a:pt x="400" y="378"/>
                  </a:cubicBezTo>
                  <a:cubicBezTo>
                    <a:pt x="400" y="387"/>
                    <a:pt x="400" y="387"/>
                    <a:pt x="400" y="387"/>
                  </a:cubicBezTo>
                  <a:cubicBezTo>
                    <a:pt x="401" y="392"/>
                    <a:pt x="401" y="397"/>
                    <a:pt x="400" y="402"/>
                  </a:cubicBezTo>
                  <a:cubicBezTo>
                    <a:pt x="399" y="402"/>
                    <a:pt x="398" y="403"/>
                    <a:pt x="397" y="404"/>
                  </a:cubicBezTo>
                  <a:cubicBezTo>
                    <a:pt x="397" y="404"/>
                    <a:pt x="397" y="404"/>
                    <a:pt x="396" y="404"/>
                  </a:cubicBezTo>
                  <a:cubicBezTo>
                    <a:pt x="393" y="402"/>
                    <a:pt x="389" y="404"/>
                    <a:pt x="387" y="408"/>
                  </a:cubicBezTo>
                  <a:cubicBezTo>
                    <a:pt x="385" y="412"/>
                    <a:pt x="386" y="416"/>
                    <a:pt x="388" y="418"/>
                  </a:cubicBezTo>
                  <a:cubicBezTo>
                    <a:pt x="388" y="418"/>
                    <a:pt x="388" y="418"/>
                    <a:pt x="388" y="418"/>
                  </a:cubicBezTo>
                  <a:cubicBezTo>
                    <a:pt x="388" y="426"/>
                    <a:pt x="395" y="431"/>
                    <a:pt x="402" y="431"/>
                  </a:cubicBezTo>
                  <a:cubicBezTo>
                    <a:pt x="410" y="431"/>
                    <a:pt x="416" y="426"/>
                    <a:pt x="416" y="418"/>
                  </a:cubicBezTo>
                  <a:cubicBezTo>
                    <a:pt x="416" y="413"/>
                    <a:pt x="415" y="406"/>
                    <a:pt x="412" y="402"/>
                  </a:cubicBezTo>
                  <a:cubicBezTo>
                    <a:pt x="413" y="398"/>
                    <a:pt x="415" y="393"/>
                    <a:pt x="416" y="389"/>
                  </a:cubicBezTo>
                  <a:cubicBezTo>
                    <a:pt x="418" y="379"/>
                    <a:pt x="418" y="379"/>
                    <a:pt x="418" y="379"/>
                  </a:cubicBezTo>
                  <a:cubicBezTo>
                    <a:pt x="419" y="376"/>
                    <a:pt x="420" y="373"/>
                    <a:pt x="420" y="370"/>
                  </a:cubicBezTo>
                  <a:cubicBezTo>
                    <a:pt x="421" y="367"/>
                    <a:pt x="421" y="363"/>
                    <a:pt x="421" y="360"/>
                  </a:cubicBezTo>
                  <a:cubicBezTo>
                    <a:pt x="421" y="357"/>
                    <a:pt x="422" y="354"/>
                    <a:pt x="422" y="351"/>
                  </a:cubicBezTo>
                  <a:cubicBezTo>
                    <a:pt x="422" y="347"/>
                    <a:pt x="422" y="344"/>
                    <a:pt x="423" y="341"/>
                  </a:cubicBezTo>
                  <a:cubicBezTo>
                    <a:pt x="423" y="331"/>
                    <a:pt x="423" y="331"/>
                    <a:pt x="423" y="331"/>
                  </a:cubicBezTo>
                  <a:cubicBezTo>
                    <a:pt x="424" y="325"/>
                    <a:pt x="423" y="319"/>
                    <a:pt x="421" y="313"/>
                  </a:cubicBezTo>
                  <a:cubicBezTo>
                    <a:pt x="419" y="306"/>
                    <a:pt x="416" y="301"/>
                    <a:pt x="413" y="295"/>
                  </a:cubicBezTo>
                  <a:cubicBezTo>
                    <a:pt x="412" y="294"/>
                    <a:pt x="412" y="293"/>
                    <a:pt x="411" y="292"/>
                  </a:cubicBezTo>
                  <a:cubicBezTo>
                    <a:pt x="420" y="269"/>
                    <a:pt x="425" y="244"/>
                    <a:pt x="425" y="218"/>
                  </a:cubicBezTo>
                  <a:cubicBezTo>
                    <a:pt x="425" y="187"/>
                    <a:pt x="418" y="158"/>
                    <a:pt x="406" y="132"/>
                  </a:cubicBezTo>
                  <a:cubicBezTo>
                    <a:pt x="407" y="131"/>
                    <a:pt x="408" y="130"/>
                    <a:pt x="409" y="128"/>
                  </a:cubicBezTo>
                  <a:cubicBezTo>
                    <a:pt x="412" y="123"/>
                    <a:pt x="415" y="117"/>
                    <a:pt x="417" y="11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83" name="Freeform 334">
              <a:extLst>
                <a:ext uri="{FF2B5EF4-FFF2-40B4-BE49-F238E27FC236}">
                  <a16:creationId xmlns:a16="http://schemas.microsoft.com/office/drawing/2014/main" id="{32557A3B-73B5-41A5-95D3-7490D199AD0C}"/>
                </a:ext>
              </a:extLst>
            </p:cNvPr>
            <p:cNvSpPr>
              <a:spLocks noEditPoints="1"/>
            </p:cNvSpPr>
            <p:nvPr/>
          </p:nvSpPr>
          <p:spPr bwMode="auto">
            <a:xfrm>
              <a:off x="2774713" y="-1084292"/>
              <a:ext cx="454985" cy="608776"/>
            </a:xfrm>
            <a:custGeom>
              <a:avLst/>
              <a:gdLst>
                <a:gd name="T0" fmla="*/ 88 w 88"/>
                <a:gd name="T1" fmla="*/ 31 h 108"/>
                <a:gd name="T2" fmla="*/ 68 w 88"/>
                <a:gd name="T3" fmla="*/ 23 h 108"/>
                <a:gd name="T4" fmla="*/ 61 w 88"/>
                <a:gd name="T5" fmla="*/ 1 h 108"/>
                <a:gd name="T6" fmla="*/ 59 w 88"/>
                <a:gd name="T7" fmla="*/ 0 h 108"/>
                <a:gd name="T8" fmla="*/ 29 w 88"/>
                <a:gd name="T9" fmla="*/ 0 h 108"/>
                <a:gd name="T10" fmla="*/ 26 w 88"/>
                <a:gd name="T11" fmla="*/ 2 h 108"/>
                <a:gd name="T12" fmla="*/ 20 w 88"/>
                <a:gd name="T13" fmla="*/ 23 h 108"/>
                <a:gd name="T14" fmla="*/ 0 w 88"/>
                <a:gd name="T15" fmla="*/ 31 h 108"/>
                <a:gd name="T16" fmla="*/ 17 w 88"/>
                <a:gd name="T17" fmla="*/ 36 h 108"/>
                <a:gd name="T18" fmla="*/ 16 w 88"/>
                <a:gd name="T19" fmla="*/ 45 h 108"/>
                <a:gd name="T20" fmla="*/ 17 w 88"/>
                <a:gd name="T21" fmla="*/ 54 h 108"/>
                <a:gd name="T22" fmla="*/ 16 w 88"/>
                <a:gd name="T23" fmla="*/ 54 h 108"/>
                <a:gd name="T24" fmla="*/ 12 w 88"/>
                <a:gd name="T25" fmla="*/ 58 h 108"/>
                <a:gd name="T26" fmla="*/ 12 w 88"/>
                <a:gd name="T27" fmla="*/ 63 h 108"/>
                <a:gd name="T28" fmla="*/ 5 w 88"/>
                <a:gd name="T29" fmla="*/ 72 h 108"/>
                <a:gd name="T30" fmla="*/ 5 w 88"/>
                <a:gd name="T31" fmla="*/ 100 h 108"/>
                <a:gd name="T32" fmla="*/ 13 w 88"/>
                <a:gd name="T33" fmla="*/ 108 h 108"/>
                <a:gd name="T34" fmla="*/ 43 w 88"/>
                <a:gd name="T35" fmla="*/ 108 h 108"/>
                <a:gd name="T36" fmla="*/ 43 w 88"/>
                <a:gd name="T37" fmla="*/ 71 h 108"/>
                <a:gd name="T38" fmla="*/ 46 w 88"/>
                <a:gd name="T39" fmla="*/ 71 h 108"/>
                <a:gd name="T40" fmla="*/ 46 w 88"/>
                <a:gd name="T41" fmla="*/ 108 h 108"/>
                <a:gd name="T42" fmla="*/ 76 w 88"/>
                <a:gd name="T43" fmla="*/ 107 h 108"/>
                <a:gd name="T44" fmla="*/ 84 w 88"/>
                <a:gd name="T45" fmla="*/ 99 h 108"/>
                <a:gd name="T46" fmla="*/ 83 w 88"/>
                <a:gd name="T47" fmla="*/ 71 h 108"/>
                <a:gd name="T48" fmla="*/ 77 w 88"/>
                <a:gd name="T49" fmla="*/ 63 h 108"/>
                <a:gd name="T50" fmla="*/ 77 w 88"/>
                <a:gd name="T51" fmla="*/ 58 h 108"/>
                <a:gd name="T52" fmla="*/ 72 w 88"/>
                <a:gd name="T53" fmla="*/ 53 h 108"/>
                <a:gd name="T54" fmla="*/ 71 w 88"/>
                <a:gd name="T55" fmla="*/ 53 h 108"/>
                <a:gd name="T56" fmla="*/ 73 w 88"/>
                <a:gd name="T57" fmla="*/ 45 h 108"/>
                <a:gd name="T58" fmla="*/ 71 w 88"/>
                <a:gd name="T59" fmla="*/ 36 h 108"/>
                <a:gd name="T60" fmla="*/ 88 w 88"/>
                <a:gd name="T61" fmla="*/ 31 h 108"/>
                <a:gd name="T62" fmla="*/ 63 w 88"/>
                <a:gd name="T63" fmla="*/ 53 h 108"/>
                <a:gd name="T64" fmla="*/ 60 w 88"/>
                <a:gd name="T65" fmla="*/ 53 h 108"/>
                <a:gd name="T66" fmla="*/ 55 w 88"/>
                <a:gd name="T67" fmla="*/ 58 h 108"/>
                <a:gd name="T68" fmla="*/ 56 w 88"/>
                <a:gd name="T69" fmla="*/ 67 h 108"/>
                <a:gd name="T70" fmla="*/ 33 w 88"/>
                <a:gd name="T71" fmla="*/ 67 h 108"/>
                <a:gd name="T72" fmla="*/ 33 w 88"/>
                <a:gd name="T73" fmla="*/ 58 h 108"/>
                <a:gd name="T74" fmla="*/ 28 w 88"/>
                <a:gd name="T75" fmla="*/ 54 h 108"/>
                <a:gd name="T76" fmla="*/ 25 w 88"/>
                <a:gd name="T77" fmla="*/ 54 h 108"/>
                <a:gd name="T78" fmla="*/ 23 w 88"/>
                <a:gd name="T79" fmla="*/ 49 h 108"/>
                <a:gd name="T80" fmla="*/ 23 w 88"/>
                <a:gd name="T81" fmla="*/ 41 h 108"/>
                <a:gd name="T82" fmla="*/ 24 w 88"/>
                <a:gd name="T83" fmla="*/ 37 h 108"/>
                <a:gd name="T84" fmla="*/ 43 w 88"/>
                <a:gd name="T85" fmla="*/ 38 h 108"/>
                <a:gd name="T86" fmla="*/ 44 w 88"/>
                <a:gd name="T87" fmla="*/ 38 h 108"/>
                <a:gd name="T88" fmla="*/ 44 w 88"/>
                <a:gd name="T89" fmla="*/ 38 h 108"/>
                <a:gd name="T90" fmla="*/ 45 w 88"/>
                <a:gd name="T91" fmla="*/ 38 h 108"/>
                <a:gd name="T92" fmla="*/ 64 w 88"/>
                <a:gd name="T93" fmla="*/ 37 h 108"/>
                <a:gd name="T94" fmla="*/ 65 w 88"/>
                <a:gd name="T95" fmla="*/ 40 h 108"/>
                <a:gd name="T96" fmla="*/ 65 w 88"/>
                <a:gd name="T97" fmla="*/ 49 h 108"/>
                <a:gd name="T98" fmla="*/ 63 w 88"/>
                <a:gd name="T99"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8" h="108">
                  <a:moveTo>
                    <a:pt x="88" y="31"/>
                  </a:moveTo>
                  <a:cubicBezTo>
                    <a:pt x="88" y="28"/>
                    <a:pt x="80" y="24"/>
                    <a:pt x="68" y="23"/>
                  </a:cubicBezTo>
                  <a:cubicBezTo>
                    <a:pt x="68" y="23"/>
                    <a:pt x="68" y="23"/>
                    <a:pt x="61" y="1"/>
                  </a:cubicBezTo>
                  <a:cubicBezTo>
                    <a:pt x="61" y="0"/>
                    <a:pt x="60" y="0"/>
                    <a:pt x="59" y="0"/>
                  </a:cubicBezTo>
                  <a:cubicBezTo>
                    <a:pt x="49" y="0"/>
                    <a:pt x="39" y="0"/>
                    <a:pt x="29" y="0"/>
                  </a:cubicBezTo>
                  <a:cubicBezTo>
                    <a:pt x="27" y="0"/>
                    <a:pt x="27" y="1"/>
                    <a:pt x="26" y="2"/>
                  </a:cubicBezTo>
                  <a:cubicBezTo>
                    <a:pt x="26" y="2"/>
                    <a:pt x="26" y="2"/>
                    <a:pt x="20" y="23"/>
                  </a:cubicBezTo>
                  <a:cubicBezTo>
                    <a:pt x="8" y="25"/>
                    <a:pt x="0" y="28"/>
                    <a:pt x="0" y="31"/>
                  </a:cubicBezTo>
                  <a:cubicBezTo>
                    <a:pt x="0" y="33"/>
                    <a:pt x="7" y="35"/>
                    <a:pt x="17" y="36"/>
                  </a:cubicBezTo>
                  <a:cubicBezTo>
                    <a:pt x="16" y="39"/>
                    <a:pt x="16" y="42"/>
                    <a:pt x="16" y="45"/>
                  </a:cubicBezTo>
                  <a:cubicBezTo>
                    <a:pt x="16" y="48"/>
                    <a:pt x="16" y="51"/>
                    <a:pt x="17" y="54"/>
                  </a:cubicBezTo>
                  <a:cubicBezTo>
                    <a:pt x="17" y="54"/>
                    <a:pt x="17" y="54"/>
                    <a:pt x="16" y="54"/>
                  </a:cubicBezTo>
                  <a:cubicBezTo>
                    <a:pt x="14" y="54"/>
                    <a:pt x="12" y="56"/>
                    <a:pt x="12" y="58"/>
                  </a:cubicBezTo>
                  <a:cubicBezTo>
                    <a:pt x="12" y="58"/>
                    <a:pt x="12" y="58"/>
                    <a:pt x="12" y="63"/>
                  </a:cubicBezTo>
                  <a:cubicBezTo>
                    <a:pt x="8" y="64"/>
                    <a:pt x="5" y="67"/>
                    <a:pt x="5" y="72"/>
                  </a:cubicBezTo>
                  <a:cubicBezTo>
                    <a:pt x="5" y="72"/>
                    <a:pt x="5" y="72"/>
                    <a:pt x="5" y="100"/>
                  </a:cubicBezTo>
                  <a:cubicBezTo>
                    <a:pt x="5" y="104"/>
                    <a:pt x="9" y="108"/>
                    <a:pt x="13" y="108"/>
                  </a:cubicBezTo>
                  <a:cubicBezTo>
                    <a:pt x="13" y="108"/>
                    <a:pt x="13" y="108"/>
                    <a:pt x="43" y="108"/>
                  </a:cubicBezTo>
                  <a:cubicBezTo>
                    <a:pt x="43" y="108"/>
                    <a:pt x="43" y="108"/>
                    <a:pt x="43" y="71"/>
                  </a:cubicBezTo>
                  <a:cubicBezTo>
                    <a:pt x="44" y="71"/>
                    <a:pt x="45" y="71"/>
                    <a:pt x="46" y="71"/>
                  </a:cubicBezTo>
                  <a:cubicBezTo>
                    <a:pt x="46" y="71"/>
                    <a:pt x="46" y="71"/>
                    <a:pt x="46" y="108"/>
                  </a:cubicBezTo>
                  <a:cubicBezTo>
                    <a:pt x="46" y="108"/>
                    <a:pt x="46" y="108"/>
                    <a:pt x="76" y="107"/>
                  </a:cubicBezTo>
                  <a:cubicBezTo>
                    <a:pt x="80" y="107"/>
                    <a:pt x="84" y="104"/>
                    <a:pt x="84" y="99"/>
                  </a:cubicBezTo>
                  <a:cubicBezTo>
                    <a:pt x="84" y="99"/>
                    <a:pt x="84" y="99"/>
                    <a:pt x="83" y="71"/>
                  </a:cubicBezTo>
                  <a:cubicBezTo>
                    <a:pt x="83" y="67"/>
                    <a:pt x="81" y="63"/>
                    <a:pt x="77" y="63"/>
                  </a:cubicBezTo>
                  <a:cubicBezTo>
                    <a:pt x="77" y="63"/>
                    <a:pt x="77" y="63"/>
                    <a:pt x="77" y="58"/>
                  </a:cubicBezTo>
                  <a:cubicBezTo>
                    <a:pt x="77" y="55"/>
                    <a:pt x="75" y="53"/>
                    <a:pt x="72" y="53"/>
                  </a:cubicBezTo>
                  <a:cubicBezTo>
                    <a:pt x="72" y="53"/>
                    <a:pt x="72" y="53"/>
                    <a:pt x="71" y="53"/>
                  </a:cubicBezTo>
                  <a:cubicBezTo>
                    <a:pt x="72" y="51"/>
                    <a:pt x="73" y="48"/>
                    <a:pt x="73" y="45"/>
                  </a:cubicBezTo>
                  <a:cubicBezTo>
                    <a:pt x="73" y="42"/>
                    <a:pt x="72" y="39"/>
                    <a:pt x="71" y="36"/>
                  </a:cubicBezTo>
                  <a:cubicBezTo>
                    <a:pt x="82" y="34"/>
                    <a:pt x="88" y="32"/>
                    <a:pt x="88" y="31"/>
                  </a:cubicBezTo>
                  <a:close/>
                  <a:moveTo>
                    <a:pt x="63" y="53"/>
                  </a:moveTo>
                  <a:cubicBezTo>
                    <a:pt x="63" y="53"/>
                    <a:pt x="63" y="53"/>
                    <a:pt x="60" y="53"/>
                  </a:cubicBezTo>
                  <a:cubicBezTo>
                    <a:pt x="57" y="53"/>
                    <a:pt x="55" y="56"/>
                    <a:pt x="55" y="58"/>
                  </a:cubicBezTo>
                  <a:cubicBezTo>
                    <a:pt x="55" y="58"/>
                    <a:pt x="55" y="58"/>
                    <a:pt x="56" y="67"/>
                  </a:cubicBezTo>
                  <a:cubicBezTo>
                    <a:pt x="49" y="71"/>
                    <a:pt x="40" y="71"/>
                    <a:pt x="33" y="67"/>
                  </a:cubicBezTo>
                  <a:cubicBezTo>
                    <a:pt x="33" y="67"/>
                    <a:pt x="33" y="67"/>
                    <a:pt x="33" y="58"/>
                  </a:cubicBezTo>
                  <a:cubicBezTo>
                    <a:pt x="33" y="56"/>
                    <a:pt x="31" y="54"/>
                    <a:pt x="28" y="54"/>
                  </a:cubicBezTo>
                  <a:cubicBezTo>
                    <a:pt x="28" y="54"/>
                    <a:pt x="28" y="54"/>
                    <a:pt x="25" y="54"/>
                  </a:cubicBezTo>
                  <a:cubicBezTo>
                    <a:pt x="24" y="53"/>
                    <a:pt x="23" y="51"/>
                    <a:pt x="23" y="49"/>
                  </a:cubicBezTo>
                  <a:cubicBezTo>
                    <a:pt x="23" y="49"/>
                    <a:pt x="23" y="49"/>
                    <a:pt x="23" y="41"/>
                  </a:cubicBezTo>
                  <a:cubicBezTo>
                    <a:pt x="23" y="39"/>
                    <a:pt x="23" y="38"/>
                    <a:pt x="24" y="37"/>
                  </a:cubicBezTo>
                  <a:cubicBezTo>
                    <a:pt x="30" y="38"/>
                    <a:pt x="36" y="38"/>
                    <a:pt x="43" y="38"/>
                  </a:cubicBezTo>
                  <a:cubicBezTo>
                    <a:pt x="43" y="38"/>
                    <a:pt x="43" y="38"/>
                    <a:pt x="44" y="38"/>
                  </a:cubicBezTo>
                  <a:cubicBezTo>
                    <a:pt x="44" y="38"/>
                    <a:pt x="44" y="38"/>
                    <a:pt x="44" y="38"/>
                  </a:cubicBezTo>
                  <a:cubicBezTo>
                    <a:pt x="44" y="38"/>
                    <a:pt x="44" y="38"/>
                    <a:pt x="45" y="38"/>
                  </a:cubicBezTo>
                  <a:cubicBezTo>
                    <a:pt x="52" y="38"/>
                    <a:pt x="59" y="37"/>
                    <a:pt x="64" y="37"/>
                  </a:cubicBezTo>
                  <a:cubicBezTo>
                    <a:pt x="65" y="38"/>
                    <a:pt x="65" y="39"/>
                    <a:pt x="65" y="40"/>
                  </a:cubicBezTo>
                  <a:cubicBezTo>
                    <a:pt x="65" y="40"/>
                    <a:pt x="65" y="40"/>
                    <a:pt x="65" y="49"/>
                  </a:cubicBezTo>
                  <a:cubicBezTo>
                    <a:pt x="65" y="51"/>
                    <a:pt x="65" y="53"/>
                    <a:pt x="63" y="53"/>
                  </a:cubicBezTo>
                  <a:close/>
                </a:path>
              </a:pathLst>
            </a:custGeom>
            <a:solidFill>
              <a:schemeClr val="bg2"/>
            </a:solidFill>
            <a:ln>
              <a:noFill/>
            </a:ln>
            <a:effectLst/>
            <a:extLst/>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73"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iscoSansTT ExtraLight"/>
                <a:ea typeface="+mn-ea"/>
                <a:cs typeface="+mn-cs"/>
              </a:endParaRPr>
            </a:p>
          </p:txBody>
        </p:sp>
      </p:grpSp>
      <p:sp>
        <p:nvSpPr>
          <p:cNvPr id="460" name="Freeform 277">
            <a:extLst>
              <a:ext uri="{FF2B5EF4-FFF2-40B4-BE49-F238E27FC236}">
                <a16:creationId xmlns:a16="http://schemas.microsoft.com/office/drawing/2014/main" id="{BFFD900D-7D90-481C-B8E5-0A6E1044A23A}"/>
              </a:ext>
            </a:extLst>
          </p:cNvPr>
          <p:cNvSpPr>
            <a:spLocks noEditPoints="1"/>
          </p:cNvSpPr>
          <p:nvPr/>
        </p:nvSpPr>
        <p:spPr bwMode="auto">
          <a:xfrm flipH="1">
            <a:off x="5544828" y="3635593"/>
            <a:ext cx="513384" cy="514860"/>
          </a:xfrm>
          <a:prstGeom prst="donut">
            <a:avLst>
              <a:gd name="adj" fmla="val 2546"/>
            </a:avLst>
          </a:prstGeom>
          <a:solidFill>
            <a:srgbClr val="005073"/>
          </a:solid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pic>
        <p:nvPicPr>
          <p:cNvPr id="522" name="Picture 521">
            <a:extLst>
              <a:ext uri="{FF2B5EF4-FFF2-40B4-BE49-F238E27FC236}">
                <a16:creationId xmlns:a16="http://schemas.microsoft.com/office/drawing/2014/main" id="{F5602E2E-92AF-4878-B7E2-D7366012A052}"/>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625789" y="3739714"/>
            <a:ext cx="46200" cy="77001"/>
          </a:xfrm>
          <a:prstGeom prst="rect">
            <a:avLst/>
          </a:prstGeom>
        </p:spPr>
      </p:pic>
      <p:pic>
        <p:nvPicPr>
          <p:cNvPr id="523" name="Picture 522">
            <a:extLst>
              <a:ext uri="{FF2B5EF4-FFF2-40B4-BE49-F238E27FC236}">
                <a16:creationId xmlns:a16="http://schemas.microsoft.com/office/drawing/2014/main" id="{E6E43537-8DBE-43A1-A31D-207B9047AE95}"/>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678794" y="3739714"/>
            <a:ext cx="63141" cy="77001"/>
          </a:xfrm>
          <a:prstGeom prst="rect">
            <a:avLst/>
          </a:prstGeom>
        </p:spPr>
      </p:pic>
      <p:pic>
        <p:nvPicPr>
          <p:cNvPr id="524" name="Picture 523">
            <a:extLst>
              <a:ext uri="{FF2B5EF4-FFF2-40B4-BE49-F238E27FC236}">
                <a16:creationId xmlns:a16="http://schemas.microsoft.com/office/drawing/2014/main" id="{F01E3C22-1291-4DE3-9D36-3D6296D80802}"/>
              </a:ext>
            </a:extLst>
          </p:cNvPr>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748738" y="3739714"/>
            <a:ext cx="63141" cy="77001"/>
          </a:xfrm>
          <a:prstGeom prst="rect">
            <a:avLst/>
          </a:prstGeom>
        </p:spPr>
      </p:pic>
      <p:pic>
        <p:nvPicPr>
          <p:cNvPr id="525" name="Picture 524">
            <a:extLst>
              <a:ext uri="{FF2B5EF4-FFF2-40B4-BE49-F238E27FC236}">
                <a16:creationId xmlns:a16="http://schemas.microsoft.com/office/drawing/2014/main" id="{88441415-B834-4F43-925B-3B9C0CD4A695}"/>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827047" y="3737735"/>
            <a:ext cx="46200" cy="77001"/>
          </a:xfrm>
          <a:prstGeom prst="rect">
            <a:avLst/>
          </a:prstGeom>
        </p:spPr>
      </p:pic>
      <p:pic>
        <p:nvPicPr>
          <p:cNvPr id="527" name="Picture 526">
            <a:extLst>
              <a:ext uri="{FF2B5EF4-FFF2-40B4-BE49-F238E27FC236}">
                <a16:creationId xmlns:a16="http://schemas.microsoft.com/office/drawing/2014/main" id="{88441415-B834-4F43-925B-3B9C0CD4A695}"/>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942204" y="3737735"/>
            <a:ext cx="46200" cy="77001"/>
          </a:xfrm>
          <a:prstGeom prst="rect">
            <a:avLst/>
          </a:prstGeom>
        </p:spPr>
      </p:pic>
      <p:pic>
        <p:nvPicPr>
          <p:cNvPr id="528" name="Picture 527">
            <a:extLst>
              <a:ext uri="{FF2B5EF4-FFF2-40B4-BE49-F238E27FC236}">
                <a16:creationId xmlns:a16="http://schemas.microsoft.com/office/drawing/2014/main" id="{7A917D20-E95F-46A5-8B8C-F7226EEC8D26}"/>
              </a:ext>
            </a:extLst>
          </p:cNvPr>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885997" y="3737735"/>
            <a:ext cx="46200" cy="77001"/>
          </a:xfrm>
          <a:prstGeom prst="rect">
            <a:avLst/>
          </a:prstGeom>
        </p:spPr>
      </p:pic>
      <p:grpSp>
        <p:nvGrpSpPr>
          <p:cNvPr id="529" name="Group 528">
            <a:extLst>
              <a:ext uri="{FF2B5EF4-FFF2-40B4-BE49-F238E27FC236}">
                <a16:creationId xmlns:a16="http://schemas.microsoft.com/office/drawing/2014/main" id="{168F9060-BFEE-4CCB-BCBF-941A18FDE4C3}"/>
              </a:ext>
            </a:extLst>
          </p:cNvPr>
          <p:cNvGrpSpPr/>
          <p:nvPr/>
        </p:nvGrpSpPr>
        <p:grpSpPr>
          <a:xfrm>
            <a:off x="5549986" y="1952694"/>
            <a:ext cx="496889" cy="498475"/>
            <a:chOff x="5550191" y="3648176"/>
            <a:chExt cx="496889" cy="498475"/>
          </a:xfrm>
        </p:grpSpPr>
        <p:sp>
          <p:nvSpPr>
            <p:cNvPr id="530" name="AutoShape 20">
              <a:extLst>
                <a:ext uri="{FF2B5EF4-FFF2-40B4-BE49-F238E27FC236}">
                  <a16:creationId xmlns:a16="http://schemas.microsoft.com/office/drawing/2014/main" id="{D8D54FA9-453C-4BB5-A902-22968E0FAFF2}"/>
                </a:ext>
              </a:extLst>
            </p:cNvPr>
            <p:cNvSpPr>
              <a:spLocks noChangeAspect="1" noChangeArrowheads="1" noTextEdit="1"/>
            </p:cNvSpPr>
            <p:nvPr/>
          </p:nvSpPr>
          <p:spPr bwMode="auto">
            <a:xfrm>
              <a:off x="5550191" y="3648176"/>
              <a:ext cx="495300" cy="4984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1" name="Freeform 22">
              <a:extLst>
                <a:ext uri="{FF2B5EF4-FFF2-40B4-BE49-F238E27FC236}">
                  <a16:creationId xmlns:a16="http://schemas.microsoft.com/office/drawing/2014/main" id="{DDE79B12-5A40-4442-B316-61E1266D199B}"/>
                </a:ext>
              </a:extLst>
            </p:cNvPr>
            <p:cNvSpPr>
              <a:spLocks/>
            </p:cNvSpPr>
            <p:nvPr/>
          </p:nvSpPr>
          <p:spPr bwMode="auto">
            <a:xfrm>
              <a:off x="5550192" y="3648176"/>
              <a:ext cx="496888" cy="498475"/>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rgbClr val="E9E9E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532" name="Group 531">
            <a:extLst>
              <a:ext uri="{FF2B5EF4-FFF2-40B4-BE49-F238E27FC236}">
                <a16:creationId xmlns:a16="http://schemas.microsoft.com/office/drawing/2014/main" id="{73FA3718-A4D9-4167-A5F1-A898041A80BB}"/>
              </a:ext>
            </a:extLst>
          </p:cNvPr>
          <p:cNvGrpSpPr/>
          <p:nvPr/>
        </p:nvGrpSpPr>
        <p:grpSpPr>
          <a:xfrm>
            <a:off x="5596184" y="1993357"/>
            <a:ext cx="414921" cy="376728"/>
            <a:chOff x="6728463" y="2926930"/>
            <a:chExt cx="849392" cy="771210"/>
          </a:xfrm>
        </p:grpSpPr>
        <p:sp>
          <p:nvSpPr>
            <p:cNvPr id="552" name="Freeform: Shape 675">
              <a:extLst>
                <a:ext uri="{FF2B5EF4-FFF2-40B4-BE49-F238E27FC236}">
                  <a16:creationId xmlns:a16="http://schemas.microsoft.com/office/drawing/2014/main" id="{6CBB4EF6-440D-43BD-8CBE-F6A664517EBB}"/>
                </a:ext>
              </a:extLst>
            </p:cNvPr>
            <p:cNvSpPr/>
            <p:nvPr/>
          </p:nvSpPr>
          <p:spPr>
            <a:xfrm>
              <a:off x="6728463" y="2926930"/>
              <a:ext cx="849392" cy="771210"/>
            </a:xfrm>
            <a:custGeom>
              <a:avLst/>
              <a:gdLst>
                <a:gd name="connsiteX0" fmla="*/ 424177 w 849392"/>
                <a:gd name="connsiteY0" fmla="*/ 220130 h 771210"/>
                <a:gd name="connsiteX1" fmla="*/ 226803 w 849392"/>
                <a:gd name="connsiteY1" fmla="*/ 417504 h 771210"/>
                <a:gd name="connsiteX2" fmla="*/ 424177 w 849392"/>
                <a:gd name="connsiteY2" fmla="*/ 614878 h 771210"/>
                <a:gd name="connsiteX3" fmla="*/ 621551 w 849392"/>
                <a:gd name="connsiteY3" fmla="*/ 417504 h 771210"/>
                <a:gd name="connsiteX4" fmla="*/ 424177 w 849392"/>
                <a:gd name="connsiteY4" fmla="*/ 220130 h 771210"/>
                <a:gd name="connsiteX5" fmla="*/ 340871 w 849392"/>
                <a:gd name="connsiteY5" fmla="*/ 0 h 771210"/>
                <a:gd name="connsiteX6" fmla="*/ 254908 w 849392"/>
                <a:gd name="connsiteY6" fmla="*/ 141475 h 771210"/>
                <a:gd name="connsiteX7" fmla="*/ 267425 w 849392"/>
                <a:gd name="connsiteY7" fmla="*/ 203514 h 771210"/>
                <a:gd name="connsiteX8" fmla="*/ 276577 w 849392"/>
                <a:gd name="connsiteY8" fmla="*/ 217086 h 771210"/>
                <a:gd name="connsiteX9" fmla="*/ 284587 w 849392"/>
                <a:gd name="connsiteY9" fmla="*/ 210477 h 771210"/>
                <a:gd name="connsiteX10" fmla="*/ 424177 w 849392"/>
                <a:gd name="connsiteY10" fmla="*/ 167838 h 771210"/>
                <a:gd name="connsiteX11" fmla="*/ 521359 w 849392"/>
                <a:gd name="connsiteY11" fmla="*/ 187458 h 771210"/>
                <a:gd name="connsiteX12" fmla="*/ 558481 w 849392"/>
                <a:gd name="connsiteY12" fmla="*/ 207607 h 771210"/>
                <a:gd name="connsiteX13" fmla="*/ 561240 w 849392"/>
                <a:gd name="connsiteY13" fmla="*/ 203514 h 771210"/>
                <a:gd name="connsiteX14" fmla="*/ 573757 w 849392"/>
                <a:gd name="connsiteY14" fmla="*/ 141475 h 771210"/>
                <a:gd name="connsiteX15" fmla="*/ 488270 w 849392"/>
                <a:gd name="connsiteY15" fmla="*/ 162 h 771210"/>
                <a:gd name="connsiteX16" fmla="*/ 641385 w 849392"/>
                <a:gd name="connsiteY16" fmla="*/ 214836 h 771210"/>
                <a:gd name="connsiteX17" fmla="*/ 635044 w 849392"/>
                <a:gd name="connsiteY17" fmla="*/ 268317 h 771210"/>
                <a:gd name="connsiteX18" fmla="*/ 631380 w 849392"/>
                <a:gd name="connsiteY18" fmla="*/ 278236 h 771210"/>
                <a:gd name="connsiteX19" fmla="*/ 654209 w 849392"/>
                <a:gd name="connsiteY19" fmla="*/ 320296 h 771210"/>
                <a:gd name="connsiteX20" fmla="*/ 668043 w 849392"/>
                <a:gd name="connsiteY20" fmla="*/ 321689 h 771210"/>
                <a:gd name="connsiteX21" fmla="*/ 849392 w 849392"/>
                <a:gd name="connsiteY21" fmla="*/ 544230 h 771210"/>
                <a:gd name="connsiteX22" fmla="*/ 848906 w 849392"/>
                <a:gd name="connsiteY22" fmla="*/ 558279 h 771210"/>
                <a:gd name="connsiteX23" fmla="*/ 689886 w 849392"/>
                <a:gd name="connsiteY23" fmla="*/ 410413 h 771210"/>
                <a:gd name="connsiteX24" fmla="*/ 673463 w 849392"/>
                <a:gd name="connsiteY24" fmla="*/ 413729 h 771210"/>
                <a:gd name="connsiteX25" fmla="*/ 673843 w 849392"/>
                <a:gd name="connsiteY25" fmla="*/ 417504 h 771210"/>
                <a:gd name="connsiteX26" fmla="*/ 563768 w 849392"/>
                <a:gd name="connsiteY26" fmla="*/ 624531 h 771210"/>
                <a:gd name="connsiteX27" fmla="*/ 544824 w 849392"/>
                <a:gd name="connsiteY27" fmla="*/ 634814 h 771210"/>
                <a:gd name="connsiteX28" fmla="*/ 577109 w 849392"/>
                <a:gd name="connsiteY28" fmla="*/ 682684 h 771210"/>
                <a:gd name="connsiteX29" fmla="*/ 689877 w 849392"/>
                <a:gd name="connsiteY29" fmla="*/ 729415 h 771210"/>
                <a:gd name="connsiteX30" fmla="*/ 801376 w 849392"/>
                <a:gd name="connsiteY30" fmla="*/ 683790 h 771210"/>
                <a:gd name="connsiteX31" fmla="*/ 622230 w 849392"/>
                <a:gd name="connsiteY31" fmla="*/ 771210 h 771210"/>
                <a:gd name="connsiteX32" fmla="*/ 459998 w 849392"/>
                <a:gd name="connsiteY32" fmla="*/ 703039 h 771210"/>
                <a:gd name="connsiteX33" fmla="*/ 432376 w 849392"/>
                <a:gd name="connsiteY33" fmla="*/ 666344 h 771210"/>
                <a:gd name="connsiteX34" fmla="*/ 424177 w 849392"/>
                <a:gd name="connsiteY34" fmla="*/ 667170 h 771210"/>
                <a:gd name="connsiteX35" fmla="*/ 416810 w 849392"/>
                <a:gd name="connsiteY35" fmla="*/ 666427 h 771210"/>
                <a:gd name="connsiteX36" fmla="*/ 389316 w 849392"/>
                <a:gd name="connsiteY36" fmla="*/ 703039 h 771210"/>
                <a:gd name="connsiteX37" fmla="*/ 226990 w 849392"/>
                <a:gd name="connsiteY37" fmla="*/ 771210 h 771210"/>
                <a:gd name="connsiteX38" fmla="*/ 47701 w 849392"/>
                <a:gd name="connsiteY38" fmla="*/ 683638 h 771210"/>
                <a:gd name="connsiteX39" fmla="*/ 159505 w 849392"/>
                <a:gd name="connsiteY39" fmla="*/ 729424 h 771210"/>
                <a:gd name="connsiteX40" fmla="*/ 272277 w 849392"/>
                <a:gd name="connsiteY40" fmla="*/ 682693 h 771210"/>
                <a:gd name="connsiteX41" fmla="*/ 304289 w 849392"/>
                <a:gd name="connsiteY41" fmla="*/ 635225 h 771210"/>
                <a:gd name="connsiteX42" fmla="*/ 284587 w 849392"/>
                <a:gd name="connsiteY42" fmla="*/ 624531 h 771210"/>
                <a:gd name="connsiteX43" fmla="*/ 174511 w 849392"/>
                <a:gd name="connsiteY43" fmla="*/ 417504 h 771210"/>
                <a:gd name="connsiteX44" fmla="*/ 174912 w 849392"/>
                <a:gd name="connsiteY44" fmla="*/ 413526 h 771210"/>
                <a:gd name="connsiteX45" fmla="*/ 159505 w 849392"/>
                <a:gd name="connsiteY45" fmla="*/ 410413 h 771210"/>
                <a:gd name="connsiteX46" fmla="*/ 486 w 849392"/>
                <a:gd name="connsiteY46" fmla="*/ 558279 h 771210"/>
                <a:gd name="connsiteX47" fmla="*/ 0 w 849392"/>
                <a:gd name="connsiteY47" fmla="*/ 544230 h 771210"/>
                <a:gd name="connsiteX48" fmla="*/ 168752 w 849392"/>
                <a:gd name="connsiteY48" fmla="*/ 324737 h 771210"/>
                <a:gd name="connsiteX49" fmla="*/ 194035 w 849392"/>
                <a:gd name="connsiteY49" fmla="*/ 320633 h 771210"/>
                <a:gd name="connsiteX50" fmla="*/ 194131 w 849392"/>
                <a:gd name="connsiteY50" fmla="*/ 320323 h 771210"/>
                <a:gd name="connsiteX51" fmla="*/ 205224 w 849392"/>
                <a:gd name="connsiteY51" fmla="*/ 299886 h 771210"/>
                <a:gd name="connsiteX52" fmla="*/ 193626 w 849392"/>
                <a:gd name="connsiteY52" fmla="*/ 268562 h 771210"/>
                <a:gd name="connsiteX53" fmla="*/ 187261 w 849392"/>
                <a:gd name="connsiteY53" fmla="*/ 214836 h 771210"/>
                <a:gd name="connsiteX54" fmla="*/ 340871 w 849392"/>
                <a:gd name="connsiteY54" fmla="*/ 0 h 771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49392" h="771210">
                  <a:moveTo>
                    <a:pt x="424177" y="220130"/>
                  </a:moveTo>
                  <a:cubicBezTo>
                    <a:pt x="315170" y="220130"/>
                    <a:pt x="226803" y="308497"/>
                    <a:pt x="226803" y="417504"/>
                  </a:cubicBezTo>
                  <a:cubicBezTo>
                    <a:pt x="226803" y="526511"/>
                    <a:pt x="315170" y="614878"/>
                    <a:pt x="424177" y="614878"/>
                  </a:cubicBezTo>
                  <a:cubicBezTo>
                    <a:pt x="533184" y="614878"/>
                    <a:pt x="621551" y="526511"/>
                    <a:pt x="621551" y="417504"/>
                  </a:cubicBezTo>
                  <a:cubicBezTo>
                    <a:pt x="621551" y="308497"/>
                    <a:pt x="533184" y="220130"/>
                    <a:pt x="424177" y="220130"/>
                  </a:cubicBezTo>
                  <a:close/>
                  <a:moveTo>
                    <a:pt x="340871" y="0"/>
                  </a:moveTo>
                  <a:cubicBezTo>
                    <a:pt x="289674" y="26460"/>
                    <a:pt x="254908" y="79914"/>
                    <a:pt x="254908" y="141475"/>
                  </a:cubicBezTo>
                  <a:cubicBezTo>
                    <a:pt x="254908" y="163485"/>
                    <a:pt x="259364" y="184449"/>
                    <a:pt x="267425" y="203514"/>
                  </a:cubicBezTo>
                  <a:lnTo>
                    <a:pt x="276577" y="217086"/>
                  </a:lnTo>
                  <a:lnTo>
                    <a:pt x="284587" y="210477"/>
                  </a:lnTo>
                  <a:cubicBezTo>
                    <a:pt x="324433" y="183557"/>
                    <a:pt x="372470" y="167838"/>
                    <a:pt x="424177" y="167838"/>
                  </a:cubicBezTo>
                  <a:cubicBezTo>
                    <a:pt x="458649" y="167838"/>
                    <a:pt x="491489" y="174824"/>
                    <a:pt x="521359" y="187458"/>
                  </a:cubicBezTo>
                  <a:lnTo>
                    <a:pt x="558481" y="207607"/>
                  </a:lnTo>
                  <a:lnTo>
                    <a:pt x="561240" y="203514"/>
                  </a:lnTo>
                  <a:cubicBezTo>
                    <a:pt x="569301" y="184449"/>
                    <a:pt x="573757" y="163485"/>
                    <a:pt x="573757" y="141475"/>
                  </a:cubicBezTo>
                  <a:cubicBezTo>
                    <a:pt x="573757" y="80067"/>
                    <a:pt x="538991" y="26794"/>
                    <a:pt x="488270" y="162"/>
                  </a:cubicBezTo>
                  <a:cubicBezTo>
                    <a:pt x="577424" y="30937"/>
                    <a:pt x="641385" y="115319"/>
                    <a:pt x="641385" y="214836"/>
                  </a:cubicBezTo>
                  <a:cubicBezTo>
                    <a:pt x="641385" y="233262"/>
                    <a:pt x="639192" y="251169"/>
                    <a:pt x="635044" y="268317"/>
                  </a:cubicBezTo>
                  <a:lnTo>
                    <a:pt x="631380" y="278236"/>
                  </a:lnTo>
                  <a:lnTo>
                    <a:pt x="654209" y="320296"/>
                  </a:lnTo>
                  <a:lnTo>
                    <a:pt x="668043" y="321689"/>
                  </a:lnTo>
                  <a:cubicBezTo>
                    <a:pt x="771595" y="342856"/>
                    <a:pt x="849392" y="434391"/>
                    <a:pt x="849392" y="544230"/>
                  </a:cubicBezTo>
                  <a:cubicBezTo>
                    <a:pt x="849392" y="549021"/>
                    <a:pt x="849239" y="553631"/>
                    <a:pt x="848906" y="558279"/>
                  </a:cubicBezTo>
                  <a:cubicBezTo>
                    <a:pt x="843010" y="475640"/>
                    <a:pt x="774097" y="410413"/>
                    <a:pt x="689886" y="410413"/>
                  </a:cubicBezTo>
                  <a:lnTo>
                    <a:pt x="673463" y="413729"/>
                  </a:lnTo>
                  <a:lnTo>
                    <a:pt x="673843" y="417504"/>
                  </a:lnTo>
                  <a:cubicBezTo>
                    <a:pt x="673843" y="503683"/>
                    <a:pt x="630180" y="579664"/>
                    <a:pt x="563768" y="624531"/>
                  </a:cubicBezTo>
                  <a:lnTo>
                    <a:pt x="544824" y="634814"/>
                  </a:lnTo>
                  <a:lnTo>
                    <a:pt x="577109" y="682684"/>
                  </a:lnTo>
                  <a:cubicBezTo>
                    <a:pt x="605981" y="711553"/>
                    <a:pt x="645857" y="729415"/>
                    <a:pt x="689877" y="729415"/>
                  </a:cubicBezTo>
                  <a:cubicBezTo>
                    <a:pt x="733425" y="729415"/>
                    <a:pt x="772658" y="712022"/>
                    <a:pt x="801376" y="683790"/>
                  </a:cubicBezTo>
                  <a:cubicBezTo>
                    <a:pt x="759904" y="737063"/>
                    <a:pt x="694982" y="771210"/>
                    <a:pt x="622230" y="771210"/>
                  </a:cubicBezTo>
                  <a:cubicBezTo>
                    <a:pt x="558715" y="771210"/>
                    <a:pt x="501201" y="745102"/>
                    <a:pt x="459998" y="703039"/>
                  </a:cubicBezTo>
                  <a:lnTo>
                    <a:pt x="432376" y="666344"/>
                  </a:lnTo>
                  <a:lnTo>
                    <a:pt x="424177" y="667170"/>
                  </a:lnTo>
                  <a:lnTo>
                    <a:pt x="416810" y="666427"/>
                  </a:lnTo>
                  <a:lnTo>
                    <a:pt x="389316" y="703039"/>
                  </a:lnTo>
                  <a:cubicBezTo>
                    <a:pt x="348168" y="745102"/>
                    <a:pt x="290620" y="771210"/>
                    <a:pt x="226990" y="771210"/>
                  </a:cubicBezTo>
                  <a:cubicBezTo>
                    <a:pt x="154238" y="771210"/>
                    <a:pt x="89316" y="736911"/>
                    <a:pt x="47701" y="683638"/>
                  </a:cubicBezTo>
                  <a:cubicBezTo>
                    <a:pt x="76409" y="711870"/>
                    <a:pt x="115957" y="729424"/>
                    <a:pt x="159505" y="729424"/>
                  </a:cubicBezTo>
                  <a:cubicBezTo>
                    <a:pt x="203530" y="729424"/>
                    <a:pt x="243407" y="711562"/>
                    <a:pt x="272277" y="682693"/>
                  </a:cubicBezTo>
                  <a:lnTo>
                    <a:pt x="304289" y="635225"/>
                  </a:lnTo>
                  <a:lnTo>
                    <a:pt x="284587" y="624531"/>
                  </a:lnTo>
                  <a:cubicBezTo>
                    <a:pt x="218175" y="579664"/>
                    <a:pt x="174511" y="503683"/>
                    <a:pt x="174511" y="417504"/>
                  </a:cubicBezTo>
                  <a:lnTo>
                    <a:pt x="174912" y="413526"/>
                  </a:lnTo>
                  <a:lnTo>
                    <a:pt x="159505" y="410413"/>
                  </a:lnTo>
                  <a:cubicBezTo>
                    <a:pt x="75285" y="410413"/>
                    <a:pt x="6391" y="475650"/>
                    <a:pt x="486" y="558279"/>
                  </a:cubicBezTo>
                  <a:cubicBezTo>
                    <a:pt x="162" y="553640"/>
                    <a:pt x="0" y="549021"/>
                    <a:pt x="0" y="544230"/>
                  </a:cubicBezTo>
                  <a:cubicBezTo>
                    <a:pt x="0" y="439009"/>
                    <a:pt x="71569" y="350370"/>
                    <a:pt x="168752" y="324737"/>
                  </a:cubicBezTo>
                  <a:lnTo>
                    <a:pt x="194035" y="320633"/>
                  </a:lnTo>
                  <a:lnTo>
                    <a:pt x="194131" y="320323"/>
                  </a:lnTo>
                  <a:lnTo>
                    <a:pt x="205224" y="299886"/>
                  </a:lnTo>
                  <a:lnTo>
                    <a:pt x="193626" y="268562"/>
                  </a:lnTo>
                  <a:cubicBezTo>
                    <a:pt x="189457" y="251331"/>
                    <a:pt x="187261" y="233343"/>
                    <a:pt x="187261" y="214836"/>
                  </a:cubicBezTo>
                  <a:cubicBezTo>
                    <a:pt x="187261" y="115147"/>
                    <a:pt x="251536" y="30299"/>
                    <a:pt x="340871" y="0"/>
                  </a:cubicBezTo>
                  <a:close/>
                </a:path>
              </a:pathLst>
            </a:custGeom>
            <a:solidFill>
              <a:schemeClr val="accent6"/>
            </a:solidFill>
            <a:ln w="9525" cap="flat">
              <a:noFill/>
              <a:prstDash val="solid"/>
              <a:miter/>
            </a:ln>
          </p:spPr>
          <p:txBody>
            <a:bodyPr wrap="square">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54" name="Freeform: Shape 676">
              <a:extLst>
                <a:ext uri="{FF2B5EF4-FFF2-40B4-BE49-F238E27FC236}">
                  <a16:creationId xmlns:a16="http://schemas.microsoft.com/office/drawing/2014/main" id="{559B1D67-2521-4410-8A68-A3AA016CEE88}"/>
                </a:ext>
              </a:extLst>
            </p:cNvPr>
            <p:cNvSpPr/>
            <p:nvPr/>
          </p:nvSpPr>
          <p:spPr>
            <a:xfrm>
              <a:off x="7005948" y="3206405"/>
              <a:ext cx="266072" cy="259070"/>
            </a:xfrm>
            <a:custGeom>
              <a:avLst/>
              <a:gdLst/>
              <a:ahLst/>
              <a:cxnLst/>
              <a:rect l="0" t="0" r="0" b="0"/>
              <a:pathLst>
                <a:path w="723900" h="704850">
                  <a:moveTo>
                    <a:pt x="705326" y="7144"/>
                  </a:moveTo>
                  <a:lnTo>
                    <a:pt x="641509" y="7144"/>
                  </a:lnTo>
                  <a:cubicBezTo>
                    <a:pt x="501491" y="7144"/>
                    <a:pt x="387191" y="120491"/>
                    <a:pt x="387191" y="261461"/>
                  </a:cubicBezTo>
                  <a:lnTo>
                    <a:pt x="133826" y="261461"/>
                  </a:lnTo>
                  <a:cubicBezTo>
                    <a:pt x="63341" y="261461"/>
                    <a:pt x="7144" y="286226"/>
                    <a:pt x="7144" y="356711"/>
                  </a:cubicBezTo>
                  <a:lnTo>
                    <a:pt x="7144" y="451961"/>
                  </a:lnTo>
                  <a:lnTo>
                    <a:pt x="70009" y="451961"/>
                  </a:lnTo>
                  <a:lnTo>
                    <a:pt x="70009" y="356711"/>
                  </a:lnTo>
                  <a:cubicBezTo>
                    <a:pt x="70009" y="321469"/>
                    <a:pt x="98584" y="292894"/>
                    <a:pt x="133826" y="292894"/>
                  </a:cubicBezTo>
                  <a:lnTo>
                    <a:pt x="133826" y="547211"/>
                  </a:lnTo>
                  <a:cubicBezTo>
                    <a:pt x="90011" y="547211"/>
                    <a:pt x="54769" y="582454"/>
                    <a:pt x="54769" y="626269"/>
                  </a:cubicBezTo>
                  <a:cubicBezTo>
                    <a:pt x="54769" y="670084"/>
                    <a:pt x="90011" y="705326"/>
                    <a:pt x="133826" y="705326"/>
                  </a:cubicBezTo>
                  <a:cubicBezTo>
                    <a:pt x="177641" y="705326"/>
                    <a:pt x="212884" y="670084"/>
                    <a:pt x="212884" y="626269"/>
                  </a:cubicBezTo>
                  <a:cubicBezTo>
                    <a:pt x="212884" y="620554"/>
                    <a:pt x="211931" y="615791"/>
                    <a:pt x="210979" y="610076"/>
                  </a:cubicBezTo>
                  <a:lnTo>
                    <a:pt x="499586" y="610076"/>
                  </a:lnTo>
                  <a:cubicBezTo>
                    <a:pt x="498634" y="614839"/>
                    <a:pt x="497681" y="620554"/>
                    <a:pt x="497681" y="626269"/>
                  </a:cubicBezTo>
                  <a:cubicBezTo>
                    <a:pt x="497681" y="670084"/>
                    <a:pt x="532924" y="705326"/>
                    <a:pt x="576739" y="705326"/>
                  </a:cubicBezTo>
                  <a:cubicBezTo>
                    <a:pt x="620554" y="705326"/>
                    <a:pt x="655796" y="670084"/>
                    <a:pt x="655796" y="626269"/>
                  </a:cubicBezTo>
                  <a:cubicBezTo>
                    <a:pt x="655796" y="582454"/>
                    <a:pt x="620554" y="547211"/>
                    <a:pt x="576739" y="547211"/>
                  </a:cubicBezTo>
                  <a:lnTo>
                    <a:pt x="576739" y="134779"/>
                  </a:lnTo>
                  <a:lnTo>
                    <a:pt x="641509" y="261461"/>
                  </a:lnTo>
                  <a:lnTo>
                    <a:pt x="705326" y="261461"/>
                  </a:lnTo>
                  <a:lnTo>
                    <a:pt x="705326" y="39529"/>
                  </a:lnTo>
                  <a:cubicBezTo>
                    <a:pt x="713899" y="39529"/>
                    <a:pt x="721519" y="32861"/>
                    <a:pt x="721519" y="23336"/>
                  </a:cubicBezTo>
                  <a:cubicBezTo>
                    <a:pt x="721519" y="13811"/>
                    <a:pt x="713899" y="7144"/>
                    <a:pt x="705326" y="7144"/>
                  </a:cubicBezTo>
                  <a:close/>
                  <a:moveTo>
                    <a:pt x="133826" y="658654"/>
                  </a:moveTo>
                  <a:cubicBezTo>
                    <a:pt x="116681" y="658654"/>
                    <a:pt x="102394" y="644366"/>
                    <a:pt x="102394" y="627221"/>
                  </a:cubicBezTo>
                  <a:cubicBezTo>
                    <a:pt x="102394" y="610076"/>
                    <a:pt x="116681" y="595789"/>
                    <a:pt x="133826" y="595789"/>
                  </a:cubicBezTo>
                  <a:cubicBezTo>
                    <a:pt x="150971" y="595789"/>
                    <a:pt x="165259" y="610076"/>
                    <a:pt x="165259" y="627221"/>
                  </a:cubicBezTo>
                  <a:cubicBezTo>
                    <a:pt x="165259" y="644366"/>
                    <a:pt x="150971" y="658654"/>
                    <a:pt x="133826" y="658654"/>
                  </a:cubicBezTo>
                  <a:close/>
                  <a:moveTo>
                    <a:pt x="514826" y="578644"/>
                  </a:moveTo>
                  <a:lnTo>
                    <a:pt x="196691" y="578644"/>
                  </a:lnTo>
                  <a:cubicBezTo>
                    <a:pt x="196691" y="578644"/>
                    <a:pt x="196691" y="578644"/>
                    <a:pt x="196691" y="578644"/>
                  </a:cubicBezTo>
                  <a:lnTo>
                    <a:pt x="260509" y="451961"/>
                  </a:lnTo>
                  <a:lnTo>
                    <a:pt x="451009" y="451961"/>
                  </a:lnTo>
                  <a:lnTo>
                    <a:pt x="514826" y="578644"/>
                  </a:lnTo>
                  <a:cubicBezTo>
                    <a:pt x="514826" y="578644"/>
                    <a:pt x="514826" y="578644"/>
                    <a:pt x="514826" y="578644"/>
                  </a:cubicBezTo>
                  <a:close/>
                  <a:moveTo>
                    <a:pt x="610076" y="626269"/>
                  </a:moveTo>
                  <a:cubicBezTo>
                    <a:pt x="610076" y="643414"/>
                    <a:pt x="595789" y="657701"/>
                    <a:pt x="578644" y="657701"/>
                  </a:cubicBezTo>
                  <a:cubicBezTo>
                    <a:pt x="561499" y="657701"/>
                    <a:pt x="547211" y="643414"/>
                    <a:pt x="547211" y="626269"/>
                  </a:cubicBezTo>
                  <a:cubicBezTo>
                    <a:pt x="547211" y="609124"/>
                    <a:pt x="561499" y="594836"/>
                    <a:pt x="578644" y="594836"/>
                  </a:cubicBezTo>
                  <a:cubicBezTo>
                    <a:pt x="595789" y="594836"/>
                    <a:pt x="610076" y="609124"/>
                    <a:pt x="610076" y="626269"/>
                  </a:cubicBezTo>
                  <a:close/>
                  <a:moveTo>
                    <a:pt x="672941" y="134779"/>
                  </a:moveTo>
                  <a:cubicBezTo>
                    <a:pt x="664369" y="134779"/>
                    <a:pt x="656749" y="128111"/>
                    <a:pt x="656749" y="118586"/>
                  </a:cubicBezTo>
                  <a:cubicBezTo>
                    <a:pt x="656749" y="110014"/>
                    <a:pt x="663416" y="102394"/>
                    <a:pt x="672941" y="102394"/>
                  </a:cubicBezTo>
                  <a:cubicBezTo>
                    <a:pt x="681514" y="102394"/>
                    <a:pt x="689134" y="109061"/>
                    <a:pt x="689134" y="118586"/>
                  </a:cubicBezTo>
                  <a:cubicBezTo>
                    <a:pt x="689134" y="127159"/>
                    <a:pt x="682466" y="134779"/>
                    <a:pt x="672941" y="134779"/>
                  </a:cubicBezTo>
                  <a:close/>
                </a:path>
              </a:pathLst>
            </a:custGeom>
            <a:solidFill>
              <a:schemeClr val="accent6"/>
            </a:solidFill>
            <a:ln w="9525" cap="flat">
              <a:noFill/>
              <a:prstDash val="solid"/>
              <a:miter/>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
        <p:nvSpPr>
          <p:cNvPr id="557" name="Freeform 277">
            <a:extLst>
              <a:ext uri="{FF2B5EF4-FFF2-40B4-BE49-F238E27FC236}">
                <a16:creationId xmlns:a16="http://schemas.microsoft.com/office/drawing/2014/main" id="{BFFD900D-7D90-481C-B8E5-0A6E1044A23A}"/>
              </a:ext>
            </a:extLst>
          </p:cNvPr>
          <p:cNvSpPr>
            <a:spLocks noEditPoints="1"/>
          </p:cNvSpPr>
          <p:nvPr/>
        </p:nvSpPr>
        <p:spPr bwMode="auto">
          <a:xfrm flipH="1">
            <a:off x="3153956" y="3635897"/>
            <a:ext cx="513384" cy="514860"/>
          </a:xfrm>
          <a:prstGeom prst="donut">
            <a:avLst>
              <a:gd name="adj" fmla="val 2546"/>
            </a:avLst>
          </a:prstGeom>
          <a:solidFill>
            <a:srgbClr val="005073"/>
          </a:solid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58" name="Freeform 277">
            <a:extLst>
              <a:ext uri="{FF2B5EF4-FFF2-40B4-BE49-F238E27FC236}">
                <a16:creationId xmlns:a16="http://schemas.microsoft.com/office/drawing/2014/main" id="{BFFD900D-7D90-481C-B8E5-0A6E1044A23A}"/>
              </a:ext>
            </a:extLst>
          </p:cNvPr>
          <p:cNvSpPr>
            <a:spLocks noEditPoints="1"/>
          </p:cNvSpPr>
          <p:nvPr/>
        </p:nvSpPr>
        <p:spPr bwMode="auto">
          <a:xfrm flipH="1">
            <a:off x="3164975" y="1952694"/>
            <a:ext cx="513384" cy="514860"/>
          </a:xfrm>
          <a:prstGeom prst="donut">
            <a:avLst>
              <a:gd name="adj" fmla="val 2546"/>
            </a:avLst>
          </a:prstGeom>
          <a:solidFill>
            <a:srgbClr val="005073"/>
          </a:solid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59" name="Freeform 277">
            <a:extLst>
              <a:ext uri="{FF2B5EF4-FFF2-40B4-BE49-F238E27FC236}">
                <a16:creationId xmlns:a16="http://schemas.microsoft.com/office/drawing/2014/main" id="{BFFD900D-7D90-481C-B8E5-0A6E1044A23A}"/>
              </a:ext>
            </a:extLst>
          </p:cNvPr>
          <p:cNvSpPr>
            <a:spLocks noEditPoints="1"/>
          </p:cNvSpPr>
          <p:nvPr/>
        </p:nvSpPr>
        <p:spPr bwMode="auto">
          <a:xfrm flipH="1">
            <a:off x="5544828" y="1940451"/>
            <a:ext cx="513384" cy="514860"/>
          </a:xfrm>
          <a:prstGeom prst="donut">
            <a:avLst>
              <a:gd name="adj" fmla="val 2546"/>
            </a:avLst>
          </a:prstGeom>
          <a:solidFill>
            <a:srgbClr val="005073"/>
          </a:solid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Tree>
    <p:extLst>
      <p:ext uri="{BB962C8B-B14F-4D97-AF65-F5344CB8AC3E}">
        <p14:creationId xmlns:p14="http://schemas.microsoft.com/office/powerpoint/2010/main" val="15463633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CC6C7570-3927-4018-AB11-79AD2F46F968}"/>
              </a:ext>
            </a:extLst>
          </p:cNvPr>
          <p:cNvGrpSpPr/>
          <p:nvPr/>
        </p:nvGrpSpPr>
        <p:grpSpPr>
          <a:xfrm>
            <a:off x="3022576" y="1489353"/>
            <a:ext cx="3089542" cy="3156472"/>
            <a:chOff x="4030102" y="1985802"/>
            <a:chExt cx="4119389" cy="4208628"/>
          </a:xfrm>
          <a:solidFill>
            <a:schemeClr val="accent5"/>
          </a:solidFill>
          <a:effectLst/>
        </p:grpSpPr>
        <p:cxnSp>
          <p:nvCxnSpPr>
            <p:cNvPr id="19" name="Straight Connector 18">
              <a:extLst>
                <a:ext uri="{FF2B5EF4-FFF2-40B4-BE49-F238E27FC236}">
                  <a16:creationId xmlns:a16="http://schemas.microsoft.com/office/drawing/2014/main" id="{555FEC7E-B34D-4E2D-A2A9-908A9C4585E9}"/>
                </a:ext>
              </a:extLst>
            </p:cNvPr>
            <p:cNvCxnSpPr>
              <a:cxnSpLocks/>
              <a:stCxn id="537" idx="4"/>
              <a:endCxn id="520" idx="4"/>
            </p:cNvCxnSpPr>
            <p:nvPr/>
          </p:nvCxnSpPr>
          <p:spPr>
            <a:xfrm flipH="1">
              <a:off x="6433214" y="3608060"/>
              <a:ext cx="1475648" cy="2267655"/>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3F6AD05-7A23-4C74-9BB6-DFF7007A481F}"/>
                </a:ext>
              </a:extLst>
            </p:cNvPr>
            <p:cNvCxnSpPr>
              <a:stCxn id="538" idx="4"/>
              <a:endCxn id="564" idx="3"/>
            </p:cNvCxnSpPr>
            <p:nvPr/>
          </p:nvCxnSpPr>
          <p:spPr>
            <a:xfrm flipH="1">
              <a:off x="6869852" y="3652680"/>
              <a:ext cx="1246175" cy="1260517"/>
            </a:xfrm>
            <a:prstGeom prst="line">
              <a:avLst/>
            </a:prstGeom>
            <a:grpFill/>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83D1E5D-FDAE-4D99-974A-EBE486A50750}"/>
                </a:ext>
              </a:extLst>
            </p:cNvPr>
            <p:cNvCxnSpPr>
              <a:stCxn id="538" idx="4"/>
              <a:endCxn id="552" idx="37"/>
            </p:cNvCxnSpPr>
            <p:nvPr/>
          </p:nvCxnSpPr>
          <p:spPr>
            <a:xfrm flipH="1">
              <a:off x="8106466" y="3652680"/>
              <a:ext cx="9561" cy="965706"/>
            </a:xfrm>
            <a:prstGeom prst="line">
              <a:avLst/>
            </a:prstGeom>
            <a:grpFill/>
            <a:ln w="635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465" name="Group 464">
              <a:extLst>
                <a:ext uri="{FF2B5EF4-FFF2-40B4-BE49-F238E27FC236}">
                  <a16:creationId xmlns:a16="http://schemas.microsoft.com/office/drawing/2014/main" id="{F192A1CC-B663-4B57-913A-5A03DF529951}"/>
                </a:ext>
              </a:extLst>
            </p:cNvPr>
            <p:cNvGrpSpPr/>
            <p:nvPr/>
          </p:nvGrpSpPr>
          <p:grpSpPr>
            <a:xfrm>
              <a:off x="4030102" y="1985802"/>
              <a:ext cx="4119389" cy="4208628"/>
              <a:chOff x="6731001" y="5445126"/>
              <a:chExt cx="4103687" cy="4192588"/>
            </a:xfrm>
            <a:grpFill/>
            <a:effectLst/>
          </p:grpSpPr>
          <p:sp>
            <p:nvSpPr>
              <p:cNvPr id="466" name="Oval 5">
                <a:extLst>
                  <a:ext uri="{FF2B5EF4-FFF2-40B4-BE49-F238E27FC236}">
                    <a16:creationId xmlns:a16="http://schemas.microsoft.com/office/drawing/2014/main" id="{5D272DCC-17A5-4AAF-97D6-411EB791F835}"/>
                  </a:ext>
                </a:extLst>
              </p:cNvPr>
              <p:cNvSpPr>
                <a:spLocks noChangeArrowheads="1"/>
              </p:cNvSpPr>
              <p:nvPr/>
            </p:nvSpPr>
            <p:spPr bwMode="auto">
              <a:xfrm>
                <a:off x="8631238" y="7088188"/>
                <a:ext cx="258763" cy="257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67" name="Oval 6">
                <a:extLst>
                  <a:ext uri="{FF2B5EF4-FFF2-40B4-BE49-F238E27FC236}">
                    <a16:creationId xmlns:a16="http://schemas.microsoft.com/office/drawing/2014/main" id="{D0621751-BC2D-4258-841C-82FD6F55B790}"/>
                  </a:ext>
                </a:extLst>
              </p:cNvPr>
              <p:cNvSpPr>
                <a:spLocks noChangeArrowheads="1"/>
              </p:cNvSpPr>
              <p:nvPr/>
            </p:nvSpPr>
            <p:spPr bwMode="auto">
              <a:xfrm>
                <a:off x="10429876" y="6365876"/>
                <a:ext cx="200025" cy="201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69" name="Oval 8">
                <a:extLst>
                  <a:ext uri="{FF2B5EF4-FFF2-40B4-BE49-F238E27FC236}">
                    <a16:creationId xmlns:a16="http://schemas.microsoft.com/office/drawing/2014/main" id="{2DAD8E4C-93F9-4053-975E-109F757AAA57}"/>
                  </a:ext>
                </a:extLst>
              </p:cNvPr>
              <p:cNvSpPr>
                <a:spLocks noChangeArrowheads="1"/>
              </p:cNvSpPr>
              <p:nvPr/>
            </p:nvSpPr>
            <p:spPr bwMode="auto">
              <a:xfrm>
                <a:off x="9148763" y="7689851"/>
                <a:ext cx="157163"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0" name="Oval 9">
                <a:extLst>
                  <a:ext uri="{FF2B5EF4-FFF2-40B4-BE49-F238E27FC236}">
                    <a16:creationId xmlns:a16="http://schemas.microsoft.com/office/drawing/2014/main" id="{594448E1-9A9F-4584-8923-DAFBD418B38A}"/>
                  </a:ext>
                </a:extLst>
              </p:cNvPr>
              <p:cNvSpPr>
                <a:spLocks noChangeArrowheads="1"/>
              </p:cNvSpPr>
              <p:nvPr/>
            </p:nvSpPr>
            <p:spPr bwMode="auto">
              <a:xfrm>
                <a:off x="8937626" y="8296276"/>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1" name="Oval 10">
                <a:extLst>
                  <a:ext uri="{FF2B5EF4-FFF2-40B4-BE49-F238E27FC236}">
                    <a16:creationId xmlns:a16="http://schemas.microsoft.com/office/drawing/2014/main" id="{5B75E4A1-AF23-4F5A-851E-BEAC648D0AD8}"/>
                  </a:ext>
                </a:extLst>
              </p:cNvPr>
              <p:cNvSpPr>
                <a:spLocks noChangeArrowheads="1"/>
              </p:cNvSpPr>
              <p:nvPr/>
            </p:nvSpPr>
            <p:spPr bwMode="auto">
              <a:xfrm>
                <a:off x="8491538" y="7874001"/>
                <a:ext cx="52388"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2" name="Oval 11">
                <a:extLst>
                  <a:ext uri="{FF2B5EF4-FFF2-40B4-BE49-F238E27FC236}">
                    <a16:creationId xmlns:a16="http://schemas.microsoft.com/office/drawing/2014/main" id="{88756FF9-AA4C-41B3-8723-2ADD17FCEF81}"/>
                  </a:ext>
                </a:extLst>
              </p:cNvPr>
              <p:cNvSpPr>
                <a:spLocks noChangeArrowheads="1"/>
              </p:cNvSpPr>
              <p:nvPr/>
            </p:nvSpPr>
            <p:spPr bwMode="auto">
              <a:xfrm>
                <a:off x="9631363" y="6411913"/>
                <a:ext cx="157163" cy="155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3" name="Oval 12">
                <a:extLst>
                  <a:ext uri="{FF2B5EF4-FFF2-40B4-BE49-F238E27FC236}">
                    <a16:creationId xmlns:a16="http://schemas.microsoft.com/office/drawing/2014/main" id="{0FD73074-B666-48B5-8737-EE1CC7E1A7F3}"/>
                  </a:ext>
                </a:extLst>
              </p:cNvPr>
              <p:cNvSpPr>
                <a:spLocks noChangeArrowheads="1"/>
              </p:cNvSpPr>
              <p:nvPr/>
            </p:nvSpPr>
            <p:spPr bwMode="auto">
              <a:xfrm>
                <a:off x="9747251" y="6053138"/>
                <a:ext cx="68263"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4" name="Oval 13">
                <a:extLst>
                  <a:ext uri="{FF2B5EF4-FFF2-40B4-BE49-F238E27FC236}">
                    <a16:creationId xmlns:a16="http://schemas.microsoft.com/office/drawing/2014/main" id="{5510384D-14CC-4B36-BD17-6412655618F7}"/>
                  </a:ext>
                </a:extLst>
              </p:cNvPr>
              <p:cNvSpPr>
                <a:spLocks noChangeArrowheads="1"/>
              </p:cNvSpPr>
              <p:nvPr/>
            </p:nvSpPr>
            <p:spPr bwMode="auto">
              <a:xfrm>
                <a:off x="10042526" y="5984876"/>
                <a:ext cx="68263"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5" name="Oval 14">
                <a:extLst>
                  <a:ext uri="{FF2B5EF4-FFF2-40B4-BE49-F238E27FC236}">
                    <a16:creationId xmlns:a16="http://schemas.microsoft.com/office/drawing/2014/main" id="{5FA11F24-AD82-4F34-86F5-603BFF2A3601}"/>
                  </a:ext>
                </a:extLst>
              </p:cNvPr>
              <p:cNvSpPr>
                <a:spLocks noChangeArrowheads="1"/>
              </p:cNvSpPr>
              <p:nvPr/>
            </p:nvSpPr>
            <p:spPr bwMode="auto">
              <a:xfrm>
                <a:off x="10229851" y="6040438"/>
                <a:ext cx="68263"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6" name="Oval 15">
                <a:extLst>
                  <a:ext uri="{FF2B5EF4-FFF2-40B4-BE49-F238E27FC236}">
                    <a16:creationId xmlns:a16="http://schemas.microsoft.com/office/drawing/2014/main" id="{21518BB1-4400-4671-B5C4-96B6533E3301}"/>
                  </a:ext>
                </a:extLst>
              </p:cNvPr>
              <p:cNvSpPr>
                <a:spLocks noChangeArrowheads="1"/>
              </p:cNvSpPr>
              <p:nvPr/>
            </p:nvSpPr>
            <p:spPr bwMode="auto">
              <a:xfrm>
                <a:off x="9709151" y="5664201"/>
                <a:ext cx="68263" cy="714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7" name="Oval 16">
                <a:extLst>
                  <a:ext uri="{FF2B5EF4-FFF2-40B4-BE49-F238E27FC236}">
                    <a16:creationId xmlns:a16="http://schemas.microsoft.com/office/drawing/2014/main" id="{3E7F8E4B-C76B-436E-AE74-A1B1DC8D4D5A}"/>
                  </a:ext>
                </a:extLst>
              </p:cNvPr>
              <p:cNvSpPr>
                <a:spLocks noChangeArrowheads="1"/>
              </p:cNvSpPr>
              <p:nvPr/>
            </p:nvSpPr>
            <p:spPr bwMode="auto">
              <a:xfrm>
                <a:off x="9451976" y="5697538"/>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8" name="Oval 17">
                <a:extLst>
                  <a:ext uri="{FF2B5EF4-FFF2-40B4-BE49-F238E27FC236}">
                    <a16:creationId xmlns:a16="http://schemas.microsoft.com/office/drawing/2014/main" id="{A003D329-DEE1-42E9-9C96-9F64B623C5DB}"/>
                  </a:ext>
                </a:extLst>
              </p:cNvPr>
              <p:cNvSpPr>
                <a:spLocks noChangeArrowheads="1"/>
              </p:cNvSpPr>
              <p:nvPr/>
            </p:nvSpPr>
            <p:spPr bwMode="auto">
              <a:xfrm>
                <a:off x="9280526" y="5524501"/>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9" name="Oval 18">
                <a:extLst>
                  <a:ext uri="{FF2B5EF4-FFF2-40B4-BE49-F238E27FC236}">
                    <a16:creationId xmlns:a16="http://schemas.microsoft.com/office/drawing/2014/main" id="{04E5B273-18A8-41B7-948A-5CFBEB6AC408}"/>
                  </a:ext>
                </a:extLst>
              </p:cNvPr>
              <p:cNvSpPr>
                <a:spLocks noChangeArrowheads="1"/>
              </p:cNvSpPr>
              <p:nvPr/>
            </p:nvSpPr>
            <p:spPr bwMode="auto">
              <a:xfrm>
                <a:off x="9075738" y="5464176"/>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80" name="Oval 19">
                <a:extLst>
                  <a:ext uri="{FF2B5EF4-FFF2-40B4-BE49-F238E27FC236}">
                    <a16:creationId xmlns:a16="http://schemas.microsoft.com/office/drawing/2014/main" id="{54D379E7-DFC2-4E61-BBBB-D2FDA020FDA0}"/>
                  </a:ext>
                </a:extLst>
              </p:cNvPr>
              <p:cNvSpPr>
                <a:spLocks noChangeArrowheads="1"/>
              </p:cNvSpPr>
              <p:nvPr/>
            </p:nvSpPr>
            <p:spPr bwMode="auto">
              <a:xfrm>
                <a:off x="8691563" y="54451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81" name="Oval 20">
                <a:extLst>
                  <a:ext uri="{FF2B5EF4-FFF2-40B4-BE49-F238E27FC236}">
                    <a16:creationId xmlns:a16="http://schemas.microsoft.com/office/drawing/2014/main" id="{9CBF5A5E-4263-48AB-AE9F-A6598E40B7CC}"/>
                  </a:ext>
                </a:extLst>
              </p:cNvPr>
              <p:cNvSpPr>
                <a:spLocks noChangeArrowheads="1"/>
              </p:cNvSpPr>
              <p:nvPr/>
            </p:nvSpPr>
            <p:spPr bwMode="auto">
              <a:xfrm>
                <a:off x="8809038" y="5627688"/>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82" name="Oval 21">
                <a:extLst>
                  <a:ext uri="{FF2B5EF4-FFF2-40B4-BE49-F238E27FC236}">
                    <a16:creationId xmlns:a16="http://schemas.microsoft.com/office/drawing/2014/main" id="{8C7A31A2-38F9-4409-BDB5-DB449B6060FD}"/>
                  </a:ext>
                </a:extLst>
              </p:cNvPr>
              <p:cNvSpPr>
                <a:spLocks noChangeArrowheads="1"/>
              </p:cNvSpPr>
              <p:nvPr/>
            </p:nvSpPr>
            <p:spPr bwMode="auto">
              <a:xfrm>
                <a:off x="8509001" y="601503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83" name="Oval 22">
                <a:extLst>
                  <a:ext uri="{FF2B5EF4-FFF2-40B4-BE49-F238E27FC236}">
                    <a16:creationId xmlns:a16="http://schemas.microsoft.com/office/drawing/2014/main" id="{E0CD3C4A-0789-4EEB-9F11-D2F1F2704609}"/>
                  </a:ext>
                </a:extLst>
              </p:cNvPr>
              <p:cNvSpPr>
                <a:spLocks noChangeArrowheads="1"/>
              </p:cNvSpPr>
              <p:nvPr/>
            </p:nvSpPr>
            <p:spPr bwMode="auto">
              <a:xfrm>
                <a:off x="9202738" y="5967413"/>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84" name="Oval 23">
                <a:extLst>
                  <a:ext uri="{FF2B5EF4-FFF2-40B4-BE49-F238E27FC236}">
                    <a16:creationId xmlns:a16="http://schemas.microsoft.com/office/drawing/2014/main" id="{DBF43BCF-041B-4F7E-B54E-711820982A2B}"/>
                  </a:ext>
                </a:extLst>
              </p:cNvPr>
              <p:cNvSpPr>
                <a:spLocks noChangeArrowheads="1"/>
              </p:cNvSpPr>
              <p:nvPr/>
            </p:nvSpPr>
            <p:spPr bwMode="auto">
              <a:xfrm>
                <a:off x="8396288" y="5580063"/>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85" name="Oval 24">
                <a:extLst>
                  <a:ext uri="{FF2B5EF4-FFF2-40B4-BE49-F238E27FC236}">
                    <a16:creationId xmlns:a16="http://schemas.microsoft.com/office/drawing/2014/main" id="{F4570C35-7EE9-4E59-AFB3-93FA2729753E}"/>
                  </a:ext>
                </a:extLst>
              </p:cNvPr>
              <p:cNvSpPr>
                <a:spLocks noChangeArrowheads="1"/>
              </p:cNvSpPr>
              <p:nvPr/>
            </p:nvSpPr>
            <p:spPr bwMode="auto">
              <a:xfrm>
                <a:off x="8396288" y="5484813"/>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86" name="Oval 25">
                <a:extLst>
                  <a:ext uri="{FF2B5EF4-FFF2-40B4-BE49-F238E27FC236}">
                    <a16:creationId xmlns:a16="http://schemas.microsoft.com/office/drawing/2014/main" id="{359240D2-329E-486E-BDA0-94EFBB68DD33}"/>
                  </a:ext>
                </a:extLst>
              </p:cNvPr>
              <p:cNvSpPr>
                <a:spLocks noChangeArrowheads="1"/>
              </p:cNvSpPr>
              <p:nvPr/>
            </p:nvSpPr>
            <p:spPr bwMode="auto">
              <a:xfrm>
                <a:off x="8086726" y="5762626"/>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87" name="Oval 26">
                <a:extLst>
                  <a:ext uri="{FF2B5EF4-FFF2-40B4-BE49-F238E27FC236}">
                    <a16:creationId xmlns:a16="http://schemas.microsoft.com/office/drawing/2014/main" id="{953C3241-8C61-4C1F-BCFD-9FE26564709A}"/>
                  </a:ext>
                </a:extLst>
              </p:cNvPr>
              <p:cNvSpPr>
                <a:spLocks noChangeArrowheads="1"/>
              </p:cNvSpPr>
              <p:nvPr/>
            </p:nvSpPr>
            <p:spPr bwMode="auto">
              <a:xfrm>
                <a:off x="7964488" y="57626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88" name="Oval 27">
                <a:extLst>
                  <a:ext uri="{FF2B5EF4-FFF2-40B4-BE49-F238E27FC236}">
                    <a16:creationId xmlns:a16="http://schemas.microsoft.com/office/drawing/2014/main" id="{6A039534-8503-436A-9977-BA3E8E327784}"/>
                  </a:ext>
                </a:extLst>
              </p:cNvPr>
              <p:cNvSpPr>
                <a:spLocks noChangeArrowheads="1"/>
              </p:cNvSpPr>
              <p:nvPr/>
            </p:nvSpPr>
            <p:spPr bwMode="auto">
              <a:xfrm>
                <a:off x="7767638" y="57118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89" name="Oval 28">
                <a:extLst>
                  <a:ext uri="{FF2B5EF4-FFF2-40B4-BE49-F238E27FC236}">
                    <a16:creationId xmlns:a16="http://schemas.microsoft.com/office/drawing/2014/main" id="{39502461-3352-4E72-8489-A9FF8AD9C570}"/>
                  </a:ext>
                </a:extLst>
              </p:cNvPr>
              <p:cNvSpPr>
                <a:spLocks noChangeArrowheads="1"/>
              </p:cNvSpPr>
              <p:nvPr/>
            </p:nvSpPr>
            <p:spPr bwMode="auto">
              <a:xfrm>
                <a:off x="7577138" y="5840413"/>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0" name="Oval 29">
                <a:extLst>
                  <a:ext uri="{FF2B5EF4-FFF2-40B4-BE49-F238E27FC236}">
                    <a16:creationId xmlns:a16="http://schemas.microsoft.com/office/drawing/2014/main" id="{FDB63FAD-978A-4DC7-9BA6-0CEB5CB4E405}"/>
                  </a:ext>
                </a:extLst>
              </p:cNvPr>
              <p:cNvSpPr>
                <a:spLocks noChangeArrowheads="1"/>
              </p:cNvSpPr>
              <p:nvPr/>
            </p:nvSpPr>
            <p:spPr bwMode="auto">
              <a:xfrm>
                <a:off x="7242176" y="6116638"/>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1" name="Oval 30">
                <a:extLst>
                  <a:ext uri="{FF2B5EF4-FFF2-40B4-BE49-F238E27FC236}">
                    <a16:creationId xmlns:a16="http://schemas.microsoft.com/office/drawing/2014/main" id="{C2A59383-5D5E-4871-824E-7B0CB2016BA6}"/>
                  </a:ext>
                </a:extLst>
              </p:cNvPr>
              <p:cNvSpPr>
                <a:spLocks noChangeArrowheads="1"/>
              </p:cNvSpPr>
              <p:nvPr/>
            </p:nvSpPr>
            <p:spPr bwMode="auto">
              <a:xfrm>
                <a:off x="7138988" y="631507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2" name="Oval 31">
                <a:extLst>
                  <a:ext uri="{FF2B5EF4-FFF2-40B4-BE49-F238E27FC236}">
                    <a16:creationId xmlns:a16="http://schemas.microsoft.com/office/drawing/2014/main" id="{35EBC328-5016-418B-AAD5-79D769629216}"/>
                  </a:ext>
                </a:extLst>
              </p:cNvPr>
              <p:cNvSpPr>
                <a:spLocks noChangeArrowheads="1"/>
              </p:cNvSpPr>
              <p:nvPr/>
            </p:nvSpPr>
            <p:spPr bwMode="auto">
              <a:xfrm>
                <a:off x="7197726" y="65754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3" name="Oval 32">
                <a:extLst>
                  <a:ext uri="{FF2B5EF4-FFF2-40B4-BE49-F238E27FC236}">
                    <a16:creationId xmlns:a16="http://schemas.microsoft.com/office/drawing/2014/main" id="{C431B862-EC4B-4FBE-B61A-5160E87357F2}"/>
                  </a:ext>
                </a:extLst>
              </p:cNvPr>
              <p:cNvSpPr>
                <a:spLocks noChangeArrowheads="1"/>
              </p:cNvSpPr>
              <p:nvPr/>
            </p:nvSpPr>
            <p:spPr bwMode="auto">
              <a:xfrm>
                <a:off x="7065963" y="653097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4" name="Oval 33">
                <a:extLst>
                  <a:ext uri="{FF2B5EF4-FFF2-40B4-BE49-F238E27FC236}">
                    <a16:creationId xmlns:a16="http://schemas.microsoft.com/office/drawing/2014/main" id="{235F88B5-7F65-424F-B919-A40F25053FC5}"/>
                  </a:ext>
                </a:extLst>
              </p:cNvPr>
              <p:cNvSpPr>
                <a:spLocks noChangeArrowheads="1"/>
              </p:cNvSpPr>
              <p:nvPr/>
            </p:nvSpPr>
            <p:spPr bwMode="auto">
              <a:xfrm>
                <a:off x="7366001" y="64912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5" name="Oval 34">
                <a:extLst>
                  <a:ext uri="{FF2B5EF4-FFF2-40B4-BE49-F238E27FC236}">
                    <a16:creationId xmlns:a16="http://schemas.microsoft.com/office/drawing/2014/main" id="{4D8B20AF-2848-4772-A3E8-EFEB99B31D6A}"/>
                  </a:ext>
                </a:extLst>
              </p:cNvPr>
              <p:cNvSpPr>
                <a:spLocks noChangeArrowheads="1"/>
              </p:cNvSpPr>
              <p:nvPr/>
            </p:nvSpPr>
            <p:spPr bwMode="auto">
              <a:xfrm>
                <a:off x="6897688" y="68421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6" name="Oval 35">
                <a:extLst>
                  <a:ext uri="{FF2B5EF4-FFF2-40B4-BE49-F238E27FC236}">
                    <a16:creationId xmlns:a16="http://schemas.microsoft.com/office/drawing/2014/main" id="{A4EE230D-F728-4365-9C23-2C8585DA8714}"/>
                  </a:ext>
                </a:extLst>
              </p:cNvPr>
              <p:cNvSpPr>
                <a:spLocks noChangeArrowheads="1"/>
              </p:cNvSpPr>
              <p:nvPr/>
            </p:nvSpPr>
            <p:spPr bwMode="auto">
              <a:xfrm>
                <a:off x="6811963" y="711835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7" name="Oval 36">
                <a:extLst>
                  <a:ext uri="{FF2B5EF4-FFF2-40B4-BE49-F238E27FC236}">
                    <a16:creationId xmlns:a16="http://schemas.microsoft.com/office/drawing/2014/main" id="{C09303AD-38C4-4917-874B-554C97A7DE62}"/>
                  </a:ext>
                </a:extLst>
              </p:cNvPr>
              <p:cNvSpPr>
                <a:spLocks noChangeArrowheads="1"/>
              </p:cNvSpPr>
              <p:nvPr/>
            </p:nvSpPr>
            <p:spPr bwMode="auto">
              <a:xfrm>
                <a:off x="6731001" y="7245351"/>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8" name="Oval 37">
                <a:extLst>
                  <a:ext uri="{FF2B5EF4-FFF2-40B4-BE49-F238E27FC236}">
                    <a16:creationId xmlns:a16="http://schemas.microsoft.com/office/drawing/2014/main" id="{E72DF307-9284-43A8-BD9E-7C698A66C34E}"/>
                  </a:ext>
                </a:extLst>
              </p:cNvPr>
              <p:cNvSpPr>
                <a:spLocks noChangeArrowheads="1"/>
              </p:cNvSpPr>
              <p:nvPr/>
            </p:nvSpPr>
            <p:spPr bwMode="auto">
              <a:xfrm>
                <a:off x="6851651" y="7389813"/>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9" name="Oval 38">
                <a:extLst>
                  <a:ext uri="{FF2B5EF4-FFF2-40B4-BE49-F238E27FC236}">
                    <a16:creationId xmlns:a16="http://schemas.microsoft.com/office/drawing/2014/main" id="{4C9D6ADC-7179-4680-81D0-37D317562F0A}"/>
                  </a:ext>
                </a:extLst>
              </p:cNvPr>
              <p:cNvSpPr>
                <a:spLocks noChangeArrowheads="1"/>
              </p:cNvSpPr>
              <p:nvPr/>
            </p:nvSpPr>
            <p:spPr bwMode="auto">
              <a:xfrm>
                <a:off x="7096126" y="700563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0" name="Oval 39">
                <a:extLst>
                  <a:ext uri="{FF2B5EF4-FFF2-40B4-BE49-F238E27FC236}">
                    <a16:creationId xmlns:a16="http://schemas.microsoft.com/office/drawing/2014/main" id="{914B98D7-649C-4346-8F17-B96CA8977A52}"/>
                  </a:ext>
                </a:extLst>
              </p:cNvPr>
              <p:cNvSpPr>
                <a:spLocks noChangeArrowheads="1"/>
              </p:cNvSpPr>
              <p:nvPr/>
            </p:nvSpPr>
            <p:spPr bwMode="auto">
              <a:xfrm>
                <a:off x="7361238" y="7504113"/>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1" name="Oval 40">
                <a:extLst>
                  <a:ext uri="{FF2B5EF4-FFF2-40B4-BE49-F238E27FC236}">
                    <a16:creationId xmlns:a16="http://schemas.microsoft.com/office/drawing/2014/main" id="{4AE07B27-E393-45CB-BC0A-FEC236685382}"/>
                  </a:ext>
                </a:extLst>
              </p:cNvPr>
              <p:cNvSpPr>
                <a:spLocks noChangeArrowheads="1"/>
              </p:cNvSpPr>
              <p:nvPr/>
            </p:nvSpPr>
            <p:spPr bwMode="auto">
              <a:xfrm>
                <a:off x="6943726" y="76422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2" name="Oval 41">
                <a:extLst>
                  <a:ext uri="{FF2B5EF4-FFF2-40B4-BE49-F238E27FC236}">
                    <a16:creationId xmlns:a16="http://schemas.microsoft.com/office/drawing/2014/main" id="{1B07E80E-1B7C-4C2A-B721-3BA76A42378F}"/>
                  </a:ext>
                </a:extLst>
              </p:cNvPr>
              <p:cNvSpPr>
                <a:spLocks noChangeArrowheads="1"/>
              </p:cNvSpPr>
              <p:nvPr/>
            </p:nvSpPr>
            <p:spPr bwMode="auto">
              <a:xfrm>
                <a:off x="6981826" y="789305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3" name="Oval 42">
                <a:extLst>
                  <a:ext uri="{FF2B5EF4-FFF2-40B4-BE49-F238E27FC236}">
                    <a16:creationId xmlns:a16="http://schemas.microsoft.com/office/drawing/2014/main" id="{EA1DA7EC-026D-45C9-B1BD-07BB491441AA}"/>
                  </a:ext>
                </a:extLst>
              </p:cNvPr>
              <p:cNvSpPr>
                <a:spLocks noChangeArrowheads="1"/>
              </p:cNvSpPr>
              <p:nvPr/>
            </p:nvSpPr>
            <p:spPr bwMode="auto">
              <a:xfrm>
                <a:off x="6757988" y="77787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4" name="Oval 43">
                <a:extLst>
                  <a:ext uri="{FF2B5EF4-FFF2-40B4-BE49-F238E27FC236}">
                    <a16:creationId xmlns:a16="http://schemas.microsoft.com/office/drawing/2014/main" id="{BA7247A0-83AD-4834-B5F7-BE8EE25C12CD}"/>
                  </a:ext>
                </a:extLst>
              </p:cNvPr>
              <p:cNvSpPr>
                <a:spLocks noChangeArrowheads="1"/>
              </p:cNvSpPr>
              <p:nvPr/>
            </p:nvSpPr>
            <p:spPr bwMode="auto">
              <a:xfrm>
                <a:off x="6781801" y="7867651"/>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5" name="Oval 44">
                <a:extLst>
                  <a:ext uri="{FF2B5EF4-FFF2-40B4-BE49-F238E27FC236}">
                    <a16:creationId xmlns:a16="http://schemas.microsoft.com/office/drawing/2014/main" id="{3EE09CC3-8508-449E-99A0-053B9FB8C938}"/>
                  </a:ext>
                </a:extLst>
              </p:cNvPr>
              <p:cNvSpPr>
                <a:spLocks noChangeArrowheads="1"/>
              </p:cNvSpPr>
              <p:nvPr/>
            </p:nvSpPr>
            <p:spPr bwMode="auto">
              <a:xfrm>
                <a:off x="6896101" y="8329613"/>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6" name="Oval 45">
                <a:extLst>
                  <a:ext uri="{FF2B5EF4-FFF2-40B4-BE49-F238E27FC236}">
                    <a16:creationId xmlns:a16="http://schemas.microsoft.com/office/drawing/2014/main" id="{A80FA340-923D-4C87-85E5-BF4DF0E9AF97}"/>
                  </a:ext>
                </a:extLst>
              </p:cNvPr>
              <p:cNvSpPr>
                <a:spLocks noChangeArrowheads="1"/>
              </p:cNvSpPr>
              <p:nvPr/>
            </p:nvSpPr>
            <p:spPr bwMode="auto">
              <a:xfrm>
                <a:off x="6981826" y="8262938"/>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7" name="Oval 46">
                <a:extLst>
                  <a:ext uri="{FF2B5EF4-FFF2-40B4-BE49-F238E27FC236}">
                    <a16:creationId xmlns:a16="http://schemas.microsoft.com/office/drawing/2014/main" id="{85408A7A-5DFA-4D6D-A5E7-08A574FA0316}"/>
                  </a:ext>
                </a:extLst>
              </p:cNvPr>
              <p:cNvSpPr>
                <a:spLocks noChangeArrowheads="1"/>
              </p:cNvSpPr>
              <p:nvPr/>
            </p:nvSpPr>
            <p:spPr bwMode="auto">
              <a:xfrm>
                <a:off x="7016751" y="840263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8" name="Oval 47">
                <a:extLst>
                  <a:ext uri="{FF2B5EF4-FFF2-40B4-BE49-F238E27FC236}">
                    <a16:creationId xmlns:a16="http://schemas.microsoft.com/office/drawing/2014/main" id="{31965878-FD8C-4B33-B8B6-18E7F29DFBB2}"/>
                  </a:ext>
                </a:extLst>
              </p:cNvPr>
              <p:cNvSpPr>
                <a:spLocks noChangeArrowheads="1"/>
              </p:cNvSpPr>
              <p:nvPr/>
            </p:nvSpPr>
            <p:spPr bwMode="auto">
              <a:xfrm>
                <a:off x="7289801" y="8208963"/>
                <a:ext cx="65088"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9" name="Oval 48">
                <a:extLst>
                  <a:ext uri="{FF2B5EF4-FFF2-40B4-BE49-F238E27FC236}">
                    <a16:creationId xmlns:a16="http://schemas.microsoft.com/office/drawing/2014/main" id="{2E097F84-46EB-4EDE-A15B-D2FF59C5802C}"/>
                  </a:ext>
                </a:extLst>
              </p:cNvPr>
              <p:cNvSpPr>
                <a:spLocks noChangeArrowheads="1"/>
              </p:cNvSpPr>
              <p:nvPr/>
            </p:nvSpPr>
            <p:spPr bwMode="auto">
              <a:xfrm>
                <a:off x="7131051" y="86804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0" name="Oval 49">
                <a:extLst>
                  <a:ext uri="{FF2B5EF4-FFF2-40B4-BE49-F238E27FC236}">
                    <a16:creationId xmlns:a16="http://schemas.microsoft.com/office/drawing/2014/main" id="{F1DC69C4-A9EE-4711-933A-5416AEC40A0A}"/>
                  </a:ext>
                </a:extLst>
              </p:cNvPr>
              <p:cNvSpPr>
                <a:spLocks noChangeArrowheads="1"/>
              </p:cNvSpPr>
              <p:nvPr/>
            </p:nvSpPr>
            <p:spPr bwMode="auto">
              <a:xfrm>
                <a:off x="7210426" y="882173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1" name="Oval 50">
                <a:extLst>
                  <a:ext uri="{FF2B5EF4-FFF2-40B4-BE49-F238E27FC236}">
                    <a16:creationId xmlns:a16="http://schemas.microsoft.com/office/drawing/2014/main" id="{DF13D5C3-CF8D-4EC7-B426-D61AFDF5E978}"/>
                  </a:ext>
                </a:extLst>
              </p:cNvPr>
              <p:cNvSpPr>
                <a:spLocks noChangeArrowheads="1"/>
              </p:cNvSpPr>
              <p:nvPr/>
            </p:nvSpPr>
            <p:spPr bwMode="auto">
              <a:xfrm>
                <a:off x="7354888" y="8742363"/>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2" name="Oval 51">
                <a:extLst>
                  <a:ext uri="{FF2B5EF4-FFF2-40B4-BE49-F238E27FC236}">
                    <a16:creationId xmlns:a16="http://schemas.microsoft.com/office/drawing/2014/main" id="{303EB4BD-0E1E-4F01-AFCC-112D2D989B8E}"/>
                  </a:ext>
                </a:extLst>
              </p:cNvPr>
              <p:cNvSpPr>
                <a:spLocks noChangeArrowheads="1"/>
              </p:cNvSpPr>
              <p:nvPr/>
            </p:nvSpPr>
            <p:spPr bwMode="auto">
              <a:xfrm>
                <a:off x="7399338" y="8847138"/>
                <a:ext cx="80963"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3" name="Oval 52">
                <a:extLst>
                  <a:ext uri="{FF2B5EF4-FFF2-40B4-BE49-F238E27FC236}">
                    <a16:creationId xmlns:a16="http://schemas.microsoft.com/office/drawing/2014/main" id="{0BC1E1B2-16DD-4375-AD66-F830357A9960}"/>
                  </a:ext>
                </a:extLst>
              </p:cNvPr>
              <p:cNvSpPr>
                <a:spLocks noChangeArrowheads="1"/>
              </p:cNvSpPr>
              <p:nvPr/>
            </p:nvSpPr>
            <p:spPr bwMode="auto">
              <a:xfrm>
                <a:off x="7797801" y="8709026"/>
                <a:ext cx="74613"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4" name="Oval 53">
                <a:extLst>
                  <a:ext uri="{FF2B5EF4-FFF2-40B4-BE49-F238E27FC236}">
                    <a16:creationId xmlns:a16="http://schemas.microsoft.com/office/drawing/2014/main" id="{B360D95A-44D6-463E-B8B3-7B7E3D6DD190}"/>
                  </a:ext>
                </a:extLst>
              </p:cNvPr>
              <p:cNvSpPr>
                <a:spLocks noChangeArrowheads="1"/>
              </p:cNvSpPr>
              <p:nvPr/>
            </p:nvSpPr>
            <p:spPr bwMode="auto">
              <a:xfrm>
                <a:off x="8377238" y="8528051"/>
                <a:ext cx="71438"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6" name="Oval 55">
                <a:extLst>
                  <a:ext uri="{FF2B5EF4-FFF2-40B4-BE49-F238E27FC236}">
                    <a16:creationId xmlns:a16="http://schemas.microsoft.com/office/drawing/2014/main" id="{9087A32E-E1E1-41AE-97DA-3EF22C9979AB}"/>
                  </a:ext>
                </a:extLst>
              </p:cNvPr>
              <p:cNvSpPr>
                <a:spLocks noChangeArrowheads="1"/>
              </p:cNvSpPr>
              <p:nvPr/>
            </p:nvSpPr>
            <p:spPr bwMode="auto">
              <a:xfrm>
                <a:off x="6897688" y="664210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7" name="Oval 56">
                <a:extLst>
                  <a:ext uri="{FF2B5EF4-FFF2-40B4-BE49-F238E27FC236}">
                    <a16:creationId xmlns:a16="http://schemas.microsoft.com/office/drawing/2014/main" id="{89A300A8-F07F-48F0-99A4-953667FB3436}"/>
                  </a:ext>
                </a:extLst>
              </p:cNvPr>
              <p:cNvSpPr>
                <a:spLocks noChangeArrowheads="1"/>
              </p:cNvSpPr>
              <p:nvPr/>
            </p:nvSpPr>
            <p:spPr bwMode="auto">
              <a:xfrm>
                <a:off x="8112126" y="5562601"/>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8" name="Oval 57">
                <a:extLst>
                  <a:ext uri="{FF2B5EF4-FFF2-40B4-BE49-F238E27FC236}">
                    <a16:creationId xmlns:a16="http://schemas.microsoft.com/office/drawing/2014/main" id="{5242AA52-6EF7-480A-94A1-C2F0B1D7C37C}"/>
                  </a:ext>
                </a:extLst>
              </p:cNvPr>
              <p:cNvSpPr>
                <a:spLocks noChangeArrowheads="1"/>
              </p:cNvSpPr>
              <p:nvPr/>
            </p:nvSpPr>
            <p:spPr bwMode="auto">
              <a:xfrm>
                <a:off x="8383588" y="9020176"/>
                <a:ext cx="157163" cy="155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9" name="Oval 58">
                <a:extLst>
                  <a:ext uri="{FF2B5EF4-FFF2-40B4-BE49-F238E27FC236}">
                    <a16:creationId xmlns:a16="http://schemas.microsoft.com/office/drawing/2014/main" id="{2788469C-FCE4-40FD-A835-8282CC449CA5}"/>
                  </a:ext>
                </a:extLst>
              </p:cNvPr>
              <p:cNvSpPr>
                <a:spLocks noChangeArrowheads="1"/>
              </p:cNvSpPr>
              <p:nvPr/>
            </p:nvSpPr>
            <p:spPr bwMode="auto">
              <a:xfrm>
                <a:off x="9026526" y="8823326"/>
                <a:ext cx="44450"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20" name="Oval 59">
                <a:extLst>
                  <a:ext uri="{FF2B5EF4-FFF2-40B4-BE49-F238E27FC236}">
                    <a16:creationId xmlns:a16="http://schemas.microsoft.com/office/drawing/2014/main" id="{79F9F64E-438F-46B7-AF91-69C88C9F9704}"/>
                  </a:ext>
                </a:extLst>
              </p:cNvPr>
              <p:cNvSpPr>
                <a:spLocks noChangeArrowheads="1"/>
              </p:cNvSpPr>
              <p:nvPr/>
            </p:nvSpPr>
            <p:spPr bwMode="auto">
              <a:xfrm>
                <a:off x="9093201" y="9255126"/>
                <a:ext cx="63500"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21" name="Oval 60">
                <a:extLst>
                  <a:ext uri="{FF2B5EF4-FFF2-40B4-BE49-F238E27FC236}">
                    <a16:creationId xmlns:a16="http://schemas.microsoft.com/office/drawing/2014/main" id="{1F0DAB25-FD02-4B85-B5C7-14B3B52C3940}"/>
                  </a:ext>
                </a:extLst>
              </p:cNvPr>
              <p:cNvSpPr>
                <a:spLocks noChangeArrowheads="1"/>
              </p:cNvSpPr>
              <p:nvPr/>
            </p:nvSpPr>
            <p:spPr bwMode="auto">
              <a:xfrm>
                <a:off x="9124951" y="95186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22" name="Oval 61">
                <a:extLst>
                  <a:ext uri="{FF2B5EF4-FFF2-40B4-BE49-F238E27FC236}">
                    <a16:creationId xmlns:a16="http://schemas.microsoft.com/office/drawing/2014/main" id="{40E3C94D-A16F-4AD5-9DE1-AE85374C5543}"/>
                  </a:ext>
                </a:extLst>
              </p:cNvPr>
              <p:cNvSpPr>
                <a:spLocks noChangeArrowheads="1"/>
              </p:cNvSpPr>
              <p:nvPr/>
            </p:nvSpPr>
            <p:spPr bwMode="auto">
              <a:xfrm>
                <a:off x="8604251" y="9537701"/>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23" name="Oval 62">
                <a:extLst>
                  <a:ext uri="{FF2B5EF4-FFF2-40B4-BE49-F238E27FC236}">
                    <a16:creationId xmlns:a16="http://schemas.microsoft.com/office/drawing/2014/main" id="{B192C00C-9DB6-4078-A9C9-D99667B740FE}"/>
                  </a:ext>
                </a:extLst>
              </p:cNvPr>
              <p:cNvSpPr>
                <a:spLocks noChangeArrowheads="1"/>
              </p:cNvSpPr>
              <p:nvPr/>
            </p:nvSpPr>
            <p:spPr bwMode="auto">
              <a:xfrm>
                <a:off x="8524876" y="9444038"/>
                <a:ext cx="68263"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24" name="Oval 63">
                <a:extLst>
                  <a:ext uri="{FF2B5EF4-FFF2-40B4-BE49-F238E27FC236}">
                    <a16:creationId xmlns:a16="http://schemas.microsoft.com/office/drawing/2014/main" id="{37B4C5E7-5D12-4EA1-8DB6-982519392E44}"/>
                  </a:ext>
                </a:extLst>
              </p:cNvPr>
              <p:cNvSpPr>
                <a:spLocks noChangeArrowheads="1"/>
              </p:cNvSpPr>
              <p:nvPr/>
            </p:nvSpPr>
            <p:spPr bwMode="auto">
              <a:xfrm>
                <a:off x="8235951" y="9444038"/>
                <a:ext cx="71438"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25" name="Oval 64">
                <a:extLst>
                  <a:ext uri="{FF2B5EF4-FFF2-40B4-BE49-F238E27FC236}">
                    <a16:creationId xmlns:a16="http://schemas.microsoft.com/office/drawing/2014/main" id="{A5CE4D6E-271C-4C6E-8083-B3D8967E8443}"/>
                  </a:ext>
                </a:extLst>
              </p:cNvPr>
              <p:cNvSpPr>
                <a:spLocks noChangeArrowheads="1"/>
              </p:cNvSpPr>
              <p:nvPr/>
            </p:nvSpPr>
            <p:spPr bwMode="auto">
              <a:xfrm>
                <a:off x="8026401" y="9417051"/>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26" name="Oval 65">
                <a:extLst>
                  <a:ext uri="{FF2B5EF4-FFF2-40B4-BE49-F238E27FC236}">
                    <a16:creationId xmlns:a16="http://schemas.microsoft.com/office/drawing/2014/main" id="{6FF88092-1A2C-4B90-A165-8EE4E9D4E40C}"/>
                  </a:ext>
                </a:extLst>
              </p:cNvPr>
              <p:cNvSpPr>
                <a:spLocks noChangeArrowheads="1"/>
              </p:cNvSpPr>
              <p:nvPr/>
            </p:nvSpPr>
            <p:spPr bwMode="auto">
              <a:xfrm>
                <a:off x="7874001" y="9169401"/>
                <a:ext cx="71438"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27" name="Oval 66">
                <a:extLst>
                  <a:ext uri="{FF2B5EF4-FFF2-40B4-BE49-F238E27FC236}">
                    <a16:creationId xmlns:a16="http://schemas.microsoft.com/office/drawing/2014/main" id="{092031F6-7CE9-4221-B3AF-53F49F2C35B6}"/>
                  </a:ext>
                </a:extLst>
              </p:cNvPr>
              <p:cNvSpPr>
                <a:spLocks noChangeArrowheads="1"/>
              </p:cNvSpPr>
              <p:nvPr/>
            </p:nvSpPr>
            <p:spPr bwMode="auto">
              <a:xfrm>
                <a:off x="7494588" y="9086851"/>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28" name="Oval 67">
                <a:extLst>
                  <a:ext uri="{FF2B5EF4-FFF2-40B4-BE49-F238E27FC236}">
                    <a16:creationId xmlns:a16="http://schemas.microsoft.com/office/drawing/2014/main" id="{974AE98B-59A9-491F-B343-3766B43FDB61}"/>
                  </a:ext>
                </a:extLst>
              </p:cNvPr>
              <p:cNvSpPr>
                <a:spLocks noChangeArrowheads="1"/>
              </p:cNvSpPr>
              <p:nvPr/>
            </p:nvSpPr>
            <p:spPr bwMode="auto">
              <a:xfrm>
                <a:off x="7640638" y="9196388"/>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29" name="Oval 68">
                <a:extLst>
                  <a:ext uri="{FF2B5EF4-FFF2-40B4-BE49-F238E27FC236}">
                    <a16:creationId xmlns:a16="http://schemas.microsoft.com/office/drawing/2014/main" id="{14D7D6B1-74C2-41D8-B221-95D64B036F15}"/>
                  </a:ext>
                </a:extLst>
              </p:cNvPr>
              <p:cNvSpPr>
                <a:spLocks noChangeArrowheads="1"/>
              </p:cNvSpPr>
              <p:nvPr/>
            </p:nvSpPr>
            <p:spPr bwMode="auto">
              <a:xfrm>
                <a:off x="9610726" y="938688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0" name="Oval 69">
                <a:extLst>
                  <a:ext uri="{FF2B5EF4-FFF2-40B4-BE49-F238E27FC236}">
                    <a16:creationId xmlns:a16="http://schemas.microsoft.com/office/drawing/2014/main" id="{B55351FA-0E4E-4B63-BABF-030323E2B251}"/>
                  </a:ext>
                </a:extLst>
              </p:cNvPr>
              <p:cNvSpPr>
                <a:spLocks noChangeArrowheads="1"/>
              </p:cNvSpPr>
              <p:nvPr/>
            </p:nvSpPr>
            <p:spPr bwMode="auto">
              <a:xfrm>
                <a:off x="9675813" y="9236076"/>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1" name="Oval 70">
                <a:extLst>
                  <a:ext uri="{FF2B5EF4-FFF2-40B4-BE49-F238E27FC236}">
                    <a16:creationId xmlns:a16="http://schemas.microsoft.com/office/drawing/2014/main" id="{62F658B2-AFAF-47BE-83A6-E96DFF472788}"/>
                  </a:ext>
                </a:extLst>
              </p:cNvPr>
              <p:cNvSpPr>
                <a:spLocks noChangeArrowheads="1"/>
              </p:cNvSpPr>
              <p:nvPr/>
            </p:nvSpPr>
            <p:spPr bwMode="auto">
              <a:xfrm>
                <a:off x="7815263" y="6184901"/>
                <a:ext cx="155575"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2" name="Oval 71">
                <a:extLst>
                  <a:ext uri="{FF2B5EF4-FFF2-40B4-BE49-F238E27FC236}">
                    <a16:creationId xmlns:a16="http://schemas.microsoft.com/office/drawing/2014/main" id="{BFD69D22-1DC2-4986-BB41-4798DFE69B4E}"/>
                  </a:ext>
                </a:extLst>
              </p:cNvPr>
              <p:cNvSpPr>
                <a:spLocks noChangeArrowheads="1"/>
              </p:cNvSpPr>
              <p:nvPr/>
            </p:nvSpPr>
            <p:spPr bwMode="auto">
              <a:xfrm>
                <a:off x="7586663" y="6842126"/>
                <a:ext cx="68263"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3" name="Oval 72">
                <a:extLst>
                  <a:ext uri="{FF2B5EF4-FFF2-40B4-BE49-F238E27FC236}">
                    <a16:creationId xmlns:a16="http://schemas.microsoft.com/office/drawing/2014/main" id="{44DE59D4-4E72-45F4-9656-36E0E21E75E4}"/>
                  </a:ext>
                </a:extLst>
              </p:cNvPr>
              <p:cNvSpPr>
                <a:spLocks noChangeArrowheads="1"/>
              </p:cNvSpPr>
              <p:nvPr/>
            </p:nvSpPr>
            <p:spPr bwMode="auto">
              <a:xfrm>
                <a:off x="8229601" y="6615113"/>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4" name="Oval 73">
                <a:extLst>
                  <a:ext uri="{FF2B5EF4-FFF2-40B4-BE49-F238E27FC236}">
                    <a16:creationId xmlns:a16="http://schemas.microsoft.com/office/drawing/2014/main" id="{358253DD-4E7A-475D-84D9-C05D54564F64}"/>
                  </a:ext>
                </a:extLst>
              </p:cNvPr>
              <p:cNvSpPr>
                <a:spLocks noChangeArrowheads="1"/>
              </p:cNvSpPr>
              <p:nvPr/>
            </p:nvSpPr>
            <p:spPr bwMode="auto">
              <a:xfrm>
                <a:off x="8996363" y="6470651"/>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5" name="Oval 74">
                <a:extLst>
                  <a:ext uri="{FF2B5EF4-FFF2-40B4-BE49-F238E27FC236}">
                    <a16:creationId xmlns:a16="http://schemas.microsoft.com/office/drawing/2014/main" id="{280BEE1A-BE4D-4C73-BDAB-323D894F51DB}"/>
                  </a:ext>
                </a:extLst>
              </p:cNvPr>
              <p:cNvSpPr>
                <a:spLocks noChangeArrowheads="1"/>
              </p:cNvSpPr>
              <p:nvPr/>
            </p:nvSpPr>
            <p:spPr bwMode="auto">
              <a:xfrm>
                <a:off x="9475788" y="7061201"/>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6" name="Oval 75">
                <a:extLst>
                  <a:ext uri="{FF2B5EF4-FFF2-40B4-BE49-F238E27FC236}">
                    <a16:creationId xmlns:a16="http://schemas.microsoft.com/office/drawing/2014/main" id="{5FD15661-DEB4-4488-8D60-C7DEABBB589D}"/>
                  </a:ext>
                </a:extLst>
              </p:cNvPr>
              <p:cNvSpPr>
                <a:spLocks noChangeArrowheads="1"/>
              </p:cNvSpPr>
              <p:nvPr/>
            </p:nvSpPr>
            <p:spPr bwMode="auto">
              <a:xfrm>
                <a:off x="10120313" y="699452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7" name="Oval 76">
                <a:extLst>
                  <a:ext uri="{FF2B5EF4-FFF2-40B4-BE49-F238E27FC236}">
                    <a16:creationId xmlns:a16="http://schemas.microsoft.com/office/drawing/2014/main" id="{20E5814E-A0BB-4AEA-8B2D-54E71CA21C30}"/>
                  </a:ext>
                </a:extLst>
              </p:cNvPr>
              <p:cNvSpPr>
                <a:spLocks noChangeArrowheads="1"/>
              </p:cNvSpPr>
              <p:nvPr/>
            </p:nvSpPr>
            <p:spPr bwMode="auto">
              <a:xfrm>
                <a:off x="10561638" y="699452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8" name="Oval 77">
                <a:extLst>
                  <a:ext uri="{FF2B5EF4-FFF2-40B4-BE49-F238E27FC236}">
                    <a16:creationId xmlns:a16="http://schemas.microsoft.com/office/drawing/2014/main" id="{DE21FF4E-1802-4CB7-A25F-3DE0A9749685}"/>
                  </a:ext>
                </a:extLst>
              </p:cNvPr>
              <p:cNvSpPr>
                <a:spLocks noChangeArrowheads="1"/>
              </p:cNvSpPr>
              <p:nvPr/>
            </p:nvSpPr>
            <p:spPr bwMode="auto">
              <a:xfrm>
                <a:off x="10768013" y="7037388"/>
                <a:ext cx="66675"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9" name="Oval 78">
                <a:extLst>
                  <a:ext uri="{FF2B5EF4-FFF2-40B4-BE49-F238E27FC236}">
                    <a16:creationId xmlns:a16="http://schemas.microsoft.com/office/drawing/2014/main" id="{5E30119F-AE49-475F-A46E-F3F27BC5AF4B}"/>
                  </a:ext>
                </a:extLst>
              </p:cNvPr>
              <p:cNvSpPr>
                <a:spLocks noChangeArrowheads="1"/>
              </p:cNvSpPr>
              <p:nvPr/>
            </p:nvSpPr>
            <p:spPr bwMode="auto">
              <a:xfrm>
                <a:off x="10186988" y="644207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40" name="Oval 79">
                <a:extLst>
                  <a:ext uri="{FF2B5EF4-FFF2-40B4-BE49-F238E27FC236}">
                    <a16:creationId xmlns:a16="http://schemas.microsoft.com/office/drawing/2014/main" id="{0EB34CF5-2B0E-419B-8D49-C4216BFDB305}"/>
                  </a:ext>
                </a:extLst>
              </p:cNvPr>
              <p:cNvSpPr>
                <a:spLocks noChangeArrowheads="1"/>
              </p:cNvSpPr>
              <p:nvPr/>
            </p:nvSpPr>
            <p:spPr bwMode="auto">
              <a:xfrm>
                <a:off x="7985126" y="73247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41" name="Oval 80">
                <a:extLst>
                  <a:ext uri="{FF2B5EF4-FFF2-40B4-BE49-F238E27FC236}">
                    <a16:creationId xmlns:a16="http://schemas.microsoft.com/office/drawing/2014/main" id="{F3B9F17F-D4D0-4495-8C6E-FAF1348964AF}"/>
                  </a:ext>
                </a:extLst>
              </p:cNvPr>
              <p:cNvSpPr>
                <a:spLocks noChangeArrowheads="1"/>
              </p:cNvSpPr>
              <p:nvPr/>
            </p:nvSpPr>
            <p:spPr bwMode="auto">
              <a:xfrm>
                <a:off x="10496551" y="8515351"/>
                <a:ext cx="133350" cy="1333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42" name="Oval 81">
                <a:extLst>
                  <a:ext uri="{FF2B5EF4-FFF2-40B4-BE49-F238E27FC236}">
                    <a16:creationId xmlns:a16="http://schemas.microsoft.com/office/drawing/2014/main" id="{486FD4DD-88C6-4B6B-8A81-75691EB7C1DB}"/>
                  </a:ext>
                </a:extLst>
              </p:cNvPr>
              <p:cNvSpPr>
                <a:spLocks noChangeArrowheads="1"/>
              </p:cNvSpPr>
              <p:nvPr/>
            </p:nvSpPr>
            <p:spPr bwMode="auto">
              <a:xfrm>
                <a:off x="10123488" y="904398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44" name="Freeform 83">
                <a:extLst>
                  <a:ext uri="{FF2B5EF4-FFF2-40B4-BE49-F238E27FC236}">
                    <a16:creationId xmlns:a16="http://schemas.microsoft.com/office/drawing/2014/main" id="{547A8FC1-01F1-4470-87AC-87034D1706FD}"/>
                  </a:ext>
                </a:extLst>
              </p:cNvPr>
              <p:cNvSpPr>
                <a:spLocks/>
              </p:cNvSpPr>
              <p:nvPr/>
            </p:nvSpPr>
            <p:spPr bwMode="auto">
              <a:xfrm>
                <a:off x="9517063" y="8323263"/>
                <a:ext cx="85725" cy="85725"/>
              </a:xfrm>
              <a:custGeom>
                <a:avLst/>
                <a:gdLst>
                  <a:gd name="T0" fmla="*/ 17 w 40"/>
                  <a:gd name="T1" fmla="*/ 38 h 40"/>
                  <a:gd name="T2" fmla="*/ 2 w 40"/>
                  <a:gd name="T3" fmla="*/ 17 h 40"/>
                  <a:gd name="T4" fmla="*/ 23 w 40"/>
                  <a:gd name="T5" fmla="*/ 2 h 40"/>
                  <a:gd name="T6" fmla="*/ 38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3" y="0"/>
                      <a:pt x="23" y="2"/>
                    </a:cubicBezTo>
                    <a:cubicBezTo>
                      <a:pt x="33" y="4"/>
                      <a:pt x="40" y="13"/>
                      <a:pt x="38" y="23"/>
                    </a:cubicBezTo>
                    <a:cubicBezTo>
                      <a:pt x="36"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45" name="Freeform 84">
                <a:extLst>
                  <a:ext uri="{FF2B5EF4-FFF2-40B4-BE49-F238E27FC236}">
                    <a16:creationId xmlns:a16="http://schemas.microsoft.com/office/drawing/2014/main" id="{8BFAC980-D8B1-4274-B41D-A9BD43E90214}"/>
                  </a:ext>
                </a:extLst>
              </p:cNvPr>
              <p:cNvSpPr>
                <a:spLocks/>
              </p:cNvSpPr>
              <p:nvPr/>
            </p:nvSpPr>
            <p:spPr bwMode="auto">
              <a:xfrm>
                <a:off x="10109201" y="8281988"/>
                <a:ext cx="85725" cy="88900"/>
              </a:xfrm>
              <a:custGeom>
                <a:avLst/>
                <a:gdLst>
                  <a:gd name="T0" fmla="*/ 16 w 40"/>
                  <a:gd name="T1" fmla="*/ 39 h 41"/>
                  <a:gd name="T2" fmla="*/ 1 w 40"/>
                  <a:gd name="T3" fmla="*/ 17 h 41"/>
                  <a:gd name="T4" fmla="*/ 23 w 40"/>
                  <a:gd name="T5" fmla="*/ 2 h 41"/>
                  <a:gd name="T6" fmla="*/ 38 w 40"/>
                  <a:gd name="T7" fmla="*/ 24 h 41"/>
                  <a:gd name="T8" fmla="*/ 16 w 40"/>
                  <a:gd name="T9" fmla="*/ 39 h 41"/>
                </a:gdLst>
                <a:ahLst/>
                <a:cxnLst>
                  <a:cxn ang="0">
                    <a:pos x="T0" y="T1"/>
                  </a:cxn>
                  <a:cxn ang="0">
                    <a:pos x="T2" y="T3"/>
                  </a:cxn>
                  <a:cxn ang="0">
                    <a:pos x="T4" y="T5"/>
                  </a:cxn>
                  <a:cxn ang="0">
                    <a:pos x="T6" y="T7"/>
                  </a:cxn>
                  <a:cxn ang="0">
                    <a:pos x="T8" y="T9"/>
                  </a:cxn>
                </a:cxnLst>
                <a:rect l="0" t="0" r="r" b="b"/>
                <a:pathLst>
                  <a:path w="40" h="41">
                    <a:moveTo>
                      <a:pt x="16" y="39"/>
                    </a:moveTo>
                    <a:cubicBezTo>
                      <a:pt x="6" y="37"/>
                      <a:pt x="0" y="27"/>
                      <a:pt x="1" y="17"/>
                    </a:cubicBezTo>
                    <a:cubicBezTo>
                      <a:pt x="3" y="7"/>
                      <a:pt x="13" y="0"/>
                      <a:pt x="23" y="2"/>
                    </a:cubicBezTo>
                    <a:cubicBezTo>
                      <a:pt x="33" y="4"/>
                      <a:pt x="40" y="14"/>
                      <a:pt x="38" y="24"/>
                    </a:cubicBezTo>
                    <a:cubicBezTo>
                      <a:pt x="36" y="34"/>
                      <a:pt x="26" y="41"/>
                      <a:pt x="16"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46" name="Freeform 85">
                <a:extLst>
                  <a:ext uri="{FF2B5EF4-FFF2-40B4-BE49-F238E27FC236}">
                    <a16:creationId xmlns:a16="http://schemas.microsoft.com/office/drawing/2014/main" id="{2352B2BC-7997-4515-95B2-5C0A1CA3CE34}"/>
                  </a:ext>
                </a:extLst>
              </p:cNvPr>
              <p:cNvSpPr>
                <a:spLocks/>
              </p:cNvSpPr>
              <p:nvPr/>
            </p:nvSpPr>
            <p:spPr bwMode="auto">
              <a:xfrm>
                <a:off x="10545763" y="8174038"/>
                <a:ext cx="85725" cy="85725"/>
              </a:xfrm>
              <a:custGeom>
                <a:avLst/>
                <a:gdLst>
                  <a:gd name="T0" fmla="*/ 17 w 40"/>
                  <a:gd name="T1" fmla="*/ 38 h 40"/>
                  <a:gd name="T2" fmla="*/ 2 w 40"/>
                  <a:gd name="T3" fmla="*/ 17 h 40"/>
                  <a:gd name="T4" fmla="*/ 24 w 40"/>
                  <a:gd name="T5" fmla="*/ 2 h 40"/>
                  <a:gd name="T6" fmla="*/ 39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4" y="0"/>
                      <a:pt x="24" y="2"/>
                    </a:cubicBezTo>
                    <a:cubicBezTo>
                      <a:pt x="34" y="4"/>
                      <a:pt x="40" y="13"/>
                      <a:pt x="39" y="23"/>
                    </a:cubicBezTo>
                    <a:cubicBezTo>
                      <a:pt x="37"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48" name="Freeform 87">
                <a:extLst>
                  <a:ext uri="{FF2B5EF4-FFF2-40B4-BE49-F238E27FC236}">
                    <a16:creationId xmlns:a16="http://schemas.microsoft.com/office/drawing/2014/main" id="{FCB3A8D8-9C4F-4BBA-B2A7-F43918140771}"/>
                  </a:ext>
                </a:extLst>
              </p:cNvPr>
              <p:cNvSpPr>
                <a:spLocks/>
              </p:cNvSpPr>
              <p:nvPr/>
            </p:nvSpPr>
            <p:spPr bwMode="auto">
              <a:xfrm>
                <a:off x="9867901" y="7691438"/>
                <a:ext cx="85725" cy="87313"/>
              </a:xfrm>
              <a:custGeom>
                <a:avLst/>
                <a:gdLst>
                  <a:gd name="T0" fmla="*/ 17 w 40"/>
                  <a:gd name="T1" fmla="*/ 38 h 40"/>
                  <a:gd name="T2" fmla="*/ 2 w 40"/>
                  <a:gd name="T3" fmla="*/ 17 h 40"/>
                  <a:gd name="T4" fmla="*/ 24 w 40"/>
                  <a:gd name="T5" fmla="*/ 2 h 40"/>
                  <a:gd name="T6" fmla="*/ 39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4" y="0"/>
                      <a:pt x="24" y="2"/>
                    </a:cubicBezTo>
                    <a:cubicBezTo>
                      <a:pt x="34" y="4"/>
                      <a:pt x="40" y="13"/>
                      <a:pt x="39" y="23"/>
                    </a:cubicBezTo>
                    <a:cubicBezTo>
                      <a:pt x="37"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50" name="Freeform 89">
                <a:extLst>
                  <a:ext uri="{FF2B5EF4-FFF2-40B4-BE49-F238E27FC236}">
                    <a16:creationId xmlns:a16="http://schemas.microsoft.com/office/drawing/2014/main" id="{8E97F523-4B1F-4244-94A7-8C284EF40F0C}"/>
                  </a:ext>
                </a:extLst>
              </p:cNvPr>
              <p:cNvSpPr>
                <a:spLocks/>
              </p:cNvSpPr>
              <p:nvPr/>
            </p:nvSpPr>
            <p:spPr bwMode="auto">
              <a:xfrm>
                <a:off x="10731501" y="7570788"/>
                <a:ext cx="85725" cy="88900"/>
              </a:xfrm>
              <a:custGeom>
                <a:avLst/>
                <a:gdLst>
                  <a:gd name="T0" fmla="*/ 17 w 40"/>
                  <a:gd name="T1" fmla="*/ 39 h 41"/>
                  <a:gd name="T2" fmla="*/ 2 w 40"/>
                  <a:gd name="T3" fmla="*/ 17 h 41"/>
                  <a:gd name="T4" fmla="*/ 24 w 40"/>
                  <a:gd name="T5" fmla="*/ 2 h 41"/>
                  <a:gd name="T6" fmla="*/ 39 w 40"/>
                  <a:gd name="T7" fmla="*/ 24 h 41"/>
                  <a:gd name="T8" fmla="*/ 17 w 40"/>
                  <a:gd name="T9" fmla="*/ 39 h 41"/>
                </a:gdLst>
                <a:ahLst/>
                <a:cxnLst>
                  <a:cxn ang="0">
                    <a:pos x="T0" y="T1"/>
                  </a:cxn>
                  <a:cxn ang="0">
                    <a:pos x="T2" y="T3"/>
                  </a:cxn>
                  <a:cxn ang="0">
                    <a:pos x="T4" y="T5"/>
                  </a:cxn>
                  <a:cxn ang="0">
                    <a:pos x="T6" y="T7"/>
                  </a:cxn>
                  <a:cxn ang="0">
                    <a:pos x="T8" y="T9"/>
                  </a:cxn>
                </a:cxnLst>
                <a:rect l="0" t="0" r="r" b="b"/>
                <a:pathLst>
                  <a:path w="40" h="41">
                    <a:moveTo>
                      <a:pt x="17" y="39"/>
                    </a:moveTo>
                    <a:cubicBezTo>
                      <a:pt x="7" y="37"/>
                      <a:pt x="0" y="27"/>
                      <a:pt x="2" y="17"/>
                    </a:cubicBezTo>
                    <a:cubicBezTo>
                      <a:pt x="4" y="7"/>
                      <a:pt x="14" y="0"/>
                      <a:pt x="24" y="2"/>
                    </a:cubicBezTo>
                    <a:cubicBezTo>
                      <a:pt x="34" y="4"/>
                      <a:pt x="40" y="14"/>
                      <a:pt x="39" y="24"/>
                    </a:cubicBezTo>
                    <a:cubicBezTo>
                      <a:pt x="37" y="34"/>
                      <a:pt x="27" y="41"/>
                      <a:pt x="1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51" name="Freeform 90">
                <a:extLst>
                  <a:ext uri="{FF2B5EF4-FFF2-40B4-BE49-F238E27FC236}">
                    <a16:creationId xmlns:a16="http://schemas.microsoft.com/office/drawing/2014/main" id="{5080C7CA-A257-4587-8773-5BB87B462B46}"/>
                  </a:ext>
                </a:extLst>
              </p:cNvPr>
              <p:cNvSpPr>
                <a:spLocks noEditPoints="1"/>
              </p:cNvSpPr>
              <p:nvPr/>
            </p:nvSpPr>
            <p:spPr bwMode="auto">
              <a:xfrm>
                <a:off x="6764338" y="5513388"/>
                <a:ext cx="3805238" cy="3914775"/>
              </a:xfrm>
              <a:custGeom>
                <a:avLst/>
                <a:gdLst>
                  <a:gd name="T0" fmla="*/ 424 w 2397"/>
                  <a:gd name="T1" fmla="*/ 2129 h 2466"/>
                  <a:gd name="T2" fmla="*/ 1034 w 2397"/>
                  <a:gd name="T3" fmla="*/ 1921 h 2466"/>
                  <a:gd name="T4" fmla="*/ 254 w 2397"/>
                  <a:gd name="T5" fmla="*/ 2017 h 2466"/>
                  <a:gd name="T6" fmla="*/ 680 w 2397"/>
                  <a:gd name="T7" fmla="*/ 1604 h 2466"/>
                  <a:gd name="T8" fmla="*/ 156 w 2397"/>
                  <a:gd name="T9" fmla="*/ 1515 h 2466"/>
                  <a:gd name="T10" fmla="*/ 14 w 2397"/>
                  <a:gd name="T11" fmla="*/ 1447 h 2466"/>
                  <a:gd name="T12" fmla="*/ 110 w 2397"/>
                  <a:gd name="T13" fmla="*/ 861 h 2466"/>
                  <a:gd name="T14" fmla="*/ 216 w 2397"/>
                  <a:gd name="T15" fmla="*/ 664 h 2466"/>
                  <a:gd name="T16" fmla="*/ 792 w 2397"/>
                  <a:gd name="T17" fmla="*/ 1167 h 2466"/>
                  <a:gd name="T18" fmla="*/ 1597 w 2397"/>
                  <a:gd name="T19" fmla="*/ 663 h 2466"/>
                  <a:gd name="T20" fmla="*/ 1609 w 2397"/>
                  <a:gd name="T21" fmla="*/ 34 h 2466"/>
                  <a:gd name="T22" fmla="*/ 1056 w 2397"/>
                  <a:gd name="T23" fmla="*/ 0 h 2466"/>
                  <a:gd name="T24" fmla="*/ 1050 w 2397"/>
                  <a:gd name="T25" fmla="*/ 12 h 2466"/>
                  <a:gd name="T26" fmla="*/ 1609 w 2397"/>
                  <a:gd name="T27" fmla="*/ 29 h 2466"/>
                  <a:gd name="T28" fmla="*/ 1868 w 2397"/>
                  <a:gd name="T29" fmla="*/ 390 h 2466"/>
                  <a:gd name="T30" fmla="*/ 1869 w 2397"/>
                  <a:gd name="T31" fmla="*/ 397 h 2466"/>
                  <a:gd name="T32" fmla="*/ 1830 w 2397"/>
                  <a:gd name="T33" fmla="*/ 1832 h 2466"/>
                  <a:gd name="T34" fmla="*/ 2397 w 2397"/>
                  <a:gd name="T35" fmla="*/ 1933 h 2466"/>
                  <a:gd name="T36" fmla="*/ 1830 w 2397"/>
                  <a:gd name="T37" fmla="*/ 1838 h 2466"/>
                  <a:gd name="T38" fmla="*/ 2389 w 2397"/>
                  <a:gd name="T39" fmla="*/ 1934 h 2466"/>
                  <a:gd name="T40" fmla="*/ 402 w 2397"/>
                  <a:gd name="T41" fmla="*/ 2061 h 2466"/>
                  <a:gd name="T42" fmla="*/ 1852 w 2397"/>
                  <a:gd name="T43" fmla="*/ 633 h 2466"/>
                  <a:gd name="T44" fmla="*/ 1559 w 2397"/>
                  <a:gd name="T45" fmla="*/ 1413 h 2466"/>
                  <a:gd name="T46" fmla="*/ 1110 w 2397"/>
                  <a:gd name="T47" fmla="*/ 1504 h 2466"/>
                  <a:gd name="T48" fmla="*/ 674 w 2397"/>
                  <a:gd name="T49" fmla="*/ 2039 h 2466"/>
                  <a:gd name="T50" fmla="*/ 676 w 2397"/>
                  <a:gd name="T51" fmla="*/ 1615 h 2466"/>
                  <a:gd name="T52" fmla="*/ 821 w 2397"/>
                  <a:gd name="T53" fmla="*/ 1596 h 2466"/>
                  <a:gd name="T54" fmla="*/ 36 w 2397"/>
                  <a:gd name="T55" fmla="*/ 1503 h 2466"/>
                  <a:gd name="T56" fmla="*/ 197 w 2397"/>
                  <a:gd name="T57" fmla="*/ 1198 h 2466"/>
                  <a:gd name="T58" fmla="*/ 125 w 2397"/>
                  <a:gd name="T59" fmla="*/ 1168 h 2466"/>
                  <a:gd name="T60" fmla="*/ 202 w 2397"/>
                  <a:gd name="T61" fmla="*/ 1194 h 2466"/>
                  <a:gd name="T62" fmla="*/ 765 w 2397"/>
                  <a:gd name="T63" fmla="*/ 1510 h 2466"/>
                  <a:gd name="T64" fmla="*/ 116 w 2397"/>
                  <a:gd name="T65" fmla="*/ 861 h 2466"/>
                  <a:gd name="T66" fmla="*/ 231 w 2397"/>
                  <a:gd name="T67" fmla="*/ 964 h 2466"/>
                  <a:gd name="T68" fmla="*/ 778 w 2397"/>
                  <a:gd name="T69" fmla="*/ 1519 h 2466"/>
                  <a:gd name="T70" fmla="*/ 959 w 2397"/>
                  <a:gd name="T71" fmla="*/ 1349 h 2466"/>
                  <a:gd name="T72" fmla="*/ 691 w 2397"/>
                  <a:gd name="T73" fmla="*/ 1593 h 2466"/>
                  <a:gd name="T74" fmla="*/ 772 w 2397"/>
                  <a:gd name="T75" fmla="*/ 1510 h 2466"/>
                  <a:gd name="T76" fmla="*/ 944 w 2397"/>
                  <a:gd name="T77" fmla="*/ 1333 h 2466"/>
                  <a:gd name="T78" fmla="*/ 1559 w 2397"/>
                  <a:gd name="T79" fmla="*/ 1406 h 2466"/>
                  <a:gd name="T80" fmla="*/ 1600 w 2397"/>
                  <a:gd name="T81" fmla="*/ 668 h 2466"/>
                  <a:gd name="T82" fmla="*/ 961 w 2397"/>
                  <a:gd name="T83" fmla="*/ 1343 h 2466"/>
                  <a:gd name="T84" fmla="*/ 140 w 2397"/>
                  <a:gd name="T85" fmla="*/ 1345 h 2466"/>
                  <a:gd name="T86" fmla="*/ 544 w 2397"/>
                  <a:gd name="T87" fmla="*/ 860 h 2466"/>
                  <a:gd name="T88" fmla="*/ 1247 w 2397"/>
                  <a:gd name="T89" fmla="*/ 1015 h 2466"/>
                  <a:gd name="T90" fmla="*/ 183 w 2397"/>
                  <a:gd name="T91" fmla="*/ 1186 h 2466"/>
                  <a:gd name="T92" fmla="*/ 183 w 2397"/>
                  <a:gd name="T93" fmla="*/ 1186 h 2466"/>
                  <a:gd name="T94" fmla="*/ 1852 w 2397"/>
                  <a:gd name="T95" fmla="*/ 616 h 2466"/>
                  <a:gd name="T96" fmla="*/ 1872 w 2397"/>
                  <a:gd name="T97" fmla="*/ 612 h 2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97" h="2466">
                    <a:moveTo>
                      <a:pt x="1811" y="2466"/>
                    </a:moveTo>
                    <a:lnTo>
                      <a:pt x="1825" y="1838"/>
                    </a:lnTo>
                    <a:lnTo>
                      <a:pt x="424" y="2129"/>
                    </a:lnTo>
                    <a:lnTo>
                      <a:pt x="394" y="2057"/>
                    </a:lnTo>
                    <a:lnTo>
                      <a:pt x="673" y="2034"/>
                    </a:lnTo>
                    <a:lnTo>
                      <a:pt x="1034" y="1921"/>
                    </a:lnTo>
                    <a:lnTo>
                      <a:pt x="824" y="1600"/>
                    </a:lnTo>
                    <a:lnTo>
                      <a:pt x="664" y="1654"/>
                    </a:lnTo>
                    <a:lnTo>
                      <a:pt x="254" y="2017"/>
                    </a:lnTo>
                    <a:lnTo>
                      <a:pt x="250" y="2013"/>
                    </a:lnTo>
                    <a:lnTo>
                      <a:pt x="672" y="1611"/>
                    </a:lnTo>
                    <a:lnTo>
                      <a:pt x="680" y="1604"/>
                    </a:lnTo>
                    <a:lnTo>
                      <a:pt x="398" y="1281"/>
                    </a:lnTo>
                    <a:lnTo>
                      <a:pt x="202" y="1200"/>
                    </a:lnTo>
                    <a:lnTo>
                      <a:pt x="156" y="1515"/>
                    </a:lnTo>
                    <a:lnTo>
                      <a:pt x="107" y="1806"/>
                    </a:lnTo>
                    <a:lnTo>
                      <a:pt x="30" y="1504"/>
                    </a:lnTo>
                    <a:lnTo>
                      <a:pt x="14" y="1447"/>
                    </a:lnTo>
                    <a:lnTo>
                      <a:pt x="0" y="1110"/>
                    </a:lnTo>
                    <a:lnTo>
                      <a:pt x="125" y="1162"/>
                    </a:lnTo>
                    <a:lnTo>
                      <a:pt x="110" y="861"/>
                    </a:lnTo>
                    <a:lnTo>
                      <a:pt x="106" y="735"/>
                    </a:lnTo>
                    <a:lnTo>
                      <a:pt x="215" y="661"/>
                    </a:lnTo>
                    <a:lnTo>
                      <a:pt x="216" y="664"/>
                    </a:lnTo>
                    <a:lnTo>
                      <a:pt x="769" y="1506"/>
                    </a:lnTo>
                    <a:lnTo>
                      <a:pt x="940" y="1329"/>
                    </a:lnTo>
                    <a:lnTo>
                      <a:pt x="792" y="1167"/>
                    </a:lnTo>
                    <a:lnTo>
                      <a:pt x="535" y="856"/>
                    </a:lnTo>
                    <a:lnTo>
                      <a:pt x="539" y="856"/>
                    </a:lnTo>
                    <a:lnTo>
                      <a:pt x="1597" y="663"/>
                    </a:lnTo>
                    <a:lnTo>
                      <a:pt x="1864" y="396"/>
                    </a:lnTo>
                    <a:lnTo>
                      <a:pt x="1852" y="120"/>
                    </a:lnTo>
                    <a:lnTo>
                      <a:pt x="1609" y="34"/>
                    </a:lnTo>
                    <a:lnTo>
                      <a:pt x="1312" y="98"/>
                    </a:lnTo>
                    <a:lnTo>
                      <a:pt x="848" y="185"/>
                    </a:lnTo>
                    <a:lnTo>
                      <a:pt x="1056" y="0"/>
                    </a:lnTo>
                    <a:lnTo>
                      <a:pt x="1056" y="67"/>
                    </a:lnTo>
                    <a:lnTo>
                      <a:pt x="1050" y="67"/>
                    </a:lnTo>
                    <a:lnTo>
                      <a:pt x="1050" y="12"/>
                    </a:lnTo>
                    <a:lnTo>
                      <a:pt x="866" y="177"/>
                    </a:lnTo>
                    <a:lnTo>
                      <a:pt x="1311" y="94"/>
                    </a:lnTo>
                    <a:lnTo>
                      <a:pt x="1609" y="29"/>
                    </a:lnTo>
                    <a:lnTo>
                      <a:pt x="1857" y="116"/>
                    </a:lnTo>
                    <a:lnTo>
                      <a:pt x="1857" y="117"/>
                    </a:lnTo>
                    <a:lnTo>
                      <a:pt x="1868" y="390"/>
                    </a:lnTo>
                    <a:lnTo>
                      <a:pt x="1899" y="361"/>
                    </a:lnTo>
                    <a:lnTo>
                      <a:pt x="1903" y="363"/>
                    </a:lnTo>
                    <a:lnTo>
                      <a:pt x="1869" y="397"/>
                    </a:lnTo>
                    <a:lnTo>
                      <a:pt x="1878" y="616"/>
                    </a:lnTo>
                    <a:lnTo>
                      <a:pt x="1857" y="620"/>
                    </a:lnTo>
                    <a:lnTo>
                      <a:pt x="1830" y="1832"/>
                    </a:lnTo>
                    <a:lnTo>
                      <a:pt x="2134" y="1768"/>
                    </a:lnTo>
                    <a:lnTo>
                      <a:pt x="2135" y="1770"/>
                    </a:lnTo>
                    <a:lnTo>
                      <a:pt x="2397" y="1933"/>
                    </a:lnTo>
                    <a:lnTo>
                      <a:pt x="2135" y="2243"/>
                    </a:lnTo>
                    <a:lnTo>
                      <a:pt x="1811" y="2466"/>
                    </a:lnTo>
                    <a:close/>
                    <a:moveTo>
                      <a:pt x="1830" y="1838"/>
                    </a:moveTo>
                    <a:lnTo>
                      <a:pt x="1817" y="2455"/>
                    </a:lnTo>
                    <a:lnTo>
                      <a:pt x="2131" y="2239"/>
                    </a:lnTo>
                    <a:lnTo>
                      <a:pt x="2389" y="1934"/>
                    </a:lnTo>
                    <a:lnTo>
                      <a:pt x="2133" y="1775"/>
                    </a:lnTo>
                    <a:lnTo>
                      <a:pt x="1830" y="1838"/>
                    </a:lnTo>
                    <a:close/>
                    <a:moveTo>
                      <a:pt x="402" y="2061"/>
                    </a:moveTo>
                    <a:lnTo>
                      <a:pt x="428" y="2122"/>
                    </a:lnTo>
                    <a:lnTo>
                      <a:pt x="1825" y="1832"/>
                    </a:lnTo>
                    <a:lnTo>
                      <a:pt x="1852" y="633"/>
                    </a:lnTo>
                    <a:lnTo>
                      <a:pt x="1731" y="997"/>
                    </a:lnTo>
                    <a:lnTo>
                      <a:pt x="1562" y="1416"/>
                    </a:lnTo>
                    <a:lnTo>
                      <a:pt x="1559" y="1413"/>
                    </a:lnTo>
                    <a:lnTo>
                      <a:pt x="1221" y="1106"/>
                    </a:lnTo>
                    <a:lnTo>
                      <a:pt x="963" y="1347"/>
                    </a:lnTo>
                    <a:lnTo>
                      <a:pt x="1110" y="1504"/>
                    </a:lnTo>
                    <a:lnTo>
                      <a:pt x="829" y="1598"/>
                    </a:lnTo>
                    <a:lnTo>
                      <a:pt x="1043" y="1923"/>
                    </a:lnTo>
                    <a:lnTo>
                      <a:pt x="674" y="2039"/>
                    </a:lnTo>
                    <a:lnTo>
                      <a:pt x="402" y="2061"/>
                    </a:lnTo>
                    <a:close/>
                    <a:moveTo>
                      <a:pt x="773" y="1523"/>
                    </a:moveTo>
                    <a:lnTo>
                      <a:pt x="676" y="1615"/>
                    </a:lnTo>
                    <a:lnTo>
                      <a:pt x="364" y="1912"/>
                    </a:lnTo>
                    <a:lnTo>
                      <a:pt x="661" y="1649"/>
                    </a:lnTo>
                    <a:lnTo>
                      <a:pt x="821" y="1596"/>
                    </a:lnTo>
                    <a:lnTo>
                      <a:pt x="773" y="1523"/>
                    </a:lnTo>
                    <a:close/>
                    <a:moveTo>
                      <a:pt x="19" y="1447"/>
                    </a:moveTo>
                    <a:lnTo>
                      <a:pt x="36" y="1503"/>
                    </a:lnTo>
                    <a:lnTo>
                      <a:pt x="106" y="1781"/>
                    </a:lnTo>
                    <a:lnTo>
                      <a:pt x="151" y="1514"/>
                    </a:lnTo>
                    <a:lnTo>
                      <a:pt x="197" y="1198"/>
                    </a:lnTo>
                    <a:lnTo>
                      <a:pt x="182" y="1192"/>
                    </a:lnTo>
                    <a:lnTo>
                      <a:pt x="136" y="1383"/>
                    </a:lnTo>
                    <a:lnTo>
                      <a:pt x="125" y="1168"/>
                    </a:lnTo>
                    <a:lnTo>
                      <a:pt x="6" y="1118"/>
                    </a:lnTo>
                    <a:lnTo>
                      <a:pt x="19" y="1447"/>
                    </a:lnTo>
                    <a:close/>
                    <a:moveTo>
                      <a:pt x="202" y="1194"/>
                    </a:moveTo>
                    <a:lnTo>
                      <a:pt x="402" y="1276"/>
                    </a:lnTo>
                    <a:lnTo>
                      <a:pt x="681" y="1596"/>
                    </a:lnTo>
                    <a:lnTo>
                      <a:pt x="765" y="1510"/>
                    </a:lnTo>
                    <a:lnTo>
                      <a:pt x="213" y="669"/>
                    </a:lnTo>
                    <a:lnTo>
                      <a:pt x="112" y="737"/>
                    </a:lnTo>
                    <a:lnTo>
                      <a:pt x="116" y="861"/>
                    </a:lnTo>
                    <a:lnTo>
                      <a:pt x="131" y="1164"/>
                    </a:lnTo>
                    <a:lnTo>
                      <a:pt x="178" y="1183"/>
                    </a:lnTo>
                    <a:lnTo>
                      <a:pt x="231" y="964"/>
                    </a:lnTo>
                    <a:lnTo>
                      <a:pt x="236" y="964"/>
                    </a:lnTo>
                    <a:lnTo>
                      <a:pt x="202" y="1194"/>
                    </a:lnTo>
                    <a:close/>
                    <a:moveTo>
                      <a:pt x="778" y="1519"/>
                    </a:moveTo>
                    <a:lnTo>
                      <a:pt x="826" y="1593"/>
                    </a:lnTo>
                    <a:lnTo>
                      <a:pt x="1099" y="1502"/>
                    </a:lnTo>
                    <a:lnTo>
                      <a:pt x="959" y="1349"/>
                    </a:lnTo>
                    <a:lnTo>
                      <a:pt x="778" y="1519"/>
                    </a:lnTo>
                    <a:close/>
                    <a:moveTo>
                      <a:pt x="768" y="1514"/>
                    </a:moveTo>
                    <a:lnTo>
                      <a:pt x="691" y="1593"/>
                    </a:lnTo>
                    <a:lnTo>
                      <a:pt x="771" y="1518"/>
                    </a:lnTo>
                    <a:lnTo>
                      <a:pt x="768" y="1514"/>
                    </a:lnTo>
                    <a:close/>
                    <a:moveTo>
                      <a:pt x="772" y="1510"/>
                    </a:moveTo>
                    <a:lnTo>
                      <a:pt x="775" y="1515"/>
                    </a:lnTo>
                    <a:lnTo>
                      <a:pt x="957" y="1345"/>
                    </a:lnTo>
                    <a:lnTo>
                      <a:pt x="944" y="1333"/>
                    </a:lnTo>
                    <a:lnTo>
                      <a:pt x="772" y="1510"/>
                    </a:lnTo>
                    <a:close/>
                    <a:moveTo>
                      <a:pt x="1221" y="1098"/>
                    </a:moveTo>
                    <a:lnTo>
                      <a:pt x="1559" y="1406"/>
                    </a:lnTo>
                    <a:lnTo>
                      <a:pt x="1727" y="994"/>
                    </a:lnTo>
                    <a:lnTo>
                      <a:pt x="1849" y="622"/>
                    </a:lnTo>
                    <a:lnTo>
                      <a:pt x="1600" y="668"/>
                    </a:lnTo>
                    <a:lnTo>
                      <a:pt x="1250" y="1019"/>
                    </a:lnTo>
                    <a:lnTo>
                      <a:pt x="948" y="1329"/>
                    </a:lnTo>
                    <a:lnTo>
                      <a:pt x="961" y="1343"/>
                    </a:lnTo>
                    <a:lnTo>
                      <a:pt x="1221" y="1098"/>
                    </a:lnTo>
                    <a:close/>
                    <a:moveTo>
                      <a:pt x="131" y="1170"/>
                    </a:moveTo>
                    <a:lnTo>
                      <a:pt x="140" y="1345"/>
                    </a:lnTo>
                    <a:lnTo>
                      <a:pt x="177" y="1189"/>
                    </a:lnTo>
                    <a:lnTo>
                      <a:pt x="131" y="1170"/>
                    </a:lnTo>
                    <a:close/>
                    <a:moveTo>
                      <a:pt x="544" y="860"/>
                    </a:moveTo>
                    <a:lnTo>
                      <a:pt x="797" y="1164"/>
                    </a:lnTo>
                    <a:lnTo>
                      <a:pt x="944" y="1325"/>
                    </a:lnTo>
                    <a:lnTo>
                      <a:pt x="1247" y="1015"/>
                    </a:lnTo>
                    <a:lnTo>
                      <a:pt x="1590" y="669"/>
                    </a:lnTo>
                    <a:lnTo>
                      <a:pt x="544" y="860"/>
                    </a:lnTo>
                    <a:close/>
                    <a:moveTo>
                      <a:pt x="183" y="1186"/>
                    </a:moveTo>
                    <a:lnTo>
                      <a:pt x="198" y="1192"/>
                    </a:lnTo>
                    <a:lnTo>
                      <a:pt x="223" y="1023"/>
                    </a:lnTo>
                    <a:lnTo>
                      <a:pt x="183" y="1186"/>
                    </a:lnTo>
                    <a:close/>
                    <a:moveTo>
                      <a:pt x="1864" y="403"/>
                    </a:moveTo>
                    <a:lnTo>
                      <a:pt x="1606" y="661"/>
                    </a:lnTo>
                    <a:lnTo>
                      <a:pt x="1852" y="616"/>
                    </a:lnTo>
                    <a:lnTo>
                      <a:pt x="1859" y="597"/>
                    </a:lnTo>
                    <a:lnTo>
                      <a:pt x="1857" y="615"/>
                    </a:lnTo>
                    <a:lnTo>
                      <a:pt x="1872" y="612"/>
                    </a:lnTo>
                    <a:lnTo>
                      <a:pt x="1864" y="4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52" name="Freeform 91">
                <a:extLst>
                  <a:ext uri="{FF2B5EF4-FFF2-40B4-BE49-F238E27FC236}">
                    <a16:creationId xmlns:a16="http://schemas.microsoft.com/office/drawing/2014/main" id="{88E73EEC-1E7A-4CCD-84C1-5DC6B1A6A5CB}"/>
                  </a:ext>
                </a:extLst>
              </p:cNvPr>
              <p:cNvSpPr>
                <a:spLocks noEditPoints="1"/>
              </p:cNvSpPr>
              <p:nvPr/>
            </p:nvSpPr>
            <p:spPr bwMode="auto">
              <a:xfrm>
                <a:off x="7229476" y="5584826"/>
                <a:ext cx="3579813" cy="2747963"/>
              </a:xfrm>
              <a:custGeom>
                <a:avLst/>
                <a:gdLst>
                  <a:gd name="T0" fmla="*/ 1823 w 2255"/>
                  <a:gd name="T1" fmla="*/ 1731 h 1731"/>
                  <a:gd name="T2" fmla="*/ 1681 w 2255"/>
                  <a:gd name="T3" fmla="*/ 1647 h 1731"/>
                  <a:gd name="T4" fmla="*/ 1091 w 2255"/>
                  <a:gd name="T5" fmla="*/ 1727 h 1731"/>
                  <a:gd name="T6" fmla="*/ 1090 w 2255"/>
                  <a:gd name="T7" fmla="*/ 1727 h 1731"/>
                  <a:gd name="T8" fmla="*/ 806 w 2255"/>
                  <a:gd name="T9" fmla="*/ 1458 h 1731"/>
                  <a:gd name="T10" fmla="*/ 810 w 2255"/>
                  <a:gd name="T11" fmla="*/ 1455 h 1731"/>
                  <a:gd name="T12" fmla="*/ 1152 w 2255"/>
                  <a:gd name="T13" fmla="*/ 1333 h 1731"/>
                  <a:gd name="T14" fmla="*/ 0 w 2255"/>
                  <a:gd name="T15" fmla="*/ 649 h 1731"/>
                  <a:gd name="T16" fmla="*/ 215 w 2255"/>
                  <a:gd name="T17" fmla="*/ 359 h 1731"/>
                  <a:gd name="T18" fmla="*/ 186 w 2255"/>
                  <a:gd name="T19" fmla="*/ 320 h 1731"/>
                  <a:gd name="T20" fmla="*/ 186 w 2255"/>
                  <a:gd name="T21" fmla="*/ 318 h 1731"/>
                  <a:gd name="T22" fmla="*/ 357 w 2255"/>
                  <a:gd name="T23" fmla="*/ 102 h 1731"/>
                  <a:gd name="T24" fmla="*/ 357 w 2255"/>
                  <a:gd name="T25" fmla="*/ 102 h 1731"/>
                  <a:gd name="T26" fmla="*/ 571 w 2255"/>
                  <a:gd name="T27" fmla="*/ 0 h 1731"/>
                  <a:gd name="T28" fmla="*/ 573 w 2255"/>
                  <a:gd name="T29" fmla="*/ 0 h 1731"/>
                  <a:gd name="T30" fmla="*/ 1279 w 2255"/>
                  <a:gd name="T31" fmla="*/ 267 h 1731"/>
                  <a:gd name="T32" fmla="*/ 830 w 2255"/>
                  <a:gd name="T33" fmla="*/ 298 h 1731"/>
                  <a:gd name="T34" fmla="*/ 830 w 2255"/>
                  <a:gd name="T35" fmla="*/ 292 h 1731"/>
                  <a:gd name="T36" fmla="*/ 1255 w 2255"/>
                  <a:gd name="T37" fmla="*/ 263 h 1731"/>
                  <a:gd name="T38" fmla="*/ 573 w 2255"/>
                  <a:gd name="T39" fmla="*/ 5 h 1731"/>
                  <a:gd name="T40" fmla="*/ 360 w 2255"/>
                  <a:gd name="T41" fmla="*/ 106 h 1731"/>
                  <a:gd name="T42" fmla="*/ 193 w 2255"/>
                  <a:gd name="T43" fmla="*/ 320 h 1731"/>
                  <a:gd name="T44" fmla="*/ 221 w 2255"/>
                  <a:gd name="T45" fmla="*/ 359 h 1731"/>
                  <a:gd name="T46" fmla="*/ 8 w 2255"/>
                  <a:gd name="T47" fmla="*/ 647 h 1731"/>
                  <a:gd name="T48" fmla="*/ 1159 w 2255"/>
                  <a:gd name="T49" fmla="*/ 1330 h 1731"/>
                  <a:gd name="T50" fmla="*/ 1811 w 2255"/>
                  <a:gd name="T51" fmla="*/ 1094 h 1731"/>
                  <a:gd name="T52" fmla="*/ 2078 w 2255"/>
                  <a:gd name="T53" fmla="*/ 533 h 1731"/>
                  <a:gd name="T54" fmla="*/ 2255 w 2255"/>
                  <a:gd name="T55" fmla="*/ 939 h 1731"/>
                  <a:gd name="T56" fmla="*/ 2252 w 2255"/>
                  <a:gd name="T57" fmla="*/ 940 h 1731"/>
                  <a:gd name="T58" fmla="*/ 1815 w 2255"/>
                  <a:gd name="T59" fmla="*/ 1098 h 1731"/>
                  <a:gd name="T60" fmla="*/ 1692 w 2255"/>
                  <a:gd name="T61" fmla="*/ 1357 h 1731"/>
                  <a:gd name="T62" fmla="*/ 1292 w 2255"/>
                  <a:gd name="T63" fmla="*/ 1385 h 1731"/>
                  <a:gd name="T64" fmla="*/ 1292 w 2255"/>
                  <a:gd name="T65" fmla="*/ 1379 h 1731"/>
                  <a:gd name="T66" fmla="*/ 1688 w 2255"/>
                  <a:gd name="T67" fmla="*/ 1352 h 1731"/>
                  <a:gd name="T68" fmla="*/ 1808 w 2255"/>
                  <a:gd name="T69" fmla="*/ 1100 h 1731"/>
                  <a:gd name="T70" fmla="*/ 1164 w 2255"/>
                  <a:gd name="T71" fmla="*/ 1333 h 1731"/>
                  <a:gd name="T72" fmla="*/ 1682 w 2255"/>
                  <a:gd name="T73" fmla="*/ 1640 h 1731"/>
                  <a:gd name="T74" fmla="*/ 2244 w 2255"/>
                  <a:gd name="T75" fmla="*/ 1564 h 1731"/>
                  <a:gd name="T76" fmla="*/ 2118 w 2255"/>
                  <a:gd name="T77" fmla="*/ 1661 h 1731"/>
                  <a:gd name="T78" fmla="*/ 1823 w 2255"/>
                  <a:gd name="T79" fmla="*/ 1731 h 1731"/>
                  <a:gd name="T80" fmla="*/ 1689 w 2255"/>
                  <a:gd name="T81" fmla="*/ 1646 h 1731"/>
                  <a:gd name="T82" fmla="*/ 1823 w 2255"/>
                  <a:gd name="T83" fmla="*/ 1726 h 1731"/>
                  <a:gd name="T84" fmla="*/ 2115 w 2255"/>
                  <a:gd name="T85" fmla="*/ 1655 h 1731"/>
                  <a:gd name="T86" fmla="*/ 2223 w 2255"/>
                  <a:gd name="T87" fmla="*/ 1572 h 1731"/>
                  <a:gd name="T88" fmla="*/ 1689 w 2255"/>
                  <a:gd name="T89" fmla="*/ 1646 h 1731"/>
                  <a:gd name="T90" fmla="*/ 817 w 2255"/>
                  <a:gd name="T91" fmla="*/ 1459 h 1731"/>
                  <a:gd name="T92" fmla="*/ 1092 w 2255"/>
                  <a:gd name="T93" fmla="*/ 1722 h 1731"/>
                  <a:gd name="T94" fmla="*/ 1673 w 2255"/>
                  <a:gd name="T95" fmla="*/ 1642 h 1731"/>
                  <a:gd name="T96" fmla="*/ 1157 w 2255"/>
                  <a:gd name="T97" fmla="*/ 1336 h 1731"/>
                  <a:gd name="T98" fmla="*/ 817 w 2255"/>
                  <a:gd name="T99" fmla="*/ 1459 h 1731"/>
                  <a:gd name="T100" fmla="*/ 2078 w 2255"/>
                  <a:gd name="T101" fmla="*/ 547 h 1731"/>
                  <a:gd name="T102" fmla="*/ 1819 w 2255"/>
                  <a:gd name="T103" fmla="*/ 1091 h 1731"/>
                  <a:gd name="T104" fmla="*/ 2247 w 2255"/>
                  <a:gd name="T105" fmla="*/ 936 h 1731"/>
                  <a:gd name="T106" fmla="*/ 2078 w 2255"/>
                  <a:gd name="T107" fmla="*/ 547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55" h="1731">
                    <a:moveTo>
                      <a:pt x="1823" y="1731"/>
                    </a:moveTo>
                    <a:lnTo>
                      <a:pt x="1681" y="1647"/>
                    </a:lnTo>
                    <a:lnTo>
                      <a:pt x="1091" y="1727"/>
                    </a:lnTo>
                    <a:lnTo>
                      <a:pt x="1090" y="1727"/>
                    </a:lnTo>
                    <a:lnTo>
                      <a:pt x="806" y="1458"/>
                    </a:lnTo>
                    <a:lnTo>
                      <a:pt x="810" y="1455"/>
                    </a:lnTo>
                    <a:lnTo>
                      <a:pt x="1152" y="1333"/>
                    </a:lnTo>
                    <a:lnTo>
                      <a:pt x="0" y="649"/>
                    </a:lnTo>
                    <a:lnTo>
                      <a:pt x="215" y="359"/>
                    </a:lnTo>
                    <a:lnTo>
                      <a:pt x="186" y="320"/>
                    </a:lnTo>
                    <a:lnTo>
                      <a:pt x="186" y="318"/>
                    </a:lnTo>
                    <a:lnTo>
                      <a:pt x="357" y="102"/>
                    </a:lnTo>
                    <a:lnTo>
                      <a:pt x="357" y="102"/>
                    </a:lnTo>
                    <a:lnTo>
                      <a:pt x="571" y="0"/>
                    </a:lnTo>
                    <a:lnTo>
                      <a:pt x="573" y="0"/>
                    </a:lnTo>
                    <a:lnTo>
                      <a:pt x="1279" y="267"/>
                    </a:lnTo>
                    <a:lnTo>
                      <a:pt x="830" y="298"/>
                    </a:lnTo>
                    <a:lnTo>
                      <a:pt x="830" y="292"/>
                    </a:lnTo>
                    <a:lnTo>
                      <a:pt x="1255" y="263"/>
                    </a:lnTo>
                    <a:lnTo>
                      <a:pt x="573" y="5"/>
                    </a:lnTo>
                    <a:lnTo>
                      <a:pt x="360" y="106"/>
                    </a:lnTo>
                    <a:lnTo>
                      <a:pt x="193" y="320"/>
                    </a:lnTo>
                    <a:lnTo>
                      <a:pt x="221" y="359"/>
                    </a:lnTo>
                    <a:lnTo>
                      <a:pt x="8" y="647"/>
                    </a:lnTo>
                    <a:lnTo>
                      <a:pt x="1159" y="1330"/>
                    </a:lnTo>
                    <a:lnTo>
                      <a:pt x="1811" y="1094"/>
                    </a:lnTo>
                    <a:lnTo>
                      <a:pt x="2078" y="533"/>
                    </a:lnTo>
                    <a:lnTo>
                      <a:pt x="2255" y="939"/>
                    </a:lnTo>
                    <a:lnTo>
                      <a:pt x="2252" y="940"/>
                    </a:lnTo>
                    <a:lnTo>
                      <a:pt x="1815" y="1098"/>
                    </a:lnTo>
                    <a:lnTo>
                      <a:pt x="1692" y="1357"/>
                    </a:lnTo>
                    <a:lnTo>
                      <a:pt x="1292" y="1385"/>
                    </a:lnTo>
                    <a:lnTo>
                      <a:pt x="1292" y="1379"/>
                    </a:lnTo>
                    <a:lnTo>
                      <a:pt x="1688" y="1352"/>
                    </a:lnTo>
                    <a:lnTo>
                      <a:pt x="1808" y="1100"/>
                    </a:lnTo>
                    <a:lnTo>
                      <a:pt x="1164" y="1333"/>
                    </a:lnTo>
                    <a:lnTo>
                      <a:pt x="1682" y="1640"/>
                    </a:lnTo>
                    <a:lnTo>
                      <a:pt x="2244" y="1564"/>
                    </a:lnTo>
                    <a:lnTo>
                      <a:pt x="2118" y="1661"/>
                    </a:lnTo>
                    <a:lnTo>
                      <a:pt x="1823" y="1731"/>
                    </a:lnTo>
                    <a:close/>
                    <a:moveTo>
                      <a:pt x="1689" y="1646"/>
                    </a:moveTo>
                    <a:lnTo>
                      <a:pt x="1823" y="1726"/>
                    </a:lnTo>
                    <a:lnTo>
                      <a:pt x="2115" y="1655"/>
                    </a:lnTo>
                    <a:lnTo>
                      <a:pt x="2223" y="1572"/>
                    </a:lnTo>
                    <a:lnTo>
                      <a:pt x="1689" y="1646"/>
                    </a:lnTo>
                    <a:close/>
                    <a:moveTo>
                      <a:pt x="817" y="1459"/>
                    </a:moveTo>
                    <a:lnTo>
                      <a:pt x="1092" y="1722"/>
                    </a:lnTo>
                    <a:lnTo>
                      <a:pt x="1673" y="1642"/>
                    </a:lnTo>
                    <a:lnTo>
                      <a:pt x="1157" y="1336"/>
                    </a:lnTo>
                    <a:lnTo>
                      <a:pt x="817" y="1459"/>
                    </a:lnTo>
                    <a:close/>
                    <a:moveTo>
                      <a:pt x="2078" y="547"/>
                    </a:moveTo>
                    <a:lnTo>
                      <a:pt x="1819" y="1091"/>
                    </a:lnTo>
                    <a:lnTo>
                      <a:pt x="2247" y="936"/>
                    </a:lnTo>
                    <a:lnTo>
                      <a:pt x="2078" y="5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53" name="Freeform 92">
                <a:extLst>
                  <a:ext uri="{FF2B5EF4-FFF2-40B4-BE49-F238E27FC236}">
                    <a16:creationId xmlns:a16="http://schemas.microsoft.com/office/drawing/2014/main" id="{7038979E-489E-4844-835C-7C1F5DA55953}"/>
                  </a:ext>
                </a:extLst>
              </p:cNvPr>
              <p:cNvSpPr>
                <a:spLocks noEditPoints="1"/>
              </p:cNvSpPr>
              <p:nvPr/>
            </p:nvSpPr>
            <p:spPr bwMode="auto">
              <a:xfrm>
                <a:off x="7004051" y="5795963"/>
                <a:ext cx="3476625" cy="3094038"/>
              </a:xfrm>
              <a:custGeom>
                <a:avLst/>
                <a:gdLst>
                  <a:gd name="T0" fmla="*/ 274 w 2190"/>
                  <a:gd name="T1" fmla="*/ 1949 h 1949"/>
                  <a:gd name="T2" fmla="*/ 148 w 2190"/>
                  <a:gd name="T3" fmla="*/ 1929 h 1949"/>
                  <a:gd name="T4" fmla="*/ 79 w 2190"/>
                  <a:gd name="T5" fmla="*/ 1647 h 1949"/>
                  <a:gd name="T6" fmla="*/ 26 w 2190"/>
                  <a:gd name="T7" fmla="*/ 1666 h 1949"/>
                  <a:gd name="T8" fmla="*/ 5 w 2190"/>
                  <a:gd name="T9" fmla="*/ 1574 h 1949"/>
                  <a:gd name="T10" fmla="*/ 0 w 2190"/>
                  <a:gd name="T11" fmla="*/ 1313 h 1949"/>
                  <a:gd name="T12" fmla="*/ 81 w 2190"/>
                  <a:gd name="T13" fmla="*/ 1641 h 1949"/>
                  <a:gd name="T14" fmla="*/ 548 w 2190"/>
                  <a:gd name="T15" fmla="*/ 1473 h 1949"/>
                  <a:gd name="T16" fmla="*/ 953 w 2190"/>
                  <a:gd name="T17" fmla="*/ 1322 h 1949"/>
                  <a:gd name="T18" fmla="*/ 1409 w 2190"/>
                  <a:gd name="T19" fmla="*/ 1262 h 1949"/>
                  <a:gd name="T20" fmla="*/ 1736 w 2190"/>
                  <a:gd name="T21" fmla="*/ 1228 h 1949"/>
                  <a:gd name="T22" fmla="*/ 1896 w 2190"/>
                  <a:gd name="T23" fmla="*/ 748 h 1949"/>
                  <a:gd name="T24" fmla="*/ 800 w 2190"/>
                  <a:gd name="T25" fmla="*/ 542 h 1949"/>
                  <a:gd name="T26" fmla="*/ 1132 w 2190"/>
                  <a:gd name="T27" fmla="*/ 917 h 1949"/>
                  <a:gd name="T28" fmla="*/ 1046 w 2190"/>
                  <a:gd name="T29" fmla="*/ 897 h 1949"/>
                  <a:gd name="T30" fmla="*/ 1046 w 2190"/>
                  <a:gd name="T31" fmla="*/ 897 h 1949"/>
                  <a:gd name="T32" fmla="*/ 357 w 2190"/>
                  <a:gd name="T33" fmla="*/ 226 h 1949"/>
                  <a:gd name="T34" fmla="*/ 628 w 2190"/>
                  <a:gd name="T35" fmla="*/ 0 h 1949"/>
                  <a:gd name="T36" fmla="*/ 715 w 2190"/>
                  <a:gd name="T37" fmla="*/ 0 h 1949"/>
                  <a:gd name="T38" fmla="*/ 715 w 2190"/>
                  <a:gd name="T39" fmla="*/ 6 h 1949"/>
                  <a:gd name="T40" fmla="*/ 631 w 2190"/>
                  <a:gd name="T41" fmla="*/ 6 h 1949"/>
                  <a:gd name="T42" fmla="*/ 365 w 2190"/>
                  <a:gd name="T43" fmla="*/ 226 h 1949"/>
                  <a:gd name="T44" fmla="*/ 1048 w 2190"/>
                  <a:gd name="T45" fmla="*/ 891 h 1949"/>
                  <a:gd name="T46" fmla="*/ 1116 w 2190"/>
                  <a:gd name="T47" fmla="*/ 908 h 1949"/>
                  <a:gd name="T48" fmla="*/ 785 w 2190"/>
                  <a:gd name="T49" fmla="*/ 533 h 1949"/>
                  <a:gd name="T50" fmla="*/ 1898 w 2190"/>
                  <a:gd name="T51" fmla="*/ 743 h 1949"/>
                  <a:gd name="T52" fmla="*/ 2002 w 2190"/>
                  <a:gd name="T53" fmla="*/ 427 h 1949"/>
                  <a:gd name="T54" fmla="*/ 2007 w 2190"/>
                  <a:gd name="T55" fmla="*/ 429 h 1949"/>
                  <a:gd name="T56" fmla="*/ 1903 w 2190"/>
                  <a:gd name="T57" fmla="*/ 744 h 1949"/>
                  <a:gd name="T58" fmla="*/ 1984 w 2190"/>
                  <a:gd name="T59" fmla="*/ 759 h 1949"/>
                  <a:gd name="T60" fmla="*/ 1984 w 2190"/>
                  <a:gd name="T61" fmla="*/ 761 h 1949"/>
                  <a:gd name="T62" fmla="*/ 2190 w 2190"/>
                  <a:gd name="T63" fmla="*/ 1189 h 1949"/>
                  <a:gd name="T64" fmla="*/ 1832 w 2190"/>
                  <a:gd name="T65" fmla="*/ 1224 h 1949"/>
                  <a:gd name="T66" fmla="*/ 1740 w 2190"/>
                  <a:gd name="T67" fmla="*/ 1234 h 1949"/>
                  <a:gd name="T68" fmla="*/ 1614 w 2190"/>
                  <a:gd name="T69" fmla="*/ 1616 h 1949"/>
                  <a:gd name="T70" fmla="*/ 1982 w 2190"/>
                  <a:gd name="T71" fmla="*/ 1573 h 1949"/>
                  <a:gd name="T72" fmla="*/ 1983 w 2190"/>
                  <a:gd name="T73" fmla="*/ 1578 h 1949"/>
                  <a:gd name="T74" fmla="*/ 274 w 2190"/>
                  <a:gd name="T75" fmla="*/ 1949 h 1949"/>
                  <a:gd name="T76" fmla="*/ 152 w 2190"/>
                  <a:gd name="T77" fmla="*/ 1924 h 1949"/>
                  <a:gd name="T78" fmla="*/ 274 w 2190"/>
                  <a:gd name="T79" fmla="*/ 1944 h 1949"/>
                  <a:gd name="T80" fmla="*/ 1929 w 2190"/>
                  <a:gd name="T81" fmla="*/ 1585 h 1949"/>
                  <a:gd name="T82" fmla="*/ 1606 w 2190"/>
                  <a:gd name="T83" fmla="*/ 1622 h 1949"/>
                  <a:gd name="T84" fmla="*/ 1607 w 2190"/>
                  <a:gd name="T85" fmla="*/ 1617 h 1949"/>
                  <a:gd name="T86" fmla="*/ 1735 w 2190"/>
                  <a:gd name="T87" fmla="*/ 1234 h 1949"/>
                  <a:gd name="T88" fmla="*/ 1409 w 2190"/>
                  <a:gd name="T89" fmla="*/ 1268 h 1949"/>
                  <a:gd name="T90" fmla="*/ 953 w 2190"/>
                  <a:gd name="T91" fmla="*/ 1328 h 1949"/>
                  <a:gd name="T92" fmla="*/ 549 w 2190"/>
                  <a:gd name="T93" fmla="*/ 1479 h 1949"/>
                  <a:gd name="T94" fmla="*/ 83 w 2190"/>
                  <a:gd name="T95" fmla="*/ 1646 h 1949"/>
                  <a:gd name="T96" fmla="*/ 152 w 2190"/>
                  <a:gd name="T97" fmla="*/ 1924 h 1949"/>
                  <a:gd name="T98" fmla="*/ 11 w 2190"/>
                  <a:gd name="T99" fmla="*/ 1574 h 1949"/>
                  <a:gd name="T100" fmla="*/ 30 w 2190"/>
                  <a:gd name="T101" fmla="*/ 1658 h 1949"/>
                  <a:gd name="T102" fmla="*/ 77 w 2190"/>
                  <a:gd name="T103" fmla="*/ 1642 h 1949"/>
                  <a:gd name="T104" fmla="*/ 7 w 2190"/>
                  <a:gd name="T105" fmla="*/ 1360 h 1949"/>
                  <a:gd name="T106" fmla="*/ 11 w 2190"/>
                  <a:gd name="T107" fmla="*/ 1574 h 1949"/>
                  <a:gd name="T108" fmla="*/ 1902 w 2190"/>
                  <a:gd name="T109" fmla="*/ 750 h 1949"/>
                  <a:gd name="T110" fmla="*/ 1743 w 2190"/>
                  <a:gd name="T111" fmla="*/ 1228 h 1949"/>
                  <a:gd name="T112" fmla="*/ 1831 w 2190"/>
                  <a:gd name="T113" fmla="*/ 1219 h 1949"/>
                  <a:gd name="T114" fmla="*/ 2182 w 2190"/>
                  <a:gd name="T115" fmla="*/ 1184 h 1949"/>
                  <a:gd name="T116" fmla="*/ 1980 w 2190"/>
                  <a:gd name="T117" fmla="*/ 765 h 1949"/>
                  <a:gd name="T118" fmla="*/ 1902 w 2190"/>
                  <a:gd name="T119" fmla="*/ 750 h 1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90" h="1949">
                    <a:moveTo>
                      <a:pt x="274" y="1949"/>
                    </a:moveTo>
                    <a:lnTo>
                      <a:pt x="148" y="1929"/>
                    </a:lnTo>
                    <a:lnTo>
                      <a:pt x="79" y="1647"/>
                    </a:lnTo>
                    <a:lnTo>
                      <a:pt x="26" y="1666"/>
                    </a:lnTo>
                    <a:lnTo>
                      <a:pt x="5" y="1574"/>
                    </a:lnTo>
                    <a:lnTo>
                      <a:pt x="0" y="1313"/>
                    </a:lnTo>
                    <a:lnTo>
                      <a:pt x="81" y="1641"/>
                    </a:lnTo>
                    <a:lnTo>
                      <a:pt x="548" y="1473"/>
                    </a:lnTo>
                    <a:lnTo>
                      <a:pt x="953" y="1322"/>
                    </a:lnTo>
                    <a:lnTo>
                      <a:pt x="1409" y="1262"/>
                    </a:lnTo>
                    <a:lnTo>
                      <a:pt x="1736" y="1228"/>
                    </a:lnTo>
                    <a:lnTo>
                      <a:pt x="1896" y="748"/>
                    </a:lnTo>
                    <a:lnTo>
                      <a:pt x="800" y="542"/>
                    </a:lnTo>
                    <a:lnTo>
                      <a:pt x="1132" y="917"/>
                    </a:lnTo>
                    <a:lnTo>
                      <a:pt x="1046" y="897"/>
                    </a:lnTo>
                    <a:lnTo>
                      <a:pt x="1046" y="897"/>
                    </a:lnTo>
                    <a:lnTo>
                      <a:pt x="357" y="226"/>
                    </a:lnTo>
                    <a:lnTo>
                      <a:pt x="628" y="0"/>
                    </a:lnTo>
                    <a:lnTo>
                      <a:pt x="715" y="0"/>
                    </a:lnTo>
                    <a:lnTo>
                      <a:pt x="715" y="6"/>
                    </a:lnTo>
                    <a:lnTo>
                      <a:pt x="631" y="6"/>
                    </a:lnTo>
                    <a:lnTo>
                      <a:pt x="365" y="226"/>
                    </a:lnTo>
                    <a:lnTo>
                      <a:pt x="1048" y="891"/>
                    </a:lnTo>
                    <a:lnTo>
                      <a:pt x="1116" y="908"/>
                    </a:lnTo>
                    <a:lnTo>
                      <a:pt x="785" y="533"/>
                    </a:lnTo>
                    <a:lnTo>
                      <a:pt x="1898" y="743"/>
                    </a:lnTo>
                    <a:lnTo>
                      <a:pt x="2002" y="427"/>
                    </a:lnTo>
                    <a:lnTo>
                      <a:pt x="2007" y="429"/>
                    </a:lnTo>
                    <a:lnTo>
                      <a:pt x="1903" y="744"/>
                    </a:lnTo>
                    <a:lnTo>
                      <a:pt x="1984" y="759"/>
                    </a:lnTo>
                    <a:lnTo>
                      <a:pt x="1984" y="761"/>
                    </a:lnTo>
                    <a:lnTo>
                      <a:pt x="2190" y="1189"/>
                    </a:lnTo>
                    <a:lnTo>
                      <a:pt x="1832" y="1224"/>
                    </a:lnTo>
                    <a:lnTo>
                      <a:pt x="1740" y="1234"/>
                    </a:lnTo>
                    <a:lnTo>
                      <a:pt x="1614" y="1616"/>
                    </a:lnTo>
                    <a:lnTo>
                      <a:pt x="1982" y="1573"/>
                    </a:lnTo>
                    <a:lnTo>
                      <a:pt x="1983" y="1578"/>
                    </a:lnTo>
                    <a:lnTo>
                      <a:pt x="274" y="1949"/>
                    </a:lnTo>
                    <a:close/>
                    <a:moveTo>
                      <a:pt x="152" y="1924"/>
                    </a:moveTo>
                    <a:lnTo>
                      <a:pt x="274" y="1944"/>
                    </a:lnTo>
                    <a:lnTo>
                      <a:pt x="1929" y="1585"/>
                    </a:lnTo>
                    <a:lnTo>
                      <a:pt x="1606" y="1622"/>
                    </a:lnTo>
                    <a:lnTo>
                      <a:pt x="1607" y="1617"/>
                    </a:lnTo>
                    <a:lnTo>
                      <a:pt x="1735" y="1234"/>
                    </a:lnTo>
                    <a:lnTo>
                      <a:pt x="1409" y="1268"/>
                    </a:lnTo>
                    <a:lnTo>
                      <a:pt x="953" y="1328"/>
                    </a:lnTo>
                    <a:lnTo>
                      <a:pt x="549" y="1479"/>
                    </a:lnTo>
                    <a:lnTo>
                      <a:pt x="83" y="1646"/>
                    </a:lnTo>
                    <a:lnTo>
                      <a:pt x="152" y="1924"/>
                    </a:lnTo>
                    <a:close/>
                    <a:moveTo>
                      <a:pt x="11" y="1574"/>
                    </a:moveTo>
                    <a:lnTo>
                      <a:pt x="30" y="1658"/>
                    </a:lnTo>
                    <a:lnTo>
                      <a:pt x="77" y="1642"/>
                    </a:lnTo>
                    <a:lnTo>
                      <a:pt x="7" y="1360"/>
                    </a:lnTo>
                    <a:lnTo>
                      <a:pt x="11" y="1574"/>
                    </a:lnTo>
                    <a:close/>
                    <a:moveTo>
                      <a:pt x="1902" y="750"/>
                    </a:moveTo>
                    <a:lnTo>
                      <a:pt x="1743" y="1228"/>
                    </a:lnTo>
                    <a:lnTo>
                      <a:pt x="1831" y="1219"/>
                    </a:lnTo>
                    <a:lnTo>
                      <a:pt x="2182" y="1184"/>
                    </a:lnTo>
                    <a:lnTo>
                      <a:pt x="1980" y="765"/>
                    </a:lnTo>
                    <a:lnTo>
                      <a:pt x="1902" y="7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54" name="Freeform 93">
                <a:extLst>
                  <a:ext uri="{FF2B5EF4-FFF2-40B4-BE49-F238E27FC236}">
                    <a16:creationId xmlns:a16="http://schemas.microsoft.com/office/drawing/2014/main" id="{BA96785A-4880-447F-B1B5-17757E3CFD94}"/>
                  </a:ext>
                </a:extLst>
              </p:cNvPr>
              <p:cNvSpPr>
                <a:spLocks noEditPoints="1"/>
              </p:cNvSpPr>
              <p:nvPr/>
            </p:nvSpPr>
            <p:spPr bwMode="auto">
              <a:xfrm>
                <a:off x="7939088" y="5476876"/>
                <a:ext cx="2327275" cy="795338"/>
              </a:xfrm>
              <a:custGeom>
                <a:avLst/>
                <a:gdLst>
                  <a:gd name="T0" fmla="*/ 0 w 1466"/>
                  <a:gd name="T1" fmla="*/ 501 h 501"/>
                  <a:gd name="T2" fmla="*/ 38 w 1466"/>
                  <a:gd name="T3" fmla="*/ 204 h 501"/>
                  <a:gd name="T4" fmla="*/ 43 w 1466"/>
                  <a:gd name="T5" fmla="*/ 204 h 501"/>
                  <a:gd name="T6" fmla="*/ 6 w 1466"/>
                  <a:gd name="T7" fmla="*/ 492 h 501"/>
                  <a:gd name="T8" fmla="*/ 383 w 1466"/>
                  <a:gd name="T9" fmla="*/ 360 h 501"/>
                  <a:gd name="T10" fmla="*/ 926 w 1466"/>
                  <a:gd name="T11" fmla="*/ 177 h 501"/>
                  <a:gd name="T12" fmla="*/ 482 w 1466"/>
                  <a:gd name="T13" fmla="*/ 0 h 501"/>
                  <a:gd name="T14" fmla="*/ 740 w 1466"/>
                  <a:gd name="T15" fmla="*/ 14 h 501"/>
                  <a:gd name="T16" fmla="*/ 984 w 1466"/>
                  <a:gd name="T17" fmla="*/ 163 h 501"/>
                  <a:gd name="T18" fmla="*/ 942 w 1466"/>
                  <a:gd name="T19" fmla="*/ 177 h 501"/>
                  <a:gd name="T20" fmla="*/ 1346 w 1466"/>
                  <a:gd name="T21" fmla="*/ 339 h 501"/>
                  <a:gd name="T22" fmla="*/ 1466 w 1466"/>
                  <a:gd name="T23" fmla="*/ 374 h 501"/>
                  <a:gd name="T24" fmla="*/ 1464 w 1466"/>
                  <a:gd name="T25" fmla="*/ 379 h 501"/>
                  <a:gd name="T26" fmla="*/ 1345 w 1466"/>
                  <a:gd name="T27" fmla="*/ 344 h 501"/>
                  <a:gd name="T28" fmla="*/ 934 w 1466"/>
                  <a:gd name="T29" fmla="*/ 180 h 501"/>
                  <a:gd name="T30" fmla="*/ 385 w 1466"/>
                  <a:gd name="T31" fmla="*/ 366 h 501"/>
                  <a:gd name="T32" fmla="*/ 0 w 1466"/>
                  <a:gd name="T33" fmla="*/ 501 h 501"/>
                  <a:gd name="T34" fmla="*/ 515 w 1466"/>
                  <a:gd name="T35" fmla="*/ 7 h 501"/>
                  <a:gd name="T36" fmla="*/ 934 w 1466"/>
                  <a:gd name="T37" fmla="*/ 174 h 501"/>
                  <a:gd name="T38" fmla="*/ 971 w 1466"/>
                  <a:gd name="T39" fmla="*/ 162 h 501"/>
                  <a:gd name="T40" fmla="*/ 739 w 1466"/>
                  <a:gd name="T41" fmla="*/ 18 h 501"/>
                  <a:gd name="T42" fmla="*/ 515 w 1466"/>
                  <a:gd name="T43" fmla="*/ 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66" h="501">
                    <a:moveTo>
                      <a:pt x="0" y="501"/>
                    </a:moveTo>
                    <a:lnTo>
                      <a:pt x="38" y="204"/>
                    </a:lnTo>
                    <a:lnTo>
                      <a:pt x="43" y="204"/>
                    </a:lnTo>
                    <a:lnTo>
                      <a:pt x="6" y="492"/>
                    </a:lnTo>
                    <a:lnTo>
                      <a:pt x="383" y="360"/>
                    </a:lnTo>
                    <a:lnTo>
                      <a:pt x="926" y="177"/>
                    </a:lnTo>
                    <a:lnTo>
                      <a:pt x="482" y="0"/>
                    </a:lnTo>
                    <a:lnTo>
                      <a:pt x="740" y="14"/>
                    </a:lnTo>
                    <a:lnTo>
                      <a:pt x="984" y="163"/>
                    </a:lnTo>
                    <a:lnTo>
                      <a:pt x="942" y="177"/>
                    </a:lnTo>
                    <a:lnTo>
                      <a:pt x="1346" y="339"/>
                    </a:lnTo>
                    <a:lnTo>
                      <a:pt x="1466" y="374"/>
                    </a:lnTo>
                    <a:lnTo>
                      <a:pt x="1464" y="379"/>
                    </a:lnTo>
                    <a:lnTo>
                      <a:pt x="1345" y="344"/>
                    </a:lnTo>
                    <a:lnTo>
                      <a:pt x="934" y="180"/>
                    </a:lnTo>
                    <a:lnTo>
                      <a:pt x="385" y="366"/>
                    </a:lnTo>
                    <a:lnTo>
                      <a:pt x="0" y="501"/>
                    </a:lnTo>
                    <a:close/>
                    <a:moveTo>
                      <a:pt x="515" y="7"/>
                    </a:moveTo>
                    <a:lnTo>
                      <a:pt x="934" y="174"/>
                    </a:lnTo>
                    <a:lnTo>
                      <a:pt x="971" y="162"/>
                    </a:lnTo>
                    <a:lnTo>
                      <a:pt x="739" y="18"/>
                    </a:lnTo>
                    <a:lnTo>
                      <a:pt x="51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55" name="Freeform 94">
                <a:extLst>
                  <a:ext uri="{FF2B5EF4-FFF2-40B4-BE49-F238E27FC236}">
                    <a16:creationId xmlns:a16="http://schemas.microsoft.com/office/drawing/2014/main" id="{9F38083B-BF55-4652-9F2C-1DEEDCA67743}"/>
                  </a:ext>
                </a:extLst>
              </p:cNvPr>
              <p:cNvSpPr>
                <a:spLocks/>
              </p:cNvSpPr>
              <p:nvPr/>
            </p:nvSpPr>
            <p:spPr bwMode="auto">
              <a:xfrm>
                <a:off x="7608888" y="5516563"/>
                <a:ext cx="2435225" cy="1685925"/>
              </a:xfrm>
              <a:custGeom>
                <a:avLst/>
                <a:gdLst>
                  <a:gd name="T0" fmla="*/ 754 w 1534"/>
                  <a:gd name="T1" fmla="*/ 1062 h 1062"/>
                  <a:gd name="T2" fmla="*/ 741 w 1534"/>
                  <a:gd name="T3" fmla="*/ 1033 h 1062"/>
                  <a:gd name="T4" fmla="*/ 741 w 1534"/>
                  <a:gd name="T5" fmla="*/ 1032 h 1062"/>
                  <a:gd name="T6" fmla="*/ 891 w 1534"/>
                  <a:gd name="T7" fmla="*/ 622 h 1062"/>
                  <a:gd name="T8" fmla="*/ 521 w 1534"/>
                  <a:gd name="T9" fmla="*/ 9 h 1062"/>
                  <a:gd name="T10" fmla="*/ 334 w 1534"/>
                  <a:gd name="T11" fmla="*/ 182 h 1062"/>
                  <a:gd name="T12" fmla="*/ 247 w 1534"/>
                  <a:gd name="T13" fmla="*/ 182 h 1062"/>
                  <a:gd name="T14" fmla="*/ 125 w 1534"/>
                  <a:gd name="T15" fmla="*/ 150 h 1062"/>
                  <a:gd name="T16" fmla="*/ 8 w 1534"/>
                  <a:gd name="T17" fmla="*/ 228 h 1062"/>
                  <a:gd name="T18" fmla="*/ 414 w 1534"/>
                  <a:gd name="T19" fmla="*/ 711 h 1062"/>
                  <a:gd name="T20" fmla="*/ 410 w 1534"/>
                  <a:gd name="T21" fmla="*/ 715 h 1062"/>
                  <a:gd name="T22" fmla="*/ 0 w 1534"/>
                  <a:gd name="T23" fmla="*/ 227 h 1062"/>
                  <a:gd name="T24" fmla="*/ 125 w 1534"/>
                  <a:gd name="T25" fmla="*/ 144 h 1062"/>
                  <a:gd name="T26" fmla="*/ 248 w 1534"/>
                  <a:gd name="T27" fmla="*/ 176 h 1062"/>
                  <a:gd name="T28" fmla="*/ 332 w 1534"/>
                  <a:gd name="T29" fmla="*/ 176 h 1062"/>
                  <a:gd name="T30" fmla="*/ 522 w 1534"/>
                  <a:gd name="T31" fmla="*/ 0 h 1062"/>
                  <a:gd name="T32" fmla="*/ 897 w 1534"/>
                  <a:gd name="T33" fmla="*/ 621 h 1062"/>
                  <a:gd name="T34" fmla="*/ 897 w 1534"/>
                  <a:gd name="T35" fmla="*/ 622 h 1062"/>
                  <a:gd name="T36" fmla="*/ 746 w 1534"/>
                  <a:gd name="T37" fmla="*/ 1033 h 1062"/>
                  <a:gd name="T38" fmla="*/ 757 w 1534"/>
                  <a:gd name="T39" fmla="*/ 1052 h 1062"/>
                  <a:gd name="T40" fmla="*/ 1530 w 1534"/>
                  <a:gd name="T41" fmla="*/ 315 h 1062"/>
                  <a:gd name="T42" fmla="*/ 1534 w 1534"/>
                  <a:gd name="T43" fmla="*/ 318 h 1062"/>
                  <a:gd name="T44" fmla="*/ 754 w 1534"/>
                  <a:gd name="T45" fmla="*/ 1062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4" h="1062">
                    <a:moveTo>
                      <a:pt x="754" y="1062"/>
                    </a:moveTo>
                    <a:lnTo>
                      <a:pt x="741" y="1033"/>
                    </a:lnTo>
                    <a:lnTo>
                      <a:pt x="741" y="1032"/>
                    </a:lnTo>
                    <a:lnTo>
                      <a:pt x="891" y="622"/>
                    </a:lnTo>
                    <a:lnTo>
                      <a:pt x="521" y="9"/>
                    </a:lnTo>
                    <a:lnTo>
                      <a:pt x="334" y="182"/>
                    </a:lnTo>
                    <a:lnTo>
                      <a:pt x="247" y="182"/>
                    </a:lnTo>
                    <a:lnTo>
                      <a:pt x="125" y="150"/>
                    </a:lnTo>
                    <a:lnTo>
                      <a:pt x="8" y="228"/>
                    </a:lnTo>
                    <a:lnTo>
                      <a:pt x="414" y="711"/>
                    </a:lnTo>
                    <a:lnTo>
                      <a:pt x="410" y="715"/>
                    </a:lnTo>
                    <a:lnTo>
                      <a:pt x="0" y="227"/>
                    </a:lnTo>
                    <a:lnTo>
                      <a:pt x="125" y="144"/>
                    </a:lnTo>
                    <a:lnTo>
                      <a:pt x="248" y="176"/>
                    </a:lnTo>
                    <a:lnTo>
                      <a:pt x="332" y="176"/>
                    </a:lnTo>
                    <a:lnTo>
                      <a:pt x="522" y="0"/>
                    </a:lnTo>
                    <a:lnTo>
                      <a:pt x="897" y="621"/>
                    </a:lnTo>
                    <a:lnTo>
                      <a:pt x="897" y="622"/>
                    </a:lnTo>
                    <a:lnTo>
                      <a:pt x="746" y="1033"/>
                    </a:lnTo>
                    <a:lnTo>
                      <a:pt x="757" y="1052"/>
                    </a:lnTo>
                    <a:lnTo>
                      <a:pt x="1530" y="315"/>
                    </a:lnTo>
                    <a:lnTo>
                      <a:pt x="1534" y="318"/>
                    </a:lnTo>
                    <a:lnTo>
                      <a:pt x="754" y="10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56" name="Freeform 95">
                <a:extLst>
                  <a:ext uri="{FF2B5EF4-FFF2-40B4-BE49-F238E27FC236}">
                    <a16:creationId xmlns:a16="http://schemas.microsoft.com/office/drawing/2014/main" id="{11537DEB-6D85-4E24-AB1E-599D3716F563}"/>
                  </a:ext>
                </a:extLst>
              </p:cNvPr>
              <p:cNvSpPr>
                <a:spLocks noEditPoints="1"/>
              </p:cNvSpPr>
              <p:nvPr/>
            </p:nvSpPr>
            <p:spPr bwMode="auto">
              <a:xfrm>
                <a:off x="7313613" y="5800726"/>
                <a:ext cx="1250950" cy="3683000"/>
              </a:xfrm>
              <a:custGeom>
                <a:avLst/>
                <a:gdLst>
                  <a:gd name="T0" fmla="*/ 788 w 788"/>
                  <a:gd name="T1" fmla="*/ 2320 h 2320"/>
                  <a:gd name="T2" fmla="*/ 395 w 788"/>
                  <a:gd name="T3" fmla="*/ 2154 h 2320"/>
                  <a:gd name="T4" fmla="*/ 613 w 788"/>
                  <a:gd name="T5" fmla="*/ 2320 h 2320"/>
                  <a:gd name="T6" fmla="*/ 470 w 788"/>
                  <a:gd name="T7" fmla="*/ 2303 h 2320"/>
                  <a:gd name="T8" fmla="*/ 227 w 788"/>
                  <a:gd name="T9" fmla="*/ 2164 h 2320"/>
                  <a:gd name="T10" fmla="*/ 133 w 788"/>
                  <a:gd name="T11" fmla="*/ 2093 h 2320"/>
                  <a:gd name="T12" fmla="*/ 133 w 788"/>
                  <a:gd name="T13" fmla="*/ 2092 h 2320"/>
                  <a:gd name="T14" fmla="*/ 193 w 788"/>
                  <a:gd name="T15" fmla="*/ 1677 h 2320"/>
                  <a:gd name="T16" fmla="*/ 0 w 788"/>
                  <a:gd name="T17" fmla="*/ 1536 h 2320"/>
                  <a:gd name="T18" fmla="*/ 220 w 788"/>
                  <a:gd name="T19" fmla="*/ 1483 h 2320"/>
                  <a:gd name="T20" fmla="*/ 432 w 788"/>
                  <a:gd name="T21" fmla="*/ 0 h 2320"/>
                  <a:gd name="T22" fmla="*/ 437 w 788"/>
                  <a:gd name="T23" fmla="*/ 0 h 2320"/>
                  <a:gd name="T24" fmla="*/ 225 w 788"/>
                  <a:gd name="T25" fmla="*/ 1481 h 2320"/>
                  <a:gd name="T26" fmla="*/ 350 w 788"/>
                  <a:gd name="T27" fmla="*/ 1450 h 2320"/>
                  <a:gd name="T28" fmla="*/ 352 w 788"/>
                  <a:gd name="T29" fmla="*/ 1455 h 2320"/>
                  <a:gd name="T30" fmla="*/ 225 w 788"/>
                  <a:gd name="T31" fmla="*/ 1487 h 2320"/>
                  <a:gd name="T32" fmla="*/ 198 w 788"/>
                  <a:gd name="T33" fmla="*/ 1674 h 2320"/>
                  <a:gd name="T34" fmla="*/ 726 w 788"/>
                  <a:gd name="T35" fmla="*/ 2058 h 2320"/>
                  <a:gd name="T36" fmla="*/ 727 w 788"/>
                  <a:gd name="T37" fmla="*/ 2059 h 2320"/>
                  <a:gd name="T38" fmla="*/ 788 w 788"/>
                  <a:gd name="T39" fmla="*/ 2320 h 2320"/>
                  <a:gd name="T40" fmla="*/ 472 w 788"/>
                  <a:gd name="T41" fmla="*/ 2297 h 2320"/>
                  <a:gd name="T42" fmla="*/ 593 w 788"/>
                  <a:gd name="T43" fmla="*/ 2312 h 2320"/>
                  <a:gd name="T44" fmla="*/ 357 w 788"/>
                  <a:gd name="T45" fmla="*/ 2133 h 2320"/>
                  <a:gd name="T46" fmla="*/ 780 w 788"/>
                  <a:gd name="T47" fmla="*/ 2311 h 2320"/>
                  <a:gd name="T48" fmla="*/ 722 w 788"/>
                  <a:gd name="T49" fmla="*/ 2062 h 2320"/>
                  <a:gd name="T50" fmla="*/ 197 w 788"/>
                  <a:gd name="T51" fmla="*/ 1680 h 2320"/>
                  <a:gd name="T52" fmla="*/ 139 w 788"/>
                  <a:gd name="T53" fmla="*/ 2091 h 2320"/>
                  <a:gd name="T54" fmla="*/ 229 w 788"/>
                  <a:gd name="T55" fmla="*/ 2160 h 2320"/>
                  <a:gd name="T56" fmla="*/ 472 w 788"/>
                  <a:gd name="T57" fmla="*/ 2297 h 2320"/>
                  <a:gd name="T58" fmla="*/ 12 w 788"/>
                  <a:gd name="T59" fmla="*/ 1538 h 2320"/>
                  <a:gd name="T60" fmla="*/ 193 w 788"/>
                  <a:gd name="T61" fmla="*/ 1670 h 2320"/>
                  <a:gd name="T62" fmla="*/ 219 w 788"/>
                  <a:gd name="T63" fmla="*/ 1488 h 2320"/>
                  <a:gd name="T64" fmla="*/ 12 w 788"/>
                  <a:gd name="T65" fmla="*/ 1538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8" h="2320">
                    <a:moveTo>
                      <a:pt x="788" y="2320"/>
                    </a:moveTo>
                    <a:lnTo>
                      <a:pt x="395" y="2154"/>
                    </a:lnTo>
                    <a:lnTo>
                      <a:pt x="613" y="2320"/>
                    </a:lnTo>
                    <a:lnTo>
                      <a:pt x="470" y="2303"/>
                    </a:lnTo>
                    <a:lnTo>
                      <a:pt x="227" y="2164"/>
                    </a:lnTo>
                    <a:lnTo>
                      <a:pt x="133" y="2093"/>
                    </a:lnTo>
                    <a:lnTo>
                      <a:pt x="133" y="2092"/>
                    </a:lnTo>
                    <a:lnTo>
                      <a:pt x="193" y="1677"/>
                    </a:lnTo>
                    <a:lnTo>
                      <a:pt x="0" y="1536"/>
                    </a:lnTo>
                    <a:lnTo>
                      <a:pt x="220" y="1483"/>
                    </a:lnTo>
                    <a:lnTo>
                      <a:pt x="432" y="0"/>
                    </a:lnTo>
                    <a:lnTo>
                      <a:pt x="437" y="0"/>
                    </a:lnTo>
                    <a:lnTo>
                      <a:pt x="225" y="1481"/>
                    </a:lnTo>
                    <a:lnTo>
                      <a:pt x="350" y="1450"/>
                    </a:lnTo>
                    <a:lnTo>
                      <a:pt x="352" y="1455"/>
                    </a:lnTo>
                    <a:lnTo>
                      <a:pt x="225" y="1487"/>
                    </a:lnTo>
                    <a:lnTo>
                      <a:pt x="198" y="1674"/>
                    </a:lnTo>
                    <a:lnTo>
                      <a:pt x="726" y="2058"/>
                    </a:lnTo>
                    <a:lnTo>
                      <a:pt x="727" y="2059"/>
                    </a:lnTo>
                    <a:lnTo>
                      <a:pt x="788" y="2320"/>
                    </a:lnTo>
                    <a:close/>
                    <a:moveTo>
                      <a:pt x="472" y="2297"/>
                    </a:moveTo>
                    <a:lnTo>
                      <a:pt x="593" y="2312"/>
                    </a:lnTo>
                    <a:lnTo>
                      <a:pt x="357" y="2133"/>
                    </a:lnTo>
                    <a:lnTo>
                      <a:pt x="780" y="2311"/>
                    </a:lnTo>
                    <a:lnTo>
                      <a:pt x="722" y="2062"/>
                    </a:lnTo>
                    <a:lnTo>
                      <a:pt x="197" y="1680"/>
                    </a:lnTo>
                    <a:lnTo>
                      <a:pt x="139" y="2091"/>
                    </a:lnTo>
                    <a:lnTo>
                      <a:pt x="229" y="2160"/>
                    </a:lnTo>
                    <a:lnTo>
                      <a:pt x="472" y="2297"/>
                    </a:lnTo>
                    <a:close/>
                    <a:moveTo>
                      <a:pt x="12" y="1538"/>
                    </a:moveTo>
                    <a:lnTo>
                      <a:pt x="193" y="1670"/>
                    </a:lnTo>
                    <a:lnTo>
                      <a:pt x="219" y="1488"/>
                    </a:lnTo>
                    <a:lnTo>
                      <a:pt x="12" y="1538"/>
                    </a:lnTo>
                    <a:close/>
                  </a:path>
                </a:pathLst>
              </a:custGeom>
              <a:grpFill/>
              <a:ln>
                <a:noFill/>
              </a:ln>
              <a:effectLst>
                <a:glow>
                  <a:schemeClr val="accent5"/>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57" name="Freeform 96">
                <a:extLst>
                  <a:ext uri="{FF2B5EF4-FFF2-40B4-BE49-F238E27FC236}">
                    <a16:creationId xmlns:a16="http://schemas.microsoft.com/office/drawing/2014/main" id="{F25BA9DB-D43D-490E-B5CB-AE3854179F3D}"/>
                  </a:ext>
                </a:extLst>
              </p:cNvPr>
              <p:cNvSpPr>
                <a:spLocks/>
              </p:cNvSpPr>
              <p:nvPr/>
            </p:nvSpPr>
            <p:spPr bwMode="auto">
              <a:xfrm>
                <a:off x="7354888" y="8778876"/>
                <a:ext cx="1806575" cy="812799"/>
              </a:xfrm>
              <a:custGeom>
                <a:avLst/>
                <a:gdLst>
                  <a:gd name="T0" fmla="*/ 818 w 1138"/>
                  <a:gd name="T1" fmla="*/ 512 h 512"/>
                  <a:gd name="T2" fmla="*/ 818 w 1138"/>
                  <a:gd name="T3" fmla="*/ 512 h 512"/>
                  <a:gd name="T4" fmla="*/ 576 w 1138"/>
                  <a:gd name="T5" fmla="*/ 443 h 512"/>
                  <a:gd name="T6" fmla="*/ 578 w 1138"/>
                  <a:gd name="T7" fmla="*/ 438 h 512"/>
                  <a:gd name="T8" fmla="*/ 819 w 1138"/>
                  <a:gd name="T9" fmla="*/ 507 h 512"/>
                  <a:gd name="T10" fmla="*/ 1133 w 1138"/>
                  <a:gd name="T11" fmla="*/ 484 h 512"/>
                  <a:gd name="T12" fmla="*/ 1065 w 1138"/>
                  <a:gd name="T13" fmla="*/ 31 h 512"/>
                  <a:gd name="T14" fmla="*/ 0 w 1138"/>
                  <a:gd name="T15" fmla="*/ 5 h 512"/>
                  <a:gd name="T16" fmla="*/ 0 w 1138"/>
                  <a:gd name="T17" fmla="*/ 0 h 512"/>
                  <a:gd name="T18" fmla="*/ 1069 w 1138"/>
                  <a:gd name="T19" fmla="*/ 25 h 512"/>
                  <a:gd name="T20" fmla="*/ 1070 w 1138"/>
                  <a:gd name="T21" fmla="*/ 28 h 512"/>
                  <a:gd name="T22" fmla="*/ 1138 w 1138"/>
                  <a:gd name="T23" fmla="*/ 489 h 512"/>
                  <a:gd name="T24" fmla="*/ 818 w 1138"/>
                  <a:gd name="T25"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8" h="512">
                    <a:moveTo>
                      <a:pt x="818" y="512"/>
                    </a:moveTo>
                    <a:lnTo>
                      <a:pt x="818" y="512"/>
                    </a:lnTo>
                    <a:lnTo>
                      <a:pt x="576" y="443"/>
                    </a:lnTo>
                    <a:lnTo>
                      <a:pt x="578" y="438"/>
                    </a:lnTo>
                    <a:lnTo>
                      <a:pt x="819" y="507"/>
                    </a:lnTo>
                    <a:lnTo>
                      <a:pt x="1133" y="484"/>
                    </a:lnTo>
                    <a:lnTo>
                      <a:pt x="1065" y="31"/>
                    </a:lnTo>
                    <a:lnTo>
                      <a:pt x="0" y="5"/>
                    </a:lnTo>
                    <a:lnTo>
                      <a:pt x="0" y="0"/>
                    </a:lnTo>
                    <a:lnTo>
                      <a:pt x="1069" y="25"/>
                    </a:lnTo>
                    <a:lnTo>
                      <a:pt x="1070" y="28"/>
                    </a:lnTo>
                    <a:lnTo>
                      <a:pt x="1138" y="489"/>
                    </a:lnTo>
                    <a:lnTo>
                      <a:pt x="818" y="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58" name="Freeform 97">
                <a:extLst>
                  <a:ext uri="{FF2B5EF4-FFF2-40B4-BE49-F238E27FC236}">
                    <a16:creationId xmlns:a16="http://schemas.microsoft.com/office/drawing/2014/main" id="{A259F8ED-A01D-497B-BC4F-7D0BE5CA666F}"/>
                  </a:ext>
                </a:extLst>
              </p:cNvPr>
              <p:cNvSpPr>
                <a:spLocks/>
              </p:cNvSpPr>
              <p:nvPr/>
            </p:nvSpPr>
            <p:spPr bwMode="auto">
              <a:xfrm>
                <a:off x="9155113" y="8208963"/>
                <a:ext cx="1449388" cy="1346200"/>
              </a:xfrm>
              <a:custGeom>
                <a:avLst/>
                <a:gdLst>
                  <a:gd name="T0" fmla="*/ 3 w 913"/>
                  <a:gd name="T1" fmla="*/ 848 h 848"/>
                  <a:gd name="T2" fmla="*/ 0 w 913"/>
                  <a:gd name="T3" fmla="*/ 844 h 848"/>
                  <a:gd name="T4" fmla="*/ 894 w 913"/>
                  <a:gd name="T5" fmla="*/ 10 h 848"/>
                  <a:gd name="T6" fmla="*/ 628 w 913"/>
                  <a:gd name="T7" fmla="*/ 76 h 848"/>
                  <a:gd name="T8" fmla="*/ 627 w 913"/>
                  <a:gd name="T9" fmla="*/ 72 h 848"/>
                  <a:gd name="T10" fmla="*/ 913 w 913"/>
                  <a:gd name="T11" fmla="*/ 0 h 848"/>
                  <a:gd name="T12" fmla="*/ 3 w 913"/>
                  <a:gd name="T13" fmla="*/ 848 h 848"/>
                </a:gdLst>
                <a:ahLst/>
                <a:cxnLst>
                  <a:cxn ang="0">
                    <a:pos x="T0" y="T1"/>
                  </a:cxn>
                  <a:cxn ang="0">
                    <a:pos x="T2" y="T3"/>
                  </a:cxn>
                  <a:cxn ang="0">
                    <a:pos x="T4" y="T5"/>
                  </a:cxn>
                  <a:cxn ang="0">
                    <a:pos x="T6" y="T7"/>
                  </a:cxn>
                  <a:cxn ang="0">
                    <a:pos x="T8" y="T9"/>
                  </a:cxn>
                  <a:cxn ang="0">
                    <a:pos x="T10" y="T11"/>
                  </a:cxn>
                  <a:cxn ang="0">
                    <a:pos x="T12" y="T13"/>
                  </a:cxn>
                </a:cxnLst>
                <a:rect l="0" t="0" r="r" b="b"/>
                <a:pathLst>
                  <a:path w="913" h="848">
                    <a:moveTo>
                      <a:pt x="3" y="848"/>
                    </a:moveTo>
                    <a:lnTo>
                      <a:pt x="0" y="844"/>
                    </a:lnTo>
                    <a:lnTo>
                      <a:pt x="894" y="10"/>
                    </a:lnTo>
                    <a:lnTo>
                      <a:pt x="628" y="76"/>
                    </a:lnTo>
                    <a:lnTo>
                      <a:pt x="627" y="72"/>
                    </a:lnTo>
                    <a:lnTo>
                      <a:pt x="913" y="0"/>
                    </a:lnTo>
                    <a:lnTo>
                      <a:pt x="3" y="8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59" name="Freeform 98">
                <a:extLst>
                  <a:ext uri="{FF2B5EF4-FFF2-40B4-BE49-F238E27FC236}">
                    <a16:creationId xmlns:a16="http://schemas.microsoft.com/office/drawing/2014/main" id="{C9CD4CA0-D1FC-4FA1-BC48-5EA4E8CAE69F}"/>
                  </a:ext>
                </a:extLst>
              </p:cNvPr>
              <p:cNvSpPr>
                <a:spLocks/>
              </p:cNvSpPr>
              <p:nvPr/>
            </p:nvSpPr>
            <p:spPr bwMode="auto">
              <a:xfrm>
                <a:off x="9153526" y="6502401"/>
                <a:ext cx="555625" cy="3049588"/>
              </a:xfrm>
              <a:custGeom>
                <a:avLst/>
                <a:gdLst>
                  <a:gd name="T0" fmla="*/ 5 w 350"/>
                  <a:gd name="T1" fmla="*/ 1921 h 1921"/>
                  <a:gd name="T2" fmla="*/ 0 w 350"/>
                  <a:gd name="T3" fmla="*/ 1921 h 1921"/>
                  <a:gd name="T4" fmla="*/ 344 w 350"/>
                  <a:gd name="T5" fmla="*/ 0 h 1921"/>
                  <a:gd name="T6" fmla="*/ 350 w 350"/>
                  <a:gd name="T7" fmla="*/ 1 h 1921"/>
                  <a:gd name="T8" fmla="*/ 5 w 350"/>
                  <a:gd name="T9" fmla="*/ 1921 h 1921"/>
                </a:gdLst>
                <a:ahLst/>
                <a:cxnLst>
                  <a:cxn ang="0">
                    <a:pos x="T0" y="T1"/>
                  </a:cxn>
                  <a:cxn ang="0">
                    <a:pos x="T2" y="T3"/>
                  </a:cxn>
                  <a:cxn ang="0">
                    <a:pos x="T4" y="T5"/>
                  </a:cxn>
                  <a:cxn ang="0">
                    <a:pos x="T6" y="T7"/>
                  </a:cxn>
                  <a:cxn ang="0">
                    <a:pos x="T8" y="T9"/>
                  </a:cxn>
                </a:cxnLst>
                <a:rect l="0" t="0" r="r" b="b"/>
                <a:pathLst>
                  <a:path w="350" h="1921">
                    <a:moveTo>
                      <a:pt x="5" y="1921"/>
                    </a:moveTo>
                    <a:lnTo>
                      <a:pt x="0" y="1921"/>
                    </a:lnTo>
                    <a:lnTo>
                      <a:pt x="344" y="0"/>
                    </a:lnTo>
                    <a:lnTo>
                      <a:pt x="350" y="1"/>
                    </a:lnTo>
                    <a:lnTo>
                      <a:pt x="5" y="19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60" name="Freeform 99">
                <a:extLst>
                  <a:ext uri="{FF2B5EF4-FFF2-40B4-BE49-F238E27FC236}">
                    <a16:creationId xmlns:a16="http://schemas.microsoft.com/office/drawing/2014/main" id="{18238A1F-91D5-47CB-985B-6210B5BFB45A}"/>
                  </a:ext>
                </a:extLst>
              </p:cNvPr>
              <p:cNvSpPr>
                <a:spLocks/>
              </p:cNvSpPr>
              <p:nvPr/>
            </p:nvSpPr>
            <p:spPr bwMode="auto">
              <a:xfrm>
                <a:off x="10217151" y="6472238"/>
                <a:ext cx="563563" cy="1211263"/>
              </a:xfrm>
              <a:custGeom>
                <a:avLst/>
                <a:gdLst>
                  <a:gd name="T0" fmla="*/ 164 w 355"/>
                  <a:gd name="T1" fmla="*/ 763 h 763"/>
                  <a:gd name="T2" fmla="*/ 162 w 355"/>
                  <a:gd name="T3" fmla="*/ 758 h 763"/>
                  <a:gd name="T4" fmla="*/ 348 w 355"/>
                  <a:gd name="T5" fmla="*/ 718 h 763"/>
                  <a:gd name="T6" fmla="*/ 236 w 355"/>
                  <a:gd name="T7" fmla="*/ 351 h 763"/>
                  <a:gd name="T8" fmla="*/ 0 w 355"/>
                  <a:gd name="T9" fmla="*/ 3 h 763"/>
                  <a:gd name="T10" fmla="*/ 4 w 355"/>
                  <a:gd name="T11" fmla="*/ 0 h 763"/>
                  <a:gd name="T12" fmla="*/ 240 w 355"/>
                  <a:gd name="T13" fmla="*/ 348 h 763"/>
                  <a:gd name="T14" fmla="*/ 241 w 355"/>
                  <a:gd name="T15" fmla="*/ 350 h 763"/>
                  <a:gd name="T16" fmla="*/ 355 w 355"/>
                  <a:gd name="T17" fmla="*/ 722 h 763"/>
                  <a:gd name="T18" fmla="*/ 164 w 355"/>
                  <a:gd name="T19" fmla="*/ 76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763">
                    <a:moveTo>
                      <a:pt x="164" y="763"/>
                    </a:moveTo>
                    <a:lnTo>
                      <a:pt x="162" y="758"/>
                    </a:lnTo>
                    <a:lnTo>
                      <a:pt x="348" y="718"/>
                    </a:lnTo>
                    <a:lnTo>
                      <a:pt x="236" y="351"/>
                    </a:lnTo>
                    <a:lnTo>
                      <a:pt x="0" y="3"/>
                    </a:lnTo>
                    <a:lnTo>
                      <a:pt x="4" y="0"/>
                    </a:lnTo>
                    <a:lnTo>
                      <a:pt x="240" y="348"/>
                    </a:lnTo>
                    <a:lnTo>
                      <a:pt x="241" y="350"/>
                    </a:lnTo>
                    <a:lnTo>
                      <a:pt x="355" y="722"/>
                    </a:lnTo>
                    <a:lnTo>
                      <a:pt x="164" y="7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61" name="Oval 100">
                <a:extLst>
                  <a:ext uri="{FF2B5EF4-FFF2-40B4-BE49-F238E27FC236}">
                    <a16:creationId xmlns:a16="http://schemas.microsoft.com/office/drawing/2014/main" id="{0C4E6589-80BC-4A05-AE0F-0BAA9BA4D631}"/>
                  </a:ext>
                </a:extLst>
              </p:cNvPr>
              <p:cNvSpPr>
                <a:spLocks noChangeArrowheads="1"/>
              </p:cNvSpPr>
              <p:nvPr/>
            </p:nvSpPr>
            <p:spPr bwMode="auto">
              <a:xfrm>
                <a:off x="10218738" y="8782051"/>
                <a:ext cx="34925" cy="33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62" name="Oval 101">
                <a:extLst>
                  <a:ext uri="{FF2B5EF4-FFF2-40B4-BE49-F238E27FC236}">
                    <a16:creationId xmlns:a16="http://schemas.microsoft.com/office/drawing/2014/main" id="{A0125B11-BEAA-4FA0-9947-58A36928997D}"/>
                  </a:ext>
                </a:extLst>
              </p:cNvPr>
              <p:cNvSpPr>
                <a:spLocks noChangeArrowheads="1"/>
              </p:cNvSpPr>
              <p:nvPr/>
            </p:nvSpPr>
            <p:spPr bwMode="auto">
              <a:xfrm>
                <a:off x="7493001" y="6035676"/>
                <a:ext cx="74613"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63" name="Oval 102">
                <a:extLst>
                  <a:ext uri="{FF2B5EF4-FFF2-40B4-BE49-F238E27FC236}">
                    <a16:creationId xmlns:a16="http://schemas.microsoft.com/office/drawing/2014/main" id="{9FBE33F2-E608-4AC3-8003-53A4DBFDB1A1}"/>
                  </a:ext>
                </a:extLst>
              </p:cNvPr>
              <p:cNvSpPr>
                <a:spLocks noChangeArrowheads="1"/>
              </p:cNvSpPr>
              <p:nvPr/>
            </p:nvSpPr>
            <p:spPr bwMode="auto">
              <a:xfrm>
                <a:off x="7534276" y="611663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64" name="Freeform 103">
                <a:extLst>
                  <a:ext uri="{FF2B5EF4-FFF2-40B4-BE49-F238E27FC236}">
                    <a16:creationId xmlns:a16="http://schemas.microsoft.com/office/drawing/2014/main" id="{ED96515C-F09C-4500-AFDE-226A4905309E}"/>
                  </a:ext>
                </a:extLst>
              </p:cNvPr>
              <p:cNvSpPr>
                <a:spLocks/>
              </p:cNvSpPr>
              <p:nvPr/>
            </p:nvSpPr>
            <p:spPr bwMode="auto">
              <a:xfrm>
                <a:off x="9559926" y="8361363"/>
                <a:ext cx="681038" cy="441325"/>
              </a:xfrm>
              <a:custGeom>
                <a:avLst/>
                <a:gdLst>
                  <a:gd name="T0" fmla="*/ 425 w 429"/>
                  <a:gd name="T1" fmla="*/ 278 h 278"/>
                  <a:gd name="T2" fmla="*/ 197 w 429"/>
                  <a:gd name="T3" fmla="*/ 16 h 278"/>
                  <a:gd name="T4" fmla="*/ 0 w 429"/>
                  <a:gd name="T5" fmla="*/ 6 h 278"/>
                  <a:gd name="T6" fmla="*/ 0 w 429"/>
                  <a:gd name="T7" fmla="*/ 0 h 278"/>
                  <a:gd name="T8" fmla="*/ 199 w 429"/>
                  <a:gd name="T9" fmla="*/ 11 h 278"/>
                  <a:gd name="T10" fmla="*/ 429 w 429"/>
                  <a:gd name="T11" fmla="*/ 274 h 278"/>
                  <a:gd name="T12" fmla="*/ 425 w 429"/>
                  <a:gd name="T13" fmla="*/ 278 h 278"/>
                </a:gdLst>
                <a:ahLst/>
                <a:cxnLst>
                  <a:cxn ang="0">
                    <a:pos x="T0" y="T1"/>
                  </a:cxn>
                  <a:cxn ang="0">
                    <a:pos x="T2" y="T3"/>
                  </a:cxn>
                  <a:cxn ang="0">
                    <a:pos x="T4" y="T5"/>
                  </a:cxn>
                  <a:cxn ang="0">
                    <a:pos x="T6" y="T7"/>
                  </a:cxn>
                  <a:cxn ang="0">
                    <a:pos x="T8" y="T9"/>
                  </a:cxn>
                  <a:cxn ang="0">
                    <a:pos x="T10" y="T11"/>
                  </a:cxn>
                  <a:cxn ang="0">
                    <a:pos x="T12" y="T13"/>
                  </a:cxn>
                </a:cxnLst>
                <a:rect l="0" t="0" r="r" b="b"/>
                <a:pathLst>
                  <a:path w="429" h="278">
                    <a:moveTo>
                      <a:pt x="425" y="278"/>
                    </a:moveTo>
                    <a:lnTo>
                      <a:pt x="197" y="16"/>
                    </a:lnTo>
                    <a:lnTo>
                      <a:pt x="0" y="6"/>
                    </a:lnTo>
                    <a:lnTo>
                      <a:pt x="0" y="0"/>
                    </a:lnTo>
                    <a:lnTo>
                      <a:pt x="199" y="11"/>
                    </a:lnTo>
                    <a:lnTo>
                      <a:pt x="429" y="274"/>
                    </a:lnTo>
                    <a:lnTo>
                      <a:pt x="425"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65" name="Freeform 104">
                <a:extLst>
                  <a:ext uri="{FF2B5EF4-FFF2-40B4-BE49-F238E27FC236}">
                    <a16:creationId xmlns:a16="http://schemas.microsoft.com/office/drawing/2014/main" id="{7A3BF3D5-B8E3-4608-AEBC-E26B1F133782}"/>
                  </a:ext>
                </a:extLst>
              </p:cNvPr>
              <p:cNvSpPr>
                <a:spLocks/>
              </p:cNvSpPr>
              <p:nvPr/>
            </p:nvSpPr>
            <p:spPr bwMode="auto">
              <a:xfrm>
                <a:off x="6786563" y="7118351"/>
                <a:ext cx="225425" cy="1262063"/>
              </a:xfrm>
              <a:custGeom>
                <a:avLst/>
                <a:gdLst>
                  <a:gd name="T0" fmla="*/ 93 w 142"/>
                  <a:gd name="T1" fmla="*/ 795 h 795"/>
                  <a:gd name="T2" fmla="*/ 16 w 142"/>
                  <a:gd name="T3" fmla="*/ 514 h 795"/>
                  <a:gd name="T4" fmla="*/ 0 w 142"/>
                  <a:gd name="T5" fmla="*/ 436 h 795"/>
                  <a:gd name="T6" fmla="*/ 0 w 142"/>
                  <a:gd name="T7" fmla="*/ 436 h 795"/>
                  <a:gd name="T8" fmla="*/ 38 w 142"/>
                  <a:gd name="T9" fmla="*/ 0 h 795"/>
                  <a:gd name="T10" fmla="*/ 43 w 142"/>
                  <a:gd name="T11" fmla="*/ 0 h 795"/>
                  <a:gd name="T12" fmla="*/ 5 w 142"/>
                  <a:gd name="T13" fmla="*/ 436 h 795"/>
                  <a:gd name="T14" fmla="*/ 22 w 142"/>
                  <a:gd name="T15" fmla="*/ 512 h 795"/>
                  <a:gd name="T16" fmla="*/ 92 w 142"/>
                  <a:gd name="T17" fmla="*/ 771 h 795"/>
                  <a:gd name="T18" fmla="*/ 137 w 142"/>
                  <a:gd name="T19" fmla="*/ 503 h 795"/>
                  <a:gd name="T20" fmla="*/ 121 w 142"/>
                  <a:gd name="T21" fmla="*/ 355 h 795"/>
                  <a:gd name="T22" fmla="*/ 62 w 142"/>
                  <a:gd name="T23" fmla="*/ 196 h 795"/>
                  <a:gd name="T24" fmla="*/ 68 w 142"/>
                  <a:gd name="T25" fmla="*/ 194 h 795"/>
                  <a:gd name="T26" fmla="*/ 126 w 142"/>
                  <a:gd name="T27" fmla="*/ 353 h 795"/>
                  <a:gd name="T28" fmla="*/ 142 w 142"/>
                  <a:gd name="T29" fmla="*/ 503 h 795"/>
                  <a:gd name="T30" fmla="*/ 142 w 142"/>
                  <a:gd name="T31" fmla="*/ 504 h 795"/>
                  <a:gd name="T32" fmla="*/ 93 w 142"/>
                  <a:gd name="T33" fmla="*/ 795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795">
                    <a:moveTo>
                      <a:pt x="93" y="795"/>
                    </a:moveTo>
                    <a:lnTo>
                      <a:pt x="16" y="514"/>
                    </a:lnTo>
                    <a:lnTo>
                      <a:pt x="0" y="436"/>
                    </a:lnTo>
                    <a:lnTo>
                      <a:pt x="0" y="436"/>
                    </a:lnTo>
                    <a:lnTo>
                      <a:pt x="38" y="0"/>
                    </a:lnTo>
                    <a:lnTo>
                      <a:pt x="43" y="0"/>
                    </a:lnTo>
                    <a:lnTo>
                      <a:pt x="5" y="436"/>
                    </a:lnTo>
                    <a:lnTo>
                      <a:pt x="22" y="512"/>
                    </a:lnTo>
                    <a:lnTo>
                      <a:pt x="92" y="771"/>
                    </a:lnTo>
                    <a:lnTo>
                      <a:pt x="137" y="503"/>
                    </a:lnTo>
                    <a:lnTo>
                      <a:pt x="121" y="355"/>
                    </a:lnTo>
                    <a:lnTo>
                      <a:pt x="62" y="196"/>
                    </a:lnTo>
                    <a:lnTo>
                      <a:pt x="68" y="194"/>
                    </a:lnTo>
                    <a:lnTo>
                      <a:pt x="126" y="353"/>
                    </a:lnTo>
                    <a:lnTo>
                      <a:pt x="142" y="503"/>
                    </a:lnTo>
                    <a:lnTo>
                      <a:pt x="142" y="504"/>
                    </a:lnTo>
                    <a:lnTo>
                      <a:pt x="93" y="7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66" name="Freeform 105">
                <a:extLst>
                  <a:ext uri="{FF2B5EF4-FFF2-40B4-BE49-F238E27FC236}">
                    <a16:creationId xmlns:a16="http://schemas.microsoft.com/office/drawing/2014/main" id="{3856157D-6D35-438E-B3E2-5CEE9C8439A5}"/>
                  </a:ext>
                </a:extLst>
              </p:cNvPr>
              <p:cNvSpPr>
                <a:spLocks noEditPoints="1"/>
              </p:cNvSpPr>
              <p:nvPr/>
            </p:nvSpPr>
            <p:spPr bwMode="auto">
              <a:xfrm>
                <a:off x="6811963" y="7408863"/>
                <a:ext cx="200025" cy="971550"/>
              </a:xfrm>
              <a:custGeom>
                <a:avLst/>
                <a:gdLst>
                  <a:gd name="T0" fmla="*/ 73 w 126"/>
                  <a:gd name="T1" fmla="*/ 612 h 612"/>
                  <a:gd name="T2" fmla="*/ 0 w 126"/>
                  <a:gd name="T3" fmla="*/ 310 h 612"/>
                  <a:gd name="T4" fmla="*/ 0 w 126"/>
                  <a:gd name="T5" fmla="*/ 309 h 612"/>
                  <a:gd name="T6" fmla="*/ 48 w 126"/>
                  <a:gd name="T7" fmla="*/ 0 h 612"/>
                  <a:gd name="T8" fmla="*/ 110 w 126"/>
                  <a:gd name="T9" fmla="*/ 170 h 612"/>
                  <a:gd name="T10" fmla="*/ 126 w 126"/>
                  <a:gd name="T11" fmla="*/ 325 h 612"/>
                  <a:gd name="T12" fmla="*/ 73 w 126"/>
                  <a:gd name="T13" fmla="*/ 612 h 612"/>
                  <a:gd name="T14" fmla="*/ 6 w 126"/>
                  <a:gd name="T15" fmla="*/ 309 h 612"/>
                  <a:gd name="T16" fmla="*/ 73 w 126"/>
                  <a:gd name="T17" fmla="*/ 587 h 612"/>
                  <a:gd name="T18" fmla="*/ 121 w 126"/>
                  <a:gd name="T19" fmla="*/ 325 h 612"/>
                  <a:gd name="T20" fmla="*/ 105 w 126"/>
                  <a:gd name="T21" fmla="*/ 172 h 612"/>
                  <a:gd name="T22" fmla="*/ 50 w 126"/>
                  <a:gd name="T23" fmla="*/ 22 h 612"/>
                  <a:gd name="T24" fmla="*/ 6 w 126"/>
                  <a:gd name="T25" fmla="*/ 309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612">
                    <a:moveTo>
                      <a:pt x="73" y="612"/>
                    </a:moveTo>
                    <a:lnTo>
                      <a:pt x="0" y="310"/>
                    </a:lnTo>
                    <a:lnTo>
                      <a:pt x="0" y="309"/>
                    </a:lnTo>
                    <a:lnTo>
                      <a:pt x="48" y="0"/>
                    </a:lnTo>
                    <a:lnTo>
                      <a:pt x="110" y="170"/>
                    </a:lnTo>
                    <a:lnTo>
                      <a:pt x="126" y="325"/>
                    </a:lnTo>
                    <a:lnTo>
                      <a:pt x="73" y="612"/>
                    </a:lnTo>
                    <a:close/>
                    <a:moveTo>
                      <a:pt x="6" y="309"/>
                    </a:moveTo>
                    <a:lnTo>
                      <a:pt x="73" y="587"/>
                    </a:lnTo>
                    <a:lnTo>
                      <a:pt x="121" y="325"/>
                    </a:lnTo>
                    <a:lnTo>
                      <a:pt x="105" y="172"/>
                    </a:lnTo>
                    <a:lnTo>
                      <a:pt x="50" y="22"/>
                    </a:lnTo>
                    <a:lnTo>
                      <a:pt x="6"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67" name="Freeform 106">
                <a:extLst>
                  <a:ext uri="{FF2B5EF4-FFF2-40B4-BE49-F238E27FC236}">
                    <a16:creationId xmlns:a16="http://schemas.microsoft.com/office/drawing/2014/main" id="{AF157791-E835-4C16-A7BC-E833583565D1}"/>
                  </a:ext>
                </a:extLst>
              </p:cNvPr>
              <p:cNvSpPr>
                <a:spLocks/>
              </p:cNvSpPr>
              <p:nvPr/>
            </p:nvSpPr>
            <p:spPr bwMode="auto">
              <a:xfrm>
                <a:off x="6846888" y="7154863"/>
                <a:ext cx="47625" cy="274638"/>
              </a:xfrm>
              <a:custGeom>
                <a:avLst/>
                <a:gdLst>
                  <a:gd name="T0" fmla="*/ 24 w 30"/>
                  <a:gd name="T1" fmla="*/ 173 h 173"/>
                  <a:gd name="T2" fmla="*/ 0 w 30"/>
                  <a:gd name="T3" fmla="*/ 1 h 173"/>
                  <a:gd name="T4" fmla="*/ 5 w 30"/>
                  <a:gd name="T5" fmla="*/ 0 h 173"/>
                  <a:gd name="T6" fmla="*/ 30 w 30"/>
                  <a:gd name="T7" fmla="*/ 171 h 173"/>
                  <a:gd name="T8" fmla="*/ 24 w 30"/>
                  <a:gd name="T9" fmla="*/ 173 h 173"/>
                </a:gdLst>
                <a:ahLst/>
                <a:cxnLst>
                  <a:cxn ang="0">
                    <a:pos x="T0" y="T1"/>
                  </a:cxn>
                  <a:cxn ang="0">
                    <a:pos x="T2" y="T3"/>
                  </a:cxn>
                  <a:cxn ang="0">
                    <a:pos x="T4" y="T5"/>
                  </a:cxn>
                  <a:cxn ang="0">
                    <a:pos x="T6" y="T7"/>
                  </a:cxn>
                  <a:cxn ang="0">
                    <a:pos x="T8" y="T9"/>
                  </a:cxn>
                </a:cxnLst>
                <a:rect l="0" t="0" r="r" b="b"/>
                <a:pathLst>
                  <a:path w="30" h="173">
                    <a:moveTo>
                      <a:pt x="24" y="173"/>
                    </a:moveTo>
                    <a:lnTo>
                      <a:pt x="0" y="1"/>
                    </a:lnTo>
                    <a:lnTo>
                      <a:pt x="5" y="0"/>
                    </a:lnTo>
                    <a:lnTo>
                      <a:pt x="30" y="171"/>
                    </a:lnTo>
                    <a:lnTo>
                      <a:pt x="2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68" name="Freeform 107">
                <a:extLst>
                  <a:ext uri="{FF2B5EF4-FFF2-40B4-BE49-F238E27FC236}">
                    <a16:creationId xmlns:a16="http://schemas.microsoft.com/office/drawing/2014/main" id="{CB27B52A-6B68-4F99-81E5-43BA8691F9BC}"/>
                  </a:ext>
                </a:extLst>
              </p:cNvPr>
              <p:cNvSpPr>
                <a:spLocks/>
              </p:cNvSpPr>
              <p:nvPr/>
            </p:nvSpPr>
            <p:spPr bwMode="auto">
              <a:xfrm>
                <a:off x="7277101" y="6154738"/>
                <a:ext cx="403225" cy="3041650"/>
              </a:xfrm>
              <a:custGeom>
                <a:avLst/>
                <a:gdLst>
                  <a:gd name="T0" fmla="*/ 248 w 254"/>
                  <a:gd name="T1" fmla="*/ 1916 h 1916"/>
                  <a:gd name="T2" fmla="*/ 0 w 254"/>
                  <a:gd name="T3" fmla="*/ 0 h 1916"/>
                  <a:gd name="T4" fmla="*/ 4 w 254"/>
                  <a:gd name="T5" fmla="*/ 0 h 1916"/>
                  <a:gd name="T6" fmla="*/ 254 w 254"/>
                  <a:gd name="T7" fmla="*/ 1916 h 1916"/>
                  <a:gd name="T8" fmla="*/ 248 w 254"/>
                  <a:gd name="T9" fmla="*/ 1916 h 1916"/>
                </a:gdLst>
                <a:ahLst/>
                <a:cxnLst>
                  <a:cxn ang="0">
                    <a:pos x="T0" y="T1"/>
                  </a:cxn>
                  <a:cxn ang="0">
                    <a:pos x="T2" y="T3"/>
                  </a:cxn>
                  <a:cxn ang="0">
                    <a:pos x="T4" y="T5"/>
                  </a:cxn>
                  <a:cxn ang="0">
                    <a:pos x="T6" y="T7"/>
                  </a:cxn>
                  <a:cxn ang="0">
                    <a:pos x="T8" y="T9"/>
                  </a:cxn>
                </a:cxnLst>
                <a:rect l="0" t="0" r="r" b="b"/>
                <a:pathLst>
                  <a:path w="254" h="1916">
                    <a:moveTo>
                      <a:pt x="248" y="1916"/>
                    </a:moveTo>
                    <a:lnTo>
                      <a:pt x="0" y="0"/>
                    </a:lnTo>
                    <a:lnTo>
                      <a:pt x="4" y="0"/>
                    </a:lnTo>
                    <a:lnTo>
                      <a:pt x="254" y="1916"/>
                    </a:lnTo>
                    <a:lnTo>
                      <a:pt x="248" y="19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69" name="Freeform 108">
                <a:extLst>
                  <a:ext uri="{FF2B5EF4-FFF2-40B4-BE49-F238E27FC236}">
                    <a16:creationId xmlns:a16="http://schemas.microsoft.com/office/drawing/2014/main" id="{4BFF998A-34D0-49ED-83CD-8B820DAC1536}"/>
                  </a:ext>
                </a:extLst>
              </p:cNvPr>
              <p:cNvSpPr>
                <a:spLocks/>
              </p:cNvSpPr>
              <p:nvPr/>
            </p:nvSpPr>
            <p:spPr bwMode="auto">
              <a:xfrm>
                <a:off x="7173913" y="5873751"/>
                <a:ext cx="404813" cy="742950"/>
              </a:xfrm>
              <a:custGeom>
                <a:avLst/>
                <a:gdLst>
                  <a:gd name="T0" fmla="*/ 41 w 255"/>
                  <a:gd name="T1" fmla="*/ 468 h 468"/>
                  <a:gd name="T2" fmla="*/ 38 w 255"/>
                  <a:gd name="T3" fmla="*/ 464 h 468"/>
                  <a:gd name="T4" fmla="*/ 140 w 255"/>
                  <a:gd name="T5" fmla="*/ 414 h 468"/>
                  <a:gd name="T6" fmla="*/ 0 w 255"/>
                  <a:gd name="T7" fmla="*/ 302 h 468"/>
                  <a:gd name="T8" fmla="*/ 65 w 255"/>
                  <a:gd name="T9" fmla="*/ 174 h 468"/>
                  <a:gd name="T10" fmla="*/ 252 w 255"/>
                  <a:gd name="T11" fmla="*/ 0 h 468"/>
                  <a:gd name="T12" fmla="*/ 255 w 255"/>
                  <a:gd name="T13" fmla="*/ 4 h 468"/>
                  <a:gd name="T14" fmla="*/ 69 w 255"/>
                  <a:gd name="T15" fmla="*/ 178 h 468"/>
                  <a:gd name="T16" fmla="*/ 7 w 255"/>
                  <a:gd name="T17" fmla="*/ 301 h 468"/>
                  <a:gd name="T18" fmla="*/ 151 w 255"/>
                  <a:gd name="T19" fmla="*/ 414 h 468"/>
                  <a:gd name="T20" fmla="*/ 41 w 255"/>
                  <a:gd name="T21"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5" h="468">
                    <a:moveTo>
                      <a:pt x="41" y="468"/>
                    </a:moveTo>
                    <a:lnTo>
                      <a:pt x="38" y="464"/>
                    </a:lnTo>
                    <a:lnTo>
                      <a:pt x="140" y="414"/>
                    </a:lnTo>
                    <a:lnTo>
                      <a:pt x="0" y="302"/>
                    </a:lnTo>
                    <a:lnTo>
                      <a:pt x="65" y="174"/>
                    </a:lnTo>
                    <a:lnTo>
                      <a:pt x="252" y="0"/>
                    </a:lnTo>
                    <a:lnTo>
                      <a:pt x="255" y="4"/>
                    </a:lnTo>
                    <a:lnTo>
                      <a:pt x="69" y="178"/>
                    </a:lnTo>
                    <a:lnTo>
                      <a:pt x="7" y="301"/>
                    </a:lnTo>
                    <a:lnTo>
                      <a:pt x="151" y="414"/>
                    </a:lnTo>
                    <a:lnTo>
                      <a:pt x="41" y="4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cxnSp>
          <p:nvCxnSpPr>
            <p:cNvPr id="10" name="Straight Connector 9">
              <a:extLst>
                <a:ext uri="{FF2B5EF4-FFF2-40B4-BE49-F238E27FC236}">
                  <a16:creationId xmlns:a16="http://schemas.microsoft.com/office/drawing/2014/main" id="{867D7678-BB08-48B4-857F-3E3A15E73029}"/>
                </a:ext>
              </a:extLst>
            </p:cNvPr>
            <p:cNvCxnSpPr>
              <a:stCxn id="560" idx="3"/>
              <a:endCxn id="545" idx="2"/>
            </p:cNvCxnSpPr>
            <p:nvPr/>
          </p:nvCxnSpPr>
          <p:spPr>
            <a:xfrm flipH="1">
              <a:off x="7470709" y="3576191"/>
              <a:ext cx="434967" cy="1261684"/>
            </a:xfrm>
            <a:prstGeom prst="line">
              <a:avLst/>
            </a:prstGeom>
            <a:grpFill/>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8F56D397-0354-4D10-A99A-6B2E6DEE485A}"/>
                </a:ext>
              </a:extLst>
            </p:cNvPr>
            <p:cNvSpPr/>
            <p:nvPr/>
          </p:nvSpPr>
          <p:spPr>
            <a:xfrm>
              <a:off x="8060651" y="4577752"/>
              <a:ext cx="71351" cy="71351"/>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cxnSp>
          <p:nvCxnSpPr>
            <p:cNvPr id="22" name="Straight Connector 21">
              <a:extLst>
                <a:ext uri="{FF2B5EF4-FFF2-40B4-BE49-F238E27FC236}">
                  <a16:creationId xmlns:a16="http://schemas.microsoft.com/office/drawing/2014/main" id="{E7B73991-6BF1-4792-B543-E4322F3D76F7}"/>
                </a:ext>
              </a:extLst>
            </p:cNvPr>
            <p:cNvCxnSpPr>
              <a:stCxn id="553" idx="58"/>
              <a:endCxn id="552" idx="42"/>
            </p:cNvCxnSpPr>
            <p:nvPr/>
          </p:nvCxnSpPr>
          <p:spPr>
            <a:xfrm>
              <a:off x="7459478" y="3557066"/>
              <a:ext cx="441420" cy="1206337"/>
            </a:xfrm>
            <a:prstGeom prst="line">
              <a:avLst/>
            </a:prstGeom>
            <a:grpFill/>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45" name="TextBox 344">
            <a:extLst>
              <a:ext uri="{FF2B5EF4-FFF2-40B4-BE49-F238E27FC236}">
                <a16:creationId xmlns:a16="http://schemas.microsoft.com/office/drawing/2014/main" id="{C5DF5BF7-C1BA-4B5F-A752-C5D142A1432F}"/>
              </a:ext>
            </a:extLst>
          </p:cNvPr>
          <p:cNvSpPr txBox="1"/>
          <p:nvPr/>
        </p:nvSpPr>
        <p:spPr>
          <a:xfrm>
            <a:off x="312758" y="3121357"/>
            <a:ext cx="2042318" cy="1092607"/>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l" defTabSz="457200" rtl="0" eaLnBrk="1" fontAlgn="base" latinLnBrk="0" hangingPunct="1">
              <a:lnSpc>
                <a:spcPct val="150000"/>
              </a:lnSpc>
              <a:spcBef>
                <a:spcPct val="0"/>
              </a:spcBef>
              <a:spcAft>
                <a:spcPts val="600"/>
              </a:spcAft>
              <a:buClrTx/>
              <a:buSzTx/>
              <a:buFontTx/>
              <a:buNone/>
              <a:tabLst/>
              <a:defRPr/>
            </a:pPr>
            <a:r>
              <a:rPr kumimoji="0" lang="en-US" sz="1600" b="0" i="0" u="none" strike="noStrike" kern="1200" cap="none" spc="0" normalizeH="0" baseline="0" noProof="0" dirty="0">
                <a:ln>
                  <a:noFill/>
                </a:ln>
                <a:solidFill>
                  <a:srgbClr val="00BCEB"/>
                </a:solidFill>
                <a:effectLst/>
                <a:uLnTx/>
                <a:uFillTx/>
                <a:latin typeface="CiscoSansTT ExtraLight"/>
                <a:ea typeface="ＭＳ Ｐゴシック" charset="0"/>
              </a:rPr>
              <a:t>See everything</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5073"/>
                </a:solidFill>
                <a:effectLst/>
                <a:uLnTx/>
                <a:uFillTx/>
                <a:latin typeface="CiscoSansTT ExtraLight"/>
                <a:ea typeface="ＭＳ Ｐゴシック" charset="0"/>
              </a:rPr>
              <a:t>Transform the network into a powerful security sensor for complete visibility</a:t>
            </a:r>
          </a:p>
        </p:txBody>
      </p:sp>
      <p:grpSp>
        <p:nvGrpSpPr>
          <p:cNvPr id="37" name="Group 26">
            <a:extLst>
              <a:ext uri="{FF2B5EF4-FFF2-40B4-BE49-F238E27FC236}">
                <a16:creationId xmlns:a16="http://schemas.microsoft.com/office/drawing/2014/main" id="{1F14CE90-DACB-473C-B211-1B43ED14351E}"/>
              </a:ext>
            </a:extLst>
          </p:cNvPr>
          <p:cNvGrpSpPr>
            <a:grpSpLocks noChangeAspect="1"/>
          </p:cNvGrpSpPr>
          <p:nvPr/>
        </p:nvGrpSpPr>
        <p:grpSpPr bwMode="auto">
          <a:xfrm>
            <a:off x="3168647" y="1960561"/>
            <a:ext cx="495300" cy="498475"/>
            <a:chOff x="1996" y="1235"/>
            <a:chExt cx="312" cy="314"/>
          </a:xfrm>
          <a:effectLst>
            <a:glow rad="50800">
              <a:schemeClr val="accent5"/>
            </a:glow>
          </a:effectLst>
        </p:grpSpPr>
        <p:sp>
          <p:nvSpPr>
            <p:cNvPr id="39" name="Freeform 27">
              <a:extLst>
                <a:ext uri="{FF2B5EF4-FFF2-40B4-BE49-F238E27FC236}">
                  <a16:creationId xmlns:a16="http://schemas.microsoft.com/office/drawing/2014/main" id="{AEB5E740-BB7B-4E1D-B691-72DCEC22C1C5}"/>
                </a:ext>
              </a:extLst>
            </p:cNvPr>
            <p:cNvSpPr>
              <a:spLocks/>
            </p:cNvSpPr>
            <p:nvPr/>
          </p:nvSpPr>
          <p:spPr bwMode="auto">
            <a:xfrm>
              <a:off x="1996" y="1235"/>
              <a:ext cx="312" cy="314"/>
            </a:xfrm>
            <a:custGeom>
              <a:avLst/>
              <a:gdLst>
                <a:gd name="T0" fmla="*/ 0 w 2839"/>
                <a:gd name="T1" fmla="*/ 1412 h 2825"/>
                <a:gd name="T2" fmla="*/ 0 w 2839"/>
                <a:gd name="T3" fmla="*/ 1412 h 2825"/>
                <a:gd name="T4" fmla="*/ 1419 w 2839"/>
                <a:gd name="T5" fmla="*/ 0 h 2825"/>
                <a:gd name="T6" fmla="*/ 2839 w 2839"/>
                <a:gd name="T7" fmla="*/ 1412 h 2825"/>
                <a:gd name="T8" fmla="*/ 1419 w 2839"/>
                <a:gd name="T9" fmla="*/ 2825 h 2825"/>
                <a:gd name="T10" fmla="*/ 0 w 2839"/>
                <a:gd name="T11" fmla="*/ 1412 h 2825"/>
                <a:gd name="T12" fmla="*/ 0 w 2839"/>
                <a:gd name="T13" fmla="*/ 1412 h 2825"/>
              </a:gdLst>
              <a:ahLst/>
              <a:cxnLst>
                <a:cxn ang="0">
                  <a:pos x="T0" y="T1"/>
                </a:cxn>
                <a:cxn ang="0">
                  <a:pos x="T2" y="T3"/>
                </a:cxn>
                <a:cxn ang="0">
                  <a:pos x="T4" y="T5"/>
                </a:cxn>
                <a:cxn ang="0">
                  <a:pos x="T6" y="T7"/>
                </a:cxn>
                <a:cxn ang="0">
                  <a:pos x="T8" y="T9"/>
                </a:cxn>
                <a:cxn ang="0">
                  <a:pos x="T10" y="T11"/>
                </a:cxn>
                <a:cxn ang="0">
                  <a:pos x="T12" y="T13"/>
                </a:cxn>
              </a:cxnLst>
              <a:rect l="0" t="0" r="r" b="b"/>
              <a:pathLst>
                <a:path w="2839" h="2825">
                  <a:moveTo>
                    <a:pt x="0" y="1412"/>
                  </a:moveTo>
                  <a:lnTo>
                    <a:pt x="0" y="1412"/>
                  </a:lnTo>
                  <a:cubicBezTo>
                    <a:pt x="0" y="631"/>
                    <a:pt x="635" y="0"/>
                    <a:pt x="1419" y="0"/>
                  </a:cubicBezTo>
                  <a:cubicBezTo>
                    <a:pt x="2204" y="0"/>
                    <a:pt x="2839" y="631"/>
                    <a:pt x="2839" y="1412"/>
                  </a:cubicBezTo>
                  <a:cubicBezTo>
                    <a:pt x="2839" y="2192"/>
                    <a:pt x="2204" y="2825"/>
                    <a:pt x="1419" y="2825"/>
                  </a:cubicBezTo>
                  <a:cubicBezTo>
                    <a:pt x="635" y="2825"/>
                    <a:pt x="0" y="2192"/>
                    <a:pt x="0" y="1412"/>
                  </a:cubicBezTo>
                  <a:lnTo>
                    <a:pt x="0" y="1412"/>
                  </a:lnTo>
                  <a:close/>
                </a:path>
              </a:pathLst>
            </a:custGeom>
            <a:solidFill>
              <a:schemeClr val="bg2"/>
            </a:solidFill>
            <a:ln w="127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0" name="Freeform 28">
              <a:extLst>
                <a:ext uri="{FF2B5EF4-FFF2-40B4-BE49-F238E27FC236}">
                  <a16:creationId xmlns:a16="http://schemas.microsoft.com/office/drawing/2014/main" id="{6DCD61C9-A828-4D1E-91F4-50334E619E32}"/>
                </a:ext>
              </a:extLst>
            </p:cNvPr>
            <p:cNvSpPr>
              <a:spLocks/>
            </p:cNvSpPr>
            <p:nvPr/>
          </p:nvSpPr>
          <p:spPr bwMode="auto">
            <a:xfrm>
              <a:off x="2119" y="1437"/>
              <a:ext cx="42" cy="42"/>
            </a:xfrm>
            <a:custGeom>
              <a:avLst/>
              <a:gdLst>
                <a:gd name="T0" fmla="*/ 0 w 376"/>
                <a:gd name="T1" fmla="*/ 191 h 382"/>
                <a:gd name="T2" fmla="*/ 0 w 376"/>
                <a:gd name="T3" fmla="*/ 191 h 382"/>
                <a:gd name="T4" fmla="*/ 188 w 376"/>
                <a:gd name="T5" fmla="*/ 0 h 382"/>
                <a:gd name="T6" fmla="*/ 376 w 376"/>
                <a:gd name="T7" fmla="*/ 191 h 382"/>
                <a:gd name="T8" fmla="*/ 188 w 376"/>
                <a:gd name="T9" fmla="*/ 382 h 382"/>
                <a:gd name="T10" fmla="*/ 0 w 376"/>
                <a:gd name="T11" fmla="*/ 191 h 382"/>
                <a:gd name="T12" fmla="*/ 0 w 376"/>
                <a:gd name="T13" fmla="*/ 191 h 382"/>
              </a:gdLst>
              <a:ahLst/>
              <a:cxnLst>
                <a:cxn ang="0">
                  <a:pos x="T0" y="T1"/>
                </a:cxn>
                <a:cxn ang="0">
                  <a:pos x="T2" y="T3"/>
                </a:cxn>
                <a:cxn ang="0">
                  <a:pos x="T4" y="T5"/>
                </a:cxn>
                <a:cxn ang="0">
                  <a:pos x="T6" y="T7"/>
                </a:cxn>
                <a:cxn ang="0">
                  <a:pos x="T8" y="T9"/>
                </a:cxn>
                <a:cxn ang="0">
                  <a:pos x="T10" y="T11"/>
                </a:cxn>
                <a:cxn ang="0">
                  <a:pos x="T12" y="T13"/>
                </a:cxn>
              </a:cxnLst>
              <a:rect l="0" t="0" r="r" b="b"/>
              <a:pathLst>
                <a:path w="376" h="382">
                  <a:moveTo>
                    <a:pt x="0" y="191"/>
                  </a:moveTo>
                  <a:lnTo>
                    <a:pt x="0" y="191"/>
                  </a:lnTo>
                  <a:cubicBezTo>
                    <a:pt x="0" y="86"/>
                    <a:pt x="84" y="0"/>
                    <a:pt x="188" y="0"/>
                  </a:cubicBezTo>
                  <a:cubicBezTo>
                    <a:pt x="291" y="0"/>
                    <a:pt x="376" y="86"/>
                    <a:pt x="376" y="191"/>
                  </a:cubicBezTo>
                  <a:cubicBezTo>
                    <a:pt x="376" y="297"/>
                    <a:pt x="291" y="382"/>
                    <a:pt x="188" y="382"/>
                  </a:cubicBezTo>
                  <a:cubicBezTo>
                    <a:pt x="84" y="382"/>
                    <a:pt x="0" y="297"/>
                    <a:pt x="0" y="191"/>
                  </a:cubicBezTo>
                  <a:lnTo>
                    <a:pt x="0" y="191"/>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 name="Freeform 29">
              <a:extLst>
                <a:ext uri="{FF2B5EF4-FFF2-40B4-BE49-F238E27FC236}">
                  <a16:creationId xmlns:a16="http://schemas.microsoft.com/office/drawing/2014/main" id="{1A5EC84A-0566-4D49-A4BB-257B4D533218}"/>
                </a:ext>
              </a:extLst>
            </p:cNvPr>
            <p:cNvSpPr>
              <a:spLocks/>
            </p:cNvSpPr>
            <p:nvPr/>
          </p:nvSpPr>
          <p:spPr bwMode="auto">
            <a:xfrm>
              <a:off x="2119" y="1437"/>
              <a:ext cx="42" cy="42"/>
            </a:xfrm>
            <a:custGeom>
              <a:avLst/>
              <a:gdLst>
                <a:gd name="T0" fmla="*/ 0 w 376"/>
                <a:gd name="T1" fmla="*/ 191 h 382"/>
                <a:gd name="T2" fmla="*/ 0 w 376"/>
                <a:gd name="T3" fmla="*/ 191 h 382"/>
                <a:gd name="T4" fmla="*/ 188 w 376"/>
                <a:gd name="T5" fmla="*/ 0 h 382"/>
                <a:gd name="T6" fmla="*/ 376 w 376"/>
                <a:gd name="T7" fmla="*/ 191 h 382"/>
                <a:gd name="T8" fmla="*/ 188 w 376"/>
                <a:gd name="T9" fmla="*/ 382 h 382"/>
                <a:gd name="T10" fmla="*/ 0 w 376"/>
                <a:gd name="T11" fmla="*/ 191 h 382"/>
                <a:gd name="T12" fmla="*/ 0 w 376"/>
                <a:gd name="T13" fmla="*/ 191 h 382"/>
              </a:gdLst>
              <a:ahLst/>
              <a:cxnLst>
                <a:cxn ang="0">
                  <a:pos x="T0" y="T1"/>
                </a:cxn>
                <a:cxn ang="0">
                  <a:pos x="T2" y="T3"/>
                </a:cxn>
                <a:cxn ang="0">
                  <a:pos x="T4" y="T5"/>
                </a:cxn>
                <a:cxn ang="0">
                  <a:pos x="T6" y="T7"/>
                </a:cxn>
                <a:cxn ang="0">
                  <a:pos x="T8" y="T9"/>
                </a:cxn>
                <a:cxn ang="0">
                  <a:pos x="T10" y="T11"/>
                </a:cxn>
                <a:cxn ang="0">
                  <a:pos x="T12" y="T13"/>
                </a:cxn>
              </a:cxnLst>
              <a:rect l="0" t="0" r="r" b="b"/>
              <a:pathLst>
                <a:path w="376" h="382">
                  <a:moveTo>
                    <a:pt x="0" y="191"/>
                  </a:moveTo>
                  <a:lnTo>
                    <a:pt x="0" y="191"/>
                  </a:lnTo>
                  <a:cubicBezTo>
                    <a:pt x="0" y="86"/>
                    <a:pt x="84" y="0"/>
                    <a:pt x="188" y="0"/>
                  </a:cubicBezTo>
                  <a:cubicBezTo>
                    <a:pt x="291" y="0"/>
                    <a:pt x="376" y="86"/>
                    <a:pt x="376" y="191"/>
                  </a:cubicBezTo>
                  <a:cubicBezTo>
                    <a:pt x="376" y="297"/>
                    <a:pt x="291" y="382"/>
                    <a:pt x="188" y="382"/>
                  </a:cubicBezTo>
                  <a:cubicBezTo>
                    <a:pt x="84" y="382"/>
                    <a:pt x="0" y="297"/>
                    <a:pt x="0" y="191"/>
                  </a:cubicBezTo>
                  <a:lnTo>
                    <a:pt x="0" y="191"/>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2" name="Freeform 30">
              <a:extLst>
                <a:ext uri="{FF2B5EF4-FFF2-40B4-BE49-F238E27FC236}">
                  <a16:creationId xmlns:a16="http://schemas.microsoft.com/office/drawing/2014/main" id="{06D9E275-F0C7-4643-BFBF-35B9F75CE554}"/>
                </a:ext>
              </a:extLst>
            </p:cNvPr>
            <p:cNvSpPr>
              <a:spLocks/>
            </p:cNvSpPr>
            <p:nvPr/>
          </p:nvSpPr>
          <p:spPr bwMode="auto">
            <a:xfrm>
              <a:off x="2075" y="1449"/>
              <a:ext cx="74" cy="18"/>
            </a:xfrm>
            <a:custGeom>
              <a:avLst/>
              <a:gdLst>
                <a:gd name="T0" fmla="*/ 0 w 679"/>
                <a:gd name="T1" fmla="*/ 69 h 164"/>
                <a:gd name="T2" fmla="*/ 0 w 679"/>
                <a:gd name="T3" fmla="*/ 69 h 164"/>
                <a:gd name="T4" fmla="*/ 69 w 679"/>
                <a:gd name="T5" fmla="*/ 0 h 164"/>
                <a:gd name="T6" fmla="*/ 610 w 679"/>
                <a:gd name="T7" fmla="*/ 0 h 164"/>
                <a:gd name="T8" fmla="*/ 679 w 679"/>
                <a:gd name="T9" fmla="*/ 69 h 164"/>
                <a:gd name="T10" fmla="*/ 679 w 679"/>
                <a:gd name="T11" fmla="*/ 95 h 164"/>
                <a:gd name="T12" fmla="*/ 610 w 679"/>
                <a:gd name="T13" fmla="*/ 164 h 164"/>
                <a:gd name="T14" fmla="*/ 69 w 679"/>
                <a:gd name="T15" fmla="*/ 164 h 164"/>
                <a:gd name="T16" fmla="*/ 0 w 679"/>
                <a:gd name="T17" fmla="*/ 95 h 164"/>
                <a:gd name="T18" fmla="*/ 0 w 679"/>
                <a:gd name="T19" fmla="*/ 6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9" h="164">
                  <a:moveTo>
                    <a:pt x="0" y="69"/>
                  </a:moveTo>
                  <a:lnTo>
                    <a:pt x="0" y="69"/>
                  </a:lnTo>
                  <a:cubicBezTo>
                    <a:pt x="0" y="31"/>
                    <a:pt x="31" y="0"/>
                    <a:pt x="69" y="0"/>
                  </a:cubicBezTo>
                  <a:lnTo>
                    <a:pt x="610" y="0"/>
                  </a:lnTo>
                  <a:cubicBezTo>
                    <a:pt x="648" y="0"/>
                    <a:pt x="679" y="31"/>
                    <a:pt x="679" y="69"/>
                  </a:cubicBezTo>
                  <a:lnTo>
                    <a:pt x="679" y="95"/>
                  </a:lnTo>
                  <a:cubicBezTo>
                    <a:pt x="679" y="133"/>
                    <a:pt x="648" y="164"/>
                    <a:pt x="610" y="164"/>
                  </a:cubicBezTo>
                  <a:lnTo>
                    <a:pt x="69" y="164"/>
                  </a:lnTo>
                  <a:cubicBezTo>
                    <a:pt x="31" y="164"/>
                    <a:pt x="0" y="133"/>
                    <a:pt x="0" y="95"/>
                  </a:cubicBezTo>
                  <a:lnTo>
                    <a:pt x="0" y="69"/>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3" name="Freeform 31">
              <a:extLst>
                <a:ext uri="{FF2B5EF4-FFF2-40B4-BE49-F238E27FC236}">
                  <a16:creationId xmlns:a16="http://schemas.microsoft.com/office/drawing/2014/main" id="{C8991B68-9319-403D-803E-777A7CEA628F}"/>
                </a:ext>
              </a:extLst>
            </p:cNvPr>
            <p:cNvSpPr>
              <a:spLocks/>
            </p:cNvSpPr>
            <p:nvPr/>
          </p:nvSpPr>
          <p:spPr bwMode="auto">
            <a:xfrm>
              <a:off x="2075" y="1449"/>
              <a:ext cx="74" cy="18"/>
            </a:xfrm>
            <a:custGeom>
              <a:avLst/>
              <a:gdLst>
                <a:gd name="T0" fmla="*/ 0 w 679"/>
                <a:gd name="T1" fmla="*/ 69 h 164"/>
                <a:gd name="T2" fmla="*/ 0 w 679"/>
                <a:gd name="T3" fmla="*/ 69 h 164"/>
                <a:gd name="T4" fmla="*/ 69 w 679"/>
                <a:gd name="T5" fmla="*/ 0 h 164"/>
                <a:gd name="T6" fmla="*/ 610 w 679"/>
                <a:gd name="T7" fmla="*/ 0 h 164"/>
                <a:gd name="T8" fmla="*/ 679 w 679"/>
                <a:gd name="T9" fmla="*/ 69 h 164"/>
                <a:gd name="T10" fmla="*/ 679 w 679"/>
                <a:gd name="T11" fmla="*/ 95 h 164"/>
                <a:gd name="T12" fmla="*/ 610 w 679"/>
                <a:gd name="T13" fmla="*/ 164 h 164"/>
                <a:gd name="T14" fmla="*/ 69 w 679"/>
                <a:gd name="T15" fmla="*/ 164 h 164"/>
                <a:gd name="T16" fmla="*/ 0 w 679"/>
                <a:gd name="T17" fmla="*/ 95 h 164"/>
                <a:gd name="T18" fmla="*/ 0 w 679"/>
                <a:gd name="T19" fmla="*/ 6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9" h="164">
                  <a:moveTo>
                    <a:pt x="0" y="69"/>
                  </a:moveTo>
                  <a:lnTo>
                    <a:pt x="0" y="69"/>
                  </a:lnTo>
                  <a:cubicBezTo>
                    <a:pt x="0" y="31"/>
                    <a:pt x="31" y="0"/>
                    <a:pt x="69" y="0"/>
                  </a:cubicBezTo>
                  <a:lnTo>
                    <a:pt x="610" y="0"/>
                  </a:lnTo>
                  <a:cubicBezTo>
                    <a:pt x="648" y="0"/>
                    <a:pt x="679" y="31"/>
                    <a:pt x="679" y="69"/>
                  </a:cubicBezTo>
                  <a:lnTo>
                    <a:pt x="679" y="95"/>
                  </a:lnTo>
                  <a:cubicBezTo>
                    <a:pt x="679" y="133"/>
                    <a:pt x="648" y="164"/>
                    <a:pt x="610" y="164"/>
                  </a:cubicBezTo>
                  <a:lnTo>
                    <a:pt x="69" y="164"/>
                  </a:lnTo>
                  <a:cubicBezTo>
                    <a:pt x="31" y="164"/>
                    <a:pt x="0" y="133"/>
                    <a:pt x="0" y="95"/>
                  </a:cubicBezTo>
                  <a:lnTo>
                    <a:pt x="0" y="69"/>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4" name="Freeform 32">
              <a:extLst>
                <a:ext uri="{FF2B5EF4-FFF2-40B4-BE49-F238E27FC236}">
                  <a16:creationId xmlns:a16="http://schemas.microsoft.com/office/drawing/2014/main" id="{7A88F698-2291-44C2-942A-341A21D650B7}"/>
                </a:ext>
              </a:extLst>
            </p:cNvPr>
            <p:cNvSpPr>
              <a:spLocks/>
            </p:cNvSpPr>
            <p:nvPr/>
          </p:nvSpPr>
          <p:spPr bwMode="auto">
            <a:xfrm>
              <a:off x="2130" y="1401"/>
              <a:ext cx="19" cy="60"/>
            </a:xfrm>
            <a:custGeom>
              <a:avLst/>
              <a:gdLst>
                <a:gd name="T0" fmla="*/ 155 w 171"/>
                <a:gd name="T1" fmla="*/ 0 h 540"/>
                <a:gd name="T2" fmla="*/ 155 w 171"/>
                <a:gd name="T3" fmla="*/ 0 h 540"/>
                <a:gd name="T4" fmla="*/ 171 w 171"/>
                <a:gd name="T5" fmla="*/ 16 h 540"/>
                <a:gd name="T6" fmla="*/ 171 w 171"/>
                <a:gd name="T7" fmla="*/ 523 h 540"/>
                <a:gd name="T8" fmla="*/ 155 w 171"/>
                <a:gd name="T9" fmla="*/ 540 h 540"/>
                <a:gd name="T10" fmla="*/ 16 w 171"/>
                <a:gd name="T11" fmla="*/ 540 h 540"/>
                <a:gd name="T12" fmla="*/ 0 w 171"/>
                <a:gd name="T13" fmla="*/ 523 h 540"/>
                <a:gd name="T14" fmla="*/ 0 w 171"/>
                <a:gd name="T15" fmla="*/ 16 h 540"/>
                <a:gd name="T16" fmla="*/ 16 w 171"/>
                <a:gd name="T17" fmla="*/ 0 h 540"/>
                <a:gd name="T18" fmla="*/ 155 w 171"/>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540">
                  <a:moveTo>
                    <a:pt x="155" y="0"/>
                  </a:moveTo>
                  <a:lnTo>
                    <a:pt x="155" y="0"/>
                  </a:lnTo>
                  <a:cubicBezTo>
                    <a:pt x="164" y="0"/>
                    <a:pt x="171" y="7"/>
                    <a:pt x="171" y="16"/>
                  </a:cubicBezTo>
                  <a:lnTo>
                    <a:pt x="171" y="523"/>
                  </a:lnTo>
                  <a:cubicBezTo>
                    <a:pt x="171" y="532"/>
                    <a:pt x="164" y="540"/>
                    <a:pt x="155" y="540"/>
                  </a:cubicBezTo>
                  <a:lnTo>
                    <a:pt x="16" y="540"/>
                  </a:lnTo>
                  <a:cubicBezTo>
                    <a:pt x="7" y="540"/>
                    <a:pt x="0" y="532"/>
                    <a:pt x="0" y="523"/>
                  </a:cubicBezTo>
                  <a:lnTo>
                    <a:pt x="0" y="16"/>
                  </a:lnTo>
                  <a:cubicBezTo>
                    <a:pt x="0" y="7"/>
                    <a:pt x="7" y="0"/>
                    <a:pt x="16" y="0"/>
                  </a:cubicBezTo>
                  <a:lnTo>
                    <a:pt x="155" y="0"/>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5" name="Freeform 33">
              <a:extLst>
                <a:ext uri="{FF2B5EF4-FFF2-40B4-BE49-F238E27FC236}">
                  <a16:creationId xmlns:a16="http://schemas.microsoft.com/office/drawing/2014/main" id="{C923CF85-85B4-4771-827F-52ECE3FCFA66}"/>
                </a:ext>
              </a:extLst>
            </p:cNvPr>
            <p:cNvSpPr>
              <a:spLocks/>
            </p:cNvSpPr>
            <p:nvPr/>
          </p:nvSpPr>
          <p:spPr bwMode="auto">
            <a:xfrm>
              <a:off x="2130" y="1401"/>
              <a:ext cx="19" cy="60"/>
            </a:xfrm>
            <a:custGeom>
              <a:avLst/>
              <a:gdLst>
                <a:gd name="T0" fmla="*/ 155 w 171"/>
                <a:gd name="T1" fmla="*/ 0 h 540"/>
                <a:gd name="T2" fmla="*/ 155 w 171"/>
                <a:gd name="T3" fmla="*/ 0 h 540"/>
                <a:gd name="T4" fmla="*/ 171 w 171"/>
                <a:gd name="T5" fmla="*/ 16 h 540"/>
                <a:gd name="T6" fmla="*/ 171 w 171"/>
                <a:gd name="T7" fmla="*/ 523 h 540"/>
                <a:gd name="T8" fmla="*/ 155 w 171"/>
                <a:gd name="T9" fmla="*/ 540 h 540"/>
                <a:gd name="T10" fmla="*/ 16 w 171"/>
                <a:gd name="T11" fmla="*/ 540 h 540"/>
                <a:gd name="T12" fmla="*/ 0 w 171"/>
                <a:gd name="T13" fmla="*/ 523 h 540"/>
                <a:gd name="T14" fmla="*/ 0 w 171"/>
                <a:gd name="T15" fmla="*/ 16 h 540"/>
                <a:gd name="T16" fmla="*/ 16 w 171"/>
                <a:gd name="T17" fmla="*/ 0 h 540"/>
                <a:gd name="T18" fmla="*/ 155 w 171"/>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540">
                  <a:moveTo>
                    <a:pt x="155" y="0"/>
                  </a:moveTo>
                  <a:lnTo>
                    <a:pt x="155" y="0"/>
                  </a:lnTo>
                  <a:cubicBezTo>
                    <a:pt x="164" y="0"/>
                    <a:pt x="171" y="7"/>
                    <a:pt x="171" y="16"/>
                  </a:cubicBezTo>
                  <a:lnTo>
                    <a:pt x="171" y="523"/>
                  </a:lnTo>
                  <a:cubicBezTo>
                    <a:pt x="171" y="532"/>
                    <a:pt x="164" y="540"/>
                    <a:pt x="155" y="540"/>
                  </a:cubicBezTo>
                  <a:lnTo>
                    <a:pt x="16" y="540"/>
                  </a:lnTo>
                  <a:cubicBezTo>
                    <a:pt x="7" y="540"/>
                    <a:pt x="0" y="532"/>
                    <a:pt x="0" y="523"/>
                  </a:cubicBezTo>
                  <a:lnTo>
                    <a:pt x="0" y="16"/>
                  </a:lnTo>
                  <a:cubicBezTo>
                    <a:pt x="0" y="7"/>
                    <a:pt x="7" y="0"/>
                    <a:pt x="16" y="0"/>
                  </a:cubicBezTo>
                  <a:lnTo>
                    <a:pt x="155" y="0"/>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6" name="Freeform 34">
              <a:extLst>
                <a:ext uri="{FF2B5EF4-FFF2-40B4-BE49-F238E27FC236}">
                  <a16:creationId xmlns:a16="http://schemas.microsoft.com/office/drawing/2014/main" id="{FEBA28FF-1F3E-4EDF-A7F9-05F525618482}"/>
                </a:ext>
              </a:extLst>
            </p:cNvPr>
            <p:cNvSpPr>
              <a:spLocks/>
            </p:cNvSpPr>
            <p:nvPr/>
          </p:nvSpPr>
          <p:spPr bwMode="auto">
            <a:xfrm>
              <a:off x="2130" y="1448"/>
              <a:ext cx="20" cy="20"/>
            </a:xfrm>
            <a:custGeom>
              <a:avLst/>
              <a:gdLst>
                <a:gd name="T0" fmla="*/ 0 w 180"/>
                <a:gd name="T1" fmla="*/ 0 h 176"/>
                <a:gd name="T2" fmla="*/ 0 w 180"/>
                <a:gd name="T3" fmla="*/ 0 h 176"/>
                <a:gd name="T4" fmla="*/ 26 w 180"/>
                <a:gd name="T5" fmla="*/ 111 h 176"/>
                <a:gd name="T6" fmla="*/ 116 w 180"/>
                <a:gd name="T7" fmla="*/ 166 h 176"/>
                <a:gd name="T8" fmla="*/ 126 w 180"/>
                <a:gd name="T9" fmla="*/ 162 h 176"/>
                <a:gd name="T10" fmla="*/ 127 w 180"/>
                <a:gd name="T11" fmla="*/ 160 h 176"/>
                <a:gd name="T12" fmla="*/ 129 w 180"/>
                <a:gd name="T13" fmla="*/ 162 h 176"/>
                <a:gd name="T14" fmla="*/ 149 w 180"/>
                <a:gd name="T15" fmla="*/ 147 h 176"/>
                <a:gd name="T16" fmla="*/ 151 w 180"/>
                <a:gd name="T17" fmla="*/ 145 h 176"/>
                <a:gd name="T18" fmla="*/ 151 w 180"/>
                <a:gd name="T19" fmla="*/ 145 h 176"/>
                <a:gd name="T20" fmla="*/ 151 w 180"/>
                <a:gd name="T21" fmla="*/ 145 h 176"/>
                <a:gd name="T22" fmla="*/ 154 w 180"/>
                <a:gd name="T23" fmla="*/ 145 h 176"/>
                <a:gd name="T24" fmla="*/ 156 w 180"/>
                <a:gd name="T25" fmla="*/ 143 h 176"/>
                <a:gd name="T26" fmla="*/ 156 w 180"/>
                <a:gd name="T27" fmla="*/ 143 h 176"/>
                <a:gd name="T28" fmla="*/ 156 w 180"/>
                <a:gd name="T29" fmla="*/ 140 h 176"/>
                <a:gd name="T30" fmla="*/ 157 w 180"/>
                <a:gd name="T31" fmla="*/ 138 h 176"/>
                <a:gd name="T32" fmla="*/ 157 w 180"/>
                <a:gd name="T33" fmla="*/ 138 h 176"/>
                <a:gd name="T34" fmla="*/ 157 w 180"/>
                <a:gd name="T35" fmla="*/ 138 h 176"/>
                <a:gd name="T36" fmla="*/ 172 w 180"/>
                <a:gd name="T37" fmla="*/ 115 h 176"/>
                <a:gd name="T38" fmla="*/ 171 w 180"/>
                <a:gd name="T39" fmla="*/ 113 h 176"/>
                <a:gd name="T40" fmla="*/ 172 w 180"/>
                <a:gd name="T41" fmla="*/ 112 h 176"/>
                <a:gd name="T42" fmla="*/ 174 w 180"/>
                <a:gd name="T43" fmla="*/ 104 h 176"/>
                <a:gd name="T44" fmla="*/ 111 w 180"/>
                <a:gd name="T45" fmla="*/ 19 h 176"/>
                <a:gd name="T46" fmla="*/ 0 w 180"/>
                <a:gd name="T4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0" h="176">
                  <a:moveTo>
                    <a:pt x="0" y="0"/>
                  </a:moveTo>
                  <a:lnTo>
                    <a:pt x="0" y="0"/>
                  </a:lnTo>
                  <a:cubicBezTo>
                    <a:pt x="26" y="111"/>
                    <a:pt x="26" y="111"/>
                    <a:pt x="26" y="111"/>
                  </a:cubicBezTo>
                  <a:cubicBezTo>
                    <a:pt x="36" y="150"/>
                    <a:pt x="77" y="176"/>
                    <a:pt x="116" y="166"/>
                  </a:cubicBezTo>
                  <a:cubicBezTo>
                    <a:pt x="121" y="164"/>
                    <a:pt x="123" y="162"/>
                    <a:pt x="126" y="162"/>
                  </a:cubicBezTo>
                  <a:cubicBezTo>
                    <a:pt x="126" y="162"/>
                    <a:pt x="126" y="162"/>
                    <a:pt x="127" y="160"/>
                  </a:cubicBezTo>
                  <a:cubicBezTo>
                    <a:pt x="127" y="160"/>
                    <a:pt x="127" y="160"/>
                    <a:pt x="129" y="162"/>
                  </a:cubicBezTo>
                  <a:cubicBezTo>
                    <a:pt x="137" y="157"/>
                    <a:pt x="143" y="153"/>
                    <a:pt x="149" y="147"/>
                  </a:cubicBezTo>
                  <a:cubicBezTo>
                    <a:pt x="151" y="145"/>
                    <a:pt x="151" y="145"/>
                    <a:pt x="151" y="145"/>
                  </a:cubicBezTo>
                  <a:cubicBezTo>
                    <a:pt x="151" y="145"/>
                    <a:pt x="151" y="145"/>
                    <a:pt x="151" y="145"/>
                  </a:cubicBezTo>
                  <a:cubicBezTo>
                    <a:pt x="151" y="145"/>
                    <a:pt x="151" y="145"/>
                    <a:pt x="151" y="145"/>
                  </a:cubicBezTo>
                  <a:cubicBezTo>
                    <a:pt x="151" y="145"/>
                    <a:pt x="154" y="145"/>
                    <a:pt x="154" y="145"/>
                  </a:cubicBezTo>
                  <a:cubicBezTo>
                    <a:pt x="156" y="143"/>
                    <a:pt x="156" y="143"/>
                    <a:pt x="156" y="143"/>
                  </a:cubicBezTo>
                  <a:cubicBezTo>
                    <a:pt x="156" y="143"/>
                    <a:pt x="156" y="143"/>
                    <a:pt x="156" y="143"/>
                  </a:cubicBezTo>
                  <a:cubicBezTo>
                    <a:pt x="157" y="141"/>
                    <a:pt x="156" y="140"/>
                    <a:pt x="156" y="140"/>
                  </a:cubicBezTo>
                  <a:cubicBezTo>
                    <a:pt x="156" y="140"/>
                    <a:pt x="156" y="140"/>
                    <a:pt x="157" y="138"/>
                  </a:cubicBezTo>
                  <a:cubicBezTo>
                    <a:pt x="157" y="138"/>
                    <a:pt x="157" y="138"/>
                    <a:pt x="157" y="138"/>
                  </a:cubicBezTo>
                  <a:cubicBezTo>
                    <a:pt x="157" y="138"/>
                    <a:pt x="157" y="138"/>
                    <a:pt x="157" y="138"/>
                  </a:cubicBezTo>
                  <a:cubicBezTo>
                    <a:pt x="163" y="131"/>
                    <a:pt x="168" y="123"/>
                    <a:pt x="172" y="115"/>
                  </a:cubicBezTo>
                  <a:cubicBezTo>
                    <a:pt x="171" y="113"/>
                    <a:pt x="171" y="113"/>
                    <a:pt x="171" y="113"/>
                  </a:cubicBezTo>
                  <a:cubicBezTo>
                    <a:pt x="171" y="113"/>
                    <a:pt x="171" y="113"/>
                    <a:pt x="172" y="112"/>
                  </a:cubicBezTo>
                  <a:cubicBezTo>
                    <a:pt x="172" y="109"/>
                    <a:pt x="174" y="107"/>
                    <a:pt x="174" y="104"/>
                  </a:cubicBezTo>
                  <a:cubicBezTo>
                    <a:pt x="180" y="63"/>
                    <a:pt x="152" y="25"/>
                    <a:pt x="111" y="19"/>
                  </a:cubicBezTo>
                  <a:cubicBezTo>
                    <a:pt x="0" y="0"/>
                    <a:pt x="0" y="0"/>
                    <a:pt x="0" y="0"/>
                  </a:cubicBezTo>
                  <a:close/>
                </a:path>
              </a:pathLst>
            </a:custGeom>
            <a:solidFill>
              <a:srgbClr val="F5730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 name="Freeform 35">
              <a:extLst>
                <a:ext uri="{FF2B5EF4-FFF2-40B4-BE49-F238E27FC236}">
                  <a16:creationId xmlns:a16="http://schemas.microsoft.com/office/drawing/2014/main" id="{9131B63B-3B36-40FF-A36F-78EDB087192E}"/>
                </a:ext>
              </a:extLst>
            </p:cNvPr>
            <p:cNvSpPr>
              <a:spLocks/>
            </p:cNvSpPr>
            <p:nvPr/>
          </p:nvSpPr>
          <p:spPr bwMode="auto">
            <a:xfrm>
              <a:off x="2130" y="1448"/>
              <a:ext cx="20" cy="20"/>
            </a:xfrm>
            <a:custGeom>
              <a:avLst/>
              <a:gdLst>
                <a:gd name="T0" fmla="*/ 0 w 180"/>
                <a:gd name="T1" fmla="*/ 0 h 176"/>
                <a:gd name="T2" fmla="*/ 0 w 180"/>
                <a:gd name="T3" fmla="*/ 0 h 176"/>
                <a:gd name="T4" fmla="*/ 26 w 180"/>
                <a:gd name="T5" fmla="*/ 111 h 176"/>
                <a:gd name="T6" fmla="*/ 116 w 180"/>
                <a:gd name="T7" fmla="*/ 166 h 176"/>
                <a:gd name="T8" fmla="*/ 126 w 180"/>
                <a:gd name="T9" fmla="*/ 162 h 176"/>
                <a:gd name="T10" fmla="*/ 127 w 180"/>
                <a:gd name="T11" fmla="*/ 160 h 176"/>
                <a:gd name="T12" fmla="*/ 129 w 180"/>
                <a:gd name="T13" fmla="*/ 162 h 176"/>
                <a:gd name="T14" fmla="*/ 149 w 180"/>
                <a:gd name="T15" fmla="*/ 147 h 176"/>
                <a:gd name="T16" fmla="*/ 151 w 180"/>
                <a:gd name="T17" fmla="*/ 145 h 176"/>
                <a:gd name="T18" fmla="*/ 151 w 180"/>
                <a:gd name="T19" fmla="*/ 145 h 176"/>
                <a:gd name="T20" fmla="*/ 151 w 180"/>
                <a:gd name="T21" fmla="*/ 145 h 176"/>
                <a:gd name="T22" fmla="*/ 154 w 180"/>
                <a:gd name="T23" fmla="*/ 145 h 176"/>
                <a:gd name="T24" fmla="*/ 156 w 180"/>
                <a:gd name="T25" fmla="*/ 143 h 176"/>
                <a:gd name="T26" fmla="*/ 156 w 180"/>
                <a:gd name="T27" fmla="*/ 143 h 176"/>
                <a:gd name="T28" fmla="*/ 156 w 180"/>
                <a:gd name="T29" fmla="*/ 140 h 176"/>
                <a:gd name="T30" fmla="*/ 157 w 180"/>
                <a:gd name="T31" fmla="*/ 138 h 176"/>
                <a:gd name="T32" fmla="*/ 157 w 180"/>
                <a:gd name="T33" fmla="*/ 138 h 176"/>
                <a:gd name="T34" fmla="*/ 157 w 180"/>
                <a:gd name="T35" fmla="*/ 138 h 176"/>
                <a:gd name="T36" fmla="*/ 172 w 180"/>
                <a:gd name="T37" fmla="*/ 115 h 176"/>
                <a:gd name="T38" fmla="*/ 171 w 180"/>
                <a:gd name="T39" fmla="*/ 113 h 176"/>
                <a:gd name="T40" fmla="*/ 172 w 180"/>
                <a:gd name="T41" fmla="*/ 112 h 176"/>
                <a:gd name="T42" fmla="*/ 174 w 180"/>
                <a:gd name="T43" fmla="*/ 104 h 176"/>
                <a:gd name="T44" fmla="*/ 111 w 180"/>
                <a:gd name="T45" fmla="*/ 19 h 176"/>
                <a:gd name="T46" fmla="*/ 0 w 180"/>
                <a:gd name="T4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0" h="176">
                  <a:moveTo>
                    <a:pt x="0" y="0"/>
                  </a:moveTo>
                  <a:lnTo>
                    <a:pt x="0" y="0"/>
                  </a:lnTo>
                  <a:cubicBezTo>
                    <a:pt x="26" y="111"/>
                    <a:pt x="26" y="111"/>
                    <a:pt x="26" y="111"/>
                  </a:cubicBezTo>
                  <a:cubicBezTo>
                    <a:pt x="36" y="150"/>
                    <a:pt x="77" y="176"/>
                    <a:pt x="116" y="166"/>
                  </a:cubicBezTo>
                  <a:cubicBezTo>
                    <a:pt x="121" y="164"/>
                    <a:pt x="123" y="162"/>
                    <a:pt x="126" y="162"/>
                  </a:cubicBezTo>
                  <a:cubicBezTo>
                    <a:pt x="126" y="162"/>
                    <a:pt x="126" y="162"/>
                    <a:pt x="127" y="160"/>
                  </a:cubicBezTo>
                  <a:cubicBezTo>
                    <a:pt x="127" y="160"/>
                    <a:pt x="127" y="160"/>
                    <a:pt x="129" y="162"/>
                  </a:cubicBezTo>
                  <a:cubicBezTo>
                    <a:pt x="137" y="157"/>
                    <a:pt x="143" y="153"/>
                    <a:pt x="149" y="147"/>
                  </a:cubicBezTo>
                  <a:cubicBezTo>
                    <a:pt x="151" y="145"/>
                    <a:pt x="151" y="145"/>
                    <a:pt x="151" y="145"/>
                  </a:cubicBezTo>
                  <a:cubicBezTo>
                    <a:pt x="151" y="145"/>
                    <a:pt x="151" y="145"/>
                    <a:pt x="151" y="145"/>
                  </a:cubicBezTo>
                  <a:cubicBezTo>
                    <a:pt x="151" y="145"/>
                    <a:pt x="151" y="145"/>
                    <a:pt x="151" y="145"/>
                  </a:cubicBezTo>
                  <a:cubicBezTo>
                    <a:pt x="151" y="145"/>
                    <a:pt x="154" y="145"/>
                    <a:pt x="154" y="145"/>
                  </a:cubicBezTo>
                  <a:cubicBezTo>
                    <a:pt x="156" y="143"/>
                    <a:pt x="156" y="143"/>
                    <a:pt x="156" y="143"/>
                  </a:cubicBezTo>
                  <a:cubicBezTo>
                    <a:pt x="156" y="143"/>
                    <a:pt x="156" y="143"/>
                    <a:pt x="156" y="143"/>
                  </a:cubicBezTo>
                  <a:cubicBezTo>
                    <a:pt x="157" y="141"/>
                    <a:pt x="156" y="140"/>
                    <a:pt x="156" y="140"/>
                  </a:cubicBezTo>
                  <a:cubicBezTo>
                    <a:pt x="156" y="140"/>
                    <a:pt x="156" y="140"/>
                    <a:pt x="157" y="138"/>
                  </a:cubicBezTo>
                  <a:cubicBezTo>
                    <a:pt x="157" y="138"/>
                    <a:pt x="157" y="138"/>
                    <a:pt x="157" y="138"/>
                  </a:cubicBezTo>
                  <a:cubicBezTo>
                    <a:pt x="157" y="138"/>
                    <a:pt x="157" y="138"/>
                    <a:pt x="157" y="138"/>
                  </a:cubicBezTo>
                  <a:cubicBezTo>
                    <a:pt x="163" y="131"/>
                    <a:pt x="168" y="123"/>
                    <a:pt x="172" y="115"/>
                  </a:cubicBezTo>
                  <a:cubicBezTo>
                    <a:pt x="171" y="113"/>
                    <a:pt x="171" y="113"/>
                    <a:pt x="171" y="113"/>
                  </a:cubicBezTo>
                  <a:cubicBezTo>
                    <a:pt x="171" y="113"/>
                    <a:pt x="171" y="113"/>
                    <a:pt x="172" y="112"/>
                  </a:cubicBezTo>
                  <a:cubicBezTo>
                    <a:pt x="172" y="109"/>
                    <a:pt x="174" y="107"/>
                    <a:pt x="174" y="104"/>
                  </a:cubicBezTo>
                  <a:cubicBezTo>
                    <a:pt x="180" y="63"/>
                    <a:pt x="152" y="25"/>
                    <a:pt x="111" y="19"/>
                  </a:cubicBezTo>
                  <a:cubicBezTo>
                    <a:pt x="0" y="0"/>
                    <a:pt x="0" y="0"/>
                    <a:pt x="0" y="0"/>
                  </a:cubicBez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8" name="Freeform 36">
              <a:extLst>
                <a:ext uri="{FF2B5EF4-FFF2-40B4-BE49-F238E27FC236}">
                  <a16:creationId xmlns:a16="http://schemas.microsoft.com/office/drawing/2014/main" id="{23F40F33-EBD7-47F1-B1F4-68C3C7C72BDA}"/>
                </a:ext>
              </a:extLst>
            </p:cNvPr>
            <p:cNvSpPr>
              <a:spLocks/>
            </p:cNvSpPr>
            <p:nvPr/>
          </p:nvSpPr>
          <p:spPr bwMode="auto">
            <a:xfrm>
              <a:off x="2112" y="1363"/>
              <a:ext cx="66" cy="48"/>
            </a:xfrm>
            <a:custGeom>
              <a:avLst/>
              <a:gdLst>
                <a:gd name="T0" fmla="*/ 50 w 597"/>
                <a:gd name="T1" fmla="*/ 51 h 432"/>
                <a:gd name="T2" fmla="*/ 50 w 597"/>
                <a:gd name="T3" fmla="*/ 51 h 432"/>
                <a:gd name="T4" fmla="*/ 117 w 597"/>
                <a:gd name="T5" fmla="*/ 6 h 432"/>
                <a:gd name="T6" fmla="*/ 546 w 597"/>
                <a:gd name="T7" fmla="*/ 92 h 432"/>
                <a:gd name="T8" fmla="*/ 591 w 597"/>
                <a:gd name="T9" fmla="*/ 159 h 432"/>
                <a:gd name="T10" fmla="*/ 547 w 597"/>
                <a:gd name="T11" fmla="*/ 381 h 432"/>
                <a:gd name="T12" fmla="*/ 480 w 597"/>
                <a:gd name="T13" fmla="*/ 426 h 432"/>
                <a:gd name="T14" fmla="*/ 50 w 597"/>
                <a:gd name="T15" fmla="*/ 340 h 432"/>
                <a:gd name="T16" fmla="*/ 6 w 597"/>
                <a:gd name="T17" fmla="*/ 274 h 432"/>
                <a:gd name="T18" fmla="*/ 50 w 597"/>
                <a:gd name="T19" fmla="*/ 51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7" h="432">
                  <a:moveTo>
                    <a:pt x="50" y="51"/>
                  </a:moveTo>
                  <a:lnTo>
                    <a:pt x="50" y="51"/>
                  </a:lnTo>
                  <a:cubicBezTo>
                    <a:pt x="56" y="20"/>
                    <a:pt x="86" y="0"/>
                    <a:pt x="117" y="6"/>
                  </a:cubicBezTo>
                  <a:lnTo>
                    <a:pt x="546" y="92"/>
                  </a:lnTo>
                  <a:cubicBezTo>
                    <a:pt x="577" y="98"/>
                    <a:pt x="597" y="128"/>
                    <a:pt x="591" y="159"/>
                  </a:cubicBezTo>
                  <a:lnTo>
                    <a:pt x="547" y="381"/>
                  </a:lnTo>
                  <a:cubicBezTo>
                    <a:pt x="540" y="412"/>
                    <a:pt x="511" y="432"/>
                    <a:pt x="480" y="426"/>
                  </a:cubicBezTo>
                  <a:lnTo>
                    <a:pt x="50" y="340"/>
                  </a:lnTo>
                  <a:cubicBezTo>
                    <a:pt x="20" y="334"/>
                    <a:pt x="0" y="304"/>
                    <a:pt x="6" y="274"/>
                  </a:cubicBezTo>
                  <a:lnTo>
                    <a:pt x="50" y="51"/>
                  </a:lnTo>
                  <a:close/>
                </a:path>
              </a:pathLst>
            </a:custGeom>
            <a:solidFill>
              <a:srgbClr val="F5730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 name="Freeform 37">
              <a:extLst>
                <a:ext uri="{FF2B5EF4-FFF2-40B4-BE49-F238E27FC236}">
                  <a16:creationId xmlns:a16="http://schemas.microsoft.com/office/drawing/2014/main" id="{089812F4-8D11-4EB7-8539-AC9F2D4270A6}"/>
                </a:ext>
              </a:extLst>
            </p:cNvPr>
            <p:cNvSpPr>
              <a:spLocks/>
            </p:cNvSpPr>
            <p:nvPr/>
          </p:nvSpPr>
          <p:spPr bwMode="auto">
            <a:xfrm>
              <a:off x="2112" y="1363"/>
              <a:ext cx="66" cy="48"/>
            </a:xfrm>
            <a:custGeom>
              <a:avLst/>
              <a:gdLst>
                <a:gd name="T0" fmla="*/ 50 w 597"/>
                <a:gd name="T1" fmla="*/ 51 h 432"/>
                <a:gd name="T2" fmla="*/ 50 w 597"/>
                <a:gd name="T3" fmla="*/ 51 h 432"/>
                <a:gd name="T4" fmla="*/ 117 w 597"/>
                <a:gd name="T5" fmla="*/ 6 h 432"/>
                <a:gd name="T6" fmla="*/ 546 w 597"/>
                <a:gd name="T7" fmla="*/ 92 h 432"/>
                <a:gd name="T8" fmla="*/ 591 w 597"/>
                <a:gd name="T9" fmla="*/ 159 h 432"/>
                <a:gd name="T10" fmla="*/ 547 w 597"/>
                <a:gd name="T11" fmla="*/ 381 h 432"/>
                <a:gd name="T12" fmla="*/ 480 w 597"/>
                <a:gd name="T13" fmla="*/ 426 h 432"/>
                <a:gd name="T14" fmla="*/ 50 w 597"/>
                <a:gd name="T15" fmla="*/ 340 h 432"/>
                <a:gd name="T16" fmla="*/ 6 w 597"/>
                <a:gd name="T17" fmla="*/ 274 h 432"/>
                <a:gd name="T18" fmla="*/ 50 w 597"/>
                <a:gd name="T19" fmla="*/ 51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7" h="432">
                  <a:moveTo>
                    <a:pt x="50" y="51"/>
                  </a:moveTo>
                  <a:lnTo>
                    <a:pt x="50" y="51"/>
                  </a:lnTo>
                  <a:cubicBezTo>
                    <a:pt x="56" y="20"/>
                    <a:pt x="86" y="0"/>
                    <a:pt x="117" y="6"/>
                  </a:cubicBezTo>
                  <a:lnTo>
                    <a:pt x="546" y="92"/>
                  </a:lnTo>
                  <a:cubicBezTo>
                    <a:pt x="577" y="98"/>
                    <a:pt x="597" y="128"/>
                    <a:pt x="591" y="159"/>
                  </a:cubicBezTo>
                  <a:lnTo>
                    <a:pt x="547" y="381"/>
                  </a:lnTo>
                  <a:cubicBezTo>
                    <a:pt x="540" y="412"/>
                    <a:pt x="511" y="432"/>
                    <a:pt x="480" y="426"/>
                  </a:cubicBezTo>
                  <a:lnTo>
                    <a:pt x="50" y="340"/>
                  </a:lnTo>
                  <a:cubicBezTo>
                    <a:pt x="20" y="334"/>
                    <a:pt x="0" y="304"/>
                    <a:pt x="6" y="274"/>
                  </a:cubicBezTo>
                  <a:lnTo>
                    <a:pt x="50" y="51"/>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 name="Freeform 38">
              <a:extLst>
                <a:ext uri="{FF2B5EF4-FFF2-40B4-BE49-F238E27FC236}">
                  <a16:creationId xmlns:a16="http://schemas.microsoft.com/office/drawing/2014/main" id="{97DC8280-C3CF-4BBC-B2B5-7088578F1CFE}"/>
                </a:ext>
              </a:extLst>
            </p:cNvPr>
            <p:cNvSpPr>
              <a:spLocks/>
            </p:cNvSpPr>
            <p:nvPr/>
          </p:nvSpPr>
          <p:spPr bwMode="auto">
            <a:xfrm>
              <a:off x="2228" y="1366"/>
              <a:ext cx="27" cy="24"/>
            </a:xfrm>
            <a:custGeom>
              <a:avLst/>
              <a:gdLst>
                <a:gd name="T0" fmla="*/ 32 w 247"/>
                <a:gd name="T1" fmla="*/ 16 h 220"/>
                <a:gd name="T2" fmla="*/ 32 w 247"/>
                <a:gd name="T3" fmla="*/ 16 h 220"/>
                <a:gd name="T4" fmla="*/ 54 w 247"/>
                <a:gd name="T5" fmla="*/ 3 h 220"/>
                <a:gd name="T6" fmla="*/ 231 w 247"/>
                <a:gd name="T7" fmla="*/ 40 h 220"/>
                <a:gd name="T8" fmla="*/ 245 w 247"/>
                <a:gd name="T9" fmla="*/ 62 h 220"/>
                <a:gd name="T10" fmla="*/ 215 w 247"/>
                <a:gd name="T11" fmla="*/ 204 h 220"/>
                <a:gd name="T12" fmla="*/ 193 w 247"/>
                <a:gd name="T13" fmla="*/ 218 h 220"/>
                <a:gd name="T14" fmla="*/ 16 w 247"/>
                <a:gd name="T15" fmla="*/ 180 h 220"/>
                <a:gd name="T16" fmla="*/ 2 w 247"/>
                <a:gd name="T17" fmla="*/ 159 h 220"/>
                <a:gd name="T18" fmla="*/ 32 w 247"/>
                <a:gd name="T19" fmla="*/ 1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20">
                  <a:moveTo>
                    <a:pt x="32" y="16"/>
                  </a:moveTo>
                  <a:lnTo>
                    <a:pt x="32" y="16"/>
                  </a:lnTo>
                  <a:cubicBezTo>
                    <a:pt x="34" y="7"/>
                    <a:pt x="44" y="0"/>
                    <a:pt x="54" y="3"/>
                  </a:cubicBezTo>
                  <a:lnTo>
                    <a:pt x="231" y="40"/>
                  </a:lnTo>
                  <a:cubicBezTo>
                    <a:pt x="241" y="42"/>
                    <a:pt x="247" y="52"/>
                    <a:pt x="245" y="62"/>
                  </a:cubicBezTo>
                  <a:lnTo>
                    <a:pt x="215" y="204"/>
                  </a:lnTo>
                  <a:cubicBezTo>
                    <a:pt x="213" y="214"/>
                    <a:pt x="203" y="220"/>
                    <a:pt x="193" y="218"/>
                  </a:cubicBezTo>
                  <a:lnTo>
                    <a:pt x="16" y="180"/>
                  </a:lnTo>
                  <a:cubicBezTo>
                    <a:pt x="6" y="178"/>
                    <a:pt x="0" y="169"/>
                    <a:pt x="2" y="159"/>
                  </a:cubicBezTo>
                  <a:lnTo>
                    <a:pt x="32" y="16"/>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 name="Freeform 39">
              <a:extLst>
                <a:ext uri="{FF2B5EF4-FFF2-40B4-BE49-F238E27FC236}">
                  <a16:creationId xmlns:a16="http://schemas.microsoft.com/office/drawing/2014/main" id="{F373682B-BB65-4053-A5F6-8B3B3BEBBF84}"/>
                </a:ext>
              </a:extLst>
            </p:cNvPr>
            <p:cNvSpPr>
              <a:spLocks/>
            </p:cNvSpPr>
            <p:nvPr/>
          </p:nvSpPr>
          <p:spPr bwMode="auto">
            <a:xfrm>
              <a:off x="2228" y="1366"/>
              <a:ext cx="27" cy="24"/>
            </a:xfrm>
            <a:custGeom>
              <a:avLst/>
              <a:gdLst>
                <a:gd name="T0" fmla="*/ 32 w 247"/>
                <a:gd name="T1" fmla="*/ 16 h 220"/>
                <a:gd name="T2" fmla="*/ 32 w 247"/>
                <a:gd name="T3" fmla="*/ 16 h 220"/>
                <a:gd name="T4" fmla="*/ 54 w 247"/>
                <a:gd name="T5" fmla="*/ 3 h 220"/>
                <a:gd name="T6" fmla="*/ 231 w 247"/>
                <a:gd name="T7" fmla="*/ 40 h 220"/>
                <a:gd name="T8" fmla="*/ 245 w 247"/>
                <a:gd name="T9" fmla="*/ 62 h 220"/>
                <a:gd name="T10" fmla="*/ 215 w 247"/>
                <a:gd name="T11" fmla="*/ 204 h 220"/>
                <a:gd name="T12" fmla="*/ 193 w 247"/>
                <a:gd name="T13" fmla="*/ 218 h 220"/>
                <a:gd name="T14" fmla="*/ 16 w 247"/>
                <a:gd name="T15" fmla="*/ 180 h 220"/>
                <a:gd name="T16" fmla="*/ 2 w 247"/>
                <a:gd name="T17" fmla="*/ 159 h 220"/>
                <a:gd name="T18" fmla="*/ 32 w 247"/>
                <a:gd name="T19" fmla="*/ 1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20">
                  <a:moveTo>
                    <a:pt x="32" y="16"/>
                  </a:moveTo>
                  <a:lnTo>
                    <a:pt x="32" y="16"/>
                  </a:lnTo>
                  <a:cubicBezTo>
                    <a:pt x="34" y="7"/>
                    <a:pt x="44" y="0"/>
                    <a:pt x="54" y="3"/>
                  </a:cubicBezTo>
                  <a:lnTo>
                    <a:pt x="231" y="40"/>
                  </a:lnTo>
                  <a:cubicBezTo>
                    <a:pt x="241" y="42"/>
                    <a:pt x="247" y="52"/>
                    <a:pt x="245" y="62"/>
                  </a:cubicBezTo>
                  <a:lnTo>
                    <a:pt x="215" y="204"/>
                  </a:lnTo>
                  <a:cubicBezTo>
                    <a:pt x="213" y="214"/>
                    <a:pt x="203" y="220"/>
                    <a:pt x="193" y="218"/>
                  </a:cubicBezTo>
                  <a:lnTo>
                    <a:pt x="16" y="180"/>
                  </a:lnTo>
                  <a:cubicBezTo>
                    <a:pt x="6" y="178"/>
                    <a:pt x="0" y="169"/>
                    <a:pt x="2" y="159"/>
                  </a:cubicBezTo>
                  <a:lnTo>
                    <a:pt x="32" y="16"/>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2" name="Freeform 40">
              <a:extLst>
                <a:ext uri="{FF2B5EF4-FFF2-40B4-BE49-F238E27FC236}">
                  <a16:creationId xmlns:a16="http://schemas.microsoft.com/office/drawing/2014/main" id="{C9F48C52-D78A-463C-A90B-8E34B8FF6185}"/>
                </a:ext>
              </a:extLst>
            </p:cNvPr>
            <p:cNvSpPr>
              <a:spLocks/>
            </p:cNvSpPr>
            <p:nvPr/>
          </p:nvSpPr>
          <p:spPr bwMode="auto">
            <a:xfrm>
              <a:off x="2218" y="1354"/>
              <a:ext cx="35" cy="42"/>
            </a:xfrm>
            <a:custGeom>
              <a:avLst/>
              <a:gdLst>
                <a:gd name="T0" fmla="*/ 62 w 311"/>
                <a:gd name="T1" fmla="*/ 22 h 375"/>
                <a:gd name="T2" fmla="*/ 62 w 311"/>
                <a:gd name="T3" fmla="*/ 22 h 375"/>
                <a:gd name="T4" fmla="*/ 92 w 311"/>
                <a:gd name="T5" fmla="*/ 3 h 375"/>
                <a:gd name="T6" fmla="*/ 289 w 311"/>
                <a:gd name="T7" fmla="*/ 45 h 375"/>
                <a:gd name="T8" fmla="*/ 308 w 311"/>
                <a:gd name="T9" fmla="*/ 74 h 375"/>
                <a:gd name="T10" fmla="*/ 249 w 311"/>
                <a:gd name="T11" fmla="*/ 353 h 375"/>
                <a:gd name="T12" fmla="*/ 219 w 311"/>
                <a:gd name="T13" fmla="*/ 372 h 375"/>
                <a:gd name="T14" fmla="*/ 22 w 311"/>
                <a:gd name="T15" fmla="*/ 330 h 375"/>
                <a:gd name="T16" fmla="*/ 3 w 311"/>
                <a:gd name="T17" fmla="*/ 301 h 375"/>
                <a:gd name="T18" fmla="*/ 62 w 311"/>
                <a:gd name="T19" fmla="*/ 22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 h="375">
                  <a:moveTo>
                    <a:pt x="62" y="22"/>
                  </a:moveTo>
                  <a:lnTo>
                    <a:pt x="62" y="22"/>
                  </a:lnTo>
                  <a:cubicBezTo>
                    <a:pt x="65" y="8"/>
                    <a:pt x="79" y="0"/>
                    <a:pt x="92" y="3"/>
                  </a:cubicBezTo>
                  <a:lnTo>
                    <a:pt x="289" y="45"/>
                  </a:lnTo>
                  <a:cubicBezTo>
                    <a:pt x="303" y="47"/>
                    <a:pt x="311" y="61"/>
                    <a:pt x="308" y="74"/>
                  </a:cubicBezTo>
                  <a:lnTo>
                    <a:pt x="249" y="353"/>
                  </a:lnTo>
                  <a:cubicBezTo>
                    <a:pt x="246" y="367"/>
                    <a:pt x="233" y="375"/>
                    <a:pt x="219" y="372"/>
                  </a:cubicBezTo>
                  <a:lnTo>
                    <a:pt x="22" y="330"/>
                  </a:lnTo>
                  <a:cubicBezTo>
                    <a:pt x="9" y="328"/>
                    <a:pt x="0" y="314"/>
                    <a:pt x="3" y="301"/>
                  </a:cubicBezTo>
                  <a:lnTo>
                    <a:pt x="62" y="22"/>
                  </a:lnTo>
                  <a:close/>
                </a:path>
              </a:pathLst>
            </a:custGeom>
            <a:solidFill>
              <a:srgbClr val="F5730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 name="Freeform 41">
              <a:extLst>
                <a:ext uri="{FF2B5EF4-FFF2-40B4-BE49-F238E27FC236}">
                  <a16:creationId xmlns:a16="http://schemas.microsoft.com/office/drawing/2014/main" id="{49D453BB-1D58-42E0-A98F-7A75F0B269E8}"/>
                </a:ext>
              </a:extLst>
            </p:cNvPr>
            <p:cNvSpPr>
              <a:spLocks/>
            </p:cNvSpPr>
            <p:nvPr/>
          </p:nvSpPr>
          <p:spPr bwMode="auto">
            <a:xfrm>
              <a:off x="2218" y="1354"/>
              <a:ext cx="35" cy="42"/>
            </a:xfrm>
            <a:custGeom>
              <a:avLst/>
              <a:gdLst>
                <a:gd name="T0" fmla="*/ 62 w 311"/>
                <a:gd name="T1" fmla="*/ 22 h 375"/>
                <a:gd name="T2" fmla="*/ 62 w 311"/>
                <a:gd name="T3" fmla="*/ 22 h 375"/>
                <a:gd name="T4" fmla="*/ 92 w 311"/>
                <a:gd name="T5" fmla="*/ 3 h 375"/>
                <a:gd name="T6" fmla="*/ 289 w 311"/>
                <a:gd name="T7" fmla="*/ 45 h 375"/>
                <a:gd name="T8" fmla="*/ 308 w 311"/>
                <a:gd name="T9" fmla="*/ 74 h 375"/>
                <a:gd name="T10" fmla="*/ 249 w 311"/>
                <a:gd name="T11" fmla="*/ 353 h 375"/>
                <a:gd name="T12" fmla="*/ 219 w 311"/>
                <a:gd name="T13" fmla="*/ 372 h 375"/>
                <a:gd name="T14" fmla="*/ 22 w 311"/>
                <a:gd name="T15" fmla="*/ 330 h 375"/>
                <a:gd name="T16" fmla="*/ 3 w 311"/>
                <a:gd name="T17" fmla="*/ 301 h 375"/>
                <a:gd name="T18" fmla="*/ 62 w 311"/>
                <a:gd name="T19" fmla="*/ 22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 h="375">
                  <a:moveTo>
                    <a:pt x="62" y="22"/>
                  </a:moveTo>
                  <a:lnTo>
                    <a:pt x="62" y="22"/>
                  </a:lnTo>
                  <a:cubicBezTo>
                    <a:pt x="65" y="8"/>
                    <a:pt x="79" y="0"/>
                    <a:pt x="92" y="3"/>
                  </a:cubicBezTo>
                  <a:lnTo>
                    <a:pt x="289" y="45"/>
                  </a:lnTo>
                  <a:cubicBezTo>
                    <a:pt x="303" y="47"/>
                    <a:pt x="311" y="61"/>
                    <a:pt x="308" y="74"/>
                  </a:cubicBezTo>
                  <a:lnTo>
                    <a:pt x="249" y="353"/>
                  </a:lnTo>
                  <a:cubicBezTo>
                    <a:pt x="246" y="367"/>
                    <a:pt x="233" y="375"/>
                    <a:pt x="219" y="372"/>
                  </a:cubicBezTo>
                  <a:lnTo>
                    <a:pt x="22" y="330"/>
                  </a:lnTo>
                  <a:cubicBezTo>
                    <a:pt x="9" y="328"/>
                    <a:pt x="0" y="314"/>
                    <a:pt x="3" y="301"/>
                  </a:cubicBezTo>
                  <a:lnTo>
                    <a:pt x="62" y="22"/>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4" name="Freeform 42">
              <a:extLst>
                <a:ext uri="{FF2B5EF4-FFF2-40B4-BE49-F238E27FC236}">
                  <a16:creationId xmlns:a16="http://schemas.microsoft.com/office/drawing/2014/main" id="{F583B6F7-CE0E-4916-B30E-C84412479F84}"/>
                </a:ext>
              </a:extLst>
            </p:cNvPr>
            <p:cNvSpPr>
              <a:spLocks/>
            </p:cNvSpPr>
            <p:nvPr/>
          </p:nvSpPr>
          <p:spPr bwMode="auto">
            <a:xfrm>
              <a:off x="2058" y="1308"/>
              <a:ext cx="205" cy="101"/>
            </a:xfrm>
            <a:custGeom>
              <a:avLst/>
              <a:gdLst>
                <a:gd name="T0" fmla="*/ 194 w 1866"/>
                <a:gd name="T1" fmla="*/ 0 h 911"/>
                <a:gd name="T2" fmla="*/ 194 w 1866"/>
                <a:gd name="T3" fmla="*/ 0 h 911"/>
                <a:gd name="T4" fmla="*/ 213 w 1866"/>
                <a:gd name="T5" fmla="*/ 2 h 911"/>
                <a:gd name="T6" fmla="*/ 1851 w 1866"/>
                <a:gd name="T7" fmla="*/ 344 h 911"/>
                <a:gd name="T8" fmla="*/ 1862 w 1866"/>
                <a:gd name="T9" fmla="*/ 350 h 911"/>
                <a:gd name="T10" fmla="*/ 1866 w 1866"/>
                <a:gd name="T11" fmla="*/ 356 h 911"/>
                <a:gd name="T12" fmla="*/ 1862 w 1866"/>
                <a:gd name="T13" fmla="*/ 366 h 911"/>
                <a:gd name="T14" fmla="*/ 1502 w 1866"/>
                <a:gd name="T15" fmla="*/ 896 h 911"/>
                <a:gd name="T16" fmla="*/ 1490 w 1866"/>
                <a:gd name="T17" fmla="*/ 907 h 911"/>
                <a:gd name="T18" fmla="*/ 1470 w 1866"/>
                <a:gd name="T19" fmla="*/ 911 h 911"/>
                <a:gd name="T20" fmla="*/ 1451 w 1866"/>
                <a:gd name="T21" fmla="*/ 909 h 911"/>
                <a:gd name="T22" fmla="*/ 83 w 1866"/>
                <a:gd name="T23" fmla="*/ 623 h 911"/>
                <a:gd name="T24" fmla="*/ 11 w 1866"/>
                <a:gd name="T25" fmla="*/ 514 h 911"/>
                <a:gd name="T26" fmla="*/ 103 w 1866"/>
                <a:gd name="T27" fmla="*/ 73 h 911"/>
                <a:gd name="T28" fmla="*/ 194 w 1866"/>
                <a:gd name="T29" fmla="*/ 0 h 911"/>
                <a:gd name="T30" fmla="*/ 194 w 1866"/>
                <a:gd name="T31" fmla="*/ 0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66" h="911">
                  <a:moveTo>
                    <a:pt x="194" y="0"/>
                  </a:moveTo>
                  <a:lnTo>
                    <a:pt x="194" y="0"/>
                  </a:lnTo>
                  <a:cubicBezTo>
                    <a:pt x="200" y="0"/>
                    <a:pt x="207" y="1"/>
                    <a:pt x="213" y="2"/>
                  </a:cubicBezTo>
                  <a:lnTo>
                    <a:pt x="1851" y="344"/>
                  </a:lnTo>
                  <a:lnTo>
                    <a:pt x="1862" y="350"/>
                  </a:lnTo>
                  <a:lnTo>
                    <a:pt x="1866" y="356"/>
                  </a:lnTo>
                  <a:lnTo>
                    <a:pt x="1862" y="366"/>
                  </a:lnTo>
                  <a:lnTo>
                    <a:pt x="1502" y="896"/>
                  </a:lnTo>
                  <a:lnTo>
                    <a:pt x="1490" y="907"/>
                  </a:lnTo>
                  <a:lnTo>
                    <a:pt x="1470" y="911"/>
                  </a:lnTo>
                  <a:lnTo>
                    <a:pt x="1451" y="909"/>
                  </a:lnTo>
                  <a:lnTo>
                    <a:pt x="83" y="623"/>
                  </a:lnTo>
                  <a:cubicBezTo>
                    <a:pt x="32" y="613"/>
                    <a:pt x="0" y="564"/>
                    <a:pt x="11" y="514"/>
                  </a:cubicBezTo>
                  <a:lnTo>
                    <a:pt x="103" y="73"/>
                  </a:lnTo>
                  <a:cubicBezTo>
                    <a:pt x="113" y="30"/>
                    <a:pt x="151" y="0"/>
                    <a:pt x="194" y="0"/>
                  </a:cubicBezTo>
                  <a:lnTo>
                    <a:pt x="194" y="0"/>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6" name="Freeform 43">
              <a:extLst>
                <a:ext uri="{FF2B5EF4-FFF2-40B4-BE49-F238E27FC236}">
                  <a16:creationId xmlns:a16="http://schemas.microsoft.com/office/drawing/2014/main" id="{058826E1-4ECD-474F-971E-7B7B347109AA}"/>
                </a:ext>
              </a:extLst>
            </p:cNvPr>
            <p:cNvSpPr>
              <a:spLocks/>
            </p:cNvSpPr>
            <p:nvPr/>
          </p:nvSpPr>
          <p:spPr bwMode="auto">
            <a:xfrm>
              <a:off x="2076" y="1317"/>
              <a:ext cx="158" cy="44"/>
            </a:xfrm>
            <a:custGeom>
              <a:avLst/>
              <a:gdLst>
                <a:gd name="T0" fmla="*/ 9 w 1436"/>
                <a:gd name="T1" fmla="*/ 34 h 392"/>
                <a:gd name="T2" fmla="*/ 9 w 1436"/>
                <a:gd name="T3" fmla="*/ 34 h 392"/>
                <a:gd name="T4" fmla="*/ 55 w 1436"/>
                <a:gd name="T5" fmla="*/ 4 h 392"/>
                <a:gd name="T6" fmla="*/ 1402 w 1436"/>
                <a:gd name="T7" fmla="*/ 289 h 392"/>
                <a:gd name="T8" fmla="*/ 1431 w 1436"/>
                <a:gd name="T9" fmla="*/ 334 h 392"/>
                <a:gd name="T10" fmla="*/ 1426 w 1436"/>
                <a:gd name="T11" fmla="*/ 358 h 392"/>
                <a:gd name="T12" fmla="*/ 1381 w 1436"/>
                <a:gd name="T13" fmla="*/ 388 h 392"/>
                <a:gd name="T14" fmla="*/ 34 w 1436"/>
                <a:gd name="T15" fmla="*/ 103 h 392"/>
                <a:gd name="T16" fmla="*/ 4 w 1436"/>
                <a:gd name="T17" fmla="*/ 57 h 392"/>
                <a:gd name="T18" fmla="*/ 9 w 1436"/>
                <a:gd name="T19" fmla="*/ 3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6" h="392">
                  <a:moveTo>
                    <a:pt x="9" y="34"/>
                  </a:moveTo>
                  <a:lnTo>
                    <a:pt x="9" y="34"/>
                  </a:lnTo>
                  <a:cubicBezTo>
                    <a:pt x="13" y="13"/>
                    <a:pt x="34" y="0"/>
                    <a:pt x="55" y="4"/>
                  </a:cubicBezTo>
                  <a:lnTo>
                    <a:pt x="1402" y="289"/>
                  </a:lnTo>
                  <a:cubicBezTo>
                    <a:pt x="1423" y="293"/>
                    <a:pt x="1436" y="314"/>
                    <a:pt x="1431" y="334"/>
                  </a:cubicBezTo>
                  <a:lnTo>
                    <a:pt x="1426" y="358"/>
                  </a:lnTo>
                  <a:cubicBezTo>
                    <a:pt x="1422" y="379"/>
                    <a:pt x="1402" y="392"/>
                    <a:pt x="1381" y="388"/>
                  </a:cubicBezTo>
                  <a:lnTo>
                    <a:pt x="34" y="103"/>
                  </a:lnTo>
                  <a:cubicBezTo>
                    <a:pt x="13" y="98"/>
                    <a:pt x="0" y="78"/>
                    <a:pt x="4" y="57"/>
                  </a:cubicBezTo>
                  <a:lnTo>
                    <a:pt x="9" y="34"/>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5" name="Group 4">
            <a:extLst>
              <a:ext uri="{FF2B5EF4-FFF2-40B4-BE49-F238E27FC236}">
                <a16:creationId xmlns:a16="http://schemas.microsoft.com/office/drawing/2014/main" id="{9045E5B1-B521-425A-9774-2E7575791A5B}"/>
              </a:ext>
            </a:extLst>
          </p:cNvPr>
          <p:cNvGrpSpPr/>
          <p:nvPr/>
        </p:nvGrpSpPr>
        <p:grpSpPr>
          <a:xfrm>
            <a:off x="3165471" y="3650154"/>
            <a:ext cx="498476" cy="498475"/>
            <a:chOff x="3165471" y="3650154"/>
            <a:chExt cx="498476" cy="498475"/>
          </a:xfrm>
        </p:grpSpPr>
        <p:sp>
          <p:nvSpPr>
            <p:cNvPr id="410" name="Freeform 27">
              <a:extLst>
                <a:ext uri="{FF2B5EF4-FFF2-40B4-BE49-F238E27FC236}">
                  <a16:creationId xmlns:a16="http://schemas.microsoft.com/office/drawing/2014/main" id="{330DE23A-2C26-4AFC-8961-3CD77E4ACC93}"/>
                </a:ext>
              </a:extLst>
            </p:cNvPr>
            <p:cNvSpPr>
              <a:spLocks/>
            </p:cNvSpPr>
            <p:nvPr/>
          </p:nvSpPr>
          <p:spPr bwMode="auto">
            <a:xfrm>
              <a:off x="3165471" y="3650154"/>
              <a:ext cx="498476" cy="498475"/>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bg2"/>
            </a:solidFill>
            <a:ln w="12700">
              <a:solidFill>
                <a:schemeClr val="tx2"/>
              </a:solidFill>
              <a:prstDash val="solid"/>
              <a:round/>
              <a:headEnd/>
              <a:tailEnd/>
            </a:ln>
            <a:effectLst>
              <a:glow rad="50800">
                <a:schemeClr val="accent5"/>
              </a:glow>
            </a:effec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411" name="Group 410">
              <a:extLst>
                <a:ext uri="{FF2B5EF4-FFF2-40B4-BE49-F238E27FC236}">
                  <a16:creationId xmlns:a16="http://schemas.microsoft.com/office/drawing/2014/main" id="{0F1A7D5E-E38D-4F1E-8BFC-D1FF15D09B0C}"/>
                </a:ext>
              </a:extLst>
            </p:cNvPr>
            <p:cNvGrpSpPr/>
            <p:nvPr/>
          </p:nvGrpSpPr>
          <p:grpSpPr>
            <a:xfrm>
              <a:off x="3218050" y="3770760"/>
              <a:ext cx="393276" cy="257262"/>
              <a:chOff x="2916019" y="4368931"/>
              <a:chExt cx="393276" cy="257262"/>
            </a:xfrm>
          </p:grpSpPr>
          <p:grpSp>
            <p:nvGrpSpPr>
              <p:cNvPr id="412" name="Group 411">
                <a:extLst>
                  <a:ext uri="{FF2B5EF4-FFF2-40B4-BE49-F238E27FC236}">
                    <a16:creationId xmlns:a16="http://schemas.microsoft.com/office/drawing/2014/main" id="{91A2F12F-6803-4124-89EF-AF702843B53E}"/>
                  </a:ext>
                </a:extLst>
              </p:cNvPr>
              <p:cNvGrpSpPr/>
              <p:nvPr/>
            </p:nvGrpSpPr>
            <p:grpSpPr>
              <a:xfrm>
                <a:off x="3105507" y="4368931"/>
                <a:ext cx="203788" cy="257262"/>
                <a:chOff x="3031986" y="4288013"/>
                <a:chExt cx="320676" cy="404813"/>
              </a:xfrm>
            </p:grpSpPr>
            <p:sp>
              <p:nvSpPr>
                <p:cNvPr id="427" name="Freeform 28">
                  <a:extLst>
                    <a:ext uri="{FF2B5EF4-FFF2-40B4-BE49-F238E27FC236}">
                      <a16:creationId xmlns:a16="http://schemas.microsoft.com/office/drawing/2014/main" id="{76121802-DBDC-439A-8756-583BE5624FFE}"/>
                    </a:ext>
                  </a:extLst>
                </p:cNvPr>
                <p:cNvSpPr>
                  <a:spLocks/>
                </p:cNvSpPr>
                <p:nvPr/>
              </p:nvSpPr>
              <p:spPr bwMode="auto">
                <a:xfrm>
                  <a:off x="3305036" y="4375325"/>
                  <a:ext cx="46038" cy="120650"/>
                </a:xfrm>
                <a:custGeom>
                  <a:avLst/>
                  <a:gdLst>
                    <a:gd name="T0" fmla="*/ 5 w 268"/>
                    <a:gd name="T1" fmla="*/ 144 h 693"/>
                    <a:gd name="T2" fmla="*/ 5 w 268"/>
                    <a:gd name="T3" fmla="*/ 144 h 693"/>
                    <a:gd name="T4" fmla="*/ 268 w 268"/>
                    <a:gd name="T5" fmla="*/ 0 h 693"/>
                    <a:gd name="T6" fmla="*/ 268 w 268"/>
                    <a:gd name="T7" fmla="*/ 32 h 693"/>
                    <a:gd name="T8" fmla="*/ 176 w 268"/>
                    <a:gd name="T9" fmla="*/ 188 h 693"/>
                    <a:gd name="T10" fmla="*/ 256 w 268"/>
                    <a:gd name="T11" fmla="*/ 211 h 693"/>
                    <a:gd name="T12" fmla="*/ 199 w 268"/>
                    <a:gd name="T13" fmla="*/ 295 h 693"/>
                    <a:gd name="T14" fmla="*/ 179 w 268"/>
                    <a:gd name="T15" fmla="*/ 373 h 693"/>
                    <a:gd name="T16" fmla="*/ 259 w 268"/>
                    <a:gd name="T17" fmla="*/ 373 h 693"/>
                    <a:gd name="T18" fmla="*/ 205 w 268"/>
                    <a:gd name="T19" fmla="*/ 468 h 693"/>
                    <a:gd name="T20" fmla="*/ 205 w 268"/>
                    <a:gd name="T21" fmla="*/ 523 h 693"/>
                    <a:gd name="T22" fmla="*/ 259 w 268"/>
                    <a:gd name="T23" fmla="*/ 523 h 693"/>
                    <a:gd name="T24" fmla="*/ 140 w 268"/>
                    <a:gd name="T25" fmla="*/ 693 h 693"/>
                    <a:gd name="T26" fmla="*/ 29 w 268"/>
                    <a:gd name="T27" fmla="*/ 529 h 693"/>
                    <a:gd name="T28" fmla="*/ 2 w 268"/>
                    <a:gd name="T29" fmla="*/ 442 h 693"/>
                    <a:gd name="T30" fmla="*/ 5 w 268"/>
                    <a:gd name="T31" fmla="*/ 144 h 693"/>
                    <a:gd name="T32" fmla="*/ 5 w 268"/>
                    <a:gd name="T33" fmla="*/ 14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8" h="693">
                      <a:moveTo>
                        <a:pt x="5" y="144"/>
                      </a:moveTo>
                      <a:lnTo>
                        <a:pt x="5" y="144"/>
                      </a:lnTo>
                      <a:lnTo>
                        <a:pt x="268" y="0"/>
                      </a:lnTo>
                      <a:lnTo>
                        <a:pt x="268" y="32"/>
                      </a:lnTo>
                      <a:lnTo>
                        <a:pt x="176" y="188"/>
                      </a:lnTo>
                      <a:lnTo>
                        <a:pt x="256" y="211"/>
                      </a:lnTo>
                      <a:lnTo>
                        <a:pt x="199" y="295"/>
                      </a:lnTo>
                      <a:lnTo>
                        <a:pt x="179" y="373"/>
                      </a:lnTo>
                      <a:lnTo>
                        <a:pt x="259" y="373"/>
                      </a:lnTo>
                      <a:lnTo>
                        <a:pt x="205" y="468"/>
                      </a:lnTo>
                      <a:lnTo>
                        <a:pt x="205" y="523"/>
                      </a:lnTo>
                      <a:lnTo>
                        <a:pt x="259" y="523"/>
                      </a:lnTo>
                      <a:lnTo>
                        <a:pt x="140" y="693"/>
                      </a:lnTo>
                      <a:lnTo>
                        <a:pt x="29" y="529"/>
                      </a:lnTo>
                      <a:lnTo>
                        <a:pt x="2" y="442"/>
                      </a:lnTo>
                      <a:cubicBezTo>
                        <a:pt x="1" y="344"/>
                        <a:pt x="0" y="245"/>
                        <a:pt x="5" y="144"/>
                      </a:cubicBezTo>
                      <a:lnTo>
                        <a:pt x="5" y="144"/>
                      </a:lnTo>
                      <a:close/>
                    </a:path>
                  </a:pathLst>
                </a:custGeom>
                <a:solidFill>
                  <a:srgbClr val="CB850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28" name="Freeform 29">
                  <a:extLst>
                    <a:ext uri="{FF2B5EF4-FFF2-40B4-BE49-F238E27FC236}">
                      <a16:creationId xmlns:a16="http://schemas.microsoft.com/office/drawing/2014/main" id="{FE3441D0-8F48-4DDC-97FD-AF6CA9D58A9C}"/>
                    </a:ext>
                  </a:extLst>
                </p:cNvPr>
                <p:cNvSpPr>
                  <a:spLocks/>
                </p:cNvSpPr>
                <p:nvPr/>
              </p:nvSpPr>
              <p:spPr bwMode="auto">
                <a:xfrm>
                  <a:off x="3212961" y="4467400"/>
                  <a:ext cx="112713" cy="87313"/>
                </a:xfrm>
                <a:custGeom>
                  <a:avLst/>
                  <a:gdLst>
                    <a:gd name="T0" fmla="*/ 613 w 657"/>
                    <a:gd name="T1" fmla="*/ 68 h 499"/>
                    <a:gd name="T2" fmla="*/ 613 w 657"/>
                    <a:gd name="T3" fmla="*/ 68 h 499"/>
                    <a:gd name="T4" fmla="*/ 407 w 657"/>
                    <a:gd name="T5" fmla="*/ 373 h 499"/>
                    <a:gd name="T6" fmla="*/ 44 w 657"/>
                    <a:gd name="T7" fmla="*/ 431 h 499"/>
                    <a:gd name="T8" fmla="*/ 250 w 657"/>
                    <a:gd name="T9" fmla="*/ 126 h 499"/>
                    <a:gd name="T10" fmla="*/ 613 w 657"/>
                    <a:gd name="T11" fmla="*/ 68 h 499"/>
                    <a:gd name="T12" fmla="*/ 613 w 657"/>
                    <a:gd name="T13" fmla="*/ 68 h 499"/>
                  </a:gdLst>
                  <a:ahLst/>
                  <a:cxnLst>
                    <a:cxn ang="0">
                      <a:pos x="T0" y="T1"/>
                    </a:cxn>
                    <a:cxn ang="0">
                      <a:pos x="T2" y="T3"/>
                    </a:cxn>
                    <a:cxn ang="0">
                      <a:pos x="T4" y="T5"/>
                    </a:cxn>
                    <a:cxn ang="0">
                      <a:pos x="T6" y="T7"/>
                    </a:cxn>
                    <a:cxn ang="0">
                      <a:pos x="T8" y="T9"/>
                    </a:cxn>
                    <a:cxn ang="0">
                      <a:pos x="T10" y="T11"/>
                    </a:cxn>
                    <a:cxn ang="0">
                      <a:pos x="T12" y="T13"/>
                    </a:cxn>
                  </a:cxnLst>
                  <a:rect l="0" t="0" r="r" b="b"/>
                  <a:pathLst>
                    <a:path w="657" h="499">
                      <a:moveTo>
                        <a:pt x="613" y="68"/>
                      </a:moveTo>
                      <a:lnTo>
                        <a:pt x="613" y="68"/>
                      </a:lnTo>
                      <a:cubicBezTo>
                        <a:pt x="657" y="136"/>
                        <a:pt x="564" y="272"/>
                        <a:pt x="407" y="373"/>
                      </a:cubicBezTo>
                      <a:cubicBezTo>
                        <a:pt x="250" y="473"/>
                        <a:pt x="87" y="499"/>
                        <a:pt x="44" y="431"/>
                      </a:cubicBezTo>
                      <a:cubicBezTo>
                        <a:pt x="0" y="363"/>
                        <a:pt x="93" y="227"/>
                        <a:pt x="250" y="126"/>
                      </a:cubicBezTo>
                      <a:cubicBezTo>
                        <a:pt x="407" y="26"/>
                        <a:pt x="570" y="0"/>
                        <a:pt x="613" y="68"/>
                      </a:cubicBezTo>
                      <a:lnTo>
                        <a:pt x="613" y="68"/>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29" name="Freeform 30">
                  <a:extLst>
                    <a:ext uri="{FF2B5EF4-FFF2-40B4-BE49-F238E27FC236}">
                      <a16:creationId xmlns:a16="http://schemas.microsoft.com/office/drawing/2014/main" id="{8D07DF75-9FE9-4188-86EA-3BD6079BD389}"/>
                    </a:ext>
                  </a:extLst>
                </p:cNvPr>
                <p:cNvSpPr>
                  <a:spLocks/>
                </p:cNvSpPr>
                <p:nvPr/>
              </p:nvSpPr>
              <p:spPr bwMode="auto">
                <a:xfrm>
                  <a:off x="3206611" y="4288013"/>
                  <a:ext cx="128588" cy="230188"/>
                </a:xfrm>
                <a:custGeom>
                  <a:avLst/>
                  <a:gdLst>
                    <a:gd name="T0" fmla="*/ 652 w 747"/>
                    <a:gd name="T1" fmla="*/ 0 h 1334"/>
                    <a:gd name="T2" fmla="*/ 652 w 747"/>
                    <a:gd name="T3" fmla="*/ 0 h 1334"/>
                    <a:gd name="T4" fmla="*/ 95 w 747"/>
                    <a:gd name="T5" fmla="*/ 0 h 1334"/>
                    <a:gd name="T6" fmla="*/ 0 w 747"/>
                    <a:gd name="T7" fmla="*/ 95 h 1334"/>
                    <a:gd name="T8" fmla="*/ 0 w 747"/>
                    <a:gd name="T9" fmla="*/ 1238 h 1334"/>
                    <a:gd name="T10" fmla="*/ 95 w 747"/>
                    <a:gd name="T11" fmla="*/ 1334 h 1334"/>
                    <a:gd name="T12" fmla="*/ 652 w 747"/>
                    <a:gd name="T13" fmla="*/ 1334 h 1334"/>
                    <a:gd name="T14" fmla="*/ 747 w 747"/>
                    <a:gd name="T15" fmla="*/ 1238 h 1334"/>
                    <a:gd name="T16" fmla="*/ 747 w 747"/>
                    <a:gd name="T17" fmla="*/ 95 h 1334"/>
                    <a:gd name="T18" fmla="*/ 652 w 747"/>
                    <a:gd name="T19" fmla="*/ 0 h 1334"/>
                    <a:gd name="T20" fmla="*/ 652 w 747"/>
                    <a:gd name="T21" fmla="*/ 0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7" h="1334">
                      <a:moveTo>
                        <a:pt x="652" y="0"/>
                      </a:moveTo>
                      <a:lnTo>
                        <a:pt x="652" y="0"/>
                      </a:lnTo>
                      <a:cubicBezTo>
                        <a:pt x="95" y="0"/>
                        <a:pt x="95" y="0"/>
                        <a:pt x="95" y="0"/>
                      </a:cubicBezTo>
                      <a:cubicBezTo>
                        <a:pt x="42" y="0"/>
                        <a:pt x="0" y="42"/>
                        <a:pt x="0" y="95"/>
                      </a:cubicBezTo>
                      <a:cubicBezTo>
                        <a:pt x="0" y="1238"/>
                        <a:pt x="0" y="1238"/>
                        <a:pt x="0" y="1238"/>
                      </a:cubicBezTo>
                      <a:cubicBezTo>
                        <a:pt x="0" y="1291"/>
                        <a:pt x="42" y="1334"/>
                        <a:pt x="95" y="1334"/>
                      </a:cubicBezTo>
                      <a:cubicBezTo>
                        <a:pt x="652" y="1334"/>
                        <a:pt x="652" y="1334"/>
                        <a:pt x="652" y="1334"/>
                      </a:cubicBezTo>
                      <a:cubicBezTo>
                        <a:pt x="705" y="1334"/>
                        <a:pt x="747" y="1291"/>
                        <a:pt x="747" y="1238"/>
                      </a:cubicBezTo>
                      <a:cubicBezTo>
                        <a:pt x="747" y="95"/>
                        <a:pt x="747" y="95"/>
                        <a:pt x="747" y="95"/>
                      </a:cubicBezTo>
                      <a:cubicBezTo>
                        <a:pt x="747" y="42"/>
                        <a:pt x="705" y="0"/>
                        <a:pt x="652" y="0"/>
                      </a:cubicBezTo>
                      <a:lnTo>
                        <a:pt x="652" y="0"/>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30" name="Freeform 31">
                  <a:extLst>
                    <a:ext uri="{FF2B5EF4-FFF2-40B4-BE49-F238E27FC236}">
                      <a16:creationId xmlns:a16="http://schemas.microsoft.com/office/drawing/2014/main" id="{6FCDFB38-5272-425F-BD9C-0A5A6832BC06}"/>
                    </a:ext>
                  </a:extLst>
                </p:cNvPr>
                <p:cNvSpPr>
                  <a:spLocks/>
                </p:cNvSpPr>
                <p:nvPr/>
              </p:nvSpPr>
              <p:spPr bwMode="auto">
                <a:xfrm>
                  <a:off x="3263761" y="4492800"/>
                  <a:ext cx="15875" cy="15875"/>
                </a:xfrm>
                <a:custGeom>
                  <a:avLst/>
                  <a:gdLst>
                    <a:gd name="T0" fmla="*/ 0 w 94"/>
                    <a:gd name="T1" fmla="*/ 47 h 93"/>
                    <a:gd name="T2" fmla="*/ 0 w 94"/>
                    <a:gd name="T3" fmla="*/ 47 h 93"/>
                    <a:gd name="T4" fmla="*/ 47 w 94"/>
                    <a:gd name="T5" fmla="*/ 0 h 93"/>
                    <a:gd name="T6" fmla="*/ 94 w 94"/>
                    <a:gd name="T7" fmla="*/ 47 h 93"/>
                    <a:gd name="T8" fmla="*/ 47 w 94"/>
                    <a:gd name="T9" fmla="*/ 93 h 93"/>
                    <a:gd name="T10" fmla="*/ 0 w 94"/>
                    <a:gd name="T11" fmla="*/ 47 h 93"/>
                    <a:gd name="T12" fmla="*/ 0 w 94"/>
                    <a:gd name="T13" fmla="*/ 47 h 93"/>
                  </a:gdLst>
                  <a:ahLst/>
                  <a:cxnLst>
                    <a:cxn ang="0">
                      <a:pos x="T0" y="T1"/>
                    </a:cxn>
                    <a:cxn ang="0">
                      <a:pos x="T2" y="T3"/>
                    </a:cxn>
                    <a:cxn ang="0">
                      <a:pos x="T4" y="T5"/>
                    </a:cxn>
                    <a:cxn ang="0">
                      <a:pos x="T6" y="T7"/>
                    </a:cxn>
                    <a:cxn ang="0">
                      <a:pos x="T8" y="T9"/>
                    </a:cxn>
                    <a:cxn ang="0">
                      <a:pos x="T10" y="T11"/>
                    </a:cxn>
                    <a:cxn ang="0">
                      <a:pos x="T12" y="T13"/>
                    </a:cxn>
                  </a:cxnLst>
                  <a:rect l="0" t="0" r="r" b="b"/>
                  <a:pathLst>
                    <a:path w="94" h="93">
                      <a:moveTo>
                        <a:pt x="0" y="47"/>
                      </a:moveTo>
                      <a:lnTo>
                        <a:pt x="0" y="47"/>
                      </a:lnTo>
                      <a:cubicBezTo>
                        <a:pt x="0" y="21"/>
                        <a:pt x="21" y="0"/>
                        <a:pt x="47" y="0"/>
                      </a:cubicBezTo>
                      <a:cubicBezTo>
                        <a:pt x="73" y="0"/>
                        <a:pt x="94" y="21"/>
                        <a:pt x="94" y="47"/>
                      </a:cubicBezTo>
                      <a:cubicBezTo>
                        <a:pt x="94" y="72"/>
                        <a:pt x="73" y="93"/>
                        <a:pt x="47" y="93"/>
                      </a:cubicBezTo>
                      <a:cubicBezTo>
                        <a:pt x="21" y="93"/>
                        <a:pt x="0" y="72"/>
                        <a:pt x="0" y="47"/>
                      </a:cubicBezTo>
                      <a:lnTo>
                        <a:pt x="0" y="47"/>
                      </a:lnTo>
                      <a:close/>
                    </a:path>
                  </a:pathLst>
                </a:custGeom>
                <a:solidFill>
                  <a:srgbClr val="00507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31" name="Freeform 32">
                  <a:extLst>
                    <a:ext uri="{FF2B5EF4-FFF2-40B4-BE49-F238E27FC236}">
                      <a16:creationId xmlns:a16="http://schemas.microsoft.com/office/drawing/2014/main" id="{B164BB53-CA68-4708-B9EB-676EE7784624}"/>
                    </a:ext>
                  </a:extLst>
                </p:cNvPr>
                <p:cNvSpPr>
                  <a:spLocks/>
                </p:cNvSpPr>
                <p:nvPr/>
              </p:nvSpPr>
              <p:spPr bwMode="auto">
                <a:xfrm>
                  <a:off x="3219311" y="4319763"/>
                  <a:ext cx="104775" cy="158750"/>
                </a:xfrm>
                <a:custGeom>
                  <a:avLst/>
                  <a:gdLst>
                    <a:gd name="T0" fmla="*/ 0 w 600"/>
                    <a:gd name="T1" fmla="*/ 920 h 920"/>
                    <a:gd name="T2" fmla="*/ 0 w 600"/>
                    <a:gd name="T3" fmla="*/ 920 h 920"/>
                    <a:gd name="T4" fmla="*/ 600 w 600"/>
                    <a:gd name="T5" fmla="*/ 920 h 920"/>
                    <a:gd name="T6" fmla="*/ 600 w 600"/>
                    <a:gd name="T7" fmla="*/ 0 h 920"/>
                    <a:gd name="T8" fmla="*/ 0 w 600"/>
                    <a:gd name="T9" fmla="*/ 0 h 920"/>
                    <a:gd name="T10" fmla="*/ 0 w 600"/>
                    <a:gd name="T11" fmla="*/ 920 h 920"/>
                  </a:gdLst>
                  <a:ahLst/>
                  <a:cxnLst>
                    <a:cxn ang="0">
                      <a:pos x="T0" y="T1"/>
                    </a:cxn>
                    <a:cxn ang="0">
                      <a:pos x="T2" y="T3"/>
                    </a:cxn>
                    <a:cxn ang="0">
                      <a:pos x="T4" y="T5"/>
                    </a:cxn>
                    <a:cxn ang="0">
                      <a:pos x="T6" y="T7"/>
                    </a:cxn>
                    <a:cxn ang="0">
                      <a:pos x="T8" y="T9"/>
                    </a:cxn>
                    <a:cxn ang="0">
                      <a:pos x="T10" y="T11"/>
                    </a:cxn>
                  </a:cxnLst>
                  <a:rect l="0" t="0" r="r" b="b"/>
                  <a:pathLst>
                    <a:path w="600" h="920">
                      <a:moveTo>
                        <a:pt x="0" y="920"/>
                      </a:moveTo>
                      <a:lnTo>
                        <a:pt x="0" y="920"/>
                      </a:lnTo>
                      <a:lnTo>
                        <a:pt x="600" y="920"/>
                      </a:lnTo>
                      <a:lnTo>
                        <a:pt x="600" y="0"/>
                      </a:lnTo>
                      <a:lnTo>
                        <a:pt x="0" y="0"/>
                      </a:lnTo>
                      <a:lnTo>
                        <a:pt x="0" y="920"/>
                      </a:lnTo>
                      <a:close/>
                    </a:path>
                  </a:pathLst>
                </a:custGeom>
                <a:solidFill>
                  <a:srgbClr val="00507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32" name="Freeform 33">
                  <a:extLst>
                    <a:ext uri="{FF2B5EF4-FFF2-40B4-BE49-F238E27FC236}">
                      <a16:creationId xmlns:a16="http://schemas.microsoft.com/office/drawing/2014/main" id="{D14F0087-8238-4C74-B230-1287FFF249B6}"/>
                    </a:ext>
                  </a:extLst>
                </p:cNvPr>
                <p:cNvSpPr>
                  <a:spLocks/>
                </p:cNvSpPr>
                <p:nvPr/>
              </p:nvSpPr>
              <p:spPr bwMode="auto">
                <a:xfrm>
                  <a:off x="3206611" y="4394375"/>
                  <a:ext cx="53975" cy="46038"/>
                </a:xfrm>
                <a:custGeom>
                  <a:avLst/>
                  <a:gdLst>
                    <a:gd name="T0" fmla="*/ 288 w 315"/>
                    <a:gd name="T1" fmla="*/ 228 h 264"/>
                    <a:gd name="T2" fmla="*/ 288 w 315"/>
                    <a:gd name="T3" fmla="*/ 228 h 264"/>
                    <a:gd name="T4" fmla="*/ 109 w 315"/>
                    <a:gd name="T5" fmla="*/ 199 h 264"/>
                    <a:gd name="T6" fmla="*/ 27 w 315"/>
                    <a:gd name="T7" fmla="*/ 37 h 264"/>
                    <a:gd name="T8" fmla="*/ 206 w 315"/>
                    <a:gd name="T9" fmla="*/ 66 h 264"/>
                    <a:gd name="T10" fmla="*/ 288 w 315"/>
                    <a:gd name="T11" fmla="*/ 228 h 264"/>
                    <a:gd name="T12" fmla="*/ 288 w 315"/>
                    <a:gd name="T13" fmla="*/ 228 h 264"/>
                  </a:gdLst>
                  <a:ahLst/>
                  <a:cxnLst>
                    <a:cxn ang="0">
                      <a:pos x="T0" y="T1"/>
                    </a:cxn>
                    <a:cxn ang="0">
                      <a:pos x="T2" y="T3"/>
                    </a:cxn>
                    <a:cxn ang="0">
                      <a:pos x="T4" y="T5"/>
                    </a:cxn>
                    <a:cxn ang="0">
                      <a:pos x="T6" y="T7"/>
                    </a:cxn>
                    <a:cxn ang="0">
                      <a:pos x="T8" y="T9"/>
                    </a:cxn>
                    <a:cxn ang="0">
                      <a:pos x="T10" y="T11"/>
                    </a:cxn>
                    <a:cxn ang="0">
                      <a:pos x="T12" y="T13"/>
                    </a:cxn>
                  </a:cxnLst>
                  <a:rect l="0" t="0" r="r" b="b"/>
                  <a:pathLst>
                    <a:path w="315" h="264">
                      <a:moveTo>
                        <a:pt x="288" y="228"/>
                      </a:moveTo>
                      <a:lnTo>
                        <a:pt x="288" y="228"/>
                      </a:lnTo>
                      <a:cubicBezTo>
                        <a:pt x="261" y="264"/>
                        <a:pt x="181" y="251"/>
                        <a:pt x="109" y="199"/>
                      </a:cubicBezTo>
                      <a:cubicBezTo>
                        <a:pt x="37" y="146"/>
                        <a:pt x="0" y="74"/>
                        <a:pt x="27" y="37"/>
                      </a:cubicBezTo>
                      <a:cubicBezTo>
                        <a:pt x="53" y="0"/>
                        <a:pt x="134" y="13"/>
                        <a:pt x="206" y="66"/>
                      </a:cubicBezTo>
                      <a:cubicBezTo>
                        <a:pt x="278" y="118"/>
                        <a:pt x="315" y="191"/>
                        <a:pt x="288" y="228"/>
                      </a:cubicBezTo>
                      <a:lnTo>
                        <a:pt x="288" y="228"/>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33" name="Freeform 34">
                  <a:extLst>
                    <a:ext uri="{FF2B5EF4-FFF2-40B4-BE49-F238E27FC236}">
                      <a16:creationId xmlns:a16="http://schemas.microsoft.com/office/drawing/2014/main" id="{2C58CB22-2F68-4B6D-9907-DEEA45E201BE}"/>
                    </a:ext>
                  </a:extLst>
                </p:cNvPr>
                <p:cNvSpPr>
                  <a:spLocks/>
                </p:cNvSpPr>
                <p:nvPr/>
              </p:nvSpPr>
              <p:spPr bwMode="auto">
                <a:xfrm>
                  <a:off x="3165336" y="4392788"/>
                  <a:ext cx="68263" cy="77788"/>
                </a:xfrm>
                <a:custGeom>
                  <a:avLst/>
                  <a:gdLst>
                    <a:gd name="T0" fmla="*/ 353 w 397"/>
                    <a:gd name="T1" fmla="*/ 37 h 448"/>
                    <a:gd name="T2" fmla="*/ 353 w 397"/>
                    <a:gd name="T3" fmla="*/ 37 h 448"/>
                    <a:gd name="T4" fmla="*/ 279 w 397"/>
                    <a:gd name="T5" fmla="*/ 291 h 448"/>
                    <a:gd name="T6" fmla="*/ 45 w 397"/>
                    <a:gd name="T7" fmla="*/ 411 h 448"/>
                    <a:gd name="T8" fmla="*/ 118 w 397"/>
                    <a:gd name="T9" fmla="*/ 158 h 448"/>
                    <a:gd name="T10" fmla="*/ 353 w 397"/>
                    <a:gd name="T11" fmla="*/ 37 h 448"/>
                    <a:gd name="T12" fmla="*/ 353 w 397"/>
                    <a:gd name="T13" fmla="*/ 37 h 448"/>
                  </a:gdLst>
                  <a:ahLst/>
                  <a:cxnLst>
                    <a:cxn ang="0">
                      <a:pos x="T0" y="T1"/>
                    </a:cxn>
                    <a:cxn ang="0">
                      <a:pos x="T2" y="T3"/>
                    </a:cxn>
                    <a:cxn ang="0">
                      <a:pos x="T4" y="T5"/>
                    </a:cxn>
                    <a:cxn ang="0">
                      <a:pos x="T6" y="T7"/>
                    </a:cxn>
                    <a:cxn ang="0">
                      <a:pos x="T8" y="T9"/>
                    </a:cxn>
                    <a:cxn ang="0">
                      <a:pos x="T10" y="T11"/>
                    </a:cxn>
                    <a:cxn ang="0">
                      <a:pos x="T12" y="T13"/>
                    </a:cxn>
                  </a:cxnLst>
                  <a:rect l="0" t="0" r="r" b="b"/>
                  <a:pathLst>
                    <a:path w="397" h="448">
                      <a:moveTo>
                        <a:pt x="353" y="37"/>
                      </a:moveTo>
                      <a:lnTo>
                        <a:pt x="353" y="37"/>
                      </a:lnTo>
                      <a:cubicBezTo>
                        <a:pt x="397" y="74"/>
                        <a:pt x="364" y="187"/>
                        <a:pt x="279" y="291"/>
                      </a:cubicBezTo>
                      <a:cubicBezTo>
                        <a:pt x="194" y="394"/>
                        <a:pt x="89" y="448"/>
                        <a:pt x="45" y="411"/>
                      </a:cubicBezTo>
                      <a:cubicBezTo>
                        <a:pt x="0" y="375"/>
                        <a:pt x="33" y="261"/>
                        <a:pt x="118" y="158"/>
                      </a:cubicBezTo>
                      <a:cubicBezTo>
                        <a:pt x="203" y="55"/>
                        <a:pt x="308" y="0"/>
                        <a:pt x="353" y="37"/>
                      </a:cubicBezTo>
                      <a:lnTo>
                        <a:pt x="353" y="37"/>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34" name="Freeform 35">
                  <a:extLst>
                    <a:ext uri="{FF2B5EF4-FFF2-40B4-BE49-F238E27FC236}">
                      <a16:creationId xmlns:a16="http://schemas.microsoft.com/office/drawing/2014/main" id="{697129A8-8921-467E-B540-DB6C84F1ED0F}"/>
                    </a:ext>
                  </a:extLst>
                </p:cNvPr>
                <p:cNvSpPr>
                  <a:spLocks/>
                </p:cNvSpPr>
                <p:nvPr/>
              </p:nvSpPr>
              <p:spPr bwMode="auto">
                <a:xfrm>
                  <a:off x="3163749" y="4434063"/>
                  <a:ext cx="61913" cy="68263"/>
                </a:xfrm>
                <a:custGeom>
                  <a:avLst/>
                  <a:gdLst>
                    <a:gd name="T0" fmla="*/ 262 w 352"/>
                    <a:gd name="T1" fmla="*/ 357 h 396"/>
                    <a:gd name="T2" fmla="*/ 262 w 352"/>
                    <a:gd name="T3" fmla="*/ 357 h 396"/>
                    <a:gd name="T4" fmla="*/ 48 w 352"/>
                    <a:gd name="T5" fmla="*/ 268 h 396"/>
                    <a:gd name="T6" fmla="*/ 90 w 352"/>
                    <a:gd name="T7" fmla="*/ 39 h 396"/>
                    <a:gd name="T8" fmla="*/ 305 w 352"/>
                    <a:gd name="T9" fmla="*/ 128 h 396"/>
                    <a:gd name="T10" fmla="*/ 262 w 352"/>
                    <a:gd name="T11" fmla="*/ 357 h 396"/>
                    <a:gd name="T12" fmla="*/ 262 w 352"/>
                    <a:gd name="T13" fmla="*/ 357 h 396"/>
                  </a:gdLst>
                  <a:ahLst/>
                  <a:cxnLst>
                    <a:cxn ang="0">
                      <a:pos x="T0" y="T1"/>
                    </a:cxn>
                    <a:cxn ang="0">
                      <a:pos x="T2" y="T3"/>
                    </a:cxn>
                    <a:cxn ang="0">
                      <a:pos x="T4" y="T5"/>
                    </a:cxn>
                    <a:cxn ang="0">
                      <a:pos x="T6" y="T7"/>
                    </a:cxn>
                    <a:cxn ang="0">
                      <a:pos x="T8" y="T9"/>
                    </a:cxn>
                    <a:cxn ang="0">
                      <a:pos x="T10" y="T11"/>
                    </a:cxn>
                    <a:cxn ang="0">
                      <a:pos x="T12" y="T13"/>
                    </a:cxn>
                  </a:cxnLst>
                  <a:rect l="0" t="0" r="r" b="b"/>
                  <a:pathLst>
                    <a:path w="352" h="396">
                      <a:moveTo>
                        <a:pt x="262" y="357"/>
                      </a:moveTo>
                      <a:lnTo>
                        <a:pt x="262" y="357"/>
                      </a:lnTo>
                      <a:cubicBezTo>
                        <a:pt x="191" y="396"/>
                        <a:pt x="95" y="355"/>
                        <a:pt x="48" y="268"/>
                      </a:cubicBezTo>
                      <a:cubicBezTo>
                        <a:pt x="0" y="180"/>
                        <a:pt x="19" y="77"/>
                        <a:pt x="90" y="39"/>
                      </a:cubicBezTo>
                      <a:cubicBezTo>
                        <a:pt x="161" y="0"/>
                        <a:pt x="257" y="40"/>
                        <a:pt x="305" y="128"/>
                      </a:cubicBezTo>
                      <a:cubicBezTo>
                        <a:pt x="352" y="216"/>
                        <a:pt x="333" y="319"/>
                        <a:pt x="262" y="357"/>
                      </a:cubicBezTo>
                      <a:lnTo>
                        <a:pt x="262" y="357"/>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35" name="Freeform 36">
                  <a:extLst>
                    <a:ext uri="{FF2B5EF4-FFF2-40B4-BE49-F238E27FC236}">
                      <a16:creationId xmlns:a16="http://schemas.microsoft.com/office/drawing/2014/main" id="{F34827F3-013F-4E72-87B2-43135F815A86}"/>
                    </a:ext>
                  </a:extLst>
                </p:cNvPr>
                <p:cNvSpPr>
                  <a:spLocks/>
                </p:cNvSpPr>
                <p:nvPr/>
              </p:nvSpPr>
              <p:spPr bwMode="auto">
                <a:xfrm>
                  <a:off x="3146286" y="4465813"/>
                  <a:ext cx="112713" cy="119063"/>
                </a:xfrm>
                <a:custGeom>
                  <a:avLst/>
                  <a:gdLst>
                    <a:gd name="T0" fmla="*/ 654 w 654"/>
                    <a:gd name="T1" fmla="*/ 448 h 693"/>
                    <a:gd name="T2" fmla="*/ 654 w 654"/>
                    <a:gd name="T3" fmla="*/ 448 h 693"/>
                    <a:gd name="T4" fmla="*/ 512 w 654"/>
                    <a:gd name="T5" fmla="*/ 514 h 693"/>
                    <a:gd name="T6" fmla="*/ 428 w 654"/>
                    <a:gd name="T7" fmla="*/ 595 h 693"/>
                    <a:gd name="T8" fmla="*/ 318 w 654"/>
                    <a:gd name="T9" fmla="*/ 693 h 693"/>
                    <a:gd name="T10" fmla="*/ 133 w 654"/>
                    <a:gd name="T11" fmla="*/ 508 h 693"/>
                    <a:gd name="T12" fmla="*/ 0 w 654"/>
                    <a:gd name="T13" fmla="*/ 370 h 693"/>
                    <a:gd name="T14" fmla="*/ 84 w 654"/>
                    <a:gd name="T15" fmla="*/ 292 h 693"/>
                    <a:gd name="T16" fmla="*/ 125 w 654"/>
                    <a:gd name="T17" fmla="*/ 153 h 693"/>
                    <a:gd name="T18" fmla="*/ 133 w 654"/>
                    <a:gd name="T19" fmla="*/ 0 h 693"/>
                    <a:gd name="T20" fmla="*/ 258 w 654"/>
                    <a:gd name="T21" fmla="*/ 72 h 693"/>
                    <a:gd name="T22" fmla="*/ 353 w 654"/>
                    <a:gd name="T23" fmla="*/ 110 h 693"/>
                    <a:gd name="T24" fmla="*/ 622 w 654"/>
                    <a:gd name="T25" fmla="*/ 352 h 693"/>
                    <a:gd name="T26" fmla="*/ 654 w 654"/>
                    <a:gd name="T27" fmla="*/ 448 h 693"/>
                    <a:gd name="T28" fmla="*/ 654 w 654"/>
                    <a:gd name="T29" fmla="*/ 448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4" h="693">
                      <a:moveTo>
                        <a:pt x="654" y="448"/>
                      </a:moveTo>
                      <a:lnTo>
                        <a:pt x="654" y="448"/>
                      </a:lnTo>
                      <a:lnTo>
                        <a:pt x="512" y="514"/>
                      </a:lnTo>
                      <a:lnTo>
                        <a:pt x="428" y="595"/>
                      </a:lnTo>
                      <a:lnTo>
                        <a:pt x="318" y="693"/>
                      </a:lnTo>
                      <a:lnTo>
                        <a:pt x="133" y="508"/>
                      </a:lnTo>
                      <a:lnTo>
                        <a:pt x="0" y="370"/>
                      </a:lnTo>
                      <a:lnTo>
                        <a:pt x="84" y="292"/>
                      </a:lnTo>
                      <a:lnTo>
                        <a:pt x="125" y="153"/>
                      </a:lnTo>
                      <a:lnTo>
                        <a:pt x="133" y="0"/>
                      </a:lnTo>
                      <a:lnTo>
                        <a:pt x="258" y="72"/>
                      </a:lnTo>
                      <a:lnTo>
                        <a:pt x="353" y="110"/>
                      </a:lnTo>
                      <a:lnTo>
                        <a:pt x="622" y="352"/>
                      </a:lnTo>
                      <a:lnTo>
                        <a:pt x="654" y="448"/>
                      </a:lnTo>
                      <a:lnTo>
                        <a:pt x="654" y="448"/>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36" name="Freeform 37">
                  <a:extLst>
                    <a:ext uri="{FF2B5EF4-FFF2-40B4-BE49-F238E27FC236}">
                      <a16:creationId xmlns:a16="http://schemas.microsoft.com/office/drawing/2014/main" id="{067C4FF0-1AFD-44AE-99E5-AA9DC03FC417}"/>
                    </a:ext>
                  </a:extLst>
                </p:cNvPr>
                <p:cNvSpPr>
                  <a:spLocks/>
                </p:cNvSpPr>
                <p:nvPr/>
              </p:nvSpPr>
              <p:spPr bwMode="auto">
                <a:xfrm>
                  <a:off x="3316149" y="4364213"/>
                  <a:ext cx="36513" cy="30163"/>
                </a:xfrm>
                <a:custGeom>
                  <a:avLst/>
                  <a:gdLst>
                    <a:gd name="T0" fmla="*/ 14 w 211"/>
                    <a:gd name="T1" fmla="*/ 121 h 175"/>
                    <a:gd name="T2" fmla="*/ 14 w 211"/>
                    <a:gd name="T3" fmla="*/ 121 h 175"/>
                    <a:gd name="T4" fmla="*/ 80 w 211"/>
                    <a:gd name="T5" fmla="*/ 19 h 175"/>
                    <a:gd name="T6" fmla="*/ 197 w 211"/>
                    <a:gd name="T7" fmla="*/ 53 h 175"/>
                    <a:gd name="T8" fmla="*/ 131 w 211"/>
                    <a:gd name="T9" fmla="*/ 156 h 175"/>
                    <a:gd name="T10" fmla="*/ 14 w 211"/>
                    <a:gd name="T11" fmla="*/ 121 h 175"/>
                    <a:gd name="T12" fmla="*/ 14 w 211"/>
                    <a:gd name="T13" fmla="*/ 121 h 175"/>
                  </a:gdLst>
                  <a:ahLst/>
                  <a:cxnLst>
                    <a:cxn ang="0">
                      <a:pos x="T0" y="T1"/>
                    </a:cxn>
                    <a:cxn ang="0">
                      <a:pos x="T2" y="T3"/>
                    </a:cxn>
                    <a:cxn ang="0">
                      <a:pos x="T4" y="T5"/>
                    </a:cxn>
                    <a:cxn ang="0">
                      <a:pos x="T6" y="T7"/>
                    </a:cxn>
                    <a:cxn ang="0">
                      <a:pos x="T8" y="T9"/>
                    </a:cxn>
                    <a:cxn ang="0">
                      <a:pos x="T10" y="T11"/>
                    </a:cxn>
                    <a:cxn ang="0">
                      <a:pos x="T12" y="T13"/>
                    </a:cxn>
                  </a:cxnLst>
                  <a:rect l="0" t="0" r="r" b="b"/>
                  <a:pathLst>
                    <a:path w="211" h="175">
                      <a:moveTo>
                        <a:pt x="14" y="121"/>
                      </a:moveTo>
                      <a:lnTo>
                        <a:pt x="14" y="121"/>
                      </a:lnTo>
                      <a:cubicBezTo>
                        <a:pt x="0" y="83"/>
                        <a:pt x="29" y="38"/>
                        <a:pt x="80" y="19"/>
                      </a:cubicBezTo>
                      <a:cubicBezTo>
                        <a:pt x="131" y="0"/>
                        <a:pt x="183" y="16"/>
                        <a:pt x="197" y="53"/>
                      </a:cubicBezTo>
                      <a:cubicBezTo>
                        <a:pt x="211" y="91"/>
                        <a:pt x="182" y="137"/>
                        <a:pt x="131" y="156"/>
                      </a:cubicBezTo>
                      <a:cubicBezTo>
                        <a:pt x="80" y="175"/>
                        <a:pt x="28" y="159"/>
                        <a:pt x="14" y="121"/>
                      </a:cubicBezTo>
                      <a:lnTo>
                        <a:pt x="14" y="121"/>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37" name="Freeform 38">
                  <a:extLst>
                    <a:ext uri="{FF2B5EF4-FFF2-40B4-BE49-F238E27FC236}">
                      <a16:creationId xmlns:a16="http://schemas.microsoft.com/office/drawing/2014/main" id="{6DF8ED20-B93B-478D-9A90-869FA0561467}"/>
                    </a:ext>
                  </a:extLst>
                </p:cNvPr>
                <p:cNvSpPr>
                  <a:spLocks/>
                </p:cNvSpPr>
                <p:nvPr/>
              </p:nvSpPr>
              <p:spPr bwMode="auto">
                <a:xfrm>
                  <a:off x="3316149" y="4391200"/>
                  <a:ext cx="36513" cy="30163"/>
                </a:xfrm>
                <a:custGeom>
                  <a:avLst/>
                  <a:gdLst>
                    <a:gd name="T0" fmla="*/ 14 w 212"/>
                    <a:gd name="T1" fmla="*/ 122 h 175"/>
                    <a:gd name="T2" fmla="*/ 14 w 212"/>
                    <a:gd name="T3" fmla="*/ 122 h 175"/>
                    <a:gd name="T4" fmla="*/ 80 w 212"/>
                    <a:gd name="T5" fmla="*/ 19 h 175"/>
                    <a:gd name="T6" fmla="*/ 197 w 212"/>
                    <a:gd name="T7" fmla="*/ 54 h 175"/>
                    <a:gd name="T8" fmla="*/ 131 w 212"/>
                    <a:gd name="T9" fmla="*/ 156 h 175"/>
                    <a:gd name="T10" fmla="*/ 14 w 212"/>
                    <a:gd name="T11" fmla="*/ 122 h 175"/>
                    <a:gd name="T12" fmla="*/ 14 w 212"/>
                    <a:gd name="T13" fmla="*/ 122 h 175"/>
                  </a:gdLst>
                  <a:ahLst/>
                  <a:cxnLst>
                    <a:cxn ang="0">
                      <a:pos x="T0" y="T1"/>
                    </a:cxn>
                    <a:cxn ang="0">
                      <a:pos x="T2" y="T3"/>
                    </a:cxn>
                    <a:cxn ang="0">
                      <a:pos x="T4" y="T5"/>
                    </a:cxn>
                    <a:cxn ang="0">
                      <a:pos x="T6" y="T7"/>
                    </a:cxn>
                    <a:cxn ang="0">
                      <a:pos x="T8" y="T9"/>
                    </a:cxn>
                    <a:cxn ang="0">
                      <a:pos x="T10" y="T11"/>
                    </a:cxn>
                    <a:cxn ang="0">
                      <a:pos x="T12" y="T13"/>
                    </a:cxn>
                  </a:cxnLst>
                  <a:rect l="0" t="0" r="r" b="b"/>
                  <a:pathLst>
                    <a:path w="212" h="175">
                      <a:moveTo>
                        <a:pt x="14" y="122"/>
                      </a:moveTo>
                      <a:lnTo>
                        <a:pt x="14" y="122"/>
                      </a:lnTo>
                      <a:cubicBezTo>
                        <a:pt x="0" y="84"/>
                        <a:pt x="29" y="38"/>
                        <a:pt x="80" y="19"/>
                      </a:cubicBezTo>
                      <a:cubicBezTo>
                        <a:pt x="131" y="0"/>
                        <a:pt x="183" y="16"/>
                        <a:pt x="197" y="54"/>
                      </a:cubicBezTo>
                      <a:cubicBezTo>
                        <a:pt x="212" y="92"/>
                        <a:pt x="182" y="138"/>
                        <a:pt x="131" y="156"/>
                      </a:cubicBezTo>
                      <a:cubicBezTo>
                        <a:pt x="80" y="175"/>
                        <a:pt x="28" y="160"/>
                        <a:pt x="14" y="122"/>
                      </a:cubicBezTo>
                      <a:lnTo>
                        <a:pt x="14" y="122"/>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38" name="Freeform 39">
                  <a:extLst>
                    <a:ext uri="{FF2B5EF4-FFF2-40B4-BE49-F238E27FC236}">
                      <a16:creationId xmlns:a16="http://schemas.microsoft.com/office/drawing/2014/main" id="{FC6B591D-0846-4985-8759-331BC639D478}"/>
                    </a:ext>
                  </a:extLst>
                </p:cNvPr>
                <p:cNvSpPr>
                  <a:spLocks/>
                </p:cNvSpPr>
                <p:nvPr/>
              </p:nvSpPr>
              <p:spPr bwMode="auto">
                <a:xfrm>
                  <a:off x="3316149" y="4419775"/>
                  <a:ext cx="36513" cy="30163"/>
                </a:xfrm>
                <a:custGeom>
                  <a:avLst/>
                  <a:gdLst>
                    <a:gd name="T0" fmla="*/ 14 w 211"/>
                    <a:gd name="T1" fmla="*/ 121 h 175"/>
                    <a:gd name="T2" fmla="*/ 14 w 211"/>
                    <a:gd name="T3" fmla="*/ 121 h 175"/>
                    <a:gd name="T4" fmla="*/ 80 w 211"/>
                    <a:gd name="T5" fmla="*/ 19 h 175"/>
                    <a:gd name="T6" fmla="*/ 197 w 211"/>
                    <a:gd name="T7" fmla="*/ 53 h 175"/>
                    <a:gd name="T8" fmla="*/ 131 w 211"/>
                    <a:gd name="T9" fmla="*/ 156 h 175"/>
                    <a:gd name="T10" fmla="*/ 14 w 211"/>
                    <a:gd name="T11" fmla="*/ 121 h 175"/>
                    <a:gd name="T12" fmla="*/ 14 w 211"/>
                    <a:gd name="T13" fmla="*/ 121 h 175"/>
                  </a:gdLst>
                  <a:ahLst/>
                  <a:cxnLst>
                    <a:cxn ang="0">
                      <a:pos x="T0" y="T1"/>
                    </a:cxn>
                    <a:cxn ang="0">
                      <a:pos x="T2" y="T3"/>
                    </a:cxn>
                    <a:cxn ang="0">
                      <a:pos x="T4" y="T5"/>
                    </a:cxn>
                    <a:cxn ang="0">
                      <a:pos x="T6" y="T7"/>
                    </a:cxn>
                    <a:cxn ang="0">
                      <a:pos x="T8" y="T9"/>
                    </a:cxn>
                    <a:cxn ang="0">
                      <a:pos x="T10" y="T11"/>
                    </a:cxn>
                    <a:cxn ang="0">
                      <a:pos x="T12" y="T13"/>
                    </a:cxn>
                  </a:cxnLst>
                  <a:rect l="0" t="0" r="r" b="b"/>
                  <a:pathLst>
                    <a:path w="211" h="175">
                      <a:moveTo>
                        <a:pt x="14" y="121"/>
                      </a:moveTo>
                      <a:lnTo>
                        <a:pt x="14" y="121"/>
                      </a:lnTo>
                      <a:cubicBezTo>
                        <a:pt x="0" y="83"/>
                        <a:pt x="29" y="38"/>
                        <a:pt x="80" y="19"/>
                      </a:cubicBezTo>
                      <a:cubicBezTo>
                        <a:pt x="131" y="0"/>
                        <a:pt x="183" y="16"/>
                        <a:pt x="197" y="53"/>
                      </a:cubicBezTo>
                      <a:cubicBezTo>
                        <a:pt x="211" y="91"/>
                        <a:pt x="182" y="137"/>
                        <a:pt x="131" y="156"/>
                      </a:cubicBezTo>
                      <a:cubicBezTo>
                        <a:pt x="80" y="175"/>
                        <a:pt x="28" y="159"/>
                        <a:pt x="14" y="121"/>
                      </a:cubicBezTo>
                      <a:lnTo>
                        <a:pt x="14" y="121"/>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39" name="Freeform 40">
                  <a:extLst>
                    <a:ext uri="{FF2B5EF4-FFF2-40B4-BE49-F238E27FC236}">
                      <a16:creationId xmlns:a16="http://schemas.microsoft.com/office/drawing/2014/main" id="{D27611E0-FFCB-49A9-9A03-712D228E7400}"/>
                    </a:ext>
                  </a:extLst>
                </p:cNvPr>
                <p:cNvSpPr>
                  <a:spLocks/>
                </p:cNvSpPr>
                <p:nvPr/>
              </p:nvSpPr>
              <p:spPr bwMode="auto">
                <a:xfrm>
                  <a:off x="3316149" y="4448350"/>
                  <a:ext cx="36513" cy="30163"/>
                </a:xfrm>
                <a:custGeom>
                  <a:avLst/>
                  <a:gdLst>
                    <a:gd name="T0" fmla="*/ 14 w 212"/>
                    <a:gd name="T1" fmla="*/ 122 h 175"/>
                    <a:gd name="T2" fmla="*/ 14 w 212"/>
                    <a:gd name="T3" fmla="*/ 122 h 175"/>
                    <a:gd name="T4" fmla="*/ 81 w 212"/>
                    <a:gd name="T5" fmla="*/ 19 h 175"/>
                    <a:gd name="T6" fmla="*/ 198 w 212"/>
                    <a:gd name="T7" fmla="*/ 54 h 175"/>
                    <a:gd name="T8" fmla="*/ 132 w 212"/>
                    <a:gd name="T9" fmla="*/ 156 h 175"/>
                    <a:gd name="T10" fmla="*/ 14 w 212"/>
                    <a:gd name="T11" fmla="*/ 122 h 175"/>
                    <a:gd name="T12" fmla="*/ 14 w 212"/>
                    <a:gd name="T13" fmla="*/ 122 h 175"/>
                  </a:gdLst>
                  <a:ahLst/>
                  <a:cxnLst>
                    <a:cxn ang="0">
                      <a:pos x="T0" y="T1"/>
                    </a:cxn>
                    <a:cxn ang="0">
                      <a:pos x="T2" y="T3"/>
                    </a:cxn>
                    <a:cxn ang="0">
                      <a:pos x="T4" y="T5"/>
                    </a:cxn>
                    <a:cxn ang="0">
                      <a:pos x="T6" y="T7"/>
                    </a:cxn>
                    <a:cxn ang="0">
                      <a:pos x="T8" y="T9"/>
                    </a:cxn>
                    <a:cxn ang="0">
                      <a:pos x="T10" y="T11"/>
                    </a:cxn>
                    <a:cxn ang="0">
                      <a:pos x="T12" y="T13"/>
                    </a:cxn>
                  </a:cxnLst>
                  <a:rect l="0" t="0" r="r" b="b"/>
                  <a:pathLst>
                    <a:path w="212" h="175">
                      <a:moveTo>
                        <a:pt x="14" y="122"/>
                      </a:moveTo>
                      <a:lnTo>
                        <a:pt x="14" y="122"/>
                      </a:lnTo>
                      <a:cubicBezTo>
                        <a:pt x="0" y="84"/>
                        <a:pt x="30" y="38"/>
                        <a:pt x="81" y="19"/>
                      </a:cubicBezTo>
                      <a:cubicBezTo>
                        <a:pt x="132" y="0"/>
                        <a:pt x="184" y="16"/>
                        <a:pt x="198" y="54"/>
                      </a:cubicBezTo>
                      <a:cubicBezTo>
                        <a:pt x="212" y="92"/>
                        <a:pt x="182" y="138"/>
                        <a:pt x="132" y="156"/>
                      </a:cubicBezTo>
                      <a:cubicBezTo>
                        <a:pt x="81" y="175"/>
                        <a:pt x="28" y="160"/>
                        <a:pt x="14" y="122"/>
                      </a:cubicBezTo>
                      <a:lnTo>
                        <a:pt x="14" y="122"/>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40" name="Freeform 41">
                  <a:extLst>
                    <a:ext uri="{FF2B5EF4-FFF2-40B4-BE49-F238E27FC236}">
                      <a16:creationId xmlns:a16="http://schemas.microsoft.com/office/drawing/2014/main" id="{F69DDF41-A729-4A3B-A2BA-C96664F557AA}"/>
                    </a:ext>
                  </a:extLst>
                </p:cNvPr>
                <p:cNvSpPr>
                  <a:spLocks/>
                </p:cNvSpPr>
                <p:nvPr/>
              </p:nvSpPr>
              <p:spPr bwMode="auto">
                <a:xfrm>
                  <a:off x="3143111" y="4526138"/>
                  <a:ext cx="60325" cy="60325"/>
                </a:xfrm>
                <a:custGeom>
                  <a:avLst/>
                  <a:gdLst>
                    <a:gd name="T0" fmla="*/ 0 w 352"/>
                    <a:gd name="T1" fmla="*/ 29 h 348"/>
                    <a:gd name="T2" fmla="*/ 0 w 352"/>
                    <a:gd name="T3" fmla="*/ 29 h 348"/>
                    <a:gd name="T4" fmla="*/ 30 w 352"/>
                    <a:gd name="T5" fmla="*/ 0 h 348"/>
                    <a:gd name="T6" fmla="*/ 352 w 352"/>
                    <a:gd name="T7" fmla="*/ 319 h 348"/>
                    <a:gd name="T8" fmla="*/ 322 w 352"/>
                    <a:gd name="T9" fmla="*/ 348 h 348"/>
                    <a:gd name="T10" fmla="*/ 0 w 352"/>
                    <a:gd name="T11" fmla="*/ 29 h 348"/>
                  </a:gdLst>
                  <a:ahLst/>
                  <a:cxnLst>
                    <a:cxn ang="0">
                      <a:pos x="T0" y="T1"/>
                    </a:cxn>
                    <a:cxn ang="0">
                      <a:pos x="T2" y="T3"/>
                    </a:cxn>
                    <a:cxn ang="0">
                      <a:pos x="T4" y="T5"/>
                    </a:cxn>
                    <a:cxn ang="0">
                      <a:pos x="T6" y="T7"/>
                    </a:cxn>
                    <a:cxn ang="0">
                      <a:pos x="T8" y="T9"/>
                    </a:cxn>
                    <a:cxn ang="0">
                      <a:pos x="T10" y="T11"/>
                    </a:cxn>
                  </a:cxnLst>
                  <a:rect l="0" t="0" r="r" b="b"/>
                  <a:pathLst>
                    <a:path w="352" h="348">
                      <a:moveTo>
                        <a:pt x="0" y="29"/>
                      </a:moveTo>
                      <a:lnTo>
                        <a:pt x="0" y="29"/>
                      </a:lnTo>
                      <a:lnTo>
                        <a:pt x="30" y="0"/>
                      </a:lnTo>
                      <a:lnTo>
                        <a:pt x="352" y="319"/>
                      </a:lnTo>
                      <a:lnTo>
                        <a:pt x="322" y="348"/>
                      </a:lnTo>
                      <a:lnTo>
                        <a:pt x="0" y="29"/>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41" name="Freeform 42">
                  <a:extLst>
                    <a:ext uri="{FF2B5EF4-FFF2-40B4-BE49-F238E27FC236}">
                      <a16:creationId xmlns:a16="http://schemas.microsoft.com/office/drawing/2014/main" id="{E78483CB-D39B-49DF-B793-A363F510069B}"/>
                    </a:ext>
                  </a:extLst>
                </p:cNvPr>
                <p:cNvSpPr>
                  <a:spLocks/>
                </p:cNvSpPr>
                <p:nvPr/>
              </p:nvSpPr>
              <p:spPr bwMode="auto">
                <a:xfrm>
                  <a:off x="3120886" y="4521375"/>
                  <a:ext cx="82550" cy="80963"/>
                </a:xfrm>
                <a:custGeom>
                  <a:avLst/>
                  <a:gdLst>
                    <a:gd name="T0" fmla="*/ 0 w 472"/>
                    <a:gd name="T1" fmla="*/ 79 h 469"/>
                    <a:gd name="T2" fmla="*/ 0 w 472"/>
                    <a:gd name="T3" fmla="*/ 79 h 469"/>
                    <a:gd name="T4" fmla="*/ 78 w 472"/>
                    <a:gd name="T5" fmla="*/ 0 h 469"/>
                    <a:gd name="T6" fmla="*/ 472 w 472"/>
                    <a:gd name="T7" fmla="*/ 390 h 469"/>
                    <a:gd name="T8" fmla="*/ 393 w 472"/>
                    <a:gd name="T9" fmla="*/ 469 h 469"/>
                    <a:gd name="T10" fmla="*/ 0 w 472"/>
                    <a:gd name="T11" fmla="*/ 79 h 469"/>
                  </a:gdLst>
                  <a:ahLst/>
                  <a:cxnLst>
                    <a:cxn ang="0">
                      <a:pos x="T0" y="T1"/>
                    </a:cxn>
                    <a:cxn ang="0">
                      <a:pos x="T2" y="T3"/>
                    </a:cxn>
                    <a:cxn ang="0">
                      <a:pos x="T4" y="T5"/>
                    </a:cxn>
                    <a:cxn ang="0">
                      <a:pos x="T6" y="T7"/>
                    </a:cxn>
                    <a:cxn ang="0">
                      <a:pos x="T8" y="T9"/>
                    </a:cxn>
                    <a:cxn ang="0">
                      <a:pos x="T10" y="T11"/>
                    </a:cxn>
                  </a:cxnLst>
                  <a:rect l="0" t="0" r="r" b="b"/>
                  <a:pathLst>
                    <a:path w="472" h="469">
                      <a:moveTo>
                        <a:pt x="0" y="79"/>
                      </a:moveTo>
                      <a:lnTo>
                        <a:pt x="0" y="79"/>
                      </a:lnTo>
                      <a:lnTo>
                        <a:pt x="78" y="0"/>
                      </a:lnTo>
                      <a:lnTo>
                        <a:pt x="472" y="390"/>
                      </a:lnTo>
                      <a:lnTo>
                        <a:pt x="393" y="469"/>
                      </a:lnTo>
                      <a:lnTo>
                        <a:pt x="0" y="79"/>
                      </a:lnTo>
                      <a:close/>
                    </a:path>
                  </a:pathLst>
                </a:custGeom>
                <a:solidFill>
                  <a:srgbClr val="0089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42" name="Freeform 43">
                  <a:extLst>
                    <a:ext uri="{FF2B5EF4-FFF2-40B4-BE49-F238E27FC236}">
                      <a16:creationId xmlns:a16="http://schemas.microsoft.com/office/drawing/2014/main" id="{D6C3F2FA-50C6-4053-84E7-25CA0941C5E2}"/>
                    </a:ext>
                  </a:extLst>
                </p:cNvPr>
                <p:cNvSpPr>
                  <a:spLocks/>
                </p:cNvSpPr>
                <p:nvPr/>
              </p:nvSpPr>
              <p:spPr bwMode="auto">
                <a:xfrm>
                  <a:off x="3120886" y="4521375"/>
                  <a:ext cx="82550" cy="80963"/>
                </a:xfrm>
                <a:custGeom>
                  <a:avLst/>
                  <a:gdLst>
                    <a:gd name="T0" fmla="*/ 0 w 472"/>
                    <a:gd name="T1" fmla="*/ 79 h 469"/>
                    <a:gd name="T2" fmla="*/ 0 w 472"/>
                    <a:gd name="T3" fmla="*/ 79 h 469"/>
                    <a:gd name="T4" fmla="*/ 78 w 472"/>
                    <a:gd name="T5" fmla="*/ 0 h 469"/>
                    <a:gd name="T6" fmla="*/ 472 w 472"/>
                    <a:gd name="T7" fmla="*/ 390 h 469"/>
                    <a:gd name="T8" fmla="*/ 393 w 472"/>
                    <a:gd name="T9" fmla="*/ 469 h 469"/>
                    <a:gd name="T10" fmla="*/ 0 w 472"/>
                    <a:gd name="T11" fmla="*/ 79 h 469"/>
                  </a:gdLst>
                  <a:ahLst/>
                  <a:cxnLst>
                    <a:cxn ang="0">
                      <a:pos x="T0" y="T1"/>
                    </a:cxn>
                    <a:cxn ang="0">
                      <a:pos x="T2" y="T3"/>
                    </a:cxn>
                    <a:cxn ang="0">
                      <a:pos x="T4" y="T5"/>
                    </a:cxn>
                    <a:cxn ang="0">
                      <a:pos x="T6" y="T7"/>
                    </a:cxn>
                    <a:cxn ang="0">
                      <a:pos x="T8" y="T9"/>
                    </a:cxn>
                    <a:cxn ang="0">
                      <a:pos x="T10" y="T11"/>
                    </a:cxn>
                  </a:cxnLst>
                  <a:rect l="0" t="0" r="r" b="b"/>
                  <a:pathLst>
                    <a:path w="472" h="469">
                      <a:moveTo>
                        <a:pt x="0" y="79"/>
                      </a:moveTo>
                      <a:lnTo>
                        <a:pt x="0" y="79"/>
                      </a:lnTo>
                      <a:lnTo>
                        <a:pt x="78" y="0"/>
                      </a:lnTo>
                      <a:lnTo>
                        <a:pt x="472" y="390"/>
                      </a:lnTo>
                      <a:lnTo>
                        <a:pt x="393" y="469"/>
                      </a:lnTo>
                      <a:lnTo>
                        <a:pt x="0" y="79"/>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43" name="Freeform 44">
                  <a:extLst>
                    <a:ext uri="{FF2B5EF4-FFF2-40B4-BE49-F238E27FC236}">
                      <a16:creationId xmlns:a16="http://schemas.microsoft.com/office/drawing/2014/main" id="{4021EE1B-EA7D-459F-8322-9CB3CCDFC299}"/>
                    </a:ext>
                  </a:extLst>
                </p:cNvPr>
                <p:cNvSpPr>
                  <a:spLocks/>
                </p:cNvSpPr>
                <p:nvPr/>
              </p:nvSpPr>
              <p:spPr bwMode="auto">
                <a:xfrm>
                  <a:off x="3070086" y="4567413"/>
                  <a:ext cx="131763" cy="125413"/>
                </a:xfrm>
                <a:custGeom>
                  <a:avLst/>
                  <a:gdLst>
                    <a:gd name="T0" fmla="*/ 494 w 764"/>
                    <a:gd name="T1" fmla="*/ 0 h 724"/>
                    <a:gd name="T2" fmla="*/ 494 w 764"/>
                    <a:gd name="T3" fmla="*/ 0 h 724"/>
                    <a:gd name="T4" fmla="*/ 764 w 764"/>
                    <a:gd name="T5" fmla="*/ 267 h 724"/>
                    <a:gd name="T6" fmla="*/ 310 w 764"/>
                    <a:gd name="T7" fmla="*/ 724 h 724"/>
                    <a:gd name="T8" fmla="*/ 306 w 764"/>
                    <a:gd name="T9" fmla="*/ 723 h 724"/>
                    <a:gd name="T10" fmla="*/ 73 w 764"/>
                    <a:gd name="T11" fmla="*/ 565 h 724"/>
                    <a:gd name="T12" fmla="*/ 0 w 764"/>
                    <a:gd name="T13" fmla="*/ 498 h 724"/>
                    <a:gd name="T14" fmla="*/ 494 w 764"/>
                    <a:gd name="T15" fmla="*/ 0 h 7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4" h="724">
                      <a:moveTo>
                        <a:pt x="494" y="0"/>
                      </a:moveTo>
                      <a:lnTo>
                        <a:pt x="494" y="0"/>
                      </a:lnTo>
                      <a:lnTo>
                        <a:pt x="764" y="267"/>
                      </a:lnTo>
                      <a:lnTo>
                        <a:pt x="310" y="724"/>
                      </a:lnTo>
                      <a:lnTo>
                        <a:pt x="306" y="723"/>
                      </a:lnTo>
                      <a:cubicBezTo>
                        <a:pt x="224" y="677"/>
                        <a:pt x="146" y="625"/>
                        <a:pt x="73" y="565"/>
                      </a:cubicBezTo>
                      <a:lnTo>
                        <a:pt x="0" y="498"/>
                      </a:lnTo>
                      <a:lnTo>
                        <a:pt x="494" y="0"/>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44" name="Freeform 45">
                  <a:extLst>
                    <a:ext uri="{FF2B5EF4-FFF2-40B4-BE49-F238E27FC236}">
                      <a16:creationId xmlns:a16="http://schemas.microsoft.com/office/drawing/2014/main" id="{06294466-B1A3-47B1-A1C9-309C584F43C4}"/>
                    </a:ext>
                  </a:extLst>
                </p:cNvPr>
                <p:cNvSpPr>
                  <a:spLocks/>
                </p:cNvSpPr>
                <p:nvPr/>
              </p:nvSpPr>
              <p:spPr bwMode="auto">
                <a:xfrm>
                  <a:off x="3031986" y="4524550"/>
                  <a:ext cx="123825" cy="130175"/>
                </a:xfrm>
                <a:custGeom>
                  <a:avLst/>
                  <a:gdLst>
                    <a:gd name="T0" fmla="*/ 462 w 716"/>
                    <a:gd name="T1" fmla="*/ 0 h 747"/>
                    <a:gd name="T2" fmla="*/ 462 w 716"/>
                    <a:gd name="T3" fmla="*/ 0 h 747"/>
                    <a:gd name="T4" fmla="*/ 716 w 716"/>
                    <a:gd name="T5" fmla="*/ 252 h 747"/>
                    <a:gd name="T6" fmla="*/ 225 w 716"/>
                    <a:gd name="T7" fmla="*/ 747 h 747"/>
                    <a:gd name="T8" fmla="*/ 209 w 716"/>
                    <a:gd name="T9" fmla="*/ 732 h 747"/>
                    <a:gd name="T10" fmla="*/ 31 w 716"/>
                    <a:gd name="T11" fmla="*/ 516 h 747"/>
                    <a:gd name="T12" fmla="*/ 0 w 716"/>
                    <a:gd name="T13" fmla="*/ 466 h 747"/>
                    <a:gd name="T14" fmla="*/ 462 w 716"/>
                    <a:gd name="T15" fmla="*/ 0 h 7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6" h="747">
                      <a:moveTo>
                        <a:pt x="462" y="0"/>
                      </a:moveTo>
                      <a:lnTo>
                        <a:pt x="462" y="0"/>
                      </a:lnTo>
                      <a:lnTo>
                        <a:pt x="716" y="252"/>
                      </a:lnTo>
                      <a:lnTo>
                        <a:pt x="225" y="747"/>
                      </a:lnTo>
                      <a:lnTo>
                        <a:pt x="209" y="732"/>
                      </a:lnTo>
                      <a:cubicBezTo>
                        <a:pt x="143" y="666"/>
                        <a:pt x="83" y="593"/>
                        <a:pt x="31" y="516"/>
                      </a:cubicBezTo>
                      <a:lnTo>
                        <a:pt x="0" y="466"/>
                      </a:lnTo>
                      <a:lnTo>
                        <a:pt x="462" y="0"/>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413" name="Group 412">
                <a:extLst>
                  <a:ext uri="{FF2B5EF4-FFF2-40B4-BE49-F238E27FC236}">
                    <a16:creationId xmlns:a16="http://schemas.microsoft.com/office/drawing/2014/main" id="{5D39FD2C-D2C5-4124-B173-5F1F4FE2B064}"/>
                  </a:ext>
                </a:extLst>
              </p:cNvPr>
              <p:cNvGrpSpPr/>
              <p:nvPr/>
            </p:nvGrpSpPr>
            <p:grpSpPr>
              <a:xfrm>
                <a:off x="2916019" y="4378364"/>
                <a:ext cx="156464" cy="238422"/>
                <a:chOff x="3476407" y="4717840"/>
                <a:chExt cx="311151" cy="474134"/>
              </a:xfrm>
            </p:grpSpPr>
            <p:sp>
              <p:nvSpPr>
                <p:cNvPr id="414" name="Freeform 23">
                  <a:extLst>
                    <a:ext uri="{FF2B5EF4-FFF2-40B4-BE49-F238E27FC236}">
                      <a16:creationId xmlns:a16="http://schemas.microsoft.com/office/drawing/2014/main" id="{042F51A8-6568-48D2-9377-836646D4AEA5}"/>
                    </a:ext>
                  </a:extLst>
                </p:cNvPr>
                <p:cNvSpPr>
                  <a:spLocks/>
                </p:cNvSpPr>
                <p:nvPr/>
              </p:nvSpPr>
              <p:spPr bwMode="auto">
                <a:xfrm>
                  <a:off x="3556840" y="4935858"/>
                  <a:ext cx="150284" cy="69851"/>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5" name="Freeform 24">
                  <a:extLst>
                    <a:ext uri="{FF2B5EF4-FFF2-40B4-BE49-F238E27FC236}">
                      <a16:creationId xmlns:a16="http://schemas.microsoft.com/office/drawing/2014/main" id="{BC3EFF95-241A-4525-8AD0-0839F8EE0023}"/>
                    </a:ext>
                  </a:extLst>
                </p:cNvPr>
                <p:cNvSpPr>
                  <a:spLocks/>
                </p:cNvSpPr>
                <p:nvPr/>
              </p:nvSpPr>
              <p:spPr bwMode="auto">
                <a:xfrm>
                  <a:off x="3556840" y="4935858"/>
                  <a:ext cx="150284" cy="69851"/>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6" name="Freeform 25">
                  <a:extLst>
                    <a:ext uri="{FF2B5EF4-FFF2-40B4-BE49-F238E27FC236}">
                      <a16:creationId xmlns:a16="http://schemas.microsoft.com/office/drawing/2014/main" id="{EE43C81E-B1A2-4962-B0A4-0F13C69027B0}"/>
                    </a:ext>
                  </a:extLst>
                </p:cNvPr>
                <p:cNvSpPr>
                  <a:spLocks/>
                </p:cNvSpPr>
                <p:nvPr/>
              </p:nvSpPr>
              <p:spPr bwMode="auto">
                <a:xfrm>
                  <a:off x="3476407" y="4963373"/>
                  <a:ext cx="311151" cy="167217"/>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70"/>
                        <a:pt x="69" y="0"/>
                        <a:pt x="154" y="0"/>
                      </a:cubicBezTo>
                      <a:lnTo>
                        <a:pt x="1195" y="0"/>
                      </a:lnTo>
                      <a:cubicBezTo>
                        <a:pt x="1281" y="0"/>
                        <a:pt x="1350" y="70"/>
                        <a:pt x="1350" y="156"/>
                      </a:cubicBezTo>
                      <a:lnTo>
                        <a:pt x="1350" y="572"/>
                      </a:lnTo>
                      <a:cubicBezTo>
                        <a:pt x="1350" y="658"/>
                        <a:pt x="1281" y="728"/>
                        <a:pt x="1195" y="728"/>
                      </a:cubicBezTo>
                      <a:lnTo>
                        <a:pt x="154" y="728"/>
                      </a:lnTo>
                      <a:cubicBezTo>
                        <a:pt x="69" y="728"/>
                        <a:pt x="0" y="658"/>
                        <a:pt x="0" y="572"/>
                      </a:cubicBezTo>
                      <a:lnTo>
                        <a:pt x="0" y="156"/>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17" name="Freeform 26">
                  <a:extLst>
                    <a:ext uri="{FF2B5EF4-FFF2-40B4-BE49-F238E27FC236}">
                      <a16:creationId xmlns:a16="http://schemas.microsoft.com/office/drawing/2014/main" id="{CC16FCD6-7B1D-49E9-81BF-90E938E3A924}"/>
                    </a:ext>
                  </a:extLst>
                </p:cNvPr>
                <p:cNvSpPr>
                  <a:spLocks/>
                </p:cNvSpPr>
                <p:nvPr/>
              </p:nvSpPr>
              <p:spPr bwMode="auto">
                <a:xfrm>
                  <a:off x="3476407" y="4963373"/>
                  <a:ext cx="311151" cy="167217"/>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69"/>
                        <a:pt x="69" y="0"/>
                        <a:pt x="154" y="0"/>
                      </a:cubicBezTo>
                      <a:lnTo>
                        <a:pt x="1195" y="0"/>
                      </a:lnTo>
                      <a:cubicBezTo>
                        <a:pt x="1281" y="0"/>
                        <a:pt x="1350" y="69"/>
                        <a:pt x="1350" y="156"/>
                      </a:cubicBezTo>
                      <a:lnTo>
                        <a:pt x="1350" y="572"/>
                      </a:lnTo>
                      <a:cubicBezTo>
                        <a:pt x="1350" y="658"/>
                        <a:pt x="1281" y="728"/>
                        <a:pt x="1195" y="728"/>
                      </a:cubicBezTo>
                      <a:lnTo>
                        <a:pt x="154" y="728"/>
                      </a:lnTo>
                      <a:cubicBezTo>
                        <a:pt x="69" y="728"/>
                        <a:pt x="0" y="658"/>
                        <a:pt x="0" y="572"/>
                      </a:cubicBezTo>
                      <a:lnTo>
                        <a:pt x="0" y="156"/>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8" name="Freeform 27">
                  <a:extLst>
                    <a:ext uri="{FF2B5EF4-FFF2-40B4-BE49-F238E27FC236}">
                      <a16:creationId xmlns:a16="http://schemas.microsoft.com/office/drawing/2014/main" id="{98964D88-FB1B-4819-91A2-1143CEBDD471}"/>
                    </a:ext>
                  </a:extLst>
                </p:cNvPr>
                <p:cNvSpPr>
                  <a:spLocks/>
                </p:cNvSpPr>
                <p:nvPr/>
              </p:nvSpPr>
              <p:spPr bwMode="auto">
                <a:xfrm>
                  <a:off x="3512391" y="4997240"/>
                  <a:ext cx="241300" cy="162984"/>
                </a:xfrm>
                <a:custGeom>
                  <a:avLst/>
                  <a:gdLst>
                    <a:gd name="T0" fmla="*/ 0 w 1048"/>
                    <a:gd name="T1" fmla="*/ 82 h 705"/>
                    <a:gd name="T2" fmla="*/ 0 w 1048"/>
                    <a:gd name="T3" fmla="*/ 82 h 705"/>
                    <a:gd name="T4" fmla="*/ 81 w 1048"/>
                    <a:gd name="T5" fmla="*/ 0 h 705"/>
                    <a:gd name="T6" fmla="*/ 967 w 1048"/>
                    <a:gd name="T7" fmla="*/ 0 h 705"/>
                    <a:gd name="T8" fmla="*/ 1048 w 1048"/>
                    <a:gd name="T9" fmla="*/ 82 h 705"/>
                    <a:gd name="T10" fmla="*/ 1048 w 1048"/>
                    <a:gd name="T11" fmla="*/ 624 h 705"/>
                    <a:gd name="T12" fmla="*/ 967 w 1048"/>
                    <a:gd name="T13" fmla="*/ 705 h 705"/>
                    <a:gd name="T14" fmla="*/ 81 w 1048"/>
                    <a:gd name="T15" fmla="*/ 705 h 705"/>
                    <a:gd name="T16" fmla="*/ 0 w 1048"/>
                    <a:gd name="T17" fmla="*/ 624 h 705"/>
                    <a:gd name="T18" fmla="*/ 0 w 1048"/>
                    <a:gd name="T19"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705">
                      <a:moveTo>
                        <a:pt x="0" y="82"/>
                      </a:moveTo>
                      <a:lnTo>
                        <a:pt x="0" y="82"/>
                      </a:lnTo>
                      <a:cubicBezTo>
                        <a:pt x="0" y="37"/>
                        <a:pt x="36" y="0"/>
                        <a:pt x="81" y="0"/>
                      </a:cubicBezTo>
                      <a:lnTo>
                        <a:pt x="967" y="0"/>
                      </a:lnTo>
                      <a:cubicBezTo>
                        <a:pt x="1011" y="0"/>
                        <a:pt x="1048" y="37"/>
                        <a:pt x="1048" y="82"/>
                      </a:cubicBezTo>
                      <a:lnTo>
                        <a:pt x="1048" y="624"/>
                      </a:lnTo>
                      <a:cubicBezTo>
                        <a:pt x="1048" y="668"/>
                        <a:pt x="1011" y="705"/>
                        <a:pt x="967" y="705"/>
                      </a:cubicBezTo>
                      <a:lnTo>
                        <a:pt x="81" y="705"/>
                      </a:lnTo>
                      <a:cubicBezTo>
                        <a:pt x="36" y="705"/>
                        <a:pt x="0" y="668"/>
                        <a:pt x="0" y="624"/>
                      </a:cubicBezTo>
                      <a:lnTo>
                        <a:pt x="0" y="82"/>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9" name="Freeform 28">
                  <a:extLst>
                    <a:ext uri="{FF2B5EF4-FFF2-40B4-BE49-F238E27FC236}">
                      <a16:creationId xmlns:a16="http://schemas.microsoft.com/office/drawing/2014/main" id="{3226EB39-901B-4F49-9E90-B4CA21532E85}"/>
                    </a:ext>
                  </a:extLst>
                </p:cNvPr>
                <p:cNvSpPr>
                  <a:spLocks/>
                </p:cNvSpPr>
                <p:nvPr/>
              </p:nvSpPr>
              <p:spPr bwMode="auto">
                <a:xfrm>
                  <a:off x="3607640" y="5056507"/>
                  <a:ext cx="44451" cy="44451"/>
                </a:xfrm>
                <a:custGeom>
                  <a:avLst/>
                  <a:gdLst>
                    <a:gd name="T0" fmla="*/ 0 w 186"/>
                    <a:gd name="T1" fmla="*/ 94 h 188"/>
                    <a:gd name="T2" fmla="*/ 0 w 186"/>
                    <a:gd name="T3" fmla="*/ 94 h 188"/>
                    <a:gd name="T4" fmla="*/ 93 w 186"/>
                    <a:gd name="T5" fmla="*/ 0 h 188"/>
                    <a:gd name="T6" fmla="*/ 186 w 186"/>
                    <a:gd name="T7" fmla="*/ 94 h 188"/>
                    <a:gd name="T8" fmla="*/ 93 w 186"/>
                    <a:gd name="T9" fmla="*/ 188 h 188"/>
                    <a:gd name="T10" fmla="*/ 0 w 186"/>
                    <a:gd name="T11" fmla="*/ 94 h 188"/>
                    <a:gd name="T12" fmla="*/ 0 w 186"/>
                    <a:gd name="T13" fmla="*/ 94 h 188"/>
                  </a:gdLst>
                  <a:ahLst/>
                  <a:cxnLst>
                    <a:cxn ang="0">
                      <a:pos x="T0" y="T1"/>
                    </a:cxn>
                    <a:cxn ang="0">
                      <a:pos x="T2" y="T3"/>
                    </a:cxn>
                    <a:cxn ang="0">
                      <a:pos x="T4" y="T5"/>
                    </a:cxn>
                    <a:cxn ang="0">
                      <a:pos x="T6" y="T7"/>
                    </a:cxn>
                    <a:cxn ang="0">
                      <a:pos x="T8" y="T9"/>
                    </a:cxn>
                    <a:cxn ang="0">
                      <a:pos x="T10" y="T11"/>
                    </a:cxn>
                    <a:cxn ang="0">
                      <a:pos x="T12" y="T13"/>
                    </a:cxn>
                  </a:cxnLst>
                  <a:rect l="0" t="0" r="r" b="b"/>
                  <a:pathLst>
                    <a:path w="186" h="188">
                      <a:moveTo>
                        <a:pt x="0" y="94"/>
                      </a:moveTo>
                      <a:lnTo>
                        <a:pt x="0" y="94"/>
                      </a:lnTo>
                      <a:cubicBezTo>
                        <a:pt x="0" y="42"/>
                        <a:pt x="42" y="0"/>
                        <a:pt x="93" y="0"/>
                      </a:cubicBezTo>
                      <a:cubicBezTo>
                        <a:pt x="145" y="0"/>
                        <a:pt x="186" y="42"/>
                        <a:pt x="186" y="94"/>
                      </a:cubicBezTo>
                      <a:cubicBezTo>
                        <a:pt x="186" y="146"/>
                        <a:pt x="145" y="188"/>
                        <a:pt x="93" y="188"/>
                      </a:cubicBezTo>
                      <a:cubicBezTo>
                        <a:pt x="42" y="188"/>
                        <a:pt x="0" y="146"/>
                        <a:pt x="0" y="94"/>
                      </a:cubicBezTo>
                      <a:lnTo>
                        <a:pt x="0" y="94"/>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20" name="Freeform 29">
                  <a:extLst>
                    <a:ext uri="{FF2B5EF4-FFF2-40B4-BE49-F238E27FC236}">
                      <a16:creationId xmlns:a16="http://schemas.microsoft.com/office/drawing/2014/main" id="{F6BC94F0-BAC3-48B4-AAF0-7CAF0A1496D6}"/>
                    </a:ext>
                  </a:extLst>
                </p:cNvPr>
                <p:cNvSpPr>
                  <a:spLocks/>
                </p:cNvSpPr>
                <p:nvPr/>
              </p:nvSpPr>
              <p:spPr bwMode="auto">
                <a:xfrm>
                  <a:off x="3512391" y="5170807"/>
                  <a:ext cx="241300" cy="21167"/>
                </a:xfrm>
                <a:custGeom>
                  <a:avLst/>
                  <a:gdLst>
                    <a:gd name="T0" fmla="*/ 0 w 1048"/>
                    <a:gd name="T1" fmla="*/ 47 h 94"/>
                    <a:gd name="T2" fmla="*/ 0 w 1048"/>
                    <a:gd name="T3" fmla="*/ 47 h 94"/>
                    <a:gd name="T4" fmla="*/ 47 w 1048"/>
                    <a:gd name="T5" fmla="*/ 0 h 94"/>
                    <a:gd name="T6" fmla="*/ 1001 w 1048"/>
                    <a:gd name="T7" fmla="*/ 0 h 94"/>
                    <a:gd name="T8" fmla="*/ 1048 w 1048"/>
                    <a:gd name="T9" fmla="*/ 47 h 94"/>
                    <a:gd name="T10" fmla="*/ 1048 w 1048"/>
                    <a:gd name="T11" fmla="*/ 47 h 94"/>
                    <a:gd name="T12" fmla="*/ 1001 w 1048"/>
                    <a:gd name="T13" fmla="*/ 94 h 94"/>
                    <a:gd name="T14" fmla="*/ 47 w 1048"/>
                    <a:gd name="T15" fmla="*/ 94 h 94"/>
                    <a:gd name="T16" fmla="*/ 0 w 1048"/>
                    <a:gd name="T17" fmla="*/ 47 h 94"/>
                    <a:gd name="T18" fmla="*/ 0 w 1048"/>
                    <a:gd name="T19"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94">
                      <a:moveTo>
                        <a:pt x="0" y="47"/>
                      </a:moveTo>
                      <a:lnTo>
                        <a:pt x="0" y="47"/>
                      </a:lnTo>
                      <a:cubicBezTo>
                        <a:pt x="0" y="21"/>
                        <a:pt x="21" y="0"/>
                        <a:pt x="47" y="0"/>
                      </a:cubicBezTo>
                      <a:lnTo>
                        <a:pt x="1001" y="0"/>
                      </a:lnTo>
                      <a:cubicBezTo>
                        <a:pt x="1027" y="0"/>
                        <a:pt x="1048" y="21"/>
                        <a:pt x="1048" y="47"/>
                      </a:cubicBezTo>
                      <a:lnTo>
                        <a:pt x="1048" y="47"/>
                      </a:lnTo>
                      <a:cubicBezTo>
                        <a:pt x="1048" y="73"/>
                        <a:pt x="1027" y="94"/>
                        <a:pt x="1001" y="94"/>
                      </a:cubicBezTo>
                      <a:lnTo>
                        <a:pt x="47" y="94"/>
                      </a:lnTo>
                      <a:cubicBezTo>
                        <a:pt x="21" y="94"/>
                        <a:pt x="0" y="73"/>
                        <a:pt x="0" y="47"/>
                      </a:cubicBezTo>
                      <a:lnTo>
                        <a:pt x="0" y="47"/>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21" name="Freeform 30">
                  <a:extLst>
                    <a:ext uri="{FF2B5EF4-FFF2-40B4-BE49-F238E27FC236}">
                      <a16:creationId xmlns:a16="http://schemas.microsoft.com/office/drawing/2014/main" id="{B469B638-4E15-49D0-BD5A-28C1864BFC44}"/>
                    </a:ext>
                  </a:extLst>
                </p:cNvPr>
                <p:cNvSpPr>
                  <a:spLocks/>
                </p:cNvSpPr>
                <p:nvPr/>
              </p:nvSpPr>
              <p:spPr bwMode="auto">
                <a:xfrm>
                  <a:off x="3535673" y="4717840"/>
                  <a:ext cx="192617" cy="196851"/>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22" name="Freeform 31">
                  <a:extLst>
                    <a:ext uri="{FF2B5EF4-FFF2-40B4-BE49-F238E27FC236}">
                      <a16:creationId xmlns:a16="http://schemas.microsoft.com/office/drawing/2014/main" id="{E18FAA45-59D0-4351-81D2-E6C823CADF4C}"/>
                    </a:ext>
                  </a:extLst>
                </p:cNvPr>
                <p:cNvSpPr>
                  <a:spLocks/>
                </p:cNvSpPr>
                <p:nvPr/>
              </p:nvSpPr>
              <p:spPr bwMode="auto">
                <a:xfrm>
                  <a:off x="3535673" y="4717840"/>
                  <a:ext cx="192617" cy="196851"/>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23" name="Freeform 32">
                  <a:extLst>
                    <a:ext uri="{FF2B5EF4-FFF2-40B4-BE49-F238E27FC236}">
                      <a16:creationId xmlns:a16="http://schemas.microsoft.com/office/drawing/2014/main" id="{E0B94CBF-54BA-4C19-8C7F-3DA133C77532}"/>
                    </a:ext>
                  </a:extLst>
                </p:cNvPr>
                <p:cNvSpPr>
                  <a:spLocks/>
                </p:cNvSpPr>
                <p:nvPr/>
              </p:nvSpPr>
              <p:spPr bwMode="auto">
                <a:xfrm>
                  <a:off x="3556840" y="4766524"/>
                  <a:ext cx="150284" cy="152400"/>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24" name="Freeform 33">
                  <a:extLst>
                    <a:ext uri="{FF2B5EF4-FFF2-40B4-BE49-F238E27FC236}">
                      <a16:creationId xmlns:a16="http://schemas.microsoft.com/office/drawing/2014/main" id="{1AA47DA1-2E3D-428F-8146-69680B17F75C}"/>
                    </a:ext>
                  </a:extLst>
                </p:cNvPr>
                <p:cNvSpPr>
                  <a:spLocks/>
                </p:cNvSpPr>
                <p:nvPr/>
              </p:nvSpPr>
              <p:spPr bwMode="auto">
                <a:xfrm>
                  <a:off x="3556840" y="4766524"/>
                  <a:ext cx="150284" cy="152400"/>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25" name="Freeform 34">
                  <a:extLst>
                    <a:ext uri="{FF2B5EF4-FFF2-40B4-BE49-F238E27FC236}">
                      <a16:creationId xmlns:a16="http://schemas.microsoft.com/office/drawing/2014/main" id="{C64F622C-A9BA-4704-9748-3577B46FE875}"/>
                    </a:ext>
                  </a:extLst>
                </p:cNvPr>
                <p:cNvSpPr>
                  <a:spLocks/>
                </p:cNvSpPr>
                <p:nvPr/>
              </p:nvSpPr>
              <p:spPr bwMode="auto">
                <a:xfrm>
                  <a:off x="3550491" y="4749591"/>
                  <a:ext cx="110067" cy="114300"/>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26" name="Freeform 35">
                  <a:extLst>
                    <a:ext uri="{FF2B5EF4-FFF2-40B4-BE49-F238E27FC236}">
                      <a16:creationId xmlns:a16="http://schemas.microsoft.com/office/drawing/2014/main" id="{D5D29BE7-89C4-43F8-8B2A-48FC359E3103}"/>
                    </a:ext>
                  </a:extLst>
                </p:cNvPr>
                <p:cNvSpPr>
                  <a:spLocks/>
                </p:cNvSpPr>
                <p:nvPr/>
              </p:nvSpPr>
              <p:spPr bwMode="auto">
                <a:xfrm>
                  <a:off x="3550491" y="4749591"/>
                  <a:ext cx="110067" cy="114300"/>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sp>
        <p:nvSpPr>
          <p:cNvPr id="406" name="Title 1">
            <a:extLst>
              <a:ext uri="{FF2B5EF4-FFF2-40B4-BE49-F238E27FC236}">
                <a16:creationId xmlns:a16="http://schemas.microsoft.com/office/drawing/2014/main" id="{67D4AA05-DDEA-4845-9AB7-946979C9F2B4}"/>
              </a:ext>
            </a:extLst>
          </p:cNvPr>
          <p:cNvSpPr>
            <a:spLocks noGrp="1"/>
          </p:cNvSpPr>
          <p:nvPr>
            <p:ph type="title"/>
          </p:nvPr>
        </p:nvSpPr>
        <p:spPr>
          <a:xfrm>
            <a:off x="437766" y="341314"/>
            <a:ext cx="8345488" cy="731837"/>
          </a:xfrm>
        </p:spPr>
        <p:txBody>
          <a:bodyPr/>
          <a:lstStyle/>
          <a:p>
            <a:r>
              <a:rPr lang="en-US" dirty="0"/>
              <a:t>The Solution: Network + Security</a:t>
            </a:r>
            <a:br>
              <a:rPr lang="en-US" dirty="0"/>
            </a:br>
            <a:r>
              <a:rPr lang="en-US" sz="1800" dirty="0">
                <a:solidFill>
                  <a:schemeClr val="accent1"/>
                </a:solidFill>
                <a:latin typeface="+mn-lt"/>
              </a:rPr>
              <a:t>Activate your network for more holistic security</a:t>
            </a:r>
          </a:p>
        </p:txBody>
      </p:sp>
      <p:sp>
        <p:nvSpPr>
          <p:cNvPr id="2" name="Rectangle 1">
            <a:extLst>
              <a:ext uri="{FF2B5EF4-FFF2-40B4-BE49-F238E27FC236}">
                <a16:creationId xmlns:a16="http://schemas.microsoft.com/office/drawing/2014/main" id="{A08B004B-F002-4C4F-9034-D25ABD74D43D}"/>
              </a:ext>
            </a:extLst>
          </p:cNvPr>
          <p:cNvSpPr/>
          <p:nvPr/>
        </p:nvSpPr>
        <p:spPr>
          <a:xfrm>
            <a:off x="2865154" y="1150374"/>
            <a:ext cx="3510245" cy="3574026"/>
          </a:xfrm>
          <a:prstGeom prst="rect">
            <a:avLst/>
          </a:prstGeom>
          <a:solidFill>
            <a:schemeClr val="bg2">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44" name="Freeform: Shape 343">
            <a:extLst>
              <a:ext uri="{FF2B5EF4-FFF2-40B4-BE49-F238E27FC236}">
                <a16:creationId xmlns:a16="http://schemas.microsoft.com/office/drawing/2014/main" id="{9C0E4493-6AD1-46DA-B6F1-EFA0B5DEA3DB}"/>
              </a:ext>
            </a:extLst>
          </p:cNvPr>
          <p:cNvSpPr/>
          <p:nvPr/>
        </p:nvSpPr>
        <p:spPr>
          <a:xfrm flipH="1" flipV="1">
            <a:off x="421815" y="3435588"/>
            <a:ext cx="2806330" cy="86765"/>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bg1"/>
            </a:solidFill>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40" name="TextBox 339">
            <a:extLst>
              <a:ext uri="{FF2B5EF4-FFF2-40B4-BE49-F238E27FC236}">
                <a16:creationId xmlns:a16="http://schemas.microsoft.com/office/drawing/2014/main" id="{E2224423-D665-4D5D-8328-2551519D684A}"/>
              </a:ext>
            </a:extLst>
          </p:cNvPr>
          <p:cNvSpPr txBox="1"/>
          <p:nvPr/>
        </p:nvSpPr>
        <p:spPr>
          <a:xfrm>
            <a:off x="6122014" y="1366429"/>
            <a:ext cx="2850750" cy="907941"/>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r" defTabSz="457200" rtl="0" eaLnBrk="1" fontAlgn="base" latinLnBrk="0" hangingPunct="1">
              <a:lnSpc>
                <a:spcPct val="150000"/>
              </a:lnSpc>
              <a:spcBef>
                <a:spcPct val="0"/>
              </a:spcBef>
              <a:spcAft>
                <a:spcPts val="600"/>
              </a:spcAft>
              <a:buClrTx/>
              <a:buSzTx/>
              <a:buFontTx/>
              <a:buNone/>
              <a:tabLst/>
              <a:defRPr/>
            </a:pPr>
            <a:r>
              <a:rPr kumimoji="0" lang="en-US" sz="1600" b="0" i="0" u="none" strike="noStrike" kern="1200" cap="none" spc="0" normalizeH="0" baseline="0" noProof="0" dirty="0">
                <a:ln>
                  <a:noFill/>
                </a:ln>
                <a:solidFill>
                  <a:srgbClr val="00BCEB"/>
                </a:solidFill>
                <a:effectLst/>
                <a:uLnTx/>
                <a:uFillTx/>
                <a:latin typeface="CiscoSansTT ExtraLight"/>
                <a:ea typeface="ＭＳ Ｐゴシック" charset="0"/>
              </a:rPr>
              <a:t>Contain and isolate threats</a:t>
            </a:r>
          </a:p>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5073"/>
                </a:solidFill>
                <a:effectLst/>
                <a:uLnTx/>
                <a:uFillTx/>
                <a:latin typeface="CiscoSansTT ExtraLight"/>
                <a:ea typeface="ＭＳ Ｐゴシック" charset="0"/>
              </a:rPr>
              <a:t>Dynamically enforce software-defined segmentation based on business roles</a:t>
            </a:r>
          </a:p>
        </p:txBody>
      </p:sp>
      <p:sp>
        <p:nvSpPr>
          <p:cNvPr id="342" name="Freeform: Shape 341">
            <a:extLst>
              <a:ext uri="{FF2B5EF4-FFF2-40B4-BE49-F238E27FC236}">
                <a16:creationId xmlns:a16="http://schemas.microsoft.com/office/drawing/2014/main" id="{3C5C99BE-E376-4CFE-99D7-332F5481E828}"/>
              </a:ext>
            </a:extLst>
          </p:cNvPr>
          <p:cNvSpPr/>
          <p:nvPr/>
        </p:nvSpPr>
        <p:spPr>
          <a:xfrm>
            <a:off x="6022110" y="1780154"/>
            <a:ext cx="2868971" cy="141287"/>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bg1"/>
            </a:solidFill>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41" name="TextBox 340">
            <a:extLst>
              <a:ext uri="{FF2B5EF4-FFF2-40B4-BE49-F238E27FC236}">
                <a16:creationId xmlns:a16="http://schemas.microsoft.com/office/drawing/2014/main" id="{61E6CBF5-765C-468B-973D-9D6579C87B3B}"/>
              </a:ext>
            </a:extLst>
          </p:cNvPr>
          <p:cNvSpPr txBox="1"/>
          <p:nvPr/>
        </p:nvSpPr>
        <p:spPr>
          <a:xfrm>
            <a:off x="6185026" y="3764977"/>
            <a:ext cx="2852087" cy="1092607"/>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r" defTabSz="457200" rtl="0" eaLnBrk="1" fontAlgn="base" latinLnBrk="0" hangingPunct="1">
              <a:lnSpc>
                <a:spcPct val="150000"/>
              </a:lnSpc>
              <a:spcBef>
                <a:spcPct val="0"/>
              </a:spcBef>
              <a:spcAft>
                <a:spcPts val="600"/>
              </a:spcAft>
              <a:buClrTx/>
              <a:buSzTx/>
              <a:buFontTx/>
              <a:buNone/>
              <a:tabLst/>
              <a:defRPr/>
            </a:pPr>
            <a:r>
              <a:rPr kumimoji="0" lang="en-US" sz="1600" b="0" i="0" u="none" strike="noStrike" kern="1200" cap="none" spc="0" normalizeH="0" baseline="0" noProof="0" dirty="0">
                <a:ln>
                  <a:noFill/>
                </a:ln>
                <a:solidFill>
                  <a:srgbClr val="00BCEB"/>
                </a:solidFill>
                <a:effectLst/>
                <a:uLnTx/>
                <a:uFillTx/>
                <a:latin typeface="CiscoSansTT ExtraLight"/>
                <a:ea typeface="ＭＳ Ｐゴシック" charset="0"/>
              </a:rPr>
              <a:t>Detect encrypted threats</a:t>
            </a:r>
          </a:p>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5073"/>
                </a:solidFill>
                <a:effectLst/>
                <a:uLnTx/>
                <a:uFillTx/>
                <a:latin typeface="CiscoSansTT ExtraLight"/>
                <a:ea typeface="ＭＳ Ｐゴシック" charset="0"/>
              </a:rPr>
              <a:t>Use advanced analytics to automatically detect encrypted threats without decryption</a:t>
            </a:r>
          </a:p>
        </p:txBody>
      </p:sp>
      <p:sp>
        <p:nvSpPr>
          <p:cNvPr id="343" name="Freeform: Shape 342">
            <a:extLst>
              <a:ext uri="{FF2B5EF4-FFF2-40B4-BE49-F238E27FC236}">
                <a16:creationId xmlns:a16="http://schemas.microsoft.com/office/drawing/2014/main" id="{586EBFA4-4A18-430F-9C6F-1671F417BC36}"/>
              </a:ext>
            </a:extLst>
          </p:cNvPr>
          <p:cNvSpPr/>
          <p:nvPr/>
        </p:nvSpPr>
        <p:spPr>
          <a:xfrm flipV="1">
            <a:off x="6099005" y="4073787"/>
            <a:ext cx="2862740" cy="116651"/>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bg1"/>
            </a:solidFill>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15" name="AutoShape 20">
            <a:extLst>
              <a:ext uri="{FF2B5EF4-FFF2-40B4-BE49-F238E27FC236}">
                <a16:creationId xmlns:a16="http://schemas.microsoft.com/office/drawing/2014/main" id="{38438489-CF12-47E0-99D8-8776C2CBE2E7}"/>
              </a:ext>
            </a:extLst>
          </p:cNvPr>
          <p:cNvSpPr>
            <a:spLocks noChangeAspect="1" noChangeArrowheads="1" noTextEdit="1"/>
          </p:cNvSpPr>
          <p:nvPr/>
        </p:nvSpPr>
        <p:spPr bwMode="auto">
          <a:xfrm>
            <a:off x="5550192" y="3648176"/>
            <a:ext cx="495300" cy="4984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3" name="Group 2">
            <a:extLst>
              <a:ext uri="{FF2B5EF4-FFF2-40B4-BE49-F238E27FC236}">
                <a16:creationId xmlns:a16="http://schemas.microsoft.com/office/drawing/2014/main" id="{56F39592-36B0-43DF-B510-4E940F0CCB28}"/>
              </a:ext>
            </a:extLst>
          </p:cNvPr>
          <p:cNvGrpSpPr/>
          <p:nvPr/>
        </p:nvGrpSpPr>
        <p:grpSpPr>
          <a:xfrm>
            <a:off x="3693807" y="2438855"/>
            <a:ext cx="1743064" cy="1026168"/>
            <a:chOff x="3693807" y="2438855"/>
            <a:chExt cx="1743064" cy="1026168"/>
          </a:xfrm>
        </p:grpSpPr>
        <p:sp>
          <p:nvSpPr>
            <p:cNvPr id="515" name="Rectangle: Rounded Corners 514">
              <a:extLst>
                <a:ext uri="{FF2B5EF4-FFF2-40B4-BE49-F238E27FC236}">
                  <a16:creationId xmlns:a16="http://schemas.microsoft.com/office/drawing/2014/main" id="{E605AAB1-1C1E-4F95-A3AB-A5911DF947D9}"/>
                </a:ext>
              </a:extLst>
            </p:cNvPr>
            <p:cNvSpPr/>
            <p:nvPr/>
          </p:nvSpPr>
          <p:spPr>
            <a:xfrm>
              <a:off x="3693807" y="2600960"/>
              <a:ext cx="1740008" cy="864063"/>
            </a:xfrm>
            <a:prstGeom prst="roundRect">
              <a:avLst>
                <a:gd name="adj" fmla="val 9707"/>
              </a:avLst>
            </a:prstGeom>
            <a:solidFill>
              <a:schemeClr val="bg2"/>
            </a:solidFill>
            <a:ln w="12700">
              <a:solidFill>
                <a:schemeClr val="accent5"/>
              </a:solidFill>
              <a:prstDash val="dash"/>
              <a:round/>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1" name="Freeform: Shape 590">
              <a:extLst>
                <a:ext uri="{FF2B5EF4-FFF2-40B4-BE49-F238E27FC236}">
                  <a16:creationId xmlns:a16="http://schemas.microsoft.com/office/drawing/2014/main" id="{A4A7FF5B-7515-4881-8ADF-1408656954DE}"/>
                </a:ext>
              </a:extLst>
            </p:cNvPr>
            <p:cNvSpPr/>
            <p:nvPr/>
          </p:nvSpPr>
          <p:spPr>
            <a:xfrm flipV="1">
              <a:off x="3694177" y="3161299"/>
              <a:ext cx="1742694" cy="58150"/>
            </a:xfrm>
            <a:custGeom>
              <a:avLst/>
              <a:gdLst>
                <a:gd name="connsiteX0" fmla="*/ 0 w 4999219"/>
                <a:gd name="connsiteY0" fmla="*/ 0 h 0"/>
                <a:gd name="connsiteX1" fmla="*/ 4999219 w 4999219"/>
                <a:gd name="connsiteY1" fmla="*/ 0 h 0"/>
              </a:gdLst>
              <a:ahLst/>
              <a:cxnLst>
                <a:cxn ang="0">
                  <a:pos x="connsiteX0" y="connsiteY0"/>
                </a:cxn>
                <a:cxn ang="0">
                  <a:pos x="connsiteX1" y="connsiteY1"/>
                </a:cxn>
              </a:cxnLst>
              <a:rect l="l" t="t" r="r" b="b"/>
              <a:pathLst>
                <a:path w="4999219">
                  <a:moveTo>
                    <a:pt x="0" y="0"/>
                  </a:moveTo>
                  <a:lnTo>
                    <a:pt x="4999219" y="0"/>
                  </a:lnTo>
                </a:path>
              </a:pathLst>
            </a:custGeom>
            <a:solidFill>
              <a:schemeClr val="bg2"/>
            </a:solidFill>
            <a:ln w="9525">
              <a:solidFill>
                <a:schemeClr val="accent5"/>
              </a:solidFill>
              <a:prstDash val="dash"/>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pic>
          <p:nvPicPr>
            <p:cNvPr id="592" name="Picture 591">
              <a:extLst>
                <a:ext uri="{FF2B5EF4-FFF2-40B4-BE49-F238E27FC236}">
                  <a16:creationId xmlns:a16="http://schemas.microsoft.com/office/drawing/2014/main" id="{7DF85266-467E-4F1B-A0C7-13652FB3AB5D}"/>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377960" y="3033390"/>
              <a:ext cx="375636" cy="375635"/>
            </a:xfrm>
            <a:prstGeom prst="ellipse">
              <a:avLst/>
            </a:prstGeom>
            <a:solidFill>
              <a:schemeClr val="bg2"/>
            </a:solidFill>
            <a:ln w="12700">
              <a:noFill/>
              <a:prstDash val="solid"/>
              <a:round/>
              <a:headEnd/>
              <a:tailEnd/>
            </a:ln>
            <a:effectLst/>
          </p:spPr>
        </p:pic>
        <p:sp>
          <p:nvSpPr>
            <p:cNvPr id="594" name="Freeform: Shape 593">
              <a:extLst>
                <a:ext uri="{FF2B5EF4-FFF2-40B4-BE49-F238E27FC236}">
                  <a16:creationId xmlns:a16="http://schemas.microsoft.com/office/drawing/2014/main" id="{643E8F18-D00C-45DD-A21F-7EF1AE6F9522}"/>
                </a:ext>
              </a:extLst>
            </p:cNvPr>
            <p:cNvSpPr/>
            <p:nvPr/>
          </p:nvSpPr>
          <p:spPr>
            <a:xfrm>
              <a:off x="4105196" y="2901315"/>
              <a:ext cx="0" cy="318135"/>
            </a:xfrm>
            <a:custGeom>
              <a:avLst/>
              <a:gdLst>
                <a:gd name="connsiteX0" fmla="*/ 0 w 0"/>
                <a:gd name="connsiteY0" fmla="*/ 432816 h 432816"/>
                <a:gd name="connsiteX1" fmla="*/ 0 w 0"/>
                <a:gd name="connsiteY1" fmla="*/ 0 h 432816"/>
              </a:gdLst>
              <a:ahLst/>
              <a:cxnLst>
                <a:cxn ang="0">
                  <a:pos x="connsiteX0" y="connsiteY0"/>
                </a:cxn>
                <a:cxn ang="0">
                  <a:pos x="connsiteX1" y="connsiteY1"/>
                </a:cxn>
              </a:cxnLst>
              <a:rect l="l" t="t" r="r" b="b"/>
              <a:pathLst>
                <a:path h="432816">
                  <a:moveTo>
                    <a:pt x="0" y="432816"/>
                  </a:moveTo>
                  <a:lnTo>
                    <a:pt x="0" y="0"/>
                  </a:lnTo>
                </a:path>
              </a:pathLst>
            </a:custGeom>
            <a:solidFill>
              <a:schemeClr val="bg2"/>
            </a:solidFill>
            <a:ln w="9525">
              <a:solidFill>
                <a:schemeClr val="accent5"/>
              </a:solidFill>
              <a:prstDash val="dash"/>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5" name="Freeform: Shape 594">
              <a:extLst>
                <a:ext uri="{FF2B5EF4-FFF2-40B4-BE49-F238E27FC236}">
                  <a16:creationId xmlns:a16="http://schemas.microsoft.com/office/drawing/2014/main" id="{A88EE0A6-3944-4982-98CE-ECB4BAE141D1}"/>
                </a:ext>
              </a:extLst>
            </p:cNvPr>
            <p:cNvSpPr/>
            <p:nvPr/>
          </p:nvSpPr>
          <p:spPr>
            <a:xfrm>
              <a:off x="5020638" y="2901315"/>
              <a:ext cx="0" cy="318135"/>
            </a:xfrm>
            <a:custGeom>
              <a:avLst/>
              <a:gdLst>
                <a:gd name="connsiteX0" fmla="*/ 0 w 0"/>
                <a:gd name="connsiteY0" fmla="*/ 432816 h 432816"/>
                <a:gd name="connsiteX1" fmla="*/ 0 w 0"/>
                <a:gd name="connsiteY1" fmla="*/ 0 h 432816"/>
              </a:gdLst>
              <a:ahLst/>
              <a:cxnLst>
                <a:cxn ang="0">
                  <a:pos x="connsiteX0" y="connsiteY0"/>
                </a:cxn>
                <a:cxn ang="0">
                  <a:pos x="connsiteX1" y="connsiteY1"/>
                </a:cxn>
              </a:cxnLst>
              <a:rect l="l" t="t" r="r" b="b"/>
              <a:pathLst>
                <a:path h="432816">
                  <a:moveTo>
                    <a:pt x="0" y="432816"/>
                  </a:moveTo>
                  <a:lnTo>
                    <a:pt x="0" y="0"/>
                  </a:lnTo>
                </a:path>
              </a:pathLst>
            </a:custGeom>
            <a:solidFill>
              <a:schemeClr val="bg2"/>
            </a:solidFill>
            <a:ln w="9525">
              <a:solidFill>
                <a:schemeClr val="accent5"/>
              </a:solidFill>
              <a:prstDash val="dash"/>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596" name="Group 595">
              <a:extLst>
                <a:ext uri="{FF2B5EF4-FFF2-40B4-BE49-F238E27FC236}">
                  <a16:creationId xmlns:a16="http://schemas.microsoft.com/office/drawing/2014/main" id="{AC9BFB4A-EF03-4AA4-82CB-E77BFE8FC6DB}"/>
                </a:ext>
              </a:extLst>
            </p:cNvPr>
            <p:cNvGrpSpPr/>
            <p:nvPr/>
          </p:nvGrpSpPr>
          <p:grpSpPr>
            <a:xfrm>
              <a:off x="4170327" y="2812418"/>
              <a:ext cx="795960" cy="0"/>
              <a:chOff x="4170327" y="2812418"/>
              <a:chExt cx="795960" cy="0"/>
            </a:xfrm>
          </p:grpSpPr>
          <p:sp>
            <p:nvSpPr>
              <p:cNvPr id="597" name="Freeform: Shape 596">
                <a:extLst>
                  <a:ext uri="{FF2B5EF4-FFF2-40B4-BE49-F238E27FC236}">
                    <a16:creationId xmlns:a16="http://schemas.microsoft.com/office/drawing/2014/main" id="{F196DD29-ED95-406E-A83B-DD1753A0E1FB}"/>
                  </a:ext>
                </a:extLst>
              </p:cNvPr>
              <p:cNvSpPr/>
              <p:nvPr/>
            </p:nvSpPr>
            <p:spPr>
              <a:xfrm>
                <a:off x="4170327" y="2812418"/>
                <a:ext cx="138582" cy="0"/>
              </a:xfrm>
              <a:custGeom>
                <a:avLst/>
                <a:gdLst>
                  <a:gd name="connsiteX0" fmla="*/ 0 w 396240"/>
                  <a:gd name="connsiteY0" fmla="*/ 0 h 0"/>
                  <a:gd name="connsiteX1" fmla="*/ 396240 w 396240"/>
                  <a:gd name="connsiteY1" fmla="*/ 0 h 0"/>
                </a:gdLst>
                <a:ahLst/>
                <a:cxnLst>
                  <a:cxn ang="0">
                    <a:pos x="connsiteX0" y="connsiteY0"/>
                  </a:cxn>
                  <a:cxn ang="0">
                    <a:pos x="connsiteX1" y="connsiteY1"/>
                  </a:cxn>
                </a:cxnLst>
                <a:rect l="l" t="t" r="r" b="b"/>
                <a:pathLst>
                  <a:path w="396240">
                    <a:moveTo>
                      <a:pt x="0" y="0"/>
                    </a:moveTo>
                    <a:lnTo>
                      <a:pt x="396240" y="0"/>
                    </a:lnTo>
                  </a:path>
                </a:pathLst>
              </a:custGeom>
              <a:solidFill>
                <a:schemeClr val="bg2"/>
              </a:solidFill>
              <a:ln w="9525">
                <a:solidFill>
                  <a:schemeClr val="accent5"/>
                </a:solidFill>
                <a:prstDash val="dash"/>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8" name="Freeform: Shape 597">
                <a:extLst>
                  <a:ext uri="{FF2B5EF4-FFF2-40B4-BE49-F238E27FC236}">
                    <a16:creationId xmlns:a16="http://schemas.microsoft.com/office/drawing/2014/main" id="{0BBDC902-E6A5-496A-908A-041CB832D5D3}"/>
                  </a:ext>
                </a:extLst>
              </p:cNvPr>
              <p:cNvSpPr/>
              <p:nvPr/>
            </p:nvSpPr>
            <p:spPr>
              <a:xfrm>
                <a:off x="4827705" y="2812418"/>
                <a:ext cx="138582" cy="0"/>
              </a:xfrm>
              <a:custGeom>
                <a:avLst/>
                <a:gdLst>
                  <a:gd name="connsiteX0" fmla="*/ 0 w 396240"/>
                  <a:gd name="connsiteY0" fmla="*/ 0 h 0"/>
                  <a:gd name="connsiteX1" fmla="*/ 396240 w 396240"/>
                  <a:gd name="connsiteY1" fmla="*/ 0 h 0"/>
                </a:gdLst>
                <a:ahLst/>
                <a:cxnLst>
                  <a:cxn ang="0">
                    <a:pos x="connsiteX0" y="connsiteY0"/>
                  </a:cxn>
                  <a:cxn ang="0">
                    <a:pos x="connsiteX1" y="connsiteY1"/>
                  </a:cxn>
                </a:cxnLst>
                <a:rect l="l" t="t" r="r" b="b"/>
                <a:pathLst>
                  <a:path w="396240">
                    <a:moveTo>
                      <a:pt x="0" y="0"/>
                    </a:moveTo>
                    <a:lnTo>
                      <a:pt x="396240" y="0"/>
                    </a:lnTo>
                  </a:path>
                </a:pathLst>
              </a:custGeom>
              <a:solidFill>
                <a:schemeClr val="bg2"/>
              </a:solidFill>
              <a:ln w="9525">
                <a:solidFill>
                  <a:schemeClr val="accent5"/>
                </a:solidFill>
                <a:prstDash val="dash"/>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602" name="Group 601">
              <a:extLst>
                <a:ext uri="{FF2B5EF4-FFF2-40B4-BE49-F238E27FC236}">
                  <a16:creationId xmlns:a16="http://schemas.microsoft.com/office/drawing/2014/main" id="{2B39C16C-4B69-418E-AF75-E18D7546A5EE}"/>
                </a:ext>
              </a:extLst>
            </p:cNvPr>
            <p:cNvGrpSpPr/>
            <p:nvPr/>
          </p:nvGrpSpPr>
          <p:grpSpPr>
            <a:xfrm>
              <a:off x="3775587" y="3114040"/>
              <a:ext cx="214912" cy="214912"/>
              <a:chOff x="3647234" y="2505303"/>
              <a:chExt cx="594360" cy="594360"/>
            </a:xfrm>
          </p:grpSpPr>
          <p:sp>
            <p:nvSpPr>
              <p:cNvPr id="603" name="Oval 602">
                <a:extLst>
                  <a:ext uri="{FF2B5EF4-FFF2-40B4-BE49-F238E27FC236}">
                    <a16:creationId xmlns:a16="http://schemas.microsoft.com/office/drawing/2014/main" id="{7C6FAC44-E605-4E2A-A7A3-D372010D9564}"/>
                  </a:ext>
                </a:extLst>
              </p:cNvPr>
              <p:cNvSpPr/>
              <p:nvPr/>
            </p:nvSpPr>
            <p:spPr>
              <a:xfrm>
                <a:off x="3647234" y="2505303"/>
                <a:ext cx="594360" cy="594360"/>
              </a:xfrm>
              <a:prstGeom prst="ellipse">
                <a:avLst/>
              </a:prstGeom>
              <a:solidFill>
                <a:srgbClr val="005073"/>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604" name="Group 603">
                <a:extLst>
                  <a:ext uri="{FF2B5EF4-FFF2-40B4-BE49-F238E27FC236}">
                    <a16:creationId xmlns:a16="http://schemas.microsoft.com/office/drawing/2014/main" id="{60336EEF-36B6-4AA6-8F94-94A8DB5F5A38}"/>
                  </a:ext>
                </a:extLst>
              </p:cNvPr>
              <p:cNvGrpSpPr/>
              <p:nvPr/>
            </p:nvGrpSpPr>
            <p:grpSpPr>
              <a:xfrm>
                <a:off x="3761087" y="2619008"/>
                <a:ext cx="366840" cy="366824"/>
                <a:chOff x="4034396" y="1826565"/>
                <a:chExt cx="248145" cy="248145"/>
              </a:xfrm>
              <a:solidFill>
                <a:schemeClr val="accent2"/>
              </a:solidFill>
            </p:grpSpPr>
            <p:grpSp>
              <p:nvGrpSpPr>
                <p:cNvPr id="605" name="Group 604">
                  <a:extLst>
                    <a:ext uri="{FF2B5EF4-FFF2-40B4-BE49-F238E27FC236}">
                      <a16:creationId xmlns:a16="http://schemas.microsoft.com/office/drawing/2014/main" id="{DCA99DB4-A113-4282-A9A5-03DBE23C98F1}"/>
                    </a:ext>
                  </a:extLst>
                </p:cNvPr>
                <p:cNvGrpSpPr/>
                <p:nvPr/>
              </p:nvGrpSpPr>
              <p:grpSpPr>
                <a:xfrm>
                  <a:off x="4127062" y="1826565"/>
                  <a:ext cx="62740" cy="248145"/>
                  <a:chOff x="4120827" y="1826565"/>
                  <a:chExt cx="62740" cy="248145"/>
                </a:xfrm>
                <a:grpFill/>
              </p:grpSpPr>
              <p:sp>
                <p:nvSpPr>
                  <p:cNvPr id="609" name="Freeform 39">
                    <a:extLst>
                      <a:ext uri="{FF2B5EF4-FFF2-40B4-BE49-F238E27FC236}">
                        <a16:creationId xmlns:a16="http://schemas.microsoft.com/office/drawing/2014/main" id="{659546A4-6C98-4903-8A09-7EAE60900B7F}"/>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610" name="Freeform 40">
                    <a:extLst>
                      <a:ext uri="{FF2B5EF4-FFF2-40B4-BE49-F238E27FC236}">
                        <a16:creationId xmlns:a16="http://schemas.microsoft.com/office/drawing/2014/main" id="{AA724440-24C5-4B3B-B2DA-55920F737809}"/>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nvGrpSpPr>
                <p:cNvPr id="606" name="Group 605">
                  <a:extLst>
                    <a:ext uri="{FF2B5EF4-FFF2-40B4-BE49-F238E27FC236}">
                      <a16:creationId xmlns:a16="http://schemas.microsoft.com/office/drawing/2014/main" id="{75B5182D-EB6E-47D4-BD14-5497946E872B}"/>
                    </a:ext>
                  </a:extLst>
                </p:cNvPr>
                <p:cNvGrpSpPr/>
                <p:nvPr/>
              </p:nvGrpSpPr>
              <p:grpSpPr>
                <a:xfrm rot="5400000">
                  <a:off x="4127099" y="1826602"/>
                  <a:ext cx="62740" cy="248145"/>
                  <a:chOff x="4120827" y="1826565"/>
                  <a:chExt cx="62740" cy="248145"/>
                </a:xfrm>
                <a:grpFill/>
              </p:grpSpPr>
              <p:sp>
                <p:nvSpPr>
                  <p:cNvPr id="607" name="Freeform 37">
                    <a:extLst>
                      <a:ext uri="{FF2B5EF4-FFF2-40B4-BE49-F238E27FC236}">
                        <a16:creationId xmlns:a16="http://schemas.microsoft.com/office/drawing/2014/main" id="{11D9F8CD-1D78-47A7-A9CD-A32C4D1F7C47}"/>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608" name="Freeform 38">
                    <a:extLst>
                      <a:ext uri="{FF2B5EF4-FFF2-40B4-BE49-F238E27FC236}">
                        <a16:creationId xmlns:a16="http://schemas.microsoft.com/office/drawing/2014/main" id="{A70A8DB6-EB1F-4840-920B-F198127EBEA8}"/>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grpSp>
        <p:grpSp>
          <p:nvGrpSpPr>
            <p:cNvPr id="611" name="Group 610">
              <a:extLst>
                <a:ext uri="{FF2B5EF4-FFF2-40B4-BE49-F238E27FC236}">
                  <a16:creationId xmlns:a16="http://schemas.microsoft.com/office/drawing/2014/main" id="{DC1516A6-3753-4FA7-B7A2-1C67E922E1D9}"/>
                </a:ext>
              </a:extLst>
            </p:cNvPr>
            <p:cNvGrpSpPr/>
            <p:nvPr/>
          </p:nvGrpSpPr>
          <p:grpSpPr>
            <a:xfrm>
              <a:off x="5133683" y="3114040"/>
              <a:ext cx="214912" cy="214912"/>
              <a:chOff x="3647234" y="2505303"/>
              <a:chExt cx="594360" cy="594360"/>
            </a:xfrm>
          </p:grpSpPr>
          <p:sp>
            <p:nvSpPr>
              <p:cNvPr id="612" name="Oval 611">
                <a:extLst>
                  <a:ext uri="{FF2B5EF4-FFF2-40B4-BE49-F238E27FC236}">
                    <a16:creationId xmlns:a16="http://schemas.microsoft.com/office/drawing/2014/main" id="{0BE1C0AA-CEA2-4731-9327-B34A7427DD99}"/>
                  </a:ext>
                </a:extLst>
              </p:cNvPr>
              <p:cNvSpPr/>
              <p:nvPr/>
            </p:nvSpPr>
            <p:spPr>
              <a:xfrm>
                <a:off x="3647234" y="2505303"/>
                <a:ext cx="594360" cy="594360"/>
              </a:xfrm>
              <a:prstGeom prst="ellipse">
                <a:avLst/>
              </a:prstGeom>
              <a:solidFill>
                <a:srgbClr val="005073"/>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613" name="Group 612">
                <a:extLst>
                  <a:ext uri="{FF2B5EF4-FFF2-40B4-BE49-F238E27FC236}">
                    <a16:creationId xmlns:a16="http://schemas.microsoft.com/office/drawing/2014/main" id="{86E6FA17-4262-4FE2-A8FE-C4554EDFCBE8}"/>
                  </a:ext>
                </a:extLst>
              </p:cNvPr>
              <p:cNvGrpSpPr/>
              <p:nvPr/>
            </p:nvGrpSpPr>
            <p:grpSpPr>
              <a:xfrm>
                <a:off x="3761087" y="2619008"/>
                <a:ext cx="366840" cy="366824"/>
                <a:chOff x="4034396" y="1826565"/>
                <a:chExt cx="248145" cy="248145"/>
              </a:xfrm>
              <a:solidFill>
                <a:schemeClr val="accent2"/>
              </a:solidFill>
            </p:grpSpPr>
            <p:grpSp>
              <p:nvGrpSpPr>
                <p:cNvPr id="614" name="Group 613">
                  <a:extLst>
                    <a:ext uri="{FF2B5EF4-FFF2-40B4-BE49-F238E27FC236}">
                      <a16:creationId xmlns:a16="http://schemas.microsoft.com/office/drawing/2014/main" id="{3C5A00C4-0B06-42C6-84C3-111EAFB9AFAC}"/>
                    </a:ext>
                  </a:extLst>
                </p:cNvPr>
                <p:cNvGrpSpPr/>
                <p:nvPr/>
              </p:nvGrpSpPr>
              <p:grpSpPr>
                <a:xfrm>
                  <a:off x="4127062" y="1826565"/>
                  <a:ext cx="62740" cy="248145"/>
                  <a:chOff x="4120827" y="1826565"/>
                  <a:chExt cx="62740" cy="248145"/>
                </a:xfrm>
                <a:grpFill/>
              </p:grpSpPr>
              <p:sp>
                <p:nvSpPr>
                  <p:cNvPr id="618" name="Freeform 39">
                    <a:extLst>
                      <a:ext uri="{FF2B5EF4-FFF2-40B4-BE49-F238E27FC236}">
                        <a16:creationId xmlns:a16="http://schemas.microsoft.com/office/drawing/2014/main" id="{5BD9D3DE-0850-4F76-A4EA-9081D722B2E7}"/>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619" name="Freeform 40">
                    <a:extLst>
                      <a:ext uri="{FF2B5EF4-FFF2-40B4-BE49-F238E27FC236}">
                        <a16:creationId xmlns:a16="http://schemas.microsoft.com/office/drawing/2014/main" id="{74EE3973-98F4-401D-8D8E-05E17AA7DF2F}"/>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nvGrpSpPr>
                <p:cNvPr id="615" name="Group 614">
                  <a:extLst>
                    <a:ext uri="{FF2B5EF4-FFF2-40B4-BE49-F238E27FC236}">
                      <a16:creationId xmlns:a16="http://schemas.microsoft.com/office/drawing/2014/main" id="{FDAEF920-2A19-4F82-A171-F3338BB84914}"/>
                    </a:ext>
                  </a:extLst>
                </p:cNvPr>
                <p:cNvGrpSpPr/>
                <p:nvPr/>
              </p:nvGrpSpPr>
              <p:grpSpPr>
                <a:xfrm rot="5400000">
                  <a:off x="4127099" y="1826602"/>
                  <a:ext cx="62740" cy="248145"/>
                  <a:chOff x="4120827" y="1826565"/>
                  <a:chExt cx="62740" cy="248145"/>
                </a:xfrm>
                <a:grpFill/>
              </p:grpSpPr>
              <p:sp>
                <p:nvSpPr>
                  <p:cNvPr id="616" name="Freeform 37">
                    <a:extLst>
                      <a:ext uri="{FF2B5EF4-FFF2-40B4-BE49-F238E27FC236}">
                        <a16:creationId xmlns:a16="http://schemas.microsoft.com/office/drawing/2014/main" id="{47AA3F6D-B303-4A7E-8CA1-01A98E3533F8}"/>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617" name="Freeform 38">
                    <a:extLst>
                      <a:ext uri="{FF2B5EF4-FFF2-40B4-BE49-F238E27FC236}">
                        <a16:creationId xmlns:a16="http://schemas.microsoft.com/office/drawing/2014/main" id="{0232215E-F9DC-4430-AF0A-82192C5CE7D1}"/>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grpSp>
        <p:grpSp>
          <p:nvGrpSpPr>
            <p:cNvPr id="620" name="Group 619">
              <a:extLst>
                <a:ext uri="{FF2B5EF4-FFF2-40B4-BE49-F238E27FC236}">
                  <a16:creationId xmlns:a16="http://schemas.microsoft.com/office/drawing/2014/main" id="{34DF326F-6205-4956-8167-69F7182E34DF}"/>
                </a:ext>
              </a:extLst>
            </p:cNvPr>
            <p:cNvGrpSpPr/>
            <p:nvPr/>
          </p:nvGrpSpPr>
          <p:grpSpPr>
            <a:xfrm>
              <a:off x="3999967" y="2706064"/>
              <a:ext cx="214912" cy="214912"/>
              <a:chOff x="4682991" y="1019790"/>
              <a:chExt cx="548640" cy="548640"/>
            </a:xfrm>
            <a:effectLst/>
          </p:grpSpPr>
          <p:sp>
            <p:nvSpPr>
              <p:cNvPr id="621" name="Oval 263">
                <a:extLst>
                  <a:ext uri="{FF2B5EF4-FFF2-40B4-BE49-F238E27FC236}">
                    <a16:creationId xmlns:a16="http://schemas.microsoft.com/office/drawing/2014/main" id="{AFCD856B-6351-4D10-8131-F162712F464C}"/>
                  </a:ext>
                </a:extLst>
              </p:cNvPr>
              <p:cNvSpPr>
                <a:spLocks/>
              </p:cNvSpPr>
              <p:nvPr/>
            </p:nvSpPr>
            <p:spPr bwMode="auto">
              <a:xfrm>
                <a:off x="4682991" y="1019790"/>
                <a:ext cx="548640" cy="548640"/>
              </a:xfrm>
              <a:prstGeom prst="ellipse">
                <a:avLst/>
              </a:prstGeom>
              <a:solidFill>
                <a:srgbClr val="6EBE4A"/>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622" name="Group 621">
                <a:extLst>
                  <a:ext uri="{FF2B5EF4-FFF2-40B4-BE49-F238E27FC236}">
                    <a16:creationId xmlns:a16="http://schemas.microsoft.com/office/drawing/2014/main" id="{414D612E-F9AD-42F5-AE43-2C99F42336BA}"/>
                  </a:ext>
                </a:extLst>
              </p:cNvPr>
              <p:cNvGrpSpPr/>
              <p:nvPr/>
            </p:nvGrpSpPr>
            <p:grpSpPr>
              <a:xfrm>
                <a:off x="4789549" y="1151957"/>
                <a:ext cx="335524" cy="284307"/>
                <a:chOff x="4780856" y="1109136"/>
                <a:chExt cx="335524" cy="284307"/>
              </a:xfrm>
            </p:grpSpPr>
            <p:sp>
              <p:nvSpPr>
                <p:cNvPr id="623" name="Freeform 297">
                  <a:extLst>
                    <a:ext uri="{FF2B5EF4-FFF2-40B4-BE49-F238E27FC236}">
                      <a16:creationId xmlns:a16="http://schemas.microsoft.com/office/drawing/2014/main" id="{75297B94-5B52-4780-B57D-FC2B7D75BBB7}"/>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24" name="Freeform 298">
                  <a:extLst>
                    <a:ext uri="{FF2B5EF4-FFF2-40B4-BE49-F238E27FC236}">
                      <a16:creationId xmlns:a16="http://schemas.microsoft.com/office/drawing/2014/main" id="{FA22C1F2-0167-493F-ACF9-054B5C5F006C}"/>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25" name="Freeform 299">
                  <a:extLst>
                    <a:ext uri="{FF2B5EF4-FFF2-40B4-BE49-F238E27FC236}">
                      <a16:creationId xmlns:a16="http://schemas.microsoft.com/office/drawing/2014/main" id="{326BD300-0B4A-44FB-BF0C-B414AFF9A257}"/>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26" name="Freeform 300">
                  <a:extLst>
                    <a:ext uri="{FF2B5EF4-FFF2-40B4-BE49-F238E27FC236}">
                      <a16:creationId xmlns:a16="http://schemas.microsoft.com/office/drawing/2014/main" id="{F9ECB456-DB2C-46E2-8895-081670D0152B}"/>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627" name="Group 626">
              <a:extLst>
                <a:ext uri="{FF2B5EF4-FFF2-40B4-BE49-F238E27FC236}">
                  <a16:creationId xmlns:a16="http://schemas.microsoft.com/office/drawing/2014/main" id="{D5C03566-2A9D-492F-A39A-DEAF5E459DB2}"/>
                </a:ext>
              </a:extLst>
            </p:cNvPr>
            <p:cNvGrpSpPr/>
            <p:nvPr/>
          </p:nvGrpSpPr>
          <p:grpSpPr>
            <a:xfrm>
              <a:off x="4915408" y="2706063"/>
              <a:ext cx="214912" cy="214912"/>
              <a:chOff x="4682991" y="1019790"/>
              <a:chExt cx="548640" cy="548640"/>
            </a:xfrm>
          </p:grpSpPr>
          <p:sp>
            <p:nvSpPr>
              <p:cNvPr id="628" name="Oval 263">
                <a:extLst>
                  <a:ext uri="{FF2B5EF4-FFF2-40B4-BE49-F238E27FC236}">
                    <a16:creationId xmlns:a16="http://schemas.microsoft.com/office/drawing/2014/main" id="{93E571D8-BB03-4FE8-AF32-F0FAF9EA2EB9}"/>
                  </a:ext>
                </a:extLst>
              </p:cNvPr>
              <p:cNvSpPr>
                <a:spLocks/>
              </p:cNvSpPr>
              <p:nvPr/>
            </p:nvSpPr>
            <p:spPr bwMode="auto">
              <a:xfrm>
                <a:off x="4682991" y="1019790"/>
                <a:ext cx="548640" cy="548640"/>
              </a:xfrm>
              <a:prstGeom prst="ellipse">
                <a:avLst/>
              </a:prstGeom>
              <a:solidFill>
                <a:srgbClr val="6EBE4A"/>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629" name="Group 628">
                <a:extLst>
                  <a:ext uri="{FF2B5EF4-FFF2-40B4-BE49-F238E27FC236}">
                    <a16:creationId xmlns:a16="http://schemas.microsoft.com/office/drawing/2014/main" id="{6C48AC94-0D7E-462A-A0E6-8BCCCCE561E1}"/>
                  </a:ext>
                </a:extLst>
              </p:cNvPr>
              <p:cNvGrpSpPr/>
              <p:nvPr/>
            </p:nvGrpSpPr>
            <p:grpSpPr>
              <a:xfrm>
                <a:off x="4789549" y="1151957"/>
                <a:ext cx="335524" cy="284307"/>
                <a:chOff x="4780856" y="1109136"/>
                <a:chExt cx="335524" cy="284307"/>
              </a:xfrm>
            </p:grpSpPr>
            <p:sp>
              <p:nvSpPr>
                <p:cNvPr id="630" name="Freeform 297">
                  <a:extLst>
                    <a:ext uri="{FF2B5EF4-FFF2-40B4-BE49-F238E27FC236}">
                      <a16:creationId xmlns:a16="http://schemas.microsoft.com/office/drawing/2014/main" id="{54E1A58D-81A0-49B3-B9D0-3D9742FDF5E7}"/>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31" name="Freeform 298">
                  <a:extLst>
                    <a:ext uri="{FF2B5EF4-FFF2-40B4-BE49-F238E27FC236}">
                      <a16:creationId xmlns:a16="http://schemas.microsoft.com/office/drawing/2014/main" id="{0AE76305-A702-461D-9075-DB9BF81A3B25}"/>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32" name="Freeform 299">
                  <a:extLst>
                    <a:ext uri="{FF2B5EF4-FFF2-40B4-BE49-F238E27FC236}">
                      <a16:creationId xmlns:a16="http://schemas.microsoft.com/office/drawing/2014/main" id="{5637B556-E564-493D-92D1-760A4C59FE73}"/>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33" name="Freeform 300">
                  <a:extLst>
                    <a:ext uri="{FF2B5EF4-FFF2-40B4-BE49-F238E27FC236}">
                      <a16:creationId xmlns:a16="http://schemas.microsoft.com/office/drawing/2014/main" id="{F3AA5C1C-2FDA-4429-9914-7124D52A0B30}"/>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634" name="Group 633">
              <a:extLst>
                <a:ext uri="{FF2B5EF4-FFF2-40B4-BE49-F238E27FC236}">
                  <a16:creationId xmlns:a16="http://schemas.microsoft.com/office/drawing/2014/main" id="{3EA51A72-664D-4363-804D-53A979F47BEB}"/>
                </a:ext>
              </a:extLst>
            </p:cNvPr>
            <p:cNvGrpSpPr/>
            <p:nvPr/>
          </p:nvGrpSpPr>
          <p:grpSpPr>
            <a:xfrm>
              <a:off x="4630916" y="2706470"/>
              <a:ext cx="214912" cy="214912"/>
              <a:chOff x="4267363" y="2915258"/>
              <a:chExt cx="548640" cy="548640"/>
            </a:xfrm>
          </p:grpSpPr>
          <p:sp>
            <p:nvSpPr>
              <p:cNvPr id="635" name="Oval 263">
                <a:extLst>
                  <a:ext uri="{FF2B5EF4-FFF2-40B4-BE49-F238E27FC236}">
                    <a16:creationId xmlns:a16="http://schemas.microsoft.com/office/drawing/2014/main" id="{A97676F1-8926-43AF-B570-6796703DED88}"/>
                  </a:ext>
                </a:extLst>
              </p:cNvPr>
              <p:cNvSpPr>
                <a:spLocks/>
              </p:cNvSpPr>
              <p:nvPr/>
            </p:nvSpPr>
            <p:spPr bwMode="auto">
              <a:xfrm>
                <a:off x="4267363" y="2915258"/>
                <a:ext cx="548640" cy="548640"/>
              </a:xfrm>
              <a:prstGeom prst="ellipse">
                <a:avLst/>
              </a:prstGeom>
              <a:solidFill>
                <a:srgbClr val="E9E9E9"/>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36" name="object 424">
                <a:extLst>
                  <a:ext uri="{FF2B5EF4-FFF2-40B4-BE49-F238E27FC236}">
                    <a16:creationId xmlns:a16="http://schemas.microsoft.com/office/drawing/2014/main" id="{3F63F079-DB34-468E-8A44-1EAE09EB4BD0}"/>
                  </a:ext>
                </a:extLst>
              </p:cNvPr>
              <p:cNvSpPr/>
              <p:nvPr/>
            </p:nvSpPr>
            <p:spPr>
              <a:xfrm>
                <a:off x="4405503" y="3248452"/>
                <a:ext cx="273263" cy="107076"/>
              </a:xfrm>
              <a:custGeom>
                <a:avLst/>
                <a:gdLst/>
                <a:ahLst/>
                <a:cxnLst/>
                <a:rect l="l" t="t" r="r" b="b"/>
                <a:pathLst>
                  <a:path w="669290" h="262254">
                    <a:moveTo>
                      <a:pt x="668489" y="0"/>
                    </a:moveTo>
                    <a:lnTo>
                      <a:pt x="0" y="1193"/>
                    </a:lnTo>
                    <a:lnTo>
                      <a:pt x="469" y="262064"/>
                    </a:lnTo>
                    <a:lnTo>
                      <a:pt x="668959" y="260870"/>
                    </a:lnTo>
                    <a:lnTo>
                      <a:pt x="668849" y="199643"/>
                    </a:lnTo>
                    <a:lnTo>
                      <a:pt x="335864" y="199643"/>
                    </a:lnTo>
                    <a:lnTo>
                      <a:pt x="322226" y="198526"/>
                    </a:lnTo>
                    <a:lnTo>
                      <a:pt x="286588" y="180111"/>
                    </a:lnTo>
                    <a:lnTo>
                      <a:pt x="267601" y="146786"/>
                    </a:lnTo>
                    <a:lnTo>
                      <a:pt x="96862" y="146786"/>
                    </a:lnTo>
                    <a:lnTo>
                      <a:pt x="96862" y="122326"/>
                    </a:lnTo>
                    <a:lnTo>
                      <a:pt x="266090" y="122326"/>
                    </a:lnTo>
                    <a:lnTo>
                      <a:pt x="268308" y="111248"/>
                    </a:lnTo>
                    <a:lnTo>
                      <a:pt x="307751" y="66658"/>
                    </a:lnTo>
                    <a:lnTo>
                      <a:pt x="333746" y="61194"/>
                    </a:lnTo>
                    <a:lnTo>
                      <a:pt x="668600" y="61194"/>
                    </a:lnTo>
                    <a:lnTo>
                      <a:pt x="668489" y="0"/>
                    </a:lnTo>
                    <a:close/>
                  </a:path>
                  <a:path w="669290" h="262254">
                    <a:moveTo>
                      <a:pt x="668600" y="61194"/>
                    </a:moveTo>
                    <a:lnTo>
                      <a:pt x="333746" y="61194"/>
                    </a:lnTo>
                    <a:lnTo>
                      <a:pt x="359898" y="65856"/>
                    </a:lnTo>
                    <a:lnTo>
                      <a:pt x="383031" y="80695"/>
                    </a:lnTo>
                    <a:lnTo>
                      <a:pt x="390820" y="89699"/>
                    </a:lnTo>
                    <a:lnTo>
                      <a:pt x="396874" y="99801"/>
                    </a:lnTo>
                    <a:lnTo>
                      <a:pt x="401119" y="110758"/>
                    </a:lnTo>
                    <a:lnTo>
                      <a:pt x="403478" y="122326"/>
                    </a:lnTo>
                    <a:lnTo>
                      <a:pt x="581774" y="122326"/>
                    </a:lnTo>
                    <a:lnTo>
                      <a:pt x="581774" y="146786"/>
                    </a:lnTo>
                    <a:lnTo>
                      <a:pt x="402069" y="146786"/>
                    </a:lnTo>
                    <a:lnTo>
                      <a:pt x="399321" y="155533"/>
                    </a:lnTo>
                    <a:lnTo>
                      <a:pt x="374083" y="187472"/>
                    </a:lnTo>
                    <a:lnTo>
                      <a:pt x="335864" y="199643"/>
                    </a:lnTo>
                    <a:lnTo>
                      <a:pt x="668849" y="199643"/>
                    </a:lnTo>
                    <a:lnTo>
                      <a:pt x="668600" y="61194"/>
                    </a:lnTo>
                    <a:close/>
                  </a:path>
                </a:pathLst>
              </a:custGeom>
              <a:solidFill>
                <a:srgbClr val="00BCEB"/>
              </a:solidFill>
            </p:spPr>
            <p:txBody>
              <a:bodyPr wrap="square" lIns="0" tIns="0" rIns="0" bIns="0" rtlCol="0"/>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637" name="Group 636">
                <a:extLst>
                  <a:ext uri="{FF2B5EF4-FFF2-40B4-BE49-F238E27FC236}">
                    <a16:creationId xmlns:a16="http://schemas.microsoft.com/office/drawing/2014/main" id="{ACA96A91-BE5A-43E1-955F-8ABEC622B5C2}"/>
                  </a:ext>
                </a:extLst>
              </p:cNvPr>
              <p:cNvGrpSpPr/>
              <p:nvPr/>
            </p:nvGrpSpPr>
            <p:grpSpPr>
              <a:xfrm>
                <a:off x="4422922" y="3030100"/>
                <a:ext cx="238375" cy="192830"/>
                <a:chOff x="5121843" y="3876582"/>
                <a:chExt cx="437148" cy="353618"/>
              </a:xfrm>
            </p:grpSpPr>
            <p:sp>
              <p:nvSpPr>
                <p:cNvPr id="638" name="Freeform 176">
                  <a:extLst>
                    <a:ext uri="{FF2B5EF4-FFF2-40B4-BE49-F238E27FC236}">
                      <a16:creationId xmlns:a16="http://schemas.microsoft.com/office/drawing/2014/main" id="{48E87155-5A41-4542-8569-D0A3952794F0}"/>
                    </a:ext>
                  </a:extLst>
                </p:cNvPr>
                <p:cNvSpPr>
                  <a:spLocks/>
                </p:cNvSpPr>
                <p:nvPr/>
              </p:nvSpPr>
              <p:spPr bwMode="auto">
                <a:xfrm>
                  <a:off x="5291689" y="4129962"/>
                  <a:ext cx="100237" cy="100238"/>
                </a:xfrm>
                <a:custGeom>
                  <a:avLst/>
                  <a:gdLst>
                    <a:gd name="T0" fmla="*/ 31 w 213"/>
                    <a:gd name="T1" fmla="*/ 31 h 213"/>
                    <a:gd name="T2" fmla="*/ 17 w 213"/>
                    <a:gd name="T3" fmla="*/ 48 h 213"/>
                    <a:gd name="T4" fmla="*/ 8 w 213"/>
                    <a:gd name="T5" fmla="*/ 67 h 213"/>
                    <a:gd name="T6" fmla="*/ 2 w 213"/>
                    <a:gd name="T7" fmla="*/ 86 h 213"/>
                    <a:gd name="T8" fmla="*/ 0 w 213"/>
                    <a:gd name="T9" fmla="*/ 107 h 213"/>
                    <a:gd name="T10" fmla="*/ 2 w 213"/>
                    <a:gd name="T11" fmla="*/ 127 h 213"/>
                    <a:gd name="T12" fmla="*/ 8 w 213"/>
                    <a:gd name="T13" fmla="*/ 146 h 213"/>
                    <a:gd name="T14" fmla="*/ 17 w 213"/>
                    <a:gd name="T15" fmla="*/ 166 h 213"/>
                    <a:gd name="T16" fmla="*/ 31 w 213"/>
                    <a:gd name="T17" fmla="*/ 182 h 213"/>
                    <a:gd name="T18" fmla="*/ 39 w 213"/>
                    <a:gd name="T19" fmla="*/ 190 h 213"/>
                    <a:gd name="T20" fmla="*/ 57 w 213"/>
                    <a:gd name="T21" fmla="*/ 202 h 213"/>
                    <a:gd name="T22" fmla="*/ 76 w 213"/>
                    <a:gd name="T23" fmla="*/ 210 h 213"/>
                    <a:gd name="T24" fmla="*/ 97 w 213"/>
                    <a:gd name="T25" fmla="*/ 213 h 213"/>
                    <a:gd name="T26" fmla="*/ 117 w 213"/>
                    <a:gd name="T27" fmla="*/ 213 h 213"/>
                    <a:gd name="T28" fmla="*/ 137 w 213"/>
                    <a:gd name="T29" fmla="*/ 210 h 213"/>
                    <a:gd name="T30" fmla="*/ 157 w 213"/>
                    <a:gd name="T31" fmla="*/ 202 h 213"/>
                    <a:gd name="T32" fmla="*/ 174 w 213"/>
                    <a:gd name="T33" fmla="*/ 190 h 213"/>
                    <a:gd name="T34" fmla="*/ 182 w 213"/>
                    <a:gd name="T35" fmla="*/ 182 h 213"/>
                    <a:gd name="T36" fmla="*/ 196 w 213"/>
                    <a:gd name="T37" fmla="*/ 166 h 213"/>
                    <a:gd name="T38" fmla="*/ 206 w 213"/>
                    <a:gd name="T39" fmla="*/ 146 h 213"/>
                    <a:gd name="T40" fmla="*/ 212 w 213"/>
                    <a:gd name="T41" fmla="*/ 127 h 213"/>
                    <a:gd name="T42" fmla="*/ 213 w 213"/>
                    <a:gd name="T43" fmla="*/ 107 h 213"/>
                    <a:gd name="T44" fmla="*/ 212 w 213"/>
                    <a:gd name="T45" fmla="*/ 86 h 213"/>
                    <a:gd name="T46" fmla="*/ 206 w 213"/>
                    <a:gd name="T47" fmla="*/ 67 h 213"/>
                    <a:gd name="T48" fmla="*/ 196 w 213"/>
                    <a:gd name="T49" fmla="*/ 48 h 213"/>
                    <a:gd name="T50" fmla="*/ 182 w 213"/>
                    <a:gd name="T51" fmla="*/ 31 h 213"/>
                    <a:gd name="T52" fmla="*/ 174 w 213"/>
                    <a:gd name="T53" fmla="*/ 24 h 213"/>
                    <a:gd name="T54" fmla="*/ 157 w 213"/>
                    <a:gd name="T55" fmla="*/ 12 h 213"/>
                    <a:gd name="T56" fmla="*/ 137 w 213"/>
                    <a:gd name="T57" fmla="*/ 4 h 213"/>
                    <a:gd name="T58" fmla="*/ 117 w 213"/>
                    <a:gd name="T59" fmla="*/ 0 h 213"/>
                    <a:gd name="T60" fmla="*/ 97 w 213"/>
                    <a:gd name="T61" fmla="*/ 0 h 213"/>
                    <a:gd name="T62" fmla="*/ 76 w 213"/>
                    <a:gd name="T63" fmla="*/ 4 h 213"/>
                    <a:gd name="T64" fmla="*/ 57 w 213"/>
                    <a:gd name="T65" fmla="*/ 12 h 213"/>
                    <a:gd name="T66" fmla="*/ 39 w 213"/>
                    <a:gd name="T67" fmla="*/ 24 h 213"/>
                    <a:gd name="T68" fmla="*/ 31 w 213"/>
                    <a:gd name="T69" fmla="*/ 3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213">
                      <a:moveTo>
                        <a:pt x="31" y="31"/>
                      </a:moveTo>
                      <a:lnTo>
                        <a:pt x="31" y="31"/>
                      </a:lnTo>
                      <a:lnTo>
                        <a:pt x="24" y="39"/>
                      </a:lnTo>
                      <a:lnTo>
                        <a:pt x="17" y="48"/>
                      </a:lnTo>
                      <a:lnTo>
                        <a:pt x="12" y="57"/>
                      </a:lnTo>
                      <a:lnTo>
                        <a:pt x="8" y="67"/>
                      </a:lnTo>
                      <a:lnTo>
                        <a:pt x="4" y="76"/>
                      </a:lnTo>
                      <a:lnTo>
                        <a:pt x="2" y="86"/>
                      </a:lnTo>
                      <a:lnTo>
                        <a:pt x="1" y="97"/>
                      </a:lnTo>
                      <a:lnTo>
                        <a:pt x="0" y="107"/>
                      </a:lnTo>
                      <a:lnTo>
                        <a:pt x="1" y="116"/>
                      </a:lnTo>
                      <a:lnTo>
                        <a:pt x="2" y="127"/>
                      </a:lnTo>
                      <a:lnTo>
                        <a:pt x="4" y="137"/>
                      </a:lnTo>
                      <a:lnTo>
                        <a:pt x="8" y="146"/>
                      </a:lnTo>
                      <a:lnTo>
                        <a:pt x="12" y="157"/>
                      </a:lnTo>
                      <a:lnTo>
                        <a:pt x="17" y="166"/>
                      </a:lnTo>
                      <a:lnTo>
                        <a:pt x="24" y="174"/>
                      </a:lnTo>
                      <a:lnTo>
                        <a:pt x="31" y="182"/>
                      </a:lnTo>
                      <a:lnTo>
                        <a:pt x="31" y="182"/>
                      </a:lnTo>
                      <a:lnTo>
                        <a:pt x="39" y="190"/>
                      </a:lnTo>
                      <a:lnTo>
                        <a:pt x="48" y="196"/>
                      </a:lnTo>
                      <a:lnTo>
                        <a:pt x="57" y="202"/>
                      </a:lnTo>
                      <a:lnTo>
                        <a:pt x="67" y="206"/>
                      </a:lnTo>
                      <a:lnTo>
                        <a:pt x="76" y="210"/>
                      </a:lnTo>
                      <a:lnTo>
                        <a:pt x="86" y="212"/>
                      </a:lnTo>
                      <a:lnTo>
                        <a:pt x="97" y="213"/>
                      </a:lnTo>
                      <a:lnTo>
                        <a:pt x="107" y="213"/>
                      </a:lnTo>
                      <a:lnTo>
                        <a:pt x="117" y="213"/>
                      </a:lnTo>
                      <a:lnTo>
                        <a:pt x="127" y="212"/>
                      </a:lnTo>
                      <a:lnTo>
                        <a:pt x="137" y="210"/>
                      </a:lnTo>
                      <a:lnTo>
                        <a:pt x="147" y="206"/>
                      </a:lnTo>
                      <a:lnTo>
                        <a:pt x="157" y="202"/>
                      </a:lnTo>
                      <a:lnTo>
                        <a:pt x="166" y="196"/>
                      </a:lnTo>
                      <a:lnTo>
                        <a:pt x="174" y="190"/>
                      </a:lnTo>
                      <a:lnTo>
                        <a:pt x="182" y="182"/>
                      </a:lnTo>
                      <a:lnTo>
                        <a:pt x="182" y="182"/>
                      </a:lnTo>
                      <a:lnTo>
                        <a:pt x="190" y="174"/>
                      </a:lnTo>
                      <a:lnTo>
                        <a:pt x="196" y="166"/>
                      </a:lnTo>
                      <a:lnTo>
                        <a:pt x="202" y="157"/>
                      </a:lnTo>
                      <a:lnTo>
                        <a:pt x="206" y="146"/>
                      </a:lnTo>
                      <a:lnTo>
                        <a:pt x="210" y="137"/>
                      </a:lnTo>
                      <a:lnTo>
                        <a:pt x="212" y="127"/>
                      </a:lnTo>
                      <a:lnTo>
                        <a:pt x="213" y="116"/>
                      </a:lnTo>
                      <a:lnTo>
                        <a:pt x="213" y="107"/>
                      </a:lnTo>
                      <a:lnTo>
                        <a:pt x="213" y="97"/>
                      </a:lnTo>
                      <a:lnTo>
                        <a:pt x="212" y="86"/>
                      </a:lnTo>
                      <a:lnTo>
                        <a:pt x="210" y="76"/>
                      </a:lnTo>
                      <a:lnTo>
                        <a:pt x="206" y="67"/>
                      </a:lnTo>
                      <a:lnTo>
                        <a:pt x="202" y="57"/>
                      </a:lnTo>
                      <a:lnTo>
                        <a:pt x="196" y="48"/>
                      </a:lnTo>
                      <a:lnTo>
                        <a:pt x="190" y="39"/>
                      </a:lnTo>
                      <a:lnTo>
                        <a:pt x="182" y="31"/>
                      </a:lnTo>
                      <a:lnTo>
                        <a:pt x="182" y="31"/>
                      </a:lnTo>
                      <a:lnTo>
                        <a:pt x="174" y="24"/>
                      </a:lnTo>
                      <a:lnTo>
                        <a:pt x="166" y="17"/>
                      </a:lnTo>
                      <a:lnTo>
                        <a:pt x="157" y="12"/>
                      </a:lnTo>
                      <a:lnTo>
                        <a:pt x="147" y="8"/>
                      </a:lnTo>
                      <a:lnTo>
                        <a:pt x="137" y="4"/>
                      </a:lnTo>
                      <a:lnTo>
                        <a:pt x="127" y="2"/>
                      </a:lnTo>
                      <a:lnTo>
                        <a:pt x="117" y="0"/>
                      </a:lnTo>
                      <a:lnTo>
                        <a:pt x="107" y="0"/>
                      </a:lnTo>
                      <a:lnTo>
                        <a:pt x="97" y="0"/>
                      </a:lnTo>
                      <a:lnTo>
                        <a:pt x="86" y="2"/>
                      </a:lnTo>
                      <a:lnTo>
                        <a:pt x="76" y="4"/>
                      </a:lnTo>
                      <a:lnTo>
                        <a:pt x="67" y="8"/>
                      </a:lnTo>
                      <a:lnTo>
                        <a:pt x="57" y="12"/>
                      </a:lnTo>
                      <a:lnTo>
                        <a:pt x="48" y="17"/>
                      </a:lnTo>
                      <a:lnTo>
                        <a:pt x="39" y="24"/>
                      </a:lnTo>
                      <a:lnTo>
                        <a:pt x="31" y="31"/>
                      </a:lnTo>
                      <a:lnTo>
                        <a:pt x="31" y="31"/>
                      </a:lnTo>
                      <a:close/>
                    </a:path>
                  </a:pathLst>
                </a:custGeom>
                <a:solidFill>
                  <a:srgbClr val="9CE5F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Arial"/>
                    <a:ea typeface="ＭＳ Ｐゴシック" charset="0"/>
                    <a:cs typeface="+mn-cs"/>
                  </a:endParaRPr>
                </a:p>
              </p:txBody>
            </p:sp>
            <p:sp>
              <p:nvSpPr>
                <p:cNvPr id="639" name="Freeform 177">
                  <a:extLst>
                    <a:ext uri="{FF2B5EF4-FFF2-40B4-BE49-F238E27FC236}">
                      <a16:creationId xmlns:a16="http://schemas.microsoft.com/office/drawing/2014/main" id="{9D4612EC-4C9A-4505-86B9-7CFAE37D2366}"/>
                    </a:ext>
                  </a:extLst>
                </p:cNvPr>
                <p:cNvSpPr>
                  <a:spLocks/>
                </p:cNvSpPr>
                <p:nvPr/>
              </p:nvSpPr>
              <p:spPr bwMode="auto">
                <a:xfrm>
                  <a:off x="5244355" y="4049215"/>
                  <a:ext cx="194907" cy="69611"/>
                </a:xfrm>
                <a:custGeom>
                  <a:avLst/>
                  <a:gdLst>
                    <a:gd name="T0" fmla="*/ 302 w 424"/>
                    <a:gd name="T1" fmla="*/ 15 h 155"/>
                    <a:gd name="T2" fmla="*/ 257 w 424"/>
                    <a:gd name="T3" fmla="*/ 4 h 155"/>
                    <a:gd name="T4" fmla="*/ 212 w 424"/>
                    <a:gd name="T5" fmla="*/ 0 h 155"/>
                    <a:gd name="T6" fmla="*/ 184 w 424"/>
                    <a:gd name="T7" fmla="*/ 1 h 155"/>
                    <a:gd name="T8" fmla="*/ 131 w 424"/>
                    <a:gd name="T9" fmla="*/ 12 h 155"/>
                    <a:gd name="T10" fmla="*/ 81 w 424"/>
                    <a:gd name="T11" fmla="*/ 32 h 155"/>
                    <a:gd name="T12" fmla="*/ 56 w 424"/>
                    <a:gd name="T13" fmla="*/ 47 h 155"/>
                    <a:gd name="T14" fmla="*/ 33 w 424"/>
                    <a:gd name="T15" fmla="*/ 64 h 155"/>
                    <a:gd name="T16" fmla="*/ 11 w 424"/>
                    <a:gd name="T17" fmla="*/ 83 h 155"/>
                    <a:gd name="T18" fmla="*/ 7 w 424"/>
                    <a:gd name="T19" fmla="*/ 90 h 155"/>
                    <a:gd name="T20" fmla="*/ 0 w 424"/>
                    <a:gd name="T21" fmla="*/ 105 h 155"/>
                    <a:gd name="T22" fmla="*/ 0 w 424"/>
                    <a:gd name="T23" fmla="*/ 121 h 155"/>
                    <a:gd name="T24" fmla="*/ 7 w 424"/>
                    <a:gd name="T25" fmla="*/ 136 h 155"/>
                    <a:gd name="T26" fmla="*/ 11 w 424"/>
                    <a:gd name="T27" fmla="*/ 142 h 155"/>
                    <a:gd name="T28" fmla="*/ 25 w 424"/>
                    <a:gd name="T29" fmla="*/ 151 h 155"/>
                    <a:gd name="T30" fmla="*/ 41 w 424"/>
                    <a:gd name="T31" fmla="*/ 155 h 155"/>
                    <a:gd name="T32" fmla="*/ 49 w 424"/>
                    <a:gd name="T33" fmla="*/ 154 h 155"/>
                    <a:gd name="T34" fmla="*/ 64 w 424"/>
                    <a:gd name="T35" fmla="*/ 148 h 155"/>
                    <a:gd name="T36" fmla="*/ 70 w 424"/>
                    <a:gd name="T37" fmla="*/ 142 h 155"/>
                    <a:gd name="T38" fmla="*/ 102 w 424"/>
                    <a:gd name="T39" fmla="*/ 117 h 155"/>
                    <a:gd name="T40" fmla="*/ 137 w 424"/>
                    <a:gd name="T41" fmla="*/ 98 h 155"/>
                    <a:gd name="T42" fmla="*/ 174 w 424"/>
                    <a:gd name="T43" fmla="*/ 88 h 155"/>
                    <a:gd name="T44" fmla="*/ 212 w 424"/>
                    <a:gd name="T45" fmla="*/ 84 h 155"/>
                    <a:gd name="T46" fmla="*/ 228 w 424"/>
                    <a:gd name="T47" fmla="*/ 84 h 155"/>
                    <a:gd name="T48" fmla="*/ 261 w 424"/>
                    <a:gd name="T49" fmla="*/ 90 h 155"/>
                    <a:gd name="T50" fmla="*/ 276 w 424"/>
                    <a:gd name="T51" fmla="*/ 95 h 155"/>
                    <a:gd name="T52" fmla="*/ 316 w 424"/>
                    <a:gd name="T53" fmla="*/ 113 h 155"/>
                    <a:gd name="T54" fmla="*/ 353 w 424"/>
                    <a:gd name="T55" fmla="*/ 142 h 155"/>
                    <a:gd name="T56" fmla="*/ 360 w 424"/>
                    <a:gd name="T57" fmla="*/ 148 h 155"/>
                    <a:gd name="T58" fmla="*/ 375 w 424"/>
                    <a:gd name="T59" fmla="*/ 154 h 155"/>
                    <a:gd name="T60" fmla="*/ 391 w 424"/>
                    <a:gd name="T61" fmla="*/ 154 h 155"/>
                    <a:gd name="T62" fmla="*/ 406 w 424"/>
                    <a:gd name="T63" fmla="*/ 148 h 155"/>
                    <a:gd name="T64" fmla="*/ 412 w 424"/>
                    <a:gd name="T65" fmla="*/ 142 h 155"/>
                    <a:gd name="T66" fmla="*/ 421 w 424"/>
                    <a:gd name="T67" fmla="*/ 128 h 155"/>
                    <a:gd name="T68" fmla="*/ 424 w 424"/>
                    <a:gd name="T69" fmla="*/ 113 h 155"/>
                    <a:gd name="T70" fmla="*/ 421 w 424"/>
                    <a:gd name="T71" fmla="*/ 97 h 155"/>
                    <a:gd name="T72" fmla="*/ 412 w 424"/>
                    <a:gd name="T73" fmla="*/ 83 h 155"/>
                    <a:gd name="T74" fmla="*/ 400 w 424"/>
                    <a:gd name="T75" fmla="*/ 72 h 155"/>
                    <a:gd name="T76" fmla="*/ 374 w 424"/>
                    <a:gd name="T77" fmla="*/ 51 h 155"/>
                    <a:gd name="T78" fmla="*/ 346 w 424"/>
                    <a:gd name="T79" fmla="*/ 35 h 155"/>
                    <a:gd name="T80" fmla="*/ 317 w 424"/>
                    <a:gd name="T81" fmla="*/ 21 h 155"/>
                    <a:gd name="T82" fmla="*/ 302 w 424"/>
                    <a:gd name="T83" fmla="*/ 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4" h="155">
                      <a:moveTo>
                        <a:pt x="302" y="15"/>
                      </a:moveTo>
                      <a:lnTo>
                        <a:pt x="302" y="15"/>
                      </a:lnTo>
                      <a:lnTo>
                        <a:pt x="280" y="8"/>
                      </a:lnTo>
                      <a:lnTo>
                        <a:pt x="257" y="4"/>
                      </a:lnTo>
                      <a:lnTo>
                        <a:pt x="235" y="1"/>
                      </a:lnTo>
                      <a:lnTo>
                        <a:pt x="212" y="0"/>
                      </a:lnTo>
                      <a:lnTo>
                        <a:pt x="212" y="0"/>
                      </a:lnTo>
                      <a:lnTo>
                        <a:pt x="184" y="1"/>
                      </a:lnTo>
                      <a:lnTo>
                        <a:pt x="158" y="6"/>
                      </a:lnTo>
                      <a:lnTo>
                        <a:pt x="131" y="12"/>
                      </a:lnTo>
                      <a:lnTo>
                        <a:pt x="105" y="21"/>
                      </a:lnTo>
                      <a:lnTo>
                        <a:pt x="81" y="32"/>
                      </a:lnTo>
                      <a:lnTo>
                        <a:pt x="68" y="39"/>
                      </a:lnTo>
                      <a:lnTo>
                        <a:pt x="56" y="47"/>
                      </a:lnTo>
                      <a:lnTo>
                        <a:pt x="45" y="56"/>
                      </a:lnTo>
                      <a:lnTo>
                        <a:pt x="33" y="64"/>
                      </a:lnTo>
                      <a:lnTo>
                        <a:pt x="22" y="73"/>
                      </a:lnTo>
                      <a:lnTo>
                        <a:pt x="11" y="83"/>
                      </a:lnTo>
                      <a:lnTo>
                        <a:pt x="11" y="83"/>
                      </a:lnTo>
                      <a:lnTo>
                        <a:pt x="7" y="90"/>
                      </a:lnTo>
                      <a:lnTo>
                        <a:pt x="2" y="97"/>
                      </a:lnTo>
                      <a:lnTo>
                        <a:pt x="0" y="105"/>
                      </a:lnTo>
                      <a:lnTo>
                        <a:pt x="0" y="113"/>
                      </a:lnTo>
                      <a:lnTo>
                        <a:pt x="0" y="121"/>
                      </a:lnTo>
                      <a:lnTo>
                        <a:pt x="2" y="128"/>
                      </a:lnTo>
                      <a:lnTo>
                        <a:pt x="7" y="136"/>
                      </a:lnTo>
                      <a:lnTo>
                        <a:pt x="11" y="142"/>
                      </a:lnTo>
                      <a:lnTo>
                        <a:pt x="11" y="142"/>
                      </a:lnTo>
                      <a:lnTo>
                        <a:pt x="18" y="148"/>
                      </a:lnTo>
                      <a:lnTo>
                        <a:pt x="25" y="151"/>
                      </a:lnTo>
                      <a:lnTo>
                        <a:pt x="33" y="154"/>
                      </a:lnTo>
                      <a:lnTo>
                        <a:pt x="41" y="155"/>
                      </a:lnTo>
                      <a:lnTo>
                        <a:pt x="41" y="155"/>
                      </a:lnTo>
                      <a:lnTo>
                        <a:pt x="49" y="154"/>
                      </a:lnTo>
                      <a:lnTo>
                        <a:pt x="57" y="151"/>
                      </a:lnTo>
                      <a:lnTo>
                        <a:pt x="64" y="148"/>
                      </a:lnTo>
                      <a:lnTo>
                        <a:pt x="70" y="142"/>
                      </a:lnTo>
                      <a:lnTo>
                        <a:pt x="70" y="142"/>
                      </a:lnTo>
                      <a:lnTo>
                        <a:pt x="86" y="128"/>
                      </a:lnTo>
                      <a:lnTo>
                        <a:pt x="102" y="117"/>
                      </a:lnTo>
                      <a:lnTo>
                        <a:pt x="119" y="106"/>
                      </a:lnTo>
                      <a:lnTo>
                        <a:pt x="137" y="98"/>
                      </a:lnTo>
                      <a:lnTo>
                        <a:pt x="154" y="92"/>
                      </a:lnTo>
                      <a:lnTo>
                        <a:pt x="174" y="88"/>
                      </a:lnTo>
                      <a:lnTo>
                        <a:pt x="192" y="84"/>
                      </a:lnTo>
                      <a:lnTo>
                        <a:pt x="212" y="84"/>
                      </a:lnTo>
                      <a:lnTo>
                        <a:pt x="212" y="84"/>
                      </a:lnTo>
                      <a:lnTo>
                        <a:pt x="228" y="84"/>
                      </a:lnTo>
                      <a:lnTo>
                        <a:pt x="244" y="87"/>
                      </a:lnTo>
                      <a:lnTo>
                        <a:pt x="261" y="90"/>
                      </a:lnTo>
                      <a:lnTo>
                        <a:pt x="276" y="95"/>
                      </a:lnTo>
                      <a:lnTo>
                        <a:pt x="276" y="95"/>
                      </a:lnTo>
                      <a:lnTo>
                        <a:pt x="296" y="103"/>
                      </a:lnTo>
                      <a:lnTo>
                        <a:pt x="316" y="113"/>
                      </a:lnTo>
                      <a:lnTo>
                        <a:pt x="336" y="127"/>
                      </a:lnTo>
                      <a:lnTo>
                        <a:pt x="353" y="142"/>
                      </a:lnTo>
                      <a:lnTo>
                        <a:pt x="353" y="142"/>
                      </a:lnTo>
                      <a:lnTo>
                        <a:pt x="360" y="148"/>
                      </a:lnTo>
                      <a:lnTo>
                        <a:pt x="367" y="151"/>
                      </a:lnTo>
                      <a:lnTo>
                        <a:pt x="375" y="154"/>
                      </a:lnTo>
                      <a:lnTo>
                        <a:pt x="383" y="155"/>
                      </a:lnTo>
                      <a:lnTo>
                        <a:pt x="391" y="154"/>
                      </a:lnTo>
                      <a:lnTo>
                        <a:pt x="398" y="151"/>
                      </a:lnTo>
                      <a:lnTo>
                        <a:pt x="406" y="148"/>
                      </a:lnTo>
                      <a:lnTo>
                        <a:pt x="412" y="142"/>
                      </a:lnTo>
                      <a:lnTo>
                        <a:pt x="412" y="142"/>
                      </a:lnTo>
                      <a:lnTo>
                        <a:pt x="417" y="136"/>
                      </a:lnTo>
                      <a:lnTo>
                        <a:pt x="421" y="128"/>
                      </a:lnTo>
                      <a:lnTo>
                        <a:pt x="423" y="121"/>
                      </a:lnTo>
                      <a:lnTo>
                        <a:pt x="424" y="113"/>
                      </a:lnTo>
                      <a:lnTo>
                        <a:pt x="423" y="105"/>
                      </a:lnTo>
                      <a:lnTo>
                        <a:pt x="421" y="97"/>
                      </a:lnTo>
                      <a:lnTo>
                        <a:pt x="417" y="90"/>
                      </a:lnTo>
                      <a:lnTo>
                        <a:pt x="412" y="83"/>
                      </a:lnTo>
                      <a:lnTo>
                        <a:pt x="412" y="83"/>
                      </a:lnTo>
                      <a:lnTo>
                        <a:pt x="400" y="72"/>
                      </a:lnTo>
                      <a:lnTo>
                        <a:pt x="387" y="61"/>
                      </a:lnTo>
                      <a:lnTo>
                        <a:pt x="374" y="51"/>
                      </a:lnTo>
                      <a:lnTo>
                        <a:pt x="360" y="43"/>
                      </a:lnTo>
                      <a:lnTo>
                        <a:pt x="346" y="35"/>
                      </a:lnTo>
                      <a:lnTo>
                        <a:pt x="332" y="27"/>
                      </a:lnTo>
                      <a:lnTo>
                        <a:pt x="317" y="21"/>
                      </a:lnTo>
                      <a:lnTo>
                        <a:pt x="302" y="15"/>
                      </a:lnTo>
                      <a:lnTo>
                        <a:pt x="302" y="15"/>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Arial"/>
                    <a:ea typeface="ＭＳ Ｐゴシック" charset="0"/>
                    <a:cs typeface="+mn-cs"/>
                  </a:endParaRPr>
                </a:p>
              </p:txBody>
            </p:sp>
            <p:sp>
              <p:nvSpPr>
                <p:cNvPr id="640" name="Freeform 178">
                  <a:extLst>
                    <a:ext uri="{FF2B5EF4-FFF2-40B4-BE49-F238E27FC236}">
                      <a16:creationId xmlns:a16="http://schemas.microsoft.com/office/drawing/2014/main" id="{E27E7698-4834-4663-B9E9-166829C3BD32}"/>
                    </a:ext>
                  </a:extLst>
                </p:cNvPr>
                <p:cNvSpPr>
                  <a:spLocks/>
                </p:cNvSpPr>
                <p:nvPr/>
              </p:nvSpPr>
              <p:spPr bwMode="auto">
                <a:xfrm>
                  <a:off x="5183099" y="3962898"/>
                  <a:ext cx="317419" cy="97455"/>
                </a:xfrm>
                <a:custGeom>
                  <a:avLst/>
                  <a:gdLst>
                    <a:gd name="T0" fmla="*/ 341 w 682"/>
                    <a:gd name="T1" fmla="*/ 0 h 208"/>
                    <a:gd name="T2" fmla="*/ 296 w 682"/>
                    <a:gd name="T3" fmla="*/ 2 h 208"/>
                    <a:gd name="T4" fmla="*/ 252 w 682"/>
                    <a:gd name="T5" fmla="*/ 9 h 208"/>
                    <a:gd name="T6" fmla="*/ 208 w 682"/>
                    <a:gd name="T7" fmla="*/ 19 h 208"/>
                    <a:gd name="T8" fmla="*/ 166 w 682"/>
                    <a:gd name="T9" fmla="*/ 34 h 208"/>
                    <a:gd name="T10" fmla="*/ 124 w 682"/>
                    <a:gd name="T11" fmla="*/ 54 h 208"/>
                    <a:gd name="T12" fmla="*/ 85 w 682"/>
                    <a:gd name="T13" fmla="*/ 77 h 208"/>
                    <a:gd name="T14" fmla="*/ 47 w 682"/>
                    <a:gd name="T15" fmla="*/ 105 h 208"/>
                    <a:gd name="T16" fmla="*/ 12 w 682"/>
                    <a:gd name="T17" fmla="*/ 137 h 208"/>
                    <a:gd name="T18" fmla="*/ 6 w 682"/>
                    <a:gd name="T19" fmla="*/ 143 h 208"/>
                    <a:gd name="T20" fmla="*/ 1 w 682"/>
                    <a:gd name="T21" fmla="*/ 158 h 208"/>
                    <a:gd name="T22" fmla="*/ 1 w 682"/>
                    <a:gd name="T23" fmla="*/ 174 h 208"/>
                    <a:gd name="T24" fmla="*/ 6 w 682"/>
                    <a:gd name="T25" fmla="*/ 189 h 208"/>
                    <a:gd name="T26" fmla="*/ 12 w 682"/>
                    <a:gd name="T27" fmla="*/ 196 h 208"/>
                    <a:gd name="T28" fmla="*/ 26 w 682"/>
                    <a:gd name="T29" fmla="*/ 205 h 208"/>
                    <a:gd name="T30" fmla="*/ 41 w 682"/>
                    <a:gd name="T31" fmla="*/ 208 h 208"/>
                    <a:gd name="T32" fmla="*/ 49 w 682"/>
                    <a:gd name="T33" fmla="*/ 208 h 208"/>
                    <a:gd name="T34" fmla="*/ 64 w 682"/>
                    <a:gd name="T35" fmla="*/ 201 h 208"/>
                    <a:gd name="T36" fmla="*/ 71 w 682"/>
                    <a:gd name="T37" fmla="*/ 196 h 208"/>
                    <a:gd name="T38" fmla="*/ 100 w 682"/>
                    <a:gd name="T39" fmla="*/ 169 h 208"/>
                    <a:gd name="T40" fmla="*/ 131 w 682"/>
                    <a:gd name="T41" fmla="*/ 146 h 208"/>
                    <a:gd name="T42" fmla="*/ 163 w 682"/>
                    <a:gd name="T43" fmla="*/ 128 h 208"/>
                    <a:gd name="T44" fmla="*/ 197 w 682"/>
                    <a:gd name="T45" fmla="*/ 112 h 208"/>
                    <a:gd name="T46" fmla="*/ 233 w 682"/>
                    <a:gd name="T47" fmla="*/ 99 h 208"/>
                    <a:gd name="T48" fmla="*/ 268 w 682"/>
                    <a:gd name="T49" fmla="*/ 91 h 208"/>
                    <a:gd name="T50" fmla="*/ 304 w 682"/>
                    <a:gd name="T51" fmla="*/ 85 h 208"/>
                    <a:gd name="T52" fmla="*/ 341 w 682"/>
                    <a:gd name="T53" fmla="*/ 84 h 208"/>
                    <a:gd name="T54" fmla="*/ 360 w 682"/>
                    <a:gd name="T55" fmla="*/ 84 h 208"/>
                    <a:gd name="T56" fmla="*/ 395 w 682"/>
                    <a:gd name="T57" fmla="*/ 88 h 208"/>
                    <a:gd name="T58" fmla="*/ 432 w 682"/>
                    <a:gd name="T59" fmla="*/ 94 h 208"/>
                    <a:gd name="T60" fmla="*/ 467 w 682"/>
                    <a:gd name="T61" fmla="*/ 105 h 208"/>
                    <a:gd name="T62" fmla="*/ 501 w 682"/>
                    <a:gd name="T63" fmla="*/ 119 h 208"/>
                    <a:gd name="T64" fmla="*/ 535 w 682"/>
                    <a:gd name="T65" fmla="*/ 136 h 208"/>
                    <a:gd name="T66" fmla="*/ 566 w 682"/>
                    <a:gd name="T67" fmla="*/ 158 h 208"/>
                    <a:gd name="T68" fmla="*/ 596 w 682"/>
                    <a:gd name="T69" fmla="*/ 182 h 208"/>
                    <a:gd name="T70" fmla="*/ 611 w 682"/>
                    <a:gd name="T71" fmla="*/ 196 h 208"/>
                    <a:gd name="T72" fmla="*/ 625 w 682"/>
                    <a:gd name="T73" fmla="*/ 205 h 208"/>
                    <a:gd name="T74" fmla="*/ 640 w 682"/>
                    <a:gd name="T75" fmla="*/ 208 h 208"/>
                    <a:gd name="T76" fmla="*/ 656 w 682"/>
                    <a:gd name="T77" fmla="*/ 205 h 208"/>
                    <a:gd name="T78" fmla="*/ 670 w 682"/>
                    <a:gd name="T79" fmla="*/ 196 h 208"/>
                    <a:gd name="T80" fmla="*/ 675 w 682"/>
                    <a:gd name="T81" fmla="*/ 189 h 208"/>
                    <a:gd name="T82" fmla="*/ 682 w 682"/>
                    <a:gd name="T83" fmla="*/ 174 h 208"/>
                    <a:gd name="T84" fmla="*/ 682 w 682"/>
                    <a:gd name="T85" fmla="*/ 158 h 208"/>
                    <a:gd name="T86" fmla="*/ 675 w 682"/>
                    <a:gd name="T87" fmla="*/ 143 h 208"/>
                    <a:gd name="T88" fmla="*/ 670 w 682"/>
                    <a:gd name="T89" fmla="*/ 137 h 208"/>
                    <a:gd name="T90" fmla="*/ 634 w 682"/>
                    <a:gd name="T91" fmla="*/ 105 h 208"/>
                    <a:gd name="T92" fmla="*/ 597 w 682"/>
                    <a:gd name="T93" fmla="*/ 77 h 208"/>
                    <a:gd name="T94" fmla="*/ 557 w 682"/>
                    <a:gd name="T95" fmla="*/ 54 h 208"/>
                    <a:gd name="T96" fmla="*/ 515 w 682"/>
                    <a:gd name="T97" fmla="*/ 34 h 208"/>
                    <a:gd name="T98" fmla="*/ 473 w 682"/>
                    <a:gd name="T99" fmla="*/ 19 h 208"/>
                    <a:gd name="T100" fmla="*/ 430 w 682"/>
                    <a:gd name="T101" fmla="*/ 9 h 208"/>
                    <a:gd name="T102" fmla="*/ 385 w 682"/>
                    <a:gd name="T103" fmla="*/ 2 h 208"/>
                    <a:gd name="T104" fmla="*/ 341 w 682"/>
                    <a:gd name="T10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2" h="208">
                      <a:moveTo>
                        <a:pt x="341" y="0"/>
                      </a:moveTo>
                      <a:lnTo>
                        <a:pt x="341" y="0"/>
                      </a:lnTo>
                      <a:lnTo>
                        <a:pt x="318" y="1"/>
                      </a:lnTo>
                      <a:lnTo>
                        <a:pt x="296" y="2"/>
                      </a:lnTo>
                      <a:lnTo>
                        <a:pt x="274" y="6"/>
                      </a:lnTo>
                      <a:lnTo>
                        <a:pt x="252" y="9"/>
                      </a:lnTo>
                      <a:lnTo>
                        <a:pt x="230" y="14"/>
                      </a:lnTo>
                      <a:lnTo>
                        <a:pt x="208" y="19"/>
                      </a:lnTo>
                      <a:lnTo>
                        <a:pt x="186" y="26"/>
                      </a:lnTo>
                      <a:lnTo>
                        <a:pt x="166" y="34"/>
                      </a:lnTo>
                      <a:lnTo>
                        <a:pt x="145" y="44"/>
                      </a:lnTo>
                      <a:lnTo>
                        <a:pt x="124" y="54"/>
                      </a:lnTo>
                      <a:lnTo>
                        <a:pt x="105" y="64"/>
                      </a:lnTo>
                      <a:lnTo>
                        <a:pt x="85" y="77"/>
                      </a:lnTo>
                      <a:lnTo>
                        <a:pt x="65" y="90"/>
                      </a:lnTo>
                      <a:lnTo>
                        <a:pt x="47" y="105"/>
                      </a:lnTo>
                      <a:lnTo>
                        <a:pt x="30" y="120"/>
                      </a:lnTo>
                      <a:lnTo>
                        <a:pt x="12" y="137"/>
                      </a:lnTo>
                      <a:lnTo>
                        <a:pt x="12" y="137"/>
                      </a:lnTo>
                      <a:lnTo>
                        <a:pt x="6" y="143"/>
                      </a:lnTo>
                      <a:lnTo>
                        <a:pt x="3" y="150"/>
                      </a:lnTo>
                      <a:lnTo>
                        <a:pt x="1" y="158"/>
                      </a:lnTo>
                      <a:lnTo>
                        <a:pt x="0" y="166"/>
                      </a:lnTo>
                      <a:lnTo>
                        <a:pt x="1" y="174"/>
                      </a:lnTo>
                      <a:lnTo>
                        <a:pt x="3" y="182"/>
                      </a:lnTo>
                      <a:lnTo>
                        <a:pt x="6" y="189"/>
                      </a:lnTo>
                      <a:lnTo>
                        <a:pt x="12" y="196"/>
                      </a:lnTo>
                      <a:lnTo>
                        <a:pt x="12" y="196"/>
                      </a:lnTo>
                      <a:lnTo>
                        <a:pt x="18" y="201"/>
                      </a:lnTo>
                      <a:lnTo>
                        <a:pt x="26" y="205"/>
                      </a:lnTo>
                      <a:lnTo>
                        <a:pt x="33" y="208"/>
                      </a:lnTo>
                      <a:lnTo>
                        <a:pt x="41" y="208"/>
                      </a:lnTo>
                      <a:lnTo>
                        <a:pt x="41" y="208"/>
                      </a:lnTo>
                      <a:lnTo>
                        <a:pt x="49" y="208"/>
                      </a:lnTo>
                      <a:lnTo>
                        <a:pt x="57" y="205"/>
                      </a:lnTo>
                      <a:lnTo>
                        <a:pt x="64" y="201"/>
                      </a:lnTo>
                      <a:lnTo>
                        <a:pt x="71" y="196"/>
                      </a:lnTo>
                      <a:lnTo>
                        <a:pt x="71" y="196"/>
                      </a:lnTo>
                      <a:lnTo>
                        <a:pt x="85" y="182"/>
                      </a:lnTo>
                      <a:lnTo>
                        <a:pt x="100" y="169"/>
                      </a:lnTo>
                      <a:lnTo>
                        <a:pt x="115" y="158"/>
                      </a:lnTo>
                      <a:lnTo>
                        <a:pt x="131" y="146"/>
                      </a:lnTo>
                      <a:lnTo>
                        <a:pt x="147" y="136"/>
                      </a:lnTo>
                      <a:lnTo>
                        <a:pt x="163" y="128"/>
                      </a:lnTo>
                      <a:lnTo>
                        <a:pt x="181" y="119"/>
                      </a:lnTo>
                      <a:lnTo>
                        <a:pt x="197" y="112"/>
                      </a:lnTo>
                      <a:lnTo>
                        <a:pt x="214" y="105"/>
                      </a:lnTo>
                      <a:lnTo>
                        <a:pt x="233" y="99"/>
                      </a:lnTo>
                      <a:lnTo>
                        <a:pt x="250" y="94"/>
                      </a:lnTo>
                      <a:lnTo>
                        <a:pt x="268" y="91"/>
                      </a:lnTo>
                      <a:lnTo>
                        <a:pt x="286" y="88"/>
                      </a:lnTo>
                      <a:lnTo>
                        <a:pt x="304" y="85"/>
                      </a:lnTo>
                      <a:lnTo>
                        <a:pt x="323" y="84"/>
                      </a:lnTo>
                      <a:lnTo>
                        <a:pt x="341" y="84"/>
                      </a:lnTo>
                      <a:lnTo>
                        <a:pt x="341" y="84"/>
                      </a:lnTo>
                      <a:lnTo>
                        <a:pt x="360" y="84"/>
                      </a:lnTo>
                      <a:lnTo>
                        <a:pt x="378" y="85"/>
                      </a:lnTo>
                      <a:lnTo>
                        <a:pt x="395" y="88"/>
                      </a:lnTo>
                      <a:lnTo>
                        <a:pt x="414" y="91"/>
                      </a:lnTo>
                      <a:lnTo>
                        <a:pt x="432" y="94"/>
                      </a:lnTo>
                      <a:lnTo>
                        <a:pt x="450" y="99"/>
                      </a:lnTo>
                      <a:lnTo>
                        <a:pt x="467" y="105"/>
                      </a:lnTo>
                      <a:lnTo>
                        <a:pt x="484" y="112"/>
                      </a:lnTo>
                      <a:lnTo>
                        <a:pt x="501" y="119"/>
                      </a:lnTo>
                      <a:lnTo>
                        <a:pt x="519" y="128"/>
                      </a:lnTo>
                      <a:lnTo>
                        <a:pt x="535" y="136"/>
                      </a:lnTo>
                      <a:lnTo>
                        <a:pt x="551" y="146"/>
                      </a:lnTo>
                      <a:lnTo>
                        <a:pt x="566" y="158"/>
                      </a:lnTo>
                      <a:lnTo>
                        <a:pt x="581" y="169"/>
                      </a:lnTo>
                      <a:lnTo>
                        <a:pt x="596" y="182"/>
                      </a:lnTo>
                      <a:lnTo>
                        <a:pt x="611" y="196"/>
                      </a:lnTo>
                      <a:lnTo>
                        <a:pt x="611" y="196"/>
                      </a:lnTo>
                      <a:lnTo>
                        <a:pt x="617" y="201"/>
                      </a:lnTo>
                      <a:lnTo>
                        <a:pt x="625" y="205"/>
                      </a:lnTo>
                      <a:lnTo>
                        <a:pt x="632" y="208"/>
                      </a:lnTo>
                      <a:lnTo>
                        <a:pt x="640" y="208"/>
                      </a:lnTo>
                      <a:lnTo>
                        <a:pt x="648" y="208"/>
                      </a:lnTo>
                      <a:lnTo>
                        <a:pt x="656" y="205"/>
                      </a:lnTo>
                      <a:lnTo>
                        <a:pt x="663" y="201"/>
                      </a:lnTo>
                      <a:lnTo>
                        <a:pt x="670" y="196"/>
                      </a:lnTo>
                      <a:lnTo>
                        <a:pt x="670" y="196"/>
                      </a:lnTo>
                      <a:lnTo>
                        <a:pt x="675" y="189"/>
                      </a:lnTo>
                      <a:lnTo>
                        <a:pt x="679" y="182"/>
                      </a:lnTo>
                      <a:lnTo>
                        <a:pt x="682" y="174"/>
                      </a:lnTo>
                      <a:lnTo>
                        <a:pt x="682" y="166"/>
                      </a:lnTo>
                      <a:lnTo>
                        <a:pt x="682" y="158"/>
                      </a:lnTo>
                      <a:lnTo>
                        <a:pt x="679" y="150"/>
                      </a:lnTo>
                      <a:lnTo>
                        <a:pt x="675" y="143"/>
                      </a:lnTo>
                      <a:lnTo>
                        <a:pt x="670" y="137"/>
                      </a:lnTo>
                      <a:lnTo>
                        <a:pt x="670" y="137"/>
                      </a:lnTo>
                      <a:lnTo>
                        <a:pt x="653" y="120"/>
                      </a:lnTo>
                      <a:lnTo>
                        <a:pt x="634" y="105"/>
                      </a:lnTo>
                      <a:lnTo>
                        <a:pt x="616" y="90"/>
                      </a:lnTo>
                      <a:lnTo>
                        <a:pt x="597" y="77"/>
                      </a:lnTo>
                      <a:lnTo>
                        <a:pt x="578" y="64"/>
                      </a:lnTo>
                      <a:lnTo>
                        <a:pt x="557" y="54"/>
                      </a:lnTo>
                      <a:lnTo>
                        <a:pt x="536" y="44"/>
                      </a:lnTo>
                      <a:lnTo>
                        <a:pt x="515" y="34"/>
                      </a:lnTo>
                      <a:lnTo>
                        <a:pt x="495" y="26"/>
                      </a:lnTo>
                      <a:lnTo>
                        <a:pt x="473" y="19"/>
                      </a:lnTo>
                      <a:lnTo>
                        <a:pt x="452" y="14"/>
                      </a:lnTo>
                      <a:lnTo>
                        <a:pt x="430" y="9"/>
                      </a:lnTo>
                      <a:lnTo>
                        <a:pt x="408" y="6"/>
                      </a:lnTo>
                      <a:lnTo>
                        <a:pt x="385" y="2"/>
                      </a:lnTo>
                      <a:lnTo>
                        <a:pt x="363" y="1"/>
                      </a:lnTo>
                      <a:lnTo>
                        <a:pt x="341" y="0"/>
                      </a:lnTo>
                      <a:lnTo>
                        <a:pt x="341"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Arial"/>
                    <a:ea typeface="ＭＳ Ｐゴシック" charset="0"/>
                    <a:cs typeface="+mn-cs"/>
                  </a:endParaRPr>
                </a:p>
              </p:txBody>
            </p:sp>
            <p:sp>
              <p:nvSpPr>
                <p:cNvPr id="641" name="Freeform 179">
                  <a:extLst>
                    <a:ext uri="{FF2B5EF4-FFF2-40B4-BE49-F238E27FC236}">
                      <a16:creationId xmlns:a16="http://schemas.microsoft.com/office/drawing/2014/main" id="{B7F221FF-7181-446E-AEAE-1A046D387375}"/>
                    </a:ext>
                  </a:extLst>
                </p:cNvPr>
                <p:cNvSpPr>
                  <a:spLocks/>
                </p:cNvSpPr>
                <p:nvPr/>
              </p:nvSpPr>
              <p:spPr bwMode="auto">
                <a:xfrm>
                  <a:off x="5121843" y="3876582"/>
                  <a:ext cx="437148" cy="125299"/>
                </a:xfrm>
                <a:custGeom>
                  <a:avLst/>
                  <a:gdLst>
                    <a:gd name="T0" fmla="*/ 495 w 946"/>
                    <a:gd name="T1" fmla="*/ 0 h 270"/>
                    <a:gd name="T2" fmla="*/ 430 w 946"/>
                    <a:gd name="T3" fmla="*/ 3 h 270"/>
                    <a:gd name="T4" fmla="*/ 366 w 946"/>
                    <a:gd name="T5" fmla="*/ 13 h 270"/>
                    <a:gd name="T6" fmla="*/ 303 w 946"/>
                    <a:gd name="T7" fmla="*/ 28 h 270"/>
                    <a:gd name="T8" fmla="*/ 241 w 946"/>
                    <a:gd name="T9" fmla="*/ 50 h 270"/>
                    <a:gd name="T10" fmla="*/ 180 w 946"/>
                    <a:gd name="T11" fmla="*/ 77 h 270"/>
                    <a:gd name="T12" fmla="*/ 121 w 946"/>
                    <a:gd name="T13" fmla="*/ 112 h 270"/>
                    <a:gd name="T14" fmla="*/ 65 w 946"/>
                    <a:gd name="T15" fmla="*/ 152 h 270"/>
                    <a:gd name="T16" fmla="*/ 12 w 946"/>
                    <a:gd name="T17" fmla="*/ 198 h 270"/>
                    <a:gd name="T18" fmla="*/ 6 w 946"/>
                    <a:gd name="T19" fmla="*/ 204 h 270"/>
                    <a:gd name="T20" fmla="*/ 1 w 946"/>
                    <a:gd name="T21" fmla="*/ 219 h 270"/>
                    <a:gd name="T22" fmla="*/ 0 w 946"/>
                    <a:gd name="T23" fmla="*/ 235 h 270"/>
                    <a:gd name="T24" fmla="*/ 5 w 946"/>
                    <a:gd name="T25" fmla="*/ 250 h 270"/>
                    <a:gd name="T26" fmla="*/ 11 w 946"/>
                    <a:gd name="T27" fmla="*/ 257 h 270"/>
                    <a:gd name="T28" fmla="*/ 25 w 946"/>
                    <a:gd name="T29" fmla="*/ 266 h 270"/>
                    <a:gd name="T30" fmla="*/ 41 w 946"/>
                    <a:gd name="T31" fmla="*/ 270 h 270"/>
                    <a:gd name="T32" fmla="*/ 49 w 946"/>
                    <a:gd name="T33" fmla="*/ 269 h 270"/>
                    <a:gd name="T34" fmla="*/ 64 w 946"/>
                    <a:gd name="T35" fmla="*/ 263 h 270"/>
                    <a:gd name="T36" fmla="*/ 70 w 946"/>
                    <a:gd name="T37" fmla="*/ 258 h 270"/>
                    <a:gd name="T38" fmla="*/ 117 w 946"/>
                    <a:gd name="T39" fmla="*/ 217 h 270"/>
                    <a:gd name="T40" fmla="*/ 167 w 946"/>
                    <a:gd name="T41" fmla="*/ 182 h 270"/>
                    <a:gd name="T42" fmla="*/ 218 w 946"/>
                    <a:gd name="T43" fmla="*/ 152 h 270"/>
                    <a:gd name="T44" fmla="*/ 272 w 946"/>
                    <a:gd name="T45" fmla="*/ 127 h 270"/>
                    <a:gd name="T46" fmla="*/ 326 w 946"/>
                    <a:gd name="T47" fmla="*/ 108 h 270"/>
                    <a:gd name="T48" fmla="*/ 381 w 946"/>
                    <a:gd name="T49" fmla="*/ 95 h 270"/>
                    <a:gd name="T50" fmla="*/ 438 w 946"/>
                    <a:gd name="T51" fmla="*/ 86 h 270"/>
                    <a:gd name="T52" fmla="*/ 495 w 946"/>
                    <a:gd name="T53" fmla="*/ 83 h 270"/>
                    <a:gd name="T54" fmla="*/ 521 w 946"/>
                    <a:gd name="T55" fmla="*/ 84 h 270"/>
                    <a:gd name="T56" fmla="*/ 573 w 946"/>
                    <a:gd name="T57" fmla="*/ 89 h 270"/>
                    <a:gd name="T58" fmla="*/ 625 w 946"/>
                    <a:gd name="T59" fmla="*/ 99 h 270"/>
                    <a:gd name="T60" fmla="*/ 675 w 946"/>
                    <a:gd name="T61" fmla="*/ 114 h 270"/>
                    <a:gd name="T62" fmla="*/ 723 w 946"/>
                    <a:gd name="T63" fmla="*/ 134 h 270"/>
                    <a:gd name="T64" fmla="*/ 769 w 946"/>
                    <a:gd name="T65" fmla="*/ 158 h 270"/>
                    <a:gd name="T66" fmla="*/ 813 w 946"/>
                    <a:gd name="T67" fmla="*/ 188 h 270"/>
                    <a:gd name="T68" fmla="*/ 855 w 946"/>
                    <a:gd name="T69" fmla="*/ 223 h 270"/>
                    <a:gd name="T70" fmla="*/ 874 w 946"/>
                    <a:gd name="T71" fmla="*/ 241 h 270"/>
                    <a:gd name="T72" fmla="*/ 888 w 946"/>
                    <a:gd name="T73" fmla="*/ 250 h 270"/>
                    <a:gd name="T74" fmla="*/ 903 w 946"/>
                    <a:gd name="T75" fmla="*/ 254 h 270"/>
                    <a:gd name="T76" fmla="*/ 919 w 946"/>
                    <a:gd name="T77" fmla="*/ 251 h 270"/>
                    <a:gd name="T78" fmla="*/ 933 w 946"/>
                    <a:gd name="T79" fmla="*/ 242 h 270"/>
                    <a:gd name="T80" fmla="*/ 939 w 946"/>
                    <a:gd name="T81" fmla="*/ 236 h 270"/>
                    <a:gd name="T82" fmla="*/ 945 w 946"/>
                    <a:gd name="T83" fmla="*/ 221 h 270"/>
                    <a:gd name="T84" fmla="*/ 946 w 946"/>
                    <a:gd name="T85" fmla="*/ 205 h 270"/>
                    <a:gd name="T86" fmla="*/ 939 w 946"/>
                    <a:gd name="T87" fmla="*/ 190 h 270"/>
                    <a:gd name="T88" fmla="*/ 934 w 946"/>
                    <a:gd name="T89" fmla="*/ 183 h 270"/>
                    <a:gd name="T90" fmla="*/ 888 w 946"/>
                    <a:gd name="T91" fmla="*/ 141 h 270"/>
                    <a:gd name="T92" fmla="*/ 838 w 946"/>
                    <a:gd name="T93" fmla="*/ 103 h 270"/>
                    <a:gd name="T94" fmla="*/ 787 w 946"/>
                    <a:gd name="T95" fmla="*/ 71 h 270"/>
                    <a:gd name="T96" fmla="*/ 731 w 946"/>
                    <a:gd name="T97" fmla="*/ 46 h 270"/>
                    <a:gd name="T98" fmla="*/ 673 w 946"/>
                    <a:gd name="T99" fmla="*/ 25 h 270"/>
                    <a:gd name="T100" fmla="*/ 615 w 946"/>
                    <a:gd name="T101" fmla="*/ 11 h 270"/>
                    <a:gd name="T102" fmla="*/ 555 w 946"/>
                    <a:gd name="T103" fmla="*/ 3 h 270"/>
                    <a:gd name="T104" fmla="*/ 495 w 946"/>
                    <a:gd name="T10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6" h="270">
                      <a:moveTo>
                        <a:pt x="495" y="0"/>
                      </a:moveTo>
                      <a:lnTo>
                        <a:pt x="495" y="0"/>
                      </a:lnTo>
                      <a:lnTo>
                        <a:pt x="462" y="1"/>
                      </a:lnTo>
                      <a:lnTo>
                        <a:pt x="430" y="3"/>
                      </a:lnTo>
                      <a:lnTo>
                        <a:pt x="398" y="7"/>
                      </a:lnTo>
                      <a:lnTo>
                        <a:pt x="366" y="13"/>
                      </a:lnTo>
                      <a:lnTo>
                        <a:pt x="334" y="20"/>
                      </a:lnTo>
                      <a:lnTo>
                        <a:pt x="303" y="28"/>
                      </a:lnTo>
                      <a:lnTo>
                        <a:pt x="272" y="38"/>
                      </a:lnTo>
                      <a:lnTo>
                        <a:pt x="241" y="50"/>
                      </a:lnTo>
                      <a:lnTo>
                        <a:pt x="210" y="63"/>
                      </a:lnTo>
                      <a:lnTo>
                        <a:pt x="180" y="77"/>
                      </a:lnTo>
                      <a:lnTo>
                        <a:pt x="151" y="95"/>
                      </a:lnTo>
                      <a:lnTo>
                        <a:pt x="121" y="112"/>
                      </a:lnTo>
                      <a:lnTo>
                        <a:pt x="93" y="131"/>
                      </a:lnTo>
                      <a:lnTo>
                        <a:pt x="65" y="152"/>
                      </a:lnTo>
                      <a:lnTo>
                        <a:pt x="39" y="174"/>
                      </a:lnTo>
                      <a:lnTo>
                        <a:pt x="12" y="198"/>
                      </a:lnTo>
                      <a:lnTo>
                        <a:pt x="12" y="198"/>
                      </a:lnTo>
                      <a:lnTo>
                        <a:pt x="6" y="204"/>
                      </a:lnTo>
                      <a:lnTo>
                        <a:pt x="3" y="212"/>
                      </a:lnTo>
                      <a:lnTo>
                        <a:pt x="1" y="219"/>
                      </a:lnTo>
                      <a:lnTo>
                        <a:pt x="0" y="227"/>
                      </a:lnTo>
                      <a:lnTo>
                        <a:pt x="0" y="235"/>
                      </a:lnTo>
                      <a:lnTo>
                        <a:pt x="2" y="243"/>
                      </a:lnTo>
                      <a:lnTo>
                        <a:pt x="5" y="250"/>
                      </a:lnTo>
                      <a:lnTo>
                        <a:pt x="11" y="257"/>
                      </a:lnTo>
                      <a:lnTo>
                        <a:pt x="11" y="257"/>
                      </a:lnTo>
                      <a:lnTo>
                        <a:pt x="18" y="263"/>
                      </a:lnTo>
                      <a:lnTo>
                        <a:pt x="25" y="266"/>
                      </a:lnTo>
                      <a:lnTo>
                        <a:pt x="33" y="269"/>
                      </a:lnTo>
                      <a:lnTo>
                        <a:pt x="41" y="270"/>
                      </a:lnTo>
                      <a:lnTo>
                        <a:pt x="41" y="270"/>
                      </a:lnTo>
                      <a:lnTo>
                        <a:pt x="49" y="269"/>
                      </a:lnTo>
                      <a:lnTo>
                        <a:pt x="56" y="266"/>
                      </a:lnTo>
                      <a:lnTo>
                        <a:pt x="64" y="263"/>
                      </a:lnTo>
                      <a:lnTo>
                        <a:pt x="70" y="258"/>
                      </a:lnTo>
                      <a:lnTo>
                        <a:pt x="70" y="258"/>
                      </a:lnTo>
                      <a:lnTo>
                        <a:pt x="93" y="238"/>
                      </a:lnTo>
                      <a:lnTo>
                        <a:pt x="117" y="217"/>
                      </a:lnTo>
                      <a:lnTo>
                        <a:pt x="141" y="198"/>
                      </a:lnTo>
                      <a:lnTo>
                        <a:pt x="167" y="182"/>
                      </a:lnTo>
                      <a:lnTo>
                        <a:pt x="192" y="166"/>
                      </a:lnTo>
                      <a:lnTo>
                        <a:pt x="218" y="152"/>
                      </a:lnTo>
                      <a:lnTo>
                        <a:pt x="244" y="138"/>
                      </a:lnTo>
                      <a:lnTo>
                        <a:pt x="272" y="127"/>
                      </a:lnTo>
                      <a:lnTo>
                        <a:pt x="298" y="116"/>
                      </a:lnTo>
                      <a:lnTo>
                        <a:pt x="326" y="108"/>
                      </a:lnTo>
                      <a:lnTo>
                        <a:pt x="354" y="100"/>
                      </a:lnTo>
                      <a:lnTo>
                        <a:pt x="381" y="95"/>
                      </a:lnTo>
                      <a:lnTo>
                        <a:pt x="410" y="90"/>
                      </a:lnTo>
                      <a:lnTo>
                        <a:pt x="438" y="86"/>
                      </a:lnTo>
                      <a:lnTo>
                        <a:pt x="466" y="84"/>
                      </a:lnTo>
                      <a:lnTo>
                        <a:pt x="495" y="83"/>
                      </a:lnTo>
                      <a:lnTo>
                        <a:pt x="495" y="83"/>
                      </a:lnTo>
                      <a:lnTo>
                        <a:pt x="521" y="84"/>
                      </a:lnTo>
                      <a:lnTo>
                        <a:pt x="546" y="86"/>
                      </a:lnTo>
                      <a:lnTo>
                        <a:pt x="573" y="89"/>
                      </a:lnTo>
                      <a:lnTo>
                        <a:pt x="600" y="93"/>
                      </a:lnTo>
                      <a:lnTo>
                        <a:pt x="625" y="99"/>
                      </a:lnTo>
                      <a:lnTo>
                        <a:pt x="650" y="106"/>
                      </a:lnTo>
                      <a:lnTo>
                        <a:pt x="675" y="114"/>
                      </a:lnTo>
                      <a:lnTo>
                        <a:pt x="699" y="123"/>
                      </a:lnTo>
                      <a:lnTo>
                        <a:pt x="723" y="134"/>
                      </a:lnTo>
                      <a:lnTo>
                        <a:pt x="746" y="145"/>
                      </a:lnTo>
                      <a:lnTo>
                        <a:pt x="769" y="158"/>
                      </a:lnTo>
                      <a:lnTo>
                        <a:pt x="792" y="172"/>
                      </a:lnTo>
                      <a:lnTo>
                        <a:pt x="813" y="188"/>
                      </a:lnTo>
                      <a:lnTo>
                        <a:pt x="835" y="204"/>
                      </a:lnTo>
                      <a:lnTo>
                        <a:pt x="855" y="223"/>
                      </a:lnTo>
                      <a:lnTo>
                        <a:pt x="874" y="241"/>
                      </a:lnTo>
                      <a:lnTo>
                        <a:pt x="874" y="241"/>
                      </a:lnTo>
                      <a:lnTo>
                        <a:pt x="880" y="247"/>
                      </a:lnTo>
                      <a:lnTo>
                        <a:pt x="888" y="250"/>
                      </a:lnTo>
                      <a:lnTo>
                        <a:pt x="895" y="254"/>
                      </a:lnTo>
                      <a:lnTo>
                        <a:pt x="903" y="254"/>
                      </a:lnTo>
                      <a:lnTo>
                        <a:pt x="911" y="254"/>
                      </a:lnTo>
                      <a:lnTo>
                        <a:pt x="919" y="251"/>
                      </a:lnTo>
                      <a:lnTo>
                        <a:pt x="926" y="248"/>
                      </a:lnTo>
                      <a:lnTo>
                        <a:pt x="933" y="242"/>
                      </a:lnTo>
                      <a:lnTo>
                        <a:pt x="933" y="242"/>
                      </a:lnTo>
                      <a:lnTo>
                        <a:pt x="939" y="236"/>
                      </a:lnTo>
                      <a:lnTo>
                        <a:pt x="942" y="230"/>
                      </a:lnTo>
                      <a:lnTo>
                        <a:pt x="945" y="221"/>
                      </a:lnTo>
                      <a:lnTo>
                        <a:pt x="946" y="213"/>
                      </a:lnTo>
                      <a:lnTo>
                        <a:pt x="946" y="205"/>
                      </a:lnTo>
                      <a:lnTo>
                        <a:pt x="943" y="197"/>
                      </a:lnTo>
                      <a:lnTo>
                        <a:pt x="939" y="190"/>
                      </a:lnTo>
                      <a:lnTo>
                        <a:pt x="934" y="183"/>
                      </a:lnTo>
                      <a:lnTo>
                        <a:pt x="934" y="183"/>
                      </a:lnTo>
                      <a:lnTo>
                        <a:pt x="911" y="161"/>
                      </a:lnTo>
                      <a:lnTo>
                        <a:pt x="888" y="141"/>
                      </a:lnTo>
                      <a:lnTo>
                        <a:pt x="864" y="121"/>
                      </a:lnTo>
                      <a:lnTo>
                        <a:pt x="838" y="103"/>
                      </a:lnTo>
                      <a:lnTo>
                        <a:pt x="813" y="86"/>
                      </a:lnTo>
                      <a:lnTo>
                        <a:pt x="787" y="71"/>
                      </a:lnTo>
                      <a:lnTo>
                        <a:pt x="759" y="58"/>
                      </a:lnTo>
                      <a:lnTo>
                        <a:pt x="731" y="46"/>
                      </a:lnTo>
                      <a:lnTo>
                        <a:pt x="702" y="35"/>
                      </a:lnTo>
                      <a:lnTo>
                        <a:pt x="673" y="25"/>
                      </a:lnTo>
                      <a:lnTo>
                        <a:pt x="645" y="18"/>
                      </a:lnTo>
                      <a:lnTo>
                        <a:pt x="615" y="11"/>
                      </a:lnTo>
                      <a:lnTo>
                        <a:pt x="585" y="7"/>
                      </a:lnTo>
                      <a:lnTo>
                        <a:pt x="555" y="3"/>
                      </a:lnTo>
                      <a:lnTo>
                        <a:pt x="525" y="1"/>
                      </a:lnTo>
                      <a:lnTo>
                        <a:pt x="495" y="0"/>
                      </a:lnTo>
                      <a:lnTo>
                        <a:pt x="495"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Arial"/>
                    <a:ea typeface="ＭＳ Ｐゴシック" charset="0"/>
                    <a:cs typeface="+mn-cs"/>
                  </a:endParaRPr>
                </a:p>
              </p:txBody>
            </p:sp>
          </p:grpSp>
        </p:grpSp>
        <p:grpSp>
          <p:nvGrpSpPr>
            <p:cNvPr id="642" name="Group 641">
              <a:extLst>
                <a:ext uri="{FF2B5EF4-FFF2-40B4-BE49-F238E27FC236}">
                  <a16:creationId xmlns:a16="http://schemas.microsoft.com/office/drawing/2014/main" id="{A859374F-9D88-49AB-B8BB-FBA4871ED304}"/>
                </a:ext>
              </a:extLst>
            </p:cNvPr>
            <p:cNvGrpSpPr/>
            <p:nvPr/>
          </p:nvGrpSpPr>
          <p:grpSpPr>
            <a:xfrm>
              <a:off x="4285671" y="2706470"/>
              <a:ext cx="214666" cy="214912"/>
              <a:chOff x="4814888" y="2215702"/>
              <a:chExt cx="548006" cy="548640"/>
            </a:xfrm>
          </p:grpSpPr>
          <p:sp>
            <p:nvSpPr>
              <p:cNvPr id="643" name="Freeform 5">
                <a:extLst>
                  <a:ext uri="{FF2B5EF4-FFF2-40B4-BE49-F238E27FC236}">
                    <a16:creationId xmlns:a16="http://schemas.microsoft.com/office/drawing/2014/main" id="{AD632F87-64DA-4048-BEB0-99274239D954}"/>
                  </a:ext>
                </a:extLst>
              </p:cNvPr>
              <p:cNvSpPr>
                <a:spLocks/>
              </p:cNvSpPr>
              <p:nvPr/>
            </p:nvSpPr>
            <p:spPr bwMode="auto">
              <a:xfrm>
                <a:off x="4814888" y="2215702"/>
                <a:ext cx="548006" cy="54864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rgbClr val="E9E9E9"/>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44" name="Freeform 6">
                <a:extLst>
                  <a:ext uri="{FF2B5EF4-FFF2-40B4-BE49-F238E27FC236}">
                    <a16:creationId xmlns:a16="http://schemas.microsoft.com/office/drawing/2014/main" id="{FA7FDA81-BB73-435C-BB1F-FA60917BE192}"/>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45" name="Freeform 7">
                <a:extLst>
                  <a:ext uri="{FF2B5EF4-FFF2-40B4-BE49-F238E27FC236}">
                    <a16:creationId xmlns:a16="http://schemas.microsoft.com/office/drawing/2014/main" id="{00FEEB97-5A81-4D5C-9794-0AF22FD72190}"/>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46" name="Freeform 8">
                <a:extLst>
                  <a:ext uri="{FF2B5EF4-FFF2-40B4-BE49-F238E27FC236}">
                    <a16:creationId xmlns:a16="http://schemas.microsoft.com/office/drawing/2014/main" id="{93F0A190-CA0F-430D-8FF4-48E9CC39EE56}"/>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70"/>
                      <a:pt x="69" y="0"/>
                      <a:pt x="154" y="0"/>
                    </a:cubicBezTo>
                    <a:lnTo>
                      <a:pt x="1195" y="0"/>
                    </a:lnTo>
                    <a:cubicBezTo>
                      <a:pt x="1281" y="0"/>
                      <a:pt x="1350" y="70"/>
                      <a:pt x="1350" y="156"/>
                    </a:cubicBezTo>
                    <a:lnTo>
                      <a:pt x="1350" y="572"/>
                    </a:lnTo>
                    <a:cubicBezTo>
                      <a:pt x="1350" y="658"/>
                      <a:pt x="1281" y="728"/>
                      <a:pt x="1195" y="728"/>
                    </a:cubicBezTo>
                    <a:lnTo>
                      <a:pt x="154" y="728"/>
                    </a:lnTo>
                    <a:cubicBezTo>
                      <a:pt x="69" y="728"/>
                      <a:pt x="0" y="658"/>
                      <a:pt x="0" y="572"/>
                    </a:cubicBezTo>
                    <a:lnTo>
                      <a:pt x="0" y="156"/>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47" name="Freeform 9">
                <a:extLst>
                  <a:ext uri="{FF2B5EF4-FFF2-40B4-BE49-F238E27FC236}">
                    <a16:creationId xmlns:a16="http://schemas.microsoft.com/office/drawing/2014/main" id="{D9C446D4-6E1C-44EE-B16D-9A72613DACA1}"/>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69"/>
                      <a:pt x="69" y="0"/>
                      <a:pt x="154" y="0"/>
                    </a:cubicBezTo>
                    <a:lnTo>
                      <a:pt x="1195" y="0"/>
                    </a:lnTo>
                    <a:cubicBezTo>
                      <a:pt x="1281" y="0"/>
                      <a:pt x="1350" y="69"/>
                      <a:pt x="1350" y="156"/>
                    </a:cubicBezTo>
                    <a:lnTo>
                      <a:pt x="1350" y="572"/>
                    </a:lnTo>
                    <a:cubicBezTo>
                      <a:pt x="1350" y="658"/>
                      <a:pt x="1281" y="728"/>
                      <a:pt x="1195" y="728"/>
                    </a:cubicBezTo>
                    <a:lnTo>
                      <a:pt x="154" y="728"/>
                    </a:lnTo>
                    <a:cubicBezTo>
                      <a:pt x="69" y="728"/>
                      <a:pt x="0" y="658"/>
                      <a:pt x="0" y="572"/>
                    </a:cubicBezTo>
                    <a:lnTo>
                      <a:pt x="0" y="156"/>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48" name="Freeform 13">
                <a:extLst>
                  <a:ext uri="{FF2B5EF4-FFF2-40B4-BE49-F238E27FC236}">
                    <a16:creationId xmlns:a16="http://schemas.microsoft.com/office/drawing/2014/main" id="{F06C8B51-0E68-4668-A37B-934626EEE7D7}"/>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49" name="Freeform 14">
                <a:extLst>
                  <a:ext uri="{FF2B5EF4-FFF2-40B4-BE49-F238E27FC236}">
                    <a16:creationId xmlns:a16="http://schemas.microsoft.com/office/drawing/2014/main" id="{8F6AFC31-B82C-4DF2-924C-1D7ABDCFA34D}"/>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50" name="Freeform 15">
                <a:extLst>
                  <a:ext uri="{FF2B5EF4-FFF2-40B4-BE49-F238E27FC236}">
                    <a16:creationId xmlns:a16="http://schemas.microsoft.com/office/drawing/2014/main" id="{D0496666-B557-4BC5-9091-E2C91318B0E9}"/>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51" name="Freeform 16">
                <a:extLst>
                  <a:ext uri="{FF2B5EF4-FFF2-40B4-BE49-F238E27FC236}">
                    <a16:creationId xmlns:a16="http://schemas.microsoft.com/office/drawing/2014/main" id="{4F4086FC-8E17-4394-AFAD-437894F61E80}"/>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52" name="Freeform 17">
                <a:extLst>
                  <a:ext uri="{FF2B5EF4-FFF2-40B4-BE49-F238E27FC236}">
                    <a16:creationId xmlns:a16="http://schemas.microsoft.com/office/drawing/2014/main" id="{91F15C83-E7A2-40CB-9FF6-866EB6F6ED76}"/>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53" name="Freeform 18">
                <a:extLst>
                  <a:ext uri="{FF2B5EF4-FFF2-40B4-BE49-F238E27FC236}">
                    <a16:creationId xmlns:a16="http://schemas.microsoft.com/office/drawing/2014/main" id="{866B349C-EDF1-4900-8AD8-02E8B634D290}"/>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54" name="Freeform 10">
                <a:extLst>
                  <a:ext uri="{FF2B5EF4-FFF2-40B4-BE49-F238E27FC236}">
                    <a16:creationId xmlns:a16="http://schemas.microsoft.com/office/drawing/2014/main" id="{3DDD3B0C-A39A-48F9-8C09-754271707F5B}"/>
                  </a:ext>
                </a:extLst>
              </p:cNvPr>
              <p:cNvSpPr>
                <a:spLocks/>
              </p:cNvSpPr>
              <p:nvPr/>
            </p:nvSpPr>
            <p:spPr bwMode="auto">
              <a:xfrm>
                <a:off x="5019974" y="2372635"/>
                <a:ext cx="304390" cy="205185"/>
              </a:xfrm>
              <a:custGeom>
                <a:avLst/>
                <a:gdLst>
                  <a:gd name="T0" fmla="*/ 0 w 1048"/>
                  <a:gd name="T1" fmla="*/ 82 h 705"/>
                  <a:gd name="T2" fmla="*/ 0 w 1048"/>
                  <a:gd name="T3" fmla="*/ 82 h 705"/>
                  <a:gd name="T4" fmla="*/ 81 w 1048"/>
                  <a:gd name="T5" fmla="*/ 0 h 705"/>
                  <a:gd name="T6" fmla="*/ 967 w 1048"/>
                  <a:gd name="T7" fmla="*/ 0 h 705"/>
                  <a:gd name="T8" fmla="*/ 1048 w 1048"/>
                  <a:gd name="T9" fmla="*/ 82 h 705"/>
                  <a:gd name="T10" fmla="*/ 1048 w 1048"/>
                  <a:gd name="T11" fmla="*/ 624 h 705"/>
                  <a:gd name="T12" fmla="*/ 967 w 1048"/>
                  <a:gd name="T13" fmla="*/ 705 h 705"/>
                  <a:gd name="T14" fmla="*/ 81 w 1048"/>
                  <a:gd name="T15" fmla="*/ 705 h 705"/>
                  <a:gd name="T16" fmla="*/ 0 w 1048"/>
                  <a:gd name="T17" fmla="*/ 624 h 705"/>
                  <a:gd name="T18" fmla="*/ 0 w 1048"/>
                  <a:gd name="T19"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705">
                    <a:moveTo>
                      <a:pt x="0" y="82"/>
                    </a:moveTo>
                    <a:lnTo>
                      <a:pt x="0" y="82"/>
                    </a:lnTo>
                    <a:cubicBezTo>
                      <a:pt x="0" y="37"/>
                      <a:pt x="36" y="0"/>
                      <a:pt x="81" y="0"/>
                    </a:cubicBezTo>
                    <a:lnTo>
                      <a:pt x="967" y="0"/>
                    </a:lnTo>
                    <a:cubicBezTo>
                      <a:pt x="1011" y="0"/>
                      <a:pt x="1048" y="37"/>
                      <a:pt x="1048" y="82"/>
                    </a:cubicBezTo>
                    <a:lnTo>
                      <a:pt x="1048" y="624"/>
                    </a:lnTo>
                    <a:cubicBezTo>
                      <a:pt x="1048" y="668"/>
                      <a:pt x="1011" y="705"/>
                      <a:pt x="967" y="705"/>
                    </a:cubicBezTo>
                    <a:lnTo>
                      <a:pt x="81" y="705"/>
                    </a:lnTo>
                    <a:cubicBezTo>
                      <a:pt x="36" y="705"/>
                      <a:pt x="0" y="668"/>
                      <a:pt x="0" y="624"/>
                    </a:cubicBezTo>
                    <a:lnTo>
                      <a:pt x="0" y="82"/>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55" name="Rectangle: Rounded Corners 654">
                <a:extLst>
                  <a:ext uri="{FF2B5EF4-FFF2-40B4-BE49-F238E27FC236}">
                    <a16:creationId xmlns:a16="http://schemas.microsoft.com/office/drawing/2014/main" id="{5D4701AD-D2FF-4F1C-A9EA-45C76B05BBB6}"/>
                  </a:ext>
                </a:extLst>
              </p:cNvPr>
              <p:cNvSpPr/>
              <p:nvPr/>
            </p:nvSpPr>
            <p:spPr>
              <a:xfrm>
                <a:off x="5098452" y="2601637"/>
                <a:ext cx="147435" cy="19155"/>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656" name="Rectangle: Rounded Corners 655">
                <a:extLst>
                  <a:ext uri="{FF2B5EF4-FFF2-40B4-BE49-F238E27FC236}">
                    <a16:creationId xmlns:a16="http://schemas.microsoft.com/office/drawing/2014/main" id="{B5EECA5C-502F-4252-9A3C-DAA5932C6BCA}"/>
                  </a:ext>
                </a:extLst>
              </p:cNvPr>
              <p:cNvSpPr/>
              <p:nvPr/>
            </p:nvSpPr>
            <p:spPr>
              <a:xfrm>
                <a:off x="5146148" y="2581388"/>
                <a:ext cx="52042" cy="1668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657" name="Rectangle: Rounded Corners 656">
                <a:extLst>
                  <a:ext uri="{FF2B5EF4-FFF2-40B4-BE49-F238E27FC236}">
                    <a16:creationId xmlns:a16="http://schemas.microsoft.com/office/drawing/2014/main" id="{306C6CC9-76B3-4857-993A-3B46833CB7F8}"/>
                  </a:ext>
                </a:extLst>
              </p:cNvPr>
              <p:cNvSpPr/>
              <p:nvPr/>
            </p:nvSpPr>
            <p:spPr>
              <a:xfrm>
                <a:off x="4881676" y="2620538"/>
                <a:ext cx="414429" cy="19155"/>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grpSp>
          <p:nvGrpSpPr>
            <p:cNvPr id="658" name="Group 657">
              <a:extLst>
                <a:ext uri="{FF2B5EF4-FFF2-40B4-BE49-F238E27FC236}">
                  <a16:creationId xmlns:a16="http://schemas.microsoft.com/office/drawing/2014/main" id="{A835F6CE-7B4B-4A26-BA62-F80B73CD7DE9}"/>
                </a:ext>
              </a:extLst>
            </p:cNvPr>
            <p:cNvGrpSpPr/>
            <p:nvPr/>
          </p:nvGrpSpPr>
          <p:grpSpPr>
            <a:xfrm>
              <a:off x="4585005" y="3255673"/>
              <a:ext cx="171973" cy="171973"/>
              <a:chOff x="1817606" y="2379531"/>
              <a:chExt cx="594360" cy="594360"/>
            </a:xfrm>
            <a:effectLst/>
          </p:grpSpPr>
          <p:sp>
            <p:nvSpPr>
              <p:cNvPr id="659" name="Freeform 5">
                <a:extLst>
                  <a:ext uri="{FF2B5EF4-FFF2-40B4-BE49-F238E27FC236}">
                    <a16:creationId xmlns:a16="http://schemas.microsoft.com/office/drawing/2014/main" id="{DE8A2F16-0A31-4375-9F9E-ECF8227207A0}"/>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660" name="Group 157">
                <a:extLst>
                  <a:ext uri="{FF2B5EF4-FFF2-40B4-BE49-F238E27FC236}">
                    <a16:creationId xmlns:a16="http://schemas.microsoft.com/office/drawing/2014/main" id="{028703B7-2C08-4A37-AFF8-A246A259F5CA}"/>
                  </a:ext>
                </a:extLst>
              </p:cNvPr>
              <p:cNvGrpSpPr>
                <a:grpSpLocks noChangeAspect="1"/>
              </p:cNvGrpSpPr>
              <p:nvPr/>
            </p:nvGrpSpPr>
            <p:grpSpPr>
              <a:xfrm>
                <a:off x="1927993" y="2538227"/>
                <a:ext cx="373558" cy="276973"/>
                <a:chOff x="13636625" y="1373188"/>
                <a:chExt cx="1330325" cy="825500"/>
              </a:xfrm>
              <a:solidFill>
                <a:schemeClr val="bg2"/>
              </a:solidFill>
            </p:grpSpPr>
            <p:sp>
              <p:nvSpPr>
                <p:cNvPr id="661" name="Rectangle 17">
                  <a:extLst>
                    <a:ext uri="{FF2B5EF4-FFF2-40B4-BE49-F238E27FC236}">
                      <a16:creationId xmlns:a16="http://schemas.microsoft.com/office/drawing/2014/main" id="{863A04AA-55B0-4864-A34A-845EEE34482B}"/>
                    </a:ext>
                  </a:extLst>
                </p:cNvPr>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62" name="Rectangle 18">
                  <a:extLst>
                    <a:ext uri="{FF2B5EF4-FFF2-40B4-BE49-F238E27FC236}">
                      <a16:creationId xmlns:a16="http://schemas.microsoft.com/office/drawing/2014/main" id="{50FFE2F5-3DFB-44F9-B671-B6BE94F2E5C3}"/>
                    </a:ext>
                  </a:extLst>
                </p:cNvPr>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63" name="Rectangle 19">
                  <a:extLst>
                    <a:ext uri="{FF2B5EF4-FFF2-40B4-BE49-F238E27FC236}">
                      <a16:creationId xmlns:a16="http://schemas.microsoft.com/office/drawing/2014/main" id="{346C157F-61C4-4B25-9905-122B65C0B139}"/>
                    </a:ext>
                  </a:extLst>
                </p:cNvPr>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64" name="Rectangle 20">
                  <a:extLst>
                    <a:ext uri="{FF2B5EF4-FFF2-40B4-BE49-F238E27FC236}">
                      <a16:creationId xmlns:a16="http://schemas.microsoft.com/office/drawing/2014/main" id="{638C14C7-4886-4541-8E35-651174B4F07B}"/>
                    </a:ext>
                  </a:extLst>
                </p:cNvPr>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65" name="Rectangle 21">
                  <a:extLst>
                    <a:ext uri="{FF2B5EF4-FFF2-40B4-BE49-F238E27FC236}">
                      <a16:creationId xmlns:a16="http://schemas.microsoft.com/office/drawing/2014/main" id="{D3F536EA-0A8D-4A42-BA87-49C4FD5B4053}"/>
                    </a:ext>
                  </a:extLst>
                </p:cNvPr>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66" name="Rectangle 22">
                  <a:extLst>
                    <a:ext uri="{FF2B5EF4-FFF2-40B4-BE49-F238E27FC236}">
                      <a16:creationId xmlns:a16="http://schemas.microsoft.com/office/drawing/2014/main" id="{A0E75D45-D858-4712-8CF4-4952110EB32E}"/>
                    </a:ext>
                  </a:extLst>
                </p:cNvPr>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67" name="Rectangle 23">
                  <a:extLst>
                    <a:ext uri="{FF2B5EF4-FFF2-40B4-BE49-F238E27FC236}">
                      <a16:creationId xmlns:a16="http://schemas.microsoft.com/office/drawing/2014/main" id="{66C1BF81-1572-4487-9CE6-49289A0F879B}"/>
                    </a:ext>
                  </a:extLst>
                </p:cNvPr>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68" name="Rectangle 24">
                  <a:extLst>
                    <a:ext uri="{FF2B5EF4-FFF2-40B4-BE49-F238E27FC236}">
                      <a16:creationId xmlns:a16="http://schemas.microsoft.com/office/drawing/2014/main" id="{A86FA10E-C19F-4016-A848-4AF2E0290457}"/>
                    </a:ext>
                  </a:extLst>
                </p:cNvPr>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69" name="Rectangle 25">
                  <a:extLst>
                    <a:ext uri="{FF2B5EF4-FFF2-40B4-BE49-F238E27FC236}">
                      <a16:creationId xmlns:a16="http://schemas.microsoft.com/office/drawing/2014/main" id="{C291E267-4908-449D-A392-E6317C248B64}"/>
                    </a:ext>
                  </a:extLst>
                </p:cNvPr>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70" name="Rectangle 26">
                  <a:extLst>
                    <a:ext uri="{FF2B5EF4-FFF2-40B4-BE49-F238E27FC236}">
                      <a16:creationId xmlns:a16="http://schemas.microsoft.com/office/drawing/2014/main" id="{B59B0601-87E2-4A18-9DE8-E9121D0F7F4E}"/>
                    </a:ext>
                  </a:extLst>
                </p:cNvPr>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71" name="Rectangle 27">
                  <a:extLst>
                    <a:ext uri="{FF2B5EF4-FFF2-40B4-BE49-F238E27FC236}">
                      <a16:creationId xmlns:a16="http://schemas.microsoft.com/office/drawing/2014/main" id="{13F5CC35-6D6E-40F5-A77E-D34664A652A5}"/>
                    </a:ext>
                  </a:extLst>
                </p:cNvPr>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72" name="Rectangle 28">
                  <a:extLst>
                    <a:ext uri="{FF2B5EF4-FFF2-40B4-BE49-F238E27FC236}">
                      <a16:creationId xmlns:a16="http://schemas.microsoft.com/office/drawing/2014/main" id="{9501CC4D-5C8F-4318-A1A9-07D835F170CE}"/>
                    </a:ext>
                  </a:extLst>
                </p:cNvPr>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73" name="Rectangle 29">
                  <a:extLst>
                    <a:ext uri="{FF2B5EF4-FFF2-40B4-BE49-F238E27FC236}">
                      <a16:creationId xmlns:a16="http://schemas.microsoft.com/office/drawing/2014/main" id="{7A89F41D-2E8E-4D1F-9AD0-CB36F253D254}"/>
                    </a:ext>
                  </a:extLst>
                </p:cNvPr>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74" name="Rectangle 30">
                  <a:extLst>
                    <a:ext uri="{FF2B5EF4-FFF2-40B4-BE49-F238E27FC236}">
                      <a16:creationId xmlns:a16="http://schemas.microsoft.com/office/drawing/2014/main" id="{6135EB10-E857-4817-BCAF-5551388D248C}"/>
                    </a:ext>
                  </a:extLst>
                </p:cNvPr>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75" name="Rectangle 31">
                  <a:extLst>
                    <a:ext uri="{FF2B5EF4-FFF2-40B4-BE49-F238E27FC236}">
                      <a16:creationId xmlns:a16="http://schemas.microsoft.com/office/drawing/2014/main" id="{715522D3-5456-4459-A84E-A48CDC789067}"/>
                    </a:ext>
                  </a:extLst>
                </p:cNvPr>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76" name="Rectangle 32">
                  <a:extLst>
                    <a:ext uri="{FF2B5EF4-FFF2-40B4-BE49-F238E27FC236}">
                      <a16:creationId xmlns:a16="http://schemas.microsoft.com/office/drawing/2014/main" id="{F4BF0464-8222-42EB-A9C9-8E5C425B9F72}"/>
                    </a:ext>
                  </a:extLst>
                </p:cNvPr>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77" name="Rectangle 33">
                  <a:extLst>
                    <a:ext uri="{FF2B5EF4-FFF2-40B4-BE49-F238E27FC236}">
                      <a16:creationId xmlns:a16="http://schemas.microsoft.com/office/drawing/2014/main" id="{C41D6267-6D2E-4D38-A7CE-6887724F17CB}"/>
                    </a:ext>
                  </a:extLst>
                </p:cNvPr>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78" name="Rectangle 34">
                  <a:extLst>
                    <a:ext uri="{FF2B5EF4-FFF2-40B4-BE49-F238E27FC236}">
                      <a16:creationId xmlns:a16="http://schemas.microsoft.com/office/drawing/2014/main" id="{1817F99A-87EF-4401-860E-E30E9C38309F}"/>
                    </a:ext>
                  </a:extLst>
                </p:cNvPr>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79" name="Rectangle 35">
                  <a:extLst>
                    <a:ext uri="{FF2B5EF4-FFF2-40B4-BE49-F238E27FC236}">
                      <a16:creationId xmlns:a16="http://schemas.microsoft.com/office/drawing/2014/main" id="{35F8753D-D0F6-45E0-8A7E-4B00E9D586A8}"/>
                    </a:ext>
                  </a:extLst>
                </p:cNvPr>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80" name="Rectangle 36">
                  <a:extLst>
                    <a:ext uri="{FF2B5EF4-FFF2-40B4-BE49-F238E27FC236}">
                      <a16:creationId xmlns:a16="http://schemas.microsoft.com/office/drawing/2014/main" id="{B9559E09-E023-4C30-84E4-BA1D09C1DC48}"/>
                    </a:ext>
                  </a:extLst>
                </p:cNvPr>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81" name="Rectangle 37">
                  <a:extLst>
                    <a:ext uri="{FF2B5EF4-FFF2-40B4-BE49-F238E27FC236}">
                      <a16:creationId xmlns:a16="http://schemas.microsoft.com/office/drawing/2014/main" id="{5FC01E82-D250-448A-95CF-A91CDDFE75AF}"/>
                    </a:ext>
                  </a:extLst>
                </p:cNvPr>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grpSp>
        </p:grpSp>
        <p:grpSp>
          <p:nvGrpSpPr>
            <p:cNvPr id="682" name="Group 681">
              <a:extLst>
                <a:ext uri="{FF2B5EF4-FFF2-40B4-BE49-F238E27FC236}">
                  <a16:creationId xmlns:a16="http://schemas.microsoft.com/office/drawing/2014/main" id="{C1054D83-5874-4742-98B8-5AD28BBB9208}"/>
                </a:ext>
              </a:extLst>
            </p:cNvPr>
            <p:cNvGrpSpPr/>
            <p:nvPr/>
          </p:nvGrpSpPr>
          <p:grpSpPr>
            <a:xfrm>
              <a:off x="4445415" y="2438855"/>
              <a:ext cx="236793" cy="236793"/>
              <a:chOff x="1817606" y="2379531"/>
              <a:chExt cx="594360" cy="594360"/>
            </a:xfrm>
            <a:effectLst/>
          </p:grpSpPr>
          <p:sp>
            <p:nvSpPr>
              <p:cNvPr id="683" name="Freeform 5">
                <a:extLst>
                  <a:ext uri="{FF2B5EF4-FFF2-40B4-BE49-F238E27FC236}">
                    <a16:creationId xmlns:a16="http://schemas.microsoft.com/office/drawing/2014/main" id="{F999633F-E060-4EBE-8B3B-ED5AD08632AA}"/>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684" name="Group 157">
                <a:extLst>
                  <a:ext uri="{FF2B5EF4-FFF2-40B4-BE49-F238E27FC236}">
                    <a16:creationId xmlns:a16="http://schemas.microsoft.com/office/drawing/2014/main" id="{10BE5793-DE5A-4326-8F73-D21CF79D9131}"/>
                  </a:ext>
                </a:extLst>
              </p:cNvPr>
              <p:cNvGrpSpPr>
                <a:grpSpLocks noChangeAspect="1"/>
              </p:cNvGrpSpPr>
              <p:nvPr/>
            </p:nvGrpSpPr>
            <p:grpSpPr>
              <a:xfrm>
                <a:off x="1927993" y="2538227"/>
                <a:ext cx="373558" cy="276973"/>
                <a:chOff x="13636625" y="1373188"/>
                <a:chExt cx="1330325" cy="825500"/>
              </a:xfrm>
              <a:solidFill>
                <a:schemeClr val="bg2"/>
              </a:solidFill>
            </p:grpSpPr>
            <p:sp>
              <p:nvSpPr>
                <p:cNvPr id="685" name="Rectangle 17">
                  <a:extLst>
                    <a:ext uri="{FF2B5EF4-FFF2-40B4-BE49-F238E27FC236}">
                      <a16:creationId xmlns:a16="http://schemas.microsoft.com/office/drawing/2014/main" id="{DE368112-9600-45DF-A8F3-A838831AB0C6}"/>
                    </a:ext>
                  </a:extLst>
                </p:cNvPr>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86" name="Rectangle 18">
                  <a:extLst>
                    <a:ext uri="{FF2B5EF4-FFF2-40B4-BE49-F238E27FC236}">
                      <a16:creationId xmlns:a16="http://schemas.microsoft.com/office/drawing/2014/main" id="{EAB30393-A8CC-496B-B8B8-510051A816E1}"/>
                    </a:ext>
                  </a:extLst>
                </p:cNvPr>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87" name="Rectangle 19">
                  <a:extLst>
                    <a:ext uri="{FF2B5EF4-FFF2-40B4-BE49-F238E27FC236}">
                      <a16:creationId xmlns:a16="http://schemas.microsoft.com/office/drawing/2014/main" id="{9E6666C6-952B-4D68-8EEB-065D5D1F6EBF}"/>
                    </a:ext>
                  </a:extLst>
                </p:cNvPr>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88" name="Rectangle 20">
                  <a:extLst>
                    <a:ext uri="{FF2B5EF4-FFF2-40B4-BE49-F238E27FC236}">
                      <a16:creationId xmlns:a16="http://schemas.microsoft.com/office/drawing/2014/main" id="{39E46DFA-7AB4-47C7-8D1E-2F2759742A57}"/>
                    </a:ext>
                  </a:extLst>
                </p:cNvPr>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89" name="Rectangle 21">
                  <a:extLst>
                    <a:ext uri="{FF2B5EF4-FFF2-40B4-BE49-F238E27FC236}">
                      <a16:creationId xmlns:a16="http://schemas.microsoft.com/office/drawing/2014/main" id="{700B6D5A-A0B0-47E8-B596-95827156499D}"/>
                    </a:ext>
                  </a:extLst>
                </p:cNvPr>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90" name="Rectangle 22">
                  <a:extLst>
                    <a:ext uri="{FF2B5EF4-FFF2-40B4-BE49-F238E27FC236}">
                      <a16:creationId xmlns:a16="http://schemas.microsoft.com/office/drawing/2014/main" id="{00F8021F-5868-440B-B94D-FDB61282297D}"/>
                    </a:ext>
                  </a:extLst>
                </p:cNvPr>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91" name="Rectangle 23">
                  <a:extLst>
                    <a:ext uri="{FF2B5EF4-FFF2-40B4-BE49-F238E27FC236}">
                      <a16:creationId xmlns:a16="http://schemas.microsoft.com/office/drawing/2014/main" id="{558A60E7-1834-4501-9818-87E5B9FBB594}"/>
                    </a:ext>
                  </a:extLst>
                </p:cNvPr>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92" name="Rectangle 24">
                  <a:extLst>
                    <a:ext uri="{FF2B5EF4-FFF2-40B4-BE49-F238E27FC236}">
                      <a16:creationId xmlns:a16="http://schemas.microsoft.com/office/drawing/2014/main" id="{0F187F23-97DE-4709-B207-CADD7E112781}"/>
                    </a:ext>
                  </a:extLst>
                </p:cNvPr>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93" name="Rectangle 25">
                  <a:extLst>
                    <a:ext uri="{FF2B5EF4-FFF2-40B4-BE49-F238E27FC236}">
                      <a16:creationId xmlns:a16="http://schemas.microsoft.com/office/drawing/2014/main" id="{40C0CFE7-002F-49CE-BF0D-3BBEC1E305E2}"/>
                    </a:ext>
                  </a:extLst>
                </p:cNvPr>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94" name="Rectangle 26">
                  <a:extLst>
                    <a:ext uri="{FF2B5EF4-FFF2-40B4-BE49-F238E27FC236}">
                      <a16:creationId xmlns:a16="http://schemas.microsoft.com/office/drawing/2014/main" id="{290BD437-711C-427E-ACE5-C4BA9CBADACD}"/>
                    </a:ext>
                  </a:extLst>
                </p:cNvPr>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95" name="Rectangle 27">
                  <a:extLst>
                    <a:ext uri="{FF2B5EF4-FFF2-40B4-BE49-F238E27FC236}">
                      <a16:creationId xmlns:a16="http://schemas.microsoft.com/office/drawing/2014/main" id="{39E6B272-0DF6-406E-A326-8ECDF336038B}"/>
                    </a:ext>
                  </a:extLst>
                </p:cNvPr>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96" name="Rectangle 28">
                  <a:extLst>
                    <a:ext uri="{FF2B5EF4-FFF2-40B4-BE49-F238E27FC236}">
                      <a16:creationId xmlns:a16="http://schemas.microsoft.com/office/drawing/2014/main" id="{E26B0DBF-CC0F-403E-831E-7E935C5BCCC5}"/>
                    </a:ext>
                  </a:extLst>
                </p:cNvPr>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97" name="Rectangle 29">
                  <a:extLst>
                    <a:ext uri="{FF2B5EF4-FFF2-40B4-BE49-F238E27FC236}">
                      <a16:creationId xmlns:a16="http://schemas.microsoft.com/office/drawing/2014/main" id="{55D7AAD0-7D87-4DC3-A6F8-BC358ADDAE7A}"/>
                    </a:ext>
                  </a:extLst>
                </p:cNvPr>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98" name="Rectangle 30">
                  <a:extLst>
                    <a:ext uri="{FF2B5EF4-FFF2-40B4-BE49-F238E27FC236}">
                      <a16:creationId xmlns:a16="http://schemas.microsoft.com/office/drawing/2014/main" id="{C00EF041-F313-4962-A0A3-0DE22B8874E5}"/>
                    </a:ext>
                  </a:extLst>
                </p:cNvPr>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699" name="Rectangle 31">
                  <a:extLst>
                    <a:ext uri="{FF2B5EF4-FFF2-40B4-BE49-F238E27FC236}">
                      <a16:creationId xmlns:a16="http://schemas.microsoft.com/office/drawing/2014/main" id="{94ACF1D3-8075-42FC-8811-62CF977B15CB}"/>
                    </a:ext>
                  </a:extLst>
                </p:cNvPr>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700" name="Rectangle 32">
                  <a:extLst>
                    <a:ext uri="{FF2B5EF4-FFF2-40B4-BE49-F238E27FC236}">
                      <a16:creationId xmlns:a16="http://schemas.microsoft.com/office/drawing/2014/main" id="{69A08826-5A6B-4933-BAD7-269610AE83AA}"/>
                    </a:ext>
                  </a:extLst>
                </p:cNvPr>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701" name="Rectangle 33">
                  <a:extLst>
                    <a:ext uri="{FF2B5EF4-FFF2-40B4-BE49-F238E27FC236}">
                      <a16:creationId xmlns:a16="http://schemas.microsoft.com/office/drawing/2014/main" id="{6EB7A1D8-76D5-4FEB-B69F-57C497B1A65F}"/>
                    </a:ext>
                  </a:extLst>
                </p:cNvPr>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702" name="Rectangle 34">
                  <a:extLst>
                    <a:ext uri="{FF2B5EF4-FFF2-40B4-BE49-F238E27FC236}">
                      <a16:creationId xmlns:a16="http://schemas.microsoft.com/office/drawing/2014/main" id="{86E109C6-7D2D-4533-8E9B-D09CB7C0FB1B}"/>
                    </a:ext>
                  </a:extLst>
                </p:cNvPr>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703" name="Rectangle 35">
                  <a:extLst>
                    <a:ext uri="{FF2B5EF4-FFF2-40B4-BE49-F238E27FC236}">
                      <a16:creationId xmlns:a16="http://schemas.microsoft.com/office/drawing/2014/main" id="{4239E66A-8FA4-40B7-98D5-D836ECB81335}"/>
                    </a:ext>
                  </a:extLst>
                </p:cNvPr>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704" name="Rectangle 36">
                  <a:extLst>
                    <a:ext uri="{FF2B5EF4-FFF2-40B4-BE49-F238E27FC236}">
                      <a16:creationId xmlns:a16="http://schemas.microsoft.com/office/drawing/2014/main" id="{CE1D9056-112A-43BB-BA98-1B5F4D4A56B5}"/>
                    </a:ext>
                  </a:extLst>
                </p:cNvPr>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sp>
              <p:nvSpPr>
                <p:cNvPr id="705" name="Rectangle 37">
                  <a:extLst>
                    <a:ext uri="{FF2B5EF4-FFF2-40B4-BE49-F238E27FC236}">
                      <a16:creationId xmlns:a16="http://schemas.microsoft.com/office/drawing/2014/main" id="{CDB3795E-875B-4487-9A57-87E37019CC4D}"/>
                    </a:ext>
                  </a:extLst>
                </p:cNvPr>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pitchFamily="34" charset="-128"/>
                  </a:endParaRPr>
                </a:p>
              </p:txBody>
            </p:sp>
          </p:grpSp>
        </p:grpSp>
      </p:grpSp>
      <p:cxnSp>
        <p:nvCxnSpPr>
          <p:cNvPr id="1057" name="Straight Connector 1056">
            <a:extLst>
              <a:ext uri="{FF2B5EF4-FFF2-40B4-BE49-F238E27FC236}">
                <a16:creationId xmlns:a16="http://schemas.microsoft.com/office/drawing/2014/main" id="{AB39D1CC-FA97-418C-BC87-425753F5398E}"/>
              </a:ext>
            </a:extLst>
          </p:cNvPr>
          <p:cNvCxnSpPr>
            <a:cxnSpLocks/>
          </p:cNvCxnSpPr>
          <p:nvPr/>
        </p:nvCxnSpPr>
        <p:spPr>
          <a:xfrm>
            <a:off x="5596128" y="3761232"/>
            <a:ext cx="408432" cy="2743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54" name="Freeform 7">
            <a:extLst>
              <a:ext uri="{FF2B5EF4-FFF2-40B4-BE49-F238E27FC236}">
                <a16:creationId xmlns:a16="http://schemas.microsoft.com/office/drawing/2014/main" id="{ACCEBAEE-9A75-4EA4-A127-D9AA824D7A9B}"/>
              </a:ext>
            </a:extLst>
          </p:cNvPr>
          <p:cNvSpPr>
            <a:spLocks noEditPoints="1"/>
          </p:cNvSpPr>
          <p:nvPr/>
        </p:nvSpPr>
        <p:spPr bwMode="auto">
          <a:xfrm>
            <a:off x="3294837" y="2846395"/>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55" name="Freeform 7">
            <a:extLst>
              <a:ext uri="{FF2B5EF4-FFF2-40B4-BE49-F238E27FC236}">
                <a16:creationId xmlns:a16="http://schemas.microsoft.com/office/drawing/2014/main" id="{95DCA772-19D7-406C-AE1F-FD91FE092AC1}"/>
              </a:ext>
            </a:extLst>
          </p:cNvPr>
          <p:cNvSpPr>
            <a:spLocks noEditPoints="1"/>
          </p:cNvSpPr>
          <p:nvPr/>
        </p:nvSpPr>
        <p:spPr bwMode="auto">
          <a:xfrm>
            <a:off x="4390233" y="4171082"/>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56" name="Freeform 7">
            <a:extLst>
              <a:ext uri="{FF2B5EF4-FFF2-40B4-BE49-F238E27FC236}">
                <a16:creationId xmlns:a16="http://schemas.microsoft.com/office/drawing/2014/main" id="{7944285D-0166-4057-85AD-7F4BBD379405}"/>
              </a:ext>
            </a:extLst>
          </p:cNvPr>
          <p:cNvSpPr>
            <a:spLocks noEditPoints="1"/>
          </p:cNvSpPr>
          <p:nvPr/>
        </p:nvSpPr>
        <p:spPr bwMode="auto">
          <a:xfrm>
            <a:off x="5742759" y="3008459"/>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57" name="Freeform 7">
            <a:extLst>
              <a:ext uri="{FF2B5EF4-FFF2-40B4-BE49-F238E27FC236}">
                <a16:creationId xmlns:a16="http://schemas.microsoft.com/office/drawing/2014/main" id="{737E27E8-A9A2-4916-98FE-6EED8C599B3E}"/>
              </a:ext>
            </a:extLst>
          </p:cNvPr>
          <p:cNvSpPr>
            <a:spLocks noEditPoints="1"/>
          </p:cNvSpPr>
          <p:nvPr/>
        </p:nvSpPr>
        <p:spPr bwMode="auto">
          <a:xfrm>
            <a:off x="6087837" y="3237005"/>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58" name="Freeform 7">
            <a:extLst>
              <a:ext uri="{FF2B5EF4-FFF2-40B4-BE49-F238E27FC236}">
                <a16:creationId xmlns:a16="http://schemas.microsoft.com/office/drawing/2014/main" id="{90AAF898-FD3E-4FAC-89C4-A58A33E37161}"/>
              </a:ext>
            </a:extLst>
          </p:cNvPr>
          <p:cNvSpPr>
            <a:spLocks noEditPoints="1"/>
          </p:cNvSpPr>
          <p:nvPr/>
        </p:nvSpPr>
        <p:spPr bwMode="auto">
          <a:xfrm>
            <a:off x="4970454" y="2000014"/>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59" name="Freeform 7">
            <a:extLst>
              <a:ext uri="{FF2B5EF4-FFF2-40B4-BE49-F238E27FC236}">
                <a16:creationId xmlns:a16="http://schemas.microsoft.com/office/drawing/2014/main" id="{A58BB371-876F-4462-AF69-ED5BB1AAC4BA}"/>
              </a:ext>
            </a:extLst>
          </p:cNvPr>
          <p:cNvSpPr>
            <a:spLocks noEditPoints="1"/>
          </p:cNvSpPr>
          <p:nvPr/>
        </p:nvSpPr>
        <p:spPr bwMode="auto">
          <a:xfrm>
            <a:off x="5332608" y="4149493"/>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60" name="Freeform 7">
            <a:extLst>
              <a:ext uri="{FF2B5EF4-FFF2-40B4-BE49-F238E27FC236}">
                <a16:creationId xmlns:a16="http://schemas.microsoft.com/office/drawing/2014/main" id="{03410EC1-6725-4FA8-A760-08360B3D9CBA}"/>
              </a:ext>
            </a:extLst>
          </p:cNvPr>
          <p:cNvSpPr>
            <a:spLocks noEditPoints="1"/>
          </p:cNvSpPr>
          <p:nvPr/>
        </p:nvSpPr>
        <p:spPr bwMode="auto">
          <a:xfrm>
            <a:off x="3765241" y="1638311"/>
            <a:ext cx="143109" cy="154488"/>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61" name="Freeform 7">
            <a:extLst>
              <a:ext uri="{FF2B5EF4-FFF2-40B4-BE49-F238E27FC236}">
                <a16:creationId xmlns:a16="http://schemas.microsoft.com/office/drawing/2014/main" id="{DCA320DD-0DE0-47B8-B3AF-C9068A4A904E}"/>
              </a:ext>
            </a:extLst>
          </p:cNvPr>
          <p:cNvSpPr>
            <a:spLocks noEditPoints="1"/>
          </p:cNvSpPr>
          <p:nvPr/>
        </p:nvSpPr>
        <p:spPr bwMode="auto">
          <a:xfrm>
            <a:off x="4827810" y="3767064"/>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62" name="Freeform 7">
            <a:extLst>
              <a:ext uri="{FF2B5EF4-FFF2-40B4-BE49-F238E27FC236}">
                <a16:creationId xmlns:a16="http://schemas.microsoft.com/office/drawing/2014/main" id="{065FF0AD-2F75-41D9-AC89-286411245514}"/>
              </a:ext>
            </a:extLst>
          </p:cNvPr>
          <p:cNvSpPr>
            <a:spLocks noEditPoints="1"/>
          </p:cNvSpPr>
          <p:nvPr/>
        </p:nvSpPr>
        <p:spPr bwMode="auto">
          <a:xfrm>
            <a:off x="4066282" y="2078238"/>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63" name="Freeform 7">
            <a:extLst>
              <a:ext uri="{FF2B5EF4-FFF2-40B4-BE49-F238E27FC236}">
                <a16:creationId xmlns:a16="http://schemas.microsoft.com/office/drawing/2014/main" id="{1553F54C-7728-4ED3-A9F4-9575E62DB1C2}"/>
              </a:ext>
            </a:extLst>
          </p:cNvPr>
          <p:cNvSpPr>
            <a:spLocks noEditPoints="1"/>
          </p:cNvSpPr>
          <p:nvPr/>
        </p:nvSpPr>
        <p:spPr bwMode="auto">
          <a:xfrm>
            <a:off x="4053357" y="3746481"/>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6A231140-2C1D-469F-8079-96E80BB74245}"/>
              </a:ext>
            </a:extLst>
          </p:cNvPr>
          <p:cNvGrpSpPr/>
          <p:nvPr/>
        </p:nvGrpSpPr>
        <p:grpSpPr>
          <a:xfrm>
            <a:off x="5550192" y="3648176"/>
            <a:ext cx="496888" cy="498475"/>
            <a:chOff x="5550192" y="3648176"/>
            <a:chExt cx="496888" cy="498475"/>
          </a:xfrm>
          <a:effectLst>
            <a:glow rad="50800">
              <a:srgbClr val="FFC000">
                <a:alpha val="55000"/>
              </a:srgbClr>
            </a:glow>
          </a:effectLst>
        </p:grpSpPr>
        <p:sp>
          <p:nvSpPr>
            <p:cNvPr id="316" name="Freeform 22">
              <a:extLst>
                <a:ext uri="{FF2B5EF4-FFF2-40B4-BE49-F238E27FC236}">
                  <a16:creationId xmlns:a16="http://schemas.microsoft.com/office/drawing/2014/main" id="{2C9C9178-4E24-47DB-8B9C-4A38C5585D4D}"/>
                </a:ext>
              </a:extLst>
            </p:cNvPr>
            <p:cNvSpPr>
              <a:spLocks/>
            </p:cNvSpPr>
            <p:nvPr/>
          </p:nvSpPr>
          <p:spPr bwMode="auto">
            <a:xfrm>
              <a:off x="5550192" y="3648176"/>
              <a:ext cx="496888" cy="498475"/>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bg2"/>
            </a:solidFill>
            <a:ln w="12700">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407" name="Group 406">
              <a:extLst>
                <a:ext uri="{FF2B5EF4-FFF2-40B4-BE49-F238E27FC236}">
                  <a16:creationId xmlns:a16="http://schemas.microsoft.com/office/drawing/2014/main" id="{CB81CBFB-A690-4555-BD91-D3E58393EF29}"/>
                </a:ext>
              </a:extLst>
            </p:cNvPr>
            <p:cNvGrpSpPr/>
            <p:nvPr/>
          </p:nvGrpSpPr>
          <p:grpSpPr>
            <a:xfrm>
              <a:off x="5596389" y="3688839"/>
              <a:ext cx="414921" cy="376728"/>
              <a:chOff x="6728463" y="2926930"/>
              <a:chExt cx="849392" cy="771210"/>
            </a:xfrm>
          </p:grpSpPr>
          <p:sp>
            <p:nvSpPr>
              <p:cNvPr id="408" name="Freeform: Shape 407">
                <a:extLst>
                  <a:ext uri="{FF2B5EF4-FFF2-40B4-BE49-F238E27FC236}">
                    <a16:creationId xmlns:a16="http://schemas.microsoft.com/office/drawing/2014/main" id="{936831D0-7F68-46A7-9CAF-B124C1F86529}"/>
                  </a:ext>
                </a:extLst>
              </p:cNvPr>
              <p:cNvSpPr/>
              <p:nvPr/>
            </p:nvSpPr>
            <p:spPr>
              <a:xfrm>
                <a:off x="6728463" y="2926930"/>
                <a:ext cx="849392" cy="771210"/>
              </a:xfrm>
              <a:custGeom>
                <a:avLst/>
                <a:gdLst>
                  <a:gd name="connsiteX0" fmla="*/ 424177 w 849392"/>
                  <a:gd name="connsiteY0" fmla="*/ 220130 h 771210"/>
                  <a:gd name="connsiteX1" fmla="*/ 226803 w 849392"/>
                  <a:gd name="connsiteY1" fmla="*/ 417504 h 771210"/>
                  <a:gd name="connsiteX2" fmla="*/ 424177 w 849392"/>
                  <a:gd name="connsiteY2" fmla="*/ 614878 h 771210"/>
                  <a:gd name="connsiteX3" fmla="*/ 621551 w 849392"/>
                  <a:gd name="connsiteY3" fmla="*/ 417504 h 771210"/>
                  <a:gd name="connsiteX4" fmla="*/ 424177 w 849392"/>
                  <a:gd name="connsiteY4" fmla="*/ 220130 h 771210"/>
                  <a:gd name="connsiteX5" fmla="*/ 340871 w 849392"/>
                  <a:gd name="connsiteY5" fmla="*/ 0 h 771210"/>
                  <a:gd name="connsiteX6" fmla="*/ 254908 w 849392"/>
                  <a:gd name="connsiteY6" fmla="*/ 141475 h 771210"/>
                  <a:gd name="connsiteX7" fmla="*/ 267425 w 849392"/>
                  <a:gd name="connsiteY7" fmla="*/ 203514 h 771210"/>
                  <a:gd name="connsiteX8" fmla="*/ 276577 w 849392"/>
                  <a:gd name="connsiteY8" fmla="*/ 217086 h 771210"/>
                  <a:gd name="connsiteX9" fmla="*/ 284587 w 849392"/>
                  <a:gd name="connsiteY9" fmla="*/ 210477 h 771210"/>
                  <a:gd name="connsiteX10" fmla="*/ 424177 w 849392"/>
                  <a:gd name="connsiteY10" fmla="*/ 167838 h 771210"/>
                  <a:gd name="connsiteX11" fmla="*/ 521359 w 849392"/>
                  <a:gd name="connsiteY11" fmla="*/ 187458 h 771210"/>
                  <a:gd name="connsiteX12" fmla="*/ 558481 w 849392"/>
                  <a:gd name="connsiteY12" fmla="*/ 207607 h 771210"/>
                  <a:gd name="connsiteX13" fmla="*/ 561240 w 849392"/>
                  <a:gd name="connsiteY13" fmla="*/ 203514 h 771210"/>
                  <a:gd name="connsiteX14" fmla="*/ 573757 w 849392"/>
                  <a:gd name="connsiteY14" fmla="*/ 141475 h 771210"/>
                  <a:gd name="connsiteX15" fmla="*/ 488270 w 849392"/>
                  <a:gd name="connsiteY15" fmla="*/ 162 h 771210"/>
                  <a:gd name="connsiteX16" fmla="*/ 641385 w 849392"/>
                  <a:gd name="connsiteY16" fmla="*/ 214836 h 771210"/>
                  <a:gd name="connsiteX17" fmla="*/ 635044 w 849392"/>
                  <a:gd name="connsiteY17" fmla="*/ 268317 h 771210"/>
                  <a:gd name="connsiteX18" fmla="*/ 631380 w 849392"/>
                  <a:gd name="connsiteY18" fmla="*/ 278236 h 771210"/>
                  <a:gd name="connsiteX19" fmla="*/ 654209 w 849392"/>
                  <a:gd name="connsiteY19" fmla="*/ 320296 h 771210"/>
                  <a:gd name="connsiteX20" fmla="*/ 668043 w 849392"/>
                  <a:gd name="connsiteY20" fmla="*/ 321689 h 771210"/>
                  <a:gd name="connsiteX21" fmla="*/ 849392 w 849392"/>
                  <a:gd name="connsiteY21" fmla="*/ 544230 h 771210"/>
                  <a:gd name="connsiteX22" fmla="*/ 848906 w 849392"/>
                  <a:gd name="connsiteY22" fmla="*/ 558279 h 771210"/>
                  <a:gd name="connsiteX23" fmla="*/ 689886 w 849392"/>
                  <a:gd name="connsiteY23" fmla="*/ 410413 h 771210"/>
                  <a:gd name="connsiteX24" fmla="*/ 673463 w 849392"/>
                  <a:gd name="connsiteY24" fmla="*/ 413729 h 771210"/>
                  <a:gd name="connsiteX25" fmla="*/ 673843 w 849392"/>
                  <a:gd name="connsiteY25" fmla="*/ 417504 h 771210"/>
                  <a:gd name="connsiteX26" fmla="*/ 563768 w 849392"/>
                  <a:gd name="connsiteY26" fmla="*/ 624531 h 771210"/>
                  <a:gd name="connsiteX27" fmla="*/ 544824 w 849392"/>
                  <a:gd name="connsiteY27" fmla="*/ 634814 h 771210"/>
                  <a:gd name="connsiteX28" fmla="*/ 577109 w 849392"/>
                  <a:gd name="connsiteY28" fmla="*/ 682684 h 771210"/>
                  <a:gd name="connsiteX29" fmla="*/ 689877 w 849392"/>
                  <a:gd name="connsiteY29" fmla="*/ 729415 h 771210"/>
                  <a:gd name="connsiteX30" fmla="*/ 801376 w 849392"/>
                  <a:gd name="connsiteY30" fmla="*/ 683790 h 771210"/>
                  <a:gd name="connsiteX31" fmla="*/ 622230 w 849392"/>
                  <a:gd name="connsiteY31" fmla="*/ 771210 h 771210"/>
                  <a:gd name="connsiteX32" fmla="*/ 459998 w 849392"/>
                  <a:gd name="connsiteY32" fmla="*/ 703039 h 771210"/>
                  <a:gd name="connsiteX33" fmla="*/ 432376 w 849392"/>
                  <a:gd name="connsiteY33" fmla="*/ 666344 h 771210"/>
                  <a:gd name="connsiteX34" fmla="*/ 424177 w 849392"/>
                  <a:gd name="connsiteY34" fmla="*/ 667170 h 771210"/>
                  <a:gd name="connsiteX35" fmla="*/ 416810 w 849392"/>
                  <a:gd name="connsiteY35" fmla="*/ 666427 h 771210"/>
                  <a:gd name="connsiteX36" fmla="*/ 389316 w 849392"/>
                  <a:gd name="connsiteY36" fmla="*/ 703039 h 771210"/>
                  <a:gd name="connsiteX37" fmla="*/ 226990 w 849392"/>
                  <a:gd name="connsiteY37" fmla="*/ 771210 h 771210"/>
                  <a:gd name="connsiteX38" fmla="*/ 47701 w 849392"/>
                  <a:gd name="connsiteY38" fmla="*/ 683638 h 771210"/>
                  <a:gd name="connsiteX39" fmla="*/ 159505 w 849392"/>
                  <a:gd name="connsiteY39" fmla="*/ 729424 h 771210"/>
                  <a:gd name="connsiteX40" fmla="*/ 272277 w 849392"/>
                  <a:gd name="connsiteY40" fmla="*/ 682693 h 771210"/>
                  <a:gd name="connsiteX41" fmla="*/ 304289 w 849392"/>
                  <a:gd name="connsiteY41" fmla="*/ 635225 h 771210"/>
                  <a:gd name="connsiteX42" fmla="*/ 284587 w 849392"/>
                  <a:gd name="connsiteY42" fmla="*/ 624531 h 771210"/>
                  <a:gd name="connsiteX43" fmla="*/ 174511 w 849392"/>
                  <a:gd name="connsiteY43" fmla="*/ 417504 h 771210"/>
                  <a:gd name="connsiteX44" fmla="*/ 174912 w 849392"/>
                  <a:gd name="connsiteY44" fmla="*/ 413526 h 771210"/>
                  <a:gd name="connsiteX45" fmla="*/ 159505 w 849392"/>
                  <a:gd name="connsiteY45" fmla="*/ 410413 h 771210"/>
                  <a:gd name="connsiteX46" fmla="*/ 486 w 849392"/>
                  <a:gd name="connsiteY46" fmla="*/ 558279 h 771210"/>
                  <a:gd name="connsiteX47" fmla="*/ 0 w 849392"/>
                  <a:gd name="connsiteY47" fmla="*/ 544230 h 771210"/>
                  <a:gd name="connsiteX48" fmla="*/ 168752 w 849392"/>
                  <a:gd name="connsiteY48" fmla="*/ 324737 h 771210"/>
                  <a:gd name="connsiteX49" fmla="*/ 194035 w 849392"/>
                  <a:gd name="connsiteY49" fmla="*/ 320633 h 771210"/>
                  <a:gd name="connsiteX50" fmla="*/ 194131 w 849392"/>
                  <a:gd name="connsiteY50" fmla="*/ 320323 h 771210"/>
                  <a:gd name="connsiteX51" fmla="*/ 205224 w 849392"/>
                  <a:gd name="connsiteY51" fmla="*/ 299886 h 771210"/>
                  <a:gd name="connsiteX52" fmla="*/ 193626 w 849392"/>
                  <a:gd name="connsiteY52" fmla="*/ 268562 h 771210"/>
                  <a:gd name="connsiteX53" fmla="*/ 187261 w 849392"/>
                  <a:gd name="connsiteY53" fmla="*/ 214836 h 771210"/>
                  <a:gd name="connsiteX54" fmla="*/ 340871 w 849392"/>
                  <a:gd name="connsiteY54" fmla="*/ 0 h 771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49392" h="771210">
                    <a:moveTo>
                      <a:pt x="424177" y="220130"/>
                    </a:moveTo>
                    <a:cubicBezTo>
                      <a:pt x="315170" y="220130"/>
                      <a:pt x="226803" y="308497"/>
                      <a:pt x="226803" y="417504"/>
                    </a:cubicBezTo>
                    <a:cubicBezTo>
                      <a:pt x="226803" y="526511"/>
                      <a:pt x="315170" y="614878"/>
                      <a:pt x="424177" y="614878"/>
                    </a:cubicBezTo>
                    <a:cubicBezTo>
                      <a:pt x="533184" y="614878"/>
                      <a:pt x="621551" y="526511"/>
                      <a:pt x="621551" y="417504"/>
                    </a:cubicBezTo>
                    <a:cubicBezTo>
                      <a:pt x="621551" y="308497"/>
                      <a:pt x="533184" y="220130"/>
                      <a:pt x="424177" y="220130"/>
                    </a:cubicBezTo>
                    <a:close/>
                    <a:moveTo>
                      <a:pt x="340871" y="0"/>
                    </a:moveTo>
                    <a:cubicBezTo>
                      <a:pt x="289674" y="26460"/>
                      <a:pt x="254908" y="79914"/>
                      <a:pt x="254908" y="141475"/>
                    </a:cubicBezTo>
                    <a:cubicBezTo>
                      <a:pt x="254908" y="163485"/>
                      <a:pt x="259364" y="184449"/>
                      <a:pt x="267425" y="203514"/>
                    </a:cubicBezTo>
                    <a:lnTo>
                      <a:pt x="276577" y="217086"/>
                    </a:lnTo>
                    <a:lnTo>
                      <a:pt x="284587" y="210477"/>
                    </a:lnTo>
                    <a:cubicBezTo>
                      <a:pt x="324433" y="183557"/>
                      <a:pt x="372470" y="167838"/>
                      <a:pt x="424177" y="167838"/>
                    </a:cubicBezTo>
                    <a:cubicBezTo>
                      <a:pt x="458649" y="167838"/>
                      <a:pt x="491489" y="174824"/>
                      <a:pt x="521359" y="187458"/>
                    </a:cubicBezTo>
                    <a:lnTo>
                      <a:pt x="558481" y="207607"/>
                    </a:lnTo>
                    <a:lnTo>
                      <a:pt x="561240" y="203514"/>
                    </a:lnTo>
                    <a:cubicBezTo>
                      <a:pt x="569301" y="184449"/>
                      <a:pt x="573757" y="163485"/>
                      <a:pt x="573757" y="141475"/>
                    </a:cubicBezTo>
                    <a:cubicBezTo>
                      <a:pt x="573757" y="80067"/>
                      <a:pt x="538991" y="26794"/>
                      <a:pt x="488270" y="162"/>
                    </a:cubicBezTo>
                    <a:cubicBezTo>
                      <a:pt x="577424" y="30937"/>
                      <a:pt x="641385" y="115319"/>
                      <a:pt x="641385" y="214836"/>
                    </a:cubicBezTo>
                    <a:cubicBezTo>
                      <a:pt x="641385" y="233262"/>
                      <a:pt x="639192" y="251169"/>
                      <a:pt x="635044" y="268317"/>
                    </a:cubicBezTo>
                    <a:lnTo>
                      <a:pt x="631380" y="278236"/>
                    </a:lnTo>
                    <a:lnTo>
                      <a:pt x="654209" y="320296"/>
                    </a:lnTo>
                    <a:lnTo>
                      <a:pt x="668043" y="321689"/>
                    </a:lnTo>
                    <a:cubicBezTo>
                      <a:pt x="771595" y="342856"/>
                      <a:pt x="849392" y="434391"/>
                      <a:pt x="849392" y="544230"/>
                    </a:cubicBezTo>
                    <a:cubicBezTo>
                      <a:pt x="849392" y="549021"/>
                      <a:pt x="849239" y="553631"/>
                      <a:pt x="848906" y="558279"/>
                    </a:cubicBezTo>
                    <a:cubicBezTo>
                      <a:pt x="843010" y="475640"/>
                      <a:pt x="774097" y="410413"/>
                      <a:pt x="689886" y="410413"/>
                    </a:cubicBezTo>
                    <a:lnTo>
                      <a:pt x="673463" y="413729"/>
                    </a:lnTo>
                    <a:lnTo>
                      <a:pt x="673843" y="417504"/>
                    </a:lnTo>
                    <a:cubicBezTo>
                      <a:pt x="673843" y="503683"/>
                      <a:pt x="630180" y="579664"/>
                      <a:pt x="563768" y="624531"/>
                    </a:cubicBezTo>
                    <a:lnTo>
                      <a:pt x="544824" y="634814"/>
                    </a:lnTo>
                    <a:lnTo>
                      <a:pt x="577109" y="682684"/>
                    </a:lnTo>
                    <a:cubicBezTo>
                      <a:pt x="605981" y="711553"/>
                      <a:pt x="645857" y="729415"/>
                      <a:pt x="689877" y="729415"/>
                    </a:cubicBezTo>
                    <a:cubicBezTo>
                      <a:pt x="733425" y="729415"/>
                      <a:pt x="772658" y="712022"/>
                      <a:pt x="801376" y="683790"/>
                    </a:cubicBezTo>
                    <a:cubicBezTo>
                      <a:pt x="759904" y="737063"/>
                      <a:pt x="694982" y="771210"/>
                      <a:pt x="622230" y="771210"/>
                    </a:cubicBezTo>
                    <a:cubicBezTo>
                      <a:pt x="558715" y="771210"/>
                      <a:pt x="501201" y="745102"/>
                      <a:pt x="459998" y="703039"/>
                    </a:cubicBezTo>
                    <a:lnTo>
                      <a:pt x="432376" y="666344"/>
                    </a:lnTo>
                    <a:lnTo>
                      <a:pt x="424177" y="667170"/>
                    </a:lnTo>
                    <a:lnTo>
                      <a:pt x="416810" y="666427"/>
                    </a:lnTo>
                    <a:lnTo>
                      <a:pt x="389316" y="703039"/>
                    </a:lnTo>
                    <a:cubicBezTo>
                      <a:pt x="348168" y="745102"/>
                      <a:pt x="290620" y="771210"/>
                      <a:pt x="226990" y="771210"/>
                    </a:cubicBezTo>
                    <a:cubicBezTo>
                      <a:pt x="154238" y="771210"/>
                      <a:pt x="89316" y="736911"/>
                      <a:pt x="47701" y="683638"/>
                    </a:cubicBezTo>
                    <a:cubicBezTo>
                      <a:pt x="76409" y="711870"/>
                      <a:pt x="115957" y="729424"/>
                      <a:pt x="159505" y="729424"/>
                    </a:cubicBezTo>
                    <a:cubicBezTo>
                      <a:pt x="203530" y="729424"/>
                      <a:pt x="243407" y="711562"/>
                      <a:pt x="272277" y="682693"/>
                    </a:cubicBezTo>
                    <a:lnTo>
                      <a:pt x="304289" y="635225"/>
                    </a:lnTo>
                    <a:lnTo>
                      <a:pt x="284587" y="624531"/>
                    </a:lnTo>
                    <a:cubicBezTo>
                      <a:pt x="218175" y="579664"/>
                      <a:pt x="174511" y="503683"/>
                      <a:pt x="174511" y="417504"/>
                    </a:cubicBezTo>
                    <a:lnTo>
                      <a:pt x="174912" y="413526"/>
                    </a:lnTo>
                    <a:lnTo>
                      <a:pt x="159505" y="410413"/>
                    </a:lnTo>
                    <a:cubicBezTo>
                      <a:pt x="75285" y="410413"/>
                      <a:pt x="6391" y="475650"/>
                      <a:pt x="486" y="558279"/>
                    </a:cubicBezTo>
                    <a:cubicBezTo>
                      <a:pt x="162" y="553640"/>
                      <a:pt x="0" y="549021"/>
                      <a:pt x="0" y="544230"/>
                    </a:cubicBezTo>
                    <a:cubicBezTo>
                      <a:pt x="0" y="439009"/>
                      <a:pt x="71569" y="350370"/>
                      <a:pt x="168752" y="324737"/>
                    </a:cubicBezTo>
                    <a:lnTo>
                      <a:pt x="194035" y="320633"/>
                    </a:lnTo>
                    <a:lnTo>
                      <a:pt x="194131" y="320323"/>
                    </a:lnTo>
                    <a:lnTo>
                      <a:pt x="205224" y="299886"/>
                    </a:lnTo>
                    <a:lnTo>
                      <a:pt x="193626" y="268562"/>
                    </a:lnTo>
                    <a:cubicBezTo>
                      <a:pt x="189457" y="251331"/>
                      <a:pt x="187261" y="233343"/>
                      <a:pt x="187261" y="214836"/>
                    </a:cubicBezTo>
                    <a:cubicBezTo>
                      <a:pt x="187261" y="115147"/>
                      <a:pt x="251536" y="30299"/>
                      <a:pt x="340871" y="0"/>
                    </a:cubicBezTo>
                    <a:close/>
                  </a:path>
                </a:pathLst>
              </a:custGeom>
              <a:solidFill>
                <a:schemeClr val="accent6"/>
              </a:solidFill>
              <a:ln w="9525" cap="flat">
                <a:noFill/>
                <a:prstDash val="solid"/>
                <a:miter/>
              </a:ln>
            </p:spPr>
            <p:txBody>
              <a:bodyPr wrap="square">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09" name="Freeform: Shape 408">
                <a:extLst>
                  <a:ext uri="{FF2B5EF4-FFF2-40B4-BE49-F238E27FC236}">
                    <a16:creationId xmlns:a16="http://schemas.microsoft.com/office/drawing/2014/main" id="{25ACEF62-E8F8-4CA6-B09E-9A1F78AECAE2}"/>
                  </a:ext>
                </a:extLst>
              </p:cNvPr>
              <p:cNvSpPr/>
              <p:nvPr/>
            </p:nvSpPr>
            <p:spPr>
              <a:xfrm>
                <a:off x="7005948" y="3206405"/>
                <a:ext cx="266072" cy="259070"/>
              </a:xfrm>
              <a:custGeom>
                <a:avLst/>
                <a:gdLst/>
                <a:ahLst/>
                <a:cxnLst/>
                <a:rect l="0" t="0" r="0" b="0"/>
                <a:pathLst>
                  <a:path w="723900" h="704850">
                    <a:moveTo>
                      <a:pt x="705326" y="7144"/>
                    </a:moveTo>
                    <a:lnTo>
                      <a:pt x="641509" y="7144"/>
                    </a:lnTo>
                    <a:cubicBezTo>
                      <a:pt x="501491" y="7144"/>
                      <a:pt x="387191" y="120491"/>
                      <a:pt x="387191" y="261461"/>
                    </a:cubicBezTo>
                    <a:lnTo>
                      <a:pt x="133826" y="261461"/>
                    </a:lnTo>
                    <a:cubicBezTo>
                      <a:pt x="63341" y="261461"/>
                      <a:pt x="7144" y="286226"/>
                      <a:pt x="7144" y="356711"/>
                    </a:cubicBezTo>
                    <a:lnTo>
                      <a:pt x="7144" y="451961"/>
                    </a:lnTo>
                    <a:lnTo>
                      <a:pt x="70009" y="451961"/>
                    </a:lnTo>
                    <a:lnTo>
                      <a:pt x="70009" y="356711"/>
                    </a:lnTo>
                    <a:cubicBezTo>
                      <a:pt x="70009" y="321469"/>
                      <a:pt x="98584" y="292894"/>
                      <a:pt x="133826" y="292894"/>
                    </a:cubicBezTo>
                    <a:lnTo>
                      <a:pt x="133826" y="547211"/>
                    </a:lnTo>
                    <a:cubicBezTo>
                      <a:pt x="90011" y="547211"/>
                      <a:pt x="54769" y="582454"/>
                      <a:pt x="54769" y="626269"/>
                    </a:cubicBezTo>
                    <a:cubicBezTo>
                      <a:pt x="54769" y="670084"/>
                      <a:pt x="90011" y="705326"/>
                      <a:pt x="133826" y="705326"/>
                    </a:cubicBezTo>
                    <a:cubicBezTo>
                      <a:pt x="177641" y="705326"/>
                      <a:pt x="212884" y="670084"/>
                      <a:pt x="212884" y="626269"/>
                    </a:cubicBezTo>
                    <a:cubicBezTo>
                      <a:pt x="212884" y="620554"/>
                      <a:pt x="211931" y="615791"/>
                      <a:pt x="210979" y="610076"/>
                    </a:cubicBezTo>
                    <a:lnTo>
                      <a:pt x="499586" y="610076"/>
                    </a:lnTo>
                    <a:cubicBezTo>
                      <a:pt x="498634" y="614839"/>
                      <a:pt x="497681" y="620554"/>
                      <a:pt x="497681" y="626269"/>
                    </a:cubicBezTo>
                    <a:cubicBezTo>
                      <a:pt x="497681" y="670084"/>
                      <a:pt x="532924" y="705326"/>
                      <a:pt x="576739" y="705326"/>
                    </a:cubicBezTo>
                    <a:cubicBezTo>
                      <a:pt x="620554" y="705326"/>
                      <a:pt x="655796" y="670084"/>
                      <a:pt x="655796" y="626269"/>
                    </a:cubicBezTo>
                    <a:cubicBezTo>
                      <a:pt x="655796" y="582454"/>
                      <a:pt x="620554" y="547211"/>
                      <a:pt x="576739" y="547211"/>
                    </a:cubicBezTo>
                    <a:lnTo>
                      <a:pt x="576739" y="134779"/>
                    </a:lnTo>
                    <a:lnTo>
                      <a:pt x="641509" y="261461"/>
                    </a:lnTo>
                    <a:lnTo>
                      <a:pt x="705326" y="261461"/>
                    </a:lnTo>
                    <a:lnTo>
                      <a:pt x="705326" y="39529"/>
                    </a:lnTo>
                    <a:cubicBezTo>
                      <a:pt x="713899" y="39529"/>
                      <a:pt x="721519" y="32861"/>
                      <a:pt x="721519" y="23336"/>
                    </a:cubicBezTo>
                    <a:cubicBezTo>
                      <a:pt x="721519" y="13811"/>
                      <a:pt x="713899" y="7144"/>
                      <a:pt x="705326" y="7144"/>
                    </a:cubicBezTo>
                    <a:close/>
                    <a:moveTo>
                      <a:pt x="133826" y="658654"/>
                    </a:moveTo>
                    <a:cubicBezTo>
                      <a:pt x="116681" y="658654"/>
                      <a:pt x="102394" y="644366"/>
                      <a:pt x="102394" y="627221"/>
                    </a:cubicBezTo>
                    <a:cubicBezTo>
                      <a:pt x="102394" y="610076"/>
                      <a:pt x="116681" y="595789"/>
                      <a:pt x="133826" y="595789"/>
                    </a:cubicBezTo>
                    <a:cubicBezTo>
                      <a:pt x="150971" y="595789"/>
                      <a:pt x="165259" y="610076"/>
                      <a:pt x="165259" y="627221"/>
                    </a:cubicBezTo>
                    <a:cubicBezTo>
                      <a:pt x="165259" y="644366"/>
                      <a:pt x="150971" y="658654"/>
                      <a:pt x="133826" y="658654"/>
                    </a:cubicBezTo>
                    <a:close/>
                    <a:moveTo>
                      <a:pt x="514826" y="578644"/>
                    </a:moveTo>
                    <a:lnTo>
                      <a:pt x="196691" y="578644"/>
                    </a:lnTo>
                    <a:cubicBezTo>
                      <a:pt x="196691" y="578644"/>
                      <a:pt x="196691" y="578644"/>
                      <a:pt x="196691" y="578644"/>
                    </a:cubicBezTo>
                    <a:lnTo>
                      <a:pt x="260509" y="451961"/>
                    </a:lnTo>
                    <a:lnTo>
                      <a:pt x="451009" y="451961"/>
                    </a:lnTo>
                    <a:lnTo>
                      <a:pt x="514826" y="578644"/>
                    </a:lnTo>
                    <a:cubicBezTo>
                      <a:pt x="514826" y="578644"/>
                      <a:pt x="514826" y="578644"/>
                      <a:pt x="514826" y="578644"/>
                    </a:cubicBezTo>
                    <a:close/>
                    <a:moveTo>
                      <a:pt x="610076" y="626269"/>
                    </a:moveTo>
                    <a:cubicBezTo>
                      <a:pt x="610076" y="643414"/>
                      <a:pt x="595789" y="657701"/>
                      <a:pt x="578644" y="657701"/>
                    </a:cubicBezTo>
                    <a:cubicBezTo>
                      <a:pt x="561499" y="657701"/>
                      <a:pt x="547211" y="643414"/>
                      <a:pt x="547211" y="626269"/>
                    </a:cubicBezTo>
                    <a:cubicBezTo>
                      <a:pt x="547211" y="609124"/>
                      <a:pt x="561499" y="594836"/>
                      <a:pt x="578644" y="594836"/>
                    </a:cubicBezTo>
                    <a:cubicBezTo>
                      <a:pt x="595789" y="594836"/>
                      <a:pt x="610076" y="609124"/>
                      <a:pt x="610076" y="626269"/>
                    </a:cubicBezTo>
                    <a:close/>
                    <a:moveTo>
                      <a:pt x="672941" y="134779"/>
                    </a:moveTo>
                    <a:cubicBezTo>
                      <a:pt x="664369" y="134779"/>
                      <a:pt x="656749" y="128111"/>
                      <a:pt x="656749" y="118586"/>
                    </a:cubicBezTo>
                    <a:cubicBezTo>
                      <a:pt x="656749" y="110014"/>
                      <a:pt x="663416" y="102394"/>
                      <a:pt x="672941" y="102394"/>
                    </a:cubicBezTo>
                    <a:cubicBezTo>
                      <a:pt x="681514" y="102394"/>
                      <a:pt x="689134" y="109061"/>
                      <a:pt x="689134" y="118586"/>
                    </a:cubicBezTo>
                    <a:cubicBezTo>
                      <a:pt x="689134" y="127159"/>
                      <a:pt x="682466" y="134779"/>
                      <a:pt x="672941" y="134779"/>
                    </a:cubicBezTo>
                    <a:close/>
                  </a:path>
                </a:pathLst>
              </a:custGeom>
              <a:solidFill>
                <a:schemeClr val="accent6"/>
              </a:solidFill>
              <a:ln w="9525" cap="flat">
                <a:noFill/>
                <a:prstDash val="solid"/>
                <a:miter/>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cxnSp>
        <p:nvCxnSpPr>
          <p:cNvPr id="464" name="Straight Connector 463">
            <a:extLst>
              <a:ext uri="{FF2B5EF4-FFF2-40B4-BE49-F238E27FC236}">
                <a16:creationId xmlns:a16="http://schemas.microsoft.com/office/drawing/2014/main" id="{B990081F-AA3C-4F5F-8D4D-9A438E260B11}"/>
              </a:ext>
            </a:extLst>
          </p:cNvPr>
          <p:cNvCxnSpPr/>
          <p:nvPr/>
        </p:nvCxnSpPr>
        <p:spPr>
          <a:xfrm>
            <a:off x="5620881" y="3722707"/>
            <a:ext cx="355389" cy="34953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60935F39-98D2-4F88-988F-E12E6E83FC72}"/>
              </a:ext>
            </a:extLst>
          </p:cNvPr>
          <p:cNvGrpSpPr/>
          <p:nvPr/>
        </p:nvGrpSpPr>
        <p:grpSpPr>
          <a:xfrm>
            <a:off x="5542104" y="3642094"/>
            <a:ext cx="513384" cy="514860"/>
            <a:chOff x="4754157" y="1490090"/>
            <a:chExt cx="792461" cy="794740"/>
          </a:xfrm>
          <a:effectLst/>
        </p:grpSpPr>
        <p:sp>
          <p:nvSpPr>
            <p:cNvPr id="1112" name="Oval 47">
              <a:extLst>
                <a:ext uri="{FF2B5EF4-FFF2-40B4-BE49-F238E27FC236}">
                  <a16:creationId xmlns:a16="http://schemas.microsoft.com/office/drawing/2014/main" id="{B7057D2F-DF95-4F26-A801-47A159096704}"/>
                </a:ext>
              </a:extLst>
            </p:cNvPr>
            <p:cNvSpPr>
              <a:spLocks noChangeArrowheads="1"/>
            </p:cNvSpPr>
            <p:nvPr/>
          </p:nvSpPr>
          <p:spPr bwMode="auto">
            <a:xfrm flipH="1">
              <a:off x="4767812" y="1502705"/>
              <a:ext cx="764714" cy="766910"/>
            </a:xfrm>
            <a:prstGeom prst="ellipse">
              <a:avLst/>
            </a:pr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pic>
          <p:nvPicPr>
            <p:cNvPr id="1114" name="Picture 1113">
              <a:extLst>
                <a:ext uri="{FF2B5EF4-FFF2-40B4-BE49-F238E27FC236}">
                  <a16:creationId xmlns:a16="http://schemas.microsoft.com/office/drawing/2014/main" id="{D929EC07-75E2-4B6D-B21E-6CE86B75A751}"/>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882411" y="1796680"/>
              <a:ext cx="71315" cy="118859"/>
            </a:xfrm>
            <a:prstGeom prst="rect">
              <a:avLst/>
            </a:prstGeom>
          </p:spPr>
        </p:pic>
        <p:pic>
          <p:nvPicPr>
            <p:cNvPr id="1115" name="Picture 1114">
              <a:extLst>
                <a:ext uri="{FF2B5EF4-FFF2-40B4-BE49-F238E27FC236}">
                  <a16:creationId xmlns:a16="http://schemas.microsoft.com/office/drawing/2014/main" id="{83D56F24-11C8-43C6-89B4-932EAE87F708}"/>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964229" y="1796680"/>
              <a:ext cx="97464" cy="118859"/>
            </a:xfrm>
            <a:prstGeom prst="rect">
              <a:avLst/>
            </a:prstGeom>
          </p:spPr>
        </p:pic>
        <p:pic>
          <p:nvPicPr>
            <p:cNvPr id="1116" name="Picture 1115">
              <a:extLst>
                <a:ext uri="{FF2B5EF4-FFF2-40B4-BE49-F238E27FC236}">
                  <a16:creationId xmlns:a16="http://schemas.microsoft.com/office/drawing/2014/main" id="{F5602E2E-92AF-4878-B7E2-D7366012A052}"/>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204514" y="1796680"/>
              <a:ext cx="71315" cy="118859"/>
            </a:xfrm>
            <a:prstGeom prst="rect">
              <a:avLst/>
            </a:prstGeom>
          </p:spPr>
        </p:pic>
        <p:pic>
          <p:nvPicPr>
            <p:cNvPr id="1117" name="Picture 1116">
              <a:extLst>
                <a:ext uri="{FF2B5EF4-FFF2-40B4-BE49-F238E27FC236}">
                  <a16:creationId xmlns:a16="http://schemas.microsoft.com/office/drawing/2014/main" id="{E6E43537-8DBE-43A1-A31D-207B9047AE95}"/>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286332" y="1796680"/>
              <a:ext cx="97464" cy="118859"/>
            </a:xfrm>
            <a:prstGeom prst="rect">
              <a:avLst/>
            </a:prstGeom>
          </p:spPr>
        </p:pic>
        <p:pic>
          <p:nvPicPr>
            <p:cNvPr id="1118" name="Picture 1117">
              <a:extLst>
                <a:ext uri="{FF2B5EF4-FFF2-40B4-BE49-F238E27FC236}">
                  <a16:creationId xmlns:a16="http://schemas.microsoft.com/office/drawing/2014/main" id="{F01E3C22-1291-4DE3-9D36-3D6296D80802}"/>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394298" y="1796680"/>
              <a:ext cx="97464" cy="118859"/>
            </a:xfrm>
            <a:prstGeom prst="rect">
              <a:avLst/>
            </a:prstGeom>
          </p:spPr>
        </p:pic>
        <p:grpSp>
          <p:nvGrpSpPr>
            <p:cNvPr id="1119" name="Group 1118">
              <a:extLst>
                <a:ext uri="{FF2B5EF4-FFF2-40B4-BE49-F238E27FC236}">
                  <a16:creationId xmlns:a16="http://schemas.microsoft.com/office/drawing/2014/main" id="{7EBB0C08-B146-4BAC-AAB4-471EDE4D265A}"/>
                </a:ext>
              </a:extLst>
            </p:cNvPr>
            <p:cNvGrpSpPr/>
            <p:nvPr/>
          </p:nvGrpSpPr>
          <p:grpSpPr>
            <a:xfrm>
              <a:off x="4809689" y="1939517"/>
              <a:ext cx="715459" cy="118859"/>
              <a:chOff x="3744652" y="1647804"/>
              <a:chExt cx="715459" cy="118859"/>
            </a:xfrm>
          </p:grpSpPr>
          <p:pic>
            <p:nvPicPr>
              <p:cNvPr id="1138" name="Picture 1137">
                <a:extLst>
                  <a:ext uri="{FF2B5EF4-FFF2-40B4-BE49-F238E27FC236}">
                    <a16:creationId xmlns:a16="http://schemas.microsoft.com/office/drawing/2014/main" id="{A2D27F64-F771-4BF3-88E2-456CE8EC88DF}"/>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75882" y="1647804"/>
                <a:ext cx="71316" cy="118859"/>
              </a:xfrm>
              <a:prstGeom prst="rect">
                <a:avLst/>
              </a:prstGeom>
            </p:spPr>
          </p:pic>
          <p:pic>
            <p:nvPicPr>
              <p:cNvPr id="1139" name="Picture 1138">
                <a:extLst>
                  <a:ext uri="{FF2B5EF4-FFF2-40B4-BE49-F238E27FC236}">
                    <a16:creationId xmlns:a16="http://schemas.microsoft.com/office/drawing/2014/main" id="{F1A26199-4363-4C21-AA76-C613D489F71E}"/>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744652" y="1647804"/>
                <a:ext cx="97464" cy="118859"/>
              </a:xfrm>
              <a:prstGeom prst="rect">
                <a:avLst/>
              </a:prstGeom>
            </p:spPr>
          </p:pic>
          <p:pic>
            <p:nvPicPr>
              <p:cNvPr id="1140" name="Picture 1139">
                <a:extLst>
                  <a:ext uri="{FF2B5EF4-FFF2-40B4-BE49-F238E27FC236}">
                    <a16:creationId xmlns:a16="http://schemas.microsoft.com/office/drawing/2014/main" id="{88441415-B834-4F43-925B-3B9C0CD4A695}"/>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44325" y="1647804"/>
                <a:ext cx="71315" cy="118859"/>
              </a:xfrm>
              <a:prstGeom prst="rect">
                <a:avLst/>
              </a:prstGeom>
            </p:spPr>
          </p:pic>
          <p:pic>
            <p:nvPicPr>
              <p:cNvPr id="1141" name="Picture 1140">
                <a:extLst>
                  <a:ext uri="{FF2B5EF4-FFF2-40B4-BE49-F238E27FC236}">
                    <a16:creationId xmlns:a16="http://schemas.microsoft.com/office/drawing/2014/main" id="{3426B7DF-0857-4BDE-A33E-E87A2CEDA0F1}"/>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1087" y="1647804"/>
                <a:ext cx="97465" cy="118859"/>
              </a:xfrm>
              <a:prstGeom prst="rect">
                <a:avLst/>
              </a:prstGeom>
            </p:spPr>
          </p:pic>
          <p:pic>
            <p:nvPicPr>
              <p:cNvPr id="1142" name="Picture 1141">
                <a:extLst>
                  <a:ext uri="{FF2B5EF4-FFF2-40B4-BE49-F238E27FC236}">
                    <a16:creationId xmlns:a16="http://schemas.microsoft.com/office/drawing/2014/main" id="{7A917D20-E95F-46A5-8B8C-F7226EEC8D2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57563" y="1647804"/>
                <a:ext cx="71315" cy="118859"/>
              </a:xfrm>
              <a:prstGeom prst="rect">
                <a:avLst/>
              </a:prstGeom>
            </p:spPr>
          </p:pic>
          <p:pic>
            <p:nvPicPr>
              <p:cNvPr id="1143" name="Picture 1142">
                <a:extLst>
                  <a:ext uri="{FF2B5EF4-FFF2-40B4-BE49-F238E27FC236}">
                    <a16:creationId xmlns:a16="http://schemas.microsoft.com/office/drawing/2014/main" id="{0D8BD12F-B050-4436-B7B6-294436E4D70F}"/>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362647" y="1647804"/>
                <a:ext cx="97464" cy="118859"/>
              </a:xfrm>
              <a:prstGeom prst="rect">
                <a:avLst/>
              </a:prstGeom>
            </p:spPr>
          </p:pic>
        </p:grpSp>
        <p:grpSp>
          <p:nvGrpSpPr>
            <p:cNvPr id="1120" name="Group 1119">
              <a:extLst>
                <a:ext uri="{FF2B5EF4-FFF2-40B4-BE49-F238E27FC236}">
                  <a16:creationId xmlns:a16="http://schemas.microsoft.com/office/drawing/2014/main" id="{081F3E3E-F773-4722-BC0E-DA5EC3B715AC}"/>
                </a:ext>
              </a:extLst>
            </p:cNvPr>
            <p:cNvGrpSpPr/>
            <p:nvPr/>
          </p:nvGrpSpPr>
          <p:grpSpPr>
            <a:xfrm>
              <a:off x="4907319" y="2082354"/>
              <a:ext cx="500748" cy="118859"/>
              <a:chOff x="3832730" y="1647804"/>
              <a:chExt cx="500748" cy="118859"/>
            </a:xfrm>
          </p:grpSpPr>
          <p:pic>
            <p:nvPicPr>
              <p:cNvPr id="1133" name="Picture 1132">
                <a:extLst>
                  <a:ext uri="{FF2B5EF4-FFF2-40B4-BE49-F238E27FC236}">
                    <a16:creationId xmlns:a16="http://schemas.microsoft.com/office/drawing/2014/main" id="{A3E5EDFE-69BC-4203-9FEE-9BED5F37E2CE}"/>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2162" y="1647804"/>
                <a:ext cx="71316" cy="118859"/>
              </a:xfrm>
              <a:prstGeom prst="rect">
                <a:avLst/>
              </a:prstGeom>
            </p:spPr>
          </p:pic>
          <p:pic>
            <p:nvPicPr>
              <p:cNvPr id="1134" name="Picture 1133">
                <a:extLst>
                  <a:ext uri="{FF2B5EF4-FFF2-40B4-BE49-F238E27FC236}">
                    <a16:creationId xmlns:a16="http://schemas.microsoft.com/office/drawing/2014/main" id="{3451AB94-5B2F-4A4F-91EF-5D2B84533376}"/>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149249" y="1647804"/>
                <a:ext cx="97465" cy="118859"/>
              </a:xfrm>
              <a:prstGeom prst="rect">
                <a:avLst/>
              </a:prstGeom>
            </p:spPr>
          </p:pic>
          <p:pic>
            <p:nvPicPr>
              <p:cNvPr id="1135" name="Picture 1134">
                <a:extLst>
                  <a:ext uri="{FF2B5EF4-FFF2-40B4-BE49-F238E27FC236}">
                    <a16:creationId xmlns:a16="http://schemas.microsoft.com/office/drawing/2014/main" id="{500C7677-87B0-4422-8FEE-D83899CC8FB5}"/>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32730" y="1647804"/>
                <a:ext cx="71315" cy="118859"/>
              </a:xfrm>
              <a:prstGeom prst="rect">
                <a:avLst/>
              </a:prstGeom>
            </p:spPr>
          </p:pic>
          <p:pic>
            <p:nvPicPr>
              <p:cNvPr id="1136" name="Picture 1135">
                <a:extLst>
                  <a:ext uri="{FF2B5EF4-FFF2-40B4-BE49-F238E27FC236}">
                    <a16:creationId xmlns:a16="http://schemas.microsoft.com/office/drawing/2014/main" id="{45631BCD-F393-4DEF-84C2-4752A912B5F0}"/>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17454" y="1647804"/>
                <a:ext cx="97464" cy="118859"/>
              </a:xfrm>
              <a:prstGeom prst="rect">
                <a:avLst/>
              </a:prstGeom>
            </p:spPr>
          </p:pic>
          <p:pic>
            <p:nvPicPr>
              <p:cNvPr id="1137" name="Picture 1136">
                <a:extLst>
                  <a:ext uri="{FF2B5EF4-FFF2-40B4-BE49-F238E27FC236}">
                    <a16:creationId xmlns:a16="http://schemas.microsoft.com/office/drawing/2014/main" id="{7E0A1445-8F8E-480F-82F4-EA05920B227B}"/>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3351" y="1647804"/>
                <a:ext cx="97465" cy="118859"/>
              </a:xfrm>
              <a:prstGeom prst="rect">
                <a:avLst/>
              </a:prstGeom>
            </p:spPr>
          </p:pic>
        </p:grpSp>
        <p:pic>
          <p:nvPicPr>
            <p:cNvPr id="1124" name="Picture 1123">
              <a:extLst>
                <a:ext uri="{FF2B5EF4-FFF2-40B4-BE49-F238E27FC236}">
                  <a16:creationId xmlns:a16="http://schemas.microsoft.com/office/drawing/2014/main" id="{CF9DF003-92D5-4B78-80B6-5AA3C296FA66}"/>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006890" y="1515059"/>
              <a:ext cx="97464" cy="118859"/>
            </a:xfrm>
            <a:prstGeom prst="rect">
              <a:avLst/>
            </a:prstGeom>
          </p:spPr>
        </p:pic>
        <p:pic>
          <p:nvPicPr>
            <p:cNvPr id="1125" name="Picture 1124">
              <a:extLst>
                <a:ext uri="{FF2B5EF4-FFF2-40B4-BE49-F238E27FC236}">
                  <a16:creationId xmlns:a16="http://schemas.microsoft.com/office/drawing/2014/main" id="{BD2B0207-3213-4DCC-8120-1CE1C9C86BC8}"/>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204641" y="1515059"/>
              <a:ext cx="97465" cy="118859"/>
            </a:xfrm>
            <a:prstGeom prst="rect">
              <a:avLst/>
            </a:prstGeom>
          </p:spPr>
        </p:pic>
        <p:pic>
          <p:nvPicPr>
            <p:cNvPr id="1126" name="Picture 1125">
              <a:extLst>
                <a:ext uri="{FF2B5EF4-FFF2-40B4-BE49-F238E27FC236}">
                  <a16:creationId xmlns:a16="http://schemas.microsoft.com/office/drawing/2014/main" id="{8E358E8B-D3BE-4097-AA1F-BC6742D7820A}"/>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119801" y="1515059"/>
              <a:ext cx="71315" cy="118859"/>
            </a:xfrm>
            <a:prstGeom prst="rect">
              <a:avLst/>
            </a:prstGeom>
          </p:spPr>
        </p:pic>
        <p:pic>
          <p:nvPicPr>
            <p:cNvPr id="1226" name="Picture 1225">
              <a:extLst>
                <a:ext uri="{FF2B5EF4-FFF2-40B4-BE49-F238E27FC236}">
                  <a16:creationId xmlns:a16="http://schemas.microsoft.com/office/drawing/2014/main" id="{98735668-6B94-46F9-AFF8-A2B10EFCFF43}"/>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796754" y="1796680"/>
              <a:ext cx="71315" cy="118859"/>
            </a:xfrm>
            <a:prstGeom prst="rect">
              <a:avLst/>
            </a:prstGeom>
          </p:spPr>
        </p:pic>
        <p:sp>
          <p:nvSpPr>
            <p:cNvPr id="1108" name="Freeform 7">
              <a:extLst>
                <a:ext uri="{FF2B5EF4-FFF2-40B4-BE49-F238E27FC236}">
                  <a16:creationId xmlns:a16="http://schemas.microsoft.com/office/drawing/2014/main" id="{234D3F95-CF36-465D-8C7C-4FB2F26569C7}"/>
                </a:ext>
              </a:extLst>
            </p:cNvPr>
            <p:cNvSpPr>
              <a:spLocks noEditPoints="1"/>
            </p:cNvSpPr>
            <p:nvPr/>
          </p:nvSpPr>
          <p:spPr bwMode="auto">
            <a:xfrm>
              <a:off x="5075202" y="1798221"/>
              <a:ext cx="116840" cy="126130"/>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109" name="Group 1108">
              <a:extLst>
                <a:ext uri="{FF2B5EF4-FFF2-40B4-BE49-F238E27FC236}">
                  <a16:creationId xmlns:a16="http://schemas.microsoft.com/office/drawing/2014/main" id="{05E346F3-1FC7-4899-A34A-F3F4E8D104AC}"/>
                </a:ext>
              </a:extLst>
            </p:cNvPr>
            <p:cNvGrpSpPr/>
            <p:nvPr/>
          </p:nvGrpSpPr>
          <p:grpSpPr>
            <a:xfrm>
              <a:off x="5214395" y="1927873"/>
              <a:ext cx="105708" cy="133072"/>
              <a:chOff x="2476226" y="-1323925"/>
              <a:chExt cx="1051959" cy="1324272"/>
            </a:xfrm>
          </p:grpSpPr>
          <p:sp>
            <p:nvSpPr>
              <p:cNvPr id="1110" name="Freeform 5">
                <a:extLst>
                  <a:ext uri="{FF2B5EF4-FFF2-40B4-BE49-F238E27FC236}">
                    <a16:creationId xmlns:a16="http://schemas.microsoft.com/office/drawing/2014/main" id="{DCD87FAC-84C6-4BB4-A83B-5D33C57975F0}"/>
                  </a:ext>
                </a:extLst>
              </p:cNvPr>
              <p:cNvSpPr>
                <a:spLocks/>
              </p:cNvSpPr>
              <p:nvPr/>
            </p:nvSpPr>
            <p:spPr bwMode="auto">
              <a:xfrm>
                <a:off x="2476226" y="-1323925"/>
                <a:ext cx="1051959" cy="1324272"/>
              </a:xfrm>
              <a:custGeom>
                <a:avLst/>
                <a:gdLst>
                  <a:gd name="T0" fmla="*/ 432 w 433"/>
                  <a:gd name="T1" fmla="*/ 34 h 547"/>
                  <a:gd name="T2" fmla="*/ 418 w 433"/>
                  <a:gd name="T3" fmla="*/ 17 h 547"/>
                  <a:gd name="T4" fmla="*/ 372 w 433"/>
                  <a:gd name="T5" fmla="*/ 76 h 547"/>
                  <a:gd name="T6" fmla="*/ 63 w 433"/>
                  <a:gd name="T7" fmla="*/ 77 h 547"/>
                  <a:gd name="T8" fmla="*/ 21 w 433"/>
                  <a:gd name="T9" fmla="*/ 32 h 547"/>
                  <a:gd name="T10" fmla="*/ 6 w 433"/>
                  <a:gd name="T11" fmla="*/ 16 h 547"/>
                  <a:gd name="T12" fmla="*/ 16 w 433"/>
                  <a:gd name="T13" fmla="*/ 111 h 547"/>
                  <a:gd name="T14" fmla="*/ 9 w 433"/>
                  <a:gd name="T15" fmla="*/ 218 h 547"/>
                  <a:gd name="T16" fmla="*/ 13 w 433"/>
                  <a:gd name="T17" fmla="*/ 313 h 547"/>
                  <a:gd name="T18" fmla="*/ 12 w 433"/>
                  <a:gd name="T19" fmla="*/ 351 h 547"/>
                  <a:gd name="T20" fmla="*/ 15 w 433"/>
                  <a:gd name="T21" fmla="*/ 379 h 547"/>
                  <a:gd name="T22" fmla="*/ 18 w 433"/>
                  <a:gd name="T23" fmla="*/ 418 h 547"/>
                  <a:gd name="T24" fmla="*/ 45 w 433"/>
                  <a:gd name="T25" fmla="*/ 418 h 547"/>
                  <a:gd name="T26" fmla="*/ 37 w 433"/>
                  <a:gd name="T27" fmla="*/ 404 h 547"/>
                  <a:gd name="T28" fmla="*/ 34 w 433"/>
                  <a:gd name="T29" fmla="*/ 378 h 547"/>
                  <a:gd name="T30" fmla="*/ 37 w 433"/>
                  <a:gd name="T31" fmla="*/ 352 h 547"/>
                  <a:gd name="T32" fmla="*/ 43 w 433"/>
                  <a:gd name="T33" fmla="*/ 331 h 547"/>
                  <a:gd name="T34" fmla="*/ 131 w 433"/>
                  <a:gd name="T35" fmla="*/ 449 h 547"/>
                  <a:gd name="T36" fmla="*/ 149 w 433"/>
                  <a:gd name="T37" fmla="*/ 516 h 547"/>
                  <a:gd name="T38" fmla="*/ 84 w 433"/>
                  <a:gd name="T39" fmla="*/ 508 h 547"/>
                  <a:gd name="T40" fmla="*/ 56 w 433"/>
                  <a:gd name="T41" fmla="*/ 540 h 547"/>
                  <a:gd name="T42" fmla="*/ 84 w 433"/>
                  <a:gd name="T43" fmla="*/ 547 h 547"/>
                  <a:gd name="T44" fmla="*/ 153 w 433"/>
                  <a:gd name="T45" fmla="*/ 546 h 547"/>
                  <a:gd name="T46" fmla="*/ 169 w 433"/>
                  <a:gd name="T47" fmla="*/ 541 h 547"/>
                  <a:gd name="T48" fmla="*/ 163 w 433"/>
                  <a:gd name="T49" fmla="*/ 447 h 547"/>
                  <a:gd name="T50" fmla="*/ 217 w 433"/>
                  <a:gd name="T51" fmla="*/ 426 h 547"/>
                  <a:gd name="T52" fmla="*/ 268 w 433"/>
                  <a:gd name="T53" fmla="*/ 448 h 547"/>
                  <a:gd name="T54" fmla="*/ 265 w 433"/>
                  <a:gd name="T55" fmla="*/ 541 h 547"/>
                  <a:gd name="T56" fmla="*/ 280 w 433"/>
                  <a:gd name="T57" fmla="*/ 546 h 547"/>
                  <a:gd name="T58" fmla="*/ 349 w 433"/>
                  <a:gd name="T59" fmla="*/ 547 h 547"/>
                  <a:gd name="T60" fmla="*/ 377 w 433"/>
                  <a:gd name="T61" fmla="*/ 540 h 547"/>
                  <a:gd name="T62" fmla="*/ 349 w 433"/>
                  <a:gd name="T63" fmla="*/ 508 h 547"/>
                  <a:gd name="T64" fmla="*/ 283 w 433"/>
                  <a:gd name="T65" fmla="*/ 516 h 547"/>
                  <a:gd name="T66" fmla="*/ 300 w 433"/>
                  <a:gd name="T67" fmla="*/ 448 h 547"/>
                  <a:gd name="T68" fmla="*/ 391 w 433"/>
                  <a:gd name="T69" fmla="*/ 331 h 547"/>
                  <a:gd name="T70" fmla="*/ 396 w 433"/>
                  <a:gd name="T71" fmla="*/ 352 h 547"/>
                  <a:gd name="T72" fmla="*/ 400 w 433"/>
                  <a:gd name="T73" fmla="*/ 378 h 547"/>
                  <a:gd name="T74" fmla="*/ 397 w 433"/>
                  <a:gd name="T75" fmla="*/ 404 h 547"/>
                  <a:gd name="T76" fmla="*/ 388 w 433"/>
                  <a:gd name="T77" fmla="*/ 418 h 547"/>
                  <a:gd name="T78" fmla="*/ 416 w 433"/>
                  <a:gd name="T79" fmla="*/ 418 h 547"/>
                  <a:gd name="T80" fmla="*/ 418 w 433"/>
                  <a:gd name="T81" fmla="*/ 379 h 547"/>
                  <a:gd name="T82" fmla="*/ 422 w 433"/>
                  <a:gd name="T83" fmla="*/ 351 h 547"/>
                  <a:gd name="T84" fmla="*/ 421 w 433"/>
                  <a:gd name="T85" fmla="*/ 313 h 547"/>
                  <a:gd name="T86" fmla="*/ 425 w 433"/>
                  <a:gd name="T87" fmla="*/ 218 h 547"/>
                  <a:gd name="T88" fmla="*/ 417 w 433"/>
                  <a:gd name="T89" fmla="*/ 111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3" h="547">
                    <a:moveTo>
                      <a:pt x="417" y="111"/>
                    </a:moveTo>
                    <a:cubicBezTo>
                      <a:pt x="423" y="99"/>
                      <a:pt x="427" y="86"/>
                      <a:pt x="430" y="73"/>
                    </a:cubicBezTo>
                    <a:cubicBezTo>
                      <a:pt x="432" y="60"/>
                      <a:pt x="433" y="47"/>
                      <a:pt x="432" y="34"/>
                    </a:cubicBezTo>
                    <a:cubicBezTo>
                      <a:pt x="431" y="28"/>
                      <a:pt x="429" y="22"/>
                      <a:pt x="427" y="16"/>
                    </a:cubicBezTo>
                    <a:cubicBezTo>
                      <a:pt x="425" y="10"/>
                      <a:pt x="422" y="5"/>
                      <a:pt x="419" y="0"/>
                    </a:cubicBezTo>
                    <a:cubicBezTo>
                      <a:pt x="419" y="6"/>
                      <a:pt x="419" y="12"/>
                      <a:pt x="418" y="17"/>
                    </a:cubicBezTo>
                    <a:cubicBezTo>
                      <a:pt x="417" y="22"/>
                      <a:pt x="415" y="27"/>
                      <a:pt x="413" y="32"/>
                    </a:cubicBezTo>
                    <a:cubicBezTo>
                      <a:pt x="408" y="41"/>
                      <a:pt x="402" y="50"/>
                      <a:pt x="395" y="57"/>
                    </a:cubicBezTo>
                    <a:cubicBezTo>
                      <a:pt x="388" y="64"/>
                      <a:pt x="381" y="70"/>
                      <a:pt x="372" y="76"/>
                    </a:cubicBezTo>
                    <a:cubicBezTo>
                      <a:pt x="372" y="76"/>
                      <a:pt x="371" y="77"/>
                      <a:pt x="370" y="77"/>
                    </a:cubicBezTo>
                    <a:cubicBezTo>
                      <a:pt x="332" y="36"/>
                      <a:pt x="277" y="10"/>
                      <a:pt x="217" y="10"/>
                    </a:cubicBezTo>
                    <a:cubicBezTo>
                      <a:pt x="156" y="10"/>
                      <a:pt x="101" y="36"/>
                      <a:pt x="63" y="77"/>
                    </a:cubicBezTo>
                    <a:cubicBezTo>
                      <a:pt x="63" y="77"/>
                      <a:pt x="62" y="76"/>
                      <a:pt x="61" y="76"/>
                    </a:cubicBezTo>
                    <a:cubicBezTo>
                      <a:pt x="53" y="70"/>
                      <a:pt x="45" y="64"/>
                      <a:pt x="38" y="57"/>
                    </a:cubicBezTo>
                    <a:cubicBezTo>
                      <a:pt x="31" y="50"/>
                      <a:pt x="25" y="41"/>
                      <a:pt x="21" y="32"/>
                    </a:cubicBezTo>
                    <a:cubicBezTo>
                      <a:pt x="19" y="27"/>
                      <a:pt x="17" y="22"/>
                      <a:pt x="16" y="17"/>
                    </a:cubicBezTo>
                    <a:cubicBezTo>
                      <a:pt x="15" y="12"/>
                      <a:pt x="14" y="6"/>
                      <a:pt x="15" y="0"/>
                    </a:cubicBezTo>
                    <a:cubicBezTo>
                      <a:pt x="11" y="5"/>
                      <a:pt x="9" y="10"/>
                      <a:pt x="6" y="16"/>
                    </a:cubicBezTo>
                    <a:cubicBezTo>
                      <a:pt x="4" y="22"/>
                      <a:pt x="3" y="28"/>
                      <a:pt x="2" y="34"/>
                    </a:cubicBezTo>
                    <a:cubicBezTo>
                      <a:pt x="0" y="47"/>
                      <a:pt x="1" y="60"/>
                      <a:pt x="4" y="73"/>
                    </a:cubicBezTo>
                    <a:cubicBezTo>
                      <a:pt x="7" y="86"/>
                      <a:pt x="11" y="99"/>
                      <a:pt x="16" y="111"/>
                    </a:cubicBezTo>
                    <a:cubicBezTo>
                      <a:pt x="19" y="117"/>
                      <a:pt x="22" y="123"/>
                      <a:pt x="25" y="128"/>
                    </a:cubicBezTo>
                    <a:cubicBezTo>
                      <a:pt x="26" y="130"/>
                      <a:pt x="26" y="131"/>
                      <a:pt x="27" y="132"/>
                    </a:cubicBezTo>
                    <a:cubicBezTo>
                      <a:pt x="15" y="158"/>
                      <a:pt x="9" y="187"/>
                      <a:pt x="9" y="218"/>
                    </a:cubicBezTo>
                    <a:cubicBezTo>
                      <a:pt x="9" y="244"/>
                      <a:pt x="14" y="269"/>
                      <a:pt x="22" y="292"/>
                    </a:cubicBezTo>
                    <a:cubicBezTo>
                      <a:pt x="22" y="293"/>
                      <a:pt x="21" y="294"/>
                      <a:pt x="21" y="295"/>
                    </a:cubicBezTo>
                    <a:cubicBezTo>
                      <a:pt x="17" y="301"/>
                      <a:pt x="14" y="306"/>
                      <a:pt x="13" y="313"/>
                    </a:cubicBezTo>
                    <a:cubicBezTo>
                      <a:pt x="11" y="319"/>
                      <a:pt x="10" y="325"/>
                      <a:pt x="10" y="331"/>
                    </a:cubicBezTo>
                    <a:cubicBezTo>
                      <a:pt x="11" y="341"/>
                      <a:pt x="11" y="341"/>
                      <a:pt x="11" y="341"/>
                    </a:cubicBezTo>
                    <a:cubicBezTo>
                      <a:pt x="11" y="344"/>
                      <a:pt x="11" y="347"/>
                      <a:pt x="12" y="351"/>
                    </a:cubicBezTo>
                    <a:cubicBezTo>
                      <a:pt x="12" y="354"/>
                      <a:pt x="12" y="357"/>
                      <a:pt x="12" y="360"/>
                    </a:cubicBezTo>
                    <a:cubicBezTo>
                      <a:pt x="13" y="363"/>
                      <a:pt x="13" y="367"/>
                      <a:pt x="13" y="370"/>
                    </a:cubicBezTo>
                    <a:cubicBezTo>
                      <a:pt x="14" y="373"/>
                      <a:pt x="14" y="376"/>
                      <a:pt x="15" y="379"/>
                    </a:cubicBezTo>
                    <a:cubicBezTo>
                      <a:pt x="17" y="389"/>
                      <a:pt x="17" y="389"/>
                      <a:pt x="17" y="389"/>
                    </a:cubicBezTo>
                    <a:cubicBezTo>
                      <a:pt x="19" y="393"/>
                      <a:pt x="20" y="398"/>
                      <a:pt x="22" y="402"/>
                    </a:cubicBezTo>
                    <a:cubicBezTo>
                      <a:pt x="19" y="406"/>
                      <a:pt x="18" y="413"/>
                      <a:pt x="18" y="418"/>
                    </a:cubicBezTo>
                    <a:cubicBezTo>
                      <a:pt x="18" y="426"/>
                      <a:pt x="24" y="431"/>
                      <a:pt x="31" y="431"/>
                    </a:cubicBezTo>
                    <a:cubicBezTo>
                      <a:pt x="39" y="431"/>
                      <a:pt x="45" y="426"/>
                      <a:pt x="45" y="418"/>
                    </a:cubicBezTo>
                    <a:cubicBezTo>
                      <a:pt x="45" y="418"/>
                      <a:pt x="45" y="418"/>
                      <a:pt x="45" y="418"/>
                    </a:cubicBezTo>
                    <a:cubicBezTo>
                      <a:pt x="48" y="416"/>
                      <a:pt x="49" y="412"/>
                      <a:pt x="47" y="408"/>
                    </a:cubicBezTo>
                    <a:cubicBezTo>
                      <a:pt x="45" y="404"/>
                      <a:pt x="40" y="402"/>
                      <a:pt x="37" y="404"/>
                    </a:cubicBezTo>
                    <a:cubicBezTo>
                      <a:pt x="37" y="404"/>
                      <a:pt x="37" y="404"/>
                      <a:pt x="37" y="404"/>
                    </a:cubicBezTo>
                    <a:cubicBezTo>
                      <a:pt x="35" y="403"/>
                      <a:pt x="34" y="402"/>
                      <a:pt x="33" y="402"/>
                    </a:cubicBezTo>
                    <a:cubicBezTo>
                      <a:pt x="33" y="397"/>
                      <a:pt x="33" y="392"/>
                      <a:pt x="33" y="387"/>
                    </a:cubicBezTo>
                    <a:cubicBezTo>
                      <a:pt x="34" y="378"/>
                      <a:pt x="34" y="378"/>
                      <a:pt x="34" y="378"/>
                    </a:cubicBezTo>
                    <a:cubicBezTo>
                      <a:pt x="34" y="375"/>
                      <a:pt x="34" y="372"/>
                      <a:pt x="35" y="369"/>
                    </a:cubicBezTo>
                    <a:cubicBezTo>
                      <a:pt x="35" y="366"/>
                      <a:pt x="35" y="364"/>
                      <a:pt x="36" y="361"/>
                    </a:cubicBezTo>
                    <a:cubicBezTo>
                      <a:pt x="36" y="358"/>
                      <a:pt x="37" y="355"/>
                      <a:pt x="37" y="352"/>
                    </a:cubicBezTo>
                    <a:cubicBezTo>
                      <a:pt x="38" y="349"/>
                      <a:pt x="38" y="346"/>
                      <a:pt x="39" y="343"/>
                    </a:cubicBezTo>
                    <a:cubicBezTo>
                      <a:pt x="42" y="335"/>
                      <a:pt x="42" y="335"/>
                      <a:pt x="42" y="335"/>
                    </a:cubicBezTo>
                    <a:cubicBezTo>
                      <a:pt x="42" y="334"/>
                      <a:pt x="42" y="332"/>
                      <a:pt x="43" y="331"/>
                    </a:cubicBezTo>
                    <a:cubicBezTo>
                      <a:pt x="63" y="363"/>
                      <a:pt x="92" y="388"/>
                      <a:pt x="126" y="405"/>
                    </a:cubicBezTo>
                    <a:cubicBezTo>
                      <a:pt x="125" y="411"/>
                      <a:pt x="125" y="418"/>
                      <a:pt x="127" y="424"/>
                    </a:cubicBezTo>
                    <a:cubicBezTo>
                      <a:pt x="128" y="433"/>
                      <a:pt x="130" y="441"/>
                      <a:pt x="131" y="449"/>
                    </a:cubicBezTo>
                    <a:cubicBezTo>
                      <a:pt x="133" y="457"/>
                      <a:pt x="134" y="466"/>
                      <a:pt x="136" y="474"/>
                    </a:cubicBezTo>
                    <a:cubicBezTo>
                      <a:pt x="138" y="482"/>
                      <a:pt x="140" y="490"/>
                      <a:pt x="143" y="498"/>
                    </a:cubicBezTo>
                    <a:cubicBezTo>
                      <a:pt x="145" y="504"/>
                      <a:pt x="147" y="510"/>
                      <a:pt x="149" y="516"/>
                    </a:cubicBezTo>
                    <a:cubicBezTo>
                      <a:pt x="146" y="513"/>
                      <a:pt x="143" y="510"/>
                      <a:pt x="139" y="508"/>
                    </a:cubicBezTo>
                    <a:cubicBezTo>
                      <a:pt x="130" y="502"/>
                      <a:pt x="121" y="499"/>
                      <a:pt x="112" y="499"/>
                    </a:cubicBezTo>
                    <a:cubicBezTo>
                      <a:pt x="102" y="499"/>
                      <a:pt x="93" y="502"/>
                      <a:pt x="84" y="508"/>
                    </a:cubicBezTo>
                    <a:cubicBezTo>
                      <a:pt x="79" y="511"/>
                      <a:pt x="75" y="515"/>
                      <a:pt x="70" y="520"/>
                    </a:cubicBezTo>
                    <a:cubicBezTo>
                      <a:pt x="68" y="523"/>
                      <a:pt x="65" y="525"/>
                      <a:pt x="63" y="529"/>
                    </a:cubicBezTo>
                    <a:cubicBezTo>
                      <a:pt x="61" y="532"/>
                      <a:pt x="59" y="536"/>
                      <a:pt x="56" y="540"/>
                    </a:cubicBezTo>
                    <a:cubicBezTo>
                      <a:pt x="56" y="545"/>
                      <a:pt x="56" y="545"/>
                      <a:pt x="56" y="545"/>
                    </a:cubicBezTo>
                    <a:cubicBezTo>
                      <a:pt x="61" y="545"/>
                      <a:pt x="65" y="546"/>
                      <a:pt x="70" y="546"/>
                    </a:cubicBezTo>
                    <a:cubicBezTo>
                      <a:pt x="84" y="547"/>
                      <a:pt x="84" y="547"/>
                      <a:pt x="84" y="547"/>
                    </a:cubicBezTo>
                    <a:cubicBezTo>
                      <a:pt x="93" y="547"/>
                      <a:pt x="102" y="547"/>
                      <a:pt x="112" y="547"/>
                    </a:cubicBezTo>
                    <a:cubicBezTo>
                      <a:pt x="121" y="547"/>
                      <a:pt x="130" y="547"/>
                      <a:pt x="139" y="547"/>
                    </a:cubicBezTo>
                    <a:cubicBezTo>
                      <a:pt x="153" y="546"/>
                      <a:pt x="153" y="546"/>
                      <a:pt x="153" y="546"/>
                    </a:cubicBezTo>
                    <a:cubicBezTo>
                      <a:pt x="158" y="546"/>
                      <a:pt x="163" y="545"/>
                      <a:pt x="167" y="545"/>
                    </a:cubicBezTo>
                    <a:cubicBezTo>
                      <a:pt x="167" y="542"/>
                      <a:pt x="167" y="542"/>
                      <a:pt x="167" y="542"/>
                    </a:cubicBezTo>
                    <a:cubicBezTo>
                      <a:pt x="169" y="541"/>
                      <a:pt x="169" y="541"/>
                      <a:pt x="169" y="541"/>
                    </a:cubicBezTo>
                    <a:cubicBezTo>
                      <a:pt x="164" y="526"/>
                      <a:pt x="163" y="510"/>
                      <a:pt x="162" y="495"/>
                    </a:cubicBezTo>
                    <a:cubicBezTo>
                      <a:pt x="162" y="487"/>
                      <a:pt x="162" y="479"/>
                      <a:pt x="162" y="471"/>
                    </a:cubicBezTo>
                    <a:cubicBezTo>
                      <a:pt x="163" y="463"/>
                      <a:pt x="163" y="455"/>
                      <a:pt x="163" y="447"/>
                    </a:cubicBezTo>
                    <a:cubicBezTo>
                      <a:pt x="164" y="439"/>
                      <a:pt x="165" y="431"/>
                      <a:pt x="166" y="424"/>
                    </a:cubicBezTo>
                    <a:cubicBezTo>
                      <a:pt x="166" y="422"/>
                      <a:pt x="167" y="421"/>
                      <a:pt x="167" y="420"/>
                    </a:cubicBezTo>
                    <a:cubicBezTo>
                      <a:pt x="183" y="424"/>
                      <a:pt x="199" y="426"/>
                      <a:pt x="217" y="426"/>
                    </a:cubicBezTo>
                    <a:cubicBezTo>
                      <a:pt x="233" y="426"/>
                      <a:pt x="248" y="424"/>
                      <a:pt x="263" y="420"/>
                    </a:cubicBezTo>
                    <a:cubicBezTo>
                      <a:pt x="263" y="422"/>
                      <a:pt x="263" y="423"/>
                      <a:pt x="264" y="424"/>
                    </a:cubicBezTo>
                    <a:cubicBezTo>
                      <a:pt x="265" y="432"/>
                      <a:pt x="267" y="440"/>
                      <a:pt x="268" y="448"/>
                    </a:cubicBezTo>
                    <a:cubicBezTo>
                      <a:pt x="268" y="455"/>
                      <a:pt x="269" y="463"/>
                      <a:pt x="269" y="471"/>
                    </a:cubicBezTo>
                    <a:cubicBezTo>
                      <a:pt x="270" y="479"/>
                      <a:pt x="270" y="487"/>
                      <a:pt x="270" y="495"/>
                    </a:cubicBezTo>
                    <a:cubicBezTo>
                      <a:pt x="270" y="510"/>
                      <a:pt x="269" y="526"/>
                      <a:pt x="265" y="541"/>
                    </a:cubicBezTo>
                    <a:cubicBezTo>
                      <a:pt x="266" y="542"/>
                      <a:pt x="266" y="542"/>
                      <a:pt x="266" y="542"/>
                    </a:cubicBezTo>
                    <a:cubicBezTo>
                      <a:pt x="266" y="545"/>
                      <a:pt x="266" y="545"/>
                      <a:pt x="266" y="545"/>
                    </a:cubicBezTo>
                    <a:cubicBezTo>
                      <a:pt x="271" y="545"/>
                      <a:pt x="275" y="546"/>
                      <a:pt x="280" y="546"/>
                    </a:cubicBezTo>
                    <a:cubicBezTo>
                      <a:pt x="294" y="547"/>
                      <a:pt x="294" y="547"/>
                      <a:pt x="294" y="547"/>
                    </a:cubicBezTo>
                    <a:cubicBezTo>
                      <a:pt x="303" y="547"/>
                      <a:pt x="312" y="547"/>
                      <a:pt x="322" y="547"/>
                    </a:cubicBezTo>
                    <a:cubicBezTo>
                      <a:pt x="331" y="547"/>
                      <a:pt x="340" y="547"/>
                      <a:pt x="349" y="547"/>
                    </a:cubicBezTo>
                    <a:cubicBezTo>
                      <a:pt x="363" y="546"/>
                      <a:pt x="363" y="546"/>
                      <a:pt x="363" y="546"/>
                    </a:cubicBezTo>
                    <a:cubicBezTo>
                      <a:pt x="368" y="546"/>
                      <a:pt x="373" y="545"/>
                      <a:pt x="377" y="545"/>
                    </a:cubicBezTo>
                    <a:cubicBezTo>
                      <a:pt x="377" y="540"/>
                      <a:pt x="377" y="540"/>
                      <a:pt x="377" y="540"/>
                    </a:cubicBezTo>
                    <a:cubicBezTo>
                      <a:pt x="375" y="536"/>
                      <a:pt x="373" y="532"/>
                      <a:pt x="370" y="529"/>
                    </a:cubicBezTo>
                    <a:cubicBezTo>
                      <a:pt x="368" y="525"/>
                      <a:pt x="366" y="523"/>
                      <a:pt x="363" y="520"/>
                    </a:cubicBezTo>
                    <a:cubicBezTo>
                      <a:pt x="359" y="515"/>
                      <a:pt x="354" y="511"/>
                      <a:pt x="349" y="508"/>
                    </a:cubicBezTo>
                    <a:cubicBezTo>
                      <a:pt x="340" y="502"/>
                      <a:pt x="331" y="499"/>
                      <a:pt x="322" y="499"/>
                    </a:cubicBezTo>
                    <a:cubicBezTo>
                      <a:pt x="312" y="499"/>
                      <a:pt x="303" y="502"/>
                      <a:pt x="294" y="508"/>
                    </a:cubicBezTo>
                    <a:cubicBezTo>
                      <a:pt x="290" y="510"/>
                      <a:pt x="287" y="513"/>
                      <a:pt x="283" y="516"/>
                    </a:cubicBezTo>
                    <a:cubicBezTo>
                      <a:pt x="286" y="510"/>
                      <a:pt x="288" y="504"/>
                      <a:pt x="290" y="498"/>
                    </a:cubicBezTo>
                    <a:cubicBezTo>
                      <a:pt x="292" y="489"/>
                      <a:pt x="294" y="481"/>
                      <a:pt x="296" y="473"/>
                    </a:cubicBezTo>
                    <a:cubicBezTo>
                      <a:pt x="297" y="465"/>
                      <a:pt x="298" y="456"/>
                      <a:pt x="300" y="448"/>
                    </a:cubicBezTo>
                    <a:cubicBezTo>
                      <a:pt x="300" y="440"/>
                      <a:pt x="302" y="432"/>
                      <a:pt x="303" y="423"/>
                    </a:cubicBezTo>
                    <a:cubicBezTo>
                      <a:pt x="304" y="418"/>
                      <a:pt x="304" y="412"/>
                      <a:pt x="304" y="407"/>
                    </a:cubicBezTo>
                    <a:cubicBezTo>
                      <a:pt x="339" y="390"/>
                      <a:pt x="370" y="364"/>
                      <a:pt x="391" y="331"/>
                    </a:cubicBezTo>
                    <a:cubicBezTo>
                      <a:pt x="391" y="332"/>
                      <a:pt x="392" y="334"/>
                      <a:pt x="392" y="335"/>
                    </a:cubicBezTo>
                    <a:cubicBezTo>
                      <a:pt x="394" y="343"/>
                      <a:pt x="394" y="343"/>
                      <a:pt x="394" y="343"/>
                    </a:cubicBezTo>
                    <a:cubicBezTo>
                      <a:pt x="395" y="346"/>
                      <a:pt x="396" y="349"/>
                      <a:pt x="396" y="352"/>
                    </a:cubicBezTo>
                    <a:cubicBezTo>
                      <a:pt x="397" y="355"/>
                      <a:pt x="397" y="358"/>
                      <a:pt x="398" y="361"/>
                    </a:cubicBezTo>
                    <a:cubicBezTo>
                      <a:pt x="398" y="364"/>
                      <a:pt x="399" y="366"/>
                      <a:pt x="399" y="369"/>
                    </a:cubicBezTo>
                    <a:cubicBezTo>
                      <a:pt x="399" y="372"/>
                      <a:pt x="400" y="375"/>
                      <a:pt x="400" y="378"/>
                    </a:cubicBezTo>
                    <a:cubicBezTo>
                      <a:pt x="400" y="387"/>
                      <a:pt x="400" y="387"/>
                      <a:pt x="400" y="387"/>
                    </a:cubicBezTo>
                    <a:cubicBezTo>
                      <a:pt x="401" y="392"/>
                      <a:pt x="401" y="397"/>
                      <a:pt x="400" y="402"/>
                    </a:cubicBezTo>
                    <a:cubicBezTo>
                      <a:pt x="399" y="402"/>
                      <a:pt x="398" y="403"/>
                      <a:pt x="397" y="404"/>
                    </a:cubicBezTo>
                    <a:cubicBezTo>
                      <a:pt x="397" y="404"/>
                      <a:pt x="397" y="404"/>
                      <a:pt x="396" y="404"/>
                    </a:cubicBezTo>
                    <a:cubicBezTo>
                      <a:pt x="393" y="402"/>
                      <a:pt x="389" y="404"/>
                      <a:pt x="387" y="408"/>
                    </a:cubicBezTo>
                    <a:cubicBezTo>
                      <a:pt x="385" y="412"/>
                      <a:pt x="386" y="416"/>
                      <a:pt x="388" y="418"/>
                    </a:cubicBezTo>
                    <a:cubicBezTo>
                      <a:pt x="388" y="418"/>
                      <a:pt x="388" y="418"/>
                      <a:pt x="388" y="418"/>
                    </a:cubicBezTo>
                    <a:cubicBezTo>
                      <a:pt x="388" y="426"/>
                      <a:pt x="395" y="431"/>
                      <a:pt x="402" y="431"/>
                    </a:cubicBezTo>
                    <a:cubicBezTo>
                      <a:pt x="410" y="431"/>
                      <a:pt x="416" y="426"/>
                      <a:pt x="416" y="418"/>
                    </a:cubicBezTo>
                    <a:cubicBezTo>
                      <a:pt x="416" y="413"/>
                      <a:pt x="415" y="406"/>
                      <a:pt x="412" y="402"/>
                    </a:cubicBezTo>
                    <a:cubicBezTo>
                      <a:pt x="413" y="398"/>
                      <a:pt x="415" y="393"/>
                      <a:pt x="416" y="389"/>
                    </a:cubicBezTo>
                    <a:cubicBezTo>
                      <a:pt x="418" y="379"/>
                      <a:pt x="418" y="379"/>
                      <a:pt x="418" y="379"/>
                    </a:cubicBezTo>
                    <a:cubicBezTo>
                      <a:pt x="419" y="376"/>
                      <a:pt x="420" y="373"/>
                      <a:pt x="420" y="370"/>
                    </a:cubicBezTo>
                    <a:cubicBezTo>
                      <a:pt x="421" y="367"/>
                      <a:pt x="421" y="363"/>
                      <a:pt x="421" y="360"/>
                    </a:cubicBezTo>
                    <a:cubicBezTo>
                      <a:pt x="421" y="357"/>
                      <a:pt x="422" y="354"/>
                      <a:pt x="422" y="351"/>
                    </a:cubicBezTo>
                    <a:cubicBezTo>
                      <a:pt x="422" y="347"/>
                      <a:pt x="422" y="344"/>
                      <a:pt x="423" y="341"/>
                    </a:cubicBezTo>
                    <a:cubicBezTo>
                      <a:pt x="423" y="331"/>
                      <a:pt x="423" y="331"/>
                      <a:pt x="423" y="331"/>
                    </a:cubicBezTo>
                    <a:cubicBezTo>
                      <a:pt x="424" y="325"/>
                      <a:pt x="423" y="319"/>
                      <a:pt x="421" y="313"/>
                    </a:cubicBezTo>
                    <a:cubicBezTo>
                      <a:pt x="419" y="306"/>
                      <a:pt x="416" y="301"/>
                      <a:pt x="413" y="295"/>
                    </a:cubicBezTo>
                    <a:cubicBezTo>
                      <a:pt x="412" y="294"/>
                      <a:pt x="412" y="293"/>
                      <a:pt x="411" y="292"/>
                    </a:cubicBezTo>
                    <a:cubicBezTo>
                      <a:pt x="420" y="269"/>
                      <a:pt x="425" y="244"/>
                      <a:pt x="425" y="218"/>
                    </a:cubicBezTo>
                    <a:cubicBezTo>
                      <a:pt x="425" y="187"/>
                      <a:pt x="418" y="158"/>
                      <a:pt x="406" y="132"/>
                    </a:cubicBezTo>
                    <a:cubicBezTo>
                      <a:pt x="407" y="131"/>
                      <a:pt x="408" y="130"/>
                      <a:pt x="409" y="128"/>
                    </a:cubicBezTo>
                    <a:cubicBezTo>
                      <a:pt x="412" y="123"/>
                      <a:pt x="415" y="117"/>
                      <a:pt x="417" y="11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11" name="Freeform 334">
                <a:extLst>
                  <a:ext uri="{FF2B5EF4-FFF2-40B4-BE49-F238E27FC236}">
                    <a16:creationId xmlns:a16="http://schemas.microsoft.com/office/drawing/2014/main" id="{32557A3B-73B5-41A5-95D3-7490D199AD0C}"/>
                  </a:ext>
                </a:extLst>
              </p:cNvPr>
              <p:cNvSpPr>
                <a:spLocks noEditPoints="1"/>
              </p:cNvSpPr>
              <p:nvPr/>
            </p:nvSpPr>
            <p:spPr bwMode="auto">
              <a:xfrm>
                <a:off x="2774713" y="-1084292"/>
                <a:ext cx="454985" cy="608776"/>
              </a:xfrm>
              <a:custGeom>
                <a:avLst/>
                <a:gdLst>
                  <a:gd name="T0" fmla="*/ 88 w 88"/>
                  <a:gd name="T1" fmla="*/ 31 h 108"/>
                  <a:gd name="T2" fmla="*/ 68 w 88"/>
                  <a:gd name="T3" fmla="*/ 23 h 108"/>
                  <a:gd name="T4" fmla="*/ 61 w 88"/>
                  <a:gd name="T5" fmla="*/ 1 h 108"/>
                  <a:gd name="T6" fmla="*/ 59 w 88"/>
                  <a:gd name="T7" fmla="*/ 0 h 108"/>
                  <a:gd name="T8" fmla="*/ 29 w 88"/>
                  <a:gd name="T9" fmla="*/ 0 h 108"/>
                  <a:gd name="T10" fmla="*/ 26 w 88"/>
                  <a:gd name="T11" fmla="*/ 2 h 108"/>
                  <a:gd name="T12" fmla="*/ 20 w 88"/>
                  <a:gd name="T13" fmla="*/ 23 h 108"/>
                  <a:gd name="T14" fmla="*/ 0 w 88"/>
                  <a:gd name="T15" fmla="*/ 31 h 108"/>
                  <a:gd name="T16" fmla="*/ 17 w 88"/>
                  <a:gd name="T17" fmla="*/ 36 h 108"/>
                  <a:gd name="T18" fmla="*/ 16 w 88"/>
                  <a:gd name="T19" fmla="*/ 45 h 108"/>
                  <a:gd name="T20" fmla="*/ 17 w 88"/>
                  <a:gd name="T21" fmla="*/ 54 h 108"/>
                  <a:gd name="T22" fmla="*/ 16 w 88"/>
                  <a:gd name="T23" fmla="*/ 54 h 108"/>
                  <a:gd name="T24" fmla="*/ 12 w 88"/>
                  <a:gd name="T25" fmla="*/ 58 h 108"/>
                  <a:gd name="T26" fmla="*/ 12 w 88"/>
                  <a:gd name="T27" fmla="*/ 63 h 108"/>
                  <a:gd name="T28" fmla="*/ 5 w 88"/>
                  <a:gd name="T29" fmla="*/ 72 h 108"/>
                  <a:gd name="T30" fmla="*/ 5 w 88"/>
                  <a:gd name="T31" fmla="*/ 100 h 108"/>
                  <a:gd name="T32" fmla="*/ 13 w 88"/>
                  <a:gd name="T33" fmla="*/ 108 h 108"/>
                  <a:gd name="T34" fmla="*/ 43 w 88"/>
                  <a:gd name="T35" fmla="*/ 108 h 108"/>
                  <a:gd name="T36" fmla="*/ 43 w 88"/>
                  <a:gd name="T37" fmla="*/ 71 h 108"/>
                  <a:gd name="T38" fmla="*/ 46 w 88"/>
                  <a:gd name="T39" fmla="*/ 71 h 108"/>
                  <a:gd name="T40" fmla="*/ 46 w 88"/>
                  <a:gd name="T41" fmla="*/ 108 h 108"/>
                  <a:gd name="T42" fmla="*/ 76 w 88"/>
                  <a:gd name="T43" fmla="*/ 107 h 108"/>
                  <a:gd name="T44" fmla="*/ 84 w 88"/>
                  <a:gd name="T45" fmla="*/ 99 h 108"/>
                  <a:gd name="T46" fmla="*/ 83 w 88"/>
                  <a:gd name="T47" fmla="*/ 71 h 108"/>
                  <a:gd name="T48" fmla="*/ 77 w 88"/>
                  <a:gd name="T49" fmla="*/ 63 h 108"/>
                  <a:gd name="T50" fmla="*/ 77 w 88"/>
                  <a:gd name="T51" fmla="*/ 58 h 108"/>
                  <a:gd name="T52" fmla="*/ 72 w 88"/>
                  <a:gd name="T53" fmla="*/ 53 h 108"/>
                  <a:gd name="T54" fmla="*/ 71 w 88"/>
                  <a:gd name="T55" fmla="*/ 53 h 108"/>
                  <a:gd name="T56" fmla="*/ 73 w 88"/>
                  <a:gd name="T57" fmla="*/ 45 h 108"/>
                  <a:gd name="T58" fmla="*/ 71 w 88"/>
                  <a:gd name="T59" fmla="*/ 36 h 108"/>
                  <a:gd name="T60" fmla="*/ 88 w 88"/>
                  <a:gd name="T61" fmla="*/ 31 h 108"/>
                  <a:gd name="T62" fmla="*/ 63 w 88"/>
                  <a:gd name="T63" fmla="*/ 53 h 108"/>
                  <a:gd name="T64" fmla="*/ 60 w 88"/>
                  <a:gd name="T65" fmla="*/ 53 h 108"/>
                  <a:gd name="T66" fmla="*/ 55 w 88"/>
                  <a:gd name="T67" fmla="*/ 58 h 108"/>
                  <a:gd name="T68" fmla="*/ 56 w 88"/>
                  <a:gd name="T69" fmla="*/ 67 h 108"/>
                  <a:gd name="T70" fmla="*/ 33 w 88"/>
                  <a:gd name="T71" fmla="*/ 67 h 108"/>
                  <a:gd name="T72" fmla="*/ 33 w 88"/>
                  <a:gd name="T73" fmla="*/ 58 h 108"/>
                  <a:gd name="T74" fmla="*/ 28 w 88"/>
                  <a:gd name="T75" fmla="*/ 54 h 108"/>
                  <a:gd name="T76" fmla="*/ 25 w 88"/>
                  <a:gd name="T77" fmla="*/ 54 h 108"/>
                  <a:gd name="T78" fmla="*/ 23 w 88"/>
                  <a:gd name="T79" fmla="*/ 49 h 108"/>
                  <a:gd name="T80" fmla="*/ 23 w 88"/>
                  <a:gd name="T81" fmla="*/ 41 h 108"/>
                  <a:gd name="T82" fmla="*/ 24 w 88"/>
                  <a:gd name="T83" fmla="*/ 37 h 108"/>
                  <a:gd name="T84" fmla="*/ 43 w 88"/>
                  <a:gd name="T85" fmla="*/ 38 h 108"/>
                  <a:gd name="T86" fmla="*/ 44 w 88"/>
                  <a:gd name="T87" fmla="*/ 38 h 108"/>
                  <a:gd name="T88" fmla="*/ 44 w 88"/>
                  <a:gd name="T89" fmla="*/ 38 h 108"/>
                  <a:gd name="T90" fmla="*/ 45 w 88"/>
                  <a:gd name="T91" fmla="*/ 38 h 108"/>
                  <a:gd name="T92" fmla="*/ 64 w 88"/>
                  <a:gd name="T93" fmla="*/ 37 h 108"/>
                  <a:gd name="T94" fmla="*/ 65 w 88"/>
                  <a:gd name="T95" fmla="*/ 40 h 108"/>
                  <a:gd name="T96" fmla="*/ 65 w 88"/>
                  <a:gd name="T97" fmla="*/ 49 h 108"/>
                  <a:gd name="T98" fmla="*/ 63 w 88"/>
                  <a:gd name="T99"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8" h="108">
                    <a:moveTo>
                      <a:pt x="88" y="31"/>
                    </a:moveTo>
                    <a:cubicBezTo>
                      <a:pt x="88" y="28"/>
                      <a:pt x="80" y="24"/>
                      <a:pt x="68" y="23"/>
                    </a:cubicBezTo>
                    <a:cubicBezTo>
                      <a:pt x="68" y="23"/>
                      <a:pt x="68" y="23"/>
                      <a:pt x="61" y="1"/>
                    </a:cubicBezTo>
                    <a:cubicBezTo>
                      <a:pt x="61" y="0"/>
                      <a:pt x="60" y="0"/>
                      <a:pt x="59" y="0"/>
                    </a:cubicBezTo>
                    <a:cubicBezTo>
                      <a:pt x="49" y="0"/>
                      <a:pt x="39" y="0"/>
                      <a:pt x="29" y="0"/>
                    </a:cubicBezTo>
                    <a:cubicBezTo>
                      <a:pt x="27" y="0"/>
                      <a:pt x="27" y="1"/>
                      <a:pt x="26" y="2"/>
                    </a:cubicBezTo>
                    <a:cubicBezTo>
                      <a:pt x="26" y="2"/>
                      <a:pt x="26" y="2"/>
                      <a:pt x="20" y="23"/>
                    </a:cubicBezTo>
                    <a:cubicBezTo>
                      <a:pt x="8" y="25"/>
                      <a:pt x="0" y="28"/>
                      <a:pt x="0" y="31"/>
                    </a:cubicBezTo>
                    <a:cubicBezTo>
                      <a:pt x="0" y="33"/>
                      <a:pt x="7" y="35"/>
                      <a:pt x="17" y="36"/>
                    </a:cubicBezTo>
                    <a:cubicBezTo>
                      <a:pt x="16" y="39"/>
                      <a:pt x="16" y="42"/>
                      <a:pt x="16" y="45"/>
                    </a:cubicBezTo>
                    <a:cubicBezTo>
                      <a:pt x="16" y="48"/>
                      <a:pt x="16" y="51"/>
                      <a:pt x="17" y="54"/>
                    </a:cubicBezTo>
                    <a:cubicBezTo>
                      <a:pt x="17" y="54"/>
                      <a:pt x="17" y="54"/>
                      <a:pt x="16" y="54"/>
                    </a:cubicBezTo>
                    <a:cubicBezTo>
                      <a:pt x="14" y="54"/>
                      <a:pt x="12" y="56"/>
                      <a:pt x="12" y="58"/>
                    </a:cubicBezTo>
                    <a:cubicBezTo>
                      <a:pt x="12" y="58"/>
                      <a:pt x="12" y="58"/>
                      <a:pt x="12" y="63"/>
                    </a:cubicBezTo>
                    <a:cubicBezTo>
                      <a:pt x="8" y="64"/>
                      <a:pt x="5" y="67"/>
                      <a:pt x="5" y="72"/>
                    </a:cubicBezTo>
                    <a:cubicBezTo>
                      <a:pt x="5" y="72"/>
                      <a:pt x="5" y="72"/>
                      <a:pt x="5" y="100"/>
                    </a:cubicBezTo>
                    <a:cubicBezTo>
                      <a:pt x="5" y="104"/>
                      <a:pt x="9" y="108"/>
                      <a:pt x="13" y="108"/>
                    </a:cubicBezTo>
                    <a:cubicBezTo>
                      <a:pt x="13" y="108"/>
                      <a:pt x="13" y="108"/>
                      <a:pt x="43" y="108"/>
                    </a:cubicBezTo>
                    <a:cubicBezTo>
                      <a:pt x="43" y="108"/>
                      <a:pt x="43" y="108"/>
                      <a:pt x="43" y="71"/>
                    </a:cubicBezTo>
                    <a:cubicBezTo>
                      <a:pt x="44" y="71"/>
                      <a:pt x="45" y="71"/>
                      <a:pt x="46" y="71"/>
                    </a:cubicBezTo>
                    <a:cubicBezTo>
                      <a:pt x="46" y="71"/>
                      <a:pt x="46" y="71"/>
                      <a:pt x="46" y="108"/>
                    </a:cubicBezTo>
                    <a:cubicBezTo>
                      <a:pt x="46" y="108"/>
                      <a:pt x="46" y="108"/>
                      <a:pt x="76" y="107"/>
                    </a:cubicBezTo>
                    <a:cubicBezTo>
                      <a:pt x="80" y="107"/>
                      <a:pt x="84" y="104"/>
                      <a:pt x="84" y="99"/>
                    </a:cubicBezTo>
                    <a:cubicBezTo>
                      <a:pt x="84" y="99"/>
                      <a:pt x="84" y="99"/>
                      <a:pt x="83" y="71"/>
                    </a:cubicBezTo>
                    <a:cubicBezTo>
                      <a:pt x="83" y="67"/>
                      <a:pt x="81" y="63"/>
                      <a:pt x="77" y="63"/>
                    </a:cubicBezTo>
                    <a:cubicBezTo>
                      <a:pt x="77" y="63"/>
                      <a:pt x="77" y="63"/>
                      <a:pt x="77" y="58"/>
                    </a:cubicBezTo>
                    <a:cubicBezTo>
                      <a:pt x="77" y="55"/>
                      <a:pt x="75" y="53"/>
                      <a:pt x="72" y="53"/>
                    </a:cubicBezTo>
                    <a:cubicBezTo>
                      <a:pt x="72" y="53"/>
                      <a:pt x="72" y="53"/>
                      <a:pt x="71" y="53"/>
                    </a:cubicBezTo>
                    <a:cubicBezTo>
                      <a:pt x="72" y="51"/>
                      <a:pt x="73" y="48"/>
                      <a:pt x="73" y="45"/>
                    </a:cubicBezTo>
                    <a:cubicBezTo>
                      <a:pt x="73" y="42"/>
                      <a:pt x="72" y="39"/>
                      <a:pt x="71" y="36"/>
                    </a:cubicBezTo>
                    <a:cubicBezTo>
                      <a:pt x="82" y="34"/>
                      <a:pt x="88" y="32"/>
                      <a:pt x="88" y="31"/>
                    </a:cubicBezTo>
                    <a:close/>
                    <a:moveTo>
                      <a:pt x="63" y="53"/>
                    </a:moveTo>
                    <a:cubicBezTo>
                      <a:pt x="63" y="53"/>
                      <a:pt x="63" y="53"/>
                      <a:pt x="60" y="53"/>
                    </a:cubicBezTo>
                    <a:cubicBezTo>
                      <a:pt x="57" y="53"/>
                      <a:pt x="55" y="56"/>
                      <a:pt x="55" y="58"/>
                    </a:cubicBezTo>
                    <a:cubicBezTo>
                      <a:pt x="55" y="58"/>
                      <a:pt x="55" y="58"/>
                      <a:pt x="56" y="67"/>
                    </a:cubicBezTo>
                    <a:cubicBezTo>
                      <a:pt x="49" y="71"/>
                      <a:pt x="40" y="71"/>
                      <a:pt x="33" y="67"/>
                    </a:cubicBezTo>
                    <a:cubicBezTo>
                      <a:pt x="33" y="67"/>
                      <a:pt x="33" y="67"/>
                      <a:pt x="33" y="58"/>
                    </a:cubicBezTo>
                    <a:cubicBezTo>
                      <a:pt x="33" y="56"/>
                      <a:pt x="31" y="54"/>
                      <a:pt x="28" y="54"/>
                    </a:cubicBezTo>
                    <a:cubicBezTo>
                      <a:pt x="28" y="54"/>
                      <a:pt x="28" y="54"/>
                      <a:pt x="25" y="54"/>
                    </a:cubicBezTo>
                    <a:cubicBezTo>
                      <a:pt x="24" y="53"/>
                      <a:pt x="23" y="51"/>
                      <a:pt x="23" y="49"/>
                    </a:cubicBezTo>
                    <a:cubicBezTo>
                      <a:pt x="23" y="49"/>
                      <a:pt x="23" y="49"/>
                      <a:pt x="23" y="41"/>
                    </a:cubicBezTo>
                    <a:cubicBezTo>
                      <a:pt x="23" y="39"/>
                      <a:pt x="23" y="38"/>
                      <a:pt x="24" y="37"/>
                    </a:cubicBezTo>
                    <a:cubicBezTo>
                      <a:pt x="30" y="38"/>
                      <a:pt x="36" y="38"/>
                      <a:pt x="43" y="38"/>
                    </a:cubicBezTo>
                    <a:cubicBezTo>
                      <a:pt x="43" y="38"/>
                      <a:pt x="43" y="38"/>
                      <a:pt x="44" y="38"/>
                    </a:cubicBezTo>
                    <a:cubicBezTo>
                      <a:pt x="44" y="38"/>
                      <a:pt x="44" y="38"/>
                      <a:pt x="44" y="38"/>
                    </a:cubicBezTo>
                    <a:cubicBezTo>
                      <a:pt x="44" y="38"/>
                      <a:pt x="44" y="38"/>
                      <a:pt x="45" y="38"/>
                    </a:cubicBezTo>
                    <a:cubicBezTo>
                      <a:pt x="52" y="38"/>
                      <a:pt x="59" y="37"/>
                      <a:pt x="64" y="37"/>
                    </a:cubicBezTo>
                    <a:cubicBezTo>
                      <a:pt x="65" y="38"/>
                      <a:pt x="65" y="39"/>
                      <a:pt x="65" y="40"/>
                    </a:cubicBezTo>
                    <a:cubicBezTo>
                      <a:pt x="65" y="40"/>
                      <a:pt x="65" y="40"/>
                      <a:pt x="65" y="49"/>
                    </a:cubicBezTo>
                    <a:cubicBezTo>
                      <a:pt x="65" y="51"/>
                      <a:pt x="65" y="53"/>
                      <a:pt x="63" y="53"/>
                    </a:cubicBezTo>
                    <a:close/>
                  </a:path>
                </a:pathLst>
              </a:custGeom>
              <a:solidFill>
                <a:schemeClr val="bg2"/>
              </a:solidFill>
              <a:ln>
                <a:noFill/>
              </a:ln>
              <a:effectLst/>
              <a:extLst/>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73"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iscoSansTT ExtraLight"/>
                  <a:ea typeface="+mn-ea"/>
                  <a:cs typeface="+mn-cs"/>
                </a:endParaRPr>
              </a:p>
            </p:txBody>
          </p:sp>
        </p:grpSp>
        <p:grpSp>
          <p:nvGrpSpPr>
            <p:cNvPr id="1149" name="Group 1148">
              <a:extLst>
                <a:ext uri="{FF2B5EF4-FFF2-40B4-BE49-F238E27FC236}">
                  <a16:creationId xmlns:a16="http://schemas.microsoft.com/office/drawing/2014/main" id="{998C39D3-CC7C-4016-8E30-92C2E75C341B}"/>
                </a:ext>
              </a:extLst>
            </p:cNvPr>
            <p:cNvGrpSpPr/>
            <p:nvPr/>
          </p:nvGrpSpPr>
          <p:grpSpPr>
            <a:xfrm>
              <a:off x="4890069" y="1639681"/>
              <a:ext cx="530778" cy="151952"/>
              <a:chOff x="5252498" y="3840723"/>
              <a:chExt cx="438659" cy="125580"/>
            </a:xfrm>
            <a:solidFill>
              <a:schemeClr val="tx2"/>
            </a:solidFill>
          </p:grpSpPr>
          <p:grpSp>
            <p:nvGrpSpPr>
              <p:cNvPr id="1209" name="Group 1208">
                <a:extLst>
                  <a:ext uri="{FF2B5EF4-FFF2-40B4-BE49-F238E27FC236}">
                    <a16:creationId xmlns:a16="http://schemas.microsoft.com/office/drawing/2014/main" id="{4E4AE4CD-FEF7-4ED7-83A8-7529C96417E5}"/>
                  </a:ext>
                </a:extLst>
              </p:cNvPr>
              <p:cNvGrpSpPr/>
              <p:nvPr/>
            </p:nvGrpSpPr>
            <p:grpSpPr>
              <a:xfrm flipH="1">
                <a:off x="5252498" y="3840723"/>
                <a:ext cx="23234" cy="125580"/>
                <a:chOff x="5969746" y="3650326"/>
                <a:chExt cx="73794" cy="398864"/>
              </a:xfrm>
              <a:grpFill/>
            </p:grpSpPr>
            <p:sp>
              <p:nvSpPr>
                <p:cNvPr id="1222" name="Rectangle: Rounded Corners 1221">
                  <a:extLst>
                    <a:ext uri="{FF2B5EF4-FFF2-40B4-BE49-F238E27FC236}">
                      <a16:creationId xmlns:a16="http://schemas.microsoft.com/office/drawing/2014/main" id="{A87F5820-1F1A-404E-9881-665C79F99C5F}"/>
                    </a:ext>
                  </a:extLst>
                </p:cNvPr>
                <p:cNvSpPr/>
                <p:nvPr/>
              </p:nvSpPr>
              <p:spPr>
                <a:xfrm rot="2402406">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23" name="Rectangle: Rounded Corners 1222">
                  <a:extLst>
                    <a:ext uri="{FF2B5EF4-FFF2-40B4-BE49-F238E27FC236}">
                      <a16:creationId xmlns:a16="http://schemas.microsoft.com/office/drawing/2014/main" id="{7584277C-163C-43E5-9D14-A3C6ED117E3B}"/>
                    </a:ext>
                  </a:extLst>
                </p:cNvPr>
                <p:cNvSpPr/>
                <p:nvPr/>
              </p:nvSpPr>
              <p:spPr>
                <a:xfrm rot="19197594" flipH="1">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210" name="Group 1209">
                <a:extLst>
                  <a:ext uri="{FF2B5EF4-FFF2-40B4-BE49-F238E27FC236}">
                    <a16:creationId xmlns:a16="http://schemas.microsoft.com/office/drawing/2014/main" id="{DF03BBDB-D5B4-4725-A200-78A5BE42D5B4}"/>
                  </a:ext>
                </a:extLst>
              </p:cNvPr>
              <p:cNvGrpSpPr/>
              <p:nvPr/>
            </p:nvGrpSpPr>
            <p:grpSpPr>
              <a:xfrm flipH="1">
                <a:off x="5356354" y="3840723"/>
                <a:ext cx="23234" cy="125580"/>
                <a:chOff x="5969746" y="3650326"/>
                <a:chExt cx="73794" cy="398864"/>
              </a:xfrm>
              <a:grpFill/>
            </p:grpSpPr>
            <p:sp>
              <p:nvSpPr>
                <p:cNvPr id="1220" name="Rectangle: Rounded Corners 1219">
                  <a:extLst>
                    <a:ext uri="{FF2B5EF4-FFF2-40B4-BE49-F238E27FC236}">
                      <a16:creationId xmlns:a16="http://schemas.microsoft.com/office/drawing/2014/main" id="{90D4B0F1-888B-4380-9B4F-96F8D00BC253}"/>
                    </a:ext>
                  </a:extLst>
                </p:cNvPr>
                <p:cNvSpPr/>
                <p:nvPr/>
              </p:nvSpPr>
              <p:spPr>
                <a:xfrm rot="2402406">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21" name="Rectangle: Rounded Corners 1220">
                  <a:extLst>
                    <a:ext uri="{FF2B5EF4-FFF2-40B4-BE49-F238E27FC236}">
                      <a16:creationId xmlns:a16="http://schemas.microsoft.com/office/drawing/2014/main" id="{778A5B80-F9F0-4B77-A8DD-3C645D49525A}"/>
                    </a:ext>
                  </a:extLst>
                </p:cNvPr>
                <p:cNvSpPr/>
                <p:nvPr/>
              </p:nvSpPr>
              <p:spPr>
                <a:xfrm rot="19197594" flipH="1">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211" name="Group 1210">
                <a:extLst>
                  <a:ext uri="{FF2B5EF4-FFF2-40B4-BE49-F238E27FC236}">
                    <a16:creationId xmlns:a16="http://schemas.microsoft.com/office/drawing/2014/main" id="{652241E6-A495-4DB7-A805-1F27B166CEF4}"/>
                  </a:ext>
                </a:extLst>
              </p:cNvPr>
              <p:cNvGrpSpPr/>
              <p:nvPr/>
            </p:nvGrpSpPr>
            <p:grpSpPr>
              <a:xfrm flipH="1">
                <a:off x="5460210" y="3840723"/>
                <a:ext cx="23234" cy="125580"/>
                <a:chOff x="5969746" y="3650326"/>
                <a:chExt cx="73794" cy="398864"/>
              </a:xfrm>
              <a:grpFill/>
            </p:grpSpPr>
            <p:sp>
              <p:nvSpPr>
                <p:cNvPr id="1218" name="Rectangle: Rounded Corners 1217">
                  <a:extLst>
                    <a:ext uri="{FF2B5EF4-FFF2-40B4-BE49-F238E27FC236}">
                      <a16:creationId xmlns:a16="http://schemas.microsoft.com/office/drawing/2014/main" id="{65313AE6-3063-4E36-861E-988E016DCB3D}"/>
                    </a:ext>
                  </a:extLst>
                </p:cNvPr>
                <p:cNvSpPr/>
                <p:nvPr/>
              </p:nvSpPr>
              <p:spPr>
                <a:xfrm rot="2402406">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19" name="Rectangle: Rounded Corners 1218">
                  <a:extLst>
                    <a:ext uri="{FF2B5EF4-FFF2-40B4-BE49-F238E27FC236}">
                      <a16:creationId xmlns:a16="http://schemas.microsoft.com/office/drawing/2014/main" id="{219B37FA-1CF5-45FE-9A30-14544821E27B}"/>
                    </a:ext>
                  </a:extLst>
                </p:cNvPr>
                <p:cNvSpPr/>
                <p:nvPr/>
              </p:nvSpPr>
              <p:spPr>
                <a:xfrm rot="19197594" flipH="1">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212" name="Group 1211">
                <a:extLst>
                  <a:ext uri="{FF2B5EF4-FFF2-40B4-BE49-F238E27FC236}">
                    <a16:creationId xmlns:a16="http://schemas.microsoft.com/office/drawing/2014/main" id="{4CCD00A0-A89B-4603-BAC1-323788650E5C}"/>
                  </a:ext>
                </a:extLst>
              </p:cNvPr>
              <p:cNvGrpSpPr/>
              <p:nvPr/>
            </p:nvGrpSpPr>
            <p:grpSpPr>
              <a:xfrm flipH="1">
                <a:off x="5564066" y="3840723"/>
                <a:ext cx="23234" cy="125580"/>
                <a:chOff x="5969746" y="3650326"/>
                <a:chExt cx="73794" cy="398864"/>
              </a:xfrm>
              <a:grpFill/>
            </p:grpSpPr>
            <p:sp>
              <p:nvSpPr>
                <p:cNvPr id="1216" name="Rectangle: Rounded Corners 1215">
                  <a:extLst>
                    <a:ext uri="{FF2B5EF4-FFF2-40B4-BE49-F238E27FC236}">
                      <a16:creationId xmlns:a16="http://schemas.microsoft.com/office/drawing/2014/main" id="{83BDA2C3-54CA-47E5-BBD6-08276CB12824}"/>
                    </a:ext>
                  </a:extLst>
                </p:cNvPr>
                <p:cNvSpPr/>
                <p:nvPr/>
              </p:nvSpPr>
              <p:spPr>
                <a:xfrm rot="2402406">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17" name="Rectangle: Rounded Corners 1216">
                  <a:extLst>
                    <a:ext uri="{FF2B5EF4-FFF2-40B4-BE49-F238E27FC236}">
                      <a16:creationId xmlns:a16="http://schemas.microsoft.com/office/drawing/2014/main" id="{4EA66904-CC6C-40C8-8C94-61F59577B900}"/>
                    </a:ext>
                  </a:extLst>
                </p:cNvPr>
                <p:cNvSpPr/>
                <p:nvPr/>
              </p:nvSpPr>
              <p:spPr>
                <a:xfrm rot="19197594" flipH="1">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213" name="Group 1212">
                <a:extLst>
                  <a:ext uri="{FF2B5EF4-FFF2-40B4-BE49-F238E27FC236}">
                    <a16:creationId xmlns:a16="http://schemas.microsoft.com/office/drawing/2014/main" id="{FCC3ADB0-038C-49E3-8EC8-C24367C9E033}"/>
                  </a:ext>
                </a:extLst>
              </p:cNvPr>
              <p:cNvGrpSpPr/>
              <p:nvPr/>
            </p:nvGrpSpPr>
            <p:grpSpPr>
              <a:xfrm flipH="1">
                <a:off x="5667923" y="3840723"/>
                <a:ext cx="23234" cy="125580"/>
                <a:chOff x="5969746" y="3650326"/>
                <a:chExt cx="73794" cy="398864"/>
              </a:xfrm>
              <a:grpFill/>
            </p:grpSpPr>
            <p:sp>
              <p:nvSpPr>
                <p:cNvPr id="1214" name="Rectangle: Rounded Corners 1213">
                  <a:extLst>
                    <a:ext uri="{FF2B5EF4-FFF2-40B4-BE49-F238E27FC236}">
                      <a16:creationId xmlns:a16="http://schemas.microsoft.com/office/drawing/2014/main" id="{127DA118-56E6-4CF3-9F61-80499E93590F}"/>
                    </a:ext>
                  </a:extLst>
                </p:cNvPr>
                <p:cNvSpPr/>
                <p:nvPr/>
              </p:nvSpPr>
              <p:spPr>
                <a:xfrm rot="2402406">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15" name="Rectangle: Rounded Corners 1214">
                  <a:extLst>
                    <a:ext uri="{FF2B5EF4-FFF2-40B4-BE49-F238E27FC236}">
                      <a16:creationId xmlns:a16="http://schemas.microsoft.com/office/drawing/2014/main" id="{729A5C82-56B0-4AFD-AD56-DAA85781EEE5}"/>
                    </a:ext>
                  </a:extLst>
                </p:cNvPr>
                <p:cNvSpPr/>
                <p:nvPr/>
              </p:nvSpPr>
              <p:spPr>
                <a:xfrm rot="19197594" flipH="1">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sp>
          <p:nvSpPr>
            <p:cNvPr id="1123" name="Freeform 277">
              <a:extLst>
                <a:ext uri="{FF2B5EF4-FFF2-40B4-BE49-F238E27FC236}">
                  <a16:creationId xmlns:a16="http://schemas.microsoft.com/office/drawing/2014/main" id="{BFFD900D-7D90-481C-B8E5-0A6E1044A23A}"/>
                </a:ext>
              </a:extLst>
            </p:cNvPr>
            <p:cNvSpPr>
              <a:spLocks noEditPoints="1"/>
            </p:cNvSpPr>
            <p:nvPr/>
          </p:nvSpPr>
          <p:spPr bwMode="auto">
            <a:xfrm flipH="1">
              <a:off x="4754157" y="1490090"/>
              <a:ext cx="792461" cy="794740"/>
            </a:xfrm>
            <a:prstGeom prst="donut">
              <a:avLst>
                <a:gd name="adj" fmla="val 2546"/>
              </a:avLst>
            </a:prstGeom>
            <a:solidFill>
              <a:srgbClr val="005073"/>
            </a:solid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405" name="Group 404">
            <a:extLst>
              <a:ext uri="{FF2B5EF4-FFF2-40B4-BE49-F238E27FC236}">
                <a16:creationId xmlns:a16="http://schemas.microsoft.com/office/drawing/2014/main" id="{6A231140-2C1D-469F-8079-96E80BB74245}"/>
              </a:ext>
            </a:extLst>
          </p:cNvPr>
          <p:cNvGrpSpPr/>
          <p:nvPr/>
        </p:nvGrpSpPr>
        <p:grpSpPr>
          <a:xfrm>
            <a:off x="5507672" y="1887638"/>
            <a:ext cx="496888" cy="498475"/>
            <a:chOff x="5550192" y="3648176"/>
            <a:chExt cx="496888" cy="498475"/>
          </a:xfrm>
          <a:effectLst>
            <a:glow rad="50800">
              <a:srgbClr val="FFC000">
                <a:alpha val="50000"/>
              </a:srgbClr>
            </a:glow>
          </a:effectLst>
        </p:grpSpPr>
        <p:sp>
          <p:nvSpPr>
            <p:cNvPr id="445" name="Freeform 22">
              <a:extLst>
                <a:ext uri="{FF2B5EF4-FFF2-40B4-BE49-F238E27FC236}">
                  <a16:creationId xmlns:a16="http://schemas.microsoft.com/office/drawing/2014/main" id="{2C9C9178-4E24-47DB-8B9C-4A38C5585D4D}"/>
                </a:ext>
              </a:extLst>
            </p:cNvPr>
            <p:cNvSpPr>
              <a:spLocks/>
            </p:cNvSpPr>
            <p:nvPr/>
          </p:nvSpPr>
          <p:spPr bwMode="auto">
            <a:xfrm>
              <a:off x="5550192" y="3648176"/>
              <a:ext cx="496888" cy="498475"/>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bg2"/>
            </a:solidFill>
            <a:ln w="12700">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446" name="Group 445">
              <a:extLst>
                <a:ext uri="{FF2B5EF4-FFF2-40B4-BE49-F238E27FC236}">
                  <a16:creationId xmlns:a16="http://schemas.microsoft.com/office/drawing/2014/main" id="{CB81CBFB-A690-4555-BD91-D3E58393EF29}"/>
                </a:ext>
              </a:extLst>
            </p:cNvPr>
            <p:cNvGrpSpPr/>
            <p:nvPr/>
          </p:nvGrpSpPr>
          <p:grpSpPr>
            <a:xfrm>
              <a:off x="5596389" y="3688839"/>
              <a:ext cx="414921" cy="376728"/>
              <a:chOff x="6728463" y="2926930"/>
              <a:chExt cx="849392" cy="771210"/>
            </a:xfrm>
          </p:grpSpPr>
          <p:sp>
            <p:nvSpPr>
              <p:cNvPr id="447" name="Freeform: Shape 407">
                <a:extLst>
                  <a:ext uri="{FF2B5EF4-FFF2-40B4-BE49-F238E27FC236}">
                    <a16:creationId xmlns:a16="http://schemas.microsoft.com/office/drawing/2014/main" id="{936831D0-7F68-46A7-9CAF-B124C1F86529}"/>
                  </a:ext>
                </a:extLst>
              </p:cNvPr>
              <p:cNvSpPr/>
              <p:nvPr/>
            </p:nvSpPr>
            <p:spPr>
              <a:xfrm>
                <a:off x="6728463" y="2926930"/>
                <a:ext cx="849392" cy="771210"/>
              </a:xfrm>
              <a:custGeom>
                <a:avLst/>
                <a:gdLst>
                  <a:gd name="connsiteX0" fmla="*/ 424177 w 849392"/>
                  <a:gd name="connsiteY0" fmla="*/ 220130 h 771210"/>
                  <a:gd name="connsiteX1" fmla="*/ 226803 w 849392"/>
                  <a:gd name="connsiteY1" fmla="*/ 417504 h 771210"/>
                  <a:gd name="connsiteX2" fmla="*/ 424177 w 849392"/>
                  <a:gd name="connsiteY2" fmla="*/ 614878 h 771210"/>
                  <a:gd name="connsiteX3" fmla="*/ 621551 w 849392"/>
                  <a:gd name="connsiteY3" fmla="*/ 417504 h 771210"/>
                  <a:gd name="connsiteX4" fmla="*/ 424177 w 849392"/>
                  <a:gd name="connsiteY4" fmla="*/ 220130 h 771210"/>
                  <a:gd name="connsiteX5" fmla="*/ 340871 w 849392"/>
                  <a:gd name="connsiteY5" fmla="*/ 0 h 771210"/>
                  <a:gd name="connsiteX6" fmla="*/ 254908 w 849392"/>
                  <a:gd name="connsiteY6" fmla="*/ 141475 h 771210"/>
                  <a:gd name="connsiteX7" fmla="*/ 267425 w 849392"/>
                  <a:gd name="connsiteY7" fmla="*/ 203514 h 771210"/>
                  <a:gd name="connsiteX8" fmla="*/ 276577 w 849392"/>
                  <a:gd name="connsiteY8" fmla="*/ 217086 h 771210"/>
                  <a:gd name="connsiteX9" fmla="*/ 284587 w 849392"/>
                  <a:gd name="connsiteY9" fmla="*/ 210477 h 771210"/>
                  <a:gd name="connsiteX10" fmla="*/ 424177 w 849392"/>
                  <a:gd name="connsiteY10" fmla="*/ 167838 h 771210"/>
                  <a:gd name="connsiteX11" fmla="*/ 521359 w 849392"/>
                  <a:gd name="connsiteY11" fmla="*/ 187458 h 771210"/>
                  <a:gd name="connsiteX12" fmla="*/ 558481 w 849392"/>
                  <a:gd name="connsiteY12" fmla="*/ 207607 h 771210"/>
                  <a:gd name="connsiteX13" fmla="*/ 561240 w 849392"/>
                  <a:gd name="connsiteY13" fmla="*/ 203514 h 771210"/>
                  <a:gd name="connsiteX14" fmla="*/ 573757 w 849392"/>
                  <a:gd name="connsiteY14" fmla="*/ 141475 h 771210"/>
                  <a:gd name="connsiteX15" fmla="*/ 488270 w 849392"/>
                  <a:gd name="connsiteY15" fmla="*/ 162 h 771210"/>
                  <a:gd name="connsiteX16" fmla="*/ 641385 w 849392"/>
                  <a:gd name="connsiteY16" fmla="*/ 214836 h 771210"/>
                  <a:gd name="connsiteX17" fmla="*/ 635044 w 849392"/>
                  <a:gd name="connsiteY17" fmla="*/ 268317 h 771210"/>
                  <a:gd name="connsiteX18" fmla="*/ 631380 w 849392"/>
                  <a:gd name="connsiteY18" fmla="*/ 278236 h 771210"/>
                  <a:gd name="connsiteX19" fmla="*/ 654209 w 849392"/>
                  <a:gd name="connsiteY19" fmla="*/ 320296 h 771210"/>
                  <a:gd name="connsiteX20" fmla="*/ 668043 w 849392"/>
                  <a:gd name="connsiteY20" fmla="*/ 321689 h 771210"/>
                  <a:gd name="connsiteX21" fmla="*/ 849392 w 849392"/>
                  <a:gd name="connsiteY21" fmla="*/ 544230 h 771210"/>
                  <a:gd name="connsiteX22" fmla="*/ 848906 w 849392"/>
                  <a:gd name="connsiteY22" fmla="*/ 558279 h 771210"/>
                  <a:gd name="connsiteX23" fmla="*/ 689886 w 849392"/>
                  <a:gd name="connsiteY23" fmla="*/ 410413 h 771210"/>
                  <a:gd name="connsiteX24" fmla="*/ 673463 w 849392"/>
                  <a:gd name="connsiteY24" fmla="*/ 413729 h 771210"/>
                  <a:gd name="connsiteX25" fmla="*/ 673843 w 849392"/>
                  <a:gd name="connsiteY25" fmla="*/ 417504 h 771210"/>
                  <a:gd name="connsiteX26" fmla="*/ 563768 w 849392"/>
                  <a:gd name="connsiteY26" fmla="*/ 624531 h 771210"/>
                  <a:gd name="connsiteX27" fmla="*/ 544824 w 849392"/>
                  <a:gd name="connsiteY27" fmla="*/ 634814 h 771210"/>
                  <a:gd name="connsiteX28" fmla="*/ 577109 w 849392"/>
                  <a:gd name="connsiteY28" fmla="*/ 682684 h 771210"/>
                  <a:gd name="connsiteX29" fmla="*/ 689877 w 849392"/>
                  <a:gd name="connsiteY29" fmla="*/ 729415 h 771210"/>
                  <a:gd name="connsiteX30" fmla="*/ 801376 w 849392"/>
                  <a:gd name="connsiteY30" fmla="*/ 683790 h 771210"/>
                  <a:gd name="connsiteX31" fmla="*/ 622230 w 849392"/>
                  <a:gd name="connsiteY31" fmla="*/ 771210 h 771210"/>
                  <a:gd name="connsiteX32" fmla="*/ 459998 w 849392"/>
                  <a:gd name="connsiteY32" fmla="*/ 703039 h 771210"/>
                  <a:gd name="connsiteX33" fmla="*/ 432376 w 849392"/>
                  <a:gd name="connsiteY33" fmla="*/ 666344 h 771210"/>
                  <a:gd name="connsiteX34" fmla="*/ 424177 w 849392"/>
                  <a:gd name="connsiteY34" fmla="*/ 667170 h 771210"/>
                  <a:gd name="connsiteX35" fmla="*/ 416810 w 849392"/>
                  <a:gd name="connsiteY35" fmla="*/ 666427 h 771210"/>
                  <a:gd name="connsiteX36" fmla="*/ 389316 w 849392"/>
                  <a:gd name="connsiteY36" fmla="*/ 703039 h 771210"/>
                  <a:gd name="connsiteX37" fmla="*/ 226990 w 849392"/>
                  <a:gd name="connsiteY37" fmla="*/ 771210 h 771210"/>
                  <a:gd name="connsiteX38" fmla="*/ 47701 w 849392"/>
                  <a:gd name="connsiteY38" fmla="*/ 683638 h 771210"/>
                  <a:gd name="connsiteX39" fmla="*/ 159505 w 849392"/>
                  <a:gd name="connsiteY39" fmla="*/ 729424 h 771210"/>
                  <a:gd name="connsiteX40" fmla="*/ 272277 w 849392"/>
                  <a:gd name="connsiteY40" fmla="*/ 682693 h 771210"/>
                  <a:gd name="connsiteX41" fmla="*/ 304289 w 849392"/>
                  <a:gd name="connsiteY41" fmla="*/ 635225 h 771210"/>
                  <a:gd name="connsiteX42" fmla="*/ 284587 w 849392"/>
                  <a:gd name="connsiteY42" fmla="*/ 624531 h 771210"/>
                  <a:gd name="connsiteX43" fmla="*/ 174511 w 849392"/>
                  <a:gd name="connsiteY43" fmla="*/ 417504 h 771210"/>
                  <a:gd name="connsiteX44" fmla="*/ 174912 w 849392"/>
                  <a:gd name="connsiteY44" fmla="*/ 413526 h 771210"/>
                  <a:gd name="connsiteX45" fmla="*/ 159505 w 849392"/>
                  <a:gd name="connsiteY45" fmla="*/ 410413 h 771210"/>
                  <a:gd name="connsiteX46" fmla="*/ 486 w 849392"/>
                  <a:gd name="connsiteY46" fmla="*/ 558279 h 771210"/>
                  <a:gd name="connsiteX47" fmla="*/ 0 w 849392"/>
                  <a:gd name="connsiteY47" fmla="*/ 544230 h 771210"/>
                  <a:gd name="connsiteX48" fmla="*/ 168752 w 849392"/>
                  <a:gd name="connsiteY48" fmla="*/ 324737 h 771210"/>
                  <a:gd name="connsiteX49" fmla="*/ 194035 w 849392"/>
                  <a:gd name="connsiteY49" fmla="*/ 320633 h 771210"/>
                  <a:gd name="connsiteX50" fmla="*/ 194131 w 849392"/>
                  <a:gd name="connsiteY50" fmla="*/ 320323 h 771210"/>
                  <a:gd name="connsiteX51" fmla="*/ 205224 w 849392"/>
                  <a:gd name="connsiteY51" fmla="*/ 299886 h 771210"/>
                  <a:gd name="connsiteX52" fmla="*/ 193626 w 849392"/>
                  <a:gd name="connsiteY52" fmla="*/ 268562 h 771210"/>
                  <a:gd name="connsiteX53" fmla="*/ 187261 w 849392"/>
                  <a:gd name="connsiteY53" fmla="*/ 214836 h 771210"/>
                  <a:gd name="connsiteX54" fmla="*/ 340871 w 849392"/>
                  <a:gd name="connsiteY54" fmla="*/ 0 h 771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49392" h="771210">
                    <a:moveTo>
                      <a:pt x="424177" y="220130"/>
                    </a:moveTo>
                    <a:cubicBezTo>
                      <a:pt x="315170" y="220130"/>
                      <a:pt x="226803" y="308497"/>
                      <a:pt x="226803" y="417504"/>
                    </a:cubicBezTo>
                    <a:cubicBezTo>
                      <a:pt x="226803" y="526511"/>
                      <a:pt x="315170" y="614878"/>
                      <a:pt x="424177" y="614878"/>
                    </a:cubicBezTo>
                    <a:cubicBezTo>
                      <a:pt x="533184" y="614878"/>
                      <a:pt x="621551" y="526511"/>
                      <a:pt x="621551" y="417504"/>
                    </a:cubicBezTo>
                    <a:cubicBezTo>
                      <a:pt x="621551" y="308497"/>
                      <a:pt x="533184" y="220130"/>
                      <a:pt x="424177" y="220130"/>
                    </a:cubicBezTo>
                    <a:close/>
                    <a:moveTo>
                      <a:pt x="340871" y="0"/>
                    </a:moveTo>
                    <a:cubicBezTo>
                      <a:pt x="289674" y="26460"/>
                      <a:pt x="254908" y="79914"/>
                      <a:pt x="254908" y="141475"/>
                    </a:cubicBezTo>
                    <a:cubicBezTo>
                      <a:pt x="254908" y="163485"/>
                      <a:pt x="259364" y="184449"/>
                      <a:pt x="267425" y="203514"/>
                    </a:cubicBezTo>
                    <a:lnTo>
                      <a:pt x="276577" y="217086"/>
                    </a:lnTo>
                    <a:lnTo>
                      <a:pt x="284587" y="210477"/>
                    </a:lnTo>
                    <a:cubicBezTo>
                      <a:pt x="324433" y="183557"/>
                      <a:pt x="372470" y="167838"/>
                      <a:pt x="424177" y="167838"/>
                    </a:cubicBezTo>
                    <a:cubicBezTo>
                      <a:pt x="458649" y="167838"/>
                      <a:pt x="491489" y="174824"/>
                      <a:pt x="521359" y="187458"/>
                    </a:cubicBezTo>
                    <a:lnTo>
                      <a:pt x="558481" y="207607"/>
                    </a:lnTo>
                    <a:lnTo>
                      <a:pt x="561240" y="203514"/>
                    </a:lnTo>
                    <a:cubicBezTo>
                      <a:pt x="569301" y="184449"/>
                      <a:pt x="573757" y="163485"/>
                      <a:pt x="573757" y="141475"/>
                    </a:cubicBezTo>
                    <a:cubicBezTo>
                      <a:pt x="573757" y="80067"/>
                      <a:pt x="538991" y="26794"/>
                      <a:pt x="488270" y="162"/>
                    </a:cubicBezTo>
                    <a:cubicBezTo>
                      <a:pt x="577424" y="30937"/>
                      <a:pt x="641385" y="115319"/>
                      <a:pt x="641385" y="214836"/>
                    </a:cubicBezTo>
                    <a:cubicBezTo>
                      <a:pt x="641385" y="233262"/>
                      <a:pt x="639192" y="251169"/>
                      <a:pt x="635044" y="268317"/>
                    </a:cubicBezTo>
                    <a:lnTo>
                      <a:pt x="631380" y="278236"/>
                    </a:lnTo>
                    <a:lnTo>
                      <a:pt x="654209" y="320296"/>
                    </a:lnTo>
                    <a:lnTo>
                      <a:pt x="668043" y="321689"/>
                    </a:lnTo>
                    <a:cubicBezTo>
                      <a:pt x="771595" y="342856"/>
                      <a:pt x="849392" y="434391"/>
                      <a:pt x="849392" y="544230"/>
                    </a:cubicBezTo>
                    <a:cubicBezTo>
                      <a:pt x="849392" y="549021"/>
                      <a:pt x="849239" y="553631"/>
                      <a:pt x="848906" y="558279"/>
                    </a:cubicBezTo>
                    <a:cubicBezTo>
                      <a:pt x="843010" y="475640"/>
                      <a:pt x="774097" y="410413"/>
                      <a:pt x="689886" y="410413"/>
                    </a:cubicBezTo>
                    <a:lnTo>
                      <a:pt x="673463" y="413729"/>
                    </a:lnTo>
                    <a:lnTo>
                      <a:pt x="673843" y="417504"/>
                    </a:lnTo>
                    <a:cubicBezTo>
                      <a:pt x="673843" y="503683"/>
                      <a:pt x="630180" y="579664"/>
                      <a:pt x="563768" y="624531"/>
                    </a:cubicBezTo>
                    <a:lnTo>
                      <a:pt x="544824" y="634814"/>
                    </a:lnTo>
                    <a:lnTo>
                      <a:pt x="577109" y="682684"/>
                    </a:lnTo>
                    <a:cubicBezTo>
                      <a:pt x="605981" y="711553"/>
                      <a:pt x="645857" y="729415"/>
                      <a:pt x="689877" y="729415"/>
                    </a:cubicBezTo>
                    <a:cubicBezTo>
                      <a:pt x="733425" y="729415"/>
                      <a:pt x="772658" y="712022"/>
                      <a:pt x="801376" y="683790"/>
                    </a:cubicBezTo>
                    <a:cubicBezTo>
                      <a:pt x="759904" y="737063"/>
                      <a:pt x="694982" y="771210"/>
                      <a:pt x="622230" y="771210"/>
                    </a:cubicBezTo>
                    <a:cubicBezTo>
                      <a:pt x="558715" y="771210"/>
                      <a:pt x="501201" y="745102"/>
                      <a:pt x="459998" y="703039"/>
                    </a:cubicBezTo>
                    <a:lnTo>
                      <a:pt x="432376" y="666344"/>
                    </a:lnTo>
                    <a:lnTo>
                      <a:pt x="424177" y="667170"/>
                    </a:lnTo>
                    <a:lnTo>
                      <a:pt x="416810" y="666427"/>
                    </a:lnTo>
                    <a:lnTo>
                      <a:pt x="389316" y="703039"/>
                    </a:lnTo>
                    <a:cubicBezTo>
                      <a:pt x="348168" y="745102"/>
                      <a:pt x="290620" y="771210"/>
                      <a:pt x="226990" y="771210"/>
                    </a:cubicBezTo>
                    <a:cubicBezTo>
                      <a:pt x="154238" y="771210"/>
                      <a:pt x="89316" y="736911"/>
                      <a:pt x="47701" y="683638"/>
                    </a:cubicBezTo>
                    <a:cubicBezTo>
                      <a:pt x="76409" y="711870"/>
                      <a:pt x="115957" y="729424"/>
                      <a:pt x="159505" y="729424"/>
                    </a:cubicBezTo>
                    <a:cubicBezTo>
                      <a:pt x="203530" y="729424"/>
                      <a:pt x="243407" y="711562"/>
                      <a:pt x="272277" y="682693"/>
                    </a:cubicBezTo>
                    <a:lnTo>
                      <a:pt x="304289" y="635225"/>
                    </a:lnTo>
                    <a:lnTo>
                      <a:pt x="284587" y="624531"/>
                    </a:lnTo>
                    <a:cubicBezTo>
                      <a:pt x="218175" y="579664"/>
                      <a:pt x="174511" y="503683"/>
                      <a:pt x="174511" y="417504"/>
                    </a:cubicBezTo>
                    <a:lnTo>
                      <a:pt x="174912" y="413526"/>
                    </a:lnTo>
                    <a:lnTo>
                      <a:pt x="159505" y="410413"/>
                    </a:lnTo>
                    <a:cubicBezTo>
                      <a:pt x="75285" y="410413"/>
                      <a:pt x="6391" y="475650"/>
                      <a:pt x="486" y="558279"/>
                    </a:cubicBezTo>
                    <a:cubicBezTo>
                      <a:pt x="162" y="553640"/>
                      <a:pt x="0" y="549021"/>
                      <a:pt x="0" y="544230"/>
                    </a:cubicBezTo>
                    <a:cubicBezTo>
                      <a:pt x="0" y="439009"/>
                      <a:pt x="71569" y="350370"/>
                      <a:pt x="168752" y="324737"/>
                    </a:cubicBezTo>
                    <a:lnTo>
                      <a:pt x="194035" y="320633"/>
                    </a:lnTo>
                    <a:lnTo>
                      <a:pt x="194131" y="320323"/>
                    </a:lnTo>
                    <a:lnTo>
                      <a:pt x="205224" y="299886"/>
                    </a:lnTo>
                    <a:lnTo>
                      <a:pt x="193626" y="268562"/>
                    </a:lnTo>
                    <a:cubicBezTo>
                      <a:pt x="189457" y="251331"/>
                      <a:pt x="187261" y="233343"/>
                      <a:pt x="187261" y="214836"/>
                    </a:cubicBezTo>
                    <a:cubicBezTo>
                      <a:pt x="187261" y="115147"/>
                      <a:pt x="251536" y="30299"/>
                      <a:pt x="340871" y="0"/>
                    </a:cubicBezTo>
                    <a:close/>
                  </a:path>
                </a:pathLst>
              </a:custGeom>
              <a:solidFill>
                <a:schemeClr val="accent6"/>
              </a:solidFill>
              <a:ln w="9525" cap="flat">
                <a:noFill/>
                <a:prstDash val="solid"/>
                <a:miter/>
              </a:ln>
            </p:spPr>
            <p:txBody>
              <a:bodyPr wrap="square">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48" name="Freeform: Shape 408">
                <a:extLst>
                  <a:ext uri="{FF2B5EF4-FFF2-40B4-BE49-F238E27FC236}">
                    <a16:creationId xmlns:a16="http://schemas.microsoft.com/office/drawing/2014/main" id="{25ACEF62-E8F8-4CA6-B09E-9A1F78AECAE2}"/>
                  </a:ext>
                </a:extLst>
              </p:cNvPr>
              <p:cNvSpPr/>
              <p:nvPr/>
            </p:nvSpPr>
            <p:spPr>
              <a:xfrm>
                <a:off x="7005948" y="3206405"/>
                <a:ext cx="266072" cy="259070"/>
              </a:xfrm>
              <a:custGeom>
                <a:avLst/>
                <a:gdLst/>
                <a:ahLst/>
                <a:cxnLst/>
                <a:rect l="0" t="0" r="0" b="0"/>
                <a:pathLst>
                  <a:path w="723900" h="704850">
                    <a:moveTo>
                      <a:pt x="705326" y="7144"/>
                    </a:moveTo>
                    <a:lnTo>
                      <a:pt x="641509" y="7144"/>
                    </a:lnTo>
                    <a:cubicBezTo>
                      <a:pt x="501491" y="7144"/>
                      <a:pt x="387191" y="120491"/>
                      <a:pt x="387191" y="261461"/>
                    </a:cubicBezTo>
                    <a:lnTo>
                      <a:pt x="133826" y="261461"/>
                    </a:lnTo>
                    <a:cubicBezTo>
                      <a:pt x="63341" y="261461"/>
                      <a:pt x="7144" y="286226"/>
                      <a:pt x="7144" y="356711"/>
                    </a:cubicBezTo>
                    <a:lnTo>
                      <a:pt x="7144" y="451961"/>
                    </a:lnTo>
                    <a:lnTo>
                      <a:pt x="70009" y="451961"/>
                    </a:lnTo>
                    <a:lnTo>
                      <a:pt x="70009" y="356711"/>
                    </a:lnTo>
                    <a:cubicBezTo>
                      <a:pt x="70009" y="321469"/>
                      <a:pt x="98584" y="292894"/>
                      <a:pt x="133826" y="292894"/>
                    </a:cubicBezTo>
                    <a:lnTo>
                      <a:pt x="133826" y="547211"/>
                    </a:lnTo>
                    <a:cubicBezTo>
                      <a:pt x="90011" y="547211"/>
                      <a:pt x="54769" y="582454"/>
                      <a:pt x="54769" y="626269"/>
                    </a:cubicBezTo>
                    <a:cubicBezTo>
                      <a:pt x="54769" y="670084"/>
                      <a:pt x="90011" y="705326"/>
                      <a:pt x="133826" y="705326"/>
                    </a:cubicBezTo>
                    <a:cubicBezTo>
                      <a:pt x="177641" y="705326"/>
                      <a:pt x="212884" y="670084"/>
                      <a:pt x="212884" y="626269"/>
                    </a:cubicBezTo>
                    <a:cubicBezTo>
                      <a:pt x="212884" y="620554"/>
                      <a:pt x="211931" y="615791"/>
                      <a:pt x="210979" y="610076"/>
                    </a:cubicBezTo>
                    <a:lnTo>
                      <a:pt x="499586" y="610076"/>
                    </a:lnTo>
                    <a:cubicBezTo>
                      <a:pt x="498634" y="614839"/>
                      <a:pt x="497681" y="620554"/>
                      <a:pt x="497681" y="626269"/>
                    </a:cubicBezTo>
                    <a:cubicBezTo>
                      <a:pt x="497681" y="670084"/>
                      <a:pt x="532924" y="705326"/>
                      <a:pt x="576739" y="705326"/>
                    </a:cubicBezTo>
                    <a:cubicBezTo>
                      <a:pt x="620554" y="705326"/>
                      <a:pt x="655796" y="670084"/>
                      <a:pt x="655796" y="626269"/>
                    </a:cubicBezTo>
                    <a:cubicBezTo>
                      <a:pt x="655796" y="582454"/>
                      <a:pt x="620554" y="547211"/>
                      <a:pt x="576739" y="547211"/>
                    </a:cubicBezTo>
                    <a:lnTo>
                      <a:pt x="576739" y="134779"/>
                    </a:lnTo>
                    <a:lnTo>
                      <a:pt x="641509" y="261461"/>
                    </a:lnTo>
                    <a:lnTo>
                      <a:pt x="705326" y="261461"/>
                    </a:lnTo>
                    <a:lnTo>
                      <a:pt x="705326" y="39529"/>
                    </a:lnTo>
                    <a:cubicBezTo>
                      <a:pt x="713899" y="39529"/>
                      <a:pt x="721519" y="32861"/>
                      <a:pt x="721519" y="23336"/>
                    </a:cubicBezTo>
                    <a:cubicBezTo>
                      <a:pt x="721519" y="13811"/>
                      <a:pt x="713899" y="7144"/>
                      <a:pt x="705326" y="7144"/>
                    </a:cubicBezTo>
                    <a:close/>
                    <a:moveTo>
                      <a:pt x="133826" y="658654"/>
                    </a:moveTo>
                    <a:cubicBezTo>
                      <a:pt x="116681" y="658654"/>
                      <a:pt x="102394" y="644366"/>
                      <a:pt x="102394" y="627221"/>
                    </a:cubicBezTo>
                    <a:cubicBezTo>
                      <a:pt x="102394" y="610076"/>
                      <a:pt x="116681" y="595789"/>
                      <a:pt x="133826" y="595789"/>
                    </a:cubicBezTo>
                    <a:cubicBezTo>
                      <a:pt x="150971" y="595789"/>
                      <a:pt x="165259" y="610076"/>
                      <a:pt x="165259" y="627221"/>
                    </a:cubicBezTo>
                    <a:cubicBezTo>
                      <a:pt x="165259" y="644366"/>
                      <a:pt x="150971" y="658654"/>
                      <a:pt x="133826" y="658654"/>
                    </a:cubicBezTo>
                    <a:close/>
                    <a:moveTo>
                      <a:pt x="514826" y="578644"/>
                    </a:moveTo>
                    <a:lnTo>
                      <a:pt x="196691" y="578644"/>
                    </a:lnTo>
                    <a:cubicBezTo>
                      <a:pt x="196691" y="578644"/>
                      <a:pt x="196691" y="578644"/>
                      <a:pt x="196691" y="578644"/>
                    </a:cubicBezTo>
                    <a:lnTo>
                      <a:pt x="260509" y="451961"/>
                    </a:lnTo>
                    <a:lnTo>
                      <a:pt x="451009" y="451961"/>
                    </a:lnTo>
                    <a:lnTo>
                      <a:pt x="514826" y="578644"/>
                    </a:lnTo>
                    <a:cubicBezTo>
                      <a:pt x="514826" y="578644"/>
                      <a:pt x="514826" y="578644"/>
                      <a:pt x="514826" y="578644"/>
                    </a:cubicBezTo>
                    <a:close/>
                    <a:moveTo>
                      <a:pt x="610076" y="626269"/>
                    </a:moveTo>
                    <a:cubicBezTo>
                      <a:pt x="610076" y="643414"/>
                      <a:pt x="595789" y="657701"/>
                      <a:pt x="578644" y="657701"/>
                    </a:cubicBezTo>
                    <a:cubicBezTo>
                      <a:pt x="561499" y="657701"/>
                      <a:pt x="547211" y="643414"/>
                      <a:pt x="547211" y="626269"/>
                    </a:cubicBezTo>
                    <a:cubicBezTo>
                      <a:pt x="547211" y="609124"/>
                      <a:pt x="561499" y="594836"/>
                      <a:pt x="578644" y="594836"/>
                    </a:cubicBezTo>
                    <a:cubicBezTo>
                      <a:pt x="595789" y="594836"/>
                      <a:pt x="610076" y="609124"/>
                      <a:pt x="610076" y="626269"/>
                    </a:cubicBezTo>
                    <a:close/>
                    <a:moveTo>
                      <a:pt x="672941" y="134779"/>
                    </a:moveTo>
                    <a:cubicBezTo>
                      <a:pt x="664369" y="134779"/>
                      <a:pt x="656749" y="128111"/>
                      <a:pt x="656749" y="118586"/>
                    </a:cubicBezTo>
                    <a:cubicBezTo>
                      <a:pt x="656749" y="110014"/>
                      <a:pt x="663416" y="102394"/>
                      <a:pt x="672941" y="102394"/>
                    </a:cubicBezTo>
                    <a:cubicBezTo>
                      <a:pt x="681514" y="102394"/>
                      <a:pt x="689134" y="109061"/>
                      <a:pt x="689134" y="118586"/>
                    </a:cubicBezTo>
                    <a:cubicBezTo>
                      <a:pt x="689134" y="127159"/>
                      <a:pt x="682466" y="134779"/>
                      <a:pt x="672941" y="134779"/>
                    </a:cubicBezTo>
                    <a:close/>
                  </a:path>
                </a:pathLst>
              </a:custGeom>
              <a:solidFill>
                <a:schemeClr val="accent6"/>
              </a:solidFill>
              <a:ln w="9525" cap="flat">
                <a:noFill/>
                <a:prstDash val="solid"/>
                <a:miter/>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sp>
        <p:nvSpPr>
          <p:cNvPr id="547" name="TextBox 546">
            <a:extLst>
              <a:ext uri="{FF2B5EF4-FFF2-40B4-BE49-F238E27FC236}">
                <a16:creationId xmlns:a16="http://schemas.microsoft.com/office/drawing/2014/main" id="{C5DF5BF7-C1BA-4B5F-A752-C5D142A1432F}"/>
              </a:ext>
            </a:extLst>
          </p:cNvPr>
          <p:cNvSpPr txBox="1"/>
          <p:nvPr/>
        </p:nvSpPr>
        <p:spPr>
          <a:xfrm>
            <a:off x="393036" y="1459283"/>
            <a:ext cx="2189398" cy="1092607"/>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l" defTabSz="457200" rtl="0" eaLnBrk="1" fontAlgn="base" latinLnBrk="0" hangingPunct="1">
              <a:lnSpc>
                <a:spcPct val="150000"/>
              </a:lnSpc>
              <a:spcBef>
                <a:spcPct val="0"/>
              </a:spcBef>
              <a:spcAft>
                <a:spcPts val="600"/>
              </a:spcAft>
              <a:buClrTx/>
              <a:buSzTx/>
              <a:buFontTx/>
              <a:buNone/>
              <a:tabLst/>
              <a:defRPr/>
            </a:pPr>
            <a:r>
              <a:rPr kumimoji="0" lang="en-US" sz="1600" b="0" i="0" u="none" strike="noStrike" kern="1200" cap="none" spc="0" normalizeH="0" baseline="0" noProof="0" dirty="0">
                <a:ln>
                  <a:noFill/>
                </a:ln>
                <a:solidFill>
                  <a:srgbClr val="00BCEB"/>
                </a:solidFill>
                <a:effectLst/>
                <a:uLnTx/>
                <a:uFillTx/>
                <a:latin typeface="CiscoSansTT ExtraLight"/>
                <a:ea typeface="ＭＳ Ｐゴシック" charset="0"/>
              </a:rPr>
              <a:t>Understand behavior</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5073"/>
                </a:solidFill>
                <a:effectLst/>
                <a:uLnTx/>
                <a:uFillTx/>
                <a:latin typeface="CiscoSansTT ExtraLight"/>
                <a:ea typeface="ＭＳ Ｐゴシック" charset="0"/>
              </a:rPr>
              <a:t>Identify host role and monitor behavior without endpoint agents</a:t>
            </a:r>
          </a:p>
        </p:txBody>
      </p:sp>
      <p:sp>
        <p:nvSpPr>
          <p:cNvPr id="549" name="Freeform: Shape 343">
            <a:extLst>
              <a:ext uri="{FF2B5EF4-FFF2-40B4-BE49-F238E27FC236}">
                <a16:creationId xmlns:a16="http://schemas.microsoft.com/office/drawing/2014/main" id="{9C0E4493-6AD1-46DA-B6F1-EFA0B5DEA3DB}"/>
              </a:ext>
            </a:extLst>
          </p:cNvPr>
          <p:cNvSpPr/>
          <p:nvPr/>
        </p:nvSpPr>
        <p:spPr>
          <a:xfrm flipH="1">
            <a:off x="398136" y="1878093"/>
            <a:ext cx="2797742" cy="105848"/>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bg1"/>
            </a:solidFill>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Tree>
    <p:extLst>
      <p:ext uri="{BB962C8B-B14F-4D97-AF65-F5344CB8AC3E}">
        <p14:creationId xmlns:p14="http://schemas.microsoft.com/office/powerpoint/2010/main" val="1450708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47"/>
                                        </p:tgtEl>
                                        <p:attrNameLst>
                                          <p:attrName>style.visibility</p:attrName>
                                        </p:attrNameLst>
                                      </p:cBhvr>
                                      <p:to>
                                        <p:strVal val="visible"/>
                                      </p:to>
                                    </p:set>
                                    <p:animEffect transition="in" filter="fade">
                                      <p:cBhvr>
                                        <p:cTn id="11" dur="500"/>
                                        <p:tgtEl>
                                          <p:spTgt spid="54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549"/>
                                        </p:tgtEl>
                                        <p:attrNameLst>
                                          <p:attrName>style.visibility</p:attrName>
                                        </p:attrNameLst>
                                      </p:cBhvr>
                                      <p:to>
                                        <p:strVal val="visible"/>
                                      </p:to>
                                    </p:set>
                                    <p:animEffect transition="in" filter="fade">
                                      <p:cBhvr>
                                        <p:cTn id="14" dur="500"/>
                                        <p:tgtEl>
                                          <p:spTgt spid="549"/>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45"/>
                                        </p:tgtEl>
                                        <p:attrNameLst>
                                          <p:attrName>style.visibility</p:attrName>
                                        </p:attrNameLst>
                                      </p:cBhvr>
                                      <p:to>
                                        <p:strVal val="visible"/>
                                      </p:to>
                                    </p:set>
                                    <p:animEffect transition="in" filter="fade">
                                      <p:cBhvr>
                                        <p:cTn id="18" dur="500"/>
                                        <p:tgtEl>
                                          <p:spTgt spid="34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44"/>
                                        </p:tgtEl>
                                        <p:attrNameLst>
                                          <p:attrName>style.visibility</p:attrName>
                                        </p:attrNameLst>
                                      </p:cBhvr>
                                      <p:to>
                                        <p:strVal val="visible"/>
                                      </p:to>
                                    </p:set>
                                    <p:animEffect transition="in" filter="fade">
                                      <p:cBhvr>
                                        <p:cTn id="21" dur="500"/>
                                        <p:tgtEl>
                                          <p:spTgt spid="344"/>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342"/>
                                        </p:tgtEl>
                                        <p:attrNameLst>
                                          <p:attrName>style.visibility</p:attrName>
                                        </p:attrNameLst>
                                      </p:cBhvr>
                                      <p:to>
                                        <p:strVal val="visible"/>
                                      </p:to>
                                    </p:set>
                                    <p:animEffect transition="in" filter="fade">
                                      <p:cBhvr>
                                        <p:cTn id="25" dur="500"/>
                                        <p:tgtEl>
                                          <p:spTgt spid="342"/>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340"/>
                                        </p:tgtEl>
                                        <p:attrNameLst>
                                          <p:attrName>style.visibility</p:attrName>
                                        </p:attrNameLst>
                                      </p:cBhvr>
                                      <p:to>
                                        <p:strVal val="visible"/>
                                      </p:to>
                                    </p:set>
                                    <p:animEffect transition="in" filter="fade">
                                      <p:cBhvr>
                                        <p:cTn id="29" dur="500"/>
                                        <p:tgtEl>
                                          <p:spTgt spid="340"/>
                                        </p:tgtEl>
                                      </p:cBhvr>
                                    </p:animEffect>
                                  </p:childTnLst>
                                </p:cTn>
                              </p:par>
                            </p:childTnLst>
                          </p:cTn>
                        </p:par>
                        <p:par>
                          <p:cTn id="30" fill="hold">
                            <p:stCondLst>
                              <p:cond delay="2500"/>
                            </p:stCondLst>
                            <p:childTnLst>
                              <p:par>
                                <p:cTn id="31" presetID="10" presetClass="entr" presetSubtype="0" fill="hold" grpId="0" nodeType="afterEffect">
                                  <p:stCondLst>
                                    <p:cond delay="0"/>
                                  </p:stCondLst>
                                  <p:childTnLst>
                                    <p:set>
                                      <p:cBhvr>
                                        <p:cTn id="32" dur="1" fill="hold">
                                          <p:stCondLst>
                                            <p:cond delay="0"/>
                                          </p:stCondLst>
                                        </p:cTn>
                                        <p:tgtEl>
                                          <p:spTgt spid="341"/>
                                        </p:tgtEl>
                                        <p:attrNameLst>
                                          <p:attrName>style.visibility</p:attrName>
                                        </p:attrNameLst>
                                      </p:cBhvr>
                                      <p:to>
                                        <p:strVal val="visible"/>
                                      </p:to>
                                    </p:set>
                                    <p:animEffect transition="in" filter="fade">
                                      <p:cBhvr>
                                        <p:cTn id="33" dur="500"/>
                                        <p:tgtEl>
                                          <p:spTgt spid="34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43"/>
                                        </p:tgtEl>
                                        <p:attrNameLst>
                                          <p:attrName>style.visibility</p:attrName>
                                        </p:attrNameLst>
                                      </p:cBhvr>
                                      <p:to>
                                        <p:strVal val="visible"/>
                                      </p:to>
                                    </p:set>
                                    <p:animEffect transition="in" filter="fade">
                                      <p:cBhvr>
                                        <p:cTn id="36" dur="500"/>
                                        <p:tgtEl>
                                          <p:spTgt spid="3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5" grpId="0"/>
      <p:bldP spid="344" grpId="0" animBg="1"/>
      <p:bldP spid="340" grpId="0"/>
      <p:bldP spid="342" grpId="0" animBg="1"/>
      <p:bldP spid="341" grpId="0"/>
      <p:bldP spid="343" grpId="0" animBg="1"/>
      <p:bldP spid="547" grpId="0"/>
      <p:bldP spid="54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B6F20C-219B-40E7-9E6C-EA74C1473C29}"/>
              </a:ext>
            </a:extLst>
          </p:cNvPr>
          <p:cNvSpPr>
            <a:spLocks noGrp="1"/>
          </p:cNvSpPr>
          <p:nvPr>
            <p:ph type="title"/>
          </p:nvPr>
        </p:nvSpPr>
        <p:spPr/>
        <p:txBody>
          <a:bodyPr/>
          <a:lstStyle/>
          <a:p>
            <a:r>
              <a:rPr lang="en-US" dirty="0"/>
              <a:t>New Trend: Security is Getting Smarter</a:t>
            </a:r>
          </a:p>
        </p:txBody>
      </p:sp>
      <p:sp>
        <p:nvSpPr>
          <p:cNvPr id="13" name="TextBox 12">
            <a:extLst>
              <a:ext uri="{FF2B5EF4-FFF2-40B4-BE49-F238E27FC236}">
                <a16:creationId xmlns:a16="http://schemas.microsoft.com/office/drawing/2014/main" id="{855E4211-165A-48F5-B3A6-F565E2FD9D2D}"/>
              </a:ext>
            </a:extLst>
          </p:cNvPr>
          <p:cNvSpPr txBox="1"/>
          <p:nvPr/>
        </p:nvSpPr>
        <p:spPr>
          <a:xfrm>
            <a:off x="665487" y="2664283"/>
            <a:ext cx="1923925" cy="400110"/>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BCEB"/>
                </a:solidFill>
                <a:effectLst/>
                <a:uLnTx/>
                <a:uFillTx/>
                <a:latin typeface="CiscoSansTT ExtraLight"/>
                <a:ea typeface="ＭＳ Ｐゴシック" charset="0"/>
              </a:rPr>
              <a:t>Hybrid Security</a:t>
            </a:r>
          </a:p>
        </p:txBody>
      </p:sp>
      <p:sp>
        <p:nvSpPr>
          <p:cNvPr id="14" name="TextBox 13">
            <a:extLst>
              <a:ext uri="{FF2B5EF4-FFF2-40B4-BE49-F238E27FC236}">
                <a16:creationId xmlns:a16="http://schemas.microsoft.com/office/drawing/2014/main" id="{4F12B49E-4558-473C-B4A9-E093C64B9E5C}"/>
              </a:ext>
            </a:extLst>
          </p:cNvPr>
          <p:cNvSpPr txBox="1"/>
          <p:nvPr/>
        </p:nvSpPr>
        <p:spPr>
          <a:xfrm>
            <a:off x="3714497" y="2664283"/>
            <a:ext cx="1694696" cy="400110"/>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BCEB"/>
                </a:solidFill>
                <a:effectLst/>
                <a:uLnTx/>
                <a:uFillTx/>
                <a:latin typeface="CiscoSansTT ExtraLight"/>
                <a:ea typeface="ＭＳ Ｐゴシック" charset="0"/>
              </a:rPr>
              <a:t>AI in Security</a:t>
            </a:r>
          </a:p>
        </p:txBody>
      </p:sp>
      <p:sp>
        <p:nvSpPr>
          <p:cNvPr id="15" name="TextBox 14">
            <a:extLst>
              <a:ext uri="{FF2B5EF4-FFF2-40B4-BE49-F238E27FC236}">
                <a16:creationId xmlns:a16="http://schemas.microsoft.com/office/drawing/2014/main" id="{21F06566-E697-47A2-B75A-E5EC22315EA1}"/>
              </a:ext>
            </a:extLst>
          </p:cNvPr>
          <p:cNvSpPr txBox="1"/>
          <p:nvPr/>
        </p:nvSpPr>
        <p:spPr>
          <a:xfrm>
            <a:off x="6463457" y="2664283"/>
            <a:ext cx="2024914" cy="400110"/>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BCEB"/>
                </a:solidFill>
                <a:effectLst/>
                <a:uLnTx/>
                <a:uFillTx/>
                <a:latin typeface="CiscoSansTT ExtraLight"/>
                <a:ea typeface="ＭＳ Ｐゴシック" charset="0"/>
              </a:rPr>
              <a:t>Decentralization</a:t>
            </a:r>
          </a:p>
        </p:txBody>
      </p:sp>
      <p:cxnSp>
        <p:nvCxnSpPr>
          <p:cNvPr id="17" name="Straight Connector 16">
            <a:extLst>
              <a:ext uri="{FF2B5EF4-FFF2-40B4-BE49-F238E27FC236}">
                <a16:creationId xmlns:a16="http://schemas.microsoft.com/office/drawing/2014/main" id="{FE4822F1-1C14-4076-B23F-4C142D52454D}"/>
              </a:ext>
            </a:extLst>
          </p:cNvPr>
          <p:cNvCxnSpPr/>
          <p:nvPr/>
        </p:nvCxnSpPr>
        <p:spPr>
          <a:xfrm>
            <a:off x="1348049" y="3226902"/>
            <a:ext cx="5588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C7C44FF-6342-4E24-8482-9037EAD7929D}"/>
              </a:ext>
            </a:extLst>
          </p:cNvPr>
          <p:cNvCxnSpPr/>
          <p:nvPr/>
        </p:nvCxnSpPr>
        <p:spPr>
          <a:xfrm>
            <a:off x="4282445" y="3226902"/>
            <a:ext cx="5588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5FA7E09-041C-4B64-B6DD-EEBEDF585103}"/>
              </a:ext>
            </a:extLst>
          </p:cNvPr>
          <p:cNvCxnSpPr/>
          <p:nvPr/>
        </p:nvCxnSpPr>
        <p:spPr>
          <a:xfrm>
            <a:off x="7196514" y="3226902"/>
            <a:ext cx="5588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31AD3115-D0B1-4900-A56A-3F65477144CB}"/>
              </a:ext>
            </a:extLst>
          </p:cNvPr>
          <p:cNvSpPr txBox="1"/>
          <p:nvPr/>
        </p:nvSpPr>
        <p:spPr>
          <a:xfrm>
            <a:off x="420227" y="3399277"/>
            <a:ext cx="2414444" cy="892552"/>
          </a:xfrm>
          <a:prstGeom prst="rect">
            <a:avLst/>
          </a:prstGeom>
          <a:noFill/>
        </p:spPr>
        <p:txBody>
          <a:bodyPr wrap="none" rtlCol="0">
            <a:spAutoFit/>
          </a:bodyP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t>“Security via cloud"</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t>Hybrid model architecture</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t>Scale, diversity and function</a:t>
            </a:r>
          </a:p>
        </p:txBody>
      </p:sp>
      <p:sp>
        <p:nvSpPr>
          <p:cNvPr id="24" name="TextBox 23">
            <a:extLst>
              <a:ext uri="{FF2B5EF4-FFF2-40B4-BE49-F238E27FC236}">
                <a16:creationId xmlns:a16="http://schemas.microsoft.com/office/drawing/2014/main" id="{283B7EEB-7E2C-42A7-88BA-29C8D940BBAC}"/>
              </a:ext>
            </a:extLst>
          </p:cNvPr>
          <p:cNvSpPr txBox="1"/>
          <p:nvPr/>
        </p:nvSpPr>
        <p:spPr>
          <a:xfrm>
            <a:off x="3058871" y="3399277"/>
            <a:ext cx="3005951" cy="892552"/>
          </a:xfrm>
          <a:prstGeom prst="rect">
            <a:avLst/>
          </a:prstGeom>
          <a:noFill/>
        </p:spPr>
        <p:txBody>
          <a:bodyPr wrap="none" rtlCol="0">
            <a:spAutoFit/>
          </a:bodyPr>
          <a:lstStyle>
            <a:defPPr>
              <a:defRPr lang="en-US"/>
            </a:defPPr>
            <a:lvl1pPr algn="ctr">
              <a:spcBef>
                <a:spcPts val="600"/>
              </a:spcBef>
              <a:defRPr sz="1400">
                <a:solidFill>
                  <a:schemeClr val="bg1"/>
                </a:solidFill>
                <a:latin typeface="+mn-lt"/>
              </a:defRPr>
            </a:lvl1pP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t>Security “data lake”</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t>Continuously context aware</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t>Simplified monitoring and reporting</a:t>
            </a:r>
          </a:p>
        </p:txBody>
      </p:sp>
      <p:sp>
        <p:nvSpPr>
          <p:cNvPr id="25" name="TextBox 24">
            <a:extLst>
              <a:ext uri="{FF2B5EF4-FFF2-40B4-BE49-F238E27FC236}">
                <a16:creationId xmlns:a16="http://schemas.microsoft.com/office/drawing/2014/main" id="{D3DE0532-6D15-4706-A91B-C9478876E19E}"/>
              </a:ext>
            </a:extLst>
          </p:cNvPr>
          <p:cNvSpPr txBox="1"/>
          <p:nvPr/>
        </p:nvSpPr>
        <p:spPr>
          <a:xfrm>
            <a:off x="6388918" y="3399277"/>
            <a:ext cx="2173993" cy="892552"/>
          </a:xfrm>
          <a:prstGeom prst="rect">
            <a:avLst/>
          </a:prstGeom>
          <a:noFill/>
        </p:spPr>
        <p:txBody>
          <a:bodyPr wrap="none" rtlCol="0">
            <a:spAutoFit/>
          </a:bodyP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t>Digital trust requirements</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t>Growth of hybrid IT</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t>Distributed trust </a:t>
            </a:r>
          </a:p>
        </p:txBody>
      </p:sp>
      <p:grpSp>
        <p:nvGrpSpPr>
          <p:cNvPr id="42" name="Group 61">
            <a:extLst>
              <a:ext uri="{FF2B5EF4-FFF2-40B4-BE49-F238E27FC236}">
                <a16:creationId xmlns:a16="http://schemas.microsoft.com/office/drawing/2014/main" id="{1DE35014-DB5C-4F3C-8345-4CA1821E4D19}"/>
              </a:ext>
            </a:extLst>
          </p:cNvPr>
          <p:cNvGrpSpPr>
            <a:grpSpLocks noChangeAspect="1"/>
          </p:cNvGrpSpPr>
          <p:nvPr/>
        </p:nvGrpSpPr>
        <p:grpSpPr bwMode="auto">
          <a:xfrm>
            <a:off x="6850041" y="1213397"/>
            <a:ext cx="1251746" cy="1252728"/>
            <a:chOff x="2088" y="827"/>
            <a:chExt cx="2544" cy="2546"/>
          </a:xfrm>
        </p:grpSpPr>
        <p:sp>
          <p:nvSpPr>
            <p:cNvPr id="43" name="Oval 62">
              <a:extLst>
                <a:ext uri="{FF2B5EF4-FFF2-40B4-BE49-F238E27FC236}">
                  <a16:creationId xmlns:a16="http://schemas.microsoft.com/office/drawing/2014/main" id="{2554D9EA-CE5E-4D4C-9611-C1966DB1ED94}"/>
                </a:ext>
              </a:extLst>
            </p:cNvPr>
            <p:cNvSpPr>
              <a:spLocks noChangeArrowheads="1"/>
            </p:cNvSpPr>
            <p:nvPr/>
          </p:nvSpPr>
          <p:spPr bwMode="auto">
            <a:xfrm>
              <a:off x="2088" y="82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4" name="Freeform 63">
              <a:extLst>
                <a:ext uri="{FF2B5EF4-FFF2-40B4-BE49-F238E27FC236}">
                  <a16:creationId xmlns:a16="http://schemas.microsoft.com/office/drawing/2014/main" id="{6C49FB59-4DC1-4328-8DFD-0A50651BB041}"/>
                </a:ext>
              </a:extLst>
            </p:cNvPr>
            <p:cNvSpPr>
              <a:spLocks/>
            </p:cNvSpPr>
            <p:nvPr/>
          </p:nvSpPr>
          <p:spPr bwMode="auto">
            <a:xfrm>
              <a:off x="2660" y="1400"/>
              <a:ext cx="1972" cy="1973"/>
            </a:xfrm>
            <a:custGeom>
              <a:avLst/>
              <a:gdLst>
                <a:gd name="T0" fmla="*/ 1116 w 1116"/>
                <a:gd name="T1" fmla="*/ 396 h 1116"/>
                <a:gd name="T2" fmla="*/ 1114 w 1116"/>
                <a:gd name="T3" fmla="*/ 346 h 1116"/>
                <a:gd name="T4" fmla="*/ 780 w 1116"/>
                <a:gd name="T5" fmla="*/ 12 h 1116"/>
                <a:gd name="T6" fmla="*/ 780 w 1116"/>
                <a:gd name="T7" fmla="*/ 12 h 1116"/>
                <a:gd name="T8" fmla="*/ 751 w 1116"/>
                <a:gd name="T9" fmla="*/ 0 h 1116"/>
                <a:gd name="T10" fmla="*/ 592 w 1116"/>
                <a:gd name="T11" fmla="*/ 0 h 1116"/>
                <a:gd name="T12" fmla="*/ 551 w 1116"/>
                <a:gd name="T13" fmla="*/ 41 h 1116"/>
                <a:gd name="T14" fmla="*/ 551 w 1116"/>
                <a:gd name="T15" fmla="*/ 59 h 1116"/>
                <a:gd name="T16" fmla="*/ 505 w 1116"/>
                <a:gd name="T17" fmla="*/ 13 h 1116"/>
                <a:gd name="T18" fmla="*/ 505 w 1116"/>
                <a:gd name="T19" fmla="*/ 13 h 1116"/>
                <a:gd name="T20" fmla="*/ 475 w 1116"/>
                <a:gd name="T21" fmla="*/ 0 h 1116"/>
                <a:gd name="T22" fmla="*/ 317 w 1116"/>
                <a:gd name="T23" fmla="*/ 0 h 1116"/>
                <a:gd name="T24" fmla="*/ 275 w 1116"/>
                <a:gd name="T25" fmla="*/ 41 h 1116"/>
                <a:gd name="T26" fmla="*/ 275 w 1116"/>
                <a:gd name="T27" fmla="*/ 59 h 1116"/>
                <a:gd name="T28" fmla="*/ 230 w 1116"/>
                <a:gd name="T29" fmla="*/ 13 h 1116"/>
                <a:gd name="T30" fmla="*/ 230 w 1116"/>
                <a:gd name="T31" fmla="*/ 13 h 1116"/>
                <a:gd name="T32" fmla="*/ 200 w 1116"/>
                <a:gd name="T33" fmla="*/ 0 h 1116"/>
                <a:gd name="T34" fmla="*/ 41 w 1116"/>
                <a:gd name="T35" fmla="*/ 0 h 1116"/>
                <a:gd name="T36" fmla="*/ 0 w 1116"/>
                <a:gd name="T37" fmla="*/ 41 h 1116"/>
                <a:gd name="T38" fmla="*/ 0 w 1116"/>
                <a:gd name="T39" fmla="*/ 200 h 1116"/>
                <a:gd name="T40" fmla="*/ 16 w 1116"/>
                <a:gd name="T41" fmla="*/ 232 h 1116"/>
                <a:gd name="T42" fmla="*/ 59 w 1116"/>
                <a:gd name="T43" fmla="*/ 275 h 1116"/>
                <a:gd name="T44" fmla="*/ 41 w 1116"/>
                <a:gd name="T45" fmla="*/ 275 h 1116"/>
                <a:gd name="T46" fmla="*/ 0 w 1116"/>
                <a:gd name="T47" fmla="*/ 317 h 1116"/>
                <a:gd name="T48" fmla="*/ 0 w 1116"/>
                <a:gd name="T49" fmla="*/ 475 h 1116"/>
                <a:gd name="T50" fmla="*/ 14 w 1116"/>
                <a:gd name="T51" fmla="*/ 506 h 1116"/>
                <a:gd name="T52" fmla="*/ 14 w 1116"/>
                <a:gd name="T53" fmla="*/ 506 h 1116"/>
                <a:gd name="T54" fmla="*/ 59 w 1116"/>
                <a:gd name="T55" fmla="*/ 551 h 1116"/>
                <a:gd name="T56" fmla="*/ 41 w 1116"/>
                <a:gd name="T57" fmla="*/ 551 h 1116"/>
                <a:gd name="T58" fmla="*/ 0 w 1116"/>
                <a:gd name="T59" fmla="*/ 592 h 1116"/>
                <a:gd name="T60" fmla="*/ 0 w 1116"/>
                <a:gd name="T61" fmla="*/ 751 h 1116"/>
                <a:gd name="T62" fmla="*/ 12 w 1116"/>
                <a:gd name="T63" fmla="*/ 780 h 1116"/>
                <a:gd name="T64" fmla="*/ 12 w 1116"/>
                <a:gd name="T65" fmla="*/ 780 h 1116"/>
                <a:gd name="T66" fmla="*/ 348 w 1116"/>
                <a:gd name="T67" fmla="*/ 1114 h 1116"/>
                <a:gd name="T68" fmla="*/ 396 w 1116"/>
                <a:gd name="T69" fmla="*/ 1116 h 1116"/>
                <a:gd name="T70" fmla="*/ 1116 w 1116"/>
                <a:gd name="T71" fmla="*/ 39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16" h="1116">
                  <a:moveTo>
                    <a:pt x="1116" y="396"/>
                  </a:moveTo>
                  <a:cubicBezTo>
                    <a:pt x="1116" y="379"/>
                    <a:pt x="1115" y="363"/>
                    <a:pt x="1114" y="346"/>
                  </a:cubicBezTo>
                  <a:cubicBezTo>
                    <a:pt x="780" y="12"/>
                    <a:pt x="780" y="12"/>
                    <a:pt x="780" y="12"/>
                  </a:cubicBezTo>
                  <a:cubicBezTo>
                    <a:pt x="780" y="12"/>
                    <a:pt x="780" y="12"/>
                    <a:pt x="780" y="12"/>
                  </a:cubicBezTo>
                  <a:cubicBezTo>
                    <a:pt x="773" y="5"/>
                    <a:pt x="762" y="0"/>
                    <a:pt x="751" y="0"/>
                  </a:cubicBezTo>
                  <a:cubicBezTo>
                    <a:pt x="592" y="0"/>
                    <a:pt x="592" y="0"/>
                    <a:pt x="592" y="0"/>
                  </a:cubicBezTo>
                  <a:cubicBezTo>
                    <a:pt x="570" y="0"/>
                    <a:pt x="551" y="19"/>
                    <a:pt x="551" y="41"/>
                  </a:cubicBezTo>
                  <a:cubicBezTo>
                    <a:pt x="551" y="59"/>
                    <a:pt x="551" y="59"/>
                    <a:pt x="551" y="59"/>
                  </a:cubicBezTo>
                  <a:cubicBezTo>
                    <a:pt x="505" y="13"/>
                    <a:pt x="505" y="13"/>
                    <a:pt x="505" y="13"/>
                  </a:cubicBezTo>
                  <a:cubicBezTo>
                    <a:pt x="505" y="13"/>
                    <a:pt x="505" y="13"/>
                    <a:pt x="505" y="13"/>
                  </a:cubicBezTo>
                  <a:cubicBezTo>
                    <a:pt x="498" y="5"/>
                    <a:pt x="487" y="0"/>
                    <a:pt x="475" y="0"/>
                  </a:cubicBezTo>
                  <a:cubicBezTo>
                    <a:pt x="317" y="0"/>
                    <a:pt x="317" y="0"/>
                    <a:pt x="317" y="0"/>
                  </a:cubicBezTo>
                  <a:cubicBezTo>
                    <a:pt x="294" y="0"/>
                    <a:pt x="275" y="19"/>
                    <a:pt x="275" y="41"/>
                  </a:cubicBezTo>
                  <a:cubicBezTo>
                    <a:pt x="275" y="59"/>
                    <a:pt x="275" y="59"/>
                    <a:pt x="275" y="59"/>
                  </a:cubicBezTo>
                  <a:cubicBezTo>
                    <a:pt x="230" y="13"/>
                    <a:pt x="230" y="13"/>
                    <a:pt x="230" y="13"/>
                  </a:cubicBezTo>
                  <a:cubicBezTo>
                    <a:pt x="230" y="13"/>
                    <a:pt x="230" y="13"/>
                    <a:pt x="230" y="13"/>
                  </a:cubicBezTo>
                  <a:cubicBezTo>
                    <a:pt x="222" y="5"/>
                    <a:pt x="212" y="0"/>
                    <a:pt x="200" y="0"/>
                  </a:cubicBezTo>
                  <a:cubicBezTo>
                    <a:pt x="41" y="0"/>
                    <a:pt x="41" y="0"/>
                    <a:pt x="41" y="0"/>
                  </a:cubicBezTo>
                  <a:cubicBezTo>
                    <a:pt x="19" y="0"/>
                    <a:pt x="0" y="19"/>
                    <a:pt x="0" y="41"/>
                  </a:cubicBezTo>
                  <a:cubicBezTo>
                    <a:pt x="0" y="200"/>
                    <a:pt x="0" y="200"/>
                    <a:pt x="0" y="200"/>
                  </a:cubicBezTo>
                  <a:cubicBezTo>
                    <a:pt x="0" y="213"/>
                    <a:pt x="6" y="225"/>
                    <a:pt x="16" y="232"/>
                  </a:cubicBezTo>
                  <a:cubicBezTo>
                    <a:pt x="59" y="275"/>
                    <a:pt x="59" y="275"/>
                    <a:pt x="59" y="275"/>
                  </a:cubicBezTo>
                  <a:cubicBezTo>
                    <a:pt x="41" y="275"/>
                    <a:pt x="41" y="275"/>
                    <a:pt x="41" y="275"/>
                  </a:cubicBezTo>
                  <a:cubicBezTo>
                    <a:pt x="19" y="275"/>
                    <a:pt x="0" y="294"/>
                    <a:pt x="0" y="317"/>
                  </a:cubicBezTo>
                  <a:cubicBezTo>
                    <a:pt x="0" y="475"/>
                    <a:pt x="0" y="475"/>
                    <a:pt x="0" y="475"/>
                  </a:cubicBezTo>
                  <a:cubicBezTo>
                    <a:pt x="0" y="488"/>
                    <a:pt x="6" y="499"/>
                    <a:pt x="14" y="506"/>
                  </a:cubicBezTo>
                  <a:cubicBezTo>
                    <a:pt x="14" y="506"/>
                    <a:pt x="14" y="506"/>
                    <a:pt x="14" y="506"/>
                  </a:cubicBezTo>
                  <a:cubicBezTo>
                    <a:pt x="59" y="551"/>
                    <a:pt x="59" y="551"/>
                    <a:pt x="59" y="551"/>
                  </a:cubicBezTo>
                  <a:cubicBezTo>
                    <a:pt x="41" y="551"/>
                    <a:pt x="41" y="551"/>
                    <a:pt x="41" y="551"/>
                  </a:cubicBezTo>
                  <a:cubicBezTo>
                    <a:pt x="19" y="551"/>
                    <a:pt x="0" y="570"/>
                    <a:pt x="0" y="592"/>
                  </a:cubicBezTo>
                  <a:cubicBezTo>
                    <a:pt x="0" y="751"/>
                    <a:pt x="0" y="751"/>
                    <a:pt x="0" y="751"/>
                  </a:cubicBezTo>
                  <a:cubicBezTo>
                    <a:pt x="0" y="762"/>
                    <a:pt x="5" y="773"/>
                    <a:pt x="12" y="780"/>
                  </a:cubicBezTo>
                  <a:cubicBezTo>
                    <a:pt x="12" y="780"/>
                    <a:pt x="12" y="780"/>
                    <a:pt x="12" y="780"/>
                  </a:cubicBezTo>
                  <a:cubicBezTo>
                    <a:pt x="348" y="1114"/>
                    <a:pt x="348" y="1114"/>
                    <a:pt x="348" y="1114"/>
                  </a:cubicBezTo>
                  <a:cubicBezTo>
                    <a:pt x="364" y="1115"/>
                    <a:pt x="380" y="1116"/>
                    <a:pt x="396" y="1116"/>
                  </a:cubicBezTo>
                  <a:cubicBezTo>
                    <a:pt x="794" y="1116"/>
                    <a:pt x="1116" y="794"/>
                    <a:pt x="1116" y="396"/>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5" name="Freeform 64">
              <a:extLst>
                <a:ext uri="{FF2B5EF4-FFF2-40B4-BE49-F238E27FC236}">
                  <a16:creationId xmlns:a16="http://schemas.microsoft.com/office/drawing/2014/main" id="{F4768D80-BB85-4BED-95D1-29B294E5C9A1}"/>
                </a:ext>
              </a:extLst>
            </p:cNvPr>
            <p:cNvSpPr>
              <a:spLocks/>
            </p:cNvSpPr>
            <p:nvPr/>
          </p:nvSpPr>
          <p:spPr bwMode="auto">
            <a:xfrm>
              <a:off x="2660" y="1400"/>
              <a:ext cx="426" cy="426"/>
            </a:xfrm>
            <a:custGeom>
              <a:avLst/>
              <a:gdLst>
                <a:gd name="T0" fmla="*/ 200 w 241"/>
                <a:gd name="T1" fmla="*/ 0 h 241"/>
                <a:gd name="T2" fmla="*/ 41 w 241"/>
                <a:gd name="T3" fmla="*/ 0 h 241"/>
                <a:gd name="T4" fmla="*/ 0 w 241"/>
                <a:gd name="T5" fmla="*/ 41 h 241"/>
                <a:gd name="T6" fmla="*/ 0 w 241"/>
                <a:gd name="T7" fmla="*/ 200 h 241"/>
                <a:gd name="T8" fmla="*/ 41 w 241"/>
                <a:gd name="T9" fmla="*/ 241 h 241"/>
                <a:gd name="T10" fmla="*/ 200 w 241"/>
                <a:gd name="T11" fmla="*/ 241 h 241"/>
                <a:gd name="T12" fmla="*/ 241 w 241"/>
                <a:gd name="T13" fmla="*/ 200 h 241"/>
                <a:gd name="T14" fmla="*/ 241 w 241"/>
                <a:gd name="T15" fmla="*/ 41 h 241"/>
                <a:gd name="T16" fmla="*/ 200 w 241"/>
                <a:gd name="T1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241">
                  <a:moveTo>
                    <a:pt x="200" y="0"/>
                  </a:moveTo>
                  <a:cubicBezTo>
                    <a:pt x="41" y="0"/>
                    <a:pt x="41" y="0"/>
                    <a:pt x="41" y="0"/>
                  </a:cubicBezTo>
                  <a:cubicBezTo>
                    <a:pt x="19" y="0"/>
                    <a:pt x="0" y="19"/>
                    <a:pt x="0" y="41"/>
                  </a:cubicBezTo>
                  <a:cubicBezTo>
                    <a:pt x="0" y="200"/>
                    <a:pt x="0" y="200"/>
                    <a:pt x="0" y="200"/>
                  </a:cubicBezTo>
                  <a:cubicBezTo>
                    <a:pt x="0" y="222"/>
                    <a:pt x="19" y="241"/>
                    <a:pt x="41" y="241"/>
                  </a:cubicBezTo>
                  <a:cubicBezTo>
                    <a:pt x="200" y="241"/>
                    <a:pt x="200" y="241"/>
                    <a:pt x="200" y="241"/>
                  </a:cubicBezTo>
                  <a:cubicBezTo>
                    <a:pt x="222" y="241"/>
                    <a:pt x="241" y="222"/>
                    <a:pt x="241" y="200"/>
                  </a:cubicBezTo>
                  <a:cubicBezTo>
                    <a:pt x="241" y="41"/>
                    <a:pt x="241" y="41"/>
                    <a:pt x="241" y="41"/>
                  </a:cubicBezTo>
                  <a:cubicBezTo>
                    <a:pt x="241" y="19"/>
                    <a:pt x="222"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6" name="Freeform 65">
              <a:extLst>
                <a:ext uri="{FF2B5EF4-FFF2-40B4-BE49-F238E27FC236}">
                  <a16:creationId xmlns:a16="http://schemas.microsoft.com/office/drawing/2014/main" id="{EE2641AF-7CAA-42AA-9012-9019CBA8F844}"/>
                </a:ext>
              </a:extLst>
            </p:cNvPr>
            <p:cNvSpPr>
              <a:spLocks/>
            </p:cNvSpPr>
            <p:nvPr/>
          </p:nvSpPr>
          <p:spPr bwMode="auto">
            <a:xfrm>
              <a:off x="3146" y="1400"/>
              <a:ext cx="428" cy="426"/>
            </a:xfrm>
            <a:custGeom>
              <a:avLst/>
              <a:gdLst>
                <a:gd name="T0" fmla="*/ 200 w 242"/>
                <a:gd name="T1" fmla="*/ 0 h 241"/>
                <a:gd name="T2" fmla="*/ 42 w 242"/>
                <a:gd name="T3" fmla="*/ 0 h 241"/>
                <a:gd name="T4" fmla="*/ 0 w 242"/>
                <a:gd name="T5" fmla="*/ 41 h 241"/>
                <a:gd name="T6" fmla="*/ 0 w 242"/>
                <a:gd name="T7" fmla="*/ 200 h 241"/>
                <a:gd name="T8" fmla="*/ 42 w 242"/>
                <a:gd name="T9" fmla="*/ 241 h 241"/>
                <a:gd name="T10" fmla="*/ 200 w 242"/>
                <a:gd name="T11" fmla="*/ 241 h 241"/>
                <a:gd name="T12" fmla="*/ 242 w 242"/>
                <a:gd name="T13" fmla="*/ 200 h 241"/>
                <a:gd name="T14" fmla="*/ 242 w 242"/>
                <a:gd name="T15" fmla="*/ 41 h 241"/>
                <a:gd name="T16" fmla="*/ 200 w 242"/>
                <a:gd name="T1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241">
                  <a:moveTo>
                    <a:pt x="200" y="0"/>
                  </a:moveTo>
                  <a:cubicBezTo>
                    <a:pt x="42" y="0"/>
                    <a:pt x="42" y="0"/>
                    <a:pt x="42" y="0"/>
                  </a:cubicBezTo>
                  <a:cubicBezTo>
                    <a:pt x="19" y="0"/>
                    <a:pt x="0" y="19"/>
                    <a:pt x="0" y="41"/>
                  </a:cubicBezTo>
                  <a:cubicBezTo>
                    <a:pt x="0" y="200"/>
                    <a:pt x="0" y="200"/>
                    <a:pt x="0" y="200"/>
                  </a:cubicBezTo>
                  <a:cubicBezTo>
                    <a:pt x="0" y="222"/>
                    <a:pt x="19" y="241"/>
                    <a:pt x="42" y="241"/>
                  </a:cubicBezTo>
                  <a:cubicBezTo>
                    <a:pt x="200" y="241"/>
                    <a:pt x="200" y="241"/>
                    <a:pt x="200" y="241"/>
                  </a:cubicBezTo>
                  <a:cubicBezTo>
                    <a:pt x="223" y="241"/>
                    <a:pt x="242" y="222"/>
                    <a:pt x="242" y="200"/>
                  </a:cubicBezTo>
                  <a:cubicBezTo>
                    <a:pt x="242" y="41"/>
                    <a:pt x="242" y="41"/>
                    <a:pt x="242" y="41"/>
                  </a:cubicBezTo>
                  <a:cubicBezTo>
                    <a:pt x="242" y="19"/>
                    <a:pt x="223"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 name="Freeform 66">
              <a:extLst>
                <a:ext uri="{FF2B5EF4-FFF2-40B4-BE49-F238E27FC236}">
                  <a16:creationId xmlns:a16="http://schemas.microsoft.com/office/drawing/2014/main" id="{422361D2-4F59-42CD-A8FA-AE984776FA07}"/>
                </a:ext>
              </a:extLst>
            </p:cNvPr>
            <p:cNvSpPr>
              <a:spLocks/>
            </p:cNvSpPr>
            <p:nvPr/>
          </p:nvSpPr>
          <p:spPr bwMode="auto">
            <a:xfrm>
              <a:off x="3634" y="1400"/>
              <a:ext cx="426" cy="426"/>
            </a:xfrm>
            <a:custGeom>
              <a:avLst/>
              <a:gdLst>
                <a:gd name="T0" fmla="*/ 200 w 241"/>
                <a:gd name="T1" fmla="*/ 0 h 241"/>
                <a:gd name="T2" fmla="*/ 41 w 241"/>
                <a:gd name="T3" fmla="*/ 0 h 241"/>
                <a:gd name="T4" fmla="*/ 0 w 241"/>
                <a:gd name="T5" fmla="*/ 41 h 241"/>
                <a:gd name="T6" fmla="*/ 0 w 241"/>
                <a:gd name="T7" fmla="*/ 200 h 241"/>
                <a:gd name="T8" fmla="*/ 41 w 241"/>
                <a:gd name="T9" fmla="*/ 241 h 241"/>
                <a:gd name="T10" fmla="*/ 200 w 241"/>
                <a:gd name="T11" fmla="*/ 241 h 241"/>
                <a:gd name="T12" fmla="*/ 241 w 241"/>
                <a:gd name="T13" fmla="*/ 200 h 241"/>
                <a:gd name="T14" fmla="*/ 241 w 241"/>
                <a:gd name="T15" fmla="*/ 41 h 241"/>
                <a:gd name="T16" fmla="*/ 200 w 241"/>
                <a:gd name="T1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241">
                  <a:moveTo>
                    <a:pt x="200" y="0"/>
                  </a:moveTo>
                  <a:cubicBezTo>
                    <a:pt x="41" y="0"/>
                    <a:pt x="41" y="0"/>
                    <a:pt x="41" y="0"/>
                  </a:cubicBezTo>
                  <a:cubicBezTo>
                    <a:pt x="19" y="0"/>
                    <a:pt x="0" y="19"/>
                    <a:pt x="0" y="41"/>
                  </a:cubicBezTo>
                  <a:cubicBezTo>
                    <a:pt x="0" y="200"/>
                    <a:pt x="0" y="200"/>
                    <a:pt x="0" y="200"/>
                  </a:cubicBezTo>
                  <a:cubicBezTo>
                    <a:pt x="0" y="222"/>
                    <a:pt x="19" y="241"/>
                    <a:pt x="41" y="241"/>
                  </a:cubicBezTo>
                  <a:cubicBezTo>
                    <a:pt x="200" y="241"/>
                    <a:pt x="200" y="241"/>
                    <a:pt x="200" y="241"/>
                  </a:cubicBezTo>
                  <a:cubicBezTo>
                    <a:pt x="222" y="241"/>
                    <a:pt x="241" y="222"/>
                    <a:pt x="241" y="200"/>
                  </a:cubicBezTo>
                  <a:cubicBezTo>
                    <a:pt x="241" y="41"/>
                    <a:pt x="241" y="41"/>
                    <a:pt x="241" y="41"/>
                  </a:cubicBezTo>
                  <a:cubicBezTo>
                    <a:pt x="241" y="19"/>
                    <a:pt x="222" y="0"/>
                    <a:pt x="20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8" name="Freeform 67">
              <a:extLst>
                <a:ext uri="{FF2B5EF4-FFF2-40B4-BE49-F238E27FC236}">
                  <a16:creationId xmlns:a16="http://schemas.microsoft.com/office/drawing/2014/main" id="{AF9B9DDC-2A7E-4132-AE6D-2FE3104E54EB}"/>
                </a:ext>
              </a:extLst>
            </p:cNvPr>
            <p:cNvSpPr>
              <a:spLocks/>
            </p:cNvSpPr>
            <p:nvPr/>
          </p:nvSpPr>
          <p:spPr bwMode="auto">
            <a:xfrm>
              <a:off x="2660" y="1886"/>
              <a:ext cx="426" cy="428"/>
            </a:xfrm>
            <a:custGeom>
              <a:avLst/>
              <a:gdLst>
                <a:gd name="T0" fmla="*/ 200 w 241"/>
                <a:gd name="T1" fmla="*/ 0 h 242"/>
                <a:gd name="T2" fmla="*/ 41 w 241"/>
                <a:gd name="T3" fmla="*/ 0 h 242"/>
                <a:gd name="T4" fmla="*/ 0 w 241"/>
                <a:gd name="T5" fmla="*/ 42 h 242"/>
                <a:gd name="T6" fmla="*/ 0 w 241"/>
                <a:gd name="T7" fmla="*/ 200 h 242"/>
                <a:gd name="T8" fmla="*/ 41 w 241"/>
                <a:gd name="T9" fmla="*/ 242 h 242"/>
                <a:gd name="T10" fmla="*/ 200 w 241"/>
                <a:gd name="T11" fmla="*/ 242 h 242"/>
                <a:gd name="T12" fmla="*/ 241 w 241"/>
                <a:gd name="T13" fmla="*/ 200 h 242"/>
                <a:gd name="T14" fmla="*/ 241 w 241"/>
                <a:gd name="T15" fmla="*/ 42 h 242"/>
                <a:gd name="T16" fmla="*/ 200 w 24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242">
                  <a:moveTo>
                    <a:pt x="200" y="0"/>
                  </a:moveTo>
                  <a:cubicBezTo>
                    <a:pt x="41" y="0"/>
                    <a:pt x="41" y="0"/>
                    <a:pt x="41" y="0"/>
                  </a:cubicBezTo>
                  <a:cubicBezTo>
                    <a:pt x="19" y="0"/>
                    <a:pt x="0" y="19"/>
                    <a:pt x="0" y="42"/>
                  </a:cubicBezTo>
                  <a:cubicBezTo>
                    <a:pt x="0" y="200"/>
                    <a:pt x="0" y="200"/>
                    <a:pt x="0" y="200"/>
                  </a:cubicBezTo>
                  <a:cubicBezTo>
                    <a:pt x="0" y="223"/>
                    <a:pt x="19" y="242"/>
                    <a:pt x="41" y="242"/>
                  </a:cubicBezTo>
                  <a:cubicBezTo>
                    <a:pt x="200" y="242"/>
                    <a:pt x="200" y="242"/>
                    <a:pt x="200" y="242"/>
                  </a:cubicBezTo>
                  <a:cubicBezTo>
                    <a:pt x="222" y="242"/>
                    <a:pt x="241" y="223"/>
                    <a:pt x="241" y="200"/>
                  </a:cubicBezTo>
                  <a:cubicBezTo>
                    <a:pt x="241" y="42"/>
                    <a:pt x="241" y="42"/>
                    <a:pt x="241" y="42"/>
                  </a:cubicBezTo>
                  <a:cubicBezTo>
                    <a:pt x="241" y="19"/>
                    <a:pt x="222" y="0"/>
                    <a:pt x="20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 name="Freeform 68">
              <a:extLst>
                <a:ext uri="{FF2B5EF4-FFF2-40B4-BE49-F238E27FC236}">
                  <a16:creationId xmlns:a16="http://schemas.microsoft.com/office/drawing/2014/main" id="{DE2C09D7-6E7F-4EB2-8433-31CF4996F202}"/>
                </a:ext>
              </a:extLst>
            </p:cNvPr>
            <p:cNvSpPr>
              <a:spLocks/>
            </p:cNvSpPr>
            <p:nvPr/>
          </p:nvSpPr>
          <p:spPr bwMode="auto">
            <a:xfrm>
              <a:off x="3146" y="1886"/>
              <a:ext cx="428" cy="428"/>
            </a:xfrm>
            <a:custGeom>
              <a:avLst/>
              <a:gdLst>
                <a:gd name="T0" fmla="*/ 200 w 242"/>
                <a:gd name="T1" fmla="*/ 0 h 242"/>
                <a:gd name="T2" fmla="*/ 42 w 242"/>
                <a:gd name="T3" fmla="*/ 0 h 242"/>
                <a:gd name="T4" fmla="*/ 0 w 242"/>
                <a:gd name="T5" fmla="*/ 42 h 242"/>
                <a:gd name="T6" fmla="*/ 0 w 242"/>
                <a:gd name="T7" fmla="*/ 200 h 242"/>
                <a:gd name="T8" fmla="*/ 42 w 242"/>
                <a:gd name="T9" fmla="*/ 242 h 242"/>
                <a:gd name="T10" fmla="*/ 200 w 242"/>
                <a:gd name="T11" fmla="*/ 242 h 242"/>
                <a:gd name="T12" fmla="*/ 242 w 242"/>
                <a:gd name="T13" fmla="*/ 200 h 242"/>
                <a:gd name="T14" fmla="*/ 242 w 242"/>
                <a:gd name="T15" fmla="*/ 42 h 242"/>
                <a:gd name="T16" fmla="*/ 200 w 242"/>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242">
                  <a:moveTo>
                    <a:pt x="200" y="0"/>
                  </a:moveTo>
                  <a:cubicBezTo>
                    <a:pt x="42" y="0"/>
                    <a:pt x="42" y="0"/>
                    <a:pt x="42" y="0"/>
                  </a:cubicBezTo>
                  <a:cubicBezTo>
                    <a:pt x="19" y="0"/>
                    <a:pt x="0" y="19"/>
                    <a:pt x="0" y="42"/>
                  </a:cubicBezTo>
                  <a:cubicBezTo>
                    <a:pt x="0" y="200"/>
                    <a:pt x="0" y="200"/>
                    <a:pt x="0" y="200"/>
                  </a:cubicBezTo>
                  <a:cubicBezTo>
                    <a:pt x="0" y="223"/>
                    <a:pt x="19" y="242"/>
                    <a:pt x="42" y="242"/>
                  </a:cubicBezTo>
                  <a:cubicBezTo>
                    <a:pt x="200" y="242"/>
                    <a:pt x="200" y="242"/>
                    <a:pt x="200" y="242"/>
                  </a:cubicBezTo>
                  <a:cubicBezTo>
                    <a:pt x="223" y="242"/>
                    <a:pt x="242" y="223"/>
                    <a:pt x="242" y="200"/>
                  </a:cubicBezTo>
                  <a:cubicBezTo>
                    <a:pt x="242" y="42"/>
                    <a:pt x="242" y="42"/>
                    <a:pt x="242" y="42"/>
                  </a:cubicBezTo>
                  <a:cubicBezTo>
                    <a:pt x="242" y="19"/>
                    <a:pt x="223"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 name="Freeform 69">
              <a:extLst>
                <a:ext uri="{FF2B5EF4-FFF2-40B4-BE49-F238E27FC236}">
                  <a16:creationId xmlns:a16="http://schemas.microsoft.com/office/drawing/2014/main" id="{B0CE736A-5DD1-4AE9-AB06-F03E10303524}"/>
                </a:ext>
              </a:extLst>
            </p:cNvPr>
            <p:cNvSpPr>
              <a:spLocks/>
            </p:cNvSpPr>
            <p:nvPr/>
          </p:nvSpPr>
          <p:spPr bwMode="auto">
            <a:xfrm>
              <a:off x="3634" y="1886"/>
              <a:ext cx="426" cy="428"/>
            </a:xfrm>
            <a:custGeom>
              <a:avLst/>
              <a:gdLst>
                <a:gd name="T0" fmla="*/ 200 w 241"/>
                <a:gd name="T1" fmla="*/ 0 h 242"/>
                <a:gd name="T2" fmla="*/ 41 w 241"/>
                <a:gd name="T3" fmla="*/ 0 h 242"/>
                <a:gd name="T4" fmla="*/ 0 w 241"/>
                <a:gd name="T5" fmla="*/ 42 h 242"/>
                <a:gd name="T6" fmla="*/ 0 w 241"/>
                <a:gd name="T7" fmla="*/ 200 h 242"/>
                <a:gd name="T8" fmla="*/ 41 w 241"/>
                <a:gd name="T9" fmla="*/ 242 h 242"/>
                <a:gd name="T10" fmla="*/ 200 w 241"/>
                <a:gd name="T11" fmla="*/ 242 h 242"/>
                <a:gd name="T12" fmla="*/ 241 w 241"/>
                <a:gd name="T13" fmla="*/ 200 h 242"/>
                <a:gd name="T14" fmla="*/ 241 w 241"/>
                <a:gd name="T15" fmla="*/ 42 h 242"/>
                <a:gd name="T16" fmla="*/ 200 w 241"/>
                <a:gd name="T1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242">
                  <a:moveTo>
                    <a:pt x="200" y="0"/>
                  </a:moveTo>
                  <a:cubicBezTo>
                    <a:pt x="41" y="0"/>
                    <a:pt x="41" y="0"/>
                    <a:pt x="41" y="0"/>
                  </a:cubicBezTo>
                  <a:cubicBezTo>
                    <a:pt x="19" y="0"/>
                    <a:pt x="0" y="19"/>
                    <a:pt x="0" y="42"/>
                  </a:cubicBezTo>
                  <a:cubicBezTo>
                    <a:pt x="0" y="200"/>
                    <a:pt x="0" y="200"/>
                    <a:pt x="0" y="200"/>
                  </a:cubicBezTo>
                  <a:cubicBezTo>
                    <a:pt x="0" y="223"/>
                    <a:pt x="19" y="242"/>
                    <a:pt x="41" y="242"/>
                  </a:cubicBezTo>
                  <a:cubicBezTo>
                    <a:pt x="200" y="242"/>
                    <a:pt x="200" y="242"/>
                    <a:pt x="200" y="242"/>
                  </a:cubicBezTo>
                  <a:cubicBezTo>
                    <a:pt x="222" y="242"/>
                    <a:pt x="241" y="223"/>
                    <a:pt x="241" y="200"/>
                  </a:cubicBezTo>
                  <a:cubicBezTo>
                    <a:pt x="241" y="42"/>
                    <a:pt x="241" y="42"/>
                    <a:pt x="241" y="42"/>
                  </a:cubicBezTo>
                  <a:cubicBezTo>
                    <a:pt x="241" y="19"/>
                    <a:pt x="222"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 name="Freeform 70">
              <a:extLst>
                <a:ext uri="{FF2B5EF4-FFF2-40B4-BE49-F238E27FC236}">
                  <a16:creationId xmlns:a16="http://schemas.microsoft.com/office/drawing/2014/main" id="{C3E25A8C-6B6B-46EE-BAC0-207050003229}"/>
                </a:ext>
              </a:extLst>
            </p:cNvPr>
            <p:cNvSpPr>
              <a:spLocks/>
            </p:cNvSpPr>
            <p:nvPr/>
          </p:nvSpPr>
          <p:spPr bwMode="auto">
            <a:xfrm>
              <a:off x="2660" y="2374"/>
              <a:ext cx="426" cy="426"/>
            </a:xfrm>
            <a:custGeom>
              <a:avLst/>
              <a:gdLst>
                <a:gd name="T0" fmla="*/ 200 w 241"/>
                <a:gd name="T1" fmla="*/ 0 h 241"/>
                <a:gd name="T2" fmla="*/ 41 w 241"/>
                <a:gd name="T3" fmla="*/ 0 h 241"/>
                <a:gd name="T4" fmla="*/ 0 w 241"/>
                <a:gd name="T5" fmla="*/ 41 h 241"/>
                <a:gd name="T6" fmla="*/ 0 w 241"/>
                <a:gd name="T7" fmla="*/ 200 h 241"/>
                <a:gd name="T8" fmla="*/ 41 w 241"/>
                <a:gd name="T9" fmla="*/ 241 h 241"/>
                <a:gd name="T10" fmla="*/ 200 w 241"/>
                <a:gd name="T11" fmla="*/ 241 h 241"/>
                <a:gd name="T12" fmla="*/ 241 w 241"/>
                <a:gd name="T13" fmla="*/ 200 h 241"/>
                <a:gd name="T14" fmla="*/ 241 w 241"/>
                <a:gd name="T15" fmla="*/ 41 h 241"/>
                <a:gd name="T16" fmla="*/ 200 w 241"/>
                <a:gd name="T1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241">
                  <a:moveTo>
                    <a:pt x="200" y="0"/>
                  </a:moveTo>
                  <a:cubicBezTo>
                    <a:pt x="41" y="0"/>
                    <a:pt x="41" y="0"/>
                    <a:pt x="41" y="0"/>
                  </a:cubicBezTo>
                  <a:cubicBezTo>
                    <a:pt x="19" y="0"/>
                    <a:pt x="0" y="19"/>
                    <a:pt x="0" y="41"/>
                  </a:cubicBezTo>
                  <a:cubicBezTo>
                    <a:pt x="0" y="200"/>
                    <a:pt x="0" y="200"/>
                    <a:pt x="0" y="200"/>
                  </a:cubicBezTo>
                  <a:cubicBezTo>
                    <a:pt x="0" y="222"/>
                    <a:pt x="19" y="241"/>
                    <a:pt x="41" y="241"/>
                  </a:cubicBezTo>
                  <a:cubicBezTo>
                    <a:pt x="200" y="241"/>
                    <a:pt x="200" y="241"/>
                    <a:pt x="200" y="241"/>
                  </a:cubicBezTo>
                  <a:cubicBezTo>
                    <a:pt x="222" y="241"/>
                    <a:pt x="241" y="222"/>
                    <a:pt x="241" y="200"/>
                  </a:cubicBezTo>
                  <a:cubicBezTo>
                    <a:pt x="241" y="41"/>
                    <a:pt x="241" y="41"/>
                    <a:pt x="241" y="41"/>
                  </a:cubicBezTo>
                  <a:cubicBezTo>
                    <a:pt x="241" y="19"/>
                    <a:pt x="222"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2" name="Freeform 71">
              <a:extLst>
                <a:ext uri="{FF2B5EF4-FFF2-40B4-BE49-F238E27FC236}">
                  <a16:creationId xmlns:a16="http://schemas.microsoft.com/office/drawing/2014/main" id="{06462652-F398-4A44-9CB2-DF49F1306C83}"/>
                </a:ext>
              </a:extLst>
            </p:cNvPr>
            <p:cNvSpPr>
              <a:spLocks/>
            </p:cNvSpPr>
            <p:nvPr/>
          </p:nvSpPr>
          <p:spPr bwMode="auto">
            <a:xfrm>
              <a:off x="3146" y="2374"/>
              <a:ext cx="428" cy="426"/>
            </a:xfrm>
            <a:custGeom>
              <a:avLst/>
              <a:gdLst>
                <a:gd name="T0" fmla="*/ 200 w 242"/>
                <a:gd name="T1" fmla="*/ 0 h 241"/>
                <a:gd name="T2" fmla="*/ 42 w 242"/>
                <a:gd name="T3" fmla="*/ 0 h 241"/>
                <a:gd name="T4" fmla="*/ 0 w 242"/>
                <a:gd name="T5" fmla="*/ 41 h 241"/>
                <a:gd name="T6" fmla="*/ 0 w 242"/>
                <a:gd name="T7" fmla="*/ 200 h 241"/>
                <a:gd name="T8" fmla="*/ 42 w 242"/>
                <a:gd name="T9" fmla="*/ 241 h 241"/>
                <a:gd name="T10" fmla="*/ 200 w 242"/>
                <a:gd name="T11" fmla="*/ 241 h 241"/>
                <a:gd name="T12" fmla="*/ 242 w 242"/>
                <a:gd name="T13" fmla="*/ 200 h 241"/>
                <a:gd name="T14" fmla="*/ 242 w 242"/>
                <a:gd name="T15" fmla="*/ 41 h 241"/>
                <a:gd name="T16" fmla="*/ 200 w 242"/>
                <a:gd name="T1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241">
                  <a:moveTo>
                    <a:pt x="200" y="0"/>
                  </a:moveTo>
                  <a:cubicBezTo>
                    <a:pt x="42" y="0"/>
                    <a:pt x="42" y="0"/>
                    <a:pt x="42" y="0"/>
                  </a:cubicBezTo>
                  <a:cubicBezTo>
                    <a:pt x="19" y="0"/>
                    <a:pt x="0" y="19"/>
                    <a:pt x="0" y="41"/>
                  </a:cubicBezTo>
                  <a:cubicBezTo>
                    <a:pt x="0" y="200"/>
                    <a:pt x="0" y="200"/>
                    <a:pt x="0" y="200"/>
                  </a:cubicBezTo>
                  <a:cubicBezTo>
                    <a:pt x="0" y="222"/>
                    <a:pt x="19" y="241"/>
                    <a:pt x="42" y="241"/>
                  </a:cubicBezTo>
                  <a:cubicBezTo>
                    <a:pt x="200" y="241"/>
                    <a:pt x="200" y="241"/>
                    <a:pt x="200" y="241"/>
                  </a:cubicBezTo>
                  <a:cubicBezTo>
                    <a:pt x="223" y="241"/>
                    <a:pt x="242" y="222"/>
                    <a:pt x="242" y="200"/>
                  </a:cubicBezTo>
                  <a:cubicBezTo>
                    <a:pt x="242" y="41"/>
                    <a:pt x="242" y="41"/>
                    <a:pt x="242" y="41"/>
                  </a:cubicBezTo>
                  <a:cubicBezTo>
                    <a:pt x="242" y="19"/>
                    <a:pt x="223" y="0"/>
                    <a:pt x="20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 name="Freeform 72">
              <a:extLst>
                <a:ext uri="{FF2B5EF4-FFF2-40B4-BE49-F238E27FC236}">
                  <a16:creationId xmlns:a16="http://schemas.microsoft.com/office/drawing/2014/main" id="{FD812585-8CDE-4032-87C4-B59488707A8D}"/>
                </a:ext>
              </a:extLst>
            </p:cNvPr>
            <p:cNvSpPr>
              <a:spLocks/>
            </p:cNvSpPr>
            <p:nvPr/>
          </p:nvSpPr>
          <p:spPr bwMode="auto">
            <a:xfrm>
              <a:off x="3634" y="2374"/>
              <a:ext cx="426" cy="426"/>
            </a:xfrm>
            <a:custGeom>
              <a:avLst/>
              <a:gdLst>
                <a:gd name="T0" fmla="*/ 200 w 241"/>
                <a:gd name="T1" fmla="*/ 0 h 241"/>
                <a:gd name="T2" fmla="*/ 41 w 241"/>
                <a:gd name="T3" fmla="*/ 0 h 241"/>
                <a:gd name="T4" fmla="*/ 0 w 241"/>
                <a:gd name="T5" fmla="*/ 41 h 241"/>
                <a:gd name="T6" fmla="*/ 0 w 241"/>
                <a:gd name="T7" fmla="*/ 200 h 241"/>
                <a:gd name="T8" fmla="*/ 41 w 241"/>
                <a:gd name="T9" fmla="*/ 241 h 241"/>
                <a:gd name="T10" fmla="*/ 200 w 241"/>
                <a:gd name="T11" fmla="*/ 241 h 241"/>
                <a:gd name="T12" fmla="*/ 241 w 241"/>
                <a:gd name="T13" fmla="*/ 200 h 241"/>
                <a:gd name="T14" fmla="*/ 241 w 241"/>
                <a:gd name="T15" fmla="*/ 41 h 241"/>
                <a:gd name="T16" fmla="*/ 200 w 241"/>
                <a:gd name="T1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241">
                  <a:moveTo>
                    <a:pt x="200" y="0"/>
                  </a:moveTo>
                  <a:cubicBezTo>
                    <a:pt x="41" y="0"/>
                    <a:pt x="41" y="0"/>
                    <a:pt x="41" y="0"/>
                  </a:cubicBezTo>
                  <a:cubicBezTo>
                    <a:pt x="19" y="0"/>
                    <a:pt x="0" y="19"/>
                    <a:pt x="0" y="41"/>
                  </a:cubicBezTo>
                  <a:cubicBezTo>
                    <a:pt x="0" y="200"/>
                    <a:pt x="0" y="200"/>
                    <a:pt x="0" y="200"/>
                  </a:cubicBezTo>
                  <a:cubicBezTo>
                    <a:pt x="0" y="222"/>
                    <a:pt x="19" y="241"/>
                    <a:pt x="41" y="241"/>
                  </a:cubicBezTo>
                  <a:cubicBezTo>
                    <a:pt x="200" y="241"/>
                    <a:pt x="200" y="241"/>
                    <a:pt x="200" y="241"/>
                  </a:cubicBezTo>
                  <a:cubicBezTo>
                    <a:pt x="222" y="241"/>
                    <a:pt x="241" y="222"/>
                    <a:pt x="241" y="200"/>
                  </a:cubicBezTo>
                  <a:cubicBezTo>
                    <a:pt x="241" y="41"/>
                    <a:pt x="241" y="41"/>
                    <a:pt x="241" y="41"/>
                  </a:cubicBezTo>
                  <a:cubicBezTo>
                    <a:pt x="241" y="19"/>
                    <a:pt x="222" y="0"/>
                    <a:pt x="20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54" name="Group 144">
            <a:extLst>
              <a:ext uri="{FF2B5EF4-FFF2-40B4-BE49-F238E27FC236}">
                <a16:creationId xmlns:a16="http://schemas.microsoft.com/office/drawing/2014/main" id="{7EFE0752-EA2A-4DFF-A494-77B091C16466}"/>
              </a:ext>
            </a:extLst>
          </p:cNvPr>
          <p:cNvGrpSpPr>
            <a:grpSpLocks noChangeAspect="1"/>
          </p:cNvGrpSpPr>
          <p:nvPr/>
        </p:nvGrpSpPr>
        <p:grpSpPr bwMode="auto">
          <a:xfrm>
            <a:off x="3935972" y="1213397"/>
            <a:ext cx="1251746" cy="1252728"/>
            <a:chOff x="1608" y="347"/>
            <a:chExt cx="2544" cy="2546"/>
          </a:xfrm>
        </p:grpSpPr>
        <p:sp>
          <p:nvSpPr>
            <p:cNvPr id="55" name="Oval 145">
              <a:extLst>
                <a:ext uri="{FF2B5EF4-FFF2-40B4-BE49-F238E27FC236}">
                  <a16:creationId xmlns:a16="http://schemas.microsoft.com/office/drawing/2014/main" id="{5DFD66D4-B1EB-439E-9D13-1B12736AF997}"/>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6" name="Freeform 146">
              <a:extLst>
                <a:ext uri="{FF2B5EF4-FFF2-40B4-BE49-F238E27FC236}">
                  <a16:creationId xmlns:a16="http://schemas.microsoft.com/office/drawing/2014/main" id="{00E7C7EF-33A8-4BA0-93DB-CDB0084125A2}"/>
                </a:ext>
              </a:extLst>
            </p:cNvPr>
            <p:cNvSpPr>
              <a:spLocks noEditPoints="1"/>
            </p:cNvSpPr>
            <p:nvPr/>
          </p:nvSpPr>
          <p:spPr bwMode="auto">
            <a:xfrm>
              <a:off x="2182" y="1067"/>
              <a:ext cx="774" cy="779"/>
            </a:xfrm>
            <a:custGeom>
              <a:avLst/>
              <a:gdLst>
                <a:gd name="T0" fmla="*/ 376 w 438"/>
                <a:gd name="T1" fmla="*/ 178 h 441"/>
                <a:gd name="T2" fmla="*/ 397 w 438"/>
                <a:gd name="T3" fmla="*/ 178 h 441"/>
                <a:gd name="T4" fmla="*/ 438 w 438"/>
                <a:gd name="T5" fmla="*/ 220 h 441"/>
                <a:gd name="T6" fmla="*/ 396 w 438"/>
                <a:gd name="T7" fmla="*/ 260 h 441"/>
                <a:gd name="T8" fmla="*/ 352 w 438"/>
                <a:gd name="T9" fmla="*/ 260 h 441"/>
                <a:gd name="T10" fmla="*/ 344 w 438"/>
                <a:gd name="T11" fmla="*/ 266 h 441"/>
                <a:gd name="T12" fmla="*/ 350 w 438"/>
                <a:gd name="T13" fmla="*/ 292 h 441"/>
                <a:gd name="T14" fmla="*/ 374 w 438"/>
                <a:gd name="T15" fmla="*/ 316 h 441"/>
                <a:gd name="T16" fmla="*/ 383 w 438"/>
                <a:gd name="T17" fmla="*/ 360 h 441"/>
                <a:gd name="T18" fmla="*/ 346 w 438"/>
                <a:gd name="T19" fmla="*/ 386 h 441"/>
                <a:gd name="T20" fmla="*/ 317 w 438"/>
                <a:gd name="T21" fmla="*/ 375 h 441"/>
                <a:gd name="T22" fmla="*/ 285 w 438"/>
                <a:gd name="T23" fmla="*/ 344 h 441"/>
                <a:gd name="T24" fmla="*/ 274 w 438"/>
                <a:gd name="T25" fmla="*/ 341 h 441"/>
                <a:gd name="T26" fmla="*/ 260 w 438"/>
                <a:gd name="T27" fmla="*/ 362 h 441"/>
                <a:gd name="T28" fmla="*/ 260 w 438"/>
                <a:gd name="T29" fmla="*/ 397 h 441"/>
                <a:gd name="T30" fmla="*/ 224 w 438"/>
                <a:gd name="T31" fmla="*/ 438 h 441"/>
                <a:gd name="T32" fmla="*/ 179 w 438"/>
                <a:gd name="T33" fmla="*/ 406 h 441"/>
                <a:gd name="T34" fmla="*/ 178 w 438"/>
                <a:gd name="T35" fmla="*/ 376 h 441"/>
                <a:gd name="T36" fmla="*/ 178 w 438"/>
                <a:gd name="T37" fmla="*/ 364 h 441"/>
                <a:gd name="T38" fmla="*/ 163 w 438"/>
                <a:gd name="T39" fmla="*/ 341 h 441"/>
                <a:gd name="T40" fmla="*/ 153 w 438"/>
                <a:gd name="T41" fmla="*/ 343 h 441"/>
                <a:gd name="T42" fmla="*/ 123 w 438"/>
                <a:gd name="T43" fmla="*/ 373 h 441"/>
                <a:gd name="T44" fmla="*/ 80 w 438"/>
                <a:gd name="T45" fmla="*/ 384 h 441"/>
                <a:gd name="T46" fmla="*/ 52 w 438"/>
                <a:gd name="T47" fmla="*/ 349 h 441"/>
                <a:gd name="T48" fmla="*/ 65 w 438"/>
                <a:gd name="T49" fmla="*/ 315 h 441"/>
                <a:gd name="T50" fmla="*/ 96 w 438"/>
                <a:gd name="T51" fmla="*/ 284 h 441"/>
                <a:gd name="T52" fmla="*/ 97 w 438"/>
                <a:gd name="T53" fmla="*/ 276 h 441"/>
                <a:gd name="T54" fmla="*/ 74 w 438"/>
                <a:gd name="T55" fmla="*/ 260 h 441"/>
                <a:gd name="T56" fmla="*/ 40 w 438"/>
                <a:gd name="T57" fmla="*/ 260 h 441"/>
                <a:gd name="T58" fmla="*/ 0 w 438"/>
                <a:gd name="T59" fmla="*/ 220 h 441"/>
                <a:gd name="T60" fmla="*/ 40 w 438"/>
                <a:gd name="T61" fmla="*/ 178 h 441"/>
                <a:gd name="T62" fmla="*/ 85 w 438"/>
                <a:gd name="T63" fmla="*/ 178 h 441"/>
                <a:gd name="T64" fmla="*/ 93 w 438"/>
                <a:gd name="T65" fmla="*/ 173 h 441"/>
                <a:gd name="T66" fmla="*/ 88 w 438"/>
                <a:gd name="T67" fmla="*/ 146 h 441"/>
                <a:gd name="T68" fmla="*/ 64 w 438"/>
                <a:gd name="T69" fmla="*/ 122 h 441"/>
                <a:gd name="T70" fmla="*/ 64 w 438"/>
                <a:gd name="T71" fmla="*/ 64 h 441"/>
                <a:gd name="T72" fmla="*/ 122 w 438"/>
                <a:gd name="T73" fmla="*/ 64 h 441"/>
                <a:gd name="T74" fmla="*/ 153 w 438"/>
                <a:gd name="T75" fmla="*/ 96 h 441"/>
                <a:gd name="T76" fmla="*/ 163 w 438"/>
                <a:gd name="T77" fmla="*/ 98 h 441"/>
                <a:gd name="T78" fmla="*/ 178 w 438"/>
                <a:gd name="T79" fmla="*/ 74 h 441"/>
                <a:gd name="T80" fmla="*/ 178 w 438"/>
                <a:gd name="T81" fmla="*/ 40 h 441"/>
                <a:gd name="T82" fmla="*/ 219 w 438"/>
                <a:gd name="T83" fmla="*/ 0 h 441"/>
                <a:gd name="T84" fmla="*/ 260 w 438"/>
                <a:gd name="T85" fmla="*/ 40 h 441"/>
                <a:gd name="T86" fmla="*/ 260 w 438"/>
                <a:gd name="T87" fmla="*/ 86 h 441"/>
                <a:gd name="T88" fmla="*/ 265 w 438"/>
                <a:gd name="T89" fmla="*/ 94 h 441"/>
                <a:gd name="T90" fmla="*/ 292 w 438"/>
                <a:gd name="T91" fmla="*/ 88 h 441"/>
                <a:gd name="T92" fmla="*/ 315 w 438"/>
                <a:gd name="T93" fmla="*/ 64 h 441"/>
                <a:gd name="T94" fmla="*/ 384 w 438"/>
                <a:gd name="T95" fmla="*/ 82 h 441"/>
                <a:gd name="T96" fmla="*/ 374 w 438"/>
                <a:gd name="T97" fmla="*/ 122 h 441"/>
                <a:gd name="T98" fmla="*/ 343 w 438"/>
                <a:gd name="T99" fmla="*/ 153 h 441"/>
                <a:gd name="T100" fmla="*/ 341 w 438"/>
                <a:gd name="T101" fmla="*/ 164 h 441"/>
                <a:gd name="T102" fmla="*/ 362 w 438"/>
                <a:gd name="T103" fmla="*/ 178 h 441"/>
                <a:gd name="T104" fmla="*/ 376 w 438"/>
                <a:gd name="T105" fmla="*/ 178 h 441"/>
                <a:gd name="T106" fmla="*/ 288 w 438"/>
                <a:gd name="T107" fmla="*/ 220 h 441"/>
                <a:gd name="T108" fmla="*/ 219 w 438"/>
                <a:gd name="T109" fmla="*/ 149 h 441"/>
                <a:gd name="T110" fmla="*/ 149 w 438"/>
                <a:gd name="T111" fmla="*/ 219 h 441"/>
                <a:gd name="T112" fmla="*/ 219 w 438"/>
                <a:gd name="T113" fmla="*/ 289 h 441"/>
                <a:gd name="T114" fmla="*/ 288 w 438"/>
                <a:gd name="T115" fmla="*/ 22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8" h="441">
                  <a:moveTo>
                    <a:pt x="376" y="178"/>
                  </a:moveTo>
                  <a:cubicBezTo>
                    <a:pt x="383" y="178"/>
                    <a:pt x="390" y="178"/>
                    <a:pt x="397" y="178"/>
                  </a:cubicBezTo>
                  <a:cubicBezTo>
                    <a:pt x="420" y="179"/>
                    <a:pt x="438" y="197"/>
                    <a:pt x="438" y="220"/>
                  </a:cubicBezTo>
                  <a:cubicBezTo>
                    <a:pt x="438" y="242"/>
                    <a:pt x="420" y="260"/>
                    <a:pt x="396" y="260"/>
                  </a:cubicBezTo>
                  <a:cubicBezTo>
                    <a:pt x="382" y="260"/>
                    <a:pt x="367" y="261"/>
                    <a:pt x="352" y="260"/>
                  </a:cubicBezTo>
                  <a:cubicBezTo>
                    <a:pt x="348" y="260"/>
                    <a:pt x="346" y="262"/>
                    <a:pt x="344" y="266"/>
                  </a:cubicBezTo>
                  <a:cubicBezTo>
                    <a:pt x="338" y="281"/>
                    <a:pt x="338" y="281"/>
                    <a:pt x="350" y="292"/>
                  </a:cubicBezTo>
                  <a:cubicBezTo>
                    <a:pt x="358" y="300"/>
                    <a:pt x="366" y="308"/>
                    <a:pt x="374" y="316"/>
                  </a:cubicBezTo>
                  <a:cubicBezTo>
                    <a:pt x="386" y="329"/>
                    <a:pt x="389" y="344"/>
                    <a:pt x="383" y="360"/>
                  </a:cubicBezTo>
                  <a:cubicBezTo>
                    <a:pt x="377" y="377"/>
                    <a:pt x="364" y="385"/>
                    <a:pt x="346" y="386"/>
                  </a:cubicBezTo>
                  <a:cubicBezTo>
                    <a:pt x="335" y="387"/>
                    <a:pt x="325" y="383"/>
                    <a:pt x="317" y="375"/>
                  </a:cubicBezTo>
                  <a:cubicBezTo>
                    <a:pt x="306" y="365"/>
                    <a:pt x="295" y="354"/>
                    <a:pt x="285" y="344"/>
                  </a:cubicBezTo>
                  <a:cubicBezTo>
                    <a:pt x="282" y="340"/>
                    <a:pt x="279" y="339"/>
                    <a:pt x="274" y="341"/>
                  </a:cubicBezTo>
                  <a:cubicBezTo>
                    <a:pt x="260" y="347"/>
                    <a:pt x="260" y="347"/>
                    <a:pt x="260" y="362"/>
                  </a:cubicBezTo>
                  <a:cubicBezTo>
                    <a:pt x="260" y="374"/>
                    <a:pt x="260" y="386"/>
                    <a:pt x="260" y="397"/>
                  </a:cubicBezTo>
                  <a:cubicBezTo>
                    <a:pt x="260" y="418"/>
                    <a:pt x="244" y="436"/>
                    <a:pt x="224" y="438"/>
                  </a:cubicBezTo>
                  <a:cubicBezTo>
                    <a:pt x="203" y="441"/>
                    <a:pt x="183" y="427"/>
                    <a:pt x="179" y="406"/>
                  </a:cubicBezTo>
                  <a:cubicBezTo>
                    <a:pt x="177" y="396"/>
                    <a:pt x="178" y="386"/>
                    <a:pt x="178" y="376"/>
                  </a:cubicBezTo>
                  <a:cubicBezTo>
                    <a:pt x="178" y="372"/>
                    <a:pt x="178" y="368"/>
                    <a:pt x="178" y="364"/>
                  </a:cubicBezTo>
                  <a:cubicBezTo>
                    <a:pt x="178" y="347"/>
                    <a:pt x="178" y="348"/>
                    <a:pt x="163" y="341"/>
                  </a:cubicBezTo>
                  <a:cubicBezTo>
                    <a:pt x="159" y="339"/>
                    <a:pt x="156" y="340"/>
                    <a:pt x="153" y="343"/>
                  </a:cubicBezTo>
                  <a:cubicBezTo>
                    <a:pt x="143" y="353"/>
                    <a:pt x="133" y="363"/>
                    <a:pt x="123" y="373"/>
                  </a:cubicBezTo>
                  <a:cubicBezTo>
                    <a:pt x="111" y="385"/>
                    <a:pt x="96" y="390"/>
                    <a:pt x="80" y="384"/>
                  </a:cubicBezTo>
                  <a:cubicBezTo>
                    <a:pt x="63" y="379"/>
                    <a:pt x="54" y="367"/>
                    <a:pt x="52" y="349"/>
                  </a:cubicBezTo>
                  <a:cubicBezTo>
                    <a:pt x="50" y="336"/>
                    <a:pt x="55" y="324"/>
                    <a:pt x="65" y="315"/>
                  </a:cubicBezTo>
                  <a:cubicBezTo>
                    <a:pt x="75" y="305"/>
                    <a:pt x="85" y="294"/>
                    <a:pt x="96" y="284"/>
                  </a:cubicBezTo>
                  <a:cubicBezTo>
                    <a:pt x="99" y="281"/>
                    <a:pt x="98" y="279"/>
                    <a:pt x="97" y="276"/>
                  </a:cubicBezTo>
                  <a:cubicBezTo>
                    <a:pt x="94" y="263"/>
                    <a:pt x="87" y="258"/>
                    <a:pt x="74" y="260"/>
                  </a:cubicBezTo>
                  <a:cubicBezTo>
                    <a:pt x="63" y="262"/>
                    <a:pt x="52" y="261"/>
                    <a:pt x="40" y="260"/>
                  </a:cubicBezTo>
                  <a:cubicBezTo>
                    <a:pt x="18" y="260"/>
                    <a:pt x="0" y="242"/>
                    <a:pt x="0" y="220"/>
                  </a:cubicBezTo>
                  <a:cubicBezTo>
                    <a:pt x="0" y="197"/>
                    <a:pt x="17" y="179"/>
                    <a:pt x="40" y="178"/>
                  </a:cubicBezTo>
                  <a:cubicBezTo>
                    <a:pt x="55" y="178"/>
                    <a:pt x="70" y="178"/>
                    <a:pt x="85" y="178"/>
                  </a:cubicBezTo>
                  <a:cubicBezTo>
                    <a:pt x="90" y="178"/>
                    <a:pt x="92" y="177"/>
                    <a:pt x="93" y="173"/>
                  </a:cubicBezTo>
                  <a:cubicBezTo>
                    <a:pt x="99" y="158"/>
                    <a:pt x="99" y="158"/>
                    <a:pt x="88" y="146"/>
                  </a:cubicBezTo>
                  <a:cubicBezTo>
                    <a:pt x="80" y="138"/>
                    <a:pt x="72" y="130"/>
                    <a:pt x="64" y="122"/>
                  </a:cubicBezTo>
                  <a:cubicBezTo>
                    <a:pt x="48" y="106"/>
                    <a:pt x="48" y="80"/>
                    <a:pt x="64" y="64"/>
                  </a:cubicBezTo>
                  <a:cubicBezTo>
                    <a:pt x="80" y="48"/>
                    <a:pt x="105" y="48"/>
                    <a:pt x="122" y="64"/>
                  </a:cubicBezTo>
                  <a:cubicBezTo>
                    <a:pt x="132" y="75"/>
                    <a:pt x="143" y="85"/>
                    <a:pt x="153" y="96"/>
                  </a:cubicBezTo>
                  <a:cubicBezTo>
                    <a:pt x="156" y="99"/>
                    <a:pt x="159" y="99"/>
                    <a:pt x="163" y="98"/>
                  </a:cubicBezTo>
                  <a:cubicBezTo>
                    <a:pt x="176" y="95"/>
                    <a:pt x="180" y="87"/>
                    <a:pt x="178" y="74"/>
                  </a:cubicBezTo>
                  <a:cubicBezTo>
                    <a:pt x="177" y="63"/>
                    <a:pt x="178" y="52"/>
                    <a:pt x="178" y="40"/>
                  </a:cubicBezTo>
                  <a:cubicBezTo>
                    <a:pt x="178" y="18"/>
                    <a:pt x="196" y="0"/>
                    <a:pt x="219" y="0"/>
                  </a:cubicBezTo>
                  <a:cubicBezTo>
                    <a:pt x="241" y="0"/>
                    <a:pt x="260" y="18"/>
                    <a:pt x="260" y="40"/>
                  </a:cubicBezTo>
                  <a:cubicBezTo>
                    <a:pt x="260" y="56"/>
                    <a:pt x="260" y="71"/>
                    <a:pt x="260" y="86"/>
                  </a:cubicBezTo>
                  <a:cubicBezTo>
                    <a:pt x="260" y="90"/>
                    <a:pt x="261" y="92"/>
                    <a:pt x="265" y="94"/>
                  </a:cubicBezTo>
                  <a:cubicBezTo>
                    <a:pt x="276" y="101"/>
                    <a:pt x="284" y="98"/>
                    <a:pt x="292" y="88"/>
                  </a:cubicBezTo>
                  <a:cubicBezTo>
                    <a:pt x="299" y="79"/>
                    <a:pt x="307" y="72"/>
                    <a:pt x="315" y="64"/>
                  </a:cubicBezTo>
                  <a:cubicBezTo>
                    <a:pt x="338" y="42"/>
                    <a:pt x="375" y="52"/>
                    <a:pt x="384" y="82"/>
                  </a:cubicBezTo>
                  <a:cubicBezTo>
                    <a:pt x="388" y="97"/>
                    <a:pt x="385" y="111"/>
                    <a:pt x="374" y="122"/>
                  </a:cubicBezTo>
                  <a:cubicBezTo>
                    <a:pt x="364" y="133"/>
                    <a:pt x="353" y="143"/>
                    <a:pt x="343" y="153"/>
                  </a:cubicBezTo>
                  <a:cubicBezTo>
                    <a:pt x="339" y="157"/>
                    <a:pt x="339" y="159"/>
                    <a:pt x="341" y="164"/>
                  </a:cubicBezTo>
                  <a:cubicBezTo>
                    <a:pt x="347" y="178"/>
                    <a:pt x="347" y="178"/>
                    <a:pt x="362" y="178"/>
                  </a:cubicBezTo>
                  <a:cubicBezTo>
                    <a:pt x="367" y="178"/>
                    <a:pt x="371" y="178"/>
                    <a:pt x="376" y="178"/>
                  </a:cubicBezTo>
                  <a:moveTo>
                    <a:pt x="288" y="220"/>
                  </a:moveTo>
                  <a:cubicBezTo>
                    <a:pt x="288" y="181"/>
                    <a:pt x="257" y="149"/>
                    <a:pt x="219" y="149"/>
                  </a:cubicBezTo>
                  <a:cubicBezTo>
                    <a:pt x="181" y="149"/>
                    <a:pt x="149" y="181"/>
                    <a:pt x="149" y="219"/>
                  </a:cubicBezTo>
                  <a:cubicBezTo>
                    <a:pt x="149" y="255"/>
                    <a:pt x="177" y="289"/>
                    <a:pt x="219" y="289"/>
                  </a:cubicBezTo>
                  <a:cubicBezTo>
                    <a:pt x="261" y="289"/>
                    <a:pt x="289" y="254"/>
                    <a:pt x="288" y="22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7" name="Freeform 147">
              <a:extLst>
                <a:ext uri="{FF2B5EF4-FFF2-40B4-BE49-F238E27FC236}">
                  <a16:creationId xmlns:a16="http://schemas.microsoft.com/office/drawing/2014/main" id="{862FC337-3549-4059-AFF2-731A13A2FCD6}"/>
                </a:ext>
              </a:extLst>
            </p:cNvPr>
            <p:cNvSpPr>
              <a:spLocks noEditPoints="1"/>
            </p:cNvSpPr>
            <p:nvPr/>
          </p:nvSpPr>
          <p:spPr bwMode="auto">
            <a:xfrm>
              <a:off x="2896" y="823"/>
              <a:ext cx="512" cy="512"/>
            </a:xfrm>
            <a:custGeom>
              <a:avLst/>
              <a:gdLst>
                <a:gd name="T0" fmla="*/ 41 w 290"/>
                <a:gd name="T1" fmla="*/ 172 h 290"/>
                <a:gd name="T2" fmla="*/ 28 w 290"/>
                <a:gd name="T3" fmla="*/ 172 h 290"/>
                <a:gd name="T4" fmla="*/ 1 w 290"/>
                <a:gd name="T5" fmla="*/ 146 h 290"/>
                <a:gd name="T6" fmla="*/ 27 w 290"/>
                <a:gd name="T7" fmla="*/ 118 h 290"/>
                <a:gd name="T8" fmla="*/ 57 w 290"/>
                <a:gd name="T9" fmla="*/ 118 h 290"/>
                <a:gd name="T10" fmla="*/ 65 w 290"/>
                <a:gd name="T11" fmla="*/ 109 h 290"/>
                <a:gd name="T12" fmla="*/ 63 w 290"/>
                <a:gd name="T13" fmla="*/ 101 h 290"/>
                <a:gd name="T14" fmla="*/ 44 w 290"/>
                <a:gd name="T15" fmla="*/ 82 h 290"/>
                <a:gd name="T16" fmla="*/ 36 w 290"/>
                <a:gd name="T17" fmla="*/ 53 h 290"/>
                <a:gd name="T18" fmla="*/ 59 w 290"/>
                <a:gd name="T19" fmla="*/ 35 h 290"/>
                <a:gd name="T20" fmla="*/ 79 w 290"/>
                <a:gd name="T21" fmla="*/ 41 h 290"/>
                <a:gd name="T22" fmla="*/ 101 w 290"/>
                <a:gd name="T23" fmla="*/ 62 h 290"/>
                <a:gd name="T24" fmla="*/ 112 w 290"/>
                <a:gd name="T25" fmla="*/ 63 h 290"/>
                <a:gd name="T26" fmla="*/ 118 w 290"/>
                <a:gd name="T27" fmla="*/ 55 h 290"/>
                <a:gd name="T28" fmla="*/ 118 w 290"/>
                <a:gd name="T29" fmla="*/ 25 h 290"/>
                <a:gd name="T30" fmla="*/ 148 w 290"/>
                <a:gd name="T31" fmla="*/ 0 h 290"/>
                <a:gd name="T32" fmla="*/ 173 w 290"/>
                <a:gd name="T33" fmla="*/ 28 h 290"/>
                <a:gd name="T34" fmla="*/ 173 w 290"/>
                <a:gd name="T35" fmla="*/ 55 h 290"/>
                <a:gd name="T36" fmla="*/ 178 w 290"/>
                <a:gd name="T37" fmla="*/ 63 h 290"/>
                <a:gd name="T38" fmla="*/ 189 w 290"/>
                <a:gd name="T39" fmla="*/ 62 h 290"/>
                <a:gd name="T40" fmla="*/ 211 w 290"/>
                <a:gd name="T41" fmla="*/ 41 h 290"/>
                <a:gd name="T42" fmla="*/ 248 w 290"/>
                <a:gd name="T43" fmla="*/ 43 h 290"/>
                <a:gd name="T44" fmla="*/ 248 w 290"/>
                <a:gd name="T45" fmla="*/ 81 h 290"/>
                <a:gd name="T46" fmla="*/ 228 w 290"/>
                <a:gd name="T47" fmla="*/ 101 h 290"/>
                <a:gd name="T48" fmla="*/ 227 w 290"/>
                <a:gd name="T49" fmla="*/ 110 h 290"/>
                <a:gd name="T50" fmla="*/ 235 w 290"/>
                <a:gd name="T51" fmla="*/ 118 h 290"/>
                <a:gd name="T52" fmla="*/ 262 w 290"/>
                <a:gd name="T53" fmla="*/ 118 h 290"/>
                <a:gd name="T54" fmla="*/ 290 w 290"/>
                <a:gd name="T55" fmla="*/ 145 h 290"/>
                <a:gd name="T56" fmla="*/ 262 w 290"/>
                <a:gd name="T57" fmla="*/ 172 h 290"/>
                <a:gd name="T58" fmla="*/ 235 w 290"/>
                <a:gd name="T59" fmla="*/ 172 h 290"/>
                <a:gd name="T60" fmla="*/ 228 w 290"/>
                <a:gd name="T61" fmla="*/ 177 h 290"/>
                <a:gd name="T62" fmla="*/ 228 w 290"/>
                <a:gd name="T63" fmla="*/ 189 h 290"/>
                <a:gd name="T64" fmla="*/ 249 w 290"/>
                <a:gd name="T65" fmla="*/ 211 h 290"/>
                <a:gd name="T66" fmla="*/ 247 w 290"/>
                <a:gd name="T67" fmla="*/ 248 h 290"/>
                <a:gd name="T68" fmla="*/ 210 w 290"/>
                <a:gd name="T69" fmla="*/ 248 h 290"/>
                <a:gd name="T70" fmla="*/ 191 w 290"/>
                <a:gd name="T71" fmla="*/ 229 h 290"/>
                <a:gd name="T72" fmla="*/ 179 w 290"/>
                <a:gd name="T73" fmla="*/ 226 h 290"/>
                <a:gd name="T74" fmla="*/ 173 w 290"/>
                <a:gd name="T75" fmla="*/ 237 h 290"/>
                <a:gd name="T76" fmla="*/ 172 w 290"/>
                <a:gd name="T77" fmla="*/ 268 h 290"/>
                <a:gd name="T78" fmla="*/ 145 w 290"/>
                <a:gd name="T79" fmla="*/ 290 h 290"/>
                <a:gd name="T80" fmla="*/ 119 w 290"/>
                <a:gd name="T81" fmla="*/ 267 h 290"/>
                <a:gd name="T82" fmla="*/ 118 w 290"/>
                <a:gd name="T83" fmla="*/ 235 h 290"/>
                <a:gd name="T84" fmla="*/ 110 w 290"/>
                <a:gd name="T85" fmla="*/ 226 h 290"/>
                <a:gd name="T86" fmla="*/ 101 w 290"/>
                <a:gd name="T87" fmla="*/ 228 h 290"/>
                <a:gd name="T88" fmla="*/ 82 w 290"/>
                <a:gd name="T89" fmla="*/ 247 h 290"/>
                <a:gd name="T90" fmla="*/ 43 w 290"/>
                <a:gd name="T91" fmla="*/ 247 h 290"/>
                <a:gd name="T92" fmla="*/ 43 w 290"/>
                <a:gd name="T93" fmla="*/ 209 h 290"/>
                <a:gd name="T94" fmla="*/ 63 w 290"/>
                <a:gd name="T95" fmla="*/ 189 h 290"/>
                <a:gd name="T96" fmla="*/ 64 w 290"/>
                <a:gd name="T97" fmla="*/ 180 h 290"/>
                <a:gd name="T98" fmla="*/ 56 w 290"/>
                <a:gd name="T99" fmla="*/ 172 h 290"/>
                <a:gd name="T100" fmla="*/ 41 w 290"/>
                <a:gd name="T101" fmla="*/ 172 h 290"/>
                <a:gd name="T102" fmla="*/ 146 w 290"/>
                <a:gd name="T103" fmla="*/ 99 h 290"/>
                <a:gd name="T104" fmla="*/ 99 w 290"/>
                <a:gd name="T105" fmla="*/ 144 h 290"/>
                <a:gd name="T106" fmla="*/ 145 w 290"/>
                <a:gd name="T107" fmla="*/ 191 h 290"/>
                <a:gd name="T108" fmla="*/ 191 w 290"/>
                <a:gd name="T109" fmla="*/ 145 h 290"/>
                <a:gd name="T110" fmla="*/ 146 w 290"/>
                <a:gd name="T111" fmla="*/ 99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0" h="290">
                  <a:moveTo>
                    <a:pt x="41" y="172"/>
                  </a:moveTo>
                  <a:cubicBezTo>
                    <a:pt x="37" y="172"/>
                    <a:pt x="32" y="172"/>
                    <a:pt x="28" y="172"/>
                  </a:cubicBezTo>
                  <a:cubicBezTo>
                    <a:pt x="13" y="172"/>
                    <a:pt x="1" y="160"/>
                    <a:pt x="1" y="146"/>
                  </a:cubicBezTo>
                  <a:cubicBezTo>
                    <a:pt x="0" y="130"/>
                    <a:pt x="12" y="118"/>
                    <a:pt x="27" y="118"/>
                  </a:cubicBezTo>
                  <a:cubicBezTo>
                    <a:pt x="37" y="117"/>
                    <a:pt x="47" y="117"/>
                    <a:pt x="57" y="118"/>
                  </a:cubicBezTo>
                  <a:cubicBezTo>
                    <a:pt x="63" y="118"/>
                    <a:pt x="62" y="112"/>
                    <a:pt x="65" y="109"/>
                  </a:cubicBezTo>
                  <a:cubicBezTo>
                    <a:pt x="67" y="106"/>
                    <a:pt x="66" y="104"/>
                    <a:pt x="63" y="101"/>
                  </a:cubicBezTo>
                  <a:cubicBezTo>
                    <a:pt x="57" y="95"/>
                    <a:pt x="50" y="88"/>
                    <a:pt x="44" y="82"/>
                  </a:cubicBezTo>
                  <a:cubicBezTo>
                    <a:pt x="36" y="74"/>
                    <a:pt x="33" y="64"/>
                    <a:pt x="36" y="53"/>
                  </a:cubicBezTo>
                  <a:cubicBezTo>
                    <a:pt x="40" y="42"/>
                    <a:pt x="48" y="36"/>
                    <a:pt x="59" y="35"/>
                  </a:cubicBezTo>
                  <a:cubicBezTo>
                    <a:pt x="67" y="34"/>
                    <a:pt x="74" y="36"/>
                    <a:pt x="79" y="41"/>
                  </a:cubicBezTo>
                  <a:cubicBezTo>
                    <a:pt x="87" y="48"/>
                    <a:pt x="94" y="55"/>
                    <a:pt x="101" y="62"/>
                  </a:cubicBezTo>
                  <a:cubicBezTo>
                    <a:pt x="105" y="66"/>
                    <a:pt x="108" y="64"/>
                    <a:pt x="112" y="63"/>
                  </a:cubicBezTo>
                  <a:cubicBezTo>
                    <a:pt x="116" y="62"/>
                    <a:pt x="118" y="59"/>
                    <a:pt x="118" y="55"/>
                  </a:cubicBezTo>
                  <a:cubicBezTo>
                    <a:pt x="118" y="45"/>
                    <a:pt x="117" y="35"/>
                    <a:pt x="118" y="25"/>
                  </a:cubicBezTo>
                  <a:cubicBezTo>
                    <a:pt x="121" y="8"/>
                    <a:pt x="132" y="0"/>
                    <a:pt x="148" y="0"/>
                  </a:cubicBezTo>
                  <a:cubicBezTo>
                    <a:pt x="162" y="1"/>
                    <a:pt x="172" y="13"/>
                    <a:pt x="173" y="28"/>
                  </a:cubicBezTo>
                  <a:cubicBezTo>
                    <a:pt x="173" y="37"/>
                    <a:pt x="173" y="46"/>
                    <a:pt x="173" y="55"/>
                  </a:cubicBezTo>
                  <a:cubicBezTo>
                    <a:pt x="173" y="60"/>
                    <a:pt x="175" y="62"/>
                    <a:pt x="178" y="63"/>
                  </a:cubicBezTo>
                  <a:cubicBezTo>
                    <a:pt x="182" y="64"/>
                    <a:pt x="185" y="66"/>
                    <a:pt x="189" y="62"/>
                  </a:cubicBezTo>
                  <a:cubicBezTo>
                    <a:pt x="196" y="55"/>
                    <a:pt x="204" y="48"/>
                    <a:pt x="211" y="41"/>
                  </a:cubicBezTo>
                  <a:cubicBezTo>
                    <a:pt x="223" y="31"/>
                    <a:pt x="238" y="33"/>
                    <a:pt x="248" y="43"/>
                  </a:cubicBezTo>
                  <a:cubicBezTo>
                    <a:pt x="258" y="54"/>
                    <a:pt x="258" y="70"/>
                    <a:pt x="248" y="81"/>
                  </a:cubicBezTo>
                  <a:cubicBezTo>
                    <a:pt x="241" y="88"/>
                    <a:pt x="235" y="95"/>
                    <a:pt x="228" y="101"/>
                  </a:cubicBezTo>
                  <a:cubicBezTo>
                    <a:pt x="224" y="104"/>
                    <a:pt x="225" y="107"/>
                    <a:pt x="227" y="110"/>
                  </a:cubicBezTo>
                  <a:cubicBezTo>
                    <a:pt x="228" y="113"/>
                    <a:pt x="228" y="118"/>
                    <a:pt x="235" y="118"/>
                  </a:cubicBezTo>
                  <a:cubicBezTo>
                    <a:pt x="244" y="117"/>
                    <a:pt x="253" y="117"/>
                    <a:pt x="262" y="118"/>
                  </a:cubicBezTo>
                  <a:cubicBezTo>
                    <a:pt x="278" y="118"/>
                    <a:pt x="290" y="130"/>
                    <a:pt x="290" y="145"/>
                  </a:cubicBezTo>
                  <a:cubicBezTo>
                    <a:pt x="290" y="160"/>
                    <a:pt x="278" y="172"/>
                    <a:pt x="262" y="172"/>
                  </a:cubicBezTo>
                  <a:cubicBezTo>
                    <a:pt x="253" y="172"/>
                    <a:pt x="244" y="172"/>
                    <a:pt x="235" y="172"/>
                  </a:cubicBezTo>
                  <a:cubicBezTo>
                    <a:pt x="231" y="172"/>
                    <a:pt x="229" y="173"/>
                    <a:pt x="228" y="177"/>
                  </a:cubicBezTo>
                  <a:cubicBezTo>
                    <a:pt x="227" y="181"/>
                    <a:pt x="223" y="184"/>
                    <a:pt x="228" y="189"/>
                  </a:cubicBezTo>
                  <a:cubicBezTo>
                    <a:pt x="235" y="196"/>
                    <a:pt x="243" y="203"/>
                    <a:pt x="249" y="211"/>
                  </a:cubicBezTo>
                  <a:cubicBezTo>
                    <a:pt x="259" y="222"/>
                    <a:pt x="258" y="238"/>
                    <a:pt x="247" y="248"/>
                  </a:cubicBezTo>
                  <a:cubicBezTo>
                    <a:pt x="237" y="258"/>
                    <a:pt x="221" y="258"/>
                    <a:pt x="210" y="248"/>
                  </a:cubicBezTo>
                  <a:cubicBezTo>
                    <a:pt x="203" y="242"/>
                    <a:pt x="197" y="236"/>
                    <a:pt x="191" y="229"/>
                  </a:cubicBezTo>
                  <a:cubicBezTo>
                    <a:pt x="188" y="225"/>
                    <a:pt x="185" y="224"/>
                    <a:pt x="179" y="226"/>
                  </a:cubicBezTo>
                  <a:cubicBezTo>
                    <a:pt x="174" y="228"/>
                    <a:pt x="173" y="232"/>
                    <a:pt x="173" y="237"/>
                  </a:cubicBezTo>
                  <a:cubicBezTo>
                    <a:pt x="173" y="247"/>
                    <a:pt x="174" y="258"/>
                    <a:pt x="172" y="268"/>
                  </a:cubicBezTo>
                  <a:cubicBezTo>
                    <a:pt x="170" y="280"/>
                    <a:pt x="158" y="290"/>
                    <a:pt x="145" y="290"/>
                  </a:cubicBezTo>
                  <a:cubicBezTo>
                    <a:pt x="133" y="290"/>
                    <a:pt x="121" y="280"/>
                    <a:pt x="119" y="267"/>
                  </a:cubicBezTo>
                  <a:cubicBezTo>
                    <a:pt x="117" y="257"/>
                    <a:pt x="118" y="246"/>
                    <a:pt x="118" y="235"/>
                  </a:cubicBezTo>
                  <a:cubicBezTo>
                    <a:pt x="118" y="228"/>
                    <a:pt x="113" y="228"/>
                    <a:pt x="110" y="226"/>
                  </a:cubicBezTo>
                  <a:cubicBezTo>
                    <a:pt x="106" y="223"/>
                    <a:pt x="103" y="225"/>
                    <a:pt x="101" y="228"/>
                  </a:cubicBezTo>
                  <a:cubicBezTo>
                    <a:pt x="95" y="234"/>
                    <a:pt x="88" y="240"/>
                    <a:pt x="82" y="247"/>
                  </a:cubicBezTo>
                  <a:cubicBezTo>
                    <a:pt x="70" y="258"/>
                    <a:pt x="54" y="258"/>
                    <a:pt x="43" y="247"/>
                  </a:cubicBezTo>
                  <a:cubicBezTo>
                    <a:pt x="32" y="237"/>
                    <a:pt x="32" y="221"/>
                    <a:pt x="43" y="209"/>
                  </a:cubicBezTo>
                  <a:cubicBezTo>
                    <a:pt x="50" y="202"/>
                    <a:pt x="56" y="195"/>
                    <a:pt x="63" y="189"/>
                  </a:cubicBezTo>
                  <a:cubicBezTo>
                    <a:pt x="66" y="186"/>
                    <a:pt x="66" y="183"/>
                    <a:pt x="64" y="180"/>
                  </a:cubicBezTo>
                  <a:cubicBezTo>
                    <a:pt x="62" y="177"/>
                    <a:pt x="63" y="171"/>
                    <a:pt x="56" y="172"/>
                  </a:cubicBezTo>
                  <a:cubicBezTo>
                    <a:pt x="51" y="172"/>
                    <a:pt x="46" y="172"/>
                    <a:pt x="41" y="172"/>
                  </a:cubicBezTo>
                  <a:moveTo>
                    <a:pt x="146" y="99"/>
                  </a:moveTo>
                  <a:cubicBezTo>
                    <a:pt x="120" y="99"/>
                    <a:pt x="100" y="119"/>
                    <a:pt x="99" y="144"/>
                  </a:cubicBezTo>
                  <a:cubicBezTo>
                    <a:pt x="99" y="170"/>
                    <a:pt x="120" y="191"/>
                    <a:pt x="145" y="191"/>
                  </a:cubicBezTo>
                  <a:cubicBezTo>
                    <a:pt x="170" y="191"/>
                    <a:pt x="191" y="170"/>
                    <a:pt x="191" y="145"/>
                  </a:cubicBezTo>
                  <a:cubicBezTo>
                    <a:pt x="191" y="119"/>
                    <a:pt x="171" y="99"/>
                    <a:pt x="146" y="99"/>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 name="Freeform 148">
              <a:extLst>
                <a:ext uri="{FF2B5EF4-FFF2-40B4-BE49-F238E27FC236}">
                  <a16:creationId xmlns:a16="http://schemas.microsoft.com/office/drawing/2014/main" id="{940B1AE0-2BA2-4EB7-A25D-24D98DFE8099}"/>
                </a:ext>
              </a:extLst>
            </p:cNvPr>
            <p:cNvSpPr>
              <a:spLocks/>
            </p:cNvSpPr>
            <p:nvPr/>
          </p:nvSpPr>
          <p:spPr bwMode="auto">
            <a:xfrm>
              <a:off x="2025" y="2562"/>
              <a:ext cx="51" cy="46"/>
            </a:xfrm>
            <a:custGeom>
              <a:avLst/>
              <a:gdLst>
                <a:gd name="T0" fmla="*/ 0 w 29"/>
                <a:gd name="T1" fmla="*/ 1 h 26"/>
                <a:gd name="T2" fmla="*/ 29 w 29"/>
                <a:gd name="T3" fmla="*/ 26 h 26"/>
                <a:gd name="T4" fmla="*/ 29 w 29"/>
                <a:gd name="T5" fmla="*/ 25 h 26"/>
                <a:gd name="T6" fmla="*/ 0 w 29"/>
                <a:gd name="T7" fmla="*/ 0 h 26"/>
                <a:gd name="T8" fmla="*/ 0 w 29"/>
                <a:gd name="T9" fmla="*/ 1 h 26"/>
              </a:gdLst>
              <a:ahLst/>
              <a:cxnLst>
                <a:cxn ang="0">
                  <a:pos x="T0" y="T1"/>
                </a:cxn>
                <a:cxn ang="0">
                  <a:pos x="T2" y="T3"/>
                </a:cxn>
                <a:cxn ang="0">
                  <a:pos x="T4" y="T5"/>
                </a:cxn>
                <a:cxn ang="0">
                  <a:pos x="T6" y="T7"/>
                </a:cxn>
                <a:cxn ang="0">
                  <a:pos x="T8" y="T9"/>
                </a:cxn>
              </a:cxnLst>
              <a:rect l="0" t="0" r="r" b="b"/>
              <a:pathLst>
                <a:path w="29" h="26">
                  <a:moveTo>
                    <a:pt x="0" y="1"/>
                  </a:moveTo>
                  <a:cubicBezTo>
                    <a:pt x="9" y="11"/>
                    <a:pt x="19" y="19"/>
                    <a:pt x="29" y="26"/>
                  </a:cubicBezTo>
                  <a:cubicBezTo>
                    <a:pt x="29" y="26"/>
                    <a:pt x="29" y="26"/>
                    <a:pt x="29" y="25"/>
                  </a:cubicBezTo>
                  <a:cubicBezTo>
                    <a:pt x="19" y="17"/>
                    <a:pt x="10" y="9"/>
                    <a:pt x="0" y="0"/>
                  </a:cubicBezTo>
                  <a:cubicBezTo>
                    <a:pt x="0" y="1"/>
                    <a:pt x="0" y="1"/>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 name="Freeform 149">
              <a:extLst>
                <a:ext uri="{FF2B5EF4-FFF2-40B4-BE49-F238E27FC236}">
                  <a16:creationId xmlns:a16="http://schemas.microsoft.com/office/drawing/2014/main" id="{C74B5417-E716-4D77-8889-7E073797A968}"/>
                </a:ext>
              </a:extLst>
            </p:cNvPr>
            <p:cNvSpPr>
              <a:spLocks/>
            </p:cNvSpPr>
            <p:nvPr/>
          </p:nvSpPr>
          <p:spPr bwMode="auto">
            <a:xfrm>
              <a:off x="2915" y="2889"/>
              <a:ext cx="50" cy="2"/>
            </a:xfrm>
            <a:custGeom>
              <a:avLst/>
              <a:gdLst>
                <a:gd name="T0" fmla="*/ 28 w 28"/>
                <a:gd name="T1" fmla="*/ 0 h 1"/>
                <a:gd name="T2" fmla="*/ 0 w 28"/>
                <a:gd name="T3" fmla="*/ 1 h 1"/>
                <a:gd name="T4" fmla="*/ 28 w 28"/>
                <a:gd name="T5" fmla="*/ 0 h 1"/>
              </a:gdLst>
              <a:ahLst/>
              <a:cxnLst>
                <a:cxn ang="0">
                  <a:pos x="T0" y="T1"/>
                </a:cxn>
                <a:cxn ang="0">
                  <a:pos x="T2" y="T3"/>
                </a:cxn>
                <a:cxn ang="0">
                  <a:pos x="T4" y="T5"/>
                </a:cxn>
              </a:cxnLst>
              <a:rect l="0" t="0" r="r" b="b"/>
              <a:pathLst>
                <a:path w="28" h="1">
                  <a:moveTo>
                    <a:pt x="28" y="0"/>
                  </a:moveTo>
                  <a:cubicBezTo>
                    <a:pt x="19" y="1"/>
                    <a:pt x="9" y="1"/>
                    <a:pt x="0" y="1"/>
                  </a:cubicBezTo>
                  <a:cubicBezTo>
                    <a:pt x="9" y="1"/>
                    <a:pt x="19" y="1"/>
                    <a:pt x="28" y="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0" name="Freeform 150">
              <a:extLst>
                <a:ext uri="{FF2B5EF4-FFF2-40B4-BE49-F238E27FC236}">
                  <a16:creationId xmlns:a16="http://schemas.microsoft.com/office/drawing/2014/main" id="{38EE04DF-8FA0-4EC4-8321-52FE749AA91D}"/>
                </a:ext>
              </a:extLst>
            </p:cNvPr>
            <p:cNvSpPr>
              <a:spLocks/>
            </p:cNvSpPr>
            <p:nvPr/>
          </p:nvSpPr>
          <p:spPr bwMode="auto">
            <a:xfrm>
              <a:off x="2965" y="2888"/>
              <a:ext cx="25" cy="1"/>
            </a:xfrm>
            <a:custGeom>
              <a:avLst/>
              <a:gdLst>
                <a:gd name="T0" fmla="*/ 0 w 14"/>
                <a:gd name="T1" fmla="*/ 1 h 1"/>
                <a:gd name="T2" fmla="*/ 0 w 14"/>
                <a:gd name="T3" fmla="*/ 1 h 1"/>
                <a:gd name="T4" fmla="*/ 14 w 14"/>
                <a:gd name="T5" fmla="*/ 0 h 1"/>
                <a:gd name="T6" fmla="*/ 0 w 14"/>
                <a:gd name="T7" fmla="*/ 1 h 1"/>
              </a:gdLst>
              <a:ahLst/>
              <a:cxnLst>
                <a:cxn ang="0">
                  <a:pos x="T0" y="T1"/>
                </a:cxn>
                <a:cxn ang="0">
                  <a:pos x="T2" y="T3"/>
                </a:cxn>
                <a:cxn ang="0">
                  <a:pos x="T4" y="T5"/>
                </a:cxn>
                <a:cxn ang="0">
                  <a:pos x="T6" y="T7"/>
                </a:cxn>
              </a:cxnLst>
              <a:rect l="0" t="0" r="r" b="b"/>
              <a:pathLst>
                <a:path w="14" h="1">
                  <a:moveTo>
                    <a:pt x="0" y="1"/>
                  </a:moveTo>
                  <a:cubicBezTo>
                    <a:pt x="0" y="1"/>
                    <a:pt x="0" y="1"/>
                    <a:pt x="0" y="1"/>
                  </a:cubicBezTo>
                  <a:cubicBezTo>
                    <a:pt x="5" y="1"/>
                    <a:pt x="10" y="1"/>
                    <a:pt x="14" y="0"/>
                  </a:cubicBezTo>
                  <a:cubicBezTo>
                    <a:pt x="10" y="1"/>
                    <a:pt x="5" y="1"/>
                    <a:pt x="0" y="1"/>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1" name="Freeform 151">
              <a:extLst>
                <a:ext uri="{FF2B5EF4-FFF2-40B4-BE49-F238E27FC236}">
                  <a16:creationId xmlns:a16="http://schemas.microsoft.com/office/drawing/2014/main" id="{EA090391-C1AF-42D1-90EB-872B57B6D70C}"/>
                </a:ext>
              </a:extLst>
            </p:cNvPr>
            <p:cNvSpPr>
              <a:spLocks/>
            </p:cNvSpPr>
            <p:nvPr/>
          </p:nvSpPr>
          <p:spPr bwMode="auto">
            <a:xfrm>
              <a:off x="2915" y="289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2" name="Freeform 152">
              <a:extLst>
                <a:ext uri="{FF2B5EF4-FFF2-40B4-BE49-F238E27FC236}">
                  <a16:creationId xmlns:a16="http://schemas.microsoft.com/office/drawing/2014/main" id="{458A70F7-0BE3-45D4-84F7-6CEB775D3436}"/>
                </a:ext>
              </a:extLst>
            </p:cNvPr>
            <p:cNvSpPr>
              <a:spLocks/>
            </p:cNvSpPr>
            <p:nvPr/>
          </p:nvSpPr>
          <p:spPr bwMode="auto">
            <a:xfrm>
              <a:off x="2915" y="2858"/>
              <a:ext cx="50" cy="33"/>
            </a:xfrm>
            <a:custGeom>
              <a:avLst/>
              <a:gdLst>
                <a:gd name="T0" fmla="*/ 10 w 28"/>
                <a:gd name="T1" fmla="*/ 0 h 19"/>
                <a:gd name="T2" fmla="*/ 0 w 28"/>
                <a:gd name="T3" fmla="*/ 19 h 19"/>
                <a:gd name="T4" fmla="*/ 0 w 28"/>
                <a:gd name="T5" fmla="*/ 19 h 19"/>
                <a:gd name="T6" fmla="*/ 28 w 28"/>
                <a:gd name="T7" fmla="*/ 18 h 19"/>
                <a:gd name="T8" fmla="*/ 10 w 28"/>
                <a:gd name="T9" fmla="*/ 0 h 19"/>
              </a:gdLst>
              <a:ahLst/>
              <a:cxnLst>
                <a:cxn ang="0">
                  <a:pos x="T0" y="T1"/>
                </a:cxn>
                <a:cxn ang="0">
                  <a:pos x="T2" y="T3"/>
                </a:cxn>
                <a:cxn ang="0">
                  <a:pos x="T4" y="T5"/>
                </a:cxn>
                <a:cxn ang="0">
                  <a:pos x="T6" y="T7"/>
                </a:cxn>
                <a:cxn ang="0">
                  <a:pos x="T8" y="T9"/>
                </a:cxn>
              </a:cxnLst>
              <a:rect l="0" t="0" r="r" b="b"/>
              <a:pathLst>
                <a:path w="28" h="19">
                  <a:moveTo>
                    <a:pt x="10" y="0"/>
                  </a:moveTo>
                  <a:cubicBezTo>
                    <a:pt x="5" y="9"/>
                    <a:pt x="2" y="16"/>
                    <a:pt x="0" y="19"/>
                  </a:cubicBezTo>
                  <a:cubicBezTo>
                    <a:pt x="0" y="19"/>
                    <a:pt x="0" y="19"/>
                    <a:pt x="0" y="19"/>
                  </a:cubicBezTo>
                  <a:cubicBezTo>
                    <a:pt x="9" y="19"/>
                    <a:pt x="19" y="19"/>
                    <a:pt x="28" y="18"/>
                  </a:cubicBez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3" name="Freeform 153">
              <a:extLst>
                <a:ext uri="{FF2B5EF4-FFF2-40B4-BE49-F238E27FC236}">
                  <a16:creationId xmlns:a16="http://schemas.microsoft.com/office/drawing/2014/main" id="{B62DD3F9-D7F0-4BE9-B9D5-28064E60450A}"/>
                </a:ext>
              </a:extLst>
            </p:cNvPr>
            <p:cNvSpPr>
              <a:spLocks/>
            </p:cNvSpPr>
            <p:nvPr/>
          </p:nvSpPr>
          <p:spPr bwMode="auto">
            <a:xfrm>
              <a:off x="2990" y="28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4" name="Freeform 154">
              <a:extLst>
                <a:ext uri="{FF2B5EF4-FFF2-40B4-BE49-F238E27FC236}">
                  <a16:creationId xmlns:a16="http://schemas.microsoft.com/office/drawing/2014/main" id="{3AABB0CC-F4DF-4C1B-9C12-300C56D2B58A}"/>
                </a:ext>
              </a:extLst>
            </p:cNvPr>
            <p:cNvSpPr>
              <a:spLocks/>
            </p:cNvSpPr>
            <p:nvPr/>
          </p:nvSpPr>
          <p:spPr bwMode="auto">
            <a:xfrm>
              <a:off x="2200" y="2119"/>
              <a:ext cx="5" cy="8"/>
            </a:xfrm>
            <a:custGeom>
              <a:avLst/>
              <a:gdLst>
                <a:gd name="T0" fmla="*/ 0 w 3"/>
                <a:gd name="T1" fmla="*/ 3 h 5"/>
                <a:gd name="T2" fmla="*/ 2 w 3"/>
                <a:gd name="T3" fmla="*/ 5 h 5"/>
                <a:gd name="T4" fmla="*/ 3 w 3"/>
                <a:gd name="T5" fmla="*/ 0 h 5"/>
                <a:gd name="T6" fmla="*/ 0 w 3"/>
                <a:gd name="T7" fmla="*/ 3 h 5"/>
              </a:gdLst>
              <a:ahLst/>
              <a:cxnLst>
                <a:cxn ang="0">
                  <a:pos x="T0" y="T1"/>
                </a:cxn>
                <a:cxn ang="0">
                  <a:pos x="T2" y="T3"/>
                </a:cxn>
                <a:cxn ang="0">
                  <a:pos x="T4" y="T5"/>
                </a:cxn>
                <a:cxn ang="0">
                  <a:pos x="T6" y="T7"/>
                </a:cxn>
              </a:cxnLst>
              <a:rect l="0" t="0" r="r" b="b"/>
              <a:pathLst>
                <a:path w="3" h="5">
                  <a:moveTo>
                    <a:pt x="0" y="3"/>
                  </a:moveTo>
                  <a:cubicBezTo>
                    <a:pt x="2" y="5"/>
                    <a:pt x="2" y="5"/>
                    <a:pt x="2" y="5"/>
                  </a:cubicBezTo>
                  <a:cubicBezTo>
                    <a:pt x="2" y="3"/>
                    <a:pt x="3" y="2"/>
                    <a:pt x="3" y="0"/>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5" name="Freeform 155">
              <a:extLst>
                <a:ext uri="{FF2B5EF4-FFF2-40B4-BE49-F238E27FC236}">
                  <a16:creationId xmlns:a16="http://schemas.microsoft.com/office/drawing/2014/main" id="{B1595B55-DBB8-4116-9B4B-B0B346F8D5DC}"/>
                </a:ext>
              </a:extLst>
            </p:cNvPr>
            <p:cNvSpPr>
              <a:spLocks noEditPoints="1"/>
            </p:cNvSpPr>
            <p:nvPr/>
          </p:nvSpPr>
          <p:spPr bwMode="auto">
            <a:xfrm>
              <a:off x="1944" y="543"/>
              <a:ext cx="2208" cy="2348"/>
            </a:xfrm>
            <a:custGeom>
              <a:avLst/>
              <a:gdLst>
                <a:gd name="T0" fmla="*/ 1244 w 1250"/>
                <a:gd name="T1" fmla="*/ 521 h 1328"/>
                <a:gd name="T2" fmla="*/ 878 w 1250"/>
                <a:gd name="T3" fmla="*/ 155 h 1328"/>
                <a:gd name="T4" fmla="*/ 878 w 1250"/>
                <a:gd name="T5" fmla="*/ 155 h 1328"/>
                <a:gd name="T6" fmla="*/ 878 w 1250"/>
                <a:gd name="T7" fmla="*/ 155 h 1328"/>
                <a:gd name="T8" fmla="*/ 716 w 1250"/>
                <a:gd name="T9" fmla="*/ 45 h 1328"/>
                <a:gd name="T10" fmla="*/ 450 w 1250"/>
                <a:gd name="T11" fmla="*/ 10 h 1328"/>
                <a:gd name="T12" fmla="*/ 321 w 1250"/>
                <a:gd name="T13" fmla="*/ 34 h 1328"/>
                <a:gd name="T14" fmla="*/ 126 w 1250"/>
                <a:gd name="T15" fmla="*/ 143 h 1328"/>
                <a:gd name="T16" fmla="*/ 0 w 1250"/>
                <a:gd name="T17" fmla="*/ 437 h 1328"/>
                <a:gd name="T18" fmla="*/ 36 w 1250"/>
                <a:gd name="T19" fmla="*/ 604 h 1328"/>
                <a:gd name="T20" fmla="*/ 104 w 1250"/>
                <a:gd name="T21" fmla="*/ 734 h 1328"/>
                <a:gd name="T22" fmla="*/ 115 w 1250"/>
                <a:gd name="T23" fmla="*/ 767 h 1328"/>
                <a:gd name="T24" fmla="*/ 118 w 1250"/>
                <a:gd name="T25" fmla="*/ 803 h 1328"/>
                <a:gd name="T26" fmla="*/ 107 w 1250"/>
                <a:gd name="T27" fmla="*/ 919 h 1328"/>
                <a:gd name="T28" fmla="*/ 46 w 1250"/>
                <a:gd name="T29" fmla="*/ 1142 h 1328"/>
                <a:gd name="T30" fmla="*/ 75 w 1250"/>
                <a:gd name="T31" fmla="*/ 1167 h 1328"/>
                <a:gd name="T32" fmla="*/ 76 w 1250"/>
                <a:gd name="T33" fmla="*/ 1165 h 1328"/>
                <a:gd name="T34" fmla="*/ 154 w 1250"/>
                <a:gd name="T35" fmla="*/ 837 h 1328"/>
                <a:gd name="T36" fmla="*/ 152 w 1250"/>
                <a:gd name="T37" fmla="*/ 761 h 1328"/>
                <a:gd name="T38" fmla="*/ 127 w 1250"/>
                <a:gd name="T39" fmla="*/ 700 h 1328"/>
                <a:gd name="T40" fmla="*/ 65 w 1250"/>
                <a:gd name="T41" fmla="*/ 576 h 1328"/>
                <a:gd name="T42" fmla="*/ 75 w 1250"/>
                <a:gd name="T43" fmla="*/ 273 h 1328"/>
                <a:gd name="T44" fmla="*/ 286 w 1250"/>
                <a:gd name="T45" fmla="*/ 85 h 1328"/>
                <a:gd name="T46" fmla="*/ 443 w 1250"/>
                <a:gd name="T47" fmla="*/ 48 h 1328"/>
                <a:gd name="T48" fmla="*/ 496 w 1250"/>
                <a:gd name="T49" fmla="*/ 43 h 1328"/>
                <a:gd name="T50" fmla="*/ 609 w 1250"/>
                <a:gd name="T51" fmla="*/ 54 h 1328"/>
                <a:gd name="T52" fmla="*/ 759 w 1250"/>
                <a:gd name="T53" fmla="*/ 106 h 1328"/>
                <a:gd name="T54" fmla="*/ 901 w 1250"/>
                <a:gd name="T55" fmla="*/ 245 h 1328"/>
                <a:gd name="T56" fmla="*/ 961 w 1250"/>
                <a:gd name="T57" fmla="*/ 449 h 1328"/>
                <a:gd name="T58" fmla="*/ 954 w 1250"/>
                <a:gd name="T59" fmla="*/ 485 h 1328"/>
                <a:gd name="T60" fmla="*/ 947 w 1250"/>
                <a:gd name="T61" fmla="*/ 520 h 1328"/>
                <a:gd name="T62" fmla="*/ 968 w 1250"/>
                <a:gd name="T63" fmla="*/ 575 h 1328"/>
                <a:gd name="T64" fmla="*/ 1030 w 1250"/>
                <a:gd name="T65" fmla="*/ 673 h 1328"/>
                <a:gd name="T66" fmla="*/ 1036 w 1250"/>
                <a:gd name="T67" fmla="*/ 687 h 1328"/>
                <a:gd name="T68" fmla="*/ 1027 w 1250"/>
                <a:gd name="T69" fmla="*/ 729 h 1328"/>
                <a:gd name="T70" fmla="*/ 1009 w 1250"/>
                <a:gd name="T71" fmla="*/ 744 h 1328"/>
                <a:gd name="T72" fmla="*/ 990 w 1250"/>
                <a:gd name="T73" fmla="*/ 816 h 1328"/>
                <a:gd name="T74" fmla="*/ 990 w 1250"/>
                <a:gd name="T75" fmla="*/ 833 h 1328"/>
                <a:gd name="T76" fmla="*/ 967 w 1250"/>
                <a:gd name="T77" fmla="*/ 887 h 1328"/>
                <a:gd name="T78" fmla="*/ 938 w 1250"/>
                <a:gd name="T79" fmla="*/ 961 h 1328"/>
                <a:gd name="T80" fmla="*/ 933 w 1250"/>
                <a:gd name="T81" fmla="*/ 1005 h 1328"/>
                <a:gd name="T82" fmla="*/ 899 w 1250"/>
                <a:gd name="T83" fmla="*/ 1062 h 1328"/>
                <a:gd name="T84" fmla="*/ 835 w 1250"/>
                <a:gd name="T85" fmla="*/ 1076 h 1328"/>
                <a:gd name="T86" fmla="*/ 737 w 1250"/>
                <a:gd name="T87" fmla="*/ 1065 h 1328"/>
                <a:gd name="T88" fmla="*/ 674 w 1250"/>
                <a:gd name="T89" fmla="*/ 1085 h 1328"/>
                <a:gd name="T90" fmla="*/ 657 w 1250"/>
                <a:gd name="T91" fmla="*/ 1112 h 1328"/>
                <a:gd name="T92" fmla="*/ 550 w 1250"/>
                <a:gd name="T93" fmla="*/ 1328 h 1328"/>
                <a:gd name="T94" fmla="*/ 592 w 1250"/>
                <a:gd name="T95" fmla="*/ 1326 h 1328"/>
                <a:gd name="T96" fmla="*/ 1250 w 1250"/>
                <a:gd name="T97" fmla="*/ 609 h 1328"/>
                <a:gd name="T98" fmla="*/ 1244 w 1250"/>
                <a:gd name="T99" fmla="*/ 521 h 1328"/>
                <a:gd name="T100" fmla="*/ 894 w 1250"/>
                <a:gd name="T101" fmla="*/ 174 h 1328"/>
                <a:gd name="T102" fmla="*/ 910 w 1250"/>
                <a:gd name="T103" fmla="*/ 194 h 1328"/>
                <a:gd name="T104" fmla="*/ 894 w 1250"/>
                <a:gd name="T105" fmla="*/ 174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50" h="1328">
                  <a:moveTo>
                    <a:pt x="1244" y="521"/>
                  </a:moveTo>
                  <a:cubicBezTo>
                    <a:pt x="878" y="155"/>
                    <a:pt x="878" y="155"/>
                    <a:pt x="878" y="155"/>
                  </a:cubicBezTo>
                  <a:cubicBezTo>
                    <a:pt x="878" y="155"/>
                    <a:pt x="878" y="155"/>
                    <a:pt x="878" y="155"/>
                  </a:cubicBezTo>
                  <a:cubicBezTo>
                    <a:pt x="878" y="155"/>
                    <a:pt x="878" y="155"/>
                    <a:pt x="878" y="155"/>
                  </a:cubicBezTo>
                  <a:cubicBezTo>
                    <a:pt x="833" y="106"/>
                    <a:pt x="780" y="68"/>
                    <a:pt x="716" y="45"/>
                  </a:cubicBezTo>
                  <a:cubicBezTo>
                    <a:pt x="630" y="15"/>
                    <a:pt x="542" y="0"/>
                    <a:pt x="450" y="10"/>
                  </a:cubicBezTo>
                  <a:cubicBezTo>
                    <a:pt x="407" y="14"/>
                    <a:pt x="363" y="21"/>
                    <a:pt x="321" y="34"/>
                  </a:cubicBezTo>
                  <a:cubicBezTo>
                    <a:pt x="248" y="56"/>
                    <a:pt x="181" y="90"/>
                    <a:pt x="126" y="143"/>
                  </a:cubicBezTo>
                  <a:cubicBezTo>
                    <a:pt x="43" y="223"/>
                    <a:pt x="1" y="321"/>
                    <a:pt x="0" y="437"/>
                  </a:cubicBezTo>
                  <a:cubicBezTo>
                    <a:pt x="0" y="495"/>
                    <a:pt x="13" y="550"/>
                    <a:pt x="36" y="604"/>
                  </a:cubicBezTo>
                  <a:cubicBezTo>
                    <a:pt x="55" y="649"/>
                    <a:pt x="80" y="691"/>
                    <a:pt x="104" y="734"/>
                  </a:cubicBezTo>
                  <a:cubicBezTo>
                    <a:pt x="109" y="744"/>
                    <a:pt x="113" y="755"/>
                    <a:pt x="115" y="767"/>
                  </a:cubicBezTo>
                  <a:cubicBezTo>
                    <a:pt x="117" y="779"/>
                    <a:pt x="118" y="791"/>
                    <a:pt x="118" y="803"/>
                  </a:cubicBezTo>
                  <a:cubicBezTo>
                    <a:pt x="118" y="842"/>
                    <a:pt x="113" y="880"/>
                    <a:pt x="107" y="919"/>
                  </a:cubicBezTo>
                  <a:cubicBezTo>
                    <a:pt x="93" y="995"/>
                    <a:pt x="73" y="1070"/>
                    <a:pt x="46" y="1142"/>
                  </a:cubicBezTo>
                  <a:cubicBezTo>
                    <a:pt x="56" y="1151"/>
                    <a:pt x="65" y="1159"/>
                    <a:pt x="75" y="1167"/>
                  </a:cubicBezTo>
                  <a:cubicBezTo>
                    <a:pt x="76" y="1167"/>
                    <a:pt x="76" y="1166"/>
                    <a:pt x="76" y="1165"/>
                  </a:cubicBezTo>
                  <a:cubicBezTo>
                    <a:pt x="116" y="1059"/>
                    <a:pt x="145" y="950"/>
                    <a:pt x="154" y="837"/>
                  </a:cubicBezTo>
                  <a:cubicBezTo>
                    <a:pt x="156" y="811"/>
                    <a:pt x="155" y="786"/>
                    <a:pt x="152" y="761"/>
                  </a:cubicBezTo>
                  <a:cubicBezTo>
                    <a:pt x="148" y="739"/>
                    <a:pt x="138" y="719"/>
                    <a:pt x="127" y="700"/>
                  </a:cubicBezTo>
                  <a:cubicBezTo>
                    <a:pt x="105" y="660"/>
                    <a:pt x="81" y="620"/>
                    <a:pt x="65" y="576"/>
                  </a:cubicBezTo>
                  <a:cubicBezTo>
                    <a:pt x="26" y="474"/>
                    <a:pt x="26" y="372"/>
                    <a:pt x="75" y="273"/>
                  </a:cubicBezTo>
                  <a:cubicBezTo>
                    <a:pt x="120" y="183"/>
                    <a:pt x="193" y="122"/>
                    <a:pt x="286" y="85"/>
                  </a:cubicBezTo>
                  <a:cubicBezTo>
                    <a:pt x="336" y="65"/>
                    <a:pt x="389" y="53"/>
                    <a:pt x="443" y="48"/>
                  </a:cubicBezTo>
                  <a:cubicBezTo>
                    <a:pt x="461" y="46"/>
                    <a:pt x="479" y="42"/>
                    <a:pt x="496" y="43"/>
                  </a:cubicBezTo>
                  <a:cubicBezTo>
                    <a:pt x="534" y="44"/>
                    <a:pt x="572" y="48"/>
                    <a:pt x="609" y="54"/>
                  </a:cubicBezTo>
                  <a:cubicBezTo>
                    <a:pt x="662" y="64"/>
                    <a:pt x="712" y="80"/>
                    <a:pt x="759" y="106"/>
                  </a:cubicBezTo>
                  <a:cubicBezTo>
                    <a:pt x="819" y="140"/>
                    <a:pt x="864" y="189"/>
                    <a:pt x="901" y="245"/>
                  </a:cubicBezTo>
                  <a:cubicBezTo>
                    <a:pt x="942" y="307"/>
                    <a:pt x="964" y="374"/>
                    <a:pt x="961" y="449"/>
                  </a:cubicBezTo>
                  <a:cubicBezTo>
                    <a:pt x="961" y="461"/>
                    <a:pt x="959" y="473"/>
                    <a:pt x="954" y="485"/>
                  </a:cubicBezTo>
                  <a:cubicBezTo>
                    <a:pt x="949" y="496"/>
                    <a:pt x="947" y="508"/>
                    <a:pt x="947" y="520"/>
                  </a:cubicBezTo>
                  <a:cubicBezTo>
                    <a:pt x="948" y="540"/>
                    <a:pt x="956" y="558"/>
                    <a:pt x="968" y="575"/>
                  </a:cubicBezTo>
                  <a:cubicBezTo>
                    <a:pt x="990" y="607"/>
                    <a:pt x="1009" y="640"/>
                    <a:pt x="1030" y="673"/>
                  </a:cubicBezTo>
                  <a:cubicBezTo>
                    <a:pt x="1032" y="677"/>
                    <a:pt x="1034" y="682"/>
                    <a:pt x="1036" y="687"/>
                  </a:cubicBezTo>
                  <a:cubicBezTo>
                    <a:pt x="1043" y="704"/>
                    <a:pt x="1040" y="717"/>
                    <a:pt x="1027" y="729"/>
                  </a:cubicBezTo>
                  <a:cubicBezTo>
                    <a:pt x="1021" y="735"/>
                    <a:pt x="1014" y="739"/>
                    <a:pt x="1009" y="744"/>
                  </a:cubicBezTo>
                  <a:cubicBezTo>
                    <a:pt x="986" y="764"/>
                    <a:pt x="980" y="787"/>
                    <a:pt x="990" y="816"/>
                  </a:cubicBezTo>
                  <a:cubicBezTo>
                    <a:pt x="992" y="822"/>
                    <a:pt x="992" y="827"/>
                    <a:pt x="990" y="833"/>
                  </a:cubicBezTo>
                  <a:cubicBezTo>
                    <a:pt x="982" y="851"/>
                    <a:pt x="975" y="869"/>
                    <a:pt x="967" y="887"/>
                  </a:cubicBezTo>
                  <a:cubicBezTo>
                    <a:pt x="957" y="911"/>
                    <a:pt x="945" y="935"/>
                    <a:pt x="938" y="961"/>
                  </a:cubicBezTo>
                  <a:cubicBezTo>
                    <a:pt x="935" y="975"/>
                    <a:pt x="936" y="990"/>
                    <a:pt x="933" y="1005"/>
                  </a:cubicBezTo>
                  <a:cubicBezTo>
                    <a:pt x="929" y="1028"/>
                    <a:pt x="920" y="1049"/>
                    <a:pt x="899" y="1062"/>
                  </a:cubicBezTo>
                  <a:cubicBezTo>
                    <a:pt x="879" y="1075"/>
                    <a:pt x="858" y="1078"/>
                    <a:pt x="835" y="1076"/>
                  </a:cubicBezTo>
                  <a:cubicBezTo>
                    <a:pt x="802" y="1073"/>
                    <a:pt x="770" y="1069"/>
                    <a:pt x="737" y="1065"/>
                  </a:cubicBezTo>
                  <a:cubicBezTo>
                    <a:pt x="713" y="1061"/>
                    <a:pt x="691" y="1066"/>
                    <a:pt x="674" y="1085"/>
                  </a:cubicBezTo>
                  <a:cubicBezTo>
                    <a:pt x="667" y="1093"/>
                    <a:pt x="662" y="1102"/>
                    <a:pt x="657" y="1112"/>
                  </a:cubicBezTo>
                  <a:cubicBezTo>
                    <a:pt x="626" y="1174"/>
                    <a:pt x="562" y="1304"/>
                    <a:pt x="550" y="1328"/>
                  </a:cubicBezTo>
                  <a:cubicBezTo>
                    <a:pt x="564" y="1328"/>
                    <a:pt x="578" y="1327"/>
                    <a:pt x="592" y="1326"/>
                  </a:cubicBezTo>
                  <a:cubicBezTo>
                    <a:pt x="961" y="1294"/>
                    <a:pt x="1250" y="986"/>
                    <a:pt x="1250" y="609"/>
                  </a:cubicBezTo>
                  <a:cubicBezTo>
                    <a:pt x="1250" y="579"/>
                    <a:pt x="1248" y="550"/>
                    <a:pt x="1244" y="521"/>
                  </a:cubicBezTo>
                  <a:close/>
                  <a:moveTo>
                    <a:pt x="894" y="174"/>
                  </a:moveTo>
                  <a:cubicBezTo>
                    <a:pt x="900" y="180"/>
                    <a:pt x="905" y="187"/>
                    <a:pt x="910" y="194"/>
                  </a:cubicBezTo>
                  <a:cubicBezTo>
                    <a:pt x="905" y="187"/>
                    <a:pt x="900" y="180"/>
                    <a:pt x="894" y="174"/>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6" name="Freeform 156">
              <a:extLst>
                <a:ext uri="{FF2B5EF4-FFF2-40B4-BE49-F238E27FC236}">
                  <a16:creationId xmlns:a16="http://schemas.microsoft.com/office/drawing/2014/main" id="{D9D565DC-D879-494F-8AC5-A3DBC90BE4F5}"/>
                </a:ext>
              </a:extLst>
            </p:cNvPr>
            <p:cNvSpPr>
              <a:spLocks/>
            </p:cNvSpPr>
            <p:nvPr/>
          </p:nvSpPr>
          <p:spPr bwMode="auto">
            <a:xfrm>
              <a:off x="1944" y="543"/>
              <a:ext cx="1904" cy="2348"/>
            </a:xfrm>
            <a:custGeom>
              <a:avLst/>
              <a:gdLst>
                <a:gd name="T0" fmla="*/ 728 w 1078"/>
                <a:gd name="T1" fmla="*/ 1101 h 1328"/>
                <a:gd name="T2" fmla="*/ 871 w 1078"/>
                <a:gd name="T3" fmla="*/ 1111 h 1328"/>
                <a:gd name="T4" fmla="*/ 972 w 1078"/>
                <a:gd name="T5" fmla="*/ 993 h 1328"/>
                <a:gd name="T6" fmla="*/ 1024 w 1078"/>
                <a:gd name="T7" fmla="*/ 848 h 1328"/>
                <a:gd name="T8" fmla="*/ 1032 w 1078"/>
                <a:gd name="T9" fmla="*/ 773 h 1328"/>
                <a:gd name="T10" fmla="*/ 1077 w 1078"/>
                <a:gd name="T11" fmla="*/ 706 h 1328"/>
                <a:gd name="T12" fmla="*/ 1033 w 1078"/>
                <a:gd name="T13" fmla="*/ 607 h 1328"/>
                <a:gd name="T14" fmla="*/ 990 w 1078"/>
                <a:gd name="T15" fmla="*/ 493 h 1328"/>
                <a:gd name="T16" fmla="*/ 991 w 1078"/>
                <a:gd name="T17" fmla="*/ 363 h 1328"/>
                <a:gd name="T18" fmla="*/ 716 w 1078"/>
                <a:gd name="T19" fmla="*/ 45 h 1328"/>
                <a:gd name="T20" fmla="*/ 321 w 1078"/>
                <a:gd name="T21" fmla="*/ 34 h 1328"/>
                <a:gd name="T22" fmla="*/ 0 w 1078"/>
                <a:gd name="T23" fmla="*/ 437 h 1328"/>
                <a:gd name="T24" fmla="*/ 104 w 1078"/>
                <a:gd name="T25" fmla="*/ 734 h 1328"/>
                <a:gd name="T26" fmla="*/ 118 w 1078"/>
                <a:gd name="T27" fmla="*/ 803 h 1328"/>
                <a:gd name="T28" fmla="*/ 46 w 1078"/>
                <a:gd name="T29" fmla="*/ 1142 h 1328"/>
                <a:gd name="T30" fmla="*/ 76 w 1078"/>
                <a:gd name="T31" fmla="*/ 1165 h 1328"/>
                <a:gd name="T32" fmla="*/ 152 w 1078"/>
                <a:gd name="T33" fmla="*/ 761 h 1328"/>
                <a:gd name="T34" fmla="*/ 65 w 1078"/>
                <a:gd name="T35" fmla="*/ 576 h 1328"/>
                <a:gd name="T36" fmla="*/ 286 w 1078"/>
                <a:gd name="T37" fmla="*/ 85 h 1328"/>
                <a:gd name="T38" fmla="*/ 496 w 1078"/>
                <a:gd name="T39" fmla="*/ 43 h 1328"/>
                <a:gd name="T40" fmla="*/ 759 w 1078"/>
                <a:gd name="T41" fmla="*/ 106 h 1328"/>
                <a:gd name="T42" fmla="*/ 961 w 1078"/>
                <a:gd name="T43" fmla="*/ 449 h 1328"/>
                <a:gd name="T44" fmla="*/ 947 w 1078"/>
                <a:gd name="T45" fmla="*/ 520 h 1328"/>
                <a:gd name="T46" fmla="*/ 1030 w 1078"/>
                <a:gd name="T47" fmla="*/ 673 h 1328"/>
                <a:gd name="T48" fmla="*/ 1027 w 1078"/>
                <a:gd name="T49" fmla="*/ 729 h 1328"/>
                <a:gd name="T50" fmla="*/ 990 w 1078"/>
                <a:gd name="T51" fmla="*/ 816 h 1328"/>
                <a:gd name="T52" fmla="*/ 967 w 1078"/>
                <a:gd name="T53" fmla="*/ 887 h 1328"/>
                <a:gd name="T54" fmla="*/ 933 w 1078"/>
                <a:gd name="T55" fmla="*/ 1005 h 1328"/>
                <a:gd name="T56" fmla="*/ 835 w 1078"/>
                <a:gd name="T57" fmla="*/ 1076 h 1328"/>
                <a:gd name="T58" fmla="*/ 674 w 1078"/>
                <a:gd name="T59" fmla="*/ 1085 h 1328"/>
                <a:gd name="T60" fmla="*/ 550 w 1078"/>
                <a:gd name="T61" fmla="*/ 1328 h 1328"/>
                <a:gd name="T62" fmla="*/ 669 w 1078"/>
                <a:gd name="T63" fmla="*/ 1170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78" h="1328">
                  <a:moveTo>
                    <a:pt x="694" y="1120"/>
                  </a:moveTo>
                  <a:cubicBezTo>
                    <a:pt x="701" y="1107"/>
                    <a:pt x="712" y="1099"/>
                    <a:pt x="728" y="1101"/>
                  </a:cubicBezTo>
                  <a:cubicBezTo>
                    <a:pt x="750" y="1103"/>
                    <a:pt x="772" y="1107"/>
                    <a:pt x="795" y="1109"/>
                  </a:cubicBezTo>
                  <a:cubicBezTo>
                    <a:pt x="820" y="1112"/>
                    <a:pt x="845" y="1115"/>
                    <a:pt x="871" y="1111"/>
                  </a:cubicBezTo>
                  <a:cubicBezTo>
                    <a:pt x="910" y="1105"/>
                    <a:pt x="940" y="1085"/>
                    <a:pt x="958" y="1049"/>
                  </a:cubicBezTo>
                  <a:cubicBezTo>
                    <a:pt x="967" y="1031"/>
                    <a:pt x="971" y="1012"/>
                    <a:pt x="972" y="993"/>
                  </a:cubicBezTo>
                  <a:cubicBezTo>
                    <a:pt x="973" y="976"/>
                    <a:pt x="976" y="961"/>
                    <a:pt x="983" y="946"/>
                  </a:cubicBezTo>
                  <a:cubicBezTo>
                    <a:pt x="997" y="913"/>
                    <a:pt x="1010" y="880"/>
                    <a:pt x="1024" y="848"/>
                  </a:cubicBezTo>
                  <a:cubicBezTo>
                    <a:pt x="1030" y="832"/>
                    <a:pt x="1031" y="817"/>
                    <a:pt x="1025" y="802"/>
                  </a:cubicBezTo>
                  <a:cubicBezTo>
                    <a:pt x="1020" y="790"/>
                    <a:pt x="1022" y="782"/>
                    <a:pt x="1032" y="773"/>
                  </a:cubicBezTo>
                  <a:cubicBezTo>
                    <a:pt x="1037" y="769"/>
                    <a:pt x="1042" y="765"/>
                    <a:pt x="1047" y="761"/>
                  </a:cubicBezTo>
                  <a:cubicBezTo>
                    <a:pt x="1064" y="747"/>
                    <a:pt x="1076" y="729"/>
                    <a:pt x="1077" y="706"/>
                  </a:cubicBezTo>
                  <a:cubicBezTo>
                    <a:pt x="1078" y="687"/>
                    <a:pt x="1071" y="671"/>
                    <a:pt x="1062" y="655"/>
                  </a:cubicBezTo>
                  <a:cubicBezTo>
                    <a:pt x="1053" y="639"/>
                    <a:pt x="1043" y="623"/>
                    <a:pt x="1033" y="607"/>
                  </a:cubicBezTo>
                  <a:cubicBezTo>
                    <a:pt x="1021" y="588"/>
                    <a:pt x="1009" y="570"/>
                    <a:pt x="996" y="551"/>
                  </a:cubicBezTo>
                  <a:cubicBezTo>
                    <a:pt x="984" y="533"/>
                    <a:pt x="980" y="514"/>
                    <a:pt x="990" y="493"/>
                  </a:cubicBezTo>
                  <a:cubicBezTo>
                    <a:pt x="994" y="487"/>
                    <a:pt x="995" y="480"/>
                    <a:pt x="996" y="473"/>
                  </a:cubicBezTo>
                  <a:cubicBezTo>
                    <a:pt x="1001" y="436"/>
                    <a:pt x="998" y="399"/>
                    <a:pt x="991" y="363"/>
                  </a:cubicBezTo>
                  <a:cubicBezTo>
                    <a:pt x="978" y="300"/>
                    <a:pt x="949" y="245"/>
                    <a:pt x="911" y="194"/>
                  </a:cubicBezTo>
                  <a:cubicBezTo>
                    <a:pt x="860" y="126"/>
                    <a:pt x="797" y="74"/>
                    <a:pt x="716" y="45"/>
                  </a:cubicBezTo>
                  <a:cubicBezTo>
                    <a:pt x="630" y="15"/>
                    <a:pt x="542" y="0"/>
                    <a:pt x="450" y="10"/>
                  </a:cubicBezTo>
                  <a:cubicBezTo>
                    <a:pt x="407" y="14"/>
                    <a:pt x="363" y="21"/>
                    <a:pt x="321" y="34"/>
                  </a:cubicBezTo>
                  <a:cubicBezTo>
                    <a:pt x="248" y="56"/>
                    <a:pt x="181" y="90"/>
                    <a:pt x="126" y="143"/>
                  </a:cubicBezTo>
                  <a:cubicBezTo>
                    <a:pt x="43" y="223"/>
                    <a:pt x="1" y="321"/>
                    <a:pt x="0" y="437"/>
                  </a:cubicBezTo>
                  <a:cubicBezTo>
                    <a:pt x="0" y="495"/>
                    <a:pt x="13" y="550"/>
                    <a:pt x="36" y="604"/>
                  </a:cubicBezTo>
                  <a:cubicBezTo>
                    <a:pt x="55" y="649"/>
                    <a:pt x="80" y="691"/>
                    <a:pt x="104" y="734"/>
                  </a:cubicBezTo>
                  <a:cubicBezTo>
                    <a:pt x="109" y="744"/>
                    <a:pt x="113" y="755"/>
                    <a:pt x="115" y="767"/>
                  </a:cubicBezTo>
                  <a:cubicBezTo>
                    <a:pt x="117" y="779"/>
                    <a:pt x="118" y="791"/>
                    <a:pt x="118" y="803"/>
                  </a:cubicBezTo>
                  <a:cubicBezTo>
                    <a:pt x="118" y="842"/>
                    <a:pt x="113" y="880"/>
                    <a:pt x="107" y="919"/>
                  </a:cubicBezTo>
                  <a:cubicBezTo>
                    <a:pt x="93" y="995"/>
                    <a:pt x="73" y="1070"/>
                    <a:pt x="46" y="1142"/>
                  </a:cubicBezTo>
                  <a:cubicBezTo>
                    <a:pt x="56" y="1151"/>
                    <a:pt x="65" y="1159"/>
                    <a:pt x="75" y="1167"/>
                  </a:cubicBezTo>
                  <a:cubicBezTo>
                    <a:pt x="76" y="1167"/>
                    <a:pt x="76" y="1166"/>
                    <a:pt x="76" y="1165"/>
                  </a:cubicBezTo>
                  <a:cubicBezTo>
                    <a:pt x="116" y="1059"/>
                    <a:pt x="145" y="950"/>
                    <a:pt x="154" y="837"/>
                  </a:cubicBezTo>
                  <a:cubicBezTo>
                    <a:pt x="156" y="811"/>
                    <a:pt x="155" y="786"/>
                    <a:pt x="152" y="761"/>
                  </a:cubicBezTo>
                  <a:cubicBezTo>
                    <a:pt x="148" y="739"/>
                    <a:pt x="138" y="719"/>
                    <a:pt x="127" y="700"/>
                  </a:cubicBezTo>
                  <a:cubicBezTo>
                    <a:pt x="105" y="660"/>
                    <a:pt x="81" y="620"/>
                    <a:pt x="65" y="576"/>
                  </a:cubicBezTo>
                  <a:cubicBezTo>
                    <a:pt x="26" y="474"/>
                    <a:pt x="26" y="372"/>
                    <a:pt x="75" y="273"/>
                  </a:cubicBezTo>
                  <a:cubicBezTo>
                    <a:pt x="120" y="183"/>
                    <a:pt x="193" y="122"/>
                    <a:pt x="286" y="85"/>
                  </a:cubicBezTo>
                  <a:cubicBezTo>
                    <a:pt x="336" y="65"/>
                    <a:pt x="389" y="53"/>
                    <a:pt x="443" y="48"/>
                  </a:cubicBezTo>
                  <a:cubicBezTo>
                    <a:pt x="461" y="46"/>
                    <a:pt x="479" y="42"/>
                    <a:pt x="496" y="43"/>
                  </a:cubicBezTo>
                  <a:cubicBezTo>
                    <a:pt x="534" y="44"/>
                    <a:pt x="572" y="48"/>
                    <a:pt x="609" y="54"/>
                  </a:cubicBezTo>
                  <a:cubicBezTo>
                    <a:pt x="662" y="64"/>
                    <a:pt x="712" y="80"/>
                    <a:pt x="759" y="106"/>
                  </a:cubicBezTo>
                  <a:cubicBezTo>
                    <a:pt x="819" y="140"/>
                    <a:pt x="864" y="189"/>
                    <a:pt x="901" y="245"/>
                  </a:cubicBezTo>
                  <a:cubicBezTo>
                    <a:pt x="942" y="307"/>
                    <a:pt x="964" y="374"/>
                    <a:pt x="961" y="449"/>
                  </a:cubicBezTo>
                  <a:cubicBezTo>
                    <a:pt x="961" y="461"/>
                    <a:pt x="959" y="473"/>
                    <a:pt x="954" y="485"/>
                  </a:cubicBezTo>
                  <a:cubicBezTo>
                    <a:pt x="949" y="496"/>
                    <a:pt x="947" y="508"/>
                    <a:pt x="947" y="520"/>
                  </a:cubicBezTo>
                  <a:cubicBezTo>
                    <a:pt x="948" y="540"/>
                    <a:pt x="956" y="558"/>
                    <a:pt x="968" y="575"/>
                  </a:cubicBezTo>
                  <a:cubicBezTo>
                    <a:pt x="990" y="607"/>
                    <a:pt x="1010" y="640"/>
                    <a:pt x="1030" y="673"/>
                  </a:cubicBezTo>
                  <a:cubicBezTo>
                    <a:pt x="1032" y="677"/>
                    <a:pt x="1035" y="682"/>
                    <a:pt x="1036" y="687"/>
                  </a:cubicBezTo>
                  <a:cubicBezTo>
                    <a:pt x="1043" y="704"/>
                    <a:pt x="1040" y="717"/>
                    <a:pt x="1027" y="729"/>
                  </a:cubicBezTo>
                  <a:cubicBezTo>
                    <a:pt x="1021" y="735"/>
                    <a:pt x="1014" y="739"/>
                    <a:pt x="1009" y="744"/>
                  </a:cubicBezTo>
                  <a:cubicBezTo>
                    <a:pt x="986" y="764"/>
                    <a:pt x="980" y="787"/>
                    <a:pt x="990" y="816"/>
                  </a:cubicBezTo>
                  <a:cubicBezTo>
                    <a:pt x="992" y="822"/>
                    <a:pt x="992" y="827"/>
                    <a:pt x="990" y="833"/>
                  </a:cubicBezTo>
                  <a:cubicBezTo>
                    <a:pt x="982" y="851"/>
                    <a:pt x="975" y="869"/>
                    <a:pt x="967" y="887"/>
                  </a:cubicBezTo>
                  <a:cubicBezTo>
                    <a:pt x="957" y="911"/>
                    <a:pt x="945" y="935"/>
                    <a:pt x="938" y="961"/>
                  </a:cubicBezTo>
                  <a:cubicBezTo>
                    <a:pt x="935" y="975"/>
                    <a:pt x="936" y="990"/>
                    <a:pt x="933" y="1005"/>
                  </a:cubicBezTo>
                  <a:cubicBezTo>
                    <a:pt x="929" y="1028"/>
                    <a:pt x="920" y="1049"/>
                    <a:pt x="899" y="1062"/>
                  </a:cubicBezTo>
                  <a:cubicBezTo>
                    <a:pt x="879" y="1075"/>
                    <a:pt x="858" y="1078"/>
                    <a:pt x="835" y="1076"/>
                  </a:cubicBezTo>
                  <a:cubicBezTo>
                    <a:pt x="803" y="1073"/>
                    <a:pt x="770" y="1069"/>
                    <a:pt x="737" y="1065"/>
                  </a:cubicBezTo>
                  <a:cubicBezTo>
                    <a:pt x="713" y="1061"/>
                    <a:pt x="691" y="1066"/>
                    <a:pt x="674" y="1085"/>
                  </a:cubicBezTo>
                  <a:cubicBezTo>
                    <a:pt x="667" y="1093"/>
                    <a:pt x="662" y="1102"/>
                    <a:pt x="657" y="1112"/>
                  </a:cubicBezTo>
                  <a:cubicBezTo>
                    <a:pt x="626" y="1174"/>
                    <a:pt x="562" y="1304"/>
                    <a:pt x="550" y="1328"/>
                  </a:cubicBezTo>
                  <a:cubicBezTo>
                    <a:pt x="564" y="1328"/>
                    <a:pt x="578" y="1327"/>
                    <a:pt x="592" y="1326"/>
                  </a:cubicBezTo>
                  <a:cubicBezTo>
                    <a:pt x="601" y="1309"/>
                    <a:pt x="647" y="1214"/>
                    <a:pt x="669" y="1170"/>
                  </a:cubicBezTo>
                  <a:cubicBezTo>
                    <a:pt x="678" y="1153"/>
                    <a:pt x="686" y="1137"/>
                    <a:pt x="694" y="11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73" name="Group 72">
            <a:extLst>
              <a:ext uri="{FF2B5EF4-FFF2-40B4-BE49-F238E27FC236}">
                <a16:creationId xmlns:a16="http://schemas.microsoft.com/office/drawing/2014/main" id="{4041D036-0FDE-4165-BEBA-DEFED2F45E57}"/>
              </a:ext>
            </a:extLst>
          </p:cNvPr>
          <p:cNvGrpSpPr/>
          <p:nvPr/>
        </p:nvGrpSpPr>
        <p:grpSpPr>
          <a:xfrm>
            <a:off x="1001578" y="1213397"/>
            <a:ext cx="1251743" cy="1252728"/>
            <a:chOff x="1122481" y="-493630"/>
            <a:chExt cx="1251743" cy="1252728"/>
          </a:xfrm>
        </p:grpSpPr>
        <p:grpSp>
          <p:nvGrpSpPr>
            <p:cNvPr id="27" name="Group 21">
              <a:extLst>
                <a:ext uri="{FF2B5EF4-FFF2-40B4-BE49-F238E27FC236}">
                  <a16:creationId xmlns:a16="http://schemas.microsoft.com/office/drawing/2014/main" id="{A5AE41C4-3751-4E3F-A5C1-FFA087281EAA}"/>
                </a:ext>
              </a:extLst>
            </p:cNvPr>
            <p:cNvGrpSpPr>
              <a:grpSpLocks noChangeAspect="1"/>
            </p:cNvGrpSpPr>
            <p:nvPr/>
          </p:nvGrpSpPr>
          <p:grpSpPr bwMode="auto">
            <a:xfrm>
              <a:off x="1122481" y="-493630"/>
              <a:ext cx="1251743" cy="1252728"/>
              <a:chOff x="1608" y="349"/>
              <a:chExt cx="2544" cy="2546"/>
            </a:xfrm>
          </p:grpSpPr>
          <p:sp>
            <p:nvSpPr>
              <p:cNvPr id="28" name="Oval 22">
                <a:extLst>
                  <a:ext uri="{FF2B5EF4-FFF2-40B4-BE49-F238E27FC236}">
                    <a16:creationId xmlns:a16="http://schemas.microsoft.com/office/drawing/2014/main" id="{30B2E83F-2E4D-4973-9A09-14B1DB760419}"/>
                  </a:ext>
                </a:extLst>
              </p:cNvPr>
              <p:cNvSpPr>
                <a:spLocks noChangeArrowheads="1"/>
              </p:cNvSpPr>
              <p:nvPr/>
            </p:nvSpPr>
            <p:spPr bwMode="auto">
              <a:xfrm>
                <a:off x="1608" y="349"/>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9" name="Freeform 23">
                <a:extLst>
                  <a:ext uri="{FF2B5EF4-FFF2-40B4-BE49-F238E27FC236}">
                    <a16:creationId xmlns:a16="http://schemas.microsoft.com/office/drawing/2014/main" id="{2E532BE1-0E14-4387-ABF8-D879549EEC26}"/>
                  </a:ext>
                </a:extLst>
              </p:cNvPr>
              <p:cNvSpPr>
                <a:spLocks/>
              </p:cNvSpPr>
              <p:nvPr/>
            </p:nvSpPr>
            <p:spPr bwMode="auto">
              <a:xfrm>
                <a:off x="1836" y="890"/>
                <a:ext cx="2279" cy="1994"/>
              </a:xfrm>
              <a:custGeom>
                <a:avLst/>
                <a:gdLst>
                  <a:gd name="T0" fmla="*/ 1005 w 1290"/>
                  <a:gd name="T1" fmla="*/ 299 h 1128"/>
                  <a:gd name="T2" fmla="*/ 923 w 1290"/>
                  <a:gd name="T3" fmla="*/ 260 h 1128"/>
                  <a:gd name="T4" fmla="*/ 810 w 1290"/>
                  <a:gd name="T5" fmla="*/ 260 h 1128"/>
                  <a:gd name="T6" fmla="*/ 754 w 1290"/>
                  <a:gd name="T7" fmla="*/ 275 h 1128"/>
                  <a:gd name="T8" fmla="*/ 512 w 1290"/>
                  <a:gd name="T9" fmla="*/ 33 h 1128"/>
                  <a:gd name="T10" fmla="*/ 491 w 1290"/>
                  <a:gd name="T11" fmla="*/ 13 h 1128"/>
                  <a:gd name="T12" fmla="*/ 490 w 1290"/>
                  <a:gd name="T13" fmla="*/ 11 h 1128"/>
                  <a:gd name="T14" fmla="*/ 489 w 1290"/>
                  <a:gd name="T15" fmla="*/ 11 h 1128"/>
                  <a:gd name="T16" fmla="*/ 477 w 1290"/>
                  <a:gd name="T17" fmla="*/ 5 h 1128"/>
                  <a:gd name="T18" fmla="*/ 461 w 1290"/>
                  <a:gd name="T19" fmla="*/ 2 h 1128"/>
                  <a:gd name="T20" fmla="*/ 373 w 1290"/>
                  <a:gd name="T21" fmla="*/ 3 h 1128"/>
                  <a:gd name="T22" fmla="*/ 314 w 1290"/>
                  <a:gd name="T23" fmla="*/ 83 h 1128"/>
                  <a:gd name="T24" fmla="*/ 309 w 1290"/>
                  <a:gd name="T25" fmla="*/ 90 h 1128"/>
                  <a:gd name="T26" fmla="*/ 205 w 1290"/>
                  <a:gd name="T27" fmla="*/ 90 h 1128"/>
                  <a:gd name="T28" fmla="*/ 146 w 1290"/>
                  <a:gd name="T29" fmla="*/ 123 h 1128"/>
                  <a:gd name="T30" fmla="*/ 140 w 1290"/>
                  <a:gd name="T31" fmla="*/ 177 h 1128"/>
                  <a:gd name="T32" fmla="*/ 132 w 1290"/>
                  <a:gd name="T33" fmla="*/ 177 h 1128"/>
                  <a:gd name="T34" fmla="*/ 67 w 1290"/>
                  <a:gd name="T35" fmla="*/ 177 h 1128"/>
                  <a:gd name="T36" fmla="*/ 0 w 1290"/>
                  <a:gd name="T37" fmla="*/ 245 h 1128"/>
                  <a:gd name="T38" fmla="*/ 20 w 1290"/>
                  <a:gd name="T39" fmla="*/ 292 h 1128"/>
                  <a:gd name="T40" fmla="*/ 20 w 1290"/>
                  <a:gd name="T41" fmla="*/ 292 h 1128"/>
                  <a:gd name="T42" fmla="*/ 275 w 1290"/>
                  <a:gd name="T43" fmla="*/ 548 h 1128"/>
                  <a:gd name="T44" fmla="*/ 257 w 1290"/>
                  <a:gd name="T45" fmla="*/ 560 h 1128"/>
                  <a:gd name="T46" fmla="*/ 230 w 1290"/>
                  <a:gd name="T47" fmla="*/ 617 h 1128"/>
                  <a:gd name="T48" fmla="*/ 256 w 1290"/>
                  <a:gd name="T49" fmla="*/ 698 h 1128"/>
                  <a:gd name="T50" fmla="*/ 256 w 1290"/>
                  <a:gd name="T51" fmla="*/ 698 h 1128"/>
                  <a:gd name="T52" fmla="*/ 685 w 1290"/>
                  <a:gd name="T53" fmla="*/ 1128 h 1128"/>
                  <a:gd name="T54" fmla="*/ 1290 w 1290"/>
                  <a:gd name="T55" fmla="*/ 585 h 1128"/>
                  <a:gd name="T56" fmla="*/ 1005 w 1290"/>
                  <a:gd name="T57" fmla="*/ 299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90" h="1128">
                    <a:moveTo>
                      <a:pt x="1005" y="299"/>
                    </a:moveTo>
                    <a:cubicBezTo>
                      <a:pt x="986" y="275"/>
                      <a:pt x="957" y="261"/>
                      <a:pt x="923" y="260"/>
                    </a:cubicBezTo>
                    <a:cubicBezTo>
                      <a:pt x="885" y="259"/>
                      <a:pt x="847" y="260"/>
                      <a:pt x="810" y="260"/>
                    </a:cubicBezTo>
                    <a:cubicBezTo>
                      <a:pt x="789" y="260"/>
                      <a:pt x="770" y="265"/>
                      <a:pt x="754" y="275"/>
                    </a:cubicBezTo>
                    <a:cubicBezTo>
                      <a:pt x="512" y="33"/>
                      <a:pt x="512" y="33"/>
                      <a:pt x="512" y="33"/>
                    </a:cubicBezTo>
                    <a:cubicBezTo>
                      <a:pt x="506" y="25"/>
                      <a:pt x="499" y="18"/>
                      <a:pt x="491" y="13"/>
                    </a:cubicBezTo>
                    <a:cubicBezTo>
                      <a:pt x="490" y="11"/>
                      <a:pt x="490" y="11"/>
                      <a:pt x="490" y="11"/>
                    </a:cubicBezTo>
                    <a:cubicBezTo>
                      <a:pt x="489" y="11"/>
                      <a:pt x="489" y="11"/>
                      <a:pt x="489" y="11"/>
                    </a:cubicBezTo>
                    <a:cubicBezTo>
                      <a:pt x="485" y="9"/>
                      <a:pt x="481" y="7"/>
                      <a:pt x="477" y="5"/>
                    </a:cubicBezTo>
                    <a:cubicBezTo>
                      <a:pt x="472" y="4"/>
                      <a:pt x="466" y="2"/>
                      <a:pt x="461" y="2"/>
                    </a:cubicBezTo>
                    <a:cubicBezTo>
                      <a:pt x="432" y="2"/>
                      <a:pt x="402" y="0"/>
                      <a:pt x="373" y="3"/>
                    </a:cubicBezTo>
                    <a:cubicBezTo>
                      <a:pt x="332" y="6"/>
                      <a:pt x="305" y="43"/>
                      <a:pt x="314" y="83"/>
                    </a:cubicBezTo>
                    <a:cubicBezTo>
                      <a:pt x="315" y="88"/>
                      <a:pt x="314" y="90"/>
                      <a:pt x="309" y="90"/>
                    </a:cubicBezTo>
                    <a:cubicBezTo>
                      <a:pt x="274" y="89"/>
                      <a:pt x="239" y="89"/>
                      <a:pt x="205" y="90"/>
                    </a:cubicBezTo>
                    <a:cubicBezTo>
                      <a:pt x="179" y="90"/>
                      <a:pt x="159" y="101"/>
                      <a:pt x="146" y="123"/>
                    </a:cubicBezTo>
                    <a:cubicBezTo>
                      <a:pt x="136" y="140"/>
                      <a:pt x="134" y="158"/>
                      <a:pt x="140" y="177"/>
                    </a:cubicBezTo>
                    <a:cubicBezTo>
                      <a:pt x="137" y="177"/>
                      <a:pt x="134" y="177"/>
                      <a:pt x="132" y="177"/>
                    </a:cubicBezTo>
                    <a:cubicBezTo>
                      <a:pt x="110" y="177"/>
                      <a:pt x="89" y="177"/>
                      <a:pt x="67" y="177"/>
                    </a:cubicBezTo>
                    <a:cubicBezTo>
                      <a:pt x="29" y="178"/>
                      <a:pt x="0" y="208"/>
                      <a:pt x="0" y="245"/>
                    </a:cubicBezTo>
                    <a:cubicBezTo>
                      <a:pt x="0" y="264"/>
                      <a:pt x="8" y="280"/>
                      <a:pt x="20" y="292"/>
                    </a:cubicBezTo>
                    <a:cubicBezTo>
                      <a:pt x="20" y="292"/>
                      <a:pt x="20" y="292"/>
                      <a:pt x="20" y="292"/>
                    </a:cubicBezTo>
                    <a:cubicBezTo>
                      <a:pt x="275" y="548"/>
                      <a:pt x="275" y="548"/>
                      <a:pt x="275" y="548"/>
                    </a:cubicBezTo>
                    <a:cubicBezTo>
                      <a:pt x="257" y="560"/>
                      <a:pt x="257" y="560"/>
                      <a:pt x="257" y="560"/>
                    </a:cubicBezTo>
                    <a:cubicBezTo>
                      <a:pt x="242" y="576"/>
                      <a:pt x="233" y="595"/>
                      <a:pt x="230" y="617"/>
                    </a:cubicBezTo>
                    <a:cubicBezTo>
                      <a:pt x="227" y="648"/>
                      <a:pt x="237" y="677"/>
                      <a:pt x="256" y="698"/>
                    </a:cubicBezTo>
                    <a:cubicBezTo>
                      <a:pt x="256" y="698"/>
                      <a:pt x="256" y="698"/>
                      <a:pt x="256" y="698"/>
                    </a:cubicBezTo>
                    <a:cubicBezTo>
                      <a:pt x="685" y="1128"/>
                      <a:pt x="685" y="1128"/>
                      <a:pt x="685" y="1128"/>
                    </a:cubicBezTo>
                    <a:cubicBezTo>
                      <a:pt x="981" y="1089"/>
                      <a:pt x="1221" y="870"/>
                      <a:pt x="1290" y="585"/>
                    </a:cubicBezTo>
                    <a:lnTo>
                      <a:pt x="1005" y="299"/>
                    </a:ln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0" name="Freeform 24">
                <a:extLst>
                  <a:ext uri="{FF2B5EF4-FFF2-40B4-BE49-F238E27FC236}">
                    <a16:creationId xmlns:a16="http://schemas.microsoft.com/office/drawing/2014/main" id="{560ECD46-AA61-46E1-8591-3D95C2D88776}"/>
                  </a:ext>
                </a:extLst>
              </p:cNvPr>
              <p:cNvSpPr>
                <a:spLocks/>
              </p:cNvSpPr>
              <p:nvPr/>
            </p:nvSpPr>
            <p:spPr bwMode="auto">
              <a:xfrm>
                <a:off x="1836" y="890"/>
                <a:ext cx="1104" cy="550"/>
              </a:xfrm>
              <a:custGeom>
                <a:avLst/>
                <a:gdLst>
                  <a:gd name="T0" fmla="*/ 514 w 625"/>
                  <a:gd name="T1" fmla="*/ 36 h 311"/>
                  <a:gd name="T2" fmla="*/ 520 w 625"/>
                  <a:gd name="T3" fmla="*/ 86 h 311"/>
                  <a:gd name="T4" fmla="*/ 523 w 625"/>
                  <a:gd name="T5" fmla="*/ 91 h 311"/>
                  <a:gd name="T6" fmla="*/ 576 w 625"/>
                  <a:gd name="T7" fmla="*/ 175 h 311"/>
                  <a:gd name="T8" fmla="*/ 581 w 625"/>
                  <a:gd name="T9" fmla="*/ 182 h 311"/>
                  <a:gd name="T10" fmla="*/ 624 w 625"/>
                  <a:gd name="T11" fmla="*/ 247 h 311"/>
                  <a:gd name="T12" fmla="*/ 575 w 625"/>
                  <a:gd name="T13" fmla="*/ 309 h 311"/>
                  <a:gd name="T14" fmla="*/ 556 w 625"/>
                  <a:gd name="T15" fmla="*/ 311 h 311"/>
                  <a:gd name="T16" fmla="*/ 67 w 625"/>
                  <a:gd name="T17" fmla="*/ 311 h 311"/>
                  <a:gd name="T18" fmla="*/ 0 w 625"/>
                  <a:gd name="T19" fmla="*/ 245 h 311"/>
                  <a:gd name="T20" fmla="*/ 67 w 625"/>
                  <a:gd name="T21" fmla="*/ 177 h 311"/>
                  <a:gd name="T22" fmla="*/ 132 w 625"/>
                  <a:gd name="T23" fmla="*/ 177 h 311"/>
                  <a:gd name="T24" fmla="*/ 140 w 625"/>
                  <a:gd name="T25" fmla="*/ 177 h 311"/>
                  <a:gd name="T26" fmla="*/ 146 w 625"/>
                  <a:gd name="T27" fmla="*/ 123 h 311"/>
                  <a:gd name="T28" fmla="*/ 205 w 625"/>
                  <a:gd name="T29" fmla="*/ 90 h 311"/>
                  <a:gd name="T30" fmla="*/ 309 w 625"/>
                  <a:gd name="T31" fmla="*/ 90 h 311"/>
                  <a:gd name="T32" fmla="*/ 314 w 625"/>
                  <a:gd name="T33" fmla="*/ 83 h 311"/>
                  <a:gd name="T34" fmla="*/ 373 w 625"/>
                  <a:gd name="T35" fmla="*/ 3 h 311"/>
                  <a:gd name="T36" fmla="*/ 461 w 625"/>
                  <a:gd name="T37" fmla="*/ 2 h 311"/>
                  <a:gd name="T38" fmla="*/ 477 w 625"/>
                  <a:gd name="T39" fmla="*/ 5 h 311"/>
                  <a:gd name="T40" fmla="*/ 514 w 625"/>
                  <a:gd name="T41" fmla="*/ 36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5" h="311">
                    <a:moveTo>
                      <a:pt x="514" y="36"/>
                    </a:moveTo>
                    <a:cubicBezTo>
                      <a:pt x="522" y="52"/>
                      <a:pt x="524" y="69"/>
                      <a:pt x="520" y="86"/>
                    </a:cubicBezTo>
                    <a:cubicBezTo>
                      <a:pt x="519" y="90"/>
                      <a:pt x="520" y="90"/>
                      <a:pt x="523" y="91"/>
                    </a:cubicBezTo>
                    <a:cubicBezTo>
                      <a:pt x="564" y="99"/>
                      <a:pt x="587" y="135"/>
                      <a:pt x="576" y="175"/>
                    </a:cubicBezTo>
                    <a:cubicBezTo>
                      <a:pt x="575" y="180"/>
                      <a:pt x="578" y="181"/>
                      <a:pt x="581" y="182"/>
                    </a:cubicBezTo>
                    <a:cubicBezTo>
                      <a:pt x="608" y="193"/>
                      <a:pt x="625" y="219"/>
                      <a:pt x="624" y="247"/>
                    </a:cubicBezTo>
                    <a:cubicBezTo>
                      <a:pt x="622" y="276"/>
                      <a:pt x="603" y="300"/>
                      <a:pt x="575" y="309"/>
                    </a:cubicBezTo>
                    <a:cubicBezTo>
                      <a:pt x="569" y="310"/>
                      <a:pt x="563" y="311"/>
                      <a:pt x="556" y="311"/>
                    </a:cubicBezTo>
                    <a:cubicBezTo>
                      <a:pt x="393" y="311"/>
                      <a:pt x="230" y="311"/>
                      <a:pt x="67" y="311"/>
                    </a:cubicBezTo>
                    <a:cubicBezTo>
                      <a:pt x="30" y="311"/>
                      <a:pt x="0" y="282"/>
                      <a:pt x="0" y="245"/>
                    </a:cubicBezTo>
                    <a:cubicBezTo>
                      <a:pt x="0" y="208"/>
                      <a:pt x="29" y="178"/>
                      <a:pt x="67" y="177"/>
                    </a:cubicBezTo>
                    <a:cubicBezTo>
                      <a:pt x="89" y="177"/>
                      <a:pt x="110" y="177"/>
                      <a:pt x="132" y="177"/>
                    </a:cubicBezTo>
                    <a:cubicBezTo>
                      <a:pt x="134" y="177"/>
                      <a:pt x="137" y="177"/>
                      <a:pt x="140" y="177"/>
                    </a:cubicBezTo>
                    <a:cubicBezTo>
                      <a:pt x="134" y="158"/>
                      <a:pt x="136" y="140"/>
                      <a:pt x="146" y="123"/>
                    </a:cubicBezTo>
                    <a:cubicBezTo>
                      <a:pt x="159" y="101"/>
                      <a:pt x="179" y="90"/>
                      <a:pt x="205" y="90"/>
                    </a:cubicBezTo>
                    <a:cubicBezTo>
                      <a:pt x="239" y="89"/>
                      <a:pt x="274" y="89"/>
                      <a:pt x="309" y="90"/>
                    </a:cubicBezTo>
                    <a:cubicBezTo>
                      <a:pt x="314" y="90"/>
                      <a:pt x="315" y="88"/>
                      <a:pt x="314" y="83"/>
                    </a:cubicBezTo>
                    <a:cubicBezTo>
                      <a:pt x="305" y="43"/>
                      <a:pt x="332" y="6"/>
                      <a:pt x="373" y="3"/>
                    </a:cubicBezTo>
                    <a:cubicBezTo>
                      <a:pt x="402" y="0"/>
                      <a:pt x="432" y="2"/>
                      <a:pt x="461" y="2"/>
                    </a:cubicBezTo>
                    <a:cubicBezTo>
                      <a:pt x="466" y="2"/>
                      <a:pt x="472" y="4"/>
                      <a:pt x="477" y="5"/>
                    </a:cubicBezTo>
                    <a:cubicBezTo>
                      <a:pt x="493" y="12"/>
                      <a:pt x="505" y="22"/>
                      <a:pt x="514"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1" name="Freeform 25">
                <a:extLst>
                  <a:ext uri="{FF2B5EF4-FFF2-40B4-BE49-F238E27FC236}">
                    <a16:creationId xmlns:a16="http://schemas.microsoft.com/office/drawing/2014/main" id="{A51543E5-EAF6-407A-8E60-E4D39E46EA75}"/>
                  </a:ext>
                </a:extLst>
              </p:cNvPr>
              <p:cNvSpPr>
                <a:spLocks/>
              </p:cNvSpPr>
              <p:nvPr/>
            </p:nvSpPr>
            <p:spPr bwMode="auto">
              <a:xfrm>
                <a:off x="2583" y="761"/>
                <a:ext cx="965" cy="408"/>
              </a:xfrm>
              <a:custGeom>
                <a:avLst/>
                <a:gdLst>
                  <a:gd name="T0" fmla="*/ 517 w 546"/>
                  <a:gd name="T1" fmla="*/ 28 h 231"/>
                  <a:gd name="T2" fmla="*/ 484 w 546"/>
                  <a:gd name="T3" fmla="*/ 55 h 231"/>
                  <a:gd name="T4" fmla="*/ 477 w 546"/>
                  <a:gd name="T5" fmla="*/ 124 h 231"/>
                  <a:gd name="T6" fmla="*/ 477 w 546"/>
                  <a:gd name="T7" fmla="*/ 124 h 231"/>
                  <a:gd name="T8" fmla="*/ 243 w 546"/>
                  <a:gd name="T9" fmla="*/ 9 h 231"/>
                  <a:gd name="T10" fmla="*/ 12 w 546"/>
                  <a:gd name="T11" fmla="*/ 76 h 231"/>
                  <a:gd name="T12" fmla="*/ 12 w 546"/>
                  <a:gd name="T13" fmla="*/ 119 h 231"/>
                  <a:gd name="T14" fmla="*/ 55 w 546"/>
                  <a:gd name="T15" fmla="*/ 118 h 231"/>
                  <a:gd name="T16" fmla="*/ 237 w 546"/>
                  <a:gd name="T17" fmla="*/ 69 h 231"/>
                  <a:gd name="T18" fmla="*/ 432 w 546"/>
                  <a:gd name="T19" fmla="*/ 164 h 231"/>
                  <a:gd name="T20" fmla="*/ 354 w 546"/>
                  <a:gd name="T21" fmla="*/ 156 h 231"/>
                  <a:gd name="T22" fmla="*/ 321 w 546"/>
                  <a:gd name="T23" fmla="*/ 183 h 231"/>
                  <a:gd name="T24" fmla="*/ 348 w 546"/>
                  <a:gd name="T25" fmla="*/ 216 h 231"/>
                  <a:gd name="T26" fmla="*/ 497 w 546"/>
                  <a:gd name="T27" fmla="*/ 231 h 231"/>
                  <a:gd name="T28" fmla="*/ 500 w 546"/>
                  <a:gd name="T29" fmla="*/ 231 h 231"/>
                  <a:gd name="T30" fmla="*/ 525 w 546"/>
                  <a:gd name="T31" fmla="*/ 217 h 231"/>
                  <a:gd name="T32" fmla="*/ 525 w 546"/>
                  <a:gd name="T33" fmla="*/ 217 h 231"/>
                  <a:gd name="T34" fmla="*/ 525 w 546"/>
                  <a:gd name="T35" fmla="*/ 217 h 231"/>
                  <a:gd name="T36" fmla="*/ 525 w 546"/>
                  <a:gd name="T37" fmla="*/ 216 h 231"/>
                  <a:gd name="T38" fmla="*/ 525 w 546"/>
                  <a:gd name="T39" fmla="*/ 216 h 231"/>
                  <a:gd name="T40" fmla="*/ 529 w 546"/>
                  <a:gd name="T41" fmla="*/ 204 h 231"/>
                  <a:gd name="T42" fmla="*/ 544 w 546"/>
                  <a:gd name="T43" fmla="*/ 61 h 231"/>
                  <a:gd name="T44" fmla="*/ 517 w 546"/>
                  <a:gd name="T45" fmla="*/ 2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6" h="231">
                    <a:moveTo>
                      <a:pt x="517" y="28"/>
                    </a:moveTo>
                    <a:cubicBezTo>
                      <a:pt x="501" y="27"/>
                      <a:pt x="486" y="39"/>
                      <a:pt x="484" y="55"/>
                    </a:cubicBezTo>
                    <a:cubicBezTo>
                      <a:pt x="477" y="124"/>
                      <a:pt x="477" y="124"/>
                      <a:pt x="477" y="124"/>
                    </a:cubicBezTo>
                    <a:cubicBezTo>
                      <a:pt x="477" y="124"/>
                      <a:pt x="477" y="124"/>
                      <a:pt x="477" y="124"/>
                    </a:cubicBezTo>
                    <a:cubicBezTo>
                      <a:pt x="395" y="38"/>
                      <a:pt x="298" y="15"/>
                      <a:pt x="243" y="9"/>
                    </a:cubicBezTo>
                    <a:cubicBezTo>
                      <a:pt x="150" y="0"/>
                      <a:pt x="62" y="26"/>
                      <a:pt x="12" y="76"/>
                    </a:cubicBezTo>
                    <a:cubicBezTo>
                      <a:pt x="0" y="88"/>
                      <a:pt x="1" y="107"/>
                      <a:pt x="12" y="119"/>
                    </a:cubicBezTo>
                    <a:cubicBezTo>
                      <a:pt x="24" y="130"/>
                      <a:pt x="43" y="130"/>
                      <a:pt x="55" y="118"/>
                    </a:cubicBezTo>
                    <a:cubicBezTo>
                      <a:pt x="92" y="81"/>
                      <a:pt x="163" y="62"/>
                      <a:pt x="237" y="69"/>
                    </a:cubicBezTo>
                    <a:cubicBezTo>
                      <a:pt x="283" y="74"/>
                      <a:pt x="363" y="93"/>
                      <a:pt x="432" y="164"/>
                    </a:cubicBezTo>
                    <a:cubicBezTo>
                      <a:pt x="354" y="156"/>
                      <a:pt x="354" y="156"/>
                      <a:pt x="354" y="156"/>
                    </a:cubicBezTo>
                    <a:cubicBezTo>
                      <a:pt x="338" y="154"/>
                      <a:pt x="323" y="167"/>
                      <a:pt x="321" y="183"/>
                    </a:cubicBezTo>
                    <a:cubicBezTo>
                      <a:pt x="320" y="200"/>
                      <a:pt x="332" y="214"/>
                      <a:pt x="348" y="216"/>
                    </a:cubicBezTo>
                    <a:cubicBezTo>
                      <a:pt x="497" y="231"/>
                      <a:pt x="497" y="231"/>
                      <a:pt x="497" y="231"/>
                    </a:cubicBezTo>
                    <a:cubicBezTo>
                      <a:pt x="498" y="231"/>
                      <a:pt x="499" y="231"/>
                      <a:pt x="500" y="231"/>
                    </a:cubicBezTo>
                    <a:cubicBezTo>
                      <a:pt x="510" y="231"/>
                      <a:pt x="519" y="226"/>
                      <a:pt x="525" y="217"/>
                    </a:cubicBezTo>
                    <a:cubicBezTo>
                      <a:pt x="525" y="217"/>
                      <a:pt x="525" y="217"/>
                      <a:pt x="525" y="217"/>
                    </a:cubicBezTo>
                    <a:cubicBezTo>
                      <a:pt x="525" y="217"/>
                      <a:pt x="525" y="217"/>
                      <a:pt x="525" y="217"/>
                    </a:cubicBezTo>
                    <a:cubicBezTo>
                      <a:pt x="525" y="216"/>
                      <a:pt x="525" y="216"/>
                      <a:pt x="525" y="216"/>
                    </a:cubicBezTo>
                    <a:cubicBezTo>
                      <a:pt x="525" y="216"/>
                      <a:pt x="525" y="216"/>
                      <a:pt x="525" y="216"/>
                    </a:cubicBezTo>
                    <a:cubicBezTo>
                      <a:pt x="527" y="213"/>
                      <a:pt x="529" y="208"/>
                      <a:pt x="529" y="204"/>
                    </a:cubicBezTo>
                    <a:cubicBezTo>
                      <a:pt x="544" y="61"/>
                      <a:pt x="544" y="61"/>
                      <a:pt x="544" y="61"/>
                    </a:cubicBezTo>
                    <a:cubicBezTo>
                      <a:pt x="546" y="45"/>
                      <a:pt x="534" y="30"/>
                      <a:pt x="517" y="2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2" name="Freeform 26">
                <a:extLst>
                  <a:ext uri="{FF2B5EF4-FFF2-40B4-BE49-F238E27FC236}">
                    <a16:creationId xmlns:a16="http://schemas.microsoft.com/office/drawing/2014/main" id="{9B24C810-58EB-4197-B7D7-E2B67A9CE82F}"/>
                  </a:ext>
                </a:extLst>
              </p:cNvPr>
              <p:cNvSpPr>
                <a:spLocks/>
              </p:cNvSpPr>
              <p:nvPr/>
            </p:nvSpPr>
            <p:spPr bwMode="auto">
              <a:xfrm>
                <a:off x="2232" y="1348"/>
                <a:ext cx="1697" cy="836"/>
              </a:xfrm>
              <a:custGeom>
                <a:avLst/>
                <a:gdLst>
                  <a:gd name="T0" fmla="*/ 75 w 961"/>
                  <a:gd name="T1" fmla="*/ 274 h 473"/>
                  <a:gd name="T2" fmla="*/ 115 w 961"/>
                  <a:gd name="T3" fmla="*/ 268 h 473"/>
                  <a:gd name="T4" fmla="*/ 213 w 961"/>
                  <a:gd name="T5" fmla="*/ 269 h 473"/>
                  <a:gd name="T6" fmla="*/ 218 w 961"/>
                  <a:gd name="T7" fmla="*/ 262 h 473"/>
                  <a:gd name="T8" fmla="*/ 319 w 961"/>
                  <a:gd name="T9" fmla="*/ 135 h 473"/>
                  <a:gd name="T10" fmla="*/ 477 w 961"/>
                  <a:gd name="T11" fmla="*/ 135 h 473"/>
                  <a:gd name="T12" fmla="*/ 484 w 961"/>
                  <a:gd name="T13" fmla="*/ 126 h 473"/>
                  <a:gd name="T14" fmla="*/ 586 w 961"/>
                  <a:gd name="T15" fmla="*/ 1 h 473"/>
                  <a:gd name="T16" fmla="*/ 699 w 961"/>
                  <a:gd name="T17" fmla="*/ 1 h 473"/>
                  <a:gd name="T18" fmla="*/ 801 w 961"/>
                  <a:gd name="T19" fmla="*/ 88 h 473"/>
                  <a:gd name="T20" fmla="*/ 799 w 961"/>
                  <a:gd name="T21" fmla="*/ 130 h 473"/>
                  <a:gd name="T22" fmla="*/ 802 w 961"/>
                  <a:gd name="T23" fmla="*/ 136 h 473"/>
                  <a:gd name="T24" fmla="*/ 888 w 961"/>
                  <a:gd name="T25" fmla="*/ 217 h 473"/>
                  <a:gd name="T26" fmla="*/ 885 w 961"/>
                  <a:gd name="T27" fmla="*/ 267 h 473"/>
                  <a:gd name="T28" fmla="*/ 889 w 961"/>
                  <a:gd name="T29" fmla="*/ 274 h 473"/>
                  <a:gd name="T30" fmla="*/ 958 w 961"/>
                  <a:gd name="T31" fmla="*/ 376 h 473"/>
                  <a:gd name="T32" fmla="*/ 876 w 961"/>
                  <a:gd name="T33" fmla="*/ 471 h 473"/>
                  <a:gd name="T34" fmla="*/ 853 w 961"/>
                  <a:gd name="T35" fmla="*/ 473 h 473"/>
                  <a:gd name="T36" fmla="*/ 110 w 961"/>
                  <a:gd name="T37" fmla="*/ 473 h 473"/>
                  <a:gd name="T38" fmla="*/ 6 w 961"/>
                  <a:gd name="T39" fmla="*/ 358 h 473"/>
                  <a:gd name="T40" fmla="*/ 33 w 961"/>
                  <a:gd name="T41" fmla="*/ 301 h 473"/>
                  <a:gd name="T42" fmla="*/ 75 w 961"/>
                  <a:gd name="T43" fmla="*/ 274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1" h="473">
                    <a:moveTo>
                      <a:pt x="75" y="274"/>
                    </a:moveTo>
                    <a:cubicBezTo>
                      <a:pt x="88" y="270"/>
                      <a:pt x="101" y="268"/>
                      <a:pt x="115" y="268"/>
                    </a:cubicBezTo>
                    <a:cubicBezTo>
                      <a:pt x="148" y="269"/>
                      <a:pt x="180" y="268"/>
                      <a:pt x="213" y="269"/>
                    </a:cubicBezTo>
                    <a:cubicBezTo>
                      <a:pt x="217" y="269"/>
                      <a:pt x="219" y="268"/>
                      <a:pt x="218" y="262"/>
                    </a:cubicBezTo>
                    <a:cubicBezTo>
                      <a:pt x="202" y="195"/>
                      <a:pt x="249" y="135"/>
                      <a:pt x="319" y="135"/>
                    </a:cubicBezTo>
                    <a:cubicBezTo>
                      <a:pt x="372" y="134"/>
                      <a:pt x="425" y="135"/>
                      <a:pt x="477" y="135"/>
                    </a:cubicBezTo>
                    <a:cubicBezTo>
                      <a:pt x="486" y="135"/>
                      <a:pt x="486" y="135"/>
                      <a:pt x="484" y="126"/>
                    </a:cubicBezTo>
                    <a:cubicBezTo>
                      <a:pt x="469" y="63"/>
                      <a:pt x="517" y="0"/>
                      <a:pt x="586" y="1"/>
                    </a:cubicBezTo>
                    <a:cubicBezTo>
                      <a:pt x="623" y="1"/>
                      <a:pt x="661" y="0"/>
                      <a:pt x="699" y="1"/>
                    </a:cubicBezTo>
                    <a:cubicBezTo>
                      <a:pt x="753" y="2"/>
                      <a:pt x="792" y="36"/>
                      <a:pt x="801" y="88"/>
                    </a:cubicBezTo>
                    <a:cubicBezTo>
                      <a:pt x="804" y="102"/>
                      <a:pt x="803" y="116"/>
                      <a:pt x="799" y="130"/>
                    </a:cubicBezTo>
                    <a:cubicBezTo>
                      <a:pt x="798" y="134"/>
                      <a:pt x="798" y="135"/>
                      <a:pt x="802" y="136"/>
                    </a:cubicBezTo>
                    <a:cubicBezTo>
                      <a:pt x="847" y="144"/>
                      <a:pt x="879" y="174"/>
                      <a:pt x="888" y="217"/>
                    </a:cubicBezTo>
                    <a:cubicBezTo>
                      <a:pt x="891" y="234"/>
                      <a:pt x="890" y="250"/>
                      <a:pt x="885" y="267"/>
                    </a:cubicBezTo>
                    <a:cubicBezTo>
                      <a:pt x="884" y="271"/>
                      <a:pt x="885" y="273"/>
                      <a:pt x="889" y="274"/>
                    </a:cubicBezTo>
                    <a:cubicBezTo>
                      <a:pt x="933" y="290"/>
                      <a:pt x="961" y="332"/>
                      <a:pt x="958" y="376"/>
                    </a:cubicBezTo>
                    <a:cubicBezTo>
                      <a:pt x="954" y="424"/>
                      <a:pt x="922" y="461"/>
                      <a:pt x="876" y="471"/>
                    </a:cubicBezTo>
                    <a:cubicBezTo>
                      <a:pt x="868" y="472"/>
                      <a:pt x="861" y="473"/>
                      <a:pt x="853" y="473"/>
                    </a:cubicBezTo>
                    <a:cubicBezTo>
                      <a:pt x="605" y="473"/>
                      <a:pt x="357" y="473"/>
                      <a:pt x="110" y="473"/>
                    </a:cubicBezTo>
                    <a:cubicBezTo>
                      <a:pt x="46" y="473"/>
                      <a:pt x="0" y="421"/>
                      <a:pt x="6" y="358"/>
                    </a:cubicBezTo>
                    <a:cubicBezTo>
                      <a:pt x="9" y="336"/>
                      <a:pt x="18" y="317"/>
                      <a:pt x="33" y="301"/>
                    </a:cubicBezTo>
                    <a:cubicBezTo>
                      <a:pt x="33" y="301"/>
                      <a:pt x="47" y="282"/>
                      <a:pt x="75" y="2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3" name="Line 27">
                <a:extLst>
                  <a:ext uri="{FF2B5EF4-FFF2-40B4-BE49-F238E27FC236}">
                    <a16:creationId xmlns:a16="http://schemas.microsoft.com/office/drawing/2014/main" id="{9E7FC401-B9FE-4DAB-99C7-CDFADD8DB0D6}"/>
                  </a:ext>
                </a:extLst>
              </p:cNvPr>
              <p:cNvSpPr>
                <a:spLocks noChangeShapeType="1"/>
              </p:cNvSpPr>
              <p:nvPr/>
            </p:nvSpPr>
            <p:spPr bwMode="auto">
              <a:xfrm>
                <a:off x="3134" y="179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4" name="Line 28">
                <a:extLst>
                  <a:ext uri="{FF2B5EF4-FFF2-40B4-BE49-F238E27FC236}">
                    <a16:creationId xmlns:a16="http://schemas.microsoft.com/office/drawing/2014/main" id="{0F6ECD93-6ACB-439C-9067-3B63B38CECA3}"/>
                  </a:ext>
                </a:extLst>
              </p:cNvPr>
              <p:cNvSpPr>
                <a:spLocks noChangeShapeType="1"/>
              </p:cNvSpPr>
              <p:nvPr/>
            </p:nvSpPr>
            <p:spPr bwMode="auto">
              <a:xfrm>
                <a:off x="3134" y="179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 name="Freeform 29">
                <a:extLst>
                  <a:ext uri="{FF2B5EF4-FFF2-40B4-BE49-F238E27FC236}">
                    <a16:creationId xmlns:a16="http://schemas.microsoft.com/office/drawing/2014/main" id="{9A0CF019-1D36-448D-B0A3-4BA260FB877A}"/>
                  </a:ext>
                </a:extLst>
              </p:cNvPr>
              <p:cNvSpPr>
                <a:spLocks/>
              </p:cNvSpPr>
              <p:nvPr/>
            </p:nvSpPr>
            <p:spPr bwMode="auto">
              <a:xfrm>
                <a:off x="1991" y="1526"/>
                <a:ext cx="944" cy="586"/>
              </a:xfrm>
              <a:custGeom>
                <a:avLst/>
                <a:gdLst>
                  <a:gd name="T0" fmla="*/ 504 w 534"/>
                  <a:gd name="T1" fmla="*/ 271 h 331"/>
                  <a:gd name="T2" fmla="*/ 157 w 534"/>
                  <a:gd name="T3" fmla="*/ 82 h 331"/>
                  <a:gd name="T4" fmla="*/ 239 w 534"/>
                  <a:gd name="T5" fmla="*/ 116 h 331"/>
                  <a:gd name="T6" fmla="*/ 278 w 534"/>
                  <a:gd name="T7" fmla="*/ 100 h 331"/>
                  <a:gd name="T8" fmla="*/ 262 w 534"/>
                  <a:gd name="T9" fmla="*/ 61 h 331"/>
                  <a:gd name="T10" fmla="*/ 121 w 534"/>
                  <a:gd name="T11" fmla="*/ 3 h 331"/>
                  <a:gd name="T12" fmla="*/ 97 w 534"/>
                  <a:gd name="T13" fmla="*/ 3 h 331"/>
                  <a:gd name="T14" fmla="*/ 97 w 534"/>
                  <a:gd name="T15" fmla="*/ 3 h 331"/>
                  <a:gd name="T16" fmla="*/ 96 w 534"/>
                  <a:gd name="T17" fmla="*/ 4 h 331"/>
                  <a:gd name="T18" fmla="*/ 94 w 534"/>
                  <a:gd name="T19" fmla="*/ 5 h 331"/>
                  <a:gd name="T20" fmla="*/ 92 w 534"/>
                  <a:gd name="T21" fmla="*/ 6 h 331"/>
                  <a:gd name="T22" fmla="*/ 91 w 534"/>
                  <a:gd name="T23" fmla="*/ 7 h 331"/>
                  <a:gd name="T24" fmla="*/ 91 w 534"/>
                  <a:gd name="T25" fmla="*/ 7 h 331"/>
                  <a:gd name="T26" fmla="*/ 84 w 534"/>
                  <a:gd name="T27" fmla="*/ 15 h 331"/>
                  <a:gd name="T28" fmla="*/ 8 w 534"/>
                  <a:gd name="T29" fmla="*/ 141 h 331"/>
                  <a:gd name="T30" fmla="*/ 19 w 534"/>
                  <a:gd name="T31" fmla="*/ 183 h 331"/>
                  <a:gd name="T32" fmla="*/ 34 w 534"/>
                  <a:gd name="T33" fmla="*/ 187 h 331"/>
                  <a:gd name="T34" fmla="*/ 60 w 534"/>
                  <a:gd name="T35" fmla="*/ 172 h 331"/>
                  <a:gd name="T36" fmla="*/ 101 w 534"/>
                  <a:gd name="T37" fmla="*/ 104 h 331"/>
                  <a:gd name="T38" fmla="*/ 101 w 534"/>
                  <a:gd name="T39" fmla="*/ 104 h 331"/>
                  <a:gd name="T40" fmla="*/ 277 w 534"/>
                  <a:gd name="T41" fmla="*/ 280 h 331"/>
                  <a:gd name="T42" fmla="*/ 502 w 534"/>
                  <a:gd name="T43" fmla="*/ 331 h 331"/>
                  <a:gd name="T44" fmla="*/ 503 w 534"/>
                  <a:gd name="T45" fmla="*/ 331 h 331"/>
                  <a:gd name="T46" fmla="*/ 533 w 534"/>
                  <a:gd name="T47" fmla="*/ 302 h 331"/>
                  <a:gd name="T48" fmla="*/ 504 w 534"/>
                  <a:gd name="T49" fmla="*/ 27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4" h="331">
                    <a:moveTo>
                      <a:pt x="504" y="271"/>
                    </a:moveTo>
                    <a:cubicBezTo>
                      <a:pt x="418" y="268"/>
                      <a:pt x="225" y="243"/>
                      <a:pt x="157" y="82"/>
                    </a:cubicBezTo>
                    <a:cubicBezTo>
                      <a:pt x="239" y="116"/>
                      <a:pt x="239" y="116"/>
                      <a:pt x="239" y="116"/>
                    </a:cubicBezTo>
                    <a:cubicBezTo>
                      <a:pt x="255" y="123"/>
                      <a:pt x="272" y="115"/>
                      <a:pt x="278" y="100"/>
                    </a:cubicBezTo>
                    <a:cubicBezTo>
                      <a:pt x="285" y="85"/>
                      <a:pt x="277" y="67"/>
                      <a:pt x="262" y="61"/>
                    </a:cubicBezTo>
                    <a:cubicBezTo>
                      <a:pt x="121" y="3"/>
                      <a:pt x="121" y="3"/>
                      <a:pt x="121" y="3"/>
                    </a:cubicBezTo>
                    <a:cubicBezTo>
                      <a:pt x="113" y="0"/>
                      <a:pt x="104" y="0"/>
                      <a:pt x="97" y="3"/>
                    </a:cubicBezTo>
                    <a:cubicBezTo>
                      <a:pt x="97" y="3"/>
                      <a:pt x="97" y="3"/>
                      <a:pt x="97" y="3"/>
                    </a:cubicBezTo>
                    <a:cubicBezTo>
                      <a:pt x="96" y="4"/>
                      <a:pt x="96" y="4"/>
                      <a:pt x="96" y="4"/>
                    </a:cubicBezTo>
                    <a:cubicBezTo>
                      <a:pt x="95" y="4"/>
                      <a:pt x="94" y="5"/>
                      <a:pt x="94" y="5"/>
                    </a:cubicBezTo>
                    <a:cubicBezTo>
                      <a:pt x="93" y="6"/>
                      <a:pt x="92" y="6"/>
                      <a:pt x="92" y="6"/>
                    </a:cubicBezTo>
                    <a:cubicBezTo>
                      <a:pt x="91" y="7"/>
                      <a:pt x="91" y="7"/>
                      <a:pt x="91" y="7"/>
                    </a:cubicBezTo>
                    <a:cubicBezTo>
                      <a:pt x="91" y="7"/>
                      <a:pt x="91" y="7"/>
                      <a:pt x="91" y="7"/>
                    </a:cubicBezTo>
                    <a:cubicBezTo>
                      <a:pt x="88" y="10"/>
                      <a:pt x="86" y="12"/>
                      <a:pt x="84" y="15"/>
                    </a:cubicBezTo>
                    <a:cubicBezTo>
                      <a:pt x="8" y="141"/>
                      <a:pt x="8" y="141"/>
                      <a:pt x="8" y="141"/>
                    </a:cubicBezTo>
                    <a:cubicBezTo>
                      <a:pt x="0" y="156"/>
                      <a:pt x="4" y="174"/>
                      <a:pt x="19" y="183"/>
                    </a:cubicBezTo>
                    <a:cubicBezTo>
                      <a:pt x="23" y="186"/>
                      <a:pt x="29" y="187"/>
                      <a:pt x="34" y="187"/>
                    </a:cubicBezTo>
                    <a:cubicBezTo>
                      <a:pt x="44" y="187"/>
                      <a:pt x="54" y="182"/>
                      <a:pt x="60" y="172"/>
                    </a:cubicBezTo>
                    <a:cubicBezTo>
                      <a:pt x="101" y="104"/>
                      <a:pt x="101" y="104"/>
                      <a:pt x="101" y="104"/>
                    </a:cubicBezTo>
                    <a:cubicBezTo>
                      <a:pt x="101" y="104"/>
                      <a:pt x="101" y="104"/>
                      <a:pt x="101" y="104"/>
                    </a:cubicBezTo>
                    <a:cubicBezTo>
                      <a:pt x="133" y="182"/>
                      <a:pt x="192" y="241"/>
                      <a:pt x="277" y="280"/>
                    </a:cubicBezTo>
                    <a:cubicBezTo>
                      <a:pt x="363" y="321"/>
                      <a:pt x="455" y="329"/>
                      <a:pt x="502" y="331"/>
                    </a:cubicBezTo>
                    <a:cubicBezTo>
                      <a:pt x="502" y="331"/>
                      <a:pt x="503" y="331"/>
                      <a:pt x="503" y="331"/>
                    </a:cubicBezTo>
                    <a:cubicBezTo>
                      <a:pt x="519" y="331"/>
                      <a:pt x="532" y="318"/>
                      <a:pt x="533" y="302"/>
                    </a:cubicBezTo>
                    <a:cubicBezTo>
                      <a:pt x="534" y="286"/>
                      <a:pt x="521" y="272"/>
                      <a:pt x="504" y="27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 name="Line 30">
                <a:extLst>
                  <a:ext uri="{FF2B5EF4-FFF2-40B4-BE49-F238E27FC236}">
                    <a16:creationId xmlns:a16="http://schemas.microsoft.com/office/drawing/2014/main" id="{BCEB1607-7FBB-4656-8040-6F683648DDB3}"/>
                  </a:ext>
                </a:extLst>
              </p:cNvPr>
              <p:cNvSpPr>
                <a:spLocks noChangeShapeType="1"/>
              </p:cNvSpPr>
              <p:nvPr/>
            </p:nvSpPr>
            <p:spPr bwMode="auto">
              <a:xfrm>
                <a:off x="3520" y="110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 name="Line 31">
                <a:extLst>
                  <a:ext uri="{FF2B5EF4-FFF2-40B4-BE49-F238E27FC236}">
                    <a16:creationId xmlns:a16="http://schemas.microsoft.com/office/drawing/2014/main" id="{6F8FBA6E-2C92-4026-918C-5B58D9AEF9B9}"/>
                  </a:ext>
                </a:extLst>
              </p:cNvPr>
              <p:cNvSpPr>
                <a:spLocks noChangeShapeType="1"/>
              </p:cNvSpPr>
              <p:nvPr/>
            </p:nvSpPr>
            <p:spPr bwMode="auto">
              <a:xfrm>
                <a:off x="3520" y="110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68" name="Group 67">
              <a:extLst>
                <a:ext uri="{FF2B5EF4-FFF2-40B4-BE49-F238E27FC236}">
                  <a16:creationId xmlns:a16="http://schemas.microsoft.com/office/drawing/2014/main" id="{AE8974F8-4737-4100-B270-AF24E8C91269}"/>
                </a:ext>
              </a:extLst>
            </p:cNvPr>
            <p:cNvGrpSpPr/>
            <p:nvPr/>
          </p:nvGrpSpPr>
          <p:grpSpPr>
            <a:xfrm rot="15960000" flipV="1">
              <a:off x="1970863" y="-176036"/>
              <a:ext cx="98425" cy="82551"/>
              <a:chOff x="5324480" y="1422399"/>
              <a:chExt cx="98425" cy="82551"/>
            </a:xfrm>
          </p:grpSpPr>
          <p:sp>
            <p:nvSpPr>
              <p:cNvPr id="12" name="Freeform 9">
                <a:extLst>
                  <a:ext uri="{FF2B5EF4-FFF2-40B4-BE49-F238E27FC236}">
                    <a16:creationId xmlns:a16="http://schemas.microsoft.com/office/drawing/2014/main" id="{D63860C1-4B6D-41DA-93D0-6E156BD409BF}"/>
                  </a:ext>
                </a:extLst>
              </p:cNvPr>
              <p:cNvSpPr>
                <a:spLocks/>
              </p:cNvSpPr>
              <p:nvPr/>
            </p:nvSpPr>
            <p:spPr bwMode="auto">
              <a:xfrm>
                <a:off x="5343530" y="1471612"/>
                <a:ext cx="44450" cy="33338"/>
              </a:xfrm>
              <a:custGeom>
                <a:avLst/>
                <a:gdLst>
                  <a:gd name="T0" fmla="*/ 17 w 52"/>
                  <a:gd name="T1" fmla="*/ 5 h 38"/>
                  <a:gd name="T2" fmla="*/ 0 w 52"/>
                  <a:gd name="T3" fmla="*/ 3 h 38"/>
                  <a:gd name="T4" fmla="*/ 52 w 52"/>
                  <a:gd name="T5" fmla="*/ 38 h 38"/>
                  <a:gd name="T6" fmla="*/ 46 w 52"/>
                  <a:gd name="T7" fmla="*/ 0 h 38"/>
                  <a:gd name="T8" fmla="*/ 17 w 52"/>
                  <a:gd name="T9" fmla="*/ 5 h 38"/>
                </a:gdLst>
                <a:ahLst/>
                <a:cxnLst>
                  <a:cxn ang="0">
                    <a:pos x="T0" y="T1"/>
                  </a:cxn>
                  <a:cxn ang="0">
                    <a:pos x="T2" y="T3"/>
                  </a:cxn>
                  <a:cxn ang="0">
                    <a:pos x="T4" y="T5"/>
                  </a:cxn>
                  <a:cxn ang="0">
                    <a:pos x="T6" y="T7"/>
                  </a:cxn>
                  <a:cxn ang="0">
                    <a:pos x="T8" y="T9"/>
                  </a:cxn>
                </a:cxnLst>
                <a:rect l="0" t="0" r="r" b="b"/>
                <a:pathLst>
                  <a:path w="52" h="38">
                    <a:moveTo>
                      <a:pt x="17" y="5"/>
                    </a:moveTo>
                    <a:cubicBezTo>
                      <a:pt x="11" y="6"/>
                      <a:pt x="5" y="5"/>
                      <a:pt x="0" y="3"/>
                    </a:cubicBezTo>
                    <a:cubicBezTo>
                      <a:pt x="19" y="13"/>
                      <a:pt x="37" y="25"/>
                      <a:pt x="52" y="38"/>
                    </a:cubicBezTo>
                    <a:cubicBezTo>
                      <a:pt x="46" y="0"/>
                      <a:pt x="46" y="0"/>
                      <a:pt x="46" y="0"/>
                    </a:cubicBezTo>
                    <a:lnTo>
                      <a:pt x="17" y="5"/>
                    </a:lnTo>
                    <a:close/>
                  </a:path>
                </a:pathLst>
              </a:custGeom>
              <a:solidFill>
                <a:srgbClr val="308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 name="Freeform 10">
                <a:extLst>
                  <a:ext uri="{FF2B5EF4-FFF2-40B4-BE49-F238E27FC236}">
                    <a16:creationId xmlns:a16="http://schemas.microsoft.com/office/drawing/2014/main" id="{A98875D2-F9C7-4723-A1B1-6CBD40477DD4}"/>
                  </a:ext>
                </a:extLst>
              </p:cNvPr>
              <p:cNvSpPr>
                <a:spLocks/>
              </p:cNvSpPr>
              <p:nvPr/>
            </p:nvSpPr>
            <p:spPr bwMode="auto">
              <a:xfrm>
                <a:off x="5364167" y="1427162"/>
                <a:ext cx="58738" cy="44450"/>
              </a:xfrm>
              <a:custGeom>
                <a:avLst/>
                <a:gdLst>
                  <a:gd name="T0" fmla="*/ 17 w 67"/>
                  <a:gd name="T1" fmla="*/ 22 h 51"/>
                  <a:gd name="T2" fmla="*/ 22 w 67"/>
                  <a:gd name="T3" fmla="*/ 51 h 51"/>
                  <a:gd name="T4" fmla="*/ 67 w 67"/>
                  <a:gd name="T5" fmla="*/ 43 h 51"/>
                  <a:gd name="T6" fmla="*/ 1 w 67"/>
                  <a:gd name="T7" fmla="*/ 0 h 51"/>
                  <a:gd name="T8" fmla="*/ 0 w 67"/>
                  <a:gd name="T9" fmla="*/ 0 h 51"/>
                  <a:gd name="T10" fmla="*/ 17 w 67"/>
                  <a:gd name="T11" fmla="*/ 22 h 51"/>
                </a:gdLst>
                <a:ahLst/>
                <a:cxnLst>
                  <a:cxn ang="0">
                    <a:pos x="T0" y="T1"/>
                  </a:cxn>
                  <a:cxn ang="0">
                    <a:pos x="T2" y="T3"/>
                  </a:cxn>
                  <a:cxn ang="0">
                    <a:pos x="T4" y="T5"/>
                  </a:cxn>
                  <a:cxn ang="0">
                    <a:pos x="T6" y="T7"/>
                  </a:cxn>
                  <a:cxn ang="0">
                    <a:pos x="T8" y="T9"/>
                  </a:cxn>
                  <a:cxn ang="0">
                    <a:pos x="T10" y="T11"/>
                  </a:cxn>
                </a:cxnLst>
                <a:rect l="0" t="0" r="r" b="b"/>
                <a:pathLst>
                  <a:path w="67" h="51">
                    <a:moveTo>
                      <a:pt x="17" y="22"/>
                    </a:moveTo>
                    <a:cubicBezTo>
                      <a:pt x="22" y="51"/>
                      <a:pt x="22" y="51"/>
                      <a:pt x="22" y="51"/>
                    </a:cubicBezTo>
                    <a:cubicBezTo>
                      <a:pt x="67" y="43"/>
                      <a:pt x="67" y="43"/>
                      <a:pt x="67" y="43"/>
                    </a:cubicBezTo>
                    <a:cubicBezTo>
                      <a:pt x="47" y="27"/>
                      <a:pt x="25" y="12"/>
                      <a:pt x="1" y="0"/>
                    </a:cubicBezTo>
                    <a:cubicBezTo>
                      <a:pt x="1" y="0"/>
                      <a:pt x="0" y="0"/>
                      <a:pt x="0" y="0"/>
                    </a:cubicBezTo>
                    <a:cubicBezTo>
                      <a:pt x="9" y="4"/>
                      <a:pt x="15" y="12"/>
                      <a:pt x="17" y="22"/>
                    </a:cubicBezTo>
                    <a:close/>
                  </a:path>
                </a:pathLst>
              </a:custGeom>
              <a:solidFill>
                <a:srgbClr val="308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8" name="Freeform 11">
                <a:extLst>
                  <a:ext uri="{FF2B5EF4-FFF2-40B4-BE49-F238E27FC236}">
                    <a16:creationId xmlns:a16="http://schemas.microsoft.com/office/drawing/2014/main" id="{D511F189-04BA-4F71-A672-8D7FD984D836}"/>
                  </a:ext>
                </a:extLst>
              </p:cNvPr>
              <p:cNvSpPr>
                <a:spLocks/>
              </p:cNvSpPr>
              <p:nvPr/>
            </p:nvSpPr>
            <p:spPr bwMode="auto">
              <a:xfrm>
                <a:off x="5324480" y="1422399"/>
                <a:ext cx="58738" cy="53975"/>
              </a:xfrm>
              <a:custGeom>
                <a:avLst/>
                <a:gdLst>
                  <a:gd name="T0" fmla="*/ 27 w 67"/>
                  <a:gd name="T1" fmla="*/ 2 h 62"/>
                  <a:gd name="T2" fmla="*/ 3 w 67"/>
                  <a:gd name="T3" fmla="*/ 37 h 62"/>
                  <a:gd name="T4" fmla="*/ 19 w 67"/>
                  <a:gd name="T5" fmla="*/ 58 h 62"/>
                  <a:gd name="T6" fmla="*/ 38 w 67"/>
                  <a:gd name="T7" fmla="*/ 61 h 62"/>
                  <a:gd name="T8" fmla="*/ 67 w 67"/>
                  <a:gd name="T9" fmla="*/ 56 h 62"/>
                  <a:gd name="T10" fmla="*/ 62 w 67"/>
                  <a:gd name="T11" fmla="*/ 27 h 62"/>
                  <a:gd name="T12" fmla="*/ 27 w 67"/>
                  <a:gd name="T13" fmla="*/ 2 h 62"/>
                </a:gdLst>
                <a:ahLst/>
                <a:cxnLst>
                  <a:cxn ang="0">
                    <a:pos x="T0" y="T1"/>
                  </a:cxn>
                  <a:cxn ang="0">
                    <a:pos x="T2" y="T3"/>
                  </a:cxn>
                  <a:cxn ang="0">
                    <a:pos x="T4" y="T5"/>
                  </a:cxn>
                  <a:cxn ang="0">
                    <a:pos x="T6" y="T7"/>
                  </a:cxn>
                  <a:cxn ang="0">
                    <a:pos x="T8" y="T9"/>
                  </a:cxn>
                  <a:cxn ang="0">
                    <a:pos x="T10" y="T11"/>
                  </a:cxn>
                  <a:cxn ang="0">
                    <a:pos x="T12" y="T13"/>
                  </a:cxn>
                </a:cxnLst>
                <a:rect l="0" t="0" r="r" b="b"/>
                <a:pathLst>
                  <a:path w="67" h="62">
                    <a:moveTo>
                      <a:pt x="27" y="2"/>
                    </a:moveTo>
                    <a:cubicBezTo>
                      <a:pt x="11" y="5"/>
                      <a:pt x="0" y="21"/>
                      <a:pt x="3" y="37"/>
                    </a:cubicBezTo>
                    <a:cubicBezTo>
                      <a:pt x="5" y="46"/>
                      <a:pt x="11" y="54"/>
                      <a:pt x="19" y="58"/>
                    </a:cubicBezTo>
                    <a:cubicBezTo>
                      <a:pt x="24" y="61"/>
                      <a:pt x="31" y="62"/>
                      <a:pt x="38" y="61"/>
                    </a:cubicBezTo>
                    <a:cubicBezTo>
                      <a:pt x="67" y="56"/>
                      <a:pt x="67" y="56"/>
                      <a:pt x="67" y="56"/>
                    </a:cubicBezTo>
                    <a:cubicBezTo>
                      <a:pt x="62" y="27"/>
                      <a:pt x="62" y="27"/>
                      <a:pt x="62" y="27"/>
                    </a:cubicBezTo>
                    <a:cubicBezTo>
                      <a:pt x="59" y="10"/>
                      <a:pt x="44" y="0"/>
                      <a:pt x="27" y="2"/>
                    </a:cubicBezTo>
                    <a:close/>
                  </a:path>
                </a:pathLst>
              </a:custGeom>
              <a:solidFill>
                <a:srgbClr val="308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69" name="Group 68">
              <a:extLst>
                <a:ext uri="{FF2B5EF4-FFF2-40B4-BE49-F238E27FC236}">
                  <a16:creationId xmlns:a16="http://schemas.microsoft.com/office/drawing/2014/main" id="{55A21E32-EB3C-4F70-B204-D4AB76CAB03B}"/>
                </a:ext>
              </a:extLst>
            </p:cNvPr>
            <p:cNvGrpSpPr/>
            <p:nvPr/>
          </p:nvGrpSpPr>
          <p:grpSpPr>
            <a:xfrm rot="6360000" flipV="1">
              <a:off x="1362094" y="95278"/>
              <a:ext cx="98425" cy="82551"/>
              <a:chOff x="5324480" y="1422399"/>
              <a:chExt cx="98425" cy="82551"/>
            </a:xfrm>
          </p:grpSpPr>
          <p:sp>
            <p:nvSpPr>
              <p:cNvPr id="70" name="Freeform 9">
                <a:extLst>
                  <a:ext uri="{FF2B5EF4-FFF2-40B4-BE49-F238E27FC236}">
                    <a16:creationId xmlns:a16="http://schemas.microsoft.com/office/drawing/2014/main" id="{34194D5C-0A39-4BBE-8F2E-CAA72A618AAB}"/>
                  </a:ext>
                </a:extLst>
              </p:cNvPr>
              <p:cNvSpPr>
                <a:spLocks/>
              </p:cNvSpPr>
              <p:nvPr/>
            </p:nvSpPr>
            <p:spPr bwMode="auto">
              <a:xfrm>
                <a:off x="5343530" y="1471612"/>
                <a:ext cx="44450" cy="33338"/>
              </a:xfrm>
              <a:custGeom>
                <a:avLst/>
                <a:gdLst>
                  <a:gd name="T0" fmla="*/ 17 w 52"/>
                  <a:gd name="T1" fmla="*/ 5 h 38"/>
                  <a:gd name="T2" fmla="*/ 0 w 52"/>
                  <a:gd name="T3" fmla="*/ 3 h 38"/>
                  <a:gd name="T4" fmla="*/ 52 w 52"/>
                  <a:gd name="T5" fmla="*/ 38 h 38"/>
                  <a:gd name="T6" fmla="*/ 46 w 52"/>
                  <a:gd name="T7" fmla="*/ 0 h 38"/>
                  <a:gd name="T8" fmla="*/ 17 w 52"/>
                  <a:gd name="T9" fmla="*/ 5 h 38"/>
                </a:gdLst>
                <a:ahLst/>
                <a:cxnLst>
                  <a:cxn ang="0">
                    <a:pos x="T0" y="T1"/>
                  </a:cxn>
                  <a:cxn ang="0">
                    <a:pos x="T2" y="T3"/>
                  </a:cxn>
                  <a:cxn ang="0">
                    <a:pos x="T4" y="T5"/>
                  </a:cxn>
                  <a:cxn ang="0">
                    <a:pos x="T6" y="T7"/>
                  </a:cxn>
                  <a:cxn ang="0">
                    <a:pos x="T8" y="T9"/>
                  </a:cxn>
                </a:cxnLst>
                <a:rect l="0" t="0" r="r" b="b"/>
                <a:pathLst>
                  <a:path w="52" h="38">
                    <a:moveTo>
                      <a:pt x="17" y="5"/>
                    </a:moveTo>
                    <a:cubicBezTo>
                      <a:pt x="11" y="6"/>
                      <a:pt x="5" y="5"/>
                      <a:pt x="0" y="3"/>
                    </a:cubicBezTo>
                    <a:cubicBezTo>
                      <a:pt x="19" y="13"/>
                      <a:pt x="37" y="25"/>
                      <a:pt x="52" y="38"/>
                    </a:cubicBezTo>
                    <a:cubicBezTo>
                      <a:pt x="46" y="0"/>
                      <a:pt x="46" y="0"/>
                      <a:pt x="46" y="0"/>
                    </a:cubicBezTo>
                    <a:lnTo>
                      <a:pt x="17" y="5"/>
                    </a:lnTo>
                    <a:close/>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1" name="Freeform 10">
                <a:extLst>
                  <a:ext uri="{FF2B5EF4-FFF2-40B4-BE49-F238E27FC236}">
                    <a16:creationId xmlns:a16="http://schemas.microsoft.com/office/drawing/2014/main" id="{61D414A1-382F-4D22-8CB1-C4B3CA190DCC}"/>
                  </a:ext>
                </a:extLst>
              </p:cNvPr>
              <p:cNvSpPr>
                <a:spLocks/>
              </p:cNvSpPr>
              <p:nvPr/>
            </p:nvSpPr>
            <p:spPr bwMode="auto">
              <a:xfrm>
                <a:off x="5364167" y="1427162"/>
                <a:ext cx="58738" cy="44450"/>
              </a:xfrm>
              <a:custGeom>
                <a:avLst/>
                <a:gdLst>
                  <a:gd name="T0" fmla="*/ 17 w 67"/>
                  <a:gd name="T1" fmla="*/ 22 h 51"/>
                  <a:gd name="T2" fmla="*/ 22 w 67"/>
                  <a:gd name="T3" fmla="*/ 51 h 51"/>
                  <a:gd name="T4" fmla="*/ 67 w 67"/>
                  <a:gd name="T5" fmla="*/ 43 h 51"/>
                  <a:gd name="T6" fmla="*/ 1 w 67"/>
                  <a:gd name="T7" fmla="*/ 0 h 51"/>
                  <a:gd name="T8" fmla="*/ 0 w 67"/>
                  <a:gd name="T9" fmla="*/ 0 h 51"/>
                  <a:gd name="T10" fmla="*/ 17 w 67"/>
                  <a:gd name="T11" fmla="*/ 22 h 51"/>
                </a:gdLst>
                <a:ahLst/>
                <a:cxnLst>
                  <a:cxn ang="0">
                    <a:pos x="T0" y="T1"/>
                  </a:cxn>
                  <a:cxn ang="0">
                    <a:pos x="T2" y="T3"/>
                  </a:cxn>
                  <a:cxn ang="0">
                    <a:pos x="T4" y="T5"/>
                  </a:cxn>
                  <a:cxn ang="0">
                    <a:pos x="T6" y="T7"/>
                  </a:cxn>
                  <a:cxn ang="0">
                    <a:pos x="T8" y="T9"/>
                  </a:cxn>
                  <a:cxn ang="0">
                    <a:pos x="T10" y="T11"/>
                  </a:cxn>
                </a:cxnLst>
                <a:rect l="0" t="0" r="r" b="b"/>
                <a:pathLst>
                  <a:path w="67" h="51">
                    <a:moveTo>
                      <a:pt x="17" y="22"/>
                    </a:moveTo>
                    <a:cubicBezTo>
                      <a:pt x="22" y="51"/>
                      <a:pt x="22" y="51"/>
                      <a:pt x="22" y="51"/>
                    </a:cubicBezTo>
                    <a:cubicBezTo>
                      <a:pt x="67" y="43"/>
                      <a:pt x="67" y="43"/>
                      <a:pt x="67" y="43"/>
                    </a:cubicBezTo>
                    <a:cubicBezTo>
                      <a:pt x="47" y="27"/>
                      <a:pt x="25" y="12"/>
                      <a:pt x="1" y="0"/>
                    </a:cubicBezTo>
                    <a:cubicBezTo>
                      <a:pt x="1" y="0"/>
                      <a:pt x="0" y="0"/>
                      <a:pt x="0" y="0"/>
                    </a:cubicBezTo>
                    <a:cubicBezTo>
                      <a:pt x="9" y="4"/>
                      <a:pt x="15" y="12"/>
                      <a:pt x="17" y="22"/>
                    </a:cubicBezTo>
                    <a:close/>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2" name="Freeform 11">
                <a:extLst>
                  <a:ext uri="{FF2B5EF4-FFF2-40B4-BE49-F238E27FC236}">
                    <a16:creationId xmlns:a16="http://schemas.microsoft.com/office/drawing/2014/main" id="{DB013ED5-5520-4077-8D30-070F1C394DC2}"/>
                  </a:ext>
                </a:extLst>
              </p:cNvPr>
              <p:cNvSpPr>
                <a:spLocks/>
              </p:cNvSpPr>
              <p:nvPr/>
            </p:nvSpPr>
            <p:spPr bwMode="auto">
              <a:xfrm>
                <a:off x="5324480" y="1422399"/>
                <a:ext cx="58738" cy="53975"/>
              </a:xfrm>
              <a:custGeom>
                <a:avLst/>
                <a:gdLst>
                  <a:gd name="T0" fmla="*/ 27 w 67"/>
                  <a:gd name="T1" fmla="*/ 2 h 62"/>
                  <a:gd name="T2" fmla="*/ 3 w 67"/>
                  <a:gd name="T3" fmla="*/ 37 h 62"/>
                  <a:gd name="T4" fmla="*/ 19 w 67"/>
                  <a:gd name="T5" fmla="*/ 58 h 62"/>
                  <a:gd name="T6" fmla="*/ 38 w 67"/>
                  <a:gd name="T7" fmla="*/ 61 h 62"/>
                  <a:gd name="T8" fmla="*/ 67 w 67"/>
                  <a:gd name="T9" fmla="*/ 56 h 62"/>
                  <a:gd name="T10" fmla="*/ 62 w 67"/>
                  <a:gd name="T11" fmla="*/ 27 h 62"/>
                  <a:gd name="T12" fmla="*/ 27 w 67"/>
                  <a:gd name="T13" fmla="*/ 2 h 62"/>
                </a:gdLst>
                <a:ahLst/>
                <a:cxnLst>
                  <a:cxn ang="0">
                    <a:pos x="T0" y="T1"/>
                  </a:cxn>
                  <a:cxn ang="0">
                    <a:pos x="T2" y="T3"/>
                  </a:cxn>
                  <a:cxn ang="0">
                    <a:pos x="T4" y="T5"/>
                  </a:cxn>
                  <a:cxn ang="0">
                    <a:pos x="T6" y="T7"/>
                  </a:cxn>
                  <a:cxn ang="0">
                    <a:pos x="T8" y="T9"/>
                  </a:cxn>
                  <a:cxn ang="0">
                    <a:pos x="T10" y="T11"/>
                  </a:cxn>
                  <a:cxn ang="0">
                    <a:pos x="T12" y="T13"/>
                  </a:cxn>
                </a:cxnLst>
                <a:rect l="0" t="0" r="r" b="b"/>
                <a:pathLst>
                  <a:path w="67" h="62">
                    <a:moveTo>
                      <a:pt x="27" y="2"/>
                    </a:moveTo>
                    <a:cubicBezTo>
                      <a:pt x="11" y="5"/>
                      <a:pt x="0" y="21"/>
                      <a:pt x="3" y="37"/>
                    </a:cubicBezTo>
                    <a:cubicBezTo>
                      <a:pt x="5" y="46"/>
                      <a:pt x="11" y="54"/>
                      <a:pt x="19" y="58"/>
                    </a:cubicBezTo>
                    <a:cubicBezTo>
                      <a:pt x="24" y="61"/>
                      <a:pt x="31" y="62"/>
                      <a:pt x="38" y="61"/>
                    </a:cubicBezTo>
                    <a:cubicBezTo>
                      <a:pt x="67" y="56"/>
                      <a:pt x="67" y="56"/>
                      <a:pt x="67" y="56"/>
                    </a:cubicBezTo>
                    <a:cubicBezTo>
                      <a:pt x="62" y="27"/>
                      <a:pt x="62" y="27"/>
                      <a:pt x="62" y="27"/>
                    </a:cubicBezTo>
                    <a:cubicBezTo>
                      <a:pt x="59" y="10"/>
                      <a:pt x="44" y="0"/>
                      <a:pt x="27" y="2"/>
                    </a:cubicBezTo>
                    <a:close/>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spTree>
    <p:extLst>
      <p:ext uri="{BB962C8B-B14F-4D97-AF65-F5344CB8AC3E}">
        <p14:creationId xmlns:p14="http://schemas.microsoft.com/office/powerpoint/2010/main" val="278042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 name="Freeform 5">
            <a:extLst>
              <a:ext uri="{FF2B5EF4-FFF2-40B4-BE49-F238E27FC236}">
                <a16:creationId xmlns:a16="http://schemas.microsoft.com/office/drawing/2014/main" id="{27D3DCDB-640C-46D9-AB32-67AEBA954919}"/>
              </a:ext>
            </a:extLst>
          </p:cNvPr>
          <p:cNvSpPr>
            <a:spLocks noEditPoints="1"/>
          </p:cNvSpPr>
          <p:nvPr/>
        </p:nvSpPr>
        <p:spPr bwMode="auto">
          <a:xfrm flipH="1">
            <a:off x="-1" y="3259790"/>
            <a:ext cx="9138205" cy="1184701"/>
          </a:xfrm>
          <a:custGeom>
            <a:avLst/>
            <a:gdLst>
              <a:gd name="T0" fmla="*/ 2768 w 2986"/>
              <a:gd name="T1" fmla="*/ 303 h 386"/>
              <a:gd name="T2" fmla="*/ 2566 w 2986"/>
              <a:gd name="T3" fmla="*/ 131 h 386"/>
              <a:gd name="T4" fmla="*/ 2255 w 2986"/>
              <a:gd name="T5" fmla="*/ 142 h 386"/>
              <a:gd name="T6" fmla="*/ 2048 w 2986"/>
              <a:gd name="T7" fmla="*/ 36 h 386"/>
              <a:gd name="T8" fmla="*/ 1881 w 2986"/>
              <a:gd name="T9" fmla="*/ 131 h 386"/>
              <a:gd name="T10" fmla="*/ 1660 w 2986"/>
              <a:gd name="T11" fmla="*/ 82 h 386"/>
              <a:gd name="T12" fmla="*/ 1458 w 2986"/>
              <a:gd name="T13" fmla="*/ 303 h 386"/>
              <a:gd name="T14" fmla="*/ 1239 w 2986"/>
              <a:gd name="T15" fmla="*/ 283 h 386"/>
              <a:gd name="T16" fmla="*/ 1016 w 2986"/>
              <a:gd name="T17" fmla="*/ 167 h 386"/>
              <a:gd name="T18" fmla="*/ 804 w 2986"/>
              <a:gd name="T19" fmla="*/ 150 h 386"/>
              <a:gd name="T20" fmla="*/ 542 w 2986"/>
              <a:gd name="T21" fmla="*/ 47 h 386"/>
              <a:gd name="T22" fmla="*/ 308 w 2986"/>
              <a:gd name="T23" fmla="*/ 162 h 386"/>
              <a:gd name="T24" fmla="*/ 110 w 2986"/>
              <a:gd name="T25" fmla="*/ 193 h 386"/>
              <a:gd name="T26" fmla="*/ 0 w 2986"/>
              <a:gd name="T27" fmla="*/ 315 h 386"/>
              <a:gd name="T28" fmla="*/ 2932 w 2986"/>
              <a:gd name="T29" fmla="*/ 248 h 386"/>
              <a:gd name="T30" fmla="*/ 2872 w 2986"/>
              <a:gd name="T31" fmla="*/ 117 h 386"/>
              <a:gd name="T32" fmla="*/ 2743 w 2986"/>
              <a:gd name="T33" fmla="*/ 159 h 386"/>
              <a:gd name="T34" fmla="*/ 2597 w 2986"/>
              <a:gd name="T35" fmla="*/ 231 h 386"/>
              <a:gd name="T36" fmla="*/ 2516 w 2986"/>
              <a:gd name="T37" fmla="*/ 234 h 386"/>
              <a:gd name="T38" fmla="*/ 2492 w 2986"/>
              <a:gd name="T39" fmla="*/ 208 h 386"/>
              <a:gd name="T40" fmla="*/ 2461 w 2986"/>
              <a:gd name="T41" fmla="*/ 170 h 386"/>
              <a:gd name="T42" fmla="*/ 27 w 2986"/>
              <a:gd name="T43" fmla="*/ 300 h 386"/>
              <a:gd name="T44" fmla="*/ 81 w 2986"/>
              <a:gd name="T45" fmla="*/ 263 h 386"/>
              <a:gd name="T46" fmla="*/ 104 w 2986"/>
              <a:gd name="T47" fmla="*/ 281 h 386"/>
              <a:gd name="T48" fmla="*/ 118 w 2986"/>
              <a:gd name="T49" fmla="*/ 261 h 386"/>
              <a:gd name="T50" fmla="*/ 137 w 2986"/>
              <a:gd name="T51" fmla="*/ 212 h 386"/>
              <a:gd name="T52" fmla="*/ 149 w 2986"/>
              <a:gd name="T53" fmla="*/ 185 h 386"/>
              <a:gd name="T54" fmla="*/ 186 w 2986"/>
              <a:gd name="T55" fmla="*/ 271 h 386"/>
              <a:gd name="T56" fmla="*/ 204 w 2986"/>
              <a:gd name="T57" fmla="*/ 217 h 386"/>
              <a:gd name="T58" fmla="*/ 389 w 2986"/>
              <a:gd name="T59" fmla="*/ 117 h 386"/>
              <a:gd name="T60" fmla="*/ 441 w 2986"/>
              <a:gd name="T61" fmla="*/ 40 h 386"/>
              <a:gd name="T62" fmla="*/ 507 w 2986"/>
              <a:gd name="T63" fmla="*/ 111 h 386"/>
              <a:gd name="T64" fmla="*/ 492 w 2986"/>
              <a:gd name="T65" fmla="*/ 205 h 386"/>
              <a:gd name="T66" fmla="*/ 457 w 2986"/>
              <a:gd name="T67" fmla="*/ 194 h 386"/>
              <a:gd name="T68" fmla="*/ 517 w 2986"/>
              <a:gd name="T69" fmla="*/ 47 h 386"/>
              <a:gd name="T70" fmla="*/ 602 w 2986"/>
              <a:gd name="T71" fmla="*/ 263 h 386"/>
              <a:gd name="T72" fmla="*/ 699 w 2986"/>
              <a:gd name="T73" fmla="*/ 107 h 386"/>
              <a:gd name="T74" fmla="*/ 831 w 2986"/>
              <a:gd name="T75" fmla="*/ 146 h 386"/>
              <a:gd name="T76" fmla="*/ 956 w 2986"/>
              <a:gd name="T77" fmla="*/ 99 h 386"/>
              <a:gd name="T78" fmla="*/ 1068 w 2986"/>
              <a:gd name="T79" fmla="*/ 198 h 386"/>
              <a:gd name="T80" fmla="*/ 1215 w 2986"/>
              <a:gd name="T81" fmla="*/ 75 h 386"/>
              <a:gd name="T82" fmla="*/ 1215 w 2986"/>
              <a:gd name="T83" fmla="*/ 154 h 386"/>
              <a:gd name="T84" fmla="*/ 1144 w 2986"/>
              <a:gd name="T85" fmla="*/ 230 h 386"/>
              <a:gd name="T86" fmla="*/ 1181 w 2986"/>
              <a:gd name="T87" fmla="*/ 247 h 386"/>
              <a:gd name="T88" fmla="*/ 1262 w 2986"/>
              <a:gd name="T89" fmla="*/ 251 h 386"/>
              <a:gd name="T90" fmla="*/ 1303 w 2986"/>
              <a:gd name="T91" fmla="*/ 216 h 386"/>
              <a:gd name="T92" fmla="*/ 1326 w 2986"/>
              <a:gd name="T93" fmla="*/ 226 h 386"/>
              <a:gd name="T94" fmla="*/ 1346 w 2986"/>
              <a:gd name="T95" fmla="*/ 190 h 386"/>
              <a:gd name="T96" fmla="*/ 1365 w 2986"/>
              <a:gd name="T97" fmla="*/ 299 h 386"/>
              <a:gd name="T98" fmla="*/ 1384 w 2986"/>
              <a:gd name="T99" fmla="*/ 243 h 386"/>
              <a:gd name="T100" fmla="*/ 1408 w 2986"/>
              <a:gd name="T101" fmla="*/ 244 h 386"/>
              <a:gd name="T102" fmla="*/ 1489 w 2986"/>
              <a:gd name="T103" fmla="*/ 242 h 386"/>
              <a:gd name="T104" fmla="*/ 1615 w 2986"/>
              <a:gd name="T105" fmla="*/ 263 h 386"/>
              <a:gd name="T106" fmla="*/ 1781 w 2986"/>
              <a:gd name="T107" fmla="*/ 290 h 386"/>
              <a:gd name="T108" fmla="*/ 1836 w 2986"/>
              <a:gd name="T109" fmla="*/ 263 h 386"/>
              <a:gd name="T110" fmla="*/ 1929 w 2986"/>
              <a:gd name="T111" fmla="*/ 176 h 386"/>
              <a:gd name="T112" fmla="*/ 2065 w 2986"/>
              <a:gd name="T113" fmla="*/ 52 h 386"/>
              <a:gd name="T114" fmla="*/ 2160 w 2986"/>
              <a:gd name="T115" fmla="*/ 99 h 386"/>
              <a:gd name="T116" fmla="*/ 2304 w 2986"/>
              <a:gd name="T117" fmla="*/ 167 h 386"/>
              <a:gd name="T118" fmla="*/ 2364 w 2986"/>
              <a:gd name="T119" fmla="*/ 32 h 386"/>
              <a:gd name="T120" fmla="*/ 2437 w 2986"/>
              <a:gd name="T121" fmla="*/ 125 h 386"/>
              <a:gd name="T122" fmla="*/ 2345 w 2986"/>
              <a:gd name="T123" fmla="*/ 252 h 386"/>
              <a:gd name="T124" fmla="*/ 2391 w 2986"/>
              <a:gd name="T125" fmla="*/ 295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86" h="386">
                <a:moveTo>
                  <a:pt x="2986" y="386"/>
                </a:moveTo>
                <a:cubicBezTo>
                  <a:pt x="2986" y="10"/>
                  <a:pt x="2986" y="10"/>
                  <a:pt x="2986" y="10"/>
                </a:cubicBezTo>
                <a:cubicBezTo>
                  <a:pt x="2971" y="10"/>
                  <a:pt x="2971" y="10"/>
                  <a:pt x="2971" y="10"/>
                </a:cubicBezTo>
                <a:cubicBezTo>
                  <a:pt x="2971" y="236"/>
                  <a:pt x="2971" y="236"/>
                  <a:pt x="2971" y="236"/>
                </a:cubicBezTo>
                <a:cubicBezTo>
                  <a:pt x="2957" y="236"/>
                  <a:pt x="2957" y="236"/>
                  <a:pt x="2957" y="236"/>
                </a:cubicBezTo>
                <a:cubicBezTo>
                  <a:pt x="2957" y="44"/>
                  <a:pt x="2957" y="44"/>
                  <a:pt x="2957" y="44"/>
                </a:cubicBezTo>
                <a:cubicBezTo>
                  <a:pt x="2917" y="44"/>
                  <a:pt x="2917" y="44"/>
                  <a:pt x="2917" y="44"/>
                </a:cubicBezTo>
                <a:cubicBezTo>
                  <a:pt x="2917" y="105"/>
                  <a:pt x="2917" y="105"/>
                  <a:pt x="2917" y="105"/>
                </a:cubicBezTo>
                <a:cubicBezTo>
                  <a:pt x="2872" y="105"/>
                  <a:pt x="2872" y="105"/>
                  <a:pt x="2872" y="105"/>
                </a:cubicBezTo>
                <a:cubicBezTo>
                  <a:pt x="2872" y="47"/>
                  <a:pt x="2872" y="47"/>
                  <a:pt x="2872" y="47"/>
                </a:cubicBezTo>
                <a:cubicBezTo>
                  <a:pt x="2876" y="47"/>
                  <a:pt x="2876" y="47"/>
                  <a:pt x="2876" y="47"/>
                </a:cubicBezTo>
                <a:cubicBezTo>
                  <a:pt x="2879" y="47"/>
                  <a:pt x="2882" y="44"/>
                  <a:pt x="2882" y="39"/>
                </a:cubicBezTo>
                <a:cubicBezTo>
                  <a:pt x="2882" y="34"/>
                  <a:pt x="2882" y="34"/>
                  <a:pt x="2882" y="34"/>
                </a:cubicBezTo>
                <a:cubicBezTo>
                  <a:pt x="2882" y="29"/>
                  <a:pt x="2879" y="26"/>
                  <a:pt x="2876" y="26"/>
                </a:cubicBezTo>
                <a:cubicBezTo>
                  <a:pt x="2871" y="26"/>
                  <a:pt x="2871" y="26"/>
                  <a:pt x="2871" y="26"/>
                </a:cubicBezTo>
                <a:cubicBezTo>
                  <a:pt x="2871" y="17"/>
                  <a:pt x="2866" y="10"/>
                  <a:pt x="2859" y="10"/>
                </a:cubicBezTo>
                <a:cubicBezTo>
                  <a:pt x="2852" y="10"/>
                  <a:pt x="2847" y="17"/>
                  <a:pt x="2847" y="26"/>
                </a:cubicBezTo>
                <a:cubicBezTo>
                  <a:pt x="2843" y="26"/>
                  <a:pt x="2843" y="26"/>
                  <a:pt x="2843" y="26"/>
                </a:cubicBezTo>
                <a:cubicBezTo>
                  <a:pt x="2839" y="26"/>
                  <a:pt x="2836" y="29"/>
                  <a:pt x="2836" y="34"/>
                </a:cubicBezTo>
                <a:cubicBezTo>
                  <a:pt x="2836" y="39"/>
                  <a:pt x="2836" y="39"/>
                  <a:pt x="2836" y="39"/>
                </a:cubicBezTo>
                <a:cubicBezTo>
                  <a:pt x="2836" y="44"/>
                  <a:pt x="2839" y="47"/>
                  <a:pt x="2843" y="47"/>
                </a:cubicBezTo>
                <a:cubicBezTo>
                  <a:pt x="2847" y="47"/>
                  <a:pt x="2847" y="47"/>
                  <a:pt x="2847" y="47"/>
                </a:cubicBezTo>
                <a:cubicBezTo>
                  <a:pt x="2847" y="236"/>
                  <a:pt x="2847" y="236"/>
                  <a:pt x="2847" y="236"/>
                </a:cubicBezTo>
                <a:cubicBezTo>
                  <a:pt x="2810" y="236"/>
                  <a:pt x="2810" y="236"/>
                  <a:pt x="2810" y="236"/>
                </a:cubicBezTo>
                <a:cubicBezTo>
                  <a:pt x="2810" y="166"/>
                  <a:pt x="2810" y="166"/>
                  <a:pt x="2810" y="166"/>
                </a:cubicBezTo>
                <a:cubicBezTo>
                  <a:pt x="2787" y="166"/>
                  <a:pt x="2787" y="166"/>
                  <a:pt x="2787" y="166"/>
                </a:cubicBezTo>
                <a:cubicBezTo>
                  <a:pt x="2787" y="303"/>
                  <a:pt x="2787" y="303"/>
                  <a:pt x="2787" y="303"/>
                </a:cubicBezTo>
                <a:cubicBezTo>
                  <a:pt x="2768" y="303"/>
                  <a:pt x="2768" y="303"/>
                  <a:pt x="2768" y="303"/>
                </a:cubicBezTo>
                <a:cubicBezTo>
                  <a:pt x="2768" y="82"/>
                  <a:pt x="2768" y="82"/>
                  <a:pt x="2768" y="82"/>
                </a:cubicBezTo>
                <a:cubicBezTo>
                  <a:pt x="2701" y="82"/>
                  <a:pt x="2701" y="82"/>
                  <a:pt x="2701" y="82"/>
                </a:cubicBezTo>
                <a:cubicBezTo>
                  <a:pt x="2701" y="254"/>
                  <a:pt x="2701" y="254"/>
                  <a:pt x="2701" y="254"/>
                </a:cubicBezTo>
                <a:cubicBezTo>
                  <a:pt x="2690" y="254"/>
                  <a:pt x="2690" y="254"/>
                  <a:pt x="2690" y="254"/>
                </a:cubicBezTo>
                <a:cubicBezTo>
                  <a:pt x="2690" y="303"/>
                  <a:pt x="2690" y="303"/>
                  <a:pt x="2690" y="303"/>
                </a:cubicBezTo>
                <a:cubicBezTo>
                  <a:pt x="2675" y="303"/>
                  <a:pt x="2675" y="303"/>
                  <a:pt x="2675" y="303"/>
                </a:cubicBezTo>
                <a:cubicBezTo>
                  <a:pt x="2675" y="176"/>
                  <a:pt x="2675" y="176"/>
                  <a:pt x="2675" y="176"/>
                </a:cubicBezTo>
                <a:cubicBezTo>
                  <a:pt x="2683" y="176"/>
                  <a:pt x="2683" y="176"/>
                  <a:pt x="2683" y="176"/>
                </a:cubicBezTo>
                <a:cubicBezTo>
                  <a:pt x="2683" y="162"/>
                  <a:pt x="2683" y="162"/>
                  <a:pt x="2683" y="162"/>
                </a:cubicBezTo>
                <a:cubicBezTo>
                  <a:pt x="2675" y="162"/>
                  <a:pt x="2675" y="162"/>
                  <a:pt x="2675" y="162"/>
                </a:cubicBezTo>
                <a:cubicBezTo>
                  <a:pt x="2675" y="151"/>
                  <a:pt x="2675" y="151"/>
                  <a:pt x="2675" y="151"/>
                </a:cubicBezTo>
                <a:cubicBezTo>
                  <a:pt x="2668" y="151"/>
                  <a:pt x="2668" y="151"/>
                  <a:pt x="2668" y="151"/>
                </a:cubicBezTo>
                <a:cubicBezTo>
                  <a:pt x="2668" y="131"/>
                  <a:pt x="2668" y="131"/>
                  <a:pt x="2668" y="131"/>
                </a:cubicBezTo>
                <a:cubicBezTo>
                  <a:pt x="2645" y="131"/>
                  <a:pt x="2645" y="131"/>
                  <a:pt x="2645" y="131"/>
                </a:cubicBezTo>
                <a:cubicBezTo>
                  <a:pt x="2645" y="151"/>
                  <a:pt x="2645" y="151"/>
                  <a:pt x="2645" y="151"/>
                </a:cubicBezTo>
                <a:cubicBezTo>
                  <a:pt x="2638" y="151"/>
                  <a:pt x="2638" y="151"/>
                  <a:pt x="2638" y="151"/>
                </a:cubicBezTo>
                <a:cubicBezTo>
                  <a:pt x="2638" y="162"/>
                  <a:pt x="2638" y="162"/>
                  <a:pt x="2638" y="162"/>
                </a:cubicBezTo>
                <a:cubicBezTo>
                  <a:pt x="2630" y="162"/>
                  <a:pt x="2630" y="162"/>
                  <a:pt x="2630" y="162"/>
                </a:cubicBezTo>
                <a:cubicBezTo>
                  <a:pt x="2630" y="176"/>
                  <a:pt x="2630" y="176"/>
                  <a:pt x="2630" y="176"/>
                </a:cubicBezTo>
                <a:cubicBezTo>
                  <a:pt x="2638" y="176"/>
                  <a:pt x="2638" y="176"/>
                  <a:pt x="2638" y="176"/>
                </a:cubicBezTo>
                <a:cubicBezTo>
                  <a:pt x="2638" y="303"/>
                  <a:pt x="2638" y="303"/>
                  <a:pt x="2638" y="303"/>
                </a:cubicBezTo>
                <a:cubicBezTo>
                  <a:pt x="2617" y="303"/>
                  <a:pt x="2617" y="303"/>
                  <a:pt x="2617" y="303"/>
                </a:cubicBezTo>
                <a:cubicBezTo>
                  <a:pt x="2617" y="131"/>
                  <a:pt x="2617" y="131"/>
                  <a:pt x="2617" y="131"/>
                </a:cubicBezTo>
                <a:cubicBezTo>
                  <a:pt x="2608" y="131"/>
                  <a:pt x="2608" y="131"/>
                  <a:pt x="2608" y="131"/>
                </a:cubicBezTo>
                <a:cubicBezTo>
                  <a:pt x="2611" y="117"/>
                  <a:pt x="2611" y="117"/>
                  <a:pt x="2611" y="117"/>
                </a:cubicBezTo>
                <a:cubicBezTo>
                  <a:pt x="2572" y="117"/>
                  <a:pt x="2572" y="117"/>
                  <a:pt x="2572" y="117"/>
                </a:cubicBezTo>
                <a:cubicBezTo>
                  <a:pt x="2572" y="131"/>
                  <a:pt x="2572" y="131"/>
                  <a:pt x="2572" y="131"/>
                </a:cubicBezTo>
                <a:cubicBezTo>
                  <a:pt x="2566" y="131"/>
                  <a:pt x="2566" y="131"/>
                  <a:pt x="2566" y="131"/>
                </a:cubicBezTo>
                <a:cubicBezTo>
                  <a:pt x="2566" y="303"/>
                  <a:pt x="2566" y="303"/>
                  <a:pt x="2566" y="303"/>
                </a:cubicBezTo>
                <a:cubicBezTo>
                  <a:pt x="2562" y="303"/>
                  <a:pt x="2562" y="303"/>
                  <a:pt x="2562" y="303"/>
                </a:cubicBezTo>
                <a:cubicBezTo>
                  <a:pt x="2562" y="160"/>
                  <a:pt x="2562" y="160"/>
                  <a:pt x="2562" y="160"/>
                </a:cubicBezTo>
                <a:cubicBezTo>
                  <a:pt x="2549" y="160"/>
                  <a:pt x="2549" y="160"/>
                  <a:pt x="2549" y="160"/>
                </a:cubicBezTo>
                <a:cubicBezTo>
                  <a:pt x="2549" y="303"/>
                  <a:pt x="2549" y="303"/>
                  <a:pt x="2549" y="303"/>
                </a:cubicBezTo>
                <a:cubicBezTo>
                  <a:pt x="2538" y="303"/>
                  <a:pt x="2538" y="303"/>
                  <a:pt x="2538" y="303"/>
                </a:cubicBezTo>
                <a:cubicBezTo>
                  <a:pt x="2538" y="200"/>
                  <a:pt x="2538" y="200"/>
                  <a:pt x="2538" y="200"/>
                </a:cubicBezTo>
                <a:cubicBezTo>
                  <a:pt x="2513" y="200"/>
                  <a:pt x="2513" y="200"/>
                  <a:pt x="2513" y="200"/>
                </a:cubicBezTo>
                <a:cubicBezTo>
                  <a:pt x="2513" y="303"/>
                  <a:pt x="2513" y="303"/>
                  <a:pt x="2513" y="303"/>
                </a:cubicBezTo>
                <a:cubicBezTo>
                  <a:pt x="2503" y="303"/>
                  <a:pt x="2503" y="303"/>
                  <a:pt x="2503" y="303"/>
                </a:cubicBezTo>
                <a:cubicBezTo>
                  <a:pt x="2503" y="178"/>
                  <a:pt x="2503" y="178"/>
                  <a:pt x="2503" y="178"/>
                </a:cubicBezTo>
                <a:cubicBezTo>
                  <a:pt x="2486" y="178"/>
                  <a:pt x="2486" y="178"/>
                  <a:pt x="2486" y="178"/>
                </a:cubicBezTo>
                <a:cubicBezTo>
                  <a:pt x="2486" y="145"/>
                  <a:pt x="2486" y="145"/>
                  <a:pt x="2486" y="145"/>
                </a:cubicBezTo>
                <a:cubicBezTo>
                  <a:pt x="2444" y="145"/>
                  <a:pt x="2444" y="145"/>
                  <a:pt x="2444" y="145"/>
                </a:cubicBezTo>
                <a:cubicBezTo>
                  <a:pt x="2444" y="0"/>
                  <a:pt x="2444" y="0"/>
                  <a:pt x="2444" y="0"/>
                </a:cubicBezTo>
                <a:cubicBezTo>
                  <a:pt x="2358" y="13"/>
                  <a:pt x="2358" y="13"/>
                  <a:pt x="2358" y="13"/>
                </a:cubicBezTo>
                <a:cubicBezTo>
                  <a:pt x="2358" y="211"/>
                  <a:pt x="2358" y="211"/>
                  <a:pt x="2358" y="211"/>
                </a:cubicBezTo>
                <a:cubicBezTo>
                  <a:pt x="2356" y="211"/>
                  <a:pt x="2356" y="211"/>
                  <a:pt x="2356" y="211"/>
                </a:cubicBezTo>
                <a:cubicBezTo>
                  <a:pt x="2356" y="84"/>
                  <a:pt x="2356" y="84"/>
                  <a:pt x="2356" y="84"/>
                </a:cubicBezTo>
                <a:cubicBezTo>
                  <a:pt x="2333" y="84"/>
                  <a:pt x="2333" y="84"/>
                  <a:pt x="2333" y="84"/>
                </a:cubicBezTo>
                <a:cubicBezTo>
                  <a:pt x="2333" y="134"/>
                  <a:pt x="2333" y="134"/>
                  <a:pt x="2333" y="134"/>
                </a:cubicBezTo>
                <a:cubicBezTo>
                  <a:pt x="2293" y="134"/>
                  <a:pt x="2293" y="134"/>
                  <a:pt x="2293" y="134"/>
                </a:cubicBezTo>
                <a:cubicBezTo>
                  <a:pt x="2293" y="168"/>
                  <a:pt x="2293" y="168"/>
                  <a:pt x="2293" y="168"/>
                </a:cubicBezTo>
                <a:cubicBezTo>
                  <a:pt x="2279" y="168"/>
                  <a:pt x="2279" y="168"/>
                  <a:pt x="2279" y="168"/>
                </a:cubicBezTo>
                <a:cubicBezTo>
                  <a:pt x="2279" y="85"/>
                  <a:pt x="2279" y="85"/>
                  <a:pt x="2279" y="85"/>
                </a:cubicBezTo>
                <a:cubicBezTo>
                  <a:pt x="2266" y="85"/>
                  <a:pt x="2266" y="85"/>
                  <a:pt x="2266" y="85"/>
                </a:cubicBezTo>
                <a:cubicBezTo>
                  <a:pt x="2266" y="142"/>
                  <a:pt x="2266" y="142"/>
                  <a:pt x="2266" y="142"/>
                </a:cubicBezTo>
                <a:cubicBezTo>
                  <a:pt x="2255" y="142"/>
                  <a:pt x="2255" y="142"/>
                  <a:pt x="2255" y="142"/>
                </a:cubicBezTo>
                <a:cubicBezTo>
                  <a:pt x="2255" y="111"/>
                  <a:pt x="2255" y="111"/>
                  <a:pt x="2255" y="111"/>
                </a:cubicBezTo>
                <a:cubicBezTo>
                  <a:pt x="2236" y="111"/>
                  <a:pt x="2236" y="111"/>
                  <a:pt x="2236" y="111"/>
                </a:cubicBezTo>
                <a:cubicBezTo>
                  <a:pt x="2236" y="123"/>
                  <a:pt x="2236" y="123"/>
                  <a:pt x="2236" y="123"/>
                </a:cubicBezTo>
                <a:cubicBezTo>
                  <a:pt x="2238" y="123"/>
                  <a:pt x="2238" y="123"/>
                  <a:pt x="2238" y="123"/>
                </a:cubicBezTo>
                <a:cubicBezTo>
                  <a:pt x="2238" y="131"/>
                  <a:pt x="2238" y="131"/>
                  <a:pt x="2238" y="131"/>
                </a:cubicBezTo>
                <a:cubicBezTo>
                  <a:pt x="2236" y="131"/>
                  <a:pt x="2236" y="131"/>
                  <a:pt x="2236" y="131"/>
                </a:cubicBezTo>
                <a:cubicBezTo>
                  <a:pt x="2236" y="159"/>
                  <a:pt x="2236" y="159"/>
                  <a:pt x="2236" y="159"/>
                </a:cubicBezTo>
                <a:cubicBezTo>
                  <a:pt x="2238" y="159"/>
                  <a:pt x="2238" y="159"/>
                  <a:pt x="2238" y="159"/>
                </a:cubicBezTo>
                <a:cubicBezTo>
                  <a:pt x="2238" y="167"/>
                  <a:pt x="2238" y="167"/>
                  <a:pt x="2238" y="167"/>
                </a:cubicBezTo>
                <a:cubicBezTo>
                  <a:pt x="2236" y="167"/>
                  <a:pt x="2236" y="167"/>
                  <a:pt x="2236" y="167"/>
                </a:cubicBezTo>
                <a:cubicBezTo>
                  <a:pt x="2236" y="168"/>
                  <a:pt x="2236" y="168"/>
                  <a:pt x="2236" y="168"/>
                </a:cubicBezTo>
                <a:cubicBezTo>
                  <a:pt x="2221" y="168"/>
                  <a:pt x="2221" y="168"/>
                  <a:pt x="2221" y="168"/>
                </a:cubicBezTo>
                <a:cubicBezTo>
                  <a:pt x="2221" y="228"/>
                  <a:pt x="2221" y="228"/>
                  <a:pt x="2221" y="228"/>
                </a:cubicBezTo>
                <a:cubicBezTo>
                  <a:pt x="2214" y="228"/>
                  <a:pt x="2214" y="228"/>
                  <a:pt x="2214" y="228"/>
                </a:cubicBezTo>
                <a:cubicBezTo>
                  <a:pt x="2214" y="155"/>
                  <a:pt x="2214" y="155"/>
                  <a:pt x="2214" y="155"/>
                </a:cubicBezTo>
                <a:cubicBezTo>
                  <a:pt x="2200" y="155"/>
                  <a:pt x="2200" y="155"/>
                  <a:pt x="2200" y="155"/>
                </a:cubicBezTo>
                <a:cubicBezTo>
                  <a:pt x="2200" y="67"/>
                  <a:pt x="2200" y="67"/>
                  <a:pt x="2200" y="67"/>
                </a:cubicBezTo>
                <a:cubicBezTo>
                  <a:pt x="2139" y="67"/>
                  <a:pt x="2139" y="67"/>
                  <a:pt x="2139" y="67"/>
                </a:cubicBezTo>
                <a:cubicBezTo>
                  <a:pt x="2139" y="123"/>
                  <a:pt x="2139" y="123"/>
                  <a:pt x="2139" y="123"/>
                </a:cubicBezTo>
                <a:cubicBezTo>
                  <a:pt x="2121" y="123"/>
                  <a:pt x="2121" y="123"/>
                  <a:pt x="2121" y="123"/>
                </a:cubicBezTo>
                <a:cubicBezTo>
                  <a:pt x="2121" y="3"/>
                  <a:pt x="2121" y="3"/>
                  <a:pt x="2121" y="3"/>
                </a:cubicBezTo>
                <a:cubicBezTo>
                  <a:pt x="2103" y="3"/>
                  <a:pt x="2103" y="3"/>
                  <a:pt x="2103" y="3"/>
                </a:cubicBezTo>
                <a:cubicBezTo>
                  <a:pt x="2103" y="92"/>
                  <a:pt x="2103" y="92"/>
                  <a:pt x="2103" y="92"/>
                </a:cubicBezTo>
                <a:cubicBezTo>
                  <a:pt x="2093" y="92"/>
                  <a:pt x="2093" y="92"/>
                  <a:pt x="2093" y="92"/>
                </a:cubicBezTo>
                <a:cubicBezTo>
                  <a:pt x="2093" y="142"/>
                  <a:pt x="2093" y="142"/>
                  <a:pt x="2093" y="142"/>
                </a:cubicBezTo>
                <a:cubicBezTo>
                  <a:pt x="2088" y="142"/>
                  <a:pt x="2088" y="142"/>
                  <a:pt x="2088" y="142"/>
                </a:cubicBezTo>
                <a:cubicBezTo>
                  <a:pt x="2088" y="36"/>
                  <a:pt x="2088" y="36"/>
                  <a:pt x="2088" y="36"/>
                </a:cubicBezTo>
                <a:cubicBezTo>
                  <a:pt x="2048" y="36"/>
                  <a:pt x="2048" y="36"/>
                  <a:pt x="2048" y="36"/>
                </a:cubicBezTo>
                <a:cubicBezTo>
                  <a:pt x="2048" y="98"/>
                  <a:pt x="2048" y="98"/>
                  <a:pt x="2048" y="98"/>
                </a:cubicBezTo>
                <a:cubicBezTo>
                  <a:pt x="2045" y="98"/>
                  <a:pt x="2045" y="98"/>
                  <a:pt x="2045" y="98"/>
                </a:cubicBezTo>
                <a:cubicBezTo>
                  <a:pt x="2045" y="110"/>
                  <a:pt x="2045" y="110"/>
                  <a:pt x="2045" y="110"/>
                </a:cubicBezTo>
                <a:cubicBezTo>
                  <a:pt x="2048" y="110"/>
                  <a:pt x="2048" y="110"/>
                  <a:pt x="2048" y="110"/>
                </a:cubicBezTo>
                <a:cubicBezTo>
                  <a:pt x="2048" y="176"/>
                  <a:pt x="2048" y="176"/>
                  <a:pt x="2048" y="176"/>
                </a:cubicBezTo>
                <a:cubicBezTo>
                  <a:pt x="2039" y="176"/>
                  <a:pt x="2039" y="176"/>
                  <a:pt x="2039" y="176"/>
                </a:cubicBezTo>
                <a:cubicBezTo>
                  <a:pt x="2039" y="93"/>
                  <a:pt x="2039" y="93"/>
                  <a:pt x="2039" y="93"/>
                </a:cubicBezTo>
                <a:cubicBezTo>
                  <a:pt x="2026" y="93"/>
                  <a:pt x="2026" y="93"/>
                  <a:pt x="2026" y="93"/>
                </a:cubicBezTo>
                <a:cubicBezTo>
                  <a:pt x="2026" y="150"/>
                  <a:pt x="2026" y="150"/>
                  <a:pt x="2026" y="150"/>
                </a:cubicBezTo>
                <a:cubicBezTo>
                  <a:pt x="2015" y="150"/>
                  <a:pt x="2015" y="150"/>
                  <a:pt x="2015" y="150"/>
                </a:cubicBezTo>
                <a:cubicBezTo>
                  <a:pt x="2015" y="118"/>
                  <a:pt x="2015" y="118"/>
                  <a:pt x="2015" y="118"/>
                </a:cubicBezTo>
                <a:cubicBezTo>
                  <a:pt x="1996" y="118"/>
                  <a:pt x="1996" y="118"/>
                  <a:pt x="1996" y="118"/>
                </a:cubicBezTo>
                <a:cubicBezTo>
                  <a:pt x="1996" y="131"/>
                  <a:pt x="1996" y="131"/>
                  <a:pt x="1996" y="131"/>
                </a:cubicBezTo>
                <a:cubicBezTo>
                  <a:pt x="1998" y="131"/>
                  <a:pt x="1998" y="131"/>
                  <a:pt x="1998" y="131"/>
                </a:cubicBezTo>
                <a:cubicBezTo>
                  <a:pt x="1998" y="139"/>
                  <a:pt x="1998" y="139"/>
                  <a:pt x="1998" y="139"/>
                </a:cubicBezTo>
                <a:cubicBezTo>
                  <a:pt x="1996" y="139"/>
                  <a:pt x="1996" y="139"/>
                  <a:pt x="1996" y="139"/>
                </a:cubicBezTo>
                <a:cubicBezTo>
                  <a:pt x="1996" y="166"/>
                  <a:pt x="1996" y="166"/>
                  <a:pt x="1996" y="166"/>
                </a:cubicBezTo>
                <a:cubicBezTo>
                  <a:pt x="1998" y="166"/>
                  <a:pt x="1998" y="166"/>
                  <a:pt x="1998" y="166"/>
                </a:cubicBezTo>
                <a:cubicBezTo>
                  <a:pt x="1998" y="175"/>
                  <a:pt x="1998" y="175"/>
                  <a:pt x="1998" y="175"/>
                </a:cubicBezTo>
                <a:cubicBezTo>
                  <a:pt x="1996" y="175"/>
                  <a:pt x="1996" y="175"/>
                  <a:pt x="1996" y="175"/>
                </a:cubicBezTo>
                <a:cubicBezTo>
                  <a:pt x="1996" y="176"/>
                  <a:pt x="1996" y="176"/>
                  <a:pt x="1996" y="176"/>
                </a:cubicBezTo>
                <a:cubicBezTo>
                  <a:pt x="1981" y="176"/>
                  <a:pt x="1981" y="176"/>
                  <a:pt x="1981" y="176"/>
                </a:cubicBezTo>
                <a:cubicBezTo>
                  <a:pt x="1981" y="236"/>
                  <a:pt x="1981" y="236"/>
                  <a:pt x="1981" y="236"/>
                </a:cubicBezTo>
                <a:cubicBezTo>
                  <a:pt x="1961" y="236"/>
                  <a:pt x="1961" y="236"/>
                  <a:pt x="1961" y="236"/>
                </a:cubicBezTo>
                <a:cubicBezTo>
                  <a:pt x="1961" y="75"/>
                  <a:pt x="1961" y="75"/>
                  <a:pt x="1961" y="75"/>
                </a:cubicBezTo>
                <a:cubicBezTo>
                  <a:pt x="1900" y="75"/>
                  <a:pt x="1900" y="75"/>
                  <a:pt x="1900" y="75"/>
                </a:cubicBezTo>
                <a:cubicBezTo>
                  <a:pt x="1900" y="131"/>
                  <a:pt x="1900" y="131"/>
                  <a:pt x="1900" y="131"/>
                </a:cubicBezTo>
                <a:cubicBezTo>
                  <a:pt x="1881" y="131"/>
                  <a:pt x="1881" y="131"/>
                  <a:pt x="1881" y="131"/>
                </a:cubicBezTo>
                <a:cubicBezTo>
                  <a:pt x="1881" y="10"/>
                  <a:pt x="1881" y="10"/>
                  <a:pt x="1881" y="10"/>
                </a:cubicBezTo>
                <a:cubicBezTo>
                  <a:pt x="1863" y="10"/>
                  <a:pt x="1863" y="10"/>
                  <a:pt x="1863" y="10"/>
                </a:cubicBezTo>
                <a:cubicBezTo>
                  <a:pt x="1863" y="236"/>
                  <a:pt x="1863" y="236"/>
                  <a:pt x="1863" y="236"/>
                </a:cubicBezTo>
                <a:cubicBezTo>
                  <a:pt x="1849" y="236"/>
                  <a:pt x="1849" y="236"/>
                  <a:pt x="1849" y="236"/>
                </a:cubicBezTo>
                <a:cubicBezTo>
                  <a:pt x="1849" y="44"/>
                  <a:pt x="1849" y="44"/>
                  <a:pt x="1849" y="44"/>
                </a:cubicBezTo>
                <a:cubicBezTo>
                  <a:pt x="1809" y="44"/>
                  <a:pt x="1809" y="44"/>
                  <a:pt x="1809" y="44"/>
                </a:cubicBezTo>
                <a:cubicBezTo>
                  <a:pt x="1809" y="105"/>
                  <a:pt x="1809" y="105"/>
                  <a:pt x="1809" y="105"/>
                </a:cubicBezTo>
                <a:cubicBezTo>
                  <a:pt x="1764" y="105"/>
                  <a:pt x="1764" y="105"/>
                  <a:pt x="1764" y="105"/>
                </a:cubicBezTo>
                <a:cubicBezTo>
                  <a:pt x="1764" y="47"/>
                  <a:pt x="1764" y="47"/>
                  <a:pt x="1764" y="47"/>
                </a:cubicBezTo>
                <a:cubicBezTo>
                  <a:pt x="1767" y="47"/>
                  <a:pt x="1767" y="47"/>
                  <a:pt x="1767" y="47"/>
                </a:cubicBezTo>
                <a:cubicBezTo>
                  <a:pt x="1771" y="47"/>
                  <a:pt x="1774" y="44"/>
                  <a:pt x="1774" y="39"/>
                </a:cubicBezTo>
                <a:cubicBezTo>
                  <a:pt x="1774" y="34"/>
                  <a:pt x="1774" y="34"/>
                  <a:pt x="1774" y="34"/>
                </a:cubicBezTo>
                <a:cubicBezTo>
                  <a:pt x="1774" y="29"/>
                  <a:pt x="1771" y="26"/>
                  <a:pt x="1767" y="26"/>
                </a:cubicBezTo>
                <a:cubicBezTo>
                  <a:pt x="1763" y="26"/>
                  <a:pt x="1763" y="26"/>
                  <a:pt x="1763" y="26"/>
                </a:cubicBezTo>
                <a:cubicBezTo>
                  <a:pt x="1763" y="17"/>
                  <a:pt x="1758" y="10"/>
                  <a:pt x="1751" y="10"/>
                </a:cubicBezTo>
                <a:cubicBezTo>
                  <a:pt x="1744" y="10"/>
                  <a:pt x="1739" y="17"/>
                  <a:pt x="1739" y="26"/>
                </a:cubicBezTo>
                <a:cubicBezTo>
                  <a:pt x="1735" y="26"/>
                  <a:pt x="1735" y="26"/>
                  <a:pt x="1735" y="26"/>
                </a:cubicBezTo>
                <a:cubicBezTo>
                  <a:pt x="1731" y="26"/>
                  <a:pt x="1728" y="29"/>
                  <a:pt x="1728" y="34"/>
                </a:cubicBezTo>
                <a:cubicBezTo>
                  <a:pt x="1728" y="39"/>
                  <a:pt x="1728" y="39"/>
                  <a:pt x="1728" y="39"/>
                </a:cubicBezTo>
                <a:cubicBezTo>
                  <a:pt x="1728" y="44"/>
                  <a:pt x="1731" y="47"/>
                  <a:pt x="1735" y="47"/>
                </a:cubicBezTo>
                <a:cubicBezTo>
                  <a:pt x="1739" y="47"/>
                  <a:pt x="1739" y="47"/>
                  <a:pt x="1739" y="47"/>
                </a:cubicBezTo>
                <a:cubicBezTo>
                  <a:pt x="1739" y="236"/>
                  <a:pt x="1739" y="236"/>
                  <a:pt x="1739" y="236"/>
                </a:cubicBezTo>
                <a:cubicBezTo>
                  <a:pt x="1702" y="236"/>
                  <a:pt x="1702" y="236"/>
                  <a:pt x="1702" y="236"/>
                </a:cubicBezTo>
                <a:cubicBezTo>
                  <a:pt x="1702" y="166"/>
                  <a:pt x="1702" y="166"/>
                  <a:pt x="1702" y="166"/>
                </a:cubicBezTo>
                <a:cubicBezTo>
                  <a:pt x="1679" y="166"/>
                  <a:pt x="1679" y="166"/>
                  <a:pt x="1679" y="166"/>
                </a:cubicBezTo>
                <a:cubicBezTo>
                  <a:pt x="1679" y="303"/>
                  <a:pt x="1679" y="303"/>
                  <a:pt x="1679" y="303"/>
                </a:cubicBezTo>
                <a:cubicBezTo>
                  <a:pt x="1660" y="303"/>
                  <a:pt x="1660" y="303"/>
                  <a:pt x="1660" y="303"/>
                </a:cubicBezTo>
                <a:cubicBezTo>
                  <a:pt x="1660" y="82"/>
                  <a:pt x="1660" y="82"/>
                  <a:pt x="1660" y="82"/>
                </a:cubicBezTo>
                <a:cubicBezTo>
                  <a:pt x="1593" y="82"/>
                  <a:pt x="1593" y="82"/>
                  <a:pt x="1593" y="82"/>
                </a:cubicBezTo>
                <a:cubicBezTo>
                  <a:pt x="1593" y="254"/>
                  <a:pt x="1593" y="254"/>
                  <a:pt x="1593" y="254"/>
                </a:cubicBezTo>
                <a:cubicBezTo>
                  <a:pt x="1582" y="254"/>
                  <a:pt x="1582" y="254"/>
                  <a:pt x="1582" y="254"/>
                </a:cubicBezTo>
                <a:cubicBezTo>
                  <a:pt x="1582" y="303"/>
                  <a:pt x="1582" y="303"/>
                  <a:pt x="1582" y="303"/>
                </a:cubicBezTo>
                <a:cubicBezTo>
                  <a:pt x="1567" y="303"/>
                  <a:pt x="1567" y="303"/>
                  <a:pt x="1567" y="303"/>
                </a:cubicBezTo>
                <a:cubicBezTo>
                  <a:pt x="1567" y="176"/>
                  <a:pt x="1567" y="176"/>
                  <a:pt x="1567" y="176"/>
                </a:cubicBezTo>
                <a:cubicBezTo>
                  <a:pt x="1575" y="176"/>
                  <a:pt x="1575" y="176"/>
                  <a:pt x="1575" y="176"/>
                </a:cubicBezTo>
                <a:cubicBezTo>
                  <a:pt x="1575" y="162"/>
                  <a:pt x="1575" y="162"/>
                  <a:pt x="1575" y="162"/>
                </a:cubicBezTo>
                <a:cubicBezTo>
                  <a:pt x="1567" y="162"/>
                  <a:pt x="1567" y="162"/>
                  <a:pt x="1567" y="162"/>
                </a:cubicBezTo>
                <a:cubicBezTo>
                  <a:pt x="1567" y="151"/>
                  <a:pt x="1567" y="151"/>
                  <a:pt x="1567" y="151"/>
                </a:cubicBezTo>
                <a:cubicBezTo>
                  <a:pt x="1560" y="151"/>
                  <a:pt x="1560" y="151"/>
                  <a:pt x="1560" y="151"/>
                </a:cubicBezTo>
                <a:cubicBezTo>
                  <a:pt x="1560" y="131"/>
                  <a:pt x="1560" y="131"/>
                  <a:pt x="1560" y="131"/>
                </a:cubicBezTo>
                <a:cubicBezTo>
                  <a:pt x="1537" y="131"/>
                  <a:pt x="1537" y="131"/>
                  <a:pt x="1537" y="131"/>
                </a:cubicBezTo>
                <a:cubicBezTo>
                  <a:pt x="1537" y="151"/>
                  <a:pt x="1537" y="151"/>
                  <a:pt x="1537" y="151"/>
                </a:cubicBezTo>
                <a:cubicBezTo>
                  <a:pt x="1530" y="151"/>
                  <a:pt x="1530" y="151"/>
                  <a:pt x="1530" y="151"/>
                </a:cubicBezTo>
                <a:cubicBezTo>
                  <a:pt x="1530" y="162"/>
                  <a:pt x="1530" y="162"/>
                  <a:pt x="1530" y="162"/>
                </a:cubicBezTo>
                <a:cubicBezTo>
                  <a:pt x="1522" y="162"/>
                  <a:pt x="1522" y="162"/>
                  <a:pt x="1522" y="162"/>
                </a:cubicBezTo>
                <a:cubicBezTo>
                  <a:pt x="1522" y="176"/>
                  <a:pt x="1522" y="176"/>
                  <a:pt x="1522" y="176"/>
                </a:cubicBezTo>
                <a:cubicBezTo>
                  <a:pt x="1530" y="176"/>
                  <a:pt x="1530" y="176"/>
                  <a:pt x="1530" y="176"/>
                </a:cubicBezTo>
                <a:cubicBezTo>
                  <a:pt x="1530" y="303"/>
                  <a:pt x="1530" y="303"/>
                  <a:pt x="1530" y="303"/>
                </a:cubicBezTo>
                <a:cubicBezTo>
                  <a:pt x="1509" y="303"/>
                  <a:pt x="1509" y="303"/>
                  <a:pt x="1509" y="303"/>
                </a:cubicBezTo>
                <a:cubicBezTo>
                  <a:pt x="1509" y="131"/>
                  <a:pt x="1509" y="131"/>
                  <a:pt x="1509" y="131"/>
                </a:cubicBezTo>
                <a:cubicBezTo>
                  <a:pt x="1500" y="131"/>
                  <a:pt x="1500" y="131"/>
                  <a:pt x="1500" y="131"/>
                </a:cubicBezTo>
                <a:cubicBezTo>
                  <a:pt x="1503" y="117"/>
                  <a:pt x="1503" y="117"/>
                  <a:pt x="1503" y="117"/>
                </a:cubicBezTo>
                <a:cubicBezTo>
                  <a:pt x="1464" y="117"/>
                  <a:pt x="1464" y="117"/>
                  <a:pt x="1464" y="117"/>
                </a:cubicBezTo>
                <a:cubicBezTo>
                  <a:pt x="1464" y="131"/>
                  <a:pt x="1464" y="131"/>
                  <a:pt x="1464" y="131"/>
                </a:cubicBezTo>
                <a:cubicBezTo>
                  <a:pt x="1458" y="131"/>
                  <a:pt x="1458" y="131"/>
                  <a:pt x="1458" y="131"/>
                </a:cubicBezTo>
                <a:cubicBezTo>
                  <a:pt x="1458" y="303"/>
                  <a:pt x="1458" y="303"/>
                  <a:pt x="1458" y="303"/>
                </a:cubicBezTo>
                <a:cubicBezTo>
                  <a:pt x="1454" y="303"/>
                  <a:pt x="1454" y="303"/>
                  <a:pt x="1454" y="303"/>
                </a:cubicBezTo>
                <a:cubicBezTo>
                  <a:pt x="1454" y="160"/>
                  <a:pt x="1454" y="160"/>
                  <a:pt x="1454" y="160"/>
                </a:cubicBezTo>
                <a:cubicBezTo>
                  <a:pt x="1441" y="160"/>
                  <a:pt x="1441" y="160"/>
                  <a:pt x="1441" y="160"/>
                </a:cubicBezTo>
                <a:cubicBezTo>
                  <a:pt x="1441" y="303"/>
                  <a:pt x="1441" y="303"/>
                  <a:pt x="1441" y="303"/>
                </a:cubicBezTo>
                <a:cubicBezTo>
                  <a:pt x="1430" y="303"/>
                  <a:pt x="1430" y="303"/>
                  <a:pt x="1430" y="303"/>
                </a:cubicBezTo>
                <a:cubicBezTo>
                  <a:pt x="1430" y="200"/>
                  <a:pt x="1430" y="200"/>
                  <a:pt x="1430" y="200"/>
                </a:cubicBezTo>
                <a:cubicBezTo>
                  <a:pt x="1405" y="200"/>
                  <a:pt x="1405" y="200"/>
                  <a:pt x="1405" y="200"/>
                </a:cubicBezTo>
                <a:cubicBezTo>
                  <a:pt x="1405" y="303"/>
                  <a:pt x="1405" y="303"/>
                  <a:pt x="1405" y="303"/>
                </a:cubicBezTo>
                <a:cubicBezTo>
                  <a:pt x="1394" y="303"/>
                  <a:pt x="1394" y="303"/>
                  <a:pt x="1394" y="303"/>
                </a:cubicBezTo>
                <a:cubicBezTo>
                  <a:pt x="1394" y="178"/>
                  <a:pt x="1394" y="178"/>
                  <a:pt x="1394" y="178"/>
                </a:cubicBezTo>
                <a:cubicBezTo>
                  <a:pt x="1378" y="178"/>
                  <a:pt x="1378" y="178"/>
                  <a:pt x="1378" y="178"/>
                </a:cubicBezTo>
                <a:cubicBezTo>
                  <a:pt x="1378" y="145"/>
                  <a:pt x="1378" y="145"/>
                  <a:pt x="1378" y="145"/>
                </a:cubicBezTo>
                <a:cubicBezTo>
                  <a:pt x="1335" y="145"/>
                  <a:pt x="1335" y="145"/>
                  <a:pt x="1335" y="145"/>
                </a:cubicBezTo>
                <a:cubicBezTo>
                  <a:pt x="1335" y="282"/>
                  <a:pt x="1335" y="282"/>
                  <a:pt x="1335" y="282"/>
                </a:cubicBezTo>
                <a:cubicBezTo>
                  <a:pt x="1332" y="282"/>
                  <a:pt x="1332" y="282"/>
                  <a:pt x="1332" y="282"/>
                </a:cubicBezTo>
                <a:cubicBezTo>
                  <a:pt x="1332" y="193"/>
                  <a:pt x="1332" y="193"/>
                  <a:pt x="1332" y="193"/>
                </a:cubicBezTo>
                <a:cubicBezTo>
                  <a:pt x="1299" y="193"/>
                  <a:pt x="1299" y="193"/>
                  <a:pt x="1299" y="193"/>
                </a:cubicBezTo>
                <a:cubicBezTo>
                  <a:pt x="1299" y="282"/>
                  <a:pt x="1299" y="282"/>
                  <a:pt x="1299" y="282"/>
                </a:cubicBezTo>
                <a:cubicBezTo>
                  <a:pt x="1292" y="282"/>
                  <a:pt x="1292" y="282"/>
                  <a:pt x="1292" y="282"/>
                </a:cubicBezTo>
                <a:cubicBezTo>
                  <a:pt x="1292" y="309"/>
                  <a:pt x="1292" y="309"/>
                  <a:pt x="1292" y="309"/>
                </a:cubicBezTo>
                <a:cubicBezTo>
                  <a:pt x="1282" y="309"/>
                  <a:pt x="1282" y="309"/>
                  <a:pt x="1282" y="309"/>
                </a:cubicBezTo>
                <a:cubicBezTo>
                  <a:pt x="1282" y="236"/>
                  <a:pt x="1282" y="236"/>
                  <a:pt x="1282" y="236"/>
                </a:cubicBezTo>
                <a:cubicBezTo>
                  <a:pt x="1256" y="236"/>
                  <a:pt x="1256" y="236"/>
                  <a:pt x="1256" y="236"/>
                </a:cubicBezTo>
                <a:cubicBezTo>
                  <a:pt x="1256" y="262"/>
                  <a:pt x="1256" y="262"/>
                  <a:pt x="1256" y="262"/>
                </a:cubicBezTo>
                <a:cubicBezTo>
                  <a:pt x="1247" y="262"/>
                  <a:pt x="1247" y="262"/>
                  <a:pt x="1247" y="262"/>
                </a:cubicBezTo>
                <a:cubicBezTo>
                  <a:pt x="1247" y="207"/>
                  <a:pt x="1247" y="207"/>
                  <a:pt x="1247" y="207"/>
                </a:cubicBezTo>
                <a:cubicBezTo>
                  <a:pt x="1239" y="207"/>
                  <a:pt x="1239" y="207"/>
                  <a:pt x="1239" y="207"/>
                </a:cubicBezTo>
                <a:cubicBezTo>
                  <a:pt x="1239" y="283"/>
                  <a:pt x="1239" y="283"/>
                  <a:pt x="1239" y="283"/>
                </a:cubicBezTo>
                <a:cubicBezTo>
                  <a:pt x="1233" y="283"/>
                  <a:pt x="1233" y="283"/>
                  <a:pt x="1233" y="283"/>
                </a:cubicBezTo>
                <a:cubicBezTo>
                  <a:pt x="1233" y="222"/>
                  <a:pt x="1233" y="222"/>
                  <a:pt x="1233" y="222"/>
                </a:cubicBezTo>
                <a:cubicBezTo>
                  <a:pt x="1232" y="222"/>
                  <a:pt x="1232" y="222"/>
                  <a:pt x="1232" y="222"/>
                </a:cubicBezTo>
                <a:cubicBezTo>
                  <a:pt x="1232" y="148"/>
                  <a:pt x="1232" y="148"/>
                  <a:pt x="1232" y="148"/>
                </a:cubicBezTo>
                <a:cubicBezTo>
                  <a:pt x="1222" y="148"/>
                  <a:pt x="1222" y="148"/>
                  <a:pt x="1222" y="148"/>
                </a:cubicBezTo>
                <a:cubicBezTo>
                  <a:pt x="1222" y="0"/>
                  <a:pt x="1222" y="0"/>
                  <a:pt x="1222" y="0"/>
                </a:cubicBezTo>
                <a:cubicBezTo>
                  <a:pt x="1136" y="13"/>
                  <a:pt x="1136" y="13"/>
                  <a:pt x="1136" y="13"/>
                </a:cubicBezTo>
                <a:cubicBezTo>
                  <a:pt x="1136" y="211"/>
                  <a:pt x="1136" y="211"/>
                  <a:pt x="1136" y="211"/>
                </a:cubicBezTo>
                <a:cubicBezTo>
                  <a:pt x="1134" y="211"/>
                  <a:pt x="1134" y="211"/>
                  <a:pt x="1134" y="211"/>
                </a:cubicBezTo>
                <a:cubicBezTo>
                  <a:pt x="1134" y="84"/>
                  <a:pt x="1134" y="84"/>
                  <a:pt x="1134" y="84"/>
                </a:cubicBezTo>
                <a:cubicBezTo>
                  <a:pt x="1111" y="84"/>
                  <a:pt x="1111" y="84"/>
                  <a:pt x="1111" y="84"/>
                </a:cubicBezTo>
                <a:cubicBezTo>
                  <a:pt x="1111" y="134"/>
                  <a:pt x="1111" y="134"/>
                  <a:pt x="1111" y="134"/>
                </a:cubicBezTo>
                <a:cubicBezTo>
                  <a:pt x="1071" y="134"/>
                  <a:pt x="1071" y="134"/>
                  <a:pt x="1071" y="134"/>
                </a:cubicBezTo>
                <a:cubicBezTo>
                  <a:pt x="1071" y="168"/>
                  <a:pt x="1071" y="168"/>
                  <a:pt x="1071" y="168"/>
                </a:cubicBezTo>
                <a:cubicBezTo>
                  <a:pt x="1057" y="168"/>
                  <a:pt x="1057" y="168"/>
                  <a:pt x="1057" y="168"/>
                </a:cubicBezTo>
                <a:cubicBezTo>
                  <a:pt x="1057" y="85"/>
                  <a:pt x="1057" y="85"/>
                  <a:pt x="1057" y="85"/>
                </a:cubicBezTo>
                <a:cubicBezTo>
                  <a:pt x="1044" y="85"/>
                  <a:pt x="1044" y="85"/>
                  <a:pt x="1044" y="85"/>
                </a:cubicBezTo>
                <a:cubicBezTo>
                  <a:pt x="1044" y="142"/>
                  <a:pt x="1044" y="142"/>
                  <a:pt x="1044" y="142"/>
                </a:cubicBezTo>
                <a:cubicBezTo>
                  <a:pt x="1033" y="142"/>
                  <a:pt x="1033" y="142"/>
                  <a:pt x="1033" y="142"/>
                </a:cubicBezTo>
                <a:cubicBezTo>
                  <a:pt x="1033" y="111"/>
                  <a:pt x="1033" y="111"/>
                  <a:pt x="1033" y="111"/>
                </a:cubicBezTo>
                <a:cubicBezTo>
                  <a:pt x="1014" y="111"/>
                  <a:pt x="1014" y="111"/>
                  <a:pt x="1014" y="111"/>
                </a:cubicBezTo>
                <a:cubicBezTo>
                  <a:pt x="1014" y="123"/>
                  <a:pt x="1014" y="123"/>
                  <a:pt x="1014" y="123"/>
                </a:cubicBezTo>
                <a:cubicBezTo>
                  <a:pt x="1016" y="123"/>
                  <a:pt x="1016" y="123"/>
                  <a:pt x="1016" y="123"/>
                </a:cubicBezTo>
                <a:cubicBezTo>
                  <a:pt x="1016" y="131"/>
                  <a:pt x="1016" y="131"/>
                  <a:pt x="1016" y="131"/>
                </a:cubicBezTo>
                <a:cubicBezTo>
                  <a:pt x="1014" y="131"/>
                  <a:pt x="1014" y="131"/>
                  <a:pt x="1014" y="131"/>
                </a:cubicBezTo>
                <a:cubicBezTo>
                  <a:pt x="1014" y="159"/>
                  <a:pt x="1014" y="159"/>
                  <a:pt x="1014" y="159"/>
                </a:cubicBezTo>
                <a:cubicBezTo>
                  <a:pt x="1016" y="159"/>
                  <a:pt x="1016" y="159"/>
                  <a:pt x="1016" y="159"/>
                </a:cubicBezTo>
                <a:cubicBezTo>
                  <a:pt x="1016" y="167"/>
                  <a:pt x="1016" y="167"/>
                  <a:pt x="1016" y="167"/>
                </a:cubicBezTo>
                <a:cubicBezTo>
                  <a:pt x="1014" y="167"/>
                  <a:pt x="1014" y="167"/>
                  <a:pt x="1014" y="167"/>
                </a:cubicBezTo>
                <a:cubicBezTo>
                  <a:pt x="1014" y="168"/>
                  <a:pt x="1014" y="168"/>
                  <a:pt x="1014" y="168"/>
                </a:cubicBezTo>
                <a:cubicBezTo>
                  <a:pt x="999" y="168"/>
                  <a:pt x="999" y="168"/>
                  <a:pt x="999" y="168"/>
                </a:cubicBezTo>
                <a:cubicBezTo>
                  <a:pt x="999" y="228"/>
                  <a:pt x="999" y="228"/>
                  <a:pt x="999" y="228"/>
                </a:cubicBezTo>
                <a:cubicBezTo>
                  <a:pt x="992" y="228"/>
                  <a:pt x="992" y="228"/>
                  <a:pt x="992" y="228"/>
                </a:cubicBezTo>
                <a:cubicBezTo>
                  <a:pt x="992" y="155"/>
                  <a:pt x="992" y="155"/>
                  <a:pt x="992" y="155"/>
                </a:cubicBezTo>
                <a:cubicBezTo>
                  <a:pt x="978" y="155"/>
                  <a:pt x="978" y="155"/>
                  <a:pt x="978" y="155"/>
                </a:cubicBezTo>
                <a:cubicBezTo>
                  <a:pt x="978" y="67"/>
                  <a:pt x="978" y="67"/>
                  <a:pt x="978" y="67"/>
                </a:cubicBezTo>
                <a:cubicBezTo>
                  <a:pt x="918" y="67"/>
                  <a:pt x="918" y="67"/>
                  <a:pt x="918" y="67"/>
                </a:cubicBezTo>
                <a:cubicBezTo>
                  <a:pt x="918" y="123"/>
                  <a:pt x="918" y="123"/>
                  <a:pt x="918" y="123"/>
                </a:cubicBezTo>
                <a:cubicBezTo>
                  <a:pt x="899" y="123"/>
                  <a:pt x="899" y="123"/>
                  <a:pt x="899" y="123"/>
                </a:cubicBezTo>
                <a:cubicBezTo>
                  <a:pt x="899" y="3"/>
                  <a:pt x="899" y="3"/>
                  <a:pt x="899" y="3"/>
                </a:cubicBezTo>
                <a:cubicBezTo>
                  <a:pt x="881" y="3"/>
                  <a:pt x="881" y="3"/>
                  <a:pt x="881" y="3"/>
                </a:cubicBezTo>
                <a:cubicBezTo>
                  <a:pt x="881" y="92"/>
                  <a:pt x="881" y="92"/>
                  <a:pt x="881" y="92"/>
                </a:cubicBezTo>
                <a:cubicBezTo>
                  <a:pt x="871" y="92"/>
                  <a:pt x="871" y="92"/>
                  <a:pt x="871" y="92"/>
                </a:cubicBezTo>
                <a:cubicBezTo>
                  <a:pt x="871" y="142"/>
                  <a:pt x="871" y="142"/>
                  <a:pt x="871" y="142"/>
                </a:cubicBezTo>
                <a:cubicBezTo>
                  <a:pt x="866" y="142"/>
                  <a:pt x="866" y="142"/>
                  <a:pt x="866" y="142"/>
                </a:cubicBezTo>
                <a:cubicBezTo>
                  <a:pt x="866" y="36"/>
                  <a:pt x="866" y="36"/>
                  <a:pt x="866" y="36"/>
                </a:cubicBezTo>
                <a:cubicBezTo>
                  <a:pt x="826" y="36"/>
                  <a:pt x="826" y="36"/>
                  <a:pt x="826" y="36"/>
                </a:cubicBezTo>
                <a:cubicBezTo>
                  <a:pt x="826" y="98"/>
                  <a:pt x="826" y="98"/>
                  <a:pt x="826" y="98"/>
                </a:cubicBezTo>
                <a:cubicBezTo>
                  <a:pt x="823" y="98"/>
                  <a:pt x="823" y="98"/>
                  <a:pt x="823" y="98"/>
                </a:cubicBezTo>
                <a:cubicBezTo>
                  <a:pt x="823" y="110"/>
                  <a:pt x="823" y="110"/>
                  <a:pt x="823" y="110"/>
                </a:cubicBezTo>
                <a:cubicBezTo>
                  <a:pt x="826" y="110"/>
                  <a:pt x="826" y="110"/>
                  <a:pt x="826" y="110"/>
                </a:cubicBezTo>
                <a:cubicBezTo>
                  <a:pt x="826" y="176"/>
                  <a:pt x="826" y="176"/>
                  <a:pt x="826" y="176"/>
                </a:cubicBezTo>
                <a:cubicBezTo>
                  <a:pt x="818" y="176"/>
                  <a:pt x="818" y="176"/>
                  <a:pt x="818" y="176"/>
                </a:cubicBezTo>
                <a:cubicBezTo>
                  <a:pt x="818" y="93"/>
                  <a:pt x="818" y="93"/>
                  <a:pt x="818" y="93"/>
                </a:cubicBezTo>
                <a:cubicBezTo>
                  <a:pt x="804" y="93"/>
                  <a:pt x="804" y="93"/>
                  <a:pt x="804" y="93"/>
                </a:cubicBezTo>
                <a:cubicBezTo>
                  <a:pt x="804" y="150"/>
                  <a:pt x="804" y="150"/>
                  <a:pt x="804" y="150"/>
                </a:cubicBezTo>
                <a:cubicBezTo>
                  <a:pt x="793" y="150"/>
                  <a:pt x="793" y="150"/>
                  <a:pt x="793" y="150"/>
                </a:cubicBezTo>
                <a:cubicBezTo>
                  <a:pt x="793" y="118"/>
                  <a:pt x="793" y="118"/>
                  <a:pt x="793" y="118"/>
                </a:cubicBezTo>
                <a:cubicBezTo>
                  <a:pt x="774" y="118"/>
                  <a:pt x="774" y="118"/>
                  <a:pt x="774" y="118"/>
                </a:cubicBezTo>
                <a:cubicBezTo>
                  <a:pt x="774" y="131"/>
                  <a:pt x="774" y="131"/>
                  <a:pt x="774" y="131"/>
                </a:cubicBezTo>
                <a:cubicBezTo>
                  <a:pt x="776" y="131"/>
                  <a:pt x="776" y="131"/>
                  <a:pt x="776" y="131"/>
                </a:cubicBezTo>
                <a:cubicBezTo>
                  <a:pt x="776" y="139"/>
                  <a:pt x="776" y="139"/>
                  <a:pt x="776" y="139"/>
                </a:cubicBezTo>
                <a:cubicBezTo>
                  <a:pt x="774" y="139"/>
                  <a:pt x="774" y="139"/>
                  <a:pt x="774" y="139"/>
                </a:cubicBezTo>
                <a:cubicBezTo>
                  <a:pt x="774" y="166"/>
                  <a:pt x="774" y="166"/>
                  <a:pt x="774" y="166"/>
                </a:cubicBezTo>
                <a:cubicBezTo>
                  <a:pt x="776" y="166"/>
                  <a:pt x="776" y="166"/>
                  <a:pt x="776" y="166"/>
                </a:cubicBezTo>
                <a:cubicBezTo>
                  <a:pt x="776" y="175"/>
                  <a:pt x="776" y="175"/>
                  <a:pt x="776" y="175"/>
                </a:cubicBezTo>
                <a:cubicBezTo>
                  <a:pt x="774" y="175"/>
                  <a:pt x="774" y="175"/>
                  <a:pt x="774" y="175"/>
                </a:cubicBezTo>
                <a:cubicBezTo>
                  <a:pt x="774" y="176"/>
                  <a:pt x="774" y="176"/>
                  <a:pt x="774" y="176"/>
                </a:cubicBezTo>
                <a:cubicBezTo>
                  <a:pt x="759" y="176"/>
                  <a:pt x="759" y="176"/>
                  <a:pt x="759" y="176"/>
                </a:cubicBezTo>
                <a:cubicBezTo>
                  <a:pt x="759" y="236"/>
                  <a:pt x="759" y="236"/>
                  <a:pt x="759" y="236"/>
                </a:cubicBezTo>
                <a:cubicBezTo>
                  <a:pt x="739" y="236"/>
                  <a:pt x="739" y="236"/>
                  <a:pt x="739" y="236"/>
                </a:cubicBezTo>
                <a:cubicBezTo>
                  <a:pt x="739" y="75"/>
                  <a:pt x="739" y="75"/>
                  <a:pt x="739" y="75"/>
                </a:cubicBezTo>
                <a:cubicBezTo>
                  <a:pt x="678" y="75"/>
                  <a:pt x="678" y="75"/>
                  <a:pt x="678" y="75"/>
                </a:cubicBezTo>
                <a:cubicBezTo>
                  <a:pt x="678" y="131"/>
                  <a:pt x="678" y="131"/>
                  <a:pt x="678" y="131"/>
                </a:cubicBezTo>
                <a:cubicBezTo>
                  <a:pt x="659" y="131"/>
                  <a:pt x="659" y="131"/>
                  <a:pt x="659" y="131"/>
                </a:cubicBezTo>
                <a:cubicBezTo>
                  <a:pt x="659" y="10"/>
                  <a:pt x="659" y="10"/>
                  <a:pt x="659" y="10"/>
                </a:cubicBezTo>
                <a:cubicBezTo>
                  <a:pt x="641" y="10"/>
                  <a:pt x="641" y="10"/>
                  <a:pt x="641" y="10"/>
                </a:cubicBezTo>
                <a:cubicBezTo>
                  <a:pt x="641" y="236"/>
                  <a:pt x="641" y="236"/>
                  <a:pt x="641" y="236"/>
                </a:cubicBezTo>
                <a:cubicBezTo>
                  <a:pt x="627" y="236"/>
                  <a:pt x="627" y="236"/>
                  <a:pt x="627" y="236"/>
                </a:cubicBezTo>
                <a:cubicBezTo>
                  <a:pt x="627" y="44"/>
                  <a:pt x="627" y="44"/>
                  <a:pt x="627" y="44"/>
                </a:cubicBezTo>
                <a:cubicBezTo>
                  <a:pt x="587" y="44"/>
                  <a:pt x="587" y="44"/>
                  <a:pt x="587" y="44"/>
                </a:cubicBezTo>
                <a:cubicBezTo>
                  <a:pt x="587" y="105"/>
                  <a:pt x="587" y="105"/>
                  <a:pt x="587" y="105"/>
                </a:cubicBezTo>
                <a:cubicBezTo>
                  <a:pt x="542" y="105"/>
                  <a:pt x="542" y="105"/>
                  <a:pt x="542" y="105"/>
                </a:cubicBezTo>
                <a:cubicBezTo>
                  <a:pt x="542" y="47"/>
                  <a:pt x="542" y="47"/>
                  <a:pt x="542" y="47"/>
                </a:cubicBezTo>
                <a:cubicBezTo>
                  <a:pt x="546" y="47"/>
                  <a:pt x="546" y="47"/>
                  <a:pt x="546" y="47"/>
                </a:cubicBezTo>
                <a:cubicBezTo>
                  <a:pt x="549" y="47"/>
                  <a:pt x="552" y="44"/>
                  <a:pt x="552" y="39"/>
                </a:cubicBezTo>
                <a:cubicBezTo>
                  <a:pt x="552" y="34"/>
                  <a:pt x="552" y="34"/>
                  <a:pt x="552" y="34"/>
                </a:cubicBezTo>
                <a:cubicBezTo>
                  <a:pt x="552" y="29"/>
                  <a:pt x="549" y="26"/>
                  <a:pt x="546" y="26"/>
                </a:cubicBezTo>
                <a:cubicBezTo>
                  <a:pt x="541" y="26"/>
                  <a:pt x="541" y="26"/>
                  <a:pt x="541" y="26"/>
                </a:cubicBezTo>
                <a:cubicBezTo>
                  <a:pt x="541" y="17"/>
                  <a:pt x="536" y="10"/>
                  <a:pt x="529" y="10"/>
                </a:cubicBezTo>
                <a:cubicBezTo>
                  <a:pt x="522" y="10"/>
                  <a:pt x="517" y="17"/>
                  <a:pt x="517" y="26"/>
                </a:cubicBezTo>
                <a:cubicBezTo>
                  <a:pt x="513" y="26"/>
                  <a:pt x="513" y="26"/>
                  <a:pt x="513" y="26"/>
                </a:cubicBezTo>
                <a:cubicBezTo>
                  <a:pt x="512" y="26"/>
                  <a:pt x="512" y="26"/>
                  <a:pt x="512" y="26"/>
                </a:cubicBezTo>
                <a:cubicBezTo>
                  <a:pt x="512" y="24"/>
                  <a:pt x="512" y="24"/>
                  <a:pt x="512" y="24"/>
                </a:cubicBezTo>
                <a:cubicBezTo>
                  <a:pt x="435" y="35"/>
                  <a:pt x="435" y="35"/>
                  <a:pt x="435" y="35"/>
                </a:cubicBezTo>
                <a:cubicBezTo>
                  <a:pt x="435" y="82"/>
                  <a:pt x="435" y="82"/>
                  <a:pt x="435" y="82"/>
                </a:cubicBezTo>
                <a:cubicBezTo>
                  <a:pt x="371" y="82"/>
                  <a:pt x="371" y="82"/>
                  <a:pt x="371" y="82"/>
                </a:cubicBezTo>
                <a:cubicBezTo>
                  <a:pt x="371" y="254"/>
                  <a:pt x="371" y="254"/>
                  <a:pt x="371" y="254"/>
                </a:cubicBezTo>
                <a:cubicBezTo>
                  <a:pt x="360" y="254"/>
                  <a:pt x="360" y="254"/>
                  <a:pt x="360" y="254"/>
                </a:cubicBezTo>
                <a:cubicBezTo>
                  <a:pt x="360" y="303"/>
                  <a:pt x="360" y="303"/>
                  <a:pt x="360" y="303"/>
                </a:cubicBezTo>
                <a:cubicBezTo>
                  <a:pt x="345" y="303"/>
                  <a:pt x="345" y="303"/>
                  <a:pt x="345" y="303"/>
                </a:cubicBezTo>
                <a:cubicBezTo>
                  <a:pt x="345" y="176"/>
                  <a:pt x="345" y="176"/>
                  <a:pt x="345" y="176"/>
                </a:cubicBezTo>
                <a:cubicBezTo>
                  <a:pt x="353" y="176"/>
                  <a:pt x="353" y="176"/>
                  <a:pt x="353" y="176"/>
                </a:cubicBezTo>
                <a:cubicBezTo>
                  <a:pt x="353" y="162"/>
                  <a:pt x="353" y="162"/>
                  <a:pt x="353" y="162"/>
                </a:cubicBezTo>
                <a:cubicBezTo>
                  <a:pt x="345" y="162"/>
                  <a:pt x="345" y="162"/>
                  <a:pt x="345" y="162"/>
                </a:cubicBezTo>
                <a:cubicBezTo>
                  <a:pt x="345" y="151"/>
                  <a:pt x="345" y="151"/>
                  <a:pt x="345" y="151"/>
                </a:cubicBezTo>
                <a:cubicBezTo>
                  <a:pt x="338" y="151"/>
                  <a:pt x="338" y="151"/>
                  <a:pt x="338" y="151"/>
                </a:cubicBezTo>
                <a:cubicBezTo>
                  <a:pt x="338" y="131"/>
                  <a:pt x="338" y="131"/>
                  <a:pt x="338" y="131"/>
                </a:cubicBezTo>
                <a:cubicBezTo>
                  <a:pt x="315" y="131"/>
                  <a:pt x="315" y="131"/>
                  <a:pt x="315" y="131"/>
                </a:cubicBezTo>
                <a:cubicBezTo>
                  <a:pt x="315" y="151"/>
                  <a:pt x="315" y="151"/>
                  <a:pt x="315" y="151"/>
                </a:cubicBezTo>
                <a:cubicBezTo>
                  <a:pt x="308" y="151"/>
                  <a:pt x="308" y="151"/>
                  <a:pt x="308" y="151"/>
                </a:cubicBezTo>
                <a:cubicBezTo>
                  <a:pt x="308" y="162"/>
                  <a:pt x="308" y="162"/>
                  <a:pt x="308" y="162"/>
                </a:cubicBezTo>
                <a:cubicBezTo>
                  <a:pt x="300" y="162"/>
                  <a:pt x="300" y="162"/>
                  <a:pt x="300" y="162"/>
                </a:cubicBezTo>
                <a:cubicBezTo>
                  <a:pt x="300" y="176"/>
                  <a:pt x="300" y="176"/>
                  <a:pt x="300" y="176"/>
                </a:cubicBezTo>
                <a:cubicBezTo>
                  <a:pt x="308" y="176"/>
                  <a:pt x="308" y="176"/>
                  <a:pt x="308" y="176"/>
                </a:cubicBezTo>
                <a:cubicBezTo>
                  <a:pt x="308" y="303"/>
                  <a:pt x="308" y="303"/>
                  <a:pt x="308" y="303"/>
                </a:cubicBezTo>
                <a:cubicBezTo>
                  <a:pt x="287" y="303"/>
                  <a:pt x="287" y="303"/>
                  <a:pt x="287" y="303"/>
                </a:cubicBezTo>
                <a:cubicBezTo>
                  <a:pt x="287" y="131"/>
                  <a:pt x="287" y="131"/>
                  <a:pt x="287" y="131"/>
                </a:cubicBezTo>
                <a:cubicBezTo>
                  <a:pt x="278" y="131"/>
                  <a:pt x="278" y="131"/>
                  <a:pt x="278" y="131"/>
                </a:cubicBezTo>
                <a:cubicBezTo>
                  <a:pt x="281" y="117"/>
                  <a:pt x="281" y="117"/>
                  <a:pt x="281" y="117"/>
                </a:cubicBezTo>
                <a:cubicBezTo>
                  <a:pt x="242" y="117"/>
                  <a:pt x="242" y="117"/>
                  <a:pt x="242" y="117"/>
                </a:cubicBezTo>
                <a:cubicBezTo>
                  <a:pt x="242" y="131"/>
                  <a:pt x="242" y="131"/>
                  <a:pt x="242" y="131"/>
                </a:cubicBezTo>
                <a:cubicBezTo>
                  <a:pt x="236" y="131"/>
                  <a:pt x="236" y="131"/>
                  <a:pt x="236" y="131"/>
                </a:cubicBezTo>
                <a:cubicBezTo>
                  <a:pt x="236" y="303"/>
                  <a:pt x="236" y="303"/>
                  <a:pt x="236" y="303"/>
                </a:cubicBezTo>
                <a:cubicBezTo>
                  <a:pt x="232" y="303"/>
                  <a:pt x="232" y="303"/>
                  <a:pt x="232" y="303"/>
                </a:cubicBezTo>
                <a:cubicBezTo>
                  <a:pt x="232" y="160"/>
                  <a:pt x="232" y="160"/>
                  <a:pt x="232" y="160"/>
                </a:cubicBezTo>
                <a:cubicBezTo>
                  <a:pt x="219" y="160"/>
                  <a:pt x="219" y="160"/>
                  <a:pt x="219" y="160"/>
                </a:cubicBezTo>
                <a:cubicBezTo>
                  <a:pt x="219" y="303"/>
                  <a:pt x="219" y="303"/>
                  <a:pt x="219" y="303"/>
                </a:cubicBezTo>
                <a:cubicBezTo>
                  <a:pt x="208" y="303"/>
                  <a:pt x="208" y="303"/>
                  <a:pt x="208" y="303"/>
                </a:cubicBezTo>
                <a:cubicBezTo>
                  <a:pt x="208" y="200"/>
                  <a:pt x="208" y="200"/>
                  <a:pt x="208" y="200"/>
                </a:cubicBezTo>
                <a:cubicBezTo>
                  <a:pt x="183" y="200"/>
                  <a:pt x="183" y="200"/>
                  <a:pt x="183" y="200"/>
                </a:cubicBezTo>
                <a:cubicBezTo>
                  <a:pt x="183" y="303"/>
                  <a:pt x="183" y="303"/>
                  <a:pt x="183" y="303"/>
                </a:cubicBezTo>
                <a:cubicBezTo>
                  <a:pt x="173" y="303"/>
                  <a:pt x="173" y="303"/>
                  <a:pt x="173" y="303"/>
                </a:cubicBezTo>
                <a:cubicBezTo>
                  <a:pt x="173" y="178"/>
                  <a:pt x="173" y="178"/>
                  <a:pt x="173" y="178"/>
                </a:cubicBezTo>
                <a:cubicBezTo>
                  <a:pt x="156" y="178"/>
                  <a:pt x="156" y="178"/>
                  <a:pt x="156" y="178"/>
                </a:cubicBezTo>
                <a:cubicBezTo>
                  <a:pt x="156" y="145"/>
                  <a:pt x="156" y="145"/>
                  <a:pt x="156" y="145"/>
                </a:cubicBezTo>
                <a:cubicBezTo>
                  <a:pt x="114" y="145"/>
                  <a:pt x="114" y="145"/>
                  <a:pt x="114" y="145"/>
                </a:cubicBezTo>
                <a:cubicBezTo>
                  <a:pt x="114" y="282"/>
                  <a:pt x="114" y="282"/>
                  <a:pt x="114" y="282"/>
                </a:cubicBezTo>
                <a:cubicBezTo>
                  <a:pt x="110" y="282"/>
                  <a:pt x="110" y="282"/>
                  <a:pt x="110" y="282"/>
                </a:cubicBezTo>
                <a:cubicBezTo>
                  <a:pt x="110" y="193"/>
                  <a:pt x="110" y="193"/>
                  <a:pt x="110" y="193"/>
                </a:cubicBezTo>
                <a:cubicBezTo>
                  <a:pt x="77" y="193"/>
                  <a:pt x="77" y="193"/>
                  <a:pt x="77" y="193"/>
                </a:cubicBezTo>
                <a:cubicBezTo>
                  <a:pt x="77" y="282"/>
                  <a:pt x="77" y="282"/>
                  <a:pt x="77" y="282"/>
                </a:cubicBezTo>
                <a:cubicBezTo>
                  <a:pt x="70" y="282"/>
                  <a:pt x="70" y="282"/>
                  <a:pt x="70" y="282"/>
                </a:cubicBezTo>
                <a:cubicBezTo>
                  <a:pt x="70" y="309"/>
                  <a:pt x="70" y="309"/>
                  <a:pt x="70" y="309"/>
                </a:cubicBezTo>
                <a:cubicBezTo>
                  <a:pt x="61" y="309"/>
                  <a:pt x="61" y="309"/>
                  <a:pt x="61" y="309"/>
                </a:cubicBezTo>
                <a:cubicBezTo>
                  <a:pt x="61" y="236"/>
                  <a:pt x="61" y="236"/>
                  <a:pt x="61" y="236"/>
                </a:cubicBezTo>
                <a:cubicBezTo>
                  <a:pt x="34" y="236"/>
                  <a:pt x="34" y="236"/>
                  <a:pt x="34" y="236"/>
                </a:cubicBezTo>
                <a:cubicBezTo>
                  <a:pt x="34" y="262"/>
                  <a:pt x="34" y="262"/>
                  <a:pt x="34" y="262"/>
                </a:cubicBezTo>
                <a:cubicBezTo>
                  <a:pt x="25" y="262"/>
                  <a:pt x="25" y="262"/>
                  <a:pt x="25" y="262"/>
                </a:cubicBezTo>
                <a:cubicBezTo>
                  <a:pt x="25" y="207"/>
                  <a:pt x="25" y="207"/>
                  <a:pt x="25" y="207"/>
                </a:cubicBezTo>
                <a:cubicBezTo>
                  <a:pt x="17" y="207"/>
                  <a:pt x="17" y="207"/>
                  <a:pt x="17" y="207"/>
                </a:cubicBezTo>
                <a:cubicBezTo>
                  <a:pt x="17" y="309"/>
                  <a:pt x="17" y="309"/>
                  <a:pt x="17" y="309"/>
                </a:cubicBezTo>
                <a:cubicBezTo>
                  <a:pt x="11" y="309"/>
                  <a:pt x="11" y="309"/>
                  <a:pt x="11" y="309"/>
                </a:cubicBezTo>
                <a:cubicBezTo>
                  <a:pt x="11" y="222"/>
                  <a:pt x="11" y="222"/>
                  <a:pt x="11" y="222"/>
                </a:cubicBezTo>
                <a:cubicBezTo>
                  <a:pt x="0" y="222"/>
                  <a:pt x="0" y="222"/>
                  <a:pt x="0" y="222"/>
                </a:cubicBezTo>
                <a:cubicBezTo>
                  <a:pt x="0" y="229"/>
                  <a:pt x="0" y="229"/>
                  <a:pt x="0" y="229"/>
                </a:cubicBezTo>
                <a:cubicBezTo>
                  <a:pt x="1" y="229"/>
                  <a:pt x="1" y="229"/>
                  <a:pt x="1" y="229"/>
                </a:cubicBezTo>
                <a:cubicBezTo>
                  <a:pt x="1" y="234"/>
                  <a:pt x="1" y="234"/>
                  <a:pt x="1" y="234"/>
                </a:cubicBezTo>
                <a:cubicBezTo>
                  <a:pt x="0" y="234"/>
                  <a:pt x="0" y="234"/>
                  <a:pt x="0" y="234"/>
                </a:cubicBezTo>
                <a:cubicBezTo>
                  <a:pt x="0" y="251"/>
                  <a:pt x="0" y="251"/>
                  <a:pt x="0" y="251"/>
                </a:cubicBezTo>
                <a:cubicBezTo>
                  <a:pt x="3" y="251"/>
                  <a:pt x="3" y="251"/>
                  <a:pt x="3" y="251"/>
                </a:cubicBezTo>
                <a:cubicBezTo>
                  <a:pt x="3" y="256"/>
                  <a:pt x="3" y="256"/>
                  <a:pt x="3" y="256"/>
                </a:cubicBezTo>
                <a:cubicBezTo>
                  <a:pt x="0" y="256"/>
                  <a:pt x="0" y="256"/>
                  <a:pt x="0" y="256"/>
                </a:cubicBezTo>
                <a:cubicBezTo>
                  <a:pt x="0" y="284"/>
                  <a:pt x="0" y="284"/>
                  <a:pt x="0" y="284"/>
                </a:cubicBezTo>
                <a:cubicBezTo>
                  <a:pt x="3" y="284"/>
                  <a:pt x="3" y="284"/>
                  <a:pt x="3" y="284"/>
                </a:cubicBezTo>
                <a:cubicBezTo>
                  <a:pt x="3" y="287"/>
                  <a:pt x="3" y="287"/>
                  <a:pt x="3" y="287"/>
                </a:cubicBezTo>
                <a:cubicBezTo>
                  <a:pt x="0" y="287"/>
                  <a:pt x="0" y="287"/>
                  <a:pt x="0" y="287"/>
                </a:cubicBezTo>
                <a:cubicBezTo>
                  <a:pt x="0" y="315"/>
                  <a:pt x="0" y="315"/>
                  <a:pt x="0" y="315"/>
                </a:cubicBezTo>
                <a:cubicBezTo>
                  <a:pt x="2" y="315"/>
                  <a:pt x="2" y="315"/>
                  <a:pt x="2" y="315"/>
                </a:cubicBezTo>
                <a:cubicBezTo>
                  <a:pt x="2" y="322"/>
                  <a:pt x="2" y="322"/>
                  <a:pt x="2" y="322"/>
                </a:cubicBezTo>
                <a:cubicBezTo>
                  <a:pt x="0" y="322"/>
                  <a:pt x="0" y="322"/>
                  <a:pt x="0" y="322"/>
                </a:cubicBezTo>
                <a:cubicBezTo>
                  <a:pt x="0" y="378"/>
                  <a:pt x="0" y="378"/>
                  <a:pt x="0" y="378"/>
                </a:cubicBezTo>
                <a:cubicBezTo>
                  <a:pt x="73" y="378"/>
                  <a:pt x="73" y="378"/>
                  <a:pt x="73" y="378"/>
                </a:cubicBezTo>
                <a:cubicBezTo>
                  <a:pt x="73" y="386"/>
                  <a:pt x="73" y="386"/>
                  <a:pt x="73" y="386"/>
                </a:cubicBezTo>
                <a:cubicBezTo>
                  <a:pt x="936" y="386"/>
                  <a:pt x="936" y="386"/>
                  <a:pt x="936" y="386"/>
                </a:cubicBezTo>
                <a:cubicBezTo>
                  <a:pt x="936" y="379"/>
                  <a:pt x="936" y="379"/>
                  <a:pt x="936" y="379"/>
                </a:cubicBezTo>
                <a:cubicBezTo>
                  <a:pt x="1023" y="379"/>
                  <a:pt x="1023" y="379"/>
                  <a:pt x="1023" y="379"/>
                </a:cubicBezTo>
                <a:cubicBezTo>
                  <a:pt x="1023" y="378"/>
                  <a:pt x="1023" y="378"/>
                  <a:pt x="1023" y="378"/>
                </a:cubicBezTo>
                <a:cubicBezTo>
                  <a:pt x="1176" y="378"/>
                  <a:pt x="1176" y="378"/>
                  <a:pt x="1176" y="378"/>
                </a:cubicBezTo>
                <a:cubicBezTo>
                  <a:pt x="1176" y="371"/>
                  <a:pt x="1176" y="371"/>
                  <a:pt x="1176" y="371"/>
                </a:cubicBezTo>
                <a:cubicBezTo>
                  <a:pt x="1222" y="371"/>
                  <a:pt x="1222" y="371"/>
                  <a:pt x="1222" y="371"/>
                </a:cubicBezTo>
                <a:cubicBezTo>
                  <a:pt x="1222" y="378"/>
                  <a:pt x="1222" y="378"/>
                  <a:pt x="1222" y="378"/>
                </a:cubicBezTo>
                <a:cubicBezTo>
                  <a:pt x="1295" y="378"/>
                  <a:pt x="1295" y="378"/>
                  <a:pt x="1295" y="378"/>
                </a:cubicBezTo>
                <a:cubicBezTo>
                  <a:pt x="1295" y="386"/>
                  <a:pt x="1295" y="386"/>
                  <a:pt x="1295" y="386"/>
                </a:cubicBezTo>
                <a:cubicBezTo>
                  <a:pt x="2158" y="386"/>
                  <a:pt x="2158" y="386"/>
                  <a:pt x="2158" y="386"/>
                </a:cubicBezTo>
                <a:cubicBezTo>
                  <a:pt x="2158" y="379"/>
                  <a:pt x="2158" y="379"/>
                  <a:pt x="2158" y="379"/>
                </a:cubicBezTo>
                <a:cubicBezTo>
                  <a:pt x="2245" y="379"/>
                  <a:pt x="2245" y="379"/>
                  <a:pt x="2245" y="379"/>
                </a:cubicBezTo>
                <a:cubicBezTo>
                  <a:pt x="2245" y="378"/>
                  <a:pt x="2245" y="378"/>
                  <a:pt x="2245" y="378"/>
                </a:cubicBezTo>
                <a:cubicBezTo>
                  <a:pt x="2398" y="378"/>
                  <a:pt x="2398" y="378"/>
                  <a:pt x="2398" y="378"/>
                </a:cubicBezTo>
                <a:cubicBezTo>
                  <a:pt x="2398" y="378"/>
                  <a:pt x="2398" y="378"/>
                  <a:pt x="2398" y="378"/>
                </a:cubicBezTo>
                <a:cubicBezTo>
                  <a:pt x="2403" y="378"/>
                  <a:pt x="2403" y="378"/>
                  <a:pt x="2403" y="378"/>
                </a:cubicBezTo>
                <a:cubicBezTo>
                  <a:pt x="2403" y="386"/>
                  <a:pt x="2403" y="386"/>
                  <a:pt x="2403" y="386"/>
                </a:cubicBezTo>
                <a:cubicBezTo>
                  <a:pt x="2986" y="386"/>
                  <a:pt x="2986" y="386"/>
                  <a:pt x="2986" y="386"/>
                </a:cubicBezTo>
                <a:moveTo>
                  <a:pt x="2944" y="263"/>
                </a:moveTo>
                <a:cubicBezTo>
                  <a:pt x="2932" y="263"/>
                  <a:pt x="2932" y="263"/>
                  <a:pt x="2932" y="263"/>
                </a:cubicBezTo>
                <a:cubicBezTo>
                  <a:pt x="2932" y="248"/>
                  <a:pt x="2932" y="248"/>
                  <a:pt x="2932" y="248"/>
                </a:cubicBezTo>
                <a:cubicBezTo>
                  <a:pt x="2944" y="248"/>
                  <a:pt x="2944" y="248"/>
                  <a:pt x="2944" y="248"/>
                </a:cubicBezTo>
                <a:cubicBezTo>
                  <a:pt x="2944" y="263"/>
                  <a:pt x="2944" y="263"/>
                  <a:pt x="2944" y="263"/>
                </a:cubicBezTo>
                <a:moveTo>
                  <a:pt x="2939" y="181"/>
                </a:moveTo>
                <a:cubicBezTo>
                  <a:pt x="2948" y="181"/>
                  <a:pt x="2948" y="181"/>
                  <a:pt x="2948" y="181"/>
                </a:cubicBezTo>
                <a:cubicBezTo>
                  <a:pt x="2948" y="186"/>
                  <a:pt x="2948" y="186"/>
                  <a:pt x="2948" y="186"/>
                </a:cubicBezTo>
                <a:cubicBezTo>
                  <a:pt x="2939" y="186"/>
                  <a:pt x="2939" y="186"/>
                  <a:pt x="2939" y="186"/>
                </a:cubicBezTo>
                <a:cubicBezTo>
                  <a:pt x="2939" y="181"/>
                  <a:pt x="2939" y="181"/>
                  <a:pt x="2939" y="181"/>
                </a:cubicBezTo>
                <a:moveTo>
                  <a:pt x="2938" y="117"/>
                </a:moveTo>
                <a:cubicBezTo>
                  <a:pt x="2929" y="117"/>
                  <a:pt x="2929" y="117"/>
                  <a:pt x="2929" y="117"/>
                </a:cubicBezTo>
                <a:cubicBezTo>
                  <a:pt x="2929" y="107"/>
                  <a:pt x="2929" y="107"/>
                  <a:pt x="2929" y="107"/>
                </a:cubicBezTo>
                <a:cubicBezTo>
                  <a:pt x="2938" y="107"/>
                  <a:pt x="2938" y="107"/>
                  <a:pt x="2938" y="107"/>
                </a:cubicBezTo>
                <a:cubicBezTo>
                  <a:pt x="2938" y="117"/>
                  <a:pt x="2938" y="117"/>
                  <a:pt x="2938" y="117"/>
                </a:cubicBezTo>
                <a:moveTo>
                  <a:pt x="2925" y="60"/>
                </a:moveTo>
                <a:cubicBezTo>
                  <a:pt x="2934" y="60"/>
                  <a:pt x="2934" y="60"/>
                  <a:pt x="2934" y="60"/>
                </a:cubicBezTo>
                <a:cubicBezTo>
                  <a:pt x="2934" y="70"/>
                  <a:pt x="2934" y="70"/>
                  <a:pt x="2934" y="70"/>
                </a:cubicBezTo>
                <a:cubicBezTo>
                  <a:pt x="2925" y="70"/>
                  <a:pt x="2925" y="70"/>
                  <a:pt x="2925" y="70"/>
                </a:cubicBezTo>
                <a:cubicBezTo>
                  <a:pt x="2925" y="60"/>
                  <a:pt x="2925" y="60"/>
                  <a:pt x="2925" y="60"/>
                </a:cubicBezTo>
                <a:moveTo>
                  <a:pt x="2921" y="154"/>
                </a:moveTo>
                <a:cubicBezTo>
                  <a:pt x="2929" y="154"/>
                  <a:pt x="2929" y="154"/>
                  <a:pt x="2929" y="154"/>
                </a:cubicBezTo>
                <a:cubicBezTo>
                  <a:pt x="2929" y="165"/>
                  <a:pt x="2929" y="165"/>
                  <a:pt x="2929" y="165"/>
                </a:cubicBezTo>
                <a:cubicBezTo>
                  <a:pt x="2921" y="165"/>
                  <a:pt x="2921" y="165"/>
                  <a:pt x="2921" y="165"/>
                </a:cubicBezTo>
                <a:cubicBezTo>
                  <a:pt x="2921" y="154"/>
                  <a:pt x="2921" y="154"/>
                  <a:pt x="2921" y="154"/>
                </a:cubicBezTo>
                <a:moveTo>
                  <a:pt x="2902" y="290"/>
                </a:moveTo>
                <a:cubicBezTo>
                  <a:pt x="2889" y="290"/>
                  <a:pt x="2889" y="290"/>
                  <a:pt x="2889" y="290"/>
                </a:cubicBezTo>
                <a:cubicBezTo>
                  <a:pt x="2889" y="275"/>
                  <a:pt x="2889" y="275"/>
                  <a:pt x="2889" y="275"/>
                </a:cubicBezTo>
                <a:cubicBezTo>
                  <a:pt x="2902" y="275"/>
                  <a:pt x="2902" y="275"/>
                  <a:pt x="2902" y="275"/>
                </a:cubicBezTo>
                <a:cubicBezTo>
                  <a:pt x="2902" y="290"/>
                  <a:pt x="2902" y="290"/>
                  <a:pt x="2902" y="290"/>
                </a:cubicBezTo>
                <a:moveTo>
                  <a:pt x="2872" y="117"/>
                </a:moveTo>
                <a:cubicBezTo>
                  <a:pt x="2917" y="117"/>
                  <a:pt x="2917" y="117"/>
                  <a:pt x="2917" y="117"/>
                </a:cubicBezTo>
                <a:cubicBezTo>
                  <a:pt x="2917" y="236"/>
                  <a:pt x="2917" y="236"/>
                  <a:pt x="2917" y="236"/>
                </a:cubicBezTo>
                <a:cubicBezTo>
                  <a:pt x="2872" y="236"/>
                  <a:pt x="2872" y="236"/>
                  <a:pt x="2872" y="236"/>
                </a:cubicBezTo>
                <a:cubicBezTo>
                  <a:pt x="2872" y="117"/>
                  <a:pt x="2872" y="117"/>
                  <a:pt x="2872" y="117"/>
                </a:cubicBezTo>
                <a:moveTo>
                  <a:pt x="2835" y="268"/>
                </a:moveTo>
                <a:cubicBezTo>
                  <a:pt x="2847" y="268"/>
                  <a:pt x="2847" y="268"/>
                  <a:pt x="2847" y="268"/>
                </a:cubicBezTo>
                <a:cubicBezTo>
                  <a:pt x="2847" y="283"/>
                  <a:pt x="2847" y="283"/>
                  <a:pt x="2847" y="283"/>
                </a:cubicBezTo>
                <a:cubicBezTo>
                  <a:pt x="2835" y="283"/>
                  <a:pt x="2835" y="283"/>
                  <a:pt x="2835" y="283"/>
                </a:cubicBezTo>
                <a:cubicBezTo>
                  <a:pt x="2835" y="268"/>
                  <a:pt x="2835" y="268"/>
                  <a:pt x="2835" y="268"/>
                </a:cubicBezTo>
                <a:moveTo>
                  <a:pt x="2799" y="288"/>
                </a:moveTo>
                <a:cubicBezTo>
                  <a:pt x="2811" y="288"/>
                  <a:pt x="2811" y="288"/>
                  <a:pt x="2811" y="288"/>
                </a:cubicBezTo>
                <a:cubicBezTo>
                  <a:pt x="2811" y="303"/>
                  <a:pt x="2811" y="303"/>
                  <a:pt x="2811" y="303"/>
                </a:cubicBezTo>
                <a:cubicBezTo>
                  <a:pt x="2799" y="303"/>
                  <a:pt x="2799" y="303"/>
                  <a:pt x="2799" y="303"/>
                </a:cubicBezTo>
                <a:cubicBezTo>
                  <a:pt x="2799" y="288"/>
                  <a:pt x="2799" y="288"/>
                  <a:pt x="2799" y="288"/>
                </a:cubicBezTo>
                <a:moveTo>
                  <a:pt x="2723" y="274"/>
                </a:moveTo>
                <a:cubicBezTo>
                  <a:pt x="2715" y="274"/>
                  <a:pt x="2715" y="274"/>
                  <a:pt x="2715" y="274"/>
                </a:cubicBezTo>
                <a:cubicBezTo>
                  <a:pt x="2715" y="263"/>
                  <a:pt x="2715" y="263"/>
                  <a:pt x="2715" y="263"/>
                </a:cubicBezTo>
                <a:cubicBezTo>
                  <a:pt x="2723" y="263"/>
                  <a:pt x="2723" y="263"/>
                  <a:pt x="2723" y="263"/>
                </a:cubicBezTo>
                <a:cubicBezTo>
                  <a:pt x="2723" y="274"/>
                  <a:pt x="2723" y="274"/>
                  <a:pt x="2723" y="274"/>
                </a:cubicBezTo>
                <a:moveTo>
                  <a:pt x="2743" y="112"/>
                </a:moveTo>
                <a:cubicBezTo>
                  <a:pt x="2752" y="112"/>
                  <a:pt x="2752" y="112"/>
                  <a:pt x="2752" y="112"/>
                </a:cubicBezTo>
                <a:cubicBezTo>
                  <a:pt x="2752" y="123"/>
                  <a:pt x="2752" y="123"/>
                  <a:pt x="2752" y="123"/>
                </a:cubicBezTo>
                <a:cubicBezTo>
                  <a:pt x="2743" y="123"/>
                  <a:pt x="2743" y="123"/>
                  <a:pt x="2743" y="123"/>
                </a:cubicBezTo>
                <a:cubicBezTo>
                  <a:pt x="2743" y="112"/>
                  <a:pt x="2743" y="112"/>
                  <a:pt x="2743" y="112"/>
                </a:cubicBezTo>
                <a:moveTo>
                  <a:pt x="2743" y="149"/>
                </a:moveTo>
                <a:cubicBezTo>
                  <a:pt x="2752" y="149"/>
                  <a:pt x="2752" y="149"/>
                  <a:pt x="2752" y="149"/>
                </a:cubicBezTo>
                <a:cubicBezTo>
                  <a:pt x="2752" y="159"/>
                  <a:pt x="2752" y="159"/>
                  <a:pt x="2752" y="159"/>
                </a:cubicBezTo>
                <a:cubicBezTo>
                  <a:pt x="2743" y="159"/>
                  <a:pt x="2743" y="159"/>
                  <a:pt x="2743" y="159"/>
                </a:cubicBezTo>
                <a:cubicBezTo>
                  <a:pt x="2743" y="149"/>
                  <a:pt x="2743" y="149"/>
                  <a:pt x="2743" y="149"/>
                </a:cubicBezTo>
                <a:moveTo>
                  <a:pt x="2723" y="203"/>
                </a:moveTo>
                <a:cubicBezTo>
                  <a:pt x="2732" y="203"/>
                  <a:pt x="2732" y="203"/>
                  <a:pt x="2732" y="203"/>
                </a:cubicBezTo>
                <a:cubicBezTo>
                  <a:pt x="2732" y="214"/>
                  <a:pt x="2732" y="214"/>
                  <a:pt x="2732" y="214"/>
                </a:cubicBezTo>
                <a:cubicBezTo>
                  <a:pt x="2723" y="214"/>
                  <a:pt x="2723" y="214"/>
                  <a:pt x="2723" y="214"/>
                </a:cubicBezTo>
                <a:cubicBezTo>
                  <a:pt x="2723" y="203"/>
                  <a:pt x="2723" y="203"/>
                  <a:pt x="2723" y="203"/>
                </a:cubicBezTo>
                <a:moveTo>
                  <a:pt x="2710" y="107"/>
                </a:moveTo>
                <a:cubicBezTo>
                  <a:pt x="2719" y="107"/>
                  <a:pt x="2719" y="107"/>
                  <a:pt x="2719" y="107"/>
                </a:cubicBezTo>
                <a:cubicBezTo>
                  <a:pt x="2719" y="117"/>
                  <a:pt x="2719" y="117"/>
                  <a:pt x="2719" y="117"/>
                </a:cubicBezTo>
                <a:cubicBezTo>
                  <a:pt x="2710" y="117"/>
                  <a:pt x="2710" y="117"/>
                  <a:pt x="2710" y="117"/>
                </a:cubicBezTo>
                <a:cubicBezTo>
                  <a:pt x="2710" y="107"/>
                  <a:pt x="2710" y="107"/>
                  <a:pt x="2710" y="107"/>
                </a:cubicBezTo>
                <a:moveTo>
                  <a:pt x="2710" y="173"/>
                </a:moveTo>
                <a:cubicBezTo>
                  <a:pt x="2719" y="173"/>
                  <a:pt x="2719" y="173"/>
                  <a:pt x="2719" y="173"/>
                </a:cubicBezTo>
                <a:cubicBezTo>
                  <a:pt x="2719" y="183"/>
                  <a:pt x="2719" y="183"/>
                  <a:pt x="2719" y="183"/>
                </a:cubicBezTo>
                <a:cubicBezTo>
                  <a:pt x="2710" y="183"/>
                  <a:pt x="2710" y="183"/>
                  <a:pt x="2710" y="183"/>
                </a:cubicBezTo>
                <a:cubicBezTo>
                  <a:pt x="2710" y="173"/>
                  <a:pt x="2710" y="173"/>
                  <a:pt x="2710" y="173"/>
                </a:cubicBezTo>
                <a:moveTo>
                  <a:pt x="2601" y="143"/>
                </a:moveTo>
                <a:cubicBezTo>
                  <a:pt x="2610" y="143"/>
                  <a:pt x="2610" y="143"/>
                  <a:pt x="2610" y="143"/>
                </a:cubicBezTo>
                <a:cubicBezTo>
                  <a:pt x="2610" y="154"/>
                  <a:pt x="2610" y="154"/>
                  <a:pt x="2610" y="154"/>
                </a:cubicBezTo>
                <a:cubicBezTo>
                  <a:pt x="2601" y="154"/>
                  <a:pt x="2601" y="154"/>
                  <a:pt x="2601" y="154"/>
                </a:cubicBezTo>
                <a:cubicBezTo>
                  <a:pt x="2601" y="143"/>
                  <a:pt x="2601" y="143"/>
                  <a:pt x="2601" y="143"/>
                </a:cubicBezTo>
                <a:moveTo>
                  <a:pt x="2593" y="167"/>
                </a:moveTo>
                <a:cubicBezTo>
                  <a:pt x="2601" y="167"/>
                  <a:pt x="2601" y="167"/>
                  <a:pt x="2601" y="167"/>
                </a:cubicBezTo>
                <a:cubicBezTo>
                  <a:pt x="2601" y="178"/>
                  <a:pt x="2601" y="178"/>
                  <a:pt x="2601" y="178"/>
                </a:cubicBezTo>
                <a:cubicBezTo>
                  <a:pt x="2593" y="178"/>
                  <a:pt x="2593" y="178"/>
                  <a:pt x="2593" y="178"/>
                </a:cubicBezTo>
                <a:cubicBezTo>
                  <a:pt x="2593" y="167"/>
                  <a:pt x="2593" y="167"/>
                  <a:pt x="2593" y="167"/>
                </a:cubicBezTo>
                <a:moveTo>
                  <a:pt x="2588" y="231"/>
                </a:moveTo>
                <a:cubicBezTo>
                  <a:pt x="2597" y="231"/>
                  <a:pt x="2597" y="231"/>
                  <a:pt x="2597" y="231"/>
                </a:cubicBezTo>
                <a:cubicBezTo>
                  <a:pt x="2597" y="242"/>
                  <a:pt x="2597" y="242"/>
                  <a:pt x="2597" y="242"/>
                </a:cubicBezTo>
                <a:cubicBezTo>
                  <a:pt x="2588" y="242"/>
                  <a:pt x="2588" y="242"/>
                  <a:pt x="2588" y="242"/>
                </a:cubicBezTo>
                <a:cubicBezTo>
                  <a:pt x="2588" y="231"/>
                  <a:pt x="2588" y="231"/>
                  <a:pt x="2588" y="231"/>
                </a:cubicBezTo>
                <a:moveTo>
                  <a:pt x="2573" y="143"/>
                </a:moveTo>
                <a:cubicBezTo>
                  <a:pt x="2582" y="143"/>
                  <a:pt x="2582" y="143"/>
                  <a:pt x="2582" y="143"/>
                </a:cubicBezTo>
                <a:cubicBezTo>
                  <a:pt x="2582" y="154"/>
                  <a:pt x="2582" y="154"/>
                  <a:pt x="2582" y="154"/>
                </a:cubicBezTo>
                <a:cubicBezTo>
                  <a:pt x="2573" y="154"/>
                  <a:pt x="2573" y="154"/>
                  <a:pt x="2573" y="154"/>
                </a:cubicBezTo>
                <a:cubicBezTo>
                  <a:pt x="2573" y="143"/>
                  <a:pt x="2573" y="143"/>
                  <a:pt x="2573" y="143"/>
                </a:cubicBezTo>
                <a:moveTo>
                  <a:pt x="2573" y="203"/>
                </a:moveTo>
                <a:cubicBezTo>
                  <a:pt x="2582" y="203"/>
                  <a:pt x="2582" y="203"/>
                  <a:pt x="2582" y="203"/>
                </a:cubicBezTo>
                <a:cubicBezTo>
                  <a:pt x="2582" y="214"/>
                  <a:pt x="2582" y="214"/>
                  <a:pt x="2582" y="214"/>
                </a:cubicBezTo>
                <a:cubicBezTo>
                  <a:pt x="2573" y="214"/>
                  <a:pt x="2573" y="214"/>
                  <a:pt x="2573" y="214"/>
                </a:cubicBezTo>
                <a:cubicBezTo>
                  <a:pt x="2573" y="203"/>
                  <a:pt x="2573" y="203"/>
                  <a:pt x="2573" y="203"/>
                </a:cubicBezTo>
                <a:moveTo>
                  <a:pt x="2516" y="212"/>
                </a:moveTo>
                <a:cubicBezTo>
                  <a:pt x="2534" y="212"/>
                  <a:pt x="2534" y="212"/>
                  <a:pt x="2534" y="212"/>
                </a:cubicBezTo>
                <a:cubicBezTo>
                  <a:pt x="2534" y="217"/>
                  <a:pt x="2534" y="217"/>
                  <a:pt x="2534" y="217"/>
                </a:cubicBezTo>
                <a:cubicBezTo>
                  <a:pt x="2516" y="217"/>
                  <a:pt x="2516" y="217"/>
                  <a:pt x="2516" y="217"/>
                </a:cubicBezTo>
                <a:cubicBezTo>
                  <a:pt x="2516" y="212"/>
                  <a:pt x="2516" y="212"/>
                  <a:pt x="2516" y="212"/>
                </a:cubicBezTo>
                <a:moveTo>
                  <a:pt x="2516" y="223"/>
                </a:moveTo>
                <a:cubicBezTo>
                  <a:pt x="2534" y="223"/>
                  <a:pt x="2534" y="223"/>
                  <a:pt x="2534" y="223"/>
                </a:cubicBezTo>
                <a:cubicBezTo>
                  <a:pt x="2534" y="228"/>
                  <a:pt x="2534" y="228"/>
                  <a:pt x="2534" y="228"/>
                </a:cubicBezTo>
                <a:cubicBezTo>
                  <a:pt x="2516" y="228"/>
                  <a:pt x="2516" y="228"/>
                  <a:pt x="2516" y="228"/>
                </a:cubicBezTo>
                <a:cubicBezTo>
                  <a:pt x="2516" y="223"/>
                  <a:pt x="2516" y="223"/>
                  <a:pt x="2516" y="223"/>
                </a:cubicBezTo>
                <a:moveTo>
                  <a:pt x="2516" y="234"/>
                </a:moveTo>
                <a:cubicBezTo>
                  <a:pt x="2534" y="234"/>
                  <a:pt x="2534" y="234"/>
                  <a:pt x="2534" y="234"/>
                </a:cubicBezTo>
                <a:cubicBezTo>
                  <a:pt x="2534" y="238"/>
                  <a:pt x="2534" y="238"/>
                  <a:pt x="2534" y="238"/>
                </a:cubicBezTo>
                <a:cubicBezTo>
                  <a:pt x="2516" y="238"/>
                  <a:pt x="2516" y="238"/>
                  <a:pt x="2516" y="238"/>
                </a:cubicBezTo>
                <a:cubicBezTo>
                  <a:pt x="2516" y="234"/>
                  <a:pt x="2516" y="234"/>
                  <a:pt x="2516" y="234"/>
                </a:cubicBezTo>
                <a:moveTo>
                  <a:pt x="2516" y="244"/>
                </a:moveTo>
                <a:cubicBezTo>
                  <a:pt x="2534" y="244"/>
                  <a:pt x="2534" y="244"/>
                  <a:pt x="2534" y="244"/>
                </a:cubicBezTo>
                <a:cubicBezTo>
                  <a:pt x="2534" y="249"/>
                  <a:pt x="2534" y="249"/>
                  <a:pt x="2534" y="249"/>
                </a:cubicBezTo>
                <a:cubicBezTo>
                  <a:pt x="2516" y="249"/>
                  <a:pt x="2516" y="249"/>
                  <a:pt x="2516" y="249"/>
                </a:cubicBezTo>
                <a:cubicBezTo>
                  <a:pt x="2516" y="244"/>
                  <a:pt x="2516" y="244"/>
                  <a:pt x="2516" y="244"/>
                </a:cubicBezTo>
                <a:moveTo>
                  <a:pt x="2516" y="255"/>
                </a:moveTo>
                <a:cubicBezTo>
                  <a:pt x="2534" y="255"/>
                  <a:pt x="2534" y="255"/>
                  <a:pt x="2534" y="255"/>
                </a:cubicBezTo>
                <a:cubicBezTo>
                  <a:pt x="2534" y="260"/>
                  <a:pt x="2534" y="260"/>
                  <a:pt x="2534" y="260"/>
                </a:cubicBezTo>
                <a:cubicBezTo>
                  <a:pt x="2516" y="260"/>
                  <a:pt x="2516" y="260"/>
                  <a:pt x="2516" y="260"/>
                </a:cubicBezTo>
                <a:cubicBezTo>
                  <a:pt x="2516" y="255"/>
                  <a:pt x="2516" y="255"/>
                  <a:pt x="2516" y="255"/>
                </a:cubicBezTo>
                <a:moveTo>
                  <a:pt x="2516" y="266"/>
                </a:moveTo>
                <a:cubicBezTo>
                  <a:pt x="2534" y="266"/>
                  <a:pt x="2534" y="266"/>
                  <a:pt x="2534" y="266"/>
                </a:cubicBezTo>
                <a:cubicBezTo>
                  <a:pt x="2534" y="271"/>
                  <a:pt x="2534" y="271"/>
                  <a:pt x="2534" y="271"/>
                </a:cubicBezTo>
                <a:cubicBezTo>
                  <a:pt x="2516" y="271"/>
                  <a:pt x="2516" y="271"/>
                  <a:pt x="2516" y="271"/>
                </a:cubicBezTo>
                <a:cubicBezTo>
                  <a:pt x="2516" y="266"/>
                  <a:pt x="2516" y="266"/>
                  <a:pt x="2516" y="266"/>
                </a:cubicBezTo>
                <a:moveTo>
                  <a:pt x="2516" y="277"/>
                </a:moveTo>
                <a:cubicBezTo>
                  <a:pt x="2534" y="277"/>
                  <a:pt x="2534" y="277"/>
                  <a:pt x="2534" y="277"/>
                </a:cubicBezTo>
                <a:cubicBezTo>
                  <a:pt x="2534" y="282"/>
                  <a:pt x="2534" y="282"/>
                  <a:pt x="2534" y="282"/>
                </a:cubicBezTo>
                <a:cubicBezTo>
                  <a:pt x="2516" y="282"/>
                  <a:pt x="2516" y="282"/>
                  <a:pt x="2516" y="282"/>
                </a:cubicBezTo>
                <a:cubicBezTo>
                  <a:pt x="2516" y="277"/>
                  <a:pt x="2516" y="277"/>
                  <a:pt x="2516" y="277"/>
                </a:cubicBezTo>
                <a:moveTo>
                  <a:pt x="2516" y="288"/>
                </a:moveTo>
                <a:cubicBezTo>
                  <a:pt x="2534" y="288"/>
                  <a:pt x="2534" y="288"/>
                  <a:pt x="2534" y="288"/>
                </a:cubicBezTo>
                <a:cubicBezTo>
                  <a:pt x="2534" y="293"/>
                  <a:pt x="2534" y="293"/>
                  <a:pt x="2534" y="293"/>
                </a:cubicBezTo>
                <a:cubicBezTo>
                  <a:pt x="2516" y="293"/>
                  <a:pt x="2516" y="293"/>
                  <a:pt x="2516" y="293"/>
                </a:cubicBezTo>
                <a:cubicBezTo>
                  <a:pt x="2516" y="288"/>
                  <a:pt x="2516" y="288"/>
                  <a:pt x="2516" y="288"/>
                </a:cubicBezTo>
                <a:moveTo>
                  <a:pt x="2486" y="201"/>
                </a:moveTo>
                <a:cubicBezTo>
                  <a:pt x="2492" y="201"/>
                  <a:pt x="2492" y="201"/>
                  <a:pt x="2492" y="201"/>
                </a:cubicBezTo>
                <a:cubicBezTo>
                  <a:pt x="2492" y="208"/>
                  <a:pt x="2492" y="208"/>
                  <a:pt x="2492" y="208"/>
                </a:cubicBezTo>
                <a:cubicBezTo>
                  <a:pt x="2486" y="208"/>
                  <a:pt x="2486" y="208"/>
                  <a:pt x="2486" y="208"/>
                </a:cubicBezTo>
                <a:cubicBezTo>
                  <a:pt x="2486" y="201"/>
                  <a:pt x="2486" y="201"/>
                  <a:pt x="2486" y="201"/>
                </a:cubicBezTo>
                <a:moveTo>
                  <a:pt x="2486" y="236"/>
                </a:moveTo>
                <a:cubicBezTo>
                  <a:pt x="2492" y="236"/>
                  <a:pt x="2492" y="236"/>
                  <a:pt x="2492" y="236"/>
                </a:cubicBezTo>
                <a:cubicBezTo>
                  <a:pt x="2492" y="243"/>
                  <a:pt x="2492" y="243"/>
                  <a:pt x="2492" y="243"/>
                </a:cubicBezTo>
                <a:cubicBezTo>
                  <a:pt x="2486" y="243"/>
                  <a:pt x="2486" y="243"/>
                  <a:pt x="2486" y="243"/>
                </a:cubicBezTo>
                <a:cubicBezTo>
                  <a:pt x="2486" y="236"/>
                  <a:pt x="2486" y="236"/>
                  <a:pt x="2486" y="236"/>
                </a:cubicBezTo>
                <a:moveTo>
                  <a:pt x="2486" y="272"/>
                </a:moveTo>
                <a:cubicBezTo>
                  <a:pt x="2492" y="272"/>
                  <a:pt x="2492" y="272"/>
                  <a:pt x="2492" y="272"/>
                </a:cubicBezTo>
                <a:cubicBezTo>
                  <a:pt x="2492" y="279"/>
                  <a:pt x="2492" y="279"/>
                  <a:pt x="2492" y="279"/>
                </a:cubicBezTo>
                <a:cubicBezTo>
                  <a:pt x="2486" y="279"/>
                  <a:pt x="2486" y="279"/>
                  <a:pt x="2486" y="279"/>
                </a:cubicBezTo>
                <a:cubicBezTo>
                  <a:pt x="2486" y="272"/>
                  <a:pt x="2486" y="272"/>
                  <a:pt x="2486" y="272"/>
                </a:cubicBezTo>
                <a:moveTo>
                  <a:pt x="2473" y="185"/>
                </a:moveTo>
                <a:cubicBezTo>
                  <a:pt x="2479" y="185"/>
                  <a:pt x="2479" y="185"/>
                  <a:pt x="2479" y="185"/>
                </a:cubicBezTo>
                <a:cubicBezTo>
                  <a:pt x="2479" y="192"/>
                  <a:pt x="2479" y="192"/>
                  <a:pt x="2479" y="192"/>
                </a:cubicBezTo>
                <a:cubicBezTo>
                  <a:pt x="2473" y="192"/>
                  <a:pt x="2473" y="192"/>
                  <a:pt x="2473" y="192"/>
                </a:cubicBezTo>
                <a:cubicBezTo>
                  <a:pt x="2473" y="185"/>
                  <a:pt x="2473" y="185"/>
                  <a:pt x="2473" y="185"/>
                </a:cubicBezTo>
                <a:moveTo>
                  <a:pt x="2473" y="221"/>
                </a:moveTo>
                <a:cubicBezTo>
                  <a:pt x="2479" y="221"/>
                  <a:pt x="2479" y="221"/>
                  <a:pt x="2479" y="221"/>
                </a:cubicBezTo>
                <a:cubicBezTo>
                  <a:pt x="2479" y="228"/>
                  <a:pt x="2479" y="228"/>
                  <a:pt x="2479" y="228"/>
                </a:cubicBezTo>
                <a:cubicBezTo>
                  <a:pt x="2473" y="228"/>
                  <a:pt x="2473" y="228"/>
                  <a:pt x="2473" y="228"/>
                </a:cubicBezTo>
                <a:cubicBezTo>
                  <a:pt x="2473" y="221"/>
                  <a:pt x="2473" y="221"/>
                  <a:pt x="2473" y="221"/>
                </a:cubicBezTo>
                <a:moveTo>
                  <a:pt x="2473" y="256"/>
                </a:moveTo>
                <a:cubicBezTo>
                  <a:pt x="2479" y="256"/>
                  <a:pt x="2479" y="256"/>
                  <a:pt x="2479" y="256"/>
                </a:cubicBezTo>
                <a:cubicBezTo>
                  <a:pt x="2479" y="263"/>
                  <a:pt x="2479" y="263"/>
                  <a:pt x="2479" y="263"/>
                </a:cubicBezTo>
                <a:cubicBezTo>
                  <a:pt x="2473" y="263"/>
                  <a:pt x="2473" y="263"/>
                  <a:pt x="2473" y="263"/>
                </a:cubicBezTo>
                <a:cubicBezTo>
                  <a:pt x="2473" y="256"/>
                  <a:pt x="2473" y="256"/>
                  <a:pt x="2473" y="256"/>
                </a:cubicBezTo>
                <a:moveTo>
                  <a:pt x="2461" y="170"/>
                </a:moveTo>
                <a:cubicBezTo>
                  <a:pt x="2467" y="170"/>
                  <a:pt x="2467" y="170"/>
                  <a:pt x="2467" y="170"/>
                </a:cubicBezTo>
                <a:cubicBezTo>
                  <a:pt x="2467" y="177"/>
                  <a:pt x="2467" y="177"/>
                  <a:pt x="2467" y="177"/>
                </a:cubicBezTo>
                <a:cubicBezTo>
                  <a:pt x="2461" y="177"/>
                  <a:pt x="2461" y="177"/>
                  <a:pt x="2461" y="177"/>
                </a:cubicBezTo>
                <a:cubicBezTo>
                  <a:pt x="2461" y="170"/>
                  <a:pt x="2461" y="170"/>
                  <a:pt x="2461" y="170"/>
                </a:cubicBezTo>
                <a:moveTo>
                  <a:pt x="2461" y="205"/>
                </a:moveTo>
                <a:cubicBezTo>
                  <a:pt x="2467" y="205"/>
                  <a:pt x="2467" y="205"/>
                  <a:pt x="2467" y="205"/>
                </a:cubicBezTo>
                <a:cubicBezTo>
                  <a:pt x="2467" y="212"/>
                  <a:pt x="2467" y="212"/>
                  <a:pt x="2467" y="212"/>
                </a:cubicBezTo>
                <a:cubicBezTo>
                  <a:pt x="2461" y="212"/>
                  <a:pt x="2461" y="212"/>
                  <a:pt x="2461" y="212"/>
                </a:cubicBezTo>
                <a:cubicBezTo>
                  <a:pt x="2461" y="205"/>
                  <a:pt x="2461" y="205"/>
                  <a:pt x="2461" y="205"/>
                </a:cubicBezTo>
                <a:moveTo>
                  <a:pt x="2461" y="241"/>
                </a:moveTo>
                <a:cubicBezTo>
                  <a:pt x="2467" y="241"/>
                  <a:pt x="2467" y="241"/>
                  <a:pt x="2467" y="241"/>
                </a:cubicBezTo>
                <a:cubicBezTo>
                  <a:pt x="2467" y="248"/>
                  <a:pt x="2467" y="248"/>
                  <a:pt x="2467" y="248"/>
                </a:cubicBezTo>
                <a:cubicBezTo>
                  <a:pt x="2461" y="248"/>
                  <a:pt x="2461" y="248"/>
                  <a:pt x="2461" y="248"/>
                </a:cubicBezTo>
                <a:cubicBezTo>
                  <a:pt x="2461" y="241"/>
                  <a:pt x="2461" y="241"/>
                  <a:pt x="2461" y="241"/>
                </a:cubicBezTo>
                <a:moveTo>
                  <a:pt x="2461" y="276"/>
                </a:moveTo>
                <a:cubicBezTo>
                  <a:pt x="2467" y="276"/>
                  <a:pt x="2467" y="276"/>
                  <a:pt x="2467" y="276"/>
                </a:cubicBezTo>
                <a:cubicBezTo>
                  <a:pt x="2467" y="283"/>
                  <a:pt x="2467" y="283"/>
                  <a:pt x="2467" y="283"/>
                </a:cubicBezTo>
                <a:cubicBezTo>
                  <a:pt x="2461" y="283"/>
                  <a:pt x="2461" y="283"/>
                  <a:pt x="2461" y="283"/>
                </a:cubicBezTo>
                <a:cubicBezTo>
                  <a:pt x="2461" y="276"/>
                  <a:pt x="2461" y="276"/>
                  <a:pt x="2461" y="276"/>
                </a:cubicBezTo>
                <a:moveTo>
                  <a:pt x="27" y="272"/>
                </a:moveTo>
                <a:cubicBezTo>
                  <a:pt x="35" y="272"/>
                  <a:pt x="35" y="272"/>
                  <a:pt x="35" y="272"/>
                </a:cubicBezTo>
                <a:cubicBezTo>
                  <a:pt x="35" y="277"/>
                  <a:pt x="35" y="277"/>
                  <a:pt x="35" y="277"/>
                </a:cubicBezTo>
                <a:cubicBezTo>
                  <a:pt x="27" y="277"/>
                  <a:pt x="27" y="277"/>
                  <a:pt x="27" y="277"/>
                </a:cubicBezTo>
                <a:cubicBezTo>
                  <a:pt x="27" y="272"/>
                  <a:pt x="27" y="272"/>
                  <a:pt x="27" y="272"/>
                </a:cubicBezTo>
                <a:moveTo>
                  <a:pt x="27" y="295"/>
                </a:moveTo>
                <a:cubicBezTo>
                  <a:pt x="35" y="295"/>
                  <a:pt x="35" y="295"/>
                  <a:pt x="35" y="295"/>
                </a:cubicBezTo>
                <a:cubicBezTo>
                  <a:pt x="35" y="300"/>
                  <a:pt x="35" y="300"/>
                  <a:pt x="35" y="300"/>
                </a:cubicBezTo>
                <a:cubicBezTo>
                  <a:pt x="27" y="300"/>
                  <a:pt x="27" y="300"/>
                  <a:pt x="27" y="300"/>
                </a:cubicBezTo>
                <a:cubicBezTo>
                  <a:pt x="27" y="295"/>
                  <a:pt x="27" y="295"/>
                  <a:pt x="27" y="295"/>
                </a:cubicBezTo>
                <a:moveTo>
                  <a:pt x="38" y="340"/>
                </a:moveTo>
                <a:cubicBezTo>
                  <a:pt x="33" y="340"/>
                  <a:pt x="33" y="340"/>
                  <a:pt x="33" y="340"/>
                </a:cubicBezTo>
                <a:cubicBezTo>
                  <a:pt x="33" y="333"/>
                  <a:pt x="33" y="333"/>
                  <a:pt x="33" y="333"/>
                </a:cubicBezTo>
                <a:cubicBezTo>
                  <a:pt x="38" y="333"/>
                  <a:pt x="38" y="333"/>
                  <a:pt x="38" y="333"/>
                </a:cubicBezTo>
                <a:cubicBezTo>
                  <a:pt x="38" y="340"/>
                  <a:pt x="38" y="340"/>
                  <a:pt x="38" y="340"/>
                </a:cubicBezTo>
                <a:moveTo>
                  <a:pt x="40" y="251"/>
                </a:moveTo>
                <a:cubicBezTo>
                  <a:pt x="48" y="251"/>
                  <a:pt x="48" y="251"/>
                  <a:pt x="48" y="251"/>
                </a:cubicBezTo>
                <a:cubicBezTo>
                  <a:pt x="48" y="256"/>
                  <a:pt x="48" y="256"/>
                  <a:pt x="48" y="256"/>
                </a:cubicBezTo>
                <a:cubicBezTo>
                  <a:pt x="40" y="256"/>
                  <a:pt x="40" y="256"/>
                  <a:pt x="40" y="256"/>
                </a:cubicBezTo>
                <a:cubicBezTo>
                  <a:pt x="40" y="251"/>
                  <a:pt x="40" y="251"/>
                  <a:pt x="40" y="251"/>
                </a:cubicBezTo>
                <a:moveTo>
                  <a:pt x="52" y="287"/>
                </a:moveTo>
                <a:cubicBezTo>
                  <a:pt x="44" y="287"/>
                  <a:pt x="44" y="287"/>
                  <a:pt x="44" y="287"/>
                </a:cubicBezTo>
                <a:cubicBezTo>
                  <a:pt x="44" y="282"/>
                  <a:pt x="44" y="282"/>
                  <a:pt x="44" y="282"/>
                </a:cubicBezTo>
                <a:cubicBezTo>
                  <a:pt x="52" y="282"/>
                  <a:pt x="52" y="282"/>
                  <a:pt x="52" y="282"/>
                </a:cubicBezTo>
                <a:cubicBezTo>
                  <a:pt x="52" y="287"/>
                  <a:pt x="52" y="287"/>
                  <a:pt x="52" y="287"/>
                </a:cubicBezTo>
                <a:moveTo>
                  <a:pt x="73" y="337"/>
                </a:moveTo>
                <a:cubicBezTo>
                  <a:pt x="71" y="337"/>
                  <a:pt x="71" y="337"/>
                  <a:pt x="71" y="337"/>
                </a:cubicBezTo>
                <a:cubicBezTo>
                  <a:pt x="71" y="312"/>
                  <a:pt x="71" y="312"/>
                  <a:pt x="71" y="312"/>
                </a:cubicBezTo>
                <a:cubicBezTo>
                  <a:pt x="73" y="312"/>
                  <a:pt x="73" y="312"/>
                  <a:pt x="73" y="312"/>
                </a:cubicBezTo>
                <a:cubicBezTo>
                  <a:pt x="73" y="337"/>
                  <a:pt x="73" y="337"/>
                  <a:pt x="73" y="337"/>
                </a:cubicBezTo>
                <a:moveTo>
                  <a:pt x="77" y="295"/>
                </a:moveTo>
                <a:cubicBezTo>
                  <a:pt x="71" y="295"/>
                  <a:pt x="71" y="295"/>
                  <a:pt x="71" y="295"/>
                </a:cubicBezTo>
                <a:cubicBezTo>
                  <a:pt x="71" y="287"/>
                  <a:pt x="71" y="287"/>
                  <a:pt x="71" y="287"/>
                </a:cubicBezTo>
                <a:cubicBezTo>
                  <a:pt x="77" y="287"/>
                  <a:pt x="77" y="287"/>
                  <a:pt x="77" y="287"/>
                </a:cubicBezTo>
                <a:cubicBezTo>
                  <a:pt x="77" y="295"/>
                  <a:pt x="77" y="295"/>
                  <a:pt x="77" y="295"/>
                </a:cubicBezTo>
                <a:moveTo>
                  <a:pt x="89" y="263"/>
                </a:moveTo>
                <a:cubicBezTo>
                  <a:pt x="81" y="263"/>
                  <a:pt x="81" y="263"/>
                  <a:pt x="81" y="263"/>
                </a:cubicBezTo>
                <a:cubicBezTo>
                  <a:pt x="81" y="253"/>
                  <a:pt x="81" y="253"/>
                  <a:pt x="81" y="253"/>
                </a:cubicBezTo>
                <a:cubicBezTo>
                  <a:pt x="89" y="253"/>
                  <a:pt x="89" y="253"/>
                  <a:pt x="89" y="253"/>
                </a:cubicBezTo>
                <a:cubicBezTo>
                  <a:pt x="89" y="263"/>
                  <a:pt x="89" y="263"/>
                  <a:pt x="89" y="263"/>
                </a:cubicBezTo>
                <a:moveTo>
                  <a:pt x="89" y="245"/>
                </a:moveTo>
                <a:cubicBezTo>
                  <a:pt x="81" y="245"/>
                  <a:pt x="81" y="245"/>
                  <a:pt x="81" y="245"/>
                </a:cubicBezTo>
                <a:cubicBezTo>
                  <a:pt x="81" y="235"/>
                  <a:pt x="81" y="235"/>
                  <a:pt x="81" y="235"/>
                </a:cubicBezTo>
                <a:cubicBezTo>
                  <a:pt x="89" y="235"/>
                  <a:pt x="89" y="235"/>
                  <a:pt x="89" y="235"/>
                </a:cubicBezTo>
                <a:cubicBezTo>
                  <a:pt x="89" y="245"/>
                  <a:pt x="89" y="245"/>
                  <a:pt x="89" y="245"/>
                </a:cubicBezTo>
                <a:moveTo>
                  <a:pt x="89" y="226"/>
                </a:moveTo>
                <a:cubicBezTo>
                  <a:pt x="81" y="226"/>
                  <a:pt x="81" y="226"/>
                  <a:pt x="81" y="226"/>
                </a:cubicBezTo>
                <a:cubicBezTo>
                  <a:pt x="81" y="216"/>
                  <a:pt x="81" y="216"/>
                  <a:pt x="81" y="216"/>
                </a:cubicBezTo>
                <a:cubicBezTo>
                  <a:pt x="89" y="216"/>
                  <a:pt x="89" y="216"/>
                  <a:pt x="89" y="216"/>
                </a:cubicBezTo>
                <a:cubicBezTo>
                  <a:pt x="89" y="226"/>
                  <a:pt x="89" y="226"/>
                  <a:pt x="89" y="226"/>
                </a:cubicBezTo>
                <a:moveTo>
                  <a:pt x="89" y="208"/>
                </a:moveTo>
                <a:cubicBezTo>
                  <a:pt x="81" y="208"/>
                  <a:pt x="81" y="208"/>
                  <a:pt x="81" y="208"/>
                </a:cubicBezTo>
                <a:cubicBezTo>
                  <a:pt x="81" y="198"/>
                  <a:pt x="81" y="198"/>
                  <a:pt x="81" y="198"/>
                </a:cubicBezTo>
                <a:cubicBezTo>
                  <a:pt x="89" y="198"/>
                  <a:pt x="89" y="198"/>
                  <a:pt x="89" y="198"/>
                </a:cubicBezTo>
                <a:cubicBezTo>
                  <a:pt x="89" y="208"/>
                  <a:pt x="89" y="208"/>
                  <a:pt x="89" y="208"/>
                </a:cubicBezTo>
                <a:moveTo>
                  <a:pt x="99" y="300"/>
                </a:moveTo>
                <a:cubicBezTo>
                  <a:pt x="96" y="300"/>
                  <a:pt x="96" y="300"/>
                  <a:pt x="96" y="300"/>
                </a:cubicBezTo>
                <a:cubicBezTo>
                  <a:pt x="96" y="296"/>
                  <a:pt x="96" y="296"/>
                  <a:pt x="96" y="296"/>
                </a:cubicBezTo>
                <a:cubicBezTo>
                  <a:pt x="99" y="296"/>
                  <a:pt x="99" y="296"/>
                  <a:pt x="99" y="296"/>
                </a:cubicBezTo>
                <a:cubicBezTo>
                  <a:pt x="99" y="300"/>
                  <a:pt x="99" y="300"/>
                  <a:pt x="99" y="300"/>
                </a:cubicBezTo>
                <a:moveTo>
                  <a:pt x="104" y="281"/>
                </a:moveTo>
                <a:cubicBezTo>
                  <a:pt x="96" y="281"/>
                  <a:pt x="96" y="281"/>
                  <a:pt x="96" y="281"/>
                </a:cubicBezTo>
                <a:cubicBezTo>
                  <a:pt x="96" y="272"/>
                  <a:pt x="96" y="272"/>
                  <a:pt x="96" y="272"/>
                </a:cubicBezTo>
                <a:cubicBezTo>
                  <a:pt x="104" y="272"/>
                  <a:pt x="104" y="272"/>
                  <a:pt x="104" y="272"/>
                </a:cubicBezTo>
                <a:cubicBezTo>
                  <a:pt x="104" y="281"/>
                  <a:pt x="104" y="281"/>
                  <a:pt x="104" y="281"/>
                </a:cubicBezTo>
                <a:moveTo>
                  <a:pt x="104" y="263"/>
                </a:moveTo>
                <a:cubicBezTo>
                  <a:pt x="96" y="263"/>
                  <a:pt x="96" y="263"/>
                  <a:pt x="96" y="263"/>
                </a:cubicBezTo>
                <a:cubicBezTo>
                  <a:pt x="96" y="253"/>
                  <a:pt x="96" y="253"/>
                  <a:pt x="96" y="253"/>
                </a:cubicBezTo>
                <a:cubicBezTo>
                  <a:pt x="104" y="253"/>
                  <a:pt x="104" y="253"/>
                  <a:pt x="104" y="253"/>
                </a:cubicBezTo>
                <a:cubicBezTo>
                  <a:pt x="104" y="263"/>
                  <a:pt x="104" y="263"/>
                  <a:pt x="104" y="263"/>
                </a:cubicBezTo>
                <a:moveTo>
                  <a:pt x="104" y="245"/>
                </a:moveTo>
                <a:cubicBezTo>
                  <a:pt x="96" y="245"/>
                  <a:pt x="96" y="245"/>
                  <a:pt x="96" y="245"/>
                </a:cubicBezTo>
                <a:cubicBezTo>
                  <a:pt x="96" y="235"/>
                  <a:pt x="96" y="235"/>
                  <a:pt x="96" y="235"/>
                </a:cubicBezTo>
                <a:cubicBezTo>
                  <a:pt x="104" y="235"/>
                  <a:pt x="104" y="235"/>
                  <a:pt x="104" y="235"/>
                </a:cubicBezTo>
                <a:cubicBezTo>
                  <a:pt x="104" y="245"/>
                  <a:pt x="104" y="245"/>
                  <a:pt x="104" y="245"/>
                </a:cubicBezTo>
                <a:moveTo>
                  <a:pt x="104" y="226"/>
                </a:moveTo>
                <a:cubicBezTo>
                  <a:pt x="96" y="226"/>
                  <a:pt x="96" y="226"/>
                  <a:pt x="96" y="226"/>
                </a:cubicBezTo>
                <a:cubicBezTo>
                  <a:pt x="96" y="216"/>
                  <a:pt x="96" y="216"/>
                  <a:pt x="96" y="216"/>
                </a:cubicBezTo>
                <a:cubicBezTo>
                  <a:pt x="104" y="216"/>
                  <a:pt x="104" y="216"/>
                  <a:pt x="104" y="216"/>
                </a:cubicBezTo>
                <a:cubicBezTo>
                  <a:pt x="104" y="226"/>
                  <a:pt x="104" y="226"/>
                  <a:pt x="104" y="226"/>
                </a:cubicBezTo>
                <a:moveTo>
                  <a:pt x="104" y="208"/>
                </a:moveTo>
                <a:cubicBezTo>
                  <a:pt x="96" y="208"/>
                  <a:pt x="96" y="208"/>
                  <a:pt x="96" y="208"/>
                </a:cubicBezTo>
                <a:cubicBezTo>
                  <a:pt x="96" y="198"/>
                  <a:pt x="96" y="198"/>
                  <a:pt x="96" y="198"/>
                </a:cubicBezTo>
                <a:cubicBezTo>
                  <a:pt x="104" y="198"/>
                  <a:pt x="104" y="198"/>
                  <a:pt x="104" y="198"/>
                </a:cubicBezTo>
                <a:cubicBezTo>
                  <a:pt x="104" y="208"/>
                  <a:pt x="104" y="208"/>
                  <a:pt x="104" y="208"/>
                </a:cubicBezTo>
                <a:moveTo>
                  <a:pt x="114" y="295"/>
                </a:moveTo>
                <a:cubicBezTo>
                  <a:pt x="110" y="295"/>
                  <a:pt x="110" y="295"/>
                  <a:pt x="110" y="295"/>
                </a:cubicBezTo>
                <a:cubicBezTo>
                  <a:pt x="110" y="287"/>
                  <a:pt x="110" y="287"/>
                  <a:pt x="110" y="287"/>
                </a:cubicBezTo>
                <a:cubicBezTo>
                  <a:pt x="114" y="287"/>
                  <a:pt x="114" y="287"/>
                  <a:pt x="114" y="287"/>
                </a:cubicBezTo>
                <a:cubicBezTo>
                  <a:pt x="114" y="295"/>
                  <a:pt x="114" y="295"/>
                  <a:pt x="114" y="295"/>
                </a:cubicBezTo>
                <a:moveTo>
                  <a:pt x="119" y="268"/>
                </a:moveTo>
                <a:cubicBezTo>
                  <a:pt x="118" y="268"/>
                  <a:pt x="118" y="268"/>
                  <a:pt x="118" y="268"/>
                </a:cubicBezTo>
                <a:cubicBezTo>
                  <a:pt x="118" y="261"/>
                  <a:pt x="118" y="261"/>
                  <a:pt x="118" y="261"/>
                </a:cubicBezTo>
                <a:cubicBezTo>
                  <a:pt x="119" y="261"/>
                  <a:pt x="119" y="261"/>
                  <a:pt x="119" y="261"/>
                </a:cubicBezTo>
                <a:cubicBezTo>
                  <a:pt x="119" y="268"/>
                  <a:pt x="119" y="268"/>
                  <a:pt x="119" y="268"/>
                </a:cubicBezTo>
                <a:moveTo>
                  <a:pt x="124" y="232"/>
                </a:moveTo>
                <a:cubicBezTo>
                  <a:pt x="118" y="232"/>
                  <a:pt x="118" y="232"/>
                  <a:pt x="118" y="232"/>
                </a:cubicBezTo>
                <a:cubicBezTo>
                  <a:pt x="118" y="225"/>
                  <a:pt x="118" y="225"/>
                  <a:pt x="118" y="225"/>
                </a:cubicBezTo>
                <a:cubicBezTo>
                  <a:pt x="124" y="225"/>
                  <a:pt x="124" y="225"/>
                  <a:pt x="124" y="225"/>
                </a:cubicBezTo>
                <a:cubicBezTo>
                  <a:pt x="124" y="232"/>
                  <a:pt x="124" y="232"/>
                  <a:pt x="124" y="232"/>
                </a:cubicBezTo>
                <a:moveTo>
                  <a:pt x="124" y="197"/>
                </a:moveTo>
                <a:cubicBezTo>
                  <a:pt x="118" y="197"/>
                  <a:pt x="118" y="197"/>
                  <a:pt x="118" y="197"/>
                </a:cubicBezTo>
                <a:cubicBezTo>
                  <a:pt x="118" y="190"/>
                  <a:pt x="118" y="190"/>
                  <a:pt x="118" y="190"/>
                </a:cubicBezTo>
                <a:cubicBezTo>
                  <a:pt x="124" y="190"/>
                  <a:pt x="124" y="190"/>
                  <a:pt x="124" y="190"/>
                </a:cubicBezTo>
                <a:cubicBezTo>
                  <a:pt x="124" y="197"/>
                  <a:pt x="124" y="197"/>
                  <a:pt x="124" y="197"/>
                </a:cubicBezTo>
                <a:moveTo>
                  <a:pt x="124" y="161"/>
                </a:moveTo>
                <a:cubicBezTo>
                  <a:pt x="118" y="161"/>
                  <a:pt x="118" y="161"/>
                  <a:pt x="118" y="161"/>
                </a:cubicBezTo>
                <a:cubicBezTo>
                  <a:pt x="118" y="154"/>
                  <a:pt x="118" y="154"/>
                  <a:pt x="118" y="154"/>
                </a:cubicBezTo>
                <a:cubicBezTo>
                  <a:pt x="124" y="154"/>
                  <a:pt x="124" y="154"/>
                  <a:pt x="124" y="154"/>
                </a:cubicBezTo>
                <a:cubicBezTo>
                  <a:pt x="124" y="161"/>
                  <a:pt x="124" y="161"/>
                  <a:pt x="124" y="161"/>
                </a:cubicBezTo>
                <a:moveTo>
                  <a:pt x="137" y="283"/>
                </a:moveTo>
                <a:cubicBezTo>
                  <a:pt x="131" y="283"/>
                  <a:pt x="131" y="283"/>
                  <a:pt x="131" y="283"/>
                </a:cubicBezTo>
                <a:cubicBezTo>
                  <a:pt x="131" y="276"/>
                  <a:pt x="131" y="276"/>
                  <a:pt x="131" y="276"/>
                </a:cubicBezTo>
                <a:cubicBezTo>
                  <a:pt x="137" y="276"/>
                  <a:pt x="137" y="276"/>
                  <a:pt x="137" y="276"/>
                </a:cubicBezTo>
                <a:cubicBezTo>
                  <a:pt x="137" y="283"/>
                  <a:pt x="137" y="283"/>
                  <a:pt x="137" y="283"/>
                </a:cubicBezTo>
                <a:moveTo>
                  <a:pt x="137" y="248"/>
                </a:moveTo>
                <a:cubicBezTo>
                  <a:pt x="131" y="248"/>
                  <a:pt x="131" y="248"/>
                  <a:pt x="131" y="248"/>
                </a:cubicBezTo>
                <a:cubicBezTo>
                  <a:pt x="131" y="241"/>
                  <a:pt x="131" y="241"/>
                  <a:pt x="131" y="241"/>
                </a:cubicBezTo>
                <a:cubicBezTo>
                  <a:pt x="137" y="241"/>
                  <a:pt x="137" y="241"/>
                  <a:pt x="137" y="241"/>
                </a:cubicBezTo>
                <a:cubicBezTo>
                  <a:pt x="137" y="248"/>
                  <a:pt x="137" y="248"/>
                  <a:pt x="137" y="248"/>
                </a:cubicBezTo>
                <a:moveTo>
                  <a:pt x="137" y="212"/>
                </a:moveTo>
                <a:cubicBezTo>
                  <a:pt x="131" y="212"/>
                  <a:pt x="131" y="212"/>
                  <a:pt x="131" y="212"/>
                </a:cubicBezTo>
                <a:cubicBezTo>
                  <a:pt x="131" y="205"/>
                  <a:pt x="131" y="205"/>
                  <a:pt x="131" y="205"/>
                </a:cubicBezTo>
                <a:cubicBezTo>
                  <a:pt x="137" y="205"/>
                  <a:pt x="137" y="205"/>
                  <a:pt x="137" y="205"/>
                </a:cubicBezTo>
                <a:cubicBezTo>
                  <a:pt x="137" y="212"/>
                  <a:pt x="137" y="212"/>
                  <a:pt x="137" y="212"/>
                </a:cubicBezTo>
                <a:moveTo>
                  <a:pt x="137" y="177"/>
                </a:moveTo>
                <a:cubicBezTo>
                  <a:pt x="131" y="177"/>
                  <a:pt x="131" y="177"/>
                  <a:pt x="131" y="177"/>
                </a:cubicBezTo>
                <a:cubicBezTo>
                  <a:pt x="131" y="170"/>
                  <a:pt x="131" y="170"/>
                  <a:pt x="131" y="170"/>
                </a:cubicBezTo>
                <a:cubicBezTo>
                  <a:pt x="137" y="170"/>
                  <a:pt x="137" y="170"/>
                  <a:pt x="137" y="170"/>
                </a:cubicBezTo>
                <a:cubicBezTo>
                  <a:pt x="137" y="177"/>
                  <a:pt x="137" y="177"/>
                  <a:pt x="137" y="177"/>
                </a:cubicBezTo>
                <a:moveTo>
                  <a:pt x="149" y="299"/>
                </a:moveTo>
                <a:cubicBezTo>
                  <a:pt x="143" y="299"/>
                  <a:pt x="143" y="299"/>
                  <a:pt x="143" y="299"/>
                </a:cubicBezTo>
                <a:cubicBezTo>
                  <a:pt x="143" y="292"/>
                  <a:pt x="143" y="292"/>
                  <a:pt x="143" y="292"/>
                </a:cubicBezTo>
                <a:cubicBezTo>
                  <a:pt x="149" y="292"/>
                  <a:pt x="149" y="292"/>
                  <a:pt x="149" y="292"/>
                </a:cubicBezTo>
                <a:cubicBezTo>
                  <a:pt x="149" y="299"/>
                  <a:pt x="149" y="299"/>
                  <a:pt x="149" y="299"/>
                </a:cubicBezTo>
                <a:moveTo>
                  <a:pt x="149" y="263"/>
                </a:moveTo>
                <a:cubicBezTo>
                  <a:pt x="143" y="263"/>
                  <a:pt x="143" y="263"/>
                  <a:pt x="143" y="263"/>
                </a:cubicBezTo>
                <a:cubicBezTo>
                  <a:pt x="143" y="256"/>
                  <a:pt x="143" y="256"/>
                  <a:pt x="143" y="256"/>
                </a:cubicBezTo>
                <a:cubicBezTo>
                  <a:pt x="149" y="256"/>
                  <a:pt x="149" y="256"/>
                  <a:pt x="149" y="256"/>
                </a:cubicBezTo>
                <a:cubicBezTo>
                  <a:pt x="149" y="263"/>
                  <a:pt x="149" y="263"/>
                  <a:pt x="149" y="263"/>
                </a:cubicBezTo>
                <a:moveTo>
                  <a:pt x="149" y="228"/>
                </a:moveTo>
                <a:cubicBezTo>
                  <a:pt x="143" y="228"/>
                  <a:pt x="143" y="228"/>
                  <a:pt x="143" y="228"/>
                </a:cubicBezTo>
                <a:cubicBezTo>
                  <a:pt x="143" y="221"/>
                  <a:pt x="143" y="221"/>
                  <a:pt x="143" y="221"/>
                </a:cubicBezTo>
                <a:cubicBezTo>
                  <a:pt x="149" y="221"/>
                  <a:pt x="149" y="221"/>
                  <a:pt x="149" y="221"/>
                </a:cubicBezTo>
                <a:cubicBezTo>
                  <a:pt x="149" y="228"/>
                  <a:pt x="149" y="228"/>
                  <a:pt x="149" y="228"/>
                </a:cubicBezTo>
                <a:moveTo>
                  <a:pt x="149" y="192"/>
                </a:moveTo>
                <a:cubicBezTo>
                  <a:pt x="143" y="192"/>
                  <a:pt x="143" y="192"/>
                  <a:pt x="143" y="192"/>
                </a:cubicBezTo>
                <a:cubicBezTo>
                  <a:pt x="143" y="185"/>
                  <a:pt x="143" y="185"/>
                  <a:pt x="143" y="185"/>
                </a:cubicBezTo>
                <a:cubicBezTo>
                  <a:pt x="149" y="185"/>
                  <a:pt x="149" y="185"/>
                  <a:pt x="149" y="185"/>
                </a:cubicBezTo>
                <a:cubicBezTo>
                  <a:pt x="149" y="192"/>
                  <a:pt x="149" y="192"/>
                  <a:pt x="149" y="192"/>
                </a:cubicBezTo>
                <a:moveTo>
                  <a:pt x="162" y="279"/>
                </a:moveTo>
                <a:cubicBezTo>
                  <a:pt x="156" y="279"/>
                  <a:pt x="156" y="279"/>
                  <a:pt x="156" y="279"/>
                </a:cubicBezTo>
                <a:cubicBezTo>
                  <a:pt x="156" y="272"/>
                  <a:pt x="156" y="272"/>
                  <a:pt x="156" y="272"/>
                </a:cubicBezTo>
                <a:cubicBezTo>
                  <a:pt x="162" y="272"/>
                  <a:pt x="162" y="272"/>
                  <a:pt x="162" y="272"/>
                </a:cubicBezTo>
                <a:cubicBezTo>
                  <a:pt x="162" y="279"/>
                  <a:pt x="162" y="279"/>
                  <a:pt x="162" y="279"/>
                </a:cubicBezTo>
                <a:moveTo>
                  <a:pt x="162" y="243"/>
                </a:moveTo>
                <a:cubicBezTo>
                  <a:pt x="156" y="243"/>
                  <a:pt x="156" y="243"/>
                  <a:pt x="156" y="243"/>
                </a:cubicBezTo>
                <a:cubicBezTo>
                  <a:pt x="156" y="236"/>
                  <a:pt x="156" y="236"/>
                  <a:pt x="156" y="236"/>
                </a:cubicBezTo>
                <a:cubicBezTo>
                  <a:pt x="162" y="236"/>
                  <a:pt x="162" y="236"/>
                  <a:pt x="162" y="236"/>
                </a:cubicBezTo>
                <a:cubicBezTo>
                  <a:pt x="162" y="243"/>
                  <a:pt x="162" y="243"/>
                  <a:pt x="162" y="243"/>
                </a:cubicBezTo>
                <a:moveTo>
                  <a:pt x="162" y="208"/>
                </a:moveTo>
                <a:cubicBezTo>
                  <a:pt x="156" y="208"/>
                  <a:pt x="156" y="208"/>
                  <a:pt x="156" y="208"/>
                </a:cubicBezTo>
                <a:cubicBezTo>
                  <a:pt x="156" y="201"/>
                  <a:pt x="156" y="201"/>
                  <a:pt x="156" y="201"/>
                </a:cubicBezTo>
                <a:cubicBezTo>
                  <a:pt x="162" y="201"/>
                  <a:pt x="162" y="201"/>
                  <a:pt x="162" y="201"/>
                </a:cubicBezTo>
                <a:cubicBezTo>
                  <a:pt x="162" y="208"/>
                  <a:pt x="162" y="208"/>
                  <a:pt x="162" y="208"/>
                </a:cubicBezTo>
                <a:moveTo>
                  <a:pt x="204" y="293"/>
                </a:moveTo>
                <a:cubicBezTo>
                  <a:pt x="186" y="293"/>
                  <a:pt x="186" y="293"/>
                  <a:pt x="186" y="293"/>
                </a:cubicBezTo>
                <a:cubicBezTo>
                  <a:pt x="186" y="288"/>
                  <a:pt x="186" y="288"/>
                  <a:pt x="186" y="288"/>
                </a:cubicBezTo>
                <a:cubicBezTo>
                  <a:pt x="204" y="288"/>
                  <a:pt x="204" y="288"/>
                  <a:pt x="204" y="288"/>
                </a:cubicBezTo>
                <a:cubicBezTo>
                  <a:pt x="204" y="293"/>
                  <a:pt x="204" y="293"/>
                  <a:pt x="204" y="293"/>
                </a:cubicBezTo>
                <a:moveTo>
                  <a:pt x="204" y="282"/>
                </a:moveTo>
                <a:cubicBezTo>
                  <a:pt x="186" y="282"/>
                  <a:pt x="186" y="282"/>
                  <a:pt x="186" y="282"/>
                </a:cubicBezTo>
                <a:cubicBezTo>
                  <a:pt x="186" y="277"/>
                  <a:pt x="186" y="277"/>
                  <a:pt x="186" y="277"/>
                </a:cubicBezTo>
                <a:cubicBezTo>
                  <a:pt x="204" y="277"/>
                  <a:pt x="204" y="277"/>
                  <a:pt x="204" y="277"/>
                </a:cubicBezTo>
                <a:cubicBezTo>
                  <a:pt x="204" y="282"/>
                  <a:pt x="204" y="282"/>
                  <a:pt x="204" y="282"/>
                </a:cubicBezTo>
                <a:moveTo>
                  <a:pt x="204" y="271"/>
                </a:moveTo>
                <a:cubicBezTo>
                  <a:pt x="186" y="271"/>
                  <a:pt x="186" y="271"/>
                  <a:pt x="186" y="271"/>
                </a:cubicBezTo>
                <a:cubicBezTo>
                  <a:pt x="186" y="266"/>
                  <a:pt x="186" y="266"/>
                  <a:pt x="186" y="266"/>
                </a:cubicBezTo>
                <a:cubicBezTo>
                  <a:pt x="204" y="266"/>
                  <a:pt x="204" y="266"/>
                  <a:pt x="204" y="266"/>
                </a:cubicBezTo>
                <a:cubicBezTo>
                  <a:pt x="204" y="271"/>
                  <a:pt x="204" y="271"/>
                  <a:pt x="204" y="271"/>
                </a:cubicBezTo>
                <a:moveTo>
                  <a:pt x="204" y="260"/>
                </a:moveTo>
                <a:cubicBezTo>
                  <a:pt x="186" y="260"/>
                  <a:pt x="186" y="260"/>
                  <a:pt x="186" y="260"/>
                </a:cubicBezTo>
                <a:cubicBezTo>
                  <a:pt x="186" y="255"/>
                  <a:pt x="186" y="255"/>
                  <a:pt x="186" y="255"/>
                </a:cubicBezTo>
                <a:cubicBezTo>
                  <a:pt x="204" y="255"/>
                  <a:pt x="204" y="255"/>
                  <a:pt x="204" y="255"/>
                </a:cubicBezTo>
                <a:cubicBezTo>
                  <a:pt x="204" y="260"/>
                  <a:pt x="204" y="260"/>
                  <a:pt x="204" y="260"/>
                </a:cubicBezTo>
                <a:moveTo>
                  <a:pt x="204" y="249"/>
                </a:moveTo>
                <a:cubicBezTo>
                  <a:pt x="186" y="249"/>
                  <a:pt x="186" y="249"/>
                  <a:pt x="186" y="249"/>
                </a:cubicBezTo>
                <a:cubicBezTo>
                  <a:pt x="186" y="244"/>
                  <a:pt x="186" y="244"/>
                  <a:pt x="186" y="244"/>
                </a:cubicBezTo>
                <a:cubicBezTo>
                  <a:pt x="204" y="244"/>
                  <a:pt x="204" y="244"/>
                  <a:pt x="204" y="244"/>
                </a:cubicBezTo>
                <a:cubicBezTo>
                  <a:pt x="204" y="249"/>
                  <a:pt x="204" y="249"/>
                  <a:pt x="204" y="249"/>
                </a:cubicBezTo>
                <a:moveTo>
                  <a:pt x="204" y="238"/>
                </a:moveTo>
                <a:cubicBezTo>
                  <a:pt x="186" y="238"/>
                  <a:pt x="186" y="238"/>
                  <a:pt x="186" y="238"/>
                </a:cubicBezTo>
                <a:cubicBezTo>
                  <a:pt x="186" y="234"/>
                  <a:pt x="186" y="234"/>
                  <a:pt x="186" y="234"/>
                </a:cubicBezTo>
                <a:cubicBezTo>
                  <a:pt x="204" y="234"/>
                  <a:pt x="204" y="234"/>
                  <a:pt x="204" y="234"/>
                </a:cubicBezTo>
                <a:cubicBezTo>
                  <a:pt x="204" y="238"/>
                  <a:pt x="204" y="238"/>
                  <a:pt x="204" y="238"/>
                </a:cubicBezTo>
                <a:moveTo>
                  <a:pt x="204" y="228"/>
                </a:moveTo>
                <a:cubicBezTo>
                  <a:pt x="186" y="228"/>
                  <a:pt x="186" y="228"/>
                  <a:pt x="186" y="228"/>
                </a:cubicBezTo>
                <a:cubicBezTo>
                  <a:pt x="186" y="223"/>
                  <a:pt x="186" y="223"/>
                  <a:pt x="186" y="223"/>
                </a:cubicBezTo>
                <a:cubicBezTo>
                  <a:pt x="204" y="223"/>
                  <a:pt x="204" y="223"/>
                  <a:pt x="204" y="223"/>
                </a:cubicBezTo>
                <a:cubicBezTo>
                  <a:pt x="204" y="228"/>
                  <a:pt x="204" y="228"/>
                  <a:pt x="204" y="228"/>
                </a:cubicBezTo>
                <a:moveTo>
                  <a:pt x="204" y="217"/>
                </a:moveTo>
                <a:cubicBezTo>
                  <a:pt x="186" y="217"/>
                  <a:pt x="186" y="217"/>
                  <a:pt x="186" y="217"/>
                </a:cubicBezTo>
                <a:cubicBezTo>
                  <a:pt x="186" y="212"/>
                  <a:pt x="186" y="212"/>
                  <a:pt x="186" y="212"/>
                </a:cubicBezTo>
                <a:cubicBezTo>
                  <a:pt x="204" y="212"/>
                  <a:pt x="204" y="212"/>
                  <a:pt x="204" y="212"/>
                </a:cubicBezTo>
                <a:cubicBezTo>
                  <a:pt x="204" y="217"/>
                  <a:pt x="204" y="217"/>
                  <a:pt x="204" y="217"/>
                </a:cubicBezTo>
                <a:moveTo>
                  <a:pt x="252" y="214"/>
                </a:moveTo>
                <a:cubicBezTo>
                  <a:pt x="243" y="214"/>
                  <a:pt x="243" y="214"/>
                  <a:pt x="243" y="214"/>
                </a:cubicBezTo>
                <a:cubicBezTo>
                  <a:pt x="243" y="203"/>
                  <a:pt x="243" y="203"/>
                  <a:pt x="243" y="203"/>
                </a:cubicBezTo>
                <a:cubicBezTo>
                  <a:pt x="252" y="203"/>
                  <a:pt x="252" y="203"/>
                  <a:pt x="252" y="203"/>
                </a:cubicBezTo>
                <a:cubicBezTo>
                  <a:pt x="252" y="214"/>
                  <a:pt x="252" y="214"/>
                  <a:pt x="252" y="214"/>
                </a:cubicBezTo>
                <a:moveTo>
                  <a:pt x="252" y="154"/>
                </a:moveTo>
                <a:cubicBezTo>
                  <a:pt x="243" y="154"/>
                  <a:pt x="243" y="154"/>
                  <a:pt x="243" y="154"/>
                </a:cubicBezTo>
                <a:cubicBezTo>
                  <a:pt x="243" y="143"/>
                  <a:pt x="243" y="143"/>
                  <a:pt x="243" y="143"/>
                </a:cubicBezTo>
                <a:cubicBezTo>
                  <a:pt x="252" y="143"/>
                  <a:pt x="252" y="143"/>
                  <a:pt x="252" y="143"/>
                </a:cubicBezTo>
                <a:cubicBezTo>
                  <a:pt x="252" y="154"/>
                  <a:pt x="252" y="154"/>
                  <a:pt x="252" y="154"/>
                </a:cubicBezTo>
                <a:moveTo>
                  <a:pt x="267" y="242"/>
                </a:moveTo>
                <a:cubicBezTo>
                  <a:pt x="258" y="242"/>
                  <a:pt x="258" y="242"/>
                  <a:pt x="258" y="242"/>
                </a:cubicBezTo>
                <a:cubicBezTo>
                  <a:pt x="258" y="231"/>
                  <a:pt x="258" y="231"/>
                  <a:pt x="258" y="231"/>
                </a:cubicBezTo>
                <a:cubicBezTo>
                  <a:pt x="267" y="231"/>
                  <a:pt x="267" y="231"/>
                  <a:pt x="267" y="231"/>
                </a:cubicBezTo>
                <a:cubicBezTo>
                  <a:pt x="267" y="242"/>
                  <a:pt x="267" y="242"/>
                  <a:pt x="267" y="242"/>
                </a:cubicBezTo>
                <a:moveTo>
                  <a:pt x="271" y="178"/>
                </a:moveTo>
                <a:cubicBezTo>
                  <a:pt x="263" y="178"/>
                  <a:pt x="263" y="178"/>
                  <a:pt x="263" y="178"/>
                </a:cubicBezTo>
                <a:cubicBezTo>
                  <a:pt x="263" y="167"/>
                  <a:pt x="263" y="167"/>
                  <a:pt x="263" y="167"/>
                </a:cubicBezTo>
                <a:cubicBezTo>
                  <a:pt x="271" y="167"/>
                  <a:pt x="271" y="167"/>
                  <a:pt x="271" y="167"/>
                </a:cubicBezTo>
                <a:cubicBezTo>
                  <a:pt x="271" y="178"/>
                  <a:pt x="271" y="178"/>
                  <a:pt x="271" y="178"/>
                </a:cubicBezTo>
                <a:moveTo>
                  <a:pt x="280" y="154"/>
                </a:moveTo>
                <a:cubicBezTo>
                  <a:pt x="271" y="154"/>
                  <a:pt x="271" y="154"/>
                  <a:pt x="271" y="154"/>
                </a:cubicBezTo>
                <a:cubicBezTo>
                  <a:pt x="271" y="143"/>
                  <a:pt x="271" y="143"/>
                  <a:pt x="271" y="143"/>
                </a:cubicBezTo>
                <a:cubicBezTo>
                  <a:pt x="280" y="143"/>
                  <a:pt x="280" y="143"/>
                  <a:pt x="280" y="143"/>
                </a:cubicBezTo>
                <a:cubicBezTo>
                  <a:pt x="280" y="154"/>
                  <a:pt x="280" y="154"/>
                  <a:pt x="280" y="154"/>
                </a:cubicBezTo>
                <a:moveTo>
                  <a:pt x="380" y="107"/>
                </a:moveTo>
                <a:cubicBezTo>
                  <a:pt x="389" y="107"/>
                  <a:pt x="389" y="107"/>
                  <a:pt x="389" y="107"/>
                </a:cubicBezTo>
                <a:cubicBezTo>
                  <a:pt x="389" y="117"/>
                  <a:pt x="389" y="117"/>
                  <a:pt x="389" y="117"/>
                </a:cubicBezTo>
                <a:cubicBezTo>
                  <a:pt x="380" y="117"/>
                  <a:pt x="380" y="117"/>
                  <a:pt x="380" y="117"/>
                </a:cubicBezTo>
                <a:cubicBezTo>
                  <a:pt x="380" y="107"/>
                  <a:pt x="380" y="107"/>
                  <a:pt x="380" y="107"/>
                </a:cubicBezTo>
                <a:moveTo>
                  <a:pt x="380" y="173"/>
                </a:moveTo>
                <a:cubicBezTo>
                  <a:pt x="389" y="173"/>
                  <a:pt x="389" y="173"/>
                  <a:pt x="389" y="173"/>
                </a:cubicBezTo>
                <a:cubicBezTo>
                  <a:pt x="389" y="183"/>
                  <a:pt x="389" y="183"/>
                  <a:pt x="389" y="183"/>
                </a:cubicBezTo>
                <a:cubicBezTo>
                  <a:pt x="380" y="183"/>
                  <a:pt x="380" y="183"/>
                  <a:pt x="380" y="183"/>
                </a:cubicBezTo>
                <a:cubicBezTo>
                  <a:pt x="380" y="173"/>
                  <a:pt x="380" y="173"/>
                  <a:pt x="380" y="173"/>
                </a:cubicBezTo>
                <a:moveTo>
                  <a:pt x="393" y="274"/>
                </a:moveTo>
                <a:cubicBezTo>
                  <a:pt x="385" y="274"/>
                  <a:pt x="385" y="274"/>
                  <a:pt x="385" y="274"/>
                </a:cubicBezTo>
                <a:cubicBezTo>
                  <a:pt x="385" y="263"/>
                  <a:pt x="385" y="263"/>
                  <a:pt x="385" y="263"/>
                </a:cubicBezTo>
                <a:cubicBezTo>
                  <a:pt x="393" y="263"/>
                  <a:pt x="393" y="263"/>
                  <a:pt x="393" y="263"/>
                </a:cubicBezTo>
                <a:cubicBezTo>
                  <a:pt x="393" y="274"/>
                  <a:pt x="393" y="274"/>
                  <a:pt x="393" y="274"/>
                </a:cubicBezTo>
                <a:moveTo>
                  <a:pt x="402" y="214"/>
                </a:moveTo>
                <a:cubicBezTo>
                  <a:pt x="393" y="214"/>
                  <a:pt x="393" y="214"/>
                  <a:pt x="393" y="214"/>
                </a:cubicBezTo>
                <a:cubicBezTo>
                  <a:pt x="393" y="203"/>
                  <a:pt x="393" y="203"/>
                  <a:pt x="393" y="203"/>
                </a:cubicBezTo>
                <a:cubicBezTo>
                  <a:pt x="402" y="203"/>
                  <a:pt x="402" y="203"/>
                  <a:pt x="402" y="203"/>
                </a:cubicBezTo>
                <a:cubicBezTo>
                  <a:pt x="402" y="214"/>
                  <a:pt x="402" y="214"/>
                  <a:pt x="402" y="214"/>
                </a:cubicBezTo>
                <a:moveTo>
                  <a:pt x="422" y="159"/>
                </a:moveTo>
                <a:cubicBezTo>
                  <a:pt x="413" y="159"/>
                  <a:pt x="413" y="159"/>
                  <a:pt x="413" y="159"/>
                </a:cubicBezTo>
                <a:cubicBezTo>
                  <a:pt x="413" y="149"/>
                  <a:pt x="413" y="149"/>
                  <a:pt x="413" y="149"/>
                </a:cubicBezTo>
                <a:cubicBezTo>
                  <a:pt x="422" y="149"/>
                  <a:pt x="422" y="149"/>
                  <a:pt x="422" y="149"/>
                </a:cubicBezTo>
                <a:cubicBezTo>
                  <a:pt x="422" y="159"/>
                  <a:pt x="422" y="159"/>
                  <a:pt x="422" y="159"/>
                </a:cubicBezTo>
                <a:moveTo>
                  <a:pt x="422" y="123"/>
                </a:moveTo>
                <a:cubicBezTo>
                  <a:pt x="413" y="123"/>
                  <a:pt x="413" y="123"/>
                  <a:pt x="413" y="123"/>
                </a:cubicBezTo>
                <a:cubicBezTo>
                  <a:pt x="413" y="112"/>
                  <a:pt x="413" y="112"/>
                  <a:pt x="413" y="112"/>
                </a:cubicBezTo>
                <a:cubicBezTo>
                  <a:pt x="422" y="112"/>
                  <a:pt x="422" y="112"/>
                  <a:pt x="422" y="112"/>
                </a:cubicBezTo>
                <a:cubicBezTo>
                  <a:pt x="422" y="123"/>
                  <a:pt x="422" y="123"/>
                  <a:pt x="422" y="123"/>
                </a:cubicBezTo>
                <a:moveTo>
                  <a:pt x="441" y="40"/>
                </a:moveTo>
                <a:cubicBezTo>
                  <a:pt x="506" y="40"/>
                  <a:pt x="506" y="40"/>
                  <a:pt x="506" y="40"/>
                </a:cubicBezTo>
                <a:cubicBezTo>
                  <a:pt x="506" y="41"/>
                  <a:pt x="506" y="41"/>
                  <a:pt x="507" y="42"/>
                </a:cubicBezTo>
                <a:cubicBezTo>
                  <a:pt x="507" y="47"/>
                  <a:pt x="507" y="47"/>
                  <a:pt x="507" y="47"/>
                </a:cubicBezTo>
                <a:cubicBezTo>
                  <a:pt x="441" y="47"/>
                  <a:pt x="441" y="47"/>
                  <a:pt x="441" y="47"/>
                </a:cubicBezTo>
                <a:cubicBezTo>
                  <a:pt x="441" y="40"/>
                  <a:pt x="441" y="40"/>
                  <a:pt x="441" y="40"/>
                </a:cubicBezTo>
                <a:moveTo>
                  <a:pt x="441" y="53"/>
                </a:moveTo>
                <a:cubicBezTo>
                  <a:pt x="507" y="53"/>
                  <a:pt x="507" y="53"/>
                  <a:pt x="507" y="53"/>
                </a:cubicBezTo>
                <a:cubicBezTo>
                  <a:pt x="507" y="60"/>
                  <a:pt x="507" y="60"/>
                  <a:pt x="507" y="60"/>
                </a:cubicBezTo>
                <a:cubicBezTo>
                  <a:pt x="441" y="60"/>
                  <a:pt x="441" y="60"/>
                  <a:pt x="441" y="60"/>
                </a:cubicBezTo>
                <a:cubicBezTo>
                  <a:pt x="441" y="53"/>
                  <a:pt x="441" y="53"/>
                  <a:pt x="441" y="53"/>
                </a:cubicBezTo>
                <a:moveTo>
                  <a:pt x="441" y="66"/>
                </a:moveTo>
                <a:cubicBezTo>
                  <a:pt x="507" y="66"/>
                  <a:pt x="507" y="66"/>
                  <a:pt x="507" y="66"/>
                </a:cubicBezTo>
                <a:cubicBezTo>
                  <a:pt x="507" y="73"/>
                  <a:pt x="507" y="73"/>
                  <a:pt x="507" y="73"/>
                </a:cubicBezTo>
                <a:cubicBezTo>
                  <a:pt x="441" y="73"/>
                  <a:pt x="441" y="73"/>
                  <a:pt x="441" y="73"/>
                </a:cubicBezTo>
                <a:cubicBezTo>
                  <a:pt x="441" y="66"/>
                  <a:pt x="441" y="66"/>
                  <a:pt x="441" y="66"/>
                </a:cubicBezTo>
                <a:moveTo>
                  <a:pt x="441" y="79"/>
                </a:moveTo>
                <a:cubicBezTo>
                  <a:pt x="507" y="79"/>
                  <a:pt x="507" y="79"/>
                  <a:pt x="507" y="79"/>
                </a:cubicBezTo>
                <a:cubicBezTo>
                  <a:pt x="507" y="86"/>
                  <a:pt x="507" y="86"/>
                  <a:pt x="507" y="86"/>
                </a:cubicBezTo>
                <a:cubicBezTo>
                  <a:pt x="441" y="86"/>
                  <a:pt x="441" y="86"/>
                  <a:pt x="441" y="86"/>
                </a:cubicBezTo>
                <a:cubicBezTo>
                  <a:pt x="441" y="79"/>
                  <a:pt x="441" y="79"/>
                  <a:pt x="441" y="79"/>
                </a:cubicBezTo>
                <a:moveTo>
                  <a:pt x="441" y="91"/>
                </a:moveTo>
                <a:cubicBezTo>
                  <a:pt x="507" y="91"/>
                  <a:pt x="507" y="91"/>
                  <a:pt x="507" y="91"/>
                </a:cubicBezTo>
                <a:cubicBezTo>
                  <a:pt x="507" y="98"/>
                  <a:pt x="507" y="98"/>
                  <a:pt x="507" y="98"/>
                </a:cubicBezTo>
                <a:cubicBezTo>
                  <a:pt x="441" y="98"/>
                  <a:pt x="441" y="98"/>
                  <a:pt x="441" y="98"/>
                </a:cubicBezTo>
                <a:cubicBezTo>
                  <a:pt x="441" y="91"/>
                  <a:pt x="441" y="91"/>
                  <a:pt x="441" y="91"/>
                </a:cubicBezTo>
                <a:moveTo>
                  <a:pt x="441" y="104"/>
                </a:moveTo>
                <a:cubicBezTo>
                  <a:pt x="507" y="104"/>
                  <a:pt x="507" y="104"/>
                  <a:pt x="507" y="104"/>
                </a:cubicBezTo>
                <a:cubicBezTo>
                  <a:pt x="507" y="111"/>
                  <a:pt x="507" y="111"/>
                  <a:pt x="507" y="111"/>
                </a:cubicBezTo>
                <a:cubicBezTo>
                  <a:pt x="441" y="111"/>
                  <a:pt x="441" y="111"/>
                  <a:pt x="441" y="111"/>
                </a:cubicBezTo>
                <a:cubicBezTo>
                  <a:pt x="441" y="104"/>
                  <a:pt x="441" y="104"/>
                  <a:pt x="441" y="104"/>
                </a:cubicBezTo>
                <a:moveTo>
                  <a:pt x="441" y="117"/>
                </a:moveTo>
                <a:cubicBezTo>
                  <a:pt x="507" y="117"/>
                  <a:pt x="507" y="117"/>
                  <a:pt x="507" y="117"/>
                </a:cubicBezTo>
                <a:cubicBezTo>
                  <a:pt x="507" y="124"/>
                  <a:pt x="507" y="124"/>
                  <a:pt x="507" y="124"/>
                </a:cubicBezTo>
                <a:cubicBezTo>
                  <a:pt x="441" y="124"/>
                  <a:pt x="441" y="124"/>
                  <a:pt x="441" y="124"/>
                </a:cubicBezTo>
                <a:cubicBezTo>
                  <a:pt x="441" y="117"/>
                  <a:pt x="441" y="117"/>
                  <a:pt x="441" y="117"/>
                </a:cubicBezTo>
                <a:moveTo>
                  <a:pt x="441" y="130"/>
                </a:moveTo>
                <a:cubicBezTo>
                  <a:pt x="507" y="130"/>
                  <a:pt x="507" y="130"/>
                  <a:pt x="507" y="130"/>
                </a:cubicBezTo>
                <a:cubicBezTo>
                  <a:pt x="507" y="137"/>
                  <a:pt x="507" y="137"/>
                  <a:pt x="507" y="137"/>
                </a:cubicBezTo>
                <a:cubicBezTo>
                  <a:pt x="441" y="137"/>
                  <a:pt x="441" y="137"/>
                  <a:pt x="441" y="137"/>
                </a:cubicBezTo>
                <a:cubicBezTo>
                  <a:pt x="441" y="130"/>
                  <a:pt x="441" y="130"/>
                  <a:pt x="441" y="130"/>
                </a:cubicBezTo>
                <a:moveTo>
                  <a:pt x="441" y="142"/>
                </a:moveTo>
                <a:cubicBezTo>
                  <a:pt x="507" y="142"/>
                  <a:pt x="507" y="142"/>
                  <a:pt x="507" y="142"/>
                </a:cubicBezTo>
                <a:cubicBezTo>
                  <a:pt x="507" y="150"/>
                  <a:pt x="507" y="150"/>
                  <a:pt x="507" y="150"/>
                </a:cubicBezTo>
                <a:cubicBezTo>
                  <a:pt x="441" y="150"/>
                  <a:pt x="441" y="150"/>
                  <a:pt x="441" y="150"/>
                </a:cubicBezTo>
                <a:cubicBezTo>
                  <a:pt x="441" y="142"/>
                  <a:pt x="441" y="142"/>
                  <a:pt x="441" y="142"/>
                </a:cubicBezTo>
                <a:moveTo>
                  <a:pt x="441" y="155"/>
                </a:moveTo>
                <a:cubicBezTo>
                  <a:pt x="507" y="155"/>
                  <a:pt x="507" y="155"/>
                  <a:pt x="507" y="155"/>
                </a:cubicBezTo>
                <a:cubicBezTo>
                  <a:pt x="507" y="162"/>
                  <a:pt x="507" y="162"/>
                  <a:pt x="507" y="162"/>
                </a:cubicBezTo>
                <a:cubicBezTo>
                  <a:pt x="441" y="162"/>
                  <a:pt x="441" y="162"/>
                  <a:pt x="441" y="162"/>
                </a:cubicBezTo>
                <a:cubicBezTo>
                  <a:pt x="441" y="155"/>
                  <a:pt x="441" y="155"/>
                  <a:pt x="441" y="155"/>
                </a:cubicBezTo>
                <a:moveTo>
                  <a:pt x="480" y="201"/>
                </a:moveTo>
                <a:cubicBezTo>
                  <a:pt x="480" y="194"/>
                  <a:pt x="480" y="194"/>
                  <a:pt x="480" y="194"/>
                </a:cubicBezTo>
                <a:cubicBezTo>
                  <a:pt x="507" y="194"/>
                  <a:pt x="507" y="194"/>
                  <a:pt x="507" y="194"/>
                </a:cubicBezTo>
                <a:cubicBezTo>
                  <a:pt x="507" y="201"/>
                  <a:pt x="507" y="201"/>
                  <a:pt x="507" y="201"/>
                </a:cubicBezTo>
                <a:cubicBezTo>
                  <a:pt x="480" y="201"/>
                  <a:pt x="480" y="201"/>
                  <a:pt x="480" y="201"/>
                </a:cubicBezTo>
                <a:moveTo>
                  <a:pt x="492" y="205"/>
                </a:moveTo>
                <a:cubicBezTo>
                  <a:pt x="492" y="231"/>
                  <a:pt x="492" y="231"/>
                  <a:pt x="492" y="231"/>
                </a:cubicBezTo>
                <a:cubicBezTo>
                  <a:pt x="480" y="231"/>
                  <a:pt x="480" y="231"/>
                  <a:pt x="480" y="231"/>
                </a:cubicBezTo>
                <a:cubicBezTo>
                  <a:pt x="480" y="205"/>
                  <a:pt x="480" y="205"/>
                  <a:pt x="480" y="205"/>
                </a:cubicBezTo>
                <a:cubicBezTo>
                  <a:pt x="492" y="205"/>
                  <a:pt x="492" y="205"/>
                  <a:pt x="492" y="205"/>
                </a:cubicBezTo>
                <a:moveTo>
                  <a:pt x="480" y="188"/>
                </a:moveTo>
                <a:cubicBezTo>
                  <a:pt x="480" y="181"/>
                  <a:pt x="480" y="181"/>
                  <a:pt x="480" y="181"/>
                </a:cubicBezTo>
                <a:cubicBezTo>
                  <a:pt x="507" y="181"/>
                  <a:pt x="507" y="181"/>
                  <a:pt x="507" y="181"/>
                </a:cubicBezTo>
                <a:cubicBezTo>
                  <a:pt x="507" y="188"/>
                  <a:pt x="507" y="188"/>
                  <a:pt x="507" y="188"/>
                </a:cubicBezTo>
                <a:cubicBezTo>
                  <a:pt x="480" y="188"/>
                  <a:pt x="480" y="188"/>
                  <a:pt x="480" y="188"/>
                </a:cubicBezTo>
                <a:moveTo>
                  <a:pt x="480" y="175"/>
                </a:moveTo>
                <a:cubicBezTo>
                  <a:pt x="480" y="168"/>
                  <a:pt x="480" y="168"/>
                  <a:pt x="480" y="168"/>
                </a:cubicBezTo>
                <a:cubicBezTo>
                  <a:pt x="507" y="168"/>
                  <a:pt x="507" y="168"/>
                  <a:pt x="507" y="168"/>
                </a:cubicBezTo>
                <a:cubicBezTo>
                  <a:pt x="507" y="175"/>
                  <a:pt x="507" y="175"/>
                  <a:pt x="507" y="175"/>
                </a:cubicBezTo>
                <a:cubicBezTo>
                  <a:pt x="480" y="175"/>
                  <a:pt x="480" y="175"/>
                  <a:pt x="480" y="175"/>
                </a:cubicBezTo>
                <a:moveTo>
                  <a:pt x="457" y="303"/>
                </a:moveTo>
                <a:cubicBezTo>
                  <a:pt x="438" y="303"/>
                  <a:pt x="438" y="303"/>
                  <a:pt x="438" y="303"/>
                </a:cubicBezTo>
                <a:cubicBezTo>
                  <a:pt x="438" y="231"/>
                  <a:pt x="438" y="231"/>
                  <a:pt x="438" y="231"/>
                </a:cubicBezTo>
                <a:cubicBezTo>
                  <a:pt x="457" y="231"/>
                  <a:pt x="457" y="231"/>
                  <a:pt x="457" y="231"/>
                </a:cubicBezTo>
                <a:cubicBezTo>
                  <a:pt x="457" y="303"/>
                  <a:pt x="457" y="303"/>
                  <a:pt x="457" y="303"/>
                </a:cubicBezTo>
                <a:moveTo>
                  <a:pt x="457" y="231"/>
                </a:moveTo>
                <a:cubicBezTo>
                  <a:pt x="455" y="231"/>
                  <a:pt x="455" y="231"/>
                  <a:pt x="455" y="231"/>
                </a:cubicBezTo>
                <a:cubicBezTo>
                  <a:pt x="455" y="205"/>
                  <a:pt x="455" y="205"/>
                  <a:pt x="455" y="205"/>
                </a:cubicBezTo>
                <a:cubicBezTo>
                  <a:pt x="457" y="205"/>
                  <a:pt x="457" y="205"/>
                  <a:pt x="457" y="205"/>
                </a:cubicBezTo>
                <a:cubicBezTo>
                  <a:pt x="457" y="231"/>
                  <a:pt x="457" y="231"/>
                  <a:pt x="457" y="231"/>
                </a:cubicBezTo>
                <a:moveTo>
                  <a:pt x="457" y="201"/>
                </a:moveTo>
                <a:cubicBezTo>
                  <a:pt x="441" y="201"/>
                  <a:pt x="441" y="201"/>
                  <a:pt x="441" y="201"/>
                </a:cubicBezTo>
                <a:cubicBezTo>
                  <a:pt x="441" y="194"/>
                  <a:pt x="441" y="194"/>
                  <a:pt x="441" y="194"/>
                </a:cubicBezTo>
                <a:cubicBezTo>
                  <a:pt x="457" y="194"/>
                  <a:pt x="457" y="194"/>
                  <a:pt x="457" y="194"/>
                </a:cubicBezTo>
                <a:cubicBezTo>
                  <a:pt x="457" y="201"/>
                  <a:pt x="457" y="201"/>
                  <a:pt x="457" y="201"/>
                </a:cubicBezTo>
                <a:moveTo>
                  <a:pt x="457" y="188"/>
                </a:moveTo>
                <a:cubicBezTo>
                  <a:pt x="441" y="188"/>
                  <a:pt x="441" y="188"/>
                  <a:pt x="441" y="188"/>
                </a:cubicBezTo>
                <a:cubicBezTo>
                  <a:pt x="441" y="181"/>
                  <a:pt x="441" y="181"/>
                  <a:pt x="441" y="181"/>
                </a:cubicBezTo>
                <a:cubicBezTo>
                  <a:pt x="457" y="181"/>
                  <a:pt x="457" y="181"/>
                  <a:pt x="457" y="181"/>
                </a:cubicBezTo>
                <a:cubicBezTo>
                  <a:pt x="457" y="188"/>
                  <a:pt x="457" y="188"/>
                  <a:pt x="457" y="188"/>
                </a:cubicBezTo>
                <a:moveTo>
                  <a:pt x="457" y="175"/>
                </a:moveTo>
                <a:cubicBezTo>
                  <a:pt x="441" y="175"/>
                  <a:pt x="441" y="175"/>
                  <a:pt x="441" y="175"/>
                </a:cubicBezTo>
                <a:cubicBezTo>
                  <a:pt x="441" y="168"/>
                  <a:pt x="441" y="168"/>
                  <a:pt x="441" y="168"/>
                </a:cubicBezTo>
                <a:cubicBezTo>
                  <a:pt x="457" y="168"/>
                  <a:pt x="457" y="168"/>
                  <a:pt x="457" y="168"/>
                </a:cubicBezTo>
                <a:cubicBezTo>
                  <a:pt x="457" y="175"/>
                  <a:pt x="457" y="175"/>
                  <a:pt x="457" y="175"/>
                </a:cubicBezTo>
                <a:moveTo>
                  <a:pt x="481" y="303"/>
                </a:moveTo>
                <a:cubicBezTo>
                  <a:pt x="469" y="303"/>
                  <a:pt x="469" y="303"/>
                  <a:pt x="469" y="303"/>
                </a:cubicBezTo>
                <a:cubicBezTo>
                  <a:pt x="469" y="288"/>
                  <a:pt x="469" y="288"/>
                  <a:pt x="469" y="288"/>
                </a:cubicBezTo>
                <a:cubicBezTo>
                  <a:pt x="481" y="288"/>
                  <a:pt x="481" y="288"/>
                  <a:pt x="481" y="288"/>
                </a:cubicBezTo>
                <a:cubicBezTo>
                  <a:pt x="481" y="303"/>
                  <a:pt x="481" y="303"/>
                  <a:pt x="481" y="303"/>
                </a:cubicBezTo>
                <a:moveTo>
                  <a:pt x="517" y="283"/>
                </a:moveTo>
                <a:cubicBezTo>
                  <a:pt x="505" y="283"/>
                  <a:pt x="505" y="283"/>
                  <a:pt x="505" y="283"/>
                </a:cubicBezTo>
                <a:cubicBezTo>
                  <a:pt x="505" y="268"/>
                  <a:pt x="505" y="268"/>
                  <a:pt x="505" y="268"/>
                </a:cubicBezTo>
                <a:cubicBezTo>
                  <a:pt x="517" y="268"/>
                  <a:pt x="517" y="268"/>
                  <a:pt x="517" y="268"/>
                </a:cubicBezTo>
                <a:cubicBezTo>
                  <a:pt x="517" y="283"/>
                  <a:pt x="517" y="283"/>
                  <a:pt x="517" y="283"/>
                </a:cubicBezTo>
                <a:moveTo>
                  <a:pt x="517" y="236"/>
                </a:moveTo>
                <a:cubicBezTo>
                  <a:pt x="480" y="236"/>
                  <a:pt x="480" y="236"/>
                  <a:pt x="480" y="236"/>
                </a:cubicBezTo>
                <a:cubicBezTo>
                  <a:pt x="480" y="231"/>
                  <a:pt x="480" y="231"/>
                  <a:pt x="480" y="231"/>
                </a:cubicBezTo>
                <a:cubicBezTo>
                  <a:pt x="512" y="231"/>
                  <a:pt x="512" y="231"/>
                  <a:pt x="512" y="231"/>
                </a:cubicBezTo>
                <a:cubicBezTo>
                  <a:pt x="512" y="47"/>
                  <a:pt x="512" y="47"/>
                  <a:pt x="512" y="47"/>
                </a:cubicBezTo>
                <a:cubicBezTo>
                  <a:pt x="513" y="47"/>
                  <a:pt x="513" y="47"/>
                  <a:pt x="513" y="47"/>
                </a:cubicBezTo>
                <a:cubicBezTo>
                  <a:pt x="517" y="47"/>
                  <a:pt x="517" y="47"/>
                  <a:pt x="517" y="47"/>
                </a:cubicBezTo>
                <a:cubicBezTo>
                  <a:pt x="517" y="236"/>
                  <a:pt x="517" y="236"/>
                  <a:pt x="517" y="236"/>
                </a:cubicBezTo>
                <a:moveTo>
                  <a:pt x="572" y="290"/>
                </a:moveTo>
                <a:cubicBezTo>
                  <a:pt x="559" y="290"/>
                  <a:pt x="559" y="290"/>
                  <a:pt x="559" y="290"/>
                </a:cubicBezTo>
                <a:cubicBezTo>
                  <a:pt x="559" y="275"/>
                  <a:pt x="559" y="275"/>
                  <a:pt x="559" y="275"/>
                </a:cubicBezTo>
                <a:cubicBezTo>
                  <a:pt x="572" y="275"/>
                  <a:pt x="572" y="275"/>
                  <a:pt x="572" y="275"/>
                </a:cubicBezTo>
                <a:cubicBezTo>
                  <a:pt x="572" y="290"/>
                  <a:pt x="572" y="290"/>
                  <a:pt x="572" y="290"/>
                </a:cubicBezTo>
                <a:moveTo>
                  <a:pt x="587" y="236"/>
                </a:moveTo>
                <a:cubicBezTo>
                  <a:pt x="542" y="236"/>
                  <a:pt x="542" y="236"/>
                  <a:pt x="542" y="236"/>
                </a:cubicBezTo>
                <a:cubicBezTo>
                  <a:pt x="542" y="117"/>
                  <a:pt x="542" y="117"/>
                  <a:pt x="542" y="117"/>
                </a:cubicBezTo>
                <a:cubicBezTo>
                  <a:pt x="587" y="117"/>
                  <a:pt x="587" y="117"/>
                  <a:pt x="587" y="117"/>
                </a:cubicBezTo>
                <a:cubicBezTo>
                  <a:pt x="587" y="236"/>
                  <a:pt x="587" y="236"/>
                  <a:pt x="587" y="236"/>
                </a:cubicBezTo>
                <a:moveTo>
                  <a:pt x="595" y="60"/>
                </a:moveTo>
                <a:cubicBezTo>
                  <a:pt x="604" y="60"/>
                  <a:pt x="604" y="60"/>
                  <a:pt x="604" y="60"/>
                </a:cubicBezTo>
                <a:cubicBezTo>
                  <a:pt x="604" y="70"/>
                  <a:pt x="604" y="70"/>
                  <a:pt x="604" y="70"/>
                </a:cubicBezTo>
                <a:cubicBezTo>
                  <a:pt x="595" y="70"/>
                  <a:pt x="595" y="70"/>
                  <a:pt x="595" y="70"/>
                </a:cubicBezTo>
                <a:cubicBezTo>
                  <a:pt x="595" y="60"/>
                  <a:pt x="595" y="60"/>
                  <a:pt x="595" y="60"/>
                </a:cubicBezTo>
                <a:moveTo>
                  <a:pt x="599" y="165"/>
                </a:moveTo>
                <a:cubicBezTo>
                  <a:pt x="591" y="165"/>
                  <a:pt x="591" y="165"/>
                  <a:pt x="591" y="165"/>
                </a:cubicBezTo>
                <a:cubicBezTo>
                  <a:pt x="591" y="154"/>
                  <a:pt x="591" y="154"/>
                  <a:pt x="591" y="154"/>
                </a:cubicBezTo>
                <a:cubicBezTo>
                  <a:pt x="599" y="154"/>
                  <a:pt x="599" y="154"/>
                  <a:pt x="599" y="154"/>
                </a:cubicBezTo>
                <a:cubicBezTo>
                  <a:pt x="599" y="165"/>
                  <a:pt x="599" y="165"/>
                  <a:pt x="599" y="165"/>
                </a:cubicBezTo>
                <a:moveTo>
                  <a:pt x="599" y="107"/>
                </a:moveTo>
                <a:cubicBezTo>
                  <a:pt x="608" y="107"/>
                  <a:pt x="608" y="107"/>
                  <a:pt x="608" y="107"/>
                </a:cubicBezTo>
                <a:cubicBezTo>
                  <a:pt x="608" y="117"/>
                  <a:pt x="608" y="117"/>
                  <a:pt x="608" y="117"/>
                </a:cubicBezTo>
                <a:cubicBezTo>
                  <a:pt x="599" y="117"/>
                  <a:pt x="599" y="117"/>
                  <a:pt x="599" y="117"/>
                </a:cubicBezTo>
                <a:cubicBezTo>
                  <a:pt x="599" y="107"/>
                  <a:pt x="599" y="107"/>
                  <a:pt x="599" y="107"/>
                </a:cubicBezTo>
                <a:moveTo>
                  <a:pt x="614" y="263"/>
                </a:moveTo>
                <a:cubicBezTo>
                  <a:pt x="602" y="263"/>
                  <a:pt x="602" y="263"/>
                  <a:pt x="602" y="263"/>
                </a:cubicBezTo>
                <a:cubicBezTo>
                  <a:pt x="602" y="248"/>
                  <a:pt x="602" y="248"/>
                  <a:pt x="602" y="248"/>
                </a:cubicBezTo>
                <a:cubicBezTo>
                  <a:pt x="614" y="248"/>
                  <a:pt x="614" y="248"/>
                  <a:pt x="614" y="248"/>
                </a:cubicBezTo>
                <a:cubicBezTo>
                  <a:pt x="614" y="263"/>
                  <a:pt x="614" y="263"/>
                  <a:pt x="614" y="263"/>
                </a:cubicBezTo>
                <a:moveTo>
                  <a:pt x="618" y="186"/>
                </a:moveTo>
                <a:cubicBezTo>
                  <a:pt x="609" y="186"/>
                  <a:pt x="609" y="186"/>
                  <a:pt x="609" y="186"/>
                </a:cubicBezTo>
                <a:cubicBezTo>
                  <a:pt x="609" y="181"/>
                  <a:pt x="609" y="181"/>
                  <a:pt x="609" y="181"/>
                </a:cubicBezTo>
                <a:cubicBezTo>
                  <a:pt x="618" y="181"/>
                  <a:pt x="618" y="181"/>
                  <a:pt x="618" y="181"/>
                </a:cubicBezTo>
                <a:cubicBezTo>
                  <a:pt x="618" y="186"/>
                  <a:pt x="618" y="186"/>
                  <a:pt x="618" y="186"/>
                </a:cubicBezTo>
                <a:moveTo>
                  <a:pt x="669" y="154"/>
                </a:moveTo>
                <a:cubicBezTo>
                  <a:pt x="687" y="154"/>
                  <a:pt x="687" y="154"/>
                  <a:pt x="687" y="154"/>
                </a:cubicBezTo>
                <a:cubicBezTo>
                  <a:pt x="687" y="165"/>
                  <a:pt x="687" y="165"/>
                  <a:pt x="687" y="165"/>
                </a:cubicBezTo>
                <a:cubicBezTo>
                  <a:pt x="669" y="165"/>
                  <a:pt x="669" y="165"/>
                  <a:pt x="669" y="165"/>
                </a:cubicBezTo>
                <a:cubicBezTo>
                  <a:pt x="669" y="154"/>
                  <a:pt x="669" y="154"/>
                  <a:pt x="669" y="154"/>
                </a:cubicBezTo>
                <a:moveTo>
                  <a:pt x="669" y="203"/>
                </a:moveTo>
                <a:cubicBezTo>
                  <a:pt x="687" y="203"/>
                  <a:pt x="687" y="203"/>
                  <a:pt x="687" y="203"/>
                </a:cubicBezTo>
                <a:cubicBezTo>
                  <a:pt x="687" y="214"/>
                  <a:pt x="687" y="214"/>
                  <a:pt x="687" y="214"/>
                </a:cubicBezTo>
                <a:cubicBezTo>
                  <a:pt x="669" y="214"/>
                  <a:pt x="669" y="214"/>
                  <a:pt x="669" y="214"/>
                </a:cubicBezTo>
                <a:cubicBezTo>
                  <a:pt x="669" y="203"/>
                  <a:pt x="669" y="203"/>
                  <a:pt x="669" y="203"/>
                </a:cubicBezTo>
                <a:moveTo>
                  <a:pt x="695" y="303"/>
                </a:moveTo>
                <a:cubicBezTo>
                  <a:pt x="683" y="303"/>
                  <a:pt x="683" y="303"/>
                  <a:pt x="683" y="303"/>
                </a:cubicBezTo>
                <a:cubicBezTo>
                  <a:pt x="683" y="288"/>
                  <a:pt x="683" y="288"/>
                  <a:pt x="683" y="288"/>
                </a:cubicBezTo>
                <a:cubicBezTo>
                  <a:pt x="695" y="288"/>
                  <a:pt x="695" y="288"/>
                  <a:pt x="695" y="288"/>
                </a:cubicBezTo>
                <a:cubicBezTo>
                  <a:pt x="695" y="303"/>
                  <a:pt x="695" y="303"/>
                  <a:pt x="695" y="303"/>
                </a:cubicBezTo>
                <a:moveTo>
                  <a:pt x="699" y="107"/>
                </a:moveTo>
                <a:cubicBezTo>
                  <a:pt x="716" y="107"/>
                  <a:pt x="716" y="107"/>
                  <a:pt x="716" y="107"/>
                </a:cubicBezTo>
                <a:cubicBezTo>
                  <a:pt x="716" y="117"/>
                  <a:pt x="716" y="117"/>
                  <a:pt x="716" y="117"/>
                </a:cubicBezTo>
                <a:cubicBezTo>
                  <a:pt x="699" y="117"/>
                  <a:pt x="699" y="117"/>
                  <a:pt x="699" y="117"/>
                </a:cubicBezTo>
                <a:cubicBezTo>
                  <a:pt x="699" y="107"/>
                  <a:pt x="699" y="107"/>
                  <a:pt x="699" y="107"/>
                </a:cubicBezTo>
                <a:moveTo>
                  <a:pt x="725" y="186"/>
                </a:moveTo>
                <a:cubicBezTo>
                  <a:pt x="708" y="186"/>
                  <a:pt x="708" y="186"/>
                  <a:pt x="708" y="186"/>
                </a:cubicBezTo>
                <a:cubicBezTo>
                  <a:pt x="708" y="176"/>
                  <a:pt x="708" y="176"/>
                  <a:pt x="708" y="176"/>
                </a:cubicBezTo>
                <a:cubicBezTo>
                  <a:pt x="725" y="176"/>
                  <a:pt x="725" y="176"/>
                  <a:pt x="725" y="176"/>
                </a:cubicBezTo>
                <a:cubicBezTo>
                  <a:pt x="725" y="186"/>
                  <a:pt x="725" y="186"/>
                  <a:pt x="725" y="186"/>
                </a:cubicBezTo>
                <a:moveTo>
                  <a:pt x="767" y="186"/>
                </a:moveTo>
                <a:cubicBezTo>
                  <a:pt x="774" y="186"/>
                  <a:pt x="774" y="186"/>
                  <a:pt x="774" y="186"/>
                </a:cubicBezTo>
                <a:cubicBezTo>
                  <a:pt x="774" y="203"/>
                  <a:pt x="774" y="203"/>
                  <a:pt x="774" y="203"/>
                </a:cubicBezTo>
                <a:cubicBezTo>
                  <a:pt x="767" y="203"/>
                  <a:pt x="767" y="203"/>
                  <a:pt x="767" y="203"/>
                </a:cubicBezTo>
                <a:cubicBezTo>
                  <a:pt x="767" y="186"/>
                  <a:pt x="767" y="186"/>
                  <a:pt x="767" y="186"/>
                </a:cubicBezTo>
                <a:moveTo>
                  <a:pt x="778" y="286"/>
                </a:moveTo>
                <a:cubicBezTo>
                  <a:pt x="774" y="286"/>
                  <a:pt x="774" y="286"/>
                  <a:pt x="774" y="286"/>
                </a:cubicBezTo>
                <a:cubicBezTo>
                  <a:pt x="774" y="295"/>
                  <a:pt x="774" y="295"/>
                  <a:pt x="774" y="295"/>
                </a:cubicBezTo>
                <a:cubicBezTo>
                  <a:pt x="767" y="295"/>
                  <a:pt x="767" y="295"/>
                  <a:pt x="767" y="295"/>
                </a:cubicBezTo>
                <a:cubicBezTo>
                  <a:pt x="767" y="242"/>
                  <a:pt x="767" y="242"/>
                  <a:pt x="767" y="242"/>
                </a:cubicBezTo>
                <a:cubicBezTo>
                  <a:pt x="774" y="242"/>
                  <a:pt x="774" y="242"/>
                  <a:pt x="774" y="242"/>
                </a:cubicBezTo>
                <a:cubicBezTo>
                  <a:pt x="774" y="274"/>
                  <a:pt x="774" y="274"/>
                  <a:pt x="774" y="274"/>
                </a:cubicBezTo>
                <a:cubicBezTo>
                  <a:pt x="778" y="274"/>
                  <a:pt x="778" y="274"/>
                  <a:pt x="778" y="274"/>
                </a:cubicBezTo>
                <a:cubicBezTo>
                  <a:pt x="778" y="286"/>
                  <a:pt x="778" y="286"/>
                  <a:pt x="778" y="286"/>
                </a:cubicBezTo>
                <a:moveTo>
                  <a:pt x="826" y="211"/>
                </a:moveTo>
                <a:cubicBezTo>
                  <a:pt x="820" y="211"/>
                  <a:pt x="820" y="211"/>
                  <a:pt x="820" y="211"/>
                </a:cubicBezTo>
                <a:cubicBezTo>
                  <a:pt x="820" y="206"/>
                  <a:pt x="820" y="206"/>
                  <a:pt x="820" y="206"/>
                </a:cubicBezTo>
                <a:cubicBezTo>
                  <a:pt x="826" y="206"/>
                  <a:pt x="826" y="206"/>
                  <a:pt x="826" y="206"/>
                </a:cubicBezTo>
                <a:cubicBezTo>
                  <a:pt x="826" y="211"/>
                  <a:pt x="826" y="211"/>
                  <a:pt x="826" y="211"/>
                </a:cubicBezTo>
                <a:moveTo>
                  <a:pt x="831" y="157"/>
                </a:moveTo>
                <a:cubicBezTo>
                  <a:pt x="830" y="157"/>
                  <a:pt x="830" y="157"/>
                  <a:pt x="830" y="157"/>
                </a:cubicBezTo>
                <a:cubicBezTo>
                  <a:pt x="830" y="146"/>
                  <a:pt x="830" y="146"/>
                  <a:pt x="830" y="146"/>
                </a:cubicBezTo>
                <a:cubicBezTo>
                  <a:pt x="831" y="146"/>
                  <a:pt x="831" y="146"/>
                  <a:pt x="831" y="146"/>
                </a:cubicBezTo>
                <a:cubicBezTo>
                  <a:pt x="831" y="157"/>
                  <a:pt x="831" y="157"/>
                  <a:pt x="831" y="157"/>
                </a:cubicBezTo>
                <a:moveTo>
                  <a:pt x="835" y="52"/>
                </a:moveTo>
                <a:cubicBezTo>
                  <a:pt x="843" y="52"/>
                  <a:pt x="843" y="52"/>
                  <a:pt x="843" y="52"/>
                </a:cubicBezTo>
                <a:cubicBezTo>
                  <a:pt x="843" y="63"/>
                  <a:pt x="843" y="63"/>
                  <a:pt x="843" y="63"/>
                </a:cubicBezTo>
                <a:cubicBezTo>
                  <a:pt x="835" y="63"/>
                  <a:pt x="835" y="63"/>
                  <a:pt x="835" y="63"/>
                </a:cubicBezTo>
                <a:cubicBezTo>
                  <a:pt x="835" y="52"/>
                  <a:pt x="835" y="52"/>
                  <a:pt x="835" y="52"/>
                </a:cubicBezTo>
                <a:moveTo>
                  <a:pt x="848" y="109"/>
                </a:moveTo>
                <a:cubicBezTo>
                  <a:pt x="839" y="109"/>
                  <a:pt x="839" y="109"/>
                  <a:pt x="839" y="109"/>
                </a:cubicBezTo>
                <a:cubicBezTo>
                  <a:pt x="839" y="99"/>
                  <a:pt x="839" y="99"/>
                  <a:pt x="839" y="99"/>
                </a:cubicBezTo>
                <a:cubicBezTo>
                  <a:pt x="848" y="99"/>
                  <a:pt x="848" y="99"/>
                  <a:pt x="848" y="99"/>
                </a:cubicBezTo>
                <a:cubicBezTo>
                  <a:pt x="848" y="109"/>
                  <a:pt x="848" y="109"/>
                  <a:pt x="848" y="109"/>
                </a:cubicBezTo>
                <a:moveTo>
                  <a:pt x="856" y="175"/>
                </a:moveTo>
                <a:cubicBezTo>
                  <a:pt x="849" y="175"/>
                  <a:pt x="849" y="175"/>
                  <a:pt x="849" y="175"/>
                </a:cubicBezTo>
                <a:cubicBezTo>
                  <a:pt x="849" y="173"/>
                  <a:pt x="849" y="173"/>
                  <a:pt x="849" y="173"/>
                </a:cubicBezTo>
                <a:cubicBezTo>
                  <a:pt x="856" y="173"/>
                  <a:pt x="856" y="173"/>
                  <a:pt x="856" y="173"/>
                </a:cubicBezTo>
                <a:cubicBezTo>
                  <a:pt x="856" y="175"/>
                  <a:pt x="856" y="175"/>
                  <a:pt x="856" y="175"/>
                </a:cubicBezTo>
                <a:moveTo>
                  <a:pt x="926" y="200"/>
                </a:moveTo>
                <a:cubicBezTo>
                  <a:pt x="909" y="200"/>
                  <a:pt x="909" y="200"/>
                  <a:pt x="909" y="200"/>
                </a:cubicBezTo>
                <a:cubicBezTo>
                  <a:pt x="909" y="195"/>
                  <a:pt x="909" y="195"/>
                  <a:pt x="909" y="195"/>
                </a:cubicBezTo>
                <a:cubicBezTo>
                  <a:pt x="926" y="195"/>
                  <a:pt x="926" y="195"/>
                  <a:pt x="926" y="195"/>
                </a:cubicBezTo>
                <a:cubicBezTo>
                  <a:pt x="926" y="200"/>
                  <a:pt x="926" y="200"/>
                  <a:pt x="926" y="200"/>
                </a:cubicBezTo>
                <a:moveTo>
                  <a:pt x="927" y="157"/>
                </a:moveTo>
                <a:cubicBezTo>
                  <a:pt x="909" y="157"/>
                  <a:pt x="909" y="157"/>
                  <a:pt x="909" y="157"/>
                </a:cubicBezTo>
                <a:cubicBezTo>
                  <a:pt x="909" y="146"/>
                  <a:pt x="909" y="146"/>
                  <a:pt x="909" y="146"/>
                </a:cubicBezTo>
                <a:cubicBezTo>
                  <a:pt x="927" y="146"/>
                  <a:pt x="927" y="146"/>
                  <a:pt x="927" y="146"/>
                </a:cubicBezTo>
                <a:cubicBezTo>
                  <a:pt x="927" y="157"/>
                  <a:pt x="927" y="157"/>
                  <a:pt x="927" y="157"/>
                </a:cubicBezTo>
                <a:moveTo>
                  <a:pt x="938" y="99"/>
                </a:moveTo>
                <a:cubicBezTo>
                  <a:pt x="956" y="99"/>
                  <a:pt x="956" y="99"/>
                  <a:pt x="956" y="99"/>
                </a:cubicBezTo>
                <a:cubicBezTo>
                  <a:pt x="956" y="109"/>
                  <a:pt x="956" y="109"/>
                  <a:pt x="956" y="109"/>
                </a:cubicBezTo>
                <a:cubicBezTo>
                  <a:pt x="938" y="109"/>
                  <a:pt x="938" y="109"/>
                  <a:pt x="938" y="109"/>
                </a:cubicBezTo>
                <a:cubicBezTo>
                  <a:pt x="938" y="99"/>
                  <a:pt x="938" y="99"/>
                  <a:pt x="938" y="99"/>
                </a:cubicBezTo>
                <a:moveTo>
                  <a:pt x="965" y="178"/>
                </a:moveTo>
                <a:cubicBezTo>
                  <a:pt x="947" y="178"/>
                  <a:pt x="947" y="178"/>
                  <a:pt x="947" y="178"/>
                </a:cubicBezTo>
                <a:cubicBezTo>
                  <a:pt x="947" y="168"/>
                  <a:pt x="947" y="168"/>
                  <a:pt x="947" y="168"/>
                </a:cubicBezTo>
                <a:cubicBezTo>
                  <a:pt x="965" y="168"/>
                  <a:pt x="965" y="168"/>
                  <a:pt x="965" y="168"/>
                </a:cubicBezTo>
                <a:cubicBezTo>
                  <a:pt x="965" y="178"/>
                  <a:pt x="965" y="178"/>
                  <a:pt x="965" y="178"/>
                </a:cubicBezTo>
                <a:moveTo>
                  <a:pt x="1006" y="178"/>
                </a:moveTo>
                <a:cubicBezTo>
                  <a:pt x="1014" y="178"/>
                  <a:pt x="1014" y="178"/>
                  <a:pt x="1014" y="178"/>
                </a:cubicBezTo>
                <a:cubicBezTo>
                  <a:pt x="1014" y="195"/>
                  <a:pt x="1014" y="195"/>
                  <a:pt x="1014" y="195"/>
                </a:cubicBezTo>
                <a:cubicBezTo>
                  <a:pt x="1006" y="195"/>
                  <a:pt x="1006" y="195"/>
                  <a:pt x="1006" y="195"/>
                </a:cubicBezTo>
                <a:cubicBezTo>
                  <a:pt x="1006" y="178"/>
                  <a:pt x="1006" y="178"/>
                  <a:pt x="1006" y="178"/>
                </a:cubicBezTo>
                <a:moveTo>
                  <a:pt x="1017" y="278"/>
                </a:moveTo>
                <a:cubicBezTo>
                  <a:pt x="1014" y="278"/>
                  <a:pt x="1014" y="278"/>
                  <a:pt x="1014" y="278"/>
                </a:cubicBezTo>
                <a:cubicBezTo>
                  <a:pt x="1014" y="288"/>
                  <a:pt x="1014" y="288"/>
                  <a:pt x="1014" y="288"/>
                </a:cubicBezTo>
                <a:cubicBezTo>
                  <a:pt x="1007" y="288"/>
                  <a:pt x="1007" y="288"/>
                  <a:pt x="1007" y="288"/>
                </a:cubicBezTo>
                <a:cubicBezTo>
                  <a:pt x="1007" y="234"/>
                  <a:pt x="1007" y="234"/>
                  <a:pt x="1007" y="234"/>
                </a:cubicBezTo>
                <a:cubicBezTo>
                  <a:pt x="1014" y="234"/>
                  <a:pt x="1014" y="234"/>
                  <a:pt x="1014" y="234"/>
                </a:cubicBezTo>
                <a:cubicBezTo>
                  <a:pt x="1014" y="261"/>
                  <a:pt x="1014" y="261"/>
                  <a:pt x="1014" y="261"/>
                </a:cubicBezTo>
                <a:cubicBezTo>
                  <a:pt x="1012" y="261"/>
                  <a:pt x="1012" y="261"/>
                  <a:pt x="1012" y="261"/>
                </a:cubicBezTo>
                <a:cubicBezTo>
                  <a:pt x="1012" y="272"/>
                  <a:pt x="1012" y="272"/>
                  <a:pt x="1012" y="272"/>
                </a:cubicBezTo>
                <a:cubicBezTo>
                  <a:pt x="1017" y="272"/>
                  <a:pt x="1017" y="272"/>
                  <a:pt x="1017" y="272"/>
                </a:cubicBezTo>
                <a:cubicBezTo>
                  <a:pt x="1017" y="278"/>
                  <a:pt x="1017" y="278"/>
                  <a:pt x="1017" y="278"/>
                </a:cubicBezTo>
                <a:moveTo>
                  <a:pt x="1068" y="203"/>
                </a:moveTo>
                <a:cubicBezTo>
                  <a:pt x="1060" y="203"/>
                  <a:pt x="1060" y="203"/>
                  <a:pt x="1060" y="203"/>
                </a:cubicBezTo>
                <a:cubicBezTo>
                  <a:pt x="1060" y="198"/>
                  <a:pt x="1060" y="198"/>
                  <a:pt x="1060" y="198"/>
                </a:cubicBezTo>
                <a:cubicBezTo>
                  <a:pt x="1068" y="198"/>
                  <a:pt x="1068" y="198"/>
                  <a:pt x="1068" y="198"/>
                </a:cubicBezTo>
                <a:cubicBezTo>
                  <a:pt x="1068" y="203"/>
                  <a:pt x="1068" y="203"/>
                  <a:pt x="1068" y="203"/>
                </a:cubicBezTo>
                <a:moveTo>
                  <a:pt x="1095" y="167"/>
                </a:moveTo>
                <a:cubicBezTo>
                  <a:pt x="1082" y="167"/>
                  <a:pt x="1082" y="167"/>
                  <a:pt x="1082" y="167"/>
                </a:cubicBezTo>
                <a:cubicBezTo>
                  <a:pt x="1082" y="159"/>
                  <a:pt x="1082" y="159"/>
                  <a:pt x="1082" y="159"/>
                </a:cubicBezTo>
                <a:cubicBezTo>
                  <a:pt x="1095" y="159"/>
                  <a:pt x="1095" y="159"/>
                  <a:pt x="1095" y="159"/>
                </a:cubicBezTo>
                <a:cubicBezTo>
                  <a:pt x="1095" y="167"/>
                  <a:pt x="1095" y="167"/>
                  <a:pt x="1095" y="167"/>
                </a:cubicBezTo>
                <a:moveTo>
                  <a:pt x="1143" y="18"/>
                </a:moveTo>
                <a:cubicBezTo>
                  <a:pt x="1215" y="18"/>
                  <a:pt x="1215" y="18"/>
                  <a:pt x="1215" y="18"/>
                </a:cubicBezTo>
                <a:cubicBezTo>
                  <a:pt x="1215" y="26"/>
                  <a:pt x="1215" y="26"/>
                  <a:pt x="1215" y="26"/>
                </a:cubicBezTo>
                <a:cubicBezTo>
                  <a:pt x="1143" y="26"/>
                  <a:pt x="1143" y="26"/>
                  <a:pt x="1143" y="26"/>
                </a:cubicBezTo>
                <a:cubicBezTo>
                  <a:pt x="1143" y="18"/>
                  <a:pt x="1143" y="18"/>
                  <a:pt x="1143" y="18"/>
                </a:cubicBezTo>
                <a:moveTo>
                  <a:pt x="1143" y="32"/>
                </a:moveTo>
                <a:cubicBezTo>
                  <a:pt x="1215" y="32"/>
                  <a:pt x="1215" y="32"/>
                  <a:pt x="1215" y="32"/>
                </a:cubicBezTo>
                <a:cubicBezTo>
                  <a:pt x="1215" y="40"/>
                  <a:pt x="1215" y="40"/>
                  <a:pt x="1215" y="40"/>
                </a:cubicBezTo>
                <a:cubicBezTo>
                  <a:pt x="1143" y="40"/>
                  <a:pt x="1143" y="40"/>
                  <a:pt x="1143" y="40"/>
                </a:cubicBezTo>
                <a:cubicBezTo>
                  <a:pt x="1143" y="32"/>
                  <a:pt x="1143" y="32"/>
                  <a:pt x="1143" y="32"/>
                </a:cubicBezTo>
                <a:moveTo>
                  <a:pt x="1143" y="47"/>
                </a:moveTo>
                <a:cubicBezTo>
                  <a:pt x="1215" y="47"/>
                  <a:pt x="1215" y="47"/>
                  <a:pt x="1215" y="47"/>
                </a:cubicBezTo>
                <a:cubicBezTo>
                  <a:pt x="1215" y="55"/>
                  <a:pt x="1215" y="55"/>
                  <a:pt x="1215" y="55"/>
                </a:cubicBezTo>
                <a:cubicBezTo>
                  <a:pt x="1143" y="55"/>
                  <a:pt x="1143" y="55"/>
                  <a:pt x="1143" y="55"/>
                </a:cubicBezTo>
                <a:cubicBezTo>
                  <a:pt x="1143" y="47"/>
                  <a:pt x="1143" y="47"/>
                  <a:pt x="1143" y="47"/>
                </a:cubicBezTo>
                <a:moveTo>
                  <a:pt x="1143" y="61"/>
                </a:moveTo>
                <a:cubicBezTo>
                  <a:pt x="1215" y="61"/>
                  <a:pt x="1215" y="61"/>
                  <a:pt x="1215" y="61"/>
                </a:cubicBezTo>
                <a:cubicBezTo>
                  <a:pt x="1215" y="69"/>
                  <a:pt x="1215" y="69"/>
                  <a:pt x="1215" y="69"/>
                </a:cubicBezTo>
                <a:cubicBezTo>
                  <a:pt x="1143" y="69"/>
                  <a:pt x="1143" y="69"/>
                  <a:pt x="1143" y="69"/>
                </a:cubicBezTo>
                <a:cubicBezTo>
                  <a:pt x="1143" y="61"/>
                  <a:pt x="1143" y="61"/>
                  <a:pt x="1143" y="61"/>
                </a:cubicBezTo>
                <a:moveTo>
                  <a:pt x="1143" y="75"/>
                </a:moveTo>
                <a:cubicBezTo>
                  <a:pt x="1215" y="75"/>
                  <a:pt x="1215" y="75"/>
                  <a:pt x="1215" y="75"/>
                </a:cubicBezTo>
                <a:cubicBezTo>
                  <a:pt x="1215" y="83"/>
                  <a:pt x="1215" y="83"/>
                  <a:pt x="1215" y="83"/>
                </a:cubicBezTo>
                <a:cubicBezTo>
                  <a:pt x="1143" y="83"/>
                  <a:pt x="1143" y="83"/>
                  <a:pt x="1143" y="83"/>
                </a:cubicBezTo>
                <a:cubicBezTo>
                  <a:pt x="1143" y="75"/>
                  <a:pt x="1143" y="75"/>
                  <a:pt x="1143" y="75"/>
                </a:cubicBezTo>
                <a:moveTo>
                  <a:pt x="1143" y="89"/>
                </a:moveTo>
                <a:cubicBezTo>
                  <a:pt x="1215" y="89"/>
                  <a:pt x="1215" y="89"/>
                  <a:pt x="1215" y="89"/>
                </a:cubicBezTo>
                <a:cubicBezTo>
                  <a:pt x="1215" y="97"/>
                  <a:pt x="1215" y="97"/>
                  <a:pt x="1215" y="97"/>
                </a:cubicBezTo>
                <a:cubicBezTo>
                  <a:pt x="1143" y="97"/>
                  <a:pt x="1143" y="97"/>
                  <a:pt x="1143" y="97"/>
                </a:cubicBezTo>
                <a:cubicBezTo>
                  <a:pt x="1143" y="89"/>
                  <a:pt x="1143" y="89"/>
                  <a:pt x="1143" y="89"/>
                </a:cubicBezTo>
                <a:moveTo>
                  <a:pt x="1143" y="103"/>
                </a:moveTo>
                <a:cubicBezTo>
                  <a:pt x="1215" y="103"/>
                  <a:pt x="1215" y="103"/>
                  <a:pt x="1215" y="103"/>
                </a:cubicBezTo>
                <a:cubicBezTo>
                  <a:pt x="1215" y="111"/>
                  <a:pt x="1215" y="111"/>
                  <a:pt x="1215" y="111"/>
                </a:cubicBezTo>
                <a:cubicBezTo>
                  <a:pt x="1143" y="111"/>
                  <a:pt x="1143" y="111"/>
                  <a:pt x="1143" y="111"/>
                </a:cubicBezTo>
                <a:cubicBezTo>
                  <a:pt x="1143" y="103"/>
                  <a:pt x="1143" y="103"/>
                  <a:pt x="1143" y="103"/>
                </a:cubicBezTo>
                <a:moveTo>
                  <a:pt x="1143" y="117"/>
                </a:moveTo>
                <a:cubicBezTo>
                  <a:pt x="1215" y="117"/>
                  <a:pt x="1215" y="117"/>
                  <a:pt x="1215" y="117"/>
                </a:cubicBezTo>
                <a:cubicBezTo>
                  <a:pt x="1215" y="125"/>
                  <a:pt x="1215" y="125"/>
                  <a:pt x="1215" y="125"/>
                </a:cubicBezTo>
                <a:cubicBezTo>
                  <a:pt x="1143" y="125"/>
                  <a:pt x="1143" y="125"/>
                  <a:pt x="1143" y="125"/>
                </a:cubicBezTo>
                <a:cubicBezTo>
                  <a:pt x="1143" y="117"/>
                  <a:pt x="1143" y="117"/>
                  <a:pt x="1143" y="117"/>
                </a:cubicBezTo>
                <a:moveTo>
                  <a:pt x="1143" y="132"/>
                </a:moveTo>
                <a:cubicBezTo>
                  <a:pt x="1215" y="132"/>
                  <a:pt x="1215" y="132"/>
                  <a:pt x="1215" y="132"/>
                </a:cubicBezTo>
                <a:cubicBezTo>
                  <a:pt x="1215" y="139"/>
                  <a:pt x="1215" y="139"/>
                  <a:pt x="1215" y="139"/>
                </a:cubicBezTo>
                <a:cubicBezTo>
                  <a:pt x="1143" y="139"/>
                  <a:pt x="1143" y="139"/>
                  <a:pt x="1143" y="139"/>
                </a:cubicBezTo>
                <a:cubicBezTo>
                  <a:pt x="1143" y="132"/>
                  <a:pt x="1143" y="132"/>
                  <a:pt x="1143" y="132"/>
                </a:cubicBezTo>
                <a:moveTo>
                  <a:pt x="1143" y="146"/>
                </a:moveTo>
                <a:cubicBezTo>
                  <a:pt x="1215" y="146"/>
                  <a:pt x="1215" y="146"/>
                  <a:pt x="1215" y="146"/>
                </a:cubicBezTo>
                <a:cubicBezTo>
                  <a:pt x="1215" y="148"/>
                  <a:pt x="1215" y="148"/>
                  <a:pt x="1215" y="148"/>
                </a:cubicBezTo>
                <a:cubicBezTo>
                  <a:pt x="1215" y="148"/>
                  <a:pt x="1215" y="148"/>
                  <a:pt x="1215" y="148"/>
                </a:cubicBezTo>
                <a:cubicBezTo>
                  <a:pt x="1215" y="154"/>
                  <a:pt x="1215" y="154"/>
                  <a:pt x="1215" y="154"/>
                </a:cubicBezTo>
                <a:cubicBezTo>
                  <a:pt x="1143" y="154"/>
                  <a:pt x="1143" y="154"/>
                  <a:pt x="1143" y="154"/>
                </a:cubicBezTo>
                <a:cubicBezTo>
                  <a:pt x="1143" y="146"/>
                  <a:pt x="1143" y="146"/>
                  <a:pt x="1143" y="146"/>
                </a:cubicBezTo>
                <a:moveTo>
                  <a:pt x="1143" y="160"/>
                </a:moveTo>
                <a:cubicBezTo>
                  <a:pt x="1215" y="160"/>
                  <a:pt x="1215" y="160"/>
                  <a:pt x="1215" y="160"/>
                </a:cubicBezTo>
                <a:cubicBezTo>
                  <a:pt x="1215" y="168"/>
                  <a:pt x="1215" y="168"/>
                  <a:pt x="1215" y="168"/>
                </a:cubicBezTo>
                <a:cubicBezTo>
                  <a:pt x="1143" y="168"/>
                  <a:pt x="1143" y="168"/>
                  <a:pt x="1143" y="168"/>
                </a:cubicBezTo>
                <a:cubicBezTo>
                  <a:pt x="1143" y="160"/>
                  <a:pt x="1143" y="160"/>
                  <a:pt x="1143" y="160"/>
                </a:cubicBezTo>
                <a:moveTo>
                  <a:pt x="1143" y="174"/>
                </a:moveTo>
                <a:cubicBezTo>
                  <a:pt x="1215" y="174"/>
                  <a:pt x="1215" y="174"/>
                  <a:pt x="1215" y="174"/>
                </a:cubicBezTo>
                <a:cubicBezTo>
                  <a:pt x="1215" y="182"/>
                  <a:pt x="1215" y="182"/>
                  <a:pt x="1215" y="182"/>
                </a:cubicBezTo>
                <a:cubicBezTo>
                  <a:pt x="1143" y="182"/>
                  <a:pt x="1143" y="182"/>
                  <a:pt x="1143" y="182"/>
                </a:cubicBezTo>
                <a:cubicBezTo>
                  <a:pt x="1143" y="174"/>
                  <a:pt x="1143" y="174"/>
                  <a:pt x="1143" y="174"/>
                </a:cubicBezTo>
                <a:moveTo>
                  <a:pt x="1123" y="257"/>
                </a:moveTo>
                <a:cubicBezTo>
                  <a:pt x="1116" y="257"/>
                  <a:pt x="1116" y="257"/>
                  <a:pt x="1116" y="257"/>
                </a:cubicBezTo>
                <a:cubicBezTo>
                  <a:pt x="1116" y="252"/>
                  <a:pt x="1116" y="252"/>
                  <a:pt x="1116" y="252"/>
                </a:cubicBezTo>
                <a:cubicBezTo>
                  <a:pt x="1123" y="252"/>
                  <a:pt x="1123" y="252"/>
                  <a:pt x="1123" y="252"/>
                </a:cubicBezTo>
                <a:cubicBezTo>
                  <a:pt x="1123" y="257"/>
                  <a:pt x="1123" y="257"/>
                  <a:pt x="1123" y="257"/>
                </a:cubicBezTo>
                <a:moveTo>
                  <a:pt x="1144" y="262"/>
                </a:moveTo>
                <a:cubicBezTo>
                  <a:pt x="1134" y="262"/>
                  <a:pt x="1134" y="262"/>
                  <a:pt x="1134" y="262"/>
                </a:cubicBezTo>
                <a:cubicBezTo>
                  <a:pt x="1134" y="262"/>
                  <a:pt x="1134" y="262"/>
                  <a:pt x="1134" y="262"/>
                </a:cubicBezTo>
                <a:cubicBezTo>
                  <a:pt x="1144" y="262"/>
                  <a:pt x="1144" y="262"/>
                  <a:pt x="1144" y="262"/>
                </a:cubicBezTo>
                <a:cubicBezTo>
                  <a:pt x="1144" y="262"/>
                  <a:pt x="1144" y="262"/>
                  <a:pt x="1144" y="262"/>
                </a:cubicBezTo>
                <a:moveTo>
                  <a:pt x="1144" y="232"/>
                </a:moveTo>
                <a:cubicBezTo>
                  <a:pt x="1134" y="232"/>
                  <a:pt x="1134" y="232"/>
                  <a:pt x="1134" y="232"/>
                </a:cubicBezTo>
                <a:cubicBezTo>
                  <a:pt x="1134" y="219"/>
                  <a:pt x="1134" y="219"/>
                  <a:pt x="1134" y="219"/>
                </a:cubicBezTo>
                <a:cubicBezTo>
                  <a:pt x="1136" y="219"/>
                  <a:pt x="1136" y="219"/>
                  <a:pt x="1136" y="219"/>
                </a:cubicBezTo>
                <a:cubicBezTo>
                  <a:pt x="1136" y="230"/>
                  <a:pt x="1136" y="230"/>
                  <a:pt x="1136" y="230"/>
                </a:cubicBezTo>
                <a:cubicBezTo>
                  <a:pt x="1144" y="230"/>
                  <a:pt x="1144" y="230"/>
                  <a:pt x="1144" y="230"/>
                </a:cubicBezTo>
                <a:cubicBezTo>
                  <a:pt x="1144" y="232"/>
                  <a:pt x="1144" y="232"/>
                  <a:pt x="1144" y="232"/>
                </a:cubicBezTo>
                <a:moveTo>
                  <a:pt x="1144" y="196"/>
                </a:moveTo>
                <a:cubicBezTo>
                  <a:pt x="1143" y="196"/>
                  <a:pt x="1143" y="196"/>
                  <a:pt x="1143" y="196"/>
                </a:cubicBezTo>
                <a:cubicBezTo>
                  <a:pt x="1143" y="188"/>
                  <a:pt x="1143" y="188"/>
                  <a:pt x="1143" y="188"/>
                </a:cubicBezTo>
                <a:cubicBezTo>
                  <a:pt x="1215" y="188"/>
                  <a:pt x="1215" y="188"/>
                  <a:pt x="1215" y="188"/>
                </a:cubicBezTo>
                <a:cubicBezTo>
                  <a:pt x="1215" y="196"/>
                  <a:pt x="1215" y="196"/>
                  <a:pt x="1215" y="196"/>
                </a:cubicBezTo>
                <a:cubicBezTo>
                  <a:pt x="1170" y="196"/>
                  <a:pt x="1170" y="196"/>
                  <a:pt x="1170" y="196"/>
                </a:cubicBezTo>
                <a:cubicBezTo>
                  <a:pt x="1170" y="192"/>
                  <a:pt x="1170" y="192"/>
                  <a:pt x="1170" y="192"/>
                </a:cubicBezTo>
                <a:cubicBezTo>
                  <a:pt x="1144" y="192"/>
                  <a:pt x="1144" y="192"/>
                  <a:pt x="1144" y="192"/>
                </a:cubicBezTo>
                <a:cubicBezTo>
                  <a:pt x="1144" y="196"/>
                  <a:pt x="1144" y="196"/>
                  <a:pt x="1144" y="196"/>
                </a:cubicBezTo>
                <a:moveTo>
                  <a:pt x="1170" y="211"/>
                </a:moveTo>
                <a:cubicBezTo>
                  <a:pt x="1170" y="201"/>
                  <a:pt x="1170" y="201"/>
                  <a:pt x="1170" y="201"/>
                </a:cubicBezTo>
                <a:cubicBezTo>
                  <a:pt x="1200" y="201"/>
                  <a:pt x="1200" y="201"/>
                  <a:pt x="1200" y="201"/>
                </a:cubicBezTo>
                <a:cubicBezTo>
                  <a:pt x="1200" y="211"/>
                  <a:pt x="1200" y="211"/>
                  <a:pt x="1200" y="211"/>
                </a:cubicBezTo>
                <a:cubicBezTo>
                  <a:pt x="1170" y="211"/>
                  <a:pt x="1170" y="211"/>
                  <a:pt x="1170" y="211"/>
                </a:cubicBezTo>
                <a:moveTo>
                  <a:pt x="1200" y="219"/>
                </a:moveTo>
                <a:cubicBezTo>
                  <a:pt x="1200" y="229"/>
                  <a:pt x="1200" y="229"/>
                  <a:pt x="1200" y="229"/>
                </a:cubicBezTo>
                <a:cubicBezTo>
                  <a:pt x="1198" y="229"/>
                  <a:pt x="1198" y="229"/>
                  <a:pt x="1198" y="229"/>
                </a:cubicBezTo>
                <a:cubicBezTo>
                  <a:pt x="1198" y="219"/>
                  <a:pt x="1198" y="219"/>
                  <a:pt x="1198" y="219"/>
                </a:cubicBezTo>
                <a:cubicBezTo>
                  <a:pt x="1200" y="219"/>
                  <a:pt x="1200" y="219"/>
                  <a:pt x="1200" y="219"/>
                </a:cubicBezTo>
                <a:moveTo>
                  <a:pt x="1176" y="300"/>
                </a:moveTo>
                <a:cubicBezTo>
                  <a:pt x="1176" y="300"/>
                  <a:pt x="1176" y="300"/>
                  <a:pt x="1176" y="300"/>
                </a:cubicBezTo>
                <a:cubicBezTo>
                  <a:pt x="1176" y="295"/>
                  <a:pt x="1176" y="295"/>
                  <a:pt x="1176" y="295"/>
                </a:cubicBezTo>
                <a:cubicBezTo>
                  <a:pt x="1169" y="295"/>
                  <a:pt x="1169" y="295"/>
                  <a:pt x="1169" y="295"/>
                </a:cubicBezTo>
                <a:cubicBezTo>
                  <a:pt x="1169" y="287"/>
                  <a:pt x="1169" y="287"/>
                  <a:pt x="1169" y="287"/>
                </a:cubicBezTo>
                <a:cubicBezTo>
                  <a:pt x="1176" y="287"/>
                  <a:pt x="1176" y="287"/>
                  <a:pt x="1176" y="287"/>
                </a:cubicBezTo>
                <a:cubicBezTo>
                  <a:pt x="1176" y="300"/>
                  <a:pt x="1176" y="300"/>
                  <a:pt x="1176" y="300"/>
                </a:cubicBezTo>
                <a:moveTo>
                  <a:pt x="1181" y="247"/>
                </a:moveTo>
                <a:cubicBezTo>
                  <a:pt x="1171" y="247"/>
                  <a:pt x="1171" y="247"/>
                  <a:pt x="1171" y="247"/>
                </a:cubicBezTo>
                <a:cubicBezTo>
                  <a:pt x="1171" y="234"/>
                  <a:pt x="1171" y="234"/>
                  <a:pt x="1171" y="234"/>
                </a:cubicBezTo>
                <a:cubicBezTo>
                  <a:pt x="1181" y="234"/>
                  <a:pt x="1181" y="234"/>
                  <a:pt x="1181" y="234"/>
                </a:cubicBezTo>
                <a:cubicBezTo>
                  <a:pt x="1181" y="247"/>
                  <a:pt x="1181" y="247"/>
                  <a:pt x="1181" y="247"/>
                </a:cubicBezTo>
                <a:moveTo>
                  <a:pt x="1209" y="232"/>
                </a:moveTo>
                <a:cubicBezTo>
                  <a:pt x="1198" y="232"/>
                  <a:pt x="1198" y="232"/>
                  <a:pt x="1198" y="232"/>
                </a:cubicBezTo>
                <a:cubicBezTo>
                  <a:pt x="1198" y="230"/>
                  <a:pt x="1198" y="230"/>
                  <a:pt x="1198" y="230"/>
                </a:cubicBezTo>
                <a:cubicBezTo>
                  <a:pt x="1209" y="230"/>
                  <a:pt x="1209" y="230"/>
                  <a:pt x="1209" y="230"/>
                </a:cubicBezTo>
                <a:cubicBezTo>
                  <a:pt x="1209" y="232"/>
                  <a:pt x="1209" y="232"/>
                  <a:pt x="1209" y="232"/>
                </a:cubicBezTo>
                <a:moveTo>
                  <a:pt x="1222" y="287"/>
                </a:moveTo>
                <a:cubicBezTo>
                  <a:pt x="1222" y="287"/>
                  <a:pt x="1222" y="287"/>
                  <a:pt x="1222" y="287"/>
                </a:cubicBezTo>
                <a:cubicBezTo>
                  <a:pt x="1222" y="289"/>
                  <a:pt x="1222" y="289"/>
                  <a:pt x="1222" y="289"/>
                </a:cubicBezTo>
                <a:cubicBezTo>
                  <a:pt x="1212" y="289"/>
                  <a:pt x="1212" y="289"/>
                  <a:pt x="1212" y="289"/>
                </a:cubicBezTo>
                <a:cubicBezTo>
                  <a:pt x="1212" y="276"/>
                  <a:pt x="1212" y="276"/>
                  <a:pt x="1212" y="276"/>
                </a:cubicBezTo>
                <a:cubicBezTo>
                  <a:pt x="1222" y="276"/>
                  <a:pt x="1222" y="276"/>
                  <a:pt x="1222" y="276"/>
                </a:cubicBezTo>
                <a:cubicBezTo>
                  <a:pt x="1222" y="284"/>
                  <a:pt x="1222" y="284"/>
                  <a:pt x="1222" y="284"/>
                </a:cubicBezTo>
                <a:cubicBezTo>
                  <a:pt x="1222" y="284"/>
                  <a:pt x="1222" y="284"/>
                  <a:pt x="1222" y="284"/>
                </a:cubicBezTo>
                <a:cubicBezTo>
                  <a:pt x="1222" y="287"/>
                  <a:pt x="1222" y="287"/>
                  <a:pt x="1222" y="287"/>
                </a:cubicBezTo>
                <a:moveTo>
                  <a:pt x="1257" y="277"/>
                </a:moveTo>
                <a:cubicBezTo>
                  <a:pt x="1249" y="277"/>
                  <a:pt x="1249" y="277"/>
                  <a:pt x="1249" y="277"/>
                </a:cubicBezTo>
                <a:cubicBezTo>
                  <a:pt x="1249" y="272"/>
                  <a:pt x="1249" y="272"/>
                  <a:pt x="1249" y="272"/>
                </a:cubicBezTo>
                <a:cubicBezTo>
                  <a:pt x="1257" y="272"/>
                  <a:pt x="1257" y="272"/>
                  <a:pt x="1257" y="272"/>
                </a:cubicBezTo>
                <a:cubicBezTo>
                  <a:pt x="1257" y="277"/>
                  <a:pt x="1257" y="277"/>
                  <a:pt x="1257" y="277"/>
                </a:cubicBezTo>
                <a:moveTo>
                  <a:pt x="1262" y="251"/>
                </a:moveTo>
                <a:cubicBezTo>
                  <a:pt x="1270" y="251"/>
                  <a:pt x="1270" y="251"/>
                  <a:pt x="1270" y="251"/>
                </a:cubicBezTo>
                <a:cubicBezTo>
                  <a:pt x="1270" y="256"/>
                  <a:pt x="1270" y="256"/>
                  <a:pt x="1270" y="256"/>
                </a:cubicBezTo>
                <a:cubicBezTo>
                  <a:pt x="1262" y="256"/>
                  <a:pt x="1262" y="256"/>
                  <a:pt x="1262" y="256"/>
                </a:cubicBezTo>
                <a:cubicBezTo>
                  <a:pt x="1262" y="251"/>
                  <a:pt x="1262" y="251"/>
                  <a:pt x="1262" y="251"/>
                </a:cubicBezTo>
                <a:moveTo>
                  <a:pt x="1274" y="287"/>
                </a:moveTo>
                <a:cubicBezTo>
                  <a:pt x="1266" y="287"/>
                  <a:pt x="1266" y="287"/>
                  <a:pt x="1266" y="287"/>
                </a:cubicBezTo>
                <a:cubicBezTo>
                  <a:pt x="1266" y="282"/>
                  <a:pt x="1266" y="282"/>
                  <a:pt x="1266" y="282"/>
                </a:cubicBezTo>
                <a:cubicBezTo>
                  <a:pt x="1274" y="282"/>
                  <a:pt x="1274" y="282"/>
                  <a:pt x="1274" y="282"/>
                </a:cubicBezTo>
                <a:cubicBezTo>
                  <a:pt x="1274" y="287"/>
                  <a:pt x="1274" y="287"/>
                  <a:pt x="1274" y="287"/>
                </a:cubicBezTo>
                <a:moveTo>
                  <a:pt x="1295" y="337"/>
                </a:moveTo>
                <a:cubicBezTo>
                  <a:pt x="1293" y="337"/>
                  <a:pt x="1293" y="337"/>
                  <a:pt x="1293" y="337"/>
                </a:cubicBezTo>
                <a:cubicBezTo>
                  <a:pt x="1293" y="312"/>
                  <a:pt x="1293" y="312"/>
                  <a:pt x="1293" y="312"/>
                </a:cubicBezTo>
                <a:cubicBezTo>
                  <a:pt x="1295" y="312"/>
                  <a:pt x="1295" y="312"/>
                  <a:pt x="1295" y="312"/>
                </a:cubicBezTo>
                <a:cubicBezTo>
                  <a:pt x="1295" y="337"/>
                  <a:pt x="1295" y="337"/>
                  <a:pt x="1295" y="337"/>
                </a:cubicBezTo>
                <a:moveTo>
                  <a:pt x="1299" y="295"/>
                </a:moveTo>
                <a:cubicBezTo>
                  <a:pt x="1293" y="295"/>
                  <a:pt x="1293" y="295"/>
                  <a:pt x="1293" y="295"/>
                </a:cubicBezTo>
                <a:cubicBezTo>
                  <a:pt x="1293" y="287"/>
                  <a:pt x="1293" y="287"/>
                  <a:pt x="1293" y="287"/>
                </a:cubicBezTo>
                <a:cubicBezTo>
                  <a:pt x="1299" y="287"/>
                  <a:pt x="1299" y="287"/>
                  <a:pt x="1299" y="287"/>
                </a:cubicBezTo>
                <a:cubicBezTo>
                  <a:pt x="1299" y="295"/>
                  <a:pt x="1299" y="295"/>
                  <a:pt x="1299" y="295"/>
                </a:cubicBezTo>
                <a:moveTo>
                  <a:pt x="1311" y="263"/>
                </a:moveTo>
                <a:cubicBezTo>
                  <a:pt x="1303" y="263"/>
                  <a:pt x="1303" y="263"/>
                  <a:pt x="1303" y="263"/>
                </a:cubicBezTo>
                <a:cubicBezTo>
                  <a:pt x="1303" y="253"/>
                  <a:pt x="1303" y="253"/>
                  <a:pt x="1303" y="253"/>
                </a:cubicBezTo>
                <a:cubicBezTo>
                  <a:pt x="1311" y="253"/>
                  <a:pt x="1311" y="253"/>
                  <a:pt x="1311" y="253"/>
                </a:cubicBezTo>
                <a:cubicBezTo>
                  <a:pt x="1311" y="263"/>
                  <a:pt x="1311" y="263"/>
                  <a:pt x="1311" y="263"/>
                </a:cubicBezTo>
                <a:moveTo>
                  <a:pt x="1311" y="245"/>
                </a:moveTo>
                <a:cubicBezTo>
                  <a:pt x="1303" y="245"/>
                  <a:pt x="1303" y="245"/>
                  <a:pt x="1303" y="245"/>
                </a:cubicBezTo>
                <a:cubicBezTo>
                  <a:pt x="1303" y="235"/>
                  <a:pt x="1303" y="235"/>
                  <a:pt x="1303" y="235"/>
                </a:cubicBezTo>
                <a:cubicBezTo>
                  <a:pt x="1311" y="235"/>
                  <a:pt x="1311" y="235"/>
                  <a:pt x="1311" y="235"/>
                </a:cubicBezTo>
                <a:cubicBezTo>
                  <a:pt x="1311" y="245"/>
                  <a:pt x="1311" y="245"/>
                  <a:pt x="1311" y="245"/>
                </a:cubicBezTo>
                <a:moveTo>
                  <a:pt x="1311" y="226"/>
                </a:moveTo>
                <a:cubicBezTo>
                  <a:pt x="1303" y="226"/>
                  <a:pt x="1303" y="226"/>
                  <a:pt x="1303" y="226"/>
                </a:cubicBezTo>
                <a:cubicBezTo>
                  <a:pt x="1303" y="216"/>
                  <a:pt x="1303" y="216"/>
                  <a:pt x="1303" y="216"/>
                </a:cubicBezTo>
                <a:cubicBezTo>
                  <a:pt x="1311" y="216"/>
                  <a:pt x="1311" y="216"/>
                  <a:pt x="1311" y="216"/>
                </a:cubicBezTo>
                <a:cubicBezTo>
                  <a:pt x="1311" y="226"/>
                  <a:pt x="1311" y="226"/>
                  <a:pt x="1311" y="226"/>
                </a:cubicBezTo>
                <a:moveTo>
                  <a:pt x="1311" y="208"/>
                </a:moveTo>
                <a:cubicBezTo>
                  <a:pt x="1303" y="208"/>
                  <a:pt x="1303" y="208"/>
                  <a:pt x="1303" y="208"/>
                </a:cubicBezTo>
                <a:cubicBezTo>
                  <a:pt x="1303" y="198"/>
                  <a:pt x="1303" y="198"/>
                  <a:pt x="1303" y="198"/>
                </a:cubicBezTo>
                <a:cubicBezTo>
                  <a:pt x="1311" y="198"/>
                  <a:pt x="1311" y="198"/>
                  <a:pt x="1311" y="198"/>
                </a:cubicBezTo>
                <a:cubicBezTo>
                  <a:pt x="1311" y="208"/>
                  <a:pt x="1311" y="208"/>
                  <a:pt x="1311" y="208"/>
                </a:cubicBezTo>
                <a:moveTo>
                  <a:pt x="1321" y="300"/>
                </a:moveTo>
                <a:cubicBezTo>
                  <a:pt x="1318" y="300"/>
                  <a:pt x="1318" y="300"/>
                  <a:pt x="1318" y="300"/>
                </a:cubicBezTo>
                <a:cubicBezTo>
                  <a:pt x="1318" y="296"/>
                  <a:pt x="1318" y="296"/>
                  <a:pt x="1318" y="296"/>
                </a:cubicBezTo>
                <a:cubicBezTo>
                  <a:pt x="1321" y="296"/>
                  <a:pt x="1321" y="296"/>
                  <a:pt x="1321" y="296"/>
                </a:cubicBezTo>
                <a:cubicBezTo>
                  <a:pt x="1321" y="300"/>
                  <a:pt x="1321" y="300"/>
                  <a:pt x="1321" y="300"/>
                </a:cubicBezTo>
                <a:moveTo>
                  <a:pt x="1326" y="281"/>
                </a:moveTo>
                <a:cubicBezTo>
                  <a:pt x="1318" y="281"/>
                  <a:pt x="1318" y="281"/>
                  <a:pt x="1318" y="281"/>
                </a:cubicBezTo>
                <a:cubicBezTo>
                  <a:pt x="1318" y="272"/>
                  <a:pt x="1318" y="272"/>
                  <a:pt x="1318" y="272"/>
                </a:cubicBezTo>
                <a:cubicBezTo>
                  <a:pt x="1326" y="272"/>
                  <a:pt x="1326" y="272"/>
                  <a:pt x="1326" y="272"/>
                </a:cubicBezTo>
                <a:cubicBezTo>
                  <a:pt x="1326" y="281"/>
                  <a:pt x="1326" y="281"/>
                  <a:pt x="1326" y="281"/>
                </a:cubicBezTo>
                <a:moveTo>
                  <a:pt x="1326" y="263"/>
                </a:moveTo>
                <a:cubicBezTo>
                  <a:pt x="1318" y="263"/>
                  <a:pt x="1318" y="263"/>
                  <a:pt x="1318" y="263"/>
                </a:cubicBezTo>
                <a:cubicBezTo>
                  <a:pt x="1318" y="253"/>
                  <a:pt x="1318" y="253"/>
                  <a:pt x="1318" y="253"/>
                </a:cubicBezTo>
                <a:cubicBezTo>
                  <a:pt x="1326" y="253"/>
                  <a:pt x="1326" y="253"/>
                  <a:pt x="1326" y="253"/>
                </a:cubicBezTo>
                <a:cubicBezTo>
                  <a:pt x="1326" y="263"/>
                  <a:pt x="1326" y="263"/>
                  <a:pt x="1326" y="263"/>
                </a:cubicBezTo>
                <a:moveTo>
                  <a:pt x="1326" y="245"/>
                </a:moveTo>
                <a:cubicBezTo>
                  <a:pt x="1318" y="245"/>
                  <a:pt x="1318" y="245"/>
                  <a:pt x="1318" y="245"/>
                </a:cubicBezTo>
                <a:cubicBezTo>
                  <a:pt x="1318" y="235"/>
                  <a:pt x="1318" y="235"/>
                  <a:pt x="1318" y="235"/>
                </a:cubicBezTo>
                <a:cubicBezTo>
                  <a:pt x="1326" y="235"/>
                  <a:pt x="1326" y="235"/>
                  <a:pt x="1326" y="235"/>
                </a:cubicBezTo>
                <a:cubicBezTo>
                  <a:pt x="1326" y="245"/>
                  <a:pt x="1326" y="245"/>
                  <a:pt x="1326" y="245"/>
                </a:cubicBezTo>
                <a:moveTo>
                  <a:pt x="1326" y="226"/>
                </a:moveTo>
                <a:cubicBezTo>
                  <a:pt x="1318" y="226"/>
                  <a:pt x="1318" y="226"/>
                  <a:pt x="1318" y="226"/>
                </a:cubicBezTo>
                <a:cubicBezTo>
                  <a:pt x="1318" y="216"/>
                  <a:pt x="1318" y="216"/>
                  <a:pt x="1318" y="216"/>
                </a:cubicBezTo>
                <a:cubicBezTo>
                  <a:pt x="1326" y="216"/>
                  <a:pt x="1326" y="216"/>
                  <a:pt x="1326" y="216"/>
                </a:cubicBezTo>
                <a:cubicBezTo>
                  <a:pt x="1326" y="226"/>
                  <a:pt x="1326" y="226"/>
                  <a:pt x="1326" y="226"/>
                </a:cubicBezTo>
                <a:moveTo>
                  <a:pt x="1326" y="208"/>
                </a:moveTo>
                <a:cubicBezTo>
                  <a:pt x="1318" y="208"/>
                  <a:pt x="1318" y="208"/>
                  <a:pt x="1318" y="208"/>
                </a:cubicBezTo>
                <a:cubicBezTo>
                  <a:pt x="1318" y="198"/>
                  <a:pt x="1318" y="198"/>
                  <a:pt x="1318" y="198"/>
                </a:cubicBezTo>
                <a:cubicBezTo>
                  <a:pt x="1326" y="198"/>
                  <a:pt x="1326" y="198"/>
                  <a:pt x="1326" y="198"/>
                </a:cubicBezTo>
                <a:cubicBezTo>
                  <a:pt x="1326" y="208"/>
                  <a:pt x="1326" y="208"/>
                  <a:pt x="1326" y="208"/>
                </a:cubicBezTo>
                <a:moveTo>
                  <a:pt x="1335" y="295"/>
                </a:moveTo>
                <a:cubicBezTo>
                  <a:pt x="1332" y="295"/>
                  <a:pt x="1332" y="295"/>
                  <a:pt x="1332" y="295"/>
                </a:cubicBezTo>
                <a:cubicBezTo>
                  <a:pt x="1332" y="287"/>
                  <a:pt x="1332" y="287"/>
                  <a:pt x="1332" y="287"/>
                </a:cubicBezTo>
                <a:cubicBezTo>
                  <a:pt x="1335" y="287"/>
                  <a:pt x="1335" y="287"/>
                  <a:pt x="1335" y="287"/>
                </a:cubicBezTo>
                <a:cubicBezTo>
                  <a:pt x="1335" y="295"/>
                  <a:pt x="1335" y="295"/>
                  <a:pt x="1335" y="295"/>
                </a:cubicBezTo>
                <a:moveTo>
                  <a:pt x="1341" y="268"/>
                </a:moveTo>
                <a:cubicBezTo>
                  <a:pt x="1340" y="268"/>
                  <a:pt x="1340" y="268"/>
                  <a:pt x="1340" y="268"/>
                </a:cubicBezTo>
                <a:cubicBezTo>
                  <a:pt x="1340" y="261"/>
                  <a:pt x="1340" y="261"/>
                  <a:pt x="1340" y="261"/>
                </a:cubicBezTo>
                <a:cubicBezTo>
                  <a:pt x="1341" y="261"/>
                  <a:pt x="1341" y="261"/>
                  <a:pt x="1341" y="261"/>
                </a:cubicBezTo>
                <a:cubicBezTo>
                  <a:pt x="1341" y="268"/>
                  <a:pt x="1341" y="268"/>
                  <a:pt x="1341" y="268"/>
                </a:cubicBezTo>
                <a:moveTo>
                  <a:pt x="1346" y="232"/>
                </a:moveTo>
                <a:cubicBezTo>
                  <a:pt x="1340" y="232"/>
                  <a:pt x="1340" y="232"/>
                  <a:pt x="1340" y="232"/>
                </a:cubicBezTo>
                <a:cubicBezTo>
                  <a:pt x="1340" y="225"/>
                  <a:pt x="1340" y="225"/>
                  <a:pt x="1340" y="225"/>
                </a:cubicBezTo>
                <a:cubicBezTo>
                  <a:pt x="1346" y="225"/>
                  <a:pt x="1346" y="225"/>
                  <a:pt x="1346" y="225"/>
                </a:cubicBezTo>
                <a:cubicBezTo>
                  <a:pt x="1346" y="232"/>
                  <a:pt x="1346" y="232"/>
                  <a:pt x="1346" y="232"/>
                </a:cubicBezTo>
                <a:moveTo>
                  <a:pt x="1346" y="197"/>
                </a:moveTo>
                <a:cubicBezTo>
                  <a:pt x="1340" y="197"/>
                  <a:pt x="1340" y="197"/>
                  <a:pt x="1340" y="197"/>
                </a:cubicBezTo>
                <a:cubicBezTo>
                  <a:pt x="1340" y="190"/>
                  <a:pt x="1340" y="190"/>
                  <a:pt x="1340" y="190"/>
                </a:cubicBezTo>
                <a:cubicBezTo>
                  <a:pt x="1346" y="190"/>
                  <a:pt x="1346" y="190"/>
                  <a:pt x="1346" y="190"/>
                </a:cubicBezTo>
                <a:cubicBezTo>
                  <a:pt x="1346" y="197"/>
                  <a:pt x="1346" y="197"/>
                  <a:pt x="1346" y="197"/>
                </a:cubicBezTo>
                <a:moveTo>
                  <a:pt x="1346" y="161"/>
                </a:moveTo>
                <a:cubicBezTo>
                  <a:pt x="1340" y="161"/>
                  <a:pt x="1340" y="161"/>
                  <a:pt x="1340" y="161"/>
                </a:cubicBezTo>
                <a:cubicBezTo>
                  <a:pt x="1340" y="154"/>
                  <a:pt x="1340" y="154"/>
                  <a:pt x="1340" y="154"/>
                </a:cubicBezTo>
                <a:cubicBezTo>
                  <a:pt x="1346" y="154"/>
                  <a:pt x="1346" y="154"/>
                  <a:pt x="1346" y="154"/>
                </a:cubicBezTo>
                <a:cubicBezTo>
                  <a:pt x="1346" y="161"/>
                  <a:pt x="1346" y="161"/>
                  <a:pt x="1346" y="161"/>
                </a:cubicBezTo>
                <a:moveTo>
                  <a:pt x="1358" y="283"/>
                </a:moveTo>
                <a:cubicBezTo>
                  <a:pt x="1353" y="283"/>
                  <a:pt x="1353" y="283"/>
                  <a:pt x="1353" y="283"/>
                </a:cubicBezTo>
                <a:cubicBezTo>
                  <a:pt x="1353" y="276"/>
                  <a:pt x="1353" y="276"/>
                  <a:pt x="1353" y="276"/>
                </a:cubicBezTo>
                <a:cubicBezTo>
                  <a:pt x="1358" y="276"/>
                  <a:pt x="1358" y="276"/>
                  <a:pt x="1358" y="276"/>
                </a:cubicBezTo>
                <a:cubicBezTo>
                  <a:pt x="1358" y="283"/>
                  <a:pt x="1358" y="283"/>
                  <a:pt x="1358" y="283"/>
                </a:cubicBezTo>
                <a:moveTo>
                  <a:pt x="1358" y="248"/>
                </a:moveTo>
                <a:cubicBezTo>
                  <a:pt x="1353" y="248"/>
                  <a:pt x="1353" y="248"/>
                  <a:pt x="1353" y="248"/>
                </a:cubicBezTo>
                <a:cubicBezTo>
                  <a:pt x="1353" y="241"/>
                  <a:pt x="1353" y="241"/>
                  <a:pt x="1353" y="241"/>
                </a:cubicBezTo>
                <a:cubicBezTo>
                  <a:pt x="1358" y="241"/>
                  <a:pt x="1358" y="241"/>
                  <a:pt x="1358" y="241"/>
                </a:cubicBezTo>
                <a:cubicBezTo>
                  <a:pt x="1358" y="248"/>
                  <a:pt x="1358" y="248"/>
                  <a:pt x="1358" y="248"/>
                </a:cubicBezTo>
                <a:moveTo>
                  <a:pt x="1358" y="212"/>
                </a:moveTo>
                <a:cubicBezTo>
                  <a:pt x="1353" y="212"/>
                  <a:pt x="1353" y="212"/>
                  <a:pt x="1353" y="212"/>
                </a:cubicBezTo>
                <a:cubicBezTo>
                  <a:pt x="1353" y="205"/>
                  <a:pt x="1353" y="205"/>
                  <a:pt x="1353" y="205"/>
                </a:cubicBezTo>
                <a:cubicBezTo>
                  <a:pt x="1358" y="205"/>
                  <a:pt x="1358" y="205"/>
                  <a:pt x="1358" y="205"/>
                </a:cubicBezTo>
                <a:cubicBezTo>
                  <a:pt x="1358" y="212"/>
                  <a:pt x="1358" y="212"/>
                  <a:pt x="1358" y="212"/>
                </a:cubicBezTo>
                <a:moveTo>
                  <a:pt x="1358" y="177"/>
                </a:moveTo>
                <a:cubicBezTo>
                  <a:pt x="1353" y="177"/>
                  <a:pt x="1353" y="177"/>
                  <a:pt x="1353" y="177"/>
                </a:cubicBezTo>
                <a:cubicBezTo>
                  <a:pt x="1353" y="170"/>
                  <a:pt x="1353" y="170"/>
                  <a:pt x="1353" y="170"/>
                </a:cubicBezTo>
                <a:cubicBezTo>
                  <a:pt x="1358" y="170"/>
                  <a:pt x="1358" y="170"/>
                  <a:pt x="1358" y="170"/>
                </a:cubicBezTo>
                <a:cubicBezTo>
                  <a:pt x="1358" y="177"/>
                  <a:pt x="1358" y="177"/>
                  <a:pt x="1358" y="177"/>
                </a:cubicBezTo>
                <a:moveTo>
                  <a:pt x="1371" y="299"/>
                </a:moveTo>
                <a:cubicBezTo>
                  <a:pt x="1365" y="299"/>
                  <a:pt x="1365" y="299"/>
                  <a:pt x="1365" y="299"/>
                </a:cubicBezTo>
                <a:cubicBezTo>
                  <a:pt x="1365" y="292"/>
                  <a:pt x="1365" y="292"/>
                  <a:pt x="1365" y="292"/>
                </a:cubicBezTo>
                <a:cubicBezTo>
                  <a:pt x="1371" y="292"/>
                  <a:pt x="1371" y="292"/>
                  <a:pt x="1371" y="292"/>
                </a:cubicBezTo>
                <a:cubicBezTo>
                  <a:pt x="1371" y="299"/>
                  <a:pt x="1371" y="299"/>
                  <a:pt x="1371" y="299"/>
                </a:cubicBezTo>
                <a:moveTo>
                  <a:pt x="1371" y="263"/>
                </a:moveTo>
                <a:cubicBezTo>
                  <a:pt x="1365" y="263"/>
                  <a:pt x="1365" y="263"/>
                  <a:pt x="1365" y="263"/>
                </a:cubicBezTo>
                <a:cubicBezTo>
                  <a:pt x="1365" y="256"/>
                  <a:pt x="1365" y="256"/>
                  <a:pt x="1365" y="256"/>
                </a:cubicBezTo>
                <a:cubicBezTo>
                  <a:pt x="1371" y="256"/>
                  <a:pt x="1371" y="256"/>
                  <a:pt x="1371" y="256"/>
                </a:cubicBezTo>
                <a:cubicBezTo>
                  <a:pt x="1371" y="263"/>
                  <a:pt x="1371" y="263"/>
                  <a:pt x="1371" y="263"/>
                </a:cubicBezTo>
                <a:moveTo>
                  <a:pt x="1371" y="228"/>
                </a:moveTo>
                <a:cubicBezTo>
                  <a:pt x="1365" y="228"/>
                  <a:pt x="1365" y="228"/>
                  <a:pt x="1365" y="228"/>
                </a:cubicBezTo>
                <a:cubicBezTo>
                  <a:pt x="1365" y="221"/>
                  <a:pt x="1365" y="221"/>
                  <a:pt x="1365" y="221"/>
                </a:cubicBezTo>
                <a:cubicBezTo>
                  <a:pt x="1371" y="221"/>
                  <a:pt x="1371" y="221"/>
                  <a:pt x="1371" y="221"/>
                </a:cubicBezTo>
                <a:cubicBezTo>
                  <a:pt x="1371" y="228"/>
                  <a:pt x="1371" y="228"/>
                  <a:pt x="1371" y="228"/>
                </a:cubicBezTo>
                <a:moveTo>
                  <a:pt x="1371" y="192"/>
                </a:moveTo>
                <a:cubicBezTo>
                  <a:pt x="1365" y="192"/>
                  <a:pt x="1365" y="192"/>
                  <a:pt x="1365" y="192"/>
                </a:cubicBezTo>
                <a:cubicBezTo>
                  <a:pt x="1365" y="185"/>
                  <a:pt x="1365" y="185"/>
                  <a:pt x="1365" y="185"/>
                </a:cubicBezTo>
                <a:cubicBezTo>
                  <a:pt x="1371" y="185"/>
                  <a:pt x="1371" y="185"/>
                  <a:pt x="1371" y="185"/>
                </a:cubicBezTo>
                <a:cubicBezTo>
                  <a:pt x="1371" y="192"/>
                  <a:pt x="1371" y="192"/>
                  <a:pt x="1371" y="192"/>
                </a:cubicBezTo>
                <a:moveTo>
                  <a:pt x="1384" y="279"/>
                </a:moveTo>
                <a:cubicBezTo>
                  <a:pt x="1378" y="279"/>
                  <a:pt x="1378" y="279"/>
                  <a:pt x="1378" y="279"/>
                </a:cubicBezTo>
                <a:cubicBezTo>
                  <a:pt x="1378" y="272"/>
                  <a:pt x="1378" y="272"/>
                  <a:pt x="1378" y="272"/>
                </a:cubicBezTo>
                <a:cubicBezTo>
                  <a:pt x="1384" y="272"/>
                  <a:pt x="1384" y="272"/>
                  <a:pt x="1384" y="272"/>
                </a:cubicBezTo>
                <a:cubicBezTo>
                  <a:pt x="1384" y="279"/>
                  <a:pt x="1384" y="279"/>
                  <a:pt x="1384" y="279"/>
                </a:cubicBezTo>
                <a:moveTo>
                  <a:pt x="1384" y="243"/>
                </a:moveTo>
                <a:cubicBezTo>
                  <a:pt x="1378" y="243"/>
                  <a:pt x="1378" y="243"/>
                  <a:pt x="1378" y="243"/>
                </a:cubicBezTo>
                <a:cubicBezTo>
                  <a:pt x="1378" y="236"/>
                  <a:pt x="1378" y="236"/>
                  <a:pt x="1378" y="236"/>
                </a:cubicBezTo>
                <a:cubicBezTo>
                  <a:pt x="1384" y="236"/>
                  <a:pt x="1384" y="236"/>
                  <a:pt x="1384" y="236"/>
                </a:cubicBezTo>
                <a:cubicBezTo>
                  <a:pt x="1384" y="243"/>
                  <a:pt x="1384" y="243"/>
                  <a:pt x="1384" y="243"/>
                </a:cubicBezTo>
                <a:moveTo>
                  <a:pt x="1384" y="208"/>
                </a:moveTo>
                <a:cubicBezTo>
                  <a:pt x="1378" y="208"/>
                  <a:pt x="1378" y="208"/>
                  <a:pt x="1378" y="208"/>
                </a:cubicBezTo>
                <a:cubicBezTo>
                  <a:pt x="1378" y="201"/>
                  <a:pt x="1378" y="201"/>
                  <a:pt x="1378" y="201"/>
                </a:cubicBezTo>
                <a:cubicBezTo>
                  <a:pt x="1384" y="201"/>
                  <a:pt x="1384" y="201"/>
                  <a:pt x="1384" y="201"/>
                </a:cubicBezTo>
                <a:cubicBezTo>
                  <a:pt x="1384" y="208"/>
                  <a:pt x="1384" y="208"/>
                  <a:pt x="1384" y="208"/>
                </a:cubicBezTo>
                <a:moveTo>
                  <a:pt x="1426" y="293"/>
                </a:moveTo>
                <a:cubicBezTo>
                  <a:pt x="1408" y="293"/>
                  <a:pt x="1408" y="293"/>
                  <a:pt x="1408" y="293"/>
                </a:cubicBezTo>
                <a:cubicBezTo>
                  <a:pt x="1408" y="288"/>
                  <a:pt x="1408" y="288"/>
                  <a:pt x="1408" y="288"/>
                </a:cubicBezTo>
                <a:cubicBezTo>
                  <a:pt x="1426" y="288"/>
                  <a:pt x="1426" y="288"/>
                  <a:pt x="1426" y="288"/>
                </a:cubicBezTo>
                <a:cubicBezTo>
                  <a:pt x="1426" y="293"/>
                  <a:pt x="1426" y="293"/>
                  <a:pt x="1426" y="293"/>
                </a:cubicBezTo>
                <a:moveTo>
                  <a:pt x="1426" y="282"/>
                </a:moveTo>
                <a:cubicBezTo>
                  <a:pt x="1408" y="282"/>
                  <a:pt x="1408" y="282"/>
                  <a:pt x="1408" y="282"/>
                </a:cubicBezTo>
                <a:cubicBezTo>
                  <a:pt x="1408" y="277"/>
                  <a:pt x="1408" y="277"/>
                  <a:pt x="1408" y="277"/>
                </a:cubicBezTo>
                <a:cubicBezTo>
                  <a:pt x="1426" y="277"/>
                  <a:pt x="1426" y="277"/>
                  <a:pt x="1426" y="277"/>
                </a:cubicBezTo>
                <a:cubicBezTo>
                  <a:pt x="1426" y="282"/>
                  <a:pt x="1426" y="282"/>
                  <a:pt x="1426" y="282"/>
                </a:cubicBezTo>
                <a:moveTo>
                  <a:pt x="1426" y="271"/>
                </a:moveTo>
                <a:cubicBezTo>
                  <a:pt x="1408" y="271"/>
                  <a:pt x="1408" y="271"/>
                  <a:pt x="1408" y="271"/>
                </a:cubicBezTo>
                <a:cubicBezTo>
                  <a:pt x="1408" y="266"/>
                  <a:pt x="1408" y="266"/>
                  <a:pt x="1408" y="266"/>
                </a:cubicBezTo>
                <a:cubicBezTo>
                  <a:pt x="1426" y="266"/>
                  <a:pt x="1426" y="266"/>
                  <a:pt x="1426" y="266"/>
                </a:cubicBezTo>
                <a:cubicBezTo>
                  <a:pt x="1426" y="271"/>
                  <a:pt x="1426" y="271"/>
                  <a:pt x="1426" y="271"/>
                </a:cubicBezTo>
                <a:moveTo>
                  <a:pt x="1426" y="260"/>
                </a:moveTo>
                <a:cubicBezTo>
                  <a:pt x="1408" y="260"/>
                  <a:pt x="1408" y="260"/>
                  <a:pt x="1408" y="260"/>
                </a:cubicBezTo>
                <a:cubicBezTo>
                  <a:pt x="1408" y="255"/>
                  <a:pt x="1408" y="255"/>
                  <a:pt x="1408" y="255"/>
                </a:cubicBezTo>
                <a:cubicBezTo>
                  <a:pt x="1426" y="255"/>
                  <a:pt x="1426" y="255"/>
                  <a:pt x="1426" y="255"/>
                </a:cubicBezTo>
                <a:cubicBezTo>
                  <a:pt x="1426" y="260"/>
                  <a:pt x="1426" y="260"/>
                  <a:pt x="1426" y="260"/>
                </a:cubicBezTo>
                <a:moveTo>
                  <a:pt x="1426" y="249"/>
                </a:moveTo>
                <a:cubicBezTo>
                  <a:pt x="1408" y="249"/>
                  <a:pt x="1408" y="249"/>
                  <a:pt x="1408" y="249"/>
                </a:cubicBezTo>
                <a:cubicBezTo>
                  <a:pt x="1408" y="244"/>
                  <a:pt x="1408" y="244"/>
                  <a:pt x="1408" y="244"/>
                </a:cubicBezTo>
                <a:cubicBezTo>
                  <a:pt x="1426" y="244"/>
                  <a:pt x="1426" y="244"/>
                  <a:pt x="1426" y="244"/>
                </a:cubicBezTo>
                <a:cubicBezTo>
                  <a:pt x="1426" y="249"/>
                  <a:pt x="1426" y="249"/>
                  <a:pt x="1426" y="249"/>
                </a:cubicBezTo>
                <a:moveTo>
                  <a:pt x="1426" y="238"/>
                </a:moveTo>
                <a:cubicBezTo>
                  <a:pt x="1408" y="238"/>
                  <a:pt x="1408" y="238"/>
                  <a:pt x="1408" y="238"/>
                </a:cubicBezTo>
                <a:cubicBezTo>
                  <a:pt x="1408" y="234"/>
                  <a:pt x="1408" y="234"/>
                  <a:pt x="1408" y="234"/>
                </a:cubicBezTo>
                <a:cubicBezTo>
                  <a:pt x="1426" y="234"/>
                  <a:pt x="1426" y="234"/>
                  <a:pt x="1426" y="234"/>
                </a:cubicBezTo>
                <a:cubicBezTo>
                  <a:pt x="1426" y="238"/>
                  <a:pt x="1426" y="238"/>
                  <a:pt x="1426" y="238"/>
                </a:cubicBezTo>
                <a:moveTo>
                  <a:pt x="1426" y="228"/>
                </a:moveTo>
                <a:cubicBezTo>
                  <a:pt x="1408" y="228"/>
                  <a:pt x="1408" y="228"/>
                  <a:pt x="1408" y="228"/>
                </a:cubicBezTo>
                <a:cubicBezTo>
                  <a:pt x="1408" y="223"/>
                  <a:pt x="1408" y="223"/>
                  <a:pt x="1408" y="223"/>
                </a:cubicBezTo>
                <a:cubicBezTo>
                  <a:pt x="1426" y="223"/>
                  <a:pt x="1426" y="223"/>
                  <a:pt x="1426" y="223"/>
                </a:cubicBezTo>
                <a:cubicBezTo>
                  <a:pt x="1426" y="228"/>
                  <a:pt x="1426" y="228"/>
                  <a:pt x="1426" y="228"/>
                </a:cubicBezTo>
                <a:moveTo>
                  <a:pt x="1426" y="217"/>
                </a:moveTo>
                <a:cubicBezTo>
                  <a:pt x="1408" y="217"/>
                  <a:pt x="1408" y="217"/>
                  <a:pt x="1408" y="217"/>
                </a:cubicBezTo>
                <a:cubicBezTo>
                  <a:pt x="1408" y="212"/>
                  <a:pt x="1408" y="212"/>
                  <a:pt x="1408" y="212"/>
                </a:cubicBezTo>
                <a:cubicBezTo>
                  <a:pt x="1426" y="212"/>
                  <a:pt x="1426" y="212"/>
                  <a:pt x="1426" y="212"/>
                </a:cubicBezTo>
                <a:cubicBezTo>
                  <a:pt x="1426" y="217"/>
                  <a:pt x="1426" y="217"/>
                  <a:pt x="1426" y="217"/>
                </a:cubicBezTo>
                <a:moveTo>
                  <a:pt x="1474" y="214"/>
                </a:moveTo>
                <a:cubicBezTo>
                  <a:pt x="1465" y="214"/>
                  <a:pt x="1465" y="214"/>
                  <a:pt x="1465" y="214"/>
                </a:cubicBezTo>
                <a:cubicBezTo>
                  <a:pt x="1465" y="203"/>
                  <a:pt x="1465" y="203"/>
                  <a:pt x="1465" y="203"/>
                </a:cubicBezTo>
                <a:cubicBezTo>
                  <a:pt x="1474" y="203"/>
                  <a:pt x="1474" y="203"/>
                  <a:pt x="1474" y="203"/>
                </a:cubicBezTo>
                <a:cubicBezTo>
                  <a:pt x="1474" y="214"/>
                  <a:pt x="1474" y="214"/>
                  <a:pt x="1474" y="214"/>
                </a:cubicBezTo>
                <a:moveTo>
                  <a:pt x="1474" y="154"/>
                </a:moveTo>
                <a:cubicBezTo>
                  <a:pt x="1465" y="154"/>
                  <a:pt x="1465" y="154"/>
                  <a:pt x="1465" y="154"/>
                </a:cubicBezTo>
                <a:cubicBezTo>
                  <a:pt x="1465" y="143"/>
                  <a:pt x="1465" y="143"/>
                  <a:pt x="1465" y="143"/>
                </a:cubicBezTo>
                <a:cubicBezTo>
                  <a:pt x="1474" y="143"/>
                  <a:pt x="1474" y="143"/>
                  <a:pt x="1474" y="143"/>
                </a:cubicBezTo>
                <a:cubicBezTo>
                  <a:pt x="1474" y="154"/>
                  <a:pt x="1474" y="154"/>
                  <a:pt x="1474" y="154"/>
                </a:cubicBezTo>
                <a:moveTo>
                  <a:pt x="1489" y="242"/>
                </a:moveTo>
                <a:cubicBezTo>
                  <a:pt x="1480" y="242"/>
                  <a:pt x="1480" y="242"/>
                  <a:pt x="1480" y="242"/>
                </a:cubicBezTo>
                <a:cubicBezTo>
                  <a:pt x="1480" y="231"/>
                  <a:pt x="1480" y="231"/>
                  <a:pt x="1480" y="231"/>
                </a:cubicBezTo>
                <a:cubicBezTo>
                  <a:pt x="1489" y="231"/>
                  <a:pt x="1489" y="231"/>
                  <a:pt x="1489" y="231"/>
                </a:cubicBezTo>
                <a:cubicBezTo>
                  <a:pt x="1489" y="242"/>
                  <a:pt x="1489" y="242"/>
                  <a:pt x="1489" y="242"/>
                </a:cubicBezTo>
                <a:moveTo>
                  <a:pt x="1493" y="178"/>
                </a:moveTo>
                <a:cubicBezTo>
                  <a:pt x="1485" y="178"/>
                  <a:pt x="1485" y="178"/>
                  <a:pt x="1485" y="178"/>
                </a:cubicBezTo>
                <a:cubicBezTo>
                  <a:pt x="1485" y="167"/>
                  <a:pt x="1485" y="167"/>
                  <a:pt x="1485" y="167"/>
                </a:cubicBezTo>
                <a:cubicBezTo>
                  <a:pt x="1493" y="167"/>
                  <a:pt x="1493" y="167"/>
                  <a:pt x="1493" y="167"/>
                </a:cubicBezTo>
                <a:cubicBezTo>
                  <a:pt x="1493" y="178"/>
                  <a:pt x="1493" y="178"/>
                  <a:pt x="1493" y="178"/>
                </a:cubicBezTo>
                <a:moveTo>
                  <a:pt x="1502" y="154"/>
                </a:moveTo>
                <a:cubicBezTo>
                  <a:pt x="1493" y="154"/>
                  <a:pt x="1493" y="154"/>
                  <a:pt x="1493" y="154"/>
                </a:cubicBezTo>
                <a:cubicBezTo>
                  <a:pt x="1493" y="143"/>
                  <a:pt x="1493" y="143"/>
                  <a:pt x="1493" y="143"/>
                </a:cubicBezTo>
                <a:cubicBezTo>
                  <a:pt x="1502" y="143"/>
                  <a:pt x="1502" y="143"/>
                  <a:pt x="1502" y="143"/>
                </a:cubicBezTo>
                <a:cubicBezTo>
                  <a:pt x="1502" y="154"/>
                  <a:pt x="1502" y="154"/>
                  <a:pt x="1502" y="154"/>
                </a:cubicBezTo>
                <a:moveTo>
                  <a:pt x="1602" y="107"/>
                </a:moveTo>
                <a:cubicBezTo>
                  <a:pt x="1611" y="107"/>
                  <a:pt x="1611" y="107"/>
                  <a:pt x="1611" y="107"/>
                </a:cubicBezTo>
                <a:cubicBezTo>
                  <a:pt x="1611" y="117"/>
                  <a:pt x="1611" y="117"/>
                  <a:pt x="1611" y="117"/>
                </a:cubicBezTo>
                <a:cubicBezTo>
                  <a:pt x="1602" y="117"/>
                  <a:pt x="1602" y="117"/>
                  <a:pt x="1602" y="117"/>
                </a:cubicBezTo>
                <a:cubicBezTo>
                  <a:pt x="1602" y="107"/>
                  <a:pt x="1602" y="107"/>
                  <a:pt x="1602" y="107"/>
                </a:cubicBezTo>
                <a:moveTo>
                  <a:pt x="1602" y="173"/>
                </a:moveTo>
                <a:cubicBezTo>
                  <a:pt x="1611" y="173"/>
                  <a:pt x="1611" y="173"/>
                  <a:pt x="1611" y="173"/>
                </a:cubicBezTo>
                <a:cubicBezTo>
                  <a:pt x="1611" y="183"/>
                  <a:pt x="1611" y="183"/>
                  <a:pt x="1611" y="183"/>
                </a:cubicBezTo>
                <a:cubicBezTo>
                  <a:pt x="1602" y="183"/>
                  <a:pt x="1602" y="183"/>
                  <a:pt x="1602" y="183"/>
                </a:cubicBezTo>
                <a:cubicBezTo>
                  <a:pt x="1602" y="173"/>
                  <a:pt x="1602" y="173"/>
                  <a:pt x="1602" y="173"/>
                </a:cubicBezTo>
                <a:moveTo>
                  <a:pt x="1615" y="274"/>
                </a:moveTo>
                <a:cubicBezTo>
                  <a:pt x="1606" y="274"/>
                  <a:pt x="1606" y="274"/>
                  <a:pt x="1606" y="274"/>
                </a:cubicBezTo>
                <a:cubicBezTo>
                  <a:pt x="1606" y="263"/>
                  <a:pt x="1606" y="263"/>
                  <a:pt x="1606" y="263"/>
                </a:cubicBezTo>
                <a:cubicBezTo>
                  <a:pt x="1615" y="263"/>
                  <a:pt x="1615" y="263"/>
                  <a:pt x="1615" y="263"/>
                </a:cubicBezTo>
                <a:cubicBezTo>
                  <a:pt x="1615" y="274"/>
                  <a:pt x="1615" y="274"/>
                  <a:pt x="1615" y="274"/>
                </a:cubicBezTo>
                <a:moveTo>
                  <a:pt x="1623" y="214"/>
                </a:moveTo>
                <a:cubicBezTo>
                  <a:pt x="1615" y="214"/>
                  <a:pt x="1615" y="214"/>
                  <a:pt x="1615" y="214"/>
                </a:cubicBezTo>
                <a:cubicBezTo>
                  <a:pt x="1615" y="203"/>
                  <a:pt x="1615" y="203"/>
                  <a:pt x="1615" y="203"/>
                </a:cubicBezTo>
                <a:cubicBezTo>
                  <a:pt x="1623" y="203"/>
                  <a:pt x="1623" y="203"/>
                  <a:pt x="1623" y="203"/>
                </a:cubicBezTo>
                <a:cubicBezTo>
                  <a:pt x="1623" y="214"/>
                  <a:pt x="1623" y="214"/>
                  <a:pt x="1623" y="214"/>
                </a:cubicBezTo>
                <a:moveTo>
                  <a:pt x="1644" y="159"/>
                </a:moveTo>
                <a:cubicBezTo>
                  <a:pt x="1635" y="159"/>
                  <a:pt x="1635" y="159"/>
                  <a:pt x="1635" y="159"/>
                </a:cubicBezTo>
                <a:cubicBezTo>
                  <a:pt x="1635" y="149"/>
                  <a:pt x="1635" y="149"/>
                  <a:pt x="1635" y="149"/>
                </a:cubicBezTo>
                <a:cubicBezTo>
                  <a:pt x="1644" y="149"/>
                  <a:pt x="1644" y="149"/>
                  <a:pt x="1644" y="149"/>
                </a:cubicBezTo>
                <a:cubicBezTo>
                  <a:pt x="1644" y="159"/>
                  <a:pt x="1644" y="159"/>
                  <a:pt x="1644" y="159"/>
                </a:cubicBezTo>
                <a:moveTo>
                  <a:pt x="1644" y="123"/>
                </a:moveTo>
                <a:cubicBezTo>
                  <a:pt x="1635" y="123"/>
                  <a:pt x="1635" y="123"/>
                  <a:pt x="1635" y="123"/>
                </a:cubicBezTo>
                <a:cubicBezTo>
                  <a:pt x="1635" y="112"/>
                  <a:pt x="1635" y="112"/>
                  <a:pt x="1635" y="112"/>
                </a:cubicBezTo>
                <a:cubicBezTo>
                  <a:pt x="1644" y="112"/>
                  <a:pt x="1644" y="112"/>
                  <a:pt x="1644" y="112"/>
                </a:cubicBezTo>
                <a:cubicBezTo>
                  <a:pt x="1644" y="123"/>
                  <a:pt x="1644" y="123"/>
                  <a:pt x="1644" y="123"/>
                </a:cubicBezTo>
                <a:moveTo>
                  <a:pt x="1703" y="303"/>
                </a:moveTo>
                <a:cubicBezTo>
                  <a:pt x="1691" y="303"/>
                  <a:pt x="1691" y="303"/>
                  <a:pt x="1691" y="303"/>
                </a:cubicBezTo>
                <a:cubicBezTo>
                  <a:pt x="1691" y="288"/>
                  <a:pt x="1691" y="288"/>
                  <a:pt x="1691" y="288"/>
                </a:cubicBezTo>
                <a:cubicBezTo>
                  <a:pt x="1703" y="288"/>
                  <a:pt x="1703" y="288"/>
                  <a:pt x="1703" y="288"/>
                </a:cubicBezTo>
                <a:cubicBezTo>
                  <a:pt x="1703" y="303"/>
                  <a:pt x="1703" y="303"/>
                  <a:pt x="1703" y="303"/>
                </a:cubicBezTo>
                <a:moveTo>
                  <a:pt x="1739" y="283"/>
                </a:moveTo>
                <a:cubicBezTo>
                  <a:pt x="1727" y="283"/>
                  <a:pt x="1727" y="283"/>
                  <a:pt x="1727" y="283"/>
                </a:cubicBezTo>
                <a:cubicBezTo>
                  <a:pt x="1727" y="268"/>
                  <a:pt x="1727" y="268"/>
                  <a:pt x="1727" y="268"/>
                </a:cubicBezTo>
                <a:cubicBezTo>
                  <a:pt x="1739" y="268"/>
                  <a:pt x="1739" y="268"/>
                  <a:pt x="1739" y="268"/>
                </a:cubicBezTo>
                <a:cubicBezTo>
                  <a:pt x="1739" y="283"/>
                  <a:pt x="1739" y="283"/>
                  <a:pt x="1739" y="283"/>
                </a:cubicBezTo>
                <a:moveTo>
                  <a:pt x="1793" y="290"/>
                </a:moveTo>
                <a:cubicBezTo>
                  <a:pt x="1781" y="290"/>
                  <a:pt x="1781" y="290"/>
                  <a:pt x="1781" y="290"/>
                </a:cubicBezTo>
                <a:cubicBezTo>
                  <a:pt x="1781" y="275"/>
                  <a:pt x="1781" y="275"/>
                  <a:pt x="1781" y="275"/>
                </a:cubicBezTo>
                <a:cubicBezTo>
                  <a:pt x="1793" y="275"/>
                  <a:pt x="1793" y="275"/>
                  <a:pt x="1793" y="275"/>
                </a:cubicBezTo>
                <a:cubicBezTo>
                  <a:pt x="1793" y="290"/>
                  <a:pt x="1793" y="290"/>
                  <a:pt x="1793" y="290"/>
                </a:cubicBezTo>
                <a:moveTo>
                  <a:pt x="1809" y="236"/>
                </a:moveTo>
                <a:cubicBezTo>
                  <a:pt x="1764" y="236"/>
                  <a:pt x="1764" y="236"/>
                  <a:pt x="1764" y="236"/>
                </a:cubicBezTo>
                <a:cubicBezTo>
                  <a:pt x="1764" y="117"/>
                  <a:pt x="1764" y="117"/>
                  <a:pt x="1764" y="117"/>
                </a:cubicBezTo>
                <a:cubicBezTo>
                  <a:pt x="1809" y="117"/>
                  <a:pt x="1809" y="117"/>
                  <a:pt x="1809" y="117"/>
                </a:cubicBezTo>
                <a:cubicBezTo>
                  <a:pt x="1809" y="236"/>
                  <a:pt x="1809" y="236"/>
                  <a:pt x="1809" y="236"/>
                </a:cubicBezTo>
                <a:moveTo>
                  <a:pt x="1817" y="60"/>
                </a:moveTo>
                <a:cubicBezTo>
                  <a:pt x="1826" y="60"/>
                  <a:pt x="1826" y="60"/>
                  <a:pt x="1826" y="60"/>
                </a:cubicBezTo>
                <a:cubicBezTo>
                  <a:pt x="1826" y="70"/>
                  <a:pt x="1826" y="70"/>
                  <a:pt x="1826" y="70"/>
                </a:cubicBezTo>
                <a:cubicBezTo>
                  <a:pt x="1817" y="70"/>
                  <a:pt x="1817" y="70"/>
                  <a:pt x="1817" y="70"/>
                </a:cubicBezTo>
                <a:cubicBezTo>
                  <a:pt x="1817" y="60"/>
                  <a:pt x="1817" y="60"/>
                  <a:pt x="1817" y="60"/>
                </a:cubicBezTo>
                <a:moveTo>
                  <a:pt x="1821" y="165"/>
                </a:moveTo>
                <a:cubicBezTo>
                  <a:pt x="1812" y="165"/>
                  <a:pt x="1812" y="165"/>
                  <a:pt x="1812" y="165"/>
                </a:cubicBezTo>
                <a:cubicBezTo>
                  <a:pt x="1812" y="154"/>
                  <a:pt x="1812" y="154"/>
                  <a:pt x="1812" y="154"/>
                </a:cubicBezTo>
                <a:cubicBezTo>
                  <a:pt x="1821" y="154"/>
                  <a:pt x="1821" y="154"/>
                  <a:pt x="1821" y="154"/>
                </a:cubicBezTo>
                <a:cubicBezTo>
                  <a:pt x="1821" y="165"/>
                  <a:pt x="1821" y="165"/>
                  <a:pt x="1821" y="165"/>
                </a:cubicBezTo>
                <a:moveTo>
                  <a:pt x="1821" y="107"/>
                </a:moveTo>
                <a:cubicBezTo>
                  <a:pt x="1830" y="107"/>
                  <a:pt x="1830" y="107"/>
                  <a:pt x="1830" y="107"/>
                </a:cubicBezTo>
                <a:cubicBezTo>
                  <a:pt x="1830" y="117"/>
                  <a:pt x="1830" y="117"/>
                  <a:pt x="1830" y="117"/>
                </a:cubicBezTo>
                <a:cubicBezTo>
                  <a:pt x="1821" y="117"/>
                  <a:pt x="1821" y="117"/>
                  <a:pt x="1821" y="117"/>
                </a:cubicBezTo>
                <a:cubicBezTo>
                  <a:pt x="1821" y="107"/>
                  <a:pt x="1821" y="107"/>
                  <a:pt x="1821" y="107"/>
                </a:cubicBezTo>
                <a:moveTo>
                  <a:pt x="1836" y="263"/>
                </a:moveTo>
                <a:cubicBezTo>
                  <a:pt x="1824" y="263"/>
                  <a:pt x="1824" y="263"/>
                  <a:pt x="1824" y="263"/>
                </a:cubicBezTo>
                <a:cubicBezTo>
                  <a:pt x="1824" y="248"/>
                  <a:pt x="1824" y="248"/>
                  <a:pt x="1824" y="248"/>
                </a:cubicBezTo>
                <a:cubicBezTo>
                  <a:pt x="1836" y="248"/>
                  <a:pt x="1836" y="248"/>
                  <a:pt x="1836" y="248"/>
                </a:cubicBezTo>
                <a:cubicBezTo>
                  <a:pt x="1836" y="263"/>
                  <a:pt x="1836" y="263"/>
                  <a:pt x="1836" y="263"/>
                </a:cubicBezTo>
                <a:moveTo>
                  <a:pt x="1840" y="186"/>
                </a:moveTo>
                <a:cubicBezTo>
                  <a:pt x="1831" y="186"/>
                  <a:pt x="1831" y="186"/>
                  <a:pt x="1831" y="186"/>
                </a:cubicBezTo>
                <a:cubicBezTo>
                  <a:pt x="1831" y="181"/>
                  <a:pt x="1831" y="181"/>
                  <a:pt x="1831" y="181"/>
                </a:cubicBezTo>
                <a:cubicBezTo>
                  <a:pt x="1840" y="181"/>
                  <a:pt x="1840" y="181"/>
                  <a:pt x="1840" y="181"/>
                </a:cubicBezTo>
                <a:cubicBezTo>
                  <a:pt x="1840" y="186"/>
                  <a:pt x="1840" y="186"/>
                  <a:pt x="1840" y="186"/>
                </a:cubicBezTo>
                <a:moveTo>
                  <a:pt x="1891" y="154"/>
                </a:moveTo>
                <a:cubicBezTo>
                  <a:pt x="1909" y="154"/>
                  <a:pt x="1909" y="154"/>
                  <a:pt x="1909" y="154"/>
                </a:cubicBezTo>
                <a:cubicBezTo>
                  <a:pt x="1909" y="165"/>
                  <a:pt x="1909" y="165"/>
                  <a:pt x="1909" y="165"/>
                </a:cubicBezTo>
                <a:cubicBezTo>
                  <a:pt x="1891" y="165"/>
                  <a:pt x="1891" y="165"/>
                  <a:pt x="1891" y="165"/>
                </a:cubicBezTo>
                <a:cubicBezTo>
                  <a:pt x="1891" y="154"/>
                  <a:pt x="1891" y="154"/>
                  <a:pt x="1891" y="154"/>
                </a:cubicBezTo>
                <a:moveTo>
                  <a:pt x="1891" y="203"/>
                </a:moveTo>
                <a:cubicBezTo>
                  <a:pt x="1909" y="203"/>
                  <a:pt x="1909" y="203"/>
                  <a:pt x="1909" y="203"/>
                </a:cubicBezTo>
                <a:cubicBezTo>
                  <a:pt x="1909" y="214"/>
                  <a:pt x="1909" y="214"/>
                  <a:pt x="1909" y="214"/>
                </a:cubicBezTo>
                <a:cubicBezTo>
                  <a:pt x="1891" y="214"/>
                  <a:pt x="1891" y="214"/>
                  <a:pt x="1891" y="214"/>
                </a:cubicBezTo>
                <a:cubicBezTo>
                  <a:pt x="1891" y="203"/>
                  <a:pt x="1891" y="203"/>
                  <a:pt x="1891" y="203"/>
                </a:cubicBezTo>
                <a:moveTo>
                  <a:pt x="1917" y="303"/>
                </a:moveTo>
                <a:cubicBezTo>
                  <a:pt x="1904" y="303"/>
                  <a:pt x="1904" y="303"/>
                  <a:pt x="1904" y="303"/>
                </a:cubicBezTo>
                <a:cubicBezTo>
                  <a:pt x="1904" y="288"/>
                  <a:pt x="1904" y="288"/>
                  <a:pt x="1904" y="288"/>
                </a:cubicBezTo>
                <a:cubicBezTo>
                  <a:pt x="1917" y="288"/>
                  <a:pt x="1917" y="288"/>
                  <a:pt x="1917" y="288"/>
                </a:cubicBezTo>
                <a:cubicBezTo>
                  <a:pt x="1917" y="303"/>
                  <a:pt x="1917" y="303"/>
                  <a:pt x="1917" y="303"/>
                </a:cubicBezTo>
                <a:moveTo>
                  <a:pt x="1921" y="107"/>
                </a:moveTo>
                <a:cubicBezTo>
                  <a:pt x="1938" y="107"/>
                  <a:pt x="1938" y="107"/>
                  <a:pt x="1938" y="107"/>
                </a:cubicBezTo>
                <a:cubicBezTo>
                  <a:pt x="1938" y="117"/>
                  <a:pt x="1938" y="117"/>
                  <a:pt x="1938" y="117"/>
                </a:cubicBezTo>
                <a:cubicBezTo>
                  <a:pt x="1921" y="117"/>
                  <a:pt x="1921" y="117"/>
                  <a:pt x="1921" y="117"/>
                </a:cubicBezTo>
                <a:cubicBezTo>
                  <a:pt x="1921" y="107"/>
                  <a:pt x="1921" y="107"/>
                  <a:pt x="1921" y="107"/>
                </a:cubicBezTo>
                <a:moveTo>
                  <a:pt x="1947" y="186"/>
                </a:moveTo>
                <a:cubicBezTo>
                  <a:pt x="1929" y="186"/>
                  <a:pt x="1929" y="186"/>
                  <a:pt x="1929" y="186"/>
                </a:cubicBezTo>
                <a:cubicBezTo>
                  <a:pt x="1929" y="176"/>
                  <a:pt x="1929" y="176"/>
                  <a:pt x="1929" y="176"/>
                </a:cubicBezTo>
                <a:cubicBezTo>
                  <a:pt x="1947" y="176"/>
                  <a:pt x="1947" y="176"/>
                  <a:pt x="1947" y="176"/>
                </a:cubicBezTo>
                <a:cubicBezTo>
                  <a:pt x="1947" y="186"/>
                  <a:pt x="1947" y="186"/>
                  <a:pt x="1947" y="186"/>
                </a:cubicBezTo>
                <a:moveTo>
                  <a:pt x="1989" y="186"/>
                </a:moveTo>
                <a:cubicBezTo>
                  <a:pt x="1996" y="186"/>
                  <a:pt x="1996" y="186"/>
                  <a:pt x="1996" y="186"/>
                </a:cubicBezTo>
                <a:cubicBezTo>
                  <a:pt x="1996" y="203"/>
                  <a:pt x="1996" y="203"/>
                  <a:pt x="1996" y="203"/>
                </a:cubicBezTo>
                <a:cubicBezTo>
                  <a:pt x="1989" y="203"/>
                  <a:pt x="1989" y="203"/>
                  <a:pt x="1989" y="203"/>
                </a:cubicBezTo>
                <a:cubicBezTo>
                  <a:pt x="1989" y="186"/>
                  <a:pt x="1989" y="186"/>
                  <a:pt x="1989" y="186"/>
                </a:cubicBezTo>
                <a:moveTo>
                  <a:pt x="2000" y="286"/>
                </a:moveTo>
                <a:cubicBezTo>
                  <a:pt x="1996" y="286"/>
                  <a:pt x="1996" y="286"/>
                  <a:pt x="1996" y="286"/>
                </a:cubicBezTo>
                <a:cubicBezTo>
                  <a:pt x="1996" y="295"/>
                  <a:pt x="1996" y="295"/>
                  <a:pt x="1996" y="295"/>
                </a:cubicBezTo>
                <a:cubicBezTo>
                  <a:pt x="1989" y="295"/>
                  <a:pt x="1989" y="295"/>
                  <a:pt x="1989" y="295"/>
                </a:cubicBezTo>
                <a:cubicBezTo>
                  <a:pt x="1989" y="242"/>
                  <a:pt x="1989" y="242"/>
                  <a:pt x="1989" y="242"/>
                </a:cubicBezTo>
                <a:cubicBezTo>
                  <a:pt x="1996" y="242"/>
                  <a:pt x="1996" y="242"/>
                  <a:pt x="1996" y="242"/>
                </a:cubicBezTo>
                <a:cubicBezTo>
                  <a:pt x="1996" y="274"/>
                  <a:pt x="1996" y="274"/>
                  <a:pt x="1996" y="274"/>
                </a:cubicBezTo>
                <a:cubicBezTo>
                  <a:pt x="2000" y="274"/>
                  <a:pt x="2000" y="274"/>
                  <a:pt x="2000" y="274"/>
                </a:cubicBezTo>
                <a:cubicBezTo>
                  <a:pt x="2000" y="286"/>
                  <a:pt x="2000" y="286"/>
                  <a:pt x="2000" y="286"/>
                </a:cubicBezTo>
                <a:moveTo>
                  <a:pt x="2048" y="211"/>
                </a:moveTo>
                <a:cubicBezTo>
                  <a:pt x="2042" y="211"/>
                  <a:pt x="2042" y="211"/>
                  <a:pt x="2042" y="211"/>
                </a:cubicBezTo>
                <a:cubicBezTo>
                  <a:pt x="2042" y="206"/>
                  <a:pt x="2042" y="206"/>
                  <a:pt x="2042" y="206"/>
                </a:cubicBezTo>
                <a:cubicBezTo>
                  <a:pt x="2048" y="206"/>
                  <a:pt x="2048" y="206"/>
                  <a:pt x="2048" y="206"/>
                </a:cubicBezTo>
                <a:cubicBezTo>
                  <a:pt x="2048" y="211"/>
                  <a:pt x="2048" y="211"/>
                  <a:pt x="2048" y="211"/>
                </a:cubicBezTo>
                <a:moveTo>
                  <a:pt x="2053" y="157"/>
                </a:moveTo>
                <a:cubicBezTo>
                  <a:pt x="2052" y="157"/>
                  <a:pt x="2052" y="157"/>
                  <a:pt x="2052" y="157"/>
                </a:cubicBezTo>
                <a:cubicBezTo>
                  <a:pt x="2052" y="146"/>
                  <a:pt x="2052" y="146"/>
                  <a:pt x="2052" y="146"/>
                </a:cubicBezTo>
                <a:cubicBezTo>
                  <a:pt x="2053" y="146"/>
                  <a:pt x="2053" y="146"/>
                  <a:pt x="2053" y="146"/>
                </a:cubicBezTo>
                <a:cubicBezTo>
                  <a:pt x="2053" y="157"/>
                  <a:pt x="2053" y="157"/>
                  <a:pt x="2053" y="157"/>
                </a:cubicBezTo>
                <a:moveTo>
                  <a:pt x="2056" y="52"/>
                </a:moveTo>
                <a:cubicBezTo>
                  <a:pt x="2065" y="52"/>
                  <a:pt x="2065" y="52"/>
                  <a:pt x="2065" y="52"/>
                </a:cubicBezTo>
                <a:cubicBezTo>
                  <a:pt x="2065" y="63"/>
                  <a:pt x="2065" y="63"/>
                  <a:pt x="2065" y="63"/>
                </a:cubicBezTo>
                <a:cubicBezTo>
                  <a:pt x="2056" y="63"/>
                  <a:pt x="2056" y="63"/>
                  <a:pt x="2056" y="63"/>
                </a:cubicBezTo>
                <a:cubicBezTo>
                  <a:pt x="2056" y="52"/>
                  <a:pt x="2056" y="52"/>
                  <a:pt x="2056" y="52"/>
                </a:cubicBezTo>
                <a:moveTo>
                  <a:pt x="2069" y="109"/>
                </a:moveTo>
                <a:cubicBezTo>
                  <a:pt x="2061" y="109"/>
                  <a:pt x="2061" y="109"/>
                  <a:pt x="2061" y="109"/>
                </a:cubicBezTo>
                <a:cubicBezTo>
                  <a:pt x="2061" y="99"/>
                  <a:pt x="2061" y="99"/>
                  <a:pt x="2061" y="99"/>
                </a:cubicBezTo>
                <a:cubicBezTo>
                  <a:pt x="2069" y="99"/>
                  <a:pt x="2069" y="99"/>
                  <a:pt x="2069" y="99"/>
                </a:cubicBezTo>
                <a:cubicBezTo>
                  <a:pt x="2069" y="109"/>
                  <a:pt x="2069" y="109"/>
                  <a:pt x="2069" y="109"/>
                </a:cubicBezTo>
                <a:moveTo>
                  <a:pt x="2078" y="175"/>
                </a:moveTo>
                <a:cubicBezTo>
                  <a:pt x="2071" y="175"/>
                  <a:pt x="2071" y="175"/>
                  <a:pt x="2071" y="175"/>
                </a:cubicBezTo>
                <a:cubicBezTo>
                  <a:pt x="2071" y="173"/>
                  <a:pt x="2071" y="173"/>
                  <a:pt x="2071" y="173"/>
                </a:cubicBezTo>
                <a:cubicBezTo>
                  <a:pt x="2078" y="173"/>
                  <a:pt x="2078" y="173"/>
                  <a:pt x="2078" y="173"/>
                </a:cubicBezTo>
                <a:cubicBezTo>
                  <a:pt x="2078" y="175"/>
                  <a:pt x="2078" y="175"/>
                  <a:pt x="2078" y="175"/>
                </a:cubicBezTo>
                <a:moveTo>
                  <a:pt x="2148" y="200"/>
                </a:moveTo>
                <a:cubicBezTo>
                  <a:pt x="2131" y="200"/>
                  <a:pt x="2131" y="200"/>
                  <a:pt x="2131" y="200"/>
                </a:cubicBezTo>
                <a:cubicBezTo>
                  <a:pt x="2131" y="195"/>
                  <a:pt x="2131" y="195"/>
                  <a:pt x="2131" y="195"/>
                </a:cubicBezTo>
                <a:cubicBezTo>
                  <a:pt x="2148" y="195"/>
                  <a:pt x="2148" y="195"/>
                  <a:pt x="2148" y="195"/>
                </a:cubicBezTo>
                <a:cubicBezTo>
                  <a:pt x="2148" y="200"/>
                  <a:pt x="2148" y="200"/>
                  <a:pt x="2148" y="200"/>
                </a:cubicBezTo>
                <a:moveTo>
                  <a:pt x="2149" y="157"/>
                </a:moveTo>
                <a:cubicBezTo>
                  <a:pt x="2131" y="157"/>
                  <a:pt x="2131" y="157"/>
                  <a:pt x="2131" y="157"/>
                </a:cubicBezTo>
                <a:cubicBezTo>
                  <a:pt x="2131" y="146"/>
                  <a:pt x="2131" y="146"/>
                  <a:pt x="2131" y="146"/>
                </a:cubicBezTo>
                <a:cubicBezTo>
                  <a:pt x="2149" y="146"/>
                  <a:pt x="2149" y="146"/>
                  <a:pt x="2149" y="146"/>
                </a:cubicBezTo>
                <a:cubicBezTo>
                  <a:pt x="2149" y="157"/>
                  <a:pt x="2149" y="157"/>
                  <a:pt x="2149" y="157"/>
                </a:cubicBezTo>
                <a:moveTo>
                  <a:pt x="2160" y="99"/>
                </a:moveTo>
                <a:cubicBezTo>
                  <a:pt x="2178" y="99"/>
                  <a:pt x="2178" y="99"/>
                  <a:pt x="2178" y="99"/>
                </a:cubicBezTo>
                <a:cubicBezTo>
                  <a:pt x="2178" y="109"/>
                  <a:pt x="2178" y="109"/>
                  <a:pt x="2178" y="109"/>
                </a:cubicBezTo>
                <a:cubicBezTo>
                  <a:pt x="2160" y="109"/>
                  <a:pt x="2160" y="109"/>
                  <a:pt x="2160" y="109"/>
                </a:cubicBezTo>
                <a:cubicBezTo>
                  <a:pt x="2160" y="99"/>
                  <a:pt x="2160" y="99"/>
                  <a:pt x="2160" y="99"/>
                </a:cubicBezTo>
                <a:moveTo>
                  <a:pt x="2187" y="178"/>
                </a:moveTo>
                <a:cubicBezTo>
                  <a:pt x="2169" y="178"/>
                  <a:pt x="2169" y="178"/>
                  <a:pt x="2169" y="178"/>
                </a:cubicBezTo>
                <a:cubicBezTo>
                  <a:pt x="2169" y="168"/>
                  <a:pt x="2169" y="168"/>
                  <a:pt x="2169" y="168"/>
                </a:cubicBezTo>
                <a:cubicBezTo>
                  <a:pt x="2187" y="168"/>
                  <a:pt x="2187" y="168"/>
                  <a:pt x="2187" y="168"/>
                </a:cubicBezTo>
                <a:cubicBezTo>
                  <a:pt x="2187" y="178"/>
                  <a:pt x="2187" y="178"/>
                  <a:pt x="2187" y="178"/>
                </a:cubicBezTo>
                <a:moveTo>
                  <a:pt x="2228" y="178"/>
                </a:moveTo>
                <a:cubicBezTo>
                  <a:pt x="2236" y="178"/>
                  <a:pt x="2236" y="178"/>
                  <a:pt x="2236" y="178"/>
                </a:cubicBezTo>
                <a:cubicBezTo>
                  <a:pt x="2236" y="195"/>
                  <a:pt x="2236" y="195"/>
                  <a:pt x="2236" y="195"/>
                </a:cubicBezTo>
                <a:cubicBezTo>
                  <a:pt x="2228" y="195"/>
                  <a:pt x="2228" y="195"/>
                  <a:pt x="2228" y="195"/>
                </a:cubicBezTo>
                <a:cubicBezTo>
                  <a:pt x="2228" y="178"/>
                  <a:pt x="2228" y="178"/>
                  <a:pt x="2228" y="178"/>
                </a:cubicBezTo>
                <a:moveTo>
                  <a:pt x="2239" y="278"/>
                </a:moveTo>
                <a:cubicBezTo>
                  <a:pt x="2236" y="278"/>
                  <a:pt x="2236" y="278"/>
                  <a:pt x="2236" y="278"/>
                </a:cubicBezTo>
                <a:cubicBezTo>
                  <a:pt x="2236" y="288"/>
                  <a:pt x="2236" y="288"/>
                  <a:pt x="2236" y="288"/>
                </a:cubicBezTo>
                <a:cubicBezTo>
                  <a:pt x="2229" y="288"/>
                  <a:pt x="2229" y="288"/>
                  <a:pt x="2229" y="288"/>
                </a:cubicBezTo>
                <a:cubicBezTo>
                  <a:pt x="2229" y="234"/>
                  <a:pt x="2229" y="234"/>
                  <a:pt x="2229" y="234"/>
                </a:cubicBezTo>
                <a:cubicBezTo>
                  <a:pt x="2236" y="234"/>
                  <a:pt x="2236" y="234"/>
                  <a:pt x="2236" y="234"/>
                </a:cubicBezTo>
                <a:cubicBezTo>
                  <a:pt x="2236" y="261"/>
                  <a:pt x="2236" y="261"/>
                  <a:pt x="2236" y="261"/>
                </a:cubicBezTo>
                <a:cubicBezTo>
                  <a:pt x="2234" y="261"/>
                  <a:pt x="2234" y="261"/>
                  <a:pt x="2234" y="261"/>
                </a:cubicBezTo>
                <a:cubicBezTo>
                  <a:pt x="2234" y="272"/>
                  <a:pt x="2234" y="272"/>
                  <a:pt x="2234" y="272"/>
                </a:cubicBezTo>
                <a:cubicBezTo>
                  <a:pt x="2239" y="272"/>
                  <a:pt x="2239" y="272"/>
                  <a:pt x="2239" y="272"/>
                </a:cubicBezTo>
                <a:cubicBezTo>
                  <a:pt x="2239" y="278"/>
                  <a:pt x="2239" y="278"/>
                  <a:pt x="2239" y="278"/>
                </a:cubicBezTo>
                <a:moveTo>
                  <a:pt x="2290" y="203"/>
                </a:moveTo>
                <a:cubicBezTo>
                  <a:pt x="2282" y="203"/>
                  <a:pt x="2282" y="203"/>
                  <a:pt x="2282" y="203"/>
                </a:cubicBezTo>
                <a:cubicBezTo>
                  <a:pt x="2282" y="198"/>
                  <a:pt x="2282" y="198"/>
                  <a:pt x="2282" y="198"/>
                </a:cubicBezTo>
                <a:cubicBezTo>
                  <a:pt x="2290" y="198"/>
                  <a:pt x="2290" y="198"/>
                  <a:pt x="2290" y="198"/>
                </a:cubicBezTo>
                <a:cubicBezTo>
                  <a:pt x="2290" y="203"/>
                  <a:pt x="2290" y="203"/>
                  <a:pt x="2290" y="203"/>
                </a:cubicBezTo>
                <a:moveTo>
                  <a:pt x="2317" y="167"/>
                </a:moveTo>
                <a:cubicBezTo>
                  <a:pt x="2304" y="167"/>
                  <a:pt x="2304" y="167"/>
                  <a:pt x="2304" y="167"/>
                </a:cubicBezTo>
                <a:cubicBezTo>
                  <a:pt x="2304" y="159"/>
                  <a:pt x="2304" y="159"/>
                  <a:pt x="2304" y="159"/>
                </a:cubicBezTo>
                <a:cubicBezTo>
                  <a:pt x="2317" y="159"/>
                  <a:pt x="2317" y="159"/>
                  <a:pt x="2317" y="159"/>
                </a:cubicBezTo>
                <a:cubicBezTo>
                  <a:pt x="2317" y="167"/>
                  <a:pt x="2317" y="167"/>
                  <a:pt x="2317" y="167"/>
                </a:cubicBezTo>
                <a:moveTo>
                  <a:pt x="2419" y="208"/>
                </a:moveTo>
                <a:cubicBezTo>
                  <a:pt x="2411" y="208"/>
                  <a:pt x="2411" y="208"/>
                  <a:pt x="2411" y="208"/>
                </a:cubicBezTo>
                <a:cubicBezTo>
                  <a:pt x="2411" y="201"/>
                  <a:pt x="2411" y="201"/>
                  <a:pt x="2411" y="201"/>
                </a:cubicBezTo>
                <a:cubicBezTo>
                  <a:pt x="2419" y="201"/>
                  <a:pt x="2419" y="201"/>
                  <a:pt x="2419" y="201"/>
                </a:cubicBezTo>
                <a:cubicBezTo>
                  <a:pt x="2419" y="208"/>
                  <a:pt x="2419" y="208"/>
                  <a:pt x="2419" y="208"/>
                </a:cubicBezTo>
                <a:moveTo>
                  <a:pt x="2440" y="276"/>
                </a:moveTo>
                <a:cubicBezTo>
                  <a:pt x="2444" y="276"/>
                  <a:pt x="2444" y="276"/>
                  <a:pt x="2444" y="276"/>
                </a:cubicBezTo>
                <a:cubicBezTo>
                  <a:pt x="2444" y="282"/>
                  <a:pt x="2444" y="282"/>
                  <a:pt x="2444" y="282"/>
                </a:cubicBezTo>
                <a:cubicBezTo>
                  <a:pt x="2440" y="282"/>
                  <a:pt x="2440" y="282"/>
                  <a:pt x="2440" y="282"/>
                </a:cubicBezTo>
                <a:cubicBezTo>
                  <a:pt x="2440" y="276"/>
                  <a:pt x="2440" y="276"/>
                  <a:pt x="2440" y="276"/>
                </a:cubicBezTo>
                <a:moveTo>
                  <a:pt x="2440" y="287"/>
                </a:moveTo>
                <a:cubicBezTo>
                  <a:pt x="2444" y="287"/>
                  <a:pt x="2444" y="287"/>
                  <a:pt x="2444" y="287"/>
                </a:cubicBezTo>
                <a:cubicBezTo>
                  <a:pt x="2444" y="289"/>
                  <a:pt x="2444" y="289"/>
                  <a:pt x="2444" y="289"/>
                </a:cubicBezTo>
                <a:cubicBezTo>
                  <a:pt x="2440" y="289"/>
                  <a:pt x="2440" y="289"/>
                  <a:pt x="2440" y="289"/>
                </a:cubicBezTo>
                <a:cubicBezTo>
                  <a:pt x="2440" y="287"/>
                  <a:pt x="2440" y="287"/>
                  <a:pt x="2440" y="287"/>
                </a:cubicBezTo>
                <a:moveTo>
                  <a:pt x="2364" y="18"/>
                </a:moveTo>
                <a:cubicBezTo>
                  <a:pt x="2437" y="18"/>
                  <a:pt x="2437" y="18"/>
                  <a:pt x="2437" y="18"/>
                </a:cubicBezTo>
                <a:cubicBezTo>
                  <a:pt x="2437" y="26"/>
                  <a:pt x="2437" y="26"/>
                  <a:pt x="2437" y="26"/>
                </a:cubicBezTo>
                <a:cubicBezTo>
                  <a:pt x="2364" y="26"/>
                  <a:pt x="2364" y="26"/>
                  <a:pt x="2364" y="26"/>
                </a:cubicBezTo>
                <a:cubicBezTo>
                  <a:pt x="2364" y="18"/>
                  <a:pt x="2364" y="18"/>
                  <a:pt x="2364" y="18"/>
                </a:cubicBezTo>
                <a:moveTo>
                  <a:pt x="2364" y="32"/>
                </a:moveTo>
                <a:cubicBezTo>
                  <a:pt x="2437" y="32"/>
                  <a:pt x="2437" y="32"/>
                  <a:pt x="2437" y="32"/>
                </a:cubicBezTo>
                <a:cubicBezTo>
                  <a:pt x="2437" y="40"/>
                  <a:pt x="2437" y="40"/>
                  <a:pt x="2437" y="40"/>
                </a:cubicBezTo>
                <a:cubicBezTo>
                  <a:pt x="2364" y="40"/>
                  <a:pt x="2364" y="40"/>
                  <a:pt x="2364" y="40"/>
                </a:cubicBezTo>
                <a:cubicBezTo>
                  <a:pt x="2364" y="32"/>
                  <a:pt x="2364" y="32"/>
                  <a:pt x="2364" y="32"/>
                </a:cubicBezTo>
                <a:moveTo>
                  <a:pt x="2364" y="47"/>
                </a:moveTo>
                <a:cubicBezTo>
                  <a:pt x="2437" y="47"/>
                  <a:pt x="2437" y="47"/>
                  <a:pt x="2437" y="47"/>
                </a:cubicBezTo>
                <a:cubicBezTo>
                  <a:pt x="2437" y="55"/>
                  <a:pt x="2437" y="55"/>
                  <a:pt x="2437" y="55"/>
                </a:cubicBezTo>
                <a:cubicBezTo>
                  <a:pt x="2364" y="55"/>
                  <a:pt x="2364" y="55"/>
                  <a:pt x="2364" y="55"/>
                </a:cubicBezTo>
                <a:cubicBezTo>
                  <a:pt x="2364" y="47"/>
                  <a:pt x="2364" y="47"/>
                  <a:pt x="2364" y="47"/>
                </a:cubicBezTo>
                <a:moveTo>
                  <a:pt x="2364" y="61"/>
                </a:moveTo>
                <a:cubicBezTo>
                  <a:pt x="2437" y="61"/>
                  <a:pt x="2437" y="61"/>
                  <a:pt x="2437" y="61"/>
                </a:cubicBezTo>
                <a:cubicBezTo>
                  <a:pt x="2437" y="69"/>
                  <a:pt x="2437" y="69"/>
                  <a:pt x="2437" y="69"/>
                </a:cubicBezTo>
                <a:cubicBezTo>
                  <a:pt x="2364" y="69"/>
                  <a:pt x="2364" y="69"/>
                  <a:pt x="2364" y="69"/>
                </a:cubicBezTo>
                <a:cubicBezTo>
                  <a:pt x="2364" y="61"/>
                  <a:pt x="2364" y="61"/>
                  <a:pt x="2364" y="61"/>
                </a:cubicBezTo>
                <a:moveTo>
                  <a:pt x="2364" y="75"/>
                </a:moveTo>
                <a:cubicBezTo>
                  <a:pt x="2437" y="75"/>
                  <a:pt x="2437" y="75"/>
                  <a:pt x="2437" y="75"/>
                </a:cubicBezTo>
                <a:cubicBezTo>
                  <a:pt x="2437" y="83"/>
                  <a:pt x="2437" y="83"/>
                  <a:pt x="2437" y="83"/>
                </a:cubicBezTo>
                <a:cubicBezTo>
                  <a:pt x="2364" y="83"/>
                  <a:pt x="2364" y="83"/>
                  <a:pt x="2364" y="83"/>
                </a:cubicBezTo>
                <a:cubicBezTo>
                  <a:pt x="2364" y="75"/>
                  <a:pt x="2364" y="75"/>
                  <a:pt x="2364" y="75"/>
                </a:cubicBezTo>
                <a:moveTo>
                  <a:pt x="2364" y="89"/>
                </a:moveTo>
                <a:cubicBezTo>
                  <a:pt x="2437" y="89"/>
                  <a:pt x="2437" y="89"/>
                  <a:pt x="2437" y="89"/>
                </a:cubicBezTo>
                <a:cubicBezTo>
                  <a:pt x="2437" y="97"/>
                  <a:pt x="2437" y="97"/>
                  <a:pt x="2437" y="97"/>
                </a:cubicBezTo>
                <a:cubicBezTo>
                  <a:pt x="2364" y="97"/>
                  <a:pt x="2364" y="97"/>
                  <a:pt x="2364" y="97"/>
                </a:cubicBezTo>
                <a:cubicBezTo>
                  <a:pt x="2364" y="89"/>
                  <a:pt x="2364" y="89"/>
                  <a:pt x="2364" y="89"/>
                </a:cubicBezTo>
                <a:moveTo>
                  <a:pt x="2364" y="103"/>
                </a:moveTo>
                <a:cubicBezTo>
                  <a:pt x="2437" y="103"/>
                  <a:pt x="2437" y="103"/>
                  <a:pt x="2437" y="103"/>
                </a:cubicBezTo>
                <a:cubicBezTo>
                  <a:pt x="2437" y="111"/>
                  <a:pt x="2437" y="111"/>
                  <a:pt x="2437" y="111"/>
                </a:cubicBezTo>
                <a:cubicBezTo>
                  <a:pt x="2364" y="111"/>
                  <a:pt x="2364" y="111"/>
                  <a:pt x="2364" y="111"/>
                </a:cubicBezTo>
                <a:cubicBezTo>
                  <a:pt x="2364" y="103"/>
                  <a:pt x="2364" y="103"/>
                  <a:pt x="2364" y="103"/>
                </a:cubicBezTo>
                <a:moveTo>
                  <a:pt x="2364" y="117"/>
                </a:moveTo>
                <a:cubicBezTo>
                  <a:pt x="2437" y="117"/>
                  <a:pt x="2437" y="117"/>
                  <a:pt x="2437" y="117"/>
                </a:cubicBezTo>
                <a:cubicBezTo>
                  <a:pt x="2437" y="125"/>
                  <a:pt x="2437" y="125"/>
                  <a:pt x="2437" y="125"/>
                </a:cubicBezTo>
                <a:cubicBezTo>
                  <a:pt x="2364" y="125"/>
                  <a:pt x="2364" y="125"/>
                  <a:pt x="2364" y="125"/>
                </a:cubicBezTo>
                <a:cubicBezTo>
                  <a:pt x="2364" y="117"/>
                  <a:pt x="2364" y="117"/>
                  <a:pt x="2364" y="117"/>
                </a:cubicBezTo>
                <a:moveTo>
                  <a:pt x="2364" y="132"/>
                </a:moveTo>
                <a:cubicBezTo>
                  <a:pt x="2437" y="132"/>
                  <a:pt x="2437" y="132"/>
                  <a:pt x="2437" y="132"/>
                </a:cubicBezTo>
                <a:cubicBezTo>
                  <a:pt x="2437" y="139"/>
                  <a:pt x="2437" y="139"/>
                  <a:pt x="2437" y="139"/>
                </a:cubicBezTo>
                <a:cubicBezTo>
                  <a:pt x="2364" y="139"/>
                  <a:pt x="2364" y="139"/>
                  <a:pt x="2364" y="139"/>
                </a:cubicBezTo>
                <a:cubicBezTo>
                  <a:pt x="2364" y="132"/>
                  <a:pt x="2364" y="132"/>
                  <a:pt x="2364" y="132"/>
                </a:cubicBezTo>
                <a:moveTo>
                  <a:pt x="2364" y="146"/>
                </a:moveTo>
                <a:cubicBezTo>
                  <a:pt x="2437" y="146"/>
                  <a:pt x="2437" y="146"/>
                  <a:pt x="2437" y="146"/>
                </a:cubicBezTo>
                <a:cubicBezTo>
                  <a:pt x="2437" y="148"/>
                  <a:pt x="2437" y="148"/>
                  <a:pt x="2437" y="148"/>
                </a:cubicBezTo>
                <a:cubicBezTo>
                  <a:pt x="2437" y="148"/>
                  <a:pt x="2437" y="148"/>
                  <a:pt x="2437" y="148"/>
                </a:cubicBezTo>
                <a:cubicBezTo>
                  <a:pt x="2437" y="154"/>
                  <a:pt x="2437" y="154"/>
                  <a:pt x="2437" y="154"/>
                </a:cubicBezTo>
                <a:cubicBezTo>
                  <a:pt x="2364" y="154"/>
                  <a:pt x="2364" y="154"/>
                  <a:pt x="2364" y="154"/>
                </a:cubicBezTo>
                <a:cubicBezTo>
                  <a:pt x="2364" y="146"/>
                  <a:pt x="2364" y="146"/>
                  <a:pt x="2364" y="146"/>
                </a:cubicBezTo>
                <a:moveTo>
                  <a:pt x="2364" y="160"/>
                </a:moveTo>
                <a:cubicBezTo>
                  <a:pt x="2437" y="160"/>
                  <a:pt x="2437" y="160"/>
                  <a:pt x="2437" y="160"/>
                </a:cubicBezTo>
                <a:cubicBezTo>
                  <a:pt x="2437" y="168"/>
                  <a:pt x="2437" y="168"/>
                  <a:pt x="2437" y="168"/>
                </a:cubicBezTo>
                <a:cubicBezTo>
                  <a:pt x="2364" y="168"/>
                  <a:pt x="2364" y="168"/>
                  <a:pt x="2364" y="168"/>
                </a:cubicBezTo>
                <a:cubicBezTo>
                  <a:pt x="2364" y="160"/>
                  <a:pt x="2364" y="160"/>
                  <a:pt x="2364" y="160"/>
                </a:cubicBezTo>
                <a:moveTo>
                  <a:pt x="2364" y="174"/>
                </a:moveTo>
                <a:cubicBezTo>
                  <a:pt x="2437" y="174"/>
                  <a:pt x="2437" y="174"/>
                  <a:pt x="2437" y="174"/>
                </a:cubicBezTo>
                <a:cubicBezTo>
                  <a:pt x="2437" y="182"/>
                  <a:pt x="2437" y="182"/>
                  <a:pt x="2437" y="182"/>
                </a:cubicBezTo>
                <a:cubicBezTo>
                  <a:pt x="2364" y="182"/>
                  <a:pt x="2364" y="182"/>
                  <a:pt x="2364" y="182"/>
                </a:cubicBezTo>
                <a:cubicBezTo>
                  <a:pt x="2364" y="174"/>
                  <a:pt x="2364" y="174"/>
                  <a:pt x="2364" y="174"/>
                </a:cubicBezTo>
                <a:moveTo>
                  <a:pt x="2345" y="257"/>
                </a:moveTo>
                <a:cubicBezTo>
                  <a:pt x="2341" y="257"/>
                  <a:pt x="2341" y="257"/>
                  <a:pt x="2341" y="257"/>
                </a:cubicBezTo>
                <a:cubicBezTo>
                  <a:pt x="2341" y="252"/>
                  <a:pt x="2341" y="252"/>
                  <a:pt x="2341" y="252"/>
                </a:cubicBezTo>
                <a:cubicBezTo>
                  <a:pt x="2345" y="252"/>
                  <a:pt x="2345" y="252"/>
                  <a:pt x="2345" y="252"/>
                </a:cubicBezTo>
                <a:cubicBezTo>
                  <a:pt x="2345" y="257"/>
                  <a:pt x="2345" y="257"/>
                  <a:pt x="2345" y="257"/>
                </a:cubicBezTo>
                <a:moveTo>
                  <a:pt x="2364" y="262"/>
                </a:moveTo>
                <a:cubicBezTo>
                  <a:pt x="2356" y="262"/>
                  <a:pt x="2356" y="262"/>
                  <a:pt x="2356" y="262"/>
                </a:cubicBezTo>
                <a:cubicBezTo>
                  <a:pt x="2356" y="262"/>
                  <a:pt x="2356" y="262"/>
                  <a:pt x="2356" y="262"/>
                </a:cubicBezTo>
                <a:cubicBezTo>
                  <a:pt x="2364" y="262"/>
                  <a:pt x="2364" y="262"/>
                  <a:pt x="2364" y="262"/>
                </a:cubicBezTo>
                <a:cubicBezTo>
                  <a:pt x="2364" y="262"/>
                  <a:pt x="2364" y="262"/>
                  <a:pt x="2364" y="262"/>
                </a:cubicBezTo>
                <a:moveTo>
                  <a:pt x="2366" y="232"/>
                </a:moveTo>
                <a:cubicBezTo>
                  <a:pt x="2356" y="232"/>
                  <a:pt x="2356" y="232"/>
                  <a:pt x="2356" y="232"/>
                </a:cubicBezTo>
                <a:cubicBezTo>
                  <a:pt x="2356" y="219"/>
                  <a:pt x="2356" y="219"/>
                  <a:pt x="2356" y="219"/>
                </a:cubicBezTo>
                <a:cubicBezTo>
                  <a:pt x="2358" y="219"/>
                  <a:pt x="2358" y="219"/>
                  <a:pt x="2358" y="219"/>
                </a:cubicBezTo>
                <a:cubicBezTo>
                  <a:pt x="2358" y="230"/>
                  <a:pt x="2358" y="230"/>
                  <a:pt x="2358" y="230"/>
                </a:cubicBezTo>
                <a:cubicBezTo>
                  <a:pt x="2366" y="230"/>
                  <a:pt x="2366" y="230"/>
                  <a:pt x="2366" y="230"/>
                </a:cubicBezTo>
                <a:cubicBezTo>
                  <a:pt x="2366" y="232"/>
                  <a:pt x="2366" y="232"/>
                  <a:pt x="2366" y="232"/>
                </a:cubicBezTo>
                <a:moveTo>
                  <a:pt x="2366" y="196"/>
                </a:moveTo>
                <a:cubicBezTo>
                  <a:pt x="2364" y="196"/>
                  <a:pt x="2364" y="196"/>
                  <a:pt x="2364" y="196"/>
                </a:cubicBezTo>
                <a:cubicBezTo>
                  <a:pt x="2364" y="188"/>
                  <a:pt x="2364" y="188"/>
                  <a:pt x="2364" y="188"/>
                </a:cubicBezTo>
                <a:cubicBezTo>
                  <a:pt x="2437" y="188"/>
                  <a:pt x="2437" y="188"/>
                  <a:pt x="2437" y="188"/>
                </a:cubicBezTo>
                <a:cubicBezTo>
                  <a:pt x="2437" y="193"/>
                  <a:pt x="2437" y="193"/>
                  <a:pt x="2437" y="193"/>
                </a:cubicBezTo>
                <a:cubicBezTo>
                  <a:pt x="2407" y="193"/>
                  <a:pt x="2407" y="193"/>
                  <a:pt x="2407" y="193"/>
                </a:cubicBezTo>
                <a:cubicBezTo>
                  <a:pt x="2407" y="196"/>
                  <a:pt x="2407" y="196"/>
                  <a:pt x="2407" y="196"/>
                </a:cubicBezTo>
                <a:cubicBezTo>
                  <a:pt x="2392" y="196"/>
                  <a:pt x="2392" y="196"/>
                  <a:pt x="2392" y="196"/>
                </a:cubicBezTo>
                <a:cubicBezTo>
                  <a:pt x="2392" y="192"/>
                  <a:pt x="2392" y="192"/>
                  <a:pt x="2392" y="192"/>
                </a:cubicBezTo>
                <a:cubicBezTo>
                  <a:pt x="2366" y="192"/>
                  <a:pt x="2366" y="192"/>
                  <a:pt x="2366" y="192"/>
                </a:cubicBezTo>
                <a:cubicBezTo>
                  <a:pt x="2366" y="196"/>
                  <a:pt x="2366" y="196"/>
                  <a:pt x="2366" y="196"/>
                </a:cubicBezTo>
                <a:moveTo>
                  <a:pt x="2398" y="300"/>
                </a:moveTo>
                <a:cubicBezTo>
                  <a:pt x="2398" y="300"/>
                  <a:pt x="2398" y="300"/>
                  <a:pt x="2398" y="300"/>
                </a:cubicBezTo>
                <a:cubicBezTo>
                  <a:pt x="2398" y="295"/>
                  <a:pt x="2398" y="295"/>
                  <a:pt x="2398" y="295"/>
                </a:cubicBezTo>
                <a:cubicBezTo>
                  <a:pt x="2391" y="295"/>
                  <a:pt x="2391" y="295"/>
                  <a:pt x="2391" y="295"/>
                </a:cubicBezTo>
                <a:cubicBezTo>
                  <a:pt x="2391" y="287"/>
                  <a:pt x="2391" y="287"/>
                  <a:pt x="2391" y="287"/>
                </a:cubicBezTo>
                <a:cubicBezTo>
                  <a:pt x="2398" y="287"/>
                  <a:pt x="2398" y="287"/>
                  <a:pt x="2398" y="287"/>
                </a:cubicBezTo>
                <a:cubicBezTo>
                  <a:pt x="2398" y="300"/>
                  <a:pt x="2398" y="300"/>
                  <a:pt x="2398" y="300"/>
                </a:cubicBezTo>
                <a:moveTo>
                  <a:pt x="2403" y="247"/>
                </a:moveTo>
                <a:cubicBezTo>
                  <a:pt x="2393" y="247"/>
                  <a:pt x="2393" y="247"/>
                  <a:pt x="2393" y="247"/>
                </a:cubicBezTo>
                <a:cubicBezTo>
                  <a:pt x="2393" y="234"/>
                  <a:pt x="2393" y="234"/>
                  <a:pt x="2393" y="234"/>
                </a:cubicBezTo>
                <a:cubicBezTo>
                  <a:pt x="2403" y="234"/>
                  <a:pt x="2403" y="234"/>
                  <a:pt x="2403" y="234"/>
                </a:cubicBezTo>
                <a:cubicBezTo>
                  <a:pt x="2403" y="247"/>
                  <a:pt x="2403" y="247"/>
                  <a:pt x="2403" y="247"/>
                </a:cubicBezTo>
                <a:moveTo>
                  <a:pt x="2392" y="211"/>
                </a:moveTo>
                <a:cubicBezTo>
                  <a:pt x="2392" y="201"/>
                  <a:pt x="2392" y="201"/>
                  <a:pt x="2392" y="201"/>
                </a:cubicBezTo>
                <a:cubicBezTo>
                  <a:pt x="2407" y="201"/>
                  <a:pt x="2407" y="201"/>
                  <a:pt x="2407" y="201"/>
                </a:cubicBezTo>
                <a:cubicBezTo>
                  <a:pt x="2407" y="211"/>
                  <a:pt x="2407" y="211"/>
                  <a:pt x="2407" y="211"/>
                </a:cubicBezTo>
                <a:cubicBezTo>
                  <a:pt x="2392" y="211"/>
                  <a:pt x="2392" y="211"/>
                  <a:pt x="2392" y="211"/>
                </a:cubicBezTo>
              </a:path>
            </a:pathLst>
          </a:custGeom>
          <a:solidFill>
            <a:schemeClr val="bg2">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nvGrpSpPr>
          <p:cNvPr id="400" name="Group 399">
            <a:extLst>
              <a:ext uri="{FF2B5EF4-FFF2-40B4-BE49-F238E27FC236}">
                <a16:creationId xmlns:a16="http://schemas.microsoft.com/office/drawing/2014/main" id="{C354AD5A-FFD4-460C-988F-F6537C3D1BB6}"/>
              </a:ext>
            </a:extLst>
          </p:cNvPr>
          <p:cNvGrpSpPr/>
          <p:nvPr/>
        </p:nvGrpSpPr>
        <p:grpSpPr>
          <a:xfrm>
            <a:off x="756761" y="3753320"/>
            <a:ext cx="2947493" cy="684262"/>
            <a:chOff x="1290159" y="4037158"/>
            <a:chExt cx="1724855" cy="400427"/>
          </a:xfrm>
        </p:grpSpPr>
        <p:sp>
          <p:nvSpPr>
            <p:cNvPr id="25" name="Rectangle 138">
              <a:extLst>
                <a:ext uri="{FF2B5EF4-FFF2-40B4-BE49-F238E27FC236}">
                  <a16:creationId xmlns:a16="http://schemas.microsoft.com/office/drawing/2014/main" id="{1989A639-0EC9-4950-9845-C426F772AD50}"/>
                </a:ext>
              </a:extLst>
            </p:cNvPr>
            <p:cNvSpPr>
              <a:spLocks noChangeArrowheads="1"/>
            </p:cNvSpPr>
            <p:nvPr/>
          </p:nvSpPr>
          <p:spPr bwMode="auto">
            <a:xfrm>
              <a:off x="1998584" y="4350314"/>
              <a:ext cx="15401" cy="87270"/>
            </a:xfrm>
            <a:prstGeom prst="rect">
              <a:avLst/>
            </a:prstGeom>
            <a:solidFill>
              <a:srgbClr val="8D63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6" name="Rectangle 139">
              <a:extLst>
                <a:ext uri="{FF2B5EF4-FFF2-40B4-BE49-F238E27FC236}">
                  <a16:creationId xmlns:a16="http://schemas.microsoft.com/office/drawing/2014/main" id="{A80994D2-B63E-4366-B9BA-83FD2F5AFA3E}"/>
                </a:ext>
              </a:extLst>
            </p:cNvPr>
            <p:cNvSpPr>
              <a:spLocks noChangeArrowheads="1"/>
            </p:cNvSpPr>
            <p:nvPr/>
          </p:nvSpPr>
          <p:spPr bwMode="auto">
            <a:xfrm>
              <a:off x="1998584" y="4350315"/>
              <a:ext cx="15401" cy="87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7" name="Oval 140">
              <a:extLst>
                <a:ext uri="{FF2B5EF4-FFF2-40B4-BE49-F238E27FC236}">
                  <a16:creationId xmlns:a16="http://schemas.microsoft.com/office/drawing/2014/main" id="{55E69E6B-3EFF-4F3B-BDCE-61B45D88E3B6}"/>
                </a:ext>
              </a:extLst>
            </p:cNvPr>
            <p:cNvSpPr>
              <a:spLocks noChangeArrowheads="1"/>
            </p:cNvSpPr>
            <p:nvPr/>
          </p:nvSpPr>
          <p:spPr bwMode="auto">
            <a:xfrm>
              <a:off x="1890780" y="4037168"/>
              <a:ext cx="238708" cy="325980"/>
            </a:xfrm>
            <a:prstGeom prst="ellipse">
              <a:avLst/>
            </a:prstGeom>
            <a:solidFill>
              <a:srgbClr val="6D9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8" name="Freeform 141">
              <a:extLst>
                <a:ext uri="{FF2B5EF4-FFF2-40B4-BE49-F238E27FC236}">
                  <a16:creationId xmlns:a16="http://schemas.microsoft.com/office/drawing/2014/main" id="{3B47467A-12E8-4610-A25A-C4E7A0FB4A76}"/>
                </a:ext>
              </a:extLst>
            </p:cNvPr>
            <p:cNvSpPr>
              <a:spLocks noEditPoints="1"/>
            </p:cNvSpPr>
            <p:nvPr/>
          </p:nvSpPr>
          <p:spPr bwMode="auto">
            <a:xfrm>
              <a:off x="2003716" y="4037168"/>
              <a:ext cx="5133" cy="0"/>
            </a:xfrm>
            <a:custGeom>
              <a:avLst/>
              <a:gdLst>
                <a:gd name="T0" fmla="*/ 0 w 1"/>
                <a:gd name="T1" fmla="*/ 0 w 1"/>
                <a:gd name="T2" fmla="*/ 0 w 1"/>
                <a:gd name="T3" fmla="*/ 0 w 1"/>
                <a:gd name="T4" fmla="*/ 0 w 1"/>
                <a:gd name="T5" fmla="*/ 0 w 1"/>
                <a:gd name="T6" fmla="*/ 1 w 1"/>
                <a:gd name="T7" fmla="*/ 0 w 1"/>
                <a:gd name="T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1" y="0"/>
                  </a:moveTo>
                  <a:cubicBezTo>
                    <a:pt x="1" y="0"/>
                    <a:pt x="0" y="0"/>
                    <a:pt x="0" y="0"/>
                  </a:cubicBezTo>
                  <a:cubicBezTo>
                    <a:pt x="0" y="0"/>
                    <a:pt x="1" y="0"/>
                    <a:pt x="1" y="0"/>
                  </a:cubicBezTo>
                </a:path>
              </a:pathLst>
            </a:custGeom>
            <a:solidFill>
              <a:srgbClr val="C5B0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9" name="Freeform 142">
              <a:extLst>
                <a:ext uri="{FF2B5EF4-FFF2-40B4-BE49-F238E27FC236}">
                  <a16:creationId xmlns:a16="http://schemas.microsoft.com/office/drawing/2014/main" id="{6CF10C21-58ED-4832-BB7A-8F432957E4D0}"/>
                </a:ext>
              </a:extLst>
            </p:cNvPr>
            <p:cNvSpPr>
              <a:spLocks/>
            </p:cNvSpPr>
            <p:nvPr/>
          </p:nvSpPr>
          <p:spPr bwMode="auto">
            <a:xfrm>
              <a:off x="1998584" y="4037168"/>
              <a:ext cx="110371" cy="325980"/>
            </a:xfrm>
            <a:custGeom>
              <a:avLst/>
              <a:gdLst>
                <a:gd name="T0" fmla="*/ 2 w 22"/>
                <a:gd name="T1" fmla="*/ 0 h 66"/>
                <a:gd name="T2" fmla="*/ 2 w 22"/>
                <a:gd name="T3" fmla="*/ 0 h 66"/>
                <a:gd name="T4" fmla="*/ 2 w 22"/>
                <a:gd name="T5" fmla="*/ 0 h 66"/>
                <a:gd name="T6" fmla="*/ 1 w 22"/>
                <a:gd name="T7" fmla="*/ 0 h 66"/>
                <a:gd name="T8" fmla="*/ 1 w 22"/>
                <a:gd name="T9" fmla="*/ 0 h 66"/>
                <a:gd name="T10" fmla="*/ 1 w 22"/>
                <a:gd name="T11" fmla="*/ 0 h 66"/>
                <a:gd name="T12" fmla="*/ 1 w 22"/>
                <a:gd name="T13" fmla="*/ 0 h 66"/>
                <a:gd name="T14" fmla="*/ 1 w 22"/>
                <a:gd name="T15" fmla="*/ 0 h 66"/>
                <a:gd name="T16" fmla="*/ 0 w 22"/>
                <a:gd name="T17" fmla="*/ 0 h 66"/>
                <a:gd name="T18" fmla="*/ 16 w 22"/>
                <a:gd name="T19" fmla="*/ 50 h 66"/>
                <a:gd name="T20" fmla="*/ 0 w 22"/>
                <a:gd name="T21" fmla="*/ 66 h 66"/>
                <a:gd name="T22" fmla="*/ 2 w 22"/>
                <a:gd name="T23" fmla="*/ 66 h 66"/>
                <a:gd name="T24" fmla="*/ 19 w 22"/>
                <a:gd name="T25" fmla="*/ 61 h 66"/>
                <a:gd name="T26" fmla="*/ 18 w 22"/>
                <a:gd name="T27" fmla="*/ 57 h 66"/>
                <a:gd name="T28" fmla="*/ 22 w 22"/>
                <a:gd name="T29" fmla="*/ 33 h 66"/>
                <a:gd name="T30" fmla="*/ 2 w 22"/>
                <a:gd name="T3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66">
                  <a:moveTo>
                    <a:pt x="2" y="0"/>
                  </a:moveTo>
                  <a:cubicBezTo>
                    <a:pt x="2" y="0"/>
                    <a:pt x="2" y="0"/>
                    <a:pt x="2" y="0"/>
                  </a:cubicBezTo>
                  <a:cubicBezTo>
                    <a:pt x="2" y="0"/>
                    <a:pt x="2" y="0"/>
                    <a:pt x="2" y="0"/>
                  </a:cubicBezTo>
                  <a:cubicBezTo>
                    <a:pt x="2"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0" y="0"/>
                  </a:cubicBezTo>
                  <a:cubicBezTo>
                    <a:pt x="9" y="3"/>
                    <a:pt x="16" y="41"/>
                    <a:pt x="16" y="50"/>
                  </a:cubicBezTo>
                  <a:cubicBezTo>
                    <a:pt x="16" y="58"/>
                    <a:pt x="9" y="65"/>
                    <a:pt x="0" y="66"/>
                  </a:cubicBezTo>
                  <a:cubicBezTo>
                    <a:pt x="1" y="66"/>
                    <a:pt x="1" y="66"/>
                    <a:pt x="2" y="66"/>
                  </a:cubicBezTo>
                  <a:cubicBezTo>
                    <a:pt x="8" y="66"/>
                    <a:pt x="14" y="64"/>
                    <a:pt x="19" y="61"/>
                  </a:cubicBezTo>
                  <a:cubicBezTo>
                    <a:pt x="18" y="60"/>
                    <a:pt x="18" y="58"/>
                    <a:pt x="18" y="57"/>
                  </a:cubicBezTo>
                  <a:cubicBezTo>
                    <a:pt x="18" y="53"/>
                    <a:pt x="20" y="42"/>
                    <a:pt x="22" y="33"/>
                  </a:cubicBezTo>
                  <a:cubicBezTo>
                    <a:pt x="18" y="18"/>
                    <a:pt x="10" y="0"/>
                    <a:pt x="2" y="0"/>
                  </a:cubicBezTo>
                </a:path>
              </a:pathLst>
            </a:custGeom>
            <a:solidFill>
              <a:srgbClr val="9DA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0" name="Rectangle 143">
              <a:extLst>
                <a:ext uri="{FF2B5EF4-FFF2-40B4-BE49-F238E27FC236}">
                  <a16:creationId xmlns:a16="http://schemas.microsoft.com/office/drawing/2014/main" id="{758F6A6B-66A2-47A0-9A03-B4DEC1DC21E6}"/>
                </a:ext>
              </a:extLst>
            </p:cNvPr>
            <p:cNvSpPr>
              <a:spLocks noChangeArrowheads="1"/>
            </p:cNvSpPr>
            <p:nvPr/>
          </p:nvSpPr>
          <p:spPr bwMode="auto">
            <a:xfrm>
              <a:off x="2306592" y="4350312"/>
              <a:ext cx="10267" cy="87270"/>
            </a:xfrm>
            <a:prstGeom prst="rect">
              <a:avLst/>
            </a:prstGeom>
            <a:solidFill>
              <a:srgbClr val="8D63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1" name="Rectangle 144">
              <a:extLst>
                <a:ext uri="{FF2B5EF4-FFF2-40B4-BE49-F238E27FC236}">
                  <a16:creationId xmlns:a16="http://schemas.microsoft.com/office/drawing/2014/main" id="{82BC12A5-BD98-4BA3-8213-31B372435F9A}"/>
                </a:ext>
              </a:extLst>
            </p:cNvPr>
            <p:cNvSpPr>
              <a:spLocks noChangeArrowheads="1"/>
            </p:cNvSpPr>
            <p:nvPr/>
          </p:nvSpPr>
          <p:spPr bwMode="auto">
            <a:xfrm>
              <a:off x="2306592" y="4350306"/>
              <a:ext cx="10267" cy="87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2" name="Oval 145">
              <a:extLst>
                <a:ext uri="{FF2B5EF4-FFF2-40B4-BE49-F238E27FC236}">
                  <a16:creationId xmlns:a16="http://schemas.microsoft.com/office/drawing/2014/main" id="{EE030827-D65B-4CF1-842A-65B8AD7B89B8}"/>
                </a:ext>
              </a:extLst>
            </p:cNvPr>
            <p:cNvSpPr>
              <a:spLocks noChangeArrowheads="1"/>
            </p:cNvSpPr>
            <p:nvPr/>
          </p:nvSpPr>
          <p:spPr bwMode="auto">
            <a:xfrm>
              <a:off x="2193656" y="4037161"/>
              <a:ext cx="236142" cy="325979"/>
            </a:xfrm>
            <a:prstGeom prst="ellipse">
              <a:avLst/>
            </a:prstGeom>
            <a:solidFill>
              <a:srgbClr val="6D9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3" name="Freeform 146">
              <a:extLst>
                <a:ext uri="{FF2B5EF4-FFF2-40B4-BE49-F238E27FC236}">
                  <a16:creationId xmlns:a16="http://schemas.microsoft.com/office/drawing/2014/main" id="{0EAD2FAB-D61D-4ECA-905F-D3714CC3FA35}"/>
                </a:ext>
              </a:extLst>
            </p:cNvPr>
            <p:cNvSpPr>
              <a:spLocks noEditPoints="1"/>
            </p:cNvSpPr>
            <p:nvPr/>
          </p:nvSpPr>
          <p:spPr bwMode="auto">
            <a:xfrm>
              <a:off x="2311726" y="4037161"/>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C5B0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4" name="Freeform 147">
              <a:extLst>
                <a:ext uri="{FF2B5EF4-FFF2-40B4-BE49-F238E27FC236}">
                  <a16:creationId xmlns:a16="http://schemas.microsoft.com/office/drawing/2014/main" id="{93847731-7331-4CE3-BB77-5D0FFF078A2E}"/>
                </a:ext>
              </a:extLst>
            </p:cNvPr>
            <p:cNvSpPr>
              <a:spLocks/>
            </p:cNvSpPr>
            <p:nvPr/>
          </p:nvSpPr>
          <p:spPr bwMode="auto">
            <a:xfrm>
              <a:off x="2306592" y="4037158"/>
              <a:ext cx="123205" cy="325979"/>
            </a:xfrm>
            <a:custGeom>
              <a:avLst/>
              <a:gdLst>
                <a:gd name="T0" fmla="*/ 1 w 25"/>
                <a:gd name="T1" fmla="*/ 0 h 66"/>
                <a:gd name="T2" fmla="*/ 1 w 25"/>
                <a:gd name="T3" fmla="*/ 0 h 66"/>
                <a:gd name="T4" fmla="*/ 1 w 25"/>
                <a:gd name="T5" fmla="*/ 0 h 66"/>
                <a:gd name="T6" fmla="*/ 1 w 25"/>
                <a:gd name="T7" fmla="*/ 0 h 66"/>
                <a:gd name="T8" fmla="*/ 1 w 25"/>
                <a:gd name="T9" fmla="*/ 0 h 66"/>
                <a:gd name="T10" fmla="*/ 1 w 25"/>
                <a:gd name="T11" fmla="*/ 0 h 66"/>
                <a:gd name="T12" fmla="*/ 1 w 25"/>
                <a:gd name="T13" fmla="*/ 0 h 66"/>
                <a:gd name="T14" fmla="*/ 1 w 25"/>
                <a:gd name="T15" fmla="*/ 0 h 66"/>
                <a:gd name="T16" fmla="*/ 0 w 25"/>
                <a:gd name="T17" fmla="*/ 0 h 66"/>
                <a:gd name="T18" fmla="*/ 15 w 25"/>
                <a:gd name="T19" fmla="*/ 50 h 66"/>
                <a:gd name="T20" fmla="*/ 0 w 25"/>
                <a:gd name="T21" fmla="*/ 66 h 66"/>
                <a:gd name="T22" fmla="*/ 1 w 25"/>
                <a:gd name="T23" fmla="*/ 66 h 66"/>
                <a:gd name="T24" fmla="*/ 25 w 25"/>
                <a:gd name="T25" fmla="*/ 50 h 66"/>
                <a:gd name="T26" fmla="*/ 1 w 25"/>
                <a:gd name="T2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66">
                  <a:moveTo>
                    <a:pt x="1" y="0"/>
                  </a:move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0" y="0"/>
                    <a:pt x="0" y="0"/>
                  </a:cubicBezTo>
                  <a:cubicBezTo>
                    <a:pt x="9" y="3"/>
                    <a:pt x="15" y="41"/>
                    <a:pt x="15" y="50"/>
                  </a:cubicBezTo>
                  <a:cubicBezTo>
                    <a:pt x="15" y="58"/>
                    <a:pt x="9" y="65"/>
                    <a:pt x="0" y="66"/>
                  </a:cubicBezTo>
                  <a:cubicBezTo>
                    <a:pt x="0" y="66"/>
                    <a:pt x="1" y="66"/>
                    <a:pt x="1" y="66"/>
                  </a:cubicBezTo>
                  <a:cubicBezTo>
                    <a:pt x="14" y="66"/>
                    <a:pt x="25" y="59"/>
                    <a:pt x="25" y="50"/>
                  </a:cubicBezTo>
                  <a:cubicBezTo>
                    <a:pt x="25" y="41"/>
                    <a:pt x="14" y="0"/>
                    <a:pt x="1" y="0"/>
                  </a:cubicBezTo>
                </a:path>
              </a:pathLst>
            </a:custGeom>
            <a:solidFill>
              <a:srgbClr val="9DA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5" name="Rectangle 148">
              <a:extLst>
                <a:ext uri="{FF2B5EF4-FFF2-40B4-BE49-F238E27FC236}">
                  <a16:creationId xmlns:a16="http://schemas.microsoft.com/office/drawing/2014/main" id="{C74F38F7-5651-46B9-ADD4-F131C1123970}"/>
                </a:ext>
              </a:extLst>
            </p:cNvPr>
            <p:cNvSpPr>
              <a:spLocks noChangeArrowheads="1"/>
            </p:cNvSpPr>
            <p:nvPr/>
          </p:nvSpPr>
          <p:spPr bwMode="auto">
            <a:xfrm>
              <a:off x="2147455" y="4368271"/>
              <a:ext cx="5133" cy="69302"/>
            </a:xfrm>
            <a:prstGeom prst="rect">
              <a:avLst/>
            </a:prstGeom>
            <a:solidFill>
              <a:srgbClr val="8D63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6" name="Rectangle 149">
              <a:extLst>
                <a:ext uri="{FF2B5EF4-FFF2-40B4-BE49-F238E27FC236}">
                  <a16:creationId xmlns:a16="http://schemas.microsoft.com/office/drawing/2014/main" id="{4B0C1B6D-5178-4C25-9CAA-F8B0BA315F3F}"/>
                </a:ext>
              </a:extLst>
            </p:cNvPr>
            <p:cNvSpPr>
              <a:spLocks noChangeArrowheads="1"/>
            </p:cNvSpPr>
            <p:nvPr/>
          </p:nvSpPr>
          <p:spPr bwMode="auto">
            <a:xfrm>
              <a:off x="2147455" y="4368272"/>
              <a:ext cx="5133" cy="69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7" name="Oval 150">
              <a:extLst>
                <a:ext uri="{FF2B5EF4-FFF2-40B4-BE49-F238E27FC236}">
                  <a16:creationId xmlns:a16="http://schemas.microsoft.com/office/drawing/2014/main" id="{9C689E8E-C2AF-4CE6-A3CA-E89FBE1EF12F}"/>
                </a:ext>
              </a:extLst>
            </p:cNvPr>
            <p:cNvSpPr>
              <a:spLocks noChangeArrowheads="1"/>
            </p:cNvSpPr>
            <p:nvPr/>
          </p:nvSpPr>
          <p:spPr bwMode="auto">
            <a:xfrm>
              <a:off x="2088420" y="4126993"/>
              <a:ext cx="123205" cy="251543"/>
            </a:xfrm>
            <a:prstGeom prst="ellipse">
              <a:avLst/>
            </a:prstGeom>
            <a:solidFill>
              <a:srgbClr val="6D9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8" name="Freeform 151">
              <a:extLst>
                <a:ext uri="{FF2B5EF4-FFF2-40B4-BE49-F238E27FC236}">
                  <a16:creationId xmlns:a16="http://schemas.microsoft.com/office/drawing/2014/main" id="{36FD3866-C26F-4B00-8203-3CD4BFD1458F}"/>
                </a:ext>
              </a:extLst>
            </p:cNvPr>
            <p:cNvSpPr>
              <a:spLocks/>
            </p:cNvSpPr>
            <p:nvPr/>
          </p:nvSpPr>
          <p:spPr bwMode="auto">
            <a:xfrm>
              <a:off x="2147455" y="4126995"/>
              <a:ext cx="64169" cy="251543"/>
            </a:xfrm>
            <a:custGeom>
              <a:avLst/>
              <a:gdLst>
                <a:gd name="T0" fmla="*/ 1 w 13"/>
                <a:gd name="T1" fmla="*/ 0 h 51"/>
                <a:gd name="T2" fmla="*/ 1 w 13"/>
                <a:gd name="T3" fmla="*/ 0 h 51"/>
                <a:gd name="T4" fmla="*/ 0 w 13"/>
                <a:gd name="T5" fmla="*/ 0 h 51"/>
                <a:gd name="T6" fmla="*/ 8 w 13"/>
                <a:gd name="T7" fmla="*/ 39 h 51"/>
                <a:gd name="T8" fmla="*/ 0 w 13"/>
                <a:gd name="T9" fmla="*/ 51 h 51"/>
                <a:gd name="T10" fmla="*/ 1 w 13"/>
                <a:gd name="T11" fmla="*/ 51 h 51"/>
                <a:gd name="T12" fmla="*/ 13 w 13"/>
                <a:gd name="T13" fmla="*/ 39 h 51"/>
                <a:gd name="T14" fmla="*/ 11 w 13"/>
                <a:gd name="T15" fmla="*/ 22 h 51"/>
                <a:gd name="T16" fmla="*/ 1 w 13"/>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1">
                  <a:moveTo>
                    <a:pt x="1" y="0"/>
                  </a:moveTo>
                  <a:cubicBezTo>
                    <a:pt x="1" y="0"/>
                    <a:pt x="1" y="0"/>
                    <a:pt x="1" y="0"/>
                  </a:cubicBezTo>
                  <a:cubicBezTo>
                    <a:pt x="0" y="0"/>
                    <a:pt x="0" y="0"/>
                    <a:pt x="0" y="0"/>
                  </a:cubicBezTo>
                  <a:cubicBezTo>
                    <a:pt x="4" y="2"/>
                    <a:pt x="8" y="32"/>
                    <a:pt x="8" y="39"/>
                  </a:cubicBezTo>
                  <a:cubicBezTo>
                    <a:pt x="8" y="45"/>
                    <a:pt x="4" y="51"/>
                    <a:pt x="0" y="51"/>
                  </a:cubicBezTo>
                  <a:cubicBezTo>
                    <a:pt x="1" y="51"/>
                    <a:pt x="1" y="51"/>
                    <a:pt x="1" y="51"/>
                  </a:cubicBezTo>
                  <a:cubicBezTo>
                    <a:pt x="7" y="51"/>
                    <a:pt x="13" y="46"/>
                    <a:pt x="13" y="39"/>
                  </a:cubicBezTo>
                  <a:cubicBezTo>
                    <a:pt x="13" y="36"/>
                    <a:pt x="12" y="29"/>
                    <a:pt x="11" y="22"/>
                  </a:cubicBezTo>
                  <a:cubicBezTo>
                    <a:pt x="8" y="11"/>
                    <a:pt x="5" y="0"/>
                    <a:pt x="1" y="0"/>
                  </a:cubicBezTo>
                </a:path>
              </a:pathLst>
            </a:custGeom>
            <a:solidFill>
              <a:srgbClr val="9DA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9" name="Freeform 255">
              <a:extLst>
                <a:ext uri="{FF2B5EF4-FFF2-40B4-BE49-F238E27FC236}">
                  <a16:creationId xmlns:a16="http://schemas.microsoft.com/office/drawing/2014/main" id="{4E293BDE-5EA2-4D69-843C-B05C4E29DC55}"/>
                </a:ext>
              </a:extLst>
            </p:cNvPr>
            <p:cNvSpPr>
              <a:spLocks/>
            </p:cNvSpPr>
            <p:nvPr/>
          </p:nvSpPr>
          <p:spPr bwMode="auto">
            <a:xfrm>
              <a:off x="1290159" y="4229667"/>
              <a:ext cx="639120" cy="200206"/>
            </a:xfrm>
            <a:custGeom>
              <a:avLst/>
              <a:gdLst>
                <a:gd name="T0" fmla="*/ 0 w 129"/>
                <a:gd name="T1" fmla="*/ 40 h 40"/>
                <a:gd name="T2" fmla="*/ 129 w 129"/>
                <a:gd name="T3" fmla="*/ 40 h 40"/>
                <a:gd name="T4" fmla="*/ 85 w 129"/>
                <a:gd name="T5" fmla="*/ 3 h 40"/>
                <a:gd name="T6" fmla="*/ 57 w 129"/>
                <a:gd name="T7" fmla="*/ 12 h 40"/>
                <a:gd name="T8" fmla="*/ 37 w 129"/>
                <a:gd name="T9" fmla="*/ 0 h 40"/>
                <a:gd name="T10" fmla="*/ 13 w 129"/>
                <a:gd name="T11" fmla="*/ 23 h 40"/>
                <a:gd name="T12" fmla="*/ 13 w 129"/>
                <a:gd name="T13" fmla="*/ 28 h 40"/>
                <a:gd name="T14" fmla="*/ 0 w 129"/>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
                  <a:moveTo>
                    <a:pt x="0" y="40"/>
                  </a:moveTo>
                  <a:cubicBezTo>
                    <a:pt x="129" y="40"/>
                    <a:pt x="129" y="40"/>
                    <a:pt x="129" y="40"/>
                  </a:cubicBezTo>
                  <a:cubicBezTo>
                    <a:pt x="125" y="19"/>
                    <a:pt x="107" y="3"/>
                    <a:pt x="85" y="3"/>
                  </a:cubicBezTo>
                  <a:cubicBezTo>
                    <a:pt x="74" y="3"/>
                    <a:pt x="65" y="6"/>
                    <a:pt x="57" y="12"/>
                  </a:cubicBezTo>
                  <a:cubicBezTo>
                    <a:pt x="53" y="5"/>
                    <a:pt x="46" y="0"/>
                    <a:pt x="37" y="0"/>
                  </a:cubicBezTo>
                  <a:cubicBezTo>
                    <a:pt x="24" y="0"/>
                    <a:pt x="13" y="10"/>
                    <a:pt x="13" y="23"/>
                  </a:cubicBezTo>
                  <a:cubicBezTo>
                    <a:pt x="13" y="25"/>
                    <a:pt x="13" y="26"/>
                    <a:pt x="13" y="28"/>
                  </a:cubicBezTo>
                  <a:cubicBezTo>
                    <a:pt x="7" y="30"/>
                    <a:pt x="3" y="35"/>
                    <a:pt x="0" y="40"/>
                  </a:cubicBezTo>
                  <a:close/>
                </a:path>
              </a:pathLst>
            </a:custGeom>
            <a:solidFill>
              <a:srgbClr val="6D9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40" name="Freeform 256">
              <a:extLst>
                <a:ext uri="{FF2B5EF4-FFF2-40B4-BE49-F238E27FC236}">
                  <a16:creationId xmlns:a16="http://schemas.microsoft.com/office/drawing/2014/main" id="{C5D91EA1-D65E-4403-B01C-0E199B527EF9}"/>
                </a:ext>
              </a:extLst>
            </p:cNvPr>
            <p:cNvSpPr>
              <a:spLocks/>
            </p:cNvSpPr>
            <p:nvPr/>
          </p:nvSpPr>
          <p:spPr bwMode="auto">
            <a:xfrm>
              <a:off x="2375894" y="4229667"/>
              <a:ext cx="639120" cy="200206"/>
            </a:xfrm>
            <a:custGeom>
              <a:avLst/>
              <a:gdLst>
                <a:gd name="T0" fmla="*/ 0 w 129"/>
                <a:gd name="T1" fmla="*/ 40 h 40"/>
                <a:gd name="T2" fmla="*/ 129 w 129"/>
                <a:gd name="T3" fmla="*/ 40 h 40"/>
                <a:gd name="T4" fmla="*/ 85 w 129"/>
                <a:gd name="T5" fmla="*/ 3 h 40"/>
                <a:gd name="T6" fmla="*/ 58 w 129"/>
                <a:gd name="T7" fmla="*/ 12 h 40"/>
                <a:gd name="T8" fmla="*/ 37 w 129"/>
                <a:gd name="T9" fmla="*/ 0 h 40"/>
                <a:gd name="T10" fmla="*/ 13 w 129"/>
                <a:gd name="T11" fmla="*/ 23 h 40"/>
                <a:gd name="T12" fmla="*/ 14 w 129"/>
                <a:gd name="T13" fmla="*/ 28 h 40"/>
                <a:gd name="T14" fmla="*/ 0 w 129"/>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
                  <a:moveTo>
                    <a:pt x="0" y="40"/>
                  </a:moveTo>
                  <a:cubicBezTo>
                    <a:pt x="129" y="40"/>
                    <a:pt x="129" y="40"/>
                    <a:pt x="129" y="40"/>
                  </a:cubicBezTo>
                  <a:cubicBezTo>
                    <a:pt x="126" y="19"/>
                    <a:pt x="107" y="3"/>
                    <a:pt x="85" y="3"/>
                  </a:cubicBezTo>
                  <a:cubicBezTo>
                    <a:pt x="75" y="3"/>
                    <a:pt x="65" y="6"/>
                    <a:pt x="58" y="12"/>
                  </a:cubicBezTo>
                  <a:cubicBezTo>
                    <a:pt x="54" y="5"/>
                    <a:pt x="46" y="0"/>
                    <a:pt x="37" y="0"/>
                  </a:cubicBezTo>
                  <a:cubicBezTo>
                    <a:pt x="24" y="0"/>
                    <a:pt x="13" y="10"/>
                    <a:pt x="13" y="23"/>
                  </a:cubicBezTo>
                  <a:cubicBezTo>
                    <a:pt x="13" y="25"/>
                    <a:pt x="13" y="26"/>
                    <a:pt x="14" y="28"/>
                  </a:cubicBezTo>
                  <a:cubicBezTo>
                    <a:pt x="8" y="30"/>
                    <a:pt x="3" y="35"/>
                    <a:pt x="0" y="40"/>
                  </a:cubicBezTo>
                  <a:close/>
                </a:path>
              </a:pathLst>
            </a:custGeom>
            <a:solidFill>
              <a:srgbClr val="6D9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71" name="Group 70">
            <a:extLst>
              <a:ext uri="{FF2B5EF4-FFF2-40B4-BE49-F238E27FC236}">
                <a16:creationId xmlns:a16="http://schemas.microsoft.com/office/drawing/2014/main" id="{99B8C841-C001-4460-A930-6162F2347383}"/>
              </a:ext>
            </a:extLst>
          </p:cNvPr>
          <p:cNvGrpSpPr/>
          <p:nvPr/>
        </p:nvGrpSpPr>
        <p:grpSpPr>
          <a:xfrm>
            <a:off x="-1" y="4363785"/>
            <a:ext cx="9144001" cy="339513"/>
            <a:chOff x="-166777" y="4363785"/>
            <a:chExt cx="9479884" cy="339513"/>
          </a:xfrm>
        </p:grpSpPr>
        <p:sp>
          <p:nvSpPr>
            <p:cNvPr id="399" name="Freeform 316">
              <a:extLst>
                <a:ext uri="{FF2B5EF4-FFF2-40B4-BE49-F238E27FC236}">
                  <a16:creationId xmlns:a16="http://schemas.microsoft.com/office/drawing/2014/main" id="{9706240C-860C-46C3-B1F0-A7541ECB06E5}"/>
                </a:ext>
              </a:extLst>
            </p:cNvPr>
            <p:cNvSpPr>
              <a:spLocks/>
            </p:cNvSpPr>
            <p:nvPr/>
          </p:nvSpPr>
          <p:spPr bwMode="auto">
            <a:xfrm>
              <a:off x="-166777" y="4491263"/>
              <a:ext cx="9479884" cy="212035"/>
            </a:xfrm>
            <a:prstGeom prst="rect">
              <a:avLst/>
            </a:prstGeom>
            <a:solidFill>
              <a:schemeClr val="bg2">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5" name="Rectangle 148">
              <a:extLst>
                <a:ext uri="{FF2B5EF4-FFF2-40B4-BE49-F238E27FC236}">
                  <a16:creationId xmlns:a16="http://schemas.microsoft.com/office/drawing/2014/main" id="{17E3A825-4AD2-42EF-AB68-044A4B6073C6}"/>
                </a:ext>
              </a:extLst>
            </p:cNvPr>
            <p:cNvSpPr>
              <a:spLocks noChangeArrowheads="1"/>
            </p:cNvSpPr>
            <p:nvPr/>
          </p:nvSpPr>
          <p:spPr bwMode="auto">
            <a:xfrm>
              <a:off x="736355" y="4363785"/>
              <a:ext cx="4571" cy="61711"/>
            </a:xfrm>
            <a:prstGeom prst="rect">
              <a:avLst/>
            </a:prstGeom>
            <a:solidFill>
              <a:srgbClr val="8D63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46" name="Rectangle 149">
              <a:extLst>
                <a:ext uri="{FF2B5EF4-FFF2-40B4-BE49-F238E27FC236}">
                  <a16:creationId xmlns:a16="http://schemas.microsoft.com/office/drawing/2014/main" id="{FA98614A-50F7-4C37-9C4F-C3340D80E424}"/>
                </a:ext>
              </a:extLst>
            </p:cNvPr>
            <p:cNvSpPr>
              <a:spLocks noChangeArrowheads="1"/>
            </p:cNvSpPr>
            <p:nvPr/>
          </p:nvSpPr>
          <p:spPr bwMode="auto">
            <a:xfrm>
              <a:off x="736355" y="4363785"/>
              <a:ext cx="4571" cy="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47" name="Freeform 316">
              <a:extLst>
                <a:ext uri="{FF2B5EF4-FFF2-40B4-BE49-F238E27FC236}">
                  <a16:creationId xmlns:a16="http://schemas.microsoft.com/office/drawing/2014/main" id="{914A85BD-3931-4849-95AB-3C84C9B17A97}"/>
                </a:ext>
              </a:extLst>
            </p:cNvPr>
            <p:cNvSpPr>
              <a:spLocks/>
            </p:cNvSpPr>
            <p:nvPr/>
          </p:nvSpPr>
          <p:spPr bwMode="auto">
            <a:xfrm>
              <a:off x="-166777" y="4420925"/>
              <a:ext cx="9479884" cy="21203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48" name="Freeform 318">
              <a:extLst>
                <a:ext uri="{FF2B5EF4-FFF2-40B4-BE49-F238E27FC236}">
                  <a16:creationId xmlns:a16="http://schemas.microsoft.com/office/drawing/2014/main" id="{9C7BB17C-967E-4591-AD40-6782C294AFF0}"/>
                </a:ext>
              </a:extLst>
            </p:cNvPr>
            <p:cNvSpPr>
              <a:spLocks noEditPoints="1"/>
            </p:cNvSpPr>
            <p:nvPr/>
          </p:nvSpPr>
          <p:spPr bwMode="auto">
            <a:xfrm>
              <a:off x="649503" y="4496350"/>
              <a:ext cx="2054751" cy="18285"/>
            </a:xfrm>
            <a:custGeom>
              <a:avLst/>
              <a:gdLst>
                <a:gd name="T0" fmla="*/ 449 w 466"/>
                <a:gd name="T1" fmla="*/ 4 h 4"/>
                <a:gd name="T2" fmla="*/ 449 w 466"/>
                <a:gd name="T3" fmla="*/ 0 h 4"/>
                <a:gd name="T4" fmla="*/ 466 w 466"/>
                <a:gd name="T5" fmla="*/ 2 h 4"/>
                <a:gd name="T6" fmla="*/ 433 w 466"/>
                <a:gd name="T7" fmla="*/ 4 h 4"/>
                <a:gd name="T8" fmla="*/ 416 w 466"/>
                <a:gd name="T9" fmla="*/ 2 h 4"/>
                <a:gd name="T10" fmla="*/ 433 w 466"/>
                <a:gd name="T11" fmla="*/ 0 h 4"/>
                <a:gd name="T12" fmla="*/ 433 w 466"/>
                <a:gd name="T13" fmla="*/ 4 h 4"/>
                <a:gd name="T14" fmla="*/ 385 w 466"/>
                <a:gd name="T15" fmla="*/ 4 h 4"/>
                <a:gd name="T16" fmla="*/ 385 w 466"/>
                <a:gd name="T17" fmla="*/ 0 h 4"/>
                <a:gd name="T18" fmla="*/ 402 w 466"/>
                <a:gd name="T19" fmla="*/ 2 h 4"/>
                <a:gd name="T20" fmla="*/ 369 w 466"/>
                <a:gd name="T21" fmla="*/ 4 h 4"/>
                <a:gd name="T22" fmla="*/ 352 w 466"/>
                <a:gd name="T23" fmla="*/ 2 h 4"/>
                <a:gd name="T24" fmla="*/ 369 w 466"/>
                <a:gd name="T25" fmla="*/ 0 h 4"/>
                <a:gd name="T26" fmla="*/ 369 w 466"/>
                <a:gd name="T27" fmla="*/ 4 h 4"/>
                <a:gd name="T28" fmla="*/ 321 w 466"/>
                <a:gd name="T29" fmla="*/ 4 h 4"/>
                <a:gd name="T30" fmla="*/ 321 w 466"/>
                <a:gd name="T31" fmla="*/ 0 h 4"/>
                <a:gd name="T32" fmla="*/ 338 w 466"/>
                <a:gd name="T33" fmla="*/ 2 h 4"/>
                <a:gd name="T34" fmla="*/ 305 w 466"/>
                <a:gd name="T35" fmla="*/ 4 h 4"/>
                <a:gd name="T36" fmla="*/ 288 w 466"/>
                <a:gd name="T37" fmla="*/ 2 h 4"/>
                <a:gd name="T38" fmla="*/ 305 w 466"/>
                <a:gd name="T39" fmla="*/ 0 h 4"/>
                <a:gd name="T40" fmla="*/ 305 w 466"/>
                <a:gd name="T41" fmla="*/ 4 h 4"/>
                <a:gd name="T42" fmla="*/ 257 w 466"/>
                <a:gd name="T43" fmla="*/ 4 h 4"/>
                <a:gd name="T44" fmla="*/ 257 w 466"/>
                <a:gd name="T45" fmla="*/ 0 h 4"/>
                <a:gd name="T46" fmla="*/ 275 w 466"/>
                <a:gd name="T47" fmla="*/ 2 h 4"/>
                <a:gd name="T48" fmla="*/ 241 w 466"/>
                <a:gd name="T49" fmla="*/ 4 h 4"/>
                <a:gd name="T50" fmla="*/ 224 w 466"/>
                <a:gd name="T51" fmla="*/ 2 h 4"/>
                <a:gd name="T52" fmla="*/ 241 w 466"/>
                <a:gd name="T53" fmla="*/ 0 h 4"/>
                <a:gd name="T54" fmla="*/ 241 w 466"/>
                <a:gd name="T55" fmla="*/ 4 h 4"/>
                <a:gd name="T56" fmla="*/ 193 w 466"/>
                <a:gd name="T57" fmla="*/ 4 h 4"/>
                <a:gd name="T58" fmla="*/ 193 w 466"/>
                <a:gd name="T59" fmla="*/ 0 h 4"/>
                <a:gd name="T60" fmla="*/ 211 w 466"/>
                <a:gd name="T61" fmla="*/ 2 h 4"/>
                <a:gd name="T62" fmla="*/ 177 w 466"/>
                <a:gd name="T63" fmla="*/ 4 h 4"/>
                <a:gd name="T64" fmla="*/ 160 w 466"/>
                <a:gd name="T65" fmla="*/ 2 h 4"/>
                <a:gd name="T66" fmla="*/ 177 w 466"/>
                <a:gd name="T67" fmla="*/ 0 h 4"/>
                <a:gd name="T68" fmla="*/ 177 w 466"/>
                <a:gd name="T69" fmla="*/ 4 h 4"/>
                <a:gd name="T70" fmla="*/ 129 w 466"/>
                <a:gd name="T71" fmla="*/ 4 h 4"/>
                <a:gd name="T72" fmla="*/ 129 w 466"/>
                <a:gd name="T73" fmla="*/ 0 h 4"/>
                <a:gd name="T74" fmla="*/ 147 w 466"/>
                <a:gd name="T75" fmla="*/ 2 h 4"/>
                <a:gd name="T76" fmla="*/ 113 w 466"/>
                <a:gd name="T77" fmla="*/ 4 h 4"/>
                <a:gd name="T78" fmla="*/ 96 w 466"/>
                <a:gd name="T79" fmla="*/ 2 h 4"/>
                <a:gd name="T80" fmla="*/ 113 w 466"/>
                <a:gd name="T81" fmla="*/ 0 h 4"/>
                <a:gd name="T82" fmla="*/ 113 w 466"/>
                <a:gd name="T83" fmla="*/ 4 h 4"/>
                <a:gd name="T84" fmla="*/ 65 w 466"/>
                <a:gd name="T85" fmla="*/ 4 h 4"/>
                <a:gd name="T86" fmla="*/ 65 w 466"/>
                <a:gd name="T87" fmla="*/ 0 h 4"/>
                <a:gd name="T88" fmla="*/ 83 w 466"/>
                <a:gd name="T89" fmla="*/ 2 h 4"/>
                <a:gd name="T90" fmla="*/ 49 w 466"/>
                <a:gd name="T91" fmla="*/ 4 h 4"/>
                <a:gd name="T92" fmla="*/ 32 w 466"/>
                <a:gd name="T93" fmla="*/ 2 h 4"/>
                <a:gd name="T94" fmla="*/ 49 w 466"/>
                <a:gd name="T95" fmla="*/ 0 h 4"/>
                <a:gd name="T96" fmla="*/ 49 w 466"/>
                <a:gd name="T97" fmla="*/ 4 h 4"/>
                <a:gd name="T98" fmla="*/ 2 w 466"/>
                <a:gd name="T99" fmla="*/ 4 h 4"/>
                <a:gd name="T100" fmla="*/ 2 w 466"/>
                <a:gd name="T101" fmla="*/ 0 h 4"/>
                <a:gd name="T102" fmla="*/ 19 w 466"/>
                <a:gd name="T10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6" h="4">
                  <a:moveTo>
                    <a:pt x="465" y="4"/>
                  </a:moveTo>
                  <a:cubicBezTo>
                    <a:pt x="449" y="4"/>
                    <a:pt x="449" y="4"/>
                    <a:pt x="449" y="4"/>
                  </a:cubicBezTo>
                  <a:cubicBezTo>
                    <a:pt x="448" y="4"/>
                    <a:pt x="448" y="3"/>
                    <a:pt x="448" y="2"/>
                  </a:cubicBezTo>
                  <a:cubicBezTo>
                    <a:pt x="448" y="1"/>
                    <a:pt x="448" y="0"/>
                    <a:pt x="449" y="0"/>
                  </a:cubicBezTo>
                  <a:cubicBezTo>
                    <a:pt x="465" y="0"/>
                    <a:pt x="465" y="0"/>
                    <a:pt x="465" y="0"/>
                  </a:cubicBezTo>
                  <a:cubicBezTo>
                    <a:pt x="466" y="0"/>
                    <a:pt x="466" y="1"/>
                    <a:pt x="466" y="2"/>
                  </a:cubicBezTo>
                  <a:cubicBezTo>
                    <a:pt x="466" y="3"/>
                    <a:pt x="466" y="4"/>
                    <a:pt x="465" y="4"/>
                  </a:cubicBezTo>
                  <a:close/>
                  <a:moveTo>
                    <a:pt x="433" y="4"/>
                  </a:moveTo>
                  <a:cubicBezTo>
                    <a:pt x="417" y="4"/>
                    <a:pt x="417" y="4"/>
                    <a:pt x="417" y="4"/>
                  </a:cubicBezTo>
                  <a:cubicBezTo>
                    <a:pt x="416" y="4"/>
                    <a:pt x="416" y="3"/>
                    <a:pt x="416" y="2"/>
                  </a:cubicBezTo>
                  <a:cubicBezTo>
                    <a:pt x="416" y="1"/>
                    <a:pt x="416" y="0"/>
                    <a:pt x="417" y="0"/>
                  </a:cubicBezTo>
                  <a:cubicBezTo>
                    <a:pt x="433" y="0"/>
                    <a:pt x="433" y="0"/>
                    <a:pt x="433" y="0"/>
                  </a:cubicBezTo>
                  <a:cubicBezTo>
                    <a:pt x="434" y="0"/>
                    <a:pt x="434" y="1"/>
                    <a:pt x="434" y="2"/>
                  </a:cubicBezTo>
                  <a:cubicBezTo>
                    <a:pt x="434" y="3"/>
                    <a:pt x="434" y="4"/>
                    <a:pt x="433" y="4"/>
                  </a:cubicBezTo>
                  <a:close/>
                  <a:moveTo>
                    <a:pt x="401" y="4"/>
                  </a:moveTo>
                  <a:cubicBezTo>
                    <a:pt x="385" y="4"/>
                    <a:pt x="385" y="4"/>
                    <a:pt x="385" y="4"/>
                  </a:cubicBezTo>
                  <a:cubicBezTo>
                    <a:pt x="384" y="4"/>
                    <a:pt x="384" y="3"/>
                    <a:pt x="384" y="2"/>
                  </a:cubicBezTo>
                  <a:cubicBezTo>
                    <a:pt x="384" y="1"/>
                    <a:pt x="384" y="0"/>
                    <a:pt x="385" y="0"/>
                  </a:cubicBezTo>
                  <a:cubicBezTo>
                    <a:pt x="401" y="0"/>
                    <a:pt x="401" y="0"/>
                    <a:pt x="401" y="0"/>
                  </a:cubicBezTo>
                  <a:cubicBezTo>
                    <a:pt x="402" y="0"/>
                    <a:pt x="402" y="1"/>
                    <a:pt x="402" y="2"/>
                  </a:cubicBezTo>
                  <a:cubicBezTo>
                    <a:pt x="402" y="3"/>
                    <a:pt x="402" y="4"/>
                    <a:pt x="401" y="4"/>
                  </a:cubicBezTo>
                  <a:close/>
                  <a:moveTo>
                    <a:pt x="369" y="4"/>
                  </a:moveTo>
                  <a:cubicBezTo>
                    <a:pt x="353" y="4"/>
                    <a:pt x="353" y="4"/>
                    <a:pt x="353" y="4"/>
                  </a:cubicBezTo>
                  <a:cubicBezTo>
                    <a:pt x="352" y="4"/>
                    <a:pt x="352" y="3"/>
                    <a:pt x="352" y="2"/>
                  </a:cubicBezTo>
                  <a:cubicBezTo>
                    <a:pt x="352" y="1"/>
                    <a:pt x="352" y="0"/>
                    <a:pt x="353" y="0"/>
                  </a:cubicBezTo>
                  <a:cubicBezTo>
                    <a:pt x="369" y="0"/>
                    <a:pt x="369" y="0"/>
                    <a:pt x="369" y="0"/>
                  </a:cubicBezTo>
                  <a:cubicBezTo>
                    <a:pt x="370" y="0"/>
                    <a:pt x="370" y="1"/>
                    <a:pt x="370" y="2"/>
                  </a:cubicBezTo>
                  <a:cubicBezTo>
                    <a:pt x="370" y="3"/>
                    <a:pt x="370" y="4"/>
                    <a:pt x="369" y="4"/>
                  </a:cubicBezTo>
                  <a:close/>
                  <a:moveTo>
                    <a:pt x="337" y="4"/>
                  </a:moveTo>
                  <a:cubicBezTo>
                    <a:pt x="321" y="4"/>
                    <a:pt x="321" y="4"/>
                    <a:pt x="321" y="4"/>
                  </a:cubicBezTo>
                  <a:cubicBezTo>
                    <a:pt x="321" y="4"/>
                    <a:pt x="320" y="3"/>
                    <a:pt x="320" y="2"/>
                  </a:cubicBezTo>
                  <a:cubicBezTo>
                    <a:pt x="320" y="1"/>
                    <a:pt x="321" y="0"/>
                    <a:pt x="321" y="0"/>
                  </a:cubicBezTo>
                  <a:cubicBezTo>
                    <a:pt x="337" y="0"/>
                    <a:pt x="337" y="0"/>
                    <a:pt x="337" y="0"/>
                  </a:cubicBezTo>
                  <a:cubicBezTo>
                    <a:pt x="338" y="0"/>
                    <a:pt x="338" y="1"/>
                    <a:pt x="338" y="2"/>
                  </a:cubicBezTo>
                  <a:cubicBezTo>
                    <a:pt x="338" y="3"/>
                    <a:pt x="338" y="4"/>
                    <a:pt x="337" y="4"/>
                  </a:cubicBezTo>
                  <a:close/>
                  <a:moveTo>
                    <a:pt x="305" y="4"/>
                  </a:moveTo>
                  <a:cubicBezTo>
                    <a:pt x="289" y="4"/>
                    <a:pt x="289" y="4"/>
                    <a:pt x="289" y="4"/>
                  </a:cubicBezTo>
                  <a:cubicBezTo>
                    <a:pt x="289" y="4"/>
                    <a:pt x="288" y="3"/>
                    <a:pt x="288" y="2"/>
                  </a:cubicBezTo>
                  <a:cubicBezTo>
                    <a:pt x="288" y="1"/>
                    <a:pt x="289" y="0"/>
                    <a:pt x="289" y="0"/>
                  </a:cubicBezTo>
                  <a:cubicBezTo>
                    <a:pt x="305" y="0"/>
                    <a:pt x="305" y="0"/>
                    <a:pt x="305" y="0"/>
                  </a:cubicBezTo>
                  <a:cubicBezTo>
                    <a:pt x="306" y="0"/>
                    <a:pt x="306" y="1"/>
                    <a:pt x="306" y="2"/>
                  </a:cubicBezTo>
                  <a:cubicBezTo>
                    <a:pt x="306" y="3"/>
                    <a:pt x="306" y="4"/>
                    <a:pt x="305" y="4"/>
                  </a:cubicBezTo>
                  <a:close/>
                  <a:moveTo>
                    <a:pt x="273" y="4"/>
                  </a:moveTo>
                  <a:cubicBezTo>
                    <a:pt x="257" y="4"/>
                    <a:pt x="257" y="4"/>
                    <a:pt x="257" y="4"/>
                  </a:cubicBezTo>
                  <a:cubicBezTo>
                    <a:pt x="257" y="4"/>
                    <a:pt x="256" y="3"/>
                    <a:pt x="256" y="2"/>
                  </a:cubicBezTo>
                  <a:cubicBezTo>
                    <a:pt x="256" y="1"/>
                    <a:pt x="257" y="0"/>
                    <a:pt x="257" y="0"/>
                  </a:cubicBezTo>
                  <a:cubicBezTo>
                    <a:pt x="273" y="0"/>
                    <a:pt x="273" y="0"/>
                    <a:pt x="273" y="0"/>
                  </a:cubicBezTo>
                  <a:cubicBezTo>
                    <a:pt x="274" y="0"/>
                    <a:pt x="275" y="1"/>
                    <a:pt x="275" y="2"/>
                  </a:cubicBezTo>
                  <a:cubicBezTo>
                    <a:pt x="275" y="3"/>
                    <a:pt x="274" y="4"/>
                    <a:pt x="273" y="4"/>
                  </a:cubicBezTo>
                  <a:close/>
                  <a:moveTo>
                    <a:pt x="241" y="4"/>
                  </a:moveTo>
                  <a:cubicBezTo>
                    <a:pt x="225" y="4"/>
                    <a:pt x="225" y="4"/>
                    <a:pt x="225" y="4"/>
                  </a:cubicBezTo>
                  <a:cubicBezTo>
                    <a:pt x="225" y="4"/>
                    <a:pt x="224" y="3"/>
                    <a:pt x="224" y="2"/>
                  </a:cubicBezTo>
                  <a:cubicBezTo>
                    <a:pt x="224" y="1"/>
                    <a:pt x="225" y="0"/>
                    <a:pt x="225" y="0"/>
                  </a:cubicBezTo>
                  <a:cubicBezTo>
                    <a:pt x="241" y="0"/>
                    <a:pt x="241" y="0"/>
                    <a:pt x="241" y="0"/>
                  </a:cubicBezTo>
                  <a:cubicBezTo>
                    <a:pt x="242" y="0"/>
                    <a:pt x="243" y="1"/>
                    <a:pt x="243" y="2"/>
                  </a:cubicBezTo>
                  <a:cubicBezTo>
                    <a:pt x="243" y="3"/>
                    <a:pt x="242" y="4"/>
                    <a:pt x="241" y="4"/>
                  </a:cubicBezTo>
                  <a:close/>
                  <a:moveTo>
                    <a:pt x="209" y="4"/>
                  </a:moveTo>
                  <a:cubicBezTo>
                    <a:pt x="193" y="4"/>
                    <a:pt x="193" y="4"/>
                    <a:pt x="193" y="4"/>
                  </a:cubicBezTo>
                  <a:cubicBezTo>
                    <a:pt x="193" y="4"/>
                    <a:pt x="192" y="3"/>
                    <a:pt x="192" y="2"/>
                  </a:cubicBezTo>
                  <a:cubicBezTo>
                    <a:pt x="192" y="1"/>
                    <a:pt x="193" y="0"/>
                    <a:pt x="193" y="0"/>
                  </a:cubicBezTo>
                  <a:cubicBezTo>
                    <a:pt x="209" y="0"/>
                    <a:pt x="209" y="0"/>
                    <a:pt x="209" y="0"/>
                  </a:cubicBezTo>
                  <a:cubicBezTo>
                    <a:pt x="210" y="0"/>
                    <a:pt x="211" y="1"/>
                    <a:pt x="211" y="2"/>
                  </a:cubicBezTo>
                  <a:cubicBezTo>
                    <a:pt x="211" y="3"/>
                    <a:pt x="210" y="4"/>
                    <a:pt x="209" y="4"/>
                  </a:cubicBezTo>
                  <a:close/>
                  <a:moveTo>
                    <a:pt x="177" y="4"/>
                  </a:moveTo>
                  <a:cubicBezTo>
                    <a:pt x="161" y="4"/>
                    <a:pt x="161" y="4"/>
                    <a:pt x="161" y="4"/>
                  </a:cubicBezTo>
                  <a:cubicBezTo>
                    <a:pt x="161" y="4"/>
                    <a:pt x="160" y="3"/>
                    <a:pt x="160" y="2"/>
                  </a:cubicBezTo>
                  <a:cubicBezTo>
                    <a:pt x="160" y="1"/>
                    <a:pt x="161" y="0"/>
                    <a:pt x="161" y="0"/>
                  </a:cubicBezTo>
                  <a:cubicBezTo>
                    <a:pt x="177" y="0"/>
                    <a:pt x="177" y="0"/>
                    <a:pt x="177" y="0"/>
                  </a:cubicBezTo>
                  <a:cubicBezTo>
                    <a:pt x="178" y="0"/>
                    <a:pt x="179" y="1"/>
                    <a:pt x="179" y="2"/>
                  </a:cubicBezTo>
                  <a:cubicBezTo>
                    <a:pt x="179" y="3"/>
                    <a:pt x="178" y="4"/>
                    <a:pt x="177" y="4"/>
                  </a:cubicBezTo>
                  <a:close/>
                  <a:moveTo>
                    <a:pt x="145" y="4"/>
                  </a:moveTo>
                  <a:cubicBezTo>
                    <a:pt x="129" y="4"/>
                    <a:pt x="129" y="4"/>
                    <a:pt x="129" y="4"/>
                  </a:cubicBezTo>
                  <a:cubicBezTo>
                    <a:pt x="129" y="4"/>
                    <a:pt x="128" y="3"/>
                    <a:pt x="128" y="2"/>
                  </a:cubicBezTo>
                  <a:cubicBezTo>
                    <a:pt x="128" y="1"/>
                    <a:pt x="129" y="0"/>
                    <a:pt x="129" y="0"/>
                  </a:cubicBezTo>
                  <a:cubicBezTo>
                    <a:pt x="145" y="0"/>
                    <a:pt x="145" y="0"/>
                    <a:pt x="145" y="0"/>
                  </a:cubicBezTo>
                  <a:cubicBezTo>
                    <a:pt x="146" y="0"/>
                    <a:pt x="147" y="1"/>
                    <a:pt x="147" y="2"/>
                  </a:cubicBezTo>
                  <a:cubicBezTo>
                    <a:pt x="147" y="3"/>
                    <a:pt x="146" y="4"/>
                    <a:pt x="145" y="4"/>
                  </a:cubicBezTo>
                  <a:close/>
                  <a:moveTo>
                    <a:pt x="113" y="4"/>
                  </a:moveTo>
                  <a:cubicBezTo>
                    <a:pt x="97" y="4"/>
                    <a:pt x="97" y="4"/>
                    <a:pt x="97" y="4"/>
                  </a:cubicBezTo>
                  <a:cubicBezTo>
                    <a:pt x="97" y="4"/>
                    <a:pt x="96" y="3"/>
                    <a:pt x="96" y="2"/>
                  </a:cubicBezTo>
                  <a:cubicBezTo>
                    <a:pt x="96" y="1"/>
                    <a:pt x="97" y="0"/>
                    <a:pt x="97" y="0"/>
                  </a:cubicBezTo>
                  <a:cubicBezTo>
                    <a:pt x="113" y="0"/>
                    <a:pt x="113" y="0"/>
                    <a:pt x="113" y="0"/>
                  </a:cubicBezTo>
                  <a:cubicBezTo>
                    <a:pt x="114" y="0"/>
                    <a:pt x="115" y="1"/>
                    <a:pt x="115" y="2"/>
                  </a:cubicBezTo>
                  <a:cubicBezTo>
                    <a:pt x="115" y="3"/>
                    <a:pt x="114" y="4"/>
                    <a:pt x="113" y="4"/>
                  </a:cubicBezTo>
                  <a:close/>
                  <a:moveTo>
                    <a:pt x="81" y="4"/>
                  </a:moveTo>
                  <a:cubicBezTo>
                    <a:pt x="65" y="4"/>
                    <a:pt x="65" y="4"/>
                    <a:pt x="65" y="4"/>
                  </a:cubicBezTo>
                  <a:cubicBezTo>
                    <a:pt x="65" y="4"/>
                    <a:pt x="64" y="3"/>
                    <a:pt x="64" y="2"/>
                  </a:cubicBezTo>
                  <a:cubicBezTo>
                    <a:pt x="64" y="1"/>
                    <a:pt x="65" y="0"/>
                    <a:pt x="65" y="0"/>
                  </a:cubicBezTo>
                  <a:cubicBezTo>
                    <a:pt x="81" y="0"/>
                    <a:pt x="81" y="0"/>
                    <a:pt x="81" y="0"/>
                  </a:cubicBezTo>
                  <a:cubicBezTo>
                    <a:pt x="82" y="0"/>
                    <a:pt x="83" y="1"/>
                    <a:pt x="83" y="2"/>
                  </a:cubicBezTo>
                  <a:cubicBezTo>
                    <a:pt x="83" y="3"/>
                    <a:pt x="82" y="4"/>
                    <a:pt x="81" y="4"/>
                  </a:cubicBezTo>
                  <a:close/>
                  <a:moveTo>
                    <a:pt x="49" y="4"/>
                  </a:moveTo>
                  <a:cubicBezTo>
                    <a:pt x="34" y="4"/>
                    <a:pt x="34" y="4"/>
                    <a:pt x="34" y="4"/>
                  </a:cubicBezTo>
                  <a:cubicBezTo>
                    <a:pt x="33" y="4"/>
                    <a:pt x="32" y="3"/>
                    <a:pt x="32" y="2"/>
                  </a:cubicBezTo>
                  <a:cubicBezTo>
                    <a:pt x="32" y="1"/>
                    <a:pt x="33" y="0"/>
                    <a:pt x="34" y="0"/>
                  </a:cubicBezTo>
                  <a:cubicBezTo>
                    <a:pt x="49" y="0"/>
                    <a:pt x="49" y="0"/>
                    <a:pt x="49" y="0"/>
                  </a:cubicBezTo>
                  <a:cubicBezTo>
                    <a:pt x="50" y="0"/>
                    <a:pt x="51" y="1"/>
                    <a:pt x="51" y="2"/>
                  </a:cubicBezTo>
                  <a:cubicBezTo>
                    <a:pt x="51" y="3"/>
                    <a:pt x="50" y="4"/>
                    <a:pt x="49" y="4"/>
                  </a:cubicBezTo>
                  <a:close/>
                  <a:moveTo>
                    <a:pt x="18" y="4"/>
                  </a:moveTo>
                  <a:cubicBezTo>
                    <a:pt x="2" y="4"/>
                    <a:pt x="2" y="4"/>
                    <a:pt x="2" y="4"/>
                  </a:cubicBezTo>
                  <a:cubicBezTo>
                    <a:pt x="1" y="4"/>
                    <a:pt x="0" y="3"/>
                    <a:pt x="0" y="2"/>
                  </a:cubicBezTo>
                  <a:cubicBezTo>
                    <a:pt x="0" y="1"/>
                    <a:pt x="1" y="0"/>
                    <a:pt x="2" y="0"/>
                  </a:cubicBezTo>
                  <a:cubicBezTo>
                    <a:pt x="18" y="0"/>
                    <a:pt x="18" y="0"/>
                    <a:pt x="18" y="0"/>
                  </a:cubicBezTo>
                  <a:cubicBezTo>
                    <a:pt x="18" y="0"/>
                    <a:pt x="19" y="1"/>
                    <a:pt x="19" y="2"/>
                  </a:cubicBezTo>
                  <a:cubicBezTo>
                    <a:pt x="19" y="3"/>
                    <a:pt x="18" y="4"/>
                    <a:pt x="18"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49" name="Freeform 319">
              <a:extLst>
                <a:ext uri="{FF2B5EF4-FFF2-40B4-BE49-F238E27FC236}">
                  <a16:creationId xmlns:a16="http://schemas.microsoft.com/office/drawing/2014/main" id="{586DA273-46C6-4BA7-98D1-F54C730DDCC0}"/>
                </a:ext>
              </a:extLst>
            </p:cNvPr>
            <p:cNvSpPr>
              <a:spLocks/>
            </p:cNvSpPr>
            <p:nvPr/>
          </p:nvSpPr>
          <p:spPr bwMode="auto">
            <a:xfrm>
              <a:off x="2752251" y="4496350"/>
              <a:ext cx="47998" cy="18285"/>
            </a:xfrm>
            <a:custGeom>
              <a:avLst/>
              <a:gdLst>
                <a:gd name="T0" fmla="*/ 9 w 11"/>
                <a:gd name="T1" fmla="*/ 4 h 4"/>
                <a:gd name="T2" fmla="*/ 1 w 11"/>
                <a:gd name="T3" fmla="*/ 4 h 4"/>
                <a:gd name="T4" fmla="*/ 0 w 11"/>
                <a:gd name="T5" fmla="*/ 2 h 4"/>
                <a:gd name="T6" fmla="*/ 1 w 11"/>
                <a:gd name="T7" fmla="*/ 0 h 4"/>
                <a:gd name="T8" fmla="*/ 9 w 11"/>
                <a:gd name="T9" fmla="*/ 0 h 4"/>
                <a:gd name="T10" fmla="*/ 11 w 11"/>
                <a:gd name="T11" fmla="*/ 2 h 4"/>
                <a:gd name="T12" fmla="*/ 9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9" y="4"/>
                  </a:moveTo>
                  <a:cubicBezTo>
                    <a:pt x="1" y="4"/>
                    <a:pt x="1" y="4"/>
                    <a:pt x="1" y="4"/>
                  </a:cubicBezTo>
                  <a:cubicBezTo>
                    <a:pt x="1" y="4"/>
                    <a:pt x="0" y="3"/>
                    <a:pt x="0" y="2"/>
                  </a:cubicBezTo>
                  <a:cubicBezTo>
                    <a:pt x="0" y="1"/>
                    <a:pt x="1" y="0"/>
                    <a:pt x="1" y="0"/>
                  </a:cubicBezTo>
                  <a:cubicBezTo>
                    <a:pt x="9" y="0"/>
                    <a:pt x="9" y="0"/>
                    <a:pt x="9" y="0"/>
                  </a:cubicBezTo>
                  <a:cubicBezTo>
                    <a:pt x="10" y="0"/>
                    <a:pt x="11" y="1"/>
                    <a:pt x="11" y="2"/>
                  </a:cubicBezTo>
                  <a:cubicBezTo>
                    <a:pt x="11" y="3"/>
                    <a:pt x="10"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0" name="Freeform 320">
              <a:extLst>
                <a:ext uri="{FF2B5EF4-FFF2-40B4-BE49-F238E27FC236}">
                  <a16:creationId xmlns:a16="http://schemas.microsoft.com/office/drawing/2014/main" id="{DF551A92-A265-4FE0-8E9B-BA2D50031080}"/>
                </a:ext>
              </a:extLst>
            </p:cNvPr>
            <p:cNvSpPr>
              <a:spLocks/>
            </p:cNvSpPr>
            <p:nvPr/>
          </p:nvSpPr>
          <p:spPr bwMode="auto">
            <a:xfrm>
              <a:off x="2800248"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10" y="0"/>
                    <a:pt x="10" y="1"/>
                    <a:pt x="10" y="2"/>
                  </a:cubicBezTo>
                  <a:cubicBezTo>
                    <a:pt x="10" y="3"/>
                    <a:pt x="10"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1" name="Freeform 321">
              <a:extLst>
                <a:ext uri="{FF2B5EF4-FFF2-40B4-BE49-F238E27FC236}">
                  <a16:creationId xmlns:a16="http://schemas.microsoft.com/office/drawing/2014/main" id="{6E5E453F-5604-45C0-83FE-C5FEC1588802}"/>
                </a:ext>
              </a:extLst>
            </p:cNvPr>
            <p:cNvSpPr>
              <a:spLocks noEditPoints="1"/>
            </p:cNvSpPr>
            <p:nvPr/>
          </p:nvSpPr>
          <p:spPr bwMode="auto">
            <a:xfrm>
              <a:off x="2907671" y="4496350"/>
              <a:ext cx="2054751" cy="18285"/>
            </a:xfrm>
            <a:custGeom>
              <a:avLst/>
              <a:gdLst>
                <a:gd name="T0" fmla="*/ 449 w 466"/>
                <a:gd name="T1" fmla="*/ 4 h 4"/>
                <a:gd name="T2" fmla="*/ 449 w 466"/>
                <a:gd name="T3" fmla="*/ 0 h 4"/>
                <a:gd name="T4" fmla="*/ 466 w 466"/>
                <a:gd name="T5" fmla="*/ 2 h 4"/>
                <a:gd name="T6" fmla="*/ 433 w 466"/>
                <a:gd name="T7" fmla="*/ 4 h 4"/>
                <a:gd name="T8" fmla="*/ 416 w 466"/>
                <a:gd name="T9" fmla="*/ 2 h 4"/>
                <a:gd name="T10" fmla="*/ 433 w 466"/>
                <a:gd name="T11" fmla="*/ 0 h 4"/>
                <a:gd name="T12" fmla="*/ 433 w 466"/>
                <a:gd name="T13" fmla="*/ 4 h 4"/>
                <a:gd name="T14" fmla="*/ 385 w 466"/>
                <a:gd name="T15" fmla="*/ 4 h 4"/>
                <a:gd name="T16" fmla="*/ 385 w 466"/>
                <a:gd name="T17" fmla="*/ 0 h 4"/>
                <a:gd name="T18" fmla="*/ 403 w 466"/>
                <a:gd name="T19" fmla="*/ 2 h 4"/>
                <a:gd name="T20" fmla="*/ 369 w 466"/>
                <a:gd name="T21" fmla="*/ 4 h 4"/>
                <a:gd name="T22" fmla="*/ 352 w 466"/>
                <a:gd name="T23" fmla="*/ 2 h 4"/>
                <a:gd name="T24" fmla="*/ 369 w 466"/>
                <a:gd name="T25" fmla="*/ 0 h 4"/>
                <a:gd name="T26" fmla="*/ 369 w 466"/>
                <a:gd name="T27" fmla="*/ 4 h 4"/>
                <a:gd name="T28" fmla="*/ 321 w 466"/>
                <a:gd name="T29" fmla="*/ 4 h 4"/>
                <a:gd name="T30" fmla="*/ 321 w 466"/>
                <a:gd name="T31" fmla="*/ 0 h 4"/>
                <a:gd name="T32" fmla="*/ 339 w 466"/>
                <a:gd name="T33" fmla="*/ 2 h 4"/>
                <a:gd name="T34" fmla="*/ 305 w 466"/>
                <a:gd name="T35" fmla="*/ 4 h 4"/>
                <a:gd name="T36" fmla="*/ 288 w 466"/>
                <a:gd name="T37" fmla="*/ 2 h 4"/>
                <a:gd name="T38" fmla="*/ 305 w 466"/>
                <a:gd name="T39" fmla="*/ 0 h 4"/>
                <a:gd name="T40" fmla="*/ 305 w 466"/>
                <a:gd name="T41" fmla="*/ 4 h 4"/>
                <a:gd name="T42" fmla="*/ 257 w 466"/>
                <a:gd name="T43" fmla="*/ 4 h 4"/>
                <a:gd name="T44" fmla="*/ 257 w 466"/>
                <a:gd name="T45" fmla="*/ 0 h 4"/>
                <a:gd name="T46" fmla="*/ 275 w 466"/>
                <a:gd name="T47" fmla="*/ 2 h 4"/>
                <a:gd name="T48" fmla="*/ 241 w 466"/>
                <a:gd name="T49" fmla="*/ 4 h 4"/>
                <a:gd name="T50" fmla="*/ 224 w 466"/>
                <a:gd name="T51" fmla="*/ 2 h 4"/>
                <a:gd name="T52" fmla="*/ 241 w 466"/>
                <a:gd name="T53" fmla="*/ 0 h 4"/>
                <a:gd name="T54" fmla="*/ 241 w 466"/>
                <a:gd name="T55" fmla="*/ 4 h 4"/>
                <a:gd name="T56" fmla="*/ 193 w 466"/>
                <a:gd name="T57" fmla="*/ 4 h 4"/>
                <a:gd name="T58" fmla="*/ 193 w 466"/>
                <a:gd name="T59" fmla="*/ 0 h 4"/>
                <a:gd name="T60" fmla="*/ 211 w 466"/>
                <a:gd name="T61" fmla="*/ 2 h 4"/>
                <a:gd name="T62" fmla="*/ 177 w 466"/>
                <a:gd name="T63" fmla="*/ 4 h 4"/>
                <a:gd name="T64" fmla="*/ 160 w 466"/>
                <a:gd name="T65" fmla="*/ 2 h 4"/>
                <a:gd name="T66" fmla="*/ 177 w 466"/>
                <a:gd name="T67" fmla="*/ 0 h 4"/>
                <a:gd name="T68" fmla="*/ 177 w 466"/>
                <a:gd name="T69" fmla="*/ 4 h 4"/>
                <a:gd name="T70" fmla="*/ 130 w 466"/>
                <a:gd name="T71" fmla="*/ 4 h 4"/>
                <a:gd name="T72" fmla="*/ 130 w 466"/>
                <a:gd name="T73" fmla="*/ 0 h 4"/>
                <a:gd name="T74" fmla="*/ 147 w 466"/>
                <a:gd name="T75" fmla="*/ 2 h 4"/>
                <a:gd name="T76" fmla="*/ 114 w 466"/>
                <a:gd name="T77" fmla="*/ 4 h 4"/>
                <a:gd name="T78" fmla="*/ 96 w 466"/>
                <a:gd name="T79" fmla="*/ 2 h 4"/>
                <a:gd name="T80" fmla="*/ 114 w 466"/>
                <a:gd name="T81" fmla="*/ 0 h 4"/>
                <a:gd name="T82" fmla="*/ 114 w 466"/>
                <a:gd name="T83" fmla="*/ 4 h 4"/>
                <a:gd name="T84" fmla="*/ 66 w 466"/>
                <a:gd name="T85" fmla="*/ 4 h 4"/>
                <a:gd name="T86" fmla="*/ 66 w 466"/>
                <a:gd name="T87" fmla="*/ 0 h 4"/>
                <a:gd name="T88" fmla="*/ 83 w 466"/>
                <a:gd name="T89" fmla="*/ 2 h 4"/>
                <a:gd name="T90" fmla="*/ 50 w 466"/>
                <a:gd name="T91" fmla="*/ 4 h 4"/>
                <a:gd name="T92" fmla="*/ 32 w 466"/>
                <a:gd name="T93" fmla="*/ 2 h 4"/>
                <a:gd name="T94" fmla="*/ 50 w 466"/>
                <a:gd name="T95" fmla="*/ 0 h 4"/>
                <a:gd name="T96" fmla="*/ 50 w 466"/>
                <a:gd name="T97" fmla="*/ 4 h 4"/>
                <a:gd name="T98" fmla="*/ 2 w 466"/>
                <a:gd name="T99" fmla="*/ 4 h 4"/>
                <a:gd name="T100" fmla="*/ 2 w 466"/>
                <a:gd name="T101" fmla="*/ 0 h 4"/>
                <a:gd name="T102" fmla="*/ 19 w 466"/>
                <a:gd name="T10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6" h="4">
                  <a:moveTo>
                    <a:pt x="465" y="4"/>
                  </a:moveTo>
                  <a:cubicBezTo>
                    <a:pt x="449" y="4"/>
                    <a:pt x="449" y="4"/>
                    <a:pt x="449" y="4"/>
                  </a:cubicBezTo>
                  <a:cubicBezTo>
                    <a:pt x="448" y="4"/>
                    <a:pt x="448" y="3"/>
                    <a:pt x="448" y="2"/>
                  </a:cubicBezTo>
                  <a:cubicBezTo>
                    <a:pt x="448" y="1"/>
                    <a:pt x="448" y="0"/>
                    <a:pt x="449" y="0"/>
                  </a:cubicBezTo>
                  <a:cubicBezTo>
                    <a:pt x="465" y="0"/>
                    <a:pt x="465" y="0"/>
                    <a:pt x="465" y="0"/>
                  </a:cubicBezTo>
                  <a:cubicBezTo>
                    <a:pt x="466" y="0"/>
                    <a:pt x="466" y="1"/>
                    <a:pt x="466" y="2"/>
                  </a:cubicBezTo>
                  <a:cubicBezTo>
                    <a:pt x="466" y="3"/>
                    <a:pt x="466" y="4"/>
                    <a:pt x="465" y="4"/>
                  </a:cubicBezTo>
                  <a:close/>
                  <a:moveTo>
                    <a:pt x="433" y="4"/>
                  </a:moveTo>
                  <a:cubicBezTo>
                    <a:pt x="417" y="4"/>
                    <a:pt x="417" y="4"/>
                    <a:pt x="417" y="4"/>
                  </a:cubicBezTo>
                  <a:cubicBezTo>
                    <a:pt x="416" y="4"/>
                    <a:pt x="416" y="3"/>
                    <a:pt x="416" y="2"/>
                  </a:cubicBezTo>
                  <a:cubicBezTo>
                    <a:pt x="416" y="1"/>
                    <a:pt x="416" y="0"/>
                    <a:pt x="417" y="0"/>
                  </a:cubicBezTo>
                  <a:cubicBezTo>
                    <a:pt x="433" y="0"/>
                    <a:pt x="433" y="0"/>
                    <a:pt x="433" y="0"/>
                  </a:cubicBezTo>
                  <a:cubicBezTo>
                    <a:pt x="434" y="0"/>
                    <a:pt x="435" y="1"/>
                    <a:pt x="435" y="2"/>
                  </a:cubicBezTo>
                  <a:cubicBezTo>
                    <a:pt x="435" y="3"/>
                    <a:pt x="434" y="4"/>
                    <a:pt x="433" y="4"/>
                  </a:cubicBezTo>
                  <a:close/>
                  <a:moveTo>
                    <a:pt x="401" y="4"/>
                  </a:moveTo>
                  <a:cubicBezTo>
                    <a:pt x="385" y="4"/>
                    <a:pt x="385" y="4"/>
                    <a:pt x="385" y="4"/>
                  </a:cubicBezTo>
                  <a:cubicBezTo>
                    <a:pt x="384" y="4"/>
                    <a:pt x="384" y="3"/>
                    <a:pt x="384" y="2"/>
                  </a:cubicBezTo>
                  <a:cubicBezTo>
                    <a:pt x="384" y="1"/>
                    <a:pt x="384" y="0"/>
                    <a:pt x="385" y="0"/>
                  </a:cubicBezTo>
                  <a:cubicBezTo>
                    <a:pt x="401" y="0"/>
                    <a:pt x="401" y="0"/>
                    <a:pt x="401" y="0"/>
                  </a:cubicBezTo>
                  <a:cubicBezTo>
                    <a:pt x="402" y="0"/>
                    <a:pt x="403" y="1"/>
                    <a:pt x="403" y="2"/>
                  </a:cubicBezTo>
                  <a:cubicBezTo>
                    <a:pt x="403" y="3"/>
                    <a:pt x="402" y="4"/>
                    <a:pt x="401" y="4"/>
                  </a:cubicBezTo>
                  <a:close/>
                  <a:moveTo>
                    <a:pt x="369" y="4"/>
                  </a:moveTo>
                  <a:cubicBezTo>
                    <a:pt x="353" y="4"/>
                    <a:pt x="353" y="4"/>
                    <a:pt x="353" y="4"/>
                  </a:cubicBezTo>
                  <a:cubicBezTo>
                    <a:pt x="352" y="4"/>
                    <a:pt x="352" y="3"/>
                    <a:pt x="352" y="2"/>
                  </a:cubicBezTo>
                  <a:cubicBezTo>
                    <a:pt x="352" y="1"/>
                    <a:pt x="352" y="0"/>
                    <a:pt x="353" y="0"/>
                  </a:cubicBezTo>
                  <a:cubicBezTo>
                    <a:pt x="369" y="0"/>
                    <a:pt x="369" y="0"/>
                    <a:pt x="369" y="0"/>
                  </a:cubicBezTo>
                  <a:cubicBezTo>
                    <a:pt x="370" y="0"/>
                    <a:pt x="371" y="1"/>
                    <a:pt x="371" y="2"/>
                  </a:cubicBezTo>
                  <a:cubicBezTo>
                    <a:pt x="371" y="3"/>
                    <a:pt x="370" y="4"/>
                    <a:pt x="369" y="4"/>
                  </a:cubicBezTo>
                  <a:close/>
                  <a:moveTo>
                    <a:pt x="337" y="4"/>
                  </a:moveTo>
                  <a:cubicBezTo>
                    <a:pt x="321" y="4"/>
                    <a:pt x="321" y="4"/>
                    <a:pt x="321" y="4"/>
                  </a:cubicBezTo>
                  <a:cubicBezTo>
                    <a:pt x="321" y="4"/>
                    <a:pt x="320" y="3"/>
                    <a:pt x="320" y="2"/>
                  </a:cubicBezTo>
                  <a:cubicBezTo>
                    <a:pt x="320" y="1"/>
                    <a:pt x="321" y="0"/>
                    <a:pt x="321" y="0"/>
                  </a:cubicBezTo>
                  <a:cubicBezTo>
                    <a:pt x="337" y="0"/>
                    <a:pt x="337" y="0"/>
                    <a:pt x="337" y="0"/>
                  </a:cubicBezTo>
                  <a:cubicBezTo>
                    <a:pt x="338" y="0"/>
                    <a:pt x="339" y="1"/>
                    <a:pt x="339" y="2"/>
                  </a:cubicBezTo>
                  <a:cubicBezTo>
                    <a:pt x="339" y="3"/>
                    <a:pt x="338" y="4"/>
                    <a:pt x="337" y="4"/>
                  </a:cubicBezTo>
                  <a:close/>
                  <a:moveTo>
                    <a:pt x="305" y="4"/>
                  </a:moveTo>
                  <a:cubicBezTo>
                    <a:pt x="289" y="4"/>
                    <a:pt x="289" y="4"/>
                    <a:pt x="289" y="4"/>
                  </a:cubicBezTo>
                  <a:cubicBezTo>
                    <a:pt x="289" y="4"/>
                    <a:pt x="288" y="3"/>
                    <a:pt x="288" y="2"/>
                  </a:cubicBezTo>
                  <a:cubicBezTo>
                    <a:pt x="288" y="1"/>
                    <a:pt x="289" y="0"/>
                    <a:pt x="289" y="0"/>
                  </a:cubicBezTo>
                  <a:cubicBezTo>
                    <a:pt x="305" y="0"/>
                    <a:pt x="305" y="0"/>
                    <a:pt x="305" y="0"/>
                  </a:cubicBezTo>
                  <a:cubicBezTo>
                    <a:pt x="306" y="0"/>
                    <a:pt x="307" y="1"/>
                    <a:pt x="307" y="2"/>
                  </a:cubicBezTo>
                  <a:cubicBezTo>
                    <a:pt x="307" y="3"/>
                    <a:pt x="306" y="4"/>
                    <a:pt x="305" y="4"/>
                  </a:cubicBezTo>
                  <a:close/>
                  <a:moveTo>
                    <a:pt x="273" y="4"/>
                  </a:moveTo>
                  <a:cubicBezTo>
                    <a:pt x="257" y="4"/>
                    <a:pt x="257" y="4"/>
                    <a:pt x="257" y="4"/>
                  </a:cubicBezTo>
                  <a:cubicBezTo>
                    <a:pt x="257" y="4"/>
                    <a:pt x="256" y="3"/>
                    <a:pt x="256" y="2"/>
                  </a:cubicBezTo>
                  <a:cubicBezTo>
                    <a:pt x="256" y="1"/>
                    <a:pt x="257" y="0"/>
                    <a:pt x="257" y="0"/>
                  </a:cubicBezTo>
                  <a:cubicBezTo>
                    <a:pt x="273" y="0"/>
                    <a:pt x="273" y="0"/>
                    <a:pt x="273" y="0"/>
                  </a:cubicBezTo>
                  <a:cubicBezTo>
                    <a:pt x="274" y="0"/>
                    <a:pt x="275" y="1"/>
                    <a:pt x="275" y="2"/>
                  </a:cubicBezTo>
                  <a:cubicBezTo>
                    <a:pt x="275" y="3"/>
                    <a:pt x="274" y="4"/>
                    <a:pt x="273" y="4"/>
                  </a:cubicBezTo>
                  <a:close/>
                  <a:moveTo>
                    <a:pt x="241" y="4"/>
                  </a:moveTo>
                  <a:cubicBezTo>
                    <a:pt x="225" y="4"/>
                    <a:pt x="225" y="4"/>
                    <a:pt x="225" y="4"/>
                  </a:cubicBezTo>
                  <a:cubicBezTo>
                    <a:pt x="225" y="4"/>
                    <a:pt x="224" y="3"/>
                    <a:pt x="224" y="2"/>
                  </a:cubicBezTo>
                  <a:cubicBezTo>
                    <a:pt x="224" y="1"/>
                    <a:pt x="225" y="0"/>
                    <a:pt x="225" y="0"/>
                  </a:cubicBezTo>
                  <a:cubicBezTo>
                    <a:pt x="241" y="0"/>
                    <a:pt x="241" y="0"/>
                    <a:pt x="241" y="0"/>
                  </a:cubicBezTo>
                  <a:cubicBezTo>
                    <a:pt x="242" y="0"/>
                    <a:pt x="243" y="1"/>
                    <a:pt x="243" y="2"/>
                  </a:cubicBezTo>
                  <a:cubicBezTo>
                    <a:pt x="243" y="3"/>
                    <a:pt x="242" y="4"/>
                    <a:pt x="241" y="4"/>
                  </a:cubicBezTo>
                  <a:close/>
                  <a:moveTo>
                    <a:pt x="209" y="4"/>
                  </a:moveTo>
                  <a:cubicBezTo>
                    <a:pt x="193" y="4"/>
                    <a:pt x="193" y="4"/>
                    <a:pt x="193" y="4"/>
                  </a:cubicBezTo>
                  <a:cubicBezTo>
                    <a:pt x="193" y="4"/>
                    <a:pt x="192" y="3"/>
                    <a:pt x="192" y="2"/>
                  </a:cubicBezTo>
                  <a:cubicBezTo>
                    <a:pt x="192" y="1"/>
                    <a:pt x="193" y="0"/>
                    <a:pt x="193" y="0"/>
                  </a:cubicBezTo>
                  <a:cubicBezTo>
                    <a:pt x="209" y="0"/>
                    <a:pt x="209" y="0"/>
                    <a:pt x="209" y="0"/>
                  </a:cubicBezTo>
                  <a:cubicBezTo>
                    <a:pt x="210" y="0"/>
                    <a:pt x="211" y="1"/>
                    <a:pt x="211" y="2"/>
                  </a:cubicBezTo>
                  <a:cubicBezTo>
                    <a:pt x="211" y="3"/>
                    <a:pt x="210" y="4"/>
                    <a:pt x="209" y="4"/>
                  </a:cubicBezTo>
                  <a:close/>
                  <a:moveTo>
                    <a:pt x="177" y="4"/>
                  </a:moveTo>
                  <a:cubicBezTo>
                    <a:pt x="161" y="4"/>
                    <a:pt x="161" y="4"/>
                    <a:pt x="161" y="4"/>
                  </a:cubicBezTo>
                  <a:cubicBezTo>
                    <a:pt x="161" y="4"/>
                    <a:pt x="160" y="3"/>
                    <a:pt x="160" y="2"/>
                  </a:cubicBezTo>
                  <a:cubicBezTo>
                    <a:pt x="160" y="1"/>
                    <a:pt x="161" y="0"/>
                    <a:pt x="161" y="0"/>
                  </a:cubicBezTo>
                  <a:cubicBezTo>
                    <a:pt x="177" y="0"/>
                    <a:pt x="177" y="0"/>
                    <a:pt x="177" y="0"/>
                  </a:cubicBezTo>
                  <a:cubicBezTo>
                    <a:pt x="178" y="0"/>
                    <a:pt x="179" y="1"/>
                    <a:pt x="179" y="2"/>
                  </a:cubicBezTo>
                  <a:cubicBezTo>
                    <a:pt x="179" y="3"/>
                    <a:pt x="178" y="4"/>
                    <a:pt x="177" y="4"/>
                  </a:cubicBezTo>
                  <a:close/>
                  <a:moveTo>
                    <a:pt x="146" y="4"/>
                  </a:moveTo>
                  <a:cubicBezTo>
                    <a:pt x="130" y="4"/>
                    <a:pt x="130" y="4"/>
                    <a:pt x="130" y="4"/>
                  </a:cubicBezTo>
                  <a:cubicBezTo>
                    <a:pt x="129" y="4"/>
                    <a:pt x="128" y="3"/>
                    <a:pt x="128" y="2"/>
                  </a:cubicBezTo>
                  <a:cubicBezTo>
                    <a:pt x="128" y="1"/>
                    <a:pt x="129" y="0"/>
                    <a:pt x="130" y="0"/>
                  </a:cubicBezTo>
                  <a:cubicBezTo>
                    <a:pt x="146" y="0"/>
                    <a:pt x="146" y="0"/>
                    <a:pt x="146" y="0"/>
                  </a:cubicBezTo>
                  <a:cubicBezTo>
                    <a:pt x="146" y="0"/>
                    <a:pt x="147" y="1"/>
                    <a:pt x="147" y="2"/>
                  </a:cubicBezTo>
                  <a:cubicBezTo>
                    <a:pt x="147" y="3"/>
                    <a:pt x="146" y="4"/>
                    <a:pt x="146" y="4"/>
                  </a:cubicBezTo>
                  <a:close/>
                  <a:moveTo>
                    <a:pt x="114" y="4"/>
                  </a:moveTo>
                  <a:cubicBezTo>
                    <a:pt x="98" y="4"/>
                    <a:pt x="98" y="4"/>
                    <a:pt x="98" y="4"/>
                  </a:cubicBezTo>
                  <a:cubicBezTo>
                    <a:pt x="97" y="4"/>
                    <a:pt x="96" y="3"/>
                    <a:pt x="96" y="2"/>
                  </a:cubicBezTo>
                  <a:cubicBezTo>
                    <a:pt x="96" y="1"/>
                    <a:pt x="97" y="0"/>
                    <a:pt x="98" y="0"/>
                  </a:cubicBezTo>
                  <a:cubicBezTo>
                    <a:pt x="114" y="0"/>
                    <a:pt x="114" y="0"/>
                    <a:pt x="114" y="0"/>
                  </a:cubicBezTo>
                  <a:cubicBezTo>
                    <a:pt x="114" y="0"/>
                    <a:pt x="115" y="1"/>
                    <a:pt x="115" y="2"/>
                  </a:cubicBezTo>
                  <a:cubicBezTo>
                    <a:pt x="115" y="3"/>
                    <a:pt x="114" y="4"/>
                    <a:pt x="114" y="4"/>
                  </a:cubicBezTo>
                  <a:close/>
                  <a:moveTo>
                    <a:pt x="82" y="4"/>
                  </a:moveTo>
                  <a:cubicBezTo>
                    <a:pt x="66" y="4"/>
                    <a:pt x="66" y="4"/>
                    <a:pt x="66" y="4"/>
                  </a:cubicBezTo>
                  <a:cubicBezTo>
                    <a:pt x="65" y="4"/>
                    <a:pt x="64" y="3"/>
                    <a:pt x="64" y="2"/>
                  </a:cubicBezTo>
                  <a:cubicBezTo>
                    <a:pt x="64" y="1"/>
                    <a:pt x="65" y="0"/>
                    <a:pt x="66" y="0"/>
                  </a:cubicBezTo>
                  <a:cubicBezTo>
                    <a:pt x="82" y="0"/>
                    <a:pt x="82" y="0"/>
                    <a:pt x="82" y="0"/>
                  </a:cubicBezTo>
                  <a:cubicBezTo>
                    <a:pt x="82" y="0"/>
                    <a:pt x="83" y="1"/>
                    <a:pt x="83" y="2"/>
                  </a:cubicBezTo>
                  <a:cubicBezTo>
                    <a:pt x="83" y="3"/>
                    <a:pt x="82" y="4"/>
                    <a:pt x="82" y="4"/>
                  </a:cubicBezTo>
                  <a:close/>
                  <a:moveTo>
                    <a:pt x="50" y="4"/>
                  </a:moveTo>
                  <a:cubicBezTo>
                    <a:pt x="34" y="4"/>
                    <a:pt x="34" y="4"/>
                    <a:pt x="34" y="4"/>
                  </a:cubicBezTo>
                  <a:cubicBezTo>
                    <a:pt x="33" y="4"/>
                    <a:pt x="32" y="3"/>
                    <a:pt x="32" y="2"/>
                  </a:cubicBezTo>
                  <a:cubicBezTo>
                    <a:pt x="32" y="1"/>
                    <a:pt x="33" y="0"/>
                    <a:pt x="34" y="0"/>
                  </a:cubicBezTo>
                  <a:cubicBezTo>
                    <a:pt x="50" y="0"/>
                    <a:pt x="50" y="0"/>
                    <a:pt x="50" y="0"/>
                  </a:cubicBezTo>
                  <a:cubicBezTo>
                    <a:pt x="50" y="0"/>
                    <a:pt x="51" y="1"/>
                    <a:pt x="51" y="2"/>
                  </a:cubicBezTo>
                  <a:cubicBezTo>
                    <a:pt x="51" y="3"/>
                    <a:pt x="50" y="4"/>
                    <a:pt x="50" y="4"/>
                  </a:cubicBezTo>
                  <a:close/>
                  <a:moveTo>
                    <a:pt x="18" y="4"/>
                  </a:moveTo>
                  <a:cubicBezTo>
                    <a:pt x="2" y="4"/>
                    <a:pt x="2" y="4"/>
                    <a:pt x="2" y="4"/>
                  </a:cubicBezTo>
                  <a:cubicBezTo>
                    <a:pt x="1" y="4"/>
                    <a:pt x="0" y="3"/>
                    <a:pt x="0" y="2"/>
                  </a:cubicBezTo>
                  <a:cubicBezTo>
                    <a:pt x="0" y="1"/>
                    <a:pt x="1" y="0"/>
                    <a:pt x="2" y="0"/>
                  </a:cubicBezTo>
                  <a:cubicBezTo>
                    <a:pt x="18" y="0"/>
                    <a:pt x="18" y="0"/>
                    <a:pt x="18" y="0"/>
                  </a:cubicBezTo>
                  <a:cubicBezTo>
                    <a:pt x="18" y="0"/>
                    <a:pt x="19" y="1"/>
                    <a:pt x="19" y="2"/>
                  </a:cubicBezTo>
                  <a:cubicBezTo>
                    <a:pt x="19" y="3"/>
                    <a:pt x="18" y="4"/>
                    <a:pt x="18"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2" name="Freeform 322">
              <a:extLst>
                <a:ext uri="{FF2B5EF4-FFF2-40B4-BE49-F238E27FC236}">
                  <a16:creationId xmlns:a16="http://schemas.microsoft.com/office/drawing/2014/main" id="{941EC174-8BE5-44BE-A4B6-B43D5A27D452}"/>
                </a:ext>
              </a:extLst>
            </p:cNvPr>
            <p:cNvSpPr>
              <a:spLocks/>
            </p:cNvSpPr>
            <p:nvPr/>
          </p:nvSpPr>
          <p:spPr bwMode="auto">
            <a:xfrm>
              <a:off x="5010419" y="4496350"/>
              <a:ext cx="47998" cy="18285"/>
            </a:xfrm>
            <a:custGeom>
              <a:avLst/>
              <a:gdLst>
                <a:gd name="T0" fmla="*/ 9 w 11"/>
                <a:gd name="T1" fmla="*/ 4 h 4"/>
                <a:gd name="T2" fmla="*/ 1 w 11"/>
                <a:gd name="T3" fmla="*/ 4 h 4"/>
                <a:gd name="T4" fmla="*/ 0 w 11"/>
                <a:gd name="T5" fmla="*/ 2 h 4"/>
                <a:gd name="T6" fmla="*/ 1 w 11"/>
                <a:gd name="T7" fmla="*/ 0 h 4"/>
                <a:gd name="T8" fmla="*/ 9 w 11"/>
                <a:gd name="T9" fmla="*/ 0 h 4"/>
                <a:gd name="T10" fmla="*/ 11 w 11"/>
                <a:gd name="T11" fmla="*/ 2 h 4"/>
                <a:gd name="T12" fmla="*/ 9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9" y="4"/>
                  </a:moveTo>
                  <a:cubicBezTo>
                    <a:pt x="1" y="4"/>
                    <a:pt x="1" y="4"/>
                    <a:pt x="1" y="4"/>
                  </a:cubicBezTo>
                  <a:cubicBezTo>
                    <a:pt x="1" y="4"/>
                    <a:pt x="0" y="3"/>
                    <a:pt x="0" y="2"/>
                  </a:cubicBezTo>
                  <a:cubicBezTo>
                    <a:pt x="0" y="1"/>
                    <a:pt x="1" y="0"/>
                    <a:pt x="1" y="0"/>
                  </a:cubicBezTo>
                  <a:cubicBezTo>
                    <a:pt x="9" y="0"/>
                    <a:pt x="9" y="0"/>
                    <a:pt x="9" y="0"/>
                  </a:cubicBezTo>
                  <a:cubicBezTo>
                    <a:pt x="10" y="0"/>
                    <a:pt x="11" y="1"/>
                    <a:pt x="11" y="2"/>
                  </a:cubicBezTo>
                  <a:cubicBezTo>
                    <a:pt x="11" y="3"/>
                    <a:pt x="10"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3" name="Freeform 323">
              <a:extLst>
                <a:ext uri="{FF2B5EF4-FFF2-40B4-BE49-F238E27FC236}">
                  <a16:creationId xmlns:a16="http://schemas.microsoft.com/office/drawing/2014/main" id="{C3F5BDEF-515A-4982-8EF1-428854A1563F}"/>
                </a:ext>
              </a:extLst>
            </p:cNvPr>
            <p:cNvSpPr>
              <a:spLocks/>
            </p:cNvSpPr>
            <p:nvPr/>
          </p:nvSpPr>
          <p:spPr bwMode="auto">
            <a:xfrm>
              <a:off x="5042418" y="4496350"/>
              <a:ext cx="47998" cy="18285"/>
            </a:xfrm>
            <a:custGeom>
              <a:avLst/>
              <a:gdLst>
                <a:gd name="T0" fmla="*/ 10 w 11"/>
                <a:gd name="T1" fmla="*/ 4 h 4"/>
                <a:gd name="T2" fmla="*/ 2 w 11"/>
                <a:gd name="T3" fmla="*/ 4 h 4"/>
                <a:gd name="T4" fmla="*/ 0 w 11"/>
                <a:gd name="T5" fmla="*/ 2 h 4"/>
                <a:gd name="T6" fmla="*/ 2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2" y="4"/>
                    <a:pt x="2" y="4"/>
                    <a:pt x="2" y="4"/>
                  </a:cubicBezTo>
                  <a:cubicBezTo>
                    <a:pt x="1" y="4"/>
                    <a:pt x="0" y="3"/>
                    <a:pt x="0" y="2"/>
                  </a:cubicBezTo>
                  <a:cubicBezTo>
                    <a:pt x="0" y="1"/>
                    <a:pt x="1" y="0"/>
                    <a:pt x="2" y="0"/>
                  </a:cubicBezTo>
                  <a:cubicBezTo>
                    <a:pt x="10" y="0"/>
                    <a:pt x="10" y="0"/>
                    <a:pt x="10" y="0"/>
                  </a:cubicBezTo>
                  <a:cubicBezTo>
                    <a:pt x="10" y="0"/>
                    <a:pt x="11" y="1"/>
                    <a:pt x="11" y="2"/>
                  </a:cubicBezTo>
                  <a:cubicBezTo>
                    <a:pt x="11" y="3"/>
                    <a:pt x="10" y="4"/>
                    <a:pt x="1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4" name="Freeform 324">
              <a:extLst>
                <a:ext uri="{FF2B5EF4-FFF2-40B4-BE49-F238E27FC236}">
                  <a16:creationId xmlns:a16="http://schemas.microsoft.com/office/drawing/2014/main" id="{E21DFC2A-F3DF-495C-B27A-287A68E5E87C}"/>
                </a:ext>
              </a:extLst>
            </p:cNvPr>
            <p:cNvSpPr>
              <a:spLocks noEditPoints="1"/>
            </p:cNvSpPr>
            <p:nvPr/>
          </p:nvSpPr>
          <p:spPr bwMode="auto">
            <a:xfrm>
              <a:off x="5152126" y="4496350"/>
              <a:ext cx="2054751" cy="18285"/>
            </a:xfrm>
            <a:custGeom>
              <a:avLst/>
              <a:gdLst>
                <a:gd name="T0" fmla="*/ 449 w 466"/>
                <a:gd name="T1" fmla="*/ 4 h 4"/>
                <a:gd name="T2" fmla="*/ 449 w 466"/>
                <a:gd name="T3" fmla="*/ 0 h 4"/>
                <a:gd name="T4" fmla="*/ 466 w 466"/>
                <a:gd name="T5" fmla="*/ 2 h 4"/>
                <a:gd name="T6" fmla="*/ 433 w 466"/>
                <a:gd name="T7" fmla="*/ 4 h 4"/>
                <a:gd name="T8" fmla="*/ 416 w 466"/>
                <a:gd name="T9" fmla="*/ 2 h 4"/>
                <a:gd name="T10" fmla="*/ 433 w 466"/>
                <a:gd name="T11" fmla="*/ 0 h 4"/>
                <a:gd name="T12" fmla="*/ 433 w 466"/>
                <a:gd name="T13" fmla="*/ 4 h 4"/>
                <a:gd name="T14" fmla="*/ 385 w 466"/>
                <a:gd name="T15" fmla="*/ 4 h 4"/>
                <a:gd name="T16" fmla="*/ 385 w 466"/>
                <a:gd name="T17" fmla="*/ 0 h 4"/>
                <a:gd name="T18" fmla="*/ 402 w 466"/>
                <a:gd name="T19" fmla="*/ 2 h 4"/>
                <a:gd name="T20" fmla="*/ 369 w 466"/>
                <a:gd name="T21" fmla="*/ 4 h 4"/>
                <a:gd name="T22" fmla="*/ 352 w 466"/>
                <a:gd name="T23" fmla="*/ 2 h 4"/>
                <a:gd name="T24" fmla="*/ 369 w 466"/>
                <a:gd name="T25" fmla="*/ 0 h 4"/>
                <a:gd name="T26" fmla="*/ 369 w 466"/>
                <a:gd name="T27" fmla="*/ 4 h 4"/>
                <a:gd name="T28" fmla="*/ 321 w 466"/>
                <a:gd name="T29" fmla="*/ 4 h 4"/>
                <a:gd name="T30" fmla="*/ 321 w 466"/>
                <a:gd name="T31" fmla="*/ 0 h 4"/>
                <a:gd name="T32" fmla="*/ 338 w 466"/>
                <a:gd name="T33" fmla="*/ 2 h 4"/>
                <a:gd name="T34" fmla="*/ 305 w 466"/>
                <a:gd name="T35" fmla="*/ 4 h 4"/>
                <a:gd name="T36" fmla="*/ 288 w 466"/>
                <a:gd name="T37" fmla="*/ 2 h 4"/>
                <a:gd name="T38" fmla="*/ 305 w 466"/>
                <a:gd name="T39" fmla="*/ 0 h 4"/>
                <a:gd name="T40" fmla="*/ 305 w 466"/>
                <a:gd name="T41" fmla="*/ 4 h 4"/>
                <a:gd name="T42" fmla="*/ 257 w 466"/>
                <a:gd name="T43" fmla="*/ 4 h 4"/>
                <a:gd name="T44" fmla="*/ 257 w 466"/>
                <a:gd name="T45" fmla="*/ 0 h 4"/>
                <a:gd name="T46" fmla="*/ 274 w 466"/>
                <a:gd name="T47" fmla="*/ 2 h 4"/>
                <a:gd name="T48" fmla="*/ 241 w 466"/>
                <a:gd name="T49" fmla="*/ 4 h 4"/>
                <a:gd name="T50" fmla="*/ 224 w 466"/>
                <a:gd name="T51" fmla="*/ 2 h 4"/>
                <a:gd name="T52" fmla="*/ 241 w 466"/>
                <a:gd name="T53" fmla="*/ 0 h 4"/>
                <a:gd name="T54" fmla="*/ 241 w 466"/>
                <a:gd name="T55" fmla="*/ 4 h 4"/>
                <a:gd name="T56" fmla="*/ 193 w 466"/>
                <a:gd name="T57" fmla="*/ 4 h 4"/>
                <a:gd name="T58" fmla="*/ 193 w 466"/>
                <a:gd name="T59" fmla="*/ 0 h 4"/>
                <a:gd name="T60" fmla="*/ 210 w 466"/>
                <a:gd name="T61" fmla="*/ 2 h 4"/>
                <a:gd name="T62" fmla="*/ 177 w 466"/>
                <a:gd name="T63" fmla="*/ 4 h 4"/>
                <a:gd name="T64" fmla="*/ 160 w 466"/>
                <a:gd name="T65" fmla="*/ 2 h 4"/>
                <a:gd name="T66" fmla="*/ 177 w 466"/>
                <a:gd name="T67" fmla="*/ 0 h 4"/>
                <a:gd name="T68" fmla="*/ 177 w 466"/>
                <a:gd name="T69" fmla="*/ 4 h 4"/>
                <a:gd name="T70" fmla="*/ 129 w 466"/>
                <a:gd name="T71" fmla="*/ 4 h 4"/>
                <a:gd name="T72" fmla="*/ 129 w 466"/>
                <a:gd name="T73" fmla="*/ 0 h 4"/>
                <a:gd name="T74" fmla="*/ 146 w 466"/>
                <a:gd name="T75" fmla="*/ 2 h 4"/>
                <a:gd name="T76" fmla="*/ 113 w 466"/>
                <a:gd name="T77" fmla="*/ 4 h 4"/>
                <a:gd name="T78" fmla="*/ 96 w 466"/>
                <a:gd name="T79" fmla="*/ 2 h 4"/>
                <a:gd name="T80" fmla="*/ 113 w 466"/>
                <a:gd name="T81" fmla="*/ 0 h 4"/>
                <a:gd name="T82" fmla="*/ 113 w 466"/>
                <a:gd name="T83" fmla="*/ 4 h 4"/>
                <a:gd name="T84" fmla="*/ 65 w 466"/>
                <a:gd name="T85" fmla="*/ 4 h 4"/>
                <a:gd name="T86" fmla="*/ 65 w 466"/>
                <a:gd name="T87" fmla="*/ 0 h 4"/>
                <a:gd name="T88" fmla="*/ 83 w 466"/>
                <a:gd name="T89" fmla="*/ 2 h 4"/>
                <a:gd name="T90" fmla="*/ 49 w 466"/>
                <a:gd name="T91" fmla="*/ 4 h 4"/>
                <a:gd name="T92" fmla="*/ 32 w 466"/>
                <a:gd name="T93" fmla="*/ 2 h 4"/>
                <a:gd name="T94" fmla="*/ 49 w 466"/>
                <a:gd name="T95" fmla="*/ 0 h 4"/>
                <a:gd name="T96" fmla="*/ 49 w 466"/>
                <a:gd name="T97" fmla="*/ 4 h 4"/>
                <a:gd name="T98" fmla="*/ 1 w 466"/>
                <a:gd name="T99" fmla="*/ 4 h 4"/>
                <a:gd name="T100" fmla="*/ 1 w 466"/>
                <a:gd name="T101" fmla="*/ 0 h 4"/>
                <a:gd name="T102" fmla="*/ 19 w 466"/>
                <a:gd name="T10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6" h="4">
                  <a:moveTo>
                    <a:pt x="465" y="4"/>
                  </a:moveTo>
                  <a:cubicBezTo>
                    <a:pt x="449" y="4"/>
                    <a:pt x="449" y="4"/>
                    <a:pt x="449" y="4"/>
                  </a:cubicBezTo>
                  <a:cubicBezTo>
                    <a:pt x="448" y="4"/>
                    <a:pt x="448" y="3"/>
                    <a:pt x="448" y="2"/>
                  </a:cubicBezTo>
                  <a:cubicBezTo>
                    <a:pt x="448" y="1"/>
                    <a:pt x="448" y="0"/>
                    <a:pt x="449" y="0"/>
                  </a:cubicBezTo>
                  <a:cubicBezTo>
                    <a:pt x="465" y="0"/>
                    <a:pt x="465" y="0"/>
                    <a:pt x="465" y="0"/>
                  </a:cubicBezTo>
                  <a:cubicBezTo>
                    <a:pt x="466" y="0"/>
                    <a:pt x="466" y="1"/>
                    <a:pt x="466" y="2"/>
                  </a:cubicBezTo>
                  <a:cubicBezTo>
                    <a:pt x="466" y="3"/>
                    <a:pt x="466" y="4"/>
                    <a:pt x="465" y="4"/>
                  </a:cubicBezTo>
                  <a:close/>
                  <a:moveTo>
                    <a:pt x="433" y="4"/>
                  </a:moveTo>
                  <a:cubicBezTo>
                    <a:pt x="417" y="4"/>
                    <a:pt x="417" y="4"/>
                    <a:pt x="417" y="4"/>
                  </a:cubicBezTo>
                  <a:cubicBezTo>
                    <a:pt x="416" y="4"/>
                    <a:pt x="416" y="3"/>
                    <a:pt x="416" y="2"/>
                  </a:cubicBezTo>
                  <a:cubicBezTo>
                    <a:pt x="416" y="1"/>
                    <a:pt x="416" y="0"/>
                    <a:pt x="417" y="0"/>
                  </a:cubicBezTo>
                  <a:cubicBezTo>
                    <a:pt x="433" y="0"/>
                    <a:pt x="433" y="0"/>
                    <a:pt x="433" y="0"/>
                  </a:cubicBezTo>
                  <a:cubicBezTo>
                    <a:pt x="434" y="0"/>
                    <a:pt x="434" y="1"/>
                    <a:pt x="434" y="2"/>
                  </a:cubicBezTo>
                  <a:cubicBezTo>
                    <a:pt x="434" y="3"/>
                    <a:pt x="434" y="4"/>
                    <a:pt x="433" y="4"/>
                  </a:cubicBezTo>
                  <a:close/>
                  <a:moveTo>
                    <a:pt x="401" y="4"/>
                  </a:moveTo>
                  <a:cubicBezTo>
                    <a:pt x="385" y="4"/>
                    <a:pt x="385" y="4"/>
                    <a:pt x="385" y="4"/>
                  </a:cubicBezTo>
                  <a:cubicBezTo>
                    <a:pt x="384" y="4"/>
                    <a:pt x="384" y="3"/>
                    <a:pt x="384" y="2"/>
                  </a:cubicBezTo>
                  <a:cubicBezTo>
                    <a:pt x="384" y="1"/>
                    <a:pt x="384" y="0"/>
                    <a:pt x="385" y="0"/>
                  </a:cubicBezTo>
                  <a:cubicBezTo>
                    <a:pt x="401" y="0"/>
                    <a:pt x="401" y="0"/>
                    <a:pt x="401" y="0"/>
                  </a:cubicBezTo>
                  <a:cubicBezTo>
                    <a:pt x="402" y="0"/>
                    <a:pt x="402" y="1"/>
                    <a:pt x="402" y="2"/>
                  </a:cubicBezTo>
                  <a:cubicBezTo>
                    <a:pt x="402" y="3"/>
                    <a:pt x="402" y="4"/>
                    <a:pt x="401" y="4"/>
                  </a:cubicBezTo>
                  <a:close/>
                  <a:moveTo>
                    <a:pt x="369" y="4"/>
                  </a:moveTo>
                  <a:cubicBezTo>
                    <a:pt x="353" y="4"/>
                    <a:pt x="353" y="4"/>
                    <a:pt x="353" y="4"/>
                  </a:cubicBezTo>
                  <a:cubicBezTo>
                    <a:pt x="352" y="4"/>
                    <a:pt x="352" y="3"/>
                    <a:pt x="352" y="2"/>
                  </a:cubicBezTo>
                  <a:cubicBezTo>
                    <a:pt x="352" y="1"/>
                    <a:pt x="352" y="0"/>
                    <a:pt x="353" y="0"/>
                  </a:cubicBezTo>
                  <a:cubicBezTo>
                    <a:pt x="369" y="0"/>
                    <a:pt x="369" y="0"/>
                    <a:pt x="369" y="0"/>
                  </a:cubicBezTo>
                  <a:cubicBezTo>
                    <a:pt x="370" y="0"/>
                    <a:pt x="370" y="1"/>
                    <a:pt x="370" y="2"/>
                  </a:cubicBezTo>
                  <a:cubicBezTo>
                    <a:pt x="370" y="3"/>
                    <a:pt x="370" y="4"/>
                    <a:pt x="369" y="4"/>
                  </a:cubicBezTo>
                  <a:close/>
                  <a:moveTo>
                    <a:pt x="337" y="4"/>
                  </a:moveTo>
                  <a:cubicBezTo>
                    <a:pt x="321" y="4"/>
                    <a:pt x="321" y="4"/>
                    <a:pt x="321" y="4"/>
                  </a:cubicBezTo>
                  <a:cubicBezTo>
                    <a:pt x="320" y="4"/>
                    <a:pt x="320" y="3"/>
                    <a:pt x="320" y="2"/>
                  </a:cubicBezTo>
                  <a:cubicBezTo>
                    <a:pt x="320" y="1"/>
                    <a:pt x="320" y="0"/>
                    <a:pt x="321" y="0"/>
                  </a:cubicBezTo>
                  <a:cubicBezTo>
                    <a:pt x="337" y="0"/>
                    <a:pt x="337" y="0"/>
                    <a:pt x="337" y="0"/>
                  </a:cubicBezTo>
                  <a:cubicBezTo>
                    <a:pt x="338" y="0"/>
                    <a:pt x="338" y="1"/>
                    <a:pt x="338" y="2"/>
                  </a:cubicBezTo>
                  <a:cubicBezTo>
                    <a:pt x="338" y="3"/>
                    <a:pt x="338" y="4"/>
                    <a:pt x="337" y="4"/>
                  </a:cubicBezTo>
                  <a:close/>
                  <a:moveTo>
                    <a:pt x="305" y="4"/>
                  </a:moveTo>
                  <a:cubicBezTo>
                    <a:pt x="289" y="4"/>
                    <a:pt x="289" y="4"/>
                    <a:pt x="289" y="4"/>
                  </a:cubicBezTo>
                  <a:cubicBezTo>
                    <a:pt x="288" y="4"/>
                    <a:pt x="288" y="3"/>
                    <a:pt x="288" y="2"/>
                  </a:cubicBezTo>
                  <a:cubicBezTo>
                    <a:pt x="288" y="1"/>
                    <a:pt x="288" y="0"/>
                    <a:pt x="289" y="0"/>
                  </a:cubicBezTo>
                  <a:cubicBezTo>
                    <a:pt x="305" y="0"/>
                    <a:pt x="305" y="0"/>
                    <a:pt x="305" y="0"/>
                  </a:cubicBezTo>
                  <a:cubicBezTo>
                    <a:pt x="306" y="0"/>
                    <a:pt x="306" y="1"/>
                    <a:pt x="306" y="2"/>
                  </a:cubicBezTo>
                  <a:cubicBezTo>
                    <a:pt x="306" y="3"/>
                    <a:pt x="306" y="4"/>
                    <a:pt x="305" y="4"/>
                  </a:cubicBezTo>
                  <a:close/>
                  <a:moveTo>
                    <a:pt x="273" y="4"/>
                  </a:moveTo>
                  <a:cubicBezTo>
                    <a:pt x="257" y="4"/>
                    <a:pt x="257" y="4"/>
                    <a:pt x="257" y="4"/>
                  </a:cubicBezTo>
                  <a:cubicBezTo>
                    <a:pt x="256" y="4"/>
                    <a:pt x="256" y="3"/>
                    <a:pt x="256" y="2"/>
                  </a:cubicBezTo>
                  <a:cubicBezTo>
                    <a:pt x="256" y="1"/>
                    <a:pt x="256" y="0"/>
                    <a:pt x="257" y="0"/>
                  </a:cubicBezTo>
                  <a:cubicBezTo>
                    <a:pt x="273" y="0"/>
                    <a:pt x="273" y="0"/>
                    <a:pt x="273" y="0"/>
                  </a:cubicBezTo>
                  <a:cubicBezTo>
                    <a:pt x="274" y="0"/>
                    <a:pt x="274" y="1"/>
                    <a:pt x="274" y="2"/>
                  </a:cubicBezTo>
                  <a:cubicBezTo>
                    <a:pt x="274" y="3"/>
                    <a:pt x="274" y="4"/>
                    <a:pt x="273" y="4"/>
                  </a:cubicBezTo>
                  <a:close/>
                  <a:moveTo>
                    <a:pt x="241" y="4"/>
                  </a:moveTo>
                  <a:cubicBezTo>
                    <a:pt x="225" y="4"/>
                    <a:pt x="225" y="4"/>
                    <a:pt x="225" y="4"/>
                  </a:cubicBezTo>
                  <a:cubicBezTo>
                    <a:pt x="224" y="4"/>
                    <a:pt x="224" y="3"/>
                    <a:pt x="224" y="2"/>
                  </a:cubicBezTo>
                  <a:cubicBezTo>
                    <a:pt x="224" y="1"/>
                    <a:pt x="224" y="0"/>
                    <a:pt x="225" y="0"/>
                  </a:cubicBezTo>
                  <a:cubicBezTo>
                    <a:pt x="241" y="0"/>
                    <a:pt x="241" y="0"/>
                    <a:pt x="241" y="0"/>
                  </a:cubicBezTo>
                  <a:cubicBezTo>
                    <a:pt x="242" y="0"/>
                    <a:pt x="242" y="1"/>
                    <a:pt x="242" y="2"/>
                  </a:cubicBezTo>
                  <a:cubicBezTo>
                    <a:pt x="242" y="3"/>
                    <a:pt x="242" y="4"/>
                    <a:pt x="241" y="4"/>
                  </a:cubicBezTo>
                  <a:close/>
                  <a:moveTo>
                    <a:pt x="209" y="4"/>
                  </a:moveTo>
                  <a:cubicBezTo>
                    <a:pt x="193" y="4"/>
                    <a:pt x="193" y="4"/>
                    <a:pt x="193" y="4"/>
                  </a:cubicBezTo>
                  <a:cubicBezTo>
                    <a:pt x="192" y="4"/>
                    <a:pt x="192" y="3"/>
                    <a:pt x="192" y="2"/>
                  </a:cubicBezTo>
                  <a:cubicBezTo>
                    <a:pt x="192" y="1"/>
                    <a:pt x="192" y="0"/>
                    <a:pt x="193" y="0"/>
                  </a:cubicBezTo>
                  <a:cubicBezTo>
                    <a:pt x="209" y="0"/>
                    <a:pt x="209" y="0"/>
                    <a:pt x="209" y="0"/>
                  </a:cubicBezTo>
                  <a:cubicBezTo>
                    <a:pt x="210" y="0"/>
                    <a:pt x="210" y="1"/>
                    <a:pt x="210" y="2"/>
                  </a:cubicBezTo>
                  <a:cubicBezTo>
                    <a:pt x="210" y="3"/>
                    <a:pt x="210" y="4"/>
                    <a:pt x="209" y="4"/>
                  </a:cubicBezTo>
                  <a:close/>
                  <a:moveTo>
                    <a:pt x="177" y="4"/>
                  </a:moveTo>
                  <a:cubicBezTo>
                    <a:pt x="161" y="4"/>
                    <a:pt x="161" y="4"/>
                    <a:pt x="161" y="4"/>
                  </a:cubicBezTo>
                  <a:cubicBezTo>
                    <a:pt x="160" y="4"/>
                    <a:pt x="160" y="3"/>
                    <a:pt x="160" y="2"/>
                  </a:cubicBezTo>
                  <a:cubicBezTo>
                    <a:pt x="160" y="1"/>
                    <a:pt x="160" y="0"/>
                    <a:pt x="161" y="0"/>
                  </a:cubicBezTo>
                  <a:cubicBezTo>
                    <a:pt x="177" y="0"/>
                    <a:pt x="177" y="0"/>
                    <a:pt x="177" y="0"/>
                  </a:cubicBezTo>
                  <a:cubicBezTo>
                    <a:pt x="178" y="0"/>
                    <a:pt x="178" y="1"/>
                    <a:pt x="178" y="2"/>
                  </a:cubicBezTo>
                  <a:cubicBezTo>
                    <a:pt x="178" y="3"/>
                    <a:pt x="178" y="4"/>
                    <a:pt x="177" y="4"/>
                  </a:cubicBezTo>
                  <a:close/>
                  <a:moveTo>
                    <a:pt x="145" y="4"/>
                  </a:moveTo>
                  <a:cubicBezTo>
                    <a:pt x="129" y="4"/>
                    <a:pt x="129" y="4"/>
                    <a:pt x="129" y="4"/>
                  </a:cubicBezTo>
                  <a:cubicBezTo>
                    <a:pt x="128" y="4"/>
                    <a:pt x="128" y="3"/>
                    <a:pt x="128" y="2"/>
                  </a:cubicBezTo>
                  <a:cubicBezTo>
                    <a:pt x="128" y="1"/>
                    <a:pt x="128" y="0"/>
                    <a:pt x="129" y="0"/>
                  </a:cubicBezTo>
                  <a:cubicBezTo>
                    <a:pt x="145" y="0"/>
                    <a:pt x="145" y="0"/>
                    <a:pt x="145" y="0"/>
                  </a:cubicBezTo>
                  <a:cubicBezTo>
                    <a:pt x="146" y="0"/>
                    <a:pt x="146" y="1"/>
                    <a:pt x="146" y="2"/>
                  </a:cubicBezTo>
                  <a:cubicBezTo>
                    <a:pt x="146" y="3"/>
                    <a:pt x="146" y="4"/>
                    <a:pt x="145" y="4"/>
                  </a:cubicBezTo>
                  <a:close/>
                  <a:moveTo>
                    <a:pt x="113" y="4"/>
                  </a:moveTo>
                  <a:cubicBezTo>
                    <a:pt x="97" y="4"/>
                    <a:pt x="97" y="4"/>
                    <a:pt x="97" y="4"/>
                  </a:cubicBezTo>
                  <a:cubicBezTo>
                    <a:pt x="96" y="4"/>
                    <a:pt x="96" y="3"/>
                    <a:pt x="96" y="2"/>
                  </a:cubicBezTo>
                  <a:cubicBezTo>
                    <a:pt x="96" y="1"/>
                    <a:pt x="96" y="0"/>
                    <a:pt x="97" y="0"/>
                  </a:cubicBezTo>
                  <a:cubicBezTo>
                    <a:pt x="113" y="0"/>
                    <a:pt x="113" y="0"/>
                    <a:pt x="113" y="0"/>
                  </a:cubicBezTo>
                  <a:cubicBezTo>
                    <a:pt x="114" y="0"/>
                    <a:pt x="115" y="1"/>
                    <a:pt x="115" y="2"/>
                  </a:cubicBezTo>
                  <a:cubicBezTo>
                    <a:pt x="115" y="3"/>
                    <a:pt x="114" y="4"/>
                    <a:pt x="113" y="4"/>
                  </a:cubicBezTo>
                  <a:close/>
                  <a:moveTo>
                    <a:pt x="81" y="4"/>
                  </a:moveTo>
                  <a:cubicBezTo>
                    <a:pt x="65" y="4"/>
                    <a:pt x="65" y="4"/>
                    <a:pt x="65" y="4"/>
                  </a:cubicBezTo>
                  <a:cubicBezTo>
                    <a:pt x="65" y="4"/>
                    <a:pt x="64" y="3"/>
                    <a:pt x="64" y="2"/>
                  </a:cubicBezTo>
                  <a:cubicBezTo>
                    <a:pt x="64" y="1"/>
                    <a:pt x="65" y="0"/>
                    <a:pt x="65" y="0"/>
                  </a:cubicBezTo>
                  <a:cubicBezTo>
                    <a:pt x="81" y="0"/>
                    <a:pt x="81" y="0"/>
                    <a:pt x="81" y="0"/>
                  </a:cubicBezTo>
                  <a:cubicBezTo>
                    <a:pt x="82" y="0"/>
                    <a:pt x="83" y="1"/>
                    <a:pt x="83" y="2"/>
                  </a:cubicBezTo>
                  <a:cubicBezTo>
                    <a:pt x="83" y="3"/>
                    <a:pt x="82" y="4"/>
                    <a:pt x="81" y="4"/>
                  </a:cubicBezTo>
                  <a:close/>
                  <a:moveTo>
                    <a:pt x="49" y="4"/>
                  </a:moveTo>
                  <a:cubicBezTo>
                    <a:pt x="33" y="4"/>
                    <a:pt x="33" y="4"/>
                    <a:pt x="33" y="4"/>
                  </a:cubicBezTo>
                  <a:cubicBezTo>
                    <a:pt x="33" y="4"/>
                    <a:pt x="32" y="3"/>
                    <a:pt x="32" y="2"/>
                  </a:cubicBezTo>
                  <a:cubicBezTo>
                    <a:pt x="32" y="1"/>
                    <a:pt x="33" y="0"/>
                    <a:pt x="33" y="0"/>
                  </a:cubicBezTo>
                  <a:cubicBezTo>
                    <a:pt x="49" y="0"/>
                    <a:pt x="49" y="0"/>
                    <a:pt x="49" y="0"/>
                  </a:cubicBezTo>
                  <a:cubicBezTo>
                    <a:pt x="50" y="0"/>
                    <a:pt x="51" y="1"/>
                    <a:pt x="51" y="2"/>
                  </a:cubicBezTo>
                  <a:cubicBezTo>
                    <a:pt x="51" y="3"/>
                    <a:pt x="50" y="4"/>
                    <a:pt x="49" y="4"/>
                  </a:cubicBezTo>
                  <a:close/>
                  <a:moveTo>
                    <a:pt x="17" y="4"/>
                  </a:moveTo>
                  <a:cubicBezTo>
                    <a:pt x="1" y="4"/>
                    <a:pt x="1" y="4"/>
                    <a:pt x="1" y="4"/>
                  </a:cubicBezTo>
                  <a:cubicBezTo>
                    <a:pt x="1" y="4"/>
                    <a:pt x="0" y="3"/>
                    <a:pt x="0" y="2"/>
                  </a:cubicBezTo>
                  <a:cubicBezTo>
                    <a:pt x="0" y="1"/>
                    <a:pt x="1" y="0"/>
                    <a:pt x="1" y="0"/>
                  </a:cubicBezTo>
                  <a:cubicBezTo>
                    <a:pt x="17" y="0"/>
                    <a:pt x="17" y="0"/>
                    <a:pt x="17" y="0"/>
                  </a:cubicBezTo>
                  <a:cubicBezTo>
                    <a:pt x="18" y="0"/>
                    <a:pt x="19" y="1"/>
                    <a:pt x="19" y="2"/>
                  </a:cubicBezTo>
                  <a:cubicBezTo>
                    <a:pt x="19" y="3"/>
                    <a:pt x="18" y="4"/>
                    <a:pt x="17"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5" name="Freeform 325">
              <a:extLst>
                <a:ext uri="{FF2B5EF4-FFF2-40B4-BE49-F238E27FC236}">
                  <a16:creationId xmlns:a16="http://schemas.microsoft.com/office/drawing/2014/main" id="{5AACF0BB-2D8E-4D61-8BE7-87E3808052CE}"/>
                </a:ext>
              </a:extLst>
            </p:cNvPr>
            <p:cNvSpPr>
              <a:spLocks/>
            </p:cNvSpPr>
            <p:nvPr/>
          </p:nvSpPr>
          <p:spPr bwMode="auto">
            <a:xfrm>
              <a:off x="7254874"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10" y="0"/>
                    <a:pt x="10" y="1"/>
                    <a:pt x="10" y="2"/>
                  </a:cubicBezTo>
                  <a:cubicBezTo>
                    <a:pt x="10" y="3"/>
                    <a:pt x="10"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6" name="Freeform 326">
              <a:extLst>
                <a:ext uri="{FF2B5EF4-FFF2-40B4-BE49-F238E27FC236}">
                  <a16:creationId xmlns:a16="http://schemas.microsoft.com/office/drawing/2014/main" id="{FA268C8D-6696-43E0-9770-525176CBDC38}"/>
                </a:ext>
              </a:extLst>
            </p:cNvPr>
            <p:cNvSpPr>
              <a:spLocks/>
            </p:cNvSpPr>
            <p:nvPr/>
          </p:nvSpPr>
          <p:spPr bwMode="auto">
            <a:xfrm>
              <a:off x="7300586" y="4496350"/>
              <a:ext cx="47998" cy="18285"/>
            </a:xfrm>
            <a:custGeom>
              <a:avLst/>
              <a:gdLst>
                <a:gd name="T0" fmla="*/ 10 w 11"/>
                <a:gd name="T1" fmla="*/ 4 h 4"/>
                <a:gd name="T2" fmla="*/ 2 w 11"/>
                <a:gd name="T3" fmla="*/ 4 h 4"/>
                <a:gd name="T4" fmla="*/ 0 w 11"/>
                <a:gd name="T5" fmla="*/ 2 h 4"/>
                <a:gd name="T6" fmla="*/ 2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2" y="4"/>
                    <a:pt x="2" y="4"/>
                    <a:pt x="2" y="4"/>
                  </a:cubicBezTo>
                  <a:cubicBezTo>
                    <a:pt x="1" y="4"/>
                    <a:pt x="0" y="3"/>
                    <a:pt x="0" y="2"/>
                  </a:cubicBezTo>
                  <a:cubicBezTo>
                    <a:pt x="0" y="1"/>
                    <a:pt x="1" y="0"/>
                    <a:pt x="2" y="0"/>
                  </a:cubicBezTo>
                  <a:cubicBezTo>
                    <a:pt x="10" y="0"/>
                    <a:pt x="10" y="0"/>
                    <a:pt x="10" y="0"/>
                  </a:cubicBezTo>
                  <a:cubicBezTo>
                    <a:pt x="10" y="0"/>
                    <a:pt x="11" y="1"/>
                    <a:pt x="11" y="2"/>
                  </a:cubicBezTo>
                  <a:cubicBezTo>
                    <a:pt x="11" y="3"/>
                    <a:pt x="10" y="4"/>
                    <a:pt x="1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7" name="Freeform 327">
              <a:extLst>
                <a:ext uri="{FF2B5EF4-FFF2-40B4-BE49-F238E27FC236}">
                  <a16:creationId xmlns:a16="http://schemas.microsoft.com/office/drawing/2014/main" id="{43BD2AE2-C3D0-49CA-9EE9-17BBE4500541}"/>
                </a:ext>
              </a:extLst>
            </p:cNvPr>
            <p:cNvSpPr>
              <a:spLocks noEditPoints="1"/>
            </p:cNvSpPr>
            <p:nvPr/>
          </p:nvSpPr>
          <p:spPr bwMode="auto">
            <a:xfrm>
              <a:off x="7410295" y="4496350"/>
              <a:ext cx="1631915" cy="18285"/>
            </a:xfrm>
            <a:custGeom>
              <a:avLst/>
              <a:gdLst>
                <a:gd name="T0" fmla="*/ 353 w 370"/>
                <a:gd name="T1" fmla="*/ 4 h 4"/>
                <a:gd name="T2" fmla="*/ 353 w 370"/>
                <a:gd name="T3" fmla="*/ 0 h 4"/>
                <a:gd name="T4" fmla="*/ 370 w 370"/>
                <a:gd name="T5" fmla="*/ 2 h 4"/>
                <a:gd name="T6" fmla="*/ 337 w 370"/>
                <a:gd name="T7" fmla="*/ 4 h 4"/>
                <a:gd name="T8" fmla="*/ 320 w 370"/>
                <a:gd name="T9" fmla="*/ 2 h 4"/>
                <a:gd name="T10" fmla="*/ 337 w 370"/>
                <a:gd name="T11" fmla="*/ 0 h 4"/>
                <a:gd name="T12" fmla="*/ 337 w 370"/>
                <a:gd name="T13" fmla="*/ 4 h 4"/>
                <a:gd name="T14" fmla="*/ 289 w 370"/>
                <a:gd name="T15" fmla="*/ 4 h 4"/>
                <a:gd name="T16" fmla="*/ 289 w 370"/>
                <a:gd name="T17" fmla="*/ 0 h 4"/>
                <a:gd name="T18" fmla="*/ 306 w 370"/>
                <a:gd name="T19" fmla="*/ 2 h 4"/>
                <a:gd name="T20" fmla="*/ 273 w 370"/>
                <a:gd name="T21" fmla="*/ 4 h 4"/>
                <a:gd name="T22" fmla="*/ 256 w 370"/>
                <a:gd name="T23" fmla="*/ 2 h 4"/>
                <a:gd name="T24" fmla="*/ 273 w 370"/>
                <a:gd name="T25" fmla="*/ 0 h 4"/>
                <a:gd name="T26" fmla="*/ 273 w 370"/>
                <a:gd name="T27" fmla="*/ 4 h 4"/>
                <a:gd name="T28" fmla="*/ 225 w 370"/>
                <a:gd name="T29" fmla="*/ 4 h 4"/>
                <a:gd name="T30" fmla="*/ 225 w 370"/>
                <a:gd name="T31" fmla="*/ 0 h 4"/>
                <a:gd name="T32" fmla="*/ 243 w 370"/>
                <a:gd name="T33" fmla="*/ 2 h 4"/>
                <a:gd name="T34" fmla="*/ 209 w 370"/>
                <a:gd name="T35" fmla="*/ 4 h 4"/>
                <a:gd name="T36" fmla="*/ 192 w 370"/>
                <a:gd name="T37" fmla="*/ 2 h 4"/>
                <a:gd name="T38" fmla="*/ 209 w 370"/>
                <a:gd name="T39" fmla="*/ 0 h 4"/>
                <a:gd name="T40" fmla="*/ 209 w 370"/>
                <a:gd name="T41" fmla="*/ 4 h 4"/>
                <a:gd name="T42" fmla="*/ 161 w 370"/>
                <a:gd name="T43" fmla="*/ 4 h 4"/>
                <a:gd name="T44" fmla="*/ 161 w 370"/>
                <a:gd name="T45" fmla="*/ 0 h 4"/>
                <a:gd name="T46" fmla="*/ 179 w 370"/>
                <a:gd name="T47" fmla="*/ 2 h 4"/>
                <a:gd name="T48" fmla="*/ 145 w 370"/>
                <a:gd name="T49" fmla="*/ 4 h 4"/>
                <a:gd name="T50" fmla="*/ 128 w 370"/>
                <a:gd name="T51" fmla="*/ 2 h 4"/>
                <a:gd name="T52" fmla="*/ 145 w 370"/>
                <a:gd name="T53" fmla="*/ 0 h 4"/>
                <a:gd name="T54" fmla="*/ 145 w 370"/>
                <a:gd name="T55" fmla="*/ 4 h 4"/>
                <a:gd name="T56" fmla="*/ 97 w 370"/>
                <a:gd name="T57" fmla="*/ 4 h 4"/>
                <a:gd name="T58" fmla="*/ 97 w 370"/>
                <a:gd name="T59" fmla="*/ 0 h 4"/>
                <a:gd name="T60" fmla="*/ 115 w 370"/>
                <a:gd name="T61" fmla="*/ 2 h 4"/>
                <a:gd name="T62" fmla="*/ 81 w 370"/>
                <a:gd name="T63" fmla="*/ 4 h 4"/>
                <a:gd name="T64" fmla="*/ 64 w 370"/>
                <a:gd name="T65" fmla="*/ 2 h 4"/>
                <a:gd name="T66" fmla="*/ 81 w 370"/>
                <a:gd name="T67" fmla="*/ 0 h 4"/>
                <a:gd name="T68" fmla="*/ 81 w 370"/>
                <a:gd name="T69" fmla="*/ 4 h 4"/>
                <a:gd name="T70" fmla="*/ 33 w 370"/>
                <a:gd name="T71" fmla="*/ 4 h 4"/>
                <a:gd name="T72" fmla="*/ 33 w 370"/>
                <a:gd name="T73" fmla="*/ 0 h 4"/>
                <a:gd name="T74" fmla="*/ 51 w 370"/>
                <a:gd name="T75" fmla="*/ 2 h 4"/>
                <a:gd name="T76" fmla="*/ 17 w 370"/>
                <a:gd name="T77" fmla="*/ 4 h 4"/>
                <a:gd name="T78" fmla="*/ 0 w 370"/>
                <a:gd name="T79" fmla="*/ 2 h 4"/>
                <a:gd name="T80" fmla="*/ 17 w 370"/>
                <a:gd name="T81" fmla="*/ 0 h 4"/>
                <a:gd name="T82" fmla="*/ 17 w 370"/>
                <a:gd name="T8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0" h="4">
                  <a:moveTo>
                    <a:pt x="369" y="4"/>
                  </a:moveTo>
                  <a:cubicBezTo>
                    <a:pt x="353" y="4"/>
                    <a:pt x="353" y="4"/>
                    <a:pt x="353" y="4"/>
                  </a:cubicBezTo>
                  <a:cubicBezTo>
                    <a:pt x="352" y="4"/>
                    <a:pt x="352" y="3"/>
                    <a:pt x="352" y="2"/>
                  </a:cubicBezTo>
                  <a:cubicBezTo>
                    <a:pt x="352" y="1"/>
                    <a:pt x="352" y="0"/>
                    <a:pt x="353" y="0"/>
                  </a:cubicBezTo>
                  <a:cubicBezTo>
                    <a:pt x="369" y="0"/>
                    <a:pt x="369" y="0"/>
                    <a:pt x="369" y="0"/>
                  </a:cubicBezTo>
                  <a:cubicBezTo>
                    <a:pt x="370" y="0"/>
                    <a:pt x="370" y="1"/>
                    <a:pt x="370" y="2"/>
                  </a:cubicBezTo>
                  <a:cubicBezTo>
                    <a:pt x="370" y="3"/>
                    <a:pt x="370" y="4"/>
                    <a:pt x="369" y="4"/>
                  </a:cubicBezTo>
                  <a:close/>
                  <a:moveTo>
                    <a:pt x="337" y="4"/>
                  </a:moveTo>
                  <a:cubicBezTo>
                    <a:pt x="321" y="4"/>
                    <a:pt x="321" y="4"/>
                    <a:pt x="321" y="4"/>
                  </a:cubicBezTo>
                  <a:cubicBezTo>
                    <a:pt x="320" y="4"/>
                    <a:pt x="320" y="3"/>
                    <a:pt x="320" y="2"/>
                  </a:cubicBezTo>
                  <a:cubicBezTo>
                    <a:pt x="320" y="1"/>
                    <a:pt x="320" y="0"/>
                    <a:pt x="321" y="0"/>
                  </a:cubicBezTo>
                  <a:cubicBezTo>
                    <a:pt x="337" y="0"/>
                    <a:pt x="337" y="0"/>
                    <a:pt x="337" y="0"/>
                  </a:cubicBezTo>
                  <a:cubicBezTo>
                    <a:pt x="338" y="0"/>
                    <a:pt x="338" y="1"/>
                    <a:pt x="338" y="2"/>
                  </a:cubicBezTo>
                  <a:cubicBezTo>
                    <a:pt x="338" y="3"/>
                    <a:pt x="338" y="4"/>
                    <a:pt x="337" y="4"/>
                  </a:cubicBezTo>
                  <a:close/>
                  <a:moveTo>
                    <a:pt x="305" y="4"/>
                  </a:moveTo>
                  <a:cubicBezTo>
                    <a:pt x="289" y="4"/>
                    <a:pt x="289" y="4"/>
                    <a:pt x="289" y="4"/>
                  </a:cubicBezTo>
                  <a:cubicBezTo>
                    <a:pt x="288" y="4"/>
                    <a:pt x="288" y="3"/>
                    <a:pt x="288" y="2"/>
                  </a:cubicBezTo>
                  <a:cubicBezTo>
                    <a:pt x="288" y="1"/>
                    <a:pt x="288" y="0"/>
                    <a:pt x="289" y="0"/>
                  </a:cubicBezTo>
                  <a:cubicBezTo>
                    <a:pt x="305" y="0"/>
                    <a:pt x="305" y="0"/>
                    <a:pt x="305" y="0"/>
                  </a:cubicBezTo>
                  <a:cubicBezTo>
                    <a:pt x="306" y="0"/>
                    <a:pt x="306" y="1"/>
                    <a:pt x="306" y="2"/>
                  </a:cubicBezTo>
                  <a:cubicBezTo>
                    <a:pt x="306" y="3"/>
                    <a:pt x="306" y="4"/>
                    <a:pt x="305" y="4"/>
                  </a:cubicBezTo>
                  <a:close/>
                  <a:moveTo>
                    <a:pt x="273" y="4"/>
                  </a:moveTo>
                  <a:cubicBezTo>
                    <a:pt x="257" y="4"/>
                    <a:pt x="257" y="4"/>
                    <a:pt x="257" y="4"/>
                  </a:cubicBezTo>
                  <a:cubicBezTo>
                    <a:pt x="256" y="4"/>
                    <a:pt x="256" y="3"/>
                    <a:pt x="256" y="2"/>
                  </a:cubicBezTo>
                  <a:cubicBezTo>
                    <a:pt x="256" y="1"/>
                    <a:pt x="256" y="0"/>
                    <a:pt x="257" y="0"/>
                  </a:cubicBezTo>
                  <a:cubicBezTo>
                    <a:pt x="273" y="0"/>
                    <a:pt x="273" y="0"/>
                    <a:pt x="273" y="0"/>
                  </a:cubicBezTo>
                  <a:cubicBezTo>
                    <a:pt x="274" y="0"/>
                    <a:pt x="275" y="1"/>
                    <a:pt x="275" y="2"/>
                  </a:cubicBezTo>
                  <a:cubicBezTo>
                    <a:pt x="275" y="3"/>
                    <a:pt x="274" y="4"/>
                    <a:pt x="273" y="4"/>
                  </a:cubicBezTo>
                  <a:close/>
                  <a:moveTo>
                    <a:pt x="241" y="4"/>
                  </a:moveTo>
                  <a:cubicBezTo>
                    <a:pt x="225" y="4"/>
                    <a:pt x="225" y="4"/>
                    <a:pt x="225" y="4"/>
                  </a:cubicBezTo>
                  <a:cubicBezTo>
                    <a:pt x="224" y="4"/>
                    <a:pt x="224" y="3"/>
                    <a:pt x="224" y="2"/>
                  </a:cubicBezTo>
                  <a:cubicBezTo>
                    <a:pt x="224" y="1"/>
                    <a:pt x="224" y="0"/>
                    <a:pt x="225" y="0"/>
                  </a:cubicBezTo>
                  <a:cubicBezTo>
                    <a:pt x="241" y="0"/>
                    <a:pt x="241" y="0"/>
                    <a:pt x="241" y="0"/>
                  </a:cubicBezTo>
                  <a:cubicBezTo>
                    <a:pt x="242" y="0"/>
                    <a:pt x="243" y="1"/>
                    <a:pt x="243" y="2"/>
                  </a:cubicBezTo>
                  <a:cubicBezTo>
                    <a:pt x="243" y="3"/>
                    <a:pt x="242" y="4"/>
                    <a:pt x="241" y="4"/>
                  </a:cubicBezTo>
                  <a:close/>
                  <a:moveTo>
                    <a:pt x="209" y="4"/>
                  </a:moveTo>
                  <a:cubicBezTo>
                    <a:pt x="193" y="4"/>
                    <a:pt x="193" y="4"/>
                    <a:pt x="193" y="4"/>
                  </a:cubicBezTo>
                  <a:cubicBezTo>
                    <a:pt x="192" y="4"/>
                    <a:pt x="192" y="3"/>
                    <a:pt x="192" y="2"/>
                  </a:cubicBezTo>
                  <a:cubicBezTo>
                    <a:pt x="192" y="1"/>
                    <a:pt x="192" y="0"/>
                    <a:pt x="193" y="0"/>
                  </a:cubicBezTo>
                  <a:cubicBezTo>
                    <a:pt x="209" y="0"/>
                    <a:pt x="209" y="0"/>
                    <a:pt x="209" y="0"/>
                  </a:cubicBezTo>
                  <a:cubicBezTo>
                    <a:pt x="210" y="0"/>
                    <a:pt x="211" y="1"/>
                    <a:pt x="211" y="2"/>
                  </a:cubicBezTo>
                  <a:cubicBezTo>
                    <a:pt x="211" y="3"/>
                    <a:pt x="210" y="4"/>
                    <a:pt x="209" y="4"/>
                  </a:cubicBezTo>
                  <a:close/>
                  <a:moveTo>
                    <a:pt x="177" y="4"/>
                  </a:moveTo>
                  <a:cubicBezTo>
                    <a:pt x="161" y="4"/>
                    <a:pt x="161" y="4"/>
                    <a:pt x="161" y="4"/>
                  </a:cubicBezTo>
                  <a:cubicBezTo>
                    <a:pt x="160" y="4"/>
                    <a:pt x="160" y="3"/>
                    <a:pt x="160" y="2"/>
                  </a:cubicBezTo>
                  <a:cubicBezTo>
                    <a:pt x="160" y="1"/>
                    <a:pt x="160" y="0"/>
                    <a:pt x="161" y="0"/>
                  </a:cubicBezTo>
                  <a:cubicBezTo>
                    <a:pt x="177" y="0"/>
                    <a:pt x="177" y="0"/>
                    <a:pt x="177" y="0"/>
                  </a:cubicBezTo>
                  <a:cubicBezTo>
                    <a:pt x="178" y="0"/>
                    <a:pt x="179" y="1"/>
                    <a:pt x="179" y="2"/>
                  </a:cubicBezTo>
                  <a:cubicBezTo>
                    <a:pt x="179" y="3"/>
                    <a:pt x="178" y="4"/>
                    <a:pt x="177" y="4"/>
                  </a:cubicBezTo>
                  <a:close/>
                  <a:moveTo>
                    <a:pt x="145" y="4"/>
                  </a:moveTo>
                  <a:cubicBezTo>
                    <a:pt x="129" y="4"/>
                    <a:pt x="129" y="4"/>
                    <a:pt x="129" y="4"/>
                  </a:cubicBezTo>
                  <a:cubicBezTo>
                    <a:pt x="128" y="4"/>
                    <a:pt x="128" y="3"/>
                    <a:pt x="128" y="2"/>
                  </a:cubicBezTo>
                  <a:cubicBezTo>
                    <a:pt x="128" y="1"/>
                    <a:pt x="128" y="0"/>
                    <a:pt x="129" y="0"/>
                  </a:cubicBezTo>
                  <a:cubicBezTo>
                    <a:pt x="145" y="0"/>
                    <a:pt x="145" y="0"/>
                    <a:pt x="145" y="0"/>
                  </a:cubicBezTo>
                  <a:cubicBezTo>
                    <a:pt x="146" y="0"/>
                    <a:pt x="147" y="1"/>
                    <a:pt x="147" y="2"/>
                  </a:cubicBezTo>
                  <a:cubicBezTo>
                    <a:pt x="147" y="3"/>
                    <a:pt x="146" y="4"/>
                    <a:pt x="145" y="4"/>
                  </a:cubicBezTo>
                  <a:close/>
                  <a:moveTo>
                    <a:pt x="113" y="4"/>
                  </a:moveTo>
                  <a:cubicBezTo>
                    <a:pt x="97" y="4"/>
                    <a:pt x="97" y="4"/>
                    <a:pt x="97" y="4"/>
                  </a:cubicBezTo>
                  <a:cubicBezTo>
                    <a:pt x="96" y="4"/>
                    <a:pt x="96" y="3"/>
                    <a:pt x="96" y="2"/>
                  </a:cubicBezTo>
                  <a:cubicBezTo>
                    <a:pt x="96" y="1"/>
                    <a:pt x="96" y="0"/>
                    <a:pt x="97" y="0"/>
                  </a:cubicBezTo>
                  <a:cubicBezTo>
                    <a:pt x="113" y="0"/>
                    <a:pt x="113" y="0"/>
                    <a:pt x="113" y="0"/>
                  </a:cubicBezTo>
                  <a:cubicBezTo>
                    <a:pt x="114" y="0"/>
                    <a:pt x="115" y="1"/>
                    <a:pt x="115" y="2"/>
                  </a:cubicBezTo>
                  <a:cubicBezTo>
                    <a:pt x="115" y="3"/>
                    <a:pt x="114" y="4"/>
                    <a:pt x="113" y="4"/>
                  </a:cubicBezTo>
                  <a:close/>
                  <a:moveTo>
                    <a:pt x="81" y="4"/>
                  </a:moveTo>
                  <a:cubicBezTo>
                    <a:pt x="65" y="4"/>
                    <a:pt x="65" y="4"/>
                    <a:pt x="65" y="4"/>
                  </a:cubicBezTo>
                  <a:cubicBezTo>
                    <a:pt x="65" y="4"/>
                    <a:pt x="64" y="3"/>
                    <a:pt x="64" y="2"/>
                  </a:cubicBezTo>
                  <a:cubicBezTo>
                    <a:pt x="64" y="1"/>
                    <a:pt x="65" y="0"/>
                    <a:pt x="65" y="0"/>
                  </a:cubicBezTo>
                  <a:cubicBezTo>
                    <a:pt x="81" y="0"/>
                    <a:pt x="81" y="0"/>
                    <a:pt x="81" y="0"/>
                  </a:cubicBezTo>
                  <a:cubicBezTo>
                    <a:pt x="82" y="0"/>
                    <a:pt x="83" y="1"/>
                    <a:pt x="83" y="2"/>
                  </a:cubicBezTo>
                  <a:cubicBezTo>
                    <a:pt x="83" y="3"/>
                    <a:pt x="82" y="4"/>
                    <a:pt x="81" y="4"/>
                  </a:cubicBezTo>
                  <a:close/>
                  <a:moveTo>
                    <a:pt x="49" y="4"/>
                  </a:moveTo>
                  <a:cubicBezTo>
                    <a:pt x="33" y="4"/>
                    <a:pt x="33" y="4"/>
                    <a:pt x="33" y="4"/>
                  </a:cubicBezTo>
                  <a:cubicBezTo>
                    <a:pt x="33" y="4"/>
                    <a:pt x="32" y="3"/>
                    <a:pt x="32" y="2"/>
                  </a:cubicBezTo>
                  <a:cubicBezTo>
                    <a:pt x="32" y="1"/>
                    <a:pt x="33" y="0"/>
                    <a:pt x="33" y="0"/>
                  </a:cubicBezTo>
                  <a:cubicBezTo>
                    <a:pt x="49" y="0"/>
                    <a:pt x="49" y="0"/>
                    <a:pt x="49" y="0"/>
                  </a:cubicBezTo>
                  <a:cubicBezTo>
                    <a:pt x="50" y="0"/>
                    <a:pt x="51" y="1"/>
                    <a:pt x="51" y="2"/>
                  </a:cubicBezTo>
                  <a:cubicBezTo>
                    <a:pt x="51" y="3"/>
                    <a:pt x="50" y="4"/>
                    <a:pt x="49" y="4"/>
                  </a:cubicBezTo>
                  <a:close/>
                  <a:moveTo>
                    <a:pt x="17" y="4"/>
                  </a:moveTo>
                  <a:cubicBezTo>
                    <a:pt x="1" y="4"/>
                    <a:pt x="1" y="4"/>
                    <a:pt x="1" y="4"/>
                  </a:cubicBezTo>
                  <a:cubicBezTo>
                    <a:pt x="1" y="4"/>
                    <a:pt x="0" y="3"/>
                    <a:pt x="0" y="2"/>
                  </a:cubicBezTo>
                  <a:cubicBezTo>
                    <a:pt x="0" y="1"/>
                    <a:pt x="1" y="0"/>
                    <a:pt x="1" y="0"/>
                  </a:cubicBezTo>
                  <a:cubicBezTo>
                    <a:pt x="17" y="0"/>
                    <a:pt x="17" y="0"/>
                    <a:pt x="17" y="0"/>
                  </a:cubicBezTo>
                  <a:cubicBezTo>
                    <a:pt x="18" y="0"/>
                    <a:pt x="19" y="1"/>
                    <a:pt x="19" y="2"/>
                  </a:cubicBezTo>
                  <a:cubicBezTo>
                    <a:pt x="19" y="3"/>
                    <a:pt x="18" y="4"/>
                    <a:pt x="17"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8" name="Freeform 328">
              <a:extLst>
                <a:ext uri="{FF2B5EF4-FFF2-40B4-BE49-F238E27FC236}">
                  <a16:creationId xmlns:a16="http://schemas.microsoft.com/office/drawing/2014/main" id="{14988451-F18A-4222-9D28-22D5B44ABEEF}"/>
                </a:ext>
              </a:extLst>
            </p:cNvPr>
            <p:cNvSpPr>
              <a:spLocks/>
            </p:cNvSpPr>
            <p:nvPr/>
          </p:nvSpPr>
          <p:spPr bwMode="auto">
            <a:xfrm>
              <a:off x="9094779" y="4496350"/>
              <a:ext cx="43426"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nvGrpSpPr>
            <p:cNvPr id="59" name="Group 58">
              <a:extLst>
                <a:ext uri="{FF2B5EF4-FFF2-40B4-BE49-F238E27FC236}">
                  <a16:creationId xmlns:a16="http://schemas.microsoft.com/office/drawing/2014/main" id="{88EB47C3-335C-40A4-AE88-6D978BF4A112}"/>
                </a:ext>
              </a:extLst>
            </p:cNvPr>
            <p:cNvGrpSpPr/>
            <p:nvPr/>
          </p:nvGrpSpPr>
          <p:grpSpPr>
            <a:xfrm>
              <a:off x="507796" y="4496350"/>
              <a:ext cx="79996" cy="18285"/>
              <a:chOff x="507796" y="4496350"/>
              <a:chExt cx="79996" cy="18285"/>
            </a:xfrm>
          </p:grpSpPr>
          <p:sp>
            <p:nvSpPr>
              <p:cNvPr id="60" name="Freeform 317">
                <a:extLst>
                  <a:ext uri="{FF2B5EF4-FFF2-40B4-BE49-F238E27FC236}">
                    <a16:creationId xmlns:a16="http://schemas.microsoft.com/office/drawing/2014/main" id="{28F0DA5C-B2FB-4B7D-B6CB-8709DBF8B490}"/>
                  </a:ext>
                </a:extLst>
              </p:cNvPr>
              <p:cNvSpPr>
                <a:spLocks/>
              </p:cNvSpPr>
              <p:nvPr/>
            </p:nvSpPr>
            <p:spPr bwMode="auto">
              <a:xfrm>
                <a:off x="542080"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1" name="Freeform 334">
                <a:extLst>
                  <a:ext uri="{FF2B5EF4-FFF2-40B4-BE49-F238E27FC236}">
                    <a16:creationId xmlns:a16="http://schemas.microsoft.com/office/drawing/2014/main" id="{52B79569-686A-4E2D-9D74-41356B123C80}"/>
                  </a:ext>
                </a:extLst>
              </p:cNvPr>
              <p:cNvSpPr>
                <a:spLocks/>
              </p:cNvSpPr>
              <p:nvPr/>
            </p:nvSpPr>
            <p:spPr bwMode="auto">
              <a:xfrm>
                <a:off x="507796" y="4496350"/>
                <a:ext cx="43426"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62" name="Group 61">
              <a:extLst>
                <a:ext uri="{FF2B5EF4-FFF2-40B4-BE49-F238E27FC236}">
                  <a16:creationId xmlns:a16="http://schemas.microsoft.com/office/drawing/2014/main" id="{5760D308-772A-415A-A3E6-916AF616C0A9}"/>
                </a:ext>
              </a:extLst>
            </p:cNvPr>
            <p:cNvGrpSpPr/>
            <p:nvPr/>
          </p:nvGrpSpPr>
          <p:grpSpPr>
            <a:xfrm>
              <a:off x="355396" y="4496350"/>
              <a:ext cx="79996" cy="18285"/>
              <a:chOff x="507796" y="4496350"/>
              <a:chExt cx="79996" cy="18285"/>
            </a:xfrm>
          </p:grpSpPr>
          <p:sp>
            <p:nvSpPr>
              <p:cNvPr id="63" name="Freeform 317">
                <a:extLst>
                  <a:ext uri="{FF2B5EF4-FFF2-40B4-BE49-F238E27FC236}">
                    <a16:creationId xmlns:a16="http://schemas.microsoft.com/office/drawing/2014/main" id="{8F424FF9-5331-4ECF-8EB3-59905D78E0FB}"/>
                  </a:ext>
                </a:extLst>
              </p:cNvPr>
              <p:cNvSpPr>
                <a:spLocks/>
              </p:cNvSpPr>
              <p:nvPr/>
            </p:nvSpPr>
            <p:spPr bwMode="auto">
              <a:xfrm>
                <a:off x="542080"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4" name="Freeform 334">
                <a:extLst>
                  <a:ext uri="{FF2B5EF4-FFF2-40B4-BE49-F238E27FC236}">
                    <a16:creationId xmlns:a16="http://schemas.microsoft.com/office/drawing/2014/main" id="{2CB4C027-D1E7-4CA2-B36E-6A0840785B62}"/>
                  </a:ext>
                </a:extLst>
              </p:cNvPr>
              <p:cNvSpPr>
                <a:spLocks/>
              </p:cNvSpPr>
              <p:nvPr/>
            </p:nvSpPr>
            <p:spPr bwMode="auto">
              <a:xfrm>
                <a:off x="507796" y="4496350"/>
                <a:ext cx="43426"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65" name="Group 64">
              <a:extLst>
                <a:ext uri="{FF2B5EF4-FFF2-40B4-BE49-F238E27FC236}">
                  <a16:creationId xmlns:a16="http://schemas.microsoft.com/office/drawing/2014/main" id="{8644045C-02CE-473E-A829-CFE59F1C0276}"/>
                </a:ext>
              </a:extLst>
            </p:cNvPr>
            <p:cNvGrpSpPr/>
            <p:nvPr/>
          </p:nvGrpSpPr>
          <p:grpSpPr>
            <a:xfrm>
              <a:off x="202996" y="4496350"/>
              <a:ext cx="79996" cy="18285"/>
              <a:chOff x="507796" y="4496350"/>
              <a:chExt cx="79996" cy="18285"/>
            </a:xfrm>
          </p:grpSpPr>
          <p:sp>
            <p:nvSpPr>
              <p:cNvPr id="66" name="Freeform 317">
                <a:extLst>
                  <a:ext uri="{FF2B5EF4-FFF2-40B4-BE49-F238E27FC236}">
                    <a16:creationId xmlns:a16="http://schemas.microsoft.com/office/drawing/2014/main" id="{38F23DCC-A4BB-4B59-AB48-90E53A9E7D15}"/>
                  </a:ext>
                </a:extLst>
              </p:cNvPr>
              <p:cNvSpPr>
                <a:spLocks/>
              </p:cNvSpPr>
              <p:nvPr/>
            </p:nvSpPr>
            <p:spPr bwMode="auto">
              <a:xfrm>
                <a:off x="542080"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7" name="Freeform 334">
                <a:extLst>
                  <a:ext uri="{FF2B5EF4-FFF2-40B4-BE49-F238E27FC236}">
                    <a16:creationId xmlns:a16="http://schemas.microsoft.com/office/drawing/2014/main" id="{6B1E80C5-5002-4295-B1B7-8FDE6AE7773A}"/>
                  </a:ext>
                </a:extLst>
              </p:cNvPr>
              <p:cNvSpPr>
                <a:spLocks/>
              </p:cNvSpPr>
              <p:nvPr/>
            </p:nvSpPr>
            <p:spPr bwMode="auto">
              <a:xfrm>
                <a:off x="507796" y="4496350"/>
                <a:ext cx="43426"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68" name="Group 67">
              <a:extLst>
                <a:ext uri="{FF2B5EF4-FFF2-40B4-BE49-F238E27FC236}">
                  <a16:creationId xmlns:a16="http://schemas.microsoft.com/office/drawing/2014/main" id="{F606C66E-1C0A-4793-9481-AED8EAA6D5E4}"/>
                </a:ext>
              </a:extLst>
            </p:cNvPr>
            <p:cNvGrpSpPr/>
            <p:nvPr/>
          </p:nvGrpSpPr>
          <p:grpSpPr>
            <a:xfrm>
              <a:off x="50596" y="4496350"/>
              <a:ext cx="79996" cy="18285"/>
              <a:chOff x="507796" y="4496350"/>
              <a:chExt cx="79996" cy="18285"/>
            </a:xfrm>
          </p:grpSpPr>
          <p:sp>
            <p:nvSpPr>
              <p:cNvPr id="69" name="Freeform 317">
                <a:extLst>
                  <a:ext uri="{FF2B5EF4-FFF2-40B4-BE49-F238E27FC236}">
                    <a16:creationId xmlns:a16="http://schemas.microsoft.com/office/drawing/2014/main" id="{14D09B88-B595-41F3-B730-34DB382AE9EE}"/>
                  </a:ext>
                </a:extLst>
              </p:cNvPr>
              <p:cNvSpPr>
                <a:spLocks/>
              </p:cNvSpPr>
              <p:nvPr/>
            </p:nvSpPr>
            <p:spPr bwMode="auto">
              <a:xfrm>
                <a:off x="542080"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70" name="Freeform 334">
                <a:extLst>
                  <a:ext uri="{FF2B5EF4-FFF2-40B4-BE49-F238E27FC236}">
                    <a16:creationId xmlns:a16="http://schemas.microsoft.com/office/drawing/2014/main" id="{969DEA77-7BD0-4E10-B61F-701AFFE735CF}"/>
                  </a:ext>
                </a:extLst>
              </p:cNvPr>
              <p:cNvSpPr>
                <a:spLocks/>
              </p:cNvSpPr>
              <p:nvPr/>
            </p:nvSpPr>
            <p:spPr bwMode="auto">
              <a:xfrm>
                <a:off x="507796" y="4496350"/>
                <a:ext cx="43426"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grpSp>
        <p:nvGrpSpPr>
          <p:cNvPr id="419" name="Group 418">
            <a:extLst>
              <a:ext uri="{FF2B5EF4-FFF2-40B4-BE49-F238E27FC236}">
                <a16:creationId xmlns:a16="http://schemas.microsoft.com/office/drawing/2014/main" id="{5C219E2A-D981-4C14-9A24-903258029242}"/>
              </a:ext>
            </a:extLst>
          </p:cNvPr>
          <p:cNvGrpSpPr/>
          <p:nvPr/>
        </p:nvGrpSpPr>
        <p:grpSpPr>
          <a:xfrm>
            <a:off x="5169907" y="2210103"/>
            <a:ext cx="3760733" cy="2214227"/>
            <a:chOff x="5383267" y="2210103"/>
            <a:chExt cx="3760733" cy="2214227"/>
          </a:xfrm>
        </p:grpSpPr>
        <p:sp>
          <p:nvSpPr>
            <p:cNvPr id="72" name="Rectangle 71">
              <a:extLst>
                <a:ext uri="{FF2B5EF4-FFF2-40B4-BE49-F238E27FC236}">
                  <a16:creationId xmlns:a16="http://schemas.microsoft.com/office/drawing/2014/main" id="{C95583C9-D745-4902-8140-A1304C071538}"/>
                </a:ext>
              </a:extLst>
            </p:cNvPr>
            <p:cNvSpPr/>
            <p:nvPr/>
          </p:nvSpPr>
          <p:spPr>
            <a:xfrm>
              <a:off x="5626607" y="2402882"/>
              <a:ext cx="3517393" cy="1987962"/>
            </a:xfrm>
            <a:prstGeom prst="rect">
              <a:avLst/>
            </a:prstGeom>
            <a:solidFill>
              <a:schemeClr val="bg2">
                <a:lumMod val="95000"/>
              </a:schemeClr>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73" name="Rectangle 72">
              <a:extLst>
                <a:ext uri="{FF2B5EF4-FFF2-40B4-BE49-F238E27FC236}">
                  <a16:creationId xmlns:a16="http://schemas.microsoft.com/office/drawing/2014/main" id="{CD0D960A-0FB2-4162-B48E-CAA67ADB31DE}"/>
                </a:ext>
              </a:extLst>
            </p:cNvPr>
            <p:cNvSpPr/>
            <p:nvPr/>
          </p:nvSpPr>
          <p:spPr>
            <a:xfrm>
              <a:off x="5448376" y="2403250"/>
              <a:ext cx="229278" cy="1991473"/>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4" name="Rectangle 355">
              <a:extLst>
                <a:ext uri="{FF2B5EF4-FFF2-40B4-BE49-F238E27FC236}">
                  <a16:creationId xmlns:a16="http://schemas.microsoft.com/office/drawing/2014/main" id="{2E5888A0-B664-457F-96CC-708E63E9C1FD}"/>
                </a:ext>
              </a:extLst>
            </p:cNvPr>
            <p:cNvSpPr/>
            <p:nvPr/>
          </p:nvSpPr>
          <p:spPr>
            <a:xfrm flipH="1">
              <a:off x="8914722" y="2402882"/>
              <a:ext cx="229278" cy="1987962"/>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nvGrpSpPr>
            <p:cNvPr id="75" name="Group 74">
              <a:extLst>
                <a:ext uri="{FF2B5EF4-FFF2-40B4-BE49-F238E27FC236}">
                  <a16:creationId xmlns:a16="http://schemas.microsoft.com/office/drawing/2014/main" id="{6BF30FE2-92B0-4C58-82BA-825343310B19}"/>
                </a:ext>
              </a:extLst>
            </p:cNvPr>
            <p:cNvGrpSpPr/>
            <p:nvPr/>
          </p:nvGrpSpPr>
          <p:grpSpPr>
            <a:xfrm>
              <a:off x="5383267" y="2228760"/>
              <a:ext cx="373054" cy="373054"/>
              <a:chOff x="3479653" y="2604986"/>
              <a:chExt cx="254801" cy="254801"/>
            </a:xfrm>
          </p:grpSpPr>
          <p:sp>
            <p:nvSpPr>
              <p:cNvPr id="76" name="Oval 263">
                <a:extLst>
                  <a:ext uri="{FF2B5EF4-FFF2-40B4-BE49-F238E27FC236}">
                    <a16:creationId xmlns:a16="http://schemas.microsoft.com/office/drawing/2014/main" id="{E4143B55-129B-4DC1-BAA4-BCABC6B74D42}"/>
                  </a:ext>
                </a:extLst>
              </p:cNvPr>
              <p:cNvSpPr>
                <a:spLocks/>
              </p:cNvSpPr>
              <p:nvPr/>
            </p:nvSpPr>
            <p:spPr bwMode="auto">
              <a:xfrm>
                <a:off x="3479653" y="2604986"/>
                <a:ext cx="254801" cy="254801"/>
              </a:xfrm>
              <a:prstGeom prst="ellipse">
                <a:avLst/>
              </a:prstGeom>
              <a:solidFill>
                <a:schemeClr val="accent1"/>
              </a:solidFill>
              <a:ln w="25400" cap="flat">
                <a:noFill/>
                <a:round/>
                <a:headEnd type="none" w="med" len="med"/>
                <a:tailEnd type="none" w="med" len="med"/>
              </a:ln>
              <a:effectLst/>
            </p:spPr>
            <p:txBody>
              <a:bodyPr lIns="0" tIns="0" rIns="0" bIns="0"/>
              <a:lstStyle/>
              <a:p>
                <a:pPr marL="0" marR="0" lvl="0" indent="0" algn="l" defTabSz="685800" rtl="0" eaLnBrk="0" fontAlgn="auto" latinLnBrk="0" hangingPunct="0">
                  <a:lnSpc>
                    <a:spcPct val="9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grpSp>
            <p:nvGrpSpPr>
              <p:cNvPr id="77" name="Group 76">
                <a:extLst>
                  <a:ext uri="{FF2B5EF4-FFF2-40B4-BE49-F238E27FC236}">
                    <a16:creationId xmlns:a16="http://schemas.microsoft.com/office/drawing/2014/main" id="{674438C3-B382-4B7A-8BEF-B79C37F54B37}"/>
                  </a:ext>
                </a:extLst>
              </p:cNvPr>
              <p:cNvGrpSpPr/>
              <p:nvPr/>
            </p:nvGrpSpPr>
            <p:grpSpPr>
              <a:xfrm>
                <a:off x="3529139" y="2680631"/>
                <a:ext cx="148805" cy="109517"/>
                <a:chOff x="5184662" y="2694894"/>
                <a:chExt cx="164415" cy="121006"/>
              </a:xfrm>
            </p:grpSpPr>
            <p:sp>
              <p:nvSpPr>
                <p:cNvPr id="78" name="Rectangle 49">
                  <a:extLst>
                    <a:ext uri="{FF2B5EF4-FFF2-40B4-BE49-F238E27FC236}">
                      <a16:creationId xmlns:a16="http://schemas.microsoft.com/office/drawing/2014/main" id="{32351CAD-EF25-40CD-B54F-83DA7FB6C356}"/>
                    </a:ext>
                  </a:extLst>
                </p:cNvPr>
                <p:cNvSpPr>
                  <a:spLocks noChangeArrowheads="1"/>
                </p:cNvSpPr>
                <p:nvPr/>
              </p:nvSpPr>
              <p:spPr bwMode="auto">
                <a:xfrm>
                  <a:off x="5184662" y="2777916"/>
                  <a:ext cx="109610"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79" name="Rectangle 50">
                  <a:extLst>
                    <a:ext uri="{FF2B5EF4-FFF2-40B4-BE49-F238E27FC236}">
                      <a16:creationId xmlns:a16="http://schemas.microsoft.com/office/drawing/2014/main" id="{024F7B0D-C83A-4A88-BAC2-E6D978EF6B9A}"/>
                    </a:ext>
                  </a:extLst>
                </p:cNvPr>
                <p:cNvSpPr>
                  <a:spLocks noChangeArrowheads="1"/>
                </p:cNvSpPr>
                <p:nvPr/>
              </p:nvSpPr>
              <p:spPr bwMode="auto">
                <a:xfrm>
                  <a:off x="5239467" y="2736133"/>
                  <a:ext cx="109610"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80" name="Rectangle 51">
                  <a:extLst>
                    <a:ext uri="{FF2B5EF4-FFF2-40B4-BE49-F238E27FC236}">
                      <a16:creationId xmlns:a16="http://schemas.microsoft.com/office/drawing/2014/main" id="{427B314A-74A4-47D3-B9CB-A14D76D38B80}"/>
                    </a:ext>
                  </a:extLst>
                </p:cNvPr>
                <p:cNvSpPr>
                  <a:spLocks noChangeArrowheads="1"/>
                </p:cNvSpPr>
                <p:nvPr/>
              </p:nvSpPr>
              <p:spPr bwMode="auto">
                <a:xfrm>
                  <a:off x="5299156" y="2777916"/>
                  <a:ext cx="49921"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81" name="Rectangle 52">
                  <a:extLst>
                    <a:ext uri="{FF2B5EF4-FFF2-40B4-BE49-F238E27FC236}">
                      <a16:creationId xmlns:a16="http://schemas.microsoft.com/office/drawing/2014/main" id="{17A509D1-5462-4A97-8066-16A81035F3CB}"/>
                    </a:ext>
                  </a:extLst>
                </p:cNvPr>
                <p:cNvSpPr>
                  <a:spLocks noChangeArrowheads="1"/>
                </p:cNvSpPr>
                <p:nvPr/>
              </p:nvSpPr>
              <p:spPr bwMode="auto">
                <a:xfrm>
                  <a:off x="5299156" y="2694894"/>
                  <a:ext cx="49921" cy="37441"/>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82" name="Rectangle 53">
                  <a:extLst>
                    <a:ext uri="{FF2B5EF4-FFF2-40B4-BE49-F238E27FC236}">
                      <a16:creationId xmlns:a16="http://schemas.microsoft.com/office/drawing/2014/main" id="{BF453F26-1250-4D08-91EF-165FB55084A2}"/>
                    </a:ext>
                  </a:extLst>
                </p:cNvPr>
                <p:cNvSpPr>
                  <a:spLocks noChangeArrowheads="1"/>
                </p:cNvSpPr>
                <p:nvPr/>
              </p:nvSpPr>
              <p:spPr bwMode="auto">
                <a:xfrm>
                  <a:off x="5184662" y="2736133"/>
                  <a:ext cx="49379"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83" name="Rectangle 54">
                  <a:extLst>
                    <a:ext uri="{FF2B5EF4-FFF2-40B4-BE49-F238E27FC236}">
                      <a16:creationId xmlns:a16="http://schemas.microsoft.com/office/drawing/2014/main" id="{11D42B89-248A-4E81-A7C7-1DD9BE1F6706}"/>
                    </a:ext>
                  </a:extLst>
                </p:cNvPr>
                <p:cNvSpPr>
                  <a:spLocks noChangeArrowheads="1"/>
                </p:cNvSpPr>
                <p:nvPr/>
              </p:nvSpPr>
              <p:spPr bwMode="auto">
                <a:xfrm>
                  <a:off x="5184662" y="2694894"/>
                  <a:ext cx="109610" cy="37441"/>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sp>
          <p:nvSpPr>
            <p:cNvPr id="84" name="Rectangle 83">
              <a:extLst>
                <a:ext uri="{FF2B5EF4-FFF2-40B4-BE49-F238E27FC236}">
                  <a16:creationId xmlns:a16="http://schemas.microsoft.com/office/drawing/2014/main" id="{62AD0554-677C-473B-B620-2DE2FA864AB2}"/>
                </a:ext>
              </a:extLst>
            </p:cNvPr>
            <p:cNvSpPr/>
            <p:nvPr/>
          </p:nvSpPr>
          <p:spPr>
            <a:xfrm>
              <a:off x="5749580" y="2469844"/>
              <a:ext cx="636322" cy="193465"/>
            </a:xfrm>
            <a:prstGeom prst="rect">
              <a:avLst/>
            </a:prstGeom>
          </p:spPr>
          <p:txBody>
            <a:bodyPr wrap="none" lIns="0" tIns="0" rIns="0" bIns="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9393B"/>
                  </a:solidFill>
                  <a:effectLst/>
                  <a:uLnTx/>
                  <a:uFillTx/>
                  <a:latin typeface="CiscoSansTT ExtraLight"/>
                  <a:ea typeface="ＭＳ Ｐゴシック" charset="0"/>
                  <a:cs typeface="+mn-cs"/>
                </a:rPr>
                <a:t>Network</a:t>
              </a:r>
            </a:p>
          </p:txBody>
        </p:sp>
        <p:grpSp>
          <p:nvGrpSpPr>
            <p:cNvPr id="85" name="Group 84">
              <a:extLst>
                <a:ext uri="{FF2B5EF4-FFF2-40B4-BE49-F238E27FC236}">
                  <a16:creationId xmlns:a16="http://schemas.microsoft.com/office/drawing/2014/main" id="{36455897-A1E0-4FEB-BA5B-758884471C19}"/>
                </a:ext>
              </a:extLst>
            </p:cNvPr>
            <p:cNvGrpSpPr/>
            <p:nvPr/>
          </p:nvGrpSpPr>
          <p:grpSpPr>
            <a:xfrm>
              <a:off x="8071131" y="2272317"/>
              <a:ext cx="260102" cy="260102"/>
              <a:chOff x="8356445" y="5636340"/>
              <a:chExt cx="501017" cy="501017"/>
            </a:xfrm>
          </p:grpSpPr>
          <p:sp>
            <p:nvSpPr>
              <p:cNvPr id="86" name="Oval 263">
                <a:extLst>
                  <a:ext uri="{FF2B5EF4-FFF2-40B4-BE49-F238E27FC236}">
                    <a16:creationId xmlns:a16="http://schemas.microsoft.com/office/drawing/2014/main" id="{BF3C2C93-5E28-4C47-BAAF-1B7AAD507949}"/>
                  </a:ext>
                </a:extLst>
              </p:cNvPr>
              <p:cNvSpPr>
                <a:spLocks/>
              </p:cNvSpPr>
              <p:nvPr/>
            </p:nvSpPr>
            <p:spPr bwMode="auto">
              <a:xfrm>
                <a:off x="8356445" y="5636340"/>
                <a:ext cx="501017" cy="501017"/>
              </a:xfrm>
              <a:prstGeom prst="ellipse">
                <a:avLst/>
              </a:prstGeom>
              <a:solidFill>
                <a:schemeClr val="accent1"/>
              </a:solidFill>
              <a:ln w="25400" cap="flat">
                <a:noFill/>
                <a:round/>
                <a:headEnd type="none" w="med" len="med"/>
                <a:tailEnd type="none" w="med" len="med"/>
              </a:ln>
              <a:effectLst/>
            </p:spPr>
            <p:txBody>
              <a:bodyPr lIns="0" tIns="0" rIns="0" bIns="0"/>
              <a:lstStyle/>
              <a:p>
                <a:pPr marL="0" marR="0" lvl="0" indent="0" algn="l" defTabSz="685800" rtl="0" eaLnBrk="0" fontAlgn="auto" latinLnBrk="0" hangingPunct="0">
                  <a:lnSpc>
                    <a:spcPct val="9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grpSp>
            <p:nvGrpSpPr>
              <p:cNvPr id="87" name="Group 86">
                <a:extLst>
                  <a:ext uri="{FF2B5EF4-FFF2-40B4-BE49-F238E27FC236}">
                    <a16:creationId xmlns:a16="http://schemas.microsoft.com/office/drawing/2014/main" id="{BD0B2677-5223-418D-B377-8B3704EF74E0}"/>
                  </a:ext>
                </a:extLst>
              </p:cNvPr>
              <p:cNvGrpSpPr/>
              <p:nvPr/>
            </p:nvGrpSpPr>
            <p:grpSpPr>
              <a:xfrm>
                <a:off x="8476658" y="5742273"/>
                <a:ext cx="275074" cy="327262"/>
                <a:chOff x="4741424" y="2624722"/>
                <a:chExt cx="283385" cy="337149"/>
              </a:xfrm>
            </p:grpSpPr>
            <p:grpSp>
              <p:nvGrpSpPr>
                <p:cNvPr id="88" name="Group 87">
                  <a:extLst>
                    <a:ext uri="{FF2B5EF4-FFF2-40B4-BE49-F238E27FC236}">
                      <a16:creationId xmlns:a16="http://schemas.microsoft.com/office/drawing/2014/main" id="{4813166D-95DF-4DE2-ACDA-75E936341A8C}"/>
                    </a:ext>
                  </a:extLst>
                </p:cNvPr>
                <p:cNvGrpSpPr/>
                <p:nvPr/>
              </p:nvGrpSpPr>
              <p:grpSpPr>
                <a:xfrm>
                  <a:off x="4741424" y="2624722"/>
                  <a:ext cx="159560" cy="276824"/>
                  <a:chOff x="4741424" y="2624722"/>
                  <a:chExt cx="159560" cy="276824"/>
                </a:xfrm>
              </p:grpSpPr>
              <p:sp>
                <p:nvSpPr>
                  <p:cNvPr id="92" name="Freeform 5">
                    <a:extLst>
                      <a:ext uri="{FF2B5EF4-FFF2-40B4-BE49-F238E27FC236}">
                        <a16:creationId xmlns:a16="http://schemas.microsoft.com/office/drawing/2014/main" id="{18614187-26E4-4D88-8D6F-40DC8129065A}"/>
                      </a:ext>
                    </a:extLst>
                  </p:cNvPr>
                  <p:cNvSpPr>
                    <a:spLocks/>
                  </p:cNvSpPr>
                  <p:nvPr/>
                </p:nvSpPr>
                <p:spPr bwMode="auto">
                  <a:xfrm flipH="1">
                    <a:off x="4741424" y="2767597"/>
                    <a:ext cx="159560" cy="133949"/>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CiscoSansTT ExtraLight"/>
                      <a:ea typeface="+mn-ea"/>
                      <a:cs typeface="+mn-cs"/>
                    </a:endParaRPr>
                  </a:p>
                </p:txBody>
              </p:sp>
              <p:sp>
                <p:nvSpPr>
                  <p:cNvPr id="93" name="Freeform 5">
                    <a:extLst>
                      <a:ext uri="{FF2B5EF4-FFF2-40B4-BE49-F238E27FC236}">
                        <a16:creationId xmlns:a16="http://schemas.microsoft.com/office/drawing/2014/main" id="{3125E371-9E99-4361-9449-A06F8B42F3F3}"/>
                      </a:ext>
                    </a:extLst>
                  </p:cNvPr>
                  <p:cNvSpPr>
                    <a:spLocks/>
                  </p:cNvSpPr>
                  <p:nvPr/>
                </p:nvSpPr>
                <p:spPr bwMode="auto">
                  <a:xfrm flipH="1">
                    <a:off x="4741424" y="2624722"/>
                    <a:ext cx="159560" cy="133949"/>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CiscoSansTT ExtraLight"/>
                      <a:ea typeface="+mn-ea"/>
                      <a:cs typeface="+mn-cs"/>
                    </a:endParaRPr>
                  </a:p>
                </p:txBody>
              </p:sp>
            </p:grpSp>
            <p:grpSp>
              <p:nvGrpSpPr>
                <p:cNvPr id="89" name="Group 88">
                  <a:extLst>
                    <a:ext uri="{FF2B5EF4-FFF2-40B4-BE49-F238E27FC236}">
                      <a16:creationId xmlns:a16="http://schemas.microsoft.com/office/drawing/2014/main" id="{91C9F17B-9E2F-4A57-B3B1-EF85B9CE6BA8}"/>
                    </a:ext>
                  </a:extLst>
                </p:cNvPr>
                <p:cNvGrpSpPr/>
                <p:nvPr/>
              </p:nvGrpSpPr>
              <p:grpSpPr>
                <a:xfrm rot="10800000">
                  <a:off x="4865249" y="2685047"/>
                  <a:ext cx="159560" cy="276824"/>
                  <a:chOff x="4741424" y="2624722"/>
                  <a:chExt cx="159560" cy="276824"/>
                </a:xfrm>
              </p:grpSpPr>
              <p:sp>
                <p:nvSpPr>
                  <p:cNvPr id="90" name="Freeform 5">
                    <a:extLst>
                      <a:ext uri="{FF2B5EF4-FFF2-40B4-BE49-F238E27FC236}">
                        <a16:creationId xmlns:a16="http://schemas.microsoft.com/office/drawing/2014/main" id="{B6E08462-F7C5-4DD5-BE5B-C1F14EC1AB65}"/>
                      </a:ext>
                    </a:extLst>
                  </p:cNvPr>
                  <p:cNvSpPr>
                    <a:spLocks/>
                  </p:cNvSpPr>
                  <p:nvPr/>
                </p:nvSpPr>
                <p:spPr bwMode="auto">
                  <a:xfrm flipH="1">
                    <a:off x="4741424" y="2767597"/>
                    <a:ext cx="159560" cy="133949"/>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CiscoSansTT ExtraLight"/>
                      <a:ea typeface="+mn-ea"/>
                      <a:cs typeface="+mn-cs"/>
                    </a:endParaRPr>
                  </a:p>
                </p:txBody>
              </p:sp>
              <p:sp>
                <p:nvSpPr>
                  <p:cNvPr id="91" name="Freeform 5">
                    <a:extLst>
                      <a:ext uri="{FF2B5EF4-FFF2-40B4-BE49-F238E27FC236}">
                        <a16:creationId xmlns:a16="http://schemas.microsoft.com/office/drawing/2014/main" id="{964CDCA9-EB3F-4944-AD29-C01501478961}"/>
                      </a:ext>
                    </a:extLst>
                  </p:cNvPr>
                  <p:cNvSpPr>
                    <a:spLocks/>
                  </p:cNvSpPr>
                  <p:nvPr/>
                </p:nvSpPr>
                <p:spPr bwMode="auto">
                  <a:xfrm flipH="1">
                    <a:off x="4741424" y="2624722"/>
                    <a:ext cx="159560" cy="133949"/>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CiscoSansTT ExtraLight"/>
                      <a:ea typeface="+mn-ea"/>
                      <a:cs typeface="+mn-cs"/>
                    </a:endParaRPr>
                  </a:p>
                </p:txBody>
              </p:sp>
            </p:grpSp>
          </p:grpSp>
        </p:grpSp>
        <p:grpSp>
          <p:nvGrpSpPr>
            <p:cNvPr id="94" name="Group 93">
              <a:extLst>
                <a:ext uri="{FF2B5EF4-FFF2-40B4-BE49-F238E27FC236}">
                  <a16:creationId xmlns:a16="http://schemas.microsoft.com/office/drawing/2014/main" id="{6C3B56CB-FEF3-4170-A8C4-A427D91794B3}"/>
                </a:ext>
              </a:extLst>
            </p:cNvPr>
            <p:cNvGrpSpPr/>
            <p:nvPr/>
          </p:nvGrpSpPr>
          <p:grpSpPr>
            <a:xfrm>
              <a:off x="5448376" y="4214064"/>
              <a:ext cx="3695624" cy="210266"/>
              <a:chOff x="4550043" y="4450284"/>
              <a:chExt cx="4593957" cy="210266"/>
            </a:xfrm>
          </p:grpSpPr>
          <p:sp>
            <p:nvSpPr>
              <p:cNvPr id="95" name="Trapezoid 94">
                <a:extLst>
                  <a:ext uri="{FF2B5EF4-FFF2-40B4-BE49-F238E27FC236}">
                    <a16:creationId xmlns:a16="http://schemas.microsoft.com/office/drawing/2014/main" id="{6FF44212-6011-450E-92B5-D4E6ED1788FB}"/>
                  </a:ext>
                </a:extLst>
              </p:cNvPr>
              <p:cNvSpPr/>
              <p:nvPr/>
            </p:nvSpPr>
            <p:spPr>
              <a:xfrm>
                <a:off x="4550043" y="4450284"/>
                <a:ext cx="4593957" cy="171340"/>
              </a:xfrm>
              <a:prstGeom prst="trapezoid">
                <a:avLst>
                  <a:gd name="adj" fmla="val 132966"/>
                </a:avLst>
              </a:prstGeom>
              <a:solidFill>
                <a:schemeClr val="bg2"/>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96" name="Rectangle 95">
                <a:extLst>
                  <a:ext uri="{FF2B5EF4-FFF2-40B4-BE49-F238E27FC236}">
                    <a16:creationId xmlns:a16="http://schemas.microsoft.com/office/drawing/2014/main" id="{2289FF85-ACC7-4EB4-958A-07F234CA9CC6}"/>
                  </a:ext>
                </a:extLst>
              </p:cNvPr>
              <p:cNvSpPr/>
              <p:nvPr/>
            </p:nvSpPr>
            <p:spPr>
              <a:xfrm>
                <a:off x="4550043" y="4621140"/>
                <a:ext cx="4593957" cy="39410"/>
              </a:xfrm>
              <a:prstGeom prst="rect">
                <a:avLst/>
              </a:prstGeom>
              <a:solidFill>
                <a:schemeClr val="accent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nvGrpSpPr>
            <p:cNvPr id="151" name="Group 150">
              <a:extLst>
                <a:ext uri="{FF2B5EF4-FFF2-40B4-BE49-F238E27FC236}">
                  <a16:creationId xmlns:a16="http://schemas.microsoft.com/office/drawing/2014/main" id="{70314106-FE0A-4E41-847C-9C66FB8D76FD}"/>
                </a:ext>
              </a:extLst>
            </p:cNvPr>
            <p:cNvGrpSpPr/>
            <p:nvPr/>
          </p:nvGrpSpPr>
          <p:grpSpPr>
            <a:xfrm>
              <a:off x="5448376" y="3101263"/>
              <a:ext cx="3695623" cy="210266"/>
              <a:chOff x="4550043" y="4450284"/>
              <a:chExt cx="4593957" cy="210266"/>
            </a:xfrm>
          </p:grpSpPr>
          <p:sp>
            <p:nvSpPr>
              <p:cNvPr id="152" name="Trapezoid 151">
                <a:extLst>
                  <a:ext uri="{FF2B5EF4-FFF2-40B4-BE49-F238E27FC236}">
                    <a16:creationId xmlns:a16="http://schemas.microsoft.com/office/drawing/2014/main" id="{52B8E031-F55E-4CF1-935E-F6579C2C937B}"/>
                  </a:ext>
                </a:extLst>
              </p:cNvPr>
              <p:cNvSpPr/>
              <p:nvPr/>
            </p:nvSpPr>
            <p:spPr>
              <a:xfrm>
                <a:off x="4550043" y="4450284"/>
                <a:ext cx="4593957" cy="171340"/>
              </a:xfrm>
              <a:prstGeom prst="trapezoid">
                <a:avLst>
                  <a:gd name="adj" fmla="val 134356"/>
                </a:avLst>
              </a:prstGeom>
              <a:solidFill>
                <a:schemeClr val="bg2"/>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153" name="Rectangle 152">
                <a:extLst>
                  <a:ext uri="{FF2B5EF4-FFF2-40B4-BE49-F238E27FC236}">
                    <a16:creationId xmlns:a16="http://schemas.microsoft.com/office/drawing/2014/main" id="{61C2C247-E790-4992-A894-DC72DCC67274}"/>
                  </a:ext>
                </a:extLst>
              </p:cNvPr>
              <p:cNvSpPr/>
              <p:nvPr/>
            </p:nvSpPr>
            <p:spPr>
              <a:xfrm>
                <a:off x="4550043" y="4621140"/>
                <a:ext cx="4593957" cy="39410"/>
              </a:xfrm>
              <a:prstGeom prst="rect">
                <a:avLst/>
              </a:prstGeom>
              <a:solidFill>
                <a:schemeClr val="accent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nvGrpSpPr>
            <p:cNvPr id="154" name="Group 153">
              <a:extLst>
                <a:ext uri="{FF2B5EF4-FFF2-40B4-BE49-F238E27FC236}">
                  <a16:creationId xmlns:a16="http://schemas.microsoft.com/office/drawing/2014/main" id="{5C905B15-F1B5-4140-9E9A-6B99EC3F8AF7}"/>
                </a:ext>
              </a:extLst>
            </p:cNvPr>
            <p:cNvGrpSpPr/>
            <p:nvPr/>
          </p:nvGrpSpPr>
          <p:grpSpPr>
            <a:xfrm>
              <a:off x="7341549" y="2719827"/>
              <a:ext cx="1335177" cy="503075"/>
              <a:chOff x="7341549" y="2956047"/>
              <a:chExt cx="1335177" cy="503075"/>
            </a:xfrm>
          </p:grpSpPr>
          <p:sp>
            <p:nvSpPr>
              <p:cNvPr id="155" name="Freeform 56">
                <a:extLst>
                  <a:ext uri="{FF2B5EF4-FFF2-40B4-BE49-F238E27FC236}">
                    <a16:creationId xmlns:a16="http://schemas.microsoft.com/office/drawing/2014/main" id="{6C45A4FD-33C7-44E9-8085-2BA6C09768F4}"/>
                  </a:ext>
                </a:extLst>
              </p:cNvPr>
              <p:cNvSpPr>
                <a:spLocks noEditPoints="1"/>
              </p:cNvSpPr>
              <p:nvPr/>
            </p:nvSpPr>
            <p:spPr bwMode="auto">
              <a:xfrm>
                <a:off x="7732330" y="2956047"/>
                <a:ext cx="452689" cy="503075"/>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rgbClr val="39393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56" name="Freeform 57">
                <a:extLst>
                  <a:ext uri="{FF2B5EF4-FFF2-40B4-BE49-F238E27FC236}">
                    <a16:creationId xmlns:a16="http://schemas.microsoft.com/office/drawing/2014/main" id="{1CE9E3AC-3A83-40CC-BFB6-1B31A104DCC6}"/>
                  </a:ext>
                </a:extLst>
              </p:cNvPr>
              <p:cNvSpPr>
                <a:spLocks noEditPoints="1"/>
              </p:cNvSpPr>
              <p:nvPr/>
            </p:nvSpPr>
            <p:spPr bwMode="auto">
              <a:xfrm flipH="1">
                <a:off x="8224037" y="2956047"/>
                <a:ext cx="452689" cy="503075"/>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rgbClr val="39393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57" name="Rectangle 156">
                <a:extLst>
                  <a:ext uri="{FF2B5EF4-FFF2-40B4-BE49-F238E27FC236}">
                    <a16:creationId xmlns:a16="http://schemas.microsoft.com/office/drawing/2014/main" id="{9A492262-4637-4915-BF30-70A7FCBEC12E}"/>
                  </a:ext>
                </a:extLst>
              </p:cNvPr>
              <p:cNvSpPr/>
              <p:nvPr/>
            </p:nvSpPr>
            <p:spPr>
              <a:xfrm>
                <a:off x="7341549" y="3139721"/>
                <a:ext cx="447390" cy="193465"/>
              </a:xfrm>
              <a:prstGeom prst="rect">
                <a:avLst/>
              </a:prstGeom>
              <a:noFill/>
            </p:spPr>
            <p:txBody>
              <a:bodyPr wrap="none" lIns="0" tIns="0" rIns="0" bIns="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9393B"/>
                    </a:solidFill>
                    <a:effectLst/>
                    <a:uLnTx/>
                    <a:uFillTx/>
                    <a:latin typeface="CiscoSansTT ExtraLight"/>
                    <a:ea typeface="ＭＳ Ｐゴシック" charset="0"/>
                    <a:cs typeface="+mn-cs"/>
                  </a:rPr>
                  <a:t>Users</a:t>
                </a:r>
              </a:p>
            </p:txBody>
          </p:sp>
        </p:grpSp>
        <p:sp>
          <p:nvSpPr>
            <p:cNvPr id="216" name="Rectangle 215">
              <a:extLst>
                <a:ext uri="{FF2B5EF4-FFF2-40B4-BE49-F238E27FC236}">
                  <a16:creationId xmlns:a16="http://schemas.microsoft.com/office/drawing/2014/main" id="{CFCDFC32-8B83-453D-B5D3-10AD5034072F}"/>
                </a:ext>
              </a:extLst>
            </p:cNvPr>
            <p:cNvSpPr/>
            <p:nvPr/>
          </p:nvSpPr>
          <p:spPr>
            <a:xfrm>
              <a:off x="8727964" y="2210103"/>
              <a:ext cx="206101" cy="205184"/>
            </a:xfrm>
            <a:prstGeom prst="rect">
              <a:avLst/>
            </a:prstGeom>
          </p:spPr>
          <p:txBody>
            <a:bodyPr wrap="none" lIns="0" tIns="0" rIns="0" bIns="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9393B"/>
                  </a:solidFill>
                  <a:effectLst/>
                  <a:uLnTx/>
                  <a:uFillTx/>
                  <a:latin typeface="CiscoSansTT ExtraLight"/>
                  <a:ea typeface="ＭＳ Ｐゴシック" charset="0"/>
                  <a:cs typeface="+mn-cs"/>
                </a:rPr>
                <a:t>HQ</a:t>
              </a:r>
            </a:p>
          </p:txBody>
        </p:sp>
        <p:grpSp>
          <p:nvGrpSpPr>
            <p:cNvPr id="217" name="Group 216">
              <a:extLst>
                <a:ext uri="{FF2B5EF4-FFF2-40B4-BE49-F238E27FC236}">
                  <a16:creationId xmlns:a16="http://schemas.microsoft.com/office/drawing/2014/main" id="{2BC5AF3A-6CCC-4474-BD78-1F1EB7F2603D}"/>
                </a:ext>
              </a:extLst>
            </p:cNvPr>
            <p:cNvGrpSpPr/>
            <p:nvPr/>
          </p:nvGrpSpPr>
          <p:grpSpPr>
            <a:xfrm>
              <a:off x="6275746" y="2294472"/>
              <a:ext cx="256032" cy="256032"/>
              <a:chOff x="5638829" y="2574999"/>
              <a:chExt cx="293235" cy="294128"/>
            </a:xfrm>
          </p:grpSpPr>
          <p:sp>
            <p:nvSpPr>
              <p:cNvPr id="218" name="Oval 217">
                <a:extLst>
                  <a:ext uri="{FF2B5EF4-FFF2-40B4-BE49-F238E27FC236}">
                    <a16:creationId xmlns:a16="http://schemas.microsoft.com/office/drawing/2014/main" id="{C1BE670A-6404-4178-BF05-90D596458588}"/>
                  </a:ext>
                </a:extLst>
              </p:cNvPr>
              <p:cNvSpPr/>
              <p:nvPr/>
            </p:nvSpPr>
            <p:spPr>
              <a:xfrm>
                <a:off x="5638829" y="2574999"/>
                <a:ext cx="293235" cy="294128"/>
              </a:xfrm>
              <a:prstGeom prst="ellipse">
                <a:avLst/>
              </a:prstGeom>
              <a:solidFill>
                <a:schemeClr val="accent1"/>
              </a:solidFill>
              <a:ln w="25400" cap="flat">
                <a:noFill/>
                <a:round/>
                <a:headEnd type="none" w="med" len="med"/>
                <a:tailEnd type="none" w="med" len="med"/>
              </a:ln>
              <a:effectLst/>
            </p:spPr>
            <p:txBody>
              <a:bodyPr lIns="0" tIns="0" rIns="0" bIns="0"/>
              <a:lstStyle/>
              <a:p>
                <a:pPr marL="0" marR="0" lvl="0" indent="0" algn="l" defTabSz="685800" rtl="0" eaLnBrk="0" fontAlgn="auto" latinLnBrk="0" hangingPunct="0">
                  <a:lnSpc>
                    <a:spcPct val="9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grpSp>
            <p:nvGrpSpPr>
              <p:cNvPr id="219" name="Group 218">
                <a:extLst>
                  <a:ext uri="{FF2B5EF4-FFF2-40B4-BE49-F238E27FC236}">
                    <a16:creationId xmlns:a16="http://schemas.microsoft.com/office/drawing/2014/main" id="{63D673AF-04D8-4920-8F07-78567D2BF5C6}"/>
                  </a:ext>
                </a:extLst>
              </p:cNvPr>
              <p:cNvGrpSpPr/>
              <p:nvPr/>
            </p:nvGrpSpPr>
            <p:grpSpPr>
              <a:xfrm>
                <a:off x="5749077" y="2606625"/>
                <a:ext cx="72738" cy="230877"/>
                <a:chOff x="4707334" y="2441614"/>
                <a:chExt cx="106495" cy="338027"/>
              </a:xfrm>
            </p:grpSpPr>
            <p:sp>
              <p:nvSpPr>
                <p:cNvPr id="223" name="Freeform 5">
                  <a:extLst>
                    <a:ext uri="{FF2B5EF4-FFF2-40B4-BE49-F238E27FC236}">
                      <a16:creationId xmlns:a16="http://schemas.microsoft.com/office/drawing/2014/main" id="{D4643FA9-9B42-4FEB-A149-D5B7C9373F3A}"/>
                    </a:ext>
                  </a:extLst>
                </p:cNvPr>
                <p:cNvSpPr>
                  <a:spLocks/>
                </p:cNvSpPr>
                <p:nvPr/>
              </p:nvSpPr>
              <p:spPr bwMode="auto">
                <a:xfrm rot="16200000" flipH="1">
                  <a:off x="4697152" y="2451796"/>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CiscoSansTT ExtraLight"/>
                    <a:ea typeface="+mn-ea"/>
                    <a:cs typeface="+mn-cs"/>
                  </a:endParaRPr>
                </a:p>
              </p:txBody>
            </p:sp>
            <p:sp>
              <p:nvSpPr>
                <p:cNvPr id="224" name="Freeform 5">
                  <a:extLst>
                    <a:ext uri="{FF2B5EF4-FFF2-40B4-BE49-F238E27FC236}">
                      <a16:creationId xmlns:a16="http://schemas.microsoft.com/office/drawing/2014/main" id="{1187E3F3-EDB6-423F-8FEF-57451B7F27A3}"/>
                    </a:ext>
                  </a:extLst>
                </p:cNvPr>
                <p:cNvSpPr>
                  <a:spLocks/>
                </p:cNvSpPr>
                <p:nvPr/>
              </p:nvSpPr>
              <p:spPr bwMode="auto">
                <a:xfrm rot="5400000" flipH="1">
                  <a:off x="4697154" y="2662967"/>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CiscoSansTT ExtraLight"/>
                    <a:ea typeface="+mn-ea"/>
                    <a:cs typeface="+mn-cs"/>
                  </a:endParaRPr>
                </a:p>
              </p:txBody>
            </p:sp>
          </p:grpSp>
          <p:grpSp>
            <p:nvGrpSpPr>
              <p:cNvPr id="220" name="Group 219">
                <a:extLst>
                  <a:ext uri="{FF2B5EF4-FFF2-40B4-BE49-F238E27FC236}">
                    <a16:creationId xmlns:a16="http://schemas.microsoft.com/office/drawing/2014/main" id="{2A906EC6-3497-441A-B1BD-BFD5E672EB67}"/>
                  </a:ext>
                </a:extLst>
              </p:cNvPr>
              <p:cNvGrpSpPr/>
              <p:nvPr/>
            </p:nvGrpSpPr>
            <p:grpSpPr>
              <a:xfrm rot="5400000">
                <a:off x="5749078" y="2606626"/>
                <a:ext cx="72737" cy="230874"/>
                <a:chOff x="4801866" y="2441614"/>
                <a:chExt cx="106494" cy="338023"/>
              </a:xfrm>
            </p:grpSpPr>
            <p:sp>
              <p:nvSpPr>
                <p:cNvPr id="221" name="Freeform 5">
                  <a:extLst>
                    <a:ext uri="{FF2B5EF4-FFF2-40B4-BE49-F238E27FC236}">
                      <a16:creationId xmlns:a16="http://schemas.microsoft.com/office/drawing/2014/main" id="{21DB883B-2F14-4B15-94B5-2EA441A8C881}"/>
                    </a:ext>
                  </a:extLst>
                </p:cNvPr>
                <p:cNvSpPr>
                  <a:spLocks/>
                </p:cNvSpPr>
                <p:nvPr/>
              </p:nvSpPr>
              <p:spPr bwMode="auto">
                <a:xfrm rot="16200000" flipH="1">
                  <a:off x="4791685" y="2451795"/>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CiscoSansTT ExtraLight"/>
                    <a:ea typeface="+mn-ea"/>
                    <a:cs typeface="+mn-cs"/>
                  </a:endParaRPr>
                </a:p>
              </p:txBody>
            </p:sp>
            <p:sp>
              <p:nvSpPr>
                <p:cNvPr id="222" name="Freeform 5">
                  <a:extLst>
                    <a:ext uri="{FF2B5EF4-FFF2-40B4-BE49-F238E27FC236}">
                      <a16:creationId xmlns:a16="http://schemas.microsoft.com/office/drawing/2014/main" id="{CBE3C69F-4BCF-493B-91CF-3EC738C5A1BE}"/>
                    </a:ext>
                  </a:extLst>
                </p:cNvPr>
                <p:cNvSpPr>
                  <a:spLocks/>
                </p:cNvSpPr>
                <p:nvPr/>
              </p:nvSpPr>
              <p:spPr bwMode="auto">
                <a:xfrm rot="5400000" flipH="1">
                  <a:off x="4791684" y="2662964"/>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CiscoSansTT ExtraLight"/>
                    <a:ea typeface="+mn-ea"/>
                    <a:cs typeface="+mn-cs"/>
                  </a:endParaRPr>
                </a:p>
              </p:txBody>
            </p:sp>
          </p:grpSp>
        </p:grpSp>
        <p:grpSp>
          <p:nvGrpSpPr>
            <p:cNvPr id="242" name="Group 241">
              <a:extLst>
                <a:ext uri="{FF2B5EF4-FFF2-40B4-BE49-F238E27FC236}">
                  <a16:creationId xmlns:a16="http://schemas.microsoft.com/office/drawing/2014/main" id="{88A50331-C972-4645-84B9-14D82540044C}"/>
                </a:ext>
              </a:extLst>
            </p:cNvPr>
            <p:cNvGrpSpPr/>
            <p:nvPr/>
          </p:nvGrpSpPr>
          <p:grpSpPr>
            <a:xfrm>
              <a:off x="6751479" y="2606199"/>
              <a:ext cx="293688" cy="611188"/>
              <a:chOff x="6540500" y="2863850"/>
              <a:chExt cx="293688" cy="611188"/>
            </a:xfrm>
          </p:grpSpPr>
          <p:grpSp>
            <p:nvGrpSpPr>
              <p:cNvPr id="243" name="Group 242">
                <a:extLst>
                  <a:ext uri="{FF2B5EF4-FFF2-40B4-BE49-F238E27FC236}">
                    <a16:creationId xmlns:a16="http://schemas.microsoft.com/office/drawing/2014/main" id="{23244526-0D22-4611-9D96-D69D84C0B63E}"/>
                  </a:ext>
                </a:extLst>
              </p:cNvPr>
              <p:cNvGrpSpPr/>
              <p:nvPr/>
            </p:nvGrpSpPr>
            <p:grpSpPr>
              <a:xfrm>
                <a:off x="6540500" y="2863850"/>
                <a:ext cx="268288" cy="611188"/>
                <a:chOff x="6540500" y="2863850"/>
                <a:chExt cx="268288" cy="611188"/>
              </a:xfrm>
            </p:grpSpPr>
            <p:sp>
              <p:nvSpPr>
                <p:cNvPr id="248" name="Oval 53">
                  <a:extLst>
                    <a:ext uri="{FF2B5EF4-FFF2-40B4-BE49-F238E27FC236}">
                      <a16:creationId xmlns:a16="http://schemas.microsoft.com/office/drawing/2014/main" id="{69B69FF2-9DAD-4A78-BABE-69666EBDEEA9}"/>
                    </a:ext>
                  </a:extLst>
                </p:cNvPr>
                <p:cNvSpPr>
                  <a:spLocks noChangeArrowheads="1"/>
                </p:cNvSpPr>
                <p:nvPr/>
              </p:nvSpPr>
              <p:spPr bwMode="auto">
                <a:xfrm>
                  <a:off x="6615113" y="2863850"/>
                  <a:ext cx="114300" cy="114300"/>
                </a:xfrm>
                <a:prstGeom prst="ellipse">
                  <a:avLst/>
                </a:prstGeom>
                <a:solidFill>
                  <a:srgbClr val="39393B"/>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CiscoSansTT ExtraLight"/>
                    <a:ea typeface="ＭＳ Ｐゴシック" charset="0"/>
                    <a:cs typeface="+mn-cs"/>
                  </a:endParaRPr>
                </a:p>
              </p:txBody>
            </p:sp>
            <p:sp>
              <p:nvSpPr>
                <p:cNvPr id="249" name="Freeform 54">
                  <a:extLst>
                    <a:ext uri="{FF2B5EF4-FFF2-40B4-BE49-F238E27FC236}">
                      <a16:creationId xmlns:a16="http://schemas.microsoft.com/office/drawing/2014/main" id="{0A000EEC-4A5F-45BB-BB42-BB7813831B26}"/>
                    </a:ext>
                  </a:extLst>
                </p:cNvPr>
                <p:cNvSpPr>
                  <a:spLocks/>
                </p:cNvSpPr>
                <p:nvPr/>
              </p:nvSpPr>
              <p:spPr bwMode="auto">
                <a:xfrm>
                  <a:off x="6543675" y="2979738"/>
                  <a:ext cx="261938" cy="217488"/>
                </a:xfrm>
                <a:custGeom>
                  <a:avLst/>
                  <a:gdLst>
                    <a:gd name="T0" fmla="*/ 121 w 501"/>
                    <a:gd name="T1" fmla="*/ 165 h 416"/>
                    <a:gd name="T2" fmla="*/ 121 w 501"/>
                    <a:gd name="T3" fmla="*/ 358 h 416"/>
                    <a:gd name="T4" fmla="*/ 378 w 501"/>
                    <a:gd name="T5" fmla="*/ 358 h 416"/>
                    <a:gd name="T6" fmla="*/ 378 w 501"/>
                    <a:gd name="T7" fmla="*/ 159 h 416"/>
                    <a:gd name="T8" fmla="*/ 425 w 501"/>
                    <a:gd name="T9" fmla="*/ 413 h 416"/>
                    <a:gd name="T10" fmla="*/ 494 w 501"/>
                    <a:gd name="T11" fmla="*/ 400 h 416"/>
                    <a:gd name="T12" fmla="*/ 432 w 501"/>
                    <a:gd name="T13" fmla="*/ 87 h 416"/>
                    <a:gd name="T14" fmla="*/ 309 w 501"/>
                    <a:gd name="T15" fmla="*/ 23 h 416"/>
                    <a:gd name="T16" fmla="*/ 237 w 501"/>
                    <a:gd name="T17" fmla="*/ 74 h 416"/>
                    <a:gd name="T18" fmla="*/ 186 w 501"/>
                    <a:gd name="T19" fmla="*/ 25 h 416"/>
                    <a:gd name="T20" fmla="*/ 56 w 501"/>
                    <a:gd name="T21" fmla="*/ 107 h 416"/>
                    <a:gd name="T22" fmla="*/ 0 w 501"/>
                    <a:gd name="T23" fmla="*/ 407 h 416"/>
                    <a:gd name="T24" fmla="*/ 80 w 501"/>
                    <a:gd name="T25" fmla="*/ 416 h 416"/>
                    <a:gd name="T26" fmla="*/ 121 w 501"/>
                    <a:gd name="T27" fmla="*/ 165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1" h="416">
                      <a:moveTo>
                        <a:pt x="121" y="165"/>
                      </a:moveTo>
                      <a:cubicBezTo>
                        <a:pt x="121" y="358"/>
                        <a:pt x="121" y="358"/>
                        <a:pt x="121" y="358"/>
                      </a:cubicBezTo>
                      <a:cubicBezTo>
                        <a:pt x="233" y="384"/>
                        <a:pt x="378" y="358"/>
                        <a:pt x="378" y="358"/>
                      </a:cubicBezTo>
                      <a:cubicBezTo>
                        <a:pt x="378" y="159"/>
                        <a:pt x="378" y="159"/>
                        <a:pt x="378" y="159"/>
                      </a:cubicBezTo>
                      <a:cubicBezTo>
                        <a:pt x="411" y="208"/>
                        <a:pt x="425" y="413"/>
                        <a:pt x="425" y="413"/>
                      </a:cubicBezTo>
                      <a:cubicBezTo>
                        <a:pt x="443" y="396"/>
                        <a:pt x="494" y="400"/>
                        <a:pt x="494" y="400"/>
                      </a:cubicBezTo>
                      <a:cubicBezTo>
                        <a:pt x="501" y="367"/>
                        <a:pt x="479" y="174"/>
                        <a:pt x="432" y="87"/>
                      </a:cubicBezTo>
                      <a:cubicBezTo>
                        <a:pt x="385" y="0"/>
                        <a:pt x="309" y="23"/>
                        <a:pt x="309" y="23"/>
                      </a:cubicBezTo>
                      <a:cubicBezTo>
                        <a:pt x="299" y="76"/>
                        <a:pt x="237" y="74"/>
                        <a:pt x="237" y="74"/>
                      </a:cubicBezTo>
                      <a:cubicBezTo>
                        <a:pt x="197" y="75"/>
                        <a:pt x="186" y="25"/>
                        <a:pt x="186" y="25"/>
                      </a:cubicBezTo>
                      <a:cubicBezTo>
                        <a:pt x="186" y="25"/>
                        <a:pt x="109" y="9"/>
                        <a:pt x="56" y="107"/>
                      </a:cubicBezTo>
                      <a:cubicBezTo>
                        <a:pt x="7" y="197"/>
                        <a:pt x="0" y="407"/>
                        <a:pt x="0" y="407"/>
                      </a:cubicBezTo>
                      <a:cubicBezTo>
                        <a:pt x="18" y="402"/>
                        <a:pt x="80" y="416"/>
                        <a:pt x="80" y="416"/>
                      </a:cubicBezTo>
                      <a:cubicBezTo>
                        <a:pt x="74" y="203"/>
                        <a:pt x="121" y="165"/>
                        <a:pt x="121" y="165"/>
                      </a:cubicBezTo>
                      <a:close/>
                    </a:path>
                  </a:pathLst>
                </a:custGeom>
                <a:solidFill>
                  <a:srgbClr val="39393B"/>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CiscoSansTT ExtraLight"/>
                    <a:ea typeface="ＭＳ Ｐゴシック" charset="0"/>
                    <a:cs typeface="+mn-cs"/>
                  </a:endParaRPr>
                </a:p>
              </p:txBody>
            </p:sp>
            <p:sp>
              <p:nvSpPr>
                <p:cNvPr id="250" name="Freeform 55">
                  <a:extLst>
                    <a:ext uri="{FF2B5EF4-FFF2-40B4-BE49-F238E27FC236}">
                      <a16:creationId xmlns:a16="http://schemas.microsoft.com/office/drawing/2014/main" id="{7972A5C7-D244-49F2-9A1C-9FAC9505C16A}"/>
                    </a:ext>
                  </a:extLst>
                </p:cNvPr>
                <p:cNvSpPr>
                  <a:spLocks/>
                </p:cNvSpPr>
                <p:nvPr/>
              </p:nvSpPr>
              <p:spPr bwMode="auto">
                <a:xfrm>
                  <a:off x="6591300" y="3179763"/>
                  <a:ext cx="165100" cy="295275"/>
                </a:xfrm>
                <a:custGeom>
                  <a:avLst/>
                  <a:gdLst>
                    <a:gd name="T0" fmla="*/ 284 w 315"/>
                    <a:gd name="T1" fmla="*/ 0 h 564"/>
                    <a:gd name="T2" fmla="*/ 29 w 315"/>
                    <a:gd name="T3" fmla="*/ 0 h 564"/>
                    <a:gd name="T4" fmla="*/ 6 w 315"/>
                    <a:gd name="T5" fmla="*/ 494 h 564"/>
                    <a:gd name="T6" fmla="*/ 114 w 315"/>
                    <a:gd name="T7" fmla="*/ 494 h 564"/>
                    <a:gd name="T8" fmla="*/ 138 w 315"/>
                    <a:gd name="T9" fmla="*/ 99 h 564"/>
                    <a:gd name="T10" fmla="*/ 172 w 315"/>
                    <a:gd name="T11" fmla="*/ 99 h 564"/>
                    <a:gd name="T12" fmla="*/ 197 w 315"/>
                    <a:gd name="T13" fmla="*/ 492 h 564"/>
                    <a:gd name="T14" fmla="*/ 311 w 315"/>
                    <a:gd name="T15" fmla="*/ 485 h 564"/>
                    <a:gd name="T16" fmla="*/ 284 w 315"/>
                    <a:gd name="T17" fmla="*/ 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5" h="564">
                      <a:moveTo>
                        <a:pt x="284" y="0"/>
                      </a:moveTo>
                      <a:cubicBezTo>
                        <a:pt x="131" y="34"/>
                        <a:pt x="29" y="0"/>
                        <a:pt x="29" y="0"/>
                      </a:cubicBezTo>
                      <a:cubicBezTo>
                        <a:pt x="29" y="0"/>
                        <a:pt x="10" y="450"/>
                        <a:pt x="6" y="494"/>
                      </a:cubicBezTo>
                      <a:cubicBezTo>
                        <a:pt x="0" y="552"/>
                        <a:pt x="109" y="564"/>
                        <a:pt x="114" y="494"/>
                      </a:cubicBezTo>
                      <a:cubicBezTo>
                        <a:pt x="120" y="423"/>
                        <a:pt x="138" y="99"/>
                        <a:pt x="138" y="99"/>
                      </a:cubicBezTo>
                      <a:cubicBezTo>
                        <a:pt x="172" y="99"/>
                        <a:pt x="172" y="99"/>
                        <a:pt x="172" y="99"/>
                      </a:cubicBezTo>
                      <a:cubicBezTo>
                        <a:pt x="172" y="99"/>
                        <a:pt x="187" y="429"/>
                        <a:pt x="197" y="492"/>
                      </a:cubicBezTo>
                      <a:cubicBezTo>
                        <a:pt x="208" y="555"/>
                        <a:pt x="315" y="554"/>
                        <a:pt x="311" y="485"/>
                      </a:cubicBezTo>
                      <a:cubicBezTo>
                        <a:pt x="308" y="416"/>
                        <a:pt x="284" y="0"/>
                        <a:pt x="284" y="0"/>
                      </a:cubicBezTo>
                      <a:close/>
                    </a:path>
                  </a:pathLst>
                </a:custGeom>
                <a:solidFill>
                  <a:srgbClr val="39393B"/>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CiscoSansTT ExtraLight"/>
                    <a:ea typeface="ＭＳ Ｐゴシック" charset="0"/>
                    <a:cs typeface="+mn-cs"/>
                  </a:endParaRPr>
                </a:p>
              </p:txBody>
            </p:sp>
            <p:sp>
              <p:nvSpPr>
                <p:cNvPr id="251" name="Freeform 56">
                  <a:extLst>
                    <a:ext uri="{FF2B5EF4-FFF2-40B4-BE49-F238E27FC236}">
                      <a16:creationId xmlns:a16="http://schemas.microsoft.com/office/drawing/2014/main" id="{2607929D-6308-4DBD-B75A-C844B29599BB}"/>
                    </a:ext>
                  </a:extLst>
                </p:cNvPr>
                <p:cNvSpPr>
                  <a:spLocks/>
                </p:cNvSpPr>
                <p:nvPr/>
              </p:nvSpPr>
              <p:spPr bwMode="auto">
                <a:xfrm>
                  <a:off x="6765925" y="3182938"/>
                  <a:ext cx="42863" cy="46038"/>
                </a:xfrm>
                <a:custGeom>
                  <a:avLst/>
                  <a:gdLst>
                    <a:gd name="T0" fmla="*/ 0 w 81"/>
                    <a:gd name="T1" fmla="*/ 22 h 87"/>
                    <a:gd name="T2" fmla="*/ 45 w 81"/>
                    <a:gd name="T3" fmla="*/ 71 h 87"/>
                    <a:gd name="T4" fmla="*/ 72 w 81"/>
                    <a:gd name="T5" fmla="*/ 7 h 87"/>
                    <a:gd name="T6" fmla="*/ 0 w 81"/>
                    <a:gd name="T7" fmla="*/ 22 h 87"/>
                  </a:gdLst>
                  <a:ahLst/>
                  <a:cxnLst>
                    <a:cxn ang="0">
                      <a:pos x="T0" y="T1"/>
                    </a:cxn>
                    <a:cxn ang="0">
                      <a:pos x="T2" y="T3"/>
                    </a:cxn>
                    <a:cxn ang="0">
                      <a:pos x="T4" y="T5"/>
                    </a:cxn>
                    <a:cxn ang="0">
                      <a:pos x="T6" y="T7"/>
                    </a:cxn>
                  </a:cxnLst>
                  <a:rect l="0" t="0" r="r" b="b"/>
                  <a:pathLst>
                    <a:path w="81" h="87">
                      <a:moveTo>
                        <a:pt x="0" y="22"/>
                      </a:moveTo>
                      <a:cubicBezTo>
                        <a:pt x="0" y="22"/>
                        <a:pt x="9" y="87"/>
                        <a:pt x="45" y="71"/>
                      </a:cubicBezTo>
                      <a:cubicBezTo>
                        <a:pt x="81" y="55"/>
                        <a:pt x="72" y="7"/>
                        <a:pt x="72" y="7"/>
                      </a:cubicBezTo>
                      <a:cubicBezTo>
                        <a:pt x="42" y="0"/>
                        <a:pt x="0" y="22"/>
                        <a:pt x="0" y="22"/>
                      </a:cubicBezTo>
                      <a:close/>
                    </a:path>
                  </a:pathLst>
                </a:custGeom>
                <a:solidFill>
                  <a:srgbClr val="39393B"/>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CiscoSansTT ExtraLight"/>
                    <a:ea typeface="ＭＳ Ｐゴシック" charset="0"/>
                    <a:cs typeface="+mn-cs"/>
                  </a:endParaRPr>
                </a:p>
              </p:txBody>
            </p:sp>
            <p:sp>
              <p:nvSpPr>
                <p:cNvPr id="252" name="Freeform 57">
                  <a:extLst>
                    <a:ext uri="{FF2B5EF4-FFF2-40B4-BE49-F238E27FC236}">
                      <a16:creationId xmlns:a16="http://schemas.microsoft.com/office/drawing/2014/main" id="{16C3ACA4-E9E8-4E9D-8EE7-EA07B508BF63}"/>
                    </a:ext>
                  </a:extLst>
                </p:cNvPr>
                <p:cNvSpPr>
                  <a:spLocks/>
                </p:cNvSpPr>
                <p:nvPr/>
              </p:nvSpPr>
              <p:spPr bwMode="auto">
                <a:xfrm>
                  <a:off x="6540500" y="3182938"/>
                  <a:ext cx="42863" cy="46038"/>
                </a:xfrm>
                <a:custGeom>
                  <a:avLst/>
                  <a:gdLst>
                    <a:gd name="T0" fmla="*/ 9 w 81"/>
                    <a:gd name="T1" fmla="*/ 7 h 87"/>
                    <a:gd name="T2" fmla="*/ 36 w 81"/>
                    <a:gd name="T3" fmla="*/ 71 h 87"/>
                    <a:gd name="T4" fmla="*/ 81 w 81"/>
                    <a:gd name="T5" fmla="*/ 22 h 87"/>
                    <a:gd name="T6" fmla="*/ 9 w 81"/>
                    <a:gd name="T7" fmla="*/ 7 h 87"/>
                  </a:gdLst>
                  <a:ahLst/>
                  <a:cxnLst>
                    <a:cxn ang="0">
                      <a:pos x="T0" y="T1"/>
                    </a:cxn>
                    <a:cxn ang="0">
                      <a:pos x="T2" y="T3"/>
                    </a:cxn>
                    <a:cxn ang="0">
                      <a:pos x="T4" y="T5"/>
                    </a:cxn>
                    <a:cxn ang="0">
                      <a:pos x="T6" y="T7"/>
                    </a:cxn>
                  </a:cxnLst>
                  <a:rect l="0" t="0" r="r" b="b"/>
                  <a:pathLst>
                    <a:path w="81" h="87">
                      <a:moveTo>
                        <a:pt x="9" y="7"/>
                      </a:moveTo>
                      <a:cubicBezTo>
                        <a:pt x="9" y="7"/>
                        <a:pt x="0" y="55"/>
                        <a:pt x="36" y="71"/>
                      </a:cubicBezTo>
                      <a:cubicBezTo>
                        <a:pt x="72" y="87"/>
                        <a:pt x="81" y="22"/>
                        <a:pt x="81" y="22"/>
                      </a:cubicBezTo>
                      <a:cubicBezTo>
                        <a:pt x="81" y="22"/>
                        <a:pt x="40" y="0"/>
                        <a:pt x="9" y="7"/>
                      </a:cubicBezTo>
                      <a:close/>
                    </a:path>
                  </a:pathLst>
                </a:custGeom>
                <a:solidFill>
                  <a:srgbClr val="39393B"/>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CiscoSansTT ExtraLight"/>
                    <a:ea typeface="ＭＳ Ｐゴシック" charset="0"/>
                    <a:cs typeface="+mn-cs"/>
                  </a:endParaRPr>
                </a:p>
              </p:txBody>
            </p:sp>
          </p:grpSp>
          <p:grpSp>
            <p:nvGrpSpPr>
              <p:cNvPr id="244" name="Group 243">
                <a:extLst>
                  <a:ext uri="{FF2B5EF4-FFF2-40B4-BE49-F238E27FC236}">
                    <a16:creationId xmlns:a16="http://schemas.microsoft.com/office/drawing/2014/main" id="{5225EE27-5BCE-4BC7-A9F6-67CC64D39721}"/>
                  </a:ext>
                </a:extLst>
              </p:cNvPr>
              <p:cNvGrpSpPr/>
              <p:nvPr/>
            </p:nvGrpSpPr>
            <p:grpSpPr>
              <a:xfrm>
                <a:off x="6760804" y="3133725"/>
                <a:ext cx="73384" cy="101135"/>
                <a:chOff x="6398854" y="3130841"/>
                <a:chExt cx="50409" cy="65919"/>
              </a:xfrm>
            </p:grpSpPr>
            <p:sp>
              <p:nvSpPr>
                <p:cNvPr id="245" name="Freeform 18">
                  <a:extLst>
                    <a:ext uri="{FF2B5EF4-FFF2-40B4-BE49-F238E27FC236}">
                      <a16:creationId xmlns:a16="http://schemas.microsoft.com/office/drawing/2014/main" id="{7A28E69F-24C7-40F8-9E00-A542BA274570}"/>
                    </a:ext>
                  </a:extLst>
                </p:cNvPr>
                <p:cNvSpPr>
                  <a:spLocks/>
                </p:cNvSpPr>
                <p:nvPr/>
              </p:nvSpPr>
              <p:spPr bwMode="auto">
                <a:xfrm>
                  <a:off x="6404670" y="3165740"/>
                  <a:ext cx="26589" cy="18280"/>
                </a:xfrm>
                <a:custGeom>
                  <a:avLst/>
                  <a:gdLst>
                    <a:gd name="T0" fmla="*/ 0 w 50"/>
                    <a:gd name="T1" fmla="*/ 0 h 34"/>
                    <a:gd name="T2" fmla="*/ 25 w 50"/>
                    <a:gd name="T3" fmla="*/ 31 h 34"/>
                    <a:gd name="T4" fmla="*/ 47 w 50"/>
                    <a:gd name="T5" fmla="*/ 0 h 34"/>
                    <a:gd name="T6" fmla="*/ 0 w 50"/>
                    <a:gd name="T7" fmla="*/ 0 h 34"/>
                  </a:gdLst>
                  <a:ahLst/>
                  <a:cxnLst>
                    <a:cxn ang="0">
                      <a:pos x="T0" y="T1"/>
                    </a:cxn>
                    <a:cxn ang="0">
                      <a:pos x="T2" y="T3"/>
                    </a:cxn>
                    <a:cxn ang="0">
                      <a:pos x="T4" y="T5"/>
                    </a:cxn>
                    <a:cxn ang="0">
                      <a:pos x="T6" y="T7"/>
                    </a:cxn>
                  </a:cxnLst>
                  <a:rect l="0" t="0" r="r" b="b"/>
                  <a:pathLst>
                    <a:path w="50" h="34">
                      <a:moveTo>
                        <a:pt x="0" y="0"/>
                      </a:moveTo>
                      <a:cubicBezTo>
                        <a:pt x="0" y="0"/>
                        <a:pt x="0" y="34"/>
                        <a:pt x="25" y="31"/>
                      </a:cubicBezTo>
                      <a:cubicBezTo>
                        <a:pt x="50" y="27"/>
                        <a:pt x="47" y="0"/>
                        <a:pt x="47" y="0"/>
                      </a:cubicBezTo>
                      <a:lnTo>
                        <a:pt x="0" y="0"/>
                      </a:lnTo>
                      <a:close/>
                    </a:path>
                  </a:pathLst>
                </a:custGeom>
                <a:solidFill>
                  <a:srgbClr val="3939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CiscoSansTT ExtraLight"/>
                    <a:ea typeface="ＭＳ Ｐゴシック" charset="0"/>
                    <a:cs typeface="+mn-cs"/>
                  </a:endParaRPr>
                </a:p>
              </p:txBody>
            </p:sp>
            <p:sp>
              <p:nvSpPr>
                <p:cNvPr id="246" name="Freeform 21">
                  <a:extLst>
                    <a:ext uri="{FF2B5EF4-FFF2-40B4-BE49-F238E27FC236}">
                      <a16:creationId xmlns:a16="http://schemas.microsoft.com/office/drawing/2014/main" id="{60E6617D-61E0-4A94-ADA4-4F6D322797CE}"/>
                    </a:ext>
                  </a:extLst>
                </p:cNvPr>
                <p:cNvSpPr>
                  <a:spLocks/>
                </p:cNvSpPr>
                <p:nvPr/>
              </p:nvSpPr>
              <p:spPr bwMode="auto">
                <a:xfrm>
                  <a:off x="6398854" y="3130841"/>
                  <a:ext cx="50409" cy="65919"/>
                </a:xfrm>
                <a:custGeom>
                  <a:avLst/>
                  <a:gdLst>
                    <a:gd name="T0" fmla="*/ 51 w 95"/>
                    <a:gd name="T1" fmla="*/ 121 h 124"/>
                    <a:gd name="T2" fmla="*/ 11 w 95"/>
                    <a:gd name="T3" fmla="*/ 109 h 124"/>
                    <a:gd name="T4" fmla="*/ 2 w 95"/>
                    <a:gd name="T5" fmla="*/ 93 h 124"/>
                    <a:gd name="T6" fmla="*/ 28 w 95"/>
                    <a:gd name="T7" fmla="*/ 11 h 124"/>
                    <a:gd name="T8" fmla="*/ 44 w 95"/>
                    <a:gd name="T9" fmla="*/ 3 h 124"/>
                    <a:gd name="T10" fmla="*/ 85 w 95"/>
                    <a:gd name="T11" fmla="*/ 15 h 124"/>
                    <a:gd name="T12" fmla="*/ 93 w 95"/>
                    <a:gd name="T13" fmla="*/ 31 h 124"/>
                    <a:gd name="T14" fmla="*/ 67 w 95"/>
                    <a:gd name="T15" fmla="*/ 113 h 124"/>
                    <a:gd name="T16" fmla="*/ 51 w 95"/>
                    <a:gd name="T17" fmla="*/ 12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24">
                      <a:moveTo>
                        <a:pt x="51" y="121"/>
                      </a:moveTo>
                      <a:cubicBezTo>
                        <a:pt x="11" y="109"/>
                        <a:pt x="11" y="109"/>
                        <a:pt x="11" y="109"/>
                      </a:cubicBezTo>
                      <a:cubicBezTo>
                        <a:pt x="4" y="107"/>
                        <a:pt x="0" y="99"/>
                        <a:pt x="2" y="93"/>
                      </a:cubicBezTo>
                      <a:cubicBezTo>
                        <a:pt x="28" y="11"/>
                        <a:pt x="28" y="11"/>
                        <a:pt x="28" y="11"/>
                      </a:cubicBezTo>
                      <a:cubicBezTo>
                        <a:pt x="30" y="4"/>
                        <a:pt x="37" y="0"/>
                        <a:pt x="44" y="3"/>
                      </a:cubicBezTo>
                      <a:cubicBezTo>
                        <a:pt x="85" y="15"/>
                        <a:pt x="85" y="15"/>
                        <a:pt x="85" y="15"/>
                      </a:cubicBezTo>
                      <a:cubicBezTo>
                        <a:pt x="91" y="17"/>
                        <a:pt x="95" y="25"/>
                        <a:pt x="93" y="31"/>
                      </a:cubicBezTo>
                      <a:cubicBezTo>
                        <a:pt x="67" y="113"/>
                        <a:pt x="67" y="113"/>
                        <a:pt x="67" y="113"/>
                      </a:cubicBezTo>
                      <a:cubicBezTo>
                        <a:pt x="65" y="120"/>
                        <a:pt x="58" y="124"/>
                        <a:pt x="51" y="121"/>
                      </a:cubicBezTo>
                      <a:close/>
                    </a:path>
                  </a:pathLst>
                </a:custGeom>
                <a:solidFill>
                  <a:srgbClr val="0498D1">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CiscoSansTT ExtraLight"/>
                    <a:ea typeface="ＭＳ Ｐゴシック" charset="0"/>
                    <a:cs typeface="+mn-cs"/>
                  </a:endParaRPr>
                </a:p>
              </p:txBody>
            </p:sp>
            <p:sp>
              <p:nvSpPr>
                <p:cNvPr id="247" name="Freeform 22">
                  <a:extLst>
                    <a:ext uri="{FF2B5EF4-FFF2-40B4-BE49-F238E27FC236}">
                      <a16:creationId xmlns:a16="http://schemas.microsoft.com/office/drawing/2014/main" id="{4D0988B7-3CD6-4AC4-A215-FDA801AFBE7A}"/>
                    </a:ext>
                  </a:extLst>
                </p:cNvPr>
                <p:cNvSpPr>
                  <a:spLocks/>
                </p:cNvSpPr>
                <p:nvPr/>
              </p:nvSpPr>
              <p:spPr bwMode="auto">
                <a:xfrm>
                  <a:off x="6405778" y="3137766"/>
                  <a:ext cx="37114" cy="52071"/>
                </a:xfrm>
                <a:custGeom>
                  <a:avLst/>
                  <a:gdLst>
                    <a:gd name="T0" fmla="*/ 28 w 70"/>
                    <a:gd name="T1" fmla="*/ 0 h 98"/>
                    <a:gd name="T2" fmla="*/ 26 w 70"/>
                    <a:gd name="T3" fmla="*/ 1 h 98"/>
                    <a:gd name="T4" fmla="*/ 0 w 70"/>
                    <a:gd name="T5" fmla="*/ 83 h 98"/>
                    <a:gd name="T6" fmla="*/ 1 w 70"/>
                    <a:gd name="T7" fmla="*/ 85 h 98"/>
                    <a:gd name="T8" fmla="*/ 41 w 70"/>
                    <a:gd name="T9" fmla="*/ 98 h 98"/>
                    <a:gd name="T10" fmla="*/ 44 w 70"/>
                    <a:gd name="T11" fmla="*/ 97 h 98"/>
                    <a:gd name="T12" fmla="*/ 69 w 70"/>
                    <a:gd name="T13" fmla="*/ 15 h 98"/>
                    <a:gd name="T14" fmla="*/ 68 w 70"/>
                    <a:gd name="T15" fmla="*/ 13 h 98"/>
                    <a:gd name="T16" fmla="*/ 28 w 70"/>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98">
                      <a:moveTo>
                        <a:pt x="28" y="0"/>
                      </a:moveTo>
                      <a:cubicBezTo>
                        <a:pt x="27" y="0"/>
                        <a:pt x="26" y="0"/>
                        <a:pt x="26" y="1"/>
                      </a:cubicBezTo>
                      <a:cubicBezTo>
                        <a:pt x="0" y="83"/>
                        <a:pt x="0" y="83"/>
                        <a:pt x="0" y="83"/>
                      </a:cubicBezTo>
                      <a:cubicBezTo>
                        <a:pt x="0" y="84"/>
                        <a:pt x="0" y="85"/>
                        <a:pt x="1" y="85"/>
                      </a:cubicBezTo>
                      <a:cubicBezTo>
                        <a:pt x="41" y="98"/>
                        <a:pt x="41" y="98"/>
                        <a:pt x="41" y="98"/>
                      </a:cubicBezTo>
                      <a:cubicBezTo>
                        <a:pt x="42" y="98"/>
                        <a:pt x="43" y="98"/>
                        <a:pt x="44" y="97"/>
                      </a:cubicBezTo>
                      <a:cubicBezTo>
                        <a:pt x="69" y="15"/>
                        <a:pt x="69" y="15"/>
                        <a:pt x="69" y="15"/>
                      </a:cubicBezTo>
                      <a:cubicBezTo>
                        <a:pt x="70" y="14"/>
                        <a:pt x="69" y="13"/>
                        <a:pt x="68" y="13"/>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CiscoSansTT ExtraLight"/>
                    <a:ea typeface="ＭＳ Ｐゴシック" charset="0"/>
                    <a:cs typeface="+mn-cs"/>
                  </a:endParaRPr>
                </a:p>
              </p:txBody>
            </p:sp>
          </p:grpSp>
        </p:grpSp>
        <p:grpSp>
          <p:nvGrpSpPr>
            <p:cNvPr id="418" name="Group 417">
              <a:extLst>
                <a:ext uri="{FF2B5EF4-FFF2-40B4-BE49-F238E27FC236}">
                  <a16:creationId xmlns:a16="http://schemas.microsoft.com/office/drawing/2014/main" id="{C39DAB53-E615-4E28-B6AE-8DFF597DBD69}"/>
                </a:ext>
              </a:extLst>
            </p:cNvPr>
            <p:cNvGrpSpPr/>
            <p:nvPr/>
          </p:nvGrpSpPr>
          <p:grpSpPr>
            <a:xfrm>
              <a:off x="7417912" y="3348938"/>
              <a:ext cx="1527126" cy="967469"/>
              <a:chOff x="7228936" y="3348938"/>
              <a:chExt cx="1527126" cy="967469"/>
            </a:xfrm>
          </p:grpSpPr>
          <p:sp>
            <p:nvSpPr>
              <p:cNvPr id="103" name="Rounded Rectangle 49">
                <a:extLst>
                  <a:ext uri="{FF2B5EF4-FFF2-40B4-BE49-F238E27FC236}">
                    <a16:creationId xmlns:a16="http://schemas.microsoft.com/office/drawing/2014/main" id="{CF026230-6836-4792-A1F7-FC9A91890F38}"/>
                  </a:ext>
                </a:extLst>
              </p:cNvPr>
              <p:cNvSpPr/>
              <p:nvPr/>
            </p:nvSpPr>
            <p:spPr>
              <a:xfrm>
                <a:off x="7228936" y="3461099"/>
                <a:ext cx="1461941" cy="855308"/>
              </a:xfrm>
              <a:prstGeom prst="roundRect">
                <a:avLst>
                  <a:gd name="adj" fmla="val 2225"/>
                </a:avLst>
              </a:prstGeom>
              <a:noFill/>
              <a:ln w="25400" cap="flat" cmpd="sng" algn="ctr">
                <a:solidFill>
                  <a:srgbClr val="FFFFFF">
                    <a:lumMod val="50000"/>
                  </a:srgbClr>
                </a:solidFill>
                <a:prstDash val="sysDash"/>
              </a:ln>
              <a:effectLst/>
            </p:spPr>
            <p:txBody>
              <a:bodyPr lIns="73152" tIns="36576" rIns="73152" bIns="36576" rtlCol="0" anchor="t">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9393B"/>
                    </a:solidFill>
                    <a:effectLst/>
                    <a:uLnTx/>
                    <a:uFillTx/>
                    <a:latin typeface="CiscoSansTT ExtraLight"/>
                    <a:ea typeface="ＭＳ Ｐゴシック" charset="0"/>
                    <a:cs typeface="+mn-cs"/>
                  </a:rPr>
                  <a:t>Data Center</a:t>
                </a:r>
              </a:p>
            </p:txBody>
          </p:sp>
          <p:grpSp>
            <p:nvGrpSpPr>
              <p:cNvPr id="225" name="Group 224">
                <a:extLst>
                  <a:ext uri="{FF2B5EF4-FFF2-40B4-BE49-F238E27FC236}">
                    <a16:creationId xmlns:a16="http://schemas.microsoft.com/office/drawing/2014/main" id="{D6B2B6BF-916C-4905-A342-CCC9829A0D1D}"/>
                  </a:ext>
                </a:extLst>
              </p:cNvPr>
              <p:cNvGrpSpPr/>
              <p:nvPr/>
            </p:nvGrpSpPr>
            <p:grpSpPr>
              <a:xfrm>
                <a:off x="8481742" y="3349488"/>
                <a:ext cx="274320" cy="274320"/>
                <a:chOff x="5638829" y="2574999"/>
                <a:chExt cx="293235" cy="294128"/>
              </a:xfrm>
            </p:grpSpPr>
            <p:sp>
              <p:nvSpPr>
                <p:cNvPr id="226" name="Oval 225">
                  <a:extLst>
                    <a:ext uri="{FF2B5EF4-FFF2-40B4-BE49-F238E27FC236}">
                      <a16:creationId xmlns:a16="http://schemas.microsoft.com/office/drawing/2014/main" id="{5CC857AB-64EA-497D-B54C-C2F4543F38A3}"/>
                    </a:ext>
                  </a:extLst>
                </p:cNvPr>
                <p:cNvSpPr/>
                <p:nvPr/>
              </p:nvSpPr>
              <p:spPr>
                <a:xfrm>
                  <a:off x="5638829" y="2574999"/>
                  <a:ext cx="293235" cy="294128"/>
                </a:xfrm>
                <a:prstGeom prst="ellipse">
                  <a:avLst/>
                </a:prstGeom>
                <a:solidFill>
                  <a:srgbClr val="FFFFFF">
                    <a:lumMod val="50000"/>
                  </a:srgbClr>
                </a:solidFill>
                <a:ln w="25400" cap="flat">
                  <a:solidFill>
                    <a:srgbClr val="FFFFFF">
                      <a:lumMod val="65000"/>
                    </a:srgbClr>
                  </a:solidFill>
                  <a:round/>
                  <a:headEnd type="none" w="med" len="med"/>
                  <a:tailEnd type="none" w="med" len="med"/>
                </a:ln>
                <a:effectLst/>
              </p:spPr>
              <p:txBody>
                <a:bodyPr lIns="0" tIns="0" rIns="0" bIns="0"/>
                <a:lstStyle/>
                <a:p>
                  <a:pPr marL="0" marR="0" lvl="0" indent="0" algn="l" defTabSz="685800" rtl="0" eaLnBrk="0" fontAlgn="auto" latinLnBrk="0" hangingPunct="0">
                    <a:lnSpc>
                      <a:spcPct val="9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grpSp>
              <p:nvGrpSpPr>
                <p:cNvPr id="227" name="Group 226">
                  <a:extLst>
                    <a:ext uri="{FF2B5EF4-FFF2-40B4-BE49-F238E27FC236}">
                      <a16:creationId xmlns:a16="http://schemas.microsoft.com/office/drawing/2014/main" id="{1F11E764-50F0-4F8F-ABAD-331DFB1F5ABA}"/>
                    </a:ext>
                  </a:extLst>
                </p:cNvPr>
                <p:cNvGrpSpPr/>
                <p:nvPr/>
              </p:nvGrpSpPr>
              <p:grpSpPr>
                <a:xfrm>
                  <a:off x="5749077" y="2606625"/>
                  <a:ext cx="72738" cy="230877"/>
                  <a:chOff x="4707334" y="2441614"/>
                  <a:chExt cx="106495" cy="338027"/>
                </a:xfrm>
              </p:grpSpPr>
              <p:sp>
                <p:nvSpPr>
                  <p:cNvPr id="231" name="Freeform 5">
                    <a:extLst>
                      <a:ext uri="{FF2B5EF4-FFF2-40B4-BE49-F238E27FC236}">
                        <a16:creationId xmlns:a16="http://schemas.microsoft.com/office/drawing/2014/main" id="{CACE07E9-7C28-4682-BD4C-277C08CC1B90}"/>
                      </a:ext>
                    </a:extLst>
                  </p:cNvPr>
                  <p:cNvSpPr>
                    <a:spLocks/>
                  </p:cNvSpPr>
                  <p:nvPr/>
                </p:nvSpPr>
                <p:spPr bwMode="auto">
                  <a:xfrm rot="16200000" flipH="1">
                    <a:off x="4697152" y="2451796"/>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CiscoSansTT ExtraLight"/>
                      <a:ea typeface="+mn-ea"/>
                      <a:cs typeface="+mn-cs"/>
                    </a:endParaRPr>
                  </a:p>
                </p:txBody>
              </p:sp>
              <p:sp>
                <p:nvSpPr>
                  <p:cNvPr id="232" name="Freeform 5">
                    <a:extLst>
                      <a:ext uri="{FF2B5EF4-FFF2-40B4-BE49-F238E27FC236}">
                        <a16:creationId xmlns:a16="http://schemas.microsoft.com/office/drawing/2014/main" id="{42C30CB1-2B94-4EFF-AC0B-60F965E2B10B}"/>
                      </a:ext>
                    </a:extLst>
                  </p:cNvPr>
                  <p:cNvSpPr>
                    <a:spLocks/>
                  </p:cNvSpPr>
                  <p:nvPr/>
                </p:nvSpPr>
                <p:spPr bwMode="auto">
                  <a:xfrm rot="5400000" flipH="1">
                    <a:off x="4697154" y="2662967"/>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CiscoSansTT ExtraLight"/>
                      <a:ea typeface="+mn-ea"/>
                      <a:cs typeface="+mn-cs"/>
                    </a:endParaRPr>
                  </a:p>
                </p:txBody>
              </p:sp>
            </p:grpSp>
            <p:grpSp>
              <p:nvGrpSpPr>
                <p:cNvPr id="228" name="Group 227">
                  <a:extLst>
                    <a:ext uri="{FF2B5EF4-FFF2-40B4-BE49-F238E27FC236}">
                      <a16:creationId xmlns:a16="http://schemas.microsoft.com/office/drawing/2014/main" id="{9C3850F6-036E-40D1-9CE6-09E2811F9876}"/>
                    </a:ext>
                  </a:extLst>
                </p:cNvPr>
                <p:cNvGrpSpPr/>
                <p:nvPr/>
              </p:nvGrpSpPr>
              <p:grpSpPr>
                <a:xfrm rot="5400000">
                  <a:off x="5749078" y="2606626"/>
                  <a:ext cx="72737" cy="230874"/>
                  <a:chOff x="4801866" y="2441614"/>
                  <a:chExt cx="106494" cy="338023"/>
                </a:xfrm>
              </p:grpSpPr>
              <p:sp>
                <p:nvSpPr>
                  <p:cNvPr id="229" name="Freeform 5">
                    <a:extLst>
                      <a:ext uri="{FF2B5EF4-FFF2-40B4-BE49-F238E27FC236}">
                        <a16:creationId xmlns:a16="http://schemas.microsoft.com/office/drawing/2014/main" id="{8B1CC371-238A-4D50-8BEA-C476199FB70C}"/>
                      </a:ext>
                    </a:extLst>
                  </p:cNvPr>
                  <p:cNvSpPr>
                    <a:spLocks/>
                  </p:cNvSpPr>
                  <p:nvPr/>
                </p:nvSpPr>
                <p:spPr bwMode="auto">
                  <a:xfrm rot="16200000" flipH="1">
                    <a:off x="4791685" y="2451795"/>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CiscoSansTT ExtraLight"/>
                      <a:ea typeface="+mn-ea"/>
                      <a:cs typeface="+mn-cs"/>
                    </a:endParaRPr>
                  </a:p>
                </p:txBody>
              </p:sp>
              <p:sp>
                <p:nvSpPr>
                  <p:cNvPr id="230" name="Freeform 5">
                    <a:extLst>
                      <a:ext uri="{FF2B5EF4-FFF2-40B4-BE49-F238E27FC236}">
                        <a16:creationId xmlns:a16="http://schemas.microsoft.com/office/drawing/2014/main" id="{BB3DCF54-9AA8-4710-ACBC-B5786A2735B5}"/>
                      </a:ext>
                    </a:extLst>
                  </p:cNvPr>
                  <p:cNvSpPr>
                    <a:spLocks/>
                  </p:cNvSpPr>
                  <p:nvPr/>
                </p:nvSpPr>
                <p:spPr bwMode="auto">
                  <a:xfrm rot="5400000" flipH="1">
                    <a:off x="4791684" y="2662964"/>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CiscoSansTT ExtraLight"/>
                      <a:ea typeface="+mn-ea"/>
                      <a:cs typeface="+mn-cs"/>
                    </a:endParaRPr>
                  </a:p>
                </p:txBody>
              </p:sp>
            </p:grpSp>
          </p:grpSp>
          <p:grpSp>
            <p:nvGrpSpPr>
              <p:cNvPr id="233" name="Group 232">
                <a:extLst>
                  <a:ext uri="{FF2B5EF4-FFF2-40B4-BE49-F238E27FC236}">
                    <a16:creationId xmlns:a16="http://schemas.microsoft.com/office/drawing/2014/main" id="{F8AAA52D-E77C-4653-9AF2-98541AE2C8C0}"/>
                  </a:ext>
                </a:extLst>
              </p:cNvPr>
              <p:cNvGrpSpPr/>
              <p:nvPr/>
            </p:nvGrpSpPr>
            <p:grpSpPr>
              <a:xfrm>
                <a:off x="8118924" y="3348938"/>
                <a:ext cx="274870" cy="274870"/>
                <a:chOff x="8050590" y="3539438"/>
                <a:chExt cx="274870" cy="274870"/>
              </a:xfrm>
            </p:grpSpPr>
            <p:sp>
              <p:nvSpPr>
                <p:cNvPr id="234" name="Oval 263">
                  <a:extLst>
                    <a:ext uri="{FF2B5EF4-FFF2-40B4-BE49-F238E27FC236}">
                      <a16:creationId xmlns:a16="http://schemas.microsoft.com/office/drawing/2014/main" id="{705FAD7A-9217-4C1D-AAD1-F40B2D4110C9}"/>
                    </a:ext>
                  </a:extLst>
                </p:cNvPr>
                <p:cNvSpPr>
                  <a:spLocks/>
                </p:cNvSpPr>
                <p:nvPr/>
              </p:nvSpPr>
              <p:spPr bwMode="auto">
                <a:xfrm>
                  <a:off x="8050590" y="3539438"/>
                  <a:ext cx="274870" cy="274870"/>
                </a:xfrm>
                <a:prstGeom prst="ellipse">
                  <a:avLst/>
                </a:prstGeom>
                <a:solidFill>
                  <a:srgbClr val="FFFFFF">
                    <a:lumMod val="50000"/>
                  </a:srgbClr>
                </a:solidFill>
                <a:ln w="25400" cap="flat">
                  <a:solidFill>
                    <a:srgbClr val="FFFFFF">
                      <a:lumMod val="65000"/>
                    </a:srgbClr>
                  </a:solidFill>
                  <a:round/>
                  <a:headEnd type="none" w="med" len="med"/>
                  <a:tailEnd type="none" w="med" len="med"/>
                </a:ln>
                <a:effectLst/>
              </p:spPr>
              <p:txBody>
                <a:bodyPr lIns="0" tIns="0" rIns="0" bIns="0"/>
                <a:lstStyle/>
                <a:p>
                  <a:pPr marL="0" marR="0" lvl="0" indent="0" algn="l" defTabSz="685800" rtl="0" eaLnBrk="0" fontAlgn="auto" latinLnBrk="0" hangingPunct="0">
                    <a:lnSpc>
                      <a:spcPct val="9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grpSp>
              <p:nvGrpSpPr>
                <p:cNvPr id="235" name="Group 234">
                  <a:extLst>
                    <a:ext uri="{FF2B5EF4-FFF2-40B4-BE49-F238E27FC236}">
                      <a16:creationId xmlns:a16="http://schemas.microsoft.com/office/drawing/2014/main" id="{51D7629C-2B7B-4E3E-9925-D67C908DD50F}"/>
                    </a:ext>
                  </a:extLst>
                </p:cNvPr>
                <p:cNvGrpSpPr/>
                <p:nvPr/>
              </p:nvGrpSpPr>
              <p:grpSpPr>
                <a:xfrm>
                  <a:off x="8105408" y="3619812"/>
                  <a:ext cx="160527" cy="118145"/>
                  <a:chOff x="5184662" y="2694894"/>
                  <a:chExt cx="164415" cy="121006"/>
                </a:xfrm>
              </p:grpSpPr>
              <p:sp>
                <p:nvSpPr>
                  <p:cNvPr id="236" name="Rectangle 49">
                    <a:extLst>
                      <a:ext uri="{FF2B5EF4-FFF2-40B4-BE49-F238E27FC236}">
                        <a16:creationId xmlns:a16="http://schemas.microsoft.com/office/drawing/2014/main" id="{E7628263-9921-4FC6-AC6F-03D02E951681}"/>
                      </a:ext>
                    </a:extLst>
                  </p:cNvPr>
                  <p:cNvSpPr>
                    <a:spLocks noChangeArrowheads="1"/>
                  </p:cNvSpPr>
                  <p:nvPr/>
                </p:nvSpPr>
                <p:spPr bwMode="auto">
                  <a:xfrm>
                    <a:off x="5184662" y="2777916"/>
                    <a:ext cx="109610"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37" name="Rectangle 50">
                    <a:extLst>
                      <a:ext uri="{FF2B5EF4-FFF2-40B4-BE49-F238E27FC236}">
                        <a16:creationId xmlns:a16="http://schemas.microsoft.com/office/drawing/2014/main" id="{0364A948-79D6-4E84-9879-576DBFEB605E}"/>
                      </a:ext>
                    </a:extLst>
                  </p:cNvPr>
                  <p:cNvSpPr>
                    <a:spLocks noChangeArrowheads="1"/>
                  </p:cNvSpPr>
                  <p:nvPr/>
                </p:nvSpPr>
                <p:spPr bwMode="auto">
                  <a:xfrm>
                    <a:off x="5239467" y="2736133"/>
                    <a:ext cx="109610"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38" name="Rectangle 51">
                    <a:extLst>
                      <a:ext uri="{FF2B5EF4-FFF2-40B4-BE49-F238E27FC236}">
                        <a16:creationId xmlns:a16="http://schemas.microsoft.com/office/drawing/2014/main" id="{C43E04AB-BC59-40C7-BD3A-ADA87EB6843E}"/>
                      </a:ext>
                    </a:extLst>
                  </p:cNvPr>
                  <p:cNvSpPr>
                    <a:spLocks noChangeArrowheads="1"/>
                  </p:cNvSpPr>
                  <p:nvPr/>
                </p:nvSpPr>
                <p:spPr bwMode="auto">
                  <a:xfrm>
                    <a:off x="5299156" y="2777916"/>
                    <a:ext cx="49921"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39" name="Rectangle 52">
                    <a:extLst>
                      <a:ext uri="{FF2B5EF4-FFF2-40B4-BE49-F238E27FC236}">
                        <a16:creationId xmlns:a16="http://schemas.microsoft.com/office/drawing/2014/main" id="{0AEC1FC8-53C7-46F0-8405-B5530F0D143E}"/>
                      </a:ext>
                    </a:extLst>
                  </p:cNvPr>
                  <p:cNvSpPr>
                    <a:spLocks noChangeArrowheads="1"/>
                  </p:cNvSpPr>
                  <p:nvPr/>
                </p:nvSpPr>
                <p:spPr bwMode="auto">
                  <a:xfrm>
                    <a:off x="5299156" y="2694894"/>
                    <a:ext cx="49921" cy="37441"/>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40" name="Rectangle 53">
                    <a:extLst>
                      <a:ext uri="{FF2B5EF4-FFF2-40B4-BE49-F238E27FC236}">
                        <a16:creationId xmlns:a16="http://schemas.microsoft.com/office/drawing/2014/main" id="{F28EB62A-4FCF-40F9-9CC7-CD6429264425}"/>
                      </a:ext>
                    </a:extLst>
                  </p:cNvPr>
                  <p:cNvSpPr>
                    <a:spLocks noChangeArrowheads="1"/>
                  </p:cNvSpPr>
                  <p:nvPr/>
                </p:nvSpPr>
                <p:spPr bwMode="auto">
                  <a:xfrm>
                    <a:off x="5184662" y="2736133"/>
                    <a:ext cx="49379"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41" name="Rectangle 54">
                    <a:extLst>
                      <a:ext uri="{FF2B5EF4-FFF2-40B4-BE49-F238E27FC236}">
                        <a16:creationId xmlns:a16="http://schemas.microsoft.com/office/drawing/2014/main" id="{CEF01CC6-3506-49EA-89D0-6F9EFB15DB22}"/>
                      </a:ext>
                    </a:extLst>
                  </p:cNvPr>
                  <p:cNvSpPr>
                    <a:spLocks noChangeArrowheads="1"/>
                  </p:cNvSpPr>
                  <p:nvPr/>
                </p:nvSpPr>
                <p:spPr bwMode="auto">
                  <a:xfrm>
                    <a:off x="5184662" y="2694894"/>
                    <a:ext cx="109610" cy="37441"/>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grpSp>
            <p:nvGrpSpPr>
              <p:cNvPr id="280" name="Group 279">
                <a:extLst>
                  <a:ext uri="{FF2B5EF4-FFF2-40B4-BE49-F238E27FC236}">
                    <a16:creationId xmlns:a16="http://schemas.microsoft.com/office/drawing/2014/main" id="{B0B539DB-2D4F-4B96-B85B-0B524F083640}"/>
                  </a:ext>
                </a:extLst>
              </p:cNvPr>
              <p:cNvGrpSpPr/>
              <p:nvPr/>
            </p:nvGrpSpPr>
            <p:grpSpPr>
              <a:xfrm>
                <a:off x="7612380" y="3639530"/>
                <a:ext cx="1007512" cy="635477"/>
                <a:chOff x="3972061" y="1965960"/>
                <a:chExt cx="788756" cy="497499"/>
              </a:xfrm>
            </p:grpSpPr>
            <p:sp>
              <p:nvSpPr>
                <p:cNvPr id="254" name="Rectangle: Rounded Corners 253">
                  <a:extLst>
                    <a:ext uri="{FF2B5EF4-FFF2-40B4-BE49-F238E27FC236}">
                      <a16:creationId xmlns:a16="http://schemas.microsoft.com/office/drawing/2014/main" id="{2091162E-668E-4D11-A2E2-D7A974067EA6}"/>
                    </a:ext>
                  </a:extLst>
                </p:cNvPr>
                <p:cNvSpPr/>
                <p:nvPr/>
              </p:nvSpPr>
              <p:spPr>
                <a:xfrm>
                  <a:off x="3972061" y="2035727"/>
                  <a:ext cx="249641" cy="427732"/>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nvGrpSpPr>
                <p:cNvPr id="262" name="Group 261">
                  <a:extLst>
                    <a:ext uri="{FF2B5EF4-FFF2-40B4-BE49-F238E27FC236}">
                      <a16:creationId xmlns:a16="http://schemas.microsoft.com/office/drawing/2014/main" id="{2AAECB4C-F129-4B9D-B0F4-F7E7B7FE0A2D}"/>
                    </a:ext>
                  </a:extLst>
                </p:cNvPr>
                <p:cNvGrpSpPr/>
                <p:nvPr/>
              </p:nvGrpSpPr>
              <p:grpSpPr>
                <a:xfrm>
                  <a:off x="4013514" y="2097905"/>
                  <a:ext cx="166735" cy="303376"/>
                  <a:chOff x="4013514" y="2094229"/>
                  <a:chExt cx="166735" cy="303376"/>
                </a:xfrm>
              </p:grpSpPr>
              <p:sp>
                <p:nvSpPr>
                  <p:cNvPr id="255" name="Rectangle: Rounded Corners 254">
                    <a:extLst>
                      <a:ext uri="{FF2B5EF4-FFF2-40B4-BE49-F238E27FC236}">
                        <a16:creationId xmlns:a16="http://schemas.microsoft.com/office/drawing/2014/main" id="{8F07FE2C-0F9B-43C4-ACCD-AC46C3C55CA6}"/>
                      </a:ext>
                    </a:extLst>
                  </p:cNvPr>
                  <p:cNvSpPr/>
                  <p:nvPr/>
                </p:nvSpPr>
                <p:spPr>
                  <a:xfrm>
                    <a:off x="4013514" y="20942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57" name="Rectangle: Rounded Corners 256">
                    <a:extLst>
                      <a:ext uri="{FF2B5EF4-FFF2-40B4-BE49-F238E27FC236}">
                        <a16:creationId xmlns:a16="http://schemas.microsoft.com/office/drawing/2014/main" id="{ECAA334B-958A-40EE-BC78-5EA6D06A8EF1}"/>
                      </a:ext>
                    </a:extLst>
                  </p:cNvPr>
                  <p:cNvSpPr/>
                  <p:nvPr/>
                </p:nvSpPr>
                <p:spPr>
                  <a:xfrm>
                    <a:off x="4013514" y="21513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58" name="Rectangle: Rounded Corners 257">
                    <a:extLst>
                      <a:ext uri="{FF2B5EF4-FFF2-40B4-BE49-F238E27FC236}">
                        <a16:creationId xmlns:a16="http://schemas.microsoft.com/office/drawing/2014/main" id="{C696D6F3-CAFF-450B-BDFF-155FCD3F60E6}"/>
                      </a:ext>
                    </a:extLst>
                  </p:cNvPr>
                  <p:cNvSpPr/>
                  <p:nvPr/>
                </p:nvSpPr>
                <p:spPr>
                  <a:xfrm>
                    <a:off x="4013514" y="22085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59" name="Rectangle: Rounded Corners 258">
                    <a:extLst>
                      <a:ext uri="{FF2B5EF4-FFF2-40B4-BE49-F238E27FC236}">
                        <a16:creationId xmlns:a16="http://schemas.microsoft.com/office/drawing/2014/main" id="{EA682308-8922-41C7-B4F1-6A19AE4B8992}"/>
                      </a:ext>
                    </a:extLst>
                  </p:cNvPr>
                  <p:cNvSpPr/>
                  <p:nvPr/>
                </p:nvSpPr>
                <p:spPr>
                  <a:xfrm>
                    <a:off x="4013514" y="22656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60" name="Rectangle: Rounded Corners 259">
                    <a:extLst>
                      <a:ext uri="{FF2B5EF4-FFF2-40B4-BE49-F238E27FC236}">
                        <a16:creationId xmlns:a16="http://schemas.microsoft.com/office/drawing/2014/main" id="{3EEE9A7F-FF97-4097-8585-EEDFB764454D}"/>
                      </a:ext>
                    </a:extLst>
                  </p:cNvPr>
                  <p:cNvSpPr/>
                  <p:nvPr/>
                </p:nvSpPr>
                <p:spPr>
                  <a:xfrm>
                    <a:off x="4013514" y="23228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61" name="Rectangle: Rounded Corners 260">
                    <a:extLst>
                      <a:ext uri="{FF2B5EF4-FFF2-40B4-BE49-F238E27FC236}">
                        <a16:creationId xmlns:a16="http://schemas.microsoft.com/office/drawing/2014/main" id="{A9157F3B-145C-488B-9AC8-867BB435A378}"/>
                      </a:ext>
                    </a:extLst>
                  </p:cNvPr>
                  <p:cNvSpPr/>
                  <p:nvPr/>
                </p:nvSpPr>
                <p:spPr>
                  <a:xfrm>
                    <a:off x="4013514" y="23799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sp>
              <p:nvSpPr>
                <p:cNvPr id="263" name="Rectangle: Rounded Corners 262">
                  <a:extLst>
                    <a:ext uri="{FF2B5EF4-FFF2-40B4-BE49-F238E27FC236}">
                      <a16:creationId xmlns:a16="http://schemas.microsoft.com/office/drawing/2014/main" id="{7D7551FE-503E-44F4-87E4-9B03603ED36E}"/>
                    </a:ext>
                  </a:extLst>
                </p:cNvPr>
                <p:cNvSpPr/>
                <p:nvPr/>
              </p:nvSpPr>
              <p:spPr>
                <a:xfrm>
                  <a:off x="4240666" y="2035727"/>
                  <a:ext cx="249641" cy="427732"/>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nvGrpSpPr>
                <p:cNvPr id="264" name="Group 263">
                  <a:extLst>
                    <a:ext uri="{FF2B5EF4-FFF2-40B4-BE49-F238E27FC236}">
                      <a16:creationId xmlns:a16="http://schemas.microsoft.com/office/drawing/2014/main" id="{86E2C62E-AC6E-4D1C-A015-16B032185F49}"/>
                    </a:ext>
                  </a:extLst>
                </p:cNvPr>
                <p:cNvGrpSpPr/>
                <p:nvPr/>
              </p:nvGrpSpPr>
              <p:grpSpPr>
                <a:xfrm>
                  <a:off x="4282119" y="2097905"/>
                  <a:ext cx="166735" cy="303376"/>
                  <a:chOff x="4013514" y="2094229"/>
                  <a:chExt cx="166735" cy="303376"/>
                </a:xfrm>
              </p:grpSpPr>
              <p:sp>
                <p:nvSpPr>
                  <p:cNvPr id="265" name="Rectangle: Rounded Corners 264">
                    <a:extLst>
                      <a:ext uri="{FF2B5EF4-FFF2-40B4-BE49-F238E27FC236}">
                        <a16:creationId xmlns:a16="http://schemas.microsoft.com/office/drawing/2014/main" id="{7DBC7D70-E2A9-4539-B6F9-5ADA8D0FE129}"/>
                      </a:ext>
                    </a:extLst>
                  </p:cNvPr>
                  <p:cNvSpPr/>
                  <p:nvPr/>
                </p:nvSpPr>
                <p:spPr>
                  <a:xfrm>
                    <a:off x="4013514" y="20942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66" name="Rectangle: Rounded Corners 265">
                    <a:extLst>
                      <a:ext uri="{FF2B5EF4-FFF2-40B4-BE49-F238E27FC236}">
                        <a16:creationId xmlns:a16="http://schemas.microsoft.com/office/drawing/2014/main" id="{20E2A819-28E3-4A17-B680-EF6A93C20AC7}"/>
                      </a:ext>
                    </a:extLst>
                  </p:cNvPr>
                  <p:cNvSpPr/>
                  <p:nvPr/>
                </p:nvSpPr>
                <p:spPr>
                  <a:xfrm>
                    <a:off x="4013514" y="21513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67" name="Rectangle: Rounded Corners 266">
                    <a:extLst>
                      <a:ext uri="{FF2B5EF4-FFF2-40B4-BE49-F238E27FC236}">
                        <a16:creationId xmlns:a16="http://schemas.microsoft.com/office/drawing/2014/main" id="{716D8BE5-B9E0-49EE-B966-0EF848A1D0FF}"/>
                      </a:ext>
                    </a:extLst>
                  </p:cNvPr>
                  <p:cNvSpPr/>
                  <p:nvPr/>
                </p:nvSpPr>
                <p:spPr>
                  <a:xfrm>
                    <a:off x="4013514" y="22085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68" name="Rectangle: Rounded Corners 267">
                    <a:extLst>
                      <a:ext uri="{FF2B5EF4-FFF2-40B4-BE49-F238E27FC236}">
                        <a16:creationId xmlns:a16="http://schemas.microsoft.com/office/drawing/2014/main" id="{A0FC27B3-3EAB-4A3C-B9B4-9635A98680BA}"/>
                      </a:ext>
                    </a:extLst>
                  </p:cNvPr>
                  <p:cNvSpPr/>
                  <p:nvPr/>
                </p:nvSpPr>
                <p:spPr>
                  <a:xfrm>
                    <a:off x="4013514" y="22656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69" name="Rectangle: Rounded Corners 268">
                    <a:extLst>
                      <a:ext uri="{FF2B5EF4-FFF2-40B4-BE49-F238E27FC236}">
                        <a16:creationId xmlns:a16="http://schemas.microsoft.com/office/drawing/2014/main" id="{27D6C5A3-3D9C-412E-86BF-F83ECCE4A52C}"/>
                      </a:ext>
                    </a:extLst>
                  </p:cNvPr>
                  <p:cNvSpPr/>
                  <p:nvPr/>
                </p:nvSpPr>
                <p:spPr>
                  <a:xfrm>
                    <a:off x="4013514" y="23228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70" name="Rectangle: Rounded Corners 269">
                    <a:extLst>
                      <a:ext uri="{FF2B5EF4-FFF2-40B4-BE49-F238E27FC236}">
                        <a16:creationId xmlns:a16="http://schemas.microsoft.com/office/drawing/2014/main" id="{000CADB6-5AFE-4395-9CA5-AC30395C57F9}"/>
                      </a:ext>
                    </a:extLst>
                  </p:cNvPr>
                  <p:cNvSpPr/>
                  <p:nvPr/>
                </p:nvSpPr>
                <p:spPr>
                  <a:xfrm>
                    <a:off x="4013514" y="23799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sp>
              <p:nvSpPr>
                <p:cNvPr id="272" name="Rectangle: Rounded Corners 271">
                  <a:extLst>
                    <a:ext uri="{FF2B5EF4-FFF2-40B4-BE49-F238E27FC236}">
                      <a16:creationId xmlns:a16="http://schemas.microsoft.com/office/drawing/2014/main" id="{DA6A9D7B-D3CA-44F2-88E0-D2C828702382}"/>
                    </a:ext>
                  </a:extLst>
                </p:cNvPr>
                <p:cNvSpPr/>
                <p:nvPr/>
              </p:nvSpPr>
              <p:spPr>
                <a:xfrm>
                  <a:off x="4511176" y="1965960"/>
                  <a:ext cx="249641" cy="49749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nvGrpSpPr>
                <p:cNvPr id="273" name="Group 272">
                  <a:extLst>
                    <a:ext uri="{FF2B5EF4-FFF2-40B4-BE49-F238E27FC236}">
                      <a16:creationId xmlns:a16="http://schemas.microsoft.com/office/drawing/2014/main" id="{A72586C0-1690-4755-AF54-139525B4453A}"/>
                    </a:ext>
                  </a:extLst>
                </p:cNvPr>
                <p:cNvGrpSpPr/>
                <p:nvPr/>
              </p:nvGrpSpPr>
              <p:grpSpPr>
                <a:xfrm>
                  <a:off x="4552629" y="2049645"/>
                  <a:ext cx="166735" cy="303376"/>
                  <a:chOff x="4013514" y="2094229"/>
                  <a:chExt cx="166735" cy="303376"/>
                </a:xfrm>
              </p:grpSpPr>
              <p:sp>
                <p:nvSpPr>
                  <p:cNvPr id="274" name="Rectangle: Rounded Corners 273">
                    <a:extLst>
                      <a:ext uri="{FF2B5EF4-FFF2-40B4-BE49-F238E27FC236}">
                        <a16:creationId xmlns:a16="http://schemas.microsoft.com/office/drawing/2014/main" id="{8FDBB2F1-E06D-45D9-B893-20D6D5B9565B}"/>
                      </a:ext>
                    </a:extLst>
                  </p:cNvPr>
                  <p:cNvSpPr/>
                  <p:nvPr/>
                </p:nvSpPr>
                <p:spPr>
                  <a:xfrm>
                    <a:off x="4013514" y="20942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75" name="Rectangle: Rounded Corners 274">
                    <a:extLst>
                      <a:ext uri="{FF2B5EF4-FFF2-40B4-BE49-F238E27FC236}">
                        <a16:creationId xmlns:a16="http://schemas.microsoft.com/office/drawing/2014/main" id="{B0DDFA53-D478-4606-9A66-B0472453DC47}"/>
                      </a:ext>
                    </a:extLst>
                  </p:cNvPr>
                  <p:cNvSpPr/>
                  <p:nvPr/>
                </p:nvSpPr>
                <p:spPr>
                  <a:xfrm>
                    <a:off x="4013514" y="21513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76" name="Rectangle: Rounded Corners 275">
                    <a:extLst>
                      <a:ext uri="{FF2B5EF4-FFF2-40B4-BE49-F238E27FC236}">
                        <a16:creationId xmlns:a16="http://schemas.microsoft.com/office/drawing/2014/main" id="{967A7F86-5C39-431D-AB0F-87CEC314CC11}"/>
                      </a:ext>
                    </a:extLst>
                  </p:cNvPr>
                  <p:cNvSpPr/>
                  <p:nvPr/>
                </p:nvSpPr>
                <p:spPr>
                  <a:xfrm>
                    <a:off x="4013514" y="22085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77" name="Rectangle: Rounded Corners 276">
                    <a:extLst>
                      <a:ext uri="{FF2B5EF4-FFF2-40B4-BE49-F238E27FC236}">
                        <a16:creationId xmlns:a16="http://schemas.microsoft.com/office/drawing/2014/main" id="{7A5F0A0F-09A0-484D-B8AA-B4912BEE8E78}"/>
                      </a:ext>
                    </a:extLst>
                  </p:cNvPr>
                  <p:cNvSpPr/>
                  <p:nvPr/>
                </p:nvSpPr>
                <p:spPr>
                  <a:xfrm>
                    <a:off x="4013514" y="22656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78" name="Rectangle: Rounded Corners 277">
                    <a:extLst>
                      <a:ext uri="{FF2B5EF4-FFF2-40B4-BE49-F238E27FC236}">
                        <a16:creationId xmlns:a16="http://schemas.microsoft.com/office/drawing/2014/main" id="{6EBC3901-A638-4F5A-838D-D975FCE6593A}"/>
                      </a:ext>
                    </a:extLst>
                  </p:cNvPr>
                  <p:cNvSpPr/>
                  <p:nvPr/>
                </p:nvSpPr>
                <p:spPr>
                  <a:xfrm>
                    <a:off x="4013514" y="23228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79" name="Rectangle: Rounded Corners 278">
                    <a:extLst>
                      <a:ext uri="{FF2B5EF4-FFF2-40B4-BE49-F238E27FC236}">
                        <a16:creationId xmlns:a16="http://schemas.microsoft.com/office/drawing/2014/main" id="{4DF843BC-231E-44F9-9690-E136B69AE847}"/>
                      </a:ext>
                    </a:extLst>
                  </p:cNvPr>
                  <p:cNvSpPr/>
                  <p:nvPr/>
                </p:nvSpPr>
                <p:spPr>
                  <a:xfrm>
                    <a:off x="4013514" y="23799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grpSp>
        </p:grpSp>
        <p:grpSp>
          <p:nvGrpSpPr>
            <p:cNvPr id="417" name="Group 416">
              <a:extLst>
                <a:ext uri="{FF2B5EF4-FFF2-40B4-BE49-F238E27FC236}">
                  <a16:creationId xmlns:a16="http://schemas.microsoft.com/office/drawing/2014/main" id="{1567E7CF-1BC6-4BE6-AA31-418E146E8409}"/>
                </a:ext>
              </a:extLst>
            </p:cNvPr>
            <p:cNvGrpSpPr/>
            <p:nvPr/>
          </p:nvGrpSpPr>
          <p:grpSpPr>
            <a:xfrm>
              <a:off x="5684561" y="3623310"/>
              <a:ext cx="1691035" cy="731864"/>
              <a:chOff x="5227361" y="3623310"/>
              <a:chExt cx="1691035" cy="731864"/>
            </a:xfrm>
          </p:grpSpPr>
          <p:sp>
            <p:nvSpPr>
              <p:cNvPr id="97" name="Rectangle 96">
                <a:extLst>
                  <a:ext uri="{FF2B5EF4-FFF2-40B4-BE49-F238E27FC236}">
                    <a16:creationId xmlns:a16="http://schemas.microsoft.com/office/drawing/2014/main" id="{66677EE7-456A-4151-83E6-46FB45EDB1BE}"/>
                  </a:ext>
                </a:extLst>
              </p:cNvPr>
              <p:cNvSpPr/>
              <p:nvPr/>
            </p:nvSpPr>
            <p:spPr>
              <a:xfrm>
                <a:off x="5436055" y="4039302"/>
                <a:ext cx="501802" cy="193465"/>
              </a:xfrm>
              <a:prstGeom prst="rect">
                <a:avLst/>
              </a:prstGeom>
            </p:spPr>
            <p:txBody>
              <a:bodyPr wrap="none" lIns="0" tIns="0" rIns="0" bIns="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9393B"/>
                    </a:solidFill>
                    <a:effectLst/>
                    <a:uLnTx/>
                    <a:uFillTx/>
                    <a:latin typeface="CiscoSansTT ExtraLight"/>
                    <a:ea typeface="ＭＳ Ｐゴシック" charset="0"/>
                    <a:cs typeface="+mn-cs"/>
                  </a:rPr>
                  <a:t>Admin</a:t>
                </a:r>
              </a:p>
            </p:txBody>
          </p:sp>
          <p:grpSp>
            <p:nvGrpSpPr>
              <p:cNvPr id="98" name="Group 97">
                <a:extLst>
                  <a:ext uri="{FF2B5EF4-FFF2-40B4-BE49-F238E27FC236}">
                    <a16:creationId xmlns:a16="http://schemas.microsoft.com/office/drawing/2014/main" id="{AF28F278-968F-4A0A-B08E-CE4ABB4E1C58}"/>
                  </a:ext>
                </a:extLst>
              </p:cNvPr>
              <p:cNvGrpSpPr/>
              <p:nvPr/>
            </p:nvGrpSpPr>
            <p:grpSpPr>
              <a:xfrm>
                <a:off x="5227361" y="3779578"/>
                <a:ext cx="1691035" cy="216379"/>
                <a:chOff x="3381375" y="3914285"/>
                <a:chExt cx="3345056" cy="209454"/>
              </a:xfrm>
            </p:grpSpPr>
            <p:sp>
              <p:nvSpPr>
                <p:cNvPr id="99" name="Trapezoid 98">
                  <a:extLst>
                    <a:ext uri="{FF2B5EF4-FFF2-40B4-BE49-F238E27FC236}">
                      <a16:creationId xmlns:a16="http://schemas.microsoft.com/office/drawing/2014/main" id="{7C3FD41F-7E86-4F08-B993-08A7DC8841EB}"/>
                    </a:ext>
                  </a:extLst>
                </p:cNvPr>
                <p:cNvSpPr/>
                <p:nvPr/>
              </p:nvSpPr>
              <p:spPr>
                <a:xfrm>
                  <a:off x="3381375" y="3914285"/>
                  <a:ext cx="3345056" cy="188507"/>
                </a:xfrm>
                <a:prstGeom prst="trapezoid">
                  <a:avLst>
                    <a:gd name="adj" fmla="val 102192"/>
                  </a:avLst>
                </a:prstGeom>
                <a:solidFill>
                  <a:srgbClr val="FFFFFF">
                    <a:lumMod val="75000"/>
                  </a:srgbClr>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100" name="Trapezoid 99">
                  <a:extLst>
                    <a:ext uri="{FF2B5EF4-FFF2-40B4-BE49-F238E27FC236}">
                      <a16:creationId xmlns:a16="http://schemas.microsoft.com/office/drawing/2014/main" id="{4A341972-13AA-43DD-9AF3-ECAEF302091D}"/>
                    </a:ext>
                  </a:extLst>
                </p:cNvPr>
                <p:cNvSpPr/>
                <p:nvPr/>
              </p:nvSpPr>
              <p:spPr>
                <a:xfrm>
                  <a:off x="3381375" y="4104768"/>
                  <a:ext cx="3345056" cy="18971"/>
                </a:xfrm>
                <a:prstGeom prst="trapezoid">
                  <a:avLst>
                    <a:gd name="adj" fmla="val 0"/>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iscoSansTT ExtraLight"/>
                    <a:ea typeface="Segoe UI" pitchFamily="34" charset="0"/>
                    <a:cs typeface="Segoe UI" pitchFamily="34" charset="0"/>
                  </a:endParaRPr>
                </a:p>
              </p:txBody>
            </p:sp>
          </p:grpSp>
          <p:sp>
            <p:nvSpPr>
              <p:cNvPr id="101" name="Rectangle 100">
                <a:extLst>
                  <a:ext uri="{FF2B5EF4-FFF2-40B4-BE49-F238E27FC236}">
                    <a16:creationId xmlns:a16="http://schemas.microsoft.com/office/drawing/2014/main" id="{E6D137F8-A58A-422F-91FC-55FC5C1E87CA}"/>
                  </a:ext>
                </a:extLst>
              </p:cNvPr>
              <p:cNvSpPr/>
              <p:nvPr/>
            </p:nvSpPr>
            <p:spPr>
              <a:xfrm>
                <a:off x="5332013" y="3995852"/>
                <a:ext cx="48995" cy="271858"/>
              </a:xfrm>
              <a:prstGeom prst="rect">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iscoSansTT ExtraLight"/>
                  <a:ea typeface="Segoe UI" pitchFamily="34" charset="0"/>
                  <a:cs typeface="Segoe UI" pitchFamily="34" charset="0"/>
                </a:endParaRPr>
              </a:p>
            </p:txBody>
          </p:sp>
          <p:sp>
            <p:nvSpPr>
              <p:cNvPr id="102" name="Rectangle 101">
                <a:extLst>
                  <a:ext uri="{FF2B5EF4-FFF2-40B4-BE49-F238E27FC236}">
                    <a16:creationId xmlns:a16="http://schemas.microsoft.com/office/drawing/2014/main" id="{09C5F7CC-2C3E-4993-943B-09608BEFC0F1}"/>
                  </a:ext>
                </a:extLst>
              </p:cNvPr>
              <p:cNvSpPr/>
              <p:nvPr/>
            </p:nvSpPr>
            <p:spPr>
              <a:xfrm>
                <a:off x="6833347" y="3995852"/>
                <a:ext cx="48995" cy="271858"/>
              </a:xfrm>
              <a:prstGeom prst="rect">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iscoSansTT ExtraLight"/>
                  <a:ea typeface="Segoe UI" pitchFamily="34" charset="0"/>
                  <a:cs typeface="Segoe UI" pitchFamily="34" charset="0"/>
                </a:endParaRPr>
              </a:p>
            </p:txBody>
          </p:sp>
          <p:grpSp>
            <p:nvGrpSpPr>
              <p:cNvPr id="346" name="Group 345">
                <a:extLst>
                  <a:ext uri="{FF2B5EF4-FFF2-40B4-BE49-F238E27FC236}">
                    <a16:creationId xmlns:a16="http://schemas.microsoft.com/office/drawing/2014/main" id="{DC0C52D1-D746-4C6D-A7ED-77D4885F11D7}"/>
                  </a:ext>
                </a:extLst>
              </p:cNvPr>
              <p:cNvGrpSpPr/>
              <p:nvPr/>
            </p:nvGrpSpPr>
            <p:grpSpPr>
              <a:xfrm>
                <a:off x="5362746" y="3623310"/>
                <a:ext cx="1466614" cy="271931"/>
                <a:chOff x="5826931" y="1567563"/>
                <a:chExt cx="2991995" cy="554758"/>
              </a:xfrm>
            </p:grpSpPr>
            <p:grpSp>
              <p:nvGrpSpPr>
                <p:cNvPr id="289" name="Group 288">
                  <a:extLst>
                    <a:ext uri="{FF2B5EF4-FFF2-40B4-BE49-F238E27FC236}">
                      <a16:creationId xmlns:a16="http://schemas.microsoft.com/office/drawing/2014/main" id="{A718303C-EAB8-482D-97FD-BC1E0C73D644}"/>
                    </a:ext>
                  </a:extLst>
                </p:cNvPr>
                <p:cNvGrpSpPr/>
                <p:nvPr/>
              </p:nvGrpSpPr>
              <p:grpSpPr>
                <a:xfrm>
                  <a:off x="6839121" y="1567563"/>
                  <a:ext cx="967615" cy="554758"/>
                  <a:chOff x="6835311" y="1567563"/>
                  <a:chExt cx="967615" cy="554758"/>
                </a:xfrm>
              </p:grpSpPr>
              <p:sp>
                <p:nvSpPr>
                  <p:cNvPr id="282" name="Freeform 222">
                    <a:extLst>
                      <a:ext uri="{FF2B5EF4-FFF2-40B4-BE49-F238E27FC236}">
                        <a16:creationId xmlns:a16="http://schemas.microsoft.com/office/drawing/2014/main" id="{D03227C8-0CEB-4885-A10E-2EC4FA1A5E69}"/>
                      </a:ext>
                    </a:extLst>
                  </p:cNvPr>
                  <p:cNvSpPr>
                    <a:spLocks/>
                  </p:cNvSpPr>
                  <p:nvPr/>
                </p:nvSpPr>
                <p:spPr bwMode="auto">
                  <a:xfrm>
                    <a:off x="6835311" y="2082197"/>
                    <a:ext cx="967615" cy="40124"/>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83" name="Freeform 223">
                    <a:extLst>
                      <a:ext uri="{FF2B5EF4-FFF2-40B4-BE49-F238E27FC236}">
                        <a16:creationId xmlns:a16="http://schemas.microsoft.com/office/drawing/2014/main" id="{45845DCF-95F6-4BBB-B39B-77C9DD56CBB7}"/>
                      </a:ext>
                    </a:extLst>
                  </p:cNvPr>
                  <p:cNvSpPr>
                    <a:spLocks/>
                  </p:cNvSpPr>
                  <p:nvPr/>
                </p:nvSpPr>
                <p:spPr bwMode="auto">
                  <a:xfrm>
                    <a:off x="6916721" y="1567563"/>
                    <a:ext cx="805958" cy="485559"/>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solidFill>
                  <a:ln w="6350">
                    <a:noFill/>
                    <a:round/>
                    <a:headEnd/>
                    <a:tailEnd/>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84" name="Freeform 224">
                    <a:extLst>
                      <a:ext uri="{FF2B5EF4-FFF2-40B4-BE49-F238E27FC236}">
                        <a16:creationId xmlns:a16="http://schemas.microsoft.com/office/drawing/2014/main" id="{E8307732-40B8-4D5F-9FE9-AEF0103993F7}"/>
                      </a:ext>
                    </a:extLst>
                  </p:cNvPr>
                  <p:cNvSpPr>
                    <a:spLocks noEditPoints="1"/>
                  </p:cNvSpPr>
                  <p:nvPr/>
                </p:nvSpPr>
                <p:spPr bwMode="auto">
                  <a:xfrm>
                    <a:off x="6916721" y="1567563"/>
                    <a:ext cx="805958" cy="485559"/>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nvGrpSpPr>
                  <p:cNvPr id="288" name="Group 287">
                    <a:extLst>
                      <a:ext uri="{FF2B5EF4-FFF2-40B4-BE49-F238E27FC236}">
                        <a16:creationId xmlns:a16="http://schemas.microsoft.com/office/drawing/2014/main" id="{BD51F464-D305-43B0-BE53-180B26FDB1E5}"/>
                      </a:ext>
                    </a:extLst>
                  </p:cNvPr>
                  <p:cNvGrpSpPr/>
                  <p:nvPr/>
                </p:nvGrpSpPr>
                <p:grpSpPr>
                  <a:xfrm>
                    <a:off x="6995088" y="1680764"/>
                    <a:ext cx="649225" cy="254716"/>
                    <a:chOff x="7068354" y="1749344"/>
                    <a:chExt cx="410643" cy="161111"/>
                  </a:xfrm>
                </p:grpSpPr>
                <p:grpSp>
                  <p:nvGrpSpPr>
                    <p:cNvPr id="186" name="Group 185">
                      <a:extLst>
                        <a:ext uri="{FF2B5EF4-FFF2-40B4-BE49-F238E27FC236}">
                          <a16:creationId xmlns:a16="http://schemas.microsoft.com/office/drawing/2014/main" id="{BB2E01E2-05AA-4F60-AE7F-34CF4294A013}"/>
                        </a:ext>
                      </a:extLst>
                    </p:cNvPr>
                    <p:cNvGrpSpPr/>
                    <p:nvPr/>
                  </p:nvGrpSpPr>
                  <p:grpSpPr>
                    <a:xfrm>
                      <a:off x="7068354" y="1749344"/>
                      <a:ext cx="410643" cy="60600"/>
                      <a:chOff x="5873592" y="3851702"/>
                      <a:chExt cx="410643" cy="60600"/>
                    </a:xfrm>
                  </p:grpSpPr>
                  <p:sp>
                    <p:nvSpPr>
                      <p:cNvPr id="204" name="Oval 203">
                        <a:extLst>
                          <a:ext uri="{FF2B5EF4-FFF2-40B4-BE49-F238E27FC236}">
                            <a16:creationId xmlns:a16="http://schemas.microsoft.com/office/drawing/2014/main" id="{2B789084-4E21-4D30-AC16-696A122079F8}"/>
                          </a:ext>
                        </a:extLst>
                      </p:cNvPr>
                      <p:cNvSpPr/>
                      <p:nvPr/>
                    </p:nvSpPr>
                    <p:spPr>
                      <a:xfrm>
                        <a:off x="5873592" y="3851702"/>
                        <a:ext cx="60600" cy="60600"/>
                      </a:xfrm>
                      <a:prstGeom prst="ellipse">
                        <a:avLst/>
                      </a:prstGeom>
                      <a:solidFill>
                        <a:srgbClr val="0498D1">
                          <a:lumMod val="75000"/>
                        </a:srgbClr>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iscoSansTT ExtraLight"/>
                          <a:ea typeface="ＭＳ Ｐゴシック" charset="0"/>
                          <a:cs typeface="+mn-cs"/>
                        </a:endParaRPr>
                      </a:p>
                    </p:txBody>
                  </p:sp>
                  <p:sp>
                    <p:nvSpPr>
                      <p:cNvPr id="205" name="Oval 204">
                        <a:extLst>
                          <a:ext uri="{FF2B5EF4-FFF2-40B4-BE49-F238E27FC236}">
                            <a16:creationId xmlns:a16="http://schemas.microsoft.com/office/drawing/2014/main" id="{6D818626-5A74-4DBC-A2DA-098C60A2C2A1}"/>
                          </a:ext>
                        </a:extLst>
                      </p:cNvPr>
                      <p:cNvSpPr/>
                      <p:nvPr/>
                    </p:nvSpPr>
                    <p:spPr>
                      <a:xfrm>
                        <a:off x="5961103" y="3851702"/>
                        <a:ext cx="60600" cy="60600"/>
                      </a:xfrm>
                      <a:prstGeom prst="ellipse">
                        <a:avLst/>
                      </a:prstGeom>
                      <a:solidFill>
                        <a:srgbClr val="0498D1">
                          <a:lumMod val="75000"/>
                        </a:srgbClr>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iscoSansTT ExtraLight"/>
                          <a:ea typeface="ＭＳ Ｐゴシック" charset="0"/>
                          <a:cs typeface="+mn-cs"/>
                        </a:endParaRPr>
                      </a:p>
                    </p:txBody>
                  </p:sp>
                  <p:sp>
                    <p:nvSpPr>
                      <p:cNvPr id="206" name="Oval 205">
                        <a:extLst>
                          <a:ext uri="{FF2B5EF4-FFF2-40B4-BE49-F238E27FC236}">
                            <a16:creationId xmlns:a16="http://schemas.microsoft.com/office/drawing/2014/main" id="{DEDB4E15-2E29-4650-B73E-CA446DCC8A6A}"/>
                          </a:ext>
                        </a:extLst>
                      </p:cNvPr>
                      <p:cNvSpPr/>
                      <p:nvPr/>
                    </p:nvSpPr>
                    <p:spPr>
                      <a:xfrm>
                        <a:off x="6048614" y="3851702"/>
                        <a:ext cx="60600" cy="60600"/>
                      </a:xfrm>
                      <a:prstGeom prst="ellipse">
                        <a:avLst/>
                      </a:prstGeom>
                      <a:solidFill>
                        <a:srgbClr val="0498D1">
                          <a:lumMod val="75000"/>
                        </a:srgbClr>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iscoSansTT ExtraLight"/>
                          <a:ea typeface="ＭＳ Ｐゴシック" charset="0"/>
                          <a:cs typeface="+mn-cs"/>
                        </a:endParaRPr>
                      </a:p>
                    </p:txBody>
                  </p:sp>
                  <p:sp>
                    <p:nvSpPr>
                      <p:cNvPr id="207" name="Oval 206">
                        <a:extLst>
                          <a:ext uri="{FF2B5EF4-FFF2-40B4-BE49-F238E27FC236}">
                            <a16:creationId xmlns:a16="http://schemas.microsoft.com/office/drawing/2014/main" id="{7A47A090-1E2A-4516-9C3E-9524F63DC4D8}"/>
                          </a:ext>
                        </a:extLst>
                      </p:cNvPr>
                      <p:cNvSpPr/>
                      <p:nvPr/>
                    </p:nvSpPr>
                    <p:spPr>
                      <a:xfrm>
                        <a:off x="6136125" y="3851702"/>
                        <a:ext cx="60600" cy="60600"/>
                      </a:xfrm>
                      <a:prstGeom prst="ellipse">
                        <a:avLst/>
                      </a:prstGeom>
                      <a:solidFill>
                        <a:srgbClr val="0498D1">
                          <a:lumMod val="75000"/>
                        </a:srgbClr>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iscoSansTT ExtraLight"/>
                          <a:ea typeface="ＭＳ Ｐゴシック" charset="0"/>
                          <a:cs typeface="+mn-cs"/>
                        </a:endParaRPr>
                      </a:p>
                    </p:txBody>
                  </p:sp>
                  <p:sp>
                    <p:nvSpPr>
                      <p:cNvPr id="208" name="Oval 207">
                        <a:extLst>
                          <a:ext uri="{FF2B5EF4-FFF2-40B4-BE49-F238E27FC236}">
                            <a16:creationId xmlns:a16="http://schemas.microsoft.com/office/drawing/2014/main" id="{1E41D693-6BE0-4E45-A8D3-2444270D475C}"/>
                          </a:ext>
                        </a:extLst>
                      </p:cNvPr>
                      <p:cNvSpPr/>
                      <p:nvPr/>
                    </p:nvSpPr>
                    <p:spPr>
                      <a:xfrm>
                        <a:off x="6223635" y="3851702"/>
                        <a:ext cx="60600" cy="60600"/>
                      </a:xfrm>
                      <a:prstGeom prst="ellipse">
                        <a:avLst/>
                      </a:prstGeom>
                      <a:solidFill>
                        <a:srgbClr val="0498D1">
                          <a:lumMod val="75000"/>
                        </a:srgbClr>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iscoSansTT ExtraLight"/>
                          <a:ea typeface="ＭＳ Ｐゴシック" charset="0"/>
                          <a:cs typeface="+mn-cs"/>
                        </a:endParaRPr>
                      </a:p>
                    </p:txBody>
                  </p:sp>
                </p:grpSp>
                <p:grpSp>
                  <p:nvGrpSpPr>
                    <p:cNvPr id="187" name="Group 186">
                      <a:extLst>
                        <a:ext uri="{FF2B5EF4-FFF2-40B4-BE49-F238E27FC236}">
                          <a16:creationId xmlns:a16="http://schemas.microsoft.com/office/drawing/2014/main" id="{0C1947C3-E1D9-4181-A380-D376E6793F22}"/>
                        </a:ext>
                      </a:extLst>
                    </p:cNvPr>
                    <p:cNvGrpSpPr/>
                    <p:nvPr/>
                  </p:nvGrpSpPr>
                  <p:grpSpPr>
                    <a:xfrm>
                      <a:off x="7087117" y="1832741"/>
                      <a:ext cx="361922" cy="77714"/>
                      <a:chOff x="5892682" y="3935099"/>
                      <a:chExt cx="361922" cy="77714"/>
                    </a:xfrm>
                  </p:grpSpPr>
                  <p:grpSp>
                    <p:nvGrpSpPr>
                      <p:cNvPr id="188" name="Group 187">
                        <a:extLst>
                          <a:ext uri="{FF2B5EF4-FFF2-40B4-BE49-F238E27FC236}">
                            <a16:creationId xmlns:a16="http://schemas.microsoft.com/office/drawing/2014/main" id="{31F95553-52A9-461E-817B-D459122DDDA3}"/>
                          </a:ext>
                        </a:extLst>
                      </p:cNvPr>
                      <p:cNvGrpSpPr/>
                      <p:nvPr/>
                    </p:nvGrpSpPr>
                    <p:grpSpPr>
                      <a:xfrm>
                        <a:off x="6062939" y="3938589"/>
                        <a:ext cx="191665" cy="74224"/>
                        <a:chOff x="4551518" y="-1419606"/>
                        <a:chExt cx="1083200" cy="419482"/>
                      </a:xfrm>
                      <a:solidFill>
                        <a:srgbClr val="0498D1">
                          <a:lumMod val="75000"/>
                        </a:srgbClr>
                      </a:solidFill>
                    </p:grpSpPr>
                    <p:grpSp>
                      <p:nvGrpSpPr>
                        <p:cNvPr id="192" name="Group 191">
                          <a:extLst>
                            <a:ext uri="{FF2B5EF4-FFF2-40B4-BE49-F238E27FC236}">
                              <a16:creationId xmlns:a16="http://schemas.microsoft.com/office/drawing/2014/main" id="{97D154B9-73EB-4083-908C-0098E6CCF635}"/>
                            </a:ext>
                          </a:extLst>
                        </p:cNvPr>
                        <p:cNvGrpSpPr/>
                        <p:nvPr/>
                      </p:nvGrpSpPr>
                      <p:grpSpPr>
                        <a:xfrm>
                          <a:off x="4551518" y="-1419606"/>
                          <a:ext cx="416876" cy="419482"/>
                          <a:chOff x="1039038" y="-1476527"/>
                          <a:chExt cx="254000" cy="255587"/>
                        </a:xfrm>
                        <a:grpFill/>
                      </p:grpSpPr>
                      <p:sp>
                        <p:nvSpPr>
                          <p:cNvPr id="199" name="Freeform 367">
                            <a:extLst>
                              <a:ext uri="{FF2B5EF4-FFF2-40B4-BE49-F238E27FC236}">
                                <a16:creationId xmlns:a16="http://schemas.microsoft.com/office/drawing/2014/main" id="{B02B1E69-4D23-4D62-9657-D6A0091F1C91}"/>
                              </a:ext>
                            </a:extLst>
                          </p:cNvPr>
                          <p:cNvSpPr>
                            <a:spLocks/>
                          </p:cNvSpPr>
                          <p:nvPr/>
                        </p:nvSpPr>
                        <p:spPr bwMode="auto">
                          <a:xfrm>
                            <a:off x="1039038" y="-1430490"/>
                            <a:ext cx="47625" cy="65088"/>
                          </a:xfrm>
                          <a:custGeom>
                            <a:avLst/>
                            <a:gdLst>
                              <a:gd name="T0" fmla="*/ 128 w 207"/>
                              <a:gd name="T1" fmla="*/ 0 h 288"/>
                              <a:gd name="T2" fmla="*/ 128 w 207"/>
                              <a:gd name="T3" fmla="*/ 0 h 288"/>
                              <a:gd name="T4" fmla="*/ 114 w 207"/>
                              <a:gd name="T5" fmla="*/ 17 h 288"/>
                              <a:gd name="T6" fmla="*/ 102 w 207"/>
                              <a:gd name="T7" fmla="*/ 33 h 288"/>
                              <a:gd name="T8" fmla="*/ 90 w 207"/>
                              <a:gd name="T9" fmla="*/ 49 h 288"/>
                              <a:gd name="T10" fmla="*/ 80 w 207"/>
                              <a:gd name="T11" fmla="*/ 67 h 288"/>
                              <a:gd name="T12" fmla="*/ 69 w 207"/>
                              <a:gd name="T13" fmla="*/ 84 h 288"/>
                              <a:gd name="T14" fmla="*/ 59 w 207"/>
                              <a:gd name="T15" fmla="*/ 102 h 288"/>
                              <a:gd name="T16" fmla="*/ 51 w 207"/>
                              <a:gd name="T17" fmla="*/ 119 h 288"/>
                              <a:gd name="T18" fmla="*/ 42 w 207"/>
                              <a:gd name="T19" fmla="*/ 137 h 288"/>
                              <a:gd name="T20" fmla="*/ 35 w 207"/>
                              <a:gd name="T21" fmla="*/ 156 h 288"/>
                              <a:gd name="T22" fmla="*/ 27 w 207"/>
                              <a:gd name="T23" fmla="*/ 174 h 288"/>
                              <a:gd name="T24" fmla="*/ 21 w 207"/>
                              <a:gd name="T25" fmla="*/ 193 h 288"/>
                              <a:gd name="T26" fmla="*/ 16 w 207"/>
                              <a:gd name="T27" fmla="*/ 212 h 288"/>
                              <a:gd name="T28" fmla="*/ 11 w 207"/>
                              <a:gd name="T29" fmla="*/ 230 h 288"/>
                              <a:gd name="T30" fmla="*/ 7 w 207"/>
                              <a:gd name="T31" fmla="*/ 250 h 288"/>
                              <a:gd name="T32" fmla="*/ 3 w 207"/>
                              <a:gd name="T33" fmla="*/ 269 h 288"/>
                              <a:gd name="T34" fmla="*/ 0 w 207"/>
                              <a:gd name="T35" fmla="*/ 288 h 288"/>
                              <a:gd name="T36" fmla="*/ 207 w 207"/>
                              <a:gd name="T37" fmla="*/ 81 h 288"/>
                              <a:gd name="T38" fmla="*/ 128 w 207"/>
                              <a:gd name="T3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88">
                                <a:moveTo>
                                  <a:pt x="128" y="0"/>
                                </a:moveTo>
                                <a:lnTo>
                                  <a:pt x="128" y="0"/>
                                </a:lnTo>
                                <a:lnTo>
                                  <a:pt x="114" y="17"/>
                                </a:lnTo>
                                <a:lnTo>
                                  <a:pt x="102" y="33"/>
                                </a:lnTo>
                                <a:lnTo>
                                  <a:pt x="90" y="49"/>
                                </a:lnTo>
                                <a:lnTo>
                                  <a:pt x="80" y="67"/>
                                </a:lnTo>
                                <a:lnTo>
                                  <a:pt x="69" y="84"/>
                                </a:lnTo>
                                <a:lnTo>
                                  <a:pt x="59" y="102"/>
                                </a:lnTo>
                                <a:lnTo>
                                  <a:pt x="51" y="119"/>
                                </a:lnTo>
                                <a:lnTo>
                                  <a:pt x="42" y="137"/>
                                </a:lnTo>
                                <a:lnTo>
                                  <a:pt x="35" y="156"/>
                                </a:lnTo>
                                <a:lnTo>
                                  <a:pt x="27" y="174"/>
                                </a:lnTo>
                                <a:lnTo>
                                  <a:pt x="21" y="193"/>
                                </a:lnTo>
                                <a:lnTo>
                                  <a:pt x="16" y="212"/>
                                </a:lnTo>
                                <a:lnTo>
                                  <a:pt x="11" y="230"/>
                                </a:lnTo>
                                <a:lnTo>
                                  <a:pt x="7" y="250"/>
                                </a:lnTo>
                                <a:lnTo>
                                  <a:pt x="3" y="269"/>
                                </a:lnTo>
                                <a:lnTo>
                                  <a:pt x="0" y="288"/>
                                </a:lnTo>
                                <a:lnTo>
                                  <a:pt x="207" y="81"/>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200" name="Freeform 368">
                            <a:extLst>
                              <a:ext uri="{FF2B5EF4-FFF2-40B4-BE49-F238E27FC236}">
                                <a16:creationId xmlns:a16="http://schemas.microsoft.com/office/drawing/2014/main" id="{94B3AE28-EF61-4D52-B6DF-36600CAD4B99}"/>
                              </a:ext>
                            </a:extLst>
                          </p:cNvPr>
                          <p:cNvSpPr>
                            <a:spLocks/>
                          </p:cNvSpPr>
                          <p:nvPr/>
                        </p:nvSpPr>
                        <p:spPr bwMode="auto">
                          <a:xfrm>
                            <a:off x="1053325" y="-1365402"/>
                            <a:ext cx="96837" cy="98425"/>
                          </a:xfrm>
                          <a:custGeom>
                            <a:avLst/>
                            <a:gdLst>
                              <a:gd name="T0" fmla="*/ 350 w 428"/>
                              <a:gd name="T1" fmla="*/ 0 h 438"/>
                              <a:gd name="T2" fmla="*/ 3 w 428"/>
                              <a:gd name="T3" fmla="*/ 346 h 438"/>
                              <a:gd name="T4" fmla="*/ 0 w 428"/>
                              <a:gd name="T5" fmla="*/ 342 h 438"/>
                              <a:gd name="T6" fmla="*/ 0 w 428"/>
                              <a:gd name="T7" fmla="*/ 342 h 438"/>
                              <a:gd name="T8" fmla="*/ 15 w 428"/>
                              <a:gd name="T9" fmla="*/ 368 h 438"/>
                              <a:gd name="T10" fmla="*/ 30 w 428"/>
                              <a:gd name="T11" fmla="*/ 392 h 438"/>
                              <a:gd name="T12" fmla="*/ 47 w 428"/>
                              <a:gd name="T13" fmla="*/ 416 h 438"/>
                              <a:gd name="T14" fmla="*/ 66 w 428"/>
                              <a:gd name="T15" fmla="*/ 438 h 438"/>
                              <a:gd name="T16" fmla="*/ 428 w 428"/>
                              <a:gd name="T17" fmla="*/ 76 h 438"/>
                              <a:gd name="T18" fmla="*/ 350 w 428"/>
                              <a:gd name="T19"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8" h="438">
                                <a:moveTo>
                                  <a:pt x="350" y="0"/>
                                </a:moveTo>
                                <a:lnTo>
                                  <a:pt x="3" y="346"/>
                                </a:lnTo>
                                <a:lnTo>
                                  <a:pt x="0" y="342"/>
                                </a:lnTo>
                                <a:lnTo>
                                  <a:pt x="0" y="342"/>
                                </a:lnTo>
                                <a:lnTo>
                                  <a:pt x="15" y="368"/>
                                </a:lnTo>
                                <a:lnTo>
                                  <a:pt x="30" y="392"/>
                                </a:lnTo>
                                <a:lnTo>
                                  <a:pt x="47" y="416"/>
                                </a:lnTo>
                                <a:lnTo>
                                  <a:pt x="66" y="438"/>
                                </a:lnTo>
                                <a:lnTo>
                                  <a:pt x="428" y="76"/>
                                </a:lnTo>
                                <a:lnTo>
                                  <a:pt x="3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201" name="Freeform 369">
                            <a:extLst>
                              <a:ext uri="{FF2B5EF4-FFF2-40B4-BE49-F238E27FC236}">
                                <a16:creationId xmlns:a16="http://schemas.microsoft.com/office/drawing/2014/main" id="{70010648-457A-4E28-87A7-F469783B2738}"/>
                              </a:ext>
                            </a:extLst>
                          </p:cNvPr>
                          <p:cNvSpPr>
                            <a:spLocks/>
                          </p:cNvSpPr>
                          <p:nvPr/>
                        </p:nvSpPr>
                        <p:spPr bwMode="auto">
                          <a:xfrm>
                            <a:off x="1083488" y="-1430490"/>
                            <a:ext cx="209550" cy="209550"/>
                          </a:xfrm>
                          <a:custGeom>
                            <a:avLst/>
                            <a:gdLst>
                              <a:gd name="T0" fmla="*/ 0 w 925"/>
                              <a:gd name="T1" fmla="*/ 793 h 925"/>
                              <a:gd name="T2" fmla="*/ 21 w 925"/>
                              <a:gd name="T3" fmla="*/ 810 h 925"/>
                              <a:gd name="T4" fmla="*/ 65 w 925"/>
                              <a:gd name="T5" fmla="*/ 840 h 925"/>
                              <a:gd name="T6" fmla="*/ 111 w 925"/>
                              <a:gd name="T7" fmla="*/ 866 h 925"/>
                              <a:gd name="T8" fmla="*/ 158 w 925"/>
                              <a:gd name="T9" fmla="*/ 887 h 925"/>
                              <a:gd name="T10" fmla="*/ 207 w 925"/>
                              <a:gd name="T11" fmla="*/ 903 h 925"/>
                              <a:gd name="T12" fmla="*/ 257 w 925"/>
                              <a:gd name="T13" fmla="*/ 916 h 925"/>
                              <a:gd name="T14" fmla="*/ 308 w 925"/>
                              <a:gd name="T15" fmla="*/ 923 h 925"/>
                              <a:gd name="T16" fmla="*/ 359 w 925"/>
                              <a:gd name="T17" fmla="*/ 925 h 925"/>
                              <a:gd name="T18" fmla="*/ 410 w 925"/>
                              <a:gd name="T19" fmla="*/ 923 h 925"/>
                              <a:gd name="T20" fmla="*/ 461 w 925"/>
                              <a:gd name="T21" fmla="*/ 917 h 925"/>
                              <a:gd name="T22" fmla="*/ 512 w 925"/>
                              <a:gd name="T23" fmla="*/ 905 h 925"/>
                              <a:gd name="T24" fmla="*/ 561 w 925"/>
                              <a:gd name="T25" fmla="*/ 889 h 925"/>
                              <a:gd name="T26" fmla="*/ 608 w 925"/>
                              <a:gd name="T27" fmla="*/ 869 h 925"/>
                              <a:gd name="T28" fmla="*/ 654 w 925"/>
                              <a:gd name="T29" fmla="*/ 844 h 925"/>
                              <a:gd name="T30" fmla="*/ 699 w 925"/>
                              <a:gd name="T31" fmla="*/ 814 h 925"/>
                              <a:gd name="T32" fmla="*/ 740 w 925"/>
                              <a:gd name="T33" fmla="*/ 780 h 925"/>
                              <a:gd name="T34" fmla="*/ 760 w 925"/>
                              <a:gd name="T35" fmla="*/ 760 h 925"/>
                              <a:gd name="T36" fmla="*/ 797 w 925"/>
                              <a:gd name="T37" fmla="*/ 720 h 925"/>
                              <a:gd name="T38" fmla="*/ 829 w 925"/>
                              <a:gd name="T39" fmla="*/ 677 h 925"/>
                              <a:gd name="T40" fmla="*/ 856 w 925"/>
                              <a:gd name="T41" fmla="*/ 632 h 925"/>
                              <a:gd name="T42" fmla="*/ 879 w 925"/>
                              <a:gd name="T43" fmla="*/ 585 h 925"/>
                              <a:gd name="T44" fmla="*/ 897 w 925"/>
                              <a:gd name="T45" fmla="*/ 536 h 925"/>
                              <a:gd name="T46" fmla="*/ 911 w 925"/>
                              <a:gd name="T47" fmla="*/ 487 h 925"/>
                              <a:gd name="T48" fmla="*/ 920 w 925"/>
                              <a:gd name="T49" fmla="*/ 436 h 925"/>
                              <a:gd name="T50" fmla="*/ 924 w 925"/>
                              <a:gd name="T51" fmla="*/ 385 h 925"/>
                              <a:gd name="T52" fmla="*/ 924 w 925"/>
                              <a:gd name="T53" fmla="*/ 334 h 925"/>
                              <a:gd name="T54" fmla="*/ 919 w 925"/>
                              <a:gd name="T55" fmla="*/ 283 h 925"/>
                              <a:gd name="T56" fmla="*/ 910 w 925"/>
                              <a:gd name="T57" fmla="*/ 233 h 925"/>
                              <a:gd name="T58" fmla="*/ 895 w 925"/>
                              <a:gd name="T59" fmla="*/ 183 h 925"/>
                              <a:gd name="T60" fmla="*/ 877 w 925"/>
                              <a:gd name="T61" fmla="*/ 134 h 925"/>
                              <a:gd name="T62" fmla="*/ 853 w 925"/>
                              <a:gd name="T63" fmla="*/ 88 h 925"/>
                              <a:gd name="T64" fmla="*/ 825 w 925"/>
                              <a:gd name="T65" fmla="*/ 43 h 925"/>
                              <a:gd name="T66" fmla="*/ 793 w 925"/>
                              <a:gd name="T67" fmla="*/ 0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5" h="925">
                                <a:moveTo>
                                  <a:pt x="793" y="0"/>
                                </a:moveTo>
                                <a:lnTo>
                                  <a:pt x="0" y="793"/>
                                </a:lnTo>
                                <a:lnTo>
                                  <a:pt x="0" y="793"/>
                                </a:lnTo>
                                <a:lnTo>
                                  <a:pt x="21" y="810"/>
                                </a:lnTo>
                                <a:lnTo>
                                  <a:pt x="42" y="826"/>
                                </a:lnTo>
                                <a:lnTo>
                                  <a:pt x="65" y="840"/>
                                </a:lnTo>
                                <a:lnTo>
                                  <a:pt x="87" y="853"/>
                                </a:lnTo>
                                <a:lnTo>
                                  <a:pt x="111" y="866"/>
                                </a:lnTo>
                                <a:lnTo>
                                  <a:pt x="134" y="877"/>
                                </a:lnTo>
                                <a:lnTo>
                                  <a:pt x="158" y="887"/>
                                </a:lnTo>
                                <a:lnTo>
                                  <a:pt x="182" y="896"/>
                                </a:lnTo>
                                <a:lnTo>
                                  <a:pt x="207" y="903"/>
                                </a:lnTo>
                                <a:lnTo>
                                  <a:pt x="232" y="911"/>
                                </a:lnTo>
                                <a:lnTo>
                                  <a:pt x="257" y="916"/>
                                </a:lnTo>
                                <a:lnTo>
                                  <a:pt x="283" y="920"/>
                                </a:lnTo>
                                <a:lnTo>
                                  <a:pt x="308" y="923"/>
                                </a:lnTo>
                                <a:lnTo>
                                  <a:pt x="334" y="925"/>
                                </a:lnTo>
                                <a:lnTo>
                                  <a:pt x="359" y="925"/>
                                </a:lnTo>
                                <a:lnTo>
                                  <a:pt x="385" y="925"/>
                                </a:lnTo>
                                <a:lnTo>
                                  <a:pt x="410" y="923"/>
                                </a:lnTo>
                                <a:lnTo>
                                  <a:pt x="436" y="921"/>
                                </a:lnTo>
                                <a:lnTo>
                                  <a:pt x="461" y="917"/>
                                </a:lnTo>
                                <a:lnTo>
                                  <a:pt x="486" y="912"/>
                                </a:lnTo>
                                <a:lnTo>
                                  <a:pt x="512" y="905"/>
                                </a:lnTo>
                                <a:lnTo>
                                  <a:pt x="536" y="898"/>
                                </a:lnTo>
                                <a:lnTo>
                                  <a:pt x="561" y="889"/>
                                </a:lnTo>
                                <a:lnTo>
                                  <a:pt x="584" y="880"/>
                                </a:lnTo>
                                <a:lnTo>
                                  <a:pt x="608" y="869"/>
                                </a:lnTo>
                                <a:lnTo>
                                  <a:pt x="631" y="857"/>
                                </a:lnTo>
                                <a:lnTo>
                                  <a:pt x="654" y="844"/>
                                </a:lnTo>
                                <a:lnTo>
                                  <a:pt x="676" y="830"/>
                                </a:lnTo>
                                <a:lnTo>
                                  <a:pt x="699" y="814"/>
                                </a:lnTo>
                                <a:lnTo>
                                  <a:pt x="719" y="797"/>
                                </a:lnTo>
                                <a:lnTo>
                                  <a:pt x="740" y="780"/>
                                </a:lnTo>
                                <a:lnTo>
                                  <a:pt x="760" y="760"/>
                                </a:lnTo>
                                <a:lnTo>
                                  <a:pt x="760" y="760"/>
                                </a:lnTo>
                                <a:lnTo>
                                  <a:pt x="779" y="741"/>
                                </a:lnTo>
                                <a:lnTo>
                                  <a:pt x="797" y="720"/>
                                </a:lnTo>
                                <a:lnTo>
                                  <a:pt x="813" y="699"/>
                                </a:lnTo>
                                <a:lnTo>
                                  <a:pt x="829" y="677"/>
                                </a:lnTo>
                                <a:lnTo>
                                  <a:pt x="843" y="655"/>
                                </a:lnTo>
                                <a:lnTo>
                                  <a:pt x="856" y="632"/>
                                </a:lnTo>
                                <a:lnTo>
                                  <a:pt x="869" y="609"/>
                                </a:lnTo>
                                <a:lnTo>
                                  <a:pt x="879" y="585"/>
                                </a:lnTo>
                                <a:lnTo>
                                  <a:pt x="889" y="561"/>
                                </a:lnTo>
                                <a:lnTo>
                                  <a:pt x="897" y="536"/>
                                </a:lnTo>
                                <a:lnTo>
                                  <a:pt x="905" y="512"/>
                                </a:lnTo>
                                <a:lnTo>
                                  <a:pt x="911" y="487"/>
                                </a:lnTo>
                                <a:lnTo>
                                  <a:pt x="916" y="462"/>
                                </a:lnTo>
                                <a:lnTo>
                                  <a:pt x="920" y="436"/>
                                </a:lnTo>
                                <a:lnTo>
                                  <a:pt x="923" y="410"/>
                                </a:lnTo>
                                <a:lnTo>
                                  <a:pt x="924" y="385"/>
                                </a:lnTo>
                                <a:lnTo>
                                  <a:pt x="925" y="359"/>
                                </a:lnTo>
                                <a:lnTo>
                                  <a:pt x="924" y="334"/>
                                </a:lnTo>
                                <a:lnTo>
                                  <a:pt x="922" y="308"/>
                                </a:lnTo>
                                <a:lnTo>
                                  <a:pt x="919" y="283"/>
                                </a:lnTo>
                                <a:lnTo>
                                  <a:pt x="915" y="258"/>
                                </a:lnTo>
                                <a:lnTo>
                                  <a:pt x="910" y="233"/>
                                </a:lnTo>
                                <a:lnTo>
                                  <a:pt x="904" y="208"/>
                                </a:lnTo>
                                <a:lnTo>
                                  <a:pt x="895" y="183"/>
                                </a:lnTo>
                                <a:lnTo>
                                  <a:pt x="886" y="159"/>
                                </a:lnTo>
                                <a:lnTo>
                                  <a:pt x="877" y="134"/>
                                </a:lnTo>
                                <a:lnTo>
                                  <a:pt x="866" y="111"/>
                                </a:lnTo>
                                <a:lnTo>
                                  <a:pt x="853" y="88"/>
                                </a:lnTo>
                                <a:lnTo>
                                  <a:pt x="840" y="65"/>
                                </a:lnTo>
                                <a:lnTo>
                                  <a:pt x="825" y="43"/>
                                </a:lnTo>
                                <a:lnTo>
                                  <a:pt x="809" y="22"/>
                                </a:lnTo>
                                <a:lnTo>
                                  <a:pt x="793" y="0"/>
                                </a:lnTo>
                                <a:lnTo>
                                  <a:pt x="7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202" name="Freeform 370">
                            <a:extLst>
                              <a:ext uri="{FF2B5EF4-FFF2-40B4-BE49-F238E27FC236}">
                                <a16:creationId xmlns:a16="http://schemas.microsoft.com/office/drawing/2014/main" id="{42ADF66A-5290-469D-999D-A1DB52DC9D6B}"/>
                              </a:ext>
                            </a:extLst>
                          </p:cNvPr>
                          <p:cNvSpPr>
                            <a:spLocks/>
                          </p:cNvSpPr>
                          <p:nvPr/>
                        </p:nvSpPr>
                        <p:spPr bwMode="auto">
                          <a:xfrm>
                            <a:off x="1083488" y="-1476527"/>
                            <a:ext cx="163512" cy="112713"/>
                          </a:xfrm>
                          <a:custGeom>
                            <a:avLst/>
                            <a:gdLst>
                              <a:gd name="T0" fmla="*/ 725 w 725"/>
                              <a:gd name="T1" fmla="*/ 132 h 494"/>
                              <a:gd name="T2" fmla="*/ 725 w 725"/>
                              <a:gd name="T3" fmla="*/ 132 h 494"/>
                              <a:gd name="T4" fmla="*/ 705 w 725"/>
                              <a:gd name="T5" fmla="*/ 116 h 494"/>
                              <a:gd name="T6" fmla="*/ 685 w 725"/>
                              <a:gd name="T7" fmla="*/ 101 h 494"/>
                              <a:gd name="T8" fmla="*/ 664 w 725"/>
                              <a:gd name="T9" fmla="*/ 87 h 494"/>
                              <a:gd name="T10" fmla="*/ 643 w 725"/>
                              <a:gd name="T11" fmla="*/ 75 h 494"/>
                              <a:gd name="T12" fmla="*/ 621 w 725"/>
                              <a:gd name="T13" fmla="*/ 62 h 494"/>
                              <a:gd name="T14" fmla="*/ 599 w 725"/>
                              <a:gd name="T15" fmla="*/ 51 h 494"/>
                              <a:gd name="T16" fmla="*/ 576 w 725"/>
                              <a:gd name="T17" fmla="*/ 42 h 494"/>
                              <a:gd name="T18" fmla="*/ 553 w 725"/>
                              <a:gd name="T19" fmla="*/ 33 h 494"/>
                              <a:gd name="T20" fmla="*/ 530 w 725"/>
                              <a:gd name="T21" fmla="*/ 25 h 494"/>
                              <a:gd name="T22" fmla="*/ 507 w 725"/>
                              <a:gd name="T23" fmla="*/ 18 h 494"/>
                              <a:gd name="T24" fmla="*/ 483 w 725"/>
                              <a:gd name="T25" fmla="*/ 13 h 494"/>
                              <a:gd name="T26" fmla="*/ 460 w 725"/>
                              <a:gd name="T27" fmla="*/ 8 h 494"/>
                              <a:gd name="T28" fmla="*/ 435 w 725"/>
                              <a:gd name="T29" fmla="*/ 5 h 494"/>
                              <a:gd name="T30" fmla="*/ 411 w 725"/>
                              <a:gd name="T31" fmla="*/ 2 h 494"/>
                              <a:gd name="T32" fmla="*/ 387 w 725"/>
                              <a:gd name="T33" fmla="*/ 1 h 494"/>
                              <a:gd name="T34" fmla="*/ 362 w 725"/>
                              <a:gd name="T35" fmla="*/ 0 h 494"/>
                              <a:gd name="T36" fmla="*/ 339 w 725"/>
                              <a:gd name="T37" fmla="*/ 1 h 494"/>
                              <a:gd name="T38" fmla="*/ 314 w 725"/>
                              <a:gd name="T39" fmla="*/ 2 h 494"/>
                              <a:gd name="T40" fmla="*/ 291 w 725"/>
                              <a:gd name="T41" fmla="*/ 5 h 494"/>
                              <a:gd name="T42" fmla="*/ 266 w 725"/>
                              <a:gd name="T43" fmla="*/ 8 h 494"/>
                              <a:gd name="T44" fmla="*/ 243 w 725"/>
                              <a:gd name="T45" fmla="*/ 13 h 494"/>
                              <a:gd name="T46" fmla="*/ 219 w 725"/>
                              <a:gd name="T47" fmla="*/ 18 h 494"/>
                              <a:gd name="T48" fmla="*/ 196 w 725"/>
                              <a:gd name="T49" fmla="*/ 25 h 494"/>
                              <a:gd name="T50" fmla="*/ 173 w 725"/>
                              <a:gd name="T51" fmla="*/ 33 h 494"/>
                              <a:gd name="T52" fmla="*/ 150 w 725"/>
                              <a:gd name="T53" fmla="*/ 42 h 494"/>
                              <a:gd name="T54" fmla="*/ 127 w 725"/>
                              <a:gd name="T55" fmla="*/ 52 h 494"/>
                              <a:gd name="T56" fmla="*/ 105 w 725"/>
                              <a:gd name="T57" fmla="*/ 62 h 494"/>
                              <a:gd name="T58" fmla="*/ 83 w 725"/>
                              <a:gd name="T59" fmla="*/ 75 h 494"/>
                              <a:gd name="T60" fmla="*/ 62 w 725"/>
                              <a:gd name="T61" fmla="*/ 87 h 494"/>
                              <a:gd name="T62" fmla="*/ 41 w 725"/>
                              <a:gd name="T63" fmla="*/ 101 h 494"/>
                              <a:gd name="T64" fmla="*/ 21 w 725"/>
                              <a:gd name="T65" fmla="*/ 116 h 494"/>
                              <a:gd name="T66" fmla="*/ 0 w 725"/>
                              <a:gd name="T67" fmla="*/ 132 h 494"/>
                              <a:gd name="T68" fmla="*/ 362 w 725"/>
                              <a:gd name="T69" fmla="*/ 494 h 494"/>
                              <a:gd name="T70" fmla="*/ 725 w 725"/>
                              <a:gd name="T71" fmla="*/ 1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5" h="494">
                                <a:moveTo>
                                  <a:pt x="725" y="132"/>
                                </a:moveTo>
                                <a:lnTo>
                                  <a:pt x="725" y="132"/>
                                </a:lnTo>
                                <a:lnTo>
                                  <a:pt x="705" y="116"/>
                                </a:lnTo>
                                <a:lnTo>
                                  <a:pt x="685" y="101"/>
                                </a:lnTo>
                                <a:lnTo>
                                  <a:pt x="664" y="87"/>
                                </a:lnTo>
                                <a:lnTo>
                                  <a:pt x="643" y="75"/>
                                </a:lnTo>
                                <a:lnTo>
                                  <a:pt x="621" y="62"/>
                                </a:lnTo>
                                <a:lnTo>
                                  <a:pt x="599" y="51"/>
                                </a:lnTo>
                                <a:lnTo>
                                  <a:pt x="576" y="42"/>
                                </a:lnTo>
                                <a:lnTo>
                                  <a:pt x="553" y="33"/>
                                </a:lnTo>
                                <a:lnTo>
                                  <a:pt x="530" y="25"/>
                                </a:lnTo>
                                <a:lnTo>
                                  <a:pt x="507" y="18"/>
                                </a:lnTo>
                                <a:lnTo>
                                  <a:pt x="483" y="13"/>
                                </a:lnTo>
                                <a:lnTo>
                                  <a:pt x="460" y="8"/>
                                </a:lnTo>
                                <a:lnTo>
                                  <a:pt x="435" y="5"/>
                                </a:lnTo>
                                <a:lnTo>
                                  <a:pt x="411" y="2"/>
                                </a:lnTo>
                                <a:lnTo>
                                  <a:pt x="387" y="1"/>
                                </a:lnTo>
                                <a:lnTo>
                                  <a:pt x="362" y="0"/>
                                </a:lnTo>
                                <a:lnTo>
                                  <a:pt x="339" y="1"/>
                                </a:lnTo>
                                <a:lnTo>
                                  <a:pt x="314" y="2"/>
                                </a:lnTo>
                                <a:lnTo>
                                  <a:pt x="291" y="5"/>
                                </a:lnTo>
                                <a:lnTo>
                                  <a:pt x="266" y="8"/>
                                </a:lnTo>
                                <a:lnTo>
                                  <a:pt x="243" y="13"/>
                                </a:lnTo>
                                <a:lnTo>
                                  <a:pt x="219" y="18"/>
                                </a:lnTo>
                                <a:lnTo>
                                  <a:pt x="196" y="25"/>
                                </a:lnTo>
                                <a:lnTo>
                                  <a:pt x="173" y="33"/>
                                </a:lnTo>
                                <a:lnTo>
                                  <a:pt x="150" y="42"/>
                                </a:lnTo>
                                <a:lnTo>
                                  <a:pt x="127" y="52"/>
                                </a:lnTo>
                                <a:lnTo>
                                  <a:pt x="105" y="62"/>
                                </a:lnTo>
                                <a:lnTo>
                                  <a:pt x="83" y="75"/>
                                </a:lnTo>
                                <a:lnTo>
                                  <a:pt x="62" y="87"/>
                                </a:lnTo>
                                <a:lnTo>
                                  <a:pt x="41" y="101"/>
                                </a:lnTo>
                                <a:lnTo>
                                  <a:pt x="21" y="116"/>
                                </a:lnTo>
                                <a:lnTo>
                                  <a:pt x="0" y="132"/>
                                </a:lnTo>
                                <a:lnTo>
                                  <a:pt x="362" y="494"/>
                                </a:lnTo>
                                <a:lnTo>
                                  <a:pt x="725"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203" name="Freeform 371">
                            <a:extLst>
                              <a:ext uri="{FF2B5EF4-FFF2-40B4-BE49-F238E27FC236}">
                                <a16:creationId xmlns:a16="http://schemas.microsoft.com/office/drawing/2014/main" id="{26742CEC-E06E-41F8-AB86-538925809D04}"/>
                              </a:ext>
                            </a:extLst>
                          </p:cNvPr>
                          <p:cNvSpPr>
                            <a:spLocks/>
                          </p:cNvSpPr>
                          <p:nvPr/>
                        </p:nvSpPr>
                        <p:spPr bwMode="auto">
                          <a:xfrm>
                            <a:off x="1039038" y="-1398740"/>
                            <a:ext cx="79375" cy="92075"/>
                          </a:xfrm>
                          <a:custGeom>
                            <a:avLst/>
                            <a:gdLst>
                              <a:gd name="T0" fmla="*/ 272 w 352"/>
                              <a:gd name="T1" fmla="*/ 0 h 402"/>
                              <a:gd name="T2" fmla="*/ 0 w 352"/>
                              <a:gd name="T3" fmla="*/ 273 h 402"/>
                              <a:gd name="T4" fmla="*/ 0 w 352"/>
                              <a:gd name="T5" fmla="*/ 273 h 402"/>
                              <a:gd name="T6" fmla="*/ 4 w 352"/>
                              <a:gd name="T7" fmla="*/ 305 h 402"/>
                              <a:gd name="T8" fmla="*/ 10 w 352"/>
                              <a:gd name="T9" fmla="*/ 338 h 402"/>
                              <a:gd name="T10" fmla="*/ 18 w 352"/>
                              <a:gd name="T11" fmla="*/ 371 h 402"/>
                              <a:gd name="T12" fmla="*/ 28 w 352"/>
                              <a:gd name="T13" fmla="*/ 402 h 402"/>
                              <a:gd name="T14" fmla="*/ 352 w 352"/>
                              <a:gd name="T15" fmla="*/ 79 h 402"/>
                              <a:gd name="T16" fmla="*/ 272 w 352"/>
                              <a:gd name="T1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402">
                                <a:moveTo>
                                  <a:pt x="272" y="0"/>
                                </a:moveTo>
                                <a:lnTo>
                                  <a:pt x="0" y="273"/>
                                </a:lnTo>
                                <a:lnTo>
                                  <a:pt x="0" y="273"/>
                                </a:lnTo>
                                <a:lnTo>
                                  <a:pt x="4" y="305"/>
                                </a:lnTo>
                                <a:lnTo>
                                  <a:pt x="10" y="338"/>
                                </a:lnTo>
                                <a:lnTo>
                                  <a:pt x="18" y="371"/>
                                </a:lnTo>
                                <a:lnTo>
                                  <a:pt x="28" y="402"/>
                                </a:lnTo>
                                <a:lnTo>
                                  <a:pt x="352" y="79"/>
                                </a:lnTo>
                                <a:lnTo>
                                  <a:pt x="2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grpSp>
                    <p:grpSp>
                      <p:nvGrpSpPr>
                        <p:cNvPr id="193" name="Group 192">
                          <a:extLst>
                            <a:ext uri="{FF2B5EF4-FFF2-40B4-BE49-F238E27FC236}">
                              <a16:creationId xmlns:a16="http://schemas.microsoft.com/office/drawing/2014/main" id="{4EDF0343-5DA1-4AC5-8E0D-2375B8A6E917}"/>
                            </a:ext>
                          </a:extLst>
                        </p:cNvPr>
                        <p:cNvGrpSpPr/>
                        <p:nvPr/>
                      </p:nvGrpSpPr>
                      <p:grpSpPr>
                        <a:xfrm>
                          <a:off x="5208518" y="-1395792"/>
                          <a:ext cx="426200" cy="371854"/>
                          <a:chOff x="1620064" y="-757313"/>
                          <a:chExt cx="236538" cy="206376"/>
                        </a:xfrm>
                        <a:grpFill/>
                      </p:grpSpPr>
                      <p:sp>
                        <p:nvSpPr>
                          <p:cNvPr id="194" name="Freeform 186">
                            <a:extLst>
                              <a:ext uri="{FF2B5EF4-FFF2-40B4-BE49-F238E27FC236}">
                                <a16:creationId xmlns:a16="http://schemas.microsoft.com/office/drawing/2014/main" id="{06DE1C26-736B-478C-A558-FFD922FD15DB}"/>
                              </a:ext>
                            </a:extLst>
                          </p:cNvPr>
                          <p:cNvSpPr>
                            <a:spLocks/>
                          </p:cNvSpPr>
                          <p:nvPr/>
                        </p:nvSpPr>
                        <p:spPr bwMode="auto">
                          <a:xfrm>
                            <a:off x="1745476" y="-757313"/>
                            <a:ext cx="44450" cy="174625"/>
                          </a:xfrm>
                          <a:custGeom>
                            <a:avLst/>
                            <a:gdLst>
                              <a:gd name="T0" fmla="*/ 196 w 196"/>
                              <a:gd name="T1" fmla="*/ 26 h 767"/>
                              <a:gd name="T2" fmla="*/ 196 w 196"/>
                              <a:gd name="T3" fmla="*/ 26 h 767"/>
                              <a:gd name="T4" fmla="*/ 196 w 196"/>
                              <a:gd name="T5" fmla="*/ 21 h 767"/>
                              <a:gd name="T6" fmla="*/ 194 w 196"/>
                              <a:gd name="T7" fmla="*/ 17 h 767"/>
                              <a:gd name="T8" fmla="*/ 192 w 196"/>
                              <a:gd name="T9" fmla="*/ 11 h 767"/>
                              <a:gd name="T10" fmla="*/ 189 w 196"/>
                              <a:gd name="T11" fmla="*/ 8 h 767"/>
                              <a:gd name="T12" fmla="*/ 185 w 196"/>
                              <a:gd name="T13" fmla="*/ 5 h 767"/>
                              <a:gd name="T14" fmla="*/ 181 w 196"/>
                              <a:gd name="T15" fmla="*/ 2 h 767"/>
                              <a:gd name="T16" fmla="*/ 177 w 196"/>
                              <a:gd name="T17" fmla="*/ 1 h 767"/>
                              <a:gd name="T18" fmla="*/ 172 w 196"/>
                              <a:gd name="T19" fmla="*/ 0 h 767"/>
                              <a:gd name="T20" fmla="*/ 24 w 196"/>
                              <a:gd name="T21" fmla="*/ 0 h 767"/>
                              <a:gd name="T22" fmla="*/ 24 w 196"/>
                              <a:gd name="T23" fmla="*/ 0 h 767"/>
                              <a:gd name="T24" fmla="*/ 19 w 196"/>
                              <a:gd name="T25" fmla="*/ 1 h 767"/>
                              <a:gd name="T26" fmla="*/ 15 w 196"/>
                              <a:gd name="T27" fmla="*/ 2 h 767"/>
                              <a:gd name="T28" fmla="*/ 11 w 196"/>
                              <a:gd name="T29" fmla="*/ 5 h 767"/>
                              <a:gd name="T30" fmla="*/ 7 w 196"/>
                              <a:gd name="T31" fmla="*/ 8 h 767"/>
                              <a:gd name="T32" fmla="*/ 4 w 196"/>
                              <a:gd name="T33" fmla="*/ 11 h 767"/>
                              <a:gd name="T34" fmla="*/ 2 w 196"/>
                              <a:gd name="T35" fmla="*/ 17 h 767"/>
                              <a:gd name="T36" fmla="*/ 1 w 196"/>
                              <a:gd name="T37" fmla="*/ 21 h 767"/>
                              <a:gd name="T38" fmla="*/ 0 w 196"/>
                              <a:gd name="T39" fmla="*/ 26 h 767"/>
                              <a:gd name="T40" fmla="*/ 0 w 196"/>
                              <a:gd name="T41" fmla="*/ 767 h 767"/>
                              <a:gd name="T42" fmla="*/ 196 w 196"/>
                              <a:gd name="T43" fmla="*/ 767 h 767"/>
                              <a:gd name="T44" fmla="*/ 196 w 196"/>
                              <a:gd name="T45" fmla="*/ 26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767">
                                <a:moveTo>
                                  <a:pt x="196" y="26"/>
                                </a:moveTo>
                                <a:lnTo>
                                  <a:pt x="196" y="26"/>
                                </a:lnTo>
                                <a:lnTo>
                                  <a:pt x="196" y="21"/>
                                </a:lnTo>
                                <a:lnTo>
                                  <a:pt x="194" y="17"/>
                                </a:lnTo>
                                <a:lnTo>
                                  <a:pt x="192" y="11"/>
                                </a:lnTo>
                                <a:lnTo>
                                  <a:pt x="189" y="8"/>
                                </a:lnTo>
                                <a:lnTo>
                                  <a:pt x="185" y="5"/>
                                </a:lnTo>
                                <a:lnTo>
                                  <a:pt x="181" y="2"/>
                                </a:lnTo>
                                <a:lnTo>
                                  <a:pt x="177" y="1"/>
                                </a:lnTo>
                                <a:lnTo>
                                  <a:pt x="172" y="0"/>
                                </a:lnTo>
                                <a:lnTo>
                                  <a:pt x="24" y="0"/>
                                </a:lnTo>
                                <a:lnTo>
                                  <a:pt x="24" y="0"/>
                                </a:lnTo>
                                <a:lnTo>
                                  <a:pt x="19" y="1"/>
                                </a:lnTo>
                                <a:lnTo>
                                  <a:pt x="15" y="2"/>
                                </a:lnTo>
                                <a:lnTo>
                                  <a:pt x="11" y="5"/>
                                </a:lnTo>
                                <a:lnTo>
                                  <a:pt x="7" y="8"/>
                                </a:lnTo>
                                <a:lnTo>
                                  <a:pt x="4" y="11"/>
                                </a:lnTo>
                                <a:lnTo>
                                  <a:pt x="2" y="17"/>
                                </a:lnTo>
                                <a:lnTo>
                                  <a:pt x="1" y="21"/>
                                </a:lnTo>
                                <a:lnTo>
                                  <a:pt x="0" y="26"/>
                                </a:lnTo>
                                <a:lnTo>
                                  <a:pt x="0" y="767"/>
                                </a:lnTo>
                                <a:lnTo>
                                  <a:pt x="196" y="767"/>
                                </a:lnTo>
                                <a:lnTo>
                                  <a:pt x="1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195" name="Freeform 187">
                            <a:extLst>
                              <a:ext uri="{FF2B5EF4-FFF2-40B4-BE49-F238E27FC236}">
                                <a16:creationId xmlns:a16="http://schemas.microsoft.com/office/drawing/2014/main" id="{32086179-6412-4920-B89E-ED7F27E2109B}"/>
                              </a:ext>
                            </a:extLst>
                          </p:cNvPr>
                          <p:cNvSpPr>
                            <a:spLocks/>
                          </p:cNvSpPr>
                          <p:nvPr/>
                        </p:nvSpPr>
                        <p:spPr bwMode="auto">
                          <a:xfrm>
                            <a:off x="1685151" y="-666825"/>
                            <a:ext cx="44450" cy="84138"/>
                          </a:xfrm>
                          <a:custGeom>
                            <a:avLst/>
                            <a:gdLst>
                              <a:gd name="T0" fmla="*/ 196 w 196"/>
                              <a:gd name="T1" fmla="*/ 25 h 369"/>
                              <a:gd name="T2" fmla="*/ 196 w 196"/>
                              <a:gd name="T3" fmla="*/ 25 h 369"/>
                              <a:gd name="T4" fmla="*/ 196 w 196"/>
                              <a:gd name="T5" fmla="*/ 20 h 369"/>
                              <a:gd name="T6" fmla="*/ 194 w 196"/>
                              <a:gd name="T7" fmla="*/ 15 h 369"/>
                              <a:gd name="T8" fmla="*/ 192 w 196"/>
                              <a:gd name="T9" fmla="*/ 11 h 369"/>
                              <a:gd name="T10" fmla="*/ 189 w 196"/>
                              <a:gd name="T11" fmla="*/ 7 h 369"/>
                              <a:gd name="T12" fmla="*/ 185 w 196"/>
                              <a:gd name="T13" fmla="*/ 4 h 369"/>
                              <a:gd name="T14" fmla="*/ 181 w 196"/>
                              <a:gd name="T15" fmla="*/ 2 h 369"/>
                              <a:gd name="T16" fmla="*/ 177 w 196"/>
                              <a:gd name="T17" fmla="*/ 0 h 369"/>
                              <a:gd name="T18" fmla="*/ 172 w 196"/>
                              <a:gd name="T19" fmla="*/ 0 h 369"/>
                              <a:gd name="T20" fmla="*/ 25 w 196"/>
                              <a:gd name="T21" fmla="*/ 0 h 369"/>
                              <a:gd name="T22" fmla="*/ 25 w 196"/>
                              <a:gd name="T23" fmla="*/ 0 h 369"/>
                              <a:gd name="T24" fmla="*/ 19 w 196"/>
                              <a:gd name="T25" fmla="*/ 0 h 369"/>
                              <a:gd name="T26" fmla="*/ 15 w 196"/>
                              <a:gd name="T27" fmla="*/ 2 h 369"/>
                              <a:gd name="T28" fmla="*/ 11 w 196"/>
                              <a:gd name="T29" fmla="*/ 4 h 369"/>
                              <a:gd name="T30" fmla="*/ 7 w 196"/>
                              <a:gd name="T31" fmla="*/ 7 h 369"/>
                              <a:gd name="T32" fmla="*/ 4 w 196"/>
                              <a:gd name="T33" fmla="*/ 11 h 369"/>
                              <a:gd name="T34" fmla="*/ 2 w 196"/>
                              <a:gd name="T35" fmla="*/ 15 h 369"/>
                              <a:gd name="T36" fmla="*/ 1 w 196"/>
                              <a:gd name="T37" fmla="*/ 20 h 369"/>
                              <a:gd name="T38" fmla="*/ 0 w 196"/>
                              <a:gd name="T39" fmla="*/ 25 h 369"/>
                              <a:gd name="T40" fmla="*/ 0 w 196"/>
                              <a:gd name="T41" fmla="*/ 369 h 369"/>
                              <a:gd name="T42" fmla="*/ 196 w 196"/>
                              <a:gd name="T43" fmla="*/ 369 h 369"/>
                              <a:gd name="T44" fmla="*/ 196 w 196"/>
                              <a:gd name="T45" fmla="*/ 25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369">
                                <a:moveTo>
                                  <a:pt x="196" y="25"/>
                                </a:moveTo>
                                <a:lnTo>
                                  <a:pt x="196" y="25"/>
                                </a:lnTo>
                                <a:lnTo>
                                  <a:pt x="196" y="20"/>
                                </a:lnTo>
                                <a:lnTo>
                                  <a:pt x="194" y="15"/>
                                </a:lnTo>
                                <a:lnTo>
                                  <a:pt x="192" y="11"/>
                                </a:lnTo>
                                <a:lnTo>
                                  <a:pt x="189" y="7"/>
                                </a:lnTo>
                                <a:lnTo>
                                  <a:pt x="185" y="4"/>
                                </a:lnTo>
                                <a:lnTo>
                                  <a:pt x="181" y="2"/>
                                </a:lnTo>
                                <a:lnTo>
                                  <a:pt x="177" y="0"/>
                                </a:lnTo>
                                <a:lnTo>
                                  <a:pt x="172" y="0"/>
                                </a:lnTo>
                                <a:lnTo>
                                  <a:pt x="25" y="0"/>
                                </a:lnTo>
                                <a:lnTo>
                                  <a:pt x="25" y="0"/>
                                </a:lnTo>
                                <a:lnTo>
                                  <a:pt x="19" y="0"/>
                                </a:lnTo>
                                <a:lnTo>
                                  <a:pt x="15" y="2"/>
                                </a:lnTo>
                                <a:lnTo>
                                  <a:pt x="11" y="4"/>
                                </a:lnTo>
                                <a:lnTo>
                                  <a:pt x="7" y="7"/>
                                </a:lnTo>
                                <a:lnTo>
                                  <a:pt x="4" y="11"/>
                                </a:lnTo>
                                <a:lnTo>
                                  <a:pt x="2" y="15"/>
                                </a:lnTo>
                                <a:lnTo>
                                  <a:pt x="1" y="20"/>
                                </a:lnTo>
                                <a:lnTo>
                                  <a:pt x="0" y="25"/>
                                </a:lnTo>
                                <a:lnTo>
                                  <a:pt x="0" y="369"/>
                                </a:lnTo>
                                <a:lnTo>
                                  <a:pt x="196" y="369"/>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196" name="Freeform 188">
                            <a:extLst>
                              <a:ext uri="{FF2B5EF4-FFF2-40B4-BE49-F238E27FC236}">
                                <a16:creationId xmlns:a16="http://schemas.microsoft.com/office/drawing/2014/main" id="{75244E91-92EC-4E82-93FE-7A4D394C01A2}"/>
                              </a:ext>
                            </a:extLst>
                          </p:cNvPr>
                          <p:cNvSpPr>
                            <a:spLocks/>
                          </p:cNvSpPr>
                          <p:nvPr/>
                        </p:nvSpPr>
                        <p:spPr bwMode="auto">
                          <a:xfrm>
                            <a:off x="1805801" y="-709688"/>
                            <a:ext cx="44450" cy="127000"/>
                          </a:xfrm>
                          <a:custGeom>
                            <a:avLst/>
                            <a:gdLst>
                              <a:gd name="T0" fmla="*/ 196 w 196"/>
                              <a:gd name="T1" fmla="*/ 24 h 558"/>
                              <a:gd name="T2" fmla="*/ 196 w 196"/>
                              <a:gd name="T3" fmla="*/ 24 h 558"/>
                              <a:gd name="T4" fmla="*/ 196 w 196"/>
                              <a:gd name="T5" fmla="*/ 19 h 558"/>
                              <a:gd name="T6" fmla="*/ 194 w 196"/>
                              <a:gd name="T7" fmla="*/ 15 h 558"/>
                              <a:gd name="T8" fmla="*/ 192 w 196"/>
                              <a:gd name="T9" fmla="*/ 11 h 558"/>
                              <a:gd name="T10" fmla="*/ 189 w 196"/>
                              <a:gd name="T11" fmla="*/ 7 h 558"/>
                              <a:gd name="T12" fmla="*/ 186 w 196"/>
                              <a:gd name="T13" fmla="*/ 4 h 558"/>
                              <a:gd name="T14" fmla="*/ 181 w 196"/>
                              <a:gd name="T15" fmla="*/ 2 h 558"/>
                              <a:gd name="T16" fmla="*/ 177 w 196"/>
                              <a:gd name="T17" fmla="*/ 1 h 558"/>
                              <a:gd name="T18" fmla="*/ 172 w 196"/>
                              <a:gd name="T19" fmla="*/ 0 h 558"/>
                              <a:gd name="T20" fmla="*/ 24 w 196"/>
                              <a:gd name="T21" fmla="*/ 0 h 558"/>
                              <a:gd name="T22" fmla="*/ 24 w 196"/>
                              <a:gd name="T23" fmla="*/ 0 h 558"/>
                              <a:gd name="T24" fmla="*/ 20 w 196"/>
                              <a:gd name="T25" fmla="*/ 1 h 558"/>
                              <a:gd name="T26" fmla="*/ 15 w 196"/>
                              <a:gd name="T27" fmla="*/ 2 h 558"/>
                              <a:gd name="T28" fmla="*/ 11 w 196"/>
                              <a:gd name="T29" fmla="*/ 4 h 558"/>
                              <a:gd name="T30" fmla="*/ 7 w 196"/>
                              <a:gd name="T31" fmla="*/ 7 h 558"/>
                              <a:gd name="T32" fmla="*/ 4 w 196"/>
                              <a:gd name="T33" fmla="*/ 11 h 558"/>
                              <a:gd name="T34" fmla="*/ 2 w 196"/>
                              <a:gd name="T35" fmla="*/ 15 h 558"/>
                              <a:gd name="T36" fmla="*/ 1 w 196"/>
                              <a:gd name="T37" fmla="*/ 19 h 558"/>
                              <a:gd name="T38" fmla="*/ 0 w 196"/>
                              <a:gd name="T39" fmla="*/ 24 h 558"/>
                              <a:gd name="T40" fmla="*/ 0 w 196"/>
                              <a:gd name="T41" fmla="*/ 558 h 558"/>
                              <a:gd name="T42" fmla="*/ 196 w 196"/>
                              <a:gd name="T43" fmla="*/ 558 h 558"/>
                              <a:gd name="T44" fmla="*/ 196 w 196"/>
                              <a:gd name="T45" fmla="*/ 2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558">
                                <a:moveTo>
                                  <a:pt x="196" y="24"/>
                                </a:moveTo>
                                <a:lnTo>
                                  <a:pt x="196" y="24"/>
                                </a:lnTo>
                                <a:lnTo>
                                  <a:pt x="196" y="19"/>
                                </a:lnTo>
                                <a:lnTo>
                                  <a:pt x="194" y="15"/>
                                </a:lnTo>
                                <a:lnTo>
                                  <a:pt x="192" y="11"/>
                                </a:lnTo>
                                <a:lnTo>
                                  <a:pt x="189" y="7"/>
                                </a:lnTo>
                                <a:lnTo>
                                  <a:pt x="186" y="4"/>
                                </a:lnTo>
                                <a:lnTo>
                                  <a:pt x="181" y="2"/>
                                </a:lnTo>
                                <a:lnTo>
                                  <a:pt x="177" y="1"/>
                                </a:lnTo>
                                <a:lnTo>
                                  <a:pt x="172" y="0"/>
                                </a:lnTo>
                                <a:lnTo>
                                  <a:pt x="24" y="0"/>
                                </a:lnTo>
                                <a:lnTo>
                                  <a:pt x="24" y="0"/>
                                </a:lnTo>
                                <a:lnTo>
                                  <a:pt x="20" y="1"/>
                                </a:lnTo>
                                <a:lnTo>
                                  <a:pt x="15" y="2"/>
                                </a:lnTo>
                                <a:lnTo>
                                  <a:pt x="11" y="4"/>
                                </a:lnTo>
                                <a:lnTo>
                                  <a:pt x="7" y="7"/>
                                </a:lnTo>
                                <a:lnTo>
                                  <a:pt x="4" y="11"/>
                                </a:lnTo>
                                <a:lnTo>
                                  <a:pt x="2" y="15"/>
                                </a:lnTo>
                                <a:lnTo>
                                  <a:pt x="1" y="19"/>
                                </a:lnTo>
                                <a:lnTo>
                                  <a:pt x="0" y="24"/>
                                </a:lnTo>
                                <a:lnTo>
                                  <a:pt x="0" y="558"/>
                                </a:lnTo>
                                <a:lnTo>
                                  <a:pt x="196" y="558"/>
                                </a:lnTo>
                                <a:lnTo>
                                  <a:pt x="19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197" name="Freeform 189">
                            <a:extLst>
                              <a:ext uri="{FF2B5EF4-FFF2-40B4-BE49-F238E27FC236}">
                                <a16:creationId xmlns:a16="http://schemas.microsoft.com/office/drawing/2014/main" id="{81C73A83-E985-4E11-B2C9-3D73FE350935}"/>
                              </a:ext>
                            </a:extLst>
                          </p:cNvPr>
                          <p:cNvSpPr>
                            <a:spLocks/>
                          </p:cNvSpPr>
                          <p:nvPr/>
                        </p:nvSpPr>
                        <p:spPr bwMode="auto">
                          <a:xfrm>
                            <a:off x="1624826" y="-622375"/>
                            <a:ext cx="44450" cy="39688"/>
                          </a:xfrm>
                          <a:custGeom>
                            <a:avLst/>
                            <a:gdLst>
                              <a:gd name="T0" fmla="*/ 196 w 196"/>
                              <a:gd name="T1" fmla="*/ 25 h 175"/>
                              <a:gd name="T2" fmla="*/ 196 w 196"/>
                              <a:gd name="T3" fmla="*/ 25 h 175"/>
                              <a:gd name="T4" fmla="*/ 195 w 196"/>
                              <a:gd name="T5" fmla="*/ 20 h 175"/>
                              <a:gd name="T6" fmla="*/ 194 w 196"/>
                              <a:gd name="T7" fmla="*/ 16 h 175"/>
                              <a:gd name="T8" fmla="*/ 192 w 196"/>
                              <a:gd name="T9" fmla="*/ 12 h 175"/>
                              <a:gd name="T10" fmla="*/ 189 w 196"/>
                              <a:gd name="T11" fmla="*/ 8 h 175"/>
                              <a:gd name="T12" fmla="*/ 185 w 196"/>
                              <a:gd name="T13" fmla="*/ 5 h 175"/>
                              <a:gd name="T14" fmla="*/ 181 w 196"/>
                              <a:gd name="T15" fmla="*/ 2 h 175"/>
                              <a:gd name="T16" fmla="*/ 177 w 196"/>
                              <a:gd name="T17" fmla="*/ 0 h 175"/>
                              <a:gd name="T18" fmla="*/ 172 w 196"/>
                              <a:gd name="T19" fmla="*/ 0 h 175"/>
                              <a:gd name="T20" fmla="*/ 25 w 196"/>
                              <a:gd name="T21" fmla="*/ 0 h 175"/>
                              <a:gd name="T22" fmla="*/ 25 w 196"/>
                              <a:gd name="T23" fmla="*/ 0 h 175"/>
                              <a:gd name="T24" fmla="*/ 19 w 196"/>
                              <a:gd name="T25" fmla="*/ 0 h 175"/>
                              <a:gd name="T26" fmla="*/ 15 w 196"/>
                              <a:gd name="T27" fmla="*/ 2 h 175"/>
                              <a:gd name="T28" fmla="*/ 10 w 196"/>
                              <a:gd name="T29" fmla="*/ 5 h 175"/>
                              <a:gd name="T30" fmla="*/ 7 w 196"/>
                              <a:gd name="T31" fmla="*/ 8 h 175"/>
                              <a:gd name="T32" fmla="*/ 4 w 196"/>
                              <a:gd name="T33" fmla="*/ 12 h 175"/>
                              <a:gd name="T34" fmla="*/ 2 w 196"/>
                              <a:gd name="T35" fmla="*/ 16 h 175"/>
                              <a:gd name="T36" fmla="*/ 0 w 196"/>
                              <a:gd name="T37" fmla="*/ 20 h 175"/>
                              <a:gd name="T38" fmla="*/ 0 w 196"/>
                              <a:gd name="T39" fmla="*/ 25 h 175"/>
                              <a:gd name="T40" fmla="*/ 0 w 196"/>
                              <a:gd name="T41" fmla="*/ 175 h 175"/>
                              <a:gd name="T42" fmla="*/ 196 w 196"/>
                              <a:gd name="T43" fmla="*/ 175 h 175"/>
                              <a:gd name="T44" fmla="*/ 196 w 196"/>
                              <a:gd name="T45" fmla="*/ 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175">
                                <a:moveTo>
                                  <a:pt x="196" y="25"/>
                                </a:moveTo>
                                <a:lnTo>
                                  <a:pt x="196" y="25"/>
                                </a:lnTo>
                                <a:lnTo>
                                  <a:pt x="195" y="20"/>
                                </a:lnTo>
                                <a:lnTo>
                                  <a:pt x="194" y="16"/>
                                </a:lnTo>
                                <a:lnTo>
                                  <a:pt x="192" y="12"/>
                                </a:lnTo>
                                <a:lnTo>
                                  <a:pt x="189" y="8"/>
                                </a:lnTo>
                                <a:lnTo>
                                  <a:pt x="185" y="5"/>
                                </a:lnTo>
                                <a:lnTo>
                                  <a:pt x="181" y="2"/>
                                </a:lnTo>
                                <a:lnTo>
                                  <a:pt x="177" y="0"/>
                                </a:lnTo>
                                <a:lnTo>
                                  <a:pt x="172" y="0"/>
                                </a:lnTo>
                                <a:lnTo>
                                  <a:pt x="25" y="0"/>
                                </a:lnTo>
                                <a:lnTo>
                                  <a:pt x="25" y="0"/>
                                </a:lnTo>
                                <a:lnTo>
                                  <a:pt x="19" y="0"/>
                                </a:lnTo>
                                <a:lnTo>
                                  <a:pt x="15" y="2"/>
                                </a:lnTo>
                                <a:lnTo>
                                  <a:pt x="10" y="5"/>
                                </a:lnTo>
                                <a:lnTo>
                                  <a:pt x="7" y="8"/>
                                </a:lnTo>
                                <a:lnTo>
                                  <a:pt x="4" y="12"/>
                                </a:lnTo>
                                <a:lnTo>
                                  <a:pt x="2" y="16"/>
                                </a:lnTo>
                                <a:lnTo>
                                  <a:pt x="0" y="20"/>
                                </a:lnTo>
                                <a:lnTo>
                                  <a:pt x="0" y="25"/>
                                </a:lnTo>
                                <a:lnTo>
                                  <a:pt x="0" y="175"/>
                                </a:lnTo>
                                <a:lnTo>
                                  <a:pt x="196" y="175"/>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198" name="Freeform 190">
                            <a:extLst>
                              <a:ext uri="{FF2B5EF4-FFF2-40B4-BE49-F238E27FC236}">
                                <a16:creationId xmlns:a16="http://schemas.microsoft.com/office/drawing/2014/main" id="{4123BB5E-2DE9-4BE5-B9A5-675AFF6088EC}"/>
                              </a:ext>
                            </a:extLst>
                          </p:cNvPr>
                          <p:cNvSpPr>
                            <a:spLocks/>
                          </p:cNvSpPr>
                          <p:nvPr/>
                        </p:nvSpPr>
                        <p:spPr bwMode="auto">
                          <a:xfrm>
                            <a:off x="1620064" y="-568400"/>
                            <a:ext cx="236538" cy="17463"/>
                          </a:xfrm>
                          <a:custGeom>
                            <a:avLst/>
                            <a:gdLst>
                              <a:gd name="T0" fmla="*/ 1031 w 1044"/>
                              <a:gd name="T1" fmla="*/ 0 h 79"/>
                              <a:gd name="T2" fmla="*/ 13 w 1044"/>
                              <a:gd name="T3" fmla="*/ 0 h 79"/>
                              <a:gd name="T4" fmla="*/ 13 w 1044"/>
                              <a:gd name="T5" fmla="*/ 0 h 79"/>
                              <a:gd name="T6" fmla="*/ 8 w 1044"/>
                              <a:gd name="T7" fmla="*/ 1 h 79"/>
                              <a:gd name="T8" fmla="*/ 4 w 1044"/>
                              <a:gd name="T9" fmla="*/ 3 h 79"/>
                              <a:gd name="T10" fmla="*/ 1 w 1044"/>
                              <a:gd name="T11" fmla="*/ 7 h 79"/>
                              <a:gd name="T12" fmla="*/ 0 w 1044"/>
                              <a:gd name="T13" fmla="*/ 12 h 79"/>
                              <a:gd name="T14" fmla="*/ 0 w 1044"/>
                              <a:gd name="T15" fmla="*/ 66 h 79"/>
                              <a:gd name="T16" fmla="*/ 0 w 1044"/>
                              <a:gd name="T17" fmla="*/ 66 h 79"/>
                              <a:gd name="T18" fmla="*/ 1 w 1044"/>
                              <a:gd name="T19" fmla="*/ 71 h 79"/>
                              <a:gd name="T20" fmla="*/ 4 w 1044"/>
                              <a:gd name="T21" fmla="*/ 75 h 79"/>
                              <a:gd name="T22" fmla="*/ 8 w 1044"/>
                              <a:gd name="T23" fmla="*/ 78 h 79"/>
                              <a:gd name="T24" fmla="*/ 13 w 1044"/>
                              <a:gd name="T25" fmla="*/ 79 h 79"/>
                              <a:gd name="T26" fmla="*/ 1031 w 1044"/>
                              <a:gd name="T27" fmla="*/ 79 h 79"/>
                              <a:gd name="T28" fmla="*/ 1031 w 1044"/>
                              <a:gd name="T29" fmla="*/ 79 h 79"/>
                              <a:gd name="T30" fmla="*/ 1036 w 1044"/>
                              <a:gd name="T31" fmla="*/ 78 h 79"/>
                              <a:gd name="T32" fmla="*/ 1040 w 1044"/>
                              <a:gd name="T33" fmla="*/ 75 h 79"/>
                              <a:gd name="T34" fmla="*/ 1043 w 1044"/>
                              <a:gd name="T35" fmla="*/ 71 h 79"/>
                              <a:gd name="T36" fmla="*/ 1044 w 1044"/>
                              <a:gd name="T37" fmla="*/ 66 h 79"/>
                              <a:gd name="T38" fmla="*/ 1044 w 1044"/>
                              <a:gd name="T39" fmla="*/ 12 h 79"/>
                              <a:gd name="T40" fmla="*/ 1044 w 1044"/>
                              <a:gd name="T41" fmla="*/ 12 h 79"/>
                              <a:gd name="T42" fmla="*/ 1043 w 1044"/>
                              <a:gd name="T43" fmla="*/ 7 h 79"/>
                              <a:gd name="T44" fmla="*/ 1040 w 1044"/>
                              <a:gd name="T45" fmla="*/ 3 h 79"/>
                              <a:gd name="T46" fmla="*/ 1036 w 1044"/>
                              <a:gd name="T47" fmla="*/ 1 h 79"/>
                              <a:gd name="T48" fmla="*/ 1031 w 1044"/>
                              <a:gd name="T49" fmla="*/ 0 h 79"/>
                              <a:gd name="T50" fmla="*/ 1031 w 1044"/>
                              <a:gd name="T5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4" h="79">
                                <a:moveTo>
                                  <a:pt x="1031" y="0"/>
                                </a:moveTo>
                                <a:lnTo>
                                  <a:pt x="13" y="0"/>
                                </a:lnTo>
                                <a:lnTo>
                                  <a:pt x="13" y="0"/>
                                </a:lnTo>
                                <a:lnTo>
                                  <a:pt x="8" y="1"/>
                                </a:lnTo>
                                <a:lnTo>
                                  <a:pt x="4" y="3"/>
                                </a:lnTo>
                                <a:lnTo>
                                  <a:pt x="1" y="7"/>
                                </a:lnTo>
                                <a:lnTo>
                                  <a:pt x="0" y="12"/>
                                </a:lnTo>
                                <a:lnTo>
                                  <a:pt x="0" y="66"/>
                                </a:lnTo>
                                <a:lnTo>
                                  <a:pt x="0" y="66"/>
                                </a:lnTo>
                                <a:lnTo>
                                  <a:pt x="1" y="71"/>
                                </a:lnTo>
                                <a:lnTo>
                                  <a:pt x="4" y="75"/>
                                </a:lnTo>
                                <a:lnTo>
                                  <a:pt x="8" y="78"/>
                                </a:lnTo>
                                <a:lnTo>
                                  <a:pt x="13" y="79"/>
                                </a:lnTo>
                                <a:lnTo>
                                  <a:pt x="1031" y="79"/>
                                </a:lnTo>
                                <a:lnTo>
                                  <a:pt x="1031" y="79"/>
                                </a:lnTo>
                                <a:lnTo>
                                  <a:pt x="1036" y="78"/>
                                </a:lnTo>
                                <a:lnTo>
                                  <a:pt x="1040" y="75"/>
                                </a:lnTo>
                                <a:lnTo>
                                  <a:pt x="1043" y="71"/>
                                </a:lnTo>
                                <a:lnTo>
                                  <a:pt x="1044" y="66"/>
                                </a:lnTo>
                                <a:lnTo>
                                  <a:pt x="1044" y="12"/>
                                </a:lnTo>
                                <a:lnTo>
                                  <a:pt x="1044" y="12"/>
                                </a:lnTo>
                                <a:lnTo>
                                  <a:pt x="1043" y="7"/>
                                </a:lnTo>
                                <a:lnTo>
                                  <a:pt x="1040" y="3"/>
                                </a:lnTo>
                                <a:lnTo>
                                  <a:pt x="1036" y="1"/>
                                </a:lnTo>
                                <a:lnTo>
                                  <a:pt x="1031" y="0"/>
                                </a:lnTo>
                                <a:lnTo>
                                  <a:pt x="10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grpSp>
                  </p:grpSp>
                  <p:sp>
                    <p:nvSpPr>
                      <p:cNvPr id="189" name="Rectangle 188">
                        <a:extLst>
                          <a:ext uri="{FF2B5EF4-FFF2-40B4-BE49-F238E27FC236}">
                            <a16:creationId xmlns:a16="http://schemas.microsoft.com/office/drawing/2014/main" id="{585050FC-101E-430D-9D27-C7ED3B7607CB}"/>
                          </a:ext>
                        </a:extLst>
                      </p:cNvPr>
                      <p:cNvSpPr/>
                      <p:nvPr/>
                    </p:nvSpPr>
                    <p:spPr>
                      <a:xfrm>
                        <a:off x="5892682" y="3935099"/>
                        <a:ext cx="129922" cy="18288"/>
                      </a:xfrm>
                      <a:prstGeom prst="rect">
                        <a:avLst/>
                      </a:prstGeom>
                      <a:solidFill>
                        <a:srgbClr val="0498D1">
                          <a:lumMod val="75000"/>
                        </a:srgbClr>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iscoSansTT ExtraLight"/>
                          <a:ea typeface="ＭＳ Ｐゴシック" charset="0"/>
                          <a:cs typeface="+mn-cs"/>
                        </a:endParaRPr>
                      </a:p>
                    </p:txBody>
                  </p:sp>
                  <p:sp>
                    <p:nvSpPr>
                      <p:cNvPr id="190" name="Rectangle 189">
                        <a:extLst>
                          <a:ext uri="{FF2B5EF4-FFF2-40B4-BE49-F238E27FC236}">
                            <a16:creationId xmlns:a16="http://schemas.microsoft.com/office/drawing/2014/main" id="{A228B808-35B9-493E-A42A-BC79627C6A8A}"/>
                          </a:ext>
                        </a:extLst>
                      </p:cNvPr>
                      <p:cNvSpPr/>
                      <p:nvPr/>
                    </p:nvSpPr>
                    <p:spPr>
                      <a:xfrm>
                        <a:off x="5892682" y="3961292"/>
                        <a:ext cx="129922" cy="18288"/>
                      </a:xfrm>
                      <a:prstGeom prst="rect">
                        <a:avLst/>
                      </a:prstGeom>
                      <a:solidFill>
                        <a:srgbClr val="0498D1">
                          <a:lumMod val="75000"/>
                        </a:srgbClr>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iscoSansTT ExtraLight"/>
                          <a:ea typeface="ＭＳ Ｐゴシック" charset="0"/>
                          <a:cs typeface="+mn-cs"/>
                        </a:endParaRPr>
                      </a:p>
                    </p:txBody>
                  </p:sp>
                  <p:sp>
                    <p:nvSpPr>
                      <p:cNvPr id="191" name="Rectangle 190">
                        <a:extLst>
                          <a:ext uri="{FF2B5EF4-FFF2-40B4-BE49-F238E27FC236}">
                            <a16:creationId xmlns:a16="http://schemas.microsoft.com/office/drawing/2014/main" id="{DBF4CAAD-3265-4C7C-957D-FAB6540CBB78}"/>
                          </a:ext>
                        </a:extLst>
                      </p:cNvPr>
                      <p:cNvSpPr/>
                      <p:nvPr/>
                    </p:nvSpPr>
                    <p:spPr>
                      <a:xfrm>
                        <a:off x="5892682" y="3989867"/>
                        <a:ext cx="129922" cy="18288"/>
                      </a:xfrm>
                      <a:prstGeom prst="rect">
                        <a:avLst/>
                      </a:prstGeom>
                      <a:solidFill>
                        <a:srgbClr val="0498D1">
                          <a:lumMod val="75000"/>
                        </a:srgbClr>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iscoSansTT ExtraLight"/>
                          <a:ea typeface="ＭＳ Ｐゴシック" charset="0"/>
                          <a:cs typeface="+mn-cs"/>
                        </a:endParaRPr>
                      </a:p>
                    </p:txBody>
                  </p:sp>
                </p:grpSp>
              </p:grpSp>
            </p:grpSp>
            <p:grpSp>
              <p:nvGrpSpPr>
                <p:cNvPr id="319" name="Group 318">
                  <a:extLst>
                    <a:ext uri="{FF2B5EF4-FFF2-40B4-BE49-F238E27FC236}">
                      <a16:creationId xmlns:a16="http://schemas.microsoft.com/office/drawing/2014/main" id="{5BAAB17E-E61C-4EE7-A841-D6797378BC69}"/>
                    </a:ext>
                  </a:extLst>
                </p:cNvPr>
                <p:cNvGrpSpPr/>
                <p:nvPr/>
              </p:nvGrpSpPr>
              <p:grpSpPr>
                <a:xfrm>
                  <a:off x="7851311" y="1567563"/>
                  <a:ext cx="967615" cy="554758"/>
                  <a:chOff x="7851311" y="1567563"/>
                  <a:chExt cx="967615" cy="554758"/>
                </a:xfrm>
              </p:grpSpPr>
              <p:sp>
                <p:nvSpPr>
                  <p:cNvPr id="291" name="Freeform 222">
                    <a:extLst>
                      <a:ext uri="{FF2B5EF4-FFF2-40B4-BE49-F238E27FC236}">
                        <a16:creationId xmlns:a16="http://schemas.microsoft.com/office/drawing/2014/main" id="{6270D00A-5C15-48D0-82D8-AFF2C6D5D645}"/>
                      </a:ext>
                    </a:extLst>
                  </p:cNvPr>
                  <p:cNvSpPr>
                    <a:spLocks/>
                  </p:cNvSpPr>
                  <p:nvPr/>
                </p:nvSpPr>
                <p:spPr bwMode="auto">
                  <a:xfrm>
                    <a:off x="7851311" y="2082197"/>
                    <a:ext cx="967615" cy="40124"/>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bg2">
                      <a:lumMod val="8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92" name="Freeform 223">
                    <a:extLst>
                      <a:ext uri="{FF2B5EF4-FFF2-40B4-BE49-F238E27FC236}">
                        <a16:creationId xmlns:a16="http://schemas.microsoft.com/office/drawing/2014/main" id="{CD03A1FD-41AF-42D6-8C4E-81538CCA05F0}"/>
                      </a:ext>
                    </a:extLst>
                  </p:cNvPr>
                  <p:cNvSpPr>
                    <a:spLocks/>
                  </p:cNvSpPr>
                  <p:nvPr/>
                </p:nvSpPr>
                <p:spPr bwMode="auto">
                  <a:xfrm>
                    <a:off x="7932721" y="1567563"/>
                    <a:ext cx="805958" cy="485559"/>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93" name="Freeform 224">
                    <a:extLst>
                      <a:ext uri="{FF2B5EF4-FFF2-40B4-BE49-F238E27FC236}">
                        <a16:creationId xmlns:a16="http://schemas.microsoft.com/office/drawing/2014/main" id="{FA37A346-F63A-4751-B55F-4F913D8B4C17}"/>
                      </a:ext>
                    </a:extLst>
                  </p:cNvPr>
                  <p:cNvSpPr>
                    <a:spLocks noEditPoints="1"/>
                  </p:cNvSpPr>
                  <p:nvPr/>
                </p:nvSpPr>
                <p:spPr bwMode="auto">
                  <a:xfrm>
                    <a:off x="7932721" y="1567563"/>
                    <a:ext cx="805958" cy="485559"/>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bg2">
                      <a:lumMod val="85000"/>
                    </a:schemeClr>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nvGrpSpPr>
                  <p:cNvPr id="318" name="Group 317">
                    <a:extLst>
                      <a:ext uri="{FF2B5EF4-FFF2-40B4-BE49-F238E27FC236}">
                        <a16:creationId xmlns:a16="http://schemas.microsoft.com/office/drawing/2014/main" id="{9061BB42-E6D8-4356-B90E-331038D8A71B}"/>
                      </a:ext>
                    </a:extLst>
                  </p:cNvPr>
                  <p:cNvGrpSpPr/>
                  <p:nvPr/>
                </p:nvGrpSpPr>
                <p:grpSpPr>
                  <a:xfrm>
                    <a:off x="8023256" y="1658619"/>
                    <a:ext cx="619653" cy="297181"/>
                    <a:chOff x="6387497" y="1554479"/>
                    <a:chExt cx="368052" cy="176515"/>
                  </a:xfrm>
                </p:grpSpPr>
                <p:grpSp>
                  <p:nvGrpSpPr>
                    <p:cNvPr id="162" name="Group 161">
                      <a:extLst>
                        <a:ext uri="{FF2B5EF4-FFF2-40B4-BE49-F238E27FC236}">
                          <a16:creationId xmlns:a16="http://schemas.microsoft.com/office/drawing/2014/main" id="{EE4242D9-90EA-4A34-8B87-3B7E1AADB7A8}"/>
                        </a:ext>
                      </a:extLst>
                    </p:cNvPr>
                    <p:cNvGrpSpPr/>
                    <p:nvPr/>
                  </p:nvGrpSpPr>
                  <p:grpSpPr>
                    <a:xfrm>
                      <a:off x="6387497" y="1554479"/>
                      <a:ext cx="235354" cy="176515"/>
                      <a:chOff x="4367138" y="-1752601"/>
                      <a:chExt cx="1447296" cy="1085472"/>
                    </a:xfrm>
                    <a:solidFill>
                      <a:srgbClr val="A6A6A6"/>
                    </a:solidFill>
                  </p:grpSpPr>
                  <p:sp>
                    <p:nvSpPr>
                      <p:cNvPr id="169" name="Rounded Rectangle 2">
                        <a:extLst>
                          <a:ext uri="{FF2B5EF4-FFF2-40B4-BE49-F238E27FC236}">
                            <a16:creationId xmlns:a16="http://schemas.microsoft.com/office/drawing/2014/main" id="{3E5943DB-A8E4-4F41-B177-6E93F771973A}"/>
                          </a:ext>
                        </a:extLst>
                      </p:cNvPr>
                      <p:cNvSpPr/>
                      <p:nvPr/>
                    </p:nvSpPr>
                    <p:spPr>
                      <a:xfrm>
                        <a:off x="4367138" y="-1752601"/>
                        <a:ext cx="1447296" cy="1085472"/>
                      </a:xfrm>
                      <a:custGeom>
                        <a:avLst/>
                        <a:gdLst/>
                        <a:ahLst/>
                        <a:cxnLst/>
                        <a:rect l="l" t="t" r="r" b="b"/>
                        <a:pathLst>
                          <a:path w="1447296" h="1085472">
                            <a:moveTo>
                              <a:pt x="122169" y="69546"/>
                            </a:moveTo>
                            <a:cubicBezTo>
                              <a:pt x="91561" y="69546"/>
                              <a:pt x="66749" y="94358"/>
                              <a:pt x="66749" y="124966"/>
                            </a:cubicBezTo>
                            <a:lnTo>
                              <a:pt x="66749" y="960506"/>
                            </a:lnTo>
                            <a:cubicBezTo>
                              <a:pt x="66749" y="991114"/>
                              <a:pt x="91561" y="1015926"/>
                              <a:pt x="122169" y="1015926"/>
                            </a:cubicBezTo>
                            <a:lnTo>
                              <a:pt x="1325127" y="1015926"/>
                            </a:lnTo>
                            <a:cubicBezTo>
                              <a:pt x="1355735" y="1015926"/>
                              <a:pt x="1380547" y="991114"/>
                              <a:pt x="1380547" y="960506"/>
                            </a:cubicBezTo>
                            <a:lnTo>
                              <a:pt x="1380547" y="124966"/>
                            </a:lnTo>
                            <a:cubicBezTo>
                              <a:pt x="1380547" y="94358"/>
                              <a:pt x="1355735" y="69546"/>
                              <a:pt x="1325127" y="69546"/>
                            </a:cubicBezTo>
                            <a:close/>
                            <a:moveTo>
                              <a:pt x="109307" y="0"/>
                            </a:moveTo>
                            <a:lnTo>
                              <a:pt x="1337989" y="0"/>
                            </a:lnTo>
                            <a:cubicBezTo>
                              <a:pt x="1398358" y="0"/>
                              <a:pt x="1447296" y="48938"/>
                              <a:pt x="1447296" y="109307"/>
                            </a:cubicBezTo>
                            <a:lnTo>
                              <a:pt x="1447296" y="976165"/>
                            </a:lnTo>
                            <a:cubicBezTo>
                              <a:pt x="1447296" y="1036534"/>
                              <a:pt x="1398358" y="1085472"/>
                              <a:pt x="1337989" y="1085472"/>
                            </a:cubicBezTo>
                            <a:lnTo>
                              <a:pt x="109307" y="1085472"/>
                            </a:lnTo>
                            <a:cubicBezTo>
                              <a:pt x="48938" y="1085472"/>
                              <a:pt x="0" y="1036534"/>
                              <a:pt x="0" y="976165"/>
                            </a:cubicBezTo>
                            <a:lnTo>
                              <a:pt x="0" y="109307"/>
                            </a:lnTo>
                            <a:cubicBezTo>
                              <a:pt x="0" y="48938"/>
                              <a:pt x="48938" y="0"/>
                              <a:pt x="109307" y="0"/>
                            </a:cubicBezTo>
                            <a:close/>
                          </a:path>
                        </a:pathLst>
                      </a:custGeom>
                      <a:grp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nvGrpSpPr>
                      <p:cNvPr id="170" name="Group 169">
                        <a:extLst>
                          <a:ext uri="{FF2B5EF4-FFF2-40B4-BE49-F238E27FC236}">
                            <a16:creationId xmlns:a16="http://schemas.microsoft.com/office/drawing/2014/main" id="{E07A6563-5C9F-4E63-AB71-C76340627708}"/>
                          </a:ext>
                        </a:extLst>
                      </p:cNvPr>
                      <p:cNvGrpSpPr/>
                      <p:nvPr/>
                    </p:nvGrpSpPr>
                    <p:grpSpPr>
                      <a:xfrm>
                        <a:off x="4551518" y="-1419606"/>
                        <a:ext cx="416876" cy="419482"/>
                        <a:chOff x="1039038" y="-1476527"/>
                        <a:chExt cx="254000" cy="255587"/>
                      </a:xfrm>
                      <a:grpFill/>
                    </p:grpSpPr>
                    <p:sp>
                      <p:nvSpPr>
                        <p:cNvPr id="178" name="Freeform 367">
                          <a:extLst>
                            <a:ext uri="{FF2B5EF4-FFF2-40B4-BE49-F238E27FC236}">
                              <a16:creationId xmlns:a16="http://schemas.microsoft.com/office/drawing/2014/main" id="{E5C46FE4-0A36-45AC-9F2E-F1CA391FF292}"/>
                            </a:ext>
                          </a:extLst>
                        </p:cNvPr>
                        <p:cNvSpPr>
                          <a:spLocks/>
                        </p:cNvSpPr>
                        <p:nvPr/>
                      </p:nvSpPr>
                      <p:spPr bwMode="auto">
                        <a:xfrm>
                          <a:off x="1039038" y="-1430490"/>
                          <a:ext cx="47625" cy="65088"/>
                        </a:xfrm>
                        <a:custGeom>
                          <a:avLst/>
                          <a:gdLst>
                            <a:gd name="T0" fmla="*/ 128 w 207"/>
                            <a:gd name="T1" fmla="*/ 0 h 288"/>
                            <a:gd name="T2" fmla="*/ 128 w 207"/>
                            <a:gd name="T3" fmla="*/ 0 h 288"/>
                            <a:gd name="T4" fmla="*/ 114 w 207"/>
                            <a:gd name="T5" fmla="*/ 17 h 288"/>
                            <a:gd name="T6" fmla="*/ 102 w 207"/>
                            <a:gd name="T7" fmla="*/ 33 h 288"/>
                            <a:gd name="T8" fmla="*/ 90 w 207"/>
                            <a:gd name="T9" fmla="*/ 49 h 288"/>
                            <a:gd name="T10" fmla="*/ 80 w 207"/>
                            <a:gd name="T11" fmla="*/ 67 h 288"/>
                            <a:gd name="T12" fmla="*/ 69 w 207"/>
                            <a:gd name="T13" fmla="*/ 84 h 288"/>
                            <a:gd name="T14" fmla="*/ 59 w 207"/>
                            <a:gd name="T15" fmla="*/ 102 h 288"/>
                            <a:gd name="T16" fmla="*/ 51 w 207"/>
                            <a:gd name="T17" fmla="*/ 119 h 288"/>
                            <a:gd name="T18" fmla="*/ 42 w 207"/>
                            <a:gd name="T19" fmla="*/ 137 h 288"/>
                            <a:gd name="T20" fmla="*/ 35 w 207"/>
                            <a:gd name="T21" fmla="*/ 156 h 288"/>
                            <a:gd name="T22" fmla="*/ 27 w 207"/>
                            <a:gd name="T23" fmla="*/ 174 h 288"/>
                            <a:gd name="T24" fmla="*/ 21 w 207"/>
                            <a:gd name="T25" fmla="*/ 193 h 288"/>
                            <a:gd name="T26" fmla="*/ 16 w 207"/>
                            <a:gd name="T27" fmla="*/ 212 h 288"/>
                            <a:gd name="T28" fmla="*/ 11 w 207"/>
                            <a:gd name="T29" fmla="*/ 230 h 288"/>
                            <a:gd name="T30" fmla="*/ 7 w 207"/>
                            <a:gd name="T31" fmla="*/ 250 h 288"/>
                            <a:gd name="T32" fmla="*/ 3 w 207"/>
                            <a:gd name="T33" fmla="*/ 269 h 288"/>
                            <a:gd name="T34" fmla="*/ 0 w 207"/>
                            <a:gd name="T35" fmla="*/ 288 h 288"/>
                            <a:gd name="T36" fmla="*/ 207 w 207"/>
                            <a:gd name="T37" fmla="*/ 81 h 288"/>
                            <a:gd name="T38" fmla="*/ 128 w 207"/>
                            <a:gd name="T3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88">
                              <a:moveTo>
                                <a:pt x="128" y="0"/>
                              </a:moveTo>
                              <a:lnTo>
                                <a:pt x="128" y="0"/>
                              </a:lnTo>
                              <a:lnTo>
                                <a:pt x="114" y="17"/>
                              </a:lnTo>
                              <a:lnTo>
                                <a:pt x="102" y="33"/>
                              </a:lnTo>
                              <a:lnTo>
                                <a:pt x="90" y="49"/>
                              </a:lnTo>
                              <a:lnTo>
                                <a:pt x="80" y="67"/>
                              </a:lnTo>
                              <a:lnTo>
                                <a:pt x="69" y="84"/>
                              </a:lnTo>
                              <a:lnTo>
                                <a:pt x="59" y="102"/>
                              </a:lnTo>
                              <a:lnTo>
                                <a:pt x="51" y="119"/>
                              </a:lnTo>
                              <a:lnTo>
                                <a:pt x="42" y="137"/>
                              </a:lnTo>
                              <a:lnTo>
                                <a:pt x="35" y="156"/>
                              </a:lnTo>
                              <a:lnTo>
                                <a:pt x="27" y="174"/>
                              </a:lnTo>
                              <a:lnTo>
                                <a:pt x="21" y="193"/>
                              </a:lnTo>
                              <a:lnTo>
                                <a:pt x="16" y="212"/>
                              </a:lnTo>
                              <a:lnTo>
                                <a:pt x="11" y="230"/>
                              </a:lnTo>
                              <a:lnTo>
                                <a:pt x="7" y="250"/>
                              </a:lnTo>
                              <a:lnTo>
                                <a:pt x="3" y="269"/>
                              </a:lnTo>
                              <a:lnTo>
                                <a:pt x="0" y="288"/>
                              </a:lnTo>
                              <a:lnTo>
                                <a:pt x="207" y="81"/>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179" name="Freeform 368">
                          <a:extLst>
                            <a:ext uri="{FF2B5EF4-FFF2-40B4-BE49-F238E27FC236}">
                              <a16:creationId xmlns:a16="http://schemas.microsoft.com/office/drawing/2014/main" id="{CDC903B4-5CC3-4BDB-9A2B-97F295AB362A}"/>
                            </a:ext>
                          </a:extLst>
                        </p:cNvPr>
                        <p:cNvSpPr>
                          <a:spLocks/>
                        </p:cNvSpPr>
                        <p:nvPr/>
                      </p:nvSpPr>
                      <p:spPr bwMode="auto">
                        <a:xfrm>
                          <a:off x="1053325" y="-1365402"/>
                          <a:ext cx="96837" cy="98425"/>
                        </a:xfrm>
                        <a:custGeom>
                          <a:avLst/>
                          <a:gdLst>
                            <a:gd name="T0" fmla="*/ 350 w 428"/>
                            <a:gd name="T1" fmla="*/ 0 h 438"/>
                            <a:gd name="T2" fmla="*/ 3 w 428"/>
                            <a:gd name="T3" fmla="*/ 346 h 438"/>
                            <a:gd name="T4" fmla="*/ 0 w 428"/>
                            <a:gd name="T5" fmla="*/ 342 h 438"/>
                            <a:gd name="T6" fmla="*/ 0 w 428"/>
                            <a:gd name="T7" fmla="*/ 342 h 438"/>
                            <a:gd name="T8" fmla="*/ 15 w 428"/>
                            <a:gd name="T9" fmla="*/ 368 h 438"/>
                            <a:gd name="T10" fmla="*/ 30 w 428"/>
                            <a:gd name="T11" fmla="*/ 392 h 438"/>
                            <a:gd name="T12" fmla="*/ 47 w 428"/>
                            <a:gd name="T13" fmla="*/ 416 h 438"/>
                            <a:gd name="T14" fmla="*/ 66 w 428"/>
                            <a:gd name="T15" fmla="*/ 438 h 438"/>
                            <a:gd name="T16" fmla="*/ 428 w 428"/>
                            <a:gd name="T17" fmla="*/ 76 h 438"/>
                            <a:gd name="T18" fmla="*/ 350 w 428"/>
                            <a:gd name="T19"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8" h="438">
                              <a:moveTo>
                                <a:pt x="350" y="0"/>
                              </a:moveTo>
                              <a:lnTo>
                                <a:pt x="3" y="346"/>
                              </a:lnTo>
                              <a:lnTo>
                                <a:pt x="0" y="342"/>
                              </a:lnTo>
                              <a:lnTo>
                                <a:pt x="0" y="342"/>
                              </a:lnTo>
                              <a:lnTo>
                                <a:pt x="15" y="368"/>
                              </a:lnTo>
                              <a:lnTo>
                                <a:pt x="30" y="392"/>
                              </a:lnTo>
                              <a:lnTo>
                                <a:pt x="47" y="416"/>
                              </a:lnTo>
                              <a:lnTo>
                                <a:pt x="66" y="438"/>
                              </a:lnTo>
                              <a:lnTo>
                                <a:pt x="428" y="76"/>
                              </a:lnTo>
                              <a:lnTo>
                                <a:pt x="3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180" name="Freeform 369">
                          <a:extLst>
                            <a:ext uri="{FF2B5EF4-FFF2-40B4-BE49-F238E27FC236}">
                              <a16:creationId xmlns:a16="http://schemas.microsoft.com/office/drawing/2014/main" id="{1805B427-610B-43A2-B430-F356ED6D34B5}"/>
                            </a:ext>
                          </a:extLst>
                        </p:cNvPr>
                        <p:cNvSpPr>
                          <a:spLocks/>
                        </p:cNvSpPr>
                        <p:nvPr/>
                      </p:nvSpPr>
                      <p:spPr bwMode="auto">
                        <a:xfrm>
                          <a:off x="1083488" y="-1430490"/>
                          <a:ext cx="209550" cy="209550"/>
                        </a:xfrm>
                        <a:custGeom>
                          <a:avLst/>
                          <a:gdLst>
                            <a:gd name="T0" fmla="*/ 0 w 925"/>
                            <a:gd name="T1" fmla="*/ 793 h 925"/>
                            <a:gd name="T2" fmla="*/ 21 w 925"/>
                            <a:gd name="T3" fmla="*/ 810 h 925"/>
                            <a:gd name="T4" fmla="*/ 65 w 925"/>
                            <a:gd name="T5" fmla="*/ 840 h 925"/>
                            <a:gd name="T6" fmla="*/ 111 w 925"/>
                            <a:gd name="T7" fmla="*/ 866 h 925"/>
                            <a:gd name="T8" fmla="*/ 158 w 925"/>
                            <a:gd name="T9" fmla="*/ 887 h 925"/>
                            <a:gd name="T10" fmla="*/ 207 w 925"/>
                            <a:gd name="T11" fmla="*/ 903 h 925"/>
                            <a:gd name="T12" fmla="*/ 257 w 925"/>
                            <a:gd name="T13" fmla="*/ 916 h 925"/>
                            <a:gd name="T14" fmla="*/ 308 w 925"/>
                            <a:gd name="T15" fmla="*/ 923 h 925"/>
                            <a:gd name="T16" fmla="*/ 359 w 925"/>
                            <a:gd name="T17" fmla="*/ 925 h 925"/>
                            <a:gd name="T18" fmla="*/ 410 w 925"/>
                            <a:gd name="T19" fmla="*/ 923 h 925"/>
                            <a:gd name="T20" fmla="*/ 461 w 925"/>
                            <a:gd name="T21" fmla="*/ 917 h 925"/>
                            <a:gd name="T22" fmla="*/ 512 w 925"/>
                            <a:gd name="T23" fmla="*/ 905 h 925"/>
                            <a:gd name="T24" fmla="*/ 561 w 925"/>
                            <a:gd name="T25" fmla="*/ 889 h 925"/>
                            <a:gd name="T26" fmla="*/ 608 w 925"/>
                            <a:gd name="T27" fmla="*/ 869 h 925"/>
                            <a:gd name="T28" fmla="*/ 654 w 925"/>
                            <a:gd name="T29" fmla="*/ 844 h 925"/>
                            <a:gd name="T30" fmla="*/ 699 w 925"/>
                            <a:gd name="T31" fmla="*/ 814 h 925"/>
                            <a:gd name="T32" fmla="*/ 740 w 925"/>
                            <a:gd name="T33" fmla="*/ 780 h 925"/>
                            <a:gd name="T34" fmla="*/ 760 w 925"/>
                            <a:gd name="T35" fmla="*/ 760 h 925"/>
                            <a:gd name="T36" fmla="*/ 797 w 925"/>
                            <a:gd name="T37" fmla="*/ 720 h 925"/>
                            <a:gd name="T38" fmla="*/ 829 w 925"/>
                            <a:gd name="T39" fmla="*/ 677 h 925"/>
                            <a:gd name="T40" fmla="*/ 856 w 925"/>
                            <a:gd name="T41" fmla="*/ 632 h 925"/>
                            <a:gd name="T42" fmla="*/ 879 w 925"/>
                            <a:gd name="T43" fmla="*/ 585 h 925"/>
                            <a:gd name="T44" fmla="*/ 897 w 925"/>
                            <a:gd name="T45" fmla="*/ 536 h 925"/>
                            <a:gd name="T46" fmla="*/ 911 w 925"/>
                            <a:gd name="T47" fmla="*/ 487 h 925"/>
                            <a:gd name="T48" fmla="*/ 920 w 925"/>
                            <a:gd name="T49" fmla="*/ 436 h 925"/>
                            <a:gd name="T50" fmla="*/ 924 w 925"/>
                            <a:gd name="T51" fmla="*/ 385 h 925"/>
                            <a:gd name="T52" fmla="*/ 924 w 925"/>
                            <a:gd name="T53" fmla="*/ 334 h 925"/>
                            <a:gd name="T54" fmla="*/ 919 w 925"/>
                            <a:gd name="T55" fmla="*/ 283 h 925"/>
                            <a:gd name="T56" fmla="*/ 910 w 925"/>
                            <a:gd name="T57" fmla="*/ 233 h 925"/>
                            <a:gd name="T58" fmla="*/ 895 w 925"/>
                            <a:gd name="T59" fmla="*/ 183 h 925"/>
                            <a:gd name="T60" fmla="*/ 877 w 925"/>
                            <a:gd name="T61" fmla="*/ 134 h 925"/>
                            <a:gd name="T62" fmla="*/ 853 w 925"/>
                            <a:gd name="T63" fmla="*/ 88 h 925"/>
                            <a:gd name="T64" fmla="*/ 825 w 925"/>
                            <a:gd name="T65" fmla="*/ 43 h 925"/>
                            <a:gd name="T66" fmla="*/ 793 w 925"/>
                            <a:gd name="T67" fmla="*/ 0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5" h="925">
                              <a:moveTo>
                                <a:pt x="793" y="0"/>
                              </a:moveTo>
                              <a:lnTo>
                                <a:pt x="0" y="793"/>
                              </a:lnTo>
                              <a:lnTo>
                                <a:pt x="0" y="793"/>
                              </a:lnTo>
                              <a:lnTo>
                                <a:pt x="21" y="810"/>
                              </a:lnTo>
                              <a:lnTo>
                                <a:pt x="42" y="826"/>
                              </a:lnTo>
                              <a:lnTo>
                                <a:pt x="65" y="840"/>
                              </a:lnTo>
                              <a:lnTo>
                                <a:pt x="87" y="853"/>
                              </a:lnTo>
                              <a:lnTo>
                                <a:pt x="111" y="866"/>
                              </a:lnTo>
                              <a:lnTo>
                                <a:pt x="134" y="877"/>
                              </a:lnTo>
                              <a:lnTo>
                                <a:pt x="158" y="887"/>
                              </a:lnTo>
                              <a:lnTo>
                                <a:pt x="182" y="896"/>
                              </a:lnTo>
                              <a:lnTo>
                                <a:pt x="207" y="903"/>
                              </a:lnTo>
                              <a:lnTo>
                                <a:pt x="232" y="911"/>
                              </a:lnTo>
                              <a:lnTo>
                                <a:pt x="257" y="916"/>
                              </a:lnTo>
                              <a:lnTo>
                                <a:pt x="283" y="920"/>
                              </a:lnTo>
                              <a:lnTo>
                                <a:pt x="308" y="923"/>
                              </a:lnTo>
                              <a:lnTo>
                                <a:pt x="334" y="925"/>
                              </a:lnTo>
                              <a:lnTo>
                                <a:pt x="359" y="925"/>
                              </a:lnTo>
                              <a:lnTo>
                                <a:pt x="385" y="925"/>
                              </a:lnTo>
                              <a:lnTo>
                                <a:pt x="410" y="923"/>
                              </a:lnTo>
                              <a:lnTo>
                                <a:pt x="436" y="921"/>
                              </a:lnTo>
                              <a:lnTo>
                                <a:pt x="461" y="917"/>
                              </a:lnTo>
                              <a:lnTo>
                                <a:pt x="486" y="912"/>
                              </a:lnTo>
                              <a:lnTo>
                                <a:pt x="512" y="905"/>
                              </a:lnTo>
                              <a:lnTo>
                                <a:pt x="536" y="898"/>
                              </a:lnTo>
                              <a:lnTo>
                                <a:pt x="561" y="889"/>
                              </a:lnTo>
                              <a:lnTo>
                                <a:pt x="584" y="880"/>
                              </a:lnTo>
                              <a:lnTo>
                                <a:pt x="608" y="869"/>
                              </a:lnTo>
                              <a:lnTo>
                                <a:pt x="631" y="857"/>
                              </a:lnTo>
                              <a:lnTo>
                                <a:pt x="654" y="844"/>
                              </a:lnTo>
                              <a:lnTo>
                                <a:pt x="676" y="830"/>
                              </a:lnTo>
                              <a:lnTo>
                                <a:pt x="699" y="814"/>
                              </a:lnTo>
                              <a:lnTo>
                                <a:pt x="719" y="797"/>
                              </a:lnTo>
                              <a:lnTo>
                                <a:pt x="740" y="780"/>
                              </a:lnTo>
                              <a:lnTo>
                                <a:pt x="760" y="760"/>
                              </a:lnTo>
                              <a:lnTo>
                                <a:pt x="760" y="760"/>
                              </a:lnTo>
                              <a:lnTo>
                                <a:pt x="779" y="741"/>
                              </a:lnTo>
                              <a:lnTo>
                                <a:pt x="797" y="720"/>
                              </a:lnTo>
                              <a:lnTo>
                                <a:pt x="813" y="699"/>
                              </a:lnTo>
                              <a:lnTo>
                                <a:pt x="829" y="677"/>
                              </a:lnTo>
                              <a:lnTo>
                                <a:pt x="843" y="655"/>
                              </a:lnTo>
                              <a:lnTo>
                                <a:pt x="856" y="632"/>
                              </a:lnTo>
                              <a:lnTo>
                                <a:pt x="869" y="609"/>
                              </a:lnTo>
                              <a:lnTo>
                                <a:pt x="879" y="585"/>
                              </a:lnTo>
                              <a:lnTo>
                                <a:pt x="889" y="561"/>
                              </a:lnTo>
                              <a:lnTo>
                                <a:pt x="897" y="536"/>
                              </a:lnTo>
                              <a:lnTo>
                                <a:pt x="905" y="512"/>
                              </a:lnTo>
                              <a:lnTo>
                                <a:pt x="911" y="487"/>
                              </a:lnTo>
                              <a:lnTo>
                                <a:pt x="916" y="462"/>
                              </a:lnTo>
                              <a:lnTo>
                                <a:pt x="920" y="436"/>
                              </a:lnTo>
                              <a:lnTo>
                                <a:pt x="923" y="410"/>
                              </a:lnTo>
                              <a:lnTo>
                                <a:pt x="924" y="385"/>
                              </a:lnTo>
                              <a:lnTo>
                                <a:pt x="925" y="359"/>
                              </a:lnTo>
                              <a:lnTo>
                                <a:pt x="924" y="334"/>
                              </a:lnTo>
                              <a:lnTo>
                                <a:pt x="922" y="308"/>
                              </a:lnTo>
                              <a:lnTo>
                                <a:pt x="919" y="283"/>
                              </a:lnTo>
                              <a:lnTo>
                                <a:pt x="915" y="258"/>
                              </a:lnTo>
                              <a:lnTo>
                                <a:pt x="910" y="233"/>
                              </a:lnTo>
                              <a:lnTo>
                                <a:pt x="904" y="208"/>
                              </a:lnTo>
                              <a:lnTo>
                                <a:pt x="895" y="183"/>
                              </a:lnTo>
                              <a:lnTo>
                                <a:pt x="886" y="159"/>
                              </a:lnTo>
                              <a:lnTo>
                                <a:pt x="877" y="134"/>
                              </a:lnTo>
                              <a:lnTo>
                                <a:pt x="866" y="111"/>
                              </a:lnTo>
                              <a:lnTo>
                                <a:pt x="853" y="88"/>
                              </a:lnTo>
                              <a:lnTo>
                                <a:pt x="840" y="65"/>
                              </a:lnTo>
                              <a:lnTo>
                                <a:pt x="825" y="43"/>
                              </a:lnTo>
                              <a:lnTo>
                                <a:pt x="809" y="22"/>
                              </a:lnTo>
                              <a:lnTo>
                                <a:pt x="793" y="0"/>
                              </a:lnTo>
                              <a:lnTo>
                                <a:pt x="7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181" name="Freeform 370">
                          <a:extLst>
                            <a:ext uri="{FF2B5EF4-FFF2-40B4-BE49-F238E27FC236}">
                              <a16:creationId xmlns:a16="http://schemas.microsoft.com/office/drawing/2014/main" id="{8050021B-D770-464D-B9ED-D4CF8FB44D6F}"/>
                            </a:ext>
                          </a:extLst>
                        </p:cNvPr>
                        <p:cNvSpPr>
                          <a:spLocks/>
                        </p:cNvSpPr>
                        <p:nvPr/>
                      </p:nvSpPr>
                      <p:spPr bwMode="auto">
                        <a:xfrm>
                          <a:off x="1083488" y="-1476527"/>
                          <a:ext cx="163512" cy="112713"/>
                        </a:xfrm>
                        <a:custGeom>
                          <a:avLst/>
                          <a:gdLst>
                            <a:gd name="T0" fmla="*/ 725 w 725"/>
                            <a:gd name="T1" fmla="*/ 132 h 494"/>
                            <a:gd name="T2" fmla="*/ 725 w 725"/>
                            <a:gd name="T3" fmla="*/ 132 h 494"/>
                            <a:gd name="T4" fmla="*/ 705 w 725"/>
                            <a:gd name="T5" fmla="*/ 116 h 494"/>
                            <a:gd name="T6" fmla="*/ 685 w 725"/>
                            <a:gd name="T7" fmla="*/ 101 h 494"/>
                            <a:gd name="T8" fmla="*/ 664 w 725"/>
                            <a:gd name="T9" fmla="*/ 87 h 494"/>
                            <a:gd name="T10" fmla="*/ 643 w 725"/>
                            <a:gd name="T11" fmla="*/ 75 h 494"/>
                            <a:gd name="T12" fmla="*/ 621 w 725"/>
                            <a:gd name="T13" fmla="*/ 62 h 494"/>
                            <a:gd name="T14" fmla="*/ 599 w 725"/>
                            <a:gd name="T15" fmla="*/ 51 h 494"/>
                            <a:gd name="T16" fmla="*/ 576 w 725"/>
                            <a:gd name="T17" fmla="*/ 42 h 494"/>
                            <a:gd name="T18" fmla="*/ 553 w 725"/>
                            <a:gd name="T19" fmla="*/ 33 h 494"/>
                            <a:gd name="T20" fmla="*/ 530 w 725"/>
                            <a:gd name="T21" fmla="*/ 25 h 494"/>
                            <a:gd name="T22" fmla="*/ 507 w 725"/>
                            <a:gd name="T23" fmla="*/ 18 h 494"/>
                            <a:gd name="T24" fmla="*/ 483 w 725"/>
                            <a:gd name="T25" fmla="*/ 13 h 494"/>
                            <a:gd name="T26" fmla="*/ 460 w 725"/>
                            <a:gd name="T27" fmla="*/ 8 h 494"/>
                            <a:gd name="T28" fmla="*/ 435 w 725"/>
                            <a:gd name="T29" fmla="*/ 5 h 494"/>
                            <a:gd name="T30" fmla="*/ 411 w 725"/>
                            <a:gd name="T31" fmla="*/ 2 h 494"/>
                            <a:gd name="T32" fmla="*/ 387 w 725"/>
                            <a:gd name="T33" fmla="*/ 1 h 494"/>
                            <a:gd name="T34" fmla="*/ 362 w 725"/>
                            <a:gd name="T35" fmla="*/ 0 h 494"/>
                            <a:gd name="T36" fmla="*/ 339 w 725"/>
                            <a:gd name="T37" fmla="*/ 1 h 494"/>
                            <a:gd name="T38" fmla="*/ 314 w 725"/>
                            <a:gd name="T39" fmla="*/ 2 h 494"/>
                            <a:gd name="T40" fmla="*/ 291 w 725"/>
                            <a:gd name="T41" fmla="*/ 5 h 494"/>
                            <a:gd name="T42" fmla="*/ 266 w 725"/>
                            <a:gd name="T43" fmla="*/ 8 h 494"/>
                            <a:gd name="T44" fmla="*/ 243 w 725"/>
                            <a:gd name="T45" fmla="*/ 13 h 494"/>
                            <a:gd name="T46" fmla="*/ 219 w 725"/>
                            <a:gd name="T47" fmla="*/ 18 h 494"/>
                            <a:gd name="T48" fmla="*/ 196 w 725"/>
                            <a:gd name="T49" fmla="*/ 25 h 494"/>
                            <a:gd name="T50" fmla="*/ 173 w 725"/>
                            <a:gd name="T51" fmla="*/ 33 h 494"/>
                            <a:gd name="T52" fmla="*/ 150 w 725"/>
                            <a:gd name="T53" fmla="*/ 42 h 494"/>
                            <a:gd name="T54" fmla="*/ 127 w 725"/>
                            <a:gd name="T55" fmla="*/ 52 h 494"/>
                            <a:gd name="T56" fmla="*/ 105 w 725"/>
                            <a:gd name="T57" fmla="*/ 62 h 494"/>
                            <a:gd name="T58" fmla="*/ 83 w 725"/>
                            <a:gd name="T59" fmla="*/ 75 h 494"/>
                            <a:gd name="T60" fmla="*/ 62 w 725"/>
                            <a:gd name="T61" fmla="*/ 87 h 494"/>
                            <a:gd name="T62" fmla="*/ 41 w 725"/>
                            <a:gd name="T63" fmla="*/ 101 h 494"/>
                            <a:gd name="T64" fmla="*/ 21 w 725"/>
                            <a:gd name="T65" fmla="*/ 116 h 494"/>
                            <a:gd name="T66" fmla="*/ 0 w 725"/>
                            <a:gd name="T67" fmla="*/ 132 h 494"/>
                            <a:gd name="T68" fmla="*/ 362 w 725"/>
                            <a:gd name="T69" fmla="*/ 494 h 494"/>
                            <a:gd name="T70" fmla="*/ 725 w 725"/>
                            <a:gd name="T71" fmla="*/ 1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5" h="494">
                              <a:moveTo>
                                <a:pt x="725" y="132"/>
                              </a:moveTo>
                              <a:lnTo>
                                <a:pt x="725" y="132"/>
                              </a:lnTo>
                              <a:lnTo>
                                <a:pt x="705" y="116"/>
                              </a:lnTo>
                              <a:lnTo>
                                <a:pt x="685" y="101"/>
                              </a:lnTo>
                              <a:lnTo>
                                <a:pt x="664" y="87"/>
                              </a:lnTo>
                              <a:lnTo>
                                <a:pt x="643" y="75"/>
                              </a:lnTo>
                              <a:lnTo>
                                <a:pt x="621" y="62"/>
                              </a:lnTo>
                              <a:lnTo>
                                <a:pt x="599" y="51"/>
                              </a:lnTo>
                              <a:lnTo>
                                <a:pt x="576" y="42"/>
                              </a:lnTo>
                              <a:lnTo>
                                <a:pt x="553" y="33"/>
                              </a:lnTo>
                              <a:lnTo>
                                <a:pt x="530" y="25"/>
                              </a:lnTo>
                              <a:lnTo>
                                <a:pt x="507" y="18"/>
                              </a:lnTo>
                              <a:lnTo>
                                <a:pt x="483" y="13"/>
                              </a:lnTo>
                              <a:lnTo>
                                <a:pt x="460" y="8"/>
                              </a:lnTo>
                              <a:lnTo>
                                <a:pt x="435" y="5"/>
                              </a:lnTo>
                              <a:lnTo>
                                <a:pt x="411" y="2"/>
                              </a:lnTo>
                              <a:lnTo>
                                <a:pt x="387" y="1"/>
                              </a:lnTo>
                              <a:lnTo>
                                <a:pt x="362" y="0"/>
                              </a:lnTo>
                              <a:lnTo>
                                <a:pt x="339" y="1"/>
                              </a:lnTo>
                              <a:lnTo>
                                <a:pt x="314" y="2"/>
                              </a:lnTo>
                              <a:lnTo>
                                <a:pt x="291" y="5"/>
                              </a:lnTo>
                              <a:lnTo>
                                <a:pt x="266" y="8"/>
                              </a:lnTo>
                              <a:lnTo>
                                <a:pt x="243" y="13"/>
                              </a:lnTo>
                              <a:lnTo>
                                <a:pt x="219" y="18"/>
                              </a:lnTo>
                              <a:lnTo>
                                <a:pt x="196" y="25"/>
                              </a:lnTo>
                              <a:lnTo>
                                <a:pt x="173" y="33"/>
                              </a:lnTo>
                              <a:lnTo>
                                <a:pt x="150" y="42"/>
                              </a:lnTo>
                              <a:lnTo>
                                <a:pt x="127" y="52"/>
                              </a:lnTo>
                              <a:lnTo>
                                <a:pt x="105" y="62"/>
                              </a:lnTo>
                              <a:lnTo>
                                <a:pt x="83" y="75"/>
                              </a:lnTo>
                              <a:lnTo>
                                <a:pt x="62" y="87"/>
                              </a:lnTo>
                              <a:lnTo>
                                <a:pt x="41" y="101"/>
                              </a:lnTo>
                              <a:lnTo>
                                <a:pt x="21" y="116"/>
                              </a:lnTo>
                              <a:lnTo>
                                <a:pt x="0" y="132"/>
                              </a:lnTo>
                              <a:lnTo>
                                <a:pt x="362" y="494"/>
                              </a:lnTo>
                              <a:lnTo>
                                <a:pt x="725"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182" name="Freeform 371">
                          <a:extLst>
                            <a:ext uri="{FF2B5EF4-FFF2-40B4-BE49-F238E27FC236}">
                              <a16:creationId xmlns:a16="http://schemas.microsoft.com/office/drawing/2014/main" id="{E1DB2B41-BB4F-487D-B6EC-0E3204C9B237}"/>
                            </a:ext>
                          </a:extLst>
                        </p:cNvPr>
                        <p:cNvSpPr>
                          <a:spLocks/>
                        </p:cNvSpPr>
                        <p:nvPr/>
                      </p:nvSpPr>
                      <p:spPr bwMode="auto">
                        <a:xfrm>
                          <a:off x="1039038" y="-1398740"/>
                          <a:ext cx="79375" cy="92075"/>
                        </a:xfrm>
                        <a:custGeom>
                          <a:avLst/>
                          <a:gdLst>
                            <a:gd name="T0" fmla="*/ 272 w 352"/>
                            <a:gd name="T1" fmla="*/ 0 h 402"/>
                            <a:gd name="T2" fmla="*/ 0 w 352"/>
                            <a:gd name="T3" fmla="*/ 273 h 402"/>
                            <a:gd name="T4" fmla="*/ 0 w 352"/>
                            <a:gd name="T5" fmla="*/ 273 h 402"/>
                            <a:gd name="T6" fmla="*/ 4 w 352"/>
                            <a:gd name="T7" fmla="*/ 305 h 402"/>
                            <a:gd name="T8" fmla="*/ 10 w 352"/>
                            <a:gd name="T9" fmla="*/ 338 h 402"/>
                            <a:gd name="T10" fmla="*/ 18 w 352"/>
                            <a:gd name="T11" fmla="*/ 371 h 402"/>
                            <a:gd name="T12" fmla="*/ 28 w 352"/>
                            <a:gd name="T13" fmla="*/ 402 h 402"/>
                            <a:gd name="T14" fmla="*/ 352 w 352"/>
                            <a:gd name="T15" fmla="*/ 79 h 402"/>
                            <a:gd name="T16" fmla="*/ 272 w 352"/>
                            <a:gd name="T1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402">
                              <a:moveTo>
                                <a:pt x="272" y="0"/>
                              </a:moveTo>
                              <a:lnTo>
                                <a:pt x="0" y="273"/>
                              </a:lnTo>
                              <a:lnTo>
                                <a:pt x="0" y="273"/>
                              </a:lnTo>
                              <a:lnTo>
                                <a:pt x="4" y="305"/>
                              </a:lnTo>
                              <a:lnTo>
                                <a:pt x="10" y="338"/>
                              </a:lnTo>
                              <a:lnTo>
                                <a:pt x="18" y="371"/>
                              </a:lnTo>
                              <a:lnTo>
                                <a:pt x="28" y="402"/>
                              </a:lnTo>
                              <a:lnTo>
                                <a:pt x="352" y="79"/>
                              </a:lnTo>
                              <a:lnTo>
                                <a:pt x="2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grpSp>
                  <p:grpSp>
                    <p:nvGrpSpPr>
                      <p:cNvPr id="171" name="Group 170">
                        <a:extLst>
                          <a:ext uri="{FF2B5EF4-FFF2-40B4-BE49-F238E27FC236}">
                            <a16:creationId xmlns:a16="http://schemas.microsoft.com/office/drawing/2014/main" id="{0B601D95-0D0F-468B-A207-EB938F7195D3}"/>
                          </a:ext>
                        </a:extLst>
                      </p:cNvPr>
                      <p:cNvGrpSpPr/>
                      <p:nvPr/>
                    </p:nvGrpSpPr>
                    <p:grpSpPr>
                      <a:xfrm>
                        <a:off x="5208518" y="-1395792"/>
                        <a:ext cx="426200" cy="371854"/>
                        <a:chOff x="1620064" y="-757313"/>
                        <a:chExt cx="236538" cy="206376"/>
                      </a:xfrm>
                      <a:grpFill/>
                    </p:grpSpPr>
                    <p:sp>
                      <p:nvSpPr>
                        <p:cNvPr id="173" name="Freeform 186">
                          <a:extLst>
                            <a:ext uri="{FF2B5EF4-FFF2-40B4-BE49-F238E27FC236}">
                              <a16:creationId xmlns:a16="http://schemas.microsoft.com/office/drawing/2014/main" id="{3EDD5CD3-91D0-45B4-A785-EE325CB310BD}"/>
                            </a:ext>
                          </a:extLst>
                        </p:cNvPr>
                        <p:cNvSpPr>
                          <a:spLocks/>
                        </p:cNvSpPr>
                        <p:nvPr/>
                      </p:nvSpPr>
                      <p:spPr bwMode="auto">
                        <a:xfrm>
                          <a:off x="1745476" y="-757313"/>
                          <a:ext cx="44450" cy="174625"/>
                        </a:xfrm>
                        <a:custGeom>
                          <a:avLst/>
                          <a:gdLst>
                            <a:gd name="T0" fmla="*/ 196 w 196"/>
                            <a:gd name="T1" fmla="*/ 26 h 767"/>
                            <a:gd name="T2" fmla="*/ 196 w 196"/>
                            <a:gd name="T3" fmla="*/ 26 h 767"/>
                            <a:gd name="T4" fmla="*/ 196 w 196"/>
                            <a:gd name="T5" fmla="*/ 21 h 767"/>
                            <a:gd name="T6" fmla="*/ 194 w 196"/>
                            <a:gd name="T7" fmla="*/ 17 h 767"/>
                            <a:gd name="T8" fmla="*/ 192 w 196"/>
                            <a:gd name="T9" fmla="*/ 11 h 767"/>
                            <a:gd name="T10" fmla="*/ 189 w 196"/>
                            <a:gd name="T11" fmla="*/ 8 h 767"/>
                            <a:gd name="T12" fmla="*/ 185 w 196"/>
                            <a:gd name="T13" fmla="*/ 5 h 767"/>
                            <a:gd name="T14" fmla="*/ 181 w 196"/>
                            <a:gd name="T15" fmla="*/ 2 h 767"/>
                            <a:gd name="T16" fmla="*/ 177 w 196"/>
                            <a:gd name="T17" fmla="*/ 1 h 767"/>
                            <a:gd name="T18" fmla="*/ 172 w 196"/>
                            <a:gd name="T19" fmla="*/ 0 h 767"/>
                            <a:gd name="T20" fmla="*/ 24 w 196"/>
                            <a:gd name="T21" fmla="*/ 0 h 767"/>
                            <a:gd name="T22" fmla="*/ 24 w 196"/>
                            <a:gd name="T23" fmla="*/ 0 h 767"/>
                            <a:gd name="T24" fmla="*/ 19 w 196"/>
                            <a:gd name="T25" fmla="*/ 1 h 767"/>
                            <a:gd name="T26" fmla="*/ 15 w 196"/>
                            <a:gd name="T27" fmla="*/ 2 h 767"/>
                            <a:gd name="T28" fmla="*/ 11 w 196"/>
                            <a:gd name="T29" fmla="*/ 5 h 767"/>
                            <a:gd name="T30" fmla="*/ 7 w 196"/>
                            <a:gd name="T31" fmla="*/ 8 h 767"/>
                            <a:gd name="T32" fmla="*/ 4 w 196"/>
                            <a:gd name="T33" fmla="*/ 11 h 767"/>
                            <a:gd name="T34" fmla="*/ 2 w 196"/>
                            <a:gd name="T35" fmla="*/ 17 h 767"/>
                            <a:gd name="T36" fmla="*/ 1 w 196"/>
                            <a:gd name="T37" fmla="*/ 21 h 767"/>
                            <a:gd name="T38" fmla="*/ 0 w 196"/>
                            <a:gd name="T39" fmla="*/ 26 h 767"/>
                            <a:gd name="T40" fmla="*/ 0 w 196"/>
                            <a:gd name="T41" fmla="*/ 767 h 767"/>
                            <a:gd name="T42" fmla="*/ 196 w 196"/>
                            <a:gd name="T43" fmla="*/ 767 h 767"/>
                            <a:gd name="T44" fmla="*/ 196 w 196"/>
                            <a:gd name="T45" fmla="*/ 26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767">
                              <a:moveTo>
                                <a:pt x="196" y="26"/>
                              </a:moveTo>
                              <a:lnTo>
                                <a:pt x="196" y="26"/>
                              </a:lnTo>
                              <a:lnTo>
                                <a:pt x="196" y="21"/>
                              </a:lnTo>
                              <a:lnTo>
                                <a:pt x="194" y="17"/>
                              </a:lnTo>
                              <a:lnTo>
                                <a:pt x="192" y="11"/>
                              </a:lnTo>
                              <a:lnTo>
                                <a:pt x="189" y="8"/>
                              </a:lnTo>
                              <a:lnTo>
                                <a:pt x="185" y="5"/>
                              </a:lnTo>
                              <a:lnTo>
                                <a:pt x="181" y="2"/>
                              </a:lnTo>
                              <a:lnTo>
                                <a:pt x="177" y="1"/>
                              </a:lnTo>
                              <a:lnTo>
                                <a:pt x="172" y="0"/>
                              </a:lnTo>
                              <a:lnTo>
                                <a:pt x="24" y="0"/>
                              </a:lnTo>
                              <a:lnTo>
                                <a:pt x="24" y="0"/>
                              </a:lnTo>
                              <a:lnTo>
                                <a:pt x="19" y="1"/>
                              </a:lnTo>
                              <a:lnTo>
                                <a:pt x="15" y="2"/>
                              </a:lnTo>
                              <a:lnTo>
                                <a:pt x="11" y="5"/>
                              </a:lnTo>
                              <a:lnTo>
                                <a:pt x="7" y="8"/>
                              </a:lnTo>
                              <a:lnTo>
                                <a:pt x="4" y="11"/>
                              </a:lnTo>
                              <a:lnTo>
                                <a:pt x="2" y="17"/>
                              </a:lnTo>
                              <a:lnTo>
                                <a:pt x="1" y="21"/>
                              </a:lnTo>
                              <a:lnTo>
                                <a:pt x="0" y="26"/>
                              </a:lnTo>
                              <a:lnTo>
                                <a:pt x="0" y="767"/>
                              </a:lnTo>
                              <a:lnTo>
                                <a:pt x="196" y="767"/>
                              </a:lnTo>
                              <a:lnTo>
                                <a:pt x="1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174" name="Freeform 187">
                          <a:extLst>
                            <a:ext uri="{FF2B5EF4-FFF2-40B4-BE49-F238E27FC236}">
                              <a16:creationId xmlns:a16="http://schemas.microsoft.com/office/drawing/2014/main" id="{20EF1F03-D7D9-4332-A042-CD860FE13F34}"/>
                            </a:ext>
                          </a:extLst>
                        </p:cNvPr>
                        <p:cNvSpPr>
                          <a:spLocks/>
                        </p:cNvSpPr>
                        <p:nvPr/>
                      </p:nvSpPr>
                      <p:spPr bwMode="auto">
                        <a:xfrm>
                          <a:off x="1685151" y="-666825"/>
                          <a:ext cx="44450" cy="84138"/>
                        </a:xfrm>
                        <a:custGeom>
                          <a:avLst/>
                          <a:gdLst>
                            <a:gd name="T0" fmla="*/ 196 w 196"/>
                            <a:gd name="T1" fmla="*/ 25 h 369"/>
                            <a:gd name="T2" fmla="*/ 196 w 196"/>
                            <a:gd name="T3" fmla="*/ 25 h 369"/>
                            <a:gd name="T4" fmla="*/ 196 w 196"/>
                            <a:gd name="T5" fmla="*/ 20 h 369"/>
                            <a:gd name="T6" fmla="*/ 194 w 196"/>
                            <a:gd name="T7" fmla="*/ 15 h 369"/>
                            <a:gd name="T8" fmla="*/ 192 w 196"/>
                            <a:gd name="T9" fmla="*/ 11 h 369"/>
                            <a:gd name="T10" fmla="*/ 189 w 196"/>
                            <a:gd name="T11" fmla="*/ 7 h 369"/>
                            <a:gd name="T12" fmla="*/ 185 w 196"/>
                            <a:gd name="T13" fmla="*/ 4 h 369"/>
                            <a:gd name="T14" fmla="*/ 181 w 196"/>
                            <a:gd name="T15" fmla="*/ 2 h 369"/>
                            <a:gd name="T16" fmla="*/ 177 w 196"/>
                            <a:gd name="T17" fmla="*/ 0 h 369"/>
                            <a:gd name="T18" fmla="*/ 172 w 196"/>
                            <a:gd name="T19" fmla="*/ 0 h 369"/>
                            <a:gd name="T20" fmla="*/ 25 w 196"/>
                            <a:gd name="T21" fmla="*/ 0 h 369"/>
                            <a:gd name="T22" fmla="*/ 25 w 196"/>
                            <a:gd name="T23" fmla="*/ 0 h 369"/>
                            <a:gd name="T24" fmla="*/ 19 w 196"/>
                            <a:gd name="T25" fmla="*/ 0 h 369"/>
                            <a:gd name="T26" fmla="*/ 15 w 196"/>
                            <a:gd name="T27" fmla="*/ 2 h 369"/>
                            <a:gd name="T28" fmla="*/ 11 w 196"/>
                            <a:gd name="T29" fmla="*/ 4 h 369"/>
                            <a:gd name="T30" fmla="*/ 7 w 196"/>
                            <a:gd name="T31" fmla="*/ 7 h 369"/>
                            <a:gd name="T32" fmla="*/ 4 w 196"/>
                            <a:gd name="T33" fmla="*/ 11 h 369"/>
                            <a:gd name="T34" fmla="*/ 2 w 196"/>
                            <a:gd name="T35" fmla="*/ 15 h 369"/>
                            <a:gd name="T36" fmla="*/ 1 w 196"/>
                            <a:gd name="T37" fmla="*/ 20 h 369"/>
                            <a:gd name="T38" fmla="*/ 0 w 196"/>
                            <a:gd name="T39" fmla="*/ 25 h 369"/>
                            <a:gd name="T40" fmla="*/ 0 w 196"/>
                            <a:gd name="T41" fmla="*/ 369 h 369"/>
                            <a:gd name="T42" fmla="*/ 196 w 196"/>
                            <a:gd name="T43" fmla="*/ 369 h 369"/>
                            <a:gd name="T44" fmla="*/ 196 w 196"/>
                            <a:gd name="T45" fmla="*/ 25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369">
                              <a:moveTo>
                                <a:pt x="196" y="25"/>
                              </a:moveTo>
                              <a:lnTo>
                                <a:pt x="196" y="25"/>
                              </a:lnTo>
                              <a:lnTo>
                                <a:pt x="196" y="20"/>
                              </a:lnTo>
                              <a:lnTo>
                                <a:pt x="194" y="15"/>
                              </a:lnTo>
                              <a:lnTo>
                                <a:pt x="192" y="11"/>
                              </a:lnTo>
                              <a:lnTo>
                                <a:pt x="189" y="7"/>
                              </a:lnTo>
                              <a:lnTo>
                                <a:pt x="185" y="4"/>
                              </a:lnTo>
                              <a:lnTo>
                                <a:pt x="181" y="2"/>
                              </a:lnTo>
                              <a:lnTo>
                                <a:pt x="177" y="0"/>
                              </a:lnTo>
                              <a:lnTo>
                                <a:pt x="172" y="0"/>
                              </a:lnTo>
                              <a:lnTo>
                                <a:pt x="25" y="0"/>
                              </a:lnTo>
                              <a:lnTo>
                                <a:pt x="25" y="0"/>
                              </a:lnTo>
                              <a:lnTo>
                                <a:pt x="19" y="0"/>
                              </a:lnTo>
                              <a:lnTo>
                                <a:pt x="15" y="2"/>
                              </a:lnTo>
                              <a:lnTo>
                                <a:pt x="11" y="4"/>
                              </a:lnTo>
                              <a:lnTo>
                                <a:pt x="7" y="7"/>
                              </a:lnTo>
                              <a:lnTo>
                                <a:pt x="4" y="11"/>
                              </a:lnTo>
                              <a:lnTo>
                                <a:pt x="2" y="15"/>
                              </a:lnTo>
                              <a:lnTo>
                                <a:pt x="1" y="20"/>
                              </a:lnTo>
                              <a:lnTo>
                                <a:pt x="0" y="25"/>
                              </a:lnTo>
                              <a:lnTo>
                                <a:pt x="0" y="369"/>
                              </a:lnTo>
                              <a:lnTo>
                                <a:pt x="196" y="369"/>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175" name="Freeform 188">
                          <a:extLst>
                            <a:ext uri="{FF2B5EF4-FFF2-40B4-BE49-F238E27FC236}">
                              <a16:creationId xmlns:a16="http://schemas.microsoft.com/office/drawing/2014/main" id="{0C53A43A-C7B8-471F-8974-85B51B90896C}"/>
                            </a:ext>
                          </a:extLst>
                        </p:cNvPr>
                        <p:cNvSpPr>
                          <a:spLocks/>
                        </p:cNvSpPr>
                        <p:nvPr/>
                      </p:nvSpPr>
                      <p:spPr bwMode="auto">
                        <a:xfrm>
                          <a:off x="1805801" y="-709688"/>
                          <a:ext cx="44450" cy="127000"/>
                        </a:xfrm>
                        <a:custGeom>
                          <a:avLst/>
                          <a:gdLst>
                            <a:gd name="T0" fmla="*/ 196 w 196"/>
                            <a:gd name="T1" fmla="*/ 24 h 558"/>
                            <a:gd name="T2" fmla="*/ 196 w 196"/>
                            <a:gd name="T3" fmla="*/ 24 h 558"/>
                            <a:gd name="T4" fmla="*/ 196 w 196"/>
                            <a:gd name="T5" fmla="*/ 19 h 558"/>
                            <a:gd name="T6" fmla="*/ 194 w 196"/>
                            <a:gd name="T7" fmla="*/ 15 h 558"/>
                            <a:gd name="T8" fmla="*/ 192 w 196"/>
                            <a:gd name="T9" fmla="*/ 11 h 558"/>
                            <a:gd name="T10" fmla="*/ 189 w 196"/>
                            <a:gd name="T11" fmla="*/ 7 h 558"/>
                            <a:gd name="T12" fmla="*/ 186 w 196"/>
                            <a:gd name="T13" fmla="*/ 4 h 558"/>
                            <a:gd name="T14" fmla="*/ 181 w 196"/>
                            <a:gd name="T15" fmla="*/ 2 h 558"/>
                            <a:gd name="T16" fmla="*/ 177 w 196"/>
                            <a:gd name="T17" fmla="*/ 1 h 558"/>
                            <a:gd name="T18" fmla="*/ 172 w 196"/>
                            <a:gd name="T19" fmla="*/ 0 h 558"/>
                            <a:gd name="T20" fmla="*/ 24 w 196"/>
                            <a:gd name="T21" fmla="*/ 0 h 558"/>
                            <a:gd name="T22" fmla="*/ 24 w 196"/>
                            <a:gd name="T23" fmla="*/ 0 h 558"/>
                            <a:gd name="T24" fmla="*/ 20 w 196"/>
                            <a:gd name="T25" fmla="*/ 1 h 558"/>
                            <a:gd name="T26" fmla="*/ 15 w 196"/>
                            <a:gd name="T27" fmla="*/ 2 h 558"/>
                            <a:gd name="T28" fmla="*/ 11 w 196"/>
                            <a:gd name="T29" fmla="*/ 4 h 558"/>
                            <a:gd name="T30" fmla="*/ 7 w 196"/>
                            <a:gd name="T31" fmla="*/ 7 h 558"/>
                            <a:gd name="T32" fmla="*/ 4 w 196"/>
                            <a:gd name="T33" fmla="*/ 11 h 558"/>
                            <a:gd name="T34" fmla="*/ 2 w 196"/>
                            <a:gd name="T35" fmla="*/ 15 h 558"/>
                            <a:gd name="T36" fmla="*/ 1 w 196"/>
                            <a:gd name="T37" fmla="*/ 19 h 558"/>
                            <a:gd name="T38" fmla="*/ 0 w 196"/>
                            <a:gd name="T39" fmla="*/ 24 h 558"/>
                            <a:gd name="T40" fmla="*/ 0 w 196"/>
                            <a:gd name="T41" fmla="*/ 558 h 558"/>
                            <a:gd name="T42" fmla="*/ 196 w 196"/>
                            <a:gd name="T43" fmla="*/ 558 h 558"/>
                            <a:gd name="T44" fmla="*/ 196 w 196"/>
                            <a:gd name="T45" fmla="*/ 2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558">
                              <a:moveTo>
                                <a:pt x="196" y="24"/>
                              </a:moveTo>
                              <a:lnTo>
                                <a:pt x="196" y="24"/>
                              </a:lnTo>
                              <a:lnTo>
                                <a:pt x="196" y="19"/>
                              </a:lnTo>
                              <a:lnTo>
                                <a:pt x="194" y="15"/>
                              </a:lnTo>
                              <a:lnTo>
                                <a:pt x="192" y="11"/>
                              </a:lnTo>
                              <a:lnTo>
                                <a:pt x="189" y="7"/>
                              </a:lnTo>
                              <a:lnTo>
                                <a:pt x="186" y="4"/>
                              </a:lnTo>
                              <a:lnTo>
                                <a:pt x="181" y="2"/>
                              </a:lnTo>
                              <a:lnTo>
                                <a:pt x="177" y="1"/>
                              </a:lnTo>
                              <a:lnTo>
                                <a:pt x="172" y="0"/>
                              </a:lnTo>
                              <a:lnTo>
                                <a:pt x="24" y="0"/>
                              </a:lnTo>
                              <a:lnTo>
                                <a:pt x="24" y="0"/>
                              </a:lnTo>
                              <a:lnTo>
                                <a:pt x="20" y="1"/>
                              </a:lnTo>
                              <a:lnTo>
                                <a:pt x="15" y="2"/>
                              </a:lnTo>
                              <a:lnTo>
                                <a:pt x="11" y="4"/>
                              </a:lnTo>
                              <a:lnTo>
                                <a:pt x="7" y="7"/>
                              </a:lnTo>
                              <a:lnTo>
                                <a:pt x="4" y="11"/>
                              </a:lnTo>
                              <a:lnTo>
                                <a:pt x="2" y="15"/>
                              </a:lnTo>
                              <a:lnTo>
                                <a:pt x="1" y="19"/>
                              </a:lnTo>
                              <a:lnTo>
                                <a:pt x="0" y="24"/>
                              </a:lnTo>
                              <a:lnTo>
                                <a:pt x="0" y="558"/>
                              </a:lnTo>
                              <a:lnTo>
                                <a:pt x="196" y="558"/>
                              </a:lnTo>
                              <a:lnTo>
                                <a:pt x="19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176" name="Freeform 189">
                          <a:extLst>
                            <a:ext uri="{FF2B5EF4-FFF2-40B4-BE49-F238E27FC236}">
                              <a16:creationId xmlns:a16="http://schemas.microsoft.com/office/drawing/2014/main" id="{BD74FD0A-B49E-46CB-983D-35E9C3792EB0}"/>
                            </a:ext>
                          </a:extLst>
                        </p:cNvPr>
                        <p:cNvSpPr>
                          <a:spLocks/>
                        </p:cNvSpPr>
                        <p:nvPr/>
                      </p:nvSpPr>
                      <p:spPr bwMode="auto">
                        <a:xfrm>
                          <a:off x="1624826" y="-622375"/>
                          <a:ext cx="44450" cy="39688"/>
                        </a:xfrm>
                        <a:custGeom>
                          <a:avLst/>
                          <a:gdLst>
                            <a:gd name="T0" fmla="*/ 196 w 196"/>
                            <a:gd name="T1" fmla="*/ 25 h 175"/>
                            <a:gd name="T2" fmla="*/ 196 w 196"/>
                            <a:gd name="T3" fmla="*/ 25 h 175"/>
                            <a:gd name="T4" fmla="*/ 195 w 196"/>
                            <a:gd name="T5" fmla="*/ 20 h 175"/>
                            <a:gd name="T6" fmla="*/ 194 w 196"/>
                            <a:gd name="T7" fmla="*/ 16 h 175"/>
                            <a:gd name="T8" fmla="*/ 192 w 196"/>
                            <a:gd name="T9" fmla="*/ 12 h 175"/>
                            <a:gd name="T10" fmla="*/ 189 w 196"/>
                            <a:gd name="T11" fmla="*/ 8 h 175"/>
                            <a:gd name="T12" fmla="*/ 185 w 196"/>
                            <a:gd name="T13" fmla="*/ 5 h 175"/>
                            <a:gd name="T14" fmla="*/ 181 w 196"/>
                            <a:gd name="T15" fmla="*/ 2 h 175"/>
                            <a:gd name="T16" fmla="*/ 177 w 196"/>
                            <a:gd name="T17" fmla="*/ 0 h 175"/>
                            <a:gd name="T18" fmla="*/ 172 w 196"/>
                            <a:gd name="T19" fmla="*/ 0 h 175"/>
                            <a:gd name="T20" fmla="*/ 25 w 196"/>
                            <a:gd name="T21" fmla="*/ 0 h 175"/>
                            <a:gd name="T22" fmla="*/ 25 w 196"/>
                            <a:gd name="T23" fmla="*/ 0 h 175"/>
                            <a:gd name="T24" fmla="*/ 19 w 196"/>
                            <a:gd name="T25" fmla="*/ 0 h 175"/>
                            <a:gd name="T26" fmla="*/ 15 w 196"/>
                            <a:gd name="T27" fmla="*/ 2 h 175"/>
                            <a:gd name="T28" fmla="*/ 10 w 196"/>
                            <a:gd name="T29" fmla="*/ 5 h 175"/>
                            <a:gd name="T30" fmla="*/ 7 w 196"/>
                            <a:gd name="T31" fmla="*/ 8 h 175"/>
                            <a:gd name="T32" fmla="*/ 4 w 196"/>
                            <a:gd name="T33" fmla="*/ 12 h 175"/>
                            <a:gd name="T34" fmla="*/ 2 w 196"/>
                            <a:gd name="T35" fmla="*/ 16 h 175"/>
                            <a:gd name="T36" fmla="*/ 0 w 196"/>
                            <a:gd name="T37" fmla="*/ 20 h 175"/>
                            <a:gd name="T38" fmla="*/ 0 w 196"/>
                            <a:gd name="T39" fmla="*/ 25 h 175"/>
                            <a:gd name="T40" fmla="*/ 0 w 196"/>
                            <a:gd name="T41" fmla="*/ 175 h 175"/>
                            <a:gd name="T42" fmla="*/ 196 w 196"/>
                            <a:gd name="T43" fmla="*/ 175 h 175"/>
                            <a:gd name="T44" fmla="*/ 196 w 196"/>
                            <a:gd name="T45" fmla="*/ 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175">
                              <a:moveTo>
                                <a:pt x="196" y="25"/>
                              </a:moveTo>
                              <a:lnTo>
                                <a:pt x="196" y="25"/>
                              </a:lnTo>
                              <a:lnTo>
                                <a:pt x="195" y="20"/>
                              </a:lnTo>
                              <a:lnTo>
                                <a:pt x="194" y="16"/>
                              </a:lnTo>
                              <a:lnTo>
                                <a:pt x="192" y="12"/>
                              </a:lnTo>
                              <a:lnTo>
                                <a:pt x="189" y="8"/>
                              </a:lnTo>
                              <a:lnTo>
                                <a:pt x="185" y="5"/>
                              </a:lnTo>
                              <a:lnTo>
                                <a:pt x="181" y="2"/>
                              </a:lnTo>
                              <a:lnTo>
                                <a:pt x="177" y="0"/>
                              </a:lnTo>
                              <a:lnTo>
                                <a:pt x="172" y="0"/>
                              </a:lnTo>
                              <a:lnTo>
                                <a:pt x="25" y="0"/>
                              </a:lnTo>
                              <a:lnTo>
                                <a:pt x="25" y="0"/>
                              </a:lnTo>
                              <a:lnTo>
                                <a:pt x="19" y="0"/>
                              </a:lnTo>
                              <a:lnTo>
                                <a:pt x="15" y="2"/>
                              </a:lnTo>
                              <a:lnTo>
                                <a:pt x="10" y="5"/>
                              </a:lnTo>
                              <a:lnTo>
                                <a:pt x="7" y="8"/>
                              </a:lnTo>
                              <a:lnTo>
                                <a:pt x="4" y="12"/>
                              </a:lnTo>
                              <a:lnTo>
                                <a:pt x="2" y="16"/>
                              </a:lnTo>
                              <a:lnTo>
                                <a:pt x="0" y="20"/>
                              </a:lnTo>
                              <a:lnTo>
                                <a:pt x="0" y="25"/>
                              </a:lnTo>
                              <a:lnTo>
                                <a:pt x="0" y="175"/>
                              </a:lnTo>
                              <a:lnTo>
                                <a:pt x="196" y="175"/>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177" name="Freeform 190">
                          <a:extLst>
                            <a:ext uri="{FF2B5EF4-FFF2-40B4-BE49-F238E27FC236}">
                              <a16:creationId xmlns:a16="http://schemas.microsoft.com/office/drawing/2014/main" id="{F2700896-656D-42E7-A74C-E053C7E29510}"/>
                            </a:ext>
                          </a:extLst>
                        </p:cNvPr>
                        <p:cNvSpPr>
                          <a:spLocks/>
                        </p:cNvSpPr>
                        <p:nvPr/>
                      </p:nvSpPr>
                      <p:spPr bwMode="auto">
                        <a:xfrm>
                          <a:off x="1620064" y="-568400"/>
                          <a:ext cx="236538" cy="17463"/>
                        </a:xfrm>
                        <a:custGeom>
                          <a:avLst/>
                          <a:gdLst>
                            <a:gd name="T0" fmla="*/ 1031 w 1044"/>
                            <a:gd name="T1" fmla="*/ 0 h 79"/>
                            <a:gd name="T2" fmla="*/ 13 w 1044"/>
                            <a:gd name="T3" fmla="*/ 0 h 79"/>
                            <a:gd name="T4" fmla="*/ 13 w 1044"/>
                            <a:gd name="T5" fmla="*/ 0 h 79"/>
                            <a:gd name="T6" fmla="*/ 8 w 1044"/>
                            <a:gd name="T7" fmla="*/ 1 h 79"/>
                            <a:gd name="T8" fmla="*/ 4 w 1044"/>
                            <a:gd name="T9" fmla="*/ 3 h 79"/>
                            <a:gd name="T10" fmla="*/ 1 w 1044"/>
                            <a:gd name="T11" fmla="*/ 7 h 79"/>
                            <a:gd name="T12" fmla="*/ 0 w 1044"/>
                            <a:gd name="T13" fmla="*/ 12 h 79"/>
                            <a:gd name="T14" fmla="*/ 0 w 1044"/>
                            <a:gd name="T15" fmla="*/ 66 h 79"/>
                            <a:gd name="T16" fmla="*/ 0 w 1044"/>
                            <a:gd name="T17" fmla="*/ 66 h 79"/>
                            <a:gd name="T18" fmla="*/ 1 w 1044"/>
                            <a:gd name="T19" fmla="*/ 71 h 79"/>
                            <a:gd name="T20" fmla="*/ 4 w 1044"/>
                            <a:gd name="T21" fmla="*/ 75 h 79"/>
                            <a:gd name="T22" fmla="*/ 8 w 1044"/>
                            <a:gd name="T23" fmla="*/ 78 h 79"/>
                            <a:gd name="T24" fmla="*/ 13 w 1044"/>
                            <a:gd name="T25" fmla="*/ 79 h 79"/>
                            <a:gd name="T26" fmla="*/ 1031 w 1044"/>
                            <a:gd name="T27" fmla="*/ 79 h 79"/>
                            <a:gd name="T28" fmla="*/ 1031 w 1044"/>
                            <a:gd name="T29" fmla="*/ 79 h 79"/>
                            <a:gd name="T30" fmla="*/ 1036 w 1044"/>
                            <a:gd name="T31" fmla="*/ 78 h 79"/>
                            <a:gd name="T32" fmla="*/ 1040 w 1044"/>
                            <a:gd name="T33" fmla="*/ 75 h 79"/>
                            <a:gd name="T34" fmla="*/ 1043 w 1044"/>
                            <a:gd name="T35" fmla="*/ 71 h 79"/>
                            <a:gd name="T36" fmla="*/ 1044 w 1044"/>
                            <a:gd name="T37" fmla="*/ 66 h 79"/>
                            <a:gd name="T38" fmla="*/ 1044 w 1044"/>
                            <a:gd name="T39" fmla="*/ 12 h 79"/>
                            <a:gd name="T40" fmla="*/ 1044 w 1044"/>
                            <a:gd name="T41" fmla="*/ 12 h 79"/>
                            <a:gd name="T42" fmla="*/ 1043 w 1044"/>
                            <a:gd name="T43" fmla="*/ 7 h 79"/>
                            <a:gd name="T44" fmla="*/ 1040 w 1044"/>
                            <a:gd name="T45" fmla="*/ 3 h 79"/>
                            <a:gd name="T46" fmla="*/ 1036 w 1044"/>
                            <a:gd name="T47" fmla="*/ 1 h 79"/>
                            <a:gd name="T48" fmla="*/ 1031 w 1044"/>
                            <a:gd name="T49" fmla="*/ 0 h 79"/>
                            <a:gd name="T50" fmla="*/ 1031 w 1044"/>
                            <a:gd name="T5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4" h="79">
                              <a:moveTo>
                                <a:pt x="1031" y="0"/>
                              </a:moveTo>
                              <a:lnTo>
                                <a:pt x="13" y="0"/>
                              </a:lnTo>
                              <a:lnTo>
                                <a:pt x="13" y="0"/>
                              </a:lnTo>
                              <a:lnTo>
                                <a:pt x="8" y="1"/>
                              </a:lnTo>
                              <a:lnTo>
                                <a:pt x="4" y="3"/>
                              </a:lnTo>
                              <a:lnTo>
                                <a:pt x="1" y="7"/>
                              </a:lnTo>
                              <a:lnTo>
                                <a:pt x="0" y="12"/>
                              </a:lnTo>
                              <a:lnTo>
                                <a:pt x="0" y="66"/>
                              </a:lnTo>
                              <a:lnTo>
                                <a:pt x="0" y="66"/>
                              </a:lnTo>
                              <a:lnTo>
                                <a:pt x="1" y="71"/>
                              </a:lnTo>
                              <a:lnTo>
                                <a:pt x="4" y="75"/>
                              </a:lnTo>
                              <a:lnTo>
                                <a:pt x="8" y="78"/>
                              </a:lnTo>
                              <a:lnTo>
                                <a:pt x="13" y="79"/>
                              </a:lnTo>
                              <a:lnTo>
                                <a:pt x="1031" y="79"/>
                              </a:lnTo>
                              <a:lnTo>
                                <a:pt x="1031" y="79"/>
                              </a:lnTo>
                              <a:lnTo>
                                <a:pt x="1036" y="78"/>
                              </a:lnTo>
                              <a:lnTo>
                                <a:pt x="1040" y="75"/>
                              </a:lnTo>
                              <a:lnTo>
                                <a:pt x="1043" y="71"/>
                              </a:lnTo>
                              <a:lnTo>
                                <a:pt x="1044" y="66"/>
                              </a:lnTo>
                              <a:lnTo>
                                <a:pt x="1044" y="12"/>
                              </a:lnTo>
                              <a:lnTo>
                                <a:pt x="1044" y="12"/>
                              </a:lnTo>
                              <a:lnTo>
                                <a:pt x="1043" y="7"/>
                              </a:lnTo>
                              <a:lnTo>
                                <a:pt x="1040" y="3"/>
                              </a:lnTo>
                              <a:lnTo>
                                <a:pt x="1036" y="1"/>
                              </a:lnTo>
                              <a:lnTo>
                                <a:pt x="1031" y="0"/>
                              </a:lnTo>
                              <a:lnTo>
                                <a:pt x="10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grpSp>
                  <p:sp>
                    <p:nvSpPr>
                      <p:cNvPr id="172" name="Rounded Rectangle 455">
                        <a:extLst>
                          <a:ext uri="{FF2B5EF4-FFF2-40B4-BE49-F238E27FC236}">
                            <a16:creationId xmlns:a16="http://schemas.microsoft.com/office/drawing/2014/main" id="{2E27AE61-D072-4C4C-B7FB-3F887C64ABE0}"/>
                          </a:ext>
                        </a:extLst>
                      </p:cNvPr>
                      <p:cNvSpPr/>
                      <p:nvPr/>
                    </p:nvSpPr>
                    <p:spPr>
                      <a:xfrm>
                        <a:off x="5072499" y="-1601580"/>
                        <a:ext cx="36576" cy="783431"/>
                      </a:xfrm>
                      <a:prstGeom prst="roundRect">
                        <a:avLst>
                          <a:gd name="adj" fmla="val 50000"/>
                        </a:avLst>
                      </a:prstGeom>
                      <a:grp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cxnSp>
                  <p:nvCxnSpPr>
                    <p:cNvPr id="163" name="Straight Connector 162">
                      <a:extLst>
                        <a:ext uri="{FF2B5EF4-FFF2-40B4-BE49-F238E27FC236}">
                          <a16:creationId xmlns:a16="http://schemas.microsoft.com/office/drawing/2014/main" id="{C40B5D40-460F-4479-A78A-56D251C0CE5B}"/>
                        </a:ext>
                      </a:extLst>
                    </p:cNvPr>
                    <p:cNvCxnSpPr/>
                    <p:nvPr/>
                  </p:nvCxnSpPr>
                  <p:spPr>
                    <a:xfrm>
                      <a:off x="6656140" y="1603151"/>
                      <a:ext cx="99409" cy="0"/>
                    </a:xfrm>
                    <a:prstGeom prst="line">
                      <a:avLst/>
                    </a:prstGeom>
                    <a:noFill/>
                    <a:ln w="9525" cap="flat" cmpd="sng" algn="ctr">
                      <a:solidFill>
                        <a:srgbClr val="FFFFFF">
                          <a:lumMod val="65000"/>
                        </a:srgbClr>
                      </a:solidFill>
                      <a:prstDash val="solid"/>
                    </a:ln>
                    <a:effectLst/>
                  </p:spPr>
                </p:cxnSp>
                <p:cxnSp>
                  <p:nvCxnSpPr>
                    <p:cNvPr id="164" name="Straight Connector 163">
                      <a:extLst>
                        <a:ext uri="{FF2B5EF4-FFF2-40B4-BE49-F238E27FC236}">
                          <a16:creationId xmlns:a16="http://schemas.microsoft.com/office/drawing/2014/main" id="{B791E7E8-0F8E-4C08-AF31-EBDF712A0D98}"/>
                        </a:ext>
                      </a:extLst>
                    </p:cNvPr>
                    <p:cNvCxnSpPr/>
                    <p:nvPr/>
                  </p:nvCxnSpPr>
                  <p:spPr>
                    <a:xfrm>
                      <a:off x="6656140" y="1629592"/>
                      <a:ext cx="87714" cy="0"/>
                    </a:xfrm>
                    <a:prstGeom prst="line">
                      <a:avLst/>
                    </a:prstGeom>
                    <a:noFill/>
                    <a:ln w="9525" cap="flat" cmpd="sng" algn="ctr">
                      <a:solidFill>
                        <a:srgbClr val="FFFFFF">
                          <a:lumMod val="65000"/>
                        </a:srgbClr>
                      </a:solidFill>
                      <a:prstDash val="solid"/>
                    </a:ln>
                    <a:effectLst/>
                  </p:spPr>
                </p:cxnSp>
                <p:cxnSp>
                  <p:nvCxnSpPr>
                    <p:cNvPr id="165" name="Straight Connector 164">
                      <a:extLst>
                        <a:ext uri="{FF2B5EF4-FFF2-40B4-BE49-F238E27FC236}">
                          <a16:creationId xmlns:a16="http://schemas.microsoft.com/office/drawing/2014/main" id="{A8BFBFEF-4569-4413-B0E5-A52838ED5B2E}"/>
                        </a:ext>
                      </a:extLst>
                    </p:cNvPr>
                    <p:cNvCxnSpPr/>
                    <p:nvPr/>
                  </p:nvCxnSpPr>
                  <p:spPr>
                    <a:xfrm>
                      <a:off x="6656140" y="1656034"/>
                      <a:ext cx="99409" cy="0"/>
                    </a:xfrm>
                    <a:prstGeom prst="line">
                      <a:avLst/>
                    </a:prstGeom>
                    <a:noFill/>
                    <a:ln w="9525" cap="flat" cmpd="sng" algn="ctr">
                      <a:solidFill>
                        <a:srgbClr val="FFFFFF">
                          <a:lumMod val="65000"/>
                        </a:srgbClr>
                      </a:solidFill>
                      <a:prstDash val="solid"/>
                    </a:ln>
                    <a:effectLst/>
                  </p:spPr>
                </p:cxnSp>
                <p:cxnSp>
                  <p:nvCxnSpPr>
                    <p:cNvPr id="166" name="Straight Connector 165">
                      <a:extLst>
                        <a:ext uri="{FF2B5EF4-FFF2-40B4-BE49-F238E27FC236}">
                          <a16:creationId xmlns:a16="http://schemas.microsoft.com/office/drawing/2014/main" id="{DB958873-428C-4BB5-8E9F-8B8FC0CC8CF2}"/>
                        </a:ext>
                      </a:extLst>
                    </p:cNvPr>
                    <p:cNvCxnSpPr/>
                    <p:nvPr/>
                  </p:nvCxnSpPr>
                  <p:spPr>
                    <a:xfrm>
                      <a:off x="6656140" y="1682475"/>
                      <a:ext cx="94583" cy="0"/>
                    </a:xfrm>
                    <a:prstGeom prst="line">
                      <a:avLst/>
                    </a:prstGeom>
                    <a:noFill/>
                    <a:ln w="9525" cap="flat" cmpd="sng" algn="ctr">
                      <a:solidFill>
                        <a:srgbClr val="FFFFFF">
                          <a:lumMod val="65000"/>
                        </a:srgbClr>
                      </a:solidFill>
                      <a:prstDash val="solid"/>
                    </a:ln>
                    <a:effectLst/>
                  </p:spPr>
                </p:cxnSp>
                <p:cxnSp>
                  <p:nvCxnSpPr>
                    <p:cNvPr id="167" name="Straight Connector 166">
                      <a:extLst>
                        <a:ext uri="{FF2B5EF4-FFF2-40B4-BE49-F238E27FC236}">
                          <a16:creationId xmlns:a16="http://schemas.microsoft.com/office/drawing/2014/main" id="{1FB9B37C-4513-44B8-A7ED-098F013CEED4}"/>
                        </a:ext>
                      </a:extLst>
                    </p:cNvPr>
                    <p:cNvCxnSpPr/>
                    <p:nvPr/>
                  </p:nvCxnSpPr>
                  <p:spPr>
                    <a:xfrm>
                      <a:off x="6656140" y="1708917"/>
                      <a:ext cx="94583" cy="0"/>
                    </a:xfrm>
                    <a:prstGeom prst="line">
                      <a:avLst/>
                    </a:prstGeom>
                    <a:noFill/>
                    <a:ln w="9525" cap="flat" cmpd="sng" algn="ctr">
                      <a:solidFill>
                        <a:srgbClr val="FFFFFF">
                          <a:lumMod val="65000"/>
                        </a:srgbClr>
                      </a:solidFill>
                      <a:prstDash val="solid"/>
                    </a:ln>
                    <a:effectLst/>
                  </p:spPr>
                </p:cxnSp>
                <p:cxnSp>
                  <p:nvCxnSpPr>
                    <p:cNvPr id="168" name="Straight Connector 167">
                      <a:extLst>
                        <a:ext uri="{FF2B5EF4-FFF2-40B4-BE49-F238E27FC236}">
                          <a16:creationId xmlns:a16="http://schemas.microsoft.com/office/drawing/2014/main" id="{FE61A674-7294-4A89-9389-9AC99FB96BDD}"/>
                        </a:ext>
                      </a:extLst>
                    </p:cNvPr>
                    <p:cNvCxnSpPr/>
                    <p:nvPr/>
                  </p:nvCxnSpPr>
                  <p:spPr>
                    <a:xfrm>
                      <a:off x="6656140" y="1576710"/>
                      <a:ext cx="77751" cy="0"/>
                    </a:xfrm>
                    <a:prstGeom prst="line">
                      <a:avLst/>
                    </a:prstGeom>
                    <a:noFill/>
                    <a:ln w="9525" cap="flat" cmpd="sng" algn="ctr">
                      <a:solidFill>
                        <a:srgbClr val="FFFFFF">
                          <a:lumMod val="65000"/>
                        </a:srgbClr>
                      </a:solidFill>
                      <a:prstDash val="solid"/>
                    </a:ln>
                    <a:effectLst/>
                  </p:spPr>
                </p:cxnSp>
              </p:grpSp>
            </p:grpSp>
            <p:grpSp>
              <p:nvGrpSpPr>
                <p:cNvPr id="320" name="Group 319">
                  <a:extLst>
                    <a:ext uri="{FF2B5EF4-FFF2-40B4-BE49-F238E27FC236}">
                      <a16:creationId xmlns:a16="http://schemas.microsoft.com/office/drawing/2014/main" id="{5F1DB46D-2718-4EA2-8D34-2A5010A5F0C2}"/>
                    </a:ext>
                  </a:extLst>
                </p:cNvPr>
                <p:cNvGrpSpPr/>
                <p:nvPr/>
              </p:nvGrpSpPr>
              <p:grpSpPr>
                <a:xfrm>
                  <a:off x="5826931" y="1567563"/>
                  <a:ext cx="967615" cy="554758"/>
                  <a:chOff x="7851311" y="1567563"/>
                  <a:chExt cx="967615" cy="554758"/>
                </a:xfrm>
              </p:grpSpPr>
              <p:sp>
                <p:nvSpPr>
                  <p:cNvPr id="321" name="Freeform 222">
                    <a:extLst>
                      <a:ext uri="{FF2B5EF4-FFF2-40B4-BE49-F238E27FC236}">
                        <a16:creationId xmlns:a16="http://schemas.microsoft.com/office/drawing/2014/main" id="{D9256AB1-5E2B-452D-9227-1EDBCB4BD6B5}"/>
                      </a:ext>
                    </a:extLst>
                  </p:cNvPr>
                  <p:cNvSpPr>
                    <a:spLocks/>
                  </p:cNvSpPr>
                  <p:nvPr/>
                </p:nvSpPr>
                <p:spPr bwMode="auto">
                  <a:xfrm>
                    <a:off x="7851311" y="2082197"/>
                    <a:ext cx="967615" cy="40124"/>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bg2">
                      <a:lumMod val="8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22" name="Freeform 223">
                    <a:extLst>
                      <a:ext uri="{FF2B5EF4-FFF2-40B4-BE49-F238E27FC236}">
                        <a16:creationId xmlns:a16="http://schemas.microsoft.com/office/drawing/2014/main" id="{EB735720-8561-4ED2-982F-CEDFD572BB0E}"/>
                      </a:ext>
                    </a:extLst>
                  </p:cNvPr>
                  <p:cNvSpPr>
                    <a:spLocks/>
                  </p:cNvSpPr>
                  <p:nvPr/>
                </p:nvSpPr>
                <p:spPr bwMode="auto">
                  <a:xfrm>
                    <a:off x="7932721" y="1567563"/>
                    <a:ext cx="805958" cy="485559"/>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23" name="Freeform 224">
                    <a:extLst>
                      <a:ext uri="{FF2B5EF4-FFF2-40B4-BE49-F238E27FC236}">
                        <a16:creationId xmlns:a16="http://schemas.microsoft.com/office/drawing/2014/main" id="{526DFB7F-63B4-47AE-B670-A9F31615E374}"/>
                      </a:ext>
                    </a:extLst>
                  </p:cNvPr>
                  <p:cNvSpPr>
                    <a:spLocks noEditPoints="1"/>
                  </p:cNvSpPr>
                  <p:nvPr/>
                </p:nvSpPr>
                <p:spPr bwMode="auto">
                  <a:xfrm>
                    <a:off x="7932721" y="1567563"/>
                    <a:ext cx="805958" cy="485559"/>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bg2">
                      <a:lumMod val="85000"/>
                    </a:schemeClr>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nvGrpSpPr>
                  <p:cNvPr id="324" name="Group 323">
                    <a:extLst>
                      <a:ext uri="{FF2B5EF4-FFF2-40B4-BE49-F238E27FC236}">
                        <a16:creationId xmlns:a16="http://schemas.microsoft.com/office/drawing/2014/main" id="{9556065D-E35D-4EFF-807D-5E34C84E4349}"/>
                      </a:ext>
                    </a:extLst>
                  </p:cNvPr>
                  <p:cNvGrpSpPr/>
                  <p:nvPr/>
                </p:nvGrpSpPr>
                <p:grpSpPr>
                  <a:xfrm>
                    <a:off x="8023256" y="1658619"/>
                    <a:ext cx="619653" cy="297181"/>
                    <a:chOff x="6387497" y="1554479"/>
                    <a:chExt cx="368052" cy="176515"/>
                  </a:xfrm>
                </p:grpSpPr>
                <p:grpSp>
                  <p:nvGrpSpPr>
                    <p:cNvPr id="325" name="Group 324">
                      <a:extLst>
                        <a:ext uri="{FF2B5EF4-FFF2-40B4-BE49-F238E27FC236}">
                          <a16:creationId xmlns:a16="http://schemas.microsoft.com/office/drawing/2014/main" id="{ACBF228E-711D-4FB0-9730-17AAA54135CD}"/>
                        </a:ext>
                      </a:extLst>
                    </p:cNvPr>
                    <p:cNvGrpSpPr/>
                    <p:nvPr/>
                  </p:nvGrpSpPr>
                  <p:grpSpPr>
                    <a:xfrm>
                      <a:off x="6387497" y="1554479"/>
                      <a:ext cx="235354" cy="176515"/>
                      <a:chOff x="4367138" y="-1752601"/>
                      <a:chExt cx="1447296" cy="1085472"/>
                    </a:xfrm>
                    <a:solidFill>
                      <a:srgbClr val="A6A6A6"/>
                    </a:solidFill>
                  </p:grpSpPr>
                  <p:sp>
                    <p:nvSpPr>
                      <p:cNvPr id="332" name="Rounded Rectangle 2">
                        <a:extLst>
                          <a:ext uri="{FF2B5EF4-FFF2-40B4-BE49-F238E27FC236}">
                            <a16:creationId xmlns:a16="http://schemas.microsoft.com/office/drawing/2014/main" id="{F2010F21-17B5-4A89-AB90-8CC7D0570EFB}"/>
                          </a:ext>
                        </a:extLst>
                      </p:cNvPr>
                      <p:cNvSpPr/>
                      <p:nvPr/>
                    </p:nvSpPr>
                    <p:spPr>
                      <a:xfrm>
                        <a:off x="4367138" y="-1752601"/>
                        <a:ext cx="1447296" cy="1085472"/>
                      </a:xfrm>
                      <a:custGeom>
                        <a:avLst/>
                        <a:gdLst/>
                        <a:ahLst/>
                        <a:cxnLst/>
                        <a:rect l="l" t="t" r="r" b="b"/>
                        <a:pathLst>
                          <a:path w="1447296" h="1085472">
                            <a:moveTo>
                              <a:pt x="122169" y="69546"/>
                            </a:moveTo>
                            <a:cubicBezTo>
                              <a:pt x="91561" y="69546"/>
                              <a:pt x="66749" y="94358"/>
                              <a:pt x="66749" y="124966"/>
                            </a:cubicBezTo>
                            <a:lnTo>
                              <a:pt x="66749" y="960506"/>
                            </a:lnTo>
                            <a:cubicBezTo>
                              <a:pt x="66749" y="991114"/>
                              <a:pt x="91561" y="1015926"/>
                              <a:pt x="122169" y="1015926"/>
                            </a:cubicBezTo>
                            <a:lnTo>
                              <a:pt x="1325127" y="1015926"/>
                            </a:lnTo>
                            <a:cubicBezTo>
                              <a:pt x="1355735" y="1015926"/>
                              <a:pt x="1380547" y="991114"/>
                              <a:pt x="1380547" y="960506"/>
                            </a:cubicBezTo>
                            <a:lnTo>
                              <a:pt x="1380547" y="124966"/>
                            </a:lnTo>
                            <a:cubicBezTo>
                              <a:pt x="1380547" y="94358"/>
                              <a:pt x="1355735" y="69546"/>
                              <a:pt x="1325127" y="69546"/>
                            </a:cubicBezTo>
                            <a:close/>
                            <a:moveTo>
                              <a:pt x="109307" y="0"/>
                            </a:moveTo>
                            <a:lnTo>
                              <a:pt x="1337989" y="0"/>
                            </a:lnTo>
                            <a:cubicBezTo>
                              <a:pt x="1398358" y="0"/>
                              <a:pt x="1447296" y="48938"/>
                              <a:pt x="1447296" y="109307"/>
                            </a:cubicBezTo>
                            <a:lnTo>
                              <a:pt x="1447296" y="976165"/>
                            </a:lnTo>
                            <a:cubicBezTo>
                              <a:pt x="1447296" y="1036534"/>
                              <a:pt x="1398358" y="1085472"/>
                              <a:pt x="1337989" y="1085472"/>
                            </a:cubicBezTo>
                            <a:lnTo>
                              <a:pt x="109307" y="1085472"/>
                            </a:lnTo>
                            <a:cubicBezTo>
                              <a:pt x="48938" y="1085472"/>
                              <a:pt x="0" y="1036534"/>
                              <a:pt x="0" y="976165"/>
                            </a:cubicBezTo>
                            <a:lnTo>
                              <a:pt x="0" y="109307"/>
                            </a:lnTo>
                            <a:cubicBezTo>
                              <a:pt x="0" y="48938"/>
                              <a:pt x="48938" y="0"/>
                              <a:pt x="109307" y="0"/>
                            </a:cubicBezTo>
                            <a:close/>
                          </a:path>
                        </a:pathLst>
                      </a:custGeom>
                      <a:grp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nvGrpSpPr>
                      <p:cNvPr id="333" name="Group 332">
                        <a:extLst>
                          <a:ext uri="{FF2B5EF4-FFF2-40B4-BE49-F238E27FC236}">
                            <a16:creationId xmlns:a16="http://schemas.microsoft.com/office/drawing/2014/main" id="{BDF584D9-F560-4DAE-966F-1768B73DB83A}"/>
                          </a:ext>
                        </a:extLst>
                      </p:cNvPr>
                      <p:cNvGrpSpPr/>
                      <p:nvPr/>
                    </p:nvGrpSpPr>
                    <p:grpSpPr>
                      <a:xfrm>
                        <a:off x="4551518" y="-1419606"/>
                        <a:ext cx="416876" cy="419482"/>
                        <a:chOff x="1039038" y="-1476527"/>
                        <a:chExt cx="254000" cy="255587"/>
                      </a:xfrm>
                      <a:grpFill/>
                    </p:grpSpPr>
                    <p:sp>
                      <p:nvSpPr>
                        <p:cNvPr id="341" name="Freeform 367">
                          <a:extLst>
                            <a:ext uri="{FF2B5EF4-FFF2-40B4-BE49-F238E27FC236}">
                              <a16:creationId xmlns:a16="http://schemas.microsoft.com/office/drawing/2014/main" id="{6CB0D30E-730A-42E9-B59C-D8F49587937C}"/>
                            </a:ext>
                          </a:extLst>
                        </p:cNvPr>
                        <p:cNvSpPr>
                          <a:spLocks/>
                        </p:cNvSpPr>
                        <p:nvPr/>
                      </p:nvSpPr>
                      <p:spPr bwMode="auto">
                        <a:xfrm>
                          <a:off x="1039038" y="-1430490"/>
                          <a:ext cx="47625" cy="65088"/>
                        </a:xfrm>
                        <a:custGeom>
                          <a:avLst/>
                          <a:gdLst>
                            <a:gd name="T0" fmla="*/ 128 w 207"/>
                            <a:gd name="T1" fmla="*/ 0 h 288"/>
                            <a:gd name="T2" fmla="*/ 128 w 207"/>
                            <a:gd name="T3" fmla="*/ 0 h 288"/>
                            <a:gd name="T4" fmla="*/ 114 w 207"/>
                            <a:gd name="T5" fmla="*/ 17 h 288"/>
                            <a:gd name="T6" fmla="*/ 102 w 207"/>
                            <a:gd name="T7" fmla="*/ 33 h 288"/>
                            <a:gd name="T8" fmla="*/ 90 w 207"/>
                            <a:gd name="T9" fmla="*/ 49 h 288"/>
                            <a:gd name="T10" fmla="*/ 80 w 207"/>
                            <a:gd name="T11" fmla="*/ 67 h 288"/>
                            <a:gd name="T12" fmla="*/ 69 w 207"/>
                            <a:gd name="T13" fmla="*/ 84 h 288"/>
                            <a:gd name="T14" fmla="*/ 59 w 207"/>
                            <a:gd name="T15" fmla="*/ 102 h 288"/>
                            <a:gd name="T16" fmla="*/ 51 w 207"/>
                            <a:gd name="T17" fmla="*/ 119 h 288"/>
                            <a:gd name="T18" fmla="*/ 42 w 207"/>
                            <a:gd name="T19" fmla="*/ 137 h 288"/>
                            <a:gd name="T20" fmla="*/ 35 w 207"/>
                            <a:gd name="T21" fmla="*/ 156 h 288"/>
                            <a:gd name="T22" fmla="*/ 27 w 207"/>
                            <a:gd name="T23" fmla="*/ 174 h 288"/>
                            <a:gd name="T24" fmla="*/ 21 w 207"/>
                            <a:gd name="T25" fmla="*/ 193 h 288"/>
                            <a:gd name="T26" fmla="*/ 16 w 207"/>
                            <a:gd name="T27" fmla="*/ 212 h 288"/>
                            <a:gd name="T28" fmla="*/ 11 w 207"/>
                            <a:gd name="T29" fmla="*/ 230 h 288"/>
                            <a:gd name="T30" fmla="*/ 7 w 207"/>
                            <a:gd name="T31" fmla="*/ 250 h 288"/>
                            <a:gd name="T32" fmla="*/ 3 w 207"/>
                            <a:gd name="T33" fmla="*/ 269 h 288"/>
                            <a:gd name="T34" fmla="*/ 0 w 207"/>
                            <a:gd name="T35" fmla="*/ 288 h 288"/>
                            <a:gd name="T36" fmla="*/ 207 w 207"/>
                            <a:gd name="T37" fmla="*/ 81 h 288"/>
                            <a:gd name="T38" fmla="*/ 128 w 207"/>
                            <a:gd name="T3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88">
                              <a:moveTo>
                                <a:pt x="128" y="0"/>
                              </a:moveTo>
                              <a:lnTo>
                                <a:pt x="128" y="0"/>
                              </a:lnTo>
                              <a:lnTo>
                                <a:pt x="114" y="17"/>
                              </a:lnTo>
                              <a:lnTo>
                                <a:pt x="102" y="33"/>
                              </a:lnTo>
                              <a:lnTo>
                                <a:pt x="90" y="49"/>
                              </a:lnTo>
                              <a:lnTo>
                                <a:pt x="80" y="67"/>
                              </a:lnTo>
                              <a:lnTo>
                                <a:pt x="69" y="84"/>
                              </a:lnTo>
                              <a:lnTo>
                                <a:pt x="59" y="102"/>
                              </a:lnTo>
                              <a:lnTo>
                                <a:pt x="51" y="119"/>
                              </a:lnTo>
                              <a:lnTo>
                                <a:pt x="42" y="137"/>
                              </a:lnTo>
                              <a:lnTo>
                                <a:pt x="35" y="156"/>
                              </a:lnTo>
                              <a:lnTo>
                                <a:pt x="27" y="174"/>
                              </a:lnTo>
                              <a:lnTo>
                                <a:pt x="21" y="193"/>
                              </a:lnTo>
                              <a:lnTo>
                                <a:pt x="16" y="212"/>
                              </a:lnTo>
                              <a:lnTo>
                                <a:pt x="11" y="230"/>
                              </a:lnTo>
                              <a:lnTo>
                                <a:pt x="7" y="250"/>
                              </a:lnTo>
                              <a:lnTo>
                                <a:pt x="3" y="269"/>
                              </a:lnTo>
                              <a:lnTo>
                                <a:pt x="0" y="288"/>
                              </a:lnTo>
                              <a:lnTo>
                                <a:pt x="207" y="81"/>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342" name="Freeform 368">
                          <a:extLst>
                            <a:ext uri="{FF2B5EF4-FFF2-40B4-BE49-F238E27FC236}">
                              <a16:creationId xmlns:a16="http://schemas.microsoft.com/office/drawing/2014/main" id="{C38776B7-8D78-46DD-A951-C353B77EC7E5}"/>
                            </a:ext>
                          </a:extLst>
                        </p:cNvPr>
                        <p:cNvSpPr>
                          <a:spLocks/>
                        </p:cNvSpPr>
                        <p:nvPr/>
                      </p:nvSpPr>
                      <p:spPr bwMode="auto">
                        <a:xfrm>
                          <a:off x="1053325" y="-1365402"/>
                          <a:ext cx="96837" cy="98425"/>
                        </a:xfrm>
                        <a:custGeom>
                          <a:avLst/>
                          <a:gdLst>
                            <a:gd name="T0" fmla="*/ 350 w 428"/>
                            <a:gd name="T1" fmla="*/ 0 h 438"/>
                            <a:gd name="T2" fmla="*/ 3 w 428"/>
                            <a:gd name="T3" fmla="*/ 346 h 438"/>
                            <a:gd name="T4" fmla="*/ 0 w 428"/>
                            <a:gd name="T5" fmla="*/ 342 h 438"/>
                            <a:gd name="T6" fmla="*/ 0 w 428"/>
                            <a:gd name="T7" fmla="*/ 342 h 438"/>
                            <a:gd name="T8" fmla="*/ 15 w 428"/>
                            <a:gd name="T9" fmla="*/ 368 h 438"/>
                            <a:gd name="T10" fmla="*/ 30 w 428"/>
                            <a:gd name="T11" fmla="*/ 392 h 438"/>
                            <a:gd name="T12" fmla="*/ 47 w 428"/>
                            <a:gd name="T13" fmla="*/ 416 h 438"/>
                            <a:gd name="T14" fmla="*/ 66 w 428"/>
                            <a:gd name="T15" fmla="*/ 438 h 438"/>
                            <a:gd name="T16" fmla="*/ 428 w 428"/>
                            <a:gd name="T17" fmla="*/ 76 h 438"/>
                            <a:gd name="T18" fmla="*/ 350 w 428"/>
                            <a:gd name="T19"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8" h="438">
                              <a:moveTo>
                                <a:pt x="350" y="0"/>
                              </a:moveTo>
                              <a:lnTo>
                                <a:pt x="3" y="346"/>
                              </a:lnTo>
                              <a:lnTo>
                                <a:pt x="0" y="342"/>
                              </a:lnTo>
                              <a:lnTo>
                                <a:pt x="0" y="342"/>
                              </a:lnTo>
                              <a:lnTo>
                                <a:pt x="15" y="368"/>
                              </a:lnTo>
                              <a:lnTo>
                                <a:pt x="30" y="392"/>
                              </a:lnTo>
                              <a:lnTo>
                                <a:pt x="47" y="416"/>
                              </a:lnTo>
                              <a:lnTo>
                                <a:pt x="66" y="438"/>
                              </a:lnTo>
                              <a:lnTo>
                                <a:pt x="428" y="76"/>
                              </a:lnTo>
                              <a:lnTo>
                                <a:pt x="3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343" name="Freeform 369">
                          <a:extLst>
                            <a:ext uri="{FF2B5EF4-FFF2-40B4-BE49-F238E27FC236}">
                              <a16:creationId xmlns:a16="http://schemas.microsoft.com/office/drawing/2014/main" id="{3FB0A042-5897-4D0E-9F70-E57121C03975}"/>
                            </a:ext>
                          </a:extLst>
                        </p:cNvPr>
                        <p:cNvSpPr>
                          <a:spLocks/>
                        </p:cNvSpPr>
                        <p:nvPr/>
                      </p:nvSpPr>
                      <p:spPr bwMode="auto">
                        <a:xfrm>
                          <a:off x="1083488" y="-1430490"/>
                          <a:ext cx="209550" cy="209550"/>
                        </a:xfrm>
                        <a:custGeom>
                          <a:avLst/>
                          <a:gdLst>
                            <a:gd name="T0" fmla="*/ 0 w 925"/>
                            <a:gd name="T1" fmla="*/ 793 h 925"/>
                            <a:gd name="T2" fmla="*/ 21 w 925"/>
                            <a:gd name="T3" fmla="*/ 810 h 925"/>
                            <a:gd name="T4" fmla="*/ 65 w 925"/>
                            <a:gd name="T5" fmla="*/ 840 h 925"/>
                            <a:gd name="T6" fmla="*/ 111 w 925"/>
                            <a:gd name="T7" fmla="*/ 866 h 925"/>
                            <a:gd name="T8" fmla="*/ 158 w 925"/>
                            <a:gd name="T9" fmla="*/ 887 h 925"/>
                            <a:gd name="T10" fmla="*/ 207 w 925"/>
                            <a:gd name="T11" fmla="*/ 903 h 925"/>
                            <a:gd name="T12" fmla="*/ 257 w 925"/>
                            <a:gd name="T13" fmla="*/ 916 h 925"/>
                            <a:gd name="T14" fmla="*/ 308 w 925"/>
                            <a:gd name="T15" fmla="*/ 923 h 925"/>
                            <a:gd name="T16" fmla="*/ 359 w 925"/>
                            <a:gd name="T17" fmla="*/ 925 h 925"/>
                            <a:gd name="T18" fmla="*/ 410 w 925"/>
                            <a:gd name="T19" fmla="*/ 923 h 925"/>
                            <a:gd name="T20" fmla="*/ 461 w 925"/>
                            <a:gd name="T21" fmla="*/ 917 h 925"/>
                            <a:gd name="T22" fmla="*/ 512 w 925"/>
                            <a:gd name="T23" fmla="*/ 905 h 925"/>
                            <a:gd name="T24" fmla="*/ 561 w 925"/>
                            <a:gd name="T25" fmla="*/ 889 h 925"/>
                            <a:gd name="T26" fmla="*/ 608 w 925"/>
                            <a:gd name="T27" fmla="*/ 869 h 925"/>
                            <a:gd name="T28" fmla="*/ 654 w 925"/>
                            <a:gd name="T29" fmla="*/ 844 h 925"/>
                            <a:gd name="T30" fmla="*/ 699 w 925"/>
                            <a:gd name="T31" fmla="*/ 814 h 925"/>
                            <a:gd name="T32" fmla="*/ 740 w 925"/>
                            <a:gd name="T33" fmla="*/ 780 h 925"/>
                            <a:gd name="T34" fmla="*/ 760 w 925"/>
                            <a:gd name="T35" fmla="*/ 760 h 925"/>
                            <a:gd name="T36" fmla="*/ 797 w 925"/>
                            <a:gd name="T37" fmla="*/ 720 h 925"/>
                            <a:gd name="T38" fmla="*/ 829 w 925"/>
                            <a:gd name="T39" fmla="*/ 677 h 925"/>
                            <a:gd name="T40" fmla="*/ 856 w 925"/>
                            <a:gd name="T41" fmla="*/ 632 h 925"/>
                            <a:gd name="T42" fmla="*/ 879 w 925"/>
                            <a:gd name="T43" fmla="*/ 585 h 925"/>
                            <a:gd name="T44" fmla="*/ 897 w 925"/>
                            <a:gd name="T45" fmla="*/ 536 h 925"/>
                            <a:gd name="T46" fmla="*/ 911 w 925"/>
                            <a:gd name="T47" fmla="*/ 487 h 925"/>
                            <a:gd name="T48" fmla="*/ 920 w 925"/>
                            <a:gd name="T49" fmla="*/ 436 h 925"/>
                            <a:gd name="T50" fmla="*/ 924 w 925"/>
                            <a:gd name="T51" fmla="*/ 385 h 925"/>
                            <a:gd name="T52" fmla="*/ 924 w 925"/>
                            <a:gd name="T53" fmla="*/ 334 h 925"/>
                            <a:gd name="T54" fmla="*/ 919 w 925"/>
                            <a:gd name="T55" fmla="*/ 283 h 925"/>
                            <a:gd name="T56" fmla="*/ 910 w 925"/>
                            <a:gd name="T57" fmla="*/ 233 h 925"/>
                            <a:gd name="T58" fmla="*/ 895 w 925"/>
                            <a:gd name="T59" fmla="*/ 183 h 925"/>
                            <a:gd name="T60" fmla="*/ 877 w 925"/>
                            <a:gd name="T61" fmla="*/ 134 h 925"/>
                            <a:gd name="T62" fmla="*/ 853 w 925"/>
                            <a:gd name="T63" fmla="*/ 88 h 925"/>
                            <a:gd name="T64" fmla="*/ 825 w 925"/>
                            <a:gd name="T65" fmla="*/ 43 h 925"/>
                            <a:gd name="T66" fmla="*/ 793 w 925"/>
                            <a:gd name="T67" fmla="*/ 0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5" h="925">
                              <a:moveTo>
                                <a:pt x="793" y="0"/>
                              </a:moveTo>
                              <a:lnTo>
                                <a:pt x="0" y="793"/>
                              </a:lnTo>
                              <a:lnTo>
                                <a:pt x="0" y="793"/>
                              </a:lnTo>
                              <a:lnTo>
                                <a:pt x="21" y="810"/>
                              </a:lnTo>
                              <a:lnTo>
                                <a:pt x="42" y="826"/>
                              </a:lnTo>
                              <a:lnTo>
                                <a:pt x="65" y="840"/>
                              </a:lnTo>
                              <a:lnTo>
                                <a:pt x="87" y="853"/>
                              </a:lnTo>
                              <a:lnTo>
                                <a:pt x="111" y="866"/>
                              </a:lnTo>
                              <a:lnTo>
                                <a:pt x="134" y="877"/>
                              </a:lnTo>
                              <a:lnTo>
                                <a:pt x="158" y="887"/>
                              </a:lnTo>
                              <a:lnTo>
                                <a:pt x="182" y="896"/>
                              </a:lnTo>
                              <a:lnTo>
                                <a:pt x="207" y="903"/>
                              </a:lnTo>
                              <a:lnTo>
                                <a:pt x="232" y="911"/>
                              </a:lnTo>
                              <a:lnTo>
                                <a:pt x="257" y="916"/>
                              </a:lnTo>
                              <a:lnTo>
                                <a:pt x="283" y="920"/>
                              </a:lnTo>
                              <a:lnTo>
                                <a:pt x="308" y="923"/>
                              </a:lnTo>
                              <a:lnTo>
                                <a:pt x="334" y="925"/>
                              </a:lnTo>
                              <a:lnTo>
                                <a:pt x="359" y="925"/>
                              </a:lnTo>
                              <a:lnTo>
                                <a:pt x="385" y="925"/>
                              </a:lnTo>
                              <a:lnTo>
                                <a:pt x="410" y="923"/>
                              </a:lnTo>
                              <a:lnTo>
                                <a:pt x="436" y="921"/>
                              </a:lnTo>
                              <a:lnTo>
                                <a:pt x="461" y="917"/>
                              </a:lnTo>
                              <a:lnTo>
                                <a:pt x="486" y="912"/>
                              </a:lnTo>
                              <a:lnTo>
                                <a:pt x="512" y="905"/>
                              </a:lnTo>
                              <a:lnTo>
                                <a:pt x="536" y="898"/>
                              </a:lnTo>
                              <a:lnTo>
                                <a:pt x="561" y="889"/>
                              </a:lnTo>
                              <a:lnTo>
                                <a:pt x="584" y="880"/>
                              </a:lnTo>
                              <a:lnTo>
                                <a:pt x="608" y="869"/>
                              </a:lnTo>
                              <a:lnTo>
                                <a:pt x="631" y="857"/>
                              </a:lnTo>
                              <a:lnTo>
                                <a:pt x="654" y="844"/>
                              </a:lnTo>
                              <a:lnTo>
                                <a:pt x="676" y="830"/>
                              </a:lnTo>
                              <a:lnTo>
                                <a:pt x="699" y="814"/>
                              </a:lnTo>
                              <a:lnTo>
                                <a:pt x="719" y="797"/>
                              </a:lnTo>
                              <a:lnTo>
                                <a:pt x="740" y="780"/>
                              </a:lnTo>
                              <a:lnTo>
                                <a:pt x="760" y="760"/>
                              </a:lnTo>
                              <a:lnTo>
                                <a:pt x="760" y="760"/>
                              </a:lnTo>
                              <a:lnTo>
                                <a:pt x="779" y="741"/>
                              </a:lnTo>
                              <a:lnTo>
                                <a:pt x="797" y="720"/>
                              </a:lnTo>
                              <a:lnTo>
                                <a:pt x="813" y="699"/>
                              </a:lnTo>
                              <a:lnTo>
                                <a:pt x="829" y="677"/>
                              </a:lnTo>
                              <a:lnTo>
                                <a:pt x="843" y="655"/>
                              </a:lnTo>
                              <a:lnTo>
                                <a:pt x="856" y="632"/>
                              </a:lnTo>
                              <a:lnTo>
                                <a:pt x="869" y="609"/>
                              </a:lnTo>
                              <a:lnTo>
                                <a:pt x="879" y="585"/>
                              </a:lnTo>
                              <a:lnTo>
                                <a:pt x="889" y="561"/>
                              </a:lnTo>
                              <a:lnTo>
                                <a:pt x="897" y="536"/>
                              </a:lnTo>
                              <a:lnTo>
                                <a:pt x="905" y="512"/>
                              </a:lnTo>
                              <a:lnTo>
                                <a:pt x="911" y="487"/>
                              </a:lnTo>
                              <a:lnTo>
                                <a:pt x="916" y="462"/>
                              </a:lnTo>
                              <a:lnTo>
                                <a:pt x="920" y="436"/>
                              </a:lnTo>
                              <a:lnTo>
                                <a:pt x="923" y="410"/>
                              </a:lnTo>
                              <a:lnTo>
                                <a:pt x="924" y="385"/>
                              </a:lnTo>
                              <a:lnTo>
                                <a:pt x="925" y="359"/>
                              </a:lnTo>
                              <a:lnTo>
                                <a:pt x="924" y="334"/>
                              </a:lnTo>
                              <a:lnTo>
                                <a:pt x="922" y="308"/>
                              </a:lnTo>
                              <a:lnTo>
                                <a:pt x="919" y="283"/>
                              </a:lnTo>
                              <a:lnTo>
                                <a:pt x="915" y="258"/>
                              </a:lnTo>
                              <a:lnTo>
                                <a:pt x="910" y="233"/>
                              </a:lnTo>
                              <a:lnTo>
                                <a:pt x="904" y="208"/>
                              </a:lnTo>
                              <a:lnTo>
                                <a:pt x="895" y="183"/>
                              </a:lnTo>
                              <a:lnTo>
                                <a:pt x="886" y="159"/>
                              </a:lnTo>
                              <a:lnTo>
                                <a:pt x="877" y="134"/>
                              </a:lnTo>
                              <a:lnTo>
                                <a:pt x="866" y="111"/>
                              </a:lnTo>
                              <a:lnTo>
                                <a:pt x="853" y="88"/>
                              </a:lnTo>
                              <a:lnTo>
                                <a:pt x="840" y="65"/>
                              </a:lnTo>
                              <a:lnTo>
                                <a:pt x="825" y="43"/>
                              </a:lnTo>
                              <a:lnTo>
                                <a:pt x="809" y="22"/>
                              </a:lnTo>
                              <a:lnTo>
                                <a:pt x="793" y="0"/>
                              </a:lnTo>
                              <a:lnTo>
                                <a:pt x="7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344" name="Freeform 370">
                          <a:extLst>
                            <a:ext uri="{FF2B5EF4-FFF2-40B4-BE49-F238E27FC236}">
                              <a16:creationId xmlns:a16="http://schemas.microsoft.com/office/drawing/2014/main" id="{C93FBEA8-4714-4C5B-A1B9-C51320485BA9}"/>
                            </a:ext>
                          </a:extLst>
                        </p:cNvPr>
                        <p:cNvSpPr>
                          <a:spLocks/>
                        </p:cNvSpPr>
                        <p:nvPr/>
                      </p:nvSpPr>
                      <p:spPr bwMode="auto">
                        <a:xfrm>
                          <a:off x="1083488" y="-1476527"/>
                          <a:ext cx="163512" cy="112713"/>
                        </a:xfrm>
                        <a:custGeom>
                          <a:avLst/>
                          <a:gdLst>
                            <a:gd name="T0" fmla="*/ 725 w 725"/>
                            <a:gd name="T1" fmla="*/ 132 h 494"/>
                            <a:gd name="T2" fmla="*/ 725 w 725"/>
                            <a:gd name="T3" fmla="*/ 132 h 494"/>
                            <a:gd name="T4" fmla="*/ 705 w 725"/>
                            <a:gd name="T5" fmla="*/ 116 h 494"/>
                            <a:gd name="T6" fmla="*/ 685 w 725"/>
                            <a:gd name="T7" fmla="*/ 101 h 494"/>
                            <a:gd name="T8" fmla="*/ 664 w 725"/>
                            <a:gd name="T9" fmla="*/ 87 h 494"/>
                            <a:gd name="T10" fmla="*/ 643 w 725"/>
                            <a:gd name="T11" fmla="*/ 75 h 494"/>
                            <a:gd name="T12" fmla="*/ 621 w 725"/>
                            <a:gd name="T13" fmla="*/ 62 h 494"/>
                            <a:gd name="T14" fmla="*/ 599 w 725"/>
                            <a:gd name="T15" fmla="*/ 51 h 494"/>
                            <a:gd name="T16" fmla="*/ 576 w 725"/>
                            <a:gd name="T17" fmla="*/ 42 h 494"/>
                            <a:gd name="T18" fmla="*/ 553 w 725"/>
                            <a:gd name="T19" fmla="*/ 33 h 494"/>
                            <a:gd name="T20" fmla="*/ 530 w 725"/>
                            <a:gd name="T21" fmla="*/ 25 h 494"/>
                            <a:gd name="T22" fmla="*/ 507 w 725"/>
                            <a:gd name="T23" fmla="*/ 18 h 494"/>
                            <a:gd name="T24" fmla="*/ 483 w 725"/>
                            <a:gd name="T25" fmla="*/ 13 h 494"/>
                            <a:gd name="T26" fmla="*/ 460 w 725"/>
                            <a:gd name="T27" fmla="*/ 8 h 494"/>
                            <a:gd name="T28" fmla="*/ 435 w 725"/>
                            <a:gd name="T29" fmla="*/ 5 h 494"/>
                            <a:gd name="T30" fmla="*/ 411 w 725"/>
                            <a:gd name="T31" fmla="*/ 2 h 494"/>
                            <a:gd name="T32" fmla="*/ 387 w 725"/>
                            <a:gd name="T33" fmla="*/ 1 h 494"/>
                            <a:gd name="T34" fmla="*/ 362 w 725"/>
                            <a:gd name="T35" fmla="*/ 0 h 494"/>
                            <a:gd name="T36" fmla="*/ 339 w 725"/>
                            <a:gd name="T37" fmla="*/ 1 h 494"/>
                            <a:gd name="T38" fmla="*/ 314 w 725"/>
                            <a:gd name="T39" fmla="*/ 2 h 494"/>
                            <a:gd name="T40" fmla="*/ 291 w 725"/>
                            <a:gd name="T41" fmla="*/ 5 h 494"/>
                            <a:gd name="T42" fmla="*/ 266 w 725"/>
                            <a:gd name="T43" fmla="*/ 8 h 494"/>
                            <a:gd name="T44" fmla="*/ 243 w 725"/>
                            <a:gd name="T45" fmla="*/ 13 h 494"/>
                            <a:gd name="T46" fmla="*/ 219 w 725"/>
                            <a:gd name="T47" fmla="*/ 18 h 494"/>
                            <a:gd name="T48" fmla="*/ 196 w 725"/>
                            <a:gd name="T49" fmla="*/ 25 h 494"/>
                            <a:gd name="T50" fmla="*/ 173 w 725"/>
                            <a:gd name="T51" fmla="*/ 33 h 494"/>
                            <a:gd name="T52" fmla="*/ 150 w 725"/>
                            <a:gd name="T53" fmla="*/ 42 h 494"/>
                            <a:gd name="T54" fmla="*/ 127 w 725"/>
                            <a:gd name="T55" fmla="*/ 52 h 494"/>
                            <a:gd name="T56" fmla="*/ 105 w 725"/>
                            <a:gd name="T57" fmla="*/ 62 h 494"/>
                            <a:gd name="T58" fmla="*/ 83 w 725"/>
                            <a:gd name="T59" fmla="*/ 75 h 494"/>
                            <a:gd name="T60" fmla="*/ 62 w 725"/>
                            <a:gd name="T61" fmla="*/ 87 h 494"/>
                            <a:gd name="T62" fmla="*/ 41 w 725"/>
                            <a:gd name="T63" fmla="*/ 101 h 494"/>
                            <a:gd name="T64" fmla="*/ 21 w 725"/>
                            <a:gd name="T65" fmla="*/ 116 h 494"/>
                            <a:gd name="T66" fmla="*/ 0 w 725"/>
                            <a:gd name="T67" fmla="*/ 132 h 494"/>
                            <a:gd name="T68" fmla="*/ 362 w 725"/>
                            <a:gd name="T69" fmla="*/ 494 h 494"/>
                            <a:gd name="T70" fmla="*/ 725 w 725"/>
                            <a:gd name="T71" fmla="*/ 1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5" h="494">
                              <a:moveTo>
                                <a:pt x="725" y="132"/>
                              </a:moveTo>
                              <a:lnTo>
                                <a:pt x="725" y="132"/>
                              </a:lnTo>
                              <a:lnTo>
                                <a:pt x="705" y="116"/>
                              </a:lnTo>
                              <a:lnTo>
                                <a:pt x="685" y="101"/>
                              </a:lnTo>
                              <a:lnTo>
                                <a:pt x="664" y="87"/>
                              </a:lnTo>
                              <a:lnTo>
                                <a:pt x="643" y="75"/>
                              </a:lnTo>
                              <a:lnTo>
                                <a:pt x="621" y="62"/>
                              </a:lnTo>
                              <a:lnTo>
                                <a:pt x="599" y="51"/>
                              </a:lnTo>
                              <a:lnTo>
                                <a:pt x="576" y="42"/>
                              </a:lnTo>
                              <a:lnTo>
                                <a:pt x="553" y="33"/>
                              </a:lnTo>
                              <a:lnTo>
                                <a:pt x="530" y="25"/>
                              </a:lnTo>
                              <a:lnTo>
                                <a:pt x="507" y="18"/>
                              </a:lnTo>
                              <a:lnTo>
                                <a:pt x="483" y="13"/>
                              </a:lnTo>
                              <a:lnTo>
                                <a:pt x="460" y="8"/>
                              </a:lnTo>
                              <a:lnTo>
                                <a:pt x="435" y="5"/>
                              </a:lnTo>
                              <a:lnTo>
                                <a:pt x="411" y="2"/>
                              </a:lnTo>
                              <a:lnTo>
                                <a:pt x="387" y="1"/>
                              </a:lnTo>
                              <a:lnTo>
                                <a:pt x="362" y="0"/>
                              </a:lnTo>
                              <a:lnTo>
                                <a:pt x="339" y="1"/>
                              </a:lnTo>
                              <a:lnTo>
                                <a:pt x="314" y="2"/>
                              </a:lnTo>
                              <a:lnTo>
                                <a:pt x="291" y="5"/>
                              </a:lnTo>
                              <a:lnTo>
                                <a:pt x="266" y="8"/>
                              </a:lnTo>
                              <a:lnTo>
                                <a:pt x="243" y="13"/>
                              </a:lnTo>
                              <a:lnTo>
                                <a:pt x="219" y="18"/>
                              </a:lnTo>
                              <a:lnTo>
                                <a:pt x="196" y="25"/>
                              </a:lnTo>
                              <a:lnTo>
                                <a:pt x="173" y="33"/>
                              </a:lnTo>
                              <a:lnTo>
                                <a:pt x="150" y="42"/>
                              </a:lnTo>
                              <a:lnTo>
                                <a:pt x="127" y="52"/>
                              </a:lnTo>
                              <a:lnTo>
                                <a:pt x="105" y="62"/>
                              </a:lnTo>
                              <a:lnTo>
                                <a:pt x="83" y="75"/>
                              </a:lnTo>
                              <a:lnTo>
                                <a:pt x="62" y="87"/>
                              </a:lnTo>
                              <a:lnTo>
                                <a:pt x="41" y="101"/>
                              </a:lnTo>
                              <a:lnTo>
                                <a:pt x="21" y="116"/>
                              </a:lnTo>
                              <a:lnTo>
                                <a:pt x="0" y="132"/>
                              </a:lnTo>
                              <a:lnTo>
                                <a:pt x="362" y="494"/>
                              </a:lnTo>
                              <a:lnTo>
                                <a:pt x="725"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345" name="Freeform 371">
                          <a:extLst>
                            <a:ext uri="{FF2B5EF4-FFF2-40B4-BE49-F238E27FC236}">
                              <a16:creationId xmlns:a16="http://schemas.microsoft.com/office/drawing/2014/main" id="{88C17104-5248-4AEE-A524-9E47ED2EF9E6}"/>
                            </a:ext>
                          </a:extLst>
                        </p:cNvPr>
                        <p:cNvSpPr>
                          <a:spLocks/>
                        </p:cNvSpPr>
                        <p:nvPr/>
                      </p:nvSpPr>
                      <p:spPr bwMode="auto">
                        <a:xfrm>
                          <a:off x="1039038" y="-1398740"/>
                          <a:ext cx="79375" cy="92075"/>
                        </a:xfrm>
                        <a:custGeom>
                          <a:avLst/>
                          <a:gdLst>
                            <a:gd name="T0" fmla="*/ 272 w 352"/>
                            <a:gd name="T1" fmla="*/ 0 h 402"/>
                            <a:gd name="T2" fmla="*/ 0 w 352"/>
                            <a:gd name="T3" fmla="*/ 273 h 402"/>
                            <a:gd name="T4" fmla="*/ 0 w 352"/>
                            <a:gd name="T5" fmla="*/ 273 h 402"/>
                            <a:gd name="T6" fmla="*/ 4 w 352"/>
                            <a:gd name="T7" fmla="*/ 305 h 402"/>
                            <a:gd name="T8" fmla="*/ 10 w 352"/>
                            <a:gd name="T9" fmla="*/ 338 h 402"/>
                            <a:gd name="T10" fmla="*/ 18 w 352"/>
                            <a:gd name="T11" fmla="*/ 371 h 402"/>
                            <a:gd name="T12" fmla="*/ 28 w 352"/>
                            <a:gd name="T13" fmla="*/ 402 h 402"/>
                            <a:gd name="T14" fmla="*/ 352 w 352"/>
                            <a:gd name="T15" fmla="*/ 79 h 402"/>
                            <a:gd name="T16" fmla="*/ 272 w 352"/>
                            <a:gd name="T1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402">
                              <a:moveTo>
                                <a:pt x="272" y="0"/>
                              </a:moveTo>
                              <a:lnTo>
                                <a:pt x="0" y="273"/>
                              </a:lnTo>
                              <a:lnTo>
                                <a:pt x="0" y="273"/>
                              </a:lnTo>
                              <a:lnTo>
                                <a:pt x="4" y="305"/>
                              </a:lnTo>
                              <a:lnTo>
                                <a:pt x="10" y="338"/>
                              </a:lnTo>
                              <a:lnTo>
                                <a:pt x="18" y="371"/>
                              </a:lnTo>
                              <a:lnTo>
                                <a:pt x="28" y="402"/>
                              </a:lnTo>
                              <a:lnTo>
                                <a:pt x="352" y="79"/>
                              </a:lnTo>
                              <a:lnTo>
                                <a:pt x="2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grpSp>
                  <p:grpSp>
                    <p:nvGrpSpPr>
                      <p:cNvPr id="334" name="Group 333">
                        <a:extLst>
                          <a:ext uri="{FF2B5EF4-FFF2-40B4-BE49-F238E27FC236}">
                            <a16:creationId xmlns:a16="http://schemas.microsoft.com/office/drawing/2014/main" id="{3CDD1FEA-B47C-4482-B166-A3198011B5BA}"/>
                          </a:ext>
                        </a:extLst>
                      </p:cNvPr>
                      <p:cNvGrpSpPr/>
                      <p:nvPr/>
                    </p:nvGrpSpPr>
                    <p:grpSpPr>
                      <a:xfrm>
                        <a:off x="5208518" y="-1395792"/>
                        <a:ext cx="426200" cy="371854"/>
                        <a:chOff x="1620064" y="-757313"/>
                        <a:chExt cx="236538" cy="206376"/>
                      </a:xfrm>
                      <a:grpFill/>
                    </p:grpSpPr>
                    <p:sp>
                      <p:nvSpPr>
                        <p:cNvPr id="336" name="Freeform 186">
                          <a:extLst>
                            <a:ext uri="{FF2B5EF4-FFF2-40B4-BE49-F238E27FC236}">
                              <a16:creationId xmlns:a16="http://schemas.microsoft.com/office/drawing/2014/main" id="{0F209732-D87B-430E-847F-52118877A036}"/>
                            </a:ext>
                          </a:extLst>
                        </p:cNvPr>
                        <p:cNvSpPr>
                          <a:spLocks/>
                        </p:cNvSpPr>
                        <p:nvPr/>
                      </p:nvSpPr>
                      <p:spPr bwMode="auto">
                        <a:xfrm>
                          <a:off x="1745476" y="-757313"/>
                          <a:ext cx="44450" cy="174625"/>
                        </a:xfrm>
                        <a:custGeom>
                          <a:avLst/>
                          <a:gdLst>
                            <a:gd name="T0" fmla="*/ 196 w 196"/>
                            <a:gd name="T1" fmla="*/ 26 h 767"/>
                            <a:gd name="T2" fmla="*/ 196 w 196"/>
                            <a:gd name="T3" fmla="*/ 26 h 767"/>
                            <a:gd name="T4" fmla="*/ 196 w 196"/>
                            <a:gd name="T5" fmla="*/ 21 h 767"/>
                            <a:gd name="T6" fmla="*/ 194 w 196"/>
                            <a:gd name="T7" fmla="*/ 17 h 767"/>
                            <a:gd name="T8" fmla="*/ 192 w 196"/>
                            <a:gd name="T9" fmla="*/ 11 h 767"/>
                            <a:gd name="T10" fmla="*/ 189 w 196"/>
                            <a:gd name="T11" fmla="*/ 8 h 767"/>
                            <a:gd name="T12" fmla="*/ 185 w 196"/>
                            <a:gd name="T13" fmla="*/ 5 h 767"/>
                            <a:gd name="T14" fmla="*/ 181 w 196"/>
                            <a:gd name="T15" fmla="*/ 2 h 767"/>
                            <a:gd name="T16" fmla="*/ 177 w 196"/>
                            <a:gd name="T17" fmla="*/ 1 h 767"/>
                            <a:gd name="T18" fmla="*/ 172 w 196"/>
                            <a:gd name="T19" fmla="*/ 0 h 767"/>
                            <a:gd name="T20" fmla="*/ 24 w 196"/>
                            <a:gd name="T21" fmla="*/ 0 h 767"/>
                            <a:gd name="T22" fmla="*/ 24 w 196"/>
                            <a:gd name="T23" fmla="*/ 0 h 767"/>
                            <a:gd name="T24" fmla="*/ 19 w 196"/>
                            <a:gd name="T25" fmla="*/ 1 h 767"/>
                            <a:gd name="T26" fmla="*/ 15 w 196"/>
                            <a:gd name="T27" fmla="*/ 2 h 767"/>
                            <a:gd name="T28" fmla="*/ 11 w 196"/>
                            <a:gd name="T29" fmla="*/ 5 h 767"/>
                            <a:gd name="T30" fmla="*/ 7 w 196"/>
                            <a:gd name="T31" fmla="*/ 8 h 767"/>
                            <a:gd name="T32" fmla="*/ 4 w 196"/>
                            <a:gd name="T33" fmla="*/ 11 h 767"/>
                            <a:gd name="T34" fmla="*/ 2 w 196"/>
                            <a:gd name="T35" fmla="*/ 17 h 767"/>
                            <a:gd name="T36" fmla="*/ 1 w 196"/>
                            <a:gd name="T37" fmla="*/ 21 h 767"/>
                            <a:gd name="T38" fmla="*/ 0 w 196"/>
                            <a:gd name="T39" fmla="*/ 26 h 767"/>
                            <a:gd name="T40" fmla="*/ 0 w 196"/>
                            <a:gd name="T41" fmla="*/ 767 h 767"/>
                            <a:gd name="T42" fmla="*/ 196 w 196"/>
                            <a:gd name="T43" fmla="*/ 767 h 767"/>
                            <a:gd name="T44" fmla="*/ 196 w 196"/>
                            <a:gd name="T45" fmla="*/ 26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767">
                              <a:moveTo>
                                <a:pt x="196" y="26"/>
                              </a:moveTo>
                              <a:lnTo>
                                <a:pt x="196" y="26"/>
                              </a:lnTo>
                              <a:lnTo>
                                <a:pt x="196" y="21"/>
                              </a:lnTo>
                              <a:lnTo>
                                <a:pt x="194" y="17"/>
                              </a:lnTo>
                              <a:lnTo>
                                <a:pt x="192" y="11"/>
                              </a:lnTo>
                              <a:lnTo>
                                <a:pt x="189" y="8"/>
                              </a:lnTo>
                              <a:lnTo>
                                <a:pt x="185" y="5"/>
                              </a:lnTo>
                              <a:lnTo>
                                <a:pt x="181" y="2"/>
                              </a:lnTo>
                              <a:lnTo>
                                <a:pt x="177" y="1"/>
                              </a:lnTo>
                              <a:lnTo>
                                <a:pt x="172" y="0"/>
                              </a:lnTo>
                              <a:lnTo>
                                <a:pt x="24" y="0"/>
                              </a:lnTo>
                              <a:lnTo>
                                <a:pt x="24" y="0"/>
                              </a:lnTo>
                              <a:lnTo>
                                <a:pt x="19" y="1"/>
                              </a:lnTo>
                              <a:lnTo>
                                <a:pt x="15" y="2"/>
                              </a:lnTo>
                              <a:lnTo>
                                <a:pt x="11" y="5"/>
                              </a:lnTo>
                              <a:lnTo>
                                <a:pt x="7" y="8"/>
                              </a:lnTo>
                              <a:lnTo>
                                <a:pt x="4" y="11"/>
                              </a:lnTo>
                              <a:lnTo>
                                <a:pt x="2" y="17"/>
                              </a:lnTo>
                              <a:lnTo>
                                <a:pt x="1" y="21"/>
                              </a:lnTo>
                              <a:lnTo>
                                <a:pt x="0" y="26"/>
                              </a:lnTo>
                              <a:lnTo>
                                <a:pt x="0" y="767"/>
                              </a:lnTo>
                              <a:lnTo>
                                <a:pt x="196" y="767"/>
                              </a:lnTo>
                              <a:lnTo>
                                <a:pt x="1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337" name="Freeform 187">
                          <a:extLst>
                            <a:ext uri="{FF2B5EF4-FFF2-40B4-BE49-F238E27FC236}">
                              <a16:creationId xmlns:a16="http://schemas.microsoft.com/office/drawing/2014/main" id="{7ACCC251-5A23-48A7-A53D-90EF5A200722}"/>
                            </a:ext>
                          </a:extLst>
                        </p:cNvPr>
                        <p:cNvSpPr>
                          <a:spLocks/>
                        </p:cNvSpPr>
                        <p:nvPr/>
                      </p:nvSpPr>
                      <p:spPr bwMode="auto">
                        <a:xfrm>
                          <a:off x="1685151" y="-666825"/>
                          <a:ext cx="44450" cy="84138"/>
                        </a:xfrm>
                        <a:custGeom>
                          <a:avLst/>
                          <a:gdLst>
                            <a:gd name="T0" fmla="*/ 196 w 196"/>
                            <a:gd name="T1" fmla="*/ 25 h 369"/>
                            <a:gd name="T2" fmla="*/ 196 w 196"/>
                            <a:gd name="T3" fmla="*/ 25 h 369"/>
                            <a:gd name="T4" fmla="*/ 196 w 196"/>
                            <a:gd name="T5" fmla="*/ 20 h 369"/>
                            <a:gd name="T6" fmla="*/ 194 w 196"/>
                            <a:gd name="T7" fmla="*/ 15 h 369"/>
                            <a:gd name="T8" fmla="*/ 192 w 196"/>
                            <a:gd name="T9" fmla="*/ 11 h 369"/>
                            <a:gd name="T10" fmla="*/ 189 w 196"/>
                            <a:gd name="T11" fmla="*/ 7 h 369"/>
                            <a:gd name="T12" fmla="*/ 185 w 196"/>
                            <a:gd name="T13" fmla="*/ 4 h 369"/>
                            <a:gd name="T14" fmla="*/ 181 w 196"/>
                            <a:gd name="T15" fmla="*/ 2 h 369"/>
                            <a:gd name="T16" fmla="*/ 177 w 196"/>
                            <a:gd name="T17" fmla="*/ 0 h 369"/>
                            <a:gd name="T18" fmla="*/ 172 w 196"/>
                            <a:gd name="T19" fmla="*/ 0 h 369"/>
                            <a:gd name="T20" fmla="*/ 25 w 196"/>
                            <a:gd name="T21" fmla="*/ 0 h 369"/>
                            <a:gd name="T22" fmla="*/ 25 w 196"/>
                            <a:gd name="T23" fmla="*/ 0 h 369"/>
                            <a:gd name="T24" fmla="*/ 19 w 196"/>
                            <a:gd name="T25" fmla="*/ 0 h 369"/>
                            <a:gd name="T26" fmla="*/ 15 w 196"/>
                            <a:gd name="T27" fmla="*/ 2 h 369"/>
                            <a:gd name="T28" fmla="*/ 11 w 196"/>
                            <a:gd name="T29" fmla="*/ 4 h 369"/>
                            <a:gd name="T30" fmla="*/ 7 w 196"/>
                            <a:gd name="T31" fmla="*/ 7 h 369"/>
                            <a:gd name="T32" fmla="*/ 4 w 196"/>
                            <a:gd name="T33" fmla="*/ 11 h 369"/>
                            <a:gd name="T34" fmla="*/ 2 w 196"/>
                            <a:gd name="T35" fmla="*/ 15 h 369"/>
                            <a:gd name="T36" fmla="*/ 1 w 196"/>
                            <a:gd name="T37" fmla="*/ 20 h 369"/>
                            <a:gd name="T38" fmla="*/ 0 w 196"/>
                            <a:gd name="T39" fmla="*/ 25 h 369"/>
                            <a:gd name="T40" fmla="*/ 0 w 196"/>
                            <a:gd name="T41" fmla="*/ 369 h 369"/>
                            <a:gd name="T42" fmla="*/ 196 w 196"/>
                            <a:gd name="T43" fmla="*/ 369 h 369"/>
                            <a:gd name="T44" fmla="*/ 196 w 196"/>
                            <a:gd name="T45" fmla="*/ 25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369">
                              <a:moveTo>
                                <a:pt x="196" y="25"/>
                              </a:moveTo>
                              <a:lnTo>
                                <a:pt x="196" y="25"/>
                              </a:lnTo>
                              <a:lnTo>
                                <a:pt x="196" y="20"/>
                              </a:lnTo>
                              <a:lnTo>
                                <a:pt x="194" y="15"/>
                              </a:lnTo>
                              <a:lnTo>
                                <a:pt x="192" y="11"/>
                              </a:lnTo>
                              <a:lnTo>
                                <a:pt x="189" y="7"/>
                              </a:lnTo>
                              <a:lnTo>
                                <a:pt x="185" y="4"/>
                              </a:lnTo>
                              <a:lnTo>
                                <a:pt x="181" y="2"/>
                              </a:lnTo>
                              <a:lnTo>
                                <a:pt x="177" y="0"/>
                              </a:lnTo>
                              <a:lnTo>
                                <a:pt x="172" y="0"/>
                              </a:lnTo>
                              <a:lnTo>
                                <a:pt x="25" y="0"/>
                              </a:lnTo>
                              <a:lnTo>
                                <a:pt x="25" y="0"/>
                              </a:lnTo>
                              <a:lnTo>
                                <a:pt x="19" y="0"/>
                              </a:lnTo>
                              <a:lnTo>
                                <a:pt x="15" y="2"/>
                              </a:lnTo>
                              <a:lnTo>
                                <a:pt x="11" y="4"/>
                              </a:lnTo>
                              <a:lnTo>
                                <a:pt x="7" y="7"/>
                              </a:lnTo>
                              <a:lnTo>
                                <a:pt x="4" y="11"/>
                              </a:lnTo>
                              <a:lnTo>
                                <a:pt x="2" y="15"/>
                              </a:lnTo>
                              <a:lnTo>
                                <a:pt x="1" y="20"/>
                              </a:lnTo>
                              <a:lnTo>
                                <a:pt x="0" y="25"/>
                              </a:lnTo>
                              <a:lnTo>
                                <a:pt x="0" y="369"/>
                              </a:lnTo>
                              <a:lnTo>
                                <a:pt x="196" y="369"/>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338" name="Freeform 188">
                          <a:extLst>
                            <a:ext uri="{FF2B5EF4-FFF2-40B4-BE49-F238E27FC236}">
                              <a16:creationId xmlns:a16="http://schemas.microsoft.com/office/drawing/2014/main" id="{3312AB3B-621B-48E5-9040-CFEAFECBB024}"/>
                            </a:ext>
                          </a:extLst>
                        </p:cNvPr>
                        <p:cNvSpPr>
                          <a:spLocks/>
                        </p:cNvSpPr>
                        <p:nvPr/>
                      </p:nvSpPr>
                      <p:spPr bwMode="auto">
                        <a:xfrm>
                          <a:off x="1805801" y="-709688"/>
                          <a:ext cx="44450" cy="127000"/>
                        </a:xfrm>
                        <a:custGeom>
                          <a:avLst/>
                          <a:gdLst>
                            <a:gd name="T0" fmla="*/ 196 w 196"/>
                            <a:gd name="T1" fmla="*/ 24 h 558"/>
                            <a:gd name="T2" fmla="*/ 196 w 196"/>
                            <a:gd name="T3" fmla="*/ 24 h 558"/>
                            <a:gd name="T4" fmla="*/ 196 w 196"/>
                            <a:gd name="T5" fmla="*/ 19 h 558"/>
                            <a:gd name="T6" fmla="*/ 194 w 196"/>
                            <a:gd name="T7" fmla="*/ 15 h 558"/>
                            <a:gd name="T8" fmla="*/ 192 w 196"/>
                            <a:gd name="T9" fmla="*/ 11 h 558"/>
                            <a:gd name="T10" fmla="*/ 189 w 196"/>
                            <a:gd name="T11" fmla="*/ 7 h 558"/>
                            <a:gd name="T12" fmla="*/ 186 w 196"/>
                            <a:gd name="T13" fmla="*/ 4 h 558"/>
                            <a:gd name="T14" fmla="*/ 181 w 196"/>
                            <a:gd name="T15" fmla="*/ 2 h 558"/>
                            <a:gd name="T16" fmla="*/ 177 w 196"/>
                            <a:gd name="T17" fmla="*/ 1 h 558"/>
                            <a:gd name="T18" fmla="*/ 172 w 196"/>
                            <a:gd name="T19" fmla="*/ 0 h 558"/>
                            <a:gd name="T20" fmla="*/ 24 w 196"/>
                            <a:gd name="T21" fmla="*/ 0 h 558"/>
                            <a:gd name="T22" fmla="*/ 24 w 196"/>
                            <a:gd name="T23" fmla="*/ 0 h 558"/>
                            <a:gd name="T24" fmla="*/ 20 w 196"/>
                            <a:gd name="T25" fmla="*/ 1 h 558"/>
                            <a:gd name="T26" fmla="*/ 15 w 196"/>
                            <a:gd name="T27" fmla="*/ 2 h 558"/>
                            <a:gd name="T28" fmla="*/ 11 w 196"/>
                            <a:gd name="T29" fmla="*/ 4 h 558"/>
                            <a:gd name="T30" fmla="*/ 7 w 196"/>
                            <a:gd name="T31" fmla="*/ 7 h 558"/>
                            <a:gd name="T32" fmla="*/ 4 w 196"/>
                            <a:gd name="T33" fmla="*/ 11 h 558"/>
                            <a:gd name="T34" fmla="*/ 2 w 196"/>
                            <a:gd name="T35" fmla="*/ 15 h 558"/>
                            <a:gd name="T36" fmla="*/ 1 w 196"/>
                            <a:gd name="T37" fmla="*/ 19 h 558"/>
                            <a:gd name="T38" fmla="*/ 0 w 196"/>
                            <a:gd name="T39" fmla="*/ 24 h 558"/>
                            <a:gd name="T40" fmla="*/ 0 w 196"/>
                            <a:gd name="T41" fmla="*/ 558 h 558"/>
                            <a:gd name="T42" fmla="*/ 196 w 196"/>
                            <a:gd name="T43" fmla="*/ 558 h 558"/>
                            <a:gd name="T44" fmla="*/ 196 w 196"/>
                            <a:gd name="T45" fmla="*/ 2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558">
                              <a:moveTo>
                                <a:pt x="196" y="24"/>
                              </a:moveTo>
                              <a:lnTo>
                                <a:pt x="196" y="24"/>
                              </a:lnTo>
                              <a:lnTo>
                                <a:pt x="196" y="19"/>
                              </a:lnTo>
                              <a:lnTo>
                                <a:pt x="194" y="15"/>
                              </a:lnTo>
                              <a:lnTo>
                                <a:pt x="192" y="11"/>
                              </a:lnTo>
                              <a:lnTo>
                                <a:pt x="189" y="7"/>
                              </a:lnTo>
                              <a:lnTo>
                                <a:pt x="186" y="4"/>
                              </a:lnTo>
                              <a:lnTo>
                                <a:pt x="181" y="2"/>
                              </a:lnTo>
                              <a:lnTo>
                                <a:pt x="177" y="1"/>
                              </a:lnTo>
                              <a:lnTo>
                                <a:pt x="172" y="0"/>
                              </a:lnTo>
                              <a:lnTo>
                                <a:pt x="24" y="0"/>
                              </a:lnTo>
                              <a:lnTo>
                                <a:pt x="24" y="0"/>
                              </a:lnTo>
                              <a:lnTo>
                                <a:pt x="20" y="1"/>
                              </a:lnTo>
                              <a:lnTo>
                                <a:pt x="15" y="2"/>
                              </a:lnTo>
                              <a:lnTo>
                                <a:pt x="11" y="4"/>
                              </a:lnTo>
                              <a:lnTo>
                                <a:pt x="7" y="7"/>
                              </a:lnTo>
                              <a:lnTo>
                                <a:pt x="4" y="11"/>
                              </a:lnTo>
                              <a:lnTo>
                                <a:pt x="2" y="15"/>
                              </a:lnTo>
                              <a:lnTo>
                                <a:pt x="1" y="19"/>
                              </a:lnTo>
                              <a:lnTo>
                                <a:pt x="0" y="24"/>
                              </a:lnTo>
                              <a:lnTo>
                                <a:pt x="0" y="558"/>
                              </a:lnTo>
                              <a:lnTo>
                                <a:pt x="196" y="558"/>
                              </a:lnTo>
                              <a:lnTo>
                                <a:pt x="19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339" name="Freeform 189">
                          <a:extLst>
                            <a:ext uri="{FF2B5EF4-FFF2-40B4-BE49-F238E27FC236}">
                              <a16:creationId xmlns:a16="http://schemas.microsoft.com/office/drawing/2014/main" id="{42AB4FC9-1BD9-4B33-84CF-F8F878C97E3C}"/>
                            </a:ext>
                          </a:extLst>
                        </p:cNvPr>
                        <p:cNvSpPr>
                          <a:spLocks/>
                        </p:cNvSpPr>
                        <p:nvPr/>
                      </p:nvSpPr>
                      <p:spPr bwMode="auto">
                        <a:xfrm>
                          <a:off x="1624826" y="-622375"/>
                          <a:ext cx="44450" cy="39688"/>
                        </a:xfrm>
                        <a:custGeom>
                          <a:avLst/>
                          <a:gdLst>
                            <a:gd name="T0" fmla="*/ 196 w 196"/>
                            <a:gd name="T1" fmla="*/ 25 h 175"/>
                            <a:gd name="T2" fmla="*/ 196 w 196"/>
                            <a:gd name="T3" fmla="*/ 25 h 175"/>
                            <a:gd name="T4" fmla="*/ 195 w 196"/>
                            <a:gd name="T5" fmla="*/ 20 h 175"/>
                            <a:gd name="T6" fmla="*/ 194 w 196"/>
                            <a:gd name="T7" fmla="*/ 16 h 175"/>
                            <a:gd name="T8" fmla="*/ 192 w 196"/>
                            <a:gd name="T9" fmla="*/ 12 h 175"/>
                            <a:gd name="T10" fmla="*/ 189 w 196"/>
                            <a:gd name="T11" fmla="*/ 8 h 175"/>
                            <a:gd name="T12" fmla="*/ 185 w 196"/>
                            <a:gd name="T13" fmla="*/ 5 h 175"/>
                            <a:gd name="T14" fmla="*/ 181 w 196"/>
                            <a:gd name="T15" fmla="*/ 2 h 175"/>
                            <a:gd name="T16" fmla="*/ 177 w 196"/>
                            <a:gd name="T17" fmla="*/ 0 h 175"/>
                            <a:gd name="T18" fmla="*/ 172 w 196"/>
                            <a:gd name="T19" fmla="*/ 0 h 175"/>
                            <a:gd name="T20" fmla="*/ 25 w 196"/>
                            <a:gd name="T21" fmla="*/ 0 h 175"/>
                            <a:gd name="T22" fmla="*/ 25 w 196"/>
                            <a:gd name="T23" fmla="*/ 0 h 175"/>
                            <a:gd name="T24" fmla="*/ 19 w 196"/>
                            <a:gd name="T25" fmla="*/ 0 h 175"/>
                            <a:gd name="T26" fmla="*/ 15 w 196"/>
                            <a:gd name="T27" fmla="*/ 2 h 175"/>
                            <a:gd name="T28" fmla="*/ 10 w 196"/>
                            <a:gd name="T29" fmla="*/ 5 h 175"/>
                            <a:gd name="T30" fmla="*/ 7 w 196"/>
                            <a:gd name="T31" fmla="*/ 8 h 175"/>
                            <a:gd name="T32" fmla="*/ 4 w 196"/>
                            <a:gd name="T33" fmla="*/ 12 h 175"/>
                            <a:gd name="T34" fmla="*/ 2 w 196"/>
                            <a:gd name="T35" fmla="*/ 16 h 175"/>
                            <a:gd name="T36" fmla="*/ 0 w 196"/>
                            <a:gd name="T37" fmla="*/ 20 h 175"/>
                            <a:gd name="T38" fmla="*/ 0 w 196"/>
                            <a:gd name="T39" fmla="*/ 25 h 175"/>
                            <a:gd name="T40" fmla="*/ 0 w 196"/>
                            <a:gd name="T41" fmla="*/ 175 h 175"/>
                            <a:gd name="T42" fmla="*/ 196 w 196"/>
                            <a:gd name="T43" fmla="*/ 175 h 175"/>
                            <a:gd name="T44" fmla="*/ 196 w 196"/>
                            <a:gd name="T45" fmla="*/ 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175">
                              <a:moveTo>
                                <a:pt x="196" y="25"/>
                              </a:moveTo>
                              <a:lnTo>
                                <a:pt x="196" y="25"/>
                              </a:lnTo>
                              <a:lnTo>
                                <a:pt x="195" y="20"/>
                              </a:lnTo>
                              <a:lnTo>
                                <a:pt x="194" y="16"/>
                              </a:lnTo>
                              <a:lnTo>
                                <a:pt x="192" y="12"/>
                              </a:lnTo>
                              <a:lnTo>
                                <a:pt x="189" y="8"/>
                              </a:lnTo>
                              <a:lnTo>
                                <a:pt x="185" y="5"/>
                              </a:lnTo>
                              <a:lnTo>
                                <a:pt x="181" y="2"/>
                              </a:lnTo>
                              <a:lnTo>
                                <a:pt x="177" y="0"/>
                              </a:lnTo>
                              <a:lnTo>
                                <a:pt x="172" y="0"/>
                              </a:lnTo>
                              <a:lnTo>
                                <a:pt x="25" y="0"/>
                              </a:lnTo>
                              <a:lnTo>
                                <a:pt x="25" y="0"/>
                              </a:lnTo>
                              <a:lnTo>
                                <a:pt x="19" y="0"/>
                              </a:lnTo>
                              <a:lnTo>
                                <a:pt x="15" y="2"/>
                              </a:lnTo>
                              <a:lnTo>
                                <a:pt x="10" y="5"/>
                              </a:lnTo>
                              <a:lnTo>
                                <a:pt x="7" y="8"/>
                              </a:lnTo>
                              <a:lnTo>
                                <a:pt x="4" y="12"/>
                              </a:lnTo>
                              <a:lnTo>
                                <a:pt x="2" y="16"/>
                              </a:lnTo>
                              <a:lnTo>
                                <a:pt x="0" y="20"/>
                              </a:lnTo>
                              <a:lnTo>
                                <a:pt x="0" y="25"/>
                              </a:lnTo>
                              <a:lnTo>
                                <a:pt x="0" y="175"/>
                              </a:lnTo>
                              <a:lnTo>
                                <a:pt x="196" y="175"/>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sp>
                      <p:nvSpPr>
                        <p:cNvPr id="340" name="Freeform 190">
                          <a:extLst>
                            <a:ext uri="{FF2B5EF4-FFF2-40B4-BE49-F238E27FC236}">
                              <a16:creationId xmlns:a16="http://schemas.microsoft.com/office/drawing/2014/main" id="{4CEBFB2A-CAA2-4DA2-90C1-BCF335DE5DAC}"/>
                            </a:ext>
                          </a:extLst>
                        </p:cNvPr>
                        <p:cNvSpPr>
                          <a:spLocks/>
                        </p:cNvSpPr>
                        <p:nvPr/>
                      </p:nvSpPr>
                      <p:spPr bwMode="auto">
                        <a:xfrm>
                          <a:off x="1620064" y="-568400"/>
                          <a:ext cx="236538" cy="17463"/>
                        </a:xfrm>
                        <a:custGeom>
                          <a:avLst/>
                          <a:gdLst>
                            <a:gd name="T0" fmla="*/ 1031 w 1044"/>
                            <a:gd name="T1" fmla="*/ 0 h 79"/>
                            <a:gd name="T2" fmla="*/ 13 w 1044"/>
                            <a:gd name="T3" fmla="*/ 0 h 79"/>
                            <a:gd name="T4" fmla="*/ 13 w 1044"/>
                            <a:gd name="T5" fmla="*/ 0 h 79"/>
                            <a:gd name="T6" fmla="*/ 8 w 1044"/>
                            <a:gd name="T7" fmla="*/ 1 h 79"/>
                            <a:gd name="T8" fmla="*/ 4 w 1044"/>
                            <a:gd name="T9" fmla="*/ 3 h 79"/>
                            <a:gd name="T10" fmla="*/ 1 w 1044"/>
                            <a:gd name="T11" fmla="*/ 7 h 79"/>
                            <a:gd name="T12" fmla="*/ 0 w 1044"/>
                            <a:gd name="T13" fmla="*/ 12 h 79"/>
                            <a:gd name="T14" fmla="*/ 0 w 1044"/>
                            <a:gd name="T15" fmla="*/ 66 h 79"/>
                            <a:gd name="T16" fmla="*/ 0 w 1044"/>
                            <a:gd name="T17" fmla="*/ 66 h 79"/>
                            <a:gd name="T18" fmla="*/ 1 w 1044"/>
                            <a:gd name="T19" fmla="*/ 71 h 79"/>
                            <a:gd name="T20" fmla="*/ 4 w 1044"/>
                            <a:gd name="T21" fmla="*/ 75 h 79"/>
                            <a:gd name="T22" fmla="*/ 8 w 1044"/>
                            <a:gd name="T23" fmla="*/ 78 h 79"/>
                            <a:gd name="T24" fmla="*/ 13 w 1044"/>
                            <a:gd name="T25" fmla="*/ 79 h 79"/>
                            <a:gd name="T26" fmla="*/ 1031 w 1044"/>
                            <a:gd name="T27" fmla="*/ 79 h 79"/>
                            <a:gd name="T28" fmla="*/ 1031 w 1044"/>
                            <a:gd name="T29" fmla="*/ 79 h 79"/>
                            <a:gd name="T30" fmla="*/ 1036 w 1044"/>
                            <a:gd name="T31" fmla="*/ 78 h 79"/>
                            <a:gd name="T32" fmla="*/ 1040 w 1044"/>
                            <a:gd name="T33" fmla="*/ 75 h 79"/>
                            <a:gd name="T34" fmla="*/ 1043 w 1044"/>
                            <a:gd name="T35" fmla="*/ 71 h 79"/>
                            <a:gd name="T36" fmla="*/ 1044 w 1044"/>
                            <a:gd name="T37" fmla="*/ 66 h 79"/>
                            <a:gd name="T38" fmla="*/ 1044 w 1044"/>
                            <a:gd name="T39" fmla="*/ 12 h 79"/>
                            <a:gd name="T40" fmla="*/ 1044 w 1044"/>
                            <a:gd name="T41" fmla="*/ 12 h 79"/>
                            <a:gd name="T42" fmla="*/ 1043 w 1044"/>
                            <a:gd name="T43" fmla="*/ 7 h 79"/>
                            <a:gd name="T44" fmla="*/ 1040 w 1044"/>
                            <a:gd name="T45" fmla="*/ 3 h 79"/>
                            <a:gd name="T46" fmla="*/ 1036 w 1044"/>
                            <a:gd name="T47" fmla="*/ 1 h 79"/>
                            <a:gd name="T48" fmla="*/ 1031 w 1044"/>
                            <a:gd name="T49" fmla="*/ 0 h 79"/>
                            <a:gd name="T50" fmla="*/ 1031 w 1044"/>
                            <a:gd name="T5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4" h="79">
                              <a:moveTo>
                                <a:pt x="1031" y="0"/>
                              </a:moveTo>
                              <a:lnTo>
                                <a:pt x="13" y="0"/>
                              </a:lnTo>
                              <a:lnTo>
                                <a:pt x="13" y="0"/>
                              </a:lnTo>
                              <a:lnTo>
                                <a:pt x="8" y="1"/>
                              </a:lnTo>
                              <a:lnTo>
                                <a:pt x="4" y="3"/>
                              </a:lnTo>
                              <a:lnTo>
                                <a:pt x="1" y="7"/>
                              </a:lnTo>
                              <a:lnTo>
                                <a:pt x="0" y="12"/>
                              </a:lnTo>
                              <a:lnTo>
                                <a:pt x="0" y="66"/>
                              </a:lnTo>
                              <a:lnTo>
                                <a:pt x="0" y="66"/>
                              </a:lnTo>
                              <a:lnTo>
                                <a:pt x="1" y="71"/>
                              </a:lnTo>
                              <a:lnTo>
                                <a:pt x="4" y="75"/>
                              </a:lnTo>
                              <a:lnTo>
                                <a:pt x="8" y="78"/>
                              </a:lnTo>
                              <a:lnTo>
                                <a:pt x="13" y="79"/>
                              </a:lnTo>
                              <a:lnTo>
                                <a:pt x="1031" y="79"/>
                              </a:lnTo>
                              <a:lnTo>
                                <a:pt x="1031" y="79"/>
                              </a:lnTo>
                              <a:lnTo>
                                <a:pt x="1036" y="78"/>
                              </a:lnTo>
                              <a:lnTo>
                                <a:pt x="1040" y="75"/>
                              </a:lnTo>
                              <a:lnTo>
                                <a:pt x="1043" y="71"/>
                              </a:lnTo>
                              <a:lnTo>
                                <a:pt x="1044" y="66"/>
                              </a:lnTo>
                              <a:lnTo>
                                <a:pt x="1044" y="12"/>
                              </a:lnTo>
                              <a:lnTo>
                                <a:pt x="1044" y="12"/>
                              </a:lnTo>
                              <a:lnTo>
                                <a:pt x="1043" y="7"/>
                              </a:lnTo>
                              <a:lnTo>
                                <a:pt x="1040" y="3"/>
                              </a:lnTo>
                              <a:lnTo>
                                <a:pt x="1036" y="1"/>
                              </a:lnTo>
                              <a:lnTo>
                                <a:pt x="1031" y="0"/>
                              </a:lnTo>
                              <a:lnTo>
                                <a:pt x="10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grpSp>
                  <p:sp>
                    <p:nvSpPr>
                      <p:cNvPr id="335" name="Rounded Rectangle 455">
                        <a:extLst>
                          <a:ext uri="{FF2B5EF4-FFF2-40B4-BE49-F238E27FC236}">
                            <a16:creationId xmlns:a16="http://schemas.microsoft.com/office/drawing/2014/main" id="{3F144A10-164B-413E-9177-9D7C3B5118FC}"/>
                          </a:ext>
                        </a:extLst>
                      </p:cNvPr>
                      <p:cNvSpPr/>
                      <p:nvPr/>
                    </p:nvSpPr>
                    <p:spPr>
                      <a:xfrm>
                        <a:off x="5072499" y="-1601580"/>
                        <a:ext cx="36576" cy="783431"/>
                      </a:xfrm>
                      <a:prstGeom prst="roundRect">
                        <a:avLst>
                          <a:gd name="adj" fmla="val 50000"/>
                        </a:avLst>
                      </a:prstGeom>
                      <a:grp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cxnSp>
                  <p:nvCxnSpPr>
                    <p:cNvPr id="326" name="Straight Connector 325">
                      <a:extLst>
                        <a:ext uri="{FF2B5EF4-FFF2-40B4-BE49-F238E27FC236}">
                          <a16:creationId xmlns:a16="http://schemas.microsoft.com/office/drawing/2014/main" id="{7CB9A2FE-4E88-480B-985F-D9FE3424FD43}"/>
                        </a:ext>
                      </a:extLst>
                    </p:cNvPr>
                    <p:cNvCxnSpPr/>
                    <p:nvPr/>
                  </p:nvCxnSpPr>
                  <p:spPr>
                    <a:xfrm>
                      <a:off x="6656140" y="1603151"/>
                      <a:ext cx="99409" cy="0"/>
                    </a:xfrm>
                    <a:prstGeom prst="line">
                      <a:avLst/>
                    </a:prstGeom>
                    <a:noFill/>
                    <a:ln w="9525" cap="flat" cmpd="sng" algn="ctr">
                      <a:solidFill>
                        <a:srgbClr val="FFFFFF">
                          <a:lumMod val="65000"/>
                        </a:srgbClr>
                      </a:solidFill>
                      <a:prstDash val="solid"/>
                    </a:ln>
                    <a:effectLst/>
                  </p:spPr>
                </p:cxnSp>
                <p:cxnSp>
                  <p:nvCxnSpPr>
                    <p:cNvPr id="327" name="Straight Connector 326">
                      <a:extLst>
                        <a:ext uri="{FF2B5EF4-FFF2-40B4-BE49-F238E27FC236}">
                          <a16:creationId xmlns:a16="http://schemas.microsoft.com/office/drawing/2014/main" id="{0A853773-2C69-443D-A2BD-E0045FCB5C36}"/>
                        </a:ext>
                      </a:extLst>
                    </p:cNvPr>
                    <p:cNvCxnSpPr/>
                    <p:nvPr/>
                  </p:nvCxnSpPr>
                  <p:spPr>
                    <a:xfrm>
                      <a:off x="6656140" y="1629592"/>
                      <a:ext cx="87714" cy="0"/>
                    </a:xfrm>
                    <a:prstGeom prst="line">
                      <a:avLst/>
                    </a:prstGeom>
                    <a:noFill/>
                    <a:ln w="9525" cap="flat" cmpd="sng" algn="ctr">
                      <a:solidFill>
                        <a:srgbClr val="FFFFFF">
                          <a:lumMod val="65000"/>
                        </a:srgbClr>
                      </a:solidFill>
                      <a:prstDash val="solid"/>
                    </a:ln>
                    <a:effectLst/>
                  </p:spPr>
                </p:cxnSp>
                <p:cxnSp>
                  <p:nvCxnSpPr>
                    <p:cNvPr id="328" name="Straight Connector 327">
                      <a:extLst>
                        <a:ext uri="{FF2B5EF4-FFF2-40B4-BE49-F238E27FC236}">
                          <a16:creationId xmlns:a16="http://schemas.microsoft.com/office/drawing/2014/main" id="{F0946CAC-D063-4D9C-8A7C-F6C1ED543EDF}"/>
                        </a:ext>
                      </a:extLst>
                    </p:cNvPr>
                    <p:cNvCxnSpPr/>
                    <p:nvPr/>
                  </p:nvCxnSpPr>
                  <p:spPr>
                    <a:xfrm>
                      <a:off x="6656140" y="1656034"/>
                      <a:ext cx="99409" cy="0"/>
                    </a:xfrm>
                    <a:prstGeom prst="line">
                      <a:avLst/>
                    </a:prstGeom>
                    <a:noFill/>
                    <a:ln w="9525" cap="flat" cmpd="sng" algn="ctr">
                      <a:solidFill>
                        <a:srgbClr val="FFFFFF">
                          <a:lumMod val="65000"/>
                        </a:srgbClr>
                      </a:solidFill>
                      <a:prstDash val="solid"/>
                    </a:ln>
                    <a:effectLst/>
                  </p:spPr>
                </p:cxnSp>
                <p:cxnSp>
                  <p:nvCxnSpPr>
                    <p:cNvPr id="329" name="Straight Connector 328">
                      <a:extLst>
                        <a:ext uri="{FF2B5EF4-FFF2-40B4-BE49-F238E27FC236}">
                          <a16:creationId xmlns:a16="http://schemas.microsoft.com/office/drawing/2014/main" id="{F2A5D94C-7365-4396-BFF2-8FA0EBCAE52B}"/>
                        </a:ext>
                      </a:extLst>
                    </p:cNvPr>
                    <p:cNvCxnSpPr/>
                    <p:nvPr/>
                  </p:nvCxnSpPr>
                  <p:spPr>
                    <a:xfrm>
                      <a:off x="6656140" y="1682475"/>
                      <a:ext cx="94583" cy="0"/>
                    </a:xfrm>
                    <a:prstGeom prst="line">
                      <a:avLst/>
                    </a:prstGeom>
                    <a:noFill/>
                    <a:ln w="9525" cap="flat" cmpd="sng" algn="ctr">
                      <a:solidFill>
                        <a:srgbClr val="FFFFFF">
                          <a:lumMod val="65000"/>
                        </a:srgbClr>
                      </a:solidFill>
                      <a:prstDash val="solid"/>
                    </a:ln>
                    <a:effectLst/>
                  </p:spPr>
                </p:cxnSp>
                <p:cxnSp>
                  <p:nvCxnSpPr>
                    <p:cNvPr id="330" name="Straight Connector 329">
                      <a:extLst>
                        <a:ext uri="{FF2B5EF4-FFF2-40B4-BE49-F238E27FC236}">
                          <a16:creationId xmlns:a16="http://schemas.microsoft.com/office/drawing/2014/main" id="{B0C9570E-E9CB-471B-BEB9-F53F515EAD81}"/>
                        </a:ext>
                      </a:extLst>
                    </p:cNvPr>
                    <p:cNvCxnSpPr/>
                    <p:nvPr/>
                  </p:nvCxnSpPr>
                  <p:spPr>
                    <a:xfrm>
                      <a:off x="6656140" y="1708917"/>
                      <a:ext cx="94583" cy="0"/>
                    </a:xfrm>
                    <a:prstGeom prst="line">
                      <a:avLst/>
                    </a:prstGeom>
                    <a:noFill/>
                    <a:ln w="9525" cap="flat" cmpd="sng" algn="ctr">
                      <a:solidFill>
                        <a:srgbClr val="FFFFFF">
                          <a:lumMod val="65000"/>
                        </a:srgbClr>
                      </a:solidFill>
                      <a:prstDash val="solid"/>
                    </a:ln>
                    <a:effectLst/>
                  </p:spPr>
                </p:cxnSp>
                <p:cxnSp>
                  <p:nvCxnSpPr>
                    <p:cNvPr id="331" name="Straight Connector 330">
                      <a:extLst>
                        <a:ext uri="{FF2B5EF4-FFF2-40B4-BE49-F238E27FC236}">
                          <a16:creationId xmlns:a16="http://schemas.microsoft.com/office/drawing/2014/main" id="{46913EFD-CD4C-403A-BA8D-87DDDBE10AB3}"/>
                        </a:ext>
                      </a:extLst>
                    </p:cNvPr>
                    <p:cNvCxnSpPr/>
                    <p:nvPr/>
                  </p:nvCxnSpPr>
                  <p:spPr>
                    <a:xfrm>
                      <a:off x="6656140" y="1576710"/>
                      <a:ext cx="77751" cy="0"/>
                    </a:xfrm>
                    <a:prstGeom prst="line">
                      <a:avLst/>
                    </a:prstGeom>
                    <a:noFill/>
                    <a:ln w="9525" cap="flat" cmpd="sng" algn="ctr">
                      <a:solidFill>
                        <a:srgbClr val="FFFFFF">
                          <a:lumMod val="65000"/>
                        </a:srgbClr>
                      </a:solidFill>
                      <a:prstDash val="solid"/>
                    </a:ln>
                    <a:effectLst/>
                  </p:spPr>
                </p:cxnSp>
              </p:grpSp>
            </p:grpSp>
          </p:grpSp>
          <p:grpSp>
            <p:nvGrpSpPr>
              <p:cNvPr id="209" name="Group 208">
                <a:extLst>
                  <a:ext uri="{FF2B5EF4-FFF2-40B4-BE49-F238E27FC236}">
                    <a16:creationId xmlns:a16="http://schemas.microsoft.com/office/drawing/2014/main" id="{78F99CE9-61F2-448D-A102-2AD1AD05E4D3}"/>
                  </a:ext>
                </a:extLst>
              </p:cNvPr>
              <p:cNvGrpSpPr/>
              <p:nvPr/>
            </p:nvGrpSpPr>
            <p:grpSpPr>
              <a:xfrm>
                <a:off x="5887838" y="3678155"/>
                <a:ext cx="375802" cy="677019"/>
                <a:chOff x="3742840" y="3888864"/>
                <a:chExt cx="323389" cy="582596"/>
              </a:xfrm>
            </p:grpSpPr>
            <p:sp>
              <p:nvSpPr>
                <p:cNvPr id="210" name="Oval 209">
                  <a:extLst>
                    <a:ext uri="{FF2B5EF4-FFF2-40B4-BE49-F238E27FC236}">
                      <a16:creationId xmlns:a16="http://schemas.microsoft.com/office/drawing/2014/main" id="{64BE85C6-6C50-4C71-A193-A5E4AEBDC7B9}"/>
                    </a:ext>
                  </a:extLst>
                </p:cNvPr>
                <p:cNvSpPr/>
                <p:nvPr/>
              </p:nvSpPr>
              <p:spPr bwMode="auto">
                <a:xfrm>
                  <a:off x="3845654" y="3888864"/>
                  <a:ext cx="125052" cy="137638"/>
                </a:xfrm>
                <a:prstGeom prst="ellipse">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iscoSansTT ExtraLight"/>
                    <a:ea typeface="Segoe UI" pitchFamily="34" charset="0"/>
                    <a:cs typeface="Segoe UI" pitchFamily="34" charset="0"/>
                  </a:endParaRPr>
                </a:p>
              </p:txBody>
            </p:sp>
            <p:sp>
              <p:nvSpPr>
                <p:cNvPr id="211" name="Rounded Rectangle 937">
                  <a:extLst>
                    <a:ext uri="{FF2B5EF4-FFF2-40B4-BE49-F238E27FC236}">
                      <a16:creationId xmlns:a16="http://schemas.microsoft.com/office/drawing/2014/main" id="{8E907674-449B-4DC5-950C-D8198821D83B}"/>
                    </a:ext>
                  </a:extLst>
                </p:cNvPr>
                <p:cNvSpPr/>
                <p:nvPr/>
              </p:nvSpPr>
              <p:spPr bwMode="auto">
                <a:xfrm>
                  <a:off x="3776667" y="4041211"/>
                  <a:ext cx="254522" cy="116089"/>
                </a:xfrm>
                <a:custGeom>
                  <a:avLst/>
                  <a:gdLst>
                    <a:gd name="connsiteX0" fmla="*/ 0 w 2324706"/>
                    <a:gd name="connsiteY0" fmla="*/ 160805 h 964811"/>
                    <a:gd name="connsiteX1" fmla="*/ 160805 w 2324706"/>
                    <a:gd name="connsiteY1" fmla="*/ 0 h 964811"/>
                    <a:gd name="connsiteX2" fmla="*/ 2163901 w 2324706"/>
                    <a:gd name="connsiteY2" fmla="*/ 0 h 964811"/>
                    <a:gd name="connsiteX3" fmla="*/ 2324706 w 2324706"/>
                    <a:gd name="connsiteY3" fmla="*/ 16080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160805 w 2324706"/>
                    <a:gd name="connsiteY1" fmla="*/ 0 h 964811"/>
                    <a:gd name="connsiteX2" fmla="*/ 2102941 w 2324706"/>
                    <a:gd name="connsiteY2" fmla="*/ 0 h 964811"/>
                    <a:gd name="connsiteX3" fmla="*/ 2324706 w 2324706"/>
                    <a:gd name="connsiteY3" fmla="*/ 16080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160805 w 2324706"/>
                    <a:gd name="connsiteY1" fmla="*/ 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252245 w 2324706"/>
                    <a:gd name="connsiteY1" fmla="*/ 762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91440 w 2324706"/>
                    <a:gd name="connsiteY0" fmla="*/ 168425 h 964811"/>
                    <a:gd name="connsiteX1" fmla="*/ 252245 w 2324706"/>
                    <a:gd name="connsiteY1" fmla="*/ 762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91440 w 2324706"/>
                    <a:gd name="connsiteY8" fmla="*/ 168425 h 964811"/>
                    <a:gd name="connsiteX0" fmla="*/ 129540 w 2362806"/>
                    <a:gd name="connsiteY0" fmla="*/ 168425 h 964811"/>
                    <a:gd name="connsiteX1" fmla="*/ 290345 w 2362806"/>
                    <a:gd name="connsiteY1" fmla="*/ 7620 h 964811"/>
                    <a:gd name="connsiteX2" fmla="*/ 2141041 w 2362806"/>
                    <a:gd name="connsiteY2" fmla="*/ 0 h 964811"/>
                    <a:gd name="connsiteX3" fmla="*/ 2271366 w 2362806"/>
                    <a:gd name="connsiteY3" fmla="*/ 153185 h 964811"/>
                    <a:gd name="connsiteX4" fmla="*/ 2362806 w 2362806"/>
                    <a:gd name="connsiteY4" fmla="*/ 804006 h 964811"/>
                    <a:gd name="connsiteX5" fmla="*/ 2202001 w 2362806"/>
                    <a:gd name="connsiteY5" fmla="*/ 964811 h 964811"/>
                    <a:gd name="connsiteX6" fmla="*/ 198905 w 2362806"/>
                    <a:gd name="connsiteY6" fmla="*/ 964811 h 964811"/>
                    <a:gd name="connsiteX7" fmla="*/ 0 w 2362806"/>
                    <a:gd name="connsiteY7" fmla="*/ 796386 h 964811"/>
                    <a:gd name="connsiteX8" fmla="*/ 129540 w 2362806"/>
                    <a:gd name="connsiteY8" fmla="*/ 168425 h 964811"/>
                    <a:gd name="connsiteX0" fmla="*/ 129540 w 2408526"/>
                    <a:gd name="connsiteY0" fmla="*/ 168425 h 964811"/>
                    <a:gd name="connsiteX1" fmla="*/ 290345 w 2408526"/>
                    <a:gd name="connsiteY1" fmla="*/ 7620 h 964811"/>
                    <a:gd name="connsiteX2" fmla="*/ 2141041 w 2408526"/>
                    <a:gd name="connsiteY2" fmla="*/ 0 h 964811"/>
                    <a:gd name="connsiteX3" fmla="*/ 2271366 w 2408526"/>
                    <a:gd name="connsiteY3" fmla="*/ 153185 h 964811"/>
                    <a:gd name="connsiteX4" fmla="*/ 2408526 w 2408526"/>
                    <a:gd name="connsiteY4" fmla="*/ 796386 h 964811"/>
                    <a:gd name="connsiteX5" fmla="*/ 2202001 w 2408526"/>
                    <a:gd name="connsiteY5" fmla="*/ 964811 h 964811"/>
                    <a:gd name="connsiteX6" fmla="*/ 198905 w 2408526"/>
                    <a:gd name="connsiteY6" fmla="*/ 964811 h 964811"/>
                    <a:gd name="connsiteX7" fmla="*/ 0 w 2408526"/>
                    <a:gd name="connsiteY7" fmla="*/ 796386 h 964811"/>
                    <a:gd name="connsiteX8" fmla="*/ 129540 w 2408526"/>
                    <a:gd name="connsiteY8" fmla="*/ 168425 h 964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8526" h="964811">
                      <a:moveTo>
                        <a:pt x="129540" y="168425"/>
                      </a:moveTo>
                      <a:cubicBezTo>
                        <a:pt x="129540" y="79615"/>
                        <a:pt x="201535" y="7620"/>
                        <a:pt x="290345" y="7620"/>
                      </a:cubicBezTo>
                      <a:lnTo>
                        <a:pt x="2141041" y="0"/>
                      </a:lnTo>
                      <a:cubicBezTo>
                        <a:pt x="2229851" y="0"/>
                        <a:pt x="2271366" y="64375"/>
                        <a:pt x="2271366" y="153185"/>
                      </a:cubicBezTo>
                      <a:lnTo>
                        <a:pt x="2408526" y="796386"/>
                      </a:lnTo>
                      <a:cubicBezTo>
                        <a:pt x="2408526" y="885196"/>
                        <a:pt x="2290811" y="964811"/>
                        <a:pt x="2202001" y="964811"/>
                      </a:cubicBezTo>
                      <a:lnTo>
                        <a:pt x="198905" y="964811"/>
                      </a:lnTo>
                      <a:cubicBezTo>
                        <a:pt x="110095" y="964811"/>
                        <a:pt x="0" y="885196"/>
                        <a:pt x="0" y="796386"/>
                      </a:cubicBezTo>
                      <a:lnTo>
                        <a:pt x="129540" y="168425"/>
                      </a:lnTo>
                      <a:close/>
                    </a:path>
                  </a:pathLst>
                </a:custGeom>
                <a:solidFill>
                  <a:srgbClr val="FFFFFF">
                    <a:lumMod val="85000"/>
                  </a:srgbClr>
                </a:solidFill>
                <a:ln w="6350">
                  <a:solidFill>
                    <a:srgbClr val="FFFFFF">
                      <a:lumMod val="65000"/>
                    </a:srgbClr>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505050"/>
                    </a:solidFill>
                    <a:effectLst/>
                    <a:uLnTx/>
                    <a:uFillTx/>
                    <a:latin typeface="CiscoSansTT ExtraLight"/>
                    <a:ea typeface="ＭＳ Ｐゴシック" charset="0"/>
                    <a:cs typeface="+mn-cs"/>
                  </a:endParaRPr>
                </a:p>
              </p:txBody>
            </p:sp>
            <p:sp>
              <p:nvSpPr>
                <p:cNvPr id="212" name="Freeform 929">
                  <a:extLst>
                    <a:ext uri="{FF2B5EF4-FFF2-40B4-BE49-F238E27FC236}">
                      <a16:creationId xmlns:a16="http://schemas.microsoft.com/office/drawing/2014/main" id="{4D6CA20A-6C4A-4C44-8F62-B330D3D74540}"/>
                    </a:ext>
                  </a:extLst>
                </p:cNvPr>
                <p:cNvSpPr>
                  <a:spLocks/>
                </p:cNvSpPr>
                <p:nvPr/>
              </p:nvSpPr>
              <p:spPr bwMode="auto">
                <a:xfrm>
                  <a:off x="3794414" y="4028495"/>
                  <a:ext cx="217281" cy="218760"/>
                </a:xfrm>
                <a:custGeom>
                  <a:avLst/>
                  <a:gdLst>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29379 w 553405"/>
                    <a:gd name="connsiteY52" fmla="*/ 17047 h 551547"/>
                    <a:gd name="connsiteX53" fmla="*/ 142943 w 553405"/>
                    <a:gd name="connsiteY53" fmla="*/ 13520 h 551547"/>
                    <a:gd name="connsiteX54" fmla="*/ 157028 w 553405"/>
                    <a:gd name="connsiteY54" fmla="*/ 10581 h 551547"/>
                    <a:gd name="connsiteX55" fmla="*/ 171114 w 553405"/>
                    <a:gd name="connsiteY55" fmla="*/ 8230 h 551547"/>
                    <a:gd name="connsiteX56" fmla="*/ 189894 w 553405"/>
                    <a:gd name="connsiteY56" fmla="*/ 5291 h 551547"/>
                    <a:gd name="connsiteX57" fmla="*/ 209197 w 553405"/>
                    <a:gd name="connsiteY57" fmla="*/ 3527 h 551547"/>
                    <a:gd name="connsiteX58" fmla="*/ 227977 w 553405"/>
                    <a:gd name="connsiteY58" fmla="*/ 1764 h 551547"/>
                    <a:gd name="connsiteX59" fmla="*/ 246758 w 553405"/>
                    <a:gd name="connsiteY59" fmla="*/ 588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42943 w 553405"/>
                    <a:gd name="connsiteY52" fmla="*/ 13520 h 551547"/>
                    <a:gd name="connsiteX53" fmla="*/ 157028 w 553405"/>
                    <a:gd name="connsiteY53" fmla="*/ 10581 h 551547"/>
                    <a:gd name="connsiteX54" fmla="*/ 171114 w 553405"/>
                    <a:gd name="connsiteY54" fmla="*/ 8230 h 551547"/>
                    <a:gd name="connsiteX55" fmla="*/ 189894 w 553405"/>
                    <a:gd name="connsiteY55" fmla="*/ 5291 h 551547"/>
                    <a:gd name="connsiteX56" fmla="*/ 209197 w 553405"/>
                    <a:gd name="connsiteY56" fmla="*/ 3527 h 551547"/>
                    <a:gd name="connsiteX57" fmla="*/ 227977 w 553405"/>
                    <a:gd name="connsiteY57" fmla="*/ 1764 h 551547"/>
                    <a:gd name="connsiteX58" fmla="*/ 246758 w 553405"/>
                    <a:gd name="connsiteY58" fmla="*/ 588 h 551547"/>
                    <a:gd name="connsiteX59" fmla="*/ 265539 w 553405"/>
                    <a:gd name="connsiteY59"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57028 w 553405"/>
                    <a:gd name="connsiteY52" fmla="*/ 10581 h 551547"/>
                    <a:gd name="connsiteX53" fmla="*/ 171114 w 553405"/>
                    <a:gd name="connsiteY53" fmla="*/ 8230 h 551547"/>
                    <a:gd name="connsiteX54" fmla="*/ 189894 w 553405"/>
                    <a:gd name="connsiteY54" fmla="*/ 5291 h 551547"/>
                    <a:gd name="connsiteX55" fmla="*/ 209197 w 553405"/>
                    <a:gd name="connsiteY55" fmla="*/ 3527 h 551547"/>
                    <a:gd name="connsiteX56" fmla="*/ 227977 w 553405"/>
                    <a:gd name="connsiteY56" fmla="*/ 1764 h 551547"/>
                    <a:gd name="connsiteX57" fmla="*/ 246758 w 553405"/>
                    <a:gd name="connsiteY57" fmla="*/ 588 h 551547"/>
                    <a:gd name="connsiteX58" fmla="*/ 265539 w 553405"/>
                    <a:gd name="connsiteY58"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71114 w 553405"/>
                    <a:gd name="connsiteY52" fmla="*/ 8230 h 551547"/>
                    <a:gd name="connsiteX53" fmla="*/ 189894 w 553405"/>
                    <a:gd name="connsiteY53" fmla="*/ 5291 h 551547"/>
                    <a:gd name="connsiteX54" fmla="*/ 209197 w 553405"/>
                    <a:gd name="connsiteY54" fmla="*/ 3527 h 551547"/>
                    <a:gd name="connsiteX55" fmla="*/ 227977 w 553405"/>
                    <a:gd name="connsiteY55" fmla="*/ 1764 h 551547"/>
                    <a:gd name="connsiteX56" fmla="*/ 246758 w 553405"/>
                    <a:gd name="connsiteY56" fmla="*/ 588 h 551547"/>
                    <a:gd name="connsiteX57" fmla="*/ 265539 w 553405"/>
                    <a:gd name="connsiteY57"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89894 w 553405"/>
                    <a:gd name="connsiteY52" fmla="*/ 5291 h 551547"/>
                    <a:gd name="connsiteX53" fmla="*/ 209197 w 553405"/>
                    <a:gd name="connsiteY53" fmla="*/ 3527 h 551547"/>
                    <a:gd name="connsiteX54" fmla="*/ 227977 w 553405"/>
                    <a:gd name="connsiteY54" fmla="*/ 1764 h 551547"/>
                    <a:gd name="connsiteX55" fmla="*/ 246758 w 553405"/>
                    <a:gd name="connsiteY55" fmla="*/ 588 h 551547"/>
                    <a:gd name="connsiteX56" fmla="*/ 265539 w 553405"/>
                    <a:gd name="connsiteY56"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09197 w 553405"/>
                    <a:gd name="connsiteY52" fmla="*/ 3527 h 551547"/>
                    <a:gd name="connsiteX53" fmla="*/ 227977 w 553405"/>
                    <a:gd name="connsiteY53" fmla="*/ 1764 h 551547"/>
                    <a:gd name="connsiteX54" fmla="*/ 246758 w 553405"/>
                    <a:gd name="connsiteY54" fmla="*/ 588 h 551547"/>
                    <a:gd name="connsiteX55" fmla="*/ 265539 w 553405"/>
                    <a:gd name="connsiteY55"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27977 w 553405"/>
                    <a:gd name="connsiteY52" fmla="*/ 1764 h 551547"/>
                    <a:gd name="connsiteX53" fmla="*/ 246758 w 553405"/>
                    <a:gd name="connsiteY53" fmla="*/ 588 h 551547"/>
                    <a:gd name="connsiteX54" fmla="*/ 265539 w 553405"/>
                    <a:gd name="connsiteY54"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46758 w 553405"/>
                    <a:gd name="connsiteY52" fmla="*/ 588 h 551547"/>
                    <a:gd name="connsiteX53" fmla="*/ 265539 w 553405"/>
                    <a:gd name="connsiteY53"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65539 w 553405"/>
                    <a:gd name="connsiteY52" fmla="*/ 0 h 551547"/>
                    <a:gd name="connsiteX0" fmla="*/ 115293 w 553405"/>
                    <a:gd name="connsiteY0" fmla="*/ 20574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0" fmla="*/ 115293 w 553405"/>
                    <a:gd name="connsiteY0" fmla="*/ 19986 h 550959"/>
                    <a:gd name="connsiteX1" fmla="*/ 303622 w 553405"/>
                    <a:gd name="connsiteY1" fmla="*/ 0 h 550959"/>
                    <a:gd name="connsiteX2" fmla="*/ 322925 w 553405"/>
                    <a:gd name="connsiteY2" fmla="*/ 1176 h 550959"/>
                    <a:gd name="connsiteX3" fmla="*/ 344835 w 553405"/>
                    <a:gd name="connsiteY3" fmla="*/ 2939 h 550959"/>
                    <a:gd name="connsiteX4" fmla="*/ 366746 w 553405"/>
                    <a:gd name="connsiteY4" fmla="*/ 5290 h 550959"/>
                    <a:gd name="connsiteX5" fmla="*/ 388657 w 553405"/>
                    <a:gd name="connsiteY5" fmla="*/ 8230 h 550959"/>
                    <a:gd name="connsiteX6" fmla="*/ 411090 w 553405"/>
                    <a:gd name="connsiteY6" fmla="*/ 12932 h 550959"/>
                    <a:gd name="connsiteX7" fmla="*/ 432479 w 553405"/>
                    <a:gd name="connsiteY7" fmla="*/ 18223 h 550959"/>
                    <a:gd name="connsiteX8" fmla="*/ 453868 w 553405"/>
                    <a:gd name="connsiteY8" fmla="*/ 24101 h 550959"/>
                    <a:gd name="connsiteX9" fmla="*/ 474735 w 553405"/>
                    <a:gd name="connsiteY9" fmla="*/ 31743 h 550959"/>
                    <a:gd name="connsiteX10" fmla="*/ 495603 w 553405"/>
                    <a:gd name="connsiteY10" fmla="*/ 40560 h 550959"/>
                    <a:gd name="connsiteX11" fmla="*/ 499776 w 553405"/>
                    <a:gd name="connsiteY11" fmla="*/ 42912 h 550959"/>
                    <a:gd name="connsiteX12" fmla="*/ 502907 w 553405"/>
                    <a:gd name="connsiteY12" fmla="*/ 45851 h 550959"/>
                    <a:gd name="connsiteX13" fmla="*/ 503950 w 553405"/>
                    <a:gd name="connsiteY13" fmla="*/ 47614 h 550959"/>
                    <a:gd name="connsiteX14" fmla="*/ 504993 w 553405"/>
                    <a:gd name="connsiteY14" fmla="*/ 49378 h 550959"/>
                    <a:gd name="connsiteX15" fmla="*/ 505515 w 553405"/>
                    <a:gd name="connsiteY15" fmla="*/ 51729 h 550959"/>
                    <a:gd name="connsiteX16" fmla="*/ 506037 w 553405"/>
                    <a:gd name="connsiteY16" fmla="*/ 55256 h 550959"/>
                    <a:gd name="connsiteX17" fmla="*/ 520122 w 553405"/>
                    <a:gd name="connsiteY17" fmla="*/ 170471 h 550959"/>
                    <a:gd name="connsiteX18" fmla="*/ 526904 w 553405"/>
                    <a:gd name="connsiteY18" fmla="*/ 228079 h 550959"/>
                    <a:gd name="connsiteX19" fmla="*/ 534208 w 553405"/>
                    <a:gd name="connsiteY19" fmla="*/ 286274 h 550959"/>
                    <a:gd name="connsiteX20" fmla="*/ 540990 w 553405"/>
                    <a:gd name="connsiteY20" fmla="*/ 352699 h 550959"/>
                    <a:gd name="connsiteX21" fmla="*/ 544120 w 553405"/>
                    <a:gd name="connsiteY21" fmla="*/ 386793 h 550959"/>
                    <a:gd name="connsiteX22" fmla="*/ 546728 w 553405"/>
                    <a:gd name="connsiteY22" fmla="*/ 419712 h 550959"/>
                    <a:gd name="connsiteX23" fmla="*/ 548815 w 553405"/>
                    <a:gd name="connsiteY23" fmla="*/ 453806 h 550959"/>
                    <a:gd name="connsiteX24" fmla="*/ 550902 w 553405"/>
                    <a:gd name="connsiteY24" fmla="*/ 486725 h 550959"/>
                    <a:gd name="connsiteX25" fmla="*/ 552467 w 553405"/>
                    <a:gd name="connsiteY25" fmla="*/ 520819 h 550959"/>
                    <a:gd name="connsiteX26" fmla="*/ 553405 w 553405"/>
                    <a:gd name="connsiteY26" fmla="*/ 550959 h 550959"/>
                    <a:gd name="connsiteX27" fmla="*/ 0 w 553405"/>
                    <a:gd name="connsiteY27" fmla="*/ 550959 h 550959"/>
                    <a:gd name="connsiteX28" fmla="*/ 0 w 553405"/>
                    <a:gd name="connsiteY28" fmla="*/ 536690 h 550959"/>
                    <a:gd name="connsiteX29" fmla="*/ 1044 w 553405"/>
                    <a:gd name="connsiteY29" fmla="*/ 512589 h 550959"/>
                    <a:gd name="connsiteX30" fmla="*/ 2609 w 553405"/>
                    <a:gd name="connsiteY30" fmla="*/ 479083 h 550959"/>
                    <a:gd name="connsiteX31" fmla="*/ 5217 w 553405"/>
                    <a:gd name="connsiteY31" fmla="*/ 444988 h 550959"/>
                    <a:gd name="connsiteX32" fmla="*/ 10434 w 553405"/>
                    <a:gd name="connsiteY32" fmla="*/ 377976 h 550959"/>
                    <a:gd name="connsiteX33" fmla="*/ 17216 w 553405"/>
                    <a:gd name="connsiteY33" fmla="*/ 305672 h 550959"/>
                    <a:gd name="connsiteX34" fmla="*/ 25041 w 553405"/>
                    <a:gd name="connsiteY34" fmla="*/ 233369 h 550959"/>
                    <a:gd name="connsiteX35" fmla="*/ 34432 w 553405"/>
                    <a:gd name="connsiteY35" fmla="*/ 155188 h 550959"/>
                    <a:gd name="connsiteX36" fmla="*/ 44344 w 553405"/>
                    <a:gd name="connsiteY36" fmla="*/ 75830 h 550959"/>
                    <a:gd name="connsiteX37" fmla="*/ 45909 w 553405"/>
                    <a:gd name="connsiteY37" fmla="*/ 67601 h 550959"/>
                    <a:gd name="connsiteX38" fmla="*/ 46430 w 553405"/>
                    <a:gd name="connsiteY38" fmla="*/ 64074 h 550959"/>
                    <a:gd name="connsiteX39" fmla="*/ 46430 w 553405"/>
                    <a:gd name="connsiteY39" fmla="*/ 59959 h 550959"/>
                    <a:gd name="connsiteX40" fmla="*/ 46952 w 553405"/>
                    <a:gd name="connsiteY40" fmla="*/ 54668 h 550959"/>
                    <a:gd name="connsiteX41" fmla="*/ 47995 w 553405"/>
                    <a:gd name="connsiteY41" fmla="*/ 51141 h 550959"/>
                    <a:gd name="connsiteX42" fmla="*/ 49561 w 553405"/>
                    <a:gd name="connsiteY42" fmla="*/ 48202 h 550959"/>
                    <a:gd name="connsiteX43" fmla="*/ 51126 w 553405"/>
                    <a:gd name="connsiteY43" fmla="*/ 45851 h 550959"/>
                    <a:gd name="connsiteX44" fmla="*/ 53212 w 553405"/>
                    <a:gd name="connsiteY44" fmla="*/ 43499 h 550959"/>
                    <a:gd name="connsiteX45" fmla="*/ 55299 w 553405"/>
                    <a:gd name="connsiteY45" fmla="*/ 41736 h 550959"/>
                    <a:gd name="connsiteX46" fmla="*/ 61038 w 553405"/>
                    <a:gd name="connsiteY46" fmla="*/ 38797 h 550959"/>
                    <a:gd name="connsiteX47" fmla="*/ 74601 w 553405"/>
                    <a:gd name="connsiteY47" fmla="*/ 32919 h 550959"/>
                    <a:gd name="connsiteX48" fmla="*/ 88165 w 553405"/>
                    <a:gd name="connsiteY48" fmla="*/ 28216 h 550959"/>
                    <a:gd name="connsiteX49" fmla="*/ 101208 w 553405"/>
                    <a:gd name="connsiteY49" fmla="*/ 23513 h 550959"/>
                    <a:gd name="connsiteX50" fmla="*/ 115293 w 553405"/>
                    <a:gd name="connsiteY50" fmla="*/ 19986 h 550959"/>
                    <a:gd name="connsiteX0" fmla="*/ 115293 w 553405"/>
                    <a:gd name="connsiteY0" fmla="*/ 18810 h 549783"/>
                    <a:gd name="connsiteX1" fmla="*/ 322925 w 553405"/>
                    <a:gd name="connsiteY1" fmla="*/ 0 h 549783"/>
                    <a:gd name="connsiteX2" fmla="*/ 344835 w 553405"/>
                    <a:gd name="connsiteY2" fmla="*/ 1763 h 549783"/>
                    <a:gd name="connsiteX3" fmla="*/ 366746 w 553405"/>
                    <a:gd name="connsiteY3" fmla="*/ 4114 h 549783"/>
                    <a:gd name="connsiteX4" fmla="*/ 388657 w 553405"/>
                    <a:gd name="connsiteY4" fmla="*/ 7054 h 549783"/>
                    <a:gd name="connsiteX5" fmla="*/ 411090 w 553405"/>
                    <a:gd name="connsiteY5" fmla="*/ 11756 h 549783"/>
                    <a:gd name="connsiteX6" fmla="*/ 432479 w 553405"/>
                    <a:gd name="connsiteY6" fmla="*/ 17047 h 549783"/>
                    <a:gd name="connsiteX7" fmla="*/ 453868 w 553405"/>
                    <a:gd name="connsiteY7" fmla="*/ 22925 h 549783"/>
                    <a:gd name="connsiteX8" fmla="*/ 474735 w 553405"/>
                    <a:gd name="connsiteY8" fmla="*/ 30567 h 549783"/>
                    <a:gd name="connsiteX9" fmla="*/ 495603 w 553405"/>
                    <a:gd name="connsiteY9" fmla="*/ 39384 h 549783"/>
                    <a:gd name="connsiteX10" fmla="*/ 499776 w 553405"/>
                    <a:gd name="connsiteY10" fmla="*/ 41736 h 549783"/>
                    <a:gd name="connsiteX11" fmla="*/ 502907 w 553405"/>
                    <a:gd name="connsiteY11" fmla="*/ 44675 h 549783"/>
                    <a:gd name="connsiteX12" fmla="*/ 503950 w 553405"/>
                    <a:gd name="connsiteY12" fmla="*/ 46438 h 549783"/>
                    <a:gd name="connsiteX13" fmla="*/ 504993 w 553405"/>
                    <a:gd name="connsiteY13" fmla="*/ 48202 h 549783"/>
                    <a:gd name="connsiteX14" fmla="*/ 505515 w 553405"/>
                    <a:gd name="connsiteY14" fmla="*/ 50553 h 549783"/>
                    <a:gd name="connsiteX15" fmla="*/ 506037 w 553405"/>
                    <a:gd name="connsiteY15" fmla="*/ 54080 h 549783"/>
                    <a:gd name="connsiteX16" fmla="*/ 520122 w 553405"/>
                    <a:gd name="connsiteY16" fmla="*/ 169295 h 549783"/>
                    <a:gd name="connsiteX17" fmla="*/ 526904 w 553405"/>
                    <a:gd name="connsiteY17" fmla="*/ 226903 h 549783"/>
                    <a:gd name="connsiteX18" fmla="*/ 534208 w 553405"/>
                    <a:gd name="connsiteY18" fmla="*/ 285098 h 549783"/>
                    <a:gd name="connsiteX19" fmla="*/ 540990 w 553405"/>
                    <a:gd name="connsiteY19" fmla="*/ 351523 h 549783"/>
                    <a:gd name="connsiteX20" fmla="*/ 544120 w 553405"/>
                    <a:gd name="connsiteY20" fmla="*/ 385617 h 549783"/>
                    <a:gd name="connsiteX21" fmla="*/ 546728 w 553405"/>
                    <a:gd name="connsiteY21" fmla="*/ 418536 h 549783"/>
                    <a:gd name="connsiteX22" fmla="*/ 548815 w 553405"/>
                    <a:gd name="connsiteY22" fmla="*/ 452630 h 549783"/>
                    <a:gd name="connsiteX23" fmla="*/ 550902 w 553405"/>
                    <a:gd name="connsiteY23" fmla="*/ 485549 h 549783"/>
                    <a:gd name="connsiteX24" fmla="*/ 552467 w 553405"/>
                    <a:gd name="connsiteY24" fmla="*/ 519643 h 549783"/>
                    <a:gd name="connsiteX25" fmla="*/ 553405 w 553405"/>
                    <a:gd name="connsiteY25" fmla="*/ 549783 h 549783"/>
                    <a:gd name="connsiteX26" fmla="*/ 0 w 553405"/>
                    <a:gd name="connsiteY26" fmla="*/ 549783 h 549783"/>
                    <a:gd name="connsiteX27" fmla="*/ 0 w 553405"/>
                    <a:gd name="connsiteY27" fmla="*/ 535514 h 549783"/>
                    <a:gd name="connsiteX28" fmla="*/ 1044 w 553405"/>
                    <a:gd name="connsiteY28" fmla="*/ 511413 h 549783"/>
                    <a:gd name="connsiteX29" fmla="*/ 2609 w 553405"/>
                    <a:gd name="connsiteY29" fmla="*/ 477907 h 549783"/>
                    <a:gd name="connsiteX30" fmla="*/ 5217 w 553405"/>
                    <a:gd name="connsiteY30" fmla="*/ 443812 h 549783"/>
                    <a:gd name="connsiteX31" fmla="*/ 10434 w 553405"/>
                    <a:gd name="connsiteY31" fmla="*/ 376800 h 549783"/>
                    <a:gd name="connsiteX32" fmla="*/ 17216 w 553405"/>
                    <a:gd name="connsiteY32" fmla="*/ 304496 h 549783"/>
                    <a:gd name="connsiteX33" fmla="*/ 25041 w 553405"/>
                    <a:gd name="connsiteY33" fmla="*/ 232193 h 549783"/>
                    <a:gd name="connsiteX34" fmla="*/ 34432 w 553405"/>
                    <a:gd name="connsiteY34" fmla="*/ 154012 h 549783"/>
                    <a:gd name="connsiteX35" fmla="*/ 44344 w 553405"/>
                    <a:gd name="connsiteY35" fmla="*/ 74654 h 549783"/>
                    <a:gd name="connsiteX36" fmla="*/ 45909 w 553405"/>
                    <a:gd name="connsiteY36" fmla="*/ 66425 h 549783"/>
                    <a:gd name="connsiteX37" fmla="*/ 46430 w 553405"/>
                    <a:gd name="connsiteY37" fmla="*/ 62898 h 549783"/>
                    <a:gd name="connsiteX38" fmla="*/ 46430 w 553405"/>
                    <a:gd name="connsiteY38" fmla="*/ 58783 h 549783"/>
                    <a:gd name="connsiteX39" fmla="*/ 46952 w 553405"/>
                    <a:gd name="connsiteY39" fmla="*/ 53492 h 549783"/>
                    <a:gd name="connsiteX40" fmla="*/ 47995 w 553405"/>
                    <a:gd name="connsiteY40" fmla="*/ 49965 h 549783"/>
                    <a:gd name="connsiteX41" fmla="*/ 49561 w 553405"/>
                    <a:gd name="connsiteY41" fmla="*/ 47026 h 549783"/>
                    <a:gd name="connsiteX42" fmla="*/ 51126 w 553405"/>
                    <a:gd name="connsiteY42" fmla="*/ 44675 h 549783"/>
                    <a:gd name="connsiteX43" fmla="*/ 53212 w 553405"/>
                    <a:gd name="connsiteY43" fmla="*/ 42323 h 549783"/>
                    <a:gd name="connsiteX44" fmla="*/ 55299 w 553405"/>
                    <a:gd name="connsiteY44" fmla="*/ 40560 h 549783"/>
                    <a:gd name="connsiteX45" fmla="*/ 61038 w 553405"/>
                    <a:gd name="connsiteY45" fmla="*/ 37621 h 549783"/>
                    <a:gd name="connsiteX46" fmla="*/ 74601 w 553405"/>
                    <a:gd name="connsiteY46" fmla="*/ 31743 h 549783"/>
                    <a:gd name="connsiteX47" fmla="*/ 88165 w 553405"/>
                    <a:gd name="connsiteY47" fmla="*/ 27040 h 549783"/>
                    <a:gd name="connsiteX48" fmla="*/ 101208 w 553405"/>
                    <a:gd name="connsiteY48" fmla="*/ 22337 h 549783"/>
                    <a:gd name="connsiteX49" fmla="*/ 115293 w 553405"/>
                    <a:gd name="connsiteY49" fmla="*/ 18810 h 549783"/>
                    <a:gd name="connsiteX0" fmla="*/ 115293 w 553405"/>
                    <a:gd name="connsiteY0" fmla="*/ 17047 h 548020"/>
                    <a:gd name="connsiteX1" fmla="*/ 344835 w 553405"/>
                    <a:gd name="connsiteY1" fmla="*/ 0 h 548020"/>
                    <a:gd name="connsiteX2" fmla="*/ 366746 w 553405"/>
                    <a:gd name="connsiteY2" fmla="*/ 2351 h 548020"/>
                    <a:gd name="connsiteX3" fmla="*/ 388657 w 553405"/>
                    <a:gd name="connsiteY3" fmla="*/ 5291 h 548020"/>
                    <a:gd name="connsiteX4" fmla="*/ 411090 w 553405"/>
                    <a:gd name="connsiteY4" fmla="*/ 9993 h 548020"/>
                    <a:gd name="connsiteX5" fmla="*/ 432479 w 553405"/>
                    <a:gd name="connsiteY5" fmla="*/ 15284 h 548020"/>
                    <a:gd name="connsiteX6" fmla="*/ 453868 w 553405"/>
                    <a:gd name="connsiteY6" fmla="*/ 21162 h 548020"/>
                    <a:gd name="connsiteX7" fmla="*/ 474735 w 553405"/>
                    <a:gd name="connsiteY7" fmla="*/ 28804 h 548020"/>
                    <a:gd name="connsiteX8" fmla="*/ 495603 w 553405"/>
                    <a:gd name="connsiteY8" fmla="*/ 37621 h 548020"/>
                    <a:gd name="connsiteX9" fmla="*/ 499776 w 553405"/>
                    <a:gd name="connsiteY9" fmla="*/ 39973 h 548020"/>
                    <a:gd name="connsiteX10" fmla="*/ 502907 w 553405"/>
                    <a:gd name="connsiteY10" fmla="*/ 42912 h 548020"/>
                    <a:gd name="connsiteX11" fmla="*/ 503950 w 553405"/>
                    <a:gd name="connsiteY11" fmla="*/ 44675 h 548020"/>
                    <a:gd name="connsiteX12" fmla="*/ 504993 w 553405"/>
                    <a:gd name="connsiteY12" fmla="*/ 46439 h 548020"/>
                    <a:gd name="connsiteX13" fmla="*/ 505515 w 553405"/>
                    <a:gd name="connsiteY13" fmla="*/ 48790 h 548020"/>
                    <a:gd name="connsiteX14" fmla="*/ 506037 w 553405"/>
                    <a:gd name="connsiteY14" fmla="*/ 52317 h 548020"/>
                    <a:gd name="connsiteX15" fmla="*/ 520122 w 553405"/>
                    <a:gd name="connsiteY15" fmla="*/ 167532 h 548020"/>
                    <a:gd name="connsiteX16" fmla="*/ 526904 w 553405"/>
                    <a:gd name="connsiteY16" fmla="*/ 225140 h 548020"/>
                    <a:gd name="connsiteX17" fmla="*/ 534208 w 553405"/>
                    <a:gd name="connsiteY17" fmla="*/ 283335 h 548020"/>
                    <a:gd name="connsiteX18" fmla="*/ 540990 w 553405"/>
                    <a:gd name="connsiteY18" fmla="*/ 349760 h 548020"/>
                    <a:gd name="connsiteX19" fmla="*/ 544120 w 553405"/>
                    <a:gd name="connsiteY19" fmla="*/ 383854 h 548020"/>
                    <a:gd name="connsiteX20" fmla="*/ 546728 w 553405"/>
                    <a:gd name="connsiteY20" fmla="*/ 416773 h 548020"/>
                    <a:gd name="connsiteX21" fmla="*/ 548815 w 553405"/>
                    <a:gd name="connsiteY21" fmla="*/ 450867 h 548020"/>
                    <a:gd name="connsiteX22" fmla="*/ 550902 w 553405"/>
                    <a:gd name="connsiteY22" fmla="*/ 483786 h 548020"/>
                    <a:gd name="connsiteX23" fmla="*/ 552467 w 553405"/>
                    <a:gd name="connsiteY23" fmla="*/ 517880 h 548020"/>
                    <a:gd name="connsiteX24" fmla="*/ 553405 w 553405"/>
                    <a:gd name="connsiteY24" fmla="*/ 548020 h 548020"/>
                    <a:gd name="connsiteX25" fmla="*/ 0 w 553405"/>
                    <a:gd name="connsiteY25" fmla="*/ 548020 h 548020"/>
                    <a:gd name="connsiteX26" fmla="*/ 0 w 553405"/>
                    <a:gd name="connsiteY26" fmla="*/ 533751 h 548020"/>
                    <a:gd name="connsiteX27" fmla="*/ 1044 w 553405"/>
                    <a:gd name="connsiteY27" fmla="*/ 509650 h 548020"/>
                    <a:gd name="connsiteX28" fmla="*/ 2609 w 553405"/>
                    <a:gd name="connsiteY28" fmla="*/ 476144 h 548020"/>
                    <a:gd name="connsiteX29" fmla="*/ 5217 w 553405"/>
                    <a:gd name="connsiteY29" fmla="*/ 442049 h 548020"/>
                    <a:gd name="connsiteX30" fmla="*/ 10434 w 553405"/>
                    <a:gd name="connsiteY30" fmla="*/ 375037 h 548020"/>
                    <a:gd name="connsiteX31" fmla="*/ 17216 w 553405"/>
                    <a:gd name="connsiteY31" fmla="*/ 302733 h 548020"/>
                    <a:gd name="connsiteX32" fmla="*/ 25041 w 553405"/>
                    <a:gd name="connsiteY32" fmla="*/ 230430 h 548020"/>
                    <a:gd name="connsiteX33" fmla="*/ 34432 w 553405"/>
                    <a:gd name="connsiteY33" fmla="*/ 152249 h 548020"/>
                    <a:gd name="connsiteX34" fmla="*/ 44344 w 553405"/>
                    <a:gd name="connsiteY34" fmla="*/ 72891 h 548020"/>
                    <a:gd name="connsiteX35" fmla="*/ 45909 w 553405"/>
                    <a:gd name="connsiteY35" fmla="*/ 64662 h 548020"/>
                    <a:gd name="connsiteX36" fmla="*/ 46430 w 553405"/>
                    <a:gd name="connsiteY36" fmla="*/ 61135 h 548020"/>
                    <a:gd name="connsiteX37" fmla="*/ 46430 w 553405"/>
                    <a:gd name="connsiteY37" fmla="*/ 57020 h 548020"/>
                    <a:gd name="connsiteX38" fmla="*/ 46952 w 553405"/>
                    <a:gd name="connsiteY38" fmla="*/ 51729 h 548020"/>
                    <a:gd name="connsiteX39" fmla="*/ 47995 w 553405"/>
                    <a:gd name="connsiteY39" fmla="*/ 48202 h 548020"/>
                    <a:gd name="connsiteX40" fmla="*/ 49561 w 553405"/>
                    <a:gd name="connsiteY40" fmla="*/ 45263 h 548020"/>
                    <a:gd name="connsiteX41" fmla="*/ 51126 w 553405"/>
                    <a:gd name="connsiteY41" fmla="*/ 42912 h 548020"/>
                    <a:gd name="connsiteX42" fmla="*/ 53212 w 553405"/>
                    <a:gd name="connsiteY42" fmla="*/ 40560 h 548020"/>
                    <a:gd name="connsiteX43" fmla="*/ 55299 w 553405"/>
                    <a:gd name="connsiteY43" fmla="*/ 38797 h 548020"/>
                    <a:gd name="connsiteX44" fmla="*/ 61038 w 553405"/>
                    <a:gd name="connsiteY44" fmla="*/ 35858 h 548020"/>
                    <a:gd name="connsiteX45" fmla="*/ 74601 w 553405"/>
                    <a:gd name="connsiteY45" fmla="*/ 29980 h 548020"/>
                    <a:gd name="connsiteX46" fmla="*/ 88165 w 553405"/>
                    <a:gd name="connsiteY46" fmla="*/ 25277 h 548020"/>
                    <a:gd name="connsiteX47" fmla="*/ 101208 w 553405"/>
                    <a:gd name="connsiteY47" fmla="*/ 20574 h 548020"/>
                    <a:gd name="connsiteX48" fmla="*/ 115293 w 553405"/>
                    <a:gd name="connsiteY48" fmla="*/ 17047 h 548020"/>
                    <a:gd name="connsiteX0" fmla="*/ 115293 w 553405"/>
                    <a:gd name="connsiteY0" fmla="*/ 14696 h 545669"/>
                    <a:gd name="connsiteX1" fmla="*/ 366746 w 553405"/>
                    <a:gd name="connsiteY1" fmla="*/ 0 h 545669"/>
                    <a:gd name="connsiteX2" fmla="*/ 388657 w 553405"/>
                    <a:gd name="connsiteY2" fmla="*/ 2940 h 545669"/>
                    <a:gd name="connsiteX3" fmla="*/ 411090 w 553405"/>
                    <a:gd name="connsiteY3" fmla="*/ 7642 h 545669"/>
                    <a:gd name="connsiteX4" fmla="*/ 432479 w 553405"/>
                    <a:gd name="connsiteY4" fmla="*/ 12933 h 545669"/>
                    <a:gd name="connsiteX5" fmla="*/ 453868 w 553405"/>
                    <a:gd name="connsiteY5" fmla="*/ 18811 h 545669"/>
                    <a:gd name="connsiteX6" fmla="*/ 474735 w 553405"/>
                    <a:gd name="connsiteY6" fmla="*/ 26453 h 545669"/>
                    <a:gd name="connsiteX7" fmla="*/ 495603 w 553405"/>
                    <a:gd name="connsiteY7" fmla="*/ 35270 h 545669"/>
                    <a:gd name="connsiteX8" fmla="*/ 499776 w 553405"/>
                    <a:gd name="connsiteY8" fmla="*/ 37622 h 545669"/>
                    <a:gd name="connsiteX9" fmla="*/ 502907 w 553405"/>
                    <a:gd name="connsiteY9" fmla="*/ 40561 h 545669"/>
                    <a:gd name="connsiteX10" fmla="*/ 503950 w 553405"/>
                    <a:gd name="connsiteY10" fmla="*/ 42324 h 545669"/>
                    <a:gd name="connsiteX11" fmla="*/ 504993 w 553405"/>
                    <a:gd name="connsiteY11" fmla="*/ 44088 h 545669"/>
                    <a:gd name="connsiteX12" fmla="*/ 505515 w 553405"/>
                    <a:gd name="connsiteY12" fmla="*/ 46439 h 545669"/>
                    <a:gd name="connsiteX13" fmla="*/ 506037 w 553405"/>
                    <a:gd name="connsiteY13" fmla="*/ 49966 h 545669"/>
                    <a:gd name="connsiteX14" fmla="*/ 520122 w 553405"/>
                    <a:gd name="connsiteY14" fmla="*/ 165181 h 545669"/>
                    <a:gd name="connsiteX15" fmla="*/ 526904 w 553405"/>
                    <a:gd name="connsiteY15" fmla="*/ 222789 h 545669"/>
                    <a:gd name="connsiteX16" fmla="*/ 534208 w 553405"/>
                    <a:gd name="connsiteY16" fmla="*/ 280984 h 545669"/>
                    <a:gd name="connsiteX17" fmla="*/ 540990 w 553405"/>
                    <a:gd name="connsiteY17" fmla="*/ 347409 h 545669"/>
                    <a:gd name="connsiteX18" fmla="*/ 544120 w 553405"/>
                    <a:gd name="connsiteY18" fmla="*/ 381503 h 545669"/>
                    <a:gd name="connsiteX19" fmla="*/ 546728 w 553405"/>
                    <a:gd name="connsiteY19" fmla="*/ 414422 h 545669"/>
                    <a:gd name="connsiteX20" fmla="*/ 548815 w 553405"/>
                    <a:gd name="connsiteY20" fmla="*/ 448516 h 545669"/>
                    <a:gd name="connsiteX21" fmla="*/ 550902 w 553405"/>
                    <a:gd name="connsiteY21" fmla="*/ 481435 h 545669"/>
                    <a:gd name="connsiteX22" fmla="*/ 552467 w 553405"/>
                    <a:gd name="connsiteY22" fmla="*/ 515529 h 545669"/>
                    <a:gd name="connsiteX23" fmla="*/ 553405 w 553405"/>
                    <a:gd name="connsiteY23" fmla="*/ 545669 h 545669"/>
                    <a:gd name="connsiteX24" fmla="*/ 0 w 553405"/>
                    <a:gd name="connsiteY24" fmla="*/ 545669 h 545669"/>
                    <a:gd name="connsiteX25" fmla="*/ 0 w 553405"/>
                    <a:gd name="connsiteY25" fmla="*/ 531400 h 545669"/>
                    <a:gd name="connsiteX26" fmla="*/ 1044 w 553405"/>
                    <a:gd name="connsiteY26" fmla="*/ 507299 h 545669"/>
                    <a:gd name="connsiteX27" fmla="*/ 2609 w 553405"/>
                    <a:gd name="connsiteY27" fmla="*/ 473793 h 545669"/>
                    <a:gd name="connsiteX28" fmla="*/ 5217 w 553405"/>
                    <a:gd name="connsiteY28" fmla="*/ 439698 h 545669"/>
                    <a:gd name="connsiteX29" fmla="*/ 10434 w 553405"/>
                    <a:gd name="connsiteY29" fmla="*/ 372686 h 545669"/>
                    <a:gd name="connsiteX30" fmla="*/ 17216 w 553405"/>
                    <a:gd name="connsiteY30" fmla="*/ 300382 h 545669"/>
                    <a:gd name="connsiteX31" fmla="*/ 25041 w 553405"/>
                    <a:gd name="connsiteY31" fmla="*/ 228079 h 545669"/>
                    <a:gd name="connsiteX32" fmla="*/ 34432 w 553405"/>
                    <a:gd name="connsiteY32" fmla="*/ 149898 h 545669"/>
                    <a:gd name="connsiteX33" fmla="*/ 44344 w 553405"/>
                    <a:gd name="connsiteY33" fmla="*/ 70540 h 545669"/>
                    <a:gd name="connsiteX34" fmla="*/ 45909 w 553405"/>
                    <a:gd name="connsiteY34" fmla="*/ 62311 h 545669"/>
                    <a:gd name="connsiteX35" fmla="*/ 46430 w 553405"/>
                    <a:gd name="connsiteY35" fmla="*/ 58784 h 545669"/>
                    <a:gd name="connsiteX36" fmla="*/ 46430 w 553405"/>
                    <a:gd name="connsiteY36" fmla="*/ 54669 h 545669"/>
                    <a:gd name="connsiteX37" fmla="*/ 46952 w 553405"/>
                    <a:gd name="connsiteY37" fmla="*/ 49378 h 545669"/>
                    <a:gd name="connsiteX38" fmla="*/ 47995 w 553405"/>
                    <a:gd name="connsiteY38" fmla="*/ 45851 h 545669"/>
                    <a:gd name="connsiteX39" fmla="*/ 49561 w 553405"/>
                    <a:gd name="connsiteY39" fmla="*/ 42912 h 545669"/>
                    <a:gd name="connsiteX40" fmla="*/ 51126 w 553405"/>
                    <a:gd name="connsiteY40" fmla="*/ 40561 h 545669"/>
                    <a:gd name="connsiteX41" fmla="*/ 53212 w 553405"/>
                    <a:gd name="connsiteY41" fmla="*/ 38209 h 545669"/>
                    <a:gd name="connsiteX42" fmla="*/ 55299 w 553405"/>
                    <a:gd name="connsiteY42" fmla="*/ 36446 h 545669"/>
                    <a:gd name="connsiteX43" fmla="*/ 61038 w 553405"/>
                    <a:gd name="connsiteY43" fmla="*/ 33507 h 545669"/>
                    <a:gd name="connsiteX44" fmla="*/ 74601 w 553405"/>
                    <a:gd name="connsiteY44" fmla="*/ 27629 h 545669"/>
                    <a:gd name="connsiteX45" fmla="*/ 88165 w 553405"/>
                    <a:gd name="connsiteY45" fmla="*/ 22926 h 545669"/>
                    <a:gd name="connsiteX46" fmla="*/ 101208 w 553405"/>
                    <a:gd name="connsiteY46" fmla="*/ 18223 h 545669"/>
                    <a:gd name="connsiteX47" fmla="*/ 115293 w 553405"/>
                    <a:gd name="connsiteY47" fmla="*/ 14696 h 545669"/>
                    <a:gd name="connsiteX0" fmla="*/ 115293 w 553405"/>
                    <a:gd name="connsiteY0" fmla="*/ 11756 h 542729"/>
                    <a:gd name="connsiteX1" fmla="*/ 388657 w 553405"/>
                    <a:gd name="connsiteY1" fmla="*/ 0 h 542729"/>
                    <a:gd name="connsiteX2" fmla="*/ 411090 w 553405"/>
                    <a:gd name="connsiteY2" fmla="*/ 4702 h 542729"/>
                    <a:gd name="connsiteX3" fmla="*/ 432479 w 553405"/>
                    <a:gd name="connsiteY3" fmla="*/ 9993 h 542729"/>
                    <a:gd name="connsiteX4" fmla="*/ 453868 w 553405"/>
                    <a:gd name="connsiteY4" fmla="*/ 15871 h 542729"/>
                    <a:gd name="connsiteX5" fmla="*/ 474735 w 553405"/>
                    <a:gd name="connsiteY5" fmla="*/ 23513 h 542729"/>
                    <a:gd name="connsiteX6" fmla="*/ 495603 w 553405"/>
                    <a:gd name="connsiteY6" fmla="*/ 32330 h 542729"/>
                    <a:gd name="connsiteX7" fmla="*/ 499776 w 553405"/>
                    <a:gd name="connsiteY7" fmla="*/ 34682 h 542729"/>
                    <a:gd name="connsiteX8" fmla="*/ 502907 w 553405"/>
                    <a:gd name="connsiteY8" fmla="*/ 37621 h 542729"/>
                    <a:gd name="connsiteX9" fmla="*/ 503950 w 553405"/>
                    <a:gd name="connsiteY9" fmla="*/ 39384 h 542729"/>
                    <a:gd name="connsiteX10" fmla="*/ 504993 w 553405"/>
                    <a:gd name="connsiteY10" fmla="*/ 41148 h 542729"/>
                    <a:gd name="connsiteX11" fmla="*/ 505515 w 553405"/>
                    <a:gd name="connsiteY11" fmla="*/ 43499 h 542729"/>
                    <a:gd name="connsiteX12" fmla="*/ 506037 w 553405"/>
                    <a:gd name="connsiteY12" fmla="*/ 47026 h 542729"/>
                    <a:gd name="connsiteX13" fmla="*/ 520122 w 553405"/>
                    <a:gd name="connsiteY13" fmla="*/ 162241 h 542729"/>
                    <a:gd name="connsiteX14" fmla="*/ 526904 w 553405"/>
                    <a:gd name="connsiteY14" fmla="*/ 219849 h 542729"/>
                    <a:gd name="connsiteX15" fmla="*/ 534208 w 553405"/>
                    <a:gd name="connsiteY15" fmla="*/ 278044 h 542729"/>
                    <a:gd name="connsiteX16" fmla="*/ 540990 w 553405"/>
                    <a:gd name="connsiteY16" fmla="*/ 344469 h 542729"/>
                    <a:gd name="connsiteX17" fmla="*/ 544120 w 553405"/>
                    <a:gd name="connsiteY17" fmla="*/ 378563 h 542729"/>
                    <a:gd name="connsiteX18" fmla="*/ 546728 w 553405"/>
                    <a:gd name="connsiteY18" fmla="*/ 411482 h 542729"/>
                    <a:gd name="connsiteX19" fmla="*/ 548815 w 553405"/>
                    <a:gd name="connsiteY19" fmla="*/ 445576 h 542729"/>
                    <a:gd name="connsiteX20" fmla="*/ 550902 w 553405"/>
                    <a:gd name="connsiteY20" fmla="*/ 478495 h 542729"/>
                    <a:gd name="connsiteX21" fmla="*/ 552467 w 553405"/>
                    <a:gd name="connsiteY21" fmla="*/ 512589 h 542729"/>
                    <a:gd name="connsiteX22" fmla="*/ 553405 w 553405"/>
                    <a:gd name="connsiteY22" fmla="*/ 542729 h 542729"/>
                    <a:gd name="connsiteX23" fmla="*/ 0 w 553405"/>
                    <a:gd name="connsiteY23" fmla="*/ 542729 h 542729"/>
                    <a:gd name="connsiteX24" fmla="*/ 0 w 553405"/>
                    <a:gd name="connsiteY24" fmla="*/ 528460 h 542729"/>
                    <a:gd name="connsiteX25" fmla="*/ 1044 w 553405"/>
                    <a:gd name="connsiteY25" fmla="*/ 504359 h 542729"/>
                    <a:gd name="connsiteX26" fmla="*/ 2609 w 553405"/>
                    <a:gd name="connsiteY26" fmla="*/ 470853 h 542729"/>
                    <a:gd name="connsiteX27" fmla="*/ 5217 w 553405"/>
                    <a:gd name="connsiteY27" fmla="*/ 436758 h 542729"/>
                    <a:gd name="connsiteX28" fmla="*/ 10434 w 553405"/>
                    <a:gd name="connsiteY28" fmla="*/ 369746 h 542729"/>
                    <a:gd name="connsiteX29" fmla="*/ 17216 w 553405"/>
                    <a:gd name="connsiteY29" fmla="*/ 297442 h 542729"/>
                    <a:gd name="connsiteX30" fmla="*/ 25041 w 553405"/>
                    <a:gd name="connsiteY30" fmla="*/ 225139 h 542729"/>
                    <a:gd name="connsiteX31" fmla="*/ 34432 w 553405"/>
                    <a:gd name="connsiteY31" fmla="*/ 146958 h 542729"/>
                    <a:gd name="connsiteX32" fmla="*/ 44344 w 553405"/>
                    <a:gd name="connsiteY32" fmla="*/ 67600 h 542729"/>
                    <a:gd name="connsiteX33" fmla="*/ 45909 w 553405"/>
                    <a:gd name="connsiteY33" fmla="*/ 59371 h 542729"/>
                    <a:gd name="connsiteX34" fmla="*/ 46430 w 553405"/>
                    <a:gd name="connsiteY34" fmla="*/ 55844 h 542729"/>
                    <a:gd name="connsiteX35" fmla="*/ 46430 w 553405"/>
                    <a:gd name="connsiteY35" fmla="*/ 51729 h 542729"/>
                    <a:gd name="connsiteX36" fmla="*/ 46952 w 553405"/>
                    <a:gd name="connsiteY36" fmla="*/ 46438 h 542729"/>
                    <a:gd name="connsiteX37" fmla="*/ 47995 w 553405"/>
                    <a:gd name="connsiteY37" fmla="*/ 42911 h 542729"/>
                    <a:gd name="connsiteX38" fmla="*/ 49561 w 553405"/>
                    <a:gd name="connsiteY38" fmla="*/ 39972 h 542729"/>
                    <a:gd name="connsiteX39" fmla="*/ 51126 w 553405"/>
                    <a:gd name="connsiteY39" fmla="*/ 37621 h 542729"/>
                    <a:gd name="connsiteX40" fmla="*/ 53212 w 553405"/>
                    <a:gd name="connsiteY40" fmla="*/ 35269 h 542729"/>
                    <a:gd name="connsiteX41" fmla="*/ 55299 w 553405"/>
                    <a:gd name="connsiteY41" fmla="*/ 33506 h 542729"/>
                    <a:gd name="connsiteX42" fmla="*/ 61038 w 553405"/>
                    <a:gd name="connsiteY42" fmla="*/ 30567 h 542729"/>
                    <a:gd name="connsiteX43" fmla="*/ 74601 w 553405"/>
                    <a:gd name="connsiteY43" fmla="*/ 24689 h 542729"/>
                    <a:gd name="connsiteX44" fmla="*/ 88165 w 553405"/>
                    <a:gd name="connsiteY44" fmla="*/ 19986 h 542729"/>
                    <a:gd name="connsiteX45" fmla="*/ 101208 w 553405"/>
                    <a:gd name="connsiteY45" fmla="*/ 15283 h 542729"/>
                    <a:gd name="connsiteX46" fmla="*/ 115293 w 553405"/>
                    <a:gd name="connsiteY46" fmla="*/ 11756 h 542729"/>
                    <a:gd name="connsiteX0" fmla="*/ 115293 w 553405"/>
                    <a:gd name="connsiteY0" fmla="*/ 7054 h 538027"/>
                    <a:gd name="connsiteX1" fmla="*/ 411090 w 553405"/>
                    <a:gd name="connsiteY1" fmla="*/ 0 h 538027"/>
                    <a:gd name="connsiteX2" fmla="*/ 432479 w 553405"/>
                    <a:gd name="connsiteY2" fmla="*/ 5291 h 538027"/>
                    <a:gd name="connsiteX3" fmla="*/ 453868 w 553405"/>
                    <a:gd name="connsiteY3" fmla="*/ 11169 h 538027"/>
                    <a:gd name="connsiteX4" fmla="*/ 474735 w 553405"/>
                    <a:gd name="connsiteY4" fmla="*/ 18811 h 538027"/>
                    <a:gd name="connsiteX5" fmla="*/ 495603 w 553405"/>
                    <a:gd name="connsiteY5" fmla="*/ 27628 h 538027"/>
                    <a:gd name="connsiteX6" fmla="*/ 499776 w 553405"/>
                    <a:gd name="connsiteY6" fmla="*/ 29980 h 538027"/>
                    <a:gd name="connsiteX7" fmla="*/ 502907 w 553405"/>
                    <a:gd name="connsiteY7" fmla="*/ 32919 h 538027"/>
                    <a:gd name="connsiteX8" fmla="*/ 503950 w 553405"/>
                    <a:gd name="connsiteY8" fmla="*/ 34682 h 538027"/>
                    <a:gd name="connsiteX9" fmla="*/ 504993 w 553405"/>
                    <a:gd name="connsiteY9" fmla="*/ 36446 h 538027"/>
                    <a:gd name="connsiteX10" fmla="*/ 505515 w 553405"/>
                    <a:gd name="connsiteY10" fmla="*/ 38797 h 538027"/>
                    <a:gd name="connsiteX11" fmla="*/ 506037 w 553405"/>
                    <a:gd name="connsiteY11" fmla="*/ 42324 h 538027"/>
                    <a:gd name="connsiteX12" fmla="*/ 520122 w 553405"/>
                    <a:gd name="connsiteY12" fmla="*/ 157539 h 538027"/>
                    <a:gd name="connsiteX13" fmla="*/ 526904 w 553405"/>
                    <a:gd name="connsiteY13" fmla="*/ 215147 h 538027"/>
                    <a:gd name="connsiteX14" fmla="*/ 534208 w 553405"/>
                    <a:gd name="connsiteY14" fmla="*/ 273342 h 538027"/>
                    <a:gd name="connsiteX15" fmla="*/ 540990 w 553405"/>
                    <a:gd name="connsiteY15" fmla="*/ 339767 h 538027"/>
                    <a:gd name="connsiteX16" fmla="*/ 544120 w 553405"/>
                    <a:gd name="connsiteY16" fmla="*/ 373861 h 538027"/>
                    <a:gd name="connsiteX17" fmla="*/ 546728 w 553405"/>
                    <a:gd name="connsiteY17" fmla="*/ 406780 h 538027"/>
                    <a:gd name="connsiteX18" fmla="*/ 548815 w 553405"/>
                    <a:gd name="connsiteY18" fmla="*/ 440874 h 538027"/>
                    <a:gd name="connsiteX19" fmla="*/ 550902 w 553405"/>
                    <a:gd name="connsiteY19" fmla="*/ 473793 h 538027"/>
                    <a:gd name="connsiteX20" fmla="*/ 552467 w 553405"/>
                    <a:gd name="connsiteY20" fmla="*/ 507887 h 538027"/>
                    <a:gd name="connsiteX21" fmla="*/ 553405 w 553405"/>
                    <a:gd name="connsiteY21" fmla="*/ 538027 h 538027"/>
                    <a:gd name="connsiteX22" fmla="*/ 0 w 553405"/>
                    <a:gd name="connsiteY22" fmla="*/ 538027 h 538027"/>
                    <a:gd name="connsiteX23" fmla="*/ 0 w 553405"/>
                    <a:gd name="connsiteY23" fmla="*/ 523758 h 538027"/>
                    <a:gd name="connsiteX24" fmla="*/ 1044 w 553405"/>
                    <a:gd name="connsiteY24" fmla="*/ 499657 h 538027"/>
                    <a:gd name="connsiteX25" fmla="*/ 2609 w 553405"/>
                    <a:gd name="connsiteY25" fmla="*/ 466151 h 538027"/>
                    <a:gd name="connsiteX26" fmla="*/ 5217 w 553405"/>
                    <a:gd name="connsiteY26" fmla="*/ 432056 h 538027"/>
                    <a:gd name="connsiteX27" fmla="*/ 10434 w 553405"/>
                    <a:gd name="connsiteY27" fmla="*/ 365044 h 538027"/>
                    <a:gd name="connsiteX28" fmla="*/ 17216 w 553405"/>
                    <a:gd name="connsiteY28" fmla="*/ 292740 h 538027"/>
                    <a:gd name="connsiteX29" fmla="*/ 25041 w 553405"/>
                    <a:gd name="connsiteY29" fmla="*/ 220437 h 538027"/>
                    <a:gd name="connsiteX30" fmla="*/ 34432 w 553405"/>
                    <a:gd name="connsiteY30" fmla="*/ 142256 h 538027"/>
                    <a:gd name="connsiteX31" fmla="*/ 44344 w 553405"/>
                    <a:gd name="connsiteY31" fmla="*/ 62898 h 538027"/>
                    <a:gd name="connsiteX32" fmla="*/ 45909 w 553405"/>
                    <a:gd name="connsiteY32" fmla="*/ 54669 h 538027"/>
                    <a:gd name="connsiteX33" fmla="*/ 46430 w 553405"/>
                    <a:gd name="connsiteY33" fmla="*/ 51142 h 538027"/>
                    <a:gd name="connsiteX34" fmla="*/ 46430 w 553405"/>
                    <a:gd name="connsiteY34" fmla="*/ 47027 h 538027"/>
                    <a:gd name="connsiteX35" fmla="*/ 46952 w 553405"/>
                    <a:gd name="connsiteY35" fmla="*/ 41736 h 538027"/>
                    <a:gd name="connsiteX36" fmla="*/ 47995 w 553405"/>
                    <a:gd name="connsiteY36" fmla="*/ 38209 h 538027"/>
                    <a:gd name="connsiteX37" fmla="*/ 49561 w 553405"/>
                    <a:gd name="connsiteY37" fmla="*/ 35270 h 538027"/>
                    <a:gd name="connsiteX38" fmla="*/ 51126 w 553405"/>
                    <a:gd name="connsiteY38" fmla="*/ 32919 h 538027"/>
                    <a:gd name="connsiteX39" fmla="*/ 53212 w 553405"/>
                    <a:gd name="connsiteY39" fmla="*/ 30567 h 538027"/>
                    <a:gd name="connsiteX40" fmla="*/ 55299 w 553405"/>
                    <a:gd name="connsiteY40" fmla="*/ 28804 h 538027"/>
                    <a:gd name="connsiteX41" fmla="*/ 61038 w 553405"/>
                    <a:gd name="connsiteY41" fmla="*/ 25865 h 538027"/>
                    <a:gd name="connsiteX42" fmla="*/ 74601 w 553405"/>
                    <a:gd name="connsiteY42" fmla="*/ 19987 h 538027"/>
                    <a:gd name="connsiteX43" fmla="*/ 88165 w 553405"/>
                    <a:gd name="connsiteY43" fmla="*/ 15284 h 538027"/>
                    <a:gd name="connsiteX44" fmla="*/ 101208 w 553405"/>
                    <a:gd name="connsiteY44" fmla="*/ 10581 h 538027"/>
                    <a:gd name="connsiteX45" fmla="*/ 115293 w 553405"/>
                    <a:gd name="connsiteY45" fmla="*/ 7054 h 538027"/>
                    <a:gd name="connsiteX0" fmla="*/ 115293 w 553405"/>
                    <a:gd name="connsiteY0" fmla="*/ 1763 h 532736"/>
                    <a:gd name="connsiteX1" fmla="*/ 432479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5293 w 553405"/>
                    <a:gd name="connsiteY44" fmla="*/ 1763 h 532736"/>
                    <a:gd name="connsiteX0" fmla="*/ 115293 w 553405"/>
                    <a:gd name="connsiteY0" fmla="*/ 1763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5293 w 553405"/>
                    <a:gd name="connsiteY44" fmla="*/ 1763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75309 w 553405"/>
                    <a:gd name="connsiteY0" fmla="*/ 5208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75309 w 553405"/>
                    <a:gd name="connsiteY44" fmla="*/ 5208 h 532736"/>
                    <a:gd name="connsiteX0" fmla="*/ 175309 w 553405"/>
                    <a:gd name="connsiteY0" fmla="*/ 11938 h 539466"/>
                    <a:gd name="connsiteX1" fmla="*/ 382458 w 553405"/>
                    <a:gd name="connsiteY1" fmla="*/ 0 h 539466"/>
                    <a:gd name="connsiteX2" fmla="*/ 453868 w 553405"/>
                    <a:gd name="connsiteY2" fmla="*/ 12608 h 539466"/>
                    <a:gd name="connsiteX3" fmla="*/ 474735 w 553405"/>
                    <a:gd name="connsiteY3" fmla="*/ 20250 h 539466"/>
                    <a:gd name="connsiteX4" fmla="*/ 495603 w 553405"/>
                    <a:gd name="connsiteY4" fmla="*/ 29067 h 539466"/>
                    <a:gd name="connsiteX5" fmla="*/ 499776 w 553405"/>
                    <a:gd name="connsiteY5" fmla="*/ 31419 h 539466"/>
                    <a:gd name="connsiteX6" fmla="*/ 502907 w 553405"/>
                    <a:gd name="connsiteY6" fmla="*/ 34358 h 539466"/>
                    <a:gd name="connsiteX7" fmla="*/ 503950 w 553405"/>
                    <a:gd name="connsiteY7" fmla="*/ 36121 h 539466"/>
                    <a:gd name="connsiteX8" fmla="*/ 504993 w 553405"/>
                    <a:gd name="connsiteY8" fmla="*/ 37885 h 539466"/>
                    <a:gd name="connsiteX9" fmla="*/ 505515 w 553405"/>
                    <a:gd name="connsiteY9" fmla="*/ 40236 h 539466"/>
                    <a:gd name="connsiteX10" fmla="*/ 506037 w 553405"/>
                    <a:gd name="connsiteY10" fmla="*/ 43763 h 539466"/>
                    <a:gd name="connsiteX11" fmla="*/ 520122 w 553405"/>
                    <a:gd name="connsiteY11" fmla="*/ 158978 h 539466"/>
                    <a:gd name="connsiteX12" fmla="*/ 526904 w 553405"/>
                    <a:gd name="connsiteY12" fmla="*/ 216586 h 539466"/>
                    <a:gd name="connsiteX13" fmla="*/ 534208 w 553405"/>
                    <a:gd name="connsiteY13" fmla="*/ 274781 h 539466"/>
                    <a:gd name="connsiteX14" fmla="*/ 540990 w 553405"/>
                    <a:gd name="connsiteY14" fmla="*/ 341206 h 539466"/>
                    <a:gd name="connsiteX15" fmla="*/ 544120 w 553405"/>
                    <a:gd name="connsiteY15" fmla="*/ 375300 h 539466"/>
                    <a:gd name="connsiteX16" fmla="*/ 546728 w 553405"/>
                    <a:gd name="connsiteY16" fmla="*/ 408219 h 539466"/>
                    <a:gd name="connsiteX17" fmla="*/ 548815 w 553405"/>
                    <a:gd name="connsiteY17" fmla="*/ 442313 h 539466"/>
                    <a:gd name="connsiteX18" fmla="*/ 550902 w 553405"/>
                    <a:gd name="connsiteY18" fmla="*/ 475232 h 539466"/>
                    <a:gd name="connsiteX19" fmla="*/ 552467 w 553405"/>
                    <a:gd name="connsiteY19" fmla="*/ 509326 h 539466"/>
                    <a:gd name="connsiteX20" fmla="*/ 553405 w 553405"/>
                    <a:gd name="connsiteY20" fmla="*/ 539466 h 539466"/>
                    <a:gd name="connsiteX21" fmla="*/ 0 w 553405"/>
                    <a:gd name="connsiteY21" fmla="*/ 539466 h 539466"/>
                    <a:gd name="connsiteX22" fmla="*/ 0 w 553405"/>
                    <a:gd name="connsiteY22" fmla="*/ 525197 h 539466"/>
                    <a:gd name="connsiteX23" fmla="*/ 1044 w 553405"/>
                    <a:gd name="connsiteY23" fmla="*/ 501096 h 539466"/>
                    <a:gd name="connsiteX24" fmla="*/ 2609 w 553405"/>
                    <a:gd name="connsiteY24" fmla="*/ 467590 h 539466"/>
                    <a:gd name="connsiteX25" fmla="*/ 5217 w 553405"/>
                    <a:gd name="connsiteY25" fmla="*/ 433495 h 539466"/>
                    <a:gd name="connsiteX26" fmla="*/ 10434 w 553405"/>
                    <a:gd name="connsiteY26" fmla="*/ 366483 h 539466"/>
                    <a:gd name="connsiteX27" fmla="*/ 17216 w 553405"/>
                    <a:gd name="connsiteY27" fmla="*/ 294179 h 539466"/>
                    <a:gd name="connsiteX28" fmla="*/ 25041 w 553405"/>
                    <a:gd name="connsiteY28" fmla="*/ 221876 h 539466"/>
                    <a:gd name="connsiteX29" fmla="*/ 34432 w 553405"/>
                    <a:gd name="connsiteY29" fmla="*/ 143695 h 539466"/>
                    <a:gd name="connsiteX30" fmla="*/ 44344 w 553405"/>
                    <a:gd name="connsiteY30" fmla="*/ 64337 h 539466"/>
                    <a:gd name="connsiteX31" fmla="*/ 45909 w 553405"/>
                    <a:gd name="connsiteY31" fmla="*/ 56108 h 539466"/>
                    <a:gd name="connsiteX32" fmla="*/ 46430 w 553405"/>
                    <a:gd name="connsiteY32" fmla="*/ 52581 h 539466"/>
                    <a:gd name="connsiteX33" fmla="*/ 46430 w 553405"/>
                    <a:gd name="connsiteY33" fmla="*/ 48466 h 539466"/>
                    <a:gd name="connsiteX34" fmla="*/ 46952 w 553405"/>
                    <a:gd name="connsiteY34" fmla="*/ 43175 h 539466"/>
                    <a:gd name="connsiteX35" fmla="*/ 47995 w 553405"/>
                    <a:gd name="connsiteY35" fmla="*/ 39648 h 539466"/>
                    <a:gd name="connsiteX36" fmla="*/ 49561 w 553405"/>
                    <a:gd name="connsiteY36" fmla="*/ 36709 h 539466"/>
                    <a:gd name="connsiteX37" fmla="*/ 51126 w 553405"/>
                    <a:gd name="connsiteY37" fmla="*/ 34358 h 539466"/>
                    <a:gd name="connsiteX38" fmla="*/ 53212 w 553405"/>
                    <a:gd name="connsiteY38" fmla="*/ 32006 h 539466"/>
                    <a:gd name="connsiteX39" fmla="*/ 55299 w 553405"/>
                    <a:gd name="connsiteY39" fmla="*/ 30243 h 539466"/>
                    <a:gd name="connsiteX40" fmla="*/ 61038 w 553405"/>
                    <a:gd name="connsiteY40" fmla="*/ 27304 h 539466"/>
                    <a:gd name="connsiteX41" fmla="*/ 74601 w 553405"/>
                    <a:gd name="connsiteY41" fmla="*/ 21426 h 539466"/>
                    <a:gd name="connsiteX42" fmla="*/ 88165 w 553405"/>
                    <a:gd name="connsiteY42" fmla="*/ 16723 h 539466"/>
                    <a:gd name="connsiteX43" fmla="*/ 101208 w 553405"/>
                    <a:gd name="connsiteY43" fmla="*/ 12020 h 539466"/>
                    <a:gd name="connsiteX44" fmla="*/ 175309 w 553405"/>
                    <a:gd name="connsiteY44" fmla="*/ 11938 h 539466"/>
                    <a:gd name="connsiteX0" fmla="*/ 187497 w 553405"/>
                    <a:gd name="connsiteY0" fmla="*/ 0 h 539641"/>
                    <a:gd name="connsiteX1" fmla="*/ 382458 w 553405"/>
                    <a:gd name="connsiteY1" fmla="*/ 175 h 539641"/>
                    <a:gd name="connsiteX2" fmla="*/ 453868 w 553405"/>
                    <a:gd name="connsiteY2" fmla="*/ 12783 h 539641"/>
                    <a:gd name="connsiteX3" fmla="*/ 474735 w 553405"/>
                    <a:gd name="connsiteY3" fmla="*/ 20425 h 539641"/>
                    <a:gd name="connsiteX4" fmla="*/ 495603 w 553405"/>
                    <a:gd name="connsiteY4" fmla="*/ 29242 h 539641"/>
                    <a:gd name="connsiteX5" fmla="*/ 499776 w 553405"/>
                    <a:gd name="connsiteY5" fmla="*/ 31594 h 539641"/>
                    <a:gd name="connsiteX6" fmla="*/ 502907 w 553405"/>
                    <a:gd name="connsiteY6" fmla="*/ 34533 h 539641"/>
                    <a:gd name="connsiteX7" fmla="*/ 503950 w 553405"/>
                    <a:gd name="connsiteY7" fmla="*/ 36296 h 539641"/>
                    <a:gd name="connsiteX8" fmla="*/ 504993 w 553405"/>
                    <a:gd name="connsiteY8" fmla="*/ 38060 h 539641"/>
                    <a:gd name="connsiteX9" fmla="*/ 505515 w 553405"/>
                    <a:gd name="connsiteY9" fmla="*/ 40411 h 539641"/>
                    <a:gd name="connsiteX10" fmla="*/ 506037 w 553405"/>
                    <a:gd name="connsiteY10" fmla="*/ 43938 h 539641"/>
                    <a:gd name="connsiteX11" fmla="*/ 520122 w 553405"/>
                    <a:gd name="connsiteY11" fmla="*/ 159153 h 539641"/>
                    <a:gd name="connsiteX12" fmla="*/ 526904 w 553405"/>
                    <a:gd name="connsiteY12" fmla="*/ 216761 h 539641"/>
                    <a:gd name="connsiteX13" fmla="*/ 534208 w 553405"/>
                    <a:gd name="connsiteY13" fmla="*/ 274956 h 539641"/>
                    <a:gd name="connsiteX14" fmla="*/ 540990 w 553405"/>
                    <a:gd name="connsiteY14" fmla="*/ 341381 h 539641"/>
                    <a:gd name="connsiteX15" fmla="*/ 544120 w 553405"/>
                    <a:gd name="connsiteY15" fmla="*/ 375475 h 539641"/>
                    <a:gd name="connsiteX16" fmla="*/ 546728 w 553405"/>
                    <a:gd name="connsiteY16" fmla="*/ 408394 h 539641"/>
                    <a:gd name="connsiteX17" fmla="*/ 548815 w 553405"/>
                    <a:gd name="connsiteY17" fmla="*/ 442488 h 539641"/>
                    <a:gd name="connsiteX18" fmla="*/ 550902 w 553405"/>
                    <a:gd name="connsiteY18" fmla="*/ 475407 h 539641"/>
                    <a:gd name="connsiteX19" fmla="*/ 552467 w 553405"/>
                    <a:gd name="connsiteY19" fmla="*/ 509501 h 539641"/>
                    <a:gd name="connsiteX20" fmla="*/ 553405 w 553405"/>
                    <a:gd name="connsiteY20" fmla="*/ 539641 h 539641"/>
                    <a:gd name="connsiteX21" fmla="*/ 0 w 553405"/>
                    <a:gd name="connsiteY21" fmla="*/ 539641 h 539641"/>
                    <a:gd name="connsiteX22" fmla="*/ 0 w 553405"/>
                    <a:gd name="connsiteY22" fmla="*/ 525372 h 539641"/>
                    <a:gd name="connsiteX23" fmla="*/ 1044 w 553405"/>
                    <a:gd name="connsiteY23" fmla="*/ 501271 h 539641"/>
                    <a:gd name="connsiteX24" fmla="*/ 2609 w 553405"/>
                    <a:gd name="connsiteY24" fmla="*/ 467765 h 539641"/>
                    <a:gd name="connsiteX25" fmla="*/ 5217 w 553405"/>
                    <a:gd name="connsiteY25" fmla="*/ 433670 h 539641"/>
                    <a:gd name="connsiteX26" fmla="*/ 10434 w 553405"/>
                    <a:gd name="connsiteY26" fmla="*/ 366658 h 539641"/>
                    <a:gd name="connsiteX27" fmla="*/ 17216 w 553405"/>
                    <a:gd name="connsiteY27" fmla="*/ 294354 h 539641"/>
                    <a:gd name="connsiteX28" fmla="*/ 25041 w 553405"/>
                    <a:gd name="connsiteY28" fmla="*/ 222051 h 539641"/>
                    <a:gd name="connsiteX29" fmla="*/ 34432 w 553405"/>
                    <a:gd name="connsiteY29" fmla="*/ 143870 h 539641"/>
                    <a:gd name="connsiteX30" fmla="*/ 44344 w 553405"/>
                    <a:gd name="connsiteY30" fmla="*/ 64512 h 539641"/>
                    <a:gd name="connsiteX31" fmla="*/ 45909 w 553405"/>
                    <a:gd name="connsiteY31" fmla="*/ 56283 h 539641"/>
                    <a:gd name="connsiteX32" fmla="*/ 46430 w 553405"/>
                    <a:gd name="connsiteY32" fmla="*/ 52756 h 539641"/>
                    <a:gd name="connsiteX33" fmla="*/ 46430 w 553405"/>
                    <a:gd name="connsiteY33" fmla="*/ 48641 h 539641"/>
                    <a:gd name="connsiteX34" fmla="*/ 46952 w 553405"/>
                    <a:gd name="connsiteY34" fmla="*/ 43350 h 539641"/>
                    <a:gd name="connsiteX35" fmla="*/ 47995 w 553405"/>
                    <a:gd name="connsiteY35" fmla="*/ 39823 h 539641"/>
                    <a:gd name="connsiteX36" fmla="*/ 49561 w 553405"/>
                    <a:gd name="connsiteY36" fmla="*/ 36884 h 539641"/>
                    <a:gd name="connsiteX37" fmla="*/ 51126 w 553405"/>
                    <a:gd name="connsiteY37" fmla="*/ 34533 h 539641"/>
                    <a:gd name="connsiteX38" fmla="*/ 53212 w 553405"/>
                    <a:gd name="connsiteY38" fmla="*/ 32181 h 539641"/>
                    <a:gd name="connsiteX39" fmla="*/ 55299 w 553405"/>
                    <a:gd name="connsiteY39" fmla="*/ 30418 h 539641"/>
                    <a:gd name="connsiteX40" fmla="*/ 61038 w 553405"/>
                    <a:gd name="connsiteY40" fmla="*/ 27479 h 539641"/>
                    <a:gd name="connsiteX41" fmla="*/ 74601 w 553405"/>
                    <a:gd name="connsiteY41" fmla="*/ 21601 h 539641"/>
                    <a:gd name="connsiteX42" fmla="*/ 88165 w 553405"/>
                    <a:gd name="connsiteY42" fmla="*/ 16898 h 539641"/>
                    <a:gd name="connsiteX43" fmla="*/ 101208 w 553405"/>
                    <a:gd name="connsiteY43" fmla="*/ 12195 h 539641"/>
                    <a:gd name="connsiteX44" fmla="*/ 187497 w 553405"/>
                    <a:gd name="connsiteY44" fmla="*/ 0 h 539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53405" h="539641">
                      <a:moveTo>
                        <a:pt x="187497" y="0"/>
                      </a:moveTo>
                      <a:cubicBezTo>
                        <a:pt x="276619" y="37593"/>
                        <a:pt x="304938" y="37939"/>
                        <a:pt x="382458" y="175"/>
                      </a:cubicBezTo>
                      <a:lnTo>
                        <a:pt x="453868" y="12783"/>
                      </a:lnTo>
                      <a:lnTo>
                        <a:pt x="474735" y="20425"/>
                      </a:lnTo>
                      <a:lnTo>
                        <a:pt x="495603" y="29242"/>
                      </a:lnTo>
                      <a:lnTo>
                        <a:pt x="499776" y="31594"/>
                      </a:lnTo>
                      <a:lnTo>
                        <a:pt x="502907" y="34533"/>
                      </a:lnTo>
                      <a:lnTo>
                        <a:pt x="503950" y="36296"/>
                      </a:lnTo>
                      <a:lnTo>
                        <a:pt x="504993" y="38060"/>
                      </a:lnTo>
                      <a:lnTo>
                        <a:pt x="505515" y="40411"/>
                      </a:lnTo>
                      <a:lnTo>
                        <a:pt x="506037" y="43938"/>
                      </a:lnTo>
                      <a:lnTo>
                        <a:pt x="520122" y="159153"/>
                      </a:lnTo>
                      <a:lnTo>
                        <a:pt x="526904" y="216761"/>
                      </a:lnTo>
                      <a:lnTo>
                        <a:pt x="534208" y="274956"/>
                      </a:lnTo>
                      <a:lnTo>
                        <a:pt x="540990" y="341381"/>
                      </a:lnTo>
                      <a:lnTo>
                        <a:pt x="544120" y="375475"/>
                      </a:lnTo>
                      <a:lnTo>
                        <a:pt x="546728" y="408394"/>
                      </a:lnTo>
                      <a:lnTo>
                        <a:pt x="548815" y="442488"/>
                      </a:lnTo>
                      <a:lnTo>
                        <a:pt x="550902" y="475407"/>
                      </a:lnTo>
                      <a:cubicBezTo>
                        <a:pt x="551424" y="486772"/>
                        <a:pt x="551945" y="498136"/>
                        <a:pt x="552467" y="509501"/>
                      </a:cubicBezTo>
                      <a:cubicBezTo>
                        <a:pt x="552780" y="519548"/>
                        <a:pt x="553092" y="529594"/>
                        <a:pt x="553405" y="539641"/>
                      </a:cubicBezTo>
                      <a:lnTo>
                        <a:pt x="0" y="539641"/>
                      </a:lnTo>
                      <a:lnTo>
                        <a:pt x="0" y="525372"/>
                      </a:lnTo>
                      <a:lnTo>
                        <a:pt x="1044" y="501271"/>
                      </a:lnTo>
                      <a:cubicBezTo>
                        <a:pt x="1566" y="490102"/>
                        <a:pt x="2087" y="478934"/>
                        <a:pt x="2609" y="467765"/>
                      </a:cubicBezTo>
                      <a:lnTo>
                        <a:pt x="5217" y="433670"/>
                      </a:lnTo>
                      <a:lnTo>
                        <a:pt x="10434" y="366658"/>
                      </a:lnTo>
                      <a:lnTo>
                        <a:pt x="17216" y="294354"/>
                      </a:lnTo>
                      <a:lnTo>
                        <a:pt x="25041" y="222051"/>
                      </a:lnTo>
                      <a:lnTo>
                        <a:pt x="34432" y="143870"/>
                      </a:lnTo>
                      <a:lnTo>
                        <a:pt x="44344" y="64512"/>
                      </a:lnTo>
                      <a:lnTo>
                        <a:pt x="45909" y="56283"/>
                      </a:lnTo>
                      <a:cubicBezTo>
                        <a:pt x="46083" y="55107"/>
                        <a:pt x="46256" y="53932"/>
                        <a:pt x="46430" y="52756"/>
                      </a:cubicBezTo>
                      <a:lnTo>
                        <a:pt x="46430" y="48641"/>
                      </a:lnTo>
                      <a:lnTo>
                        <a:pt x="46952" y="43350"/>
                      </a:lnTo>
                      <a:lnTo>
                        <a:pt x="47995" y="39823"/>
                      </a:lnTo>
                      <a:lnTo>
                        <a:pt x="49561" y="36884"/>
                      </a:lnTo>
                      <a:lnTo>
                        <a:pt x="51126" y="34533"/>
                      </a:lnTo>
                      <a:lnTo>
                        <a:pt x="53212" y="32181"/>
                      </a:lnTo>
                      <a:lnTo>
                        <a:pt x="55299" y="30418"/>
                      </a:lnTo>
                      <a:lnTo>
                        <a:pt x="61038" y="27479"/>
                      </a:lnTo>
                      <a:lnTo>
                        <a:pt x="74601" y="21601"/>
                      </a:lnTo>
                      <a:lnTo>
                        <a:pt x="88165" y="16898"/>
                      </a:lnTo>
                      <a:lnTo>
                        <a:pt x="101208" y="12195"/>
                      </a:lnTo>
                      <a:lnTo>
                        <a:pt x="187497" y="0"/>
                      </a:lnTo>
                      <a:close/>
                    </a:path>
                  </a:pathLst>
                </a:custGeom>
                <a:solidFill>
                  <a:srgbClr val="FFFFFF">
                    <a:lumMod val="85000"/>
                  </a:srgbClr>
                </a:solidFill>
                <a:ln w="6350">
                  <a:solidFill>
                    <a:srgbClr val="FFFFFF">
                      <a:lumMod val="65000"/>
                    </a:srgbClr>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CiscoSansTT ExtraLight"/>
                    <a:ea typeface="ＭＳ Ｐゴシック" charset="0"/>
                    <a:cs typeface="+mn-cs"/>
                  </a:endParaRPr>
                </a:p>
              </p:txBody>
            </p:sp>
            <p:sp>
              <p:nvSpPr>
                <p:cNvPr id="213" name="Rectangle: Rounded Corners 212">
                  <a:extLst>
                    <a:ext uri="{FF2B5EF4-FFF2-40B4-BE49-F238E27FC236}">
                      <a16:creationId xmlns:a16="http://schemas.microsoft.com/office/drawing/2014/main" id="{6AC5FE51-E9DB-43A6-84F6-3534FA7A8B14}"/>
                    </a:ext>
                  </a:extLst>
                </p:cNvPr>
                <p:cNvSpPr/>
                <p:nvPr/>
              </p:nvSpPr>
              <p:spPr>
                <a:xfrm>
                  <a:off x="3823827" y="4269274"/>
                  <a:ext cx="62293" cy="145564"/>
                </a:xfrm>
                <a:prstGeom prst="roundRect">
                  <a:avLst>
                    <a:gd name="adj" fmla="val 50000"/>
                  </a:avLst>
                </a:prstGeom>
                <a:solidFill>
                  <a:srgbClr val="FFFFFF">
                    <a:lumMod val="85000"/>
                  </a:srgbClr>
                </a:solidFill>
                <a:ln w="6350">
                  <a:solidFill>
                    <a:srgbClr val="FFFFFF">
                      <a:lumMod val="65000"/>
                    </a:srgbClr>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CiscoSansTT ExtraLight"/>
                    <a:ea typeface="ＭＳ Ｐゴシック" charset="0"/>
                    <a:cs typeface="+mn-cs"/>
                  </a:endParaRPr>
                </a:p>
              </p:txBody>
            </p:sp>
            <p:sp>
              <p:nvSpPr>
                <p:cNvPr id="214" name="Rectangle: Rounded Corners 213">
                  <a:extLst>
                    <a:ext uri="{FF2B5EF4-FFF2-40B4-BE49-F238E27FC236}">
                      <a16:creationId xmlns:a16="http://schemas.microsoft.com/office/drawing/2014/main" id="{910FD74E-8ACB-4110-92B4-73930AE2EFC7}"/>
                    </a:ext>
                  </a:extLst>
                </p:cNvPr>
                <p:cNvSpPr/>
                <p:nvPr/>
              </p:nvSpPr>
              <p:spPr>
                <a:xfrm>
                  <a:off x="3930983" y="4269274"/>
                  <a:ext cx="62293" cy="145564"/>
                </a:xfrm>
                <a:prstGeom prst="roundRect">
                  <a:avLst>
                    <a:gd name="adj" fmla="val 50000"/>
                  </a:avLst>
                </a:prstGeom>
                <a:solidFill>
                  <a:srgbClr val="FFFFFF">
                    <a:lumMod val="85000"/>
                  </a:srgbClr>
                </a:solidFill>
                <a:ln w="6350">
                  <a:solidFill>
                    <a:srgbClr val="FFFFFF">
                      <a:lumMod val="65000"/>
                    </a:srgbClr>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CiscoSansTT ExtraLight"/>
                    <a:ea typeface="ＭＳ Ｐゴシック" charset="0"/>
                    <a:cs typeface="+mn-cs"/>
                  </a:endParaRPr>
                </a:p>
              </p:txBody>
            </p:sp>
            <p:sp>
              <p:nvSpPr>
                <p:cNvPr id="215" name="Freeform: Shape 214">
                  <a:extLst>
                    <a:ext uri="{FF2B5EF4-FFF2-40B4-BE49-F238E27FC236}">
                      <a16:creationId xmlns:a16="http://schemas.microsoft.com/office/drawing/2014/main" id="{D631959B-3E94-46B6-86A8-63AF6BA38564}"/>
                    </a:ext>
                  </a:extLst>
                </p:cNvPr>
                <p:cNvSpPr/>
                <p:nvPr/>
              </p:nvSpPr>
              <p:spPr>
                <a:xfrm>
                  <a:off x="3742840" y="4062427"/>
                  <a:ext cx="323389" cy="409033"/>
                </a:xfrm>
                <a:custGeom>
                  <a:avLst/>
                  <a:gdLst>
                    <a:gd name="connsiteX0" fmla="*/ 54634 w 323389"/>
                    <a:gd name="connsiteY0" fmla="*/ 197003 h 409033"/>
                    <a:gd name="connsiteX1" fmla="*/ 275793 w 323389"/>
                    <a:gd name="connsiteY1" fmla="*/ 197003 h 409033"/>
                    <a:gd name="connsiteX2" fmla="*/ 295281 w 323389"/>
                    <a:gd name="connsiteY2" fmla="*/ 216491 h 409033"/>
                    <a:gd name="connsiteX3" fmla="*/ 275793 w 323389"/>
                    <a:gd name="connsiteY3" fmla="*/ 235979 h 409033"/>
                    <a:gd name="connsiteX4" fmla="*/ 178192 w 323389"/>
                    <a:gd name="connsiteY4" fmla="*/ 235979 h 409033"/>
                    <a:gd name="connsiteX5" fmla="*/ 178813 w 323389"/>
                    <a:gd name="connsiteY5" fmla="*/ 236600 h 409033"/>
                    <a:gd name="connsiteX6" fmla="*/ 178813 w 323389"/>
                    <a:gd name="connsiteY6" fmla="*/ 312624 h 409033"/>
                    <a:gd name="connsiteX7" fmla="*/ 317240 w 323389"/>
                    <a:gd name="connsiteY7" fmla="*/ 363485 h 409033"/>
                    <a:gd name="connsiteX8" fmla="*/ 322811 w 323389"/>
                    <a:gd name="connsiteY8" fmla="*/ 375529 h 409033"/>
                    <a:gd name="connsiteX9" fmla="*/ 319701 w 323389"/>
                    <a:gd name="connsiteY9" fmla="*/ 383994 h 409033"/>
                    <a:gd name="connsiteX10" fmla="*/ 319426 w 323389"/>
                    <a:gd name="connsiteY10" fmla="*/ 384121 h 409033"/>
                    <a:gd name="connsiteX11" fmla="*/ 321494 w 323389"/>
                    <a:gd name="connsiteY11" fmla="*/ 389114 h 409033"/>
                    <a:gd name="connsiteX12" fmla="*/ 301575 w 323389"/>
                    <a:gd name="connsiteY12" fmla="*/ 409033 h 409033"/>
                    <a:gd name="connsiteX13" fmla="*/ 281656 w 323389"/>
                    <a:gd name="connsiteY13" fmla="*/ 389114 h 409033"/>
                    <a:gd name="connsiteX14" fmla="*/ 284929 w 323389"/>
                    <a:gd name="connsiteY14" fmla="*/ 381214 h 409033"/>
                    <a:gd name="connsiteX15" fmla="*/ 163366 w 323389"/>
                    <a:gd name="connsiteY15" fmla="*/ 336548 h 409033"/>
                    <a:gd name="connsiteX16" fmla="*/ 37257 w 323389"/>
                    <a:gd name="connsiteY16" fmla="*/ 382884 h 409033"/>
                    <a:gd name="connsiteX17" fmla="*/ 39838 w 323389"/>
                    <a:gd name="connsiteY17" fmla="*/ 389114 h 409033"/>
                    <a:gd name="connsiteX18" fmla="*/ 19919 w 323389"/>
                    <a:gd name="connsiteY18" fmla="*/ 409033 h 409033"/>
                    <a:gd name="connsiteX19" fmla="*/ 0 w 323389"/>
                    <a:gd name="connsiteY19" fmla="*/ 389114 h 409033"/>
                    <a:gd name="connsiteX20" fmla="*/ 4723 w 323389"/>
                    <a:gd name="connsiteY20" fmla="*/ 377713 h 409033"/>
                    <a:gd name="connsiteX21" fmla="*/ 3920 w 323389"/>
                    <a:gd name="connsiteY21" fmla="*/ 375529 h 409033"/>
                    <a:gd name="connsiteX22" fmla="*/ 9492 w 323389"/>
                    <a:gd name="connsiteY22" fmla="*/ 363485 h 409033"/>
                    <a:gd name="connsiteX23" fmla="*/ 151615 w 323389"/>
                    <a:gd name="connsiteY23" fmla="*/ 311265 h 409033"/>
                    <a:gd name="connsiteX24" fmla="*/ 151615 w 323389"/>
                    <a:gd name="connsiteY24" fmla="*/ 236600 h 409033"/>
                    <a:gd name="connsiteX25" fmla="*/ 152236 w 323389"/>
                    <a:gd name="connsiteY25" fmla="*/ 235979 h 409033"/>
                    <a:gd name="connsiteX26" fmla="*/ 54634 w 323389"/>
                    <a:gd name="connsiteY26" fmla="*/ 235979 h 409033"/>
                    <a:gd name="connsiteX27" fmla="*/ 35146 w 323389"/>
                    <a:gd name="connsiteY27" fmla="*/ 216491 h 409033"/>
                    <a:gd name="connsiteX28" fmla="*/ 54634 w 323389"/>
                    <a:gd name="connsiteY28" fmla="*/ 197003 h 409033"/>
                    <a:gd name="connsiteX29" fmla="*/ 161115 w 323389"/>
                    <a:gd name="connsiteY29" fmla="*/ 3 h 409033"/>
                    <a:gd name="connsiteX30" fmla="*/ 251492 w 323389"/>
                    <a:gd name="connsiteY30" fmla="*/ 46977 h 409033"/>
                    <a:gd name="connsiteX31" fmla="*/ 278829 w 323389"/>
                    <a:gd name="connsiteY31" fmla="*/ 176649 h 409033"/>
                    <a:gd name="connsiteX32" fmla="*/ 270084 w 323389"/>
                    <a:gd name="connsiteY32" fmla="*/ 190251 h 409033"/>
                    <a:gd name="connsiteX33" fmla="*/ 55357 w 323389"/>
                    <a:gd name="connsiteY33" fmla="*/ 190737 h 409033"/>
                    <a:gd name="connsiteX34" fmla="*/ 45155 w 323389"/>
                    <a:gd name="connsiteY34" fmla="*/ 180535 h 409033"/>
                    <a:gd name="connsiteX35" fmla="*/ 70188 w 323389"/>
                    <a:gd name="connsiteY35" fmla="*/ 46977 h 409033"/>
                    <a:gd name="connsiteX36" fmla="*/ 161115 w 323389"/>
                    <a:gd name="connsiteY36" fmla="*/ 3 h 40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23389" h="409033">
                      <a:moveTo>
                        <a:pt x="54634" y="197003"/>
                      </a:moveTo>
                      <a:lnTo>
                        <a:pt x="275793" y="197003"/>
                      </a:lnTo>
                      <a:cubicBezTo>
                        <a:pt x="286556" y="197003"/>
                        <a:pt x="295281" y="205728"/>
                        <a:pt x="295281" y="216491"/>
                      </a:cubicBezTo>
                      <a:cubicBezTo>
                        <a:pt x="295281" y="227254"/>
                        <a:pt x="286556" y="235979"/>
                        <a:pt x="275793" y="235979"/>
                      </a:cubicBezTo>
                      <a:lnTo>
                        <a:pt x="178192" y="235979"/>
                      </a:lnTo>
                      <a:lnTo>
                        <a:pt x="178813" y="236600"/>
                      </a:lnTo>
                      <a:lnTo>
                        <a:pt x="178813" y="312624"/>
                      </a:lnTo>
                      <a:lnTo>
                        <a:pt x="317240" y="363485"/>
                      </a:lnTo>
                      <a:cubicBezTo>
                        <a:pt x="322104" y="365272"/>
                        <a:pt x="324598" y="370665"/>
                        <a:pt x="322811" y="375529"/>
                      </a:cubicBezTo>
                      <a:lnTo>
                        <a:pt x="319701" y="383994"/>
                      </a:lnTo>
                      <a:lnTo>
                        <a:pt x="319426" y="384121"/>
                      </a:lnTo>
                      <a:lnTo>
                        <a:pt x="321494" y="389114"/>
                      </a:lnTo>
                      <a:cubicBezTo>
                        <a:pt x="321494" y="400115"/>
                        <a:pt x="312576" y="409033"/>
                        <a:pt x="301575" y="409033"/>
                      </a:cubicBezTo>
                      <a:cubicBezTo>
                        <a:pt x="290574" y="409033"/>
                        <a:pt x="281656" y="400115"/>
                        <a:pt x="281656" y="389114"/>
                      </a:cubicBezTo>
                      <a:lnTo>
                        <a:pt x="284929" y="381214"/>
                      </a:lnTo>
                      <a:lnTo>
                        <a:pt x="163366" y="336548"/>
                      </a:lnTo>
                      <a:lnTo>
                        <a:pt x="37257" y="382884"/>
                      </a:lnTo>
                      <a:lnTo>
                        <a:pt x="39838" y="389114"/>
                      </a:lnTo>
                      <a:cubicBezTo>
                        <a:pt x="39838" y="400115"/>
                        <a:pt x="30920" y="409033"/>
                        <a:pt x="19919" y="409033"/>
                      </a:cubicBezTo>
                      <a:cubicBezTo>
                        <a:pt x="8918" y="409033"/>
                        <a:pt x="0" y="400115"/>
                        <a:pt x="0" y="389114"/>
                      </a:cubicBezTo>
                      <a:lnTo>
                        <a:pt x="4723" y="377713"/>
                      </a:lnTo>
                      <a:lnTo>
                        <a:pt x="3920" y="375529"/>
                      </a:lnTo>
                      <a:cubicBezTo>
                        <a:pt x="2133" y="370665"/>
                        <a:pt x="4627" y="365272"/>
                        <a:pt x="9492" y="363485"/>
                      </a:cubicBezTo>
                      <a:lnTo>
                        <a:pt x="151615" y="311265"/>
                      </a:lnTo>
                      <a:lnTo>
                        <a:pt x="151615" y="236600"/>
                      </a:lnTo>
                      <a:lnTo>
                        <a:pt x="152236" y="235979"/>
                      </a:lnTo>
                      <a:lnTo>
                        <a:pt x="54634" y="235979"/>
                      </a:lnTo>
                      <a:cubicBezTo>
                        <a:pt x="43871" y="235979"/>
                        <a:pt x="35146" y="227254"/>
                        <a:pt x="35146" y="216491"/>
                      </a:cubicBezTo>
                      <a:cubicBezTo>
                        <a:pt x="35146" y="205728"/>
                        <a:pt x="43871" y="197003"/>
                        <a:pt x="54634" y="197003"/>
                      </a:cubicBezTo>
                      <a:close/>
                      <a:moveTo>
                        <a:pt x="161115" y="3"/>
                      </a:moveTo>
                      <a:cubicBezTo>
                        <a:pt x="198297" y="-283"/>
                        <a:pt x="235387" y="15089"/>
                        <a:pt x="251492" y="46977"/>
                      </a:cubicBezTo>
                      <a:lnTo>
                        <a:pt x="278829" y="176649"/>
                      </a:lnTo>
                      <a:cubicBezTo>
                        <a:pt x="279800" y="182640"/>
                        <a:pt x="278343" y="189117"/>
                        <a:pt x="270084" y="190251"/>
                      </a:cubicBezTo>
                      <a:lnTo>
                        <a:pt x="55357" y="190737"/>
                      </a:lnTo>
                      <a:cubicBezTo>
                        <a:pt x="49527" y="189279"/>
                        <a:pt x="44669" y="190737"/>
                        <a:pt x="45155" y="180535"/>
                      </a:cubicBezTo>
                      <a:lnTo>
                        <a:pt x="70188" y="46977"/>
                      </a:lnTo>
                      <a:cubicBezTo>
                        <a:pt x="86660" y="16233"/>
                        <a:pt x="123934" y="289"/>
                        <a:pt x="161115" y="3"/>
                      </a:cubicBezTo>
                      <a:close/>
                    </a:path>
                  </a:pathLst>
                </a:cu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auto" latinLnBrk="0" hangingPunct="1">
                    <a:lnSpc>
                      <a:spcPct val="9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CiscoSansTT ExtraLight"/>
                    <a:ea typeface="Segoe UI" pitchFamily="34" charset="0"/>
                    <a:cs typeface="Segoe UI" pitchFamily="34" charset="0"/>
                  </a:endParaRPr>
                </a:p>
              </p:txBody>
            </p:sp>
          </p:grpSp>
        </p:grpSp>
      </p:grpSp>
      <p:sp>
        <p:nvSpPr>
          <p:cNvPr id="352" name="Rectangle 351">
            <a:extLst>
              <a:ext uri="{FF2B5EF4-FFF2-40B4-BE49-F238E27FC236}">
                <a16:creationId xmlns:a16="http://schemas.microsoft.com/office/drawing/2014/main" id="{2D62F893-DA84-470D-A563-DC57789B4477}"/>
              </a:ext>
            </a:extLst>
          </p:cNvPr>
          <p:cNvSpPr/>
          <p:nvPr/>
        </p:nvSpPr>
        <p:spPr>
          <a:xfrm>
            <a:off x="279443" y="2919404"/>
            <a:ext cx="588303" cy="205184"/>
          </a:xfrm>
          <a:prstGeom prst="rect">
            <a:avLst/>
          </a:prstGeom>
        </p:spPr>
        <p:txBody>
          <a:bodyPr wrap="none" lIns="0" tIns="0" rIns="0" bIns="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9393B"/>
                </a:solidFill>
                <a:effectLst/>
                <a:uLnTx/>
                <a:uFillTx/>
                <a:latin typeface="CiscoSansTT ExtraLight"/>
                <a:ea typeface="ＭＳ Ｐゴシック" charset="0"/>
                <a:cs typeface="+mn-cs"/>
              </a:rPr>
              <a:t>Branch</a:t>
            </a:r>
          </a:p>
        </p:txBody>
      </p:sp>
      <p:grpSp>
        <p:nvGrpSpPr>
          <p:cNvPr id="380" name="Group 379">
            <a:extLst>
              <a:ext uri="{FF2B5EF4-FFF2-40B4-BE49-F238E27FC236}">
                <a16:creationId xmlns:a16="http://schemas.microsoft.com/office/drawing/2014/main" id="{657153B3-AAC4-49CA-A849-6C77EACE462E}"/>
              </a:ext>
            </a:extLst>
          </p:cNvPr>
          <p:cNvGrpSpPr/>
          <p:nvPr/>
        </p:nvGrpSpPr>
        <p:grpSpPr>
          <a:xfrm>
            <a:off x="265305" y="2918573"/>
            <a:ext cx="1393510" cy="1501233"/>
            <a:chOff x="58271" y="3401998"/>
            <a:chExt cx="944774" cy="1017808"/>
          </a:xfrm>
        </p:grpSpPr>
        <p:grpSp>
          <p:nvGrpSpPr>
            <p:cNvPr id="353" name="Group 352">
              <a:extLst>
                <a:ext uri="{FF2B5EF4-FFF2-40B4-BE49-F238E27FC236}">
                  <a16:creationId xmlns:a16="http://schemas.microsoft.com/office/drawing/2014/main" id="{049BD61F-081E-4F32-84C0-CD0F6E618F2E}"/>
                </a:ext>
              </a:extLst>
            </p:cNvPr>
            <p:cNvGrpSpPr/>
            <p:nvPr/>
          </p:nvGrpSpPr>
          <p:grpSpPr>
            <a:xfrm>
              <a:off x="58271" y="3524780"/>
              <a:ext cx="835910" cy="895026"/>
              <a:chOff x="8788396" y="3417888"/>
              <a:chExt cx="4803774" cy="5143500"/>
            </a:xfrm>
          </p:grpSpPr>
          <p:sp>
            <p:nvSpPr>
              <p:cNvPr id="354" name="Freeform 22">
                <a:extLst>
                  <a:ext uri="{FF2B5EF4-FFF2-40B4-BE49-F238E27FC236}">
                    <a16:creationId xmlns:a16="http://schemas.microsoft.com/office/drawing/2014/main" id="{843C141B-92CC-45EA-8ED8-5848023B87DD}"/>
                  </a:ext>
                </a:extLst>
              </p:cNvPr>
              <p:cNvSpPr>
                <a:spLocks/>
              </p:cNvSpPr>
              <p:nvPr/>
            </p:nvSpPr>
            <p:spPr bwMode="auto">
              <a:xfrm>
                <a:off x="8902700" y="3532188"/>
                <a:ext cx="4552950" cy="4948238"/>
              </a:xfrm>
              <a:custGeom>
                <a:avLst/>
                <a:gdLst>
                  <a:gd name="T0" fmla="*/ 0 w 2868"/>
                  <a:gd name="T1" fmla="*/ 866 h 3117"/>
                  <a:gd name="T2" fmla="*/ 1860 w 2868"/>
                  <a:gd name="T3" fmla="*/ 0 h 3117"/>
                  <a:gd name="T4" fmla="*/ 1882 w 2868"/>
                  <a:gd name="T5" fmla="*/ 675 h 3117"/>
                  <a:gd name="T6" fmla="*/ 2868 w 2868"/>
                  <a:gd name="T7" fmla="*/ 675 h 3117"/>
                  <a:gd name="T8" fmla="*/ 2868 w 2868"/>
                  <a:gd name="T9" fmla="*/ 3117 h 3117"/>
                  <a:gd name="T10" fmla="*/ 0 w 2868"/>
                  <a:gd name="T11" fmla="*/ 3117 h 3117"/>
                  <a:gd name="T12" fmla="*/ 0 w 2868"/>
                  <a:gd name="T13" fmla="*/ 866 h 3117"/>
                </a:gdLst>
                <a:ahLst/>
                <a:cxnLst>
                  <a:cxn ang="0">
                    <a:pos x="T0" y="T1"/>
                  </a:cxn>
                  <a:cxn ang="0">
                    <a:pos x="T2" y="T3"/>
                  </a:cxn>
                  <a:cxn ang="0">
                    <a:pos x="T4" y="T5"/>
                  </a:cxn>
                  <a:cxn ang="0">
                    <a:pos x="T6" y="T7"/>
                  </a:cxn>
                  <a:cxn ang="0">
                    <a:pos x="T8" y="T9"/>
                  </a:cxn>
                  <a:cxn ang="0">
                    <a:pos x="T10" y="T11"/>
                  </a:cxn>
                  <a:cxn ang="0">
                    <a:pos x="T12" y="T13"/>
                  </a:cxn>
                </a:cxnLst>
                <a:rect l="0" t="0" r="r" b="b"/>
                <a:pathLst>
                  <a:path w="2868" h="3117">
                    <a:moveTo>
                      <a:pt x="0" y="866"/>
                    </a:moveTo>
                    <a:lnTo>
                      <a:pt x="1860" y="0"/>
                    </a:lnTo>
                    <a:lnTo>
                      <a:pt x="1882" y="675"/>
                    </a:lnTo>
                    <a:lnTo>
                      <a:pt x="2868" y="675"/>
                    </a:lnTo>
                    <a:lnTo>
                      <a:pt x="2868" y="3117"/>
                    </a:lnTo>
                    <a:lnTo>
                      <a:pt x="0" y="3117"/>
                    </a:lnTo>
                    <a:lnTo>
                      <a:pt x="0" y="866"/>
                    </a:lnTo>
                    <a:close/>
                  </a:path>
                </a:pathLst>
              </a:custGeom>
              <a:solidFill>
                <a:srgbClr val="03729D"/>
              </a:solidFill>
              <a:ln w="9525">
                <a:solidFill>
                  <a:srgbClr val="049CD4">
                    <a:lumMod val="50000"/>
                  </a:srgbClr>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iscoSansTT ExtraLight"/>
                  <a:ea typeface="ＭＳ Ｐゴシック" charset="0"/>
                  <a:cs typeface="+mn-cs"/>
                </a:endParaRPr>
              </a:p>
            </p:txBody>
          </p:sp>
          <p:sp>
            <p:nvSpPr>
              <p:cNvPr id="355" name="Rectangle 23">
                <a:extLst>
                  <a:ext uri="{FF2B5EF4-FFF2-40B4-BE49-F238E27FC236}">
                    <a16:creationId xmlns:a16="http://schemas.microsoft.com/office/drawing/2014/main" id="{5DD28B6B-CFA5-4ED4-8578-BEF2CA877EBB}"/>
                  </a:ext>
                </a:extLst>
              </p:cNvPr>
              <p:cNvSpPr>
                <a:spLocks noChangeArrowheads="1"/>
              </p:cNvSpPr>
              <p:nvPr/>
            </p:nvSpPr>
            <p:spPr bwMode="auto">
              <a:xfrm>
                <a:off x="9415463" y="5256213"/>
                <a:ext cx="688975" cy="806450"/>
              </a:xfrm>
              <a:prstGeom prst="rect">
                <a:avLst/>
              </a:prstGeom>
              <a:solidFill>
                <a:srgbClr val="FFFFFF"/>
              </a:solidFill>
              <a:ln w="952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iscoSansTT ExtraLight"/>
                  <a:ea typeface="ＭＳ Ｐゴシック" charset="0"/>
                  <a:cs typeface="+mn-cs"/>
                </a:endParaRPr>
              </a:p>
            </p:txBody>
          </p:sp>
          <p:sp>
            <p:nvSpPr>
              <p:cNvPr id="356" name="Rectangle 24">
                <a:extLst>
                  <a:ext uri="{FF2B5EF4-FFF2-40B4-BE49-F238E27FC236}">
                    <a16:creationId xmlns:a16="http://schemas.microsoft.com/office/drawing/2014/main" id="{B8946714-DF53-4342-BD9A-DD720C2DDD58}"/>
                  </a:ext>
                </a:extLst>
              </p:cNvPr>
              <p:cNvSpPr>
                <a:spLocks noChangeArrowheads="1"/>
              </p:cNvSpPr>
              <p:nvPr/>
            </p:nvSpPr>
            <p:spPr bwMode="auto">
              <a:xfrm>
                <a:off x="10664827" y="5256214"/>
                <a:ext cx="688975" cy="806451"/>
              </a:xfrm>
              <a:prstGeom prst="rect">
                <a:avLst/>
              </a:prstGeom>
              <a:solidFill>
                <a:srgbClr val="FFFFFF"/>
              </a:solidFill>
              <a:ln w="952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iscoSansTT ExtraLight"/>
                  <a:ea typeface="ＭＳ Ｐゴシック" charset="0"/>
                  <a:cs typeface="+mn-cs"/>
                </a:endParaRPr>
              </a:p>
            </p:txBody>
          </p:sp>
          <p:sp>
            <p:nvSpPr>
              <p:cNvPr id="357" name="Rectangle 25">
                <a:extLst>
                  <a:ext uri="{FF2B5EF4-FFF2-40B4-BE49-F238E27FC236}">
                    <a16:creationId xmlns:a16="http://schemas.microsoft.com/office/drawing/2014/main" id="{5E9D0ADB-09DF-4D3F-B40C-3571199EF6E6}"/>
                  </a:ext>
                </a:extLst>
              </p:cNvPr>
              <p:cNvSpPr>
                <a:spLocks noChangeArrowheads="1"/>
              </p:cNvSpPr>
              <p:nvPr/>
            </p:nvSpPr>
            <p:spPr bwMode="auto">
              <a:xfrm>
                <a:off x="12334875" y="5035551"/>
                <a:ext cx="688975" cy="7032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iscoSansTT ExtraLight"/>
                  <a:ea typeface="ＭＳ Ｐゴシック" charset="0"/>
                  <a:cs typeface="+mn-cs"/>
                </a:endParaRPr>
              </a:p>
            </p:txBody>
          </p:sp>
          <p:sp>
            <p:nvSpPr>
              <p:cNvPr id="358" name="Rectangle 26">
                <a:extLst>
                  <a:ext uri="{FF2B5EF4-FFF2-40B4-BE49-F238E27FC236}">
                    <a16:creationId xmlns:a16="http://schemas.microsoft.com/office/drawing/2014/main" id="{42EC0639-894F-4F75-A91B-6D68C8EC9500}"/>
                  </a:ext>
                </a:extLst>
              </p:cNvPr>
              <p:cNvSpPr>
                <a:spLocks noChangeArrowheads="1"/>
              </p:cNvSpPr>
              <p:nvPr/>
            </p:nvSpPr>
            <p:spPr bwMode="auto">
              <a:xfrm>
                <a:off x="12334875" y="6149976"/>
                <a:ext cx="688975" cy="7032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iscoSansTT ExtraLight"/>
                  <a:ea typeface="ＭＳ Ｐゴシック" charset="0"/>
                  <a:cs typeface="+mn-cs"/>
                </a:endParaRPr>
              </a:p>
            </p:txBody>
          </p:sp>
          <p:sp>
            <p:nvSpPr>
              <p:cNvPr id="359" name="Rectangle 27">
                <a:extLst>
                  <a:ext uri="{FF2B5EF4-FFF2-40B4-BE49-F238E27FC236}">
                    <a16:creationId xmlns:a16="http://schemas.microsoft.com/office/drawing/2014/main" id="{E5B17B33-EC45-48B3-A0CE-75BFFD47A3DC}"/>
                  </a:ext>
                </a:extLst>
              </p:cNvPr>
              <p:cNvSpPr>
                <a:spLocks noChangeArrowheads="1"/>
              </p:cNvSpPr>
              <p:nvPr/>
            </p:nvSpPr>
            <p:spPr bwMode="auto">
              <a:xfrm>
                <a:off x="12334875" y="7308851"/>
                <a:ext cx="688975" cy="7032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iscoSansTT ExtraLight"/>
                  <a:ea typeface="ＭＳ Ｐゴシック" charset="0"/>
                  <a:cs typeface="+mn-cs"/>
                </a:endParaRPr>
              </a:p>
            </p:txBody>
          </p:sp>
          <p:sp>
            <p:nvSpPr>
              <p:cNvPr id="360" name="Rectangle 28">
                <a:extLst>
                  <a:ext uri="{FF2B5EF4-FFF2-40B4-BE49-F238E27FC236}">
                    <a16:creationId xmlns:a16="http://schemas.microsoft.com/office/drawing/2014/main" id="{718DB8F9-AB16-47D8-9B03-757C2688769C}"/>
                  </a:ext>
                </a:extLst>
              </p:cNvPr>
              <p:cNvSpPr>
                <a:spLocks noChangeArrowheads="1"/>
              </p:cNvSpPr>
              <p:nvPr/>
            </p:nvSpPr>
            <p:spPr bwMode="auto">
              <a:xfrm>
                <a:off x="9415463" y="6503988"/>
                <a:ext cx="688975" cy="804863"/>
              </a:xfrm>
              <a:prstGeom prst="rect">
                <a:avLst/>
              </a:prstGeom>
              <a:solidFill>
                <a:srgbClr val="FFFFFF"/>
              </a:solidFill>
              <a:ln w="952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iscoSansTT ExtraLight"/>
                  <a:ea typeface="ＭＳ Ｐゴシック" charset="0"/>
                  <a:cs typeface="+mn-cs"/>
                </a:endParaRPr>
              </a:p>
            </p:txBody>
          </p:sp>
          <p:sp>
            <p:nvSpPr>
              <p:cNvPr id="361" name="Rectangle 29">
                <a:extLst>
                  <a:ext uri="{FF2B5EF4-FFF2-40B4-BE49-F238E27FC236}">
                    <a16:creationId xmlns:a16="http://schemas.microsoft.com/office/drawing/2014/main" id="{5A780F10-C994-4CFA-95C4-3C6AAAE571C1}"/>
                  </a:ext>
                </a:extLst>
              </p:cNvPr>
              <p:cNvSpPr>
                <a:spLocks noChangeArrowheads="1"/>
              </p:cNvSpPr>
              <p:nvPr/>
            </p:nvSpPr>
            <p:spPr bwMode="auto">
              <a:xfrm>
                <a:off x="10664825" y="6503988"/>
                <a:ext cx="688975" cy="804863"/>
              </a:xfrm>
              <a:prstGeom prst="rect">
                <a:avLst/>
              </a:prstGeom>
              <a:solidFill>
                <a:srgbClr val="FFFFFF"/>
              </a:solidFill>
              <a:ln w="952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iscoSansTT ExtraLight"/>
                  <a:ea typeface="ＭＳ Ｐゴシック" charset="0"/>
                  <a:cs typeface="+mn-cs"/>
                </a:endParaRPr>
              </a:p>
            </p:txBody>
          </p:sp>
          <p:sp>
            <p:nvSpPr>
              <p:cNvPr id="362" name="Freeform 30">
                <a:extLst>
                  <a:ext uri="{FF2B5EF4-FFF2-40B4-BE49-F238E27FC236}">
                    <a16:creationId xmlns:a16="http://schemas.microsoft.com/office/drawing/2014/main" id="{B6C305B1-8168-46CF-92AA-EAFF3E1EA72F}"/>
                  </a:ext>
                </a:extLst>
              </p:cNvPr>
              <p:cNvSpPr>
                <a:spLocks noEditPoints="1"/>
              </p:cNvSpPr>
              <p:nvPr/>
            </p:nvSpPr>
            <p:spPr bwMode="auto">
              <a:xfrm>
                <a:off x="8788396" y="3417888"/>
                <a:ext cx="4803774" cy="5143500"/>
              </a:xfrm>
              <a:custGeom>
                <a:avLst/>
                <a:gdLst>
                  <a:gd name="T0" fmla="*/ 33 w 3026"/>
                  <a:gd name="T1" fmla="*/ 875 h 3240"/>
                  <a:gd name="T2" fmla="*/ 0 w 3026"/>
                  <a:gd name="T3" fmla="*/ 936 h 3240"/>
                  <a:gd name="T4" fmla="*/ 33 w 3026"/>
                  <a:gd name="T5" fmla="*/ 3227 h 3240"/>
                  <a:gd name="T6" fmla="*/ 2967 w 3026"/>
                  <a:gd name="T7" fmla="*/ 3240 h 3240"/>
                  <a:gd name="T8" fmla="*/ 3026 w 3026"/>
                  <a:gd name="T9" fmla="*/ 3168 h 3240"/>
                  <a:gd name="T10" fmla="*/ 2993 w 3026"/>
                  <a:gd name="T11" fmla="*/ 660 h 3240"/>
                  <a:gd name="T12" fmla="*/ 2013 w 3026"/>
                  <a:gd name="T13" fmla="*/ 53 h 3240"/>
                  <a:gd name="T14" fmla="*/ 1947 w 3026"/>
                  <a:gd name="T15" fmla="*/ 0 h 3240"/>
                  <a:gd name="T16" fmla="*/ 1296 w 3026"/>
                  <a:gd name="T17" fmla="*/ 2723 h 3240"/>
                  <a:gd name="T18" fmla="*/ 1224 w 3026"/>
                  <a:gd name="T19" fmla="*/ 2664 h 3240"/>
                  <a:gd name="T20" fmla="*/ 734 w 3026"/>
                  <a:gd name="T21" fmla="*/ 2699 h 3240"/>
                  <a:gd name="T22" fmla="*/ 1873 w 3026"/>
                  <a:gd name="T23" fmla="*/ 184 h 3240"/>
                  <a:gd name="T24" fmla="*/ 2234 w 3026"/>
                  <a:gd name="T25" fmla="*/ 936 h 3240"/>
                  <a:gd name="T26" fmla="*/ 2162 w 3026"/>
                  <a:gd name="T27" fmla="*/ 997 h 3240"/>
                  <a:gd name="T28" fmla="*/ 2182 w 3026"/>
                  <a:gd name="T29" fmla="*/ 1491 h 3240"/>
                  <a:gd name="T30" fmla="*/ 2679 w 3026"/>
                  <a:gd name="T31" fmla="*/ 1512 h 3240"/>
                  <a:gd name="T32" fmla="*/ 2737 w 3026"/>
                  <a:gd name="T33" fmla="*/ 1440 h 3240"/>
                  <a:gd name="T34" fmla="*/ 2704 w 3026"/>
                  <a:gd name="T35" fmla="*/ 949 h 3240"/>
                  <a:gd name="T36" fmla="*/ 346 w 3026"/>
                  <a:gd name="T37" fmla="*/ 1083 h 3240"/>
                  <a:gd name="T38" fmla="*/ 289 w 3026"/>
                  <a:gd name="T39" fmla="*/ 1153 h 3240"/>
                  <a:gd name="T40" fmla="*/ 322 w 3026"/>
                  <a:gd name="T41" fmla="*/ 1716 h 3240"/>
                  <a:gd name="T42" fmla="*/ 892 w 3026"/>
                  <a:gd name="T43" fmla="*/ 1723 h 3240"/>
                  <a:gd name="T44" fmla="*/ 938 w 3026"/>
                  <a:gd name="T45" fmla="*/ 1153 h 3240"/>
                  <a:gd name="T46" fmla="*/ 892 w 3026"/>
                  <a:gd name="T47" fmla="*/ 1087 h 3240"/>
                  <a:gd name="T48" fmla="*/ 1125 w 3026"/>
                  <a:gd name="T49" fmla="*/ 1087 h 3240"/>
                  <a:gd name="T50" fmla="*/ 1081 w 3026"/>
                  <a:gd name="T51" fmla="*/ 1657 h 3240"/>
                  <a:gd name="T52" fmla="*/ 1125 w 3026"/>
                  <a:gd name="T53" fmla="*/ 1723 h 3240"/>
                  <a:gd name="T54" fmla="*/ 1697 w 3026"/>
                  <a:gd name="T55" fmla="*/ 1716 h 3240"/>
                  <a:gd name="T56" fmla="*/ 1730 w 3026"/>
                  <a:gd name="T57" fmla="*/ 1153 h 3240"/>
                  <a:gd name="T58" fmla="*/ 1671 w 3026"/>
                  <a:gd name="T59" fmla="*/ 1081 h 3240"/>
                  <a:gd name="T60" fmla="*/ 2305 w 3026"/>
                  <a:gd name="T61" fmla="*/ 1079 h 3240"/>
                  <a:gd name="T62" fmla="*/ 1585 w 3026"/>
                  <a:gd name="T63" fmla="*/ 1225 h 3240"/>
                  <a:gd name="T64" fmla="*/ 2206 w 3026"/>
                  <a:gd name="T65" fmla="*/ 1664 h 3240"/>
                  <a:gd name="T66" fmla="*/ 2162 w 3026"/>
                  <a:gd name="T67" fmla="*/ 2161 h 3240"/>
                  <a:gd name="T68" fmla="*/ 2206 w 3026"/>
                  <a:gd name="T69" fmla="*/ 2227 h 3240"/>
                  <a:gd name="T70" fmla="*/ 2704 w 3026"/>
                  <a:gd name="T71" fmla="*/ 2219 h 3240"/>
                  <a:gd name="T72" fmla="*/ 2737 w 3026"/>
                  <a:gd name="T73" fmla="*/ 1728 h 3240"/>
                  <a:gd name="T74" fmla="*/ 2679 w 3026"/>
                  <a:gd name="T75" fmla="*/ 1659 h 3240"/>
                  <a:gd name="T76" fmla="*/ 2305 w 3026"/>
                  <a:gd name="T77" fmla="*/ 1800 h 3240"/>
                  <a:gd name="T78" fmla="*/ 301 w 3026"/>
                  <a:gd name="T79" fmla="*/ 1909 h 3240"/>
                  <a:gd name="T80" fmla="*/ 294 w 3026"/>
                  <a:gd name="T81" fmla="*/ 2475 h 3240"/>
                  <a:gd name="T82" fmla="*/ 864 w 3026"/>
                  <a:gd name="T83" fmla="*/ 2521 h 3240"/>
                  <a:gd name="T84" fmla="*/ 930 w 3026"/>
                  <a:gd name="T85" fmla="*/ 2475 h 3240"/>
                  <a:gd name="T86" fmla="*/ 925 w 3026"/>
                  <a:gd name="T87" fmla="*/ 1905 h 3240"/>
                  <a:gd name="T88" fmla="*/ 1153 w 3026"/>
                  <a:gd name="T89" fmla="*/ 1872 h 3240"/>
                  <a:gd name="T90" fmla="*/ 1086 w 3026"/>
                  <a:gd name="T91" fmla="*/ 1920 h 3240"/>
                  <a:gd name="T92" fmla="*/ 1094 w 3026"/>
                  <a:gd name="T93" fmla="*/ 2488 h 3240"/>
                  <a:gd name="T94" fmla="*/ 1656 w 3026"/>
                  <a:gd name="T95" fmla="*/ 2521 h 3240"/>
                  <a:gd name="T96" fmla="*/ 1728 w 3026"/>
                  <a:gd name="T97" fmla="*/ 2462 h 3240"/>
                  <a:gd name="T98" fmla="*/ 1708 w 3026"/>
                  <a:gd name="T99" fmla="*/ 1894 h 3240"/>
                  <a:gd name="T100" fmla="*/ 792 w 3026"/>
                  <a:gd name="T101" fmla="*/ 2017 h 3240"/>
                  <a:gd name="T102" fmla="*/ 1224 w 3026"/>
                  <a:gd name="T103" fmla="*/ 2376 h 3240"/>
                  <a:gd name="T104" fmla="*/ 2184 w 3026"/>
                  <a:gd name="T105" fmla="*/ 2401 h 3240"/>
                  <a:gd name="T106" fmla="*/ 2162 w 3026"/>
                  <a:gd name="T107" fmla="*/ 2894 h 3240"/>
                  <a:gd name="T108" fmla="*/ 2234 w 3026"/>
                  <a:gd name="T109" fmla="*/ 2953 h 3240"/>
                  <a:gd name="T110" fmla="*/ 2725 w 3026"/>
                  <a:gd name="T111" fmla="*/ 2920 h 3240"/>
                  <a:gd name="T112" fmla="*/ 2732 w 3026"/>
                  <a:gd name="T113" fmla="*/ 2422 h 3240"/>
                  <a:gd name="T114" fmla="*/ 2234 w 3026"/>
                  <a:gd name="T115" fmla="*/ 2376 h 3240"/>
                  <a:gd name="T116" fmla="*/ 1153 w 3026"/>
                  <a:gd name="T117" fmla="*/ 2808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26" h="3240">
                    <a:moveTo>
                      <a:pt x="1947" y="0"/>
                    </a:moveTo>
                    <a:lnTo>
                      <a:pt x="1947" y="0"/>
                    </a:lnTo>
                    <a:lnTo>
                      <a:pt x="1930" y="2"/>
                    </a:lnTo>
                    <a:lnTo>
                      <a:pt x="1914" y="6"/>
                    </a:lnTo>
                    <a:lnTo>
                      <a:pt x="42" y="870"/>
                    </a:lnTo>
                    <a:lnTo>
                      <a:pt x="42" y="870"/>
                    </a:lnTo>
                    <a:lnTo>
                      <a:pt x="33" y="875"/>
                    </a:lnTo>
                    <a:lnTo>
                      <a:pt x="26" y="881"/>
                    </a:lnTo>
                    <a:lnTo>
                      <a:pt x="18" y="888"/>
                    </a:lnTo>
                    <a:lnTo>
                      <a:pt x="13" y="897"/>
                    </a:lnTo>
                    <a:lnTo>
                      <a:pt x="7" y="907"/>
                    </a:lnTo>
                    <a:lnTo>
                      <a:pt x="4" y="916"/>
                    </a:lnTo>
                    <a:lnTo>
                      <a:pt x="2" y="927"/>
                    </a:lnTo>
                    <a:lnTo>
                      <a:pt x="0" y="936"/>
                    </a:lnTo>
                    <a:lnTo>
                      <a:pt x="0" y="3168"/>
                    </a:lnTo>
                    <a:lnTo>
                      <a:pt x="0" y="3168"/>
                    </a:lnTo>
                    <a:lnTo>
                      <a:pt x="2" y="3183"/>
                    </a:lnTo>
                    <a:lnTo>
                      <a:pt x="7" y="3196"/>
                    </a:lnTo>
                    <a:lnTo>
                      <a:pt x="13" y="3209"/>
                    </a:lnTo>
                    <a:lnTo>
                      <a:pt x="22" y="3220"/>
                    </a:lnTo>
                    <a:lnTo>
                      <a:pt x="33" y="3227"/>
                    </a:lnTo>
                    <a:lnTo>
                      <a:pt x="46" y="3234"/>
                    </a:lnTo>
                    <a:lnTo>
                      <a:pt x="59" y="3240"/>
                    </a:lnTo>
                    <a:lnTo>
                      <a:pt x="74" y="3240"/>
                    </a:lnTo>
                    <a:lnTo>
                      <a:pt x="1945" y="3240"/>
                    </a:lnTo>
                    <a:lnTo>
                      <a:pt x="2952" y="3240"/>
                    </a:lnTo>
                    <a:lnTo>
                      <a:pt x="2952" y="3240"/>
                    </a:lnTo>
                    <a:lnTo>
                      <a:pt x="2967" y="3240"/>
                    </a:lnTo>
                    <a:lnTo>
                      <a:pt x="2982" y="3234"/>
                    </a:lnTo>
                    <a:lnTo>
                      <a:pt x="2993" y="3229"/>
                    </a:lnTo>
                    <a:lnTo>
                      <a:pt x="3004" y="3220"/>
                    </a:lnTo>
                    <a:lnTo>
                      <a:pt x="3013" y="3209"/>
                    </a:lnTo>
                    <a:lnTo>
                      <a:pt x="3019" y="3198"/>
                    </a:lnTo>
                    <a:lnTo>
                      <a:pt x="3024" y="3183"/>
                    </a:lnTo>
                    <a:lnTo>
                      <a:pt x="3026" y="3168"/>
                    </a:lnTo>
                    <a:lnTo>
                      <a:pt x="3026" y="721"/>
                    </a:lnTo>
                    <a:lnTo>
                      <a:pt x="3026" y="721"/>
                    </a:lnTo>
                    <a:lnTo>
                      <a:pt x="3024" y="706"/>
                    </a:lnTo>
                    <a:lnTo>
                      <a:pt x="3019" y="691"/>
                    </a:lnTo>
                    <a:lnTo>
                      <a:pt x="3013" y="680"/>
                    </a:lnTo>
                    <a:lnTo>
                      <a:pt x="3004" y="669"/>
                    </a:lnTo>
                    <a:lnTo>
                      <a:pt x="2993" y="660"/>
                    </a:lnTo>
                    <a:lnTo>
                      <a:pt x="2982" y="655"/>
                    </a:lnTo>
                    <a:lnTo>
                      <a:pt x="2967" y="649"/>
                    </a:lnTo>
                    <a:lnTo>
                      <a:pt x="2952" y="647"/>
                    </a:lnTo>
                    <a:lnTo>
                      <a:pt x="2017" y="647"/>
                    </a:lnTo>
                    <a:lnTo>
                      <a:pt x="2017" y="72"/>
                    </a:lnTo>
                    <a:lnTo>
                      <a:pt x="2017" y="72"/>
                    </a:lnTo>
                    <a:lnTo>
                      <a:pt x="2013" y="53"/>
                    </a:lnTo>
                    <a:lnTo>
                      <a:pt x="2008" y="39"/>
                    </a:lnTo>
                    <a:lnTo>
                      <a:pt x="2000" y="26"/>
                    </a:lnTo>
                    <a:lnTo>
                      <a:pt x="1991" y="17"/>
                    </a:lnTo>
                    <a:lnTo>
                      <a:pt x="1980" y="9"/>
                    </a:lnTo>
                    <a:lnTo>
                      <a:pt x="1969" y="4"/>
                    </a:lnTo>
                    <a:lnTo>
                      <a:pt x="1958" y="2"/>
                    </a:lnTo>
                    <a:lnTo>
                      <a:pt x="1947" y="0"/>
                    </a:lnTo>
                    <a:lnTo>
                      <a:pt x="1947" y="0"/>
                    </a:lnTo>
                    <a:close/>
                    <a:moveTo>
                      <a:pt x="1873" y="184"/>
                    </a:moveTo>
                    <a:lnTo>
                      <a:pt x="1873" y="3097"/>
                    </a:lnTo>
                    <a:lnTo>
                      <a:pt x="1296" y="3097"/>
                    </a:lnTo>
                    <a:lnTo>
                      <a:pt x="1296" y="2736"/>
                    </a:lnTo>
                    <a:lnTo>
                      <a:pt x="1296" y="2736"/>
                    </a:lnTo>
                    <a:lnTo>
                      <a:pt x="1296" y="2723"/>
                    </a:lnTo>
                    <a:lnTo>
                      <a:pt x="1291" y="2710"/>
                    </a:lnTo>
                    <a:lnTo>
                      <a:pt x="1285" y="2698"/>
                    </a:lnTo>
                    <a:lnTo>
                      <a:pt x="1276" y="2687"/>
                    </a:lnTo>
                    <a:lnTo>
                      <a:pt x="1265" y="2677"/>
                    </a:lnTo>
                    <a:lnTo>
                      <a:pt x="1252" y="2670"/>
                    </a:lnTo>
                    <a:lnTo>
                      <a:pt x="1239" y="2666"/>
                    </a:lnTo>
                    <a:lnTo>
                      <a:pt x="1224" y="2664"/>
                    </a:lnTo>
                    <a:lnTo>
                      <a:pt x="792" y="2664"/>
                    </a:lnTo>
                    <a:lnTo>
                      <a:pt x="792" y="2664"/>
                    </a:lnTo>
                    <a:lnTo>
                      <a:pt x="778" y="2666"/>
                    </a:lnTo>
                    <a:lnTo>
                      <a:pt x="765" y="2672"/>
                    </a:lnTo>
                    <a:lnTo>
                      <a:pt x="752" y="2679"/>
                    </a:lnTo>
                    <a:lnTo>
                      <a:pt x="741" y="2690"/>
                    </a:lnTo>
                    <a:lnTo>
                      <a:pt x="734" y="2699"/>
                    </a:lnTo>
                    <a:lnTo>
                      <a:pt x="726" y="2712"/>
                    </a:lnTo>
                    <a:lnTo>
                      <a:pt x="722" y="2725"/>
                    </a:lnTo>
                    <a:lnTo>
                      <a:pt x="721" y="2736"/>
                    </a:lnTo>
                    <a:lnTo>
                      <a:pt x="721" y="3097"/>
                    </a:lnTo>
                    <a:lnTo>
                      <a:pt x="145" y="3097"/>
                    </a:lnTo>
                    <a:lnTo>
                      <a:pt x="145" y="982"/>
                    </a:lnTo>
                    <a:lnTo>
                      <a:pt x="1873" y="184"/>
                    </a:lnTo>
                    <a:close/>
                    <a:moveTo>
                      <a:pt x="2017" y="793"/>
                    </a:moveTo>
                    <a:lnTo>
                      <a:pt x="2881" y="793"/>
                    </a:lnTo>
                    <a:lnTo>
                      <a:pt x="2881" y="3097"/>
                    </a:lnTo>
                    <a:lnTo>
                      <a:pt x="2017" y="3097"/>
                    </a:lnTo>
                    <a:lnTo>
                      <a:pt x="2017" y="793"/>
                    </a:lnTo>
                    <a:close/>
                    <a:moveTo>
                      <a:pt x="2234" y="936"/>
                    </a:moveTo>
                    <a:lnTo>
                      <a:pt x="2234" y="936"/>
                    </a:lnTo>
                    <a:lnTo>
                      <a:pt x="2219" y="938"/>
                    </a:lnTo>
                    <a:lnTo>
                      <a:pt x="2206" y="943"/>
                    </a:lnTo>
                    <a:lnTo>
                      <a:pt x="2193" y="951"/>
                    </a:lnTo>
                    <a:lnTo>
                      <a:pt x="2184" y="960"/>
                    </a:lnTo>
                    <a:lnTo>
                      <a:pt x="2175" y="971"/>
                    </a:lnTo>
                    <a:lnTo>
                      <a:pt x="2167" y="984"/>
                    </a:lnTo>
                    <a:lnTo>
                      <a:pt x="2162" y="997"/>
                    </a:lnTo>
                    <a:lnTo>
                      <a:pt x="2162" y="1008"/>
                    </a:lnTo>
                    <a:lnTo>
                      <a:pt x="2162" y="1440"/>
                    </a:lnTo>
                    <a:lnTo>
                      <a:pt x="2162" y="1440"/>
                    </a:lnTo>
                    <a:lnTo>
                      <a:pt x="2162" y="1455"/>
                    </a:lnTo>
                    <a:lnTo>
                      <a:pt x="2167" y="1467"/>
                    </a:lnTo>
                    <a:lnTo>
                      <a:pt x="2175" y="1480"/>
                    </a:lnTo>
                    <a:lnTo>
                      <a:pt x="2182" y="1491"/>
                    </a:lnTo>
                    <a:lnTo>
                      <a:pt x="2193" y="1499"/>
                    </a:lnTo>
                    <a:lnTo>
                      <a:pt x="2206" y="1506"/>
                    </a:lnTo>
                    <a:lnTo>
                      <a:pt x="2219" y="1512"/>
                    </a:lnTo>
                    <a:lnTo>
                      <a:pt x="2234" y="1512"/>
                    </a:lnTo>
                    <a:lnTo>
                      <a:pt x="2666" y="1512"/>
                    </a:lnTo>
                    <a:lnTo>
                      <a:pt x="2666" y="1512"/>
                    </a:lnTo>
                    <a:lnTo>
                      <a:pt x="2679" y="1512"/>
                    </a:lnTo>
                    <a:lnTo>
                      <a:pt x="2691" y="1506"/>
                    </a:lnTo>
                    <a:lnTo>
                      <a:pt x="2704" y="1499"/>
                    </a:lnTo>
                    <a:lnTo>
                      <a:pt x="2715" y="1491"/>
                    </a:lnTo>
                    <a:lnTo>
                      <a:pt x="2725" y="1480"/>
                    </a:lnTo>
                    <a:lnTo>
                      <a:pt x="2732" y="1467"/>
                    </a:lnTo>
                    <a:lnTo>
                      <a:pt x="2736" y="1455"/>
                    </a:lnTo>
                    <a:lnTo>
                      <a:pt x="2737" y="1440"/>
                    </a:lnTo>
                    <a:lnTo>
                      <a:pt x="2737" y="1008"/>
                    </a:lnTo>
                    <a:lnTo>
                      <a:pt x="2737" y="1008"/>
                    </a:lnTo>
                    <a:lnTo>
                      <a:pt x="2736" y="995"/>
                    </a:lnTo>
                    <a:lnTo>
                      <a:pt x="2732" y="982"/>
                    </a:lnTo>
                    <a:lnTo>
                      <a:pt x="2725" y="969"/>
                    </a:lnTo>
                    <a:lnTo>
                      <a:pt x="2715" y="958"/>
                    </a:lnTo>
                    <a:lnTo>
                      <a:pt x="2704" y="949"/>
                    </a:lnTo>
                    <a:lnTo>
                      <a:pt x="2691" y="941"/>
                    </a:lnTo>
                    <a:lnTo>
                      <a:pt x="2679" y="938"/>
                    </a:lnTo>
                    <a:lnTo>
                      <a:pt x="2666" y="936"/>
                    </a:lnTo>
                    <a:lnTo>
                      <a:pt x="2234" y="936"/>
                    </a:lnTo>
                    <a:close/>
                    <a:moveTo>
                      <a:pt x="360" y="1079"/>
                    </a:moveTo>
                    <a:lnTo>
                      <a:pt x="360" y="1079"/>
                    </a:lnTo>
                    <a:lnTo>
                      <a:pt x="346" y="1083"/>
                    </a:lnTo>
                    <a:lnTo>
                      <a:pt x="333" y="1087"/>
                    </a:lnTo>
                    <a:lnTo>
                      <a:pt x="320" y="1094"/>
                    </a:lnTo>
                    <a:lnTo>
                      <a:pt x="311" y="1105"/>
                    </a:lnTo>
                    <a:lnTo>
                      <a:pt x="301" y="1116"/>
                    </a:lnTo>
                    <a:lnTo>
                      <a:pt x="294" y="1127"/>
                    </a:lnTo>
                    <a:lnTo>
                      <a:pt x="290" y="1140"/>
                    </a:lnTo>
                    <a:lnTo>
                      <a:pt x="289" y="1153"/>
                    </a:lnTo>
                    <a:lnTo>
                      <a:pt x="289" y="1657"/>
                    </a:lnTo>
                    <a:lnTo>
                      <a:pt x="289" y="1657"/>
                    </a:lnTo>
                    <a:lnTo>
                      <a:pt x="290" y="1670"/>
                    </a:lnTo>
                    <a:lnTo>
                      <a:pt x="294" y="1684"/>
                    </a:lnTo>
                    <a:lnTo>
                      <a:pt x="301" y="1695"/>
                    </a:lnTo>
                    <a:lnTo>
                      <a:pt x="311" y="1706"/>
                    </a:lnTo>
                    <a:lnTo>
                      <a:pt x="322" y="1716"/>
                    </a:lnTo>
                    <a:lnTo>
                      <a:pt x="335" y="1723"/>
                    </a:lnTo>
                    <a:lnTo>
                      <a:pt x="347" y="1727"/>
                    </a:lnTo>
                    <a:lnTo>
                      <a:pt x="360" y="1728"/>
                    </a:lnTo>
                    <a:lnTo>
                      <a:pt x="864" y="1728"/>
                    </a:lnTo>
                    <a:lnTo>
                      <a:pt x="864" y="1728"/>
                    </a:lnTo>
                    <a:lnTo>
                      <a:pt x="879" y="1727"/>
                    </a:lnTo>
                    <a:lnTo>
                      <a:pt x="892" y="1723"/>
                    </a:lnTo>
                    <a:lnTo>
                      <a:pt x="904" y="1716"/>
                    </a:lnTo>
                    <a:lnTo>
                      <a:pt x="916" y="1706"/>
                    </a:lnTo>
                    <a:lnTo>
                      <a:pt x="925" y="1695"/>
                    </a:lnTo>
                    <a:lnTo>
                      <a:pt x="930" y="1684"/>
                    </a:lnTo>
                    <a:lnTo>
                      <a:pt x="936" y="1670"/>
                    </a:lnTo>
                    <a:lnTo>
                      <a:pt x="938" y="1657"/>
                    </a:lnTo>
                    <a:lnTo>
                      <a:pt x="938" y="1153"/>
                    </a:lnTo>
                    <a:lnTo>
                      <a:pt x="938" y="1153"/>
                    </a:lnTo>
                    <a:lnTo>
                      <a:pt x="936" y="1138"/>
                    </a:lnTo>
                    <a:lnTo>
                      <a:pt x="930" y="1125"/>
                    </a:lnTo>
                    <a:lnTo>
                      <a:pt x="925" y="1112"/>
                    </a:lnTo>
                    <a:lnTo>
                      <a:pt x="916" y="1101"/>
                    </a:lnTo>
                    <a:lnTo>
                      <a:pt x="904" y="1092"/>
                    </a:lnTo>
                    <a:lnTo>
                      <a:pt x="892" y="1087"/>
                    </a:lnTo>
                    <a:lnTo>
                      <a:pt x="879" y="1081"/>
                    </a:lnTo>
                    <a:lnTo>
                      <a:pt x="864" y="1079"/>
                    </a:lnTo>
                    <a:lnTo>
                      <a:pt x="360" y="1079"/>
                    </a:lnTo>
                    <a:close/>
                    <a:moveTo>
                      <a:pt x="1153" y="1079"/>
                    </a:moveTo>
                    <a:lnTo>
                      <a:pt x="1153" y="1079"/>
                    </a:lnTo>
                    <a:lnTo>
                      <a:pt x="1138" y="1083"/>
                    </a:lnTo>
                    <a:lnTo>
                      <a:pt x="1125" y="1087"/>
                    </a:lnTo>
                    <a:lnTo>
                      <a:pt x="1112" y="1094"/>
                    </a:lnTo>
                    <a:lnTo>
                      <a:pt x="1101" y="1105"/>
                    </a:lnTo>
                    <a:lnTo>
                      <a:pt x="1094" y="1116"/>
                    </a:lnTo>
                    <a:lnTo>
                      <a:pt x="1086" y="1127"/>
                    </a:lnTo>
                    <a:lnTo>
                      <a:pt x="1083" y="1140"/>
                    </a:lnTo>
                    <a:lnTo>
                      <a:pt x="1081" y="1153"/>
                    </a:lnTo>
                    <a:lnTo>
                      <a:pt x="1081" y="1657"/>
                    </a:lnTo>
                    <a:lnTo>
                      <a:pt x="1081" y="1657"/>
                    </a:lnTo>
                    <a:lnTo>
                      <a:pt x="1083" y="1670"/>
                    </a:lnTo>
                    <a:lnTo>
                      <a:pt x="1086" y="1684"/>
                    </a:lnTo>
                    <a:lnTo>
                      <a:pt x="1094" y="1695"/>
                    </a:lnTo>
                    <a:lnTo>
                      <a:pt x="1103" y="1706"/>
                    </a:lnTo>
                    <a:lnTo>
                      <a:pt x="1114" y="1716"/>
                    </a:lnTo>
                    <a:lnTo>
                      <a:pt x="1125" y="1723"/>
                    </a:lnTo>
                    <a:lnTo>
                      <a:pt x="1140" y="1727"/>
                    </a:lnTo>
                    <a:lnTo>
                      <a:pt x="1153" y="1728"/>
                    </a:lnTo>
                    <a:lnTo>
                      <a:pt x="1656" y="1728"/>
                    </a:lnTo>
                    <a:lnTo>
                      <a:pt x="1656" y="1728"/>
                    </a:lnTo>
                    <a:lnTo>
                      <a:pt x="1671" y="1727"/>
                    </a:lnTo>
                    <a:lnTo>
                      <a:pt x="1684" y="1723"/>
                    </a:lnTo>
                    <a:lnTo>
                      <a:pt x="1697" y="1716"/>
                    </a:lnTo>
                    <a:lnTo>
                      <a:pt x="1708" y="1706"/>
                    </a:lnTo>
                    <a:lnTo>
                      <a:pt x="1717" y="1695"/>
                    </a:lnTo>
                    <a:lnTo>
                      <a:pt x="1723" y="1684"/>
                    </a:lnTo>
                    <a:lnTo>
                      <a:pt x="1728" y="1670"/>
                    </a:lnTo>
                    <a:lnTo>
                      <a:pt x="1730" y="1657"/>
                    </a:lnTo>
                    <a:lnTo>
                      <a:pt x="1730" y="1153"/>
                    </a:lnTo>
                    <a:lnTo>
                      <a:pt x="1730" y="1153"/>
                    </a:lnTo>
                    <a:lnTo>
                      <a:pt x="1728" y="1138"/>
                    </a:lnTo>
                    <a:lnTo>
                      <a:pt x="1723" y="1125"/>
                    </a:lnTo>
                    <a:lnTo>
                      <a:pt x="1717" y="1112"/>
                    </a:lnTo>
                    <a:lnTo>
                      <a:pt x="1708" y="1101"/>
                    </a:lnTo>
                    <a:lnTo>
                      <a:pt x="1697" y="1092"/>
                    </a:lnTo>
                    <a:lnTo>
                      <a:pt x="1684" y="1087"/>
                    </a:lnTo>
                    <a:lnTo>
                      <a:pt x="1671" y="1081"/>
                    </a:lnTo>
                    <a:lnTo>
                      <a:pt x="1656" y="1079"/>
                    </a:lnTo>
                    <a:lnTo>
                      <a:pt x="1153" y="1079"/>
                    </a:lnTo>
                    <a:close/>
                    <a:moveTo>
                      <a:pt x="2305" y="1079"/>
                    </a:moveTo>
                    <a:lnTo>
                      <a:pt x="2594" y="1079"/>
                    </a:lnTo>
                    <a:lnTo>
                      <a:pt x="2594" y="1368"/>
                    </a:lnTo>
                    <a:lnTo>
                      <a:pt x="2305" y="1368"/>
                    </a:lnTo>
                    <a:lnTo>
                      <a:pt x="2305" y="1079"/>
                    </a:lnTo>
                    <a:close/>
                    <a:moveTo>
                      <a:pt x="432" y="1225"/>
                    </a:moveTo>
                    <a:lnTo>
                      <a:pt x="792" y="1225"/>
                    </a:lnTo>
                    <a:lnTo>
                      <a:pt x="792" y="1585"/>
                    </a:lnTo>
                    <a:lnTo>
                      <a:pt x="432" y="1585"/>
                    </a:lnTo>
                    <a:lnTo>
                      <a:pt x="432" y="1225"/>
                    </a:lnTo>
                    <a:close/>
                    <a:moveTo>
                      <a:pt x="1224" y="1225"/>
                    </a:moveTo>
                    <a:lnTo>
                      <a:pt x="1585" y="1225"/>
                    </a:lnTo>
                    <a:lnTo>
                      <a:pt x="1585" y="1585"/>
                    </a:lnTo>
                    <a:lnTo>
                      <a:pt x="1224" y="1585"/>
                    </a:lnTo>
                    <a:lnTo>
                      <a:pt x="1224" y="1225"/>
                    </a:lnTo>
                    <a:close/>
                    <a:moveTo>
                      <a:pt x="2234" y="1657"/>
                    </a:moveTo>
                    <a:lnTo>
                      <a:pt x="2234" y="1657"/>
                    </a:lnTo>
                    <a:lnTo>
                      <a:pt x="2219" y="1659"/>
                    </a:lnTo>
                    <a:lnTo>
                      <a:pt x="2206" y="1664"/>
                    </a:lnTo>
                    <a:lnTo>
                      <a:pt x="2193" y="1671"/>
                    </a:lnTo>
                    <a:lnTo>
                      <a:pt x="2184" y="1681"/>
                    </a:lnTo>
                    <a:lnTo>
                      <a:pt x="2175" y="1692"/>
                    </a:lnTo>
                    <a:lnTo>
                      <a:pt x="2167" y="1703"/>
                    </a:lnTo>
                    <a:lnTo>
                      <a:pt x="2162" y="1716"/>
                    </a:lnTo>
                    <a:lnTo>
                      <a:pt x="2162" y="1728"/>
                    </a:lnTo>
                    <a:lnTo>
                      <a:pt x="2162" y="2161"/>
                    </a:lnTo>
                    <a:lnTo>
                      <a:pt x="2162" y="2161"/>
                    </a:lnTo>
                    <a:lnTo>
                      <a:pt x="2162" y="2175"/>
                    </a:lnTo>
                    <a:lnTo>
                      <a:pt x="2167" y="2188"/>
                    </a:lnTo>
                    <a:lnTo>
                      <a:pt x="2175" y="2199"/>
                    </a:lnTo>
                    <a:lnTo>
                      <a:pt x="2182" y="2210"/>
                    </a:lnTo>
                    <a:lnTo>
                      <a:pt x="2193" y="2219"/>
                    </a:lnTo>
                    <a:lnTo>
                      <a:pt x="2206" y="2227"/>
                    </a:lnTo>
                    <a:lnTo>
                      <a:pt x="2219" y="2230"/>
                    </a:lnTo>
                    <a:lnTo>
                      <a:pt x="2234" y="2232"/>
                    </a:lnTo>
                    <a:lnTo>
                      <a:pt x="2666" y="2232"/>
                    </a:lnTo>
                    <a:lnTo>
                      <a:pt x="2666" y="2232"/>
                    </a:lnTo>
                    <a:lnTo>
                      <a:pt x="2679" y="2230"/>
                    </a:lnTo>
                    <a:lnTo>
                      <a:pt x="2691" y="2227"/>
                    </a:lnTo>
                    <a:lnTo>
                      <a:pt x="2704" y="2219"/>
                    </a:lnTo>
                    <a:lnTo>
                      <a:pt x="2715" y="2210"/>
                    </a:lnTo>
                    <a:lnTo>
                      <a:pt x="2725" y="2199"/>
                    </a:lnTo>
                    <a:lnTo>
                      <a:pt x="2732" y="2188"/>
                    </a:lnTo>
                    <a:lnTo>
                      <a:pt x="2736" y="2175"/>
                    </a:lnTo>
                    <a:lnTo>
                      <a:pt x="2737" y="2161"/>
                    </a:lnTo>
                    <a:lnTo>
                      <a:pt x="2737" y="1728"/>
                    </a:lnTo>
                    <a:lnTo>
                      <a:pt x="2737" y="1728"/>
                    </a:lnTo>
                    <a:lnTo>
                      <a:pt x="2736" y="1714"/>
                    </a:lnTo>
                    <a:lnTo>
                      <a:pt x="2732" y="1701"/>
                    </a:lnTo>
                    <a:lnTo>
                      <a:pt x="2725" y="1690"/>
                    </a:lnTo>
                    <a:lnTo>
                      <a:pt x="2715" y="1679"/>
                    </a:lnTo>
                    <a:lnTo>
                      <a:pt x="2704" y="1670"/>
                    </a:lnTo>
                    <a:lnTo>
                      <a:pt x="2691" y="1662"/>
                    </a:lnTo>
                    <a:lnTo>
                      <a:pt x="2679" y="1659"/>
                    </a:lnTo>
                    <a:lnTo>
                      <a:pt x="2666" y="1657"/>
                    </a:lnTo>
                    <a:lnTo>
                      <a:pt x="2234" y="1657"/>
                    </a:lnTo>
                    <a:close/>
                    <a:moveTo>
                      <a:pt x="2305" y="1800"/>
                    </a:moveTo>
                    <a:lnTo>
                      <a:pt x="2594" y="1800"/>
                    </a:lnTo>
                    <a:lnTo>
                      <a:pt x="2594" y="2089"/>
                    </a:lnTo>
                    <a:lnTo>
                      <a:pt x="2305" y="2089"/>
                    </a:lnTo>
                    <a:lnTo>
                      <a:pt x="2305" y="1800"/>
                    </a:lnTo>
                    <a:close/>
                    <a:moveTo>
                      <a:pt x="360" y="1872"/>
                    </a:moveTo>
                    <a:lnTo>
                      <a:pt x="360" y="1872"/>
                    </a:lnTo>
                    <a:lnTo>
                      <a:pt x="346" y="1874"/>
                    </a:lnTo>
                    <a:lnTo>
                      <a:pt x="333" y="1879"/>
                    </a:lnTo>
                    <a:lnTo>
                      <a:pt x="320" y="1887"/>
                    </a:lnTo>
                    <a:lnTo>
                      <a:pt x="311" y="1898"/>
                    </a:lnTo>
                    <a:lnTo>
                      <a:pt x="301" y="1909"/>
                    </a:lnTo>
                    <a:lnTo>
                      <a:pt x="294" y="1920"/>
                    </a:lnTo>
                    <a:lnTo>
                      <a:pt x="290" y="1933"/>
                    </a:lnTo>
                    <a:lnTo>
                      <a:pt x="289" y="1944"/>
                    </a:lnTo>
                    <a:lnTo>
                      <a:pt x="289" y="2449"/>
                    </a:lnTo>
                    <a:lnTo>
                      <a:pt x="289" y="2449"/>
                    </a:lnTo>
                    <a:lnTo>
                      <a:pt x="290" y="2462"/>
                    </a:lnTo>
                    <a:lnTo>
                      <a:pt x="294" y="2475"/>
                    </a:lnTo>
                    <a:lnTo>
                      <a:pt x="301" y="2488"/>
                    </a:lnTo>
                    <a:lnTo>
                      <a:pt x="311" y="2499"/>
                    </a:lnTo>
                    <a:lnTo>
                      <a:pt x="322" y="2508"/>
                    </a:lnTo>
                    <a:lnTo>
                      <a:pt x="335" y="2516"/>
                    </a:lnTo>
                    <a:lnTo>
                      <a:pt x="347" y="2519"/>
                    </a:lnTo>
                    <a:lnTo>
                      <a:pt x="360" y="2521"/>
                    </a:lnTo>
                    <a:lnTo>
                      <a:pt x="864" y="2521"/>
                    </a:lnTo>
                    <a:lnTo>
                      <a:pt x="864" y="2521"/>
                    </a:lnTo>
                    <a:lnTo>
                      <a:pt x="879" y="2519"/>
                    </a:lnTo>
                    <a:lnTo>
                      <a:pt x="892" y="2516"/>
                    </a:lnTo>
                    <a:lnTo>
                      <a:pt x="904" y="2508"/>
                    </a:lnTo>
                    <a:lnTo>
                      <a:pt x="916" y="2499"/>
                    </a:lnTo>
                    <a:lnTo>
                      <a:pt x="925" y="2488"/>
                    </a:lnTo>
                    <a:lnTo>
                      <a:pt x="930" y="2475"/>
                    </a:lnTo>
                    <a:lnTo>
                      <a:pt x="936" y="2462"/>
                    </a:lnTo>
                    <a:lnTo>
                      <a:pt x="938" y="2449"/>
                    </a:lnTo>
                    <a:lnTo>
                      <a:pt x="938" y="1944"/>
                    </a:lnTo>
                    <a:lnTo>
                      <a:pt x="938" y="1944"/>
                    </a:lnTo>
                    <a:lnTo>
                      <a:pt x="936" y="1931"/>
                    </a:lnTo>
                    <a:lnTo>
                      <a:pt x="930" y="1918"/>
                    </a:lnTo>
                    <a:lnTo>
                      <a:pt x="925" y="1905"/>
                    </a:lnTo>
                    <a:lnTo>
                      <a:pt x="916" y="1894"/>
                    </a:lnTo>
                    <a:lnTo>
                      <a:pt x="904" y="1885"/>
                    </a:lnTo>
                    <a:lnTo>
                      <a:pt x="892" y="1879"/>
                    </a:lnTo>
                    <a:lnTo>
                      <a:pt x="879" y="1874"/>
                    </a:lnTo>
                    <a:lnTo>
                      <a:pt x="864" y="1872"/>
                    </a:lnTo>
                    <a:lnTo>
                      <a:pt x="360" y="1872"/>
                    </a:lnTo>
                    <a:close/>
                    <a:moveTo>
                      <a:pt x="1153" y="1872"/>
                    </a:moveTo>
                    <a:lnTo>
                      <a:pt x="1153" y="1872"/>
                    </a:lnTo>
                    <a:lnTo>
                      <a:pt x="1138" y="1874"/>
                    </a:lnTo>
                    <a:lnTo>
                      <a:pt x="1125" y="1879"/>
                    </a:lnTo>
                    <a:lnTo>
                      <a:pt x="1112" y="1887"/>
                    </a:lnTo>
                    <a:lnTo>
                      <a:pt x="1101" y="1898"/>
                    </a:lnTo>
                    <a:lnTo>
                      <a:pt x="1094" y="1909"/>
                    </a:lnTo>
                    <a:lnTo>
                      <a:pt x="1086" y="1920"/>
                    </a:lnTo>
                    <a:lnTo>
                      <a:pt x="1083" y="1933"/>
                    </a:lnTo>
                    <a:lnTo>
                      <a:pt x="1081" y="1944"/>
                    </a:lnTo>
                    <a:lnTo>
                      <a:pt x="1081" y="2449"/>
                    </a:lnTo>
                    <a:lnTo>
                      <a:pt x="1081" y="2449"/>
                    </a:lnTo>
                    <a:lnTo>
                      <a:pt x="1083" y="2462"/>
                    </a:lnTo>
                    <a:lnTo>
                      <a:pt x="1086" y="2475"/>
                    </a:lnTo>
                    <a:lnTo>
                      <a:pt x="1094" y="2488"/>
                    </a:lnTo>
                    <a:lnTo>
                      <a:pt x="1103" y="2499"/>
                    </a:lnTo>
                    <a:lnTo>
                      <a:pt x="1114" y="2508"/>
                    </a:lnTo>
                    <a:lnTo>
                      <a:pt x="1125" y="2516"/>
                    </a:lnTo>
                    <a:lnTo>
                      <a:pt x="1140" y="2519"/>
                    </a:lnTo>
                    <a:lnTo>
                      <a:pt x="1153" y="2521"/>
                    </a:lnTo>
                    <a:lnTo>
                      <a:pt x="1656" y="2521"/>
                    </a:lnTo>
                    <a:lnTo>
                      <a:pt x="1656" y="2521"/>
                    </a:lnTo>
                    <a:lnTo>
                      <a:pt x="1671" y="2519"/>
                    </a:lnTo>
                    <a:lnTo>
                      <a:pt x="1684" y="2516"/>
                    </a:lnTo>
                    <a:lnTo>
                      <a:pt x="1697" y="2508"/>
                    </a:lnTo>
                    <a:lnTo>
                      <a:pt x="1708" y="2499"/>
                    </a:lnTo>
                    <a:lnTo>
                      <a:pt x="1717" y="2488"/>
                    </a:lnTo>
                    <a:lnTo>
                      <a:pt x="1723" y="2475"/>
                    </a:lnTo>
                    <a:lnTo>
                      <a:pt x="1728" y="2462"/>
                    </a:lnTo>
                    <a:lnTo>
                      <a:pt x="1730" y="2449"/>
                    </a:lnTo>
                    <a:lnTo>
                      <a:pt x="1730" y="1944"/>
                    </a:lnTo>
                    <a:lnTo>
                      <a:pt x="1730" y="1944"/>
                    </a:lnTo>
                    <a:lnTo>
                      <a:pt x="1728" y="1931"/>
                    </a:lnTo>
                    <a:lnTo>
                      <a:pt x="1723" y="1918"/>
                    </a:lnTo>
                    <a:lnTo>
                      <a:pt x="1717" y="1905"/>
                    </a:lnTo>
                    <a:lnTo>
                      <a:pt x="1708" y="1894"/>
                    </a:lnTo>
                    <a:lnTo>
                      <a:pt x="1697" y="1885"/>
                    </a:lnTo>
                    <a:lnTo>
                      <a:pt x="1684" y="1879"/>
                    </a:lnTo>
                    <a:lnTo>
                      <a:pt x="1671" y="1874"/>
                    </a:lnTo>
                    <a:lnTo>
                      <a:pt x="1656" y="1872"/>
                    </a:lnTo>
                    <a:lnTo>
                      <a:pt x="1153" y="1872"/>
                    </a:lnTo>
                    <a:close/>
                    <a:moveTo>
                      <a:pt x="432" y="2017"/>
                    </a:moveTo>
                    <a:lnTo>
                      <a:pt x="792" y="2017"/>
                    </a:lnTo>
                    <a:lnTo>
                      <a:pt x="792" y="2376"/>
                    </a:lnTo>
                    <a:lnTo>
                      <a:pt x="432" y="2376"/>
                    </a:lnTo>
                    <a:lnTo>
                      <a:pt x="432" y="2017"/>
                    </a:lnTo>
                    <a:close/>
                    <a:moveTo>
                      <a:pt x="1224" y="2017"/>
                    </a:moveTo>
                    <a:lnTo>
                      <a:pt x="1585" y="2017"/>
                    </a:lnTo>
                    <a:lnTo>
                      <a:pt x="1585" y="2376"/>
                    </a:lnTo>
                    <a:lnTo>
                      <a:pt x="1224" y="2376"/>
                    </a:lnTo>
                    <a:lnTo>
                      <a:pt x="1224" y="2017"/>
                    </a:lnTo>
                    <a:close/>
                    <a:moveTo>
                      <a:pt x="2234" y="2376"/>
                    </a:moveTo>
                    <a:lnTo>
                      <a:pt x="2234" y="2376"/>
                    </a:lnTo>
                    <a:lnTo>
                      <a:pt x="2219" y="2379"/>
                    </a:lnTo>
                    <a:lnTo>
                      <a:pt x="2206" y="2383"/>
                    </a:lnTo>
                    <a:lnTo>
                      <a:pt x="2193" y="2392"/>
                    </a:lnTo>
                    <a:lnTo>
                      <a:pt x="2184" y="2401"/>
                    </a:lnTo>
                    <a:lnTo>
                      <a:pt x="2175" y="2413"/>
                    </a:lnTo>
                    <a:lnTo>
                      <a:pt x="2167" y="2424"/>
                    </a:lnTo>
                    <a:lnTo>
                      <a:pt x="2162" y="2436"/>
                    </a:lnTo>
                    <a:lnTo>
                      <a:pt x="2162" y="2449"/>
                    </a:lnTo>
                    <a:lnTo>
                      <a:pt x="2162" y="2881"/>
                    </a:lnTo>
                    <a:lnTo>
                      <a:pt x="2162" y="2881"/>
                    </a:lnTo>
                    <a:lnTo>
                      <a:pt x="2162" y="2894"/>
                    </a:lnTo>
                    <a:lnTo>
                      <a:pt x="2167" y="2907"/>
                    </a:lnTo>
                    <a:lnTo>
                      <a:pt x="2175" y="2920"/>
                    </a:lnTo>
                    <a:lnTo>
                      <a:pt x="2182" y="2931"/>
                    </a:lnTo>
                    <a:lnTo>
                      <a:pt x="2193" y="2940"/>
                    </a:lnTo>
                    <a:lnTo>
                      <a:pt x="2206" y="2948"/>
                    </a:lnTo>
                    <a:lnTo>
                      <a:pt x="2219" y="2951"/>
                    </a:lnTo>
                    <a:lnTo>
                      <a:pt x="2234" y="2953"/>
                    </a:lnTo>
                    <a:lnTo>
                      <a:pt x="2666" y="2953"/>
                    </a:lnTo>
                    <a:lnTo>
                      <a:pt x="2666" y="2953"/>
                    </a:lnTo>
                    <a:lnTo>
                      <a:pt x="2679" y="2951"/>
                    </a:lnTo>
                    <a:lnTo>
                      <a:pt x="2691" y="2948"/>
                    </a:lnTo>
                    <a:lnTo>
                      <a:pt x="2704" y="2940"/>
                    </a:lnTo>
                    <a:lnTo>
                      <a:pt x="2715" y="2931"/>
                    </a:lnTo>
                    <a:lnTo>
                      <a:pt x="2725" y="2920"/>
                    </a:lnTo>
                    <a:lnTo>
                      <a:pt x="2732" y="2907"/>
                    </a:lnTo>
                    <a:lnTo>
                      <a:pt x="2736" y="2894"/>
                    </a:lnTo>
                    <a:lnTo>
                      <a:pt x="2737" y="2881"/>
                    </a:lnTo>
                    <a:lnTo>
                      <a:pt x="2737" y="2449"/>
                    </a:lnTo>
                    <a:lnTo>
                      <a:pt x="2737" y="2449"/>
                    </a:lnTo>
                    <a:lnTo>
                      <a:pt x="2736" y="2435"/>
                    </a:lnTo>
                    <a:lnTo>
                      <a:pt x="2732" y="2422"/>
                    </a:lnTo>
                    <a:lnTo>
                      <a:pt x="2725" y="2409"/>
                    </a:lnTo>
                    <a:lnTo>
                      <a:pt x="2715" y="2398"/>
                    </a:lnTo>
                    <a:lnTo>
                      <a:pt x="2704" y="2389"/>
                    </a:lnTo>
                    <a:lnTo>
                      <a:pt x="2691" y="2383"/>
                    </a:lnTo>
                    <a:lnTo>
                      <a:pt x="2679" y="2378"/>
                    </a:lnTo>
                    <a:lnTo>
                      <a:pt x="2666" y="2376"/>
                    </a:lnTo>
                    <a:lnTo>
                      <a:pt x="2234" y="2376"/>
                    </a:lnTo>
                    <a:close/>
                    <a:moveTo>
                      <a:pt x="2305" y="2521"/>
                    </a:moveTo>
                    <a:lnTo>
                      <a:pt x="2594" y="2521"/>
                    </a:lnTo>
                    <a:lnTo>
                      <a:pt x="2594" y="2808"/>
                    </a:lnTo>
                    <a:lnTo>
                      <a:pt x="2305" y="2808"/>
                    </a:lnTo>
                    <a:lnTo>
                      <a:pt x="2305" y="2521"/>
                    </a:lnTo>
                    <a:close/>
                    <a:moveTo>
                      <a:pt x="864" y="2808"/>
                    </a:moveTo>
                    <a:lnTo>
                      <a:pt x="1153" y="2808"/>
                    </a:lnTo>
                    <a:lnTo>
                      <a:pt x="1153" y="3097"/>
                    </a:lnTo>
                    <a:lnTo>
                      <a:pt x="864" y="3097"/>
                    </a:lnTo>
                    <a:lnTo>
                      <a:pt x="864" y="2808"/>
                    </a:lnTo>
                    <a:close/>
                  </a:path>
                </a:pathLst>
              </a:custGeom>
              <a:solidFill>
                <a:srgbClr val="049CD4">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iscoSansTT ExtraLight"/>
                  <a:ea typeface="ＭＳ Ｐゴシック" charset="0"/>
                  <a:cs typeface="+mn-cs"/>
                </a:endParaRPr>
              </a:p>
            </p:txBody>
          </p:sp>
        </p:grpSp>
        <p:grpSp>
          <p:nvGrpSpPr>
            <p:cNvPr id="363" name="Group 362">
              <a:extLst>
                <a:ext uri="{FF2B5EF4-FFF2-40B4-BE49-F238E27FC236}">
                  <a16:creationId xmlns:a16="http://schemas.microsoft.com/office/drawing/2014/main" id="{1866FA94-4998-4742-888A-E9219E6B6C62}"/>
                </a:ext>
              </a:extLst>
            </p:cNvPr>
            <p:cNvGrpSpPr/>
            <p:nvPr/>
          </p:nvGrpSpPr>
          <p:grpSpPr>
            <a:xfrm>
              <a:off x="719187" y="3520347"/>
              <a:ext cx="283858" cy="283858"/>
              <a:chOff x="2453767" y="2440976"/>
              <a:chExt cx="499861" cy="499861"/>
            </a:xfrm>
          </p:grpSpPr>
          <p:sp>
            <p:nvSpPr>
              <p:cNvPr id="364" name="Oval 363">
                <a:extLst>
                  <a:ext uri="{FF2B5EF4-FFF2-40B4-BE49-F238E27FC236}">
                    <a16:creationId xmlns:a16="http://schemas.microsoft.com/office/drawing/2014/main" id="{53CD3FCD-3BE0-401C-8718-CB8C03591546}"/>
                  </a:ext>
                </a:extLst>
              </p:cNvPr>
              <p:cNvSpPr/>
              <p:nvPr/>
            </p:nvSpPr>
            <p:spPr>
              <a:xfrm>
                <a:off x="2453767" y="2440976"/>
                <a:ext cx="499861" cy="499861"/>
              </a:xfrm>
              <a:prstGeom prst="ellipse">
                <a:avLst/>
              </a:prstGeom>
              <a:solidFill>
                <a:schemeClr val="accent1"/>
              </a:solidFill>
              <a:ln w="25400" cap="flat">
                <a:noFill/>
                <a:round/>
                <a:headEnd type="none" w="med" len="med"/>
                <a:tailEnd type="none" w="med" len="med"/>
              </a:ln>
              <a:effectLst/>
            </p:spPr>
            <p:txBody>
              <a:bodyPr lIns="0" tIns="0" rIns="0" bIns="0"/>
              <a:lstStyle/>
              <a:p>
                <a:pPr marL="0" marR="0" lvl="0" indent="0" algn="l" defTabSz="685800" rtl="0" eaLnBrk="0" fontAlgn="auto" latinLnBrk="0" hangingPunct="0">
                  <a:lnSpc>
                    <a:spcPct val="9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grpSp>
            <p:nvGrpSpPr>
              <p:cNvPr id="365" name="Group 364">
                <a:extLst>
                  <a:ext uri="{FF2B5EF4-FFF2-40B4-BE49-F238E27FC236}">
                    <a16:creationId xmlns:a16="http://schemas.microsoft.com/office/drawing/2014/main" id="{D3ABAD7E-234C-4D1C-9F80-1E992FF9A39A}"/>
                  </a:ext>
                </a:extLst>
              </p:cNvPr>
              <p:cNvGrpSpPr/>
              <p:nvPr/>
            </p:nvGrpSpPr>
            <p:grpSpPr>
              <a:xfrm>
                <a:off x="2549661" y="2583636"/>
                <a:ext cx="310869" cy="228794"/>
                <a:chOff x="5184662" y="2694894"/>
                <a:chExt cx="164415" cy="121006"/>
              </a:xfrm>
            </p:grpSpPr>
            <p:sp>
              <p:nvSpPr>
                <p:cNvPr id="366" name="Rectangle 49">
                  <a:extLst>
                    <a:ext uri="{FF2B5EF4-FFF2-40B4-BE49-F238E27FC236}">
                      <a16:creationId xmlns:a16="http://schemas.microsoft.com/office/drawing/2014/main" id="{B8C84F32-E6C1-4212-B4F9-4A13B86DBD8A}"/>
                    </a:ext>
                  </a:extLst>
                </p:cNvPr>
                <p:cNvSpPr>
                  <a:spLocks noChangeArrowheads="1"/>
                </p:cNvSpPr>
                <p:nvPr/>
              </p:nvSpPr>
              <p:spPr bwMode="auto">
                <a:xfrm>
                  <a:off x="5184662" y="2777916"/>
                  <a:ext cx="109610"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367" name="Rectangle 50">
                  <a:extLst>
                    <a:ext uri="{FF2B5EF4-FFF2-40B4-BE49-F238E27FC236}">
                      <a16:creationId xmlns:a16="http://schemas.microsoft.com/office/drawing/2014/main" id="{1F8D6BAA-73B3-4201-A768-643ACC718DA5}"/>
                    </a:ext>
                  </a:extLst>
                </p:cNvPr>
                <p:cNvSpPr>
                  <a:spLocks noChangeArrowheads="1"/>
                </p:cNvSpPr>
                <p:nvPr/>
              </p:nvSpPr>
              <p:spPr bwMode="auto">
                <a:xfrm>
                  <a:off x="5239467" y="2736133"/>
                  <a:ext cx="109610"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368" name="Rectangle 51">
                  <a:extLst>
                    <a:ext uri="{FF2B5EF4-FFF2-40B4-BE49-F238E27FC236}">
                      <a16:creationId xmlns:a16="http://schemas.microsoft.com/office/drawing/2014/main" id="{5B7F27CB-B808-4361-9453-451F5C309AC7}"/>
                    </a:ext>
                  </a:extLst>
                </p:cNvPr>
                <p:cNvSpPr>
                  <a:spLocks noChangeArrowheads="1"/>
                </p:cNvSpPr>
                <p:nvPr/>
              </p:nvSpPr>
              <p:spPr bwMode="auto">
                <a:xfrm>
                  <a:off x="5299156" y="2777916"/>
                  <a:ext cx="49921"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369" name="Rectangle 52">
                  <a:extLst>
                    <a:ext uri="{FF2B5EF4-FFF2-40B4-BE49-F238E27FC236}">
                      <a16:creationId xmlns:a16="http://schemas.microsoft.com/office/drawing/2014/main" id="{C0FE79C9-58ED-4BA5-95BE-43F755311242}"/>
                    </a:ext>
                  </a:extLst>
                </p:cNvPr>
                <p:cNvSpPr>
                  <a:spLocks noChangeArrowheads="1"/>
                </p:cNvSpPr>
                <p:nvPr/>
              </p:nvSpPr>
              <p:spPr bwMode="auto">
                <a:xfrm>
                  <a:off x="5299156" y="2694894"/>
                  <a:ext cx="49921" cy="37441"/>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370" name="Rectangle 53">
                  <a:extLst>
                    <a:ext uri="{FF2B5EF4-FFF2-40B4-BE49-F238E27FC236}">
                      <a16:creationId xmlns:a16="http://schemas.microsoft.com/office/drawing/2014/main" id="{78CDE6CB-CF97-4410-9533-164F54764DDA}"/>
                    </a:ext>
                  </a:extLst>
                </p:cNvPr>
                <p:cNvSpPr>
                  <a:spLocks noChangeArrowheads="1"/>
                </p:cNvSpPr>
                <p:nvPr/>
              </p:nvSpPr>
              <p:spPr bwMode="auto">
                <a:xfrm>
                  <a:off x="5184662" y="2736133"/>
                  <a:ext cx="49379"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371" name="Rectangle 54">
                  <a:extLst>
                    <a:ext uri="{FF2B5EF4-FFF2-40B4-BE49-F238E27FC236}">
                      <a16:creationId xmlns:a16="http://schemas.microsoft.com/office/drawing/2014/main" id="{42C656F7-1384-40BC-A074-157289EB05C3}"/>
                    </a:ext>
                  </a:extLst>
                </p:cNvPr>
                <p:cNvSpPr>
                  <a:spLocks noChangeArrowheads="1"/>
                </p:cNvSpPr>
                <p:nvPr/>
              </p:nvSpPr>
              <p:spPr bwMode="auto">
                <a:xfrm>
                  <a:off x="5184662" y="2694894"/>
                  <a:ext cx="109610" cy="37441"/>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grpSp>
          <p:nvGrpSpPr>
            <p:cNvPr id="372" name="Group 371">
              <a:extLst>
                <a:ext uri="{FF2B5EF4-FFF2-40B4-BE49-F238E27FC236}">
                  <a16:creationId xmlns:a16="http://schemas.microsoft.com/office/drawing/2014/main" id="{D3B5866E-68C9-449A-9550-F7CDE4D00948}"/>
                </a:ext>
              </a:extLst>
            </p:cNvPr>
            <p:cNvGrpSpPr/>
            <p:nvPr/>
          </p:nvGrpSpPr>
          <p:grpSpPr>
            <a:xfrm>
              <a:off x="453101" y="3401998"/>
              <a:ext cx="220312" cy="220983"/>
              <a:chOff x="5638829" y="2574999"/>
              <a:chExt cx="293235" cy="294128"/>
            </a:xfrm>
          </p:grpSpPr>
          <p:sp>
            <p:nvSpPr>
              <p:cNvPr id="373" name="Oval 372">
                <a:extLst>
                  <a:ext uri="{FF2B5EF4-FFF2-40B4-BE49-F238E27FC236}">
                    <a16:creationId xmlns:a16="http://schemas.microsoft.com/office/drawing/2014/main" id="{1E8D9D0F-FF00-4A75-B484-04EB74F147CD}"/>
                  </a:ext>
                </a:extLst>
              </p:cNvPr>
              <p:cNvSpPr/>
              <p:nvPr/>
            </p:nvSpPr>
            <p:spPr>
              <a:xfrm>
                <a:off x="5638829" y="2574999"/>
                <a:ext cx="293235" cy="294128"/>
              </a:xfrm>
              <a:prstGeom prst="ellipse">
                <a:avLst/>
              </a:prstGeom>
              <a:solidFill>
                <a:schemeClr val="accent1"/>
              </a:solidFill>
              <a:ln w="25400" cap="flat">
                <a:noFill/>
                <a:round/>
                <a:headEnd type="none" w="med" len="med"/>
                <a:tailEnd type="none" w="med" len="med"/>
              </a:ln>
              <a:effectLst/>
            </p:spPr>
            <p:txBody>
              <a:bodyPr lIns="0" tIns="0" rIns="0" bIns="0"/>
              <a:lstStyle/>
              <a:p>
                <a:pPr marL="0" marR="0" lvl="0" indent="0" algn="l" defTabSz="685800" rtl="0" eaLnBrk="0" fontAlgn="auto" latinLnBrk="0" hangingPunct="0">
                  <a:lnSpc>
                    <a:spcPct val="9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grpSp>
            <p:nvGrpSpPr>
              <p:cNvPr id="374" name="Group 373">
                <a:extLst>
                  <a:ext uri="{FF2B5EF4-FFF2-40B4-BE49-F238E27FC236}">
                    <a16:creationId xmlns:a16="http://schemas.microsoft.com/office/drawing/2014/main" id="{8F2D6720-EB51-4D14-B838-372437D05D1F}"/>
                  </a:ext>
                </a:extLst>
              </p:cNvPr>
              <p:cNvGrpSpPr/>
              <p:nvPr/>
            </p:nvGrpSpPr>
            <p:grpSpPr>
              <a:xfrm>
                <a:off x="5749077" y="2606625"/>
                <a:ext cx="72738" cy="230877"/>
                <a:chOff x="4707334" y="2441614"/>
                <a:chExt cx="106495" cy="338027"/>
              </a:xfrm>
            </p:grpSpPr>
            <p:sp>
              <p:nvSpPr>
                <p:cNvPr id="378" name="Freeform 5">
                  <a:extLst>
                    <a:ext uri="{FF2B5EF4-FFF2-40B4-BE49-F238E27FC236}">
                      <a16:creationId xmlns:a16="http://schemas.microsoft.com/office/drawing/2014/main" id="{0D335EE5-CD8A-4EF0-859F-682C6F0D789A}"/>
                    </a:ext>
                  </a:extLst>
                </p:cNvPr>
                <p:cNvSpPr>
                  <a:spLocks/>
                </p:cNvSpPr>
                <p:nvPr/>
              </p:nvSpPr>
              <p:spPr bwMode="auto">
                <a:xfrm rot="16200000" flipH="1">
                  <a:off x="4697152" y="2451796"/>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CiscoSansTT ExtraLight"/>
                    <a:ea typeface="+mn-ea"/>
                    <a:cs typeface="+mn-cs"/>
                  </a:endParaRPr>
                </a:p>
              </p:txBody>
            </p:sp>
            <p:sp>
              <p:nvSpPr>
                <p:cNvPr id="379" name="Freeform 5">
                  <a:extLst>
                    <a:ext uri="{FF2B5EF4-FFF2-40B4-BE49-F238E27FC236}">
                      <a16:creationId xmlns:a16="http://schemas.microsoft.com/office/drawing/2014/main" id="{C4C7A48C-AD95-417C-AACE-962C2DE26461}"/>
                    </a:ext>
                  </a:extLst>
                </p:cNvPr>
                <p:cNvSpPr>
                  <a:spLocks/>
                </p:cNvSpPr>
                <p:nvPr/>
              </p:nvSpPr>
              <p:spPr bwMode="auto">
                <a:xfrm rot="5400000" flipH="1">
                  <a:off x="4697154" y="2662967"/>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CiscoSansTT ExtraLight"/>
                    <a:ea typeface="+mn-ea"/>
                    <a:cs typeface="+mn-cs"/>
                  </a:endParaRPr>
                </a:p>
              </p:txBody>
            </p:sp>
          </p:grpSp>
          <p:grpSp>
            <p:nvGrpSpPr>
              <p:cNvPr id="375" name="Group 374">
                <a:extLst>
                  <a:ext uri="{FF2B5EF4-FFF2-40B4-BE49-F238E27FC236}">
                    <a16:creationId xmlns:a16="http://schemas.microsoft.com/office/drawing/2014/main" id="{49BDBA9C-EB23-4254-A393-D6E96EB6C378}"/>
                  </a:ext>
                </a:extLst>
              </p:cNvPr>
              <p:cNvGrpSpPr/>
              <p:nvPr/>
            </p:nvGrpSpPr>
            <p:grpSpPr>
              <a:xfrm rot="5400000">
                <a:off x="5749078" y="2606626"/>
                <a:ext cx="72737" cy="230874"/>
                <a:chOff x="4801866" y="2441614"/>
                <a:chExt cx="106494" cy="338023"/>
              </a:xfrm>
            </p:grpSpPr>
            <p:sp>
              <p:nvSpPr>
                <p:cNvPr id="376" name="Freeform 5">
                  <a:extLst>
                    <a:ext uri="{FF2B5EF4-FFF2-40B4-BE49-F238E27FC236}">
                      <a16:creationId xmlns:a16="http://schemas.microsoft.com/office/drawing/2014/main" id="{AAADE668-1F5E-40FB-9D9A-E0AF7535BED3}"/>
                    </a:ext>
                  </a:extLst>
                </p:cNvPr>
                <p:cNvSpPr>
                  <a:spLocks/>
                </p:cNvSpPr>
                <p:nvPr/>
              </p:nvSpPr>
              <p:spPr bwMode="auto">
                <a:xfrm rot="16200000" flipH="1">
                  <a:off x="4791685" y="2451795"/>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CiscoSansTT ExtraLight"/>
                    <a:ea typeface="+mn-ea"/>
                    <a:cs typeface="+mn-cs"/>
                  </a:endParaRPr>
                </a:p>
              </p:txBody>
            </p:sp>
            <p:sp>
              <p:nvSpPr>
                <p:cNvPr id="377" name="Freeform 5">
                  <a:extLst>
                    <a:ext uri="{FF2B5EF4-FFF2-40B4-BE49-F238E27FC236}">
                      <a16:creationId xmlns:a16="http://schemas.microsoft.com/office/drawing/2014/main" id="{E57D1D6D-0236-4A56-9338-B4101086D519}"/>
                    </a:ext>
                  </a:extLst>
                </p:cNvPr>
                <p:cNvSpPr>
                  <a:spLocks/>
                </p:cNvSpPr>
                <p:nvPr/>
              </p:nvSpPr>
              <p:spPr bwMode="auto">
                <a:xfrm rot="5400000" flipH="1">
                  <a:off x="4791684" y="2662964"/>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CiscoSansTT ExtraLight"/>
                    <a:ea typeface="+mn-ea"/>
                    <a:cs typeface="+mn-cs"/>
                  </a:endParaRPr>
                </a:p>
              </p:txBody>
            </p:sp>
          </p:grpSp>
        </p:grpSp>
      </p:grpSp>
      <p:grpSp>
        <p:nvGrpSpPr>
          <p:cNvPr id="390" name="Group 389">
            <a:extLst>
              <a:ext uri="{FF2B5EF4-FFF2-40B4-BE49-F238E27FC236}">
                <a16:creationId xmlns:a16="http://schemas.microsoft.com/office/drawing/2014/main" id="{CC5A0525-224D-499E-9A73-E9E07802CDA1}"/>
              </a:ext>
            </a:extLst>
          </p:cNvPr>
          <p:cNvGrpSpPr/>
          <p:nvPr/>
        </p:nvGrpSpPr>
        <p:grpSpPr>
          <a:xfrm>
            <a:off x="2709666" y="3789752"/>
            <a:ext cx="285611" cy="640442"/>
            <a:chOff x="-3199621" y="1224343"/>
            <a:chExt cx="2401534" cy="5385099"/>
          </a:xfrm>
        </p:grpSpPr>
        <p:sp>
          <p:nvSpPr>
            <p:cNvPr id="391" name="Rectangle: Rounded Corners 390">
              <a:extLst>
                <a:ext uri="{FF2B5EF4-FFF2-40B4-BE49-F238E27FC236}">
                  <a16:creationId xmlns:a16="http://schemas.microsoft.com/office/drawing/2014/main" id="{819C3316-E908-4729-8C87-80B54173C749}"/>
                </a:ext>
              </a:extLst>
            </p:cNvPr>
            <p:cNvSpPr/>
            <p:nvPr/>
          </p:nvSpPr>
          <p:spPr>
            <a:xfrm rot="818077">
              <a:off x="-1145814" y="1895764"/>
              <a:ext cx="190644" cy="1023298"/>
            </a:xfrm>
            <a:prstGeom prst="roundRect">
              <a:avLst/>
            </a:prstGeom>
            <a:solidFill>
              <a:srgbClr val="0498D1">
                <a:lumMod val="75000"/>
              </a:srgbClr>
            </a:solidFill>
            <a:ln>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392" name="Freeform: Shape 391">
              <a:extLst>
                <a:ext uri="{FF2B5EF4-FFF2-40B4-BE49-F238E27FC236}">
                  <a16:creationId xmlns:a16="http://schemas.microsoft.com/office/drawing/2014/main" id="{D6DC70D2-CBA2-4F7B-8D50-3BD30E9A1328}"/>
                </a:ext>
              </a:extLst>
            </p:cNvPr>
            <p:cNvSpPr/>
            <p:nvPr/>
          </p:nvSpPr>
          <p:spPr bwMode="auto">
            <a:xfrm>
              <a:off x="-3049329" y="1224343"/>
              <a:ext cx="1128201" cy="1195111"/>
            </a:xfrm>
            <a:custGeom>
              <a:avLst/>
              <a:gdLst>
                <a:gd name="connsiteX0" fmla="*/ 135280 w 270560"/>
                <a:gd name="connsiteY0" fmla="*/ 0 h 286605"/>
                <a:gd name="connsiteX1" fmla="*/ 270560 w 270560"/>
                <a:gd name="connsiteY1" fmla="*/ 143302 h 286605"/>
                <a:gd name="connsiteX2" fmla="*/ 135280 w 270560"/>
                <a:gd name="connsiteY2" fmla="*/ 286605 h 286605"/>
                <a:gd name="connsiteX3" fmla="*/ 0 w 270560"/>
                <a:gd name="connsiteY3" fmla="*/ 143302 h 286605"/>
                <a:gd name="connsiteX4" fmla="*/ 135280 w 270560"/>
                <a:gd name="connsiteY4" fmla="*/ 0 h 286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560" h="286605">
                  <a:moveTo>
                    <a:pt x="135280" y="0"/>
                  </a:moveTo>
                  <a:cubicBezTo>
                    <a:pt x="209993" y="0"/>
                    <a:pt x="270560" y="64159"/>
                    <a:pt x="270560" y="143302"/>
                  </a:cubicBezTo>
                  <a:cubicBezTo>
                    <a:pt x="270560" y="222446"/>
                    <a:pt x="209993" y="286605"/>
                    <a:pt x="135280" y="286605"/>
                  </a:cubicBezTo>
                  <a:cubicBezTo>
                    <a:pt x="60567" y="286605"/>
                    <a:pt x="0" y="222446"/>
                    <a:pt x="0" y="143302"/>
                  </a:cubicBezTo>
                  <a:cubicBezTo>
                    <a:pt x="0" y="64159"/>
                    <a:pt x="60567" y="0"/>
                    <a:pt x="135280" y="0"/>
                  </a:cubicBezTo>
                  <a:close/>
                </a:path>
              </a:pathLst>
            </a:custGeom>
            <a:solidFill>
              <a:srgbClr val="39393B"/>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393" name="Freeform: Shape 392">
              <a:extLst>
                <a:ext uri="{FF2B5EF4-FFF2-40B4-BE49-F238E27FC236}">
                  <a16:creationId xmlns:a16="http://schemas.microsoft.com/office/drawing/2014/main" id="{86233B96-6184-428E-8693-404D1071EF44}"/>
                </a:ext>
              </a:extLst>
            </p:cNvPr>
            <p:cNvSpPr/>
            <p:nvPr/>
          </p:nvSpPr>
          <p:spPr bwMode="auto">
            <a:xfrm>
              <a:off x="-2994312" y="2598247"/>
              <a:ext cx="1219305" cy="1936864"/>
            </a:xfrm>
            <a:custGeom>
              <a:avLst/>
              <a:gdLst>
                <a:gd name="connsiteX0" fmla="*/ 42895 w 292407"/>
                <a:gd name="connsiteY0" fmla="*/ 0 h 464489"/>
                <a:gd name="connsiteX1" fmla="*/ 214470 w 292407"/>
                <a:gd name="connsiteY1" fmla="*/ 0 h 464489"/>
                <a:gd name="connsiteX2" fmla="*/ 292407 w 292407"/>
                <a:gd name="connsiteY2" fmla="*/ 109290 h 464489"/>
                <a:gd name="connsiteX3" fmla="*/ 290619 w 292407"/>
                <a:gd name="connsiteY3" fmla="*/ 156607 h 464489"/>
                <a:gd name="connsiteX4" fmla="*/ 178976 w 292407"/>
                <a:gd name="connsiteY4" fmla="*/ 58170 h 464489"/>
                <a:gd name="connsiteX5" fmla="*/ 76365 w 292407"/>
                <a:gd name="connsiteY5" fmla="*/ 64621 h 464489"/>
                <a:gd name="connsiteX6" fmla="*/ 82816 w 292407"/>
                <a:gd name="connsiteY6" fmla="*/ 167232 h 464489"/>
                <a:gd name="connsiteX7" fmla="*/ 264368 w 292407"/>
                <a:gd name="connsiteY7" fmla="*/ 327307 h 464489"/>
                <a:gd name="connsiteX8" fmla="*/ 257365 w 292407"/>
                <a:gd name="connsiteY8" fmla="*/ 421594 h 464489"/>
                <a:gd name="connsiteX9" fmla="*/ 214470 w 292407"/>
                <a:gd name="connsiteY9" fmla="*/ 464489 h 464489"/>
                <a:gd name="connsiteX10" fmla="*/ 42895 w 292407"/>
                <a:gd name="connsiteY10" fmla="*/ 464489 h 464489"/>
                <a:gd name="connsiteX11" fmla="*/ 0 w 292407"/>
                <a:gd name="connsiteY11" fmla="*/ 421594 h 464489"/>
                <a:gd name="connsiteX12" fmla="*/ 0 w 292407"/>
                <a:gd name="connsiteY12" fmla="*/ 42895 h 464489"/>
                <a:gd name="connsiteX13" fmla="*/ 42895 w 292407"/>
                <a:gd name="connsiteY13" fmla="*/ 0 h 46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2407" h="464489">
                  <a:moveTo>
                    <a:pt x="42895" y="0"/>
                  </a:moveTo>
                  <a:lnTo>
                    <a:pt x="214470" y="0"/>
                  </a:lnTo>
                  <a:cubicBezTo>
                    <a:pt x="238161" y="0"/>
                    <a:pt x="292407" y="85599"/>
                    <a:pt x="292407" y="109290"/>
                  </a:cubicBezTo>
                  <a:cubicBezTo>
                    <a:pt x="292407" y="126142"/>
                    <a:pt x="291783" y="141811"/>
                    <a:pt x="290619" y="156607"/>
                  </a:cubicBezTo>
                  <a:lnTo>
                    <a:pt x="178976" y="58170"/>
                  </a:lnTo>
                  <a:cubicBezTo>
                    <a:pt x="148859" y="31617"/>
                    <a:pt x="102919" y="34505"/>
                    <a:pt x="76365" y="64621"/>
                  </a:cubicBezTo>
                  <a:cubicBezTo>
                    <a:pt x="49811" y="94738"/>
                    <a:pt x="52699" y="140678"/>
                    <a:pt x="82816" y="167232"/>
                  </a:cubicBezTo>
                  <a:lnTo>
                    <a:pt x="264368" y="327307"/>
                  </a:lnTo>
                  <a:cubicBezTo>
                    <a:pt x="260177" y="355405"/>
                    <a:pt x="257365" y="385836"/>
                    <a:pt x="257365" y="421594"/>
                  </a:cubicBezTo>
                  <a:cubicBezTo>
                    <a:pt x="257365" y="445284"/>
                    <a:pt x="238161" y="464489"/>
                    <a:pt x="214470" y="464489"/>
                  </a:cubicBezTo>
                  <a:lnTo>
                    <a:pt x="42895" y="464489"/>
                  </a:lnTo>
                  <a:cubicBezTo>
                    <a:pt x="19205" y="464489"/>
                    <a:pt x="0" y="445284"/>
                    <a:pt x="0" y="421594"/>
                  </a:cubicBezTo>
                  <a:lnTo>
                    <a:pt x="0" y="42895"/>
                  </a:lnTo>
                  <a:cubicBezTo>
                    <a:pt x="0" y="19205"/>
                    <a:pt x="19205" y="0"/>
                    <a:pt x="42895" y="0"/>
                  </a:cubicBezTo>
                  <a:close/>
                </a:path>
              </a:pathLst>
            </a:custGeom>
            <a:solidFill>
              <a:srgbClr val="39393B"/>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394" name="Freeform: Shape 393">
              <a:extLst>
                <a:ext uri="{FF2B5EF4-FFF2-40B4-BE49-F238E27FC236}">
                  <a16:creationId xmlns:a16="http://schemas.microsoft.com/office/drawing/2014/main" id="{2AFFCDF4-0174-4604-B951-9E97CBB99CF5}"/>
                </a:ext>
              </a:extLst>
            </p:cNvPr>
            <p:cNvSpPr/>
            <p:nvPr/>
          </p:nvSpPr>
          <p:spPr bwMode="auto">
            <a:xfrm>
              <a:off x="-2682065" y="2829437"/>
              <a:ext cx="1230087" cy="1084298"/>
            </a:xfrm>
            <a:custGeom>
              <a:avLst/>
              <a:gdLst>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70412 w 373044"/>
                <a:gd name="connsiteY5" fmla="*/ 390763 h 394829"/>
                <a:gd name="connsiteX6" fmla="*/ 331738 w 373044"/>
                <a:gd name="connsiteY6" fmla="*/ 376801 h 394829"/>
                <a:gd name="connsiteX7" fmla="*/ 19672 w 373044"/>
                <a:gd name="connsiteY7" fmla="*/ 101651 h 394829"/>
                <a:gd name="connsiteX8" fmla="*/ 14518 w 373044"/>
                <a:gd name="connsiteY8" fmla="*/ 19671 h 394829"/>
                <a:gd name="connsiteX9" fmla="*/ 54441 w 373044"/>
                <a:gd name="connsiteY9"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31738 w 373044"/>
                <a:gd name="connsiteY5" fmla="*/ 376801 h 394829"/>
                <a:gd name="connsiteX6" fmla="*/ 19672 w 373044"/>
                <a:gd name="connsiteY6" fmla="*/ 101651 h 394829"/>
                <a:gd name="connsiteX7" fmla="*/ 14518 w 373044"/>
                <a:gd name="connsiteY7" fmla="*/ 19671 h 394829"/>
                <a:gd name="connsiteX8" fmla="*/ 54441 w 373044"/>
                <a:gd name="connsiteY8"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31738 w 373044"/>
                <a:gd name="connsiteY4" fmla="*/ 376801 h 394829"/>
                <a:gd name="connsiteX5" fmla="*/ 19672 w 373044"/>
                <a:gd name="connsiteY5" fmla="*/ 101651 h 394829"/>
                <a:gd name="connsiteX6" fmla="*/ 14518 w 373044"/>
                <a:gd name="connsiteY6" fmla="*/ 19671 h 394829"/>
                <a:gd name="connsiteX7" fmla="*/ 54441 w 373044"/>
                <a:gd name="connsiteY7" fmla="*/ 116 h 394829"/>
                <a:gd name="connsiteX0" fmla="*/ 54441 w 373044"/>
                <a:gd name="connsiteY0" fmla="*/ 116 h 376801"/>
                <a:gd name="connsiteX1" fmla="*/ 96499 w 373044"/>
                <a:gd name="connsiteY1" fmla="*/ 14517 h 376801"/>
                <a:gd name="connsiteX2" fmla="*/ 373044 w 373044"/>
                <a:gd name="connsiteY2" fmla="*/ 258348 h 376801"/>
                <a:gd name="connsiteX3" fmla="*/ 331738 w 373044"/>
                <a:gd name="connsiteY3" fmla="*/ 376801 h 376801"/>
                <a:gd name="connsiteX4" fmla="*/ 19672 w 373044"/>
                <a:gd name="connsiteY4" fmla="*/ 101651 h 376801"/>
                <a:gd name="connsiteX5" fmla="*/ 14518 w 373044"/>
                <a:gd name="connsiteY5" fmla="*/ 19671 h 376801"/>
                <a:gd name="connsiteX6" fmla="*/ 54441 w 373044"/>
                <a:gd name="connsiteY6" fmla="*/ 116 h 376801"/>
                <a:gd name="connsiteX0" fmla="*/ 54441 w 392514"/>
                <a:gd name="connsiteY0" fmla="*/ 116 h 389308"/>
                <a:gd name="connsiteX1" fmla="*/ 96499 w 392514"/>
                <a:gd name="connsiteY1" fmla="*/ 14517 h 389308"/>
                <a:gd name="connsiteX2" fmla="*/ 373044 w 392514"/>
                <a:gd name="connsiteY2" fmla="*/ 258348 h 389308"/>
                <a:gd name="connsiteX3" fmla="*/ 331738 w 392514"/>
                <a:gd name="connsiteY3" fmla="*/ 376801 h 389308"/>
                <a:gd name="connsiteX4" fmla="*/ 19672 w 392514"/>
                <a:gd name="connsiteY4" fmla="*/ 101651 h 389308"/>
                <a:gd name="connsiteX5" fmla="*/ 14518 w 392514"/>
                <a:gd name="connsiteY5" fmla="*/ 19671 h 389308"/>
                <a:gd name="connsiteX6" fmla="*/ 54441 w 392514"/>
                <a:gd name="connsiteY6" fmla="*/ 116 h 389308"/>
                <a:gd name="connsiteX0" fmla="*/ 54441 w 417895"/>
                <a:gd name="connsiteY0" fmla="*/ 116 h 390341"/>
                <a:gd name="connsiteX1" fmla="*/ 96499 w 417895"/>
                <a:gd name="connsiteY1" fmla="*/ 14517 h 390341"/>
                <a:gd name="connsiteX2" fmla="*/ 373044 w 417895"/>
                <a:gd name="connsiteY2" fmla="*/ 258348 h 390341"/>
                <a:gd name="connsiteX3" fmla="*/ 331738 w 417895"/>
                <a:gd name="connsiteY3" fmla="*/ 376801 h 390341"/>
                <a:gd name="connsiteX4" fmla="*/ 19672 w 417895"/>
                <a:gd name="connsiteY4" fmla="*/ 101651 h 390341"/>
                <a:gd name="connsiteX5" fmla="*/ 14518 w 417895"/>
                <a:gd name="connsiteY5" fmla="*/ 19671 h 390341"/>
                <a:gd name="connsiteX6" fmla="*/ 54441 w 417895"/>
                <a:gd name="connsiteY6" fmla="*/ 116 h 390341"/>
                <a:gd name="connsiteX0" fmla="*/ 54441 w 415063"/>
                <a:gd name="connsiteY0" fmla="*/ 116 h 388409"/>
                <a:gd name="connsiteX1" fmla="*/ 96499 w 415063"/>
                <a:gd name="connsiteY1" fmla="*/ 14517 h 388409"/>
                <a:gd name="connsiteX2" fmla="*/ 373044 w 415063"/>
                <a:gd name="connsiteY2" fmla="*/ 258348 h 388409"/>
                <a:gd name="connsiteX3" fmla="*/ 331738 w 415063"/>
                <a:gd name="connsiteY3" fmla="*/ 376801 h 388409"/>
                <a:gd name="connsiteX4" fmla="*/ 19672 w 415063"/>
                <a:gd name="connsiteY4" fmla="*/ 101651 h 388409"/>
                <a:gd name="connsiteX5" fmla="*/ 14518 w 415063"/>
                <a:gd name="connsiteY5" fmla="*/ 19671 h 388409"/>
                <a:gd name="connsiteX6" fmla="*/ 54441 w 415063"/>
                <a:gd name="connsiteY6" fmla="*/ 116 h 388409"/>
                <a:gd name="connsiteX0" fmla="*/ 54441 w 389618"/>
                <a:gd name="connsiteY0" fmla="*/ 116 h 385766"/>
                <a:gd name="connsiteX1" fmla="*/ 96499 w 389618"/>
                <a:gd name="connsiteY1" fmla="*/ 14517 h 385766"/>
                <a:gd name="connsiteX2" fmla="*/ 311132 w 389618"/>
                <a:gd name="connsiteY2" fmla="*/ 203579 h 385766"/>
                <a:gd name="connsiteX3" fmla="*/ 331738 w 389618"/>
                <a:gd name="connsiteY3" fmla="*/ 376801 h 385766"/>
                <a:gd name="connsiteX4" fmla="*/ 19672 w 389618"/>
                <a:gd name="connsiteY4" fmla="*/ 101651 h 385766"/>
                <a:gd name="connsiteX5" fmla="*/ 14518 w 389618"/>
                <a:gd name="connsiteY5" fmla="*/ 19671 h 385766"/>
                <a:gd name="connsiteX6" fmla="*/ 54441 w 389618"/>
                <a:gd name="connsiteY6" fmla="*/ 116 h 385766"/>
                <a:gd name="connsiteX0" fmla="*/ 54441 w 353150"/>
                <a:gd name="connsiteY0" fmla="*/ 116 h 331409"/>
                <a:gd name="connsiteX1" fmla="*/ 96499 w 353150"/>
                <a:gd name="connsiteY1" fmla="*/ 14517 h 331409"/>
                <a:gd name="connsiteX2" fmla="*/ 311132 w 353150"/>
                <a:gd name="connsiteY2" fmla="*/ 203579 h 331409"/>
                <a:gd name="connsiteX3" fmla="*/ 269825 w 353150"/>
                <a:gd name="connsiteY3" fmla="*/ 319651 h 331409"/>
                <a:gd name="connsiteX4" fmla="*/ 19672 w 353150"/>
                <a:gd name="connsiteY4" fmla="*/ 101651 h 331409"/>
                <a:gd name="connsiteX5" fmla="*/ 14518 w 353150"/>
                <a:gd name="connsiteY5" fmla="*/ 19671 h 331409"/>
                <a:gd name="connsiteX6" fmla="*/ 54441 w 353150"/>
                <a:gd name="connsiteY6" fmla="*/ 116 h 331409"/>
                <a:gd name="connsiteX0" fmla="*/ 54441 w 344424"/>
                <a:gd name="connsiteY0" fmla="*/ 116 h 321584"/>
                <a:gd name="connsiteX1" fmla="*/ 96499 w 344424"/>
                <a:gd name="connsiteY1" fmla="*/ 14517 h 321584"/>
                <a:gd name="connsiteX2" fmla="*/ 311132 w 344424"/>
                <a:gd name="connsiteY2" fmla="*/ 203579 h 321584"/>
                <a:gd name="connsiteX3" fmla="*/ 269825 w 344424"/>
                <a:gd name="connsiteY3" fmla="*/ 319651 h 321584"/>
                <a:gd name="connsiteX4" fmla="*/ 19672 w 344424"/>
                <a:gd name="connsiteY4" fmla="*/ 101651 h 321584"/>
                <a:gd name="connsiteX5" fmla="*/ 14518 w 344424"/>
                <a:gd name="connsiteY5" fmla="*/ 19671 h 321584"/>
                <a:gd name="connsiteX6" fmla="*/ 54441 w 344424"/>
                <a:gd name="connsiteY6" fmla="*/ 116 h 321584"/>
                <a:gd name="connsiteX0" fmla="*/ 54441 w 327967"/>
                <a:gd name="connsiteY0" fmla="*/ 116 h 261639"/>
                <a:gd name="connsiteX1" fmla="*/ 96499 w 327967"/>
                <a:gd name="connsiteY1" fmla="*/ 14517 h 261639"/>
                <a:gd name="connsiteX2" fmla="*/ 311132 w 327967"/>
                <a:gd name="connsiteY2" fmla="*/ 203579 h 261639"/>
                <a:gd name="connsiteX3" fmla="*/ 200769 w 327967"/>
                <a:gd name="connsiteY3" fmla="*/ 257739 h 261639"/>
                <a:gd name="connsiteX4" fmla="*/ 19672 w 327967"/>
                <a:gd name="connsiteY4" fmla="*/ 101651 h 261639"/>
                <a:gd name="connsiteX5" fmla="*/ 14518 w 327967"/>
                <a:gd name="connsiteY5" fmla="*/ 19671 h 261639"/>
                <a:gd name="connsiteX6" fmla="*/ 54441 w 327967"/>
                <a:gd name="connsiteY6" fmla="*/ 116 h 261639"/>
                <a:gd name="connsiteX0" fmla="*/ 54441 w 294993"/>
                <a:gd name="connsiteY0" fmla="*/ 116 h 260030"/>
                <a:gd name="connsiteX1" fmla="*/ 96499 w 294993"/>
                <a:gd name="connsiteY1" fmla="*/ 14517 h 260030"/>
                <a:gd name="connsiteX2" fmla="*/ 270650 w 294993"/>
                <a:gd name="connsiteY2" fmla="*/ 160717 h 260030"/>
                <a:gd name="connsiteX3" fmla="*/ 200769 w 294993"/>
                <a:gd name="connsiteY3" fmla="*/ 257739 h 260030"/>
                <a:gd name="connsiteX4" fmla="*/ 19672 w 294993"/>
                <a:gd name="connsiteY4" fmla="*/ 101651 h 260030"/>
                <a:gd name="connsiteX5" fmla="*/ 14518 w 294993"/>
                <a:gd name="connsiteY5" fmla="*/ 19671 h 260030"/>
                <a:gd name="connsiteX6" fmla="*/ 54441 w 294993"/>
                <a:gd name="connsiteY6" fmla="*/ 116 h 26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993" h="260030">
                  <a:moveTo>
                    <a:pt x="54441" y="116"/>
                  </a:moveTo>
                  <a:cubicBezTo>
                    <a:pt x="69276" y="-817"/>
                    <a:pt x="84468" y="3910"/>
                    <a:pt x="96499" y="14517"/>
                  </a:cubicBezTo>
                  <a:lnTo>
                    <a:pt x="270650" y="160717"/>
                  </a:lnTo>
                  <a:cubicBezTo>
                    <a:pt x="321176" y="185914"/>
                    <a:pt x="290737" y="275405"/>
                    <a:pt x="200769" y="257739"/>
                  </a:cubicBezTo>
                  <a:lnTo>
                    <a:pt x="19672" y="101651"/>
                  </a:lnTo>
                  <a:cubicBezTo>
                    <a:pt x="-4390" y="80436"/>
                    <a:pt x="-6697" y="43733"/>
                    <a:pt x="14518" y="19671"/>
                  </a:cubicBezTo>
                  <a:cubicBezTo>
                    <a:pt x="25126" y="7640"/>
                    <a:pt x="39605" y="1048"/>
                    <a:pt x="54441" y="116"/>
                  </a:cubicBezTo>
                  <a:close/>
                </a:path>
              </a:pathLst>
            </a:custGeom>
            <a:solidFill>
              <a:srgbClr val="39393B"/>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395" name="Freeform: Shape 394">
              <a:extLst>
                <a:ext uri="{FF2B5EF4-FFF2-40B4-BE49-F238E27FC236}">
                  <a16:creationId xmlns:a16="http://schemas.microsoft.com/office/drawing/2014/main" id="{5AC5F35D-D8C6-483C-BE60-4348146A3A83}"/>
                </a:ext>
              </a:extLst>
            </p:cNvPr>
            <p:cNvSpPr/>
            <p:nvPr/>
          </p:nvSpPr>
          <p:spPr bwMode="auto">
            <a:xfrm>
              <a:off x="-3134498" y="4242178"/>
              <a:ext cx="1534298" cy="921603"/>
            </a:xfrm>
            <a:custGeom>
              <a:avLst/>
              <a:gdLst>
                <a:gd name="connsiteX0" fmla="*/ 35138 w 210821"/>
                <a:gd name="connsiteY0" fmla="*/ 0 h 520360"/>
                <a:gd name="connsiteX1" fmla="*/ 175684 w 210821"/>
                <a:gd name="connsiteY1" fmla="*/ 0 h 520360"/>
                <a:gd name="connsiteX2" fmla="*/ 210821 w 210821"/>
                <a:gd name="connsiteY2" fmla="*/ 35138 h 520360"/>
                <a:gd name="connsiteX3" fmla="*/ 210821 w 210821"/>
                <a:gd name="connsiteY3" fmla="*/ 485223 h 520360"/>
                <a:gd name="connsiteX4" fmla="*/ 175684 w 210821"/>
                <a:gd name="connsiteY4" fmla="*/ 520360 h 520360"/>
                <a:gd name="connsiteX5" fmla="*/ 35138 w 210821"/>
                <a:gd name="connsiteY5" fmla="*/ 520360 h 520360"/>
                <a:gd name="connsiteX6" fmla="*/ 0 w 210821"/>
                <a:gd name="connsiteY6" fmla="*/ 485223 h 520360"/>
                <a:gd name="connsiteX7" fmla="*/ 0 w 210821"/>
                <a:gd name="connsiteY7" fmla="*/ 35138 h 520360"/>
                <a:gd name="connsiteX8" fmla="*/ 35138 w 210821"/>
                <a:gd name="connsiteY8" fmla="*/ 0 h 520360"/>
                <a:gd name="connsiteX0" fmla="*/ 35138 w 274780"/>
                <a:gd name="connsiteY0" fmla="*/ 0 h 536315"/>
                <a:gd name="connsiteX1" fmla="*/ 175684 w 274780"/>
                <a:gd name="connsiteY1" fmla="*/ 0 h 536315"/>
                <a:gd name="connsiteX2" fmla="*/ 210821 w 274780"/>
                <a:gd name="connsiteY2" fmla="*/ 35138 h 536315"/>
                <a:gd name="connsiteX3" fmla="*/ 274780 w 274780"/>
                <a:gd name="connsiteY3" fmla="*/ 529567 h 536315"/>
                <a:gd name="connsiteX4" fmla="*/ 175684 w 274780"/>
                <a:gd name="connsiteY4" fmla="*/ 520360 h 536315"/>
                <a:gd name="connsiteX5" fmla="*/ 35138 w 274780"/>
                <a:gd name="connsiteY5" fmla="*/ 520360 h 536315"/>
                <a:gd name="connsiteX6" fmla="*/ 0 w 274780"/>
                <a:gd name="connsiteY6" fmla="*/ 485223 h 536315"/>
                <a:gd name="connsiteX7" fmla="*/ 0 w 274780"/>
                <a:gd name="connsiteY7" fmla="*/ 35138 h 536315"/>
                <a:gd name="connsiteX8" fmla="*/ 35138 w 274780"/>
                <a:gd name="connsiteY8" fmla="*/ 0 h 536315"/>
                <a:gd name="connsiteX0" fmla="*/ 35138 w 274780"/>
                <a:gd name="connsiteY0" fmla="*/ 0 h 536315"/>
                <a:gd name="connsiteX1" fmla="*/ 175684 w 274780"/>
                <a:gd name="connsiteY1" fmla="*/ 0 h 536315"/>
                <a:gd name="connsiteX2" fmla="*/ 210821 w 274780"/>
                <a:gd name="connsiteY2" fmla="*/ 35138 h 536315"/>
                <a:gd name="connsiteX3" fmla="*/ 274780 w 274780"/>
                <a:gd name="connsiteY3" fmla="*/ 529567 h 536315"/>
                <a:gd name="connsiteX4" fmla="*/ 175684 w 274780"/>
                <a:gd name="connsiteY4" fmla="*/ 520360 h 536315"/>
                <a:gd name="connsiteX5" fmla="*/ 35138 w 274780"/>
                <a:gd name="connsiteY5" fmla="*/ 520360 h 536315"/>
                <a:gd name="connsiteX6" fmla="*/ 0 w 274780"/>
                <a:gd name="connsiteY6" fmla="*/ 485223 h 536315"/>
                <a:gd name="connsiteX7" fmla="*/ 0 w 274780"/>
                <a:gd name="connsiteY7" fmla="*/ 35138 h 536315"/>
                <a:gd name="connsiteX8" fmla="*/ 35138 w 274780"/>
                <a:gd name="connsiteY8" fmla="*/ 0 h 536315"/>
                <a:gd name="connsiteX0" fmla="*/ 35138 w 274780"/>
                <a:gd name="connsiteY0" fmla="*/ 0 h 536315"/>
                <a:gd name="connsiteX1" fmla="*/ 175684 w 274780"/>
                <a:gd name="connsiteY1" fmla="*/ 0 h 536315"/>
                <a:gd name="connsiteX2" fmla="*/ 210821 w 274780"/>
                <a:gd name="connsiteY2" fmla="*/ 35138 h 536315"/>
                <a:gd name="connsiteX3" fmla="*/ 274780 w 274780"/>
                <a:gd name="connsiteY3" fmla="*/ 529567 h 536315"/>
                <a:gd name="connsiteX4" fmla="*/ 175684 w 274780"/>
                <a:gd name="connsiteY4" fmla="*/ 520360 h 536315"/>
                <a:gd name="connsiteX5" fmla="*/ 35138 w 274780"/>
                <a:gd name="connsiteY5" fmla="*/ 520360 h 536315"/>
                <a:gd name="connsiteX6" fmla="*/ 0 w 274780"/>
                <a:gd name="connsiteY6" fmla="*/ 485223 h 536315"/>
                <a:gd name="connsiteX7" fmla="*/ 0 w 274780"/>
                <a:gd name="connsiteY7" fmla="*/ 35138 h 536315"/>
                <a:gd name="connsiteX8" fmla="*/ 35138 w 274780"/>
                <a:gd name="connsiteY8" fmla="*/ 0 h 536315"/>
                <a:gd name="connsiteX0" fmla="*/ 66204 w 305846"/>
                <a:gd name="connsiteY0" fmla="*/ 0 h 536315"/>
                <a:gd name="connsiteX1" fmla="*/ 206750 w 305846"/>
                <a:gd name="connsiteY1" fmla="*/ 0 h 536315"/>
                <a:gd name="connsiteX2" fmla="*/ 241887 w 305846"/>
                <a:gd name="connsiteY2" fmla="*/ 35138 h 536315"/>
                <a:gd name="connsiteX3" fmla="*/ 305846 w 305846"/>
                <a:gd name="connsiteY3" fmla="*/ 529567 h 536315"/>
                <a:gd name="connsiteX4" fmla="*/ 206750 w 305846"/>
                <a:gd name="connsiteY4" fmla="*/ 520360 h 536315"/>
                <a:gd name="connsiteX5" fmla="*/ 66204 w 305846"/>
                <a:gd name="connsiteY5" fmla="*/ 520360 h 536315"/>
                <a:gd name="connsiteX6" fmla="*/ 0 w 305846"/>
                <a:gd name="connsiteY6" fmla="*/ 507395 h 536315"/>
                <a:gd name="connsiteX7" fmla="*/ 31066 w 305846"/>
                <a:gd name="connsiteY7" fmla="*/ 35138 h 536315"/>
                <a:gd name="connsiteX8" fmla="*/ 66204 w 305846"/>
                <a:gd name="connsiteY8" fmla="*/ 0 h 536315"/>
                <a:gd name="connsiteX0" fmla="*/ 66204 w 305846"/>
                <a:gd name="connsiteY0" fmla="*/ 0 h 536315"/>
                <a:gd name="connsiteX1" fmla="*/ 206750 w 305846"/>
                <a:gd name="connsiteY1" fmla="*/ 0 h 536315"/>
                <a:gd name="connsiteX2" fmla="*/ 241887 w 305846"/>
                <a:gd name="connsiteY2" fmla="*/ 35138 h 536315"/>
                <a:gd name="connsiteX3" fmla="*/ 305846 w 305846"/>
                <a:gd name="connsiteY3" fmla="*/ 529567 h 536315"/>
                <a:gd name="connsiteX4" fmla="*/ 206750 w 305846"/>
                <a:gd name="connsiteY4" fmla="*/ 520360 h 536315"/>
                <a:gd name="connsiteX5" fmla="*/ 66204 w 305846"/>
                <a:gd name="connsiteY5" fmla="*/ 520360 h 536315"/>
                <a:gd name="connsiteX6" fmla="*/ 0 w 305846"/>
                <a:gd name="connsiteY6" fmla="*/ 507395 h 536315"/>
                <a:gd name="connsiteX7" fmla="*/ 31066 w 305846"/>
                <a:gd name="connsiteY7" fmla="*/ 35138 h 536315"/>
                <a:gd name="connsiteX8" fmla="*/ 66204 w 305846"/>
                <a:gd name="connsiteY8" fmla="*/ 0 h 53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5846" h="536315">
                  <a:moveTo>
                    <a:pt x="66204" y="0"/>
                  </a:moveTo>
                  <a:lnTo>
                    <a:pt x="206750" y="0"/>
                  </a:lnTo>
                  <a:cubicBezTo>
                    <a:pt x="226156" y="0"/>
                    <a:pt x="241887" y="15732"/>
                    <a:pt x="241887" y="35138"/>
                  </a:cubicBezTo>
                  <a:cubicBezTo>
                    <a:pt x="241887" y="185166"/>
                    <a:pt x="269298" y="339630"/>
                    <a:pt x="305846" y="529567"/>
                  </a:cubicBezTo>
                  <a:cubicBezTo>
                    <a:pt x="305846" y="548972"/>
                    <a:pt x="226156" y="520360"/>
                    <a:pt x="206750" y="520360"/>
                  </a:cubicBezTo>
                  <a:lnTo>
                    <a:pt x="66204" y="520360"/>
                  </a:lnTo>
                  <a:cubicBezTo>
                    <a:pt x="46798" y="520360"/>
                    <a:pt x="0" y="526800"/>
                    <a:pt x="0" y="507395"/>
                  </a:cubicBezTo>
                  <a:cubicBezTo>
                    <a:pt x="28629" y="354410"/>
                    <a:pt x="20711" y="192557"/>
                    <a:pt x="31066" y="35138"/>
                  </a:cubicBezTo>
                  <a:cubicBezTo>
                    <a:pt x="31066" y="15732"/>
                    <a:pt x="46798" y="0"/>
                    <a:pt x="66204" y="0"/>
                  </a:cubicBezTo>
                  <a:close/>
                </a:path>
              </a:pathLst>
            </a:custGeom>
            <a:solidFill>
              <a:srgbClr val="39393B"/>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396" name="Freeform: Shape 395">
              <a:extLst>
                <a:ext uri="{FF2B5EF4-FFF2-40B4-BE49-F238E27FC236}">
                  <a16:creationId xmlns:a16="http://schemas.microsoft.com/office/drawing/2014/main" id="{8CFFE890-4C83-4BFA-B52E-CCF29A29266B}"/>
                </a:ext>
              </a:extLst>
            </p:cNvPr>
            <p:cNvSpPr/>
            <p:nvPr/>
          </p:nvSpPr>
          <p:spPr bwMode="auto">
            <a:xfrm rot="15300000">
              <a:off x="-1999254" y="2603140"/>
              <a:ext cx="1203844" cy="1198490"/>
            </a:xfrm>
            <a:custGeom>
              <a:avLst/>
              <a:gdLst>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70412 w 373044"/>
                <a:gd name="connsiteY5" fmla="*/ 390763 h 394829"/>
                <a:gd name="connsiteX6" fmla="*/ 331738 w 373044"/>
                <a:gd name="connsiteY6" fmla="*/ 376801 h 394829"/>
                <a:gd name="connsiteX7" fmla="*/ 19672 w 373044"/>
                <a:gd name="connsiteY7" fmla="*/ 101651 h 394829"/>
                <a:gd name="connsiteX8" fmla="*/ 14518 w 373044"/>
                <a:gd name="connsiteY8" fmla="*/ 19671 h 394829"/>
                <a:gd name="connsiteX9" fmla="*/ 54441 w 373044"/>
                <a:gd name="connsiteY9"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31738 w 373044"/>
                <a:gd name="connsiteY5" fmla="*/ 376801 h 394829"/>
                <a:gd name="connsiteX6" fmla="*/ 19672 w 373044"/>
                <a:gd name="connsiteY6" fmla="*/ 101651 h 394829"/>
                <a:gd name="connsiteX7" fmla="*/ 14518 w 373044"/>
                <a:gd name="connsiteY7" fmla="*/ 19671 h 394829"/>
                <a:gd name="connsiteX8" fmla="*/ 54441 w 373044"/>
                <a:gd name="connsiteY8"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31738 w 373044"/>
                <a:gd name="connsiteY4" fmla="*/ 376801 h 394829"/>
                <a:gd name="connsiteX5" fmla="*/ 19672 w 373044"/>
                <a:gd name="connsiteY5" fmla="*/ 101651 h 394829"/>
                <a:gd name="connsiteX6" fmla="*/ 14518 w 373044"/>
                <a:gd name="connsiteY6" fmla="*/ 19671 h 394829"/>
                <a:gd name="connsiteX7" fmla="*/ 54441 w 373044"/>
                <a:gd name="connsiteY7" fmla="*/ 116 h 394829"/>
                <a:gd name="connsiteX0" fmla="*/ 54441 w 373044"/>
                <a:gd name="connsiteY0" fmla="*/ 116 h 376801"/>
                <a:gd name="connsiteX1" fmla="*/ 96499 w 373044"/>
                <a:gd name="connsiteY1" fmla="*/ 14517 h 376801"/>
                <a:gd name="connsiteX2" fmla="*/ 373044 w 373044"/>
                <a:gd name="connsiteY2" fmla="*/ 258348 h 376801"/>
                <a:gd name="connsiteX3" fmla="*/ 331738 w 373044"/>
                <a:gd name="connsiteY3" fmla="*/ 376801 h 376801"/>
                <a:gd name="connsiteX4" fmla="*/ 19672 w 373044"/>
                <a:gd name="connsiteY4" fmla="*/ 101651 h 376801"/>
                <a:gd name="connsiteX5" fmla="*/ 14518 w 373044"/>
                <a:gd name="connsiteY5" fmla="*/ 19671 h 376801"/>
                <a:gd name="connsiteX6" fmla="*/ 54441 w 373044"/>
                <a:gd name="connsiteY6" fmla="*/ 116 h 376801"/>
                <a:gd name="connsiteX0" fmla="*/ 54441 w 392514"/>
                <a:gd name="connsiteY0" fmla="*/ 116 h 389308"/>
                <a:gd name="connsiteX1" fmla="*/ 96499 w 392514"/>
                <a:gd name="connsiteY1" fmla="*/ 14517 h 389308"/>
                <a:gd name="connsiteX2" fmla="*/ 373044 w 392514"/>
                <a:gd name="connsiteY2" fmla="*/ 258348 h 389308"/>
                <a:gd name="connsiteX3" fmla="*/ 331738 w 392514"/>
                <a:gd name="connsiteY3" fmla="*/ 376801 h 389308"/>
                <a:gd name="connsiteX4" fmla="*/ 19672 w 392514"/>
                <a:gd name="connsiteY4" fmla="*/ 101651 h 389308"/>
                <a:gd name="connsiteX5" fmla="*/ 14518 w 392514"/>
                <a:gd name="connsiteY5" fmla="*/ 19671 h 389308"/>
                <a:gd name="connsiteX6" fmla="*/ 54441 w 392514"/>
                <a:gd name="connsiteY6" fmla="*/ 116 h 389308"/>
                <a:gd name="connsiteX0" fmla="*/ 54441 w 417895"/>
                <a:gd name="connsiteY0" fmla="*/ 116 h 390341"/>
                <a:gd name="connsiteX1" fmla="*/ 96499 w 417895"/>
                <a:gd name="connsiteY1" fmla="*/ 14517 h 390341"/>
                <a:gd name="connsiteX2" fmla="*/ 373044 w 417895"/>
                <a:gd name="connsiteY2" fmla="*/ 258348 h 390341"/>
                <a:gd name="connsiteX3" fmla="*/ 331738 w 417895"/>
                <a:gd name="connsiteY3" fmla="*/ 376801 h 390341"/>
                <a:gd name="connsiteX4" fmla="*/ 19672 w 417895"/>
                <a:gd name="connsiteY4" fmla="*/ 101651 h 390341"/>
                <a:gd name="connsiteX5" fmla="*/ 14518 w 417895"/>
                <a:gd name="connsiteY5" fmla="*/ 19671 h 390341"/>
                <a:gd name="connsiteX6" fmla="*/ 54441 w 417895"/>
                <a:gd name="connsiteY6" fmla="*/ 116 h 390341"/>
                <a:gd name="connsiteX0" fmla="*/ 54441 w 415063"/>
                <a:gd name="connsiteY0" fmla="*/ 116 h 388409"/>
                <a:gd name="connsiteX1" fmla="*/ 96499 w 415063"/>
                <a:gd name="connsiteY1" fmla="*/ 14517 h 388409"/>
                <a:gd name="connsiteX2" fmla="*/ 373044 w 415063"/>
                <a:gd name="connsiteY2" fmla="*/ 258348 h 388409"/>
                <a:gd name="connsiteX3" fmla="*/ 331738 w 415063"/>
                <a:gd name="connsiteY3" fmla="*/ 376801 h 388409"/>
                <a:gd name="connsiteX4" fmla="*/ 19672 w 415063"/>
                <a:gd name="connsiteY4" fmla="*/ 101651 h 388409"/>
                <a:gd name="connsiteX5" fmla="*/ 14518 w 415063"/>
                <a:gd name="connsiteY5" fmla="*/ 19671 h 388409"/>
                <a:gd name="connsiteX6" fmla="*/ 54441 w 415063"/>
                <a:gd name="connsiteY6" fmla="*/ 116 h 388409"/>
                <a:gd name="connsiteX0" fmla="*/ 54441 w 389618"/>
                <a:gd name="connsiteY0" fmla="*/ 116 h 385766"/>
                <a:gd name="connsiteX1" fmla="*/ 96499 w 389618"/>
                <a:gd name="connsiteY1" fmla="*/ 14517 h 385766"/>
                <a:gd name="connsiteX2" fmla="*/ 311132 w 389618"/>
                <a:gd name="connsiteY2" fmla="*/ 203579 h 385766"/>
                <a:gd name="connsiteX3" fmla="*/ 331738 w 389618"/>
                <a:gd name="connsiteY3" fmla="*/ 376801 h 385766"/>
                <a:gd name="connsiteX4" fmla="*/ 19672 w 389618"/>
                <a:gd name="connsiteY4" fmla="*/ 101651 h 385766"/>
                <a:gd name="connsiteX5" fmla="*/ 14518 w 389618"/>
                <a:gd name="connsiteY5" fmla="*/ 19671 h 385766"/>
                <a:gd name="connsiteX6" fmla="*/ 54441 w 389618"/>
                <a:gd name="connsiteY6" fmla="*/ 116 h 385766"/>
                <a:gd name="connsiteX0" fmla="*/ 54441 w 353150"/>
                <a:gd name="connsiteY0" fmla="*/ 116 h 331409"/>
                <a:gd name="connsiteX1" fmla="*/ 96499 w 353150"/>
                <a:gd name="connsiteY1" fmla="*/ 14517 h 331409"/>
                <a:gd name="connsiteX2" fmla="*/ 311132 w 353150"/>
                <a:gd name="connsiteY2" fmla="*/ 203579 h 331409"/>
                <a:gd name="connsiteX3" fmla="*/ 269825 w 353150"/>
                <a:gd name="connsiteY3" fmla="*/ 319651 h 331409"/>
                <a:gd name="connsiteX4" fmla="*/ 19672 w 353150"/>
                <a:gd name="connsiteY4" fmla="*/ 101651 h 331409"/>
                <a:gd name="connsiteX5" fmla="*/ 14518 w 353150"/>
                <a:gd name="connsiteY5" fmla="*/ 19671 h 331409"/>
                <a:gd name="connsiteX6" fmla="*/ 54441 w 353150"/>
                <a:gd name="connsiteY6" fmla="*/ 116 h 331409"/>
                <a:gd name="connsiteX0" fmla="*/ 54441 w 344424"/>
                <a:gd name="connsiteY0" fmla="*/ 116 h 321584"/>
                <a:gd name="connsiteX1" fmla="*/ 96499 w 344424"/>
                <a:gd name="connsiteY1" fmla="*/ 14517 h 321584"/>
                <a:gd name="connsiteX2" fmla="*/ 311132 w 344424"/>
                <a:gd name="connsiteY2" fmla="*/ 203579 h 321584"/>
                <a:gd name="connsiteX3" fmla="*/ 269825 w 344424"/>
                <a:gd name="connsiteY3" fmla="*/ 319651 h 321584"/>
                <a:gd name="connsiteX4" fmla="*/ 19672 w 344424"/>
                <a:gd name="connsiteY4" fmla="*/ 101651 h 321584"/>
                <a:gd name="connsiteX5" fmla="*/ 14518 w 344424"/>
                <a:gd name="connsiteY5" fmla="*/ 19671 h 321584"/>
                <a:gd name="connsiteX6" fmla="*/ 54441 w 344424"/>
                <a:gd name="connsiteY6" fmla="*/ 116 h 32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424" h="321584">
                  <a:moveTo>
                    <a:pt x="54441" y="116"/>
                  </a:moveTo>
                  <a:cubicBezTo>
                    <a:pt x="69276" y="-817"/>
                    <a:pt x="84468" y="3910"/>
                    <a:pt x="96499" y="14517"/>
                  </a:cubicBezTo>
                  <a:lnTo>
                    <a:pt x="311132" y="203579"/>
                  </a:lnTo>
                  <a:cubicBezTo>
                    <a:pt x="361658" y="228776"/>
                    <a:pt x="359793" y="337317"/>
                    <a:pt x="269825" y="319651"/>
                  </a:cubicBezTo>
                  <a:lnTo>
                    <a:pt x="19672" y="101651"/>
                  </a:lnTo>
                  <a:cubicBezTo>
                    <a:pt x="-4390" y="80436"/>
                    <a:pt x="-6697" y="43733"/>
                    <a:pt x="14518" y="19671"/>
                  </a:cubicBezTo>
                  <a:cubicBezTo>
                    <a:pt x="25126" y="7640"/>
                    <a:pt x="39605" y="1048"/>
                    <a:pt x="54441" y="116"/>
                  </a:cubicBezTo>
                  <a:close/>
                </a:path>
              </a:pathLst>
            </a:custGeom>
            <a:solidFill>
              <a:srgbClr val="39393B"/>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397" name="Freeform: Shape 396">
              <a:extLst>
                <a:ext uri="{FF2B5EF4-FFF2-40B4-BE49-F238E27FC236}">
                  <a16:creationId xmlns:a16="http://schemas.microsoft.com/office/drawing/2014/main" id="{17E360EB-7729-4F85-9F0E-C1765D0DE489}"/>
                </a:ext>
              </a:extLst>
            </p:cNvPr>
            <p:cNvSpPr/>
            <p:nvPr/>
          </p:nvSpPr>
          <p:spPr bwMode="auto">
            <a:xfrm>
              <a:off x="-3199621" y="1625600"/>
              <a:ext cx="507633" cy="537743"/>
            </a:xfrm>
            <a:custGeom>
              <a:avLst/>
              <a:gdLst>
                <a:gd name="connsiteX0" fmla="*/ 135280 w 270560"/>
                <a:gd name="connsiteY0" fmla="*/ 0 h 286605"/>
                <a:gd name="connsiteX1" fmla="*/ 270560 w 270560"/>
                <a:gd name="connsiteY1" fmla="*/ 143302 h 286605"/>
                <a:gd name="connsiteX2" fmla="*/ 135280 w 270560"/>
                <a:gd name="connsiteY2" fmla="*/ 286605 h 286605"/>
                <a:gd name="connsiteX3" fmla="*/ 0 w 270560"/>
                <a:gd name="connsiteY3" fmla="*/ 143302 h 286605"/>
                <a:gd name="connsiteX4" fmla="*/ 135280 w 270560"/>
                <a:gd name="connsiteY4" fmla="*/ 0 h 286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560" h="286605">
                  <a:moveTo>
                    <a:pt x="135280" y="0"/>
                  </a:moveTo>
                  <a:cubicBezTo>
                    <a:pt x="209993" y="0"/>
                    <a:pt x="270560" y="64159"/>
                    <a:pt x="270560" y="143302"/>
                  </a:cubicBezTo>
                  <a:cubicBezTo>
                    <a:pt x="270560" y="222446"/>
                    <a:pt x="209993" y="286605"/>
                    <a:pt x="135280" y="286605"/>
                  </a:cubicBezTo>
                  <a:cubicBezTo>
                    <a:pt x="60567" y="286605"/>
                    <a:pt x="0" y="222446"/>
                    <a:pt x="0" y="143302"/>
                  </a:cubicBezTo>
                  <a:cubicBezTo>
                    <a:pt x="0" y="64159"/>
                    <a:pt x="60567" y="0"/>
                    <a:pt x="135280" y="0"/>
                  </a:cubicBezTo>
                  <a:close/>
                </a:path>
              </a:pathLst>
            </a:custGeom>
            <a:solidFill>
              <a:srgbClr val="39393B"/>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398" name="Rectangle: Rounded Corners 397">
              <a:extLst>
                <a:ext uri="{FF2B5EF4-FFF2-40B4-BE49-F238E27FC236}">
                  <a16:creationId xmlns:a16="http://schemas.microsoft.com/office/drawing/2014/main" id="{5270394A-4317-4B1B-832E-987376920292}"/>
                </a:ext>
              </a:extLst>
            </p:cNvPr>
            <p:cNvSpPr/>
            <p:nvPr/>
          </p:nvSpPr>
          <p:spPr>
            <a:xfrm>
              <a:off x="-2692644" y="4841237"/>
              <a:ext cx="634936" cy="1768205"/>
            </a:xfrm>
            <a:prstGeom prst="roundRect">
              <a:avLst>
                <a:gd name="adj" fmla="val 47590"/>
              </a:avLst>
            </a:prstGeom>
            <a:solidFill>
              <a:srgbClr val="39393B"/>
            </a:solidFill>
            <a:ln>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nvGrpSpPr>
          <p:cNvPr id="416" name="Group 415">
            <a:extLst>
              <a:ext uri="{FF2B5EF4-FFF2-40B4-BE49-F238E27FC236}">
                <a16:creationId xmlns:a16="http://schemas.microsoft.com/office/drawing/2014/main" id="{192D01F6-3CB1-4503-ACC4-FD9A2B1F1119}"/>
              </a:ext>
            </a:extLst>
          </p:cNvPr>
          <p:cNvGrpSpPr/>
          <p:nvPr/>
        </p:nvGrpSpPr>
        <p:grpSpPr>
          <a:xfrm>
            <a:off x="3994245" y="3992482"/>
            <a:ext cx="565814" cy="429844"/>
            <a:chOff x="3677943" y="4007722"/>
            <a:chExt cx="565814" cy="429844"/>
          </a:xfrm>
        </p:grpSpPr>
        <p:sp>
          <p:nvSpPr>
            <p:cNvPr id="413" name="Freeform 335">
              <a:extLst>
                <a:ext uri="{FF2B5EF4-FFF2-40B4-BE49-F238E27FC236}">
                  <a16:creationId xmlns:a16="http://schemas.microsoft.com/office/drawing/2014/main" id="{EFE3D80C-4940-444A-81BE-67F32019D354}"/>
                </a:ext>
              </a:extLst>
            </p:cNvPr>
            <p:cNvSpPr>
              <a:spLocks noEditPoints="1"/>
            </p:cNvSpPr>
            <p:nvPr/>
          </p:nvSpPr>
          <p:spPr bwMode="auto">
            <a:xfrm>
              <a:off x="3677943" y="4007722"/>
              <a:ext cx="565814" cy="429844"/>
            </a:xfrm>
            <a:custGeom>
              <a:avLst/>
              <a:gdLst>
                <a:gd name="T0" fmla="*/ 67 w 67"/>
                <a:gd name="T1" fmla="*/ 24 h 51"/>
                <a:gd name="T2" fmla="*/ 61 w 67"/>
                <a:gd name="T3" fmla="*/ 19 h 51"/>
                <a:gd name="T4" fmla="*/ 60 w 67"/>
                <a:gd name="T5" fmla="*/ 19 h 51"/>
                <a:gd name="T6" fmla="*/ 55 w 67"/>
                <a:gd name="T7" fmla="*/ 5 h 51"/>
                <a:gd name="T8" fmla="*/ 49 w 67"/>
                <a:gd name="T9" fmla="*/ 0 h 51"/>
                <a:gd name="T10" fmla="*/ 19 w 67"/>
                <a:gd name="T11" fmla="*/ 0 h 51"/>
                <a:gd name="T12" fmla="*/ 13 w 67"/>
                <a:gd name="T13" fmla="*/ 5 h 51"/>
                <a:gd name="T14" fmla="*/ 8 w 67"/>
                <a:gd name="T15" fmla="*/ 19 h 51"/>
                <a:gd name="T16" fmla="*/ 6 w 67"/>
                <a:gd name="T17" fmla="*/ 19 h 51"/>
                <a:gd name="T18" fmla="*/ 0 w 67"/>
                <a:gd name="T19" fmla="*/ 24 h 51"/>
                <a:gd name="T20" fmla="*/ 0 w 67"/>
                <a:gd name="T21" fmla="*/ 40 h 51"/>
                <a:gd name="T22" fmla="*/ 6 w 67"/>
                <a:gd name="T23" fmla="*/ 40 h 51"/>
                <a:gd name="T24" fmla="*/ 6 w 67"/>
                <a:gd name="T25" fmla="*/ 46 h 51"/>
                <a:gd name="T26" fmla="*/ 11 w 67"/>
                <a:gd name="T27" fmla="*/ 51 h 51"/>
                <a:gd name="T28" fmla="*/ 17 w 67"/>
                <a:gd name="T29" fmla="*/ 46 h 51"/>
                <a:gd name="T30" fmla="*/ 17 w 67"/>
                <a:gd name="T31" fmla="*/ 40 h 51"/>
                <a:gd name="T32" fmla="*/ 50 w 67"/>
                <a:gd name="T33" fmla="*/ 40 h 51"/>
                <a:gd name="T34" fmla="*/ 50 w 67"/>
                <a:gd name="T35" fmla="*/ 46 h 51"/>
                <a:gd name="T36" fmla="*/ 55 w 67"/>
                <a:gd name="T37" fmla="*/ 51 h 51"/>
                <a:gd name="T38" fmla="*/ 60 w 67"/>
                <a:gd name="T39" fmla="*/ 46 h 51"/>
                <a:gd name="T40" fmla="*/ 60 w 67"/>
                <a:gd name="T41" fmla="*/ 40 h 51"/>
                <a:gd name="T42" fmla="*/ 67 w 67"/>
                <a:gd name="T43" fmla="*/ 40 h 51"/>
                <a:gd name="T44" fmla="*/ 67 w 67"/>
                <a:gd name="T45" fmla="*/ 24 h 51"/>
                <a:gd name="T46" fmla="*/ 17 w 67"/>
                <a:gd name="T47" fmla="*/ 6 h 51"/>
                <a:gd name="T48" fmla="*/ 19 w 67"/>
                <a:gd name="T49" fmla="*/ 5 h 51"/>
                <a:gd name="T50" fmla="*/ 49 w 67"/>
                <a:gd name="T51" fmla="*/ 5 h 51"/>
                <a:gd name="T52" fmla="*/ 51 w 67"/>
                <a:gd name="T53" fmla="*/ 6 h 51"/>
                <a:gd name="T54" fmla="*/ 55 w 67"/>
                <a:gd name="T55" fmla="*/ 19 h 51"/>
                <a:gd name="T56" fmla="*/ 13 w 67"/>
                <a:gd name="T57" fmla="*/ 19 h 51"/>
                <a:gd name="T58" fmla="*/ 17 w 67"/>
                <a:gd name="T59" fmla="*/ 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7" h="51">
                  <a:moveTo>
                    <a:pt x="67" y="24"/>
                  </a:moveTo>
                  <a:cubicBezTo>
                    <a:pt x="67" y="21"/>
                    <a:pt x="65" y="19"/>
                    <a:pt x="61" y="19"/>
                  </a:cubicBezTo>
                  <a:cubicBezTo>
                    <a:pt x="61" y="19"/>
                    <a:pt x="61" y="19"/>
                    <a:pt x="60" y="19"/>
                  </a:cubicBezTo>
                  <a:cubicBezTo>
                    <a:pt x="60" y="18"/>
                    <a:pt x="59" y="14"/>
                    <a:pt x="55" y="5"/>
                  </a:cubicBezTo>
                  <a:cubicBezTo>
                    <a:pt x="54" y="2"/>
                    <a:pt x="52" y="0"/>
                    <a:pt x="49" y="0"/>
                  </a:cubicBezTo>
                  <a:cubicBezTo>
                    <a:pt x="49" y="0"/>
                    <a:pt x="49" y="0"/>
                    <a:pt x="19" y="0"/>
                  </a:cubicBezTo>
                  <a:cubicBezTo>
                    <a:pt x="16" y="0"/>
                    <a:pt x="14" y="2"/>
                    <a:pt x="13" y="5"/>
                  </a:cubicBezTo>
                  <a:cubicBezTo>
                    <a:pt x="13" y="5"/>
                    <a:pt x="12" y="5"/>
                    <a:pt x="8" y="19"/>
                  </a:cubicBezTo>
                  <a:cubicBezTo>
                    <a:pt x="7" y="19"/>
                    <a:pt x="7" y="19"/>
                    <a:pt x="6" y="19"/>
                  </a:cubicBezTo>
                  <a:cubicBezTo>
                    <a:pt x="3" y="19"/>
                    <a:pt x="0" y="21"/>
                    <a:pt x="0" y="24"/>
                  </a:cubicBezTo>
                  <a:cubicBezTo>
                    <a:pt x="0" y="24"/>
                    <a:pt x="0" y="24"/>
                    <a:pt x="0" y="40"/>
                  </a:cubicBezTo>
                  <a:cubicBezTo>
                    <a:pt x="6" y="40"/>
                    <a:pt x="6" y="40"/>
                    <a:pt x="6" y="40"/>
                  </a:cubicBezTo>
                  <a:cubicBezTo>
                    <a:pt x="6" y="42"/>
                    <a:pt x="6" y="44"/>
                    <a:pt x="6" y="46"/>
                  </a:cubicBezTo>
                  <a:cubicBezTo>
                    <a:pt x="6" y="49"/>
                    <a:pt x="9" y="51"/>
                    <a:pt x="11" y="51"/>
                  </a:cubicBezTo>
                  <a:cubicBezTo>
                    <a:pt x="14" y="51"/>
                    <a:pt x="17" y="49"/>
                    <a:pt x="17" y="46"/>
                  </a:cubicBezTo>
                  <a:cubicBezTo>
                    <a:pt x="17" y="46"/>
                    <a:pt x="17" y="46"/>
                    <a:pt x="17" y="40"/>
                  </a:cubicBezTo>
                  <a:cubicBezTo>
                    <a:pt x="50" y="40"/>
                    <a:pt x="50" y="40"/>
                    <a:pt x="50" y="40"/>
                  </a:cubicBezTo>
                  <a:cubicBezTo>
                    <a:pt x="50" y="42"/>
                    <a:pt x="50" y="44"/>
                    <a:pt x="50" y="46"/>
                  </a:cubicBezTo>
                  <a:cubicBezTo>
                    <a:pt x="50" y="49"/>
                    <a:pt x="52" y="51"/>
                    <a:pt x="55" y="51"/>
                  </a:cubicBezTo>
                  <a:cubicBezTo>
                    <a:pt x="58" y="51"/>
                    <a:pt x="60" y="49"/>
                    <a:pt x="60" y="46"/>
                  </a:cubicBezTo>
                  <a:cubicBezTo>
                    <a:pt x="60" y="46"/>
                    <a:pt x="60" y="46"/>
                    <a:pt x="60" y="40"/>
                  </a:cubicBezTo>
                  <a:cubicBezTo>
                    <a:pt x="67" y="40"/>
                    <a:pt x="67" y="40"/>
                    <a:pt x="67" y="40"/>
                  </a:cubicBezTo>
                  <a:cubicBezTo>
                    <a:pt x="67" y="40"/>
                    <a:pt x="67" y="40"/>
                    <a:pt x="67" y="24"/>
                  </a:cubicBezTo>
                  <a:close/>
                  <a:moveTo>
                    <a:pt x="17" y="6"/>
                  </a:moveTo>
                  <a:cubicBezTo>
                    <a:pt x="18" y="5"/>
                    <a:pt x="19" y="5"/>
                    <a:pt x="19" y="5"/>
                  </a:cubicBezTo>
                  <a:cubicBezTo>
                    <a:pt x="19" y="5"/>
                    <a:pt x="19" y="5"/>
                    <a:pt x="49" y="5"/>
                  </a:cubicBezTo>
                  <a:cubicBezTo>
                    <a:pt x="49" y="5"/>
                    <a:pt x="50" y="5"/>
                    <a:pt x="51" y="6"/>
                  </a:cubicBezTo>
                  <a:cubicBezTo>
                    <a:pt x="51" y="6"/>
                    <a:pt x="51" y="6"/>
                    <a:pt x="55" y="19"/>
                  </a:cubicBezTo>
                  <a:cubicBezTo>
                    <a:pt x="49" y="19"/>
                    <a:pt x="37" y="19"/>
                    <a:pt x="13" y="19"/>
                  </a:cubicBezTo>
                  <a:cubicBezTo>
                    <a:pt x="14" y="17"/>
                    <a:pt x="15" y="13"/>
                    <a:pt x="17" y="6"/>
                  </a:cubicBezTo>
                  <a:close/>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414" name="Oval 336">
              <a:extLst>
                <a:ext uri="{FF2B5EF4-FFF2-40B4-BE49-F238E27FC236}">
                  <a16:creationId xmlns:a16="http://schemas.microsoft.com/office/drawing/2014/main" id="{11574F05-AF11-44D4-96D8-F962AF76EB06}"/>
                </a:ext>
              </a:extLst>
            </p:cNvPr>
            <p:cNvSpPr>
              <a:spLocks noChangeArrowheads="1"/>
            </p:cNvSpPr>
            <p:nvPr/>
          </p:nvSpPr>
          <p:spPr bwMode="auto">
            <a:xfrm>
              <a:off x="4103397" y="4191955"/>
              <a:ext cx="83336" cy="87723"/>
            </a:xfrm>
            <a:prstGeom prst="ellipse">
              <a:avLst/>
            </a:pr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415" name="Oval 337">
              <a:extLst>
                <a:ext uri="{FF2B5EF4-FFF2-40B4-BE49-F238E27FC236}">
                  <a16:creationId xmlns:a16="http://schemas.microsoft.com/office/drawing/2014/main" id="{E343E3BA-2A8D-483D-8C9D-23E04D570D16}"/>
                </a:ext>
              </a:extLst>
            </p:cNvPr>
            <p:cNvSpPr>
              <a:spLocks noChangeArrowheads="1"/>
            </p:cNvSpPr>
            <p:nvPr/>
          </p:nvSpPr>
          <p:spPr bwMode="auto">
            <a:xfrm>
              <a:off x="3761283" y="4191962"/>
              <a:ext cx="87723" cy="87723"/>
            </a:xfrm>
            <a:prstGeom prst="ellipse">
              <a:avLst/>
            </a:pr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401" name="Group 400">
            <a:extLst>
              <a:ext uri="{FF2B5EF4-FFF2-40B4-BE49-F238E27FC236}">
                <a16:creationId xmlns:a16="http://schemas.microsoft.com/office/drawing/2014/main" id="{DBEBD58F-8384-4664-960B-673EC16C5E4A}"/>
              </a:ext>
            </a:extLst>
          </p:cNvPr>
          <p:cNvGrpSpPr/>
          <p:nvPr/>
        </p:nvGrpSpPr>
        <p:grpSpPr>
          <a:xfrm>
            <a:off x="4416079" y="3868789"/>
            <a:ext cx="396845" cy="816368"/>
            <a:chOff x="4499580" y="5533687"/>
            <a:chExt cx="663333" cy="1364573"/>
          </a:xfrm>
          <a:solidFill>
            <a:srgbClr val="39393B"/>
          </a:solidFill>
        </p:grpSpPr>
        <p:sp>
          <p:nvSpPr>
            <p:cNvPr id="402" name="Freeform: Shape 401">
              <a:extLst>
                <a:ext uri="{FF2B5EF4-FFF2-40B4-BE49-F238E27FC236}">
                  <a16:creationId xmlns:a16="http://schemas.microsoft.com/office/drawing/2014/main" id="{6316B8FF-53A4-4202-84AC-C3BC52C06771}"/>
                </a:ext>
              </a:extLst>
            </p:cNvPr>
            <p:cNvSpPr/>
            <p:nvPr/>
          </p:nvSpPr>
          <p:spPr bwMode="auto">
            <a:xfrm>
              <a:off x="4818013" y="5533687"/>
              <a:ext cx="270559" cy="286605"/>
            </a:xfrm>
            <a:custGeom>
              <a:avLst/>
              <a:gdLst>
                <a:gd name="connsiteX0" fmla="*/ 135280 w 270559"/>
                <a:gd name="connsiteY0" fmla="*/ 0 h 286605"/>
                <a:gd name="connsiteX1" fmla="*/ 270559 w 270559"/>
                <a:gd name="connsiteY1" fmla="*/ 143302 h 286605"/>
                <a:gd name="connsiteX2" fmla="*/ 135280 w 270559"/>
                <a:gd name="connsiteY2" fmla="*/ 286605 h 286605"/>
                <a:gd name="connsiteX3" fmla="*/ 0 w 270559"/>
                <a:gd name="connsiteY3" fmla="*/ 143302 h 286605"/>
                <a:gd name="connsiteX4" fmla="*/ 135280 w 270559"/>
                <a:gd name="connsiteY4" fmla="*/ 0 h 286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559" h="286605">
                  <a:moveTo>
                    <a:pt x="135280" y="0"/>
                  </a:moveTo>
                  <a:cubicBezTo>
                    <a:pt x="209993" y="0"/>
                    <a:pt x="270559" y="64159"/>
                    <a:pt x="270559" y="143302"/>
                  </a:cubicBezTo>
                  <a:cubicBezTo>
                    <a:pt x="270559" y="222446"/>
                    <a:pt x="209993" y="286605"/>
                    <a:pt x="135280" y="286605"/>
                  </a:cubicBezTo>
                  <a:cubicBezTo>
                    <a:pt x="60567" y="286605"/>
                    <a:pt x="0" y="222446"/>
                    <a:pt x="0" y="143302"/>
                  </a:cubicBezTo>
                  <a:cubicBezTo>
                    <a:pt x="0" y="64159"/>
                    <a:pt x="60567" y="0"/>
                    <a:pt x="135280" y="0"/>
                  </a:cubicBezTo>
                  <a:close/>
                </a:path>
              </a:pathLst>
            </a:custGeom>
            <a:grp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3" name="Freeform: Shape 402">
              <a:extLst>
                <a:ext uri="{FF2B5EF4-FFF2-40B4-BE49-F238E27FC236}">
                  <a16:creationId xmlns:a16="http://schemas.microsoft.com/office/drawing/2014/main" id="{75063724-D072-41A6-AA1C-294FE7505685}"/>
                </a:ext>
              </a:extLst>
            </p:cNvPr>
            <p:cNvSpPr/>
            <p:nvPr/>
          </p:nvSpPr>
          <p:spPr bwMode="auto">
            <a:xfrm>
              <a:off x="4791320" y="5863168"/>
              <a:ext cx="301311" cy="464489"/>
            </a:xfrm>
            <a:custGeom>
              <a:avLst/>
              <a:gdLst>
                <a:gd name="connsiteX0" fmla="*/ 346640 w 561111"/>
                <a:gd name="connsiteY0" fmla="*/ 0 h 465992"/>
                <a:gd name="connsiteX1" fmla="*/ 518216 w 561111"/>
                <a:gd name="connsiteY1" fmla="*/ 0 h 465992"/>
                <a:gd name="connsiteX2" fmla="*/ 561111 w 561111"/>
                <a:gd name="connsiteY2" fmla="*/ 42895 h 465992"/>
                <a:gd name="connsiteX3" fmla="*/ 561111 w 561111"/>
                <a:gd name="connsiteY3" fmla="*/ 421594 h 465992"/>
                <a:gd name="connsiteX4" fmla="*/ 518216 w 561111"/>
                <a:gd name="connsiteY4" fmla="*/ 464489 h 465992"/>
                <a:gd name="connsiteX5" fmla="*/ 500527 w 561111"/>
                <a:gd name="connsiteY5" fmla="*/ 464489 h 465992"/>
                <a:gd name="connsiteX6" fmla="*/ 503314 w 561111"/>
                <a:gd name="connsiteY6" fmla="*/ 446183 h 465992"/>
                <a:gd name="connsiteX7" fmla="*/ 503314 w 561111"/>
                <a:gd name="connsiteY7" fmla="*/ 101295 h 465992"/>
                <a:gd name="connsiteX8" fmla="*/ 434765 w 561111"/>
                <a:gd name="connsiteY8" fmla="*/ 32747 h 465992"/>
                <a:gd name="connsiteX9" fmla="*/ 366217 w 561111"/>
                <a:gd name="connsiteY9" fmla="*/ 101295 h 465992"/>
                <a:gd name="connsiteX10" fmla="*/ 366217 w 561111"/>
                <a:gd name="connsiteY10" fmla="*/ 446183 h 465992"/>
                <a:gd name="connsiteX11" fmla="*/ 369004 w 561111"/>
                <a:gd name="connsiteY11" fmla="*/ 464489 h 465992"/>
                <a:gd name="connsiteX12" fmla="*/ 346640 w 561111"/>
                <a:gd name="connsiteY12" fmla="*/ 464489 h 465992"/>
                <a:gd name="connsiteX13" fmla="*/ 303745 w 561111"/>
                <a:gd name="connsiteY13" fmla="*/ 421594 h 465992"/>
                <a:gd name="connsiteX14" fmla="*/ 283536 w 561111"/>
                <a:gd name="connsiteY14" fmla="*/ 250757 h 465992"/>
                <a:gd name="connsiteX15" fmla="*/ 71451 w 561111"/>
                <a:gd name="connsiteY15" fmla="*/ 452085 h 465992"/>
                <a:gd name="connsiteX16" fmla="*/ 35283 w 561111"/>
                <a:gd name="connsiteY16" fmla="*/ 465975 h 465992"/>
                <a:gd name="connsiteX17" fmla="*/ 0 w 561111"/>
                <a:gd name="connsiteY17" fmla="*/ 450274 h 465992"/>
                <a:gd name="connsiteX18" fmla="*/ 0 w 561111"/>
                <a:gd name="connsiteY18" fmla="*/ 313793 h 465992"/>
                <a:gd name="connsiteX19" fmla="*/ 35521 w 561111"/>
                <a:gd name="connsiteY19" fmla="*/ 345112 h 465992"/>
                <a:gd name="connsiteX20" fmla="*/ 36176 w 561111"/>
                <a:gd name="connsiteY20" fmla="*/ 345976 h 465992"/>
                <a:gd name="connsiteX21" fmla="*/ 259800 w 561111"/>
                <a:gd name="connsiteY21" fmla="*/ 133694 h 465992"/>
                <a:gd name="connsiteX22" fmla="*/ 269327 w 561111"/>
                <a:gd name="connsiteY22" fmla="*/ 127719 h 465992"/>
                <a:gd name="connsiteX23" fmla="*/ 268703 w 561111"/>
                <a:gd name="connsiteY23" fmla="*/ 109290 h 465992"/>
                <a:gd name="connsiteX24" fmla="*/ 346640 w 561111"/>
                <a:gd name="connsiteY24" fmla="*/ 0 h 465992"/>
                <a:gd name="connsiteX0" fmla="*/ 346640 w 561111"/>
                <a:gd name="connsiteY0" fmla="*/ 0 h 465992"/>
                <a:gd name="connsiteX1" fmla="*/ 518216 w 561111"/>
                <a:gd name="connsiteY1" fmla="*/ 0 h 465992"/>
                <a:gd name="connsiteX2" fmla="*/ 561111 w 561111"/>
                <a:gd name="connsiteY2" fmla="*/ 42895 h 465992"/>
                <a:gd name="connsiteX3" fmla="*/ 561111 w 561111"/>
                <a:gd name="connsiteY3" fmla="*/ 421594 h 465992"/>
                <a:gd name="connsiteX4" fmla="*/ 518216 w 561111"/>
                <a:gd name="connsiteY4" fmla="*/ 464489 h 465992"/>
                <a:gd name="connsiteX5" fmla="*/ 500527 w 561111"/>
                <a:gd name="connsiteY5" fmla="*/ 464489 h 465992"/>
                <a:gd name="connsiteX6" fmla="*/ 503314 w 561111"/>
                <a:gd name="connsiteY6" fmla="*/ 446183 h 465992"/>
                <a:gd name="connsiteX7" fmla="*/ 503314 w 561111"/>
                <a:gd name="connsiteY7" fmla="*/ 101295 h 465992"/>
                <a:gd name="connsiteX8" fmla="*/ 434765 w 561111"/>
                <a:gd name="connsiteY8" fmla="*/ 32747 h 465992"/>
                <a:gd name="connsiteX9" fmla="*/ 366217 w 561111"/>
                <a:gd name="connsiteY9" fmla="*/ 101295 h 465992"/>
                <a:gd name="connsiteX10" fmla="*/ 366217 w 561111"/>
                <a:gd name="connsiteY10" fmla="*/ 446183 h 465992"/>
                <a:gd name="connsiteX11" fmla="*/ 369004 w 561111"/>
                <a:gd name="connsiteY11" fmla="*/ 464489 h 465992"/>
                <a:gd name="connsiteX12" fmla="*/ 346640 w 561111"/>
                <a:gd name="connsiteY12" fmla="*/ 464489 h 465992"/>
                <a:gd name="connsiteX13" fmla="*/ 303745 w 561111"/>
                <a:gd name="connsiteY13" fmla="*/ 421594 h 465992"/>
                <a:gd name="connsiteX14" fmla="*/ 283536 w 561111"/>
                <a:gd name="connsiteY14" fmla="*/ 250757 h 465992"/>
                <a:gd name="connsiteX15" fmla="*/ 71451 w 561111"/>
                <a:gd name="connsiteY15" fmla="*/ 452085 h 465992"/>
                <a:gd name="connsiteX16" fmla="*/ 35283 w 561111"/>
                <a:gd name="connsiteY16" fmla="*/ 465975 h 465992"/>
                <a:gd name="connsiteX17" fmla="*/ 0 w 561111"/>
                <a:gd name="connsiteY17" fmla="*/ 450274 h 465992"/>
                <a:gd name="connsiteX18" fmla="*/ 35521 w 561111"/>
                <a:gd name="connsiteY18" fmla="*/ 345112 h 465992"/>
                <a:gd name="connsiteX19" fmla="*/ 36176 w 561111"/>
                <a:gd name="connsiteY19" fmla="*/ 345976 h 465992"/>
                <a:gd name="connsiteX20" fmla="*/ 259800 w 561111"/>
                <a:gd name="connsiteY20" fmla="*/ 133694 h 465992"/>
                <a:gd name="connsiteX21" fmla="*/ 269327 w 561111"/>
                <a:gd name="connsiteY21" fmla="*/ 127719 h 465992"/>
                <a:gd name="connsiteX22" fmla="*/ 268703 w 561111"/>
                <a:gd name="connsiteY22" fmla="*/ 109290 h 465992"/>
                <a:gd name="connsiteX23" fmla="*/ 346640 w 561111"/>
                <a:gd name="connsiteY23" fmla="*/ 0 h 465992"/>
                <a:gd name="connsiteX0" fmla="*/ 311357 w 525828"/>
                <a:gd name="connsiteY0" fmla="*/ 0 h 465992"/>
                <a:gd name="connsiteX1" fmla="*/ 482933 w 525828"/>
                <a:gd name="connsiteY1" fmla="*/ 0 h 465992"/>
                <a:gd name="connsiteX2" fmla="*/ 525828 w 525828"/>
                <a:gd name="connsiteY2" fmla="*/ 42895 h 465992"/>
                <a:gd name="connsiteX3" fmla="*/ 525828 w 525828"/>
                <a:gd name="connsiteY3" fmla="*/ 421594 h 465992"/>
                <a:gd name="connsiteX4" fmla="*/ 482933 w 525828"/>
                <a:gd name="connsiteY4" fmla="*/ 464489 h 465992"/>
                <a:gd name="connsiteX5" fmla="*/ 465244 w 525828"/>
                <a:gd name="connsiteY5" fmla="*/ 464489 h 465992"/>
                <a:gd name="connsiteX6" fmla="*/ 468031 w 525828"/>
                <a:gd name="connsiteY6" fmla="*/ 446183 h 465992"/>
                <a:gd name="connsiteX7" fmla="*/ 468031 w 525828"/>
                <a:gd name="connsiteY7" fmla="*/ 101295 h 465992"/>
                <a:gd name="connsiteX8" fmla="*/ 399482 w 525828"/>
                <a:gd name="connsiteY8" fmla="*/ 32747 h 465992"/>
                <a:gd name="connsiteX9" fmla="*/ 330934 w 525828"/>
                <a:gd name="connsiteY9" fmla="*/ 101295 h 465992"/>
                <a:gd name="connsiteX10" fmla="*/ 330934 w 525828"/>
                <a:gd name="connsiteY10" fmla="*/ 446183 h 465992"/>
                <a:gd name="connsiteX11" fmla="*/ 333721 w 525828"/>
                <a:gd name="connsiteY11" fmla="*/ 464489 h 465992"/>
                <a:gd name="connsiteX12" fmla="*/ 311357 w 525828"/>
                <a:gd name="connsiteY12" fmla="*/ 464489 h 465992"/>
                <a:gd name="connsiteX13" fmla="*/ 268462 w 525828"/>
                <a:gd name="connsiteY13" fmla="*/ 421594 h 465992"/>
                <a:gd name="connsiteX14" fmla="*/ 248253 w 525828"/>
                <a:gd name="connsiteY14" fmla="*/ 250757 h 465992"/>
                <a:gd name="connsiteX15" fmla="*/ 36168 w 525828"/>
                <a:gd name="connsiteY15" fmla="*/ 452085 h 465992"/>
                <a:gd name="connsiteX16" fmla="*/ 0 w 525828"/>
                <a:gd name="connsiteY16" fmla="*/ 465975 h 465992"/>
                <a:gd name="connsiteX17" fmla="*/ 238 w 525828"/>
                <a:gd name="connsiteY17" fmla="*/ 345112 h 465992"/>
                <a:gd name="connsiteX18" fmla="*/ 893 w 525828"/>
                <a:gd name="connsiteY18" fmla="*/ 345976 h 465992"/>
                <a:gd name="connsiteX19" fmla="*/ 224517 w 525828"/>
                <a:gd name="connsiteY19" fmla="*/ 133694 h 465992"/>
                <a:gd name="connsiteX20" fmla="*/ 234044 w 525828"/>
                <a:gd name="connsiteY20" fmla="*/ 127719 h 465992"/>
                <a:gd name="connsiteX21" fmla="*/ 233420 w 525828"/>
                <a:gd name="connsiteY21" fmla="*/ 109290 h 465992"/>
                <a:gd name="connsiteX22" fmla="*/ 311357 w 525828"/>
                <a:gd name="connsiteY22" fmla="*/ 0 h 465992"/>
                <a:gd name="connsiteX0" fmla="*/ 311119 w 525590"/>
                <a:gd name="connsiteY0" fmla="*/ 0 h 464489"/>
                <a:gd name="connsiteX1" fmla="*/ 482695 w 525590"/>
                <a:gd name="connsiteY1" fmla="*/ 0 h 464489"/>
                <a:gd name="connsiteX2" fmla="*/ 525590 w 525590"/>
                <a:gd name="connsiteY2" fmla="*/ 42895 h 464489"/>
                <a:gd name="connsiteX3" fmla="*/ 525590 w 525590"/>
                <a:gd name="connsiteY3" fmla="*/ 421594 h 464489"/>
                <a:gd name="connsiteX4" fmla="*/ 482695 w 525590"/>
                <a:gd name="connsiteY4" fmla="*/ 464489 h 464489"/>
                <a:gd name="connsiteX5" fmla="*/ 465006 w 525590"/>
                <a:gd name="connsiteY5" fmla="*/ 464489 h 464489"/>
                <a:gd name="connsiteX6" fmla="*/ 467793 w 525590"/>
                <a:gd name="connsiteY6" fmla="*/ 446183 h 464489"/>
                <a:gd name="connsiteX7" fmla="*/ 467793 w 525590"/>
                <a:gd name="connsiteY7" fmla="*/ 101295 h 464489"/>
                <a:gd name="connsiteX8" fmla="*/ 399244 w 525590"/>
                <a:gd name="connsiteY8" fmla="*/ 32747 h 464489"/>
                <a:gd name="connsiteX9" fmla="*/ 330696 w 525590"/>
                <a:gd name="connsiteY9" fmla="*/ 101295 h 464489"/>
                <a:gd name="connsiteX10" fmla="*/ 330696 w 525590"/>
                <a:gd name="connsiteY10" fmla="*/ 446183 h 464489"/>
                <a:gd name="connsiteX11" fmla="*/ 333483 w 525590"/>
                <a:gd name="connsiteY11" fmla="*/ 464489 h 464489"/>
                <a:gd name="connsiteX12" fmla="*/ 311119 w 525590"/>
                <a:gd name="connsiteY12" fmla="*/ 464489 h 464489"/>
                <a:gd name="connsiteX13" fmla="*/ 268224 w 525590"/>
                <a:gd name="connsiteY13" fmla="*/ 421594 h 464489"/>
                <a:gd name="connsiteX14" fmla="*/ 248015 w 525590"/>
                <a:gd name="connsiteY14" fmla="*/ 250757 h 464489"/>
                <a:gd name="connsiteX15" fmla="*/ 35930 w 525590"/>
                <a:gd name="connsiteY15" fmla="*/ 452085 h 464489"/>
                <a:gd name="connsiteX16" fmla="*/ 0 w 525590"/>
                <a:gd name="connsiteY16" fmla="*/ 345112 h 464489"/>
                <a:gd name="connsiteX17" fmla="*/ 655 w 525590"/>
                <a:gd name="connsiteY17" fmla="*/ 345976 h 464489"/>
                <a:gd name="connsiteX18" fmla="*/ 224279 w 525590"/>
                <a:gd name="connsiteY18" fmla="*/ 133694 h 464489"/>
                <a:gd name="connsiteX19" fmla="*/ 233806 w 525590"/>
                <a:gd name="connsiteY19" fmla="*/ 127719 h 464489"/>
                <a:gd name="connsiteX20" fmla="*/ 233182 w 525590"/>
                <a:gd name="connsiteY20" fmla="*/ 109290 h 464489"/>
                <a:gd name="connsiteX21" fmla="*/ 311119 w 525590"/>
                <a:gd name="connsiteY21" fmla="*/ 0 h 464489"/>
                <a:gd name="connsiteX0" fmla="*/ 332074 w 546545"/>
                <a:gd name="connsiteY0" fmla="*/ 0 h 464489"/>
                <a:gd name="connsiteX1" fmla="*/ 503650 w 546545"/>
                <a:gd name="connsiteY1" fmla="*/ 0 h 464489"/>
                <a:gd name="connsiteX2" fmla="*/ 546545 w 546545"/>
                <a:gd name="connsiteY2" fmla="*/ 42895 h 464489"/>
                <a:gd name="connsiteX3" fmla="*/ 546545 w 546545"/>
                <a:gd name="connsiteY3" fmla="*/ 421594 h 464489"/>
                <a:gd name="connsiteX4" fmla="*/ 503650 w 546545"/>
                <a:gd name="connsiteY4" fmla="*/ 464489 h 464489"/>
                <a:gd name="connsiteX5" fmla="*/ 485961 w 546545"/>
                <a:gd name="connsiteY5" fmla="*/ 464489 h 464489"/>
                <a:gd name="connsiteX6" fmla="*/ 488748 w 546545"/>
                <a:gd name="connsiteY6" fmla="*/ 446183 h 464489"/>
                <a:gd name="connsiteX7" fmla="*/ 488748 w 546545"/>
                <a:gd name="connsiteY7" fmla="*/ 101295 h 464489"/>
                <a:gd name="connsiteX8" fmla="*/ 420199 w 546545"/>
                <a:gd name="connsiteY8" fmla="*/ 32747 h 464489"/>
                <a:gd name="connsiteX9" fmla="*/ 351651 w 546545"/>
                <a:gd name="connsiteY9" fmla="*/ 101295 h 464489"/>
                <a:gd name="connsiteX10" fmla="*/ 351651 w 546545"/>
                <a:gd name="connsiteY10" fmla="*/ 446183 h 464489"/>
                <a:gd name="connsiteX11" fmla="*/ 354438 w 546545"/>
                <a:gd name="connsiteY11" fmla="*/ 464489 h 464489"/>
                <a:gd name="connsiteX12" fmla="*/ 332074 w 546545"/>
                <a:gd name="connsiteY12" fmla="*/ 464489 h 464489"/>
                <a:gd name="connsiteX13" fmla="*/ 289179 w 546545"/>
                <a:gd name="connsiteY13" fmla="*/ 421594 h 464489"/>
                <a:gd name="connsiteX14" fmla="*/ 268970 w 546545"/>
                <a:gd name="connsiteY14" fmla="*/ 250757 h 464489"/>
                <a:gd name="connsiteX15" fmla="*/ 56885 w 546545"/>
                <a:gd name="connsiteY15" fmla="*/ 452085 h 464489"/>
                <a:gd name="connsiteX16" fmla="*/ 20955 w 546545"/>
                <a:gd name="connsiteY16" fmla="*/ 345112 h 464489"/>
                <a:gd name="connsiteX17" fmla="*/ 21610 w 546545"/>
                <a:gd name="connsiteY17" fmla="*/ 345976 h 464489"/>
                <a:gd name="connsiteX18" fmla="*/ 245234 w 546545"/>
                <a:gd name="connsiteY18" fmla="*/ 133694 h 464489"/>
                <a:gd name="connsiteX19" fmla="*/ 254761 w 546545"/>
                <a:gd name="connsiteY19" fmla="*/ 127719 h 464489"/>
                <a:gd name="connsiteX20" fmla="*/ 254137 w 546545"/>
                <a:gd name="connsiteY20" fmla="*/ 109290 h 464489"/>
                <a:gd name="connsiteX21" fmla="*/ 332074 w 546545"/>
                <a:gd name="connsiteY21" fmla="*/ 0 h 464489"/>
                <a:gd name="connsiteX0" fmla="*/ 350065 w 564536"/>
                <a:gd name="connsiteY0" fmla="*/ 0 h 464489"/>
                <a:gd name="connsiteX1" fmla="*/ 521641 w 564536"/>
                <a:gd name="connsiteY1" fmla="*/ 0 h 464489"/>
                <a:gd name="connsiteX2" fmla="*/ 564536 w 564536"/>
                <a:gd name="connsiteY2" fmla="*/ 42895 h 464489"/>
                <a:gd name="connsiteX3" fmla="*/ 564536 w 564536"/>
                <a:gd name="connsiteY3" fmla="*/ 421594 h 464489"/>
                <a:gd name="connsiteX4" fmla="*/ 521641 w 564536"/>
                <a:gd name="connsiteY4" fmla="*/ 464489 h 464489"/>
                <a:gd name="connsiteX5" fmla="*/ 503952 w 564536"/>
                <a:gd name="connsiteY5" fmla="*/ 464489 h 464489"/>
                <a:gd name="connsiteX6" fmla="*/ 506739 w 564536"/>
                <a:gd name="connsiteY6" fmla="*/ 446183 h 464489"/>
                <a:gd name="connsiteX7" fmla="*/ 506739 w 564536"/>
                <a:gd name="connsiteY7" fmla="*/ 101295 h 464489"/>
                <a:gd name="connsiteX8" fmla="*/ 438190 w 564536"/>
                <a:gd name="connsiteY8" fmla="*/ 32747 h 464489"/>
                <a:gd name="connsiteX9" fmla="*/ 369642 w 564536"/>
                <a:gd name="connsiteY9" fmla="*/ 101295 h 464489"/>
                <a:gd name="connsiteX10" fmla="*/ 369642 w 564536"/>
                <a:gd name="connsiteY10" fmla="*/ 446183 h 464489"/>
                <a:gd name="connsiteX11" fmla="*/ 372429 w 564536"/>
                <a:gd name="connsiteY11" fmla="*/ 464489 h 464489"/>
                <a:gd name="connsiteX12" fmla="*/ 350065 w 564536"/>
                <a:gd name="connsiteY12" fmla="*/ 464489 h 464489"/>
                <a:gd name="connsiteX13" fmla="*/ 307170 w 564536"/>
                <a:gd name="connsiteY13" fmla="*/ 421594 h 464489"/>
                <a:gd name="connsiteX14" fmla="*/ 286961 w 564536"/>
                <a:gd name="connsiteY14" fmla="*/ 250757 h 464489"/>
                <a:gd name="connsiteX15" fmla="*/ 74876 w 564536"/>
                <a:gd name="connsiteY15" fmla="*/ 452085 h 464489"/>
                <a:gd name="connsiteX16" fmla="*/ 38946 w 564536"/>
                <a:gd name="connsiteY16" fmla="*/ 345112 h 464489"/>
                <a:gd name="connsiteX17" fmla="*/ 39601 w 564536"/>
                <a:gd name="connsiteY17" fmla="*/ 345976 h 464489"/>
                <a:gd name="connsiteX18" fmla="*/ 263225 w 564536"/>
                <a:gd name="connsiteY18" fmla="*/ 133694 h 464489"/>
                <a:gd name="connsiteX19" fmla="*/ 272752 w 564536"/>
                <a:gd name="connsiteY19" fmla="*/ 127719 h 464489"/>
                <a:gd name="connsiteX20" fmla="*/ 272128 w 564536"/>
                <a:gd name="connsiteY20" fmla="*/ 109290 h 464489"/>
                <a:gd name="connsiteX21" fmla="*/ 350065 w 564536"/>
                <a:gd name="connsiteY21" fmla="*/ 0 h 464489"/>
                <a:gd name="connsiteX0" fmla="*/ 311119 w 525590"/>
                <a:gd name="connsiteY0" fmla="*/ 0 h 464489"/>
                <a:gd name="connsiteX1" fmla="*/ 482695 w 525590"/>
                <a:gd name="connsiteY1" fmla="*/ 0 h 464489"/>
                <a:gd name="connsiteX2" fmla="*/ 525590 w 525590"/>
                <a:gd name="connsiteY2" fmla="*/ 42895 h 464489"/>
                <a:gd name="connsiteX3" fmla="*/ 525590 w 525590"/>
                <a:gd name="connsiteY3" fmla="*/ 421594 h 464489"/>
                <a:gd name="connsiteX4" fmla="*/ 482695 w 525590"/>
                <a:gd name="connsiteY4" fmla="*/ 464489 h 464489"/>
                <a:gd name="connsiteX5" fmla="*/ 465006 w 525590"/>
                <a:gd name="connsiteY5" fmla="*/ 464489 h 464489"/>
                <a:gd name="connsiteX6" fmla="*/ 467793 w 525590"/>
                <a:gd name="connsiteY6" fmla="*/ 446183 h 464489"/>
                <a:gd name="connsiteX7" fmla="*/ 467793 w 525590"/>
                <a:gd name="connsiteY7" fmla="*/ 101295 h 464489"/>
                <a:gd name="connsiteX8" fmla="*/ 399244 w 525590"/>
                <a:gd name="connsiteY8" fmla="*/ 32747 h 464489"/>
                <a:gd name="connsiteX9" fmla="*/ 330696 w 525590"/>
                <a:gd name="connsiteY9" fmla="*/ 101295 h 464489"/>
                <a:gd name="connsiteX10" fmla="*/ 330696 w 525590"/>
                <a:gd name="connsiteY10" fmla="*/ 446183 h 464489"/>
                <a:gd name="connsiteX11" fmla="*/ 333483 w 525590"/>
                <a:gd name="connsiteY11" fmla="*/ 464489 h 464489"/>
                <a:gd name="connsiteX12" fmla="*/ 311119 w 525590"/>
                <a:gd name="connsiteY12" fmla="*/ 464489 h 464489"/>
                <a:gd name="connsiteX13" fmla="*/ 268224 w 525590"/>
                <a:gd name="connsiteY13" fmla="*/ 421594 h 464489"/>
                <a:gd name="connsiteX14" fmla="*/ 248015 w 525590"/>
                <a:gd name="connsiteY14" fmla="*/ 250757 h 464489"/>
                <a:gd name="connsiteX15" fmla="*/ 35930 w 525590"/>
                <a:gd name="connsiteY15" fmla="*/ 452085 h 464489"/>
                <a:gd name="connsiteX16" fmla="*/ 0 w 525590"/>
                <a:gd name="connsiteY16" fmla="*/ 345112 h 464489"/>
                <a:gd name="connsiteX17" fmla="*/ 224279 w 525590"/>
                <a:gd name="connsiteY17" fmla="*/ 133694 h 464489"/>
                <a:gd name="connsiteX18" fmla="*/ 233806 w 525590"/>
                <a:gd name="connsiteY18" fmla="*/ 127719 h 464489"/>
                <a:gd name="connsiteX19" fmla="*/ 233182 w 525590"/>
                <a:gd name="connsiteY19" fmla="*/ 109290 h 464489"/>
                <a:gd name="connsiteX20" fmla="*/ 311119 w 525590"/>
                <a:gd name="connsiteY20" fmla="*/ 0 h 464489"/>
                <a:gd name="connsiteX0" fmla="*/ 311119 w 525590"/>
                <a:gd name="connsiteY0" fmla="*/ 0 h 464489"/>
                <a:gd name="connsiteX1" fmla="*/ 482695 w 525590"/>
                <a:gd name="connsiteY1" fmla="*/ 0 h 464489"/>
                <a:gd name="connsiteX2" fmla="*/ 525590 w 525590"/>
                <a:gd name="connsiteY2" fmla="*/ 42895 h 464489"/>
                <a:gd name="connsiteX3" fmla="*/ 525590 w 525590"/>
                <a:gd name="connsiteY3" fmla="*/ 421594 h 464489"/>
                <a:gd name="connsiteX4" fmla="*/ 482695 w 525590"/>
                <a:gd name="connsiteY4" fmla="*/ 464489 h 464489"/>
                <a:gd name="connsiteX5" fmla="*/ 465006 w 525590"/>
                <a:gd name="connsiteY5" fmla="*/ 464489 h 464489"/>
                <a:gd name="connsiteX6" fmla="*/ 467793 w 525590"/>
                <a:gd name="connsiteY6" fmla="*/ 446183 h 464489"/>
                <a:gd name="connsiteX7" fmla="*/ 467793 w 525590"/>
                <a:gd name="connsiteY7" fmla="*/ 101295 h 464489"/>
                <a:gd name="connsiteX8" fmla="*/ 399244 w 525590"/>
                <a:gd name="connsiteY8" fmla="*/ 32747 h 464489"/>
                <a:gd name="connsiteX9" fmla="*/ 330696 w 525590"/>
                <a:gd name="connsiteY9" fmla="*/ 101295 h 464489"/>
                <a:gd name="connsiteX10" fmla="*/ 330696 w 525590"/>
                <a:gd name="connsiteY10" fmla="*/ 446183 h 464489"/>
                <a:gd name="connsiteX11" fmla="*/ 333483 w 525590"/>
                <a:gd name="connsiteY11" fmla="*/ 464489 h 464489"/>
                <a:gd name="connsiteX12" fmla="*/ 311119 w 525590"/>
                <a:gd name="connsiteY12" fmla="*/ 464489 h 464489"/>
                <a:gd name="connsiteX13" fmla="*/ 268224 w 525590"/>
                <a:gd name="connsiteY13" fmla="*/ 421594 h 464489"/>
                <a:gd name="connsiteX14" fmla="*/ 248015 w 525590"/>
                <a:gd name="connsiteY14" fmla="*/ 250757 h 464489"/>
                <a:gd name="connsiteX15" fmla="*/ 35930 w 525590"/>
                <a:gd name="connsiteY15" fmla="*/ 452085 h 464489"/>
                <a:gd name="connsiteX16" fmla="*/ 0 w 525590"/>
                <a:gd name="connsiteY16" fmla="*/ 345112 h 464489"/>
                <a:gd name="connsiteX17" fmla="*/ 224279 w 525590"/>
                <a:gd name="connsiteY17" fmla="*/ 133694 h 464489"/>
                <a:gd name="connsiteX18" fmla="*/ 233806 w 525590"/>
                <a:gd name="connsiteY18" fmla="*/ 127719 h 464489"/>
                <a:gd name="connsiteX19" fmla="*/ 233182 w 525590"/>
                <a:gd name="connsiteY19" fmla="*/ 109290 h 464489"/>
                <a:gd name="connsiteX20" fmla="*/ 311119 w 525590"/>
                <a:gd name="connsiteY20" fmla="*/ 0 h 464489"/>
                <a:gd name="connsiteX0" fmla="*/ 343343 w 557814"/>
                <a:gd name="connsiteY0" fmla="*/ 0 h 464489"/>
                <a:gd name="connsiteX1" fmla="*/ 514919 w 557814"/>
                <a:gd name="connsiteY1" fmla="*/ 0 h 464489"/>
                <a:gd name="connsiteX2" fmla="*/ 557814 w 557814"/>
                <a:gd name="connsiteY2" fmla="*/ 42895 h 464489"/>
                <a:gd name="connsiteX3" fmla="*/ 557814 w 557814"/>
                <a:gd name="connsiteY3" fmla="*/ 421594 h 464489"/>
                <a:gd name="connsiteX4" fmla="*/ 514919 w 557814"/>
                <a:gd name="connsiteY4" fmla="*/ 464489 h 464489"/>
                <a:gd name="connsiteX5" fmla="*/ 497230 w 557814"/>
                <a:gd name="connsiteY5" fmla="*/ 464489 h 464489"/>
                <a:gd name="connsiteX6" fmla="*/ 500017 w 557814"/>
                <a:gd name="connsiteY6" fmla="*/ 446183 h 464489"/>
                <a:gd name="connsiteX7" fmla="*/ 500017 w 557814"/>
                <a:gd name="connsiteY7" fmla="*/ 101295 h 464489"/>
                <a:gd name="connsiteX8" fmla="*/ 431468 w 557814"/>
                <a:gd name="connsiteY8" fmla="*/ 32747 h 464489"/>
                <a:gd name="connsiteX9" fmla="*/ 362920 w 557814"/>
                <a:gd name="connsiteY9" fmla="*/ 101295 h 464489"/>
                <a:gd name="connsiteX10" fmla="*/ 362920 w 557814"/>
                <a:gd name="connsiteY10" fmla="*/ 446183 h 464489"/>
                <a:gd name="connsiteX11" fmla="*/ 365707 w 557814"/>
                <a:gd name="connsiteY11" fmla="*/ 464489 h 464489"/>
                <a:gd name="connsiteX12" fmla="*/ 343343 w 557814"/>
                <a:gd name="connsiteY12" fmla="*/ 464489 h 464489"/>
                <a:gd name="connsiteX13" fmla="*/ 300448 w 557814"/>
                <a:gd name="connsiteY13" fmla="*/ 421594 h 464489"/>
                <a:gd name="connsiteX14" fmla="*/ 280239 w 557814"/>
                <a:gd name="connsiteY14" fmla="*/ 250757 h 464489"/>
                <a:gd name="connsiteX15" fmla="*/ 68154 w 557814"/>
                <a:gd name="connsiteY15" fmla="*/ 452085 h 464489"/>
                <a:gd name="connsiteX16" fmla="*/ 32224 w 557814"/>
                <a:gd name="connsiteY16" fmla="*/ 345112 h 464489"/>
                <a:gd name="connsiteX17" fmla="*/ 256503 w 557814"/>
                <a:gd name="connsiteY17" fmla="*/ 133694 h 464489"/>
                <a:gd name="connsiteX18" fmla="*/ 266030 w 557814"/>
                <a:gd name="connsiteY18" fmla="*/ 127719 h 464489"/>
                <a:gd name="connsiteX19" fmla="*/ 265406 w 557814"/>
                <a:gd name="connsiteY19" fmla="*/ 109290 h 464489"/>
                <a:gd name="connsiteX20" fmla="*/ 343343 w 557814"/>
                <a:gd name="connsiteY20" fmla="*/ 0 h 464489"/>
                <a:gd name="connsiteX0" fmla="*/ 340190 w 554661"/>
                <a:gd name="connsiteY0" fmla="*/ 0 h 464489"/>
                <a:gd name="connsiteX1" fmla="*/ 511766 w 554661"/>
                <a:gd name="connsiteY1" fmla="*/ 0 h 464489"/>
                <a:gd name="connsiteX2" fmla="*/ 554661 w 554661"/>
                <a:gd name="connsiteY2" fmla="*/ 42895 h 464489"/>
                <a:gd name="connsiteX3" fmla="*/ 554661 w 554661"/>
                <a:gd name="connsiteY3" fmla="*/ 421594 h 464489"/>
                <a:gd name="connsiteX4" fmla="*/ 511766 w 554661"/>
                <a:gd name="connsiteY4" fmla="*/ 464489 h 464489"/>
                <a:gd name="connsiteX5" fmla="*/ 494077 w 554661"/>
                <a:gd name="connsiteY5" fmla="*/ 464489 h 464489"/>
                <a:gd name="connsiteX6" fmla="*/ 496864 w 554661"/>
                <a:gd name="connsiteY6" fmla="*/ 446183 h 464489"/>
                <a:gd name="connsiteX7" fmla="*/ 496864 w 554661"/>
                <a:gd name="connsiteY7" fmla="*/ 101295 h 464489"/>
                <a:gd name="connsiteX8" fmla="*/ 428315 w 554661"/>
                <a:gd name="connsiteY8" fmla="*/ 32747 h 464489"/>
                <a:gd name="connsiteX9" fmla="*/ 359767 w 554661"/>
                <a:gd name="connsiteY9" fmla="*/ 101295 h 464489"/>
                <a:gd name="connsiteX10" fmla="*/ 359767 w 554661"/>
                <a:gd name="connsiteY10" fmla="*/ 446183 h 464489"/>
                <a:gd name="connsiteX11" fmla="*/ 362554 w 554661"/>
                <a:gd name="connsiteY11" fmla="*/ 464489 h 464489"/>
                <a:gd name="connsiteX12" fmla="*/ 340190 w 554661"/>
                <a:gd name="connsiteY12" fmla="*/ 464489 h 464489"/>
                <a:gd name="connsiteX13" fmla="*/ 297295 w 554661"/>
                <a:gd name="connsiteY13" fmla="*/ 421594 h 464489"/>
                <a:gd name="connsiteX14" fmla="*/ 277086 w 554661"/>
                <a:gd name="connsiteY14" fmla="*/ 250757 h 464489"/>
                <a:gd name="connsiteX15" fmla="*/ 79288 w 554661"/>
                <a:gd name="connsiteY15" fmla="*/ 437798 h 464489"/>
                <a:gd name="connsiteX16" fmla="*/ 29071 w 554661"/>
                <a:gd name="connsiteY16" fmla="*/ 345112 h 464489"/>
                <a:gd name="connsiteX17" fmla="*/ 253350 w 554661"/>
                <a:gd name="connsiteY17" fmla="*/ 133694 h 464489"/>
                <a:gd name="connsiteX18" fmla="*/ 262877 w 554661"/>
                <a:gd name="connsiteY18" fmla="*/ 127719 h 464489"/>
                <a:gd name="connsiteX19" fmla="*/ 262253 w 554661"/>
                <a:gd name="connsiteY19" fmla="*/ 109290 h 464489"/>
                <a:gd name="connsiteX20" fmla="*/ 340190 w 554661"/>
                <a:gd name="connsiteY20" fmla="*/ 0 h 464489"/>
                <a:gd name="connsiteX0" fmla="*/ 311119 w 525590"/>
                <a:gd name="connsiteY0" fmla="*/ 0 h 464489"/>
                <a:gd name="connsiteX1" fmla="*/ 482695 w 525590"/>
                <a:gd name="connsiteY1" fmla="*/ 0 h 464489"/>
                <a:gd name="connsiteX2" fmla="*/ 525590 w 525590"/>
                <a:gd name="connsiteY2" fmla="*/ 42895 h 464489"/>
                <a:gd name="connsiteX3" fmla="*/ 525590 w 525590"/>
                <a:gd name="connsiteY3" fmla="*/ 421594 h 464489"/>
                <a:gd name="connsiteX4" fmla="*/ 482695 w 525590"/>
                <a:gd name="connsiteY4" fmla="*/ 464489 h 464489"/>
                <a:gd name="connsiteX5" fmla="*/ 465006 w 525590"/>
                <a:gd name="connsiteY5" fmla="*/ 464489 h 464489"/>
                <a:gd name="connsiteX6" fmla="*/ 467793 w 525590"/>
                <a:gd name="connsiteY6" fmla="*/ 446183 h 464489"/>
                <a:gd name="connsiteX7" fmla="*/ 467793 w 525590"/>
                <a:gd name="connsiteY7" fmla="*/ 101295 h 464489"/>
                <a:gd name="connsiteX8" fmla="*/ 399244 w 525590"/>
                <a:gd name="connsiteY8" fmla="*/ 32747 h 464489"/>
                <a:gd name="connsiteX9" fmla="*/ 330696 w 525590"/>
                <a:gd name="connsiteY9" fmla="*/ 101295 h 464489"/>
                <a:gd name="connsiteX10" fmla="*/ 330696 w 525590"/>
                <a:gd name="connsiteY10" fmla="*/ 446183 h 464489"/>
                <a:gd name="connsiteX11" fmla="*/ 333483 w 525590"/>
                <a:gd name="connsiteY11" fmla="*/ 464489 h 464489"/>
                <a:gd name="connsiteX12" fmla="*/ 311119 w 525590"/>
                <a:gd name="connsiteY12" fmla="*/ 464489 h 464489"/>
                <a:gd name="connsiteX13" fmla="*/ 268224 w 525590"/>
                <a:gd name="connsiteY13" fmla="*/ 421594 h 464489"/>
                <a:gd name="connsiteX14" fmla="*/ 248015 w 525590"/>
                <a:gd name="connsiteY14" fmla="*/ 250757 h 464489"/>
                <a:gd name="connsiteX15" fmla="*/ 0 w 525590"/>
                <a:gd name="connsiteY15" fmla="*/ 345112 h 464489"/>
                <a:gd name="connsiteX16" fmla="*/ 224279 w 525590"/>
                <a:gd name="connsiteY16" fmla="*/ 133694 h 464489"/>
                <a:gd name="connsiteX17" fmla="*/ 233806 w 525590"/>
                <a:gd name="connsiteY17" fmla="*/ 127719 h 464489"/>
                <a:gd name="connsiteX18" fmla="*/ 233182 w 525590"/>
                <a:gd name="connsiteY18" fmla="*/ 109290 h 464489"/>
                <a:gd name="connsiteX19" fmla="*/ 311119 w 525590"/>
                <a:gd name="connsiteY19" fmla="*/ 0 h 464489"/>
                <a:gd name="connsiteX0" fmla="*/ 86840 w 301311"/>
                <a:gd name="connsiteY0" fmla="*/ 0 h 464489"/>
                <a:gd name="connsiteX1" fmla="*/ 258416 w 301311"/>
                <a:gd name="connsiteY1" fmla="*/ 0 h 464489"/>
                <a:gd name="connsiteX2" fmla="*/ 301311 w 301311"/>
                <a:gd name="connsiteY2" fmla="*/ 42895 h 464489"/>
                <a:gd name="connsiteX3" fmla="*/ 301311 w 301311"/>
                <a:gd name="connsiteY3" fmla="*/ 421594 h 464489"/>
                <a:gd name="connsiteX4" fmla="*/ 258416 w 301311"/>
                <a:gd name="connsiteY4" fmla="*/ 464489 h 464489"/>
                <a:gd name="connsiteX5" fmla="*/ 240727 w 301311"/>
                <a:gd name="connsiteY5" fmla="*/ 464489 h 464489"/>
                <a:gd name="connsiteX6" fmla="*/ 243514 w 301311"/>
                <a:gd name="connsiteY6" fmla="*/ 446183 h 464489"/>
                <a:gd name="connsiteX7" fmla="*/ 243514 w 301311"/>
                <a:gd name="connsiteY7" fmla="*/ 101295 h 464489"/>
                <a:gd name="connsiteX8" fmla="*/ 174965 w 301311"/>
                <a:gd name="connsiteY8" fmla="*/ 32747 h 464489"/>
                <a:gd name="connsiteX9" fmla="*/ 106417 w 301311"/>
                <a:gd name="connsiteY9" fmla="*/ 101295 h 464489"/>
                <a:gd name="connsiteX10" fmla="*/ 106417 w 301311"/>
                <a:gd name="connsiteY10" fmla="*/ 446183 h 464489"/>
                <a:gd name="connsiteX11" fmla="*/ 109204 w 301311"/>
                <a:gd name="connsiteY11" fmla="*/ 464489 h 464489"/>
                <a:gd name="connsiteX12" fmla="*/ 86840 w 301311"/>
                <a:gd name="connsiteY12" fmla="*/ 464489 h 464489"/>
                <a:gd name="connsiteX13" fmla="*/ 43945 w 301311"/>
                <a:gd name="connsiteY13" fmla="*/ 421594 h 464489"/>
                <a:gd name="connsiteX14" fmla="*/ 23736 w 301311"/>
                <a:gd name="connsiteY14" fmla="*/ 250757 h 464489"/>
                <a:gd name="connsiteX15" fmla="*/ 0 w 301311"/>
                <a:gd name="connsiteY15" fmla="*/ 133694 h 464489"/>
                <a:gd name="connsiteX16" fmla="*/ 9527 w 301311"/>
                <a:gd name="connsiteY16" fmla="*/ 127719 h 464489"/>
                <a:gd name="connsiteX17" fmla="*/ 8903 w 301311"/>
                <a:gd name="connsiteY17" fmla="*/ 109290 h 464489"/>
                <a:gd name="connsiteX18" fmla="*/ 86840 w 301311"/>
                <a:gd name="connsiteY18" fmla="*/ 0 h 46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1311" h="464489">
                  <a:moveTo>
                    <a:pt x="86840" y="0"/>
                  </a:moveTo>
                  <a:lnTo>
                    <a:pt x="258416" y="0"/>
                  </a:lnTo>
                  <a:cubicBezTo>
                    <a:pt x="282106" y="0"/>
                    <a:pt x="301311" y="19205"/>
                    <a:pt x="301311" y="42895"/>
                  </a:cubicBezTo>
                  <a:lnTo>
                    <a:pt x="301311" y="421594"/>
                  </a:lnTo>
                  <a:cubicBezTo>
                    <a:pt x="301311" y="445284"/>
                    <a:pt x="282106" y="464489"/>
                    <a:pt x="258416" y="464489"/>
                  </a:cubicBezTo>
                  <a:lnTo>
                    <a:pt x="240727" y="464489"/>
                  </a:lnTo>
                  <a:cubicBezTo>
                    <a:pt x="242645" y="458719"/>
                    <a:pt x="243514" y="452552"/>
                    <a:pt x="243514" y="446183"/>
                  </a:cubicBezTo>
                  <a:lnTo>
                    <a:pt x="243514" y="101295"/>
                  </a:lnTo>
                  <a:cubicBezTo>
                    <a:pt x="243514" y="63437"/>
                    <a:pt x="212824" y="32747"/>
                    <a:pt x="174965" y="32747"/>
                  </a:cubicBezTo>
                  <a:cubicBezTo>
                    <a:pt x="137107" y="32747"/>
                    <a:pt x="106417" y="63437"/>
                    <a:pt x="106417" y="101295"/>
                  </a:cubicBezTo>
                  <a:lnTo>
                    <a:pt x="106417" y="446183"/>
                  </a:lnTo>
                  <a:cubicBezTo>
                    <a:pt x="106417" y="452552"/>
                    <a:pt x="107286" y="458719"/>
                    <a:pt x="109204" y="464489"/>
                  </a:cubicBezTo>
                  <a:lnTo>
                    <a:pt x="86840" y="464489"/>
                  </a:lnTo>
                  <a:cubicBezTo>
                    <a:pt x="63150" y="464489"/>
                    <a:pt x="43945" y="445284"/>
                    <a:pt x="43945" y="421594"/>
                  </a:cubicBezTo>
                  <a:cubicBezTo>
                    <a:pt x="43945" y="351850"/>
                    <a:pt x="33248" y="302373"/>
                    <a:pt x="23736" y="250757"/>
                  </a:cubicBezTo>
                  <a:lnTo>
                    <a:pt x="0" y="133694"/>
                  </a:lnTo>
                  <a:lnTo>
                    <a:pt x="9527" y="127719"/>
                  </a:lnTo>
                  <a:cubicBezTo>
                    <a:pt x="8991" y="121737"/>
                    <a:pt x="8903" y="115596"/>
                    <a:pt x="8903" y="109290"/>
                  </a:cubicBezTo>
                  <a:cubicBezTo>
                    <a:pt x="8903" y="85599"/>
                    <a:pt x="63150" y="0"/>
                    <a:pt x="86840" y="0"/>
                  </a:cubicBezTo>
                  <a:close/>
                </a:path>
              </a:pathLst>
            </a:custGeom>
            <a:grp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4" name="Freeform: Shape 403">
              <a:extLst>
                <a:ext uri="{FF2B5EF4-FFF2-40B4-BE49-F238E27FC236}">
                  <a16:creationId xmlns:a16="http://schemas.microsoft.com/office/drawing/2014/main" id="{CE3DFEF2-CFB4-4DCC-B56A-F83B05CBFDF7}"/>
                </a:ext>
              </a:extLst>
            </p:cNvPr>
            <p:cNvSpPr/>
            <p:nvPr/>
          </p:nvSpPr>
          <p:spPr bwMode="auto">
            <a:xfrm>
              <a:off x="4915663" y="5902555"/>
              <a:ext cx="101243" cy="541794"/>
            </a:xfrm>
            <a:custGeom>
              <a:avLst/>
              <a:gdLst>
                <a:gd name="connsiteX0" fmla="*/ 50621 w 101243"/>
                <a:gd name="connsiteY0" fmla="*/ 0 h 541794"/>
                <a:gd name="connsiteX1" fmla="*/ 101243 w 101243"/>
                <a:gd name="connsiteY1" fmla="*/ 50621 h 541794"/>
                <a:gd name="connsiteX2" fmla="*/ 101243 w 101243"/>
                <a:gd name="connsiteY2" fmla="*/ 491172 h 541794"/>
                <a:gd name="connsiteX3" fmla="*/ 50621 w 101243"/>
                <a:gd name="connsiteY3" fmla="*/ 541794 h 541794"/>
                <a:gd name="connsiteX4" fmla="*/ 0 w 101243"/>
                <a:gd name="connsiteY4" fmla="*/ 491172 h 541794"/>
                <a:gd name="connsiteX5" fmla="*/ 0 w 101243"/>
                <a:gd name="connsiteY5" fmla="*/ 50621 h 541794"/>
                <a:gd name="connsiteX6" fmla="*/ 50621 w 101243"/>
                <a:gd name="connsiteY6" fmla="*/ 0 h 54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243" h="541794">
                  <a:moveTo>
                    <a:pt x="50621" y="0"/>
                  </a:moveTo>
                  <a:cubicBezTo>
                    <a:pt x="78579" y="0"/>
                    <a:pt x="101243" y="22664"/>
                    <a:pt x="101243" y="50621"/>
                  </a:cubicBezTo>
                  <a:lnTo>
                    <a:pt x="101243" y="491172"/>
                  </a:lnTo>
                  <a:cubicBezTo>
                    <a:pt x="101243" y="519130"/>
                    <a:pt x="78579" y="541794"/>
                    <a:pt x="50621" y="541794"/>
                  </a:cubicBezTo>
                  <a:cubicBezTo>
                    <a:pt x="22664" y="541794"/>
                    <a:pt x="0" y="519130"/>
                    <a:pt x="0" y="491172"/>
                  </a:cubicBezTo>
                  <a:lnTo>
                    <a:pt x="0" y="50621"/>
                  </a:lnTo>
                  <a:cubicBezTo>
                    <a:pt x="0" y="22664"/>
                    <a:pt x="22664" y="0"/>
                    <a:pt x="50621" y="0"/>
                  </a:cubicBezTo>
                  <a:close/>
                </a:path>
              </a:pathLst>
            </a:custGeom>
            <a:grp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5" name="Freeform: Shape 404">
              <a:extLst>
                <a:ext uri="{FF2B5EF4-FFF2-40B4-BE49-F238E27FC236}">
                  <a16:creationId xmlns:a16="http://schemas.microsoft.com/office/drawing/2014/main" id="{6DD56CFD-D312-402E-B09D-7B7037D5A923}"/>
                </a:ext>
              </a:extLst>
            </p:cNvPr>
            <p:cNvSpPr/>
            <p:nvPr/>
          </p:nvSpPr>
          <p:spPr bwMode="auto">
            <a:xfrm>
              <a:off x="4788969" y="6377900"/>
              <a:ext cx="370766" cy="330573"/>
            </a:xfrm>
            <a:custGeom>
              <a:avLst/>
              <a:gdLst>
                <a:gd name="connsiteX0" fmla="*/ 105627 w 370766"/>
                <a:gd name="connsiteY0" fmla="*/ 0 h 330573"/>
                <a:gd name="connsiteX1" fmla="*/ 118762 w 370766"/>
                <a:gd name="connsiteY1" fmla="*/ 0 h 330573"/>
                <a:gd name="connsiteX2" fmla="*/ 118762 w 370766"/>
                <a:gd name="connsiteY2" fmla="*/ 33286 h 330573"/>
                <a:gd name="connsiteX3" fmla="*/ 175900 w 370766"/>
                <a:gd name="connsiteY3" fmla="*/ 90424 h 330573"/>
                <a:gd name="connsiteX4" fmla="*/ 233038 w 370766"/>
                <a:gd name="connsiteY4" fmla="*/ 33286 h 330573"/>
                <a:gd name="connsiteX5" fmla="*/ 233038 w 370766"/>
                <a:gd name="connsiteY5" fmla="*/ 0 h 330573"/>
                <a:gd name="connsiteX6" fmla="*/ 246173 w 370766"/>
                <a:gd name="connsiteY6" fmla="*/ 0 h 330573"/>
                <a:gd name="connsiteX7" fmla="*/ 281311 w 370766"/>
                <a:gd name="connsiteY7" fmla="*/ 35138 h 330573"/>
                <a:gd name="connsiteX8" fmla="*/ 281311 w 370766"/>
                <a:gd name="connsiteY8" fmla="*/ 112979 h 330573"/>
                <a:gd name="connsiteX9" fmla="*/ 344066 w 370766"/>
                <a:gd name="connsiteY9" fmla="*/ 112979 h 330573"/>
                <a:gd name="connsiteX10" fmla="*/ 370766 w 370766"/>
                <a:gd name="connsiteY10" fmla="*/ 129995 h 330573"/>
                <a:gd name="connsiteX11" fmla="*/ 370766 w 370766"/>
                <a:gd name="connsiteY11" fmla="*/ 222104 h 330573"/>
                <a:gd name="connsiteX12" fmla="*/ 262296 w 370766"/>
                <a:gd name="connsiteY12" fmla="*/ 330573 h 330573"/>
                <a:gd name="connsiteX13" fmla="*/ 215526 w 370766"/>
                <a:gd name="connsiteY13" fmla="*/ 330573 h 330573"/>
                <a:gd name="connsiteX14" fmla="*/ 212112 w 370766"/>
                <a:gd name="connsiteY14" fmla="*/ 325949 h 330573"/>
                <a:gd name="connsiteX15" fmla="*/ 155844 w 370766"/>
                <a:gd name="connsiteY15" fmla="*/ 328759 h 330573"/>
                <a:gd name="connsiteX16" fmla="*/ 154766 w 370766"/>
                <a:gd name="connsiteY16" fmla="*/ 330573 h 330573"/>
                <a:gd name="connsiteX17" fmla="*/ 108469 w 370766"/>
                <a:gd name="connsiteY17" fmla="*/ 330573 h 330573"/>
                <a:gd name="connsiteX18" fmla="*/ 0 w 370766"/>
                <a:gd name="connsiteY18" fmla="*/ 222104 h 330573"/>
                <a:gd name="connsiteX19" fmla="*/ 0 w 370766"/>
                <a:gd name="connsiteY19" fmla="*/ 128025 h 330573"/>
                <a:gd name="connsiteX20" fmla="*/ 25371 w 370766"/>
                <a:gd name="connsiteY20" fmla="*/ 112979 h 330573"/>
                <a:gd name="connsiteX21" fmla="*/ 70489 w 370766"/>
                <a:gd name="connsiteY21" fmla="*/ 112979 h 330573"/>
                <a:gd name="connsiteX22" fmla="*/ 70489 w 370766"/>
                <a:gd name="connsiteY22" fmla="*/ 35138 h 330573"/>
                <a:gd name="connsiteX23" fmla="*/ 105627 w 370766"/>
                <a:gd name="connsiteY23" fmla="*/ 0 h 330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70766" h="330573">
                  <a:moveTo>
                    <a:pt x="105627" y="0"/>
                  </a:moveTo>
                  <a:lnTo>
                    <a:pt x="118762" y="0"/>
                  </a:lnTo>
                  <a:lnTo>
                    <a:pt x="118762" y="33286"/>
                  </a:lnTo>
                  <a:cubicBezTo>
                    <a:pt x="118762" y="64843"/>
                    <a:pt x="144343" y="90424"/>
                    <a:pt x="175900" y="90424"/>
                  </a:cubicBezTo>
                  <a:cubicBezTo>
                    <a:pt x="207456" y="90424"/>
                    <a:pt x="233038" y="64843"/>
                    <a:pt x="233038" y="33286"/>
                  </a:cubicBezTo>
                  <a:lnTo>
                    <a:pt x="233038" y="0"/>
                  </a:lnTo>
                  <a:lnTo>
                    <a:pt x="246173" y="0"/>
                  </a:lnTo>
                  <a:cubicBezTo>
                    <a:pt x="265579" y="0"/>
                    <a:pt x="281311" y="15732"/>
                    <a:pt x="281311" y="35138"/>
                  </a:cubicBezTo>
                  <a:lnTo>
                    <a:pt x="281311" y="112979"/>
                  </a:lnTo>
                  <a:lnTo>
                    <a:pt x="344066" y="112979"/>
                  </a:lnTo>
                  <a:cubicBezTo>
                    <a:pt x="355920" y="112979"/>
                    <a:pt x="366161" y="119882"/>
                    <a:pt x="370766" y="129995"/>
                  </a:cubicBezTo>
                  <a:lnTo>
                    <a:pt x="370766" y="222104"/>
                  </a:lnTo>
                  <a:lnTo>
                    <a:pt x="262296" y="330573"/>
                  </a:lnTo>
                  <a:lnTo>
                    <a:pt x="215526" y="330573"/>
                  </a:lnTo>
                  <a:lnTo>
                    <a:pt x="212112" y="325949"/>
                  </a:lnTo>
                  <a:cubicBezTo>
                    <a:pt x="195798" y="311187"/>
                    <a:pt x="170606" y="312445"/>
                    <a:pt x="155844" y="328759"/>
                  </a:cubicBezTo>
                  <a:cubicBezTo>
                    <a:pt x="155374" y="329278"/>
                    <a:pt x="154921" y="329806"/>
                    <a:pt x="154766" y="330573"/>
                  </a:cubicBezTo>
                  <a:lnTo>
                    <a:pt x="108469" y="330573"/>
                  </a:lnTo>
                  <a:lnTo>
                    <a:pt x="0" y="222104"/>
                  </a:lnTo>
                  <a:lnTo>
                    <a:pt x="0" y="128025"/>
                  </a:lnTo>
                  <a:cubicBezTo>
                    <a:pt x="4759" y="118923"/>
                    <a:pt x="14371" y="112979"/>
                    <a:pt x="25371" y="112979"/>
                  </a:cubicBezTo>
                  <a:lnTo>
                    <a:pt x="70489" y="112979"/>
                  </a:lnTo>
                  <a:lnTo>
                    <a:pt x="70489" y="35138"/>
                  </a:lnTo>
                  <a:cubicBezTo>
                    <a:pt x="70489" y="15732"/>
                    <a:pt x="86221" y="0"/>
                    <a:pt x="105627" y="0"/>
                  </a:cubicBezTo>
                  <a:close/>
                </a:path>
              </a:pathLst>
            </a:custGeom>
            <a:grp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6" name="Freeform: Shape 405">
              <a:extLst>
                <a:ext uri="{FF2B5EF4-FFF2-40B4-BE49-F238E27FC236}">
                  <a16:creationId xmlns:a16="http://schemas.microsoft.com/office/drawing/2014/main" id="{47AC04AA-905E-4617-A3C2-6EBC1A37EFB4}"/>
                </a:ext>
              </a:extLst>
            </p:cNvPr>
            <p:cNvSpPr/>
            <p:nvPr/>
          </p:nvSpPr>
          <p:spPr bwMode="auto">
            <a:xfrm>
              <a:off x="4784462" y="6608152"/>
              <a:ext cx="378451" cy="290108"/>
            </a:xfrm>
            <a:custGeom>
              <a:avLst/>
              <a:gdLst>
                <a:gd name="connsiteX0" fmla="*/ 0 w 378451"/>
                <a:gd name="connsiteY0" fmla="*/ 0 h 290108"/>
                <a:gd name="connsiteX1" fmla="*/ 108470 w 378451"/>
                <a:gd name="connsiteY1" fmla="*/ 108469 h 290108"/>
                <a:gd name="connsiteX2" fmla="*/ 154429 w 378451"/>
                <a:gd name="connsiteY2" fmla="*/ 108469 h 290108"/>
                <a:gd name="connsiteX3" fmla="*/ 163161 w 378451"/>
                <a:gd name="connsiteY3" fmla="*/ 154775 h 290108"/>
                <a:gd name="connsiteX4" fmla="*/ 219429 w 378451"/>
                <a:gd name="connsiteY4" fmla="*/ 151965 h 290108"/>
                <a:gd name="connsiteX5" fmla="*/ 226028 w 378451"/>
                <a:gd name="connsiteY5" fmla="*/ 108469 h 290108"/>
                <a:gd name="connsiteX6" fmla="*/ 271310 w 378451"/>
                <a:gd name="connsiteY6" fmla="*/ 108469 h 290108"/>
                <a:gd name="connsiteX7" fmla="*/ 378451 w 378451"/>
                <a:gd name="connsiteY7" fmla="*/ 1328 h 290108"/>
                <a:gd name="connsiteX8" fmla="*/ 378451 w 378451"/>
                <a:gd name="connsiteY8" fmla="*/ 151626 h 290108"/>
                <a:gd name="connsiteX9" fmla="*/ 348573 w 378451"/>
                <a:gd name="connsiteY9" fmla="*/ 181504 h 290108"/>
                <a:gd name="connsiteX10" fmla="*/ 285818 w 378451"/>
                <a:gd name="connsiteY10" fmla="*/ 181504 h 290108"/>
                <a:gd name="connsiteX11" fmla="*/ 285818 w 378451"/>
                <a:gd name="connsiteY11" fmla="*/ 254971 h 290108"/>
                <a:gd name="connsiteX12" fmla="*/ 250680 w 378451"/>
                <a:gd name="connsiteY12" fmla="*/ 290108 h 290108"/>
                <a:gd name="connsiteX13" fmla="*/ 110134 w 378451"/>
                <a:gd name="connsiteY13" fmla="*/ 290108 h 290108"/>
                <a:gd name="connsiteX14" fmla="*/ 74996 w 378451"/>
                <a:gd name="connsiteY14" fmla="*/ 254971 h 290108"/>
                <a:gd name="connsiteX15" fmla="*/ 74996 w 378451"/>
                <a:gd name="connsiteY15" fmla="*/ 181504 h 290108"/>
                <a:gd name="connsiteX16" fmla="*/ 29878 w 378451"/>
                <a:gd name="connsiteY16" fmla="*/ 181504 h 290108"/>
                <a:gd name="connsiteX17" fmla="*/ 0 w 378451"/>
                <a:gd name="connsiteY17" fmla="*/ 151626 h 290108"/>
                <a:gd name="connsiteX18" fmla="*/ 0 w 378451"/>
                <a:gd name="connsiteY18" fmla="*/ 0 h 290108"/>
                <a:gd name="connsiteX19" fmla="*/ 83093 w 378451"/>
                <a:gd name="connsiteY19" fmla="*/ 182358 h 290108"/>
                <a:gd name="connsiteX20" fmla="*/ 83093 w 378451"/>
                <a:gd name="connsiteY20" fmla="*/ 195636 h 290108"/>
                <a:gd name="connsiteX21" fmla="*/ 277379 w 378451"/>
                <a:gd name="connsiteY21" fmla="*/ 195636 h 290108"/>
                <a:gd name="connsiteX22" fmla="*/ 277379 w 378451"/>
                <a:gd name="connsiteY22" fmla="*/ 182358 h 290108"/>
                <a:gd name="connsiteX23" fmla="*/ 83093 w 378451"/>
                <a:gd name="connsiteY23" fmla="*/ 182358 h 29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78451" h="290108">
                  <a:moveTo>
                    <a:pt x="0" y="0"/>
                  </a:moveTo>
                  <a:lnTo>
                    <a:pt x="108470" y="108469"/>
                  </a:lnTo>
                  <a:lnTo>
                    <a:pt x="154429" y="108469"/>
                  </a:lnTo>
                  <a:cubicBezTo>
                    <a:pt x="146549" y="123664"/>
                    <a:pt x="149823" y="142705"/>
                    <a:pt x="163161" y="154775"/>
                  </a:cubicBezTo>
                  <a:cubicBezTo>
                    <a:pt x="179475" y="169537"/>
                    <a:pt x="204667" y="168279"/>
                    <a:pt x="219429" y="151965"/>
                  </a:cubicBezTo>
                  <a:cubicBezTo>
                    <a:pt x="230489" y="139742"/>
                    <a:pt x="232556" y="122535"/>
                    <a:pt x="226028" y="108469"/>
                  </a:cubicBezTo>
                  <a:lnTo>
                    <a:pt x="271310" y="108469"/>
                  </a:lnTo>
                  <a:lnTo>
                    <a:pt x="378451" y="1328"/>
                  </a:lnTo>
                  <a:lnTo>
                    <a:pt x="378451" y="151626"/>
                  </a:lnTo>
                  <a:cubicBezTo>
                    <a:pt x="378451" y="168127"/>
                    <a:pt x="365075" y="181504"/>
                    <a:pt x="348573" y="181504"/>
                  </a:cubicBezTo>
                  <a:lnTo>
                    <a:pt x="285818" y="181504"/>
                  </a:lnTo>
                  <a:lnTo>
                    <a:pt x="285818" y="254971"/>
                  </a:lnTo>
                  <a:cubicBezTo>
                    <a:pt x="285818" y="274376"/>
                    <a:pt x="270086" y="290108"/>
                    <a:pt x="250680" y="290108"/>
                  </a:cubicBezTo>
                  <a:lnTo>
                    <a:pt x="110134" y="290108"/>
                  </a:lnTo>
                  <a:cubicBezTo>
                    <a:pt x="90728" y="290108"/>
                    <a:pt x="74996" y="274376"/>
                    <a:pt x="74996" y="254971"/>
                  </a:cubicBezTo>
                  <a:lnTo>
                    <a:pt x="74996" y="181504"/>
                  </a:lnTo>
                  <a:lnTo>
                    <a:pt x="29878" y="181504"/>
                  </a:lnTo>
                  <a:cubicBezTo>
                    <a:pt x="13377" y="181504"/>
                    <a:pt x="0" y="168127"/>
                    <a:pt x="0" y="151626"/>
                  </a:cubicBezTo>
                  <a:lnTo>
                    <a:pt x="0" y="0"/>
                  </a:lnTo>
                  <a:close/>
                  <a:moveTo>
                    <a:pt x="83093" y="182358"/>
                  </a:moveTo>
                  <a:lnTo>
                    <a:pt x="83093" y="195636"/>
                  </a:lnTo>
                  <a:lnTo>
                    <a:pt x="277379" y="195636"/>
                  </a:lnTo>
                  <a:lnTo>
                    <a:pt x="277379" y="182358"/>
                  </a:lnTo>
                  <a:lnTo>
                    <a:pt x="83093" y="182358"/>
                  </a:lnTo>
                  <a:close/>
                </a:path>
              </a:pathLst>
            </a:custGeom>
            <a:grp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7" name="Freeform: Shape 406">
              <a:extLst>
                <a:ext uri="{FF2B5EF4-FFF2-40B4-BE49-F238E27FC236}">
                  <a16:creationId xmlns:a16="http://schemas.microsoft.com/office/drawing/2014/main" id="{D0153F02-0A94-4D89-9359-E74BE0BB4B57}"/>
                </a:ext>
              </a:extLst>
            </p:cNvPr>
            <p:cNvSpPr/>
            <p:nvPr/>
          </p:nvSpPr>
          <p:spPr bwMode="auto">
            <a:xfrm>
              <a:off x="4953179" y="6716621"/>
              <a:ext cx="41532" cy="9665"/>
            </a:xfrm>
            <a:custGeom>
              <a:avLst/>
              <a:gdLst>
                <a:gd name="connsiteX0" fmla="*/ 6943 w 41532"/>
                <a:gd name="connsiteY0" fmla="*/ 0 h 9665"/>
                <a:gd name="connsiteX1" fmla="*/ 34838 w 41532"/>
                <a:gd name="connsiteY1" fmla="*/ 0 h 9665"/>
                <a:gd name="connsiteX2" fmla="*/ 41532 w 41532"/>
                <a:gd name="connsiteY2" fmla="*/ 7591 h 9665"/>
                <a:gd name="connsiteX3" fmla="*/ 0 w 41532"/>
                <a:gd name="connsiteY3" fmla="*/ 9665 h 9665"/>
                <a:gd name="connsiteX4" fmla="*/ 6943 w 41532"/>
                <a:gd name="connsiteY4" fmla="*/ 0 h 9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32" h="9665">
                  <a:moveTo>
                    <a:pt x="6943" y="0"/>
                  </a:moveTo>
                  <a:lnTo>
                    <a:pt x="34838" y="0"/>
                  </a:lnTo>
                  <a:lnTo>
                    <a:pt x="41532" y="7591"/>
                  </a:lnTo>
                  <a:lnTo>
                    <a:pt x="0" y="9665"/>
                  </a:lnTo>
                  <a:cubicBezTo>
                    <a:pt x="1325" y="5716"/>
                    <a:pt x="3684" y="2318"/>
                    <a:pt x="6943" y="0"/>
                  </a:cubicBezTo>
                  <a:close/>
                </a:path>
              </a:pathLst>
            </a:custGeom>
            <a:grp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8" name="Freeform: Shape 407">
              <a:extLst>
                <a:ext uri="{FF2B5EF4-FFF2-40B4-BE49-F238E27FC236}">
                  <a16:creationId xmlns:a16="http://schemas.microsoft.com/office/drawing/2014/main" id="{6AC279C0-9A9A-412F-BCD3-8E631AC4905A}"/>
                </a:ext>
              </a:extLst>
            </p:cNvPr>
            <p:cNvSpPr/>
            <p:nvPr/>
          </p:nvSpPr>
          <p:spPr bwMode="auto">
            <a:xfrm>
              <a:off x="4953992" y="6740490"/>
              <a:ext cx="41532" cy="15229"/>
            </a:xfrm>
            <a:custGeom>
              <a:avLst/>
              <a:gdLst>
                <a:gd name="connsiteX0" fmla="*/ 41532 w 41532"/>
                <a:gd name="connsiteY0" fmla="*/ 0 h 15229"/>
                <a:gd name="connsiteX1" fmla="*/ 21474 w 41532"/>
                <a:gd name="connsiteY1" fmla="*/ 15202 h 15229"/>
                <a:gd name="connsiteX2" fmla="*/ 0 w 41532"/>
                <a:gd name="connsiteY2" fmla="*/ 2074 h 15229"/>
                <a:gd name="connsiteX3" fmla="*/ 41532 w 41532"/>
                <a:gd name="connsiteY3" fmla="*/ 0 h 15229"/>
              </a:gdLst>
              <a:ahLst/>
              <a:cxnLst>
                <a:cxn ang="0">
                  <a:pos x="connsiteX0" y="connsiteY0"/>
                </a:cxn>
                <a:cxn ang="0">
                  <a:pos x="connsiteX1" y="connsiteY1"/>
                </a:cxn>
                <a:cxn ang="0">
                  <a:pos x="connsiteX2" y="connsiteY2"/>
                </a:cxn>
                <a:cxn ang="0">
                  <a:pos x="connsiteX3" y="connsiteY3"/>
                </a:cxn>
              </a:cxnLst>
              <a:rect l="l" t="t" r="r" b="b"/>
              <a:pathLst>
                <a:path w="41532" h="15229">
                  <a:moveTo>
                    <a:pt x="41532" y="0"/>
                  </a:moveTo>
                  <a:cubicBezTo>
                    <a:pt x="38610" y="8711"/>
                    <a:pt x="30651" y="14744"/>
                    <a:pt x="21474" y="15202"/>
                  </a:cubicBezTo>
                  <a:cubicBezTo>
                    <a:pt x="12297" y="15660"/>
                    <a:pt x="3776" y="10450"/>
                    <a:pt x="0" y="2074"/>
                  </a:cubicBezTo>
                  <a:lnTo>
                    <a:pt x="41532" y="0"/>
                  </a:lnTo>
                  <a:close/>
                </a:path>
              </a:pathLst>
            </a:custGeom>
            <a:grp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grpSp>
          <p:nvGrpSpPr>
            <p:cNvPr id="409" name="Group 408">
              <a:extLst>
                <a:ext uri="{FF2B5EF4-FFF2-40B4-BE49-F238E27FC236}">
                  <a16:creationId xmlns:a16="http://schemas.microsoft.com/office/drawing/2014/main" id="{B55411CF-98D3-433D-B86E-20DFBFB96BA0}"/>
                </a:ext>
              </a:extLst>
            </p:cNvPr>
            <p:cNvGrpSpPr/>
            <p:nvPr/>
          </p:nvGrpSpPr>
          <p:grpSpPr>
            <a:xfrm flipH="1">
              <a:off x="4499580" y="5654822"/>
              <a:ext cx="382559" cy="501293"/>
              <a:chOff x="3816000" y="5207380"/>
              <a:chExt cx="213378" cy="279604"/>
            </a:xfrm>
            <a:grpFill/>
          </p:grpSpPr>
          <p:sp>
            <p:nvSpPr>
              <p:cNvPr id="410" name="Rectangle: Rounded Corners 409">
                <a:extLst>
                  <a:ext uri="{FF2B5EF4-FFF2-40B4-BE49-F238E27FC236}">
                    <a16:creationId xmlns:a16="http://schemas.microsoft.com/office/drawing/2014/main" id="{8B2BB432-BE4E-4BC0-8644-237810A2D311}"/>
                  </a:ext>
                </a:extLst>
              </p:cNvPr>
              <p:cNvSpPr/>
              <p:nvPr/>
            </p:nvSpPr>
            <p:spPr>
              <a:xfrm rot="818077">
                <a:off x="3981198" y="5207380"/>
                <a:ext cx="26415" cy="141785"/>
              </a:xfrm>
              <a:prstGeom prst="roundRect">
                <a:avLst/>
              </a:prstGeom>
              <a:solidFill>
                <a:srgbClr val="0498D1">
                  <a:lumMod val="75000"/>
                </a:srgbClr>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411" name="Freeform: Shape 410">
                <a:extLst>
                  <a:ext uri="{FF2B5EF4-FFF2-40B4-BE49-F238E27FC236}">
                    <a16:creationId xmlns:a16="http://schemas.microsoft.com/office/drawing/2014/main" id="{38035C7D-7E95-4C02-AF0C-C8BD1BBD034F}"/>
                  </a:ext>
                </a:extLst>
              </p:cNvPr>
              <p:cNvSpPr/>
              <p:nvPr/>
            </p:nvSpPr>
            <p:spPr bwMode="auto">
              <a:xfrm>
                <a:off x="3816000" y="5345134"/>
                <a:ext cx="122778" cy="141850"/>
              </a:xfrm>
              <a:custGeom>
                <a:avLst/>
                <a:gdLst>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70412 w 373044"/>
                  <a:gd name="connsiteY5" fmla="*/ 390763 h 394829"/>
                  <a:gd name="connsiteX6" fmla="*/ 331738 w 373044"/>
                  <a:gd name="connsiteY6" fmla="*/ 376801 h 394829"/>
                  <a:gd name="connsiteX7" fmla="*/ 19672 w 373044"/>
                  <a:gd name="connsiteY7" fmla="*/ 101651 h 394829"/>
                  <a:gd name="connsiteX8" fmla="*/ 14518 w 373044"/>
                  <a:gd name="connsiteY8" fmla="*/ 19671 h 394829"/>
                  <a:gd name="connsiteX9" fmla="*/ 54441 w 373044"/>
                  <a:gd name="connsiteY9"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31738 w 373044"/>
                  <a:gd name="connsiteY5" fmla="*/ 376801 h 394829"/>
                  <a:gd name="connsiteX6" fmla="*/ 19672 w 373044"/>
                  <a:gd name="connsiteY6" fmla="*/ 101651 h 394829"/>
                  <a:gd name="connsiteX7" fmla="*/ 14518 w 373044"/>
                  <a:gd name="connsiteY7" fmla="*/ 19671 h 394829"/>
                  <a:gd name="connsiteX8" fmla="*/ 54441 w 373044"/>
                  <a:gd name="connsiteY8"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31738 w 373044"/>
                  <a:gd name="connsiteY4" fmla="*/ 376801 h 394829"/>
                  <a:gd name="connsiteX5" fmla="*/ 19672 w 373044"/>
                  <a:gd name="connsiteY5" fmla="*/ 101651 h 394829"/>
                  <a:gd name="connsiteX6" fmla="*/ 14518 w 373044"/>
                  <a:gd name="connsiteY6" fmla="*/ 19671 h 394829"/>
                  <a:gd name="connsiteX7" fmla="*/ 54441 w 373044"/>
                  <a:gd name="connsiteY7" fmla="*/ 116 h 394829"/>
                  <a:gd name="connsiteX0" fmla="*/ 54441 w 373044"/>
                  <a:gd name="connsiteY0" fmla="*/ 116 h 376801"/>
                  <a:gd name="connsiteX1" fmla="*/ 96499 w 373044"/>
                  <a:gd name="connsiteY1" fmla="*/ 14517 h 376801"/>
                  <a:gd name="connsiteX2" fmla="*/ 373044 w 373044"/>
                  <a:gd name="connsiteY2" fmla="*/ 258348 h 376801"/>
                  <a:gd name="connsiteX3" fmla="*/ 331738 w 373044"/>
                  <a:gd name="connsiteY3" fmla="*/ 376801 h 376801"/>
                  <a:gd name="connsiteX4" fmla="*/ 19672 w 373044"/>
                  <a:gd name="connsiteY4" fmla="*/ 101651 h 376801"/>
                  <a:gd name="connsiteX5" fmla="*/ 14518 w 373044"/>
                  <a:gd name="connsiteY5" fmla="*/ 19671 h 376801"/>
                  <a:gd name="connsiteX6" fmla="*/ 54441 w 373044"/>
                  <a:gd name="connsiteY6" fmla="*/ 116 h 376801"/>
                  <a:gd name="connsiteX0" fmla="*/ 54441 w 392514"/>
                  <a:gd name="connsiteY0" fmla="*/ 116 h 389308"/>
                  <a:gd name="connsiteX1" fmla="*/ 96499 w 392514"/>
                  <a:gd name="connsiteY1" fmla="*/ 14517 h 389308"/>
                  <a:gd name="connsiteX2" fmla="*/ 373044 w 392514"/>
                  <a:gd name="connsiteY2" fmla="*/ 258348 h 389308"/>
                  <a:gd name="connsiteX3" fmla="*/ 331738 w 392514"/>
                  <a:gd name="connsiteY3" fmla="*/ 376801 h 389308"/>
                  <a:gd name="connsiteX4" fmla="*/ 19672 w 392514"/>
                  <a:gd name="connsiteY4" fmla="*/ 101651 h 389308"/>
                  <a:gd name="connsiteX5" fmla="*/ 14518 w 392514"/>
                  <a:gd name="connsiteY5" fmla="*/ 19671 h 389308"/>
                  <a:gd name="connsiteX6" fmla="*/ 54441 w 392514"/>
                  <a:gd name="connsiteY6" fmla="*/ 116 h 389308"/>
                  <a:gd name="connsiteX0" fmla="*/ 54441 w 417895"/>
                  <a:gd name="connsiteY0" fmla="*/ 116 h 390341"/>
                  <a:gd name="connsiteX1" fmla="*/ 96499 w 417895"/>
                  <a:gd name="connsiteY1" fmla="*/ 14517 h 390341"/>
                  <a:gd name="connsiteX2" fmla="*/ 373044 w 417895"/>
                  <a:gd name="connsiteY2" fmla="*/ 258348 h 390341"/>
                  <a:gd name="connsiteX3" fmla="*/ 331738 w 417895"/>
                  <a:gd name="connsiteY3" fmla="*/ 376801 h 390341"/>
                  <a:gd name="connsiteX4" fmla="*/ 19672 w 417895"/>
                  <a:gd name="connsiteY4" fmla="*/ 101651 h 390341"/>
                  <a:gd name="connsiteX5" fmla="*/ 14518 w 417895"/>
                  <a:gd name="connsiteY5" fmla="*/ 19671 h 390341"/>
                  <a:gd name="connsiteX6" fmla="*/ 54441 w 417895"/>
                  <a:gd name="connsiteY6" fmla="*/ 116 h 390341"/>
                  <a:gd name="connsiteX0" fmla="*/ 54441 w 415063"/>
                  <a:gd name="connsiteY0" fmla="*/ 116 h 388409"/>
                  <a:gd name="connsiteX1" fmla="*/ 96499 w 415063"/>
                  <a:gd name="connsiteY1" fmla="*/ 14517 h 388409"/>
                  <a:gd name="connsiteX2" fmla="*/ 373044 w 415063"/>
                  <a:gd name="connsiteY2" fmla="*/ 258348 h 388409"/>
                  <a:gd name="connsiteX3" fmla="*/ 331738 w 415063"/>
                  <a:gd name="connsiteY3" fmla="*/ 376801 h 388409"/>
                  <a:gd name="connsiteX4" fmla="*/ 19672 w 415063"/>
                  <a:gd name="connsiteY4" fmla="*/ 101651 h 388409"/>
                  <a:gd name="connsiteX5" fmla="*/ 14518 w 415063"/>
                  <a:gd name="connsiteY5" fmla="*/ 19671 h 388409"/>
                  <a:gd name="connsiteX6" fmla="*/ 54441 w 415063"/>
                  <a:gd name="connsiteY6" fmla="*/ 116 h 388409"/>
                  <a:gd name="connsiteX0" fmla="*/ 54441 w 389618"/>
                  <a:gd name="connsiteY0" fmla="*/ 116 h 385766"/>
                  <a:gd name="connsiteX1" fmla="*/ 96499 w 389618"/>
                  <a:gd name="connsiteY1" fmla="*/ 14517 h 385766"/>
                  <a:gd name="connsiteX2" fmla="*/ 311132 w 389618"/>
                  <a:gd name="connsiteY2" fmla="*/ 203579 h 385766"/>
                  <a:gd name="connsiteX3" fmla="*/ 331738 w 389618"/>
                  <a:gd name="connsiteY3" fmla="*/ 376801 h 385766"/>
                  <a:gd name="connsiteX4" fmla="*/ 19672 w 389618"/>
                  <a:gd name="connsiteY4" fmla="*/ 101651 h 385766"/>
                  <a:gd name="connsiteX5" fmla="*/ 14518 w 389618"/>
                  <a:gd name="connsiteY5" fmla="*/ 19671 h 385766"/>
                  <a:gd name="connsiteX6" fmla="*/ 54441 w 389618"/>
                  <a:gd name="connsiteY6" fmla="*/ 116 h 385766"/>
                  <a:gd name="connsiteX0" fmla="*/ 54441 w 353150"/>
                  <a:gd name="connsiteY0" fmla="*/ 116 h 331409"/>
                  <a:gd name="connsiteX1" fmla="*/ 96499 w 353150"/>
                  <a:gd name="connsiteY1" fmla="*/ 14517 h 331409"/>
                  <a:gd name="connsiteX2" fmla="*/ 311132 w 353150"/>
                  <a:gd name="connsiteY2" fmla="*/ 203579 h 331409"/>
                  <a:gd name="connsiteX3" fmla="*/ 269825 w 353150"/>
                  <a:gd name="connsiteY3" fmla="*/ 319651 h 331409"/>
                  <a:gd name="connsiteX4" fmla="*/ 19672 w 353150"/>
                  <a:gd name="connsiteY4" fmla="*/ 101651 h 331409"/>
                  <a:gd name="connsiteX5" fmla="*/ 14518 w 353150"/>
                  <a:gd name="connsiteY5" fmla="*/ 19671 h 331409"/>
                  <a:gd name="connsiteX6" fmla="*/ 54441 w 353150"/>
                  <a:gd name="connsiteY6" fmla="*/ 116 h 331409"/>
                  <a:gd name="connsiteX0" fmla="*/ 54441 w 344424"/>
                  <a:gd name="connsiteY0" fmla="*/ 116 h 321584"/>
                  <a:gd name="connsiteX1" fmla="*/ 96499 w 344424"/>
                  <a:gd name="connsiteY1" fmla="*/ 14517 h 321584"/>
                  <a:gd name="connsiteX2" fmla="*/ 311132 w 344424"/>
                  <a:gd name="connsiteY2" fmla="*/ 203579 h 321584"/>
                  <a:gd name="connsiteX3" fmla="*/ 269825 w 344424"/>
                  <a:gd name="connsiteY3" fmla="*/ 319651 h 321584"/>
                  <a:gd name="connsiteX4" fmla="*/ 19672 w 344424"/>
                  <a:gd name="connsiteY4" fmla="*/ 101651 h 321584"/>
                  <a:gd name="connsiteX5" fmla="*/ 14518 w 344424"/>
                  <a:gd name="connsiteY5" fmla="*/ 19671 h 321584"/>
                  <a:gd name="connsiteX6" fmla="*/ 54441 w 344424"/>
                  <a:gd name="connsiteY6" fmla="*/ 116 h 321584"/>
                  <a:gd name="connsiteX0" fmla="*/ 54441 w 327967"/>
                  <a:gd name="connsiteY0" fmla="*/ 116 h 261639"/>
                  <a:gd name="connsiteX1" fmla="*/ 96499 w 327967"/>
                  <a:gd name="connsiteY1" fmla="*/ 14517 h 261639"/>
                  <a:gd name="connsiteX2" fmla="*/ 311132 w 327967"/>
                  <a:gd name="connsiteY2" fmla="*/ 203579 h 261639"/>
                  <a:gd name="connsiteX3" fmla="*/ 200769 w 327967"/>
                  <a:gd name="connsiteY3" fmla="*/ 257739 h 261639"/>
                  <a:gd name="connsiteX4" fmla="*/ 19672 w 327967"/>
                  <a:gd name="connsiteY4" fmla="*/ 101651 h 261639"/>
                  <a:gd name="connsiteX5" fmla="*/ 14518 w 327967"/>
                  <a:gd name="connsiteY5" fmla="*/ 19671 h 261639"/>
                  <a:gd name="connsiteX6" fmla="*/ 54441 w 327967"/>
                  <a:gd name="connsiteY6" fmla="*/ 116 h 261639"/>
                  <a:gd name="connsiteX0" fmla="*/ 54441 w 294993"/>
                  <a:gd name="connsiteY0" fmla="*/ 116 h 260030"/>
                  <a:gd name="connsiteX1" fmla="*/ 96499 w 294993"/>
                  <a:gd name="connsiteY1" fmla="*/ 14517 h 260030"/>
                  <a:gd name="connsiteX2" fmla="*/ 270650 w 294993"/>
                  <a:gd name="connsiteY2" fmla="*/ 160717 h 260030"/>
                  <a:gd name="connsiteX3" fmla="*/ 200769 w 294993"/>
                  <a:gd name="connsiteY3" fmla="*/ 257739 h 260030"/>
                  <a:gd name="connsiteX4" fmla="*/ 19672 w 294993"/>
                  <a:gd name="connsiteY4" fmla="*/ 101651 h 260030"/>
                  <a:gd name="connsiteX5" fmla="*/ 14518 w 294993"/>
                  <a:gd name="connsiteY5" fmla="*/ 19671 h 260030"/>
                  <a:gd name="connsiteX6" fmla="*/ 54441 w 294993"/>
                  <a:gd name="connsiteY6" fmla="*/ 116 h 260030"/>
                  <a:gd name="connsiteX0" fmla="*/ 14518 w 294993"/>
                  <a:gd name="connsiteY0" fmla="*/ 17692 h 258051"/>
                  <a:gd name="connsiteX1" fmla="*/ 96499 w 294993"/>
                  <a:gd name="connsiteY1" fmla="*/ 12538 h 258051"/>
                  <a:gd name="connsiteX2" fmla="*/ 270650 w 294993"/>
                  <a:gd name="connsiteY2" fmla="*/ 158738 h 258051"/>
                  <a:gd name="connsiteX3" fmla="*/ 200769 w 294993"/>
                  <a:gd name="connsiteY3" fmla="*/ 255760 h 258051"/>
                  <a:gd name="connsiteX4" fmla="*/ 19672 w 294993"/>
                  <a:gd name="connsiteY4" fmla="*/ 99672 h 258051"/>
                  <a:gd name="connsiteX5" fmla="*/ 14518 w 294993"/>
                  <a:gd name="connsiteY5" fmla="*/ 17692 h 258051"/>
                  <a:gd name="connsiteX0" fmla="*/ 3422 w 278743"/>
                  <a:gd name="connsiteY0" fmla="*/ 88267 h 246646"/>
                  <a:gd name="connsiteX1" fmla="*/ 80249 w 278743"/>
                  <a:gd name="connsiteY1" fmla="*/ 1133 h 246646"/>
                  <a:gd name="connsiteX2" fmla="*/ 254400 w 278743"/>
                  <a:gd name="connsiteY2" fmla="*/ 147333 h 246646"/>
                  <a:gd name="connsiteX3" fmla="*/ 184519 w 278743"/>
                  <a:gd name="connsiteY3" fmla="*/ 244355 h 246646"/>
                  <a:gd name="connsiteX4" fmla="*/ 3422 w 278743"/>
                  <a:gd name="connsiteY4" fmla="*/ 88267 h 246646"/>
                  <a:gd name="connsiteX0" fmla="*/ 19692 w 223750"/>
                  <a:gd name="connsiteY0" fmla="*/ 152069 h 246082"/>
                  <a:gd name="connsiteX1" fmla="*/ 25256 w 223750"/>
                  <a:gd name="connsiteY1" fmla="*/ 569 h 246082"/>
                  <a:gd name="connsiteX2" fmla="*/ 199407 w 223750"/>
                  <a:gd name="connsiteY2" fmla="*/ 146769 h 246082"/>
                  <a:gd name="connsiteX3" fmla="*/ 129526 w 223750"/>
                  <a:gd name="connsiteY3" fmla="*/ 243791 h 246082"/>
                  <a:gd name="connsiteX4" fmla="*/ 19692 w 223750"/>
                  <a:gd name="connsiteY4" fmla="*/ 152069 h 246082"/>
                  <a:gd name="connsiteX0" fmla="*/ 8447 w 212505"/>
                  <a:gd name="connsiteY0" fmla="*/ 151500 h 245513"/>
                  <a:gd name="connsiteX1" fmla="*/ 14011 w 212505"/>
                  <a:gd name="connsiteY1" fmla="*/ 0 h 245513"/>
                  <a:gd name="connsiteX2" fmla="*/ 188162 w 212505"/>
                  <a:gd name="connsiteY2" fmla="*/ 146200 h 245513"/>
                  <a:gd name="connsiteX3" fmla="*/ 118281 w 212505"/>
                  <a:gd name="connsiteY3" fmla="*/ 243222 h 245513"/>
                  <a:gd name="connsiteX4" fmla="*/ 8447 w 212505"/>
                  <a:gd name="connsiteY4" fmla="*/ 151500 h 245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505" h="245513">
                    <a:moveTo>
                      <a:pt x="8447" y="151500"/>
                    </a:moveTo>
                    <a:cubicBezTo>
                      <a:pt x="-8931" y="110963"/>
                      <a:pt x="4364" y="49925"/>
                      <a:pt x="14011" y="0"/>
                    </a:cubicBezTo>
                    <a:lnTo>
                      <a:pt x="188162" y="146200"/>
                    </a:lnTo>
                    <a:cubicBezTo>
                      <a:pt x="238688" y="171397"/>
                      <a:pt x="208249" y="260888"/>
                      <a:pt x="118281" y="243222"/>
                    </a:cubicBezTo>
                    <a:lnTo>
                      <a:pt x="8447" y="151500"/>
                    </a:lnTo>
                    <a:close/>
                  </a:path>
                </a:pathLst>
              </a:custGeom>
              <a:grp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2" name="Freeform: Shape 411">
                <a:extLst>
                  <a:ext uri="{FF2B5EF4-FFF2-40B4-BE49-F238E27FC236}">
                    <a16:creationId xmlns:a16="http://schemas.microsoft.com/office/drawing/2014/main" id="{6B681B5A-916C-4398-9824-EC2B95F09106}"/>
                  </a:ext>
                </a:extLst>
              </p:cNvPr>
              <p:cNvSpPr/>
              <p:nvPr/>
            </p:nvSpPr>
            <p:spPr bwMode="auto">
              <a:xfrm rot="15300000">
                <a:off x="3862948" y="5305392"/>
                <a:ext cx="166801" cy="166059"/>
              </a:xfrm>
              <a:custGeom>
                <a:avLst/>
                <a:gdLst>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70412 w 373044"/>
                  <a:gd name="connsiteY5" fmla="*/ 390763 h 394829"/>
                  <a:gd name="connsiteX6" fmla="*/ 331738 w 373044"/>
                  <a:gd name="connsiteY6" fmla="*/ 376801 h 394829"/>
                  <a:gd name="connsiteX7" fmla="*/ 19672 w 373044"/>
                  <a:gd name="connsiteY7" fmla="*/ 101651 h 394829"/>
                  <a:gd name="connsiteX8" fmla="*/ 14518 w 373044"/>
                  <a:gd name="connsiteY8" fmla="*/ 19671 h 394829"/>
                  <a:gd name="connsiteX9" fmla="*/ 54441 w 373044"/>
                  <a:gd name="connsiteY9"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31738 w 373044"/>
                  <a:gd name="connsiteY5" fmla="*/ 376801 h 394829"/>
                  <a:gd name="connsiteX6" fmla="*/ 19672 w 373044"/>
                  <a:gd name="connsiteY6" fmla="*/ 101651 h 394829"/>
                  <a:gd name="connsiteX7" fmla="*/ 14518 w 373044"/>
                  <a:gd name="connsiteY7" fmla="*/ 19671 h 394829"/>
                  <a:gd name="connsiteX8" fmla="*/ 54441 w 373044"/>
                  <a:gd name="connsiteY8"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31738 w 373044"/>
                  <a:gd name="connsiteY4" fmla="*/ 376801 h 394829"/>
                  <a:gd name="connsiteX5" fmla="*/ 19672 w 373044"/>
                  <a:gd name="connsiteY5" fmla="*/ 101651 h 394829"/>
                  <a:gd name="connsiteX6" fmla="*/ 14518 w 373044"/>
                  <a:gd name="connsiteY6" fmla="*/ 19671 h 394829"/>
                  <a:gd name="connsiteX7" fmla="*/ 54441 w 373044"/>
                  <a:gd name="connsiteY7" fmla="*/ 116 h 394829"/>
                  <a:gd name="connsiteX0" fmla="*/ 54441 w 373044"/>
                  <a:gd name="connsiteY0" fmla="*/ 116 h 376801"/>
                  <a:gd name="connsiteX1" fmla="*/ 96499 w 373044"/>
                  <a:gd name="connsiteY1" fmla="*/ 14517 h 376801"/>
                  <a:gd name="connsiteX2" fmla="*/ 373044 w 373044"/>
                  <a:gd name="connsiteY2" fmla="*/ 258348 h 376801"/>
                  <a:gd name="connsiteX3" fmla="*/ 331738 w 373044"/>
                  <a:gd name="connsiteY3" fmla="*/ 376801 h 376801"/>
                  <a:gd name="connsiteX4" fmla="*/ 19672 w 373044"/>
                  <a:gd name="connsiteY4" fmla="*/ 101651 h 376801"/>
                  <a:gd name="connsiteX5" fmla="*/ 14518 w 373044"/>
                  <a:gd name="connsiteY5" fmla="*/ 19671 h 376801"/>
                  <a:gd name="connsiteX6" fmla="*/ 54441 w 373044"/>
                  <a:gd name="connsiteY6" fmla="*/ 116 h 376801"/>
                  <a:gd name="connsiteX0" fmla="*/ 54441 w 392514"/>
                  <a:gd name="connsiteY0" fmla="*/ 116 h 389308"/>
                  <a:gd name="connsiteX1" fmla="*/ 96499 w 392514"/>
                  <a:gd name="connsiteY1" fmla="*/ 14517 h 389308"/>
                  <a:gd name="connsiteX2" fmla="*/ 373044 w 392514"/>
                  <a:gd name="connsiteY2" fmla="*/ 258348 h 389308"/>
                  <a:gd name="connsiteX3" fmla="*/ 331738 w 392514"/>
                  <a:gd name="connsiteY3" fmla="*/ 376801 h 389308"/>
                  <a:gd name="connsiteX4" fmla="*/ 19672 w 392514"/>
                  <a:gd name="connsiteY4" fmla="*/ 101651 h 389308"/>
                  <a:gd name="connsiteX5" fmla="*/ 14518 w 392514"/>
                  <a:gd name="connsiteY5" fmla="*/ 19671 h 389308"/>
                  <a:gd name="connsiteX6" fmla="*/ 54441 w 392514"/>
                  <a:gd name="connsiteY6" fmla="*/ 116 h 389308"/>
                  <a:gd name="connsiteX0" fmla="*/ 54441 w 417895"/>
                  <a:gd name="connsiteY0" fmla="*/ 116 h 390341"/>
                  <a:gd name="connsiteX1" fmla="*/ 96499 w 417895"/>
                  <a:gd name="connsiteY1" fmla="*/ 14517 h 390341"/>
                  <a:gd name="connsiteX2" fmla="*/ 373044 w 417895"/>
                  <a:gd name="connsiteY2" fmla="*/ 258348 h 390341"/>
                  <a:gd name="connsiteX3" fmla="*/ 331738 w 417895"/>
                  <a:gd name="connsiteY3" fmla="*/ 376801 h 390341"/>
                  <a:gd name="connsiteX4" fmla="*/ 19672 w 417895"/>
                  <a:gd name="connsiteY4" fmla="*/ 101651 h 390341"/>
                  <a:gd name="connsiteX5" fmla="*/ 14518 w 417895"/>
                  <a:gd name="connsiteY5" fmla="*/ 19671 h 390341"/>
                  <a:gd name="connsiteX6" fmla="*/ 54441 w 417895"/>
                  <a:gd name="connsiteY6" fmla="*/ 116 h 390341"/>
                  <a:gd name="connsiteX0" fmla="*/ 54441 w 415063"/>
                  <a:gd name="connsiteY0" fmla="*/ 116 h 388409"/>
                  <a:gd name="connsiteX1" fmla="*/ 96499 w 415063"/>
                  <a:gd name="connsiteY1" fmla="*/ 14517 h 388409"/>
                  <a:gd name="connsiteX2" fmla="*/ 373044 w 415063"/>
                  <a:gd name="connsiteY2" fmla="*/ 258348 h 388409"/>
                  <a:gd name="connsiteX3" fmla="*/ 331738 w 415063"/>
                  <a:gd name="connsiteY3" fmla="*/ 376801 h 388409"/>
                  <a:gd name="connsiteX4" fmla="*/ 19672 w 415063"/>
                  <a:gd name="connsiteY4" fmla="*/ 101651 h 388409"/>
                  <a:gd name="connsiteX5" fmla="*/ 14518 w 415063"/>
                  <a:gd name="connsiteY5" fmla="*/ 19671 h 388409"/>
                  <a:gd name="connsiteX6" fmla="*/ 54441 w 415063"/>
                  <a:gd name="connsiteY6" fmla="*/ 116 h 388409"/>
                  <a:gd name="connsiteX0" fmla="*/ 54441 w 389618"/>
                  <a:gd name="connsiteY0" fmla="*/ 116 h 385766"/>
                  <a:gd name="connsiteX1" fmla="*/ 96499 w 389618"/>
                  <a:gd name="connsiteY1" fmla="*/ 14517 h 385766"/>
                  <a:gd name="connsiteX2" fmla="*/ 311132 w 389618"/>
                  <a:gd name="connsiteY2" fmla="*/ 203579 h 385766"/>
                  <a:gd name="connsiteX3" fmla="*/ 331738 w 389618"/>
                  <a:gd name="connsiteY3" fmla="*/ 376801 h 385766"/>
                  <a:gd name="connsiteX4" fmla="*/ 19672 w 389618"/>
                  <a:gd name="connsiteY4" fmla="*/ 101651 h 385766"/>
                  <a:gd name="connsiteX5" fmla="*/ 14518 w 389618"/>
                  <a:gd name="connsiteY5" fmla="*/ 19671 h 385766"/>
                  <a:gd name="connsiteX6" fmla="*/ 54441 w 389618"/>
                  <a:gd name="connsiteY6" fmla="*/ 116 h 385766"/>
                  <a:gd name="connsiteX0" fmla="*/ 54441 w 353150"/>
                  <a:gd name="connsiteY0" fmla="*/ 116 h 331409"/>
                  <a:gd name="connsiteX1" fmla="*/ 96499 w 353150"/>
                  <a:gd name="connsiteY1" fmla="*/ 14517 h 331409"/>
                  <a:gd name="connsiteX2" fmla="*/ 311132 w 353150"/>
                  <a:gd name="connsiteY2" fmla="*/ 203579 h 331409"/>
                  <a:gd name="connsiteX3" fmla="*/ 269825 w 353150"/>
                  <a:gd name="connsiteY3" fmla="*/ 319651 h 331409"/>
                  <a:gd name="connsiteX4" fmla="*/ 19672 w 353150"/>
                  <a:gd name="connsiteY4" fmla="*/ 101651 h 331409"/>
                  <a:gd name="connsiteX5" fmla="*/ 14518 w 353150"/>
                  <a:gd name="connsiteY5" fmla="*/ 19671 h 331409"/>
                  <a:gd name="connsiteX6" fmla="*/ 54441 w 353150"/>
                  <a:gd name="connsiteY6" fmla="*/ 116 h 331409"/>
                  <a:gd name="connsiteX0" fmla="*/ 54441 w 344424"/>
                  <a:gd name="connsiteY0" fmla="*/ 116 h 321584"/>
                  <a:gd name="connsiteX1" fmla="*/ 96499 w 344424"/>
                  <a:gd name="connsiteY1" fmla="*/ 14517 h 321584"/>
                  <a:gd name="connsiteX2" fmla="*/ 311132 w 344424"/>
                  <a:gd name="connsiteY2" fmla="*/ 203579 h 321584"/>
                  <a:gd name="connsiteX3" fmla="*/ 269825 w 344424"/>
                  <a:gd name="connsiteY3" fmla="*/ 319651 h 321584"/>
                  <a:gd name="connsiteX4" fmla="*/ 19672 w 344424"/>
                  <a:gd name="connsiteY4" fmla="*/ 101651 h 321584"/>
                  <a:gd name="connsiteX5" fmla="*/ 14518 w 344424"/>
                  <a:gd name="connsiteY5" fmla="*/ 19671 h 321584"/>
                  <a:gd name="connsiteX6" fmla="*/ 54441 w 344424"/>
                  <a:gd name="connsiteY6" fmla="*/ 116 h 32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424" h="321584">
                    <a:moveTo>
                      <a:pt x="54441" y="116"/>
                    </a:moveTo>
                    <a:cubicBezTo>
                      <a:pt x="69276" y="-817"/>
                      <a:pt x="84468" y="3910"/>
                      <a:pt x="96499" y="14517"/>
                    </a:cubicBezTo>
                    <a:lnTo>
                      <a:pt x="311132" y="203579"/>
                    </a:lnTo>
                    <a:cubicBezTo>
                      <a:pt x="361658" y="228776"/>
                      <a:pt x="359793" y="337317"/>
                      <a:pt x="269825" y="319651"/>
                    </a:cubicBezTo>
                    <a:lnTo>
                      <a:pt x="19672" y="101651"/>
                    </a:lnTo>
                    <a:cubicBezTo>
                      <a:pt x="-4390" y="80436"/>
                      <a:pt x="-6697" y="43733"/>
                      <a:pt x="14518" y="19671"/>
                    </a:cubicBezTo>
                    <a:cubicBezTo>
                      <a:pt x="25126" y="7640"/>
                      <a:pt x="39605" y="1048"/>
                      <a:pt x="54441" y="116"/>
                    </a:cubicBezTo>
                    <a:close/>
                  </a:path>
                </a:pathLst>
              </a:custGeom>
              <a:grp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grpSp>
      </p:grpSp>
      <p:grpSp>
        <p:nvGrpSpPr>
          <p:cNvPr id="381" name="Group 380">
            <a:extLst>
              <a:ext uri="{FF2B5EF4-FFF2-40B4-BE49-F238E27FC236}">
                <a16:creationId xmlns:a16="http://schemas.microsoft.com/office/drawing/2014/main" id="{4E6A0B7B-C3ED-4405-8D0B-0E54AAF790E8}"/>
              </a:ext>
            </a:extLst>
          </p:cNvPr>
          <p:cNvGrpSpPr/>
          <p:nvPr/>
        </p:nvGrpSpPr>
        <p:grpSpPr>
          <a:xfrm>
            <a:off x="3458437" y="3795587"/>
            <a:ext cx="523797" cy="900166"/>
            <a:chOff x="-3811588" y="1069122"/>
            <a:chExt cx="1852613" cy="3183790"/>
          </a:xfrm>
          <a:solidFill>
            <a:srgbClr val="39393B"/>
          </a:solidFill>
        </p:grpSpPr>
        <p:sp>
          <p:nvSpPr>
            <p:cNvPr id="382" name="Oval 5">
              <a:extLst>
                <a:ext uri="{FF2B5EF4-FFF2-40B4-BE49-F238E27FC236}">
                  <a16:creationId xmlns:a16="http://schemas.microsoft.com/office/drawing/2014/main" id="{59F9B39A-BA07-41FC-A14D-612019FDF68F}"/>
                </a:ext>
              </a:extLst>
            </p:cNvPr>
            <p:cNvSpPr>
              <a:spLocks noChangeArrowheads="1"/>
            </p:cNvSpPr>
            <p:nvPr/>
          </p:nvSpPr>
          <p:spPr bwMode="auto">
            <a:xfrm>
              <a:off x="-3489326" y="1131775"/>
              <a:ext cx="555626" cy="55562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CiscoSansTT ExtraLight"/>
                <a:ea typeface="ＭＳ Ｐゴシック" charset="0"/>
                <a:cs typeface="+mn-cs"/>
              </a:endParaRPr>
            </a:p>
          </p:txBody>
        </p:sp>
        <p:sp>
          <p:nvSpPr>
            <p:cNvPr id="383" name="Freeform 6">
              <a:extLst>
                <a:ext uri="{FF2B5EF4-FFF2-40B4-BE49-F238E27FC236}">
                  <a16:creationId xmlns:a16="http://schemas.microsoft.com/office/drawing/2014/main" id="{AF72D4DF-1A9B-4AE1-9D87-F21DF2CA39C8}"/>
                </a:ext>
              </a:extLst>
            </p:cNvPr>
            <p:cNvSpPr>
              <a:spLocks/>
            </p:cNvSpPr>
            <p:nvPr/>
          </p:nvSpPr>
          <p:spPr bwMode="auto">
            <a:xfrm>
              <a:off x="-3811588" y="1693863"/>
              <a:ext cx="1560513" cy="1589087"/>
            </a:xfrm>
            <a:custGeom>
              <a:avLst/>
              <a:gdLst>
                <a:gd name="T0" fmla="*/ 60 w 514"/>
                <a:gd name="T1" fmla="*/ 344 h 523"/>
                <a:gd name="T2" fmla="*/ 99 w 514"/>
                <a:gd name="T3" fmla="*/ 123 h 523"/>
                <a:gd name="T4" fmla="*/ 92 w 514"/>
                <a:gd name="T5" fmla="*/ 324 h 523"/>
                <a:gd name="T6" fmla="*/ 58 w 514"/>
                <a:gd name="T7" fmla="*/ 523 h 523"/>
                <a:gd name="T8" fmla="*/ 347 w 514"/>
                <a:gd name="T9" fmla="*/ 523 h 523"/>
                <a:gd name="T10" fmla="*/ 289 w 514"/>
                <a:gd name="T11" fmla="*/ 248 h 523"/>
                <a:gd name="T12" fmla="*/ 295 w 514"/>
                <a:gd name="T13" fmla="*/ 119 h 523"/>
                <a:gd name="T14" fmla="*/ 514 w 514"/>
                <a:gd name="T15" fmla="*/ 183 h 523"/>
                <a:gd name="T16" fmla="*/ 514 w 514"/>
                <a:gd name="T17" fmla="*/ 135 h 523"/>
                <a:gd name="T18" fmla="*/ 356 w 514"/>
                <a:gd name="T19" fmla="*/ 89 h 523"/>
                <a:gd name="T20" fmla="*/ 230 w 514"/>
                <a:gd name="T21" fmla="*/ 14 h 523"/>
                <a:gd name="T22" fmla="*/ 170 w 514"/>
                <a:gd name="T23" fmla="*/ 14 h 523"/>
                <a:gd name="T24" fmla="*/ 11 w 514"/>
                <a:gd name="T25" fmla="*/ 344 h 523"/>
                <a:gd name="T26" fmla="*/ 60 w 514"/>
                <a:gd name="T27" fmla="*/ 344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4" h="523">
                  <a:moveTo>
                    <a:pt x="60" y="344"/>
                  </a:moveTo>
                  <a:cubicBezTo>
                    <a:pt x="58" y="212"/>
                    <a:pt x="99" y="123"/>
                    <a:pt x="99" y="123"/>
                  </a:cubicBezTo>
                  <a:cubicBezTo>
                    <a:pt x="156" y="233"/>
                    <a:pt x="119" y="259"/>
                    <a:pt x="92" y="324"/>
                  </a:cubicBezTo>
                  <a:cubicBezTo>
                    <a:pt x="65" y="389"/>
                    <a:pt x="58" y="523"/>
                    <a:pt x="58" y="523"/>
                  </a:cubicBezTo>
                  <a:cubicBezTo>
                    <a:pt x="347" y="523"/>
                    <a:pt x="347" y="523"/>
                    <a:pt x="347" y="523"/>
                  </a:cubicBezTo>
                  <a:cubicBezTo>
                    <a:pt x="345" y="327"/>
                    <a:pt x="302" y="295"/>
                    <a:pt x="289" y="248"/>
                  </a:cubicBezTo>
                  <a:cubicBezTo>
                    <a:pt x="277" y="201"/>
                    <a:pt x="295" y="119"/>
                    <a:pt x="295" y="119"/>
                  </a:cubicBezTo>
                  <a:cubicBezTo>
                    <a:pt x="381" y="225"/>
                    <a:pt x="514" y="183"/>
                    <a:pt x="514" y="183"/>
                  </a:cubicBezTo>
                  <a:cubicBezTo>
                    <a:pt x="514" y="135"/>
                    <a:pt x="514" y="135"/>
                    <a:pt x="514" y="135"/>
                  </a:cubicBezTo>
                  <a:cubicBezTo>
                    <a:pt x="514" y="135"/>
                    <a:pt x="402" y="177"/>
                    <a:pt x="356" y="89"/>
                  </a:cubicBezTo>
                  <a:cubicBezTo>
                    <a:pt x="311" y="0"/>
                    <a:pt x="230" y="14"/>
                    <a:pt x="230" y="14"/>
                  </a:cubicBezTo>
                  <a:cubicBezTo>
                    <a:pt x="206" y="57"/>
                    <a:pt x="170" y="14"/>
                    <a:pt x="170" y="14"/>
                  </a:cubicBezTo>
                  <a:cubicBezTo>
                    <a:pt x="0" y="4"/>
                    <a:pt x="11" y="344"/>
                    <a:pt x="11" y="344"/>
                  </a:cubicBezTo>
                  <a:lnTo>
                    <a:pt x="60" y="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CiscoSansTT ExtraLight"/>
                <a:ea typeface="ＭＳ Ｐゴシック" charset="0"/>
                <a:cs typeface="+mn-cs"/>
              </a:endParaRPr>
            </a:p>
          </p:txBody>
        </p:sp>
        <p:sp>
          <p:nvSpPr>
            <p:cNvPr id="384" name="Freeform 7">
              <a:extLst>
                <a:ext uri="{FF2B5EF4-FFF2-40B4-BE49-F238E27FC236}">
                  <a16:creationId xmlns:a16="http://schemas.microsoft.com/office/drawing/2014/main" id="{E1584E10-B86A-45DD-8F3E-AB2DD65832D8}"/>
                </a:ext>
              </a:extLst>
            </p:cNvPr>
            <p:cNvSpPr>
              <a:spLocks/>
            </p:cNvSpPr>
            <p:nvPr/>
          </p:nvSpPr>
          <p:spPr bwMode="auto">
            <a:xfrm>
              <a:off x="-3778250" y="2730500"/>
              <a:ext cx="153988" cy="103187"/>
            </a:xfrm>
            <a:custGeom>
              <a:avLst/>
              <a:gdLst>
                <a:gd name="T0" fmla="*/ 0 w 51"/>
                <a:gd name="T1" fmla="*/ 0 h 34"/>
                <a:gd name="T2" fmla="*/ 26 w 51"/>
                <a:gd name="T3" fmla="*/ 30 h 34"/>
                <a:gd name="T4" fmla="*/ 48 w 51"/>
                <a:gd name="T5" fmla="*/ 0 h 34"/>
                <a:gd name="T6" fmla="*/ 0 w 51"/>
                <a:gd name="T7" fmla="*/ 0 h 34"/>
              </a:gdLst>
              <a:ahLst/>
              <a:cxnLst>
                <a:cxn ang="0">
                  <a:pos x="T0" y="T1"/>
                </a:cxn>
                <a:cxn ang="0">
                  <a:pos x="T2" y="T3"/>
                </a:cxn>
                <a:cxn ang="0">
                  <a:pos x="T4" y="T5"/>
                </a:cxn>
                <a:cxn ang="0">
                  <a:pos x="T6" y="T7"/>
                </a:cxn>
              </a:cxnLst>
              <a:rect l="0" t="0" r="r" b="b"/>
              <a:pathLst>
                <a:path w="51" h="34">
                  <a:moveTo>
                    <a:pt x="0" y="0"/>
                  </a:moveTo>
                  <a:cubicBezTo>
                    <a:pt x="0" y="0"/>
                    <a:pt x="0" y="34"/>
                    <a:pt x="26" y="30"/>
                  </a:cubicBezTo>
                  <a:cubicBezTo>
                    <a:pt x="51" y="27"/>
                    <a:pt x="48" y="0"/>
                    <a:pt x="48"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CiscoSansTT ExtraLight"/>
                <a:ea typeface="ＭＳ Ｐゴシック" charset="0"/>
                <a:cs typeface="+mn-cs"/>
              </a:endParaRPr>
            </a:p>
          </p:txBody>
        </p:sp>
        <p:sp>
          <p:nvSpPr>
            <p:cNvPr id="385" name="Freeform 8">
              <a:extLst>
                <a:ext uri="{FF2B5EF4-FFF2-40B4-BE49-F238E27FC236}">
                  <a16:creationId xmlns:a16="http://schemas.microsoft.com/office/drawing/2014/main" id="{2423D11B-C17E-4358-B29E-0370748B07D4}"/>
                </a:ext>
              </a:extLst>
            </p:cNvPr>
            <p:cNvSpPr>
              <a:spLocks/>
            </p:cNvSpPr>
            <p:nvPr/>
          </p:nvSpPr>
          <p:spPr bwMode="auto">
            <a:xfrm>
              <a:off x="-3471863" y="3260725"/>
              <a:ext cx="249238" cy="992187"/>
            </a:xfrm>
            <a:custGeom>
              <a:avLst/>
              <a:gdLst>
                <a:gd name="T0" fmla="*/ 82 w 82"/>
                <a:gd name="T1" fmla="*/ 277 h 326"/>
                <a:gd name="T2" fmla="*/ 82 w 82"/>
                <a:gd name="T3" fmla="*/ 0 h 326"/>
                <a:gd name="T4" fmla="*/ 6 w 82"/>
                <a:gd name="T5" fmla="*/ 0 h 326"/>
                <a:gd name="T6" fmla="*/ 0 w 82"/>
                <a:gd name="T7" fmla="*/ 277 h 326"/>
                <a:gd name="T8" fmla="*/ 82 w 82"/>
                <a:gd name="T9" fmla="*/ 277 h 326"/>
              </a:gdLst>
              <a:ahLst/>
              <a:cxnLst>
                <a:cxn ang="0">
                  <a:pos x="T0" y="T1"/>
                </a:cxn>
                <a:cxn ang="0">
                  <a:pos x="T2" y="T3"/>
                </a:cxn>
                <a:cxn ang="0">
                  <a:pos x="T4" y="T5"/>
                </a:cxn>
                <a:cxn ang="0">
                  <a:pos x="T6" y="T7"/>
                </a:cxn>
                <a:cxn ang="0">
                  <a:pos x="T8" y="T9"/>
                </a:cxn>
              </a:cxnLst>
              <a:rect l="0" t="0" r="r" b="b"/>
              <a:pathLst>
                <a:path w="82" h="326">
                  <a:moveTo>
                    <a:pt x="82" y="277"/>
                  </a:moveTo>
                  <a:cubicBezTo>
                    <a:pt x="82" y="228"/>
                    <a:pt x="82" y="0"/>
                    <a:pt x="82" y="0"/>
                  </a:cubicBezTo>
                  <a:cubicBezTo>
                    <a:pt x="6" y="0"/>
                    <a:pt x="6" y="0"/>
                    <a:pt x="6" y="0"/>
                  </a:cubicBezTo>
                  <a:cubicBezTo>
                    <a:pt x="6" y="0"/>
                    <a:pt x="0" y="237"/>
                    <a:pt x="0" y="277"/>
                  </a:cubicBezTo>
                  <a:cubicBezTo>
                    <a:pt x="0" y="317"/>
                    <a:pt x="82" y="326"/>
                    <a:pt x="82" y="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CiscoSansTT ExtraLight"/>
                <a:ea typeface="ＭＳ Ｐゴシック" charset="0"/>
                <a:cs typeface="+mn-cs"/>
              </a:endParaRPr>
            </a:p>
          </p:txBody>
        </p:sp>
        <p:sp>
          <p:nvSpPr>
            <p:cNvPr id="386" name="Freeform 9">
              <a:extLst>
                <a:ext uri="{FF2B5EF4-FFF2-40B4-BE49-F238E27FC236}">
                  <a16:creationId xmlns:a16="http://schemas.microsoft.com/office/drawing/2014/main" id="{3042E6C5-FC1D-4B59-9D3B-301FF8129C94}"/>
                </a:ext>
              </a:extLst>
            </p:cNvPr>
            <p:cNvSpPr>
              <a:spLocks/>
            </p:cNvSpPr>
            <p:nvPr/>
          </p:nvSpPr>
          <p:spPr bwMode="auto">
            <a:xfrm>
              <a:off x="-3165475" y="3260725"/>
              <a:ext cx="249238" cy="992187"/>
            </a:xfrm>
            <a:custGeom>
              <a:avLst/>
              <a:gdLst>
                <a:gd name="T0" fmla="*/ 82 w 82"/>
                <a:gd name="T1" fmla="*/ 277 h 326"/>
                <a:gd name="T2" fmla="*/ 76 w 82"/>
                <a:gd name="T3" fmla="*/ 0 h 326"/>
                <a:gd name="T4" fmla="*/ 0 w 82"/>
                <a:gd name="T5" fmla="*/ 0 h 326"/>
                <a:gd name="T6" fmla="*/ 0 w 82"/>
                <a:gd name="T7" fmla="*/ 277 h 326"/>
                <a:gd name="T8" fmla="*/ 82 w 82"/>
                <a:gd name="T9" fmla="*/ 277 h 326"/>
              </a:gdLst>
              <a:ahLst/>
              <a:cxnLst>
                <a:cxn ang="0">
                  <a:pos x="T0" y="T1"/>
                </a:cxn>
                <a:cxn ang="0">
                  <a:pos x="T2" y="T3"/>
                </a:cxn>
                <a:cxn ang="0">
                  <a:pos x="T4" y="T5"/>
                </a:cxn>
                <a:cxn ang="0">
                  <a:pos x="T6" y="T7"/>
                </a:cxn>
                <a:cxn ang="0">
                  <a:pos x="T8" y="T9"/>
                </a:cxn>
              </a:cxnLst>
              <a:rect l="0" t="0" r="r" b="b"/>
              <a:pathLst>
                <a:path w="82" h="326">
                  <a:moveTo>
                    <a:pt x="82" y="277"/>
                  </a:moveTo>
                  <a:cubicBezTo>
                    <a:pt x="82" y="237"/>
                    <a:pt x="76" y="0"/>
                    <a:pt x="76" y="0"/>
                  </a:cubicBezTo>
                  <a:cubicBezTo>
                    <a:pt x="0" y="0"/>
                    <a:pt x="0" y="0"/>
                    <a:pt x="0" y="0"/>
                  </a:cubicBezTo>
                  <a:cubicBezTo>
                    <a:pt x="0" y="0"/>
                    <a:pt x="0" y="228"/>
                    <a:pt x="0" y="277"/>
                  </a:cubicBezTo>
                  <a:cubicBezTo>
                    <a:pt x="0" y="326"/>
                    <a:pt x="82" y="317"/>
                    <a:pt x="82" y="2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CiscoSansTT ExtraLight"/>
                <a:ea typeface="ＭＳ Ｐゴシック" charset="0"/>
                <a:cs typeface="+mn-cs"/>
              </a:endParaRPr>
            </a:p>
          </p:txBody>
        </p:sp>
        <p:sp>
          <p:nvSpPr>
            <p:cNvPr id="387" name="Freeform 10">
              <a:extLst>
                <a:ext uri="{FF2B5EF4-FFF2-40B4-BE49-F238E27FC236}">
                  <a16:creationId xmlns:a16="http://schemas.microsoft.com/office/drawing/2014/main" id="{B9A855B8-D7B2-471B-A3E4-7BD169722BCC}"/>
                </a:ext>
              </a:extLst>
            </p:cNvPr>
            <p:cNvSpPr>
              <a:spLocks/>
            </p:cNvSpPr>
            <p:nvPr/>
          </p:nvSpPr>
          <p:spPr bwMode="auto">
            <a:xfrm>
              <a:off x="-2259013" y="1903413"/>
              <a:ext cx="300038" cy="488950"/>
            </a:xfrm>
            <a:custGeom>
              <a:avLst/>
              <a:gdLst>
                <a:gd name="T0" fmla="*/ 80 w 99"/>
                <a:gd name="T1" fmla="*/ 161 h 161"/>
                <a:gd name="T2" fmla="*/ 19 w 99"/>
                <a:gd name="T3" fmla="*/ 161 h 161"/>
                <a:gd name="T4" fmla="*/ 0 w 99"/>
                <a:gd name="T5" fmla="*/ 143 h 161"/>
                <a:gd name="T6" fmla="*/ 0 w 99"/>
                <a:gd name="T7" fmla="*/ 19 h 161"/>
                <a:gd name="T8" fmla="*/ 19 w 99"/>
                <a:gd name="T9" fmla="*/ 0 h 161"/>
                <a:gd name="T10" fmla="*/ 80 w 99"/>
                <a:gd name="T11" fmla="*/ 0 h 161"/>
                <a:gd name="T12" fmla="*/ 99 w 99"/>
                <a:gd name="T13" fmla="*/ 19 h 161"/>
                <a:gd name="T14" fmla="*/ 99 w 99"/>
                <a:gd name="T15" fmla="*/ 143 h 161"/>
                <a:gd name="T16" fmla="*/ 80 w 99"/>
                <a:gd name="T17"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1">
                  <a:moveTo>
                    <a:pt x="80" y="161"/>
                  </a:moveTo>
                  <a:cubicBezTo>
                    <a:pt x="19" y="161"/>
                    <a:pt x="19" y="161"/>
                    <a:pt x="19" y="161"/>
                  </a:cubicBezTo>
                  <a:cubicBezTo>
                    <a:pt x="9" y="161"/>
                    <a:pt x="0" y="153"/>
                    <a:pt x="0" y="143"/>
                  </a:cubicBezTo>
                  <a:cubicBezTo>
                    <a:pt x="0" y="19"/>
                    <a:pt x="0" y="19"/>
                    <a:pt x="0" y="19"/>
                  </a:cubicBezTo>
                  <a:cubicBezTo>
                    <a:pt x="0" y="8"/>
                    <a:pt x="9" y="0"/>
                    <a:pt x="19" y="0"/>
                  </a:cubicBezTo>
                  <a:cubicBezTo>
                    <a:pt x="80" y="0"/>
                    <a:pt x="80" y="0"/>
                    <a:pt x="80" y="0"/>
                  </a:cubicBezTo>
                  <a:cubicBezTo>
                    <a:pt x="91" y="0"/>
                    <a:pt x="99" y="8"/>
                    <a:pt x="99" y="19"/>
                  </a:cubicBezTo>
                  <a:cubicBezTo>
                    <a:pt x="99" y="143"/>
                    <a:pt x="99" y="143"/>
                    <a:pt x="99" y="143"/>
                  </a:cubicBezTo>
                  <a:cubicBezTo>
                    <a:pt x="99" y="153"/>
                    <a:pt x="91" y="161"/>
                    <a:pt x="80" y="161"/>
                  </a:cubicBezTo>
                  <a:close/>
                </a:path>
              </a:pathLst>
            </a:custGeom>
            <a:solidFill>
              <a:srgbClr val="0498D1">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CiscoSansTT ExtraLight"/>
                <a:ea typeface="ＭＳ Ｐゴシック" charset="0"/>
                <a:cs typeface="+mn-cs"/>
              </a:endParaRPr>
            </a:p>
          </p:txBody>
        </p:sp>
        <p:sp>
          <p:nvSpPr>
            <p:cNvPr id="388" name="Freeform 11">
              <a:extLst>
                <a:ext uri="{FF2B5EF4-FFF2-40B4-BE49-F238E27FC236}">
                  <a16:creationId xmlns:a16="http://schemas.microsoft.com/office/drawing/2014/main" id="{481A8638-0FD1-4447-B02A-E9F3F64D77E7}"/>
                </a:ext>
              </a:extLst>
            </p:cNvPr>
            <p:cNvSpPr>
              <a:spLocks/>
            </p:cNvSpPr>
            <p:nvPr/>
          </p:nvSpPr>
          <p:spPr bwMode="auto">
            <a:xfrm>
              <a:off x="-2211388" y="1951038"/>
              <a:ext cx="203200" cy="392112"/>
            </a:xfrm>
            <a:custGeom>
              <a:avLst/>
              <a:gdLst>
                <a:gd name="T0" fmla="*/ 3 w 67"/>
                <a:gd name="T1" fmla="*/ 0 h 129"/>
                <a:gd name="T2" fmla="*/ 0 w 67"/>
                <a:gd name="T3" fmla="*/ 3 h 129"/>
                <a:gd name="T4" fmla="*/ 0 w 67"/>
                <a:gd name="T5" fmla="*/ 127 h 129"/>
                <a:gd name="T6" fmla="*/ 3 w 67"/>
                <a:gd name="T7" fmla="*/ 129 h 129"/>
                <a:gd name="T8" fmla="*/ 64 w 67"/>
                <a:gd name="T9" fmla="*/ 129 h 129"/>
                <a:gd name="T10" fmla="*/ 67 w 67"/>
                <a:gd name="T11" fmla="*/ 127 h 129"/>
                <a:gd name="T12" fmla="*/ 67 w 67"/>
                <a:gd name="T13" fmla="*/ 3 h 129"/>
                <a:gd name="T14" fmla="*/ 64 w 67"/>
                <a:gd name="T15" fmla="*/ 0 h 129"/>
                <a:gd name="T16" fmla="*/ 3 w 67"/>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129">
                  <a:moveTo>
                    <a:pt x="3" y="0"/>
                  </a:moveTo>
                  <a:cubicBezTo>
                    <a:pt x="1" y="0"/>
                    <a:pt x="0" y="1"/>
                    <a:pt x="0" y="3"/>
                  </a:cubicBezTo>
                  <a:cubicBezTo>
                    <a:pt x="0" y="127"/>
                    <a:pt x="0" y="127"/>
                    <a:pt x="0" y="127"/>
                  </a:cubicBezTo>
                  <a:cubicBezTo>
                    <a:pt x="0" y="128"/>
                    <a:pt x="1" y="129"/>
                    <a:pt x="3" y="129"/>
                  </a:cubicBezTo>
                  <a:cubicBezTo>
                    <a:pt x="64" y="129"/>
                    <a:pt x="64" y="129"/>
                    <a:pt x="64" y="129"/>
                  </a:cubicBezTo>
                  <a:cubicBezTo>
                    <a:pt x="66" y="129"/>
                    <a:pt x="67" y="128"/>
                    <a:pt x="67" y="127"/>
                  </a:cubicBezTo>
                  <a:cubicBezTo>
                    <a:pt x="67" y="3"/>
                    <a:pt x="67" y="3"/>
                    <a:pt x="67" y="3"/>
                  </a:cubicBezTo>
                  <a:cubicBezTo>
                    <a:pt x="67" y="1"/>
                    <a:pt x="66" y="0"/>
                    <a:pt x="64"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CiscoSansTT ExtraLight"/>
                <a:ea typeface="ＭＳ Ｐゴシック" charset="0"/>
                <a:cs typeface="+mn-cs"/>
              </a:endParaRPr>
            </a:p>
          </p:txBody>
        </p:sp>
        <p:sp>
          <p:nvSpPr>
            <p:cNvPr id="389" name="Freeform: Shape 388">
              <a:extLst>
                <a:ext uri="{FF2B5EF4-FFF2-40B4-BE49-F238E27FC236}">
                  <a16:creationId xmlns:a16="http://schemas.microsoft.com/office/drawing/2014/main" id="{1CD189D2-0EA0-4B36-B04F-AF1CA9AFA113}"/>
                </a:ext>
              </a:extLst>
            </p:cNvPr>
            <p:cNvSpPr/>
            <p:nvPr/>
          </p:nvSpPr>
          <p:spPr>
            <a:xfrm>
              <a:off x="-3613151" y="1069122"/>
              <a:ext cx="777876" cy="539697"/>
            </a:xfrm>
            <a:custGeom>
              <a:avLst/>
              <a:gdLst>
                <a:gd name="connsiteX0" fmla="*/ 1651820 w 3097162"/>
                <a:gd name="connsiteY0" fmla="*/ 0 h 1651820"/>
                <a:gd name="connsiteX1" fmla="*/ 0 w 3097162"/>
                <a:gd name="connsiteY1" fmla="*/ 1651820 h 1651820"/>
                <a:gd name="connsiteX2" fmla="*/ 3097162 w 3097162"/>
                <a:gd name="connsiteY2" fmla="*/ 1651820 h 1651820"/>
                <a:gd name="connsiteX3" fmla="*/ 1651820 w 3097162"/>
                <a:gd name="connsiteY3" fmla="*/ 0 h 1651820"/>
                <a:gd name="connsiteX0" fmla="*/ 1651820 w 3097162"/>
                <a:gd name="connsiteY0" fmla="*/ 0 h 1651820"/>
                <a:gd name="connsiteX1" fmla="*/ 0 w 3097162"/>
                <a:gd name="connsiteY1" fmla="*/ 1651820 h 1651820"/>
                <a:gd name="connsiteX2" fmla="*/ 3097162 w 3097162"/>
                <a:gd name="connsiteY2" fmla="*/ 1651820 h 1651820"/>
                <a:gd name="connsiteX3" fmla="*/ 1651820 w 3097162"/>
                <a:gd name="connsiteY3" fmla="*/ 0 h 1651820"/>
                <a:gd name="connsiteX0" fmla="*/ 1651820 w 3097162"/>
                <a:gd name="connsiteY0" fmla="*/ 196 h 1652016"/>
                <a:gd name="connsiteX1" fmla="*/ 0 w 3097162"/>
                <a:gd name="connsiteY1" fmla="*/ 1652016 h 1652016"/>
                <a:gd name="connsiteX2" fmla="*/ 3097162 w 3097162"/>
                <a:gd name="connsiteY2" fmla="*/ 1652016 h 1652016"/>
                <a:gd name="connsiteX3" fmla="*/ 1651820 w 3097162"/>
                <a:gd name="connsiteY3" fmla="*/ 196 h 1652016"/>
                <a:gd name="connsiteX0" fmla="*/ 1651820 w 3097162"/>
                <a:gd name="connsiteY0" fmla="*/ 25 h 1651845"/>
                <a:gd name="connsiteX1" fmla="*/ 0 w 3097162"/>
                <a:gd name="connsiteY1" fmla="*/ 1651845 h 1651845"/>
                <a:gd name="connsiteX2" fmla="*/ 3097162 w 3097162"/>
                <a:gd name="connsiteY2" fmla="*/ 1651845 h 1651845"/>
                <a:gd name="connsiteX3" fmla="*/ 1651820 w 3097162"/>
                <a:gd name="connsiteY3" fmla="*/ 25 h 1651845"/>
                <a:gd name="connsiteX0" fmla="*/ 1651820 w 3097162"/>
                <a:gd name="connsiteY0" fmla="*/ 10 h 1651830"/>
                <a:gd name="connsiteX1" fmla="*/ 0 w 3097162"/>
                <a:gd name="connsiteY1" fmla="*/ 1651830 h 1651830"/>
                <a:gd name="connsiteX2" fmla="*/ 3097162 w 3097162"/>
                <a:gd name="connsiteY2" fmla="*/ 1651830 h 1651830"/>
                <a:gd name="connsiteX3" fmla="*/ 1651820 w 3097162"/>
                <a:gd name="connsiteY3" fmla="*/ 10 h 1651830"/>
                <a:gd name="connsiteX0" fmla="*/ 1601253 w 3097162"/>
                <a:gd name="connsiteY0" fmla="*/ 9 h 1651830"/>
                <a:gd name="connsiteX1" fmla="*/ 0 w 3097162"/>
                <a:gd name="connsiteY1" fmla="*/ 1651830 h 1651830"/>
                <a:gd name="connsiteX2" fmla="*/ 3097162 w 3097162"/>
                <a:gd name="connsiteY2" fmla="*/ 1651830 h 1651830"/>
                <a:gd name="connsiteX3" fmla="*/ 1601253 w 3097162"/>
                <a:gd name="connsiteY3" fmla="*/ 9 h 1651830"/>
                <a:gd name="connsiteX0" fmla="*/ 1601253 w 3097162"/>
                <a:gd name="connsiteY0" fmla="*/ 9 h 1651830"/>
                <a:gd name="connsiteX1" fmla="*/ 0 w 3097162"/>
                <a:gd name="connsiteY1" fmla="*/ 1651830 h 1651830"/>
                <a:gd name="connsiteX2" fmla="*/ 3097162 w 3097162"/>
                <a:gd name="connsiteY2" fmla="*/ 1651830 h 1651830"/>
                <a:gd name="connsiteX3" fmla="*/ 1601253 w 3097162"/>
                <a:gd name="connsiteY3" fmla="*/ 9 h 1651830"/>
              </a:gdLst>
              <a:ahLst/>
              <a:cxnLst>
                <a:cxn ang="0">
                  <a:pos x="connsiteX0" y="connsiteY0"/>
                </a:cxn>
                <a:cxn ang="0">
                  <a:pos x="connsiteX1" y="connsiteY1"/>
                </a:cxn>
                <a:cxn ang="0">
                  <a:pos x="connsiteX2" y="connsiteY2"/>
                </a:cxn>
                <a:cxn ang="0">
                  <a:pos x="connsiteX3" y="connsiteY3"/>
                </a:cxn>
              </a:cxnLst>
              <a:rect l="l" t="t" r="r" b="b"/>
              <a:pathLst>
                <a:path w="3097162" h="1651830">
                  <a:moveTo>
                    <a:pt x="1601253" y="9"/>
                  </a:moveTo>
                  <a:cubicBezTo>
                    <a:pt x="182423" y="3829"/>
                    <a:pt x="550607" y="1101223"/>
                    <a:pt x="0" y="1651830"/>
                  </a:cubicBezTo>
                  <a:lnTo>
                    <a:pt x="3097162" y="1651830"/>
                  </a:lnTo>
                  <a:cubicBezTo>
                    <a:pt x="2615381" y="1101223"/>
                    <a:pt x="3020083" y="-3811"/>
                    <a:pt x="160125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CiscoSansTT ExtraLight"/>
                <a:ea typeface="ＭＳ Ｐゴシック" charset="0"/>
                <a:cs typeface="+mn-cs"/>
              </a:endParaRPr>
            </a:p>
          </p:txBody>
        </p:sp>
      </p:grpSp>
      <p:sp>
        <p:nvSpPr>
          <p:cNvPr id="421" name="Rectangle 420">
            <a:extLst>
              <a:ext uri="{FF2B5EF4-FFF2-40B4-BE49-F238E27FC236}">
                <a16:creationId xmlns:a16="http://schemas.microsoft.com/office/drawing/2014/main" id="{5E9F5474-E506-458F-9C62-9B376F84FF24}"/>
              </a:ext>
            </a:extLst>
          </p:cNvPr>
          <p:cNvSpPr/>
          <p:nvPr/>
        </p:nvSpPr>
        <p:spPr>
          <a:xfrm>
            <a:off x="749315" y="1457548"/>
            <a:ext cx="7645370" cy="704628"/>
          </a:xfrm>
          <a:prstGeom prst="rect">
            <a:avLst/>
          </a:prstGeom>
          <a:solidFill>
            <a:schemeClr val="bg2">
              <a:lumMod val="95000"/>
            </a:schemeClr>
          </a:solidFill>
          <a:ln w="6350" cap="flat" cmpd="sng" algn="ctr">
            <a:solidFill>
              <a:schemeClr val="accent1"/>
            </a:solidFill>
            <a:prstDash val="dash"/>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423" name="TextBox 422">
            <a:extLst>
              <a:ext uri="{FF2B5EF4-FFF2-40B4-BE49-F238E27FC236}">
                <a16:creationId xmlns:a16="http://schemas.microsoft.com/office/drawing/2014/main" id="{9C988610-A0CA-498A-8BF3-4BEC0984FB18}"/>
              </a:ext>
            </a:extLst>
          </p:cNvPr>
          <p:cNvSpPr txBox="1"/>
          <p:nvPr/>
        </p:nvSpPr>
        <p:spPr>
          <a:xfrm>
            <a:off x="2276087" y="1762685"/>
            <a:ext cx="1523904" cy="351866"/>
          </a:xfrm>
          <a:prstGeom prst="rect">
            <a:avLst/>
          </a:prstGeom>
          <a:noFill/>
        </p:spPr>
        <p:txBody>
          <a:bodyPr wrap="square" lIns="0" tIns="0" rIns="0" bIns="0"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498D1">
                    <a:lumMod val="75000"/>
                  </a:srgbClr>
                </a:solidFill>
                <a:effectLst/>
                <a:uLnTx/>
                <a:uFillTx/>
                <a:latin typeface="CiscoSansTT ExtraLight"/>
                <a:ea typeface="ＭＳ Ｐゴシック" charset="0"/>
                <a:cs typeface="Calibri"/>
              </a:rPr>
              <a:t>SE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498D1">
                    <a:lumMod val="75000"/>
                  </a:srgbClr>
                </a:solidFill>
                <a:effectLst/>
                <a:uLnTx/>
                <a:uFillTx/>
                <a:latin typeface="CiscoSansTT ExtraLight"/>
                <a:ea typeface="ＭＳ Ｐゴシック" charset="0"/>
                <a:cs typeface="Calibri"/>
              </a:rPr>
              <a:t>every conversation</a:t>
            </a:r>
          </a:p>
        </p:txBody>
      </p:sp>
      <p:sp>
        <p:nvSpPr>
          <p:cNvPr id="424" name="TextBox 423">
            <a:extLst>
              <a:ext uri="{FF2B5EF4-FFF2-40B4-BE49-F238E27FC236}">
                <a16:creationId xmlns:a16="http://schemas.microsoft.com/office/drawing/2014/main" id="{AEFABB7D-07B1-4781-9B05-55454BE99692}"/>
              </a:ext>
            </a:extLst>
          </p:cNvPr>
          <p:cNvSpPr txBox="1"/>
          <p:nvPr/>
        </p:nvSpPr>
        <p:spPr>
          <a:xfrm>
            <a:off x="4067917" y="1762685"/>
            <a:ext cx="1017309" cy="351866"/>
          </a:xfrm>
          <a:prstGeom prst="rect">
            <a:avLst/>
          </a:prstGeom>
          <a:noFill/>
        </p:spPr>
        <p:txBody>
          <a:bodyPr wrap="square" lIns="0" tIns="0" rIns="0" bIns="0"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498D1">
                    <a:lumMod val="75000"/>
                  </a:srgbClr>
                </a:solidFill>
                <a:effectLst/>
                <a:uLnTx/>
                <a:uFillTx/>
                <a:latin typeface="CiscoSansTT ExtraLight"/>
                <a:ea typeface="ＭＳ Ｐゴシック" charset="0"/>
                <a:cs typeface="Calibri"/>
              </a:rPr>
              <a:t>Understand what is </a:t>
            </a:r>
            <a:r>
              <a:rPr kumimoji="0" lang="en-US" sz="1000" b="1" i="0" u="none" strike="noStrike" kern="0" cap="none" spc="0" normalizeH="0" baseline="0" noProof="0" dirty="0">
                <a:ln>
                  <a:noFill/>
                </a:ln>
                <a:solidFill>
                  <a:srgbClr val="0498D1">
                    <a:lumMod val="75000"/>
                  </a:srgbClr>
                </a:solidFill>
                <a:effectLst/>
                <a:uLnTx/>
                <a:uFillTx/>
                <a:latin typeface="CiscoSansTT ExtraLight"/>
                <a:ea typeface="ＭＳ Ｐゴシック" charset="0"/>
                <a:cs typeface="Calibri"/>
              </a:rPr>
              <a:t>NORMAL</a:t>
            </a:r>
          </a:p>
        </p:txBody>
      </p:sp>
      <p:sp>
        <p:nvSpPr>
          <p:cNvPr id="425" name="TextBox 424">
            <a:extLst>
              <a:ext uri="{FF2B5EF4-FFF2-40B4-BE49-F238E27FC236}">
                <a16:creationId xmlns:a16="http://schemas.microsoft.com/office/drawing/2014/main" id="{7C1E5962-28F6-45F9-A917-23DEAF991BEA}"/>
              </a:ext>
            </a:extLst>
          </p:cNvPr>
          <p:cNvSpPr txBox="1"/>
          <p:nvPr/>
        </p:nvSpPr>
        <p:spPr>
          <a:xfrm>
            <a:off x="5436469" y="1762685"/>
            <a:ext cx="1338987" cy="351866"/>
          </a:xfrm>
          <a:prstGeom prst="rect">
            <a:avLst/>
          </a:prstGeom>
          <a:noFill/>
        </p:spPr>
        <p:txBody>
          <a:bodyPr wrap="square" lIns="0" tIns="0" rIns="0" bIns="0"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498D1">
                    <a:lumMod val="75000"/>
                  </a:srgbClr>
                </a:solidFill>
                <a:effectLst/>
                <a:uLnTx/>
                <a:uFillTx/>
                <a:latin typeface="CiscoSansTT ExtraLight"/>
                <a:ea typeface="ＭＳ Ｐゴシック" charset="0"/>
                <a:cs typeface="Calibri"/>
              </a:rPr>
              <a:t>Be alerted to</a:t>
            </a:r>
            <a:br>
              <a:rPr kumimoji="0" lang="en-US" sz="1000" b="0" i="0" u="none" strike="noStrike" kern="0" cap="none" spc="0" normalizeH="0" baseline="0" noProof="0" dirty="0">
                <a:ln>
                  <a:noFill/>
                </a:ln>
                <a:solidFill>
                  <a:srgbClr val="0498D1">
                    <a:lumMod val="75000"/>
                  </a:srgbClr>
                </a:solidFill>
                <a:effectLst/>
                <a:uLnTx/>
                <a:uFillTx/>
                <a:latin typeface="CiscoSansTT ExtraLight"/>
                <a:ea typeface="ＭＳ Ｐゴシック" charset="0"/>
                <a:cs typeface="Calibri"/>
              </a:rPr>
            </a:br>
            <a:r>
              <a:rPr kumimoji="0" lang="en-US" sz="1000" b="1" i="0" u="none" strike="noStrike" kern="0" cap="none" spc="0" normalizeH="0" baseline="0" noProof="0" dirty="0">
                <a:ln>
                  <a:noFill/>
                </a:ln>
                <a:solidFill>
                  <a:srgbClr val="0498D1">
                    <a:lumMod val="75000"/>
                  </a:srgbClr>
                </a:solidFill>
                <a:effectLst/>
                <a:uLnTx/>
                <a:uFillTx/>
                <a:latin typeface="CiscoSansTT ExtraLight"/>
                <a:ea typeface="ＭＳ Ｐゴシック" charset="0"/>
                <a:cs typeface="Calibri"/>
              </a:rPr>
              <a:t>CHANGE</a:t>
            </a:r>
          </a:p>
        </p:txBody>
      </p:sp>
      <p:sp>
        <p:nvSpPr>
          <p:cNvPr id="426" name="TextBox 425">
            <a:extLst>
              <a:ext uri="{FF2B5EF4-FFF2-40B4-BE49-F238E27FC236}">
                <a16:creationId xmlns:a16="http://schemas.microsoft.com/office/drawing/2014/main" id="{BD425EA7-D5DE-4DF5-80D4-18B83662F365}"/>
              </a:ext>
            </a:extLst>
          </p:cNvPr>
          <p:cNvSpPr txBox="1"/>
          <p:nvPr/>
        </p:nvSpPr>
        <p:spPr>
          <a:xfrm>
            <a:off x="834583" y="1762685"/>
            <a:ext cx="1338987" cy="351866"/>
          </a:xfrm>
          <a:prstGeom prst="rect">
            <a:avLst/>
          </a:prstGeom>
          <a:noFill/>
        </p:spPr>
        <p:txBody>
          <a:bodyPr wrap="square" lIns="0" tIns="0" rIns="0" bIns="0"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498D1">
                    <a:lumMod val="75000"/>
                  </a:srgbClr>
                </a:solidFill>
                <a:effectLst/>
                <a:uLnTx/>
                <a:uFillTx/>
                <a:latin typeface="CiscoSansTT ExtraLight"/>
                <a:ea typeface="ＭＳ Ｐゴシック" charset="0"/>
                <a:cs typeface="Calibri"/>
              </a:rPr>
              <a:t>KNOW</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498D1">
                    <a:lumMod val="75000"/>
                  </a:srgbClr>
                </a:solidFill>
                <a:effectLst/>
                <a:uLnTx/>
                <a:uFillTx/>
                <a:latin typeface="CiscoSansTT ExtraLight"/>
                <a:ea typeface="ＭＳ Ｐゴシック" charset="0"/>
                <a:cs typeface="Calibri"/>
              </a:rPr>
              <a:t>every host</a:t>
            </a:r>
          </a:p>
        </p:txBody>
      </p:sp>
      <p:sp>
        <p:nvSpPr>
          <p:cNvPr id="427" name="TextBox 426">
            <a:extLst>
              <a:ext uri="{FF2B5EF4-FFF2-40B4-BE49-F238E27FC236}">
                <a16:creationId xmlns:a16="http://schemas.microsoft.com/office/drawing/2014/main" id="{72F6BB39-EEF1-42B3-A7C4-6F01E97796F4}"/>
              </a:ext>
            </a:extLst>
          </p:cNvPr>
          <p:cNvSpPr txBox="1"/>
          <p:nvPr/>
        </p:nvSpPr>
        <p:spPr>
          <a:xfrm>
            <a:off x="6970431" y="1762685"/>
            <a:ext cx="1338987" cy="351866"/>
          </a:xfrm>
          <a:prstGeom prst="rect">
            <a:avLst/>
          </a:prstGeom>
          <a:noFill/>
        </p:spPr>
        <p:txBody>
          <a:bodyPr wrap="square" lIns="0" tIns="0" rIns="0" bIns="0"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498D1">
                    <a:lumMod val="75000"/>
                  </a:srgbClr>
                </a:solidFill>
                <a:effectLst/>
                <a:uLnTx/>
                <a:uFillTx/>
                <a:latin typeface="CiscoSansTT ExtraLight"/>
                <a:ea typeface="ＭＳ Ｐゴシック" charset="0"/>
                <a:cs typeface="Calibri"/>
              </a:rPr>
              <a:t>Respond to </a:t>
            </a:r>
            <a:br>
              <a:rPr kumimoji="0" lang="en-US" sz="1000" b="0" i="0" u="none" strike="noStrike" kern="0" cap="none" spc="0" normalizeH="0" baseline="0" noProof="0" dirty="0">
                <a:ln>
                  <a:noFill/>
                </a:ln>
                <a:solidFill>
                  <a:srgbClr val="0498D1">
                    <a:lumMod val="75000"/>
                  </a:srgbClr>
                </a:solidFill>
                <a:effectLst/>
                <a:uLnTx/>
                <a:uFillTx/>
                <a:latin typeface="CiscoSansTT ExtraLight"/>
                <a:ea typeface="ＭＳ Ｐゴシック" charset="0"/>
                <a:cs typeface="Calibri"/>
              </a:rPr>
            </a:br>
            <a:r>
              <a:rPr kumimoji="0" lang="en-US" sz="1000" b="1" i="0" u="none" strike="noStrike" kern="0" cap="none" spc="0" normalizeH="0" baseline="0" noProof="0" dirty="0">
                <a:ln>
                  <a:noFill/>
                </a:ln>
                <a:solidFill>
                  <a:srgbClr val="0498D1">
                    <a:lumMod val="75000"/>
                  </a:srgbClr>
                </a:solidFill>
                <a:effectLst/>
                <a:uLnTx/>
                <a:uFillTx/>
                <a:latin typeface="CiscoSansTT ExtraLight"/>
                <a:ea typeface="ＭＳ Ｐゴシック" charset="0"/>
                <a:cs typeface="Calibri"/>
              </a:rPr>
              <a:t>THREATS </a:t>
            </a:r>
            <a:r>
              <a:rPr kumimoji="0" lang="en-US" sz="1000" b="0" i="0" u="none" strike="noStrike" kern="0" cap="none" spc="0" normalizeH="0" baseline="0" noProof="0" dirty="0">
                <a:ln>
                  <a:noFill/>
                </a:ln>
                <a:solidFill>
                  <a:srgbClr val="0498D1">
                    <a:lumMod val="75000"/>
                  </a:srgbClr>
                </a:solidFill>
                <a:effectLst/>
                <a:uLnTx/>
                <a:uFillTx/>
                <a:latin typeface="CiscoSansTT ExtraLight"/>
                <a:ea typeface="ＭＳ Ｐゴシック" charset="0"/>
                <a:cs typeface="Calibri"/>
              </a:rPr>
              <a:t>quickly</a:t>
            </a:r>
          </a:p>
        </p:txBody>
      </p:sp>
      <p:sp>
        <p:nvSpPr>
          <p:cNvPr id="445" name="Oval 444">
            <a:extLst>
              <a:ext uri="{FF2B5EF4-FFF2-40B4-BE49-F238E27FC236}">
                <a16:creationId xmlns:a16="http://schemas.microsoft.com/office/drawing/2014/main" id="{B29D0842-5863-4A23-92D7-1EE273E82525}"/>
              </a:ext>
            </a:extLst>
          </p:cNvPr>
          <p:cNvSpPr/>
          <p:nvPr/>
        </p:nvSpPr>
        <p:spPr>
          <a:xfrm>
            <a:off x="1195398" y="1144063"/>
            <a:ext cx="585216" cy="585216"/>
          </a:xfrm>
          <a:prstGeom prst="ellipse">
            <a:avLst/>
          </a:prstGeom>
          <a:solidFill>
            <a:schemeClr val="tx2"/>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CiscoSansTT ExtraLight"/>
              <a:ea typeface="ＭＳ Ｐゴシック" charset="0"/>
              <a:cs typeface="+mn-cs"/>
            </a:endParaRPr>
          </a:p>
        </p:txBody>
      </p:sp>
      <p:sp>
        <p:nvSpPr>
          <p:cNvPr id="441" name="Oval 440">
            <a:extLst>
              <a:ext uri="{FF2B5EF4-FFF2-40B4-BE49-F238E27FC236}">
                <a16:creationId xmlns:a16="http://schemas.microsoft.com/office/drawing/2014/main" id="{9874C070-029D-4E45-9DFD-A9C2B0144D08}"/>
              </a:ext>
            </a:extLst>
          </p:cNvPr>
          <p:cNvSpPr/>
          <p:nvPr/>
        </p:nvSpPr>
        <p:spPr>
          <a:xfrm>
            <a:off x="2733378" y="1144063"/>
            <a:ext cx="585216" cy="585216"/>
          </a:xfrm>
          <a:prstGeom prst="ellipse">
            <a:avLst/>
          </a:prstGeom>
          <a:solidFill>
            <a:schemeClr val="tx2"/>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CiscoSansTT ExtraLight"/>
              <a:ea typeface="ＭＳ Ｐゴシック" charset="0"/>
              <a:cs typeface="+mn-cs"/>
            </a:endParaRPr>
          </a:p>
        </p:txBody>
      </p:sp>
      <p:sp>
        <p:nvSpPr>
          <p:cNvPr id="439" name="Oval 438">
            <a:extLst>
              <a:ext uri="{FF2B5EF4-FFF2-40B4-BE49-F238E27FC236}">
                <a16:creationId xmlns:a16="http://schemas.microsoft.com/office/drawing/2014/main" id="{EB0129D8-0A1B-423F-8031-A49704BB6A19}"/>
              </a:ext>
            </a:extLst>
          </p:cNvPr>
          <p:cNvSpPr/>
          <p:nvPr/>
        </p:nvSpPr>
        <p:spPr>
          <a:xfrm>
            <a:off x="5809338" y="1144063"/>
            <a:ext cx="585216" cy="585216"/>
          </a:xfrm>
          <a:prstGeom prst="ellipse">
            <a:avLst/>
          </a:prstGeom>
          <a:solidFill>
            <a:schemeClr val="tx2"/>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CiscoSansTT ExtraLight"/>
              <a:ea typeface="ＭＳ Ｐゴシック" charset="0"/>
              <a:cs typeface="+mn-cs"/>
            </a:endParaRPr>
          </a:p>
        </p:txBody>
      </p:sp>
      <p:sp>
        <p:nvSpPr>
          <p:cNvPr id="435" name="Oval 434">
            <a:extLst>
              <a:ext uri="{FF2B5EF4-FFF2-40B4-BE49-F238E27FC236}">
                <a16:creationId xmlns:a16="http://schemas.microsoft.com/office/drawing/2014/main" id="{6FAB44BC-0B4C-4047-BB08-B8786BD034CD}"/>
              </a:ext>
            </a:extLst>
          </p:cNvPr>
          <p:cNvSpPr/>
          <p:nvPr/>
        </p:nvSpPr>
        <p:spPr>
          <a:xfrm>
            <a:off x="4271358" y="1144063"/>
            <a:ext cx="585216" cy="585216"/>
          </a:xfrm>
          <a:prstGeom prst="ellipse">
            <a:avLst/>
          </a:prstGeom>
          <a:solidFill>
            <a:schemeClr val="tx2"/>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iscoSansTT ExtraLight"/>
              <a:ea typeface="ＭＳ Ｐゴシック" charset="0"/>
              <a:cs typeface="+mn-cs"/>
            </a:endParaRPr>
          </a:p>
        </p:txBody>
      </p:sp>
      <p:cxnSp>
        <p:nvCxnSpPr>
          <p:cNvPr id="459" name="Straight Connector 458">
            <a:extLst>
              <a:ext uri="{FF2B5EF4-FFF2-40B4-BE49-F238E27FC236}">
                <a16:creationId xmlns:a16="http://schemas.microsoft.com/office/drawing/2014/main" id="{8339410B-97F5-46BE-90B3-827247BD874B}"/>
              </a:ext>
            </a:extLst>
          </p:cNvPr>
          <p:cNvCxnSpPr>
            <a:cxnSpLocks/>
          </p:cNvCxnSpPr>
          <p:nvPr/>
        </p:nvCxnSpPr>
        <p:spPr>
          <a:xfrm flipV="1">
            <a:off x="6368413" y="2162176"/>
            <a:ext cx="0" cy="1461135"/>
          </a:xfrm>
          <a:prstGeom prst="line">
            <a:avLst/>
          </a:prstGeom>
          <a:solidFill>
            <a:srgbClr val="FFFFFF">
              <a:lumMod val="95000"/>
            </a:srgbClr>
          </a:solidFill>
          <a:ln w="6350" cap="flat" cmpd="sng" algn="ctr">
            <a:solidFill>
              <a:schemeClr val="accent1"/>
            </a:solidFill>
            <a:prstDash val="dash"/>
          </a:ln>
          <a:effectLst/>
        </p:spPr>
      </p:cxnSp>
      <p:grpSp>
        <p:nvGrpSpPr>
          <p:cNvPr id="511" name="Group 510">
            <a:extLst>
              <a:ext uri="{FF2B5EF4-FFF2-40B4-BE49-F238E27FC236}">
                <a16:creationId xmlns:a16="http://schemas.microsoft.com/office/drawing/2014/main" id="{3E7ADFCE-1B74-441B-9EF3-46E64386AE34}"/>
              </a:ext>
            </a:extLst>
          </p:cNvPr>
          <p:cNvGrpSpPr/>
          <p:nvPr/>
        </p:nvGrpSpPr>
        <p:grpSpPr>
          <a:xfrm>
            <a:off x="1319327" y="1297464"/>
            <a:ext cx="339480" cy="287496"/>
            <a:chOff x="-1268934" y="2369344"/>
            <a:chExt cx="508001" cy="430212"/>
          </a:xfrm>
        </p:grpSpPr>
        <p:sp>
          <p:nvSpPr>
            <p:cNvPr id="487" name="Freeform 195">
              <a:extLst>
                <a:ext uri="{FF2B5EF4-FFF2-40B4-BE49-F238E27FC236}">
                  <a16:creationId xmlns:a16="http://schemas.microsoft.com/office/drawing/2014/main" id="{BDD21B96-9264-428A-9596-8883A78FB5FE}"/>
                </a:ext>
              </a:extLst>
            </p:cNvPr>
            <p:cNvSpPr>
              <a:spLocks/>
            </p:cNvSpPr>
            <p:nvPr/>
          </p:nvSpPr>
          <p:spPr bwMode="auto">
            <a:xfrm>
              <a:off x="-1000646" y="2369344"/>
              <a:ext cx="239713" cy="430212"/>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488" name="Line 196">
              <a:extLst>
                <a:ext uri="{FF2B5EF4-FFF2-40B4-BE49-F238E27FC236}">
                  <a16:creationId xmlns:a16="http://schemas.microsoft.com/office/drawing/2014/main" id="{FE4D9490-E298-46A3-9B08-FA6D8BCA6A2B}"/>
                </a:ext>
              </a:extLst>
            </p:cNvPr>
            <p:cNvSpPr>
              <a:spLocks noChangeShapeType="1"/>
            </p:cNvSpPr>
            <p:nvPr/>
          </p:nvSpPr>
          <p:spPr bwMode="auto">
            <a:xfrm>
              <a:off x="-940321" y="2439194"/>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489" name="Line 197">
              <a:extLst>
                <a:ext uri="{FF2B5EF4-FFF2-40B4-BE49-F238E27FC236}">
                  <a16:creationId xmlns:a16="http://schemas.microsoft.com/office/drawing/2014/main" id="{3319F5AC-C883-4F58-9271-24410E470404}"/>
                </a:ext>
              </a:extLst>
            </p:cNvPr>
            <p:cNvSpPr>
              <a:spLocks noChangeShapeType="1"/>
            </p:cNvSpPr>
            <p:nvPr/>
          </p:nvSpPr>
          <p:spPr bwMode="auto">
            <a:xfrm>
              <a:off x="-940321" y="2507456"/>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490" name="Line 198">
              <a:extLst>
                <a:ext uri="{FF2B5EF4-FFF2-40B4-BE49-F238E27FC236}">
                  <a16:creationId xmlns:a16="http://schemas.microsoft.com/office/drawing/2014/main" id="{3CEE9DAA-D165-4C9D-B992-53094C0353A6}"/>
                </a:ext>
              </a:extLst>
            </p:cNvPr>
            <p:cNvSpPr>
              <a:spLocks noChangeShapeType="1"/>
            </p:cNvSpPr>
            <p:nvPr/>
          </p:nvSpPr>
          <p:spPr bwMode="auto">
            <a:xfrm>
              <a:off x="-940321" y="2578894"/>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491" name="Line 199">
              <a:extLst>
                <a:ext uri="{FF2B5EF4-FFF2-40B4-BE49-F238E27FC236}">
                  <a16:creationId xmlns:a16="http://schemas.microsoft.com/office/drawing/2014/main" id="{4D03B84D-A599-4973-9FCC-267145DC828E}"/>
                </a:ext>
              </a:extLst>
            </p:cNvPr>
            <p:cNvSpPr>
              <a:spLocks noChangeShapeType="1"/>
            </p:cNvSpPr>
            <p:nvPr/>
          </p:nvSpPr>
          <p:spPr bwMode="auto">
            <a:xfrm>
              <a:off x="-940321" y="2648744"/>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492" name="Line 200">
              <a:extLst>
                <a:ext uri="{FF2B5EF4-FFF2-40B4-BE49-F238E27FC236}">
                  <a16:creationId xmlns:a16="http://schemas.microsoft.com/office/drawing/2014/main" id="{F53BDFC8-7CC2-4AAE-9E02-AD1329F7983F}"/>
                </a:ext>
              </a:extLst>
            </p:cNvPr>
            <p:cNvSpPr>
              <a:spLocks noChangeShapeType="1"/>
            </p:cNvSpPr>
            <p:nvPr/>
          </p:nvSpPr>
          <p:spPr bwMode="auto">
            <a:xfrm>
              <a:off x="-940321" y="2718594"/>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05" name="Freeform 213">
              <a:extLst>
                <a:ext uri="{FF2B5EF4-FFF2-40B4-BE49-F238E27FC236}">
                  <a16:creationId xmlns:a16="http://schemas.microsoft.com/office/drawing/2014/main" id="{7E715E58-BC10-4032-A969-6FA02A37C0AE}"/>
                </a:ext>
              </a:extLst>
            </p:cNvPr>
            <p:cNvSpPr>
              <a:spLocks/>
            </p:cNvSpPr>
            <p:nvPr/>
          </p:nvSpPr>
          <p:spPr bwMode="auto">
            <a:xfrm>
              <a:off x="-1268934" y="2369344"/>
              <a:ext cx="236538"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06" name="Line 214">
              <a:extLst>
                <a:ext uri="{FF2B5EF4-FFF2-40B4-BE49-F238E27FC236}">
                  <a16:creationId xmlns:a16="http://schemas.microsoft.com/office/drawing/2014/main" id="{8A7B6510-CB46-4576-9C94-117957D9E46C}"/>
                </a:ext>
              </a:extLst>
            </p:cNvPr>
            <p:cNvSpPr>
              <a:spLocks noChangeShapeType="1"/>
            </p:cNvSpPr>
            <p:nvPr/>
          </p:nvSpPr>
          <p:spPr bwMode="auto">
            <a:xfrm>
              <a:off x="-1210196" y="2439194"/>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07" name="Line 215">
              <a:extLst>
                <a:ext uri="{FF2B5EF4-FFF2-40B4-BE49-F238E27FC236}">
                  <a16:creationId xmlns:a16="http://schemas.microsoft.com/office/drawing/2014/main" id="{573FA148-5A1B-444B-A0D6-EBD94D4D485C}"/>
                </a:ext>
              </a:extLst>
            </p:cNvPr>
            <p:cNvSpPr>
              <a:spLocks noChangeShapeType="1"/>
            </p:cNvSpPr>
            <p:nvPr/>
          </p:nvSpPr>
          <p:spPr bwMode="auto">
            <a:xfrm>
              <a:off x="-1210196" y="2507456"/>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08" name="Line 216">
              <a:extLst>
                <a:ext uri="{FF2B5EF4-FFF2-40B4-BE49-F238E27FC236}">
                  <a16:creationId xmlns:a16="http://schemas.microsoft.com/office/drawing/2014/main" id="{A023BF13-5F71-4581-96C5-06879AA51BA9}"/>
                </a:ext>
              </a:extLst>
            </p:cNvPr>
            <p:cNvSpPr>
              <a:spLocks noChangeShapeType="1"/>
            </p:cNvSpPr>
            <p:nvPr/>
          </p:nvSpPr>
          <p:spPr bwMode="auto">
            <a:xfrm>
              <a:off x="-1210196" y="2578894"/>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09" name="Line 217">
              <a:extLst>
                <a:ext uri="{FF2B5EF4-FFF2-40B4-BE49-F238E27FC236}">
                  <a16:creationId xmlns:a16="http://schemas.microsoft.com/office/drawing/2014/main" id="{F1ABE5C2-C299-41FD-807E-17124B21DA82}"/>
                </a:ext>
              </a:extLst>
            </p:cNvPr>
            <p:cNvSpPr>
              <a:spLocks noChangeShapeType="1"/>
            </p:cNvSpPr>
            <p:nvPr/>
          </p:nvSpPr>
          <p:spPr bwMode="auto">
            <a:xfrm>
              <a:off x="-1210196" y="2648744"/>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10" name="Line 218">
              <a:extLst>
                <a:ext uri="{FF2B5EF4-FFF2-40B4-BE49-F238E27FC236}">
                  <a16:creationId xmlns:a16="http://schemas.microsoft.com/office/drawing/2014/main" id="{68D884C8-5AB0-4F56-87D9-DF790EBA476C}"/>
                </a:ext>
              </a:extLst>
            </p:cNvPr>
            <p:cNvSpPr>
              <a:spLocks noChangeShapeType="1"/>
            </p:cNvSpPr>
            <p:nvPr/>
          </p:nvSpPr>
          <p:spPr bwMode="auto">
            <a:xfrm>
              <a:off x="-1210196" y="2718594"/>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540" name="Group 539">
            <a:extLst>
              <a:ext uri="{FF2B5EF4-FFF2-40B4-BE49-F238E27FC236}">
                <a16:creationId xmlns:a16="http://schemas.microsoft.com/office/drawing/2014/main" id="{F52E99DD-8F82-48AB-8A64-BF9D06EBE3CD}"/>
              </a:ext>
            </a:extLst>
          </p:cNvPr>
          <p:cNvGrpSpPr/>
          <p:nvPr/>
        </p:nvGrpSpPr>
        <p:grpSpPr>
          <a:xfrm>
            <a:off x="4388824" y="1262591"/>
            <a:ext cx="350285" cy="363009"/>
            <a:chOff x="4388824" y="1262591"/>
            <a:chExt cx="350285" cy="363009"/>
          </a:xfrm>
        </p:grpSpPr>
        <p:sp>
          <p:nvSpPr>
            <p:cNvPr id="516" name="Freeform 597">
              <a:extLst>
                <a:ext uri="{FF2B5EF4-FFF2-40B4-BE49-F238E27FC236}">
                  <a16:creationId xmlns:a16="http://schemas.microsoft.com/office/drawing/2014/main" id="{768E98AD-53C0-4C67-AE81-45DA16A88B7D}"/>
                </a:ext>
              </a:extLst>
            </p:cNvPr>
            <p:cNvSpPr>
              <a:spLocks noEditPoints="1"/>
            </p:cNvSpPr>
            <p:nvPr/>
          </p:nvSpPr>
          <p:spPr bwMode="auto">
            <a:xfrm>
              <a:off x="4388824" y="1262591"/>
              <a:ext cx="166161" cy="363009"/>
            </a:xfrm>
            <a:custGeom>
              <a:avLst/>
              <a:gdLst>
                <a:gd name="T0" fmla="*/ 69 w 94"/>
                <a:gd name="T1" fmla="*/ 0 h 205"/>
                <a:gd name="T2" fmla="*/ 47 w 94"/>
                <a:gd name="T3" fmla="*/ 11 h 205"/>
                <a:gd name="T4" fmla="*/ 22 w 94"/>
                <a:gd name="T5" fmla="*/ 38 h 205"/>
                <a:gd name="T6" fmla="*/ 10 w 94"/>
                <a:gd name="T7" fmla="*/ 67 h 205"/>
                <a:gd name="T8" fmla="*/ 0 w 94"/>
                <a:gd name="T9" fmla="*/ 90 h 205"/>
                <a:gd name="T10" fmla="*/ 0 w 94"/>
                <a:gd name="T11" fmla="*/ 91 h 205"/>
                <a:gd name="T12" fmla="*/ 2 w 94"/>
                <a:gd name="T13" fmla="*/ 99 h 205"/>
                <a:gd name="T14" fmla="*/ 4 w 94"/>
                <a:gd name="T15" fmla="*/ 105 h 205"/>
                <a:gd name="T16" fmla="*/ 7 w 94"/>
                <a:gd name="T17" fmla="*/ 137 h 205"/>
                <a:gd name="T18" fmla="*/ 21 w 94"/>
                <a:gd name="T19" fmla="*/ 171 h 205"/>
                <a:gd name="T20" fmla="*/ 23 w 94"/>
                <a:gd name="T21" fmla="*/ 179 h 205"/>
                <a:gd name="T22" fmla="*/ 53 w 94"/>
                <a:gd name="T23" fmla="*/ 194 h 205"/>
                <a:gd name="T24" fmla="*/ 88 w 94"/>
                <a:gd name="T25" fmla="*/ 199 h 205"/>
                <a:gd name="T26" fmla="*/ 94 w 94"/>
                <a:gd name="T27" fmla="*/ 27 h 205"/>
                <a:gd name="T28" fmla="*/ 70 w 94"/>
                <a:gd name="T29" fmla="*/ 48 h 205"/>
                <a:gd name="T30" fmla="*/ 86 w 94"/>
                <a:gd name="T31" fmla="*/ 53 h 205"/>
                <a:gd name="T32" fmla="*/ 47 w 94"/>
                <a:gd name="T33" fmla="*/ 103 h 205"/>
                <a:gd name="T34" fmla="*/ 29 w 94"/>
                <a:gd name="T35" fmla="*/ 84 h 205"/>
                <a:gd name="T36" fmla="*/ 46 w 94"/>
                <a:gd name="T37" fmla="*/ 112 h 205"/>
                <a:gd name="T38" fmla="*/ 86 w 94"/>
                <a:gd name="T39" fmla="*/ 137 h 205"/>
                <a:gd name="T40" fmla="*/ 39 w 94"/>
                <a:gd name="T41" fmla="*/ 160 h 205"/>
                <a:gd name="T42" fmla="*/ 48 w 94"/>
                <a:gd name="T43" fmla="*/ 160 h 205"/>
                <a:gd name="T44" fmla="*/ 86 w 94"/>
                <a:gd name="T45" fmla="*/ 146 h 205"/>
                <a:gd name="T46" fmla="*/ 74 w 94"/>
                <a:gd name="T47" fmla="*/ 197 h 205"/>
                <a:gd name="T48" fmla="*/ 72 w 94"/>
                <a:gd name="T49" fmla="*/ 169 h 205"/>
                <a:gd name="T50" fmla="*/ 64 w 94"/>
                <a:gd name="T51" fmla="*/ 157 h 205"/>
                <a:gd name="T52" fmla="*/ 62 w 94"/>
                <a:gd name="T53" fmla="*/ 162 h 205"/>
                <a:gd name="T54" fmla="*/ 54 w 94"/>
                <a:gd name="T55" fmla="*/ 184 h 205"/>
                <a:gd name="T56" fmla="*/ 46 w 94"/>
                <a:gd name="T57" fmla="*/ 185 h 205"/>
                <a:gd name="T58" fmla="*/ 30 w 94"/>
                <a:gd name="T59" fmla="*/ 168 h 205"/>
                <a:gd name="T60" fmla="*/ 13 w 94"/>
                <a:gd name="T61" fmla="*/ 147 h 205"/>
                <a:gd name="T62" fmla="*/ 15 w 94"/>
                <a:gd name="T63" fmla="*/ 132 h 205"/>
                <a:gd name="T64" fmla="*/ 13 w 94"/>
                <a:gd name="T65" fmla="*/ 108 h 205"/>
                <a:gd name="T66" fmla="*/ 8 w 94"/>
                <a:gd name="T67" fmla="*/ 89 h 205"/>
                <a:gd name="T68" fmla="*/ 48 w 94"/>
                <a:gd name="T69" fmla="*/ 88 h 205"/>
                <a:gd name="T70" fmla="*/ 56 w 94"/>
                <a:gd name="T71" fmla="*/ 91 h 205"/>
                <a:gd name="T72" fmla="*/ 28 w 94"/>
                <a:gd name="T73" fmla="*/ 61 h 205"/>
                <a:gd name="T74" fmla="*/ 17 w 94"/>
                <a:gd name="T75" fmla="*/ 59 h 205"/>
                <a:gd name="T76" fmla="*/ 31 w 94"/>
                <a:gd name="T77" fmla="*/ 40 h 205"/>
                <a:gd name="T78" fmla="*/ 31 w 94"/>
                <a:gd name="T79" fmla="*/ 34 h 205"/>
                <a:gd name="T80" fmla="*/ 47 w 94"/>
                <a:gd name="T81" fmla="*/ 20 h 205"/>
                <a:gd name="T82" fmla="*/ 68 w 94"/>
                <a:gd name="T83" fmla="*/ 31 h 205"/>
                <a:gd name="T84" fmla="*/ 57 w 94"/>
                <a:gd name="T85" fmla="*/ 13 h 205"/>
                <a:gd name="T86" fmla="*/ 86 w 94"/>
                <a:gd name="T87" fmla="*/ 27 h 205"/>
                <a:gd name="T88" fmla="*/ 75 w 94"/>
                <a:gd name="T89" fmla="*/ 4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205">
                  <a:moveTo>
                    <a:pt x="87" y="7"/>
                  </a:moveTo>
                  <a:cubicBezTo>
                    <a:pt x="82" y="2"/>
                    <a:pt x="76" y="0"/>
                    <a:pt x="69" y="0"/>
                  </a:cubicBezTo>
                  <a:cubicBezTo>
                    <a:pt x="60" y="0"/>
                    <a:pt x="52" y="4"/>
                    <a:pt x="47" y="11"/>
                  </a:cubicBezTo>
                  <a:cubicBezTo>
                    <a:pt x="47" y="11"/>
                    <a:pt x="47" y="11"/>
                    <a:pt x="47" y="11"/>
                  </a:cubicBezTo>
                  <a:cubicBezTo>
                    <a:pt x="33" y="11"/>
                    <a:pt x="22" y="22"/>
                    <a:pt x="22" y="36"/>
                  </a:cubicBezTo>
                  <a:cubicBezTo>
                    <a:pt x="22" y="37"/>
                    <a:pt x="22" y="37"/>
                    <a:pt x="22" y="38"/>
                  </a:cubicBezTo>
                  <a:cubicBezTo>
                    <a:pt x="14" y="41"/>
                    <a:pt x="8" y="50"/>
                    <a:pt x="8" y="59"/>
                  </a:cubicBezTo>
                  <a:cubicBezTo>
                    <a:pt x="8" y="62"/>
                    <a:pt x="9" y="64"/>
                    <a:pt x="10" y="67"/>
                  </a:cubicBezTo>
                  <a:cubicBezTo>
                    <a:pt x="3" y="73"/>
                    <a:pt x="0" y="81"/>
                    <a:pt x="0" y="89"/>
                  </a:cubicBezTo>
                  <a:cubicBezTo>
                    <a:pt x="0" y="90"/>
                    <a:pt x="0" y="90"/>
                    <a:pt x="0" y="90"/>
                  </a:cubicBezTo>
                  <a:cubicBezTo>
                    <a:pt x="0" y="90"/>
                    <a:pt x="0" y="90"/>
                    <a:pt x="0" y="90"/>
                  </a:cubicBezTo>
                  <a:cubicBezTo>
                    <a:pt x="0" y="91"/>
                    <a:pt x="0" y="91"/>
                    <a:pt x="0" y="91"/>
                  </a:cubicBezTo>
                  <a:cubicBezTo>
                    <a:pt x="0" y="91"/>
                    <a:pt x="0" y="91"/>
                    <a:pt x="0" y="91"/>
                  </a:cubicBezTo>
                  <a:cubicBezTo>
                    <a:pt x="0" y="94"/>
                    <a:pt x="1" y="97"/>
                    <a:pt x="2" y="99"/>
                  </a:cubicBezTo>
                  <a:cubicBezTo>
                    <a:pt x="2" y="100"/>
                    <a:pt x="2" y="100"/>
                    <a:pt x="2" y="100"/>
                  </a:cubicBezTo>
                  <a:cubicBezTo>
                    <a:pt x="3" y="102"/>
                    <a:pt x="3" y="103"/>
                    <a:pt x="4" y="105"/>
                  </a:cubicBezTo>
                  <a:cubicBezTo>
                    <a:pt x="1" y="109"/>
                    <a:pt x="0" y="114"/>
                    <a:pt x="0" y="120"/>
                  </a:cubicBezTo>
                  <a:cubicBezTo>
                    <a:pt x="0" y="126"/>
                    <a:pt x="2" y="132"/>
                    <a:pt x="7" y="137"/>
                  </a:cubicBezTo>
                  <a:cubicBezTo>
                    <a:pt x="5" y="140"/>
                    <a:pt x="5" y="143"/>
                    <a:pt x="5" y="147"/>
                  </a:cubicBezTo>
                  <a:cubicBezTo>
                    <a:pt x="5" y="157"/>
                    <a:pt x="11" y="167"/>
                    <a:pt x="21" y="171"/>
                  </a:cubicBezTo>
                  <a:cubicBezTo>
                    <a:pt x="21" y="174"/>
                    <a:pt x="22" y="176"/>
                    <a:pt x="23" y="178"/>
                  </a:cubicBezTo>
                  <a:cubicBezTo>
                    <a:pt x="23" y="179"/>
                    <a:pt x="23" y="179"/>
                    <a:pt x="23" y="179"/>
                  </a:cubicBezTo>
                  <a:cubicBezTo>
                    <a:pt x="27" y="188"/>
                    <a:pt x="36" y="194"/>
                    <a:pt x="46" y="194"/>
                  </a:cubicBezTo>
                  <a:cubicBezTo>
                    <a:pt x="48" y="194"/>
                    <a:pt x="51" y="194"/>
                    <a:pt x="53" y="194"/>
                  </a:cubicBezTo>
                  <a:cubicBezTo>
                    <a:pt x="58" y="201"/>
                    <a:pt x="65" y="205"/>
                    <a:pt x="74" y="205"/>
                  </a:cubicBezTo>
                  <a:cubicBezTo>
                    <a:pt x="80" y="205"/>
                    <a:pt x="84" y="203"/>
                    <a:pt x="88" y="199"/>
                  </a:cubicBezTo>
                  <a:cubicBezTo>
                    <a:pt x="93" y="195"/>
                    <a:pt x="94" y="189"/>
                    <a:pt x="94" y="183"/>
                  </a:cubicBezTo>
                  <a:cubicBezTo>
                    <a:pt x="94" y="27"/>
                    <a:pt x="94" y="27"/>
                    <a:pt x="94" y="27"/>
                  </a:cubicBezTo>
                  <a:cubicBezTo>
                    <a:pt x="94" y="19"/>
                    <a:pt x="92" y="12"/>
                    <a:pt x="87" y="7"/>
                  </a:cubicBezTo>
                  <a:close/>
                  <a:moveTo>
                    <a:pt x="70" y="48"/>
                  </a:moveTo>
                  <a:cubicBezTo>
                    <a:pt x="70" y="51"/>
                    <a:pt x="72" y="53"/>
                    <a:pt x="75" y="53"/>
                  </a:cubicBezTo>
                  <a:cubicBezTo>
                    <a:pt x="86" y="53"/>
                    <a:pt x="86" y="53"/>
                    <a:pt x="86" y="53"/>
                  </a:cubicBezTo>
                  <a:cubicBezTo>
                    <a:pt x="86" y="103"/>
                    <a:pt x="86" y="103"/>
                    <a:pt x="86" y="103"/>
                  </a:cubicBezTo>
                  <a:cubicBezTo>
                    <a:pt x="86" y="103"/>
                    <a:pt x="55" y="103"/>
                    <a:pt x="47" y="103"/>
                  </a:cubicBezTo>
                  <a:cubicBezTo>
                    <a:pt x="40" y="103"/>
                    <a:pt x="33" y="97"/>
                    <a:pt x="33" y="89"/>
                  </a:cubicBezTo>
                  <a:cubicBezTo>
                    <a:pt x="33" y="86"/>
                    <a:pt x="31" y="84"/>
                    <a:pt x="29" y="84"/>
                  </a:cubicBezTo>
                  <a:cubicBezTo>
                    <a:pt x="26" y="84"/>
                    <a:pt x="25" y="86"/>
                    <a:pt x="25" y="89"/>
                  </a:cubicBezTo>
                  <a:cubicBezTo>
                    <a:pt x="25" y="101"/>
                    <a:pt x="35" y="112"/>
                    <a:pt x="46" y="112"/>
                  </a:cubicBezTo>
                  <a:cubicBezTo>
                    <a:pt x="58" y="112"/>
                    <a:pt x="86" y="113"/>
                    <a:pt x="86" y="113"/>
                  </a:cubicBezTo>
                  <a:cubicBezTo>
                    <a:pt x="86" y="137"/>
                    <a:pt x="86" y="137"/>
                    <a:pt x="86" y="137"/>
                  </a:cubicBezTo>
                  <a:cubicBezTo>
                    <a:pt x="86" y="137"/>
                    <a:pt x="75" y="137"/>
                    <a:pt x="62" y="137"/>
                  </a:cubicBezTo>
                  <a:cubicBezTo>
                    <a:pt x="49" y="137"/>
                    <a:pt x="39" y="147"/>
                    <a:pt x="39" y="160"/>
                  </a:cubicBezTo>
                  <a:cubicBezTo>
                    <a:pt x="39" y="162"/>
                    <a:pt x="41" y="164"/>
                    <a:pt x="44" y="164"/>
                  </a:cubicBezTo>
                  <a:cubicBezTo>
                    <a:pt x="46" y="164"/>
                    <a:pt x="48" y="162"/>
                    <a:pt x="48" y="160"/>
                  </a:cubicBezTo>
                  <a:cubicBezTo>
                    <a:pt x="48" y="152"/>
                    <a:pt x="54" y="146"/>
                    <a:pt x="62" y="146"/>
                  </a:cubicBezTo>
                  <a:cubicBezTo>
                    <a:pt x="70" y="146"/>
                    <a:pt x="86" y="146"/>
                    <a:pt x="86" y="146"/>
                  </a:cubicBezTo>
                  <a:cubicBezTo>
                    <a:pt x="86" y="183"/>
                    <a:pt x="86" y="183"/>
                    <a:pt x="86" y="183"/>
                  </a:cubicBezTo>
                  <a:cubicBezTo>
                    <a:pt x="86" y="191"/>
                    <a:pt x="80" y="197"/>
                    <a:pt x="74" y="197"/>
                  </a:cubicBezTo>
                  <a:cubicBezTo>
                    <a:pt x="68" y="197"/>
                    <a:pt x="64" y="194"/>
                    <a:pt x="60" y="190"/>
                  </a:cubicBezTo>
                  <a:cubicBezTo>
                    <a:pt x="67" y="185"/>
                    <a:pt x="72" y="177"/>
                    <a:pt x="72" y="169"/>
                  </a:cubicBezTo>
                  <a:cubicBezTo>
                    <a:pt x="72" y="165"/>
                    <a:pt x="71" y="162"/>
                    <a:pt x="70" y="159"/>
                  </a:cubicBezTo>
                  <a:cubicBezTo>
                    <a:pt x="69" y="157"/>
                    <a:pt x="66" y="156"/>
                    <a:pt x="64" y="157"/>
                  </a:cubicBezTo>
                  <a:cubicBezTo>
                    <a:pt x="63" y="157"/>
                    <a:pt x="62" y="158"/>
                    <a:pt x="62" y="159"/>
                  </a:cubicBezTo>
                  <a:cubicBezTo>
                    <a:pt x="61" y="160"/>
                    <a:pt x="61" y="161"/>
                    <a:pt x="62" y="162"/>
                  </a:cubicBezTo>
                  <a:cubicBezTo>
                    <a:pt x="63" y="164"/>
                    <a:pt x="63" y="167"/>
                    <a:pt x="63" y="169"/>
                  </a:cubicBezTo>
                  <a:cubicBezTo>
                    <a:pt x="63" y="175"/>
                    <a:pt x="59" y="181"/>
                    <a:pt x="54" y="184"/>
                  </a:cubicBezTo>
                  <a:cubicBezTo>
                    <a:pt x="53" y="184"/>
                    <a:pt x="53" y="184"/>
                    <a:pt x="53" y="184"/>
                  </a:cubicBezTo>
                  <a:cubicBezTo>
                    <a:pt x="51" y="185"/>
                    <a:pt x="49" y="185"/>
                    <a:pt x="46" y="185"/>
                  </a:cubicBezTo>
                  <a:cubicBezTo>
                    <a:pt x="37" y="185"/>
                    <a:pt x="30" y="178"/>
                    <a:pt x="30" y="169"/>
                  </a:cubicBezTo>
                  <a:cubicBezTo>
                    <a:pt x="30" y="168"/>
                    <a:pt x="30" y="168"/>
                    <a:pt x="30" y="168"/>
                  </a:cubicBezTo>
                  <a:cubicBezTo>
                    <a:pt x="30" y="166"/>
                    <a:pt x="28" y="164"/>
                    <a:pt x="26" y="164"/>
                  </a:cubicBezTo>
                  <a:cubicBezTo>
                    <a:pt x="19" y="162"/>
                    <a:pt x="13" y="154"/>
                    <a:pt x="13" y="147"/>
                  </a:cubicBezTo>
                  <a:cubicBezTo>
                    <a:pt x="13" y="144"/>
                    <a:pt x="14" y="141"/>
                    <a:pt x="16" y="138"/>
                  </a:cubicBezTo>
                  <a:cubicBezTo>
                    <a:pt x="17" y="136"/>
                    <a:pt x="16" y="134"/>
                    <a:pt x="15" y="132"/>
                  </a:cubicBezTo>
                  <a:cubicBezTo>
                    <a:pt x="11" y="129"/>
                    <a:pt x="8" y="125"/>
                    <a:pt x="8" y="120"/>
                  </a:cubicBezTo>
                  <a:cubicBezTo>
                    <a:pt x="8" y="115"/>
                    <a:pt x="10" y="111"/>
                    <a:pt x="13" y="108"/>
                  </a:cubicBezTo>
                  <a:cubicBezTo>
                    <a:pt x="15" y="106"/>
                    <a:pt x="15" y="104"/>
                    <a:pt x="13" y="102"/>
                  </a:cubicBezTo>
                  <a:cubicBezTo>
                    <a:pt x="10" y="99"/>
                    <a:pt x="8" y="94"/>
                    <a:pt x="8" y="89"/>
                  </a:cubicBezTo>
                  <a:cubicBezTo>
                    <a:pt x="8" y="78"/>
                    <a:pt x="17" y="69"/>
                    <a:pt x="28" y="69"/>
                  </a:cubicBezTo>
                  <a:cubicBezTo>
                    <a:pt x="39" y="69"/>
                    <a:pt x="48" y="78"/>
                    <a:pt x="48" y="88"/>
                  </a:cubicBezTo>
                  <a:cubicBezTo>
                    <a:pt x="49" y="91"/>
                    <a:pt x="51" y="92"/>
                    <a:pt x="53" y="92"/>
                  </a:cubicBezTo>
                  <a:cubicBezTo>
                    <a:pt x="54" y="92"/>
                    <a:pt x="55" y="92"/>
                    <a:pt x="56" y="91"/>
                  </a:cubicBezTo>
                  <a:cubicBezTo>
                    <a:pt x="57" y="90"/>
                    <a:pt x="57" y="89"/>
                    <a:pt x="57" y="88"/>
                  </a:cubicBezTo>
                  <a:cubicBezTo>
                    <a:pt x="56" y="72"/>
                    <a:pt x="44" y="61"/>
                    <a:pt x="28" y="61"/>
                  </a:cubicBezTo>
                  <a:cubicBezTo>
                    <a:pt x="25" y="61"/>
                    <a:pt x="21" y="61"/>
                    <a:pt x="18" y="63"/>
                  </a:cubicBezTo>
                  <a:cubicBezTo>
                    <a:pt x="17" y="61"/>
                    <a:pt x="17" y="60"/>
                    <a:pt x="17" y="59"/>
                  </a:cubicBezTo>
                  <a:cubicBezTo>
                    <a:pt x="17" y="52"/>
                    <a:pt x="21" y="47"/>
                    <a:pt x="28" y="45"/>
                  </a:cubicBezTo>
                  <a:cubicBezTo>
                    <a:pt x="30" y="44"/>
                    <a:pt x="31" y="42"/>
                    <a:pt x="31" y="40"/>
                  </a:cubicBezTo>
                  <a:cubicBezTo>
                    <a:pt x="31" y="39"/>
                    <a:pt x="30" y="38"/>
                    <a:pt x="30" y="36"/>
                  </a:cubicBezTo>
                  <a:cubicBezTo>
                    <a:pt x="30" y="36"/>
                    <a:pt x="31" y="35"/>
                    <a:pt x="31" y="34"/>
                  </a:cubicBezTo>
                  <a:cubicBezTo>
                    <a:pt x="31" y="34"/>
                    <a:pt x="31" y="34"/>
                    <a:pt x="31" y="34"/>
                  </a:cubicBezTo>
                  <a:cubicBezTo>
                    <a:pt x="32" y="26"/>
                    <a:pt x="39" y="20"/>
                    <a:pt x="47" y="20"/>
                  </a:cubicBezTo>
                  <a:cubicBezTo>
                    <a:pt x="53" y="20"/>
                    <a:pt x="59" y="23"/>
                    <a:pt x="62" y="29"/>
                  </a:cubicBezTo>
                  <a:cubicBezTo>
                    <a:pt x="63" y="31"/>
                    <a:pt x="66" y="32"/>
                    <a:pt x="68" y="31"/>
                  </a:cubicBezTo>
                  <a:cubicBezTo>
                    <a:pt x="70" y="30"/>
                    <a:pt x="71" y="27"/>
                    <a:pt x="70" y="25"/>
                  </a:cubicBezTo>
                  <a:cubicBezTo>
                    <a:pt x="67" y="20"/>
                    <a:pt x="62" y="15"/>
                    <a:pt x="57" y="13"/>
                  </a:cubicBezTo>
                  <a:cubicBezTo>
                    <a:pt x="60" y="10"/>
                    <a:pt x="64" y="8"/>
                    <a:pt x="69" y="8"/>
                  </a:cubicBezTo>
                  <a:cubicBezTo>
                    <a:pt x="79" y="8"/>
                    <a:pt x="86" y="16"/>
                    <a:pt x="86" y="27"/>
                  </a:cubicBezTo>
                  <a:cubicBezTo>
                    <a:pt x="86" y="44"/>
                    <a:pt x="86" y="44"/>
                    <a:pt x="86" y="44"/>
                  </a:cubicBezTo>
                  <a:cubicBezTo>
                    <a:pt x="75" y="44"/>
                    <a:pt x="75" y="44"/>
                    <a:pt x="75" y="44"/>
                  </a:cubicBezTo>
                  <a:cubicBezTo>
                    <a:pt x="72" y="44"/>
                    <a:pt x="70" y="46"/>
                    <a:pt x="70" y="4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17" name="Freeform 598">
              <a:extLst>
                <a:ext uri="{FF2B5EF4-FFF2-40B4-BE49-F238E27FC236}">
                  <a16:creationId xmlns:a16="http://schemas.microsoft.com/office/drawing/2014/main" id="{9721B173-EB36-4755-9BAB-128F40C61D88}"/>
                </a:ext>
              </a:extLst>
            </p:cNvPr>
            <p:cNvSpPr>
              <a:spLocks/>
            </p:cNvSpPr>
            <p:nvPr/>
          </p:nvSpPr>
          <p:spPr bwMode="auto">
            <a:xfrm>
              <a:off x="4500347" y="1365132"/>
              <a:ext cx="35178" cy="54639"/>
            </a:xfrm>
            <a:custGeom>
              <a:avLst/>
              <a:gdLst>
                <a:gd name="T0" fmla="*/ 0 w 20"/>
                <a:gd name="T1" fmla="*/ 5 h 31"/>
                <a:gd name="T2" fmla="*/ 4 w 20"/>
                <a:gd name="T3" fmla="*/ 9 h 31"/>
                <a:gd name="T4" fmla="*/ 11 w 20"/>
                <a:gd name="T5" fmla="*/ 16 h 31"/>
                <a:gd name="T6" fmla="*/ 4 w 20"/>
                <a:gd name="T7" fmla="*/ 22 h 31"/>
                <a:gd name="T8" fmla="*/ 0 w 20"/>
                <a:gd name="T9" fmla="*/ 27 h 31"/>
                <a:gd name="T10" fmla="*/ 4 w 20"/>
                <a:gd name="T11" fmla="*/ 31 h 31"/>
                <a:gd name="T12" fmla="*/ 20 w 20"/>
                <a:gd name="T13" fmla="*/ 16 h 31"/>
                <a:gd name="T14" fmla="*/ 4 w 20"/>
                <a:gd name="T15" fmla="*/ 0 h 31"/>
                <a:gd name="T16" fmla="*/ 0 w 20"/>
                <a:gd name="T1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1">
                  <a:moveTo>
                    <a:pt x="0" y="5"/>
                  </a:moveTo>
                  <a:cubicBezTo>
                    <a:pt x="0" y="7"/>
                    <a:pt x="2" y="9"/>
                    <a:pt x="4" y="9"/>
                  </a:cubicBezTo>
                  <a:cubicBezTo>
                    <a:pt x="8" y="9"/>
                    <a:pt x="11" y="12"/>
                    <a:pt x="11" y="16"/>
                  </a:cubicBezTo>
                  <a:cubicBezTo>
                    <a:pt x="11" y="19"/>
                    <a:pt x="8" y="22"/>
                    <a:pt x="4" y="22"/>
                  </a:cubicBezTo>
                  <a:cubicBezTo>
                    <a:pt x="2" y="22"/>
                    <a:pt x="0" y="24"/>
                    <a:pt x="0" y="27"/>
                  </a:cubicBezTo>
                  <a:cubicBezTo>
                    <a:pt x="0" y="29"/>
                    <a:pt x="2" y="31"/>
                    <a:pt x="4" y="31"/>
                  </a:cubicBezTo>
                  <a:cubicBezTo>
                    <a:pt x="13" y="31"/>
                    <a:pt x="20" y="24"/>
                    <a:pt x="20" y="16"/>
                  </a:cubicBezTo>
                  <a:cubicBezTo>
                    <a:pt x="20" y="7"/>
                    <a:pt x="13" y="0"/>
                    <a:pt x="4" y="0"/>
                  </a:cubicBezTo>
                  <a:cubicBezTo>
                    <a:pt x="2" y="0"/>
                    <a:pt x="0" y="2"/>
                    <a:pt x="0" y="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18" name="Freeform 599">
              <a:extLst>
                <a:ext uri="{FF2B5EF4-FFF2-40B4-BE49-F238E27FC236}">
                  <a16:creationId xmlns:a16="http://schemas.microsoft.com/office/drawing/2014/main" id="{04CDA075-6D54-4471-85ED-4B44B2739786}"/>
                </a:ext>
              </a:extLst>
            </p:cNvPr>
            <p:cNvSpPr>
              <a:spLocks/>
            </p:cNvSpPr>
            <p:nvPr/>
          </p:nvSpPr>
          <p:spPr bwMode="auto">
            <a:xfrm>
              <a:off x="4466665" y="1315733"/>
              <a:ext cx="35178" cy="37423"/>
            </a:xfrm>
            <a:custGeom>
              <a:avLst/>
              <a:gdLst>
                <a:gd name="T0" fmla="*/ 20 w 20"/>
                <a:gd name="T1" fmla="*/ 17 h 21"/>
                <a:gd name="T2" fmla="*/ 16 w 20"/>
                <a:gd name="T3" fmla="*/ 12 h 21"/>
                <a:gd name="T4" fmla="*/ 8 w 20"/>
                <a:gd name="T5" fmla="*/ 5 h 21"/>
                <a:gd name="T6" fmla="*/ 4 w 20"/>
                <a:gd name="T7" fmla="*/ 0 h 21"/>
                <a:gd name="T8" fmla="*/ 0 w 20"/>
                <a:gd name="T9" fmla="*/ 5 h 21"/>
                <a:gd name="T10" fmla="*/ 16 w 20"/>
                <a:gd name="T11" fmla="*/ 21 h 21"/>
                <a:gd name="T12" fmla="*/ 20 w 20"/>
                <a:gd name="T13" fmla="*/ 17 h 21"/>
              </a:gdLst>
              <a:ahLst/>
              <a:cxnLst>
                <a:cxn ang="0">
                  <a:pos x="T0" y="T1"/>
                </a:cxn>
                <a:cxn ang="0">
                  <a:pos x="T2" y="T3"/>
                </a:cxn>
                <a:cxn ang="0">
                  <a:pos x="T4" y="T5"/>
                </a:cxn>
                <a:cxn ang="0">
                  <a:pos x="T6" y="T7"/>
                </a:cxn>
                <a:cxn ang="0">
                  <a:pos x="T8" y="T9"/>
                </a:cxn>
                <a:cxn ang="0">
                  <a:pos x="T10" y="T11"/>
                </a:cxn>
                <a:cxn ang="0">
                  <a:pos x="T12" y="T13"/>
                </a:cxn>
              </a:cxnLst>
              <a:rect l="0" t="0" r="r" b="b"/>
              <a:pathLst>
                <a:path w="20" h="21">
                  <a:moveTo>
                    <a:pt x="20" y="17"/>
                  </a:moveTo>
                  <a:cubicBezTo>
                    <a:pt x="20" y="14"/>
                    <a:pt x="18" y="12"/>
                    <a:pt x="16" y="12"/>
                  </a:cubicBezTo>
                  <a:cubicBezTo>
                    <a:pt x="12" y="12"/>
                    <a:pt x="8" y="9"/>
                    <a:pt x="8" y="5"/>
                  </a:cubicBezTo>
                  <a:cubicBezTo>
                    <a:pt x="8" y="2"/>
                    <a:pt x="6" y="0"/>
                    <a:pt x="4" y="0"/>
                  </a:cubicBezTo>
                  <a:cubicBezTo>
                    <a:pt x="2" y="0"/>
                    <a:pt x="0" y="2"/>
                    <a:pt x="0" y="5"/>
                  </a:cubicBezTo>
                  <a:cubicBezTo>
                    <a:pt x="0" y="14"/>
                    <a:pt x="7" y="21"/>
                    <a:pt x="16" y="21"/>
                  </a:cubicBezTo>
                  <a:cubicBezTo>
                    <a:pt x="18" y="21"/>
                    <a:pt x="20" y="19"/>
                    <a:pt x="20" y="1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19" name="Freeform 600">
              <a:extLst>
                <a:ext uri="{FF2B5EF4-FFF2-40B4-BE49-F238E27FC236}">
                  <a16:creationId xmlns:a16="http://schemas.microsoft.com/office/drawing/2014/main" id="{9FD31112-5CD4-44FE-AD9E-924CA4F0B547}"/>
                </a:ext>
              </a:extLst>
            </p:cNvPr>
            <p:cNvSpPr>
              <a:spLocks/>
            </p:cNvSpPr>
            <p:nvPr/>
          </p:nvSpPr>
          <p:spPr bwMode="auto">
            <a:xfrm>
              <a:off x="4432984" y="1475157"/>
              <a:ext cx="35178" cy="36676"/>
            </a:xfrm>
            <a:custGeom>
              <a:avLst/>
              <a:gdLst>
                <a:gd name="T0" fmla="*/ 4 w 20"/>
                <a:gd name="T1" fmla="*/ 21 h 21"/>
                <a:gd name="T2" fmla="*/ 8 w 20"/>
                <a:gd name="T3" fmla="*/ 16 h 21"/>
                <a:gd name="T4" fmla="*/ 16 w 20"/>
                <a:gd name="T5" fmla="*/ 9 h 21"/>
                <a:gd name="T6" fmla="*/ 20 w 20"/>
                <a:gd name="T7" fmla="*/ 4 h 21"/>
                <a:gd name="T8" fmla="*/ 16 w 20"/>
                <a:gd name="T9" fmla="*/ 0 h 21"/>
                <a:gd name="T10" fmla="*/ 0 w 20"/>
                <a:gd name="T11" fmla="*/ 16 h 21"/>
                <a:gd name="T12" fmla="*/ 4 w 20"/>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 h="21">
                  <a:moveTo>
                    <a:pt x="4" y="21"/>
                  </a:moveTo>
                  <a:cubicBezTo>
                    <a:pt x="6" y="21"/>
                    <a:pt x="8" y="19"/>
                    <a:pt x="8" y="16"/>
                  </a:cubicBezTo>
                  <a:cubicBezTo>
                    <a:pt x="8" y="12"/>
                    <a:pt x="12" y="9"/>
                    <a:pt x="16" y="9"/>
                  </a:cubicBezTo>
                  <a:cubicBezTo>
                    <a:pt x="18" y="9"/>
                    <a:pt x="20" y="7"/>
                    <a:pt x="20" y="4"/>
                  </a:cubicBezTo>
                  <a:cubicBezTo>
                    <a:pt x="20" y="2"/>
                    <a:pt x="18" y="0"/>
                    <a:pt x="16" y="0"/>
                  </a:cubicBezTo>
                  <a:cubicBezTo>
                    <a:pt x="7" y="0"/>
                    <a:pt x="0" y="7"/>
                    <a:pt x="0" y="16"/>
                  </a:cubicBezTo>
                  <a:cubicBezTo>
                    <a:pt x="0" y="19"/>
                    <a:pt x="1" y="21"/>
                    <a:pt x="4" y="2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20" name="Freeform 601">
              <a:extLst>
                <a:ext uri="{FF2B5EF4-FFF2-40B4-BE49-F238E27FC236}">
                  <a16:creationId xmlns:a16="http://schemas.microsoft.com/office/drawing/2014/main" id="{986D4F96-119F-4904-8AC8-30054DFD6D41}"/>
                </a:ext>
              </a:extLst>
            </p:cNvPr>
            <p:cNvSpPr>
              <a:spLocks/>
            </p:cNvSpPr>
            <p:nvPr/>
          </p:nvSpPr>
          <p:spPr bwMode="auto">
            <a:xfrm>
              <a:off x="4478640" y="1475157"/>
              <a:ext cx="56884" cy="17215"/>
            </a:xfrm>
            <a:custGeom>
              <a:avLst/>
              <a:gdLst>
                <a:gd name="T0" fmla="*/ 4 w 32"/>
                <a:gd name="T1" fmla="*/ 10 h 10"/>
                <a:gd name="T2" fmla="*/ 28 w 32"/>
                <a:gd name="T3" fmla="*/ 10 h 10"/>
                <a:gd name="T4" fmla="*/ 32 w 32"/>
                <a:gd name="T5" fmla="*/ 5 h 10"/>
                <a:gd name="T6" fmla="*/ 28 w 32"/>
                <a:gd name="T7" fmla="*/ 0 h 10"/>
                <a:gd name="T8" fmla="*/ 4 w 32"/>
                <a:gd name="T9" fmla="*/ 0 h 10"/>
                <a:gd name="T10" fmla="*/ 0 w 32"/>
                <a:gd name="T11" fmla="*/ 5 h 10"/>
                <a:gd name="T12" fmla="*/ 4 w 3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2" h="10">
                  <a:moveTo>
                    <a:pt x="4" y="10"/>
                  </a:moveTo>
                  <a:cubicBezTo>
                    <a:pt x="28" y="10"/>
                    <a:pt x="28" y="10"/>
                    <a:pt x="28" y="10"/>
                  </a:cubicBezTo>
                  <a:cubicBezTo>
                    <a:pt x="30" y="10"/>
                    <a:pt x="32" y="7"/>
                    <a:pt x="32" y="5"/>
                  </a:cubicBezTo>
                  <a:cubicBezTo>
                    <a:pt x="32" y="2"/>
                    <a:pt x="30" y="0"/>
                    <a:pt x="28" y="0"/>
                  </a:cubicBezTo>
                  <a:cubicBezTo>
                    <a:pt x="4" y="0"/>
                    <a:pt x="4" y="0"/>
                    <a:pt x="4" y="0"/>
                  </a:cubicBezTo>
                  <a:cubicBezTo>
                    <a:pt x="2" y="0"/>
                    <a:pt x="0" y="2"/>
                    <a:pt x="0" y="5"/>
                  </a:cubicBezTo>
                  <a:cubicBezTo>
                    <a:pt x="0" y="7"/>
                    <a:pt x="2" y="10"/>
                    <a:pt x="4" y="1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21" name="Freeform 602">
              <a:extLst>
                <a:ext uri="{FF2B5EF4-FFF2-40B4-BE49-F238E27FC236}">
                  <a16:creationId xmlns:a16="http://schemas.microsoft.com/office/drawing/2014/main" id="{2E549B91-C5F1-424B-BFAD-F416BB6CD3DC}"/>
                </a:ext>
              </a:extLst>
            </p:cNvPr>
            <p:cNvSpPr>
              <a:spLocks noEditPoints="1"/>
            </p:cNvSpPr>
            <p:nvPr/>
          </p:nvSpPr>
          <p:spPr bwMode="auto">
            <a:xfrm>
              <a:off x="4572200" y="1262591"/>
              <a:ext cx="166909" cy="363009"/>
            </a:xfrm>
            <a:custGeom>
              <a:avLst/>
              <a:gdLst>
                <a:gd name="T0" fmla="*/ 0 w 94"/>
                <a:gd name="T1" fmla="*/ 183 h 205"/>
                <a:gd name="T2" fmla="*/ 19 w 94"/>
                <a:gd name="T3" fmla="*/ 205 h 205"/>
                <a:gd name="T4" fmla="*/ 47 w 94"/>
                <a:gd name="T5" fmla="*/ 194 h 205"/>
                <a:gd name="T6" fmla="*/ 71 w 94"/>
                <a:gd name="T7" fmla="*/ 178 h 205"/>
                <a:gd name="T8" fmla="*/ 89 w 94"/>
                <a:gd name="T9" fmla="*/ 147 h 205"/>
                <a:gd name="T10" fmla="*/ 94 w 94"/>
                <a:gd name="T11" fmla="*/ 120 h 205"/>
                <a:gd name="T12" fmla="*/ 92 w 94"/>
                <a:gd name="T13" fmla="*/ 100 h 205"/>
                <a:gd name="T14" fmla="*/ 93 w 94"/>
                <a:gd name="T15" fmla="*/ 91 h 205"/>
                <a:gd name="T16" fmla="*/ 94 w 94"/>
                <a:gd name="T17" fmla="*/ 90 h 205"/>
                <a:gd name="T18" fmla="*/ 94 w 94"/>
                <a:gd name="T19" fmla="*/ 89 h 205"/>
                <a:gd name="T20" fmla="*/ 85 w 94"/>
                <a:gd name="T21" fmla="*/ 59 h 205"/>
                <a:gd name="T22" fmla="*/ 72 w 94"/>
                <a:gd name="T23" fmla="*/ 36 h 205"/>
                <a:gd name="T24" fmla="*/ 46 w 94"/>
                <a:gd name="T25" fmla="*/ 11 h 205"/>
                <a:gd name="T26" fmla="*/ 6 w 94"/>
                <a:gd name="T27" fmla="*/ 7 h 205"/>
                <a:gd name="T28" fmla="*/ 19 w 94"/>
                <a:gd name="T29" fmla="*/ 44 h 205"/>
                <a:gd name="T30" fmla="*/ 7 w 94"/>
                <a:gd name="T31" fmla="*/ 27 h 205"/>
                <a:gd name="T32" fmla="*/ 36 w 94"/>
                <a:gd name="T33" fmla="*/ 13 h 205"/>
                <a:gd name="T34" fmla="*/ 26 w 94"/>
                <a:gd name="T35" fmla="*/ 31 h 205"/>
                <a:gd name="T36" fmla="*/ 46 w 94"/>
                <a:gd name="T37" fmla="*/ 20 h 205"/>
                <a:gd name="T38" fmla="*/ 63 w 94"/>
                <a:gd name="T39" fmla="*/ 34 h 205"/>
                <a:gd name="T40" fmla="*/ 62 w 94"/>
                <a:gd name="T41" fmla="*/ 40 h 205"/>
                <a:gd name="T42" fmla="*/ 76 w 94"/>
                <a:gd name="T43" fmla="*/ 59 h 205"/>
                <a:gd name="T44" fmla="*/ 65 w 94"/>
                <a:gd name="T45" fmla="*/ 61 h 205"/>
                <a:gd name="T46" fmla="*/ 37 w 94"/>
                <a:gd name="T47" fmla="*/ 91 h 205"/>
                <a:gd name="T48" fmla="*/ 45 w 94"/>
                <a:gd name="T49" fmla="*/ 88 h 205"/>
                <a:gd name="T50" fmla="*/ 85 w 94"/>
                <a:gd name="T51" fmla="*/ 89 h 205"/>
                <a:gd name="T52" fmla="*/ 80 w 94"/>
                <a:gd name="T53" fmla="*/ 108 h 205"/>
                <a:gd name="T54" fmla="*/ 79 w 94"/>
                <a:gd name="T55" fmla="*/ 132 h 205"/>
                <a:gd name="T56" fmla="*/ 80 w 94"/>
                <a:gd name="T57" fmla="*/ 147 h 205"/>
                <a:gd name="T58" fmla="*/ 64 w 94"/>
                <a:gd name="T59" fmla="*/ 168 h 205"/>
                <a:gd name="T60" fmla="*/ 47 w 94"/>
                <a:gd name="T61" fmla="*/ 185 h 205"/>
                <a:gd name="T62" fmla="*/ 40 w 94"/>
                <a:gd name="T63" fmla="*/ 184 h 205"/>
                <a:gd name="T64" fmla="*/ 32 w 94"/>
                <a:gd name="T65" fmla="*/ 162 h 205"/>
                <a:gd name="T66" fmla="*/ 29 w 94"/>
                <a:gd name="T67" fmla="*/ 157 h 205"/>
                <a:gd name="T68" fmla="*/ 22 w 94"/>
                <a:gd name="T69" fmla="*/ 169 h 205"/>
                <a:gd name="T70" fmla="*/ 20 w 94"/>
                <a:gd name="T71" fmla="*/ 197 h 205"/>
                <a:gd name="T72" fmla="*/ 7 w 94"/>
                <a:gd name="T73" fmla="*/ 146 h 205"/>
                <a:gd name="T74" fmla="*/ 45 w 94"/>
                <a:gd name="T75" fmla="*/ 160 h 205"/>
                <a:gd name="T76" fmla="*/ 54 w 94"/>
                <a:gd name="T77" fmla="*/ 160 h 205"/>
                <a:gd name="T78" fmla="*/ 7 w 94"/>
                <a:gd name="T79" fmla="*/ 137 h 205"/>
                <a:gd name="T80" fmla="*/ 47 w 94"/>
                <a:gd name="T81" fmla="*/ 112 h 205"/>
                <a:gd name="T82" fmla="*/ 64 w 94"/>
                <a:gd name="T83" fmla="*/ 84 h 205"/>
                <a:gd name="T84" fmla="*/ 46 w 94"/>
                <a:gd name="T85" fmla="*/ 103 h 205"/>
                <a:gd name="T86" fmla="*/ 7 w 94"/>
                <a:gd name="T87" fmla="*/ 53 h 205"/>
                <a:gd name="T88" fmla="*/ 23 w 94"/>
                <a:gd name="T89" fmla="*/ 4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205">
                  <a:moveTo>
                    <a:pt x="0" y="27"/>
                  </a:moveTo>
                  <a:cubicBezTo>
                    <a:pt x="0" y="183"/>
                    <a:pt x="0" y="183"/>
                    <a:pt x="0" y="183"/>
                  </a:cubicBezTo>
                  <a:cubicBezTo>
                    <a:pt x="0" y="189"/>
                    <a:pt x="1" y="195"/>
                    <a:pt x="5" y="199"/>
                  </a:cubicBezTo>
                  <a:cubicBezTo>
                    <a:pt x="9" y="203"/>
                    <a:pt x="13" y="205"/>
                    <a:pt x="19" y="205"/>
                  </a:cubicBezTo>
                  <a:cubicBezTo>
                    <a:pt x="28" y="205"/>
                    <a:pt x="35" y="201"/>
                    <a:pt x="41" y="194"/>
                  </a:cubicBezTo>
                  <a:cubicBezTo>
                    <a:pt x="43" y="194"/>
                    <a:pt x="45" y="194"/>
                    <a:pt x="47" y="194"/>
                  </a:cubicBezTo>
                  <a:cubicBezTo>
                    <a:pt x="57" y="194"/>
                    <a:pt x="66" y="188"/>
                    <a:pt x="70" y="179"/>
                  </a:cubicBezTo>
                  <a:cubicBezTo>
                    <a:pt x="71" y="178"/>
                    <a:pt x="71" y="178"/>
                    <a:pt x="71" y="178"/>
                  </a:cubicBezTo>
                  <a:cubicBezTo>
                    <a:pt x="72" y="176"/>
                    <a:pt x="72" y="174"/>
                    <a:pt x="72" y="171"/>
                  </a:cubicBezTo>
                  <a:cubicBezTo>
                    <a:pt x="82" y="167"/>
                    <a:pt x="89" y="157"/>
                    <a:pt x="89" y="147"/>
                  </a:cubicBezTo>
                  <a:cubicBezTo>
                    <a:pt x="89" y="143"/>
                    <a:pt x="88" y="140"/>
                    <a:pt x="87" y="137"/>
                  </a:cubicBezTo>
                  <a:cubicBezTo>
                    <a:pt x="91" y="132"/>
                    <a:pt x="94" y="126"/>
                    <a:pt x="94" y="120"/>
                  </a:cubicBezTo>
                  <a:cubicBezTo>
                    <a:pt x="94" y="114"/>
                    <a:pt x="92" y="109"/>
                    <a:pt x="89" y="105"/>
                  </a:cubicBezTo>
                  <a:cubicBezTo>
                    <a:pt x="90" y="103"/>
                    <a:pt x="91" y="102"/>
                    <a:pt x="92" y="100"/>
                  </a:cubicBezTo>
                  <a:cubicBezTo>
                    <a:pt x="92" y="99"/>
                    <a:pt x="92" y="99"/>
                    <a:pt x="92" y="99"/>
                  </a:cubicBezTo>
                  <a:cubicBezTo>
                    <a:pt x="93" y="97"/>
                    <a:pt x="93" y="94"/>
                    <a:pt x="93" y="91"/>
                  </a:cubicBezTo>
                  <a:cubicBezTo>
                    <a:pt x="94" y="91"/>
                    <a:pt x="94" y="91"/>
                    <a:pt x="94" y="91"/>
                  </a:cubicBezTo>
                  <a:cubicBezTo>
                    <a:pt x="94" y="90"/>
                    <a:pt x="94" y="90"/>
                    <a:pt x="94" y="90"/>
                  </a:cubicBezTo>
                  <a:cubicBezTo>
                    <a:pt x="94" y="90"/>
                    <a:pt x="94" y="90"/>
                    <a:pt x="94" y="90"/>
                  </a:cubicBezTo>
                  <a:cubicBezTo>
                    <a:pt x="94" y="89"/>
                    <a:pt x="94" y="89"/>
                    <a:pt x="94" y="89"/>
                  </a:cubicBezTo>
                  <a:cubicBezTo>
                    <a:pt x="94" y="81"/>
                    <a:pt x="90" y="73"/>
                    <a:pt x="83" y="67"/>
                  </a:cubicBezTo>
                  <a:cubicBezTo>
                    <a:pt x="84" y="64"/>
                    <a:pt x="85" y="62"/>
                    <a:pt x="85" y="59"/>
                  </a:cubicBezTo>
                  <a:cubicBezTo>
                    <a:pt x="85" y="50"/>
                    <a:pt x="80" y="41"/>
                    <a:pt x="72" y="38"/>
                  </a:cubicBezTo>
                  <a:cubicBezTo>
                    <a:pt x="72" y="37"/>
                    <a:pt x="72" y="37"/>
                    <a:pt x="72" y="36"/>
                  </a:cubicBezTo>
                  <a:cubicBezTo>
                    <a:pt x="72" y="22"/>
                    <a:pt x="60" y="11"/>
                    <a:pt x="46" y="11"/>
                  </a:cubicBezTo>
                  <a:cubicBezTo>
                    <a:pt x="46" y="11"/>
                    <a:pt x="46" y="11"/>
                    <a:pt x="46" y="11"/>
                  </a:cubicBezTo>
                  <a:cubicBezTo>
                    <a:pt x="41" y="4"/>
                    <a:pt x="34" y="0"/>
                    <a:pt x="25" y="0"/>
                  </a:cubicBezTo>
                  <a:cubicBezTo>
                    <a:pt x="18" y="0"/>
                    <a:pt x="11" y="2"/>
                    <a:pt x="6" y="7"/>
                  </a:cubicBezTo>
                  <a:cubicBezTo>
                    <a:pt x="1" y="12"/>
                    <a:pt x="0" y="19"/>
                    <a:pt x="0" y="27"/>
                  </a:cubicBezTo>
                  <a:close/>
                  <a:moveTo>
                    <a:pt x="19" y="44"/>
                  </a:moveTo>
                  <a:cubicBezTo>
                    <a:pt x="7" y="44"/>
                    <a:pt x="7" y="44"/>
                    <a:pt x="7" y="44"/>
                  </a:cubicBezTo>
                  <a:cubicBezTo>
                    <a:pt x="7" y="27"/>
                    <a:pt x="7" y="27"/>
                    <a:pt x="7" y="27"/>
                  </a:cubicBezTo>
                  <a:cubicBezTo>
                    <a:pt x="7" y="16"/>
                    <a:pt x="15" y="8"/>
                    <a:pt x="25" y="8"/>
                  </a:cubicBezTo>
                  <a:cubicBezTo>
                    <a:pt x="29" y="8"/>
                    <a:pt x="33" y="10"/>
                    <a:pt x="36" y="13"/>
                  </a:cubicBezTo>
                  <a:cubicBezTo>
                    <a:pt x="31" y="15"/>
                    <a:pt x="26" y="20"/>
                    <a:pt x="24" y="25"/>
                  </a:cubicBezTo>
                  <a:cubicBezTo>
                    <a:pt x="23" y="27"/>
                    <a:pt x="23" y="30"/>
                    <a:pt x="26" y="31"/>
                  </a:cubicBezTo>
                  <a:cubicBezTo>
                    <a:pt x="28" y="32"/>
                    <a:pt x="30" y="31"/>
                    <a:pt x="31" y="29"/>
                  </a:cubicBezTo>
                  <a:cubicBezTo>
                    <a:pt x="34" y="23"/>
                    <a:pt x="40" y="20"/>
                    <a:pt x="46" y="20"/>
                  </a:cubicBezTo>
                  <a:cubicBezTo>
                    <a:pt x="55" y="20"/>
                    <a:pt x="62" y="26"/>
                    <a:pt x="63" y="34"/>
                  </a:cubicBezTo>
                  <a:cubicBezTo>
                    <a:pt x="63" y="34"/>
                    <a:pt x="63" y="34"/>
                    <a:pt x="63" y="34"/>
                  </a:cubicBezTo>
                  <a:cubicBezTo>
                    <a:pt x="63" y="35"/>
                    <a:pt x="63" y="36"/>
                    <a:pt x="63" y="36"/>
                  </a:cubicBezTo>
                  <a:cubicBezTo>
                    <a:pt x="63" y="38"/>
                    <a:pt x="63" y="39"/>
                    <a:pt x="62" y="40"/>
                  </a:cubicBezTo>
                  <a:cubicBezTo>
                    <a:pt x="62" y="42"/>
                    <a:pt x="63" y="44"/>
                    <a:pt x="66" y="45"/>
                  </a:cubicBezTo>
                  <a:cubicBezTo>
                    <a:pt x="72" y="47"/>
                    <a:pt x="76" y="52"/>
                    <a:pt x="76" y="59"/>
                  </a:cubicBezTo>
                  <a:cubicBezTo>
                    <a:pt x="76" y="60"/>
                    <a:pt x="76" y="61"/>
                    <a:pt x="76" y="63"/>
                  </a:cubicBezTo>
                  <a:cubicBezTo>
                    <a:pt x="72" y="61"/>
                    <a:pt x="69" y="61"/>
                    <a:pt x="65" y="61"/>
                  </a:cubicBezTo>
                  <a:cubicBezTo>
                    <a:pt x="50" y="61"/>
                    <a:pt x="37" y="72"/>
                    <a:pt x="36" y="88"/>
                  </a:cubicBezTo>
                  <a:cubicBezTo>
                    <a:pt x="36" y="89"/>
                    <a:pt x="37" y="90"/>
                    <a:pt x="37" y="91"/>
                  </a:cubicBezTo>
                  <a:cubicBezTo>
                    <a:pt x="38" y="92"/>
                    <a:pt x="39" y="92"/>
                    <a:pt x="40" y="92"/>
                  </a:cubicBezTo>
                  <a:cubicBezTo>
                    <a:pt x="43" y="92"/>
                    <a:pt x="45" y="91"/>
                    <a:pt x="45" y="88"/>
                  </a:cubicBezTo>
                  <a:cubicBezTo>
                    <a:pt x="45" y="78"/>
                    <a:pt x="54" y="69"/>
                    <a:pt x="65" y="69"/>
                  </a:cubicBezTo>
                  <a:cubicBezTo>
                    <a:pt x="76" y="69"/>
                    <a:pt x="85" y="78"/>
                    <a:pt x="85" y="89"/>
                  </a:cubicBezTo>
                  <a:cubicBezTo>
                    <a:pt x="85" y="94"/>
                    <a:pt x="83" y="99"/>
                    <a:pt x="80" y="102"/>
                  </a:cubicBezTo>
                  <a:cubicBezTo>
                    <a:pt x="79" y="104"/>
                    <a:pt x="79" y="106"/>
                    <a:pt x="80" y="108"/>
                  </a:cubicBezTo>
                  <a:cubicBezTo>
                    <a:pt x="83" y="111"/>
                    <a:pt x="85" y="115"/>
                    <a:pt x="85" y="120"/>
                  </a:cubicBezTo>
                  <a:cubicBezTo>
                    <a:pt x="85" y="125"/>
                    <a:pt x="83" y="129"/>
                    <a:pt x="79" y="132"/>
                  </a:cubicBezTo>
                  <a:cubicBezTo>
                    <a:pt x="77" y="134"/>
                    <a:pt x="77" y="136"/>
                    <a:pt x="78" y="138"/>
                  </a:cubicBezTo>
                  <a:cubicBezTo>
                    <a:pt x="79" y="141"/>
                    <a:pt x="80" y="144"/>
                    <a:pt x="80" y="147"/>
                  </a:cubicBezTo>
                  <a:cubicBezTo>
                    <a:pt x="80" y="154"/>
                    <a:pt x="75" y="162"/>
                    <a:pt x="67" y="164"/>
                  </a:cubicBezTo>
                  <a:cubicBezTo>
                    <a:pt x="65" y="164"/>
                    <a:pt x="64" y="166"/>
                    <a:pt x="64" y="168"/>
                  </a:cubicBezTo>
                  <a:cubicBezTo>
                    <a:pt x="64" y="169"/>
                    <a:pt x="64" y="169"/>
                    <a:pt x="64" y="169"/>
                  </a:cubicBezTo>
                  <a:cubicBezTo>
                    <a:pt x="64" y="178"/>
                    <a:pt x="56" y="185"/>
                    <a:pt x="47" y="185"/>
                  </a:cubicBezTo>
                  <a:cubicBezTo>
                    <a:pt x="45" y="185"/>
                    <a:pt x="43" y="185"/>
                    <a:pt x="41" y="184"/>
                  </a:cubicBezTo>
                  <a:cubicBezTo>
                    <a:pt x="40" y="184"/>
                    <a:pt x="40" y="184"/>
                    <a:pt x="40" y="184"/>
                  </a:cubicBezTo>
                  <a:cubicBezTo>
                    <a:pt x="34" y="181"/>
                    <a:pt x="30" y="175"/>
                    <a:pt x="30" y="169"/>
                  </a:cubicBezTo>
                  <a:cubicBezTo>
                    <a:pt x="30" y="167"/>
                    <a:pt x="31" y="164"/>
                    <a:pt x="32" y="162"/>
                  </a:cubicBezTo>
                  <a:cubicBezTo>
                    <a:pt x="32" y="161"/>
                    <a:pt x="32" y="160"/>
                    <a:pt x="32" y="159"/>
                  </a:cubicBezTo>
                  <a:cubicBezTo>
                    <a:pt x="31" y="158"/>
                    <a:pt x="30" y="157"/>
                    <a:pt x="29" y="157"/>
                  </a:cubicBezTo>
                  <a:cubicBezTo>
                    <a:pt x="27" y="156"/>
                    <a:pt x="25" y="157"/>
                    <a:pt x="24" y="159"/>
                  </a:cubicBezTo>
                  <a:cubicBezTo>
                    <a:pt x="22" y="162"/>
                    <a:pt x="22" y="165"/>
                    <a:pt x="22" y="169"/>
                  </a:cubicBezTo>
                  <a:cubicBezTo>
                    <a:pt x="22" y="177"/>
                    <a:pt x="26" y="185"/>
                    <a:pt x="33" y="190"/>
                  </a:cubicBezTo>
                  <a:cubicBezTo>
                    <a:pt x="29" y="194"/>
                    <a:pt x="25" y="197"/>
                    <a:pt x="20" y="197"/>
                  </a:cubicBezTo>
                  <a:cubicBezTo>
                    <a:pt x="13" y="197"/>
                    <a:pt x="7" y="191"/>
                    <a:pt x="7" y="183"/>
                  </a:cubicBezTo>
                  <a:cubicBezTo>
                    <a:pt x="7" y="146"/>
                    <a:pt x="7" y="146"/>
                    <a:pt x="7" y="146"/>
                  </a:cubicBezTo>
                  <a:cubicBezTo>
                    <a:pt x="7" y="146"/>
                    <a:pt x="23" y="146"/>
                    <a:pt x="31" y="146"/>
                  </a:cubicBezTo>
                  <a:cubicBezTo>
                    <a:pt x="39" y="146"/>
                    <a:pt x="45" y="152"/>
                    <a:pt x="45" y="160"/>
                  </a:cubicBezTo>
                  <a:cubicBezTo>
                    <a:pt x="45" y="162"/>
                    <a:pt x="47" y="164"/>
                    <a:pt x="50" y="164"/>
                  </a:cubicBezTo>
                  <a:cubicBezTo>
                    <a:pt x="52" y="164"/>
                    <a:pt x="54" y="162"/>
                    <a:pt x="54" y="160"/>
                  </a:cubicBezTo>
                  <a:cubicBezTo>
                    <a:pt x="54" y="147"/>
                    <a:pt x="44" y="137"/>
                    <a:pt x="31" y="137"/>
                  </a:cubicBezTo>
                  <a:cubicBezTo>
                    <a:pt x="19" y="137"/>
                    <a:pt x="7" y="137"/>
                    <a:pt x="7" y="137"/>
                  </a:cubicBezTo>
                  <a:cubicBezTo>
                    <a:pt x="7" y="113"/>
                    <a:pt x="7" y="113"/>
                    <a:pt x="7" y="113"/>
                  </a:cubicBezTo>
                  <a:cubicBezTo>
                    <a:pt x="7" y="113"/>
                    <a:pt x="35" y="112"/>
                    <a:pt x="47" y="112"/>
                  </a:cubicBezTo>
                  <a:cubicBezTo>
                    <a:pt x="59" y="112"/>
                    <a:pt x="69" y="101"/>
                    <a:pt x="69" y="89"/>
                  </a:cubicBezTo>
                  <a:cubicBezTo>
                    <a:pt x="69" y="86"/>
                    <a:pt x="67" y="84"/>
                    <a:pt x="64" y="84"/>
                  </a:cubicBezTo>
                  <a:cubicBezTo>
                    <a:pt x="62" y="84"/>
                    <a:pt x="60" y="86"/>
                    <a:pt x="60" y="89"/>
                  </a:cubicBezTo>
                  <a:cubicBezTo>
                    <a:pt x="60" y="97"/>
                    <a:pt x="54" y="103"/>
                    <a:pt x="46" y="103"/>
                  </a:cubicBezTo>
                  <a:cubicBezTo>
                    <a:pt x="38" y="103"/>
                    <a:pt x="7" y="103"/>
                    <a:pt x="7" y="103"/>
                  </a:cubicBezTo>
                  <a:cubicBezTo>
                    <a:pt x="7" y="53"/>
                    <a:pt x="7" y="53"/>
                    <a:pt x="7" y="53"/>
                  </a:cubicBezTo>
                  <a:cubicBezTo>
                    <a:pt x="19" y="53"/>
                    <a:pt x="19" y="53"/>
                    <a:pt x="19" y="53"/>
                  </a:cubicBezTo>
                  <a:cubicBezTo>
                    <a:pt x="21" y="53"/>
                    <a:pt x="23" y="51"/>
                    <a:pt x="23" y="48"/>
                  </a:cubicBezTo>
                  <a:cubicBezTo>
                    <a:pt x="23" y="46"/>
                    <a:pt x="21" y="44"/>
                    <a:pt x="19" y="4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22" name="Freeform 603">
              <a:extLst>
                <a:ext uri="{FF2B5EF4-FFF2-40B4-BE49-F238E27FC236}">
                  <a16:creationId xmlns:a16="http://schemas.microsoft.com/office/drawing/2014/main" id="{11EA446C-A2A0-4340-8478-FC054D825F83}"/>
                </a:ext>
              </a:extLst>
            </p:cNvPr>
            <p:cNvSpPr>
              <a:spLocks/>
            </p:cNvSpPr>
            <p:nvPr/>
          </p:nvSpPr>
          <p:spPr bwMode="auto">
            <a:xfrm>
              <a:off x="4591660" y="1365132"/>
              <a:ext cx="33682" cy="54639"/>
            </a:xfrm>
            <a:custGeom>
              <a:avLst/>
              <a:gdLst>
                <a:gd name="T0" fmla="*/ 19 w 19"/>
                <a:gd name="T1" fmla="*/ 5 h 31"/>
                <a:gd name="T2" fmla="*/ 15 w 19"/>
                <a:gd name="T3" fmla="*/ 9 h 31"/>
                <a:gd name="T4" fmla="*/ 8 w 19"/>
                <a:gd name="T5" fmla="*/ 16 h 31"/>
                <a:gd name="T6" fmla="*/ 15 w 19"/>
                <a:gd name="T7" fmla="*/ 22 h 31"/>
                <a:gd name="T8" fmla="*/ 19 w 19"/>
                <a:gd name="T9" fmla="*/ 27 h 31"/>
                <a:gd name="T10" fmla="*/ 15 w 19"/>
                <a:gd name="T11" fmla="*/ 31 h 31"/>
                <a:gd name="T12" fmla="*/ 0 w 19"/>
                <a:gd name="T13" fmla="*/ 16 h 31"/>
                <a:gd name="T14" fmla="*/ 15 w 19"/>
                <a:gd name="T15" fmla="*/ 0 h 31"/>
                <a:gd name="T16" fmla="*/ 19 w 19"/>
                <a:gd name="T1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1">
                  <a:moveTo>
                    <a:pt x="19" y="5"/>
                  </a:moveTo>
                  <a:cubicBezTo>
                    <a:pt x="19" y="7"/>
                    <a:pt x="18" y="9"/>
                    <a:pt x="15" y="9"/>
                  </a:cubicBezTo>
                  <a:cubicBezTo>
                    <a:pt x="11" y="9"/>
                    <a:pt x="8" y="12"/>
                    <a:pt x="8" y="16"/>
                  </a:cubicBezTo>
                  <a:cubicBezTo>
                    <a:pt x="8" y="19"/>
                    <a:pt x="11" y="22"/>
                    <a:pt x="15" y="22"/>
                  </a:cubicBezTo>
                  <a:cubicBezTo>
                    <a:pt x="18" y="22"/>
                    <a:pt x="19" y="24"/>
                    <a:pt x="19" y="27"/>
                  </a:cubicBezTo>
                  <a:cubicBezTo>
                    <a:pt x="19" y="29"/>
                    <a:pt x="18" y="31"/>
                    <a:pt x="15" y="31"/>
                  </a:cubicBezTo>
                  <a:cubicBezTo>
                    <a:pt x="7" y="31"/>
                    <a:pt x="0" y="24"/>
                    <a:pt x="0" y="16"/>
                  </a:cubicBezTo>
                  <a:cubicBezTo>
                    <a:pt x="0" y="7"/>
                    <a:pt x="7" y="0"/>
                    <a:pt x="15" y="0"/>
                  </a:cubicBezTo>
                  <a:cubicBezTo>
                    <a:pt x="18" y="0"/>
                    <a:pt x="19" y="2"/>
                    <a:pt x="19" y="5"/>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23" name="Freeform 604">
              <a:extLst>
                <a:ext uri="{FF2B5EF4-FFF2-40B4-BE49-F238E27FC236}">
                  <a16:creationId xmlns:a16="http://schemas.microsoft.com/office/drawing/2014/main" id="{C53779AF-54E6-46D0-B584-835CE4994211}"/>
                </a:ext>
              </a:extLst>
            </p:cNvPr>
            <p:cNvSpPr>
              <a:spLocks/>
            </p:cNvSpPr>
            <p:nvPr/>
          </p:nvSpPr>
          <p:spPr bwMode="auto">
            <a:xfrm>
              <a:off x="4623845" y="1315733"/>
              <a:ext cx="37423" cy="37423"/>
            </a:xfrm>
            <a:custGeom>
              <a:avLst/>
              <a:gdLst>
                <a:gd name="T0" fmla="*/ 0 w 21"/>
                <a:gd name="T1" fmla="*/ 17 h 21"/>
                <a:gd name="T2" fmla="*/ 5 w 21"/>
                <a:gd name="T3" fmla="*/ 12 h 21"/>
                <a:gd name="T4" fmla="*/ 12 w 21"/>
                <a:gd name="T5" fmla="*/ 5 h 21"/>
                <a:gd name="T6" fmla="*/ 16 w 21"/>
                <a:gd name="T7" fmla="*/ 0 h 21"/>
                <a:gd name="T8" fmla="*/ 21 w 21"/>
                <a:gd name="T9" fmla="*/ 5 h 21"/>
                <a:gd name="T10" fmla="*/ 5 w 21"/>
                <a:gd name="T11" fmla="*/ 21 h 21"/>
                <a:gd name="T12" fmla="*/ 0 w 21"/>
                <a:gd name="T13" fmla="*/ 17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0" y="17"/>
                  </a:moveTo>
                  <a:cubicBezTo>
                    <a:pt x="0" y="14"/>
                    <a:pt x="2" y="12"/>
                    <a:pt x="5" y="12"/>
                  </a:cubicBezTo>
                  <a:cubicBezTo>
                    <a:pt x="9" y="12"/>
                    <a:pt x="12" y="9"/>
                    <a:pt x="12" y="5"/>
                  </a:cubicBezTo>
                  <a:cubicBezTo>
                    <a:pt x="12" y="2"/>
                    <a:pt x="14" y="0"/>
                    <a:pt x="16" y="0"/>
                  </a:cubicBezTo>
                  <a:cubicBezTo>
                    <a:pt x="19" y="0"/>
                    <a:pt x="21" y="2"/>
                    <a:pt x="21" y="5"/>
                  </a:cubicBezTo>
                  <a:cubicBezTo>
                    <a:pt x="21" y="14"/>
                    <a:pt x="13" y="21"/>
                    <a:pt x="5" y="21"/>
                  </a:cubicBezTo>
                  <a:cubicBezTo>
                    <a:pt x="2" y="21"/>
                    <a:pt x="0" y="19"/>
                    <a:pt x="0" y="17"/>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24" name="Freeform 605">
              <a:extLst>
                <a:ext uri="{FF2B5EF4-FFF2-40B4-BE49-F238E27FC236}">
                  <a16:creationId xmlns:a16="http://schemas.microsoft.com/office/drawing/2014/main" id="{89C9FB68-D94F-4F8F-912C-8055BE5C5592}"/>
                </a:ext>
              </a:extLst>
            </p:cNvPr>
            <p:cNvSpPr>
              <a:spLocks/>
            </p:cNvSpPr>
            <p:nvPr/>
          </p:nvSpPr>
          <p:spPr bwMode="auto">
            <a:xfrm>
              <a:off x="4657525" y="1475157"/>
              <a:ext cx="37423" cy="36676"/>
            </a:xfrm>
            <a:custGeom>
              <a:avLst/>
              <a:gdLst>
                <a:gd name="T0" fmla="*/ 16 w 21"/>
                <a:gd name="T1" fmla="*/ 21 h 21"/>
                <a:gd name="T2" fmla="*/ 12 w 21"/>
                <a:gd name="T3" fmla="*/ 16 h 21"/>
                <a:gd name="T4" fmla="*/ 5 w 21"/>
                <a:gd name="T5" fmla="*/ 9 h 21"/>
                <a:gd name="T6" fmla="*/ 0 w 21"/>
                <a:gd name="T7" fmla="*/ 4 h 21"/>
                <a:gd name="T8" fmla="*/ 5 w 21"/>
                <a:gd name="T9" fmla="*/ 0 h 21"/>
                <a:gd name="T10" fmla="*/ 21 w 21"/>
                <a:gd name="T11" fmla="*/ 16 h 21"/>
                <a:gd name="T12" fmla="*/ 16 w 21"/>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16" y="21"/>
                  </a:moveTo>
                  <a:cubicBezTo>
                    <a:pt x="14" y="21"/>
                    <a:pt x="12" y="19"/>
                    <a:pt x="12" y="16"/>
                  </a:cubicBezTo>
                  <a:cubicBezTo>
                    <a:pt x="12" y="12"/>
                    <a:pt x="9" y="9"/>
                    <a:pt x="5" y="9"/>
                  </a:cubicBezTo>
                  <a:cubicBezTo>
                    <a:pt x="2" y="9"/>
                    <a:pt x="0" y="7"/>
                    <a:pt x="0" y="4"/>
                  </a:cubicBezTo>
                  <a:cubicBezTo>
                    <a:pt x="0" y="2"/>
                    <a:pt x="2" y="0"/>
                    <a:pt x="5" y="0"/>
                  </a:cubicBezTo>
                  <a:cubicBezTo>
                    <a:pt x="14" y="0"/>
                    <a:pt x="21" y="7"/>
                    <a:pt x="21" y="16"/>
                  </a:cubicBezTo>
                  <a:cubicBezTo>
                    <a:pt x="21" y="19"/>
                    <a:pt x="19" y="21"/>
                    <a:pt x="16" y="21"/>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25" name="Freeform 606">
              <a:extLst>
                <a:ext uri="{FF2B5EF4-FFF2-40B4-BE49-F238E27FC236}">
                  <a16:creationId xmlns:a16="http://schemas.microsoft.com/office/drawing/2014/main" id="{F53D20CA-6285-49B1-BBB3-EF7FFABA49F8}"/>
                </a:ext>
              </a:extLst>
            </p:cNvPr>
            <p:cNvSpPr>
              <a:spLocks/>
            </p:cNvSpPr>
            <p:nvPr/>
          </p:nvSpPr>
          <p:spPr bwMode="auto">
            <a:xfrm>
              <a:off x="4590163" y="1475157"/>
              <a:ext cx="58381" cy="17215"/>
            </a:xfrm>
            <a:custGeom>
              <a:avLst/>
              <a:gdLst>
                <a:gd name="T0" fmla="*/ 28 w 33"/>
                <a:gd name="T1" fmla="*/ 10 h 10"/>
                <a:gd name="T2" fmla="*/ 5 w 33"/>
                <a:gd name="T3" fmla="*/ 10 h 10"/>
                <a:gd name="T4" fmla="*/ 0 w 33"/>
                <a:gd name="T5" fmla="*/ 5 h 10"/>
                <a:gd name="T6" fmla="*/ 5 w 33"/>
                <a:gd name="T7" fmla="*/ 0 h 10"/>
                <a:gd name="T8" fmla="*/ 28 w 33"/>
                <a:gd name="T9" fmla="*/ 0 h 10"/>
                <a:gd name="T10" fmla="*/ 33 w 33"/>
                <a:gd name="T11" fmla="*/ 5 h 10"/>
                <a:gd name="T12" fmla="*/ 28 w 3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3" h="10">
                  <a:moveTo>
                    <a:pt x="28" y="10"/>
                  </a:moveTo>
                  <a:cubicBezTo>
                    <a:pt x="5" y="10"/>
                    <a:pt x="5" y="10"/>
                    <a:pt x="5" y="10"/>
                  </a:cubicBezTo>
                  <a:cubicBezTo>
                    <a:pt x="2" y="10"/>
                    <a:pt x="0" y="7"/>
                    <a:pt x="0" y="5"/>
                  </a:cubicBezTo>
                  <a:cubicBezTo>
                    <a:pt x="0" y="2"/>
                    <a:pt x="2" y="0"/>
                    <a:pt x="5" y="0"/>
                  </a:cubicBezTo>
                  <a:cubicBezTo>
                    <a:pt x="28" y="0"/>
                    <a:pt x="28" y="0"/>
                    <a:pt x="28" y="0"/>
                  </a:cubicBezTo>
                  <a:cubicBezTo>
                    <a:pt x="31" y="0"/>
                    <a:pt x="33" y="2"/>
                    <a:pt x="33" y="5"/>
                  </a:cubicBezTo>
                  <a:cubicBezTo>
                    <a:pt x="33" y="7"/>
                    <a:pt x="31" y="10"/>
                    <a:pt x="28" y="1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531" name="Group 530">
            <a:extLst>
              <a:ext uri="{FF2B5EF4-FFF2-40B4-BE49-F238E27FC236}">
                <a16:creationId xmlns:a16="http://schemas.microsoft.com/office/drawing/2014/main" id="{09C2FC52-5809-4B85-B42E-E6A50D04C6D0}"/>
              </a:ext>
            </a:extLst>
          </p:cNvPr>
          <p:cNvGrpSpPr/>
          <p:nvPr/>
        </p:nvGrpSpPr>
        <p:grpSpPr>
          <a:xfrm>
            <a:off x="5934094" y="1243455"/>
            <a:ext cx="335705" cy="289913"/>
            <a:chOff x="3859466" y="1735167"/>
            <a:chExt cx="1421332" cy="1227452"/>
          </a:xfrm>
        </p:grpSpPr>
        <p:sp>
          <p:nvSpPr>
            <p:cNvPr id="526" name="Freeform 45">
              <a:extLst>
                <a:ext uri="{FF2B5EF4-FFF2-40B4-BE49-F238E27FC236}">
                  <a16:creationId xmlns:a16="http://schemas.microsoft.com/office/drawing/2014/main" id="{5174BEB8-0C14-4CF7-B541-283F1DE7C26B}"/>
                </a:ext>
              </a:extLst>
            </p:cNvPr>
            <p:cNvSpPr>
              <a:spLocks/>
            </p:cNvSpPr>
            <p:nvPr/>
          </p:nvSpPr>
          <p:spPr bwMode="auto">
            <a:xfrm>
              <a:off x="3859466" y="1735167"/>
              <a:ext cx="1421332" cy="1227452"/>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AAC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27" name="Oval 47">
              <a:extLst>
                <a:ext uri="{FF2B5EF4-FFF2-40B4-BE49-F238E27FC236}">
                  <a16:creationId xmlns:a16="http://schemas.microsoft.com/office/drawing/2014/main" id="{75EC990C-95E4-4BA8-AE05-17535FD6F147}"/>
                </a:ext>
              </a:extLst>
            </p:cNvPr>
            <p:cNvSpPr>
              <a:spLocks noChangeArrowheads="1"/>
            </p:cNvSpPr>
            <p:nvPr/>
          </p:nvSpPr>
          <p:spPr bwMode="auto">
            <a:xfrm>
              <a:off x="4270691" y="2210574"/>
              <a:ext cx="608240" cy="6082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28" name="Freeform 46">
              <a:extLst>
                <a:ext uri="{FF2B5EF4-FFF2-40B4-BE49-F238E27FC236}">
                  <a16:creationId xmlns:a16="http://schemas.microsoft.com/office/drawing/2014/main" id="{00FCE39B-47A7-46BC-93AF-E77E4704700A}"/>
                </a:ext>
              </a:extLst>
            </p:cNvPr>
            <p:cNvSpPr>
              <a:spLocks noEditPoints="1"/>
            </p:cNvSpPr>
            <p:nvPr/>
          </p:nvSpPr>
          <p:spPr bwMode="auto">
            <a:xfrm>
              <a:off x="4239201" y="2181756"/>
              <a:ext cx="671221" cy="665873"/>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29" name="Freeform 48">
              <a:extLst>
                <a:ext uri="{FF2B5EF4-FFF2-40B4-BE49-F238E27FC236}">
                  <a16:creationId xmlns:a16="http://schemas.microsoft.com/office/drawing/2014/main" id="{8F214031-76F2-4027-8319-662F8EB6D54E}"/>
                </a:ext>
              </a:extLst>
            </p:cNvPr>
            <p:cNvSpPr>
              <a:spLocks/>
            </p:cNvSpPr>
            <p:nvPr/>
          </p:nvSpPr>
          <p:spPr bwMode="auto">
            <a:xfrm>
              <a:off x="4538210" y="2307660"/>
              <a:ext cx="63844" cy="305541"/>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30" name="Oval 49">
              <a:extLst>
                <a:ext uri="{FF2B5EF4-FFF2-40B4-BE49-F238E27FC236}">
                  <a16:creationId xmlns:a16="http://schemas.microsoft.com/office/drawing/2014/main" id="{C96B0987-FA4D-4194-8B49-5ADBC2DF3C0A}"/>
                </a:ext>
              </a:extLst>
            </p:cNvPr>
            <p:cNvSpPr>
              <a:spLocks noChangeArrowheads="1"/>
            </p:cNvSpPr>
            <p:nvPr/>
          </p:nvSpPr>
          <p:spPr bwMode="auto">
            <a:xfrm>
              <a:off x="4535199" y="2633285"/>
              <a:ext cx="66855" cy="65518"/>
            </a:xfrm>
            <a:prstGeom prst="ellipse">
              <a:avLst/>
            </a:pr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sp>
        <p:nvSpPr>
          <p:cNvPr id="542" name="Title 541">
            <a:extLst>
              <a:ext uri="{FF2B5EF4-FFF2-40B4-BE49-F238E27FC236}">
                <a16:creationId xmlns:a16="http://schemas.microsoft.com/office/drawing/2014/main" id="{730A5F44-A640-4873-BF6B-EE96AB66A5AE}"/>
              </a:ext>
            </a:extLst>
          </p:cNvPr>
          <p:cNvSpPr>
            <a:spLocks noGrp="1"/>
          </p:cNvSpPr>
          <p:nvPr>
            <p:ph type="title"/>
          </p:nvPr>
        </p:nvSpPr>
        <p:spPr>
          <a:xfrm>
            <a:off x="437766" y="341313"/>
            <a:ext cx="8345488" cy="731837"/>
          </a:xfrm>
        </p:spPr>
        <p:txBody>
          <a:bodyPr/>
          <a:lstStyle/>
          <a:p>
            <a:r>
              <a:rPr lang="en-US" dirty="0"/>
              <a:t>Effective Security Depends on Total Visibility </a:t>
            </a:r>
            <a:endParaRPr lang="en-US" dirty="0">
              <a:solidFill>
                <a:schemeClr val="accent6"/>
              </a:solidFill>
            </a:endParaRPr>
          </a:p>
        </p:txBody>
      </p:sp>
      <p:sp>
        <p:nvSpPr>
          <p:cNvPr id="429" name="Rectangle 428">
            <a:extLst>
              <a:ext uri="{FF2B5EF4-FFF2-40B4-BE49-F238E27FC236}">
                <a16:creationId xmlns:a16="http://schemas.microsoft.com/office/drawing/2014/main" id="{886F8C14-8D4B-4104-9BCC-BA6980E0F21E}"/>
              </a:ext>
            </a:extLst>
          </p:cNvPr>
          <p:cNvSpPr/>
          <p:nvPr/>
        </p:nvSpPr>
        <p:spPr>
          <a:xfrm>
            <a:off x="3466590" y="3606338"/>
            <a:ext cx="875240" cy="153888"/>
          </a:xfrm>
          <a:prstGeom prst="rect">
            <a:avLst/>
          </a:prstGeom>
        </p:spPr>
        <p:txBody>
          <a:bodyPr wrap="non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9393B"/>
                </a:solidFill>
                <a:effectLst/>
                <a:uLnTx/>
                <a:uFillTx/>
                <a:latin typeface="CiscoSansTT ExtraLight"/>
                <a:ea typeface="ＭＳ Ｐゴシック" charset="0"/>
                <a:cs typeface="+mn-cs"/>
              </a:rPr>
              <a:t>Roaming Users</a:t>
            </a:r>
          </a:p>
        </p:txBody>
      </p:sp>
      <p:grpSp>
        <p:nvGrpSpPr>
          <p:cNvPr id="4" name="Group 3">
            <a:extLst>
              <a:ext uri="{FF2B5EF4-FFF2-40B4-BE49-F238E27FC236}">
                <a16:creationId xmlns:a16="http://schemas.microsoft.com/office/drawing/2014/main" id="{B87D771B-9826-4DE1-A5E5-6B33B804464A}"/>
              </a:ext>
            </a:extLst>
          </p:cNvPr>
          <p:cNvGrpSpPr/>
          <p:nvPr/>
        </p:nvGrpSpPr>
        <p:grpSpPr>
          <a:xfrm>
            <a:off x="2874736" y="1290320"/>
            <a:ext cx="343943" cy="311082"/>
            <a:chOff x="2874736" y="1290320"/>
            <a:chExt cx="343943" cy="311082"/>
          </a:xfrm>
        </p:grpSpPr>
        <p:grpSp>
          <p:nvGrpSpPr>
            <p:cNvPr id="512" name="Group 511">
              <a:extLst>
                <a:ext uri="{FF2B5EF4-FFF2-40B4-BE49-F238E27FC236}">
                  <a16:creationId xmlns:a16="http://schemas.microsoft.com/office/drawing/2014/main" id="{B3A271BE-635F-437D-8276-8EFE4693635D}"/>
                </a:ext>
              </a:extLst>
            </p:cNvPr>
            <p:cNvGrpSpPr>
              <a:grpSpLocks noChangeAspect="1"/>
            </p:cNvGrpSpPr>
            <p:nvPr/>
          </p:nvGrpSpPr>
          <p:grpSpPr>
            <a:xfrm>
              <a:off x="2874736" y="1290320"/>
              <a:ext cx="343943" cy="311082"/>
              <a:chOff x="3461667" y="-394359"/>
              <a:chExt cx="313990" cy="283991"/>
            </a:xfrm>
          </p:grpSpPr>
          <p:sp>
            <p:nvSpPr>
              <p:cNvPr id="513" name="Freeform 96">
                <a:extLst>
                  <a:ext uri="{FF2B5EF4-FFF2-40B4-BE49-F238E27FC236}">
                    <a16:creationId xmlns:a16="http://schemas.microsoft.com/office/drawing/2014/main" id="{28CAE05C-EC2E-43C4-93E3-C3188612C883}"/>
                  </a:ext>
                </a:extLst>
              </p:cNvPr>
              <p:cNvSpPr>
                <a:spLocks noChangeAspect="1"/>
              </p:cNvSpPr>
              <p:nvPr/>
            </p:nvSpPr>
            <p:spPr bwMode="auto">
              <a:xfrm>
                <a:off x="3506666" y="-247364"/>
                <a:ext cx="119996" cy="136996"/>
              </a:xfrm>
              <a:custGeom>
                <a:avLst/>
                <a:gdLst>
                  <a:gd name="T0" fmla="*/ 120 w 120"/>
                  <a:gd name="T1" fmla="*/ 0 h 137"/>
                  <a:gd name="T2" fmla="*/ 0 w 120"/>
                  <a:gd name="T3" fmla="*/ 0 h 137"/>
                  <a:gd name="T4" fmla="*/ 0 w 120"/>
                  <a:gd name="T5" fmla="*/ 137 h 137"/>
                  <a:gd name="T6" fmla="*/ 120 w 120"/>
                  <a:gd name="T7" fmla="*/ 0 h 137"/>
                </a:gdLst>
                <a:ahLst/>
                <a:cxnLst>
                  <a:cxn ang="0">
                    <a:pos x="T0" y="T1"/>
                  </a:cxn>
                  <a:cxn ang="0">
                    <a:pos x="T2" y="T3"/>
                  </a:cxn>
                  <a:cxn ang="0">
                    <a:pos x="T4" y="T5"/>
                  </a:cxn>
                  <a:cxn ang="0">
                    <a:pos x="T6" y="T7"/>
                  </a:cxn>
                </a:cxnLst>
                <a:rect l="0" t="0" r="r" b="b"/>
                <a:pathLst>
                  <a:path w="120" h="137">
                    <a:moveTo>
                      <a:pt x="120" y="0"/>
                    </a:moveTo>
                    <a:lnTo>
                      <a:pt x="0" y="0"/>
                    </a:lnTo>
                    <a:lnTo>
                      <a:pt x="0" y="137"/>
                    </a:lnTo>
                    <a:lnTo>
                      <a:pt x="120" y="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14" name="Freeform 97">
                <a:extLst>
                  <a:ext uri="{FF2B5EF4-FFF2-40B4-BE49-F238E27FC236}">
                    <a16:creationId xmlns:a16="http://schemas.microsoft.com/office/drawing/2014/main" id="{C456B999-CE0C-4619-B047-15E44008BE4B}"/>
                  </a:ext>
                </a:extLst>
              </p:cNvPr>
              <p:cNvSpPr>
                <a:spLocks noChangeAspect="1"/>
              </p:cNvSpPr>
              <p:nvPr/>
            </p:nvSpPr>
            <p:spPr bwMode="auto">
              <a:xfrm>
                <a:off x="3461667" y="-394359"/>
                <a:ext cx="313990" cy="193994"/>
              </a:xfrm>
              <a:custGeom>
                <a:avLst/>
                <a:gdLst>
                  <a:gd name="T0" fmla="*/ 119 w 133"/>
                  <a:gd name="T1" fmla="*/ 82 h 82"/>
                  <a:gd name="T2" fmla="*/ 14 w 133"/>
                  <a:gd name="T3" fmla="*/ 82 h 82"/>
                  <a:gd name="T4" fmla="*/ 0 w 133"/>
                  <a:gd name="T5" fmla="*/ 68 h 82"/>
                  <a:gd name="T6" fmla="*/ 0 w 133"/>
                  <a:gd name="T7" fmla="*/ 14 h 82"/>
                  <a:gd name="T8" fmla="*/ 14 w 133"/>
                  <a:gd name="T9" fmla="*/ 0 h 82"/>
                  <a:gd name="T10" fmla="*/ 119 w 133"/>
                  <a:gd name="T11" fmla="*/ 0 h 82"/>
                  <a:gd name="T12" fmla="*/ 133 w 133"/>
                  <a:gd name="T13" fmla="*/ 14 h 82"/>
                  <a:gd name="T14" fmla="*/ 133 w 133"/>
                  <a:gd name="T15" fmla="*/ 68 h 82"/>
                  <a:gd name="T16" fmla="*/ 119 w 133"/>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82">
                    <a:moveTo>
                      <a:pt x="119" y="82"/>
                    </a:moveTo>
                    <a:cubicBezTo>
                      <a:pt x="14" y="82"/>
                      <a:pt x="14" y="82"/>
                      <a:pt x="14" y="82"/>
                    </a:cubicBezTo>
                    <a:cubicBezTo>
                      <a:pt x="6" y="82"/>
                      <a:pt x="0" y="75"/>
                      <a:pt x="0" y="68"/>
                    </a:cubicBezTo>
                    <a:cubicBezTo>
                      <a:pt x="0" y="14"/>
                      <a:pt x="0" y="14"/>
                      <a:pt x="0" y="14"/>
                    </a:cubicBezTo>
                    <a:cubicBezTo>
                      <a:pt x="0" y="6"/>
                      <a:pt x="6" y="0"/>
                      <a:pt x="14" y="0"/>
                    </a:cubicBezTo>
                    <a:cubicBezTo>
                      <a:pt x="119" y="0"/>
                      <a:pt x="119" y="0"/>
                      <a:pt x="119" y="0"/>
                    </a:cubicBezTo>
                    <a:cubicBezTo>
                      <a:pt x="127" y="0"/>
                      <a:pt x="133" y="6"/>
                      <a:pt x="133" y="14"/>
                    </a:cubicBezTo>
                    <a:cubicBezTo>
                      <a:pt x="133" y="68"/>
                      <a:pt x="133" y="68"/>
                      <a:pt x="133" y="68"/>
                    </a:cubicBezTo>
                    <a:cubicBezTo>
                      <a:pt x="133" y="75"/>
                      <a:pt x="127" y="82"/>
                      <a:pt x="119" y="82"/>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3" name="Group 2">
              <a:extLst>
                <a:ext uri="{FF2B5EF4-FFF2-40B4-BE49-F238E27FC236}">
                  <a16:creationId xmlns:a16="http://schemas.microsoft.com/office/drawing/2014/main" id="{21243146-7BB5-425C-9CEA-5E4739931D1C}"/>
                </a:ext>
              </a:extLst>
            </p:cNvPr>
            <p:cNvGrpSpPr/>
            <p:nvPr/>
          </p:nvGrpSpPr>
          <p:grpSpPr>
            <a:xfrm>
              <a:off x="2932407" y="1347675"/>
              <a:ext cx="228600" cy="86487"/>
              <a:chOff x="2953391" y="1331770"/>
              <a:chExt cx="228600" cy="86487"/>
            </a:xfrm>
          </p:grpSpPr>
          <p:sp>
            <p:nvSpPr>
              <p:cNvPr id="2" name="Rectangle: Rounded Corners 1">
                <a:extLst>
                  <a:ext uri="{FF2B5EF4-FFF2-40B4-BE49-F238E27FC236}">
                    <a16:creationId xmlns:a16="http://schemas.microsoft.com/office/drawing/2014/main" id="{7BCE8552-C647-4FE1-B100-C736ACC721E4}"/>
                  </a:ext>
                </a:extLst>
              </p:cNvPr>
              <p:cNvSpPr/>
              <p:nvPr/>
            </p:nvSpPr>
            <p:spPr>
              <a:xfrm rot="10800000" flipV="1">
                <a:off x="2953391" y="1331770"/>
                <a:ext cx="228600" cy="27432"/>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430" name="Rectangle: Rounded Corners 429">
                <a:extLst>
                  <a:ext uri="{FF2B5EF4-FFF2-40B4-BE49-F238E27FC236}">
                    <a16:creationId xmlns:a16="http://schemas.microsoft.com/office/drawing/2014/main" id="{3AB9939A-8EE4-4994-A8B8-0FC5A48622E0}"/>
                  </a:ext>
                </a:extLst>
              </p:cNvPr>
              <p:cNvSpPr/>
              <p:nvPr/>
            </p:nvSpPr>
            <p:spPr>
              <a:xfrm rot="10800000" flipV="1">
                <a:off x="2953391" y="1390825"/>
                <a:ext cx="228600" cy="27432"/>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grpSp>
      <p:grpSp>
        <p:nvGrpSpPr>
          <p:cNvPr id="8" name="Group 7">
            <a:extLst>
              <a:ext uri="{FF2B5EF4-FFF2-40B4-BE49-F238E27FC236}">
                <a16:creationId xmlns:a16="http://schemas.microsoft.com/office/drawing/2014/main" id="{8037A380-DE7A-4C8D-93FC-1093D86F57CE}"/>
              </a:ext>
            </a:extLst>
          </p:cNvPr>
          <p:cNvGrpSpPr/>
          <p:nvPr/>
        </p:nvGrpSpPr>
        <p:grpSpPr>
          <a:xfrm>
            <a:off x="7347317" y="1144063"/>
            <a:ext cx="585216" cy="585216"/>
            <a:chOff x="7347317" y="1144063"/>
            <a:chExt cx="585216" cy="585216"/>
          </a:xfrm>
        </p:grpSpPr>
        <p:sp>
          <p:nvSpPr>
            <p:cNvPr id="433" name="Oval 432">
              <a:extLst>
                <a:ext uri="{FF2B5EF4-FFF2-40B4-BE49-F238E27FC236}">
                  <a16:creationId xmlns:a16="http://schemas.microsoft.com/office/drawing/2014/main" id="{215E36D6-48BC-44DE-89F6-BC4BAB08D86A}"/>
                </a:ext>
              </a:extLst>
            </p:cNvPr>
            <p:cNvSpPr/>
            <p:nvPr/>
          </p:nvSpPr>
          <p:spPr>
            <a:xfrm>
              <a:off x="7347317" y="1144063"/>
              <a:ext cx="585216" cy="585216"/>
            </a:xfrm>
            <a:prstGeom prst="ellipse">
              <a:avLst/>
            </a:prstGeom>
            <a:solidFill>
              <a:schemeClr val="tx2"/>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iscoSansTT ExtraLight"/>
                <a:ea typeface="ＭＳ Ｐゴシック" charset="0"/>
                <a:cs typeface="+mn-cs"/>
              </a:endParaRPr>
            </a:p>
          </p:txBody>
        </p:sp>
        <p:grpSp>
          <p:nvGrpSpPr>
            <p:cNvPr id="7" name="Group 6">
              <a:extLst>
                <a:ext uri="{FF2B5EF4-FFF2-40B4-BE49-F238E27FC236}">
                  <a16:creationId xmlns:a16="http://schemas.microsoft.com/office/drawing/2014/main" id="{132241B5-65E0-4D39-943E-0708C1BDF790}"/>
                </a:ext>
              </a:extLst>
            </p:cNvPr>
            <p:cNvGrpSpPr/>
            <p:nvPr/>
          </p:nvGrpSpPr>
          <p:grpSpPr>
            <a:xfrm>
              <a:off x="7462052" y="1238256"/>
              <a:ext cx="355747" cy="396830"/>
              <a:chOff x="8051137" y="912911"/>
              <a:chExt cx="355747" cy="396830"/>
            </a:xfrm>
          </p:grpSpPr>
          <p:sp>
            <p:nvSpPr>
              <p:cNvPr id="536" name="Freeform 100">
                <a:extLst>
                  <a:ext uri="{FF2B5EF4-FFF2-40B4-BE49-F238E27FC236}">
                    <a16:creationId xmlns:a16="http://schemas.microsoft.com/office/drawing/2014/main" id="{61B96546-39F7-4958-920D-01F2ACB24500}"/>
                  </a:ext>
                </a:extLst>
              </p:cNvPr>
              <p:cNvSpPr>
                <a:spLocks noEditPoints="1"/>
              </p:cNvSpPr>
              <p:nvPr/>
            </p:nvSpPr>
            <p:spPr bwMode="auto">
              <a:xfrm>
                <a:off x="8051137" y="961217"/>
                <a:ext cx="355747" cy="348524"/>
              </a:xfrm>
              <a:custGeom>
                <a:avLst/>
                <a:gdLst>
                  <a:gd name="T0" fmla="*/ 324 w 715"/>
                  <a:gd name="T1" fmla="*/ 33 h 701"/>
                  <a:gd name="T2" fmla="*/ 330 w 715"/>
                  <a:gd name="T3" fmla="*/ 44 h 701"/>
                  <a:gd name="T4" fmla="*/ 328 w 715"/>
                  <a:gd name="T5" fmla="*/ 41 h 701"/>
                  <a:gd name="T6" fmla="*/ 324 w 715"/>
                  <a:gd name="T7" fmla="*/ 33 h 701"/>
                  <a:gd name="T8" fmla="*/ 453 w 715"/>
                  <a:gd name="T9" fmla="*/ 0 h 701"/>
                  <a:gd name="T10" fmla="*/ 406 w 715"/>
                  <a:gd name="T11" fmla="*/ 31 h 701"/>
                  <a:gd name="T12" fmla="*/ 429 w 715"/>
                  <a:gd name="T13" fmla="*/ 67 h 701"/>
                  <a:gd name="T14" fmla="*/ 469 w 715"/>
                  <a:gd name="T15" fmla="*/ 80 h 701"/>
                  <a:gd name="T16" fmla="*/ 595 w 715"/>
                  <a:gd name="T17" fmla="*/ 184 h 701"/>
                  <a:gd name="T18" fmla="*/ 644 w 715"/>
                  <a:gd name="T19" fmla="*/ 344 h 701"/>
                  <a:gd name="T20" fmla="*/ 621 w 715"/>
                  <a:gd name="T21" fmla="*/ 456 h 701"/>
                  <a:gd name="T22" fmla="*/ 518 w 715"/>
                  <a:gd name="T23" fmla="*/ 582 h 701"/>
                  <a:gd name="T24" fmla="*/ 357 w 715"/>
                  <a:gd name="T25" fmla="*/ 631 h 701"/>
                  <a:gd name="T26" fmla="*/ 246 w 715"/>
                  <a:gd name="T27" fmla="*/ 608 h 701"/>
                  <a:gd name="T28" fmla="*/ 120 w 715"/>
                  <a:gd name="T29" fmla="*/ 504 h 701"/>
                  <a:gd name="T30" fmla="*/ 71 w 715"/>
                  <a:gd name="T31" fmla="*/ 344 h 701"/>
                  <a:gd name="T32" fmla="*/ 35 w 715"/>
                  <a:gd name="T33" fmla="*/ 309 h 701"/>
                  <a:gd name="T34" fmla="*/ 0 w 715"/>
                  <a:gd name="T35" fmla="*/ 344 h 701"/>
                  <a:gd name="T36" fmla="*/ 28 w 715"/>
                  <a:gd name="T37" fmla="*/ 483 h 701"/>
                  <a:gd name="T38" fmla="*/ 157 w 715"/>
                  <a:gd name="T39" fmla="*/ 640 h 701"/>
                  <a:gd name="T40" fmla="*/ 357 w 715"/>
                  <a:gd name="T41" fmla="*/ 701 h 701"/>
                  <a:gd name="T42" fmla="*/ 357 w 715"/>
                  <a:gd name="T43" fmla="*/ 701 h 701"/>
                  <a:gd name="T44" fmla="*/ 496 w 715"/>
                  <a:gd name="T45" fmla="*/ 673 h 701"/>
                  <a:gd name="T46" fmla="*/ 654 w 715"/>
                  <a:gd name="T47" fmla="*/ 544 h 701"/>
                  <a:gd name="T48" fmla="*/ 715 w 715"/>
                  <a:gd name="T49" fmla="*/ 344 h 701"/>
                  <a:gd name="T50" fmla="*/ 686 w 715"/>
                  <a:gd name="T51" fmla="*/ 205 h 701"/>
                  <a:gd name="T52" fmla="*/ 557 w 715"/>
                  <a:gd name="T53" fmla="*/ 48 h 701"/>
                  <a:gd name="T54" fmla="*/ 453 w 715"/>
                  <a:gd name="T55"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5" h="701">
                    <a:moveTo>
                      <a:pt x="324" y="33"/>
                    </a:moveTo>
                    <a:cubicBezTo>
                      <a:pt x="325" y="37"/>
                      <a:pt x="327" y="41"/>
                      <a:pt x="330" y="44"/>
                    </a:cubicBezTo>
                    <a:cubicBezTo>
                      <a:pt x="328" y="41"/>
                      <a:pt x="328" y="41"/>
                      <a:pt x="328" y="41"/>
                    </a:cubicBezTo>
                    <a:cubicBezTo>
                      <a:pt x="326" y="38"/>
                      <a:pt x="325" y="36"/>
                      <a:pt x="324" y="33"/>
                    </a:cubicBezTo>
                    <a:moveTo>
                      <a:pt x="453" y="0"/>
                    </a:moveTo>
                    <a:cubicBezTo>
                      <a:pt x="406" y="31"/>
                      <a:pt x="406" y="31"/>
                      <a:pt x="406" y="31"/>
                    </a:cubicBezTo>
                    <a:cubicBezTo>
                      <a:pt x="429" y="67"/>
                      <a:pt x="429" y="67"/>
                      <a:pt x="429" y="67"/>
                    </a:cubicBezTo>
                    <a:cubicBezTo>
                      <a:pt x="443" y="70"/>
                      <a:pt x="456" y="75"/>
                      <a:pt x="469" y="80"/>
                    </a:cubicBezTo>
                    <a:cubicBezTo>
                      <a:pt x="520" y="102"/>
                      <a:pt x="564" y="138"/>
                      <a:pt x="595" y="184"/>
                    </a:cubicBezTo>
                    <a:cubicBezTo>
                      <a:pt x="626" y="230"/>
                      <a:pt x="644" y="285"/>
                      <a:pt x="644" y="344"/>
                    </a:cubicBezTo>
                    <a:cubicBezTo>
                      <a:pt x="644" y="384"/>
                      <a:pt x="636" y="421"/>
                      <a:pt x="621" y="456"/>
                    </a:cubicBezTo>
                    <a:cubicBezTo>
                      <a:pt x="600" y="507"/>
                      <a:pt x="563" y="551"/>
                      <a:pt x="518" y="582"/>
                    </a:cubicBezTo>
                    <a:cubicBezTo>
                      <a:pt x="472" y="613"/>
                      <a:pt x="417" y="631"/>
                      <a:pt x="357" y="631"/>
                    </a:cubicBezTo>
                    <a:cubicBezTo>
                      <a:pt x="318" y="631"/>
                      <a:pt x="280" y="623"/>
                      <a:pt x="246" y="608"/>
                    </a:cubicBezTo>
                    <a:cubicBezTo>
                      <a:pt x="194" y="586"/>
                      <a:pt x="150" y="550"/>
                      <a:pt x="120" y="504"/>
                    </a:cubicBezTo>
                    <a:cubicBezTo>
                      <a:pt x="89" y="458"/>
                      <a:pt x="71" y="404"/>
                      <a:pt x="71" y="344"/>
                    </a:cubicBezTo>
                    <a:cubicBezTo>
                      <a:pt x="71" y="325"/>
                      <a:pt x="55" y="309"/>
                      <a:pt x="35" y="309"/>
                    </a:cubicBezTo>
                    <a:cubicBezTo>
                      <a:pt x="16" y="309"/>
                      <a:pt x="0" y="325"/>
                      <a:pt x="0" y="344"/>
                    </a:cubicBezTo>
                    <a:cubicBezTo>
                      <a:pt x="0" y="393"/>
                      <a:pt x="10" y="440"/>
                      <a:pt x="28" y="483"/>
                    </a:cubicBezTo>
                    <a:cubicBezTo>
                      <a:pt x="55" y="547"/>
                      <a:pt x="100" y="602"/>
                      <a:pt x="157" y="640"/>
                    </a:cubicBezTo>
                    <a:cubicBezTo>
                      <a:pt x="214" y="679"/>
                      <a:pt x="283" y="701"/>
                      <a:pt x="357" y="701"/>
                    </a:cubicBezTo>
                    <a:cubicBezTo>
                      <a:pt x="357" y="701"/>
                      <a:pt x="357" y="701"/>
                      <a:pt x="357" y="701"/>
                    </a:cubicBezTo>
                    <a:cubicBezTo>
                      <a:pt x="406" y="701"/>
                      <a:pt x="454" y="691"/>
                      <a:pt x="496" y="673"/>
                    </a:cubicBezTo>
                    <a:cubicBezTo>
                      <a:pt x="561" y="646"/>
                      <a:pt x="615" y="601"/>
                      <a:pt x="654" y="544"/>
                    </a:cubicBezTo>
                    <a:cubicBezTo>
                      <a:pt x="692" y="487"/>
                      <a:pt x="715" y="418"/>
                      <a:pt x="715" y="344"/>
                    </a:cubicBezTo>
                    <a:cubicBezTo>
                      <a:pt x="715" y="295"/>
                      <a:pt x="705" y="248"/>
                      <a:pt x="686" y="205"/>
                    </a:cubicBezTo>
                    <a:cubicBezTo>
                      <a:pt x="659" y="141"/>
                      <a:pt x="614" y="86"/>
                      <a:pt x="557" y="48"/>
                    </a:cubicBezTo>
                    <a:cubicBezTo>
                      <a:pt x="526" y="27"/>
                      <a:pt x="491" y="10"/>
                      <a:pt x="453"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nvGrpSpPr>
              <p:cNvPr id="6" name="Group 5">
                <a:extLst>
                  <a:ext uri="{FF2B5EF4-FFF2-40B4-BE49-F238E27FC236}">
                    <a16:creationId xmlns:a16="http://schemas.microsoft.com/office/drawing/2014/main" id="{B3089C0A-719F-4601-86AC-DB443FAF29D3}"/>
                  </a:ext>
                </a:extLst>
              </p:cNvPr>
              <p:cNvGrpSpPr/>
              <p:nvPr/>
            </p:nvGrpSpPr>
            <p:grpSpPr>
              <a:xfrm>
                <a:off x="8210727" y="912911"/>
                <a:ext cx="99997" cy="138146"/>
                <a:chOff x="8210727" y="912911"/>
                <a:chExt cx="99997" cy="138146"/>
              </a:xfrm>
            </p:grpSpPr>
            <p:sp>
              <p:nvSpPr>
                <p:cNvPr id="533" name="Freeform 97">
                  <a:extLst>
                    <a:ext uri="{FF2B5EF4-FFF2-40B4-BE49-F238E27FC236}">
                      <a16:creationId xmlns:a16="http://schemas.microsoft.com/office/drawing/2014/main" id="{819BC477-9981-487B-9815-EF03CF01C277}"/>
                    </a:ext>
                  </a:extLst>
                </p:cNvPr>
                <p:cNvSpPr>
                  <a:spLocks/>
                </p:cNvSpPr>
                <p:nvPr/>
              </p:nvSpPr>
              <p:spPr bwMode="auto">
                <a:xfrm>
                  <a:off x="8215015" y="982887"/>
                  <a:ext cx="74942" cy="68170"/>
                </a:xfrm>
                <a:custGeom>
                  <a:avLst/>
                  <a:gdLst>
                    <a:gd name="T0" fmla="*/ 0 w 150"/>
                    <a:gd name="T1" fmla="*/ 0 h 137"/>
                    <a:gd name="T2" fmla="*/ 81 w 150"/>
                    <a:gd name="T3" fmla="*/ 122 h 137"/>
                    <a:gd name="T4" fmla="*/ 110 w 150"/>
                    <a:gd name="T5" fmla="*/ 137 h 137"/>
                    <a:gd name="T6" fmla="*/ 130 w 150"/>
                    <a:gd name="T7" fmla="*/ 131 h 137"/>
                    <a:gd name="T8" fmla="*/ 139 w 150"/>
                    <a:gd name="T9" fmla="*/ 82 h 137"/>
                    <a:gd name="T10" fmla="*/ 99 w 150"/>
                    <a:gd name="T11" fmla="*/ 23 h 137"/>
                    <a:gd name="T12" fmla="*/ 27 w 150"/>
                    <a:gd name="T13" fmla="*/ 13 h 137"/>
                    <a:gd name="T14" fmla="*/ 0 w 150"/>
                    <a:gd name="T15" fmla="*/ 0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37">
                      <a:moveTo>
                        <a:pt x="0" y="0"/>
                      </a:moveTo>
                      <a:cubicBezTo>
                        <a:pt x="81" y="122"/>
                        <a:pt x="81" y="122"/>
                        <a:pt x="81" y="122"/>
                      </a:cubicBezTo>
                      <a:cubicBezTo>
                        <a:pt x="87" y="132"/>
                        <a:pt x="99" y="137"/>
                        <a:pt x="110" y="137"/>
                      </a:cubicBezTo>
                      <a:cubicBezTo>
                        <a:pt x="117" y="137"/>
                        <a:pt x="124" y="135"/>
                        <a:pt x="130" y="131"/>
                      </a:cubicBezTo>
                      <a:cubicBezTo>
                        <a:pt x="146" y="121"/>
                        <a:pt x="150" y="99"/>
                        <a:pt x="139" y="82"/>
                      </a:cubicBezTo>
                      <a:cubicBezTo>
                        <a:pt x="99" y="23"/>
                        <a:pt x="99" y="23"/>
                        <a:pt x="99" y="23"/>
                      </a:cubicBezTo>
                      <a:cubicBezTo>
                        <a:pt x="76" y="17"/>
                        <a:pt x="52" y="13"/>
                        <a:pt x="27" y="13"/>
                      </a:cubicBezTo>
                      <a:cubicBezTo>
                        <a:pt x="16" y="13"/>
                        <a:pt x="6" y="8"/>
                        <a:pt x="0" y="0"/>
                      </a:cubicBezTo>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34" name="Freeform 98">
                  <a:extLst>
                    <a:ext uri="{FF2B5EF4-FFF2-40B4-BE49-F238E27FC236}">
                      <a16:creationId xmlns:a16="http://schemas.microsoft.com/office/drawing/2014/main" id="{899A0B6E-BD14-44CD-B4F0-3831E84505CC}"/>
                    </a:ext>
                  </a:extLst>
                </p:cNvPr>
                <p:cNvSpPr>
                  <a:spLocks/>
                </p:cNvSpPr>
                <p:nvPr/>
              </p:nvSpPr>
              <p:spPr bwMode="auto">
                <a:xfrm>
                  <a:off x="8211404" y="912911"/>
                  <a:ext cx="99320" cy="58689"/>
                </a:xfrm>
                <a:custGeom>
                  <a:avLst/>
                  <a:gdLst>
                    <a:gd name="T0" fmla="*/ 160 w 200"/>
                    <a:gd name="T1" fmla="*/ 0 h 118"/>
                    <a:gd name="T2" fmla="*/ 140 w 200"/>
                    <a:gd name="T3" fmla="*/ 6 h 118"/>
                    <a:gd name="T4" fmla="*/ 15 w 200"/>
                    <a:gd name="T5" fmla="*/ 89 h 118"/>
                    <a:gd name="T6" fmla="*/ 0 w 200"/>
                    <a:gd name="T7" fmla="*/ 118 h 118"/>
                    <a:gd name="T8" fmla="*/ 15 w 200"/>
                    <a:gd name="T9" fmla="*/ 89 h 118"/>
                    <a:gd name="T10" fmla="*/ 35 w 200"/>
                    <a:gd name="T11" fmla="*/ 83 h 118"/>
                    <a:gd name="T12" fmla="*/ 42 w 200"/>
                    <a:gd name="T13" fmla="*/ 84 h 118"/>
                    <a:gd name="T14" fmla="*/ 131 w 200"/>
                    <a:gd name="T15" fmla="*/ 97 h 118"/>
                    <a:gd name="T16" fmla="*/ 179 w 200"/>
                    <a:gd name="T17" fmla="*/ 65 h 118"/>
                    <a:gd name="T18" fmla="*/ 189 w 200"/>
                    <a:gd name="T19" fmla="*/ 16 h 118"/>
                    <a:gd name="T20" fmla="*/ 160 w 200"/>
                    <a:gd name="T21"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118">
                      <a:moveTo>
                        <a:pt x="160" y="0"/>
                      </a:moveTo>
                      <a:cubicBezTo>
                        <a:pt x="153" y="0"/>
                        <a:pt x="146" y="2"/>
                        <a:pt x="140" y="6"/>
                      </a:cubicBezTo>
                      <a:cubicBezTo>
                        <a:pt x="15" y="89"/>
                        <a:pt x="15" y="89"/>
                        <a:pt x="15" y="89"/>
                      </a:cubicBezTo>
                      <a:cubicBezTo>
                        <a:pt x="5" y="96"/>
                        <a:pt x="0" y="107"/>
                        <a:pt x="0" y="118"/>
                      </a:cubicBezTo>
                      <a:cubicBezTo>
                        <a:pt x="0" y="107"/>
                        <a:pt x="5" y="96"/>
                        <a:pt x="15" y="89"/>
                      </a:cubicBezTo>
                      <a:cubicBezTo>
                        <a:pt x="21" y="85"/>
                        <a:pt x="28" y="83"/>
                        <a:pt x="35" y="83"/>
                      </a:cubicBezTo>
                      <a:cubicBezTo>
                        <a:pt x="37" y="83"/>
                        <a:pt x="40" y="83"/>
                        <a:pt x="42" y="84"/>
                      </a:cubicBezTo>
                      <a:cubicBezTo>
                        <a:pt x="73" y="84"/>
                        <a:pt x="103" y="89"/>
                        <a:pt x="131" y="97"/>
                      </a:cubicBezTo>
                      <a:cubicBezTo>
                        <a:pt x="179" y="65"/>
                        <a:pt x="179" y="65"/>
                        <a:pt x="179" y="65"/>
                      </a:cubicBezTo>
                      <a:cubicBezTo>
                        <a:pt x="196" y="54"/>
                        <a:pt x="200" y="32"/>
                        <a:pt x="189" y="16"/>
                      </a:cubicBezTo>
                      <a:cubicBezTo>
                        <a:pt x="182" y="6"/>
                        <a:pt x="171" y="0"/>
                        <a:pt x="160" y="0"/>
                      </a:cubicBezTo>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35" name="Freeform 99">
                  <a:extLst>
                    <a:ext uri="{FF2B5EF4-FFF2-40B4-BE49-F238E27FC236}">
                      <a16:creationId xmlns:a16="http://schemas.microsoft.com/office/drawing/2014/main" id="{48AC5DB0-0776-460E-85AC-6C9461E3B41C}"/>
                    </a:ext>
                  </a:extLst>
                </p:cNvPr>
                <p:cNvSpPr>
                  <a:spLocks/>
                </p:cNvSpPr>
                <p:nvPr/>
              </p:nvSpPr>
              <p:spPr bwMode="auto">
                <a:xfrm>
                  <a:off x="8211404" y="953993"/>
                  <a:ext cx="20767" cy="23476"/>
                </a:xfrm>
                <a:custGeom>
                  <a:avLst/>
                  <a:gdLst>
                    <a:gd name="T0" fmla="*/ 35 w 42"/>
                    <a:gd name="T1" fmla="*/ 0 h 47"/>
                    <a:gd name="T2" fmla="*/ 15 w 42"/>
                    <a:gd name="T3" fmla="*/ 6 h 47"/>
                    <a:gd name="T4" fmla="*/ 0 w 42"/>
                    <a:gd name="T5" fmla="*/ 35 h 47"/>
                    <a:gd name="T6" fmla="*/ 2 w 42"/>
                    <a:gd name="T7" fmla="*/ 47 h 47"/>
                    <a:gd name="T8" fmla="*/ 0 w 42"/>
                    <a:gd name="T9" fmla="*/ 36 h 47"/>
                    <a:gd name="T10" fmla="*/ 35 w 42"/>
                    <a:gd name="T11" fmla="*/ 1 h 47"/>
                    <a:gd name="T12" fmla="*/ 35 w 42"/>
                    <a:gd name="T13" fmla="*/ 1 h 47"/>
                    <a:gd name="T14" fmla="*/ 42 w 42"/>
                    <a:gd name="T15" fmla="*/ 1 h 47"/>
                    <a:gd name="T16" fmla="*/ 35 w 42"/>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7">
                      <a:moveTo>
                        <a:pt x="35" y="0"/>
                      </a:moveTo>
                      <a:cubicBezTo>
                        <a:pt x="28" y="0"/>
                        <a:pt x="21" y="2"/>
                        <a:pt x="15" y="6"/>
                      </a:cubicBezTo>
                      <a:cubicBezTo>
                        <a:pt x="5" y="13"/>
                        <a:pt x="0" y="24"/>
                        <a:pt x="0" y="35"/>
                      </a:cubicBezTo>
                      <a:cubicBezTo>
                        <a:pt x="0" y="39"/>
                        <a:pt x="0" y="43"/>
                        <a:pt x="2" y="47"/>
                      </a:cubicBezTo>
                      <a:cubicBezTo>
                        <a:pt x="1" y="44"/>
                        <a:pt x="0" y="40"/>
                        <a:pt x="0" y="36"/>
                      </a:cubicBezTo>
                      <a:cubicBezTo>
                        <a:pt x="0" y="17"/>
                        <a:pt x="16" y="1"/>
                        <a:pt x="35" y="1"/>
                      </a:cubicBezTo>
                      <a:cubicBezTo>
                        <a:pt x="35" y="1"/>
                        <a:pt x="35" y="1"/>
                        <a:pt x="35" y="1"/>
                      </a:cubicBezTo>
                      <a:cubicBezTo>
                        <a:pt x="38" y="1"/>
                        <a:pt x="40" y="1"/>
                        <a:pt x="42" y="1"/>
                      </a:cubicBezTo>
                      <a:cubicBezTo>
                        <a:pt x="40" y="0"/>
                        <a:pt x="37" y="0"/>
                        <a:pt x="35" y="0"/>
                      </a:cubicBezTo>
                    </a:path>
                  </a:pathLst>
                </a:custGeom>
                <a:solidFill>
                  <a:schemeClr val="accent5"/>
                </a:solidFill>
                <a:ln w="9525">
                  <a:solidFill>
                    <a:schemeClr val="accent5"/>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37" name="Freeform 101">
                  <a:extLst>
                    <a:ext uri="{FF2B5EF4-FFF2-40B4-BE49-F238E27FC236}">
                      <a16:creationId xmlns:a16="http://schemas.microsoft.com/office/drawing/2014/main" id="{0A5B785B-10FF-48F9-BA6C-FE49660DCFF3}"/>
                    </a:ext>
                  </a:extLst>
                </p:cNvPr>
                <p:cNvSpPr>
                  <a:spLocks/>
                </p:cNvSpPr>
                <p:nvPr/>
              </p:nvSpPr>
              <p:spPr bwMode="auto">
                <a:xfrm>
                  <a:off x="8212307" y="976566"/>
                  <a:ext cx="52369" cy="17607"/>
                </a:xfrm>
                <a:custGeom>
                  <a:avLst/>
                  <a:gdLst>
                    <a:gd name="T0" fmla="*/ 82 w 105"/>
                    <a:gd name="T1" fmla="*/ 0 h 36"/>
                    <a:gd name="T2" fmla="*/ 53 w 105"/>
                    <a:gd name="T3" fmla="*/ 20 h 36"/>
                    <a:gd name="T4" fmla="*/ 33 w 105"/>
                    <a:gd name="T5" fmla="*/ 26 h 36"/>
                    <a:gd name="T6" fmla="*/ 4 w 105"/>
                    <a:gd name="T7" fmla="*/ 10 h 36"/>
                    <a:gd name="T8" fmla="*/ 0 w 105"/>
                    <a:gd name="T9" fmla="*/ 2 h 36"/>
                    <a:gd name="T10" fmla="*/ 0 w 105"/>
                    <a:gd name="T11" fmla="*/ 2 h 36"/>
                    <a:gd name="T12" fmla="*/ 4 w 105"/>
                    <a:gd name="T13" fmla="*/ 10 h 36"/>
                    <a:gd name="T14" fmla="*/ 6 w 105"/>
                    <a:gd name="T15" fmla="*/ 13 h 36"/>
                    <a:gd name="T16" fmla="*/ 33 w 105"/>
                    <a:gd name="T17" fmla="*/ 26 h 36"/>
                    <a:gd name="T18" fmla="*/ 105 w 105"/>
                    <a:gd name="T19" fmla="*/ 36 h 36"/>
                    <a:gd name="T20" fmla="*/ 82 w 105"/>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36">
                      <a:moveTo>
                        <a:pt x="82" y="0"/>
                      </a:moveTo>
                      <a:cubicBezTo>
                        <a:pt x="53" y="20"/>
                        <a:pt x="53" y="20"/>
                        <a:pt x="53" y="20"/>
                      </a:cubicBezTo>
                      <a:cubicBezTo>
                        <a:pt x="47" y="24"/>
                        <a:pt x="40" y="26"/>
                        <a:pt x="33" y="26"/>
                      </a:cubicBezTo>
                      <a:cubicBezTo>
                        <a:pt x="22" y="26"/>
                        <a:pt x="10" y="20"/>
                        <a:pt x="4" y="10"/>
                      </a:cubicBezTo>
                      <a:cubicBezTo>
                        <a:pt x="2" y="7"/>
                        <a:pt x="1" y="5"/>
                        <a:pt x="0" y="2"/>
                      </a:cubicBezTo>
                      <a:cubicBezTo>
                        <a:pt x="0" y="2"/>
                        <a:pt x="0" y="2"/>
                        <a:pt x="0" y="2"/>
                      </a:cubicBezTo>
                      <a:cubicBezTo>
                        <a:pt x="1" y="5"/>
                        <a:pt x="2" y="7"/>
                        <a:pt x="4" y="10"/>
                      </a:cubicBezTo>
                      <a:cubicBezTo>
                        <a:pt x="6" y="13"/>
                        <a:pt x="6" y="13"/>
                        <a:pt x="6" y="13"/>
                      </a:cubicBezTo>
                      <a:cubicBezTo>
                        <a:pt x="12" y="21"/>
                        <a:pt x="22" y="26"/>
                        <a:pt x="33" y="26"/>
                      </a:cubicBezTo>
                      <a:cubicBezTo>
                        <a:pt x="58" y="26"/>
                        <a:pt x="82" y="30"/>
                        <a:pt x="105" y="36"/>
                      </a:cubicBezTo>
                      <a:cubicBezTo>
                        <a:pt x="82" y="0"/>
                        <a:pt x="82" y="0"/>
                        <a:pt x="82" y="0"/>
                      </a:cubicBezTo>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38" name="Freeform 102">
                  <a:extLst>
                    <a:ext uri="{FF2B5EF4-FFF2-40B4-BE49-F238E27FC236}">
                      <a16:creationId xmlns:a16="http://schemas.microsoft.com/office/drawing/2014/main" id="{A5392333-4E18-4AF6-9C81-BD946B0B2A43}"/>
                    </a:ext>
                  </a:extLst>
                </p:cNvPr>
                <p:cNvSpPr>
                  <a:spLocks/>
                </p:cNvSpPr>
                <p:nvPr/>
              </p:nvSpPr>
              <p:spPr bwMode="auto">
                <a:xfrm>
                  <a:off x="8232171" y="954445"/>
                  <a:ext cx="44243" cy="22121"/>
                </a:xfrm>
                <a:custGeom>
                  <a:avLst/>
                  <a:gdLst>
                    <a:gd name="T0" fmla="*/ 0 w 89"/>
                    <a:gd name="T1" fmla="*/ 0 h 44"/>
                    <a:gd name="T2" fmla="*/ 22 w 89"/>
                    <a:gd name="T3" fmla="*/ 15 h 44"/>
                    <a:gd name="T4" fmla="*/ 42 w 89"/>
                    <a:gd name="T5" fmla="*/ 44 h 44"/>
                    <a:gd name="T6" fmla="*/ 89 w 89"/>
                    <a:gd name="T7" fmla="*/ 13 h 44"/>
                    <a:gd name="T8" fmla="*/ 0 w 89"/>
                    <a:gd name="T9" fmla="*/ 0 h 44"/>
                  </a:gdLst>
                  <a:ahLst/>
                  <a:cxnLst>
                    <a:cxn ang="0">
                      <a:pos x="T0" y="T1"/>
                    </a:cxn>
                    <a:cxn ang="0">
                      <a:pos x="T2" y="T3"/>
                    </a:cxn>
                    <a:cxn ang="0">
                      <a:pos x="T4" y="T5"/>
                    </a:cxn>
                    <a:cxn ang="0">
                      <a:pos x="T6" y="T7"/>
                    </a:cxn>
                    <a:cxn ang="0">
                      <a:pos x="T8" y="T9"/>
                    </a:cxn>
                  </a:cxnLst>
                  <a:rect l="0" t="0" r="r" b="b"/>
                  <a:pathLst>
                    <a:path w="89" h="44">
                      <a:moveTo>
                        <a:pt x="0" y="0"/>
                      </a:moveTo>
                      <a:cubicBezTo>
                        <a:pt x="9" y="2"/>
                        <a:pt x="17" y="7"/>
                        <a:pt x="22" y="15"/>
                      </a:cubicBezTo>
                      <a:cubicBezTo>
                        <a:pt x="42" y="44"/>
                        <a:pt x="42" y="44"/>
                        <a:pt x="42" y="44"/>
                      </a:cubicBezTo>
                      <a:cubicBezTo>
                        <a:pt x="89" y="13"/>
                        <a:pt x="89" y="13"/>
                        <a:pt x="89" y="13"/>
                      </a:cubicBezTo>
                      <a:cubicBezTo>
                        <a:pt x="61" y="5"/>
                        <a:pt x="31" y="0"/>
                        <a:pt x="0" y="0"/>
                      </a:cubicBezTo>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39" name="Freeform 103">
                  <a:extLst>
                    <a:ext uri="{FF2B5EF4-FFF2-40B4-BE49-F238E27FC236}">
                      <a16:creationId xmlns:a16="http://schemas.microsoft.com/office/drawing/2014/main" id="{1F753EBB-AB27-45E3-95ED-618D1333472B}"/>
                    </a:ext>
                  </a:extLst>
                </p:cNvPr>
                <p:cNvSpPr>
                  <a:spLocks/>
                </p:cNvSpPr>
                <p:nvPr/>
              </p:nvSpPr>
              <p:spPr bwMode="auto">
                <a:xfrm>
                  <a:off x="8210727" y="954445"/>
                  <a:ext cx="41534" cy="34762"/>
                </a:xfrm>
                <a:custGeom>
                  <a:avLst/>
                  <a:gdLst>
                    <a:gd name="T0" fmla="*/ 35 w 84"/>
                    <a:gd name="T1" fmla="*/ 0 h 70"/>
                    <a:gd name="T2" fmla="*/ 35 w 84"/>
                    <a:gd name="T3" fmla="*/ 0 h 70"/>
                    <a:gd name="T4" fmla="*/ 0 w 84"/>
                    <a:gd name="T5" fmla="*/ 35 h 70"/>
                    <a:gd name="T6" fmla="*/ 2 w 84"/>
                    <a:gd name="T7" fmla="*/ 46 h 70"/>
                    <a:gd name="T8" fmla="*/ 6 w 84"/>
                    <a:gd name="T9" fmla="*/ 54 h 70"/>
                    <a:gd name="T10" fmla="*/ 35 w 84"/>
                    <a:gd name="T11" fmla="*/ 70 h 70"/>
                    <a:gd name="T12" fmla="*/ 55 w 84"/>
                    <a:gd name="T13" fmla="*/ 64 h 70"/>
                    <a:gd name="T14" fmla="*/ 84 w 84"/>
                    <a:gd name="T15" fmla="*/ 44 h 70"/>
                    <a:gd name="T16" fmla="*/ 64 w 84"/>
                    <a:gd name="T17" fmla="*/ 15 h 70"/>
                    <a:gd name="T18" fmla="*/ 42 w 84"/>
                    <a:gd name="T19" fmla="*/ 0 h 70"/>
                    <a:gd name="T20" fmla="*/ 35 w 84"/>
                    <a:gd name="T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70">
                      <a:moveTo>
                        <a:pt x="35" y="0"/>
                      </a:moveTo>
                      <a:cubicBezTo>
                        <a:pt x="35" y="0"/>
                        <a:pt x="35" y="0"/>
                        <a:pt x="35" y="0"/>
                      </a:cubicBezTo>
                      <a:cubicBezTo>
                        <a:pt x="16" y="0"/>
                        <a:pt x="0" y="16"/>
                        <a:pt x="0" y="35"/>
                      </a:cubicBezTo>
                      <a:cubicBezTo>
                        <a:pt x="0" y="39"/>
                        <a:pt x="1" y="43"/>
                        <a:pt x="2" y="46"/>
                      </a:cubicBezTo>
                      <a:cubicBezTo>
                        <a:pt x="3" y="49"/>
                        <a:pt x="4" y="51"/>
                        <a:pt x="6" y="54"/>
                      </a:cubicBezTo>
                      <a:cubicBezTo>
                        <a:pt x="12" y="64"/>
                        <a:pt x="24" y="70"/>
                        <a:pt x="35" y="70"/>
                      </a:cubicBezTo>
                      <a:cubicBezTo>
                        <a:pt x="42" y="70"/>
                        <a:pt x="49" y="68"/>
                        <a:pt x="55" y="64"/>
                      </a:cubicBezTo>
                      <a:cubicBezTo>
                        <a:pt x="84" y="44"/>
                        <a:pt x="84" y="44"/>
                        <a:pt x="84" y="44"/>
                      </a:cubicBezTo>
                      <a:cubicBezTo>
                        <a:pt x="64" y="15"/>
                        <a:pt x="64" y="15"/>
                        <a:pt x="64" y="15"/>
                      </a:cubicBezTo>
                      <a:cubicBezTo>
                        <a:pt x="59" y="7"/>
                        <a:pt x="51" y="2"/>
                        <a:pt x="42" y="0"/>
                      </a:cubicBezTo>
                      <a:cubicBezTo>
                        <a:pt x="40" y="0"/>
                        <a:pt x="38" y="0"/>
                        <a:pt x="35" y="0"/>
                      </a:cubicBezTo>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grpSp>
      <p:sp>
        <p:nvSpPr>
          <p:cNvPr id="541" name="Freeform: Shape 540">
            <a:extLst>
              <a:ext uri="{FF2B5EF4-FFF2-40B4-BE49-F238E27FC236}">
                <a16:creationId xmlns:a16="http://schemas.microsoft.com/office/drawing/2014/main" id="{EA7E36EC-573B-421A-BCBC-E6DF739EF895}"/>
              </a:ext>
            </a:extLst>
          </p:cNvPr>
          <p:cNvSpPr/>
          <p:nvPr/>
        </p:nvSpPr>
        <p:spPr>
          <a:xfrm flipH="1">
            <a:off x="2275834" y="2411595"/>
            <a:ext cx="1195208" cy="528555"/>
          </a:xfrm>
          <a:custGeom>
            <a:avLst/>
            <a:gdLst>
              <a:gd name="connsiteX0" fmla="*/ 882876 w 1195208"/>
              <a:gd name="connsiteY0" fmla="*/ 0 h 528555"/>
              <a:gd name="connsiteX1" fmla="*/ 707913 w 1195208"/>
              <a:gd name="connsiteY1" fmla="*/ 0 h 528555"/>
              <a:gd name="connsiteX2" fmla="*/ 594430 w 1195208"/>
              <a:gd name="connsiteY2" fmla="*/ 113483 h 528555"/>
              <a:gd name="connsiteX3" fmla="*/ 601578 w 1195208"/>
              <a:gd name="connsiteY3" fmla="*/ 148886 h 528555"/>
              <a:gd name="connsiteX4" fmla="*/ 369448 w 1195208"/>
              <a:gd name="connsiteY4" fmla="*/ 148886 h 528555"/>
              <a:gd name="connsiteX5" fmla="*/ 255965 w 1195208"/>
              <a:gd name="connsiteY5" fmla="*/ 262369 h 528555"/>
              <a:gd name="connsiteX6" fmla="*/ 263883 w 1195208"/>
              <a:gd name="connsiteY6" fmla="*/ 301589 h 528555"/>
              <a:gd name="connsiteX7" fmla="*/ 113483 w 1195208"/>
              <a:gd name="connsiteY7" fmla="*/ 301589 h 528555"/>
              <a:gd name="connsiteX8" fmla="*/ 0 w 1195208"/>
              <a:gd name="connsiteY8" fmla="*/ 415072 h 528555"/>
              <a:gd name="connsiteX9" fmla="*/ 113483 w 1195208"/>
              <a:gd name="connsiteY9" fmla="*/ 528555 h 528555"/>
              <a:gd name="connsiteX10" fmla="*/ 1081725 w 1195208"/>
              <a:gd name="connsiteY10" fmla="*/ 528555 h 528555"/>
              <a:gd name="connsiteX11" fmla="*/ 1195208 w 1195208"/>
              <a:gd name="connsiteY11" fmla="*/ 415072 h 528555"/>
              <a:gd name="connsiteX12" fmla="*/ 1125898 w 1195208"/>
              <a:gd name="connsiteY12" fmla="*/ 310507 h 528555"/>
              <a:gd name="connsiteX13" fmla="*/ 1095755 w 1195208"/>
              <a:gd name="connsiteY13" fmla="*/ 304422 h 528555"/>
              <a:gd name="connsiteX14" fmla="*/ 1104245 w 1195208"/>
              <a:gd name="connsiteY14" fmla="*/ 262369 h 528555"/>
              <a:gd name="connsiteX15" fmla="*/ 990762 w 1195208"/>
              <a:gd name="connsiteY15" fmla="*/ 148886 h 528555"/>
              <a:gd name="connsiteX16" fmla="*/ 989212 w 1195208"/>
              <a:gd name="connsiteY16" fmla="*/ 148886 h 528555"/>
              <a:gd name="connsiteX17" fmla="*/ 996359 w 1195208"/>
              <a:gd name="connsiteY17" fmla="*/ 113483 h 528555"/>
              <a:gd name="connsiteX18" fmla="*/ 882876 w 1195208"/>
              <a:gd name="connsiteY18" fmla="*/ 0 h 528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95208" h="528555">
                <a:moveTo>
                  <a:pt x="882876" y="0"/>
                </a:moveTo>
                <a:lnTo>
                  <a:pt x="707913" y="0"/>
                </a:lnTo>
                <a:cubicBezTo>
                  <a:pt x="645238" y="0"/>
                  <a:pt x="594430" y="50808"/>
                  <a:pt x="594430" y="113483"/>
                </a:cubicBezTo>
                <a:lnTo>
                  <a:pt x="601578" y="148886"/>
                </a:lnTo>
                <a:lnTo>
                  <a:pt x="369448" y="148886"/>
                </a:lnTo>
                <a:cubicBezTo>
                  <a:pt x="306773" y="148886"/>
                  <a:pt x="255965" y="199694"/>
                  <a:pt x="255965" y="262369"/>
                </a:cubicBezTo>
                <a:lnTo>
                  <a:pt x="263883" y="301589"/>
                </a:lnTo>
                <a:lnTo>
                  <a:pt x="113483" y="301589"/>
                </a:lnTo>
                <a:cubicBezTo>
                  <a:pt x="50808" y="301589"/>
                  <a:pt x="0" y="352397"/>
                  <a:pt x="0" y="415072"/>
                </a:cubicBezTo>
                <a:cubicBezTo>
                  <a:pt x="0" y="477747"/>
                  <a:pt x="50808" y="528555"/>
                  <a:pt x="113483" y="528555"/>
                </a:cubicBezTo>
                <a:lnTo>
                  <a:pt x="1081725" y="528555"/>
                </a:lnTo>
                <a:cubicBezTo>
                  <a:pt x="1144400" y="528555"/>
                  <a:pt x="1195208" y="477747"/>
                  <a:pt x="1195208" y="415072"/>
                </a:cubicBezTo>
                <a:cubicBezTo>
                  <a:pt x="1195208" y="368066"/>
                  <a:pt x="1166629" y="327735"/>
                  <a:pt x="1125898" y="310507"/>
                </a:cubicBezTo>
                <a:lnTo>
                  <a:pt x="1095755" y="304422"/>
                </a:lnTo>
                <a:lnTo>
                  <a:pt x="1104245" y="262369"/>
                </a:lnTo>
                <a:cubicBezTo>
                  <a:pt x="1104245" y="199694"/>
                  <a:pt x="1053437" y="148886"/>
                  <a:pt x="990762" y="148886"/>
                </a:cubicBezTo>
                <a:lnTo>
                  <a:pt x="989212" y="148886"/>
                </a:lnTo>
                <a:lnTo>
                  <a:pt x="996359" y="113483"/>
                </a:lnTo>
                <a:cubicBezTo>
                  <a:pt x="996359" y="50808"/>
                  <a:pt x="945551" y="0"/>
                  <a:pt x="882876" y="0"/>
                </a:cubicBezTo>
                <a:close/>
              </a:path>
            </a:pathLst>
          </a:custGeom>
          <a:solidFill>
            <a:srgbClr val="7FDDF4"/>
          </a:solidFill>
          <a:ln w="38100">
            <a:solidFill>
              <a:srgbClr val="DDDDDD"/>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543" name="Freeform: Shape 542">
            <a:extLst>
              <a:ext uri="{FF2B5EF4-FFF2-40B4-BE49-F238E27FC236}">
                <a16:creationId xmlns:a16="http://schemas.microsoft.com/office/drawing/2014/main" id="{2957DF49-926A-4B00-93AC-C351B89CEB63}"/>
              </a:ext>
            </a:extLst>
          </p:cNvPr>
          <p:cNvSpPr/>
          <p:nvPr/>
        </p:nvSpPr>
        <p:spPr>
          <a:xfrm flipH="1">
            <a:off x="3445481" y="2469843"/>
            <a:ext cx="1519557" cy="671992"/>
          </a:xfrm>
          <a:custGeom>
            <a:avLst/>
            <a:gdLst>
              <a:gd name="connsiteX0" fmla="*/ 755742 w 1519557"/>
              <a:gd name="connsiteY0" fmla="*/ 144279 h 671992"/>
              <a:gd name="connsiteX1" fmla="*/ 755742 w 1519557"/>
              <a:gd name="connsiteY1" fmla="*/ 144280 h 671992"/>
              <a:gd name="connsiteX2" fmla="*/ 755742 w 1519557"/>
              <a:gd name="connsiteY2" fmla="*/ 144279 h 671992"/>
              <a:gd name="connsiteX3" fmla="*/ 1122466 w 1519557"/>
              <a:gd name="connsiteY3" fmla="*/ 0 h 671992"/>
              <a:gd name="connsiteX4" fmla="*/ 900022 w 1519557"/>
              <a:gd name="connsiteY4" fmla="*/ 0 h 671992"/>
              <a:gd name="connsiteX5" fmla="*/ 767080 w 1519557"/>
              <a:gd name="connsiteY5" fmla="*/ 88119 h 671992"/>
              <a:gd name="connsiteX6" fmla="*/ 755742 w 1519557"/>
              <a:gd name="connsiteY6" fmla="*/ 144279 h 671992"/>
              <a:gd name="connsiteX7" fmla="*/ 764829 w 1519557"/>
              <a:gd name="connsiteY7" fmla="*/ 189290 h 671992"/>
              <a:gd name="connsiteX8" fmla="*/ 469707 w 1519557"/>
              <a:gd name="connsiteY8" fmla="*/ 189290 h 671992"/>
              <a:gd name="connsiteX9" fmla="*/ 336765 w 1519557"/>
              <a:gd name="connsiteY9" fmla="*/ 277409 h 671992"/>
              <a:gd name="connsiteX10" fmla="*/ 325427 w 1519557"/>
              <a:gd name="connsiteY10" fmla="*/ 333570 h 671992"/>
              <a:gd name="connsiteX11" fmla="*/ 335494 w 1519557"/>
              <a:gd name="connsiteY11" fmla="*/ 383432 h 671992"/>
              <a:gd name="connsiteX12" fmla="*/ 144280 w 1519557"/>
              <a:gd name="connsiteY12" fmla="*/ 383432 h 671992"/>
              <a:gd name="connsiteX13" fmla="*/ 11338 w 1519557"/>
              <a:gd name="connsiteY13" fmla="*/ 471552 h 671992"/>
              <a:gd name="connsiteX14" fmla="*/ 0 w 1519557"/>
              <a:gd name="connsiteY14" fmla="*/ 527712 h 671992"/>
              <a:gd name="connsiteX15" fmla="*/ 11338 w 1519557"/>
              <a:gd name="connsiteY15" fmla="*/ 583872 h 671992"/>
              <a:gd name="connsiteX16" fmla="*/ 144280 w 1519557"/>
              <a:gd name="connsiteY16" fmla="*/ 671991 h 671992"/>
              <a:gd name="connsiteX17" fmla="*/ 1375276 w 1519557"/>
              <a:gd name="connsiteY17" fmla="*/ 671992 h 671992"/>
              <a:gd name="connsiteX18" fmla="*/ 1519556 w 1519557"/>
              <a:gd name="connsiteY18" fmla="*/ 527712 h 671992"/>
              <a:gd name="connsiteX19" fmla="*/ 1519557 w 1519557"/>
              <a:gd name="connsiteY19" fmla="*/ 527712 h 671992"/>
              <a:gd name="connsiteX20" fmla="*/ 1431438 w 1519557"/>
              <a:gd name="connsiteY20" fmla="*/ 394770 h 671992"/>
              <a:gd name="connsiteX21" fmla="*/ 1393114 w 1519557"/>
              <a:gd name="connsiteY21" fmla="*/ 387033 h 671992"/>
              <a:gd name="connsiteX22" fmla="*/ 1403908 w 1519557"/>
              <a:gd name="connsiteY22" fmla="*/ 333570 h 671992"/>
              <a:gd name="connsiteX23" fmla="*/ 1403909 w 1519557"/>
              <a:gd name="connsiteY23" fmla="*/ 333570 h 671992"/>
              <a:gd name="connsiteX24" fmla="*/ 1259629 w 1519557"/>
              <a:gd name="connsiteY24" fmla="*/ 189290 h 671992"/>
              <a:gd name="connsiteX25" fmla="*/ 1257658 w 1519557"/>
              <a:gd name="connsiteY25" fmla="*/ 189290 h 671992"/>
              <a:gd name="connsiteX26" fmla="*/ 1266745 w 1519557"/>
              <a:gd name="connsiteY26" fmla="*/ 144280 h 671992"/>
              <a:gd name="connsiteX27" fmla="*/ 1266746 w 1519557"/>
              <a:gd name="connsiteY27" fmla="*/ 144280 h 671992"/>
              <a:gd name="connsiteX28" fmla="*/ 1122466 w 1519557"/>
              <a:gd name="connsiteY28" fmla="*/ 0 h 671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19557" h="671992">
                <a:moveTo>
                  <a:pt x="755742" y="144279"/>
                </a:moveTo>
                <a:lnTo>
                  <a:pt x="755742" y="144280"/>
                </a:lnTo>
                <a:lnTo>
                  <a:pt x="755742" y="144279"/>
                </a:lnTo>
                <a:close/>
                <a:moveTo>
                  <a:pt x="1122466" y="0"/>
                </a:moveTo>
                <a:lnTo>
                  <a:pt x="900022" y="0"/>
                </a:lnTo>
                <a:cubicBezTo>
                  <a:pt x="840259" y="0"/>
                  <a:pt x="788983" y="36335"/>
                  <a:pt x="767080" y="88119"/>
                </a:cubicBezTo>
                <a:lnTo>
                  <a:pt x="755742" y="144279"/>
                </a:lnTo>
                <a:lnTo>
                  <a:pt x="764829" y="189290"/>
                </a:lnTo>
                <a:lnTo>
                  <a:pt x="469707" y="189290"/>
                </a:lnTo>
                <a:cubicBezTo>
                  <a:pt x="409944" y="189290"/>
                  <a:pt x="358668" y="225625"/>
                  <a:pt x="336765" y="277409"/>
                </a:cubicBezTo>
                <a:lnTo>
                  <a:pt x="325427" y="333570"/>
                </a:lnTo>
                <a:lnTo>
                  <a:pt x="335494" y="383432"/>
                </a:lnTo>
                <a:lnTo>
                  <a:pt x="144280" y="383432"/>
                </a:lnTo>
                <a:cubicBezTo>
                  <a:pt x="84517" y="383432"/>
                  <a:pt x="33241" y="419767"/>
                  <a:pt x="11338" y="471552"/>
                </a:cubicBezTo>
                <a:lnTo>
                  <a:pt x="0" y="527712"/>
                </a:lnTo>
                <a:lnTo>
                  <a:pt x="11338" y="583872"/>
                </a:lnTo>
                <a:cubicBezTo>
                  <a:pt x="33241" y="635656"/>
                  <a:pt x="84517" y="671991"/>
                  <a:pt x="144280" y="671991"/>
                </a:cubicBezTo>
                <a:lnTo>
                  <a:pt x="1375276" y="671992"/>
                </a:lnTo>
                <a:cubicBezTo>
                  <a:pt x="1454960" y="671992"/>
                  <a:pt x="1519556" y="607396"/>
                  <a:pt x="1519556" y="527712"/>
                </a:cubicBezTo>
                <a:lnTo>
                  <a:pt x="1519557" y="527712"/>
                </a:lnTo>
                <a:cubicBezTo>
                  <a:pt x="1519557" y="467949"/>
                  <a:pt x="1483222" y="416673"/>
                  <a:pt x="1431438" y="394770"/>
                </a:cubicBezTo>
                <a:lnTo>
                  <a:pt x="1393114" y="387033"/>
                </a:lnTo>
                <a:lnTo>
                  <a:pt x="1403908" y="333570"/>
                </a:lnTo>
                <a:lnTo>
                  <a:pt x="1403909" y="333570"/>
                </a:lnTo>
                <a:cubicBezTo>
                  <a:pt x="1403909" y="253886"/>
                  <a:pt x="1339313" y="189290"/>
                  <a:pt x="1259629" y="189290"/>
                </a:cubicBezTo>
                <a:lnTo>
                  <a:pt x="1257658" y="189290"/>
                </a:lnTo>
                <a:lnTo>
                  <a:pt x="1266745" y="144280"/>
                </a:lnTo>
                <a:lnTo>
                  <a:pt x="1266746" y="144280"/>
                </a:lnTo>
                <a:cubicBezTo>
                  <a:pt x="1266746" y="64596"/>
                  <a:pt x="1202150" y="0"/>
                  <a:pt x="1122466" y="0"/>
                </a:cubicBezTo>
                <a:close/>
              </a:path>
            </a:pathLst>
          </a:custGeom>
          <a:solidFill>
            <a:srgbClr val="7FDDF4"/>
          </a:solidFill>
          <a:ln w="38100">
            <a:solidFill>
              <a:srgbClr val="DDDDDD"/>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420" name="Rectangle 419">
            <a:extLst>
              <a:ext uri="{FF2B5EF4-FFF2-40B4-BE49-F238E27FC236}">
                <a16:creationId xmlns:a16="http://schemas.microsoft.com/office/drawing/2014/main" id="{FB6EA841-C81F-4B13-B926-9D4EEF0645DC}"/>
              </a:ext>
            </a:extLst>
          </p:cNvPr>
          <p:cNvSpPr/>
          <p:nvPr/>
        </p:nvSpPr>
        <p:spPr>
          <a:xfrm>
            <a:off x="4384432" y="2876697"/>
            <a:ext cx="522900" cy="246221"/>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5073"/>
                </a:solidFill>
                <a:effectLst/>
                <a:uLnTx/>
                <a:uFillTx/>
                <a:latin typeface="CiscoSansTT ExtraLight"/>
                <a:ea typeface="ＭＳ Ｐゴシック" charset="0"/>
                <a:cs typeface="+mn-cs"/>
              </a:rPr>
              <a:t>Cloud</a:t>
            </a:r>
          </a:p>
        </p:txBody>
      </p:sp>
    </p:spTree>
    <p:extLst>
      <p:ext uri="{BB962C8B-B14F-4D97-AF65-F5344CB8AC3E}">
        <p14:creationId xmlns:p14="http://schemas.microsoft.com/office/powerpoint/2010/main" val="4218329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ounded Rectangle 235">
            <a:extLst>
              <a:ext uri="{FF2B5EF4-FFF2-40B4-BE49-F238E27FC236}">
                <a16:creationId xmlns:a16="http://schemas.microsoft.com/office/drawing/2014/main" id="{E316F634-2A92-40E5-A4BE-8F0CF86CEE90}"/>
              </a:ext>
            </a:extLst>
          </p:cNvPr>
          <p:cNvSpPr/>
          <p:nvPr/>
        </p:nvSpPr>
        <p:spPr>
          <a:xfrm>
            <a:off x="860816" y="1022865"/>
            <a:ext cx="7379384" cy="1671649"/>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grpSp>
        <p:nvGrpSpPr>
          <p:cNvPr id="34" name="Group 133">
            <a:extLst>
              <a:ext uri="{FF2B5EF4-FFF2-40B4-BE49-F238E27FC236}">
                <a16:creationId xmlns:a16="http://schemas.microsoft.com/office/drawing/2014/main" id="{B501307D-AB1F-4EBC-88F2-1ECC5CB1A299}"/>
              </a:ext>
            </a:extLst>
          </p:cNvPr>
          <p:cNvGrpSpPr>
            <a:grpSpLocks noChangeAspect="1"/>
          </p:cNvGrpSpPr>
          <p:nvPr/>
        </p:nvGrpSpPr>
        <p:grpSpPr bwMode="auto">
          <a:xfrm>
            <a:off x="6869724" y="1231784"/>
            <a:ext cx="1242846" cy="1243822"/>
            <a:chOff x="2280" y="1019"/>
            <a:chExt cx="2544" cy="2546"/>
          </a:xfrm>
        </p:grpSpPr>
        <p:sp>
          <p:nvSpPr>
            <p:cNvPr id="36" name="Oval 134">
              <a:extLst>
                <a:ext uri="{FF2B5EF4-FFF2-40B4-BE49-F238E27FC236}">
                  <a16:creationId xmlns:a16="http://schemas.microsoft.com/office/drawing/2014/main" id="{DF547B7C-1A99-4D01-8B56-56153742C9E3}"/>
                </a:ext>
              </a:extLst>
            </p:cNvPr>
            <p:cNvSpPr>
              <a:spLocks noChangeArrowheads="1"/>
            </p:cNvSpPr>
            <p:nvPr/>
          </p:nvSpPr>
          <p:spPr bwMode="auto">
            <a:xfrm>
              <a:off x="2280" y="1019"/>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35">
              <a:extLst>
                <a:ext uri="{FF2B5EF4-FFF2-40B4-BE49-F238E27FC236}">
                  <a16:creationId xmlns:a16="http://schemas.microsoft.com/office/drawing/2014/main" id="{F55A6D0B-97AA-4C3D-86C1-6316527E6B84}"/>
                </a:ext>
              </a:extLst>
            </p:cNvPr>
            <p:cNvSpPr>
              <a:spLocks/>
            </p:cNvSpPr>
            <p:nvPr/>
          </p:nvSpPr>
          <p:spPr bwMode="auto">
            <a:xfrm>
              <a:off x="2773" y="2198"/>
              <a:ext cx="1998" cy="1365"/>
            </a:xfrm>
            <a:custGeom>
              <a:avLst/>
              <a:gdLst>
                <a:gd name="T0" fmla="*/ 1015 w 1131"/>
                <a:gd name="T1" fmla="*/ 145 h 772"/>
                <a:gd name="T2" fmla="*/ 1013 w 1131"/>
                <a:gd name="T3" fmla="*/ 143 h 772"/>
                <a:gd name="T4" fmla="*/ 926 w 1131"/>
                <a:gd name="T5" fmla="*/ 22 h 772"/>
                <a:gd name="T6" fmla="*/ 869 w 1131"/>
                <a:gd name="T7" fmla="*/ 13 h 772"/>
                <a:gd name="T8" fmla="*/ 754 w 1131"/>
                <a:gd name="T9" fmla="*/ 99 h 772"/>
                <a:gd name="T10" fmla="*/ 738 w 1131"/>
                <a:gd name="T11" fmla="*/ 132 h 772"/>
                <a:gd name="T12" fmla="*/ 746 w 1131"/>
                <a:gd name="T13" fmla="*/ 156 h 772"/>
                <a:gd name="T14" fmla="*/ 803 w 1131"/>
                <a:gd name="T15" fmla="*/ 164 h 772"/>
                <a:gd name="T16" fmla="*/ 842 w 1131"/>
                <a:gd name="T17" fmla="*/ 136 h 772"/>
                <a:gd name="T18" fmla="*/ 844 w 1131"/>
                <a:gd name="T19" fmla="*/ 135 h 772"/>
                <a:gd name="T20" fmla="*/ 628 w 1131"/>
                <a:gd name="T21" fmla="*/ 419 h 772"/>
                <a:gd name="T22" fmla="*/ 83 w 1131"/>
                <a:gd name="T23" fmla="*/ 239 h 772"/>
                <a:gd name="T24" fmla="*/ 28 w 1131"/>
                <a:gd name="T25" fmla="*/ 221 h 772"/>
                <a:gd name="T26" fmla="*/ 10 w 1131"/>
                <a:gd name="T27" fmla="*/ 276 h 772"/>
                <a:gd name="T28" fmla="*/ 145 w 1131"/>
                <a:gd name="T29" fmla="*/ 441 h 772"/>
                <a:gd name="T30" fmla="*/ 144 w 1131"/>
                <a:gd name="T31" fmla="*/ 441 h 772"/>
                <a:gd name="T32" fmla="*/ 476 w 1131"/>
                <a:gd name="T33" fmla="*/ 772 h 772"/>
                <a:gd name="T34" fmla="*/ 1131 w 1131"/>
                <a:gd name="T35" fmla="*/ 261 h 772"/>
                <a:gd name="T36" fmla="*/ 1015 w 1131"/>
                <a:gd name="T37" fmla="*/ 145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1" h="772">
                  <a:moveTo>
                    <a:pt x="1015" y="145"/>
                  </a:moveTo>
                  <a:cubicBezTo>
                    <a:pt x="1014" y="144"/>
                    <a:pt x="1014" y="143"/>
                    <a:pt x="1013" y="143"/>
                  </a:cubicBezTo>
                  <a:cubicBezTo>
                    <a:pt x="926" y="22"/>
                    <a:pt x="926" y="22"/>
                    <a:pt x="926" y="22"/>
                  </a:cubicBezTo>
                  <a:cubicBezTo>
                    <a:pt x="912" y="3"/>
                    <a:pt x="887" y="0"/>
                    <a:pt x="869" y="13"/>
                  </a:cubicBezTo>
                  <a:cubicBezTo>
                    <a:pt x="754" y="99"/>
                    <a:pt x="754" y="99"/>
                    <a:pt x="754" y="99"/>
                  </a:cubicBezTo>
                  <a:cubicBezTo>
                    <a:pt x="743" y="107"/>
                    <a:pt x="738" y="119"/>
                    <a:pt x="738" y="132"/>
                  </a:cubicBezTo>
                  <a:cubicBezTo>
                    <a:pt x="738" y="140"/>
                    <a:pt x="740" y="149"/>
                    <a:pt x="746" y="156"/>
                  </a:cubicBezTo>
                  <a:cubicBezTo>
                    <a:pt x="760" y="174"/>
                    <a:pt x="785" y="178"/>
                    <a:pt x="803" y="164"/>
                  </a:cubicBezTo>
                  <a:cubicBezTo>
                    <a:pt x="842" y="136"/>
                    <a:pt x="842" y="136"/>
                    <a:pt x="842" y="136"/>
                  </a:cubicBezTo>
                  <a:cubicBezTo>
                    <a:pt x="844" y="135"/>
                    <a:pt x="844" y="135"/>
                    <a:pt x="844" y="135"/>
                  </a:cubicBezTo>
                  <a:cubicBezTo>
                    <a:pt x="820" y="253"/>
                    <a:pt x="744" y="360"/>
                    <a:pt x="628" y="419"/>
                  </a:cubicBezTo>
                  <a:cubicBezTo>
                    <a:pt x="428" y="519"/>
                    <a:pt x="184" y="439"/>
                    <a:pt x="83" y="239"/>
                  </a:cubicBezTo>
                  <a:cubicBezTo>
                    <a:pt x="73" y="219"/>
                    <a:pt x="48" y="210"/>
                    <a:pt x="28" y="221"/>
                  </a:cubicBezTo>
                  <a:cubicBezTo>
                    <a:pt x="8" y="231"/>
                    <a:pt x="0" y="256"/>
                    <a:pt x="10" y="276"/>
                  </a:cubicBezTo>
                  <a:cubicBezTo>
                    <a:pt x="43" y="342"/>
                    <a:pt x="90" y="398"/>
                    <a:pt x="145" y="441"/>
                  </a:cubicBezTo>
                  <a:cubicBezTo>
                    <a:pt x="144" y="441"/>
                    <a:pt x="144" y="441"/>
                    <a:pt x="144" y="441"/>
                  </a:cubicBezTo>
                  <a:cubicBezTo>
                    <a:pt x="476" y="772"/>
                    <a:pt x="476" y="772"/>
                    <a:pt x="476" y="772"/>
                  </a:cubicBezTo>
                  <a:cubicBezTo>
                    <a:pt x="786" y="758"/>
                    <a:pt x="1045" y="547"/>
                    <a:pt x="1131" y="261"/>
                  </a:cubicBezTo>
                  <a:lnTo>
                    <a:pt x="1015" y="145"/>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36">
              <a:extLst>
                <a:ext uri="{FF2B5EF4-FFF2-40B4-BE49-F238E27FC236}">
                  <a16:creationId xmlns:a16="http://schemas.microsoft.com/office/drawing/2014/main" id="{5E411CD5-18D9-4196-93D9-FDAF3A3C3BAA}"/>
                </a:ext>
              </a:extLst>
            </p:cNvPr>
            <p:cNvSpPr>
              <a:spLocks/>
            </p:cNvSpPr>
            <p:nvPr/>
          </p:nvSpPr>
          <p:spPr bwMode="auto">
            <a:xfrm>
              <a:off x="2519" y="1302"/>
              <a:ext cx="1823" cy="1084"/>
            </a:xfrm>
            <a:custGeom>
              <a:avLst/>
              <a:gdLst>
                <a:gd name="T0" fmla="*/ 282 w 1032"/>
                <a:gd name="T1" fmla="*/ 514 h 613"/>
                <a:gd name="T2" fmla="*/ 299 w 1032"/>
                <a:gd name="T3" fmla="*/ 481 h 613"/>
                <a:gd name="T4" fmla="*/ 290 w 1032"/>
                <a:gd name="T5" fmla="*/ 457 h 613"/>
                <a:gd name="T6" fmla="*/ 233 w 1032"/>
                <a:gd name="T7" fmla="*/ 449 h 613"/>
                <a:gd name="T8" fmla="*/ 190 w 1032"/>
                <a:gd name="T9" fmla="*/ 477 h 613"/>
                <a:gd name="T10" fmla="*/ 188 w 1032"/>
                <a:gd name="T11" fmla="*/ 478 h 613"/>
                <a:gd name="T12" fmla="*/ 404 w 1032"/>
                <a:gd name="T13" fmla="*/ 194 h 613"/>
                <a:gd name="T14" fmla="*/ 949 w 1032"/>
                <a:gd name="T15" fmla="*/ 374 h 613"/>
                <a:gd name="T16" fmla="*/ 1004 w 1032"/>
                <a:gd name="T17" fmla="*/ 392 h 613"/>
                <a:gd name="T18" fmla="*/ 1022 w 1032"/>
                <a:gd name="T19" fmla="*/ 337 h 613"/>
                <a:gd name="T20" fmla="*/ 367 w 1032"/>
                <a:gd name="T21" fmla="*/ 121 h 613"/>
                <a:gd name="T22" fmla="*/ 109 w 1032"/>
                <a:gd name="T23" fmla="*/ 458 h 613"/>
                <a:gd name="T24" fmla="*/ 79 w 1032"/>
                <a:gd name="T25" fmla="*/ 422 h 613"/>
                <a:gd name="T26" fmla="*/ 22 w 1032"/>
                <a:gd name="T27" fmla="*/ 414 h 613"/>
                <a:gd name="T28" fmla="*/ 14 w 1032"/>
                <a:gd name="T29" fmla="*/ 471 h 613"/>
                <a:gd name="T30" fmla="*/ 106 w 1032"/>
                <a:gd name="T31" fmla="*/ 591 h 613"/>
                <a:gd name="T32" fmla="*/ 102 w 1032"/>
                <a:gd name="T33" fmla="*/ 585 h 613"/>
                <a:gd name="T34" fmla="*/ 106 w 1032"/>
                <a:gd name="T35" fmla="*/ 591 h 613"/>
                <a:gd name="T36" fmla="*/ 163 w 1032"/>
                <a:gd name="T37" fmla="*/ 600 h 613"/>
                <a:gd name="T38" fmla="*/ 282 w 1032"/>
                <a:gd name="T39" fmla="*/ 51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2" h="613">
                  <a:moveTo>
                    <a:pt x="282" y="514"/>
                  </a:moveTo>
                  <a:cubicBezTo>
                    <a:pt x="293" y="506"/>
                    <a:pt x="299" y="494"/>
                    <a:pt x="299" y="481"/>
                  </a:cubicBezTo>
                  <a:cubicBezTo>
                    <a:pt x="299" y="473"/>
                    <a:pt x="296" y="464"/>
                    <a:pt x="290" y="457"/>
                  </a:cubicBezTo>
                  <a:cubicBezTo>
                    <a:pt x="277" y="439"/>
                    <a:pt x="251" y="435"/>
                    <a:pt x="233" y="449"/>
                  </a:cubicBezTo>
                  <a:cubicBezTo>
                    <a:pt x="190" y="477"/>
                    <a:pt x="190" y="477"/>
                    <a:pt x="190" y="477"/>
                  </a:cubicBezTo>
                  <a:cubicBezTo>
                    <a:pt x="188" y="478"/>
                    <a:pt x="188" y="478"/>
                    <a:pt x="188" y="478"/>
                  </a:cubicBezTo>
                  <a:cubicBezTo>
                    <a:pt x="212" y="360"/>
                    <a:pt x="288" y="253"/>
                    <a:pt x="404" y="194"/>
                  </a:cubicBezTo>
                  <a:cubicBezTo>
                    <a:pt x="604" y="94"/>
                    <a:pt x="848" y="174"/>
                    <a:pt x="949" y="374"/>
                  </a:cubicBezTo>
                  <a:cubicBezTo>
                    <a:pt x="959" y="394"/>
                    <a:pt x="984" y="403"/>
                    <a:pt x="1004" y="392"/>
                  </a:cubicBezTo>
                  <a:cubicBezTo>
                    <a:pt x="1024" y="382"/>
                    <a:pt x="1032" y="357"/>
                    <a:pt x="1022" y="337"/>
                  </a:cubicBezTo>
                  <a:cubicBezTo>
                    <a:pt x="901" y="97"/>
                    <a:pt x="607" y="0"/>
                    <a:pt x="367" y="121"/>
                  </a:cubicBezTo>
                  <a:cubicBezTo>
                    <a:pt x="229" y="191"/>
                    <a:pt x="138" y="317"/>
                    <a:pt x="109" y="458"/>
                  </a:cubicBezTo>
                  <a:cubicBezTo>
                    <a:pt x="79" y="422"/>
                    <a:pt x="79" y="422"/>
                    <a:pt x="79" y="422"/>
                  </a:cubicBezTo>
                  <a:cubicBezTo>
                    <a:pt x="66" y="404"/>
                    <a:pt x="40" y="400"/>
                    <a:pt x="22" y="414"/>
                  </a:cubicBezTo>
                  <a:cubicBezTo>
                    <a:pt x="4" y="427"/>
                    <a:pt x="0" y="453"/>
                    <a:pt x="14" y="471"/>
                  </a:cubicBezTo>
                  <a:cubicBezTo>
                    <a:pt x="106" y="591"/>
                    <a:pt x="106" y="591"/>
                    <a:pt x="106" y="591"/>
                  </a:cubicBezTo>
                  <a:cubicBezTo>
                    <a:pt x="104" y="589"/>
                    <a:pt x="103" y="587"/>
                    <a:pt x="102" y="585"/>
                  </a:cubicBezTo>
                  <a:cubicBezTo>
                    <a:pt x="103" y="587"/>
                    <a:pt x="104" y="589"/>
                    <a:pt x="106" y="591"/>
                  </a:cubicBezTo>
                  <a:cubicBezTo>
                    <a:pt x="120" y="610"/>
                    <a:pt x="145" y="613"/>
                    <a:pt x="163" y="600"/>
                  </a:cubicBezTo>
                  <a:lnTo>
                    <a:pt x="282" y="514"/>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37">
              <a:extLst>
                <a:ext uri="{FF2B5EF4-FFF2-40B4-BE49-F238E27FC236}">
                  <a16:creationId xmlns:a16="http://schemas.microsoft.com/office/drawing/2014/main" id="{9A6031B2-1708-4B33-AF2D-CAC2430FE9C0}"/>
                </a:ext>
              </a:extLst>
            </p:cNvPr>
            <p:cNvSpPr>
              <a:spLocks/>
            </p:cNvSpPr>
            <p:nvPr/>
          </p:nvSpPr>
          <p:spPr bwMode="auto">
            <a:xfrm>
              <a:off x="3119" y="1862"/>
              <a:ext cx="887" cy="937"/>
            </a:xfrm>
            <a:custGeom>
              <a:avLst/>
              <a:gdLst>
                <a:gd name="T0" fmla="*/ 498 w 502"/>
                <a:gd name="T1" fmla="*/ 111 h 530"/>
                <a:gd name="T2" fmla="*/ 291 w 502"/>
                <a:gd name="T3" fmla="*/ 515 h 530"/>
                <a:gd name="T4" fmla="*/ 251 w 502"/>
                <a:gd name="T5" fmla="*/ 530 h 530"/>
                <a:gd name="T6" fmla="*/ 212 w 502"/>
                <a:gd name="T7" fmla="*/ 515 h 530"/>
                <a:gd name="T8" fmla="*/ 4 w 502"/>
                <a:gd name="T9" fmla="*/ 111 h 530"/>
                <a:gd name="T10" fmla="*/ 34 w 502"/>
                <a:gd name="T11" fmla="*/ 67 h 530"/>
                <a:gd name="T12" fmla="*/ 217 w 502"/>
                <a:gd name="T13" fmla="*/ 8 h 530"/>
                <a:gd name="T14" fmla="*/ 251 w 502"/>
                <a:gd name="T15" fmla="*/ 0 h 530"/>
                <a:gd name="T16" fmla="*/ 285 w 502"/>
                <a:gd name="T17" fmla="*/ 8 h 530"/>
                <a:gd name="T18" fmla="*/ 468 w 502"/>
                <a:gd name="T19" fmla="*/ 67 h 530"/>
                <a:gd name="T20" fmla="*/ 498 w 502"/>
                <a:gd name="T21" fmla="*/ 111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2" h="530">
                  <a:moveTo>
                    <a:pt x="498" y="111"/>
                  </a:moveTo>
                  <a:cubicBezTo>
                    <a:pt x="481" y="183"/>
                    <a:pt x="432" y="391"/>
                    <a:pt x="291" y="515"/>
                  </a:cubicBezTo>
                  <a:cubicBezTo>
                    <a:pt x="280" y="525"/>
                    <a:pt x="265" y="530"/>
                    <a:pt x="251" y="530"/>
                  </a:cubicBezTo>
                  <a:cubicBezTo>
                    <a:pt x="237" y="530"/>
                    <a:pt x="223" y="525"/>
                    <a:pt x="212" y="515"/>
                  </a:cubicBezTo>
                  <a:cubicBezTo>
                    <a:pt x="71" y="391"/>
                    <a:pt x="21" y="183"/>
                    <a:pt x="4" y="111"/>
                  </a:cubicBezTo>
                  <a:cubicBezTo>
                    <a:pt x="0" y="91"/>
                    <a:pt x="14" y="71"/>
                    <a:pt x="34" y="67"/>
                  </a:cubicBezTo>
                  <a:cubicBezTo>
                    <a:pt x="98" y="54"/>
                    <a:pt x="159" y="35"/>
                    <a:pt x="217" y="8"/>
                  </a:cubicBezTo>
                  <a:cubicBezTo>
                    <a:pt x="228" y="3"/>
                    <a:pt x="240" y="0"/>
                    <a:pt x="251" y="0"/>
                  </a:cubicBezTo>
                  <a:cubicBezTo>
                    <a:pt x="263" y="0"/>
                    <a:pt x="274" y="3"/>
                    <a:pt x="285" y="8"/>
                  </a:cubicBezTo>
                  <a:cubicBezTo>
                    <a:pt x="343" y="35"/>
                    <a:pt x="404" y="54"/>
                    <a:pt x="468" y="67"/>
                  </a:cubicBezTo>
                  <a:cubicBezTo>
                    <a:pt x="489" y="71"/>
                    <a:pt x="502" y="91"/>
                    <a:pt x="498" y="111"/>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38">
              <a:extLst>
                <a:ext uri="{FF2B5EF4-FFF2-40B4-BE49-F238E27FC236}">
                  <a16:creationId xmlns:a16="http://schemas.microsoft.com/office/drawing/2014/main" id="{FC72B710-07DF-47B8-AC19-522FE62FCFDB}"/>
                </a:ext>
              </a:extLst>
            </p:cNvPr>
            <p:cNvSpPr>
              <a:spLocks/>
            </p:cNvSpPr>
            <p:nvPr/>
          </p:nvSpPr>
          <p:spPr bwMode="auto">
            <a:xfrm>
              <a:off x="2773" y="2198"/>
              <a:ext cx="1814" cy="1084"/>
            </a:xfrm>
            <a:custGeom>
              <a:avLst/>
              <a:gdLst>
                <a:gd name="T0" fmla="*/ 926 w 1027"/>
                <a:gd name="T1" fmla="*/ 22 h 613"/>
                <a:gd name="T2" fmla="*/ 869 w 1027"/>
                <a:gd name="T3" fmla="*/ 13 h 613"/>
                <a:gd name="T4" fmla="*/ 754 w 1027"/>
                <a:gd name="T5" fmla="*/ 99 h 613"/>
                <a:gd name="T6" fmla="*/ 738 w 1027"/>
                <a:gd name="T7" fmla="*/ 132 h 613"/>
                <a:gd name="T8" fmla="*/ 746 w 1027"/>
                <a:gd name="T9" fmla="*/ 156 h 613"/>
                <a:gd name="T10" fmla="*/ 803 w 1027"/>
                <a:gd name="T11" fmla="*/ 164 h 613"/>
                <a:gd name="T12" fmla="*/ 842 w 1027"/>
                <a:gd name="T13" fmla="*/ 136 h 613"/>
                <a:gd name="T14" fmla="*/ 844 w 1027"/>
                <a:gd name="T15" fmla="*/ 135 h 613"/>
                <a:gd name="T16" fmla="*/ 628 w 1027"/>
                <a:gd name="T17" fmla="*/ 419 h 613"/>
                <a:gd name="T18" fmla="*/ 83 w 1027"/>
                <a:gd name="T19" fmla="*/ 239 h 613"/>
                <a:gd name="T20" fmla="*/ 28 w 1027"/>
                <a:gd name="T21" fmla="*/ 221 h 613"/>
                <a:gd name="T22" fmla="*/ 10 w 1027"/>
                <a:gd name="T23" fmla="*/ 276 h 613"/>
                <a:gd name="T24" fmla="*/ 665 w 1027"/>
                <a:gd name="T25" fmla="*/ 492 h 613"/>
                <a:gd name="T26" fmla="*/ 923 w 1027"/>
                <a:gd name="T27" fmla="*/ 155 h 613"/>
                <a:gd name="T28" fmla="*/ 948 w 1027"/>
                <a:gd name="T29" fmla="*/ 192 h 613"/>
                <a:gd name="T30" fmla="*/ 1005 w 1027"/>
                <a:gd name="T31" fmla="*/ 200 h 613"/>
                <a:gd name="T32" fmla="*/ 1013 w 1027"/>
                <a:gd name="T33" fmla="*/ 143 h 613"/>
                <a:gd name="T34" fmla="*/ 926 w 1027"/>
                <a:gd name="T35" fmla="*/ 22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7" h="613">
                  <a:moveTo>
                    <a:pt x="926" y="22"/>
                  </a:moveTo>
                  <a:cubicBezTo>
                    <a:pt x="912" y="3"/>
                    <a:pt x="887" y="0"/>
                    <a:pt x="869" y="13"/>
                  </a:cubicBezTo>
                  <a:cubicBezTo>
                    <a:pt x="754" y="99"/>
                    <a:pt x="754" y="99"/>
                    <a:pt x="754" y="99"/>
                  </a:cubicBezTo>
                  <a:cubicBezTo>
                    <a:pt x="743" y="107"/>
                    <a:pt x="738" y="119"/>
                    <a:pt x="738" y="132"/>
                  </a:cubicBezTo>
                  <a:cubicBezTo>
                    <a:pt x="738" y="140"/>
                    <a:pt x="740" y="149"/>
                    <a:pt x="746" y="156"/>
                  </a:cubicBezTo>
                  <a:cubicBezTo>
                    <a:pt x="760" y="174"/>
                    <a:pt x="785" y="178"/>
                    <a:pt x="803" y="164"/>
                  </a:cubicBezTo>
                  <a:cubicBezTo>
                    <a:pt x="842" y="136"/>
                    <a:pt x="842" y="136"/>
                    <a:pt x="842" y="136"/>
                  </a:cubicBezTo>
                  <a:cubicBezTo>
                    <a:pt x="844" y="135"/>
                    <a:pt x="844" y="135"/>
                    <a:pt x="844" y="135"/>
                  </a:cubicBezTo>
                  <a:cubicBezTo>
                    <a:pt x="820" y="253"/>
                    <a:pt x="744" y="360"/>
                    <a:pt x="628" y="419"/>
                  </a:cubicBezTo>
                  <a:cubicBezTo>
                    <a:pt x="428" y="519"/>
                    <a:pt x="184" y="439"/>
                    <a:pt x="83" y="239"/>
                  </a:cubicBezTo>
                  <a:cubicBezTo>
                    <a:pt x="73" y="219"/>
                    <a:pt x="48" y="210"/>
                    <a:pt x="28" y="221"/>
                  </a:cubicBezTo>
                  <a:cubicBezTo>
                    <a:pt x="8" y="231"/>
                    <a:pt x="0" y="256"/>
                    <a:pt x="10" y="276"/>
                  </a:cubicBezTo>
                  <a:cubicBezTo>
                    <a:pt x="131" y="516"/>
                    <a:pt x="425" y="613"/>
                    <a:pt x="665" y="492"/>
                  </a:cubicBezTo>
                  <a:cubicBezTo>
                    <a:pt x="803" y="422"/>
                    <a:pt x="894" y="296"/>
                    <a:pt x="923" y="155"/>
                  </a:cubicBezTo>
                  <a:cubicBezTo>
                    <a:pt x="948" y="192"/>
                    <a:pt x="948" y="192"/>
                    <a:pt x="948" y="192"/>
                  </a:cubicBezTo>
                  <a:cubicBezTo>
                    <a:pt x="961" y="210"/>
                    <a:pt x="987" y="214"/>
                    <a:pt x="1005" y="200"/>
                  </a:cubicBezTo>
                  <a:cubicBezTo>
                    <a:pt x="1023" y="186"/>
                    <a:pt x="1027" y="161"/>
                    <a:pt x="1013" y="143"/>
                  </a:cubicBezTo>
                  <a:cubicBezTo>
                    <a:pt x="926" y="22"/>
                    <a:pt x="926" y="22"/>
                    <a:pt x="926" y="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39">
              <a:extLst>
                <a:ext uri="{FF2B5EF4-FFF2-40B4-BE49-F238E27FC236}">
                  <a16:creationId xmlns:a16="http://schemas.microsoft.com/office/drawing/2014/main" id="{B20490FD-32C7-4312-9E3F-DB19331633BA}"/>
                </a:ext>
              </a:extLst>
            </p:cNvPr>
            <p:cNvSpPr>
              <a:spLocks/>
            </p:cNvSpPr>
            <p:nvPr/>
          </p:nvSpPr>
          <p:spPr bwMode="auto">
            <a:xfrm>
              <a:off x="2519" y="1302"/>
              <a:ext cx="1823" cy="1084"/>
            </a:xfrm>
            <a:custGeom>
              <a:avLst/>
              <a:gdLst>
                <a:gd name="T0" fmla="*/ 282 w 1032"/>
                <a:gd name="T1" fmla="*/ 514 h 613"/>
                <a:gd name="T2" fmla="*/ 299 w 1032"/>
                <a:gd name="T3" fmla="*/ 481 h 613"/>
                <a:gd name="T4" fmla="*/ 290 w 1032"/>
                <a:gd name="T5" fmla="*/ 457 h 613"/>
                <a:gd name="T6" fmla="*/ 233 w 1032"/>
                <a:gd name="T7" fmla="*/ 449 h 613"/>
                <a:gd name="T8" fmla="*/ 190 w 1032"/>
                <a:gd name="T9" fmla="*/ 477 h 613"/>
                <a:gd name="T10" fmla="*/ 188 w 1032"/>
                <a:gd name="T11" fmla="*/ 478 h 613"/>
                <a:gd name="T12" fmla="*/ 404 w 1032"/>
                <a:gd name="T13" fmla="*/ 194 h 613"/>
                <a:gd name="T14" fmla="*/ 949 w 1032"/>
                <a:gd name="T15" fmla="*/ 374 h 613"/>
                <a:gd name="T16" fmla="*/ 1004 w 1032"/>
                <a:gd name="T17" fmla="*/ 392 h 613"/>
                <a:gd name="T18" fmla="*/ 1022 w 1032"/>
                <a:gd name="T19" fmla="*/ 337 h 613"/>
                <a:gd name="T20" fmla="*/ 367 w 1032"/>
                <a:gd name="T21" fmla="*/ 121 h 613"/>
                <a:gd name="T22" fmla="*/ 109 w 1032"/>
                <a:gd name="T23" fmla="*/ 458 h 613"/>
                <a:gd name="T24" fmla="*/ 79 w 1032"/>
                <a:gd name="T25" fmla="*/ 422 h 613"/>
                <a:gd name="T26" fmla="*/ 22 w 1032"/>
                <a:gd name="T27" fmla="*/ 414 h 613"/>
                <a:gd name="T28" fmla="*/ 14 w 1032"/>
                <a:gd name="T29" fmla="*/ 471 h 613"/>
                <a:gd name="T30" fmla="*/ 106 w 1032"/>
                <a:gd name="T31" fmla="*/ 591 h 613"/>
                <a:gd name="T32" fmla="*/ 102 w 1032"/>
                <a:gd name="T33" fmla="*/ 585 h 613"/>
                <a:gd name="T34" fmla="*/ 106 w 1032"/>
                <a:gd name="T35" fmla="*/ 591 h 613"/>
                <a:gd name="T36" fmla="*/ 163 w 1032"/>
                <a:gd name="T37" fmla="*/ 600 h 613"/>
                <a:gd name="T38" fmla="*/ 282 w 1032"/>
                <a:gd name="T39" fmla="*/ 51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32" h="613">
                  <a:moveTo>
                    <a:pt x="282" y="514"/>
                  </a:moveTo>
                  <a:cubicBezTo>
                    <a:pt x="293" y="506"/>
                    <a:pt x="299" y="494"/>
                    <a:pt x="299" y="481"/>
                  </a:cubicBezTo>
                  <a:cubicBezTo>
                    <a:pt x="299" y="473"/>
                    <a:pt x="296" y="464"/>
                    <a:pt x="290" y="457"/>
                  </a:cubicBezTo>
                  <a:cubicBezTo>
                    <a:pt x="277" y="439"/>
                    <a:pt x="251" y="435"/>
                    <a:pt x="233" y="449"/>
                  </a:cubicBezTo>
                  <a:cubicBezTo>
                    <a:pt x="190" y="477"/>
                    <a:pt x="190" y="477"/>
                    <a:pt x="190" y="477"/>
                  </a:cubicBezTo>
                  <a:cubicBezTo>
                    <a:pt x="188" y="478"/>
                    <a:pt x="188" y="478"/>
                    <a:pt x="188" y="478"/>
                  </a:cubicBezTo>
                  <a:cubicBezTo>
                    <a:pt x="212" y="360"/>
                    <a:pt x="288" y="253"/>
                    <a:pt x="404" y="194"/>
                  </a:cubicBezTo>
                  <a:cubicBezTo>
                    <a:pt x="604" y="94"/>
                    <a:pt x="848" y="174"/>
                    <a:pt x="949" y="374"/>
                  </a:cubicBezTo>
                  <a:cubicBezTo>
                    <a:pt x="959" y="394"/>
                    <a:pt x="984" y="403"/>
                    <a:pt x="1004" y="392"/>
                  </a:cubicBezTo>
                  <a:cubicBezTo>
                    <a:pt x="1024" y="382"/>
                    <a:pt x="1032" y="357"/>
                    <a:pt x="1022" y="337"/>
                  </a:cubicBezTo>
                  <a:cubicBezTo>
                    <a:pt x="901" y="97"/>
                    <a:pt x="607" y="0"/>
                    <a:pt x="367" y="121"/>
                  </a:cubicBezTo>
                  <a:cubicBezTo>
                    <a:pt x="229" y="191"/>
                    <a:pt x="138" y="317"/>
                    <a:pt x="109" y="458"/>
                  </a:cubicBezTo>
                  <a:cubicBezTo>
                    <a:pt x="79" y="422"/>
                    <a:pt x="79" y="422"/>
                    <a:pt x="79" y="422"/>
                  </a:cubicBezTo>
                  <a:cubicBezTo>
                    <a:pt x="66" y="404"/>
                    <a:pt x="40" y="400"/>
                    <a:pt x="22" y="414"/>
                  </a:cubicBezTo>
                  <a:cubicBezTo>
                    <a:pt x="4" y="427"/>
                    <a:pt x="0" y="453"/>
                    <a:pt x="14" y="471"/>
                  </a:cubicBezTo>
                  <a:cubicBezTo>
                    <a:pt x="106" y="591"/>
                    <a:pt x="106" y="591"/>
                    <a:pt x="106" y="591"/>
                  </a:cubicBezTo>
                  <a:cubicBezTo>
                    <a:pt x="104" y="589"/>
                    <a:pt x="103" y="587"/>
                    <a:pt x="102" y="585"/>
                  </a:cubicBezTo>
                  <a:cubicBezTo>
                    <a:pt x="103" y="587"/>
                    <a:pt x="104" y="589"/>
                    <a:pt x="106" y="591"/>
                  </a:cubicBezTo>
                  <a:cubicBezTo>
                    <a:pt x="120" y="610"/>
                    <a:pt x="145" y="613"/>
                    <a:pt x="163" y="600"/>
                  </a:cubicBezTo>
                  <a:lnTo>
                    <a:pt x="282" y="5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40">
              <a:extLst>
                <a:ext uri="{FF2B5EF4-FFF2-40B4-BE49-F238E27FC236}">
                  <a16:creationId xmlns:a16="http://schemas.microsoft.com/office/drawing/2014/main" id="{B8538F5D-4327-4556-9285-D6AF81EB09BE}"/>
                </a:ext>
              </a:extLst>
            </p:cNvPr>
            <p:cNvSpPr>
              <a:spLocks/>
            </p:cNvSpPr>
            <p:nvPr/>
          </p:nvSpPr>
          <p:spPr bwMode="auto">
            <a:xfrm>
              <a:off x="4261" y="2285"/>
              <a:ext cx="75" cy="154"/>
            </a:xfrm>
            <a:custGeom>
              <a:avLst/>
              <a:gdLst>
                <a:gd name="T0" fmla="*/ 18 w 43"/>
                <a:gd name="T1" fmla="*/ 22 h 87"/>
                <a:gd name="T2" fmla="*/ 10 w 43"/>
                <a:gd name="T3" fmla="*/ 0 h 87"/>
                <a:gd name="T4" fmla="*/ 0 w 43"/>
                <a:gd name="T5" fmla="*/ 87 h 87"/>
                <a:gd name="T6" fmla="*/ 43 w 43"/>
                <a:gd name="T7" fmla="*/ 55 h 87"/>
                <a:gd name="T8" fmla="*/ 18 w 43"/>
                <a:gd name="T9" fmla="*/ 22 h 87"/>
              </a:gdLst>
              <a:ahLst/>
              <a:cxnLst>
                <a:cxn ang="0">
                  <a:pos x="T0" y="T1"/>
                </a:cxn>
                <a:cxn ang="0">
                  <a:pos x="T2" y="T3"/>
                </a:cxn>
                <a:cxn ang="0">
                  <a:pos x="T4" y="T5"/>
                </a:cxn>
                <a:cxn ang="0">
                  <a:pos x="T6" y="T7"/>
                </a:cxn>
                <a:cxn ang="0">
                  <a:pos x="T8" y="T9"/>
                </a:cxn>
              </a:cxnLst>
              <a:rect l="0" t="0" r="r" b="b"/>
              <a:pathLst>
                <a:path w="43" h="87">
                  <a:moveTo>
                    <a:pt x="18" y="22"/>
                  </a:moveTo>
                  <a:cubicBezTo>
                    <a:pt x="14" y="15"/>
                    <a:pt x="11" y="8"/>
                    <a:pt x="10" y="0"/>
                  </a:cubicBezTo>
                  <a:cubicBezTo>
                    <a:pt x="10" y="30"/>
                    <a:pt x="7" y="59"/>
                    <a:pt x="0" y="87"/>
                  </a:cubicBezTo>
                  <a:cubicBezTo>
                    <a:pt x="43" y="55"/>
                    <a:pt x="43" y="55"/>
                    <a:pt x="43" y="55"/>
                  </a:cubicBezTo>
                  <a:lnTo>
                    <a:pt x="18" y="22"/>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41">
              <a:extLst>
                <a:ext uri="{FF2B5EF4-FFF2-40B4-BE49-F238E27FC236}">
                  <a16:creationId xmlns:a16="http://schemas.microsoft.com/office/drawing/2014/main" id="{07EA736C-2711-4BD6-9BD4-6C5729D0B360}"/>
                </a:ext>
              </a:extLst>
            </p:cNvPr>
            <p:cNvSpPr>
              <a:spLocks/>
            </p:cNvSpPr>
            <p:nvPr/>
          </p:nvSpPr>
          <p:spPr bwMode="auto">
            <a:xfrm>
              <a:off x="4336" y="2278"/>
              <a:ext cx="89" cy="193"/>
            </a:xfrm>
            <a:custGeom>
              <a:avLst/>
              <a:gdLst>
                <a:gd name="T0" fmla="*/ 33 w 50"/>
                <a:gd name="T1" fmla="*/ 34 h 109"/>
                <a:gd name="T2" fmla="*/ 0 w 50"/>
                <a:gd name="T3" fmla="*/ 59 h 109"/>
                <a:gd name="T4" fmla="*/ 38 w 50"/>
                <a:gd name="T5" fmla="*/ 109 h 109"/>
                <a:gd name="T6" fmla="*/ 50 w 50"/>
                <a:gd name="T7" fmla="*/ 1 h 109"/>
                <a:gd name="T8" fmla="*/ 49 w 50"/>
                <a:gd name="T9" fmla="*/ 0 h 109"/>
                <a:gd name="T10" fmla="*/ 33 w 50"/>
                <a:gd name="T11" fmla="*/ 34 h 109"/>
              </a:gdLst>
              <a:ahLst/>
              <a:cxnLst>
                <a:cxn ang="0">
                  <a:pos x="T0" y="T1"/>
                </a:cxn>
                <a:cxn ang="0">
                  <a:pos x="T2" y="T3"/>
                </a:cxn>
                <a:cxn ang="0">
                  <a:pos x="T4" y="T5"/>
                </a:cxn>
                <a:cxn ang="0">
                  <a:pos x="T6" y="T7"/>
                </a:cxn>
                <a:cxn ang="0">
                  <a:pos x="T8" y="T9"/>
                </a:cxn>
                <a:cxn ang="0">
                  <a:pos x="T10" y="T11"/>
                </a:cxn>
              </a:cxnLst>
              <a:rect l="0" t="0" r="r" b="b"/>
              <a:pathLst>
                <a:path w="50" h="109">
                  <a:moveTo>
                    <a:pt x="33" y="34"/>
                  </a:moveTo>
                  <a:cubicBezTo>
                    <a:pt x="0" y="59"/>
                    <a:pt x="0" y="59"/>
                    <a:pt x="0" y="59"/>
                  </a:cubicBezTo>
                  <a:cubicBezTo>
                    <a:pt x="38" y="109"/>
                    <a:pt x="38" y="109"/>
                    <a:pt x="38" y="109"/>
                  </a:cubicBezTo>
                  <a:cubicBezTo>
                    <a:pt x="45" y="74"/>
                    <a:pt x="50" y="38"/>
                    <a:pt x="50" y="1"/>
                  </a:cubicBezTo>
                  <a:cubicBezTo>
                    <a:pt x="50" y="1"/>
                    <a:pt x="49" y="0"/>
                    <a:pt x="49" y="0"/>
                  </a:cubicBezTo>
                  <a:cubicBezTo>
                    <a:pt x="50" y="13"/>
                    <a:pt x="44" y="26"/>
                    <a:pt x="33" y="34"/>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42">
              <a:extLst>
                <a:ext uri="{FF2B5EF4-FFF2-40B4-BE49-F238E27FC236}">
                  <a16:creationId xmlns:a16="http://schemas.microsoft.com/office/drawing/2014/main" id="{60821CBA-5266-4F1D-8203-131DD08750D6}"/>
                </a:ext>
              </a:extLst>
            </p:cNvPr>
            <p:cNvSpPr>
              <a:spLocks/>
            </p:cNvSpPr>
            <p:nvPr/>
          </p:nvSpPr>
          <p:spPr bwMode="auto">
            <a:xfrm>
              <a:off x="2778" y="2145"/>
              <a:ext cx="76" cy="154"/>
            </a:xfrm>
            <a:custGeom>
              <a:avLst/>
              <a:gdLst>
                <a:gd name="T0" fmla="*/ 25 w 43"/>
                <a:gd name="T1" fmla="*/ 65 h 87"/>
                <a:gd name="T2" fmla="*/ 33 w 43"/>
                <a:gd name="T3" fmla="*/ 87 h 87"/>
                <a:gd name="T4" fmla="*/ 43 w 43"/>
                <a:gd name="T5" fmla="*/ 0 h 87"/>
                <a:gd name="T6" fmla="*/ 0 w 43"/>
                <a:gd name="T7" fmla="*/ 32 h 87"/>
                <a:gd name="T8" fmla="*/ 25 w 43"/>
                <a:gd name="T9" fmla="*/ 65 h 87"/>
              </a:gdLst>
              <a:ahLst/>
              <a:cxnLst>
                <a:cxn ang="0">
                  <a:pos x="T0" y="T1"/>
                </a:cxn>
                <a:cxn ang="0">
                  <a:pos x="T2" y="T3"/>
                </a:cxn>
                <a:cxn ang="0">
                  <a:pos x="T4" y="T5"/>
                </a:cxn>
                <a:cxn ang="0">
                  <a:pos x="T6" y="T7"/>
                </a:cxn>
                <a:cxn ang="0">
                  <a:pos x="T8" y="T9"/>
                </a:cxn>
              </a:cxnLst>
              <a:rect l="0" t="0" r="r" b="b"/>
              <a:pathLst>
                <a:path w="43" h="87">
                  <a:moveTo>
                    <a:pt x="25" y="65"/>
                  </a:moveTo>
                  <a:cubicBezTo>
                    <a:pt x="30" y="72"/>
                    <a:pt x="32" y="79"/>
                    <a:pt x="33" y="87"/>
                  </a:cubicBezTo>
                  <a:cubicBezTo>
                    <a:pt x="33" y="57"/>
                    <a:pt x="36" y="28"/>
                    <a:pt x="43" y="0"/>
                  </a:cubicBezTo>
                  <a:cubicBezTo>
                    <a:pt x="0" y="32"/>
                    <a:pt x="0" y="32"/>
                    <a:pt x="0" y="32"/>
                  </a:cubicBezTo>
                  <a:lnTo>
                    <a:pt x="25" y="65"/>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43">
              <a:extLst>
                <a:ext uri="{FF2B5EF4-FFF2-40B4-BE49-F238E27FC236}">
                  <a16:creationId xmlns:a16="http://schemas.microsoft.com/office/drawing/2014/main" id="{ACAACA93-61B2-4207-894E-0642A8404AC1}"/>
                </a:ext>
              </a:extLst>
            </p:cNvPr>
            <p:cNvSpPr>
              <a:spLocks/>
            </p:cNvSpPr>
            <p:nvPr/>
          </p:nvSpPr>
          <p:spPr bwMode="auto">
            <a:xfrm>
              <a:off x="2690" y="2113"/>
              <a:ext cx="88" cy="193"/>
            </a:xfrm>
            <a:custGeom>
              <a:avLst/>
              <a:gdLst>
                <a:gd name="T0" fmla="*/ 17 w 50"/>
                <a:gd name="T1" fmla="*/ 75 h 109"/>
                <a:gd name="T2" fmla="*/ 50 w 50"/>
                <a:gd name="T3" fmla="*/ 50 h 109"/>
                <a:gd name="T4" fmla="*/ 12 w 50"/>
                <a:gd name="T5" fmla="*/ 0 h 109"/>
                <a:gd name="T6" fmla="*/ 0 w 50"/>
                <a:gd name="T7" fmla="*/ 108 h 109"/>
                <a:gd name="T8" fmla="*/ 1 w 50"/>
                <a:gd name="T9" fmla="*/ 109 h 109"/>
                <a:gd name="T10" fmla="*/ 17 w 50"/>
                <a:gd name="T11" fmla="*/ 75 h 109"/>
              </a:gdLst>
              <a:ahLst/>
              <a:cxnLst>
                <a:cxn ang="0">
                  <a:pos x="T0" y="T1"/>
                </a:cxn>
                <a:cxn ang="0">
                  <a:pos x="T2" y="T3"/>
                </a:cxn>
                <a:cxn ang="0">
                  <a:pos x="T4" y="T5"/>
                </a:cxn>
                <a:cxn ang="0">
                  <a:pos x="T6" y="T7"/>
                </a:cxn>
                <a:cxn ang="0">
                  <a:pos x="T8" y="T9"/>
                </a:cxn>
                <a:cxn ang="0">
                  <a:pos x="T10" y="T11"/>
                </a:cxn>
              </a:cxnLst>
              <a:rect l="0" t="0" r="r" b="b"/>
              <a:pathLst>
                <a:path w="50" h="109">
                  <a:moveTo>
                    <a:pt x="17" y="75"/>
                  </a:moveTo>
                  <a:cubicBezTo>
                    <a:pt x="50" y="50"/>
                    <a:pt x="50" y="50"/>
                    <a:pt x="50" y="50"/>
                  </a:cubicBezTo>
                  <a:cubicBezTo>
                    <a:pt x="12" y="0"/>
                    <a:pt x="12" y="0"/>
                    <a:pt x="12" y="0"/>
                  </a:cubicBezTo>
                  <a:cubicBezTo>
                    <a:pt x="5" y="35"/>
                    <a:pt x="0" y="71"/>
                    <a:pt x="0" y="108"/>
                  </a:cubicBezTo>
                  <a:cubicBezTo>
                    <a:pt x="0" y="108"/>
                    <a:pt x="1" y="109"/>
                    <a:pt x="1" y="109"/>
                  </a:cubicBezTo>
                  <a:cubicBezTo>
                    <a:pt x="0" y="96"/>
                    <a:pt x="6" y="83"/>
                    <a:pt x="17" y="75"/>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44">
              <a:extLst>
                <a:ext uri="{FF2B5EF4-FFF2-40B4-BE49-F238E27FC236}">
                  <a16:creationId xmlns:a16="http://schemas.microsoft.com/office/drawing/2014/main" id="{C38E454C-3C0B-4BAD-BA89-CD244B73BB67}"/>
                </a:ext>
              </a:extLst>
            </p:cNvPr>
            <p:cNvSpPr>
              <a:spLocks/>
            </p:cNvSpPr>
            <p:nvPr/>
          </p:nvSpPr>
          <p:spPr bwMode="auto">
            <a:xfrm>
              <a:off x="4278" y="2198"/>
              <a:ext cx="156" cy="184"/>
            </a:xfrm>
            <a:custGeom>
              <a:avLst/>
              <a:gdLst>
                <a:gd name="T0" fmla="*/ 74 w 88"/>
                <a:gd name="T1" fmla="*/ 22 h 104"/>
                <a:gd name="T2" fmla="*/ 17 w 88"/>
                <a:gd name="T3" fmla="*/ 13 h 104"/>
                <a:gd name="T4" fmla="*/ 0 w 88"/>
                <a:gd name="T5" fmla="*/ 46 h 104"/>
                <a:gd name="T6" fmla="*/ 8 w 88"/>
                <a:gd name="T7" fmla="*/ 71 h 104"/>
                <a:gd name="T8" fmla="*/ 33 w 88"/>
                <a:gd name="T9" fmla="*/ 104 h 104"/>
                <a:gd name="T10" fmla="*/ 66 w 88"/>
                <a:gd name="T11" fmla="*/ 79 h 104"/>
                <a:gd name="T12" fmla="*/ 74 w 88"/>
                <a:gd name="T13" fmla="*/ 22 h 104"/>
              </a:gdLst>
              <a:ahLst/>
              <a:cxnLst>
                <a:cxn ang="0">
                  <a:pos x="T0" y="T1"/>
                </a:cxn>
                <a:cxn ang="0">
                  <a:pos x="T2" y="T3"/>
                </a:cxn>
                <a:cxn ang="0">
                  <a:pos x="T4" y="T5"/>
                </a:cxn>
                <a:cxn ang="0">
                  <a:pos x="T6" y="T7"/>
                </a:cxn>
                <a:cxn ang="0">
                  <a:pos x="T8" y="T9"/>
                </a:cxn>
                <a:cxn ang="0">
                  <a:pos x="T10" y="T11"/>
                </a:cxn>
                <a:cxn ang="0">
                  <a:pos x="T12" y="T13"/>
                </a:cxn>
              </a:cxnLst>
              <a:rect l="0" t="0" r="r" b="b"/>
              <a:pathLst>
                <a:path w="88" h="104">
                  <a:moveTo>
                    <a:pt x="74" y="22"/>
                  </a:moveTo>
                  <a:cubicBezTo>
                    <a:pt x="60" y="3"/>
                    <a:pt x="35" y="0"/>
                    <a:pt x="17" y="13"/>
                  </a:cubicBezTo>
                  <a:cubicBezTo>
                    <a:pt x="6" y="22"/>
                    <a:pt x="0" y="34"/>
                    <a:pt x="0" y="46"/>
                  </a:cubicBezTo>
                  <a:cubicBezTo>
                    <a:pt x="0" y="55"/>
                    <a:pt x="3" y="64"/>
                    <a:pt x="8" y="71"/>
                  </a:cubicBezTo>
                  <a:cubicBezTo>
                    <a:pt x="33" y="104"/>
                    <a:pt x="33" y="104"/>
                    <a:pt x="33" y="104"/>
                  </a:cubicBezTo>
                  <a:cubicBezTo>
                    <a:pt x="66" y="79"/>
                    <a:pt x="66" y="79"/>
                    <a:pt x="66" y="79"/>
                  </a:cubicBezTo>
                  <a:cubicBezTo>
                    <a:pt x="84" y="65"/>
                    <a:pt x="88" y="40"/>
                    <a:pt x="74" y="22"/>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45">
              <a:extLst>
                <a:ext uri="{FF2B5EF4-FFF2-40B4-BE49-F238E27FC236}">
                  <a16:creationId xmlns:a16="http://schemas.microsoft.com/office/drawing/2014/main" id="{8C310928-66E0-4404-89F3-0C60B8660F54}"/>
                </a:ext>
              </a:extLst>
            </p:cNvPr>
            <p:cNvSpPr>
              <a:spLocks/>
            </p:cNvSpPr>
            <p:nvPr/>
          </p:nvSpPr>
          <p:spPr bwMode="auto">
            <a:xfrm>
              <a:off x="2681" y="2202"/>
              <a:ext cx="156" cy="184"/>
            </a:xfrm>
            <a:custGeom>
              <a:avLst/>
              <a:gdLst>
                <a:gd name="T0" fmla="*/ 14 w 88"/>
                <a:gd name="T1" fmla="*/ 82 h 104"/>
                <a:gd name="T2" fmla="*/ 71 w 88"/>
                <a:gd name="T3" fmla="*/ 91 h 104"/>
                <a:gd name="T4" fmla="*/ 88 w 88"/>
                <a:gd name="T5" fmla="*/ 58 h 104"/>
                <a:gd name="T6" fmla="*/ 80 w 88"/>
                <a:gd name="T7" fmla="*/ 33 h 104"/>
                <a:gd name="T8" fmla="*/ 55 w 88"/>
                <a:gd name="T9" fmla="*/ 0 h 104"/>
                <a:gd name="T10" fmla="*/ 22 w 88"/>
                <a:gd name="T11" fmla="*/ 25 h 104"/>
                <a:gd name="T12" fmla="*/ 14 w 88"/>
                <a:gd name="T13" fmla="*/ 82 h 104"/>
              </a:gdLst>
              <a:ahLst/>
              <a:cxnLst>
                <a:cxn ang="0">
                  <a:pos x="T0" y="T1"/>
                </a:cxn>
                <a:cxn ang="0">
                  <a:pos x="T2" y="T3"/>
                </a:cxn>
                <a:cxn ang="0">
                  <a:pos x="T4" y="T5"/>
                </a:cxn>
                <a:cxn ang="0">
                  <a:pos x="T6" y="T7"/>
                </a:cxn>
                <a:cxn ang="0">
                  <a:pos x="T8" y="T9"/>
                </a:cxn>
                <a:cxn ang="0">
                  <a:pos x="T10" y="T11"/>
                </a:cxn>
                <a:cxn ang="0">
                  <a:pos x="T12" y="T13"/>
                </a:cxn>
              </a:cxnLst>
              <a:rect l="0" t="0" r="r" b="b"/>
              <a:pathLst>
                <a:path w="88" h="104">
                  <a:moveTo>
                    <a:pt x="14" y="82"/>
                  </a:moveTo>
                  <a:cubicBezTo>
                    <a:pt x="28" y="101"/>
                    <a:pt x="53" y="104"/>
                    <a:pt x="71" y="91"/>
                  </a:cubicBezTo>
                  <a:cubicBezTo>
                    <a:pt x="82" y="82"/>
                    <a:pt x="88" y="70"/>
                    <a:pt x="88" y="58"/>
                  </a:cubicBezTo>
                  <a:cubicBezTo>
                    <a:pt x="88" y="49"/>
                    <a:pt x="85" y="40"/>
                    <a:pt x="80" y="33"/>
                  </a:cubicBezTo>
                  <a:cubicBezTo>
                    <a:pt x="55" y="0"/>
                    <a:pt x="55" y="0"/>
                    <a:pt x="55" y="0"/>
                  </a:cubicBezTo>
                  <a:cubicBezTo>
                    <a:pt x="22" y="25"/>
                    <a:pt x="22" y="25"/>
                    <a:pt x="22" y="25"/>
                  </a:cubicBezTo>
                  <a:cubicBezTo>
                    <a:pt x="4" y="39"/>
                    <a:pt x="0" y="64"/>
                    <a:pt x="14" y="82"/>
                  </a:cubicBez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46">
              <a:extLst>
                <a:ext uri="{FF2B5EF4-FFF2-40B4-BE49-F238E27FC236}">
                  <a16:creationId xmlns:a16="http://schemas.microsoft.com/office/drawing/2014/main" id="{99F38D2D-46C2-4F28-96AC-CA01C713C603}"/>
                </a:ext>
              </a:extLst>
            </p:cNvPr>
            <p:cNvSpPr>
              <a:spLocks/>
            </p:cNvSpPr>
            <p:nvPr/>
          </p:nvSpPr>
          <p:spPr bwMode="auto">
            <a:xfrm>
              <a:off x="3119" y="1862"/>
              <a:ext cx="887" cy="937"/>
            </a:xfrm>
            <a:custGeom>
              <a:avLst/>
              <a:gdLst>
                <a:gd name="T0" fmla="*/ 498 w 502"/>
                <a:gd name="T1" fmla="*/ 111 h 530"/>
                <a:gd name="T2" fmla="*/ 291 w 502"/>
                <a:gd name="T3" fmla="*/ 515 h 530"/>
                <a:gd name="T4" fmla="*/ 251 w 502"/>
                <a:gd name="T5" fmla="*/ 530 h 530"/>
                <a:gd name="T6" fmla="*/ 212 w 502"/>
                <a:gd name="T7" fmla="*/ 515 h 530"/>
                <a:gd name="T8" fmla="*/ 4 w 502"/>
                <a:gd name="T9" fmla="*/ 111 h 530"/>
                <a:gd name="T10" fmla="*/ 34 w 502"/>
                <a:gd name="T11" fmla="*/ 67 h 530"/>
                <a:gd name="T12" fmla="*/ 217 w 502"/>
                <a:gd name="T13" fmla="*/ 8 h 530"/>
                <a:gd name="T14" fmla="*/ 251 w 502"/>
                <a:gd name="T15" fmla="*/ 0 h 530"/>
                <a:gd name="T16" fmla="*/ 285 w 502"/>
                <a:gd name="T17" fmla="*/ 8 h 530"/>
                <a:gd name="T18" fmla="*/ 468 w 502"/>
                <a:gd name="T19" fmla="*/ 67 h 530"/>
                <a:gd name="T20" fmla="*/ 498 w 502"/>
                <a:gd name="T21" fmla="*/ 111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2" h="530">
                  <a:moveTo>
                    <a:pt x="498" y="111"/>
                  </a:moveTo>
                  <a:cubicBezTo>
                    <a:pt x="481" y="183"/>
                    <a:pt x="432" y="391"/>
                    <a:pt x="291" y="515"/>
                  </a:cubicBezTo>
                  <a:cubicBezTo>
                    <a:pt x="280" y="525"/>
                    <a:pt x="265" y="530"/>
                    <a:pt x="251" y="530"/>
                  </a:cubicBezTo>
                  <a:cubicBezTo>
                    <a:pt x="237" y="530"/>
                    <a:pt x="223" y="525"/>
                    <a:pt x="212" y="515"/>
                  </a:cubicBezTo>
                  <a:cubicBezTo>
                    <a:pt x="71" y="391"/>
                    <a:pt x="21" y="183"/>
                    <a:pt x="4" y="111"/>
                  </a:cubicBezTo>
                  <a:cubicBezTo>
                    <a:pt x="0" y="91"/>
                    <a:pt x="14" y="71"/>
                    <a:pt x="34" y="67"/>
                  </a:cubicBezTo>
                  <a:cubicBezTo>
                    <a:pt x="98" y="54"/>
                    <a:pt x="159" y="35"/>
                    <a:pt x="217" y="8"/>
                  </a:cubicBezTo>
                  <a:cubicBezTo>
                    <a:pt x="228" y="3"/>
                    <a:pt x="240" y="0"/>
                    <a:pt x="251" y="0"/>
                  </a:cubicBezTo>
                  <a:cubicBezTo>
                    <a:pt x="263" y="0"/>
                    <a:pt x="274" y="3"/>
                    <a:pt x="285" y="8"/>
                  </a:cubicBezTo>
                  <a:cubicBezTo>
                    <a:pt x="343" y="35"/>
                    <a:pt x="404" y="54"/>
                    <a:pt x="468" y="67"/>
                  </a:cubicBezTo>
                  <a:cubicBezTo>
                    <a:pt x="489" y="71"/>
                    <a:pt x="502" y="91"/>
                    <a:pt x="498" y="11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47">
              <a:extLst>
                <a:ext uri="{FF2B5EF4-FFF2-40B4-BE49-F238E27FC236}">
                  <a16:creationId xmlns:a16="http://schemas.microsoft.com/office/drawing/2014/main" id="{A4F4A152-973E-4589-9A9B-DC91E9B082EE}"/>
                </a:ext>
              </a:extLst>
            </p:cNvPr>
            <p:cNvSpPr>
              <a:spLocks/>
            </p:cNvSpPr>
            <p:nvPr/>
          </p:nvSpPr>
          <p:spPr bwMode="auto">
            <a:xfrm>
              <a:off x="3563" y="1862"/>
              <a:ext cx="443" cy="937"/>
            </a:xfrm>
            <a:custGeom>
              <a:avLst/>
              <a:gdLst>
                <a:gd name="T0" fmla="*/ 247 w 251"/>
                <a:gd name="T1" fmla="*/ 111 h 530"/>
                <a:gd name="T2" fmla="*/ 40 w 251"/>
                <a:gd name="T3" fmla="*/ 515 h 530"/>
                <a:gd name="T4" fmla="*/ 0 w 251"/>
                <a:gd name="T5" fmla="*/ 530 h 530"/>
                <a:gd name="T6" fmla="*/ 0 w 251"/>
                <a:gd name="T7" fmla="*/ 0 h 530"/>
                <a:gd name="T8" fmla="*/ 34 w 251"/>
                <a:gd name="T9" fmla="*/ 8 h 530"/>
                <a:gd name="T10" fmla="*/ 217 w 251"/>
                <a:gd name="T11" fmla="*/ 67 h 530"/>
                <a:gd name="T12" fmla="*/ 247 w 251"/>
                <a:gd name="T13" fmla="*/ 111 h 530"/>
              </a:gdLst>
              <a:ahLst/>
              <a:cxnLst>
                <a:cxn ang="0">
                  <a:pos x="T0" y="T1"/>
                </a:cxn>
                <a:cxn ang="0">
                  <a:pos x="T2" y="T3"/>
                </a:cxn>
                <a:cxn ang="0">
                  <a:pos x="T4" y="T5"/>
                </a:cxn>
                <a:cxn ang="0">
                  <a:pos x="T6" y="T7"/>
                </a:cxn>
                <a:cxn ang="0">
                  <a:pos x="T8" y="T9"/>
                </a:cxn>
                <a:cxn ang="0">
                  <a:pos x="T10" y="T11"/>
                </a:cxn>
                <a:cxn ang="0">
                  <a:pos x="T12" y="T13"/>
                </a:cxn>
              </a:cxnLst>
              <a:rect l="0" t="0" r="r" b="b"/>
              <a:pathLst>
                <a:path w="251" h="530">
                  <a:moveTo>
                    <a:pt x="247" y="111"/>
                  </a:moveTo>
                  <a:cubicBezTo>
                    <a:pt x="230" y="183"/>
                    <a:pt x="181" y="391"/>
                    <a:pt x="40" y="515"/>
                  </a:cubicBezTo>
                  <a:cubicBezTo>
                    <a:pt x="29" y="525"/>
                    <a:pt x="14" y="530"/>
                    <a:pt x="0" y="530"/>
                  </a:cubicBezTo>
                  <a:cubicBezTo>
                    <a:pt x="0" y="0"/>
                    <a:pt x="0" y="0"/>
                    <a:pt x="0" y="0"/>
                  </a:cubicBezTo>
                  <a:cubicBezTo>
                    <a:pt x="12" y="0"/>
                    <a:pt x="23" y="3"/>
                    <a:pt x="34" y="8"/>
                  </a:cubicBezTo>
                  <a:cubicBezTo>
                    <a:pt x="92" y="35"/>
                    <a:pt x="153" y="54"/>
                    <a:pt x="217" y="67"/>
                  </a:cubicBezTo>
                  <a:cubicBezTo>
                    <a:pt x="238" y="71"/>
                    <a:pt x="251" y="91"/>
                    <a:pt x="247" y="111"/>
                  </a:cubicBezTo>
                  <a:close/>
                </a:path>
              </a:pathLst>
            </a:custGeom>
            <a:solidFill>
              <a:srgbClr val="F5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17">
            <a:extLst>
              <a:ext uri="{FF2B5EF4-FFF2-40B4-BE49-F238E27FC236}">
                <a16:creationId xmlns:a16="http://schemas.microsoft.com/office/drawing/2014/main" id="{16035CB5-1410-4132-AFD7-FB3F6D91BBF8}"/>
              </a:ext>
            </a:extLst>
          </p:cNvPr>
          <p:cNvGrpSpPr>
            <a:grpSpLocks noChangeAspect="1"/>
          </p:cNvGrpSpPr>
          <p:nvPr/>
        </p:nvGrpSpPr>
        <p:grpSpPr bwMode="auto">
          <a:xfrm>
            <a:off x="1013554" y="1226796"/>
            <a:ext cx="1252029" cy="1253012"/>
            <a:chOff x="1800" y="539"/>
            <a:chExt cx="2544" cy="2546"/>
          </a:xfrm>
        </p:grpSpPr>
        <p:sp>
          <p:nvSpPr>
            <p:cNvPr id="19" name="Oval 18">
              <a:extLst>
                <a:ext uri="{FF2B5EF4-FFF2-40B4-BE49-F238E27FC236}">
                  <a16:creationId xmlns:a16="http://schemas.microsoft.com/office/drawing/2014/main" id="{726BA798-800A-454B-B878-347E458BA4D0}"/>
                </a:ext>
              </a:extLst>
            </p:cNvPr>
            <p:cNvSpPr>
              <a:spLocks noChangeArrowheads="1"/>
            </p:cNvSpPr>
            <p:nvPr/>
          </p:nvSpPr>
          <p:spPr bwMode="auto">
            <a:xfrm>
              <a:off x="1800" y="539"/>
              <a:ext cx="2544" cy="2546"/>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a:extLst>
                <a:ext uri="{FF2B5EF4-FFF2-40B4-BE49-F238E27FC236}">
                  <a16:creationId xmlns:a16="http://schemas.microsoft.com/office/drawing/2014/main" id="{DD8671D4-7ECC-4173-8B53-A152F06F5719}"/>
                </a:ext>
              </a:extLst>
            </p:cNvPr>
            <p:cNvSpPr>
              <a:spLocks/>
            </p:cNvSpPr>
            <p:nvPr/>
          </p:nvSpPr>
          <p:spPr bwMode="auto">
            <a:xfrm>
              <a:off x="2000" y="1423"/>
              <a:ext cx="2332" cy="1659"/>
            </a:xfrm>
            <a:custGeom>
              <a:avLst/>
              <a:gdLst>
                <a:gd name="T0" fmla="*/ 1198 w 1320"/>
                <a:gd name="T1" fmla="*/ 200 h 938"/>
                <a:gd name="T2" fmla="*/ 1198 w 1320"/>
                <a:gd name="T3" fmla="*/ 200 h 938"/>
                <a:gd name="T4" fmla="*/ 1115 w 1320"/>
                <a:gd name="T5" fmla="*/ 124 h 938"/>
                <a:gd name="T6" fmla="*/ 916 w 1320"/>
                <a:gd name="T7" fmla="*/ 20 h 938"/>
                <a:gd name="T8" fmla="*/ 747 w 1320"/>
                <a:gd name="T9" fmla="*/ 88 h 938"/>
                <a:gd name="T10" fmla="*/ 607 w 1320"/>
                <a:gd name="T11" fmla="*/ 0 h 938"/>
                <a:gd name="T12" fmla="*/ 467 w 1320"/>
                <a:gd name="T13" fmla="*/ 88 h 938"/>
                <a:gd name="T14" fmla="*/ 299 w 1320"/>
                <a:gd name="T15" fmla="*/ 20 h 938"/>
                <a:gd name="T16" fmla="*/ 99 w 1320"/>
                <a:gd name="T17" fmla="*/ 124 h 938"/>
                <a:gd name="T18" fmla="*/ 0 w 1320"/>
                <a:gd name="T19" fmla="*/ 269 h 938"/>
                <a:gd name="T20" fmla="*/ 111 w 1320"/>
                <a:gd name="T21" fmla="*/ 418 h 938"/>
                <a:gd name="T22" fmla="*/ 111 w 1320"/>
                <a:gd name="T23" fmla="*/ 418 h 938"/>
                <a:gd name="T24" fmla="*/ 124 w 1320"/>
                <a:gd name="T25" fmla="*/ 433 h 938"/>
                <a:gd name="T26" fmla="*/ 661 w 1320"/>
                <a:gd name="T27" fmla="*/ 938 h 938"/>
                <a:gd name="T28" fmla="*/ 1320 w 1320"/>
                <a:gd name="T29" fmla="*/ 319 h 938"/>
                <a:gd name="T30" fmla="*/ 1198 w 1320"/>
                <a:gd name="T31" fmla="*/ 200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0" h="938">
                  <a:moveTo>
                    <a:pt x="1198" y="200"/>
                  </a:moveTo>
                  <a:cubicBezTo>
                    <a:pt x="1198" y="200"/>
                    <a:pt x="1198" y="200"/>
                    <a:pt x="1198" y="200"/>
                  </a:cubicBezTo>
                  <a:cubicBezTo>
                    <a:pt x="1181" y="165"/>
                    <a:pt x="1151" y="138"/>
                    <a:pt x="1115" y="124"/>
                  </a:cubicBezTo>
                  <a:cubicBezTo>
                    <a:pt x="1071" y="61"/>
                    <a:pt x="998" y="20"/>
                    <a:pt x="916" y="20"/>
                  </a:cubicBezTo>
                  <a:cubicBezTo>
                    <a:pt x="850" y="20"/>
                    <a:pt x="791" y="46"/>
                    <a:pt x="747" y="88"/>
                  </a:cubicBezTo>
                  <a:cubicBezTo>
                    <a:pt x="722" y="36"/>
                    <a:pt x="669" y="0"/>
                    <a:pt x="607" y="0"/>
                  </a:cubicBezTo>
                  <a:cubicBezTo>
                    <a:pt x="545" y="0"/>
                    <a:pt x="492" y="36"/>
                    <a:pt x="467" y="88"/>
                  </a:cubicBezTo>
                  <a:cubicBezTo>
                    <a:pt x="423" y="46"/>
                    <a:pt x="364" y="20"/>
                    <a:pt x="299" y="20"/>
                  </a:cubicBezTo>
                  <a:cubicBezTo>
                    <a:pt x="216" y="20"/>
                    <a:pt x="143" y="61"/>
                    <a:pt x="99" y="124"/>
                  </a:cubicBezTo>
                  <a:cubicBezTo>
                    <a:pt x="41" y="147"/>
                    <a:pt x="0" y="203"/>
                    <a:pt x="0" y="269"/>
                  </a:cubicBezTo>
                  <a:cubicBezTo>
                    <a:pt x="0" y="339"/>
                    <a:pt x="47" y="399"/>
                    <a:pt x="111" y="418"/>
                  </a:cubicBezTo>
                  <a:cubicBezTo>
                    <a:pt x="111" y="418"/>
                    <a:pt x="111" y="418"/>
                    <a:pt x="111" y="418"/>
                  </a:cubicBezTo>
                  <a:cubicBezTo>
                    <a:pt x="124" y="433"/>
                    <a:pt x="124" y="433"/>
                    <a:pt x="124" y="433"/>
                  </a:cubicBezTo>
                  <a:cubicBezTo>
                    <a:pt x="661" y="938"/>
                    <a:pt x="661" y="938"/>
                    <a:pt x="661" y="938"/>
                  </a:cubicBezTo>
                  <a:cubicBezTo>
                    <a:pt x="1001" y="913"/>
                    <a:pt x="1274" y="652"/>
                    <a:pt x="1320" y="319"/>
                  </a:cubicBezTo>
                  <a:lnTo>
                    <a:pt x="1198" y="20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3">
              <a:extLst>
                <a:ext uri="{FF2B5EF4-FFF2-40B4-BE49-F238E27FC236}">
                  <a16:creationId xmlns:a16="http://schemas.microsoft.com/office/drawing/2014/main" id="{81EAA11F-D662-43D7-AF4F-B9504CF91F35}"/>
                </a:ext>
              </a:extLst>
            </p:cNvPr>
            <p:cNvSpPr>
              <a:spLocks/>
            </p:cNvSpPr>
            <p:nvPr/>
          </p:nvSpPr>
          <p:spPr bwMode="auto">
            <a:xfrm>
              <a:off x="2000" y="1423"/>
              <a:ext cx="2144" cy="896"/>
            </a:xfrm>
            <a:custGeom>
              <a:avLst/>
              <a:gdLst>
                <a:gd name="T0" fmla="*/ 1115 w 1214"/>
                <a:gd name="T1" fmla="*/ 124 h 507"/>
                <a:gd name="T2" fmla="*/ 916 w 1214"/>
                <a:gd name="T3" fmla="*/ 20 h 507"/>
                <a:gd name="T4" fmla="*/ 747 w 1214"/>
                <a:gd name="T5" fmla="*/ 88 h 507"/>
                <a:gd name="T6" fmla="*/ 607 w 1214"/>
                <a:gd name="T7" fmla="*/ 0 h 507"/>
                <a:gd name="T8" fmla="*/ 467 w 1214"/>
                <a:gd name="T9" fmla="*/ 88 h 507"/>
                <a:gd name="T10" fmla="*/ 299 w 1214"/>
                <a:gd name="T11" fmla="*/ 20 h 507"/>
                <a:gd name="T12" fmla="*/ 99 w 1214"/>
                <a:gd name="T13" fmla="*/ 124 h 507"/>
                <a:gd name="T14" fmla="*/ 0 w 1214"/>
                <a:gd name="T15" fmla="*/ 269 h 507"/>
                <a:gd name="T16" fmla="*/ 111 w 1214"/>
                <a:gd name="T17" fmla="*/ 418 h 507"/>
                <a:gd name="T18" fmla="*/ 299 w 1214"/>
                <a:gd name="T19" fmla="*/ 507 h 507"/>
                <a:gd name="T20" fmla="*/ 540 w 1214"/>
                <a:gd name="T21" fmla="*/ 295 h 507"/>
                <a:gd name="T22" fmla="*/ 607 w 1214"/>
                <a:gd name="T23" fmla="*/ 311 h 507"/>
                <a:gd name="T24" fmla="*/ 674 w 1214"/>
                <a:gd name="T25" fmla="*/ 295 h 507"/>
                <a:gd name="T26" fmla="*/ 916 w 1214"/>
                <a:gd name="T27" fmla="*/ 507 h 507"/>
                <a:gd name="T28" fmla="*/ 1104 w 1214"/>
                <a:gd name="T29" fmla="*/ 418 h 507"/>
                <a:gd name="T30" fmla="*/ 1214 w 1214"/>
                <a:gd name="T31" fmla="*/ 269 h 507"/>
                <a:gd name="T32" fmla="*/ 1115 w 1214"/>
                <a:gd name="T33" fmla="*/ 124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14" h="507">
                  <a:moveTo>
                    <a:pt x="1115" y="124"/>
                  </a:moveTo>
                  <a:cubicBezTo>
                    <a:pt x="1071" y="61"/>
                    <a:pt x="998" y="20"/>
                    <a:pt x="916" y="20"/>
                  </a:cubicBezTo>
                  <a:cubicBezTo>
                    <a:pt x="850" y="20"/>
                    <a:pt x="791" y="46"/>
                    <a:pt x="747" y="88"/>
                  </a:cubicBezTo>
                  <a:cubicBezTo>
                    <a:pt x="722" y="36"/>
                    <a:pt x="669" y="0"/>
                    <a:pt x="607" y="0"/>
                  </a:cubicBezTo>
                  <a:cubicBezTo>
                    <a:pt x="545" y="0"/>
                    <a:pt x="492" y="36"/>
                    <a:pt x="467" y="88"/>
                  </a:cubicBezTo>
                  <a:cubicBezTo>
                    <a:pt x="423" y="46"/>
                    <a:pt x="364" y="20"/>
                    <a:pt x="299" y="20"/>
                  </a:cubicBezTo>
                  <a:cubicBezTo>
                    <a:pt x="216" y="20"/>
                    <a:pt x="143" y="61"/>
                    <a:pt x="99" y="124"/>
                  </a:cubicBezTo>
                  <a:cubicBezTo>
                    <a:pt x="41" y="147"/>
                    <a:pt x="0" y="203"/>
                    <a:pt x="0" y="269"/>
                  </a:cubicBezTo>
                  <a:cubicBezTo>
                    <a:pt x="0" y="339"/>
                    <a:pt x="47" y="399"/>
                    <a:pt x="111" y="418"/>
                  </a:cubicBezTo>
                  <a:cubicBezTo>
                    <a:pt x="155" y="472"/>
                    <a:pt x="223" y="507"/>
                    <a:pt x="299" y="507"/>
                  </a:cubicBezTo>
                  <a:cubicBezTo>
                    <a:pt x="422" y="507"/>
                    <a:pt x="524" y="415"/>
                    <a:pt x="540" y="295"/>
                  </a:cubicBezTo>
                  <a:cubicBezTo>
                    <a:pt x="560" y="305"/>
                    <a:pt x="583" y="311"/>
                    <a:pt x="607" y="311"/>
                  </a:cubicBezTo>
                  <a:cubicBezTo>
                    <a:pt x="631" y="311"/>
                    <a:pt x="654" y="305"/>
                    <a:pt x="674" y="295"/>
                  </a:cubicBezTo>
                  <a:cubicBezTo>
                    <a:pt x="690" y="415"/>
                    <a:pt x="792" y="507"/>
                    <a:pt x="916" y="507"/>
                  </a:cubicBezTo>
                  <a:cubicBezTo>
                    <a:pt x="991" y="507"/>
                    <a:pt x="1059" y="472"/>
                    <a:pt x="1104" y="418"/>
                  </a:cubicBezTo>
                  <a:cubicBezTo>
                    <a:pt x="1168" y="399"/>
                    <a:pt x="1214" y="339"/>
                    <a:pt x="1214" y="269"/>
                  </a:cubicBezTo>
                  <a:cubicBezTo>
                    <a:pt x="1214" y="203"/>
                    <a:pt x="1173" y="147"/>
                    <a:pt x="1115" y="12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Oval 29">
              <a:extLst>
                <a:ext uri="{FF2B5EF4-FFF2-40B4-BE49-F238E27FC236}">
                  <a16:creationId xmlns:a16="http://schemas.microsoft.com/office/drawing/2014/main" id="{ED1E08AE-A20F-4EB0-9827-A89B57319B85}"/>
                </a:ext>
              </a:extLst>
            </p:cNvPr>
            <p:cNvSpPr>
              <a:spLocks noChangeArrowheads="1"/>
            </p:cNvSpPr>
            <p:nvPr/>
          </p:nvSpPr>
          <p:spPr bwMode="auto">
            <a:xfrm>
              <a:off x="2233" y="1596"/>
              <a:ext cx="588" cy="589"/>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30">
              <a:extLst>
                <a:ext uri="{FF2B5EF4-FFF2-40B4-BE49-F238E27FC236}">
                  <a16:creationId xmlns:a16="http://schemas.microsoft.com/office/drawing/2014/main" id="{A5EEC014-B9AB-4074-909B-6666D15CBADE}"/>
                </a:ext>
              </a:extLst>
            </p:cNvPr>
            <p:cNvSpPr>
              <a:spLocks noChangeArrowheads="1"/>
            </p:cNvSpPr>
            <p:nvPr/>
          </p:nvSpPr>
          <p:spPr bwMode="auto">
            <a:xfrm>
              <a:off x="3323" y="1595"/>
              <a:ext cx="588" cy="588"/>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Title 5"/>
          <p:cNvSpPr>
            <a:spLocks noGrp="1"/>
          </p:cNvSpPr>
          <p:nvPr>
            <p:ph type="title"/>
          </p:nvPr>
        </p:nvSpPr>
        <p:spPr/>
        <p:txBody>
          <a:bodyPr/>
          <a:lstStyle/>
          <a:p>
            <a:r>
              <a:rPr lang="en-US" dirty="0"/>
              <a:t>Cisco Data Center Security</a:t>
            </a:r>
          </a:p>
        </p:txBody>
      </p:sp>
      <p:sp>
        <p:nvSpPr>
          <p:cNvPr id="20" name="Rectangle 7"/>
          <p:cNvSpPr>
            <a:spLocks noChangeArrowheads="1"/>
          </p:cNvSpPr>
          <p:nvPr/>
        </p:nvSpPr>
        <p:spPr bwMode="ltGray">
          <a:xfrm>
            <a:off x="7376999" y="5225890"/>
            <a:ext cx="218414" cy="154518"/>
          </a:xfrm>
          <a:prstGeom prst="rect">
            <a:avLst/>
          </a:prstGeom>
          <a:noFill/>
          <a:ln w="9525" algn="ctr">
            <a:noFill/>
            <a:miter lim="800000"/>
            <a:headEnd/>
            <a:tailEnd/>
          </a:ln>
          <a:effectLst/>
        </p:spPr>
        <p:txBody>
          <a:bodyPr wrap="none" lIns="61586" tIns="30792" rIns="61586" bIns="30792"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600" b="0" i="0" u="none" strike="noStrike" kern="1200" cap="none" spc="0" normalizeH="0" baseline="0" noProof="0">
                <a:ln>
                  <a:noFill/>
                </a:ln>
                <a:solidFill>
                  <a:srgbClr val="000000">
                    <a:alpha val="25000"/>
                  </a:srgbClr>
                </a:solidFill>
                <a:effectLst/>
                <a:uLnTx/>
                <a:uFillTx/>
                <a:latin typeface="CiscoSansTT ExtraLight"/>
                <a:ea typeface=""/>
                <a:cs typeface="CiscoSans Thin"/>
              </a:rPr>
              <a:pPr marL="0" marR="0" lvl="0" indent="0" algn="r" defTabSz="610744" rtl="0" eaLnBrk="1" fontAlgn="auto" latinLnBrk="0" hangingPunct="1">
                <a:lnSpc>
                  <a:spcPct val="100000"/>
                </a:lnSpc>
                <a:spcBef>
                  <a:spcPts val="0"/>
                </a:spcBef>
                <a:spcAft>
                  <a:spcPts val="0"/>
                </a:spcAft>
                <a:buClrTx/>
                <a:buSzTx/>
                <a:buFontTx/>
                <a:buNone/>
                <a:tabLst/>
                <a:defRPr/>
              </a:pPr>
              <a:t>19</a:t>
            </a:fld>
            <a:endParaRPr kumimoji="0" lang="en-US" sz="600" b="0" i="0" u="none" strike="noStrike" kern="1200" cap="none" spc="0" normalizeH="0" baseline="0" noProof="0" dirty="0">
              <a:ln>
                <a:noFill/>
              </a:ln>
              <a:solidFill>
                <a:srgbClr val="000000">
                  <a:alpha val="25000"/>
                </a:srgbClr>
              </a:solidFill>
              <a:effectLst/>
              <a:uLnTx/>
              <a:uFillTx/>
              <a:latin typeface="CiscoSansTT ExtraLight"/>
              <a:ea typeface=""/>
              <a:cs typeface="CiscoSans Thin"/>
            </a:endParaRPr>
          </a:p>
        </p:txBody>
      </p:sp>
      <p:sp>
        <p:nvSpPr>
          <p:cNvPr id="22" name="Rectangle 4"/>
          <p:cNvSpPr>
            <a:spLocks noChangeArrowheads="1"/>
          </p:cNvSpPr>
          <p:nvPr/>
        </p:nvSpPr>
        <p:spPr bwMode="ltGray">
          <a:xfrm>
            <a:off x="6157197" y="5225890"/>
            <a:ext cx="2658018" cy="154518"/>
          </a:xfrm>
          <a:prstGeom prst="rect">
            <a:avLst/>
          </a:prstGeom>
          <a:noFill/>
          <a:ln w="9525">
            <a:noFill/>
            <a:miter lim="800000"/>
            <a:headEnd/>
            <a:tailEnd/>
          </a:ln>
          <a:effectLst/>
        </p:spPr>
        <p:txBody>
          <a:bodyPr lIns="61586" tIns="30792" rIns="61586" bIns="30792"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alpha val="25000"/>
                  </a:srgbClr>
                </a:solidFill>
                <a:effectLst/>
                <a:uLnTx/>
                <a:uFillTx/>
                <a:latin typeface="CiscoSansTT ExtraLight"/>
                <a:ea typeface=""/>
                <a:cs typeface="CiscoSans Thin"/>
              </a:rPr>
              <a:t>© 2017 Cisco and/or its affiliates. All rights reserved.</a:t>
            </a:r>
          </a:p>
        </p:txBody>
      </p:sp>
      <p:sp>
        <p:nvSpPr>
          <p:cNvPr id="17" name="TextBox 16">
            <a:extLst>
              <a:ext uri="{FF2B5EF4-FFF2-40B4-BE49-F238E27FC236}">
                <a16:creationId xmlns:a16="http://schemas.microsoft.com/office/drawing/2014/main" id="{2E214795-923B-47C9-A50E-81A619C0F2F1}"/>
              </a:ext>
            </a:extLst>
          </p:cNvPr>
          <p:cNvSpPr txBox="1"/>
          <p:nvPr/>
        </p:nvSpPr>
        <p:spPr>
          <a:xfrm>
            <a:off x="1099935" y="2662907"/>
            <a:ext cx="1091966" cy="400110"/>
          </a:xfrm>
          <a:prstGeom prst="rect">
            <a:avLst/>
          </a:prstGeom>
          <a:noFill/>
        </p:spPr>
        <p:txBody>
          <a:bodyPr wrap="none" rtlCol="0">
            <a:spAutoFit/>
          </a:bodyPr>
          <a:lstStyle/>
          <a:p>
            <a:pPr lvl="0" algn="ctr"/>
            <a:r>
              <a:rPr lang="en-US" sz="2000" dirty="0">
                <a:solidFill>
                  <a:srgbClr val="00BCEB"/>
                </a:solidFill>
                <a:latin typeface="CiscoSansTT ExtraLight"/>
              </a:rPr>
              <a:t>Visibility</a:t>
            </a:r>
          </a:p>
        </p:txBody>
      </p:sp>
      <p:sp>
        <p:nvSpPr>
          <p:cNvPr id="23" name="TextBox 22">
            <a:extLst>
              <a:ext uri="{FF2B5EF4-FFF2-40B4-BE49-F238E27FC236}">
                <a16:creationId xmlns:a16="http://schemas.microsoft.com/office/drawing/2014/main" id="{EF9A26F8-8452-4E59-B868-A406EF7AA157}"/>
              </a:ext>
            </a:extLst>
          </p:cNvPr>
          <p:cNvSpPr txBox="1"/>
          <p:nvPr/>
        </p:nvSpPr>
        <p:spPr>
          <a:xfrm>
            <a:off x="375328" y="3269799"/>
            <a:ext cx="2541181" cy="1123384"/>
          </a:xfrm>
          <a:prstGeom prst="rect">
            <a:avLst/>
          </a:prstGeom>
          <a:noFill/>
        </p:spPr>
        <p:txBody>
          <a:bodyPr wrap="square" rtlCol="0">
            <a:spAutoFit/>
          </a:bodyPr>
          <a:lstStyle/>
          <a:p>
            <a:pPr algn="ctr" defTabSz="685783">
              <a:lnSpc>
                <a:spcPct val="90000"/>
              </a:lnSpc>
              <a:spcBef>
                <a:spcPts val="600"/>
              </a:spcBef>
            </a:pPr>
            <a:r>
              <a:rPr lang="en-US" sz="1400" dirty="0">
                <a:solidFill>
                  <a:schemeClr val="accent1"/>
                </a:solidFill>
                <a:latin typeface="CiscoSans ExtraLight" charset="0"/>
                <a:ea typeface="CiscoSans ExtraLight" charset="0"/>
                <a:cs typeface="CiscoSans ExtraLight" charset="0"/>
              </a:rPr>
              <a:t>“See Everything”</a:t>
            </a:r>
          </a:p>
          <a:p>
            <a:pPr algn="ctr" defTabSz="685783">
              <a:lnSpc>
                <a:spcPct val="90000"/>
              </a:lnSpc>
              <a:spcBef>
                <a:spcPts val="600"/>
              </a:spcBef>
            </a:pPr>
            <a:r>
              <a:rPr lang="en-US" sz="1200" dirty="0">
                <a:solidFill>
                  <a:schemeClr val="tx2"/>
                </a:solidFill>
                <a:latin typeface="CiscoSans ExtraLight" charset="0"/>
                <a:ea typeface="CiscoSans ExtraLight" charset="0"/>
                <a:cs typeface="CiscoSans ExtraLight" charset="0"/>
              </a:rPr>
              <a:t>Complete visibility of users, devices, networks, applications, workloads and processes</a:t>
            </a:r>
          </a:p>
          <a:p>
            <a:pPr algn="ctr">
              <a:spcBef>
                <a:spcPts val="600"/>
              </a:spcBef>
            </a:pPr>
            <a:r>
              <a:rPr lang="en-US" sz="1200" b="1" dirty="0" err="1">
                <a:solidFill>
                  <a:schemeClr val="accent2"/>
                </a:solidFill>
                <a:latin typeface="CiscoSansTT ExtraLight"/>
              </a:rPr>
              <a:t>Stealthwatch</a:t>
            </a:r>
            <a:r>
              <a:rPr lang="en-US" sz="1200" b="1" dirty="0">
                <a:solidFill>
                  <a:schemeClr val="accent2"/>
                </a:solidFill>
                <a:latin typeface="CiscoSansTT ExtraLight"/>
              </a:rPr>
              <a:t> | </a:t>
            </a:r>
            <a:r>
              <a:rPr lang="en-US" sz="1200" b="1" dirty="0" err="1">
                <a:solidFill>
                  <a:schemeClr val="accent2"/>
                </a:solidFill>
                <a:latin typeface="CiscoSansTT ExtraLight"/>
              </a:rPr>
              <a:t>Tetration</a:t>
            </a:r>
            <a:endParaRPr lang="en-US" sz="1200" b="1" dirty="0">
              <a:solidFill>
                <a:schemeClr val="accent2"/>
              </a:solidFill>
              <a:latin typeface="CiscoSansTT ExtraLight"/>
            </a:endParaRPr>
          </a:p>
        </p:txBody>
      </p:sp>
      <p:sp>
        <p:nvSpPr>
          <p:cNvPr id="26" name="TextBox 25">
            <a:extLst>
              <a:ext uri="{FF2B5EF4-FFF2-40B4-BE49-F238E27FC236}">
                <a16:creationId xmlns:a16="http://schemas.microsoft.com/office/drawing/2014/main" id="{C6B758BB-6DD6-46EE-A069-1D05873F2D84}"/>
              </a:ext>
            </a:extLst>
          </p:cNvPr>
          <p:cNvSpPr txBox="1"/>
          <p:nvPr/>
        </p:nvSpPr>
        <p:spPr>
          <a:xfrm>
            <a:off x="6400011" y="2652747"/>
            <a:ext cx="2172391" cy="400110"/>
          </a:xfrm>
          <a:prstGeom prst="rect">
            <a:avLst/>
          </a:prstGeom>
          <a:noFill/>
        </p:spPr>
        <p:txBody>
          <a:bodyPr wrap="none" rtlCol="0">
            <a:spAutoFit/>
          </a:bodyPr>
          <a:lstStyle/>
          <a:p>
            <a:pPr lvl="0" algn="ctr"/>
            <a:r>
              <a:rPr lang="en-US" sz="2000" dirty="0">
                <a:solidFill>
                  <a:srgbClr val="00BCEB"/>
                </a:solidFill>
                <a:latin typeface="CiscoSansTT ExtraLight"/>
              </a:rPr>
              <a:t>Threat Protection</a:t>
            </a:r>
          </a:p>
        </p:txBody>
      </p:sp>
      <p:sp>
        <p:nvSpPr>
          <p:cNvPr id="32" name="TextBox 31">
            <a:extLst>
              <a:ext uri="{FF2B5EF4-FFF2-40B4-BE49-F238E27FC236}">
                <a16:creationId xmlns:a16="http://schemas.microsoft.com/office/drawing/2014/main" id="{119ADA34-C2A6-4A22-84C8-5256ACBCA5F7}"/>
              </a:ext>
            </a:extLst>
          </p:cNvPr>
          <p:cNvSpPr txBox="1"/>
          <p:nvPr/>
        </p:nvSpPr>
        <p:spPr>
          <a:xfrm>
            <a:off x="3679597" y="2652747"/>
            <a:ext cx="1781258" cy="400110"/>
          </a:xfrm>
          <a:prstGeom prst="rect">
            <a:avLst/>
          </a:prstGeom>
          <a:noFill/>
        </p:spPr>
        <p:txBody>
          <a:bodyPr wrap="none" rtlCol="0">
            <a:spAutoFit/>
          </a:bodyPr>
          <a:lstStyle/>
          <a:p>
            <a:pPr lvl="0" algn="ctr"/>
            <a:r>
              <a:rPr lang="en-US" sz="2000" dirty="0">
                <a:solidFill>
                  <a:srgbClr val="00BCEB"/>
                </a:solidFill>
                <a:latin typeface="CiscoSansTT ExtraLight"/>
              </a:rPr>
              <a:t>Segmentation</a:t>
            </a:r>
          </a:p>
        </p:txBody>
      </p:sp>
      <p:pic>
        <p:nvPicPr>
          <p:cNvPr id="35" name="Picture 34">
            <a:extLst>
              <a:ext uri="{FF2B5EF4-FFF2-40B4-BE49-F238E27FC236}">
                <a16:creationId xmlns:a16="http://schemas.microsoft.com/office/drawing/2014/main" id="{01F366B6-B9F3-45C0-9605-703B2244670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44212" y="1220753"/>
            <a:ext cx="1252029" cy="1252728"/>
          </a:xfrm>
          <a:prstGeom prst="rect">
            <a:avLst/>
          </a:prstGeom>
        </p:spPr>
      </p:pic>
      <p:sp>
        <p:nvSpPr>
          <p:cNvPr id="37" name="TextBox 36">
            <a:extLst>
              <a:ext uri="{FF2B5EF4-FFF2-40B4-BE49-F238E27FC236}">
                <a16:creationId xmlns:a16="http://schemas.microsoft.com/office/drawing/2014/main" id="{A0D6A063-EC85-DF4C-B1A9-E10160667505}"/>
              </a:ext>
            </a:extLst>
          </p:cNvPr>
          <p:cNvSpPr txBox="1"/>
          <p:nvPr/>
        </p:nvSpPr>
        <p:spPr>
          <a:xfrm>
            <a:off x="3299636" y="3259639"/>
            <a:ext cx="2541181" cy="1123384"/>
          </a:xfrm>
          <a:prstGeom prst="rect">
            <a:avLst/>
          </a:prstGeom>
          <a:noFill/>
        </p:spPr>
        <p:txBody>
          <a:bodyPr wrap="square" rtlCol="0">
            <a:spAutoFit/>
          </a:bodyPr>
          <a:lstStyle/>
          <a:p>
            <a:pPr algn="ctr" defTabSz="685783">
              <a:lnSpc>
                <a:spcPct val="90000"/>
              </a:lnSpc>
              <a:spcBef>
                <a:spcPts val="600"/>
              </a:spcBef>
            </a:pPr>
            <a:r>
              <a:rPr lang="en-US" sz="1400" dirty="0">
                <a:solidFill>
                  <a:schemeClr val="accent1"/>
                </a:solidFill>
                <a:latin typeface="CiscoSans ExtraLight" charset="0"/>
                <a:ea typeface="CiscoSans ExtraLight" charset="0"/>
                <a:cs typeface="CiscoSans ExtraLight" charset="0"/>
              </a:rPr>
              <a:t>“</a:t>
            </a:r>
            <a:r>
              <a:rPr lang="en-US" sz="1400" dirty="0">
                <a:solidFill>
                  <a:schemeClr val="accent1"/>
                </a:solidFill>
                <a:latin typeface="CiscoSans ExtraLight" charset="0"/>
              </a:rPr>
              <a:t>Reduce the Attack Surface”</a:t>
            </a:r>
          </a:p>
          <a:p>
            <a:pPr algn="ctr" defTabSz="685783">
              <a:lnSpc>
                <a:spcPct val="90000"/>
              </a:lnSpc>
              <a:spcBef>
                <a:spcPts val="600"/>
              </a:spcBef>
            </a:pPr>
            <a:r>
              <a:rPr lang="en-US" sz="1200" dirty="0">
                <a:solidFill>
                  <a:schemeClr val="tx2"/>
                </a:solidFill>
                <a:latin typeface="CiscoSans ExtraLight" charset="0"/>
              </a:rPr>
              <a:t>Prevent attackers from moving laterally east-west with application whitelisting and micro-segmentation</a:t>
            </a:r>
          </a:p>
          <a:p>
            <a:pPr algn="ctr">
              <a:spcBef>
                <a:spcPts val="600"/>
              </a:spcBef>
            </a:pPr>
            <a:r>
              <a:rPr lang="en-US" sz="1200" b="1" dirty="0">
                <a:solidFill>
                  <a:schemeClr val="accent2"/>
                </a:solidFill>
                <a:latin typeface="CiscoSansTT ExtraLight"/>
              </a:rPr>
              <a:t>NGFW | ACI | </a:t>
            </a:r>
            <a:r>
              <a:rPr lang="en-US" sz="1200" b="1" dirty="0" err="1">
                <a:solidFill>
                  <a:schemeClr val="accent2"/>
                </a:solidFill>
                <a:latin typeface="CiscoSansTT ExtraLight"/>
              </a:rPr>
              <a:t>Tetration</a:t>
            </a:r>
            <a:endParaRPr lang="en-US" sz="1200" b="1" dirty="0">
              <a:solidFill>
                <a:schemeClr val="accent2"/>
              </a:solidFill>
              <a:latin typeface="CiscoSansTT ExtraLight"/>
            </a:endParaRPr>
          </a:p>
        </p:txBody>
      </p:sp>
      <p:sp>
        <p:nvSpPr>
          <p:cNvPr id="40" name="TextBox 39">
            <a:extLst>
              <a:ext uri="{FF2B5EF4-FFF2-40B4-BE49-F238E27FC236}">
                <a16:creationId xmlns:a16="http://schemas.microsoft.com/office/drawing/2014/main" id="{E5E7D242-F9AC-9147-8BA6-CB6A95CDD83B}"/>
              </a:ext>
            </a:extLst>
          </p:cNvPr>
          <p:cNvSpPr txBox="1"/>
          <p:nvPr/>
        </p:nvSpPr>
        <p:spPr>
          <a:xfrm>
            <a:off x="6215616" y="3259639"/>
            <a:ext cx="2541181" cy="1384995"/>
          </a:xfrm>
          <a:prstGeom prst="rect">
            <a:avLst/>
          </a:prstGeom>
          <a:noFill/>
        </p:spPr>
        <p:txBody>
          <a:bodyPr wrap="square" rtlCol="0">
            <a:spAutoFit/>
          </a:bodyPr>
          <a:lstStyle/>
          <a:p>
            <a:pPr lvl="0" algn="ctr" defTabSz="685783">
              <a:lnSpc>
                <a:spcPct val="90000"/>
              </a:lnSpc>
              <a:spcBef>
                <a:spcPts val="600"/>
              </a:spcBef>
            </a:pPr>
            <a:r>
              <a:rPr lang="en-US" sz="1400" dirty="0">
                <a:solidFill>
                  <a:srgbClr val="00BCEB"/>
                </a:solidFill>
                <a:latin typeface="CiscoSans ExtraLight" charset="0"/>
                <a:ea typeface="CiscoSans ExtraLight" charset="0"/>
                <a:cs typeface="CiscoSans ExtraLight" charset="0"/>
              </a:rPr>
              <a:t>“</a:t>
            </a:r>
            <a:r>
              <a:rPr lang="en-US" sz="1400" dirty="0">
                <a:solidFill>
                  <a:schemeClr val="accent1"/>
                </a:solidFill>
                <a:latin typeface="CiscoSans ExtraLight" charset="0"/>
              </a:rPr>
              <a:t>Stop the Breach”</a:t>
            </a:r>
          </a:p>
          <a:p>
            <a:pPr algn="ctr" defTabSz="685783">
              <a:lnSpc>
                <a:spcPct val="90000"/>
              </a:lnSpc>
              <a:spcBef>
                <a:spcPts val="600"/>
              </a:spcBef>
            </a:pPr>
            <a:r>
              <a:rPr lang="en-US" sz="1200" dirty="0">
                <a:solidFill>
                  <a:schemeClr val="tx2"/>
                </a:solidFill>
                <a:latin typeface="CiscoSans ExtraLight" charset="0"/>
              </a:rPr>
              <a:t>Quickly detect, block, and respond to attacks before hackers can steal data </a:t>
            </a:r>
            <a:br>
              <a:rPr lang="en-US" sz="1200" dirty="0">
                <a:solidFill>
                  <a:schemeClr val="tx2"/>
                </a:solidFill>
                <a:latin typeface="CiscoSans ExtraLight" charset="0"/>
              </a:rPr>
            </a:br>
            <a:r>
              <a:rPr lang="en-US" sz="1200" dirty="0">
                <a:solidFill>
                  <a:schemeClr val="tx2"/>
                </a:solidFill>
                <a:latin typeface="CiscoSans ExtraLight" charset="0"/>
              </a:rPr>
              <a:t>or disrupt operations</a:t>
            </a:r>
          </a:p>
          <a:p>
            <a:pPr algn="ctr">
              <a:spcBef>
                <a:spcPts val="600"/>
              </a:spcBef>
            </a:pPr>
            <a:r>
              <a:rPr lang="en-US" sz="1200" b="1" dirty="0">
                <a:solidFill>
                  <a:schemeClr val="accent2"/>
                </a:solidFill>
                <a:latin typeface="CiscoSansTT ExtraLight"/>
              </a:rPr>
              <a:t>NGFW | AMP</a:t>
            </a:r>
          </a:p>
          <a:p>
            <a:pPr algn="ctr">
              <a:spcBef>
                <a:spcPts val="600"/>
              </a:spcBef>
            </a:pPr>
            <a:r>
              <a:rPr lang="en-US" sz="1200" b="1" dirty="0" err="1">
                <a:solidFill>
                  <a:schemeClr val="accent2"/>
                </a:solidFill>
                <a:latin typeface="CiscoSansTT ExtraLight"/>
              </a:rPr>
              <a:t>Stealthwatch</a:t>
            </a:r>
            <a:r>
              <a:rPr lang="en-US" sz="1200" b="1" dirty="0">
                <a:solidFill>
                  <a:schemeClr val="accent2"/>
                </a:solidFill>
                <a:latin typeface="CiscoSansTT ExtraLight"/>
              </a:rPr>
              <a:t> | </a:t>
            </a:r>
            <a:r>
              <a:rPr lang="en-US" sz="1200" b="1" dirty="0" err="1">
                <a:solidFill>
                  <a:schemeClr val="accent2"/>
                </a:solidFill>
                <a:latin typeface="CiscoSansTT ExtraLight"/>
              </a:rPr>
              <a:t>Tetration</a:t>
            </a:r>
            <a:endParaRPr lang="en-US" sz="1200" b="1" dirty="0">
              <a:solidFill>
                <a:schemeClr val="accent2"/>
              </a:solidFill>
              <a:latin typeface="CiscoSansTT ExtraLight"/>
            </a:endParaRPr>
          </a:p>
        </p:txBody>
      </p:sp>
      <p:cxnSp>
        <p:nvCxnSpPr>
          <p:cNvPr id="25" name="Straight Connector 24">
            <a:extLst>
              <a:ext uri="{FF2B5EF4-FFF2-40B4-BE49-F238E27FC236}">
                <a16:creationId xmlns:a16="http://schemas.microsoft.com/office/drawing/2014/main" id="{2AFFE989-C220-4E04-BC60-3E40209A525B}"/>
              </a:ext>
            </a:extLst>
          </p:cNvPr>
          <p:cNvCxnSpPr/>
          <p:nvPr/>
        </p:nvCxnSpPr>
        <p:spPr>
          <a:xfrm>
            <a:off x="1348049" y="3145622"/>
            <a:ext cx="5588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0ABF11C-DB48-4E23-80A2-D9DB770C1B7F}"/>
              </a:ext>
            </a:extLst>
          </p:cNvPr>
          <p:cNvCxnSpPr/>
          <p:nvPr/>
        </p:nvCxnSpPr>
        <p:spPr>
          <a:xfrm>
            <a:off x="4282445" y="3145622"/>
            <a:ext cx="5588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E6A8F84-AEE6-4305-9F0F-2DB04015EB68}"/>
              </a:ext>
            </a:extLst>
          </p:cNvPr>
          <p:cNvCxnSpPr/>
          <p:nvPr/>
        </p:nvCxnSpPr>
        <p:spPr>
          <a:xfrm>
            <a:off x="7196514" y="3145622"/>
            <a:ext cx="5588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C6D09356-30B7-4B82-8350-57994F429674}"/>
              </a:ext>
            </a:extLst>
          </p:cNvPr>
          <p:cNvGrpSpPr/>
          <p:nvPr/>
        </p:nvGrpSpPr>
        <p:grpSpPr>
          <a:xfrm rot="16200000">
            <a:off x="3589767" y="-1859939"/>
            <a:ext cx="1921483" cy="7379384"/>
            <a:chOff x="3820874" y="1232959"/>
            <a:chExt cx="1602379" cy="3383106"/>
          </a:xfrm>
        </p:grpSpPr>
        <p:sp>
          <p:nvSpPr>
            <p:cNvPr id="58" name="Freeform 232">
              <a:extLst>
                <a:ext uri="{FF2B5EF4-FFF2-40B4-BE49-F238E27FC236}">
                  <a16:creationId xmlns:a16="http://schemas.microsoft.com/office/drawing/2014/main" id="{F33B0FA9-EB7A-4F81-87EF-5C7232B6629D}"/>
                </a:ext>
              </a:extLst>
            </p:cNvPr>
            <p:cNvSpPr/>
            <p:nvPr/>
          </p:nvSpPr>
          <p:spPr>
            <a:xfrm rot="10800000">
              <a:off x="5236063" y="3068457"/>
              <a:ext cx="187190" cy="113368"/>
            </a:xfrm>
            <a:custGeom>
              <a:avLst/>
              <a:gdLst>
                <a:gd name="connsiteX0" fmla="*/ 33134 w 306308"/>
                <a:gd name="connsiteY0" fmla="*/ 0 h 185510"/>
                <a:gd name="connsiteX1" fmla="*/ 48081 w 306308"/>
                <a:gd name="connsiteY1" fmla="*/ 6191 h 185510"/>
                <a:gd name="connsiteX2" fmla="*/ 153154 w 306308"/>
                <a:gd name="connsiteY2" fmla="*/ 111264 h 185510"/>
                <a:gd name="connsiteX3" fmla="*/ 258230 w 306308"/>
                <a:gd name="connsiteY3" fmla="*/ 6189 h 185510"/>
                <a:gd name="connsiteX4" fmla="*/ 273174 w 306308"/>
                <a:gd name="connsiteY4" fmla="*/ 0 h 185510"/>
                <a:gd name="connsiteX5" fmla="*/ 296604 w 306308"/>
                <a:gd name="connsiteY5" fmla="*/ 9704 h 185510"/>
                <a:gd name="connsiteX6" fmla="*/ 296604 w 306308"/>
                <a:gd name="connsiteY6" fmla="*/ 56561 h 185510"/>
                <a:gd name="connsiteX7" fmla="*/ 177359 w 306308"/>
                <a:gd name="connsiteY7" fmla="*/ 175805 h 185510"/>
                <a:gd name="connsiteX8" fmla="*/ 153930 w 306308"/>
                <a:gd name="connsiteY8" fmla="*/ 185510 h 185510"/>
                <a:gd name="connsiteX9" fmla="*/ 153154 w 306308"/>
                <a:gd name="connsiteY9" fmla="*/ 185188 h 185510"/>
                <a:gd name="connsiteX10" fmla="*/ 152377 w 306308"/>
                <a:gd name="connsiteY10" fmla="*/ 185510 h 185510"/>
                <a:gd name="connsiteX11" fmla="*/ 128949 w 306308"/>
                <a:gd name="connsiteY11" fmla="*/ 175805 h 185510"/>
                <a:gd name="connsiteX12" fmla="*/ 9705 w 306308"/>
                <a:gd name="connsiteY12" fmla="*/ 56561 h 185510"/>
                <a:gd name="connsiteX13" fmla="*/ 9705 w 306308"/>
                <a:gd name="connsiteY13" fmla="*/ 9704 h 185510"/>
                <a:gd name="connsiteX14" fmla="*/ 33134 w 306308"/>
                <a:gd name="connsiteY14" fmla="*/ 0 h 185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6308" h="185510">
                  <a:moveTo>
                    <a:pt x="33134" y="0"/>
                  </a:moveTo>
                  <a:lnTo>
                    <a:pt x="48081" y="6191"/>
                  </a:lnTo>
                  <a:lnTo>
                    <a:pt x="153154" y="111264"/>
                  </a:lnTo>
                  <a:lnTo>
                    <a:pt x="258230" y="6189"/>
                  </a:lnTo>
                  <a:lnTo>
                    <a:pt x="273174" y="0"/>
                  </a:lnTo>
                  <a:cubicBezTo>
                    <a:pt x="281654" y="0"/>
                    <a:pt x="290134" y="3235"/>
                    <a:pt x="296604" y="9704"/>
                  </a:cubicBezTo>
                  <a:cubicBezTo>
                    <a:pt x="309543" y="22642"/>
                    <a:pt x="309543" y="43622"/>
                    <a:pt x="296604" y="56561"/>
                  </a:cubicBezTo>
                  <a:lnTo>
                    <a:pt x="177359" y="175805"/>
                  </a:lnTo>
                  <a:cubicBezTo>
                    <a:pt x="170889" y="182274"/>
                    <a:pt x="162410" y="185510"/>
                    <a:pt x="153930" y="185510"/>
                  </a:cubicBezTo>
                  <a:lnTo>
                    <a:pt x="153154" y="185188"/>
                  </a:lnTo>
                  <a:lnTo>
                    <a:pt x="152377" y="185510"/>
                  </a:lnTo>
                  <a:cubicBezTo>
                    <a:pt x="143898" y="185510"/>
                    <a:pt x="135419" y="182274"/>
                    <a:pt x="128949" y="175805"/>
                  </a:cubicBezTo>
                  <a:lnTo>
                    <a:pt x="9705" y="56561"/>
                  </a:lnTo>
                  <a:cubicBezTo>
                    <a:pt x="-3235" y="43622"/>
                    <a:pt x="-3235" y="22642"/>
                    <a:pt x="9705" y="9704"/>
                  </a:cubicBezTo>
                  <a:cubicBezTo>
                    <a:pt x="16175" y="3235"/>
                    <a:pt x="24654" y="0"/>
                    <a:pt x="33134" y="0"/>
                  </a:cubicBezTo>
                  <a:close/>
                </a:path>
              </a:pathLst>
            </a:custGeom>
            <a:solidFill>
              <a:schemeClr val="bg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sp>
          <p:nvSpPr>
            <p:cNvPr id="59" name="Rounded Rectangle 12">
              <a:extLst>
                <a:ext uri="{FF2B5EF4-FFF2-40B4-BE49-F238E27FC236}">
                  <a16:creationId xmlns:a16="http://schemas.microsoft.com/office/drawing/2014/main" id="{88C36486-842C-4794-9034-C94C59C77BA1}"/>
                </a:ext>
              </a:extLst>
            </p:cNvPr>
            <p:cNvSpPr/>
            <p:nvPr/>
          </p:nvSpPr>
          <p:spPr>
            <a:xfrm>
              <a:off x="3911644" y="1232959"/>
              <a:ext cx="1416059" cy="3383106"/>
            </a:xfrm>
            <a:prstGeom prst="roundRect">
              <a:avLst>
                <a:gd name="adj" fmla="val 50000"/>
              </a:avLst>
            </a:prstGeom>
            <a:no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sp>
          <p:nvSpPr>
            <p:cNvPr id="60" name="Freeform 229">
              <a:extLst>
                <a:ext uri="{FF2B5EF4-FFF2-40B4-BE49-F238E27FC236}">
                  <a16:creationId xmlns:a16="http://schemas.microsoft.com/office/drawing/2014/main" id="{191CAFE6-52B1-4F61-8DB2-58D8DE8D1DC7}"/>
                </a:ext>
              </a:extLst>
            </p:cNvPr>
            <p:cNvSpPr/>
            <p:nvPr/>
          </p:nvSpPr>
          <p:spPr>
            <a:xfrm>
              <a:off x="3820874" y="2661594"/>
              <a:ext cx="180059" cy="109048"/>
            </a:xfrm>
            <a:custGeom>
              <a:avLst/>
              <a:gdLst>
                <a:gd name="connsiteX0" fmla="*/ 33134 w 306308"/>
                <a:gd name="connsiteY0" fmla="*/ 0 h 185510"/>
                <a:gd name="connsiteX1" fmla="*/ 48081 w 306308"/>
                <a:gd name="connsiteY1" fmla="*/ 6191 h 185510"/>
                <a:gd name="connsiteX2" fmla="*/ 153154 w 306308"/>
                <a:gd name="connsiteY2" fmla="*/ 111264 h 185510"/>
                <a:gd name="connsiteX3" fmla="*/ 258230 w 306308"/>
                <a:gd name="connsiteY3" fmla="*/ 6189 h 185510"/>
                <a:gd name="connsiteX4" fmla="*/ 273174 w 306308"/>
                <a:gd name="connsiteY4" fmla="*/ 0 h 185510"/>
                <a:gd name="connsiteX5" fmla="*/ 296604 w 306308"/>
                <a:gd name="connsiteY5" fmla="*/ 9704 h 185510"/>
                <a:gd name="connsiteX6" fmla="*/ 296604 w 306308"/>
                <a:gd name="connsiteY6" fmla="*/ 56561 h 185510"/>
                <a:gd name="connsiteX7" fmla="*/ 177359 w 306308"/>
                <a:gd name="connsiteY7" fmla="*/ 175805 h 185510"/>
                <a:gd name="connsiteX8" fmla="*/ 153930 w 306308"/>
                <a:gd name="connsiteY8" fmla="*/ 185510 h 185510"/>
                <a:gd name="connsiteX9" fmla="*/ 153154 w 306308"/>
                <a:gd name="connsiteY9" fmla="*/ 185188 h 185510"/>
                <a:gd name="connsiteX10" fmla="*/ 152377 w 306308"/>
                <a:gd name="connsiteY10" fmla="*/ 185510 h 185510"/>
                <a:gd name="connsiteX11" fmla="*/ 128949 w 306308"/>
                <a:gd name="connsiteY11" fmla="*/ 175805 h 185510"/>
                <a:gd name="connsiteX12" fmla="*/ 9705 w 306308"/>
                <a:gd name="connsiteY12" fmla="*/ 56561 h 185510"/>
                <a:gd name="connsiteX13" fmla="*/ 9705 w 306308"/>
                <a:gd name="connsiteY13" fmla="*/ 9704 h 185510"/>
                <a:gd name="connsiteX14" fmla="*/ 33134 w 306308"/>
                <a:gd name="connsiteY14" fmla="*/ 0 h 185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6308" h="185510">
                  <a:moveTo>
                    <a:pt x="33134" y="0"/>
                  </a:moveTo>
                  <a:lnTo>
                    <a:pt x="48081" y="6191"/>
                  </a:lnTo>
                  <a:lnTo>
                    <a:pt x="153154" y="111264"/>
                  </a:lnTo>
                  <a:lnTo>
                    <a:pt x="258230" y="6189"/>
                  </a:lnTo>
                  <a:lnTo>
                    <a:pt x="273174" y="0"/>
                  </a:lnTo>
                  <a:cubicBezTo>
                    <a:pt x="281654" y="0"/>
                    <a:pt x="290134" y="3235"/>
                    <a:pt x="296604" y="9704"/>
                  </a:cubicBezTo>
                  <a:cubicBezTo>
                    <a:pt x="309543" y="22642"/>
                    <a:pt x="309543" y="43622"/>
                    <a:pt x="296604" y="56561"/>
                  </a:cubicBezTo>
                  <a:lnTo>
                    <a:pt x="177359" y="175805"/>
                  </a:lnTo>
                  <a:cubicBezTo>
                    <a:pt x="170889" y="182274"/>
                    <a:pt x="162410" y="185510"/>
                    <a:pt x="153930" y="185510"/>
                  </a:cubicBezTo>
                  <a:lnTo>
                    <a:pt x="153154" y="185188"/>
                  </a:lnTo>
                  <a:lnTo>
                    <a:pt x="152377" y="185510"/>
                  </a:lnTo>
                  <a:cubicBezTo>
                    <a:pt x="143898" y="185510"/>
                    <a:pt x="135419" y="182274"/>
                    <a:pt x="128949" y="175805"/>
                  </a:cubicBezTo>
                  <a:lnTo>
                    <a:pt x="9705" y="56561"/>
                  </a:lnTo>
                  <a:cubicBezTo>
                    <a:pt x="-3235" y="43622"/>
                    <a:pt x="-3235" y="22642"/>
                    <a:pt x="9705" y="9704"/>
                  </a:cubicBezTo>
                  <a:cubicBezTo>
                    <a:pt x="16175" y="3235"/>
                    <a:pt x="24654" y="0"/>
                    <a:pt x="33134" y="0"/>
                  </a:cubicBezTo>
                  <a:close/>
                </a:path>
              </a:pathLst>
            </a:custGeom>
            <a:solidFill>
              <a:schemeClr val="bg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ln w="76200">
                  <a:solidFill>
                    <a:schemeClr val="tx1"/>
                  </a:solidFill>
                </a:ln>
                <a:solidFill>
                  <a:srgbClr val="005073"/>
                </a:solidFill>
                <a:latin typeface="CiscoSans ExtraLight" charset="0"/>
                <a:ea typeface="CiscoSans ExtraLight" charset="0"/>
                <a:cs typeface="CiscoSans ExtraLight" charset="0"/>
              </a:endParaRPr>
            </a:p>
          </p:txBody>
        </p:sp>
      </p:grpSp>
    </p:spTree>
    <p:extLst>
      <p:ext uri="{BB962C8B-B14F-4D97-AF65-F5344CB8AC3E}">
        <p14:creationId xmlns:p14="http://schemas.microsoft.com/office/powerpoint/2010/main" val="2799446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EF4D248-CB8D-493C-8A6E-4FADDD40F59F}"/>
              </a:ext>
            </a:extLst>
          </p:cNvPr>
          <p:cNvSpPr txBox="1"/>
          <p:nvPr/>
        </p:nvSpPr>
        <p:spPr>
          <a:xfrm>
            <a:off x="437745" y="1261238"/>
            <a:ext cx="7902214" cy="308796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dirty="0">
                <a:solidFill>
                  <a:schemeClr val="bg2"/>
                </a:solidFill>
                <a:latin typeface="+mn-lt"/>
                <a:cs typeface="Calibri" panose="020F0502020204030204" pitchFamily="34" charset="0"/>
              </a:rPr>
              <a:t>Data Center Redefined</a:t>
            </a:r>
          </a:p>
          <a:p>
            <a:pPr marL="742950" lvl="1" indent="-285750">
              <a:lnSpc>
                <a:spcPct val="150000"/>
              </a:lnSpc>
              <a:buFont typeface="Wingdings" panose="05000000000000000000" pitchFamily="2" charset="2"/>
              <a:buChar char="ü"/>
            </a:pPr>
            <a:r>
              <a:rPr lang="en-US" sz="1400" dirty="0">
                <a:solidFill>
                  <a:schemeClr val="bg2"/>
                </a:solidFill>
                <a:latin typeface="+mn-lt"/>
                <a:cs typeface="Calibri" panose="020F0502020204030204" pitchFamily="34" charset="0"/>
              </a:rPr>
              <a:t>The challenges</a:t>
            </a:r>
          </a:p>
          <a:p>
            <a:pPr marL="742950" lvl="1" indent="-285750">
              <a:lnSpc>
                <a:spcPct val="150000"/>
              </a:lnSpc>
              <a:buFont typeface="Wingdings" panose="05000000000000000000" pitchFamily="2" charset="2"/>
              <a:buChar char="ü"/>
            </a:pPr>
            <a:r>
              <a:rPr lang="en-US" sz="1400" dirty="0">
                <a:solidFill>
                  <a:schemeClr val="bg2"/>
                </a:solidFill>
                <a:latin typeface="+mn-lt"/>
                <a:cs typeface="Calibri" panose="020F0502020204030204" pitchFamily="34" charset="0"/>
              </a:rPr>
              <a:t>Pillars for success</a:t>
            </a:r>
          </a:p>
          <a:p>
            <a:pPr marL="285750" indent="-285750">
              <a:lnSpc>
                <a:spcPct val="150000"/>
              </a:lnSpc>
              <a:buFont typeface="Arial" panose="020B0604020202020204" pitchFamily="34" charset="0"/>
              <a:buChar char="•"/>
            </a:pPr>
            <a:r>
              <a:rPr lang="en-US" sz="1600" dirty="0">
                <a:solidFill>
                  <a:schemeClr val="bg2"/>
                </a:solidFill>
                <a:latin typeface="+mn-lt"/>
                <a:cs typeface="Calibri" panose="020F0502020204030204" pitchFamily="34" charset="0"/>
              </a:rPr>
              <a:t>Cisco Integrated Security</a:t>
            </a:r>
          </a:p>
          <a:p>
            <a:pPr marL="285750" indent="-285750">
              <a:lnSpc>
                <a:spcPct val="150000"/>
              </a:lnSpc>
              <a:buFont typeface="Arial" panose="020B0604020202020204" pitchFamily="34" charset="0"/>
              <a:buChar char="•"/>
            </a:pPr>
            <a:r>
              <a:rPr lang="en-US" sz="1600" dirty="0">
                <a:solidFill>
                  <a:schemeClr val="bg2"/>
                </a:solidFill>
                <a:latin typeface="+mn-lt"/>
                <a:cs typeface="Calibri" panose="020F0502020204030204" pitchFamily="34" charset="0"/>
              </a:rPr>
              <a:t>Cisco </a:t>
            </a:r>
            <a:r>
              <a:rPr lang="en-US" sz="1600" dirty="0" err="1">
                <a:solidFill>
                  <a:schemeClr val="bg2"/>
                </a:solidFill>
                <a:latin typeface="+mn-lt"/>
                <a:cs typeface="Calibri" panose="020F0502020204030204" pitchFamily="34" charset="0"/>
              </a:rPr>
              <a:t>Stealthwatch</a:t>
            </a:r>
            <a:r>
              <a:rPr lang="en-US" sz="1600" dirty="0">
                <a:solidFill>
                  <a:schemeClr val="bg2"/>
                </a:solidFill>
                <a:latin typeface="+mn-lt"/>
                <a:cs typeface="Calibri" panose="020F0502020204030204" pitchFamily="34" charset="0"/>
              </a:rPr>
              <a:t> Enterprise </a:t>
            </a:r>
            <a:r>
              <a:rPr lang="en-US" sz="1200" dirty="0">
                <a:solidFill>
                  <a:schemeClr val="bg2"/>
                </a:solidFill>
                <a:latin typeface="+mn-lt"/>
                <a:cs typeface="Calibri" panose="020F0502020204030204" pitchFamily="34" charset="0"/>
              </a:rPr>
              <a:t>(intro + demo)</a:t>
            </a:r>
          </a:p>
          <a:p>
            <a:pPr marL="285750" indent="-285750">
              <a:lnSpc>
                <a:spcPct val="150000"/>
              </a:lnSpc>
              <a:buFont typeface="Arial" panose="020B0604020202020204" pitchFamily="34" charset="0"/>
              <a:buChar char="•"/>
            </a:pPr>
            <a:r>
              <a:rPr lang="en-US" sz="1600" dirty="0">
                <a:solidFill>
                  <a:schemeClr val="bg2"/>
                </a:solidFill>
                <a:latin typeface="+mn-lt"/>
                <a:cs typeface="Calibri" panose="020F0502020204030204" pitchFamily="34" charset="0"/>
              </a:rPr>
              <a:t>Cisco </a:t>
            </a:r>
            <a:r>
              <a:rPr lang="en-US" sz="1600" dirty="0" err="1">
                <a:solidFill>
                  <a:schemeClr val="bg2"/>
                </a:solidFill>
                <a:latin typeface="+mn-lt"/>
                <a:cs typeface="Calibri" panose="020F0502020204030204" pitchFamily="34" charset="0"/>
              </a:rPr>
              <a:t>Tetration</a:t>
            </a:r>
            <a:r>
              <a:rPr lang="en-US" sz="1600" dirty="0">
                <a:solidFill>
                  <a:schemeClr val="bg2"/>
                </a:solidFill>
                <a:latin typeface="+mn-lt"/>
                <a:cs typeface="Calibri" panose="020F0502020204030204" pitchFamily="34" charset="0"/>
              </a:rPr>
              <a:t> Analytic Engine</a:t>
            </a:r>
            <a:r>
              <a:rPr lang="en-US" sz="2000" dirty="0">
                <a:solidFill>
                  <a:schemeClr val="bg2"/>
                </a:solidFill>
                <a:cs typeface="Calibri" panose="020F0502020204030204" pitchFamily="34" charset="0"/>
              </a:rPr>
              <a:t> </a:t>
            </a:r>
            <a:r>
              <a:rPr lang="en-US" sz="1200" dirty="0">
                <a:solidFill>
                  <a:schemeClr val="bg2"/>
                </a:solidFill>
                <a:latin typeface="+mn-lt"/>
                <a:cs typeface="Calibri" panose="020F0502020204030204" pitchFamily="34" charset="0"/>
              </a:rPr>
              <a:t>(intro + demo)</a:t>
            </a:r>
          </a:p>
          <a:p>
            <a:pPr marL="285750" indent="-285750">
              <a:lnSpc>
                <a:spcPct val="150000"/>
              </a:lnSpc>
              <a:buFont typeface="Arial" panose="020B0604020202020204" pitchFamily="34" charset="0"/>
              <a:buChar char="•"/>
            </a:pPr>
            <a:r>
              <a:rPr lang="en-US" sz="1600" dirty="0">
                <a:solidFill>
                  <a:schemeClr val="bg2"/>
                </a:solidFill>
                <a:latin typeface="+mn-lt"/>
                <a:cs typeface="Calibri" panose="020F0502020204030204" pitchFamily="34" charset="0"/>
              </a:rPr>
              <a:t>The Power Twins </a:t>
            </a:r>
            <a:r>
              <a:rPr lang="en-US" sz="1200" dirty="0">
                <a:solidFill>
                  <a:schemeClr val="bg2"/>
                </a:solidFill>
                <a:latin typeface="+mn-lt"/>
                <a:cs typeface="Calibri" panose="020F0502020204030204" pitchFamily="34" charset="0"/>
              </a:rPr>
              <a:t>(real life use cases)</a:t>
            </a:r>
          </a:p>
          <a:p>
            <a:pPr marL="285750" indent="-285750">
              <a:lnSpc>
                <a:spcPct val="150000"/>
              </a:lnSpc>
              <a:buFont typeface="Arial" panose="020B0604020202020204" pitchFamily="34" charset="0"/>
              <a:buChar char="•"/>
            </a:pPr>
            <a:r>
              <a:rPr lang="en-US" sz="1600" dirty="0">
                <a:solidFill>
                  <a:schemeClr val="bg2"/>
                </a:solidFill>
                <a:latin typeface="+mn-lt"/>
                <a:cs typeface="Calibri" panose="020F0502020204030204" pitchFamily="34" charset="0"/>
              </a:rPr>
              <a:t>Q&amp;A</a:t>
            </a:r>
            <a:endParaRPr lang="en-US" sz="1600" dirty="0">
              <a:solidFill>
                <a:schemeClr val="bg2"/>
              </a:solidFill>
              <a:latin typeface="+mn-lt"/>
            </a:endParaRPr>
          </a:p>
        </p:txBody>
      </p:sp>
      <p:sp>
        <p:nvSpPr>
          <p:cNvPr id="4" name="Title 1">
            <a:extLst>
              <a:ext uri="{FF2B5EF4-FFF2-40B4-BE49-F238E27FC236}">
                <a16:creationId xmlns:a16="http://schemas.microsoft.com/office/drawing/2014/main" id="{90556DC8-6830-4012-B632-65CDEC1C98CE}"/>
              </a:ext>
            </a:extLst>
          </p:cNvPr>
          <p:cNvSpPr txBox="1">
            <a:spLocks/>
          </p:cNvSpPr>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b" anchorCtr="0" compatLnSpc="1">
            <a:prstTxWarp prst="textNoShape">
              <a:avLst/>
            </a:prstTxWarp>
            <a:noAutofit/>
          </a:bodyPr>
          <a:lstStyle>
            <a:lvl1pPr marL="0" indent="0" algn="l" defTabSz="684213" rtl="0" eaLnBrk="1" fontAlgn="base" hangingPunct="1">
              <a:lnSpc>
                <a:spcPct val="90000"/>
              </a:lnSpc>
              <a:spcBef>
                <a:spcPct val="0"/>
              </a:spcBef>
              <a:spcAft>
                <a:spcPct val="0"/>
              </a:spcAft>
              <a:buFont typeface="Arial" panose="020B0604020202020204" pitchFamily="34" charset="0"/>
              <a:buNone/>
              <a:defRPr lang="en-US" sz="4600" b="0" i="0" u="none" kern="1200" spc="0" baseline="0">
                <a:solidFill>
                  <a:schemeClr val="bg1">
                    <a:lumMod val="75000"/>
                  </a:schemeClr>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4000" dirty="0"/>
              <a:t>Topics</a:t>
            </a:r>
          </a:p>
        </p:txBody>
      </p:sp>
    </p:spTree>
    <p:extLst>
      <p:ext uri="{BB962C8B-B14F-4D97-AF65-F5344CB8AC3E}">
        <p14:creationId xmlns:p14="http://schemas.microsoft.com/office/powerpoint/2010/main" val="42360081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2" name="Group 2380">
            <a:extLst>
              <a:ext uri="{FF2B5EF4-FFF2-40B4-BE49-F238E27FC236}">
                <a16:creationId xmlns:a16="http://schemas.microsoft.com/office/drawing/2014/main" id="{BDCA838C-9C13-4538-AF95-BAAF8867966C}"/>
              </a:ext>
            </a:extLst>
          </p:cNvPr>
          <p:cNvGrpSpPr>
            <a:grpSpLocks noChangeAspect="1"/>
          </p:cNvGrpSpPr>
          <p:nvPr/>
        </p:nvGrpSpPr>
        <p:grpSpPr bwMode="auto">
          <a:xfrm>
            <a:off x="2951873" y="-615394"/>
            <a:ext cx="6429375" cy="6374289"/>
            <a:chOff x="1246" y="0"/>
            <a:chExt cx="3268" cy="3240"/>
          </a:xfrm>
        </p:grpSpPr>
        <p:grpSp>
          <p:nvGrpSpPr>
            <p:cNvPr id="193" name="Group 2581">
              <a:extLst>
                <a:ext uri="{FF2B5EF4-FFF2-40B4-BE49-F238E27FC236}">
                  <a16:creationId xmlns:a16="http://schemas.microsoft.com/office/drawing/2014/main" id="{B2CD066C-9B51-463C-B57D-ACD7D4529A24}"/>
                </a:ext>
              </a:extLst>
            </p:cNvPr>
            <p:cNvGrpSpPr>
              <a:grpSpLocks/>
            </p:cNvGrpSpPr>
            <p:nvPr/>
          </p:nvGrpSpPr>
          <p:grpSpPr bwMode="auto">
            <a:xfrm>
              <a:off x="1276" y="30"/>
              <a:ext cx="3178" cy="3180"/>
              <a:chOff x="1276" y="30"/>
              <a:chExt cx="3178" cy="3180"/>
            </a:xfrm>
          </p:grpSpPr>
          <p:sp>
            <p:nvSpPr>
              <p:cNvPr id="781" name="Line 2381">
                <a:extLst>
                  <a:ext uri="{FF2B5EF4-FFF2-40B4-BE49-F238E27FC236}">
                    <a16:creationId xmlns:a16="http://schemas.microsoft.com/office/drawing/2014/main" id="{7EBD14F2-BBD4-4B38-9FC2-D5579AA8451C}"/>
                  </a:ext>
                </a:extLst>
              </p:cNvPr>
              <p:cNvSpPr>
                <a:spLocks noChangeShapeType="1"/>
              </p:cNvSpPr>
              <p:nvPr/>
            </p:nvSpPr>
            <p:spPr bwMode="auto">
              <a:xfrm>
                <a:off x="3045" y="147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2" name="Freeform 2382">
                <a:extLst>
                  <a:ext uri="{FF2B5EF4-FFF2-40B4-BE49-F238E27FC236}">
                    <a16:creationId xmlns:a16="http://schemas.microsoft.com/office/drawing/2014/main" id="{5C7E9830-E86B-4D21-B006-144385CB84ED}"/>
                  </a:ext>
                </a:extLst>
              </p:cNvPr>
              <p:cNvSpPr>
                <a:spLocks/>
              </p:cNvSpPr>
              <p:nvPr/>
            </p:nvSpPr>
            <p:spPr bwMode="auto">
              <a:xfrm>
                <a:off x="2625" y="1410"/>
                <a:ext cx="300" cy="210"/>
              </a:xfrm>
              <a:custGeom>
                <a:avLst/>
                <a:gdLst>
                  <a:gd name="T0" fmla="*/ 210 w 300"/>
                  <a:gd name="T1" fmla="*/ 90 h 210"/>
                  <a:gd name="T2" fmla="*/ 300 w 300"/>
                  <a:gd name="T3" fmla="*/ 30 h 210"/>
                  <a:gd name="T4" fmla="*/ 300 w 300"/>
                  <a:gd name="T5" fmla="*/ 120 h 210"/>
                  <a:gd name="T6" fmla="*/ 240 w 300"/>
                  <a:gd name="T7" fmla="*/ 210 h 210"/>
                  <a:gd name="T8" fmla="*/ 150 w 300"/>
                  <a:gd name="T9" fmla="*/ 150 h 210"/>
                  <a:gd name="T10" fmla="*/ 60 w 300"/>
                  <a:gd name="T11" fmla="*/ 90 h 210"/>
                  <a:gd name="T12" fmla="*/ 0 w 30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210" y="90"/>
                    </a:moveTo>
                    <a:lnTo>
                      <a:pt x="300" y="30"/>
                    </a:lnTo>
                    <a:lnTo>
                      <a:pt x="300" y="120"/>
                    </a:lnTo>
                    <a:lnTo>
                      <a:pt x="240" y="210"/>
                    </a:lnTo>
                    <a:lnTo>
                      <a:pt x="150" y="150"/>
                    </a:lnTo>
                    <a:lnTo>
                      <a:pt x="60" y="9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3" name="Freeform 2383">
                <a:extLst>
                  <a:ext uri="{FF2B5EF4-FFF2-40B4-BE49-F238E27FC236}">
                    <a16:creationId xmlns:a16="http://schemas.microsoft.com/office/drawing/2014/main" id="{19542D85-9CFD-4EC1-AB9E-D9EC110A4327}"/>
                  </a:ext>
                </a:extLst>
              </p:cNvPr>
              <p:cNvSpPr>
                <a:spLocks/>
              </p:cNvSpPr>
              <p:nvPr/>
            </p:nvSpPr>
            <p:spPr bwMode="auto">
              <a:xfrm>
                <a:off x="2535" y="1292"/>
                <a:ext cx="180" cy="208"/>
              </a:xfrm>
              <a:custGeom>
                <a:avLst/>
                <a:gdLst>
                  <a:gd name="T0" fmla="*/ 0 w 180"/>
                  <a:gd name="T1" fmla="*/ 149 h 208"/>
                  <a:gd name="T2" fmla="*/ 150 w 180"/>
                  <a:gd name="T3" fmla="*/ 208 h 208"/>
                  <a:gd name="T4" fmla="*/ 180 w 180"/>
                  <a:gd name="T5" fmla="*/ 0 h 208"/>
                </a:gdLst>
                <a:ahLst/>
                <a:cxnLst>
                  <a:cxn ang="0">
                    <a:pos x="T0" y="T1"/>
                  </a:cxn>
                  <a:cxn ang="0">
                    <a:pos x="T2" y="T3"/>
                  </a:cxn>
                  <a:cxn ang="0">
                    <a:pos x="T4" y="T5"/>
                  </a:cxn>
                </a:cxnLst>
                <a:rect l="0" t="0" r="r" b="b"/>
                <a:pathLst>
                  <a:path w="180" h="208">
                    <a:moveTo>
                      <a:pt x="0" y="149"/>
                    </a:moveTo>
                    <a:lnTo>
                      <a:pt x="150" y="208"/>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4" name="Line 2384">
                <a:extLst>
                  <a:ext uri="{FF2B5EF4-FFF2-40B4-BE49-F238E27FC236}">
                    <a16:creationId xmlns:a16="http://schemas.microsoft.com/office/drawing/2014/main" id="{BA1E63A5-24F7-4A70-BAB4-BEACC2E4ABD2}"/>
                  </a:ext>
                </a:extLst>
              </p:cNvPr>
              <p:cNvSpPr>
                <a:spLocks noChangeShapeType="1"/>
              </p:cNvSpPr>
              <p:nvPr/>
            </p:nvSpPr>
            <p:spPr bwMode="auto">
              <a:xfrm flipH="1">
                <a:off x="2535" y="1620"/>
                <a:ext cx="18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5" name="Line 2385">
                <a:extLst>
                  <a:ext uri="{FF2B5EF4-FFF2-40B4-BE49-F238E27FC236}">
                    <a16:creationId xmlns:a16="http://schemas.microsoft.com/office/drawing/2014/main" id="{DC495A49-E02F-4A7F-A514-3FA978091AEB}"/>
                  </a:ext>
                </a:extLst>
              </p:cNvPr>
              <p:cNvSpPr>
                <a:spLocks noChangeShapeType="1"/>
              </p:cNvSpPr>
              <p:nvPr/>
            </p:nvSpPr>
            <p:spPr bwMode="auto">
              <a:xfrm>
                <a:off x="2595" y="156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6" name="Freeform 2386">
                <a:extLst>
                  <a:ext uri="{FF2B5EF4-FFF2-40B4-BE49-F238E27FC236}">
                    <a16:creationId xmlns:a16="http://schemas.microsoft.com/office/drawing/2014/main" id="{4E70EC99-A56B-4821-B163-85FDDDE4BDAC}"/>
                  </a:ext>
                </a:extLst>
              </p:cNvPr>
              <p:cNvSpPr>
                <a:spLocks/>
              </p:cNvSpPr>
              <p:nvPr/>
            </p:nvSpPr>
            <p:spPr bwMode="auto">
              <a:xfrm>
                <a:off x="2535" y="1650"/>
                <a:ext cx="210" cy="330"/>
              </a:xfrm>
              <a:custGeom>
                <a:avLst/>
                <a:gdLst>
                  <a:gd name="T0" fmla="*/ 120 w 210"/>
                  <a:gd name="T1" fmla="*/ 60 h 330"/>
                  <a:gd name="T2" fmla="*/ 0 w 210"/>
                  <a:gd name="T3" fmla="*/ 0 h 330"/>
                  <a:gd name="T4" fmla="*/ 0 w 210"/>
                  <a:gd name="T5" fmla="*/ 330 h 330"/>
                  <a:gd name="T6" fmla="*/ 210 w 210"/>
                  <a:gd name="T7" fmla="*/ 270 h 330"/>
                  <a:gd name="T8" fmla="*/ 119 w 210"/>
                  <a:gd name="T9" fmla="*/ 182 h 330"/>
                </a:gdLst>
                <a:ahLst/>
                <a:cxnLst>
                  <a:cxn ang="0">
                    <a:pos x="T0" y="T1"/>
                  </a:cxn>
                  <a:cxn ang="0">
                    <a:pos x="T2" y="T3"/>
                  </a:cxn>
                  <a:cxn ang="0">
                    <a:pos x="T4" y="T5"/>
                  </a:cxn>
                  <a:cxn ang="0">
                    <a:pos x="T6" y="T7"/>
                  </a:cxn>
                  <a:cxn ang="0">
                    <a:pos x="T8" y="T9"/>
                  </a:cxn>
                </a:cxnLst>
                <a:rect l="0" t="0" r="r" b="b"/>
                <a:pathLst>
                  <a:path w="210" h="330">
                    <a:moveTo>
                      <a:pt x="120" y="60"/>
                    </a:moveTo>
                    <a:lnTo>
                      <a:pt x="0" y="0"/>
                    </a:lnTo>
                    <a:lnTo>
                      <a:pt x="0" y="330"/>
                    </a:lnTo>
                    <a:lnTo>
                      <a:pt x="210" y="270"/>
                    </a:lnTo>
                    <a:lnTo>
                      <a:pt x="119" y="18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7" name="Freeform 2387">
                <a:extLst>
                  <a:ext uri="{FF2B5EF4-FFF2-40B4-BE49-F238E27FC236}">
                    <a16:creationId xmlns:a16="http://schemas.microsoft.com/office/drawing/2014/main" id="{D438EDF1-3F38-49BA-B0D8-9CCFD8EBBE60}"/>
                  </a:ext>
                </a:extLst>
              </p:cNvPr>
              <p:cNvSpPr>
                <a:spLocks/>
              </p:cNvSpPr>
              <p:nvPr/>
            </p:nvSpPr>
            <p:spPr bwMode="auto">
              <a:xfrm>
                <a:off x="2654" y="1680"/>
                <a:ext cx="151" cy="152"/>
              </a:xfrm>
              <a:custGeom>
                <a:avLst/>
                <a:gdLst>
                  <a:gd name="T0" fmla="*/ 121 w 151"/>
                  <a:gd name="T1" fmla="*/ 0 h 152"/>
                  <a:gd name="T2" fmla="*/ 151 w 151"/>
                  <a:gd name="T3" fmla="*/ 120 h 152"/>
                  <a:gd name="T4" fmla="*/ 0 w 151"/>
                  <a:gd name="T5" fmla="*/ 152 h 152"/>
                  <a:gd name="T6" fmla="*/ 1 w 151"/>
                  <a:gd name="T7" fmla="*/ 30 h 152"/>
                  <a:gd name="T8" fmla="*/ 121 w 151"/>
                  <a:gd name="T9" fmla="*/ 0 h 152"/>
                </a:gdLst>
                <a:ahLst/>
                <a:cxnLst>
                  <a:cxn ang="0">
                    <a:pos x="T0" y="T1"/>
                  </a:cxn>
                  <a:cxn ang="0">
                    <a:pos x="T2" y="T3"/>
                  </a:cxn>
                  <a:cxn ang="0">
                    <a:pos x="T4" y="T5"/>
                  </a:cxn>
                  <a:cxn ang="0">
                    <a:pos x="T6" y="T7"/>
                  </a:cxn>
                  <a:cxn ang="0">
                    <a:pos x="T8" y="T9"/>
                  </a:cxn>
                </a:cxnLst>
                <a:rect l="0" t="0" r="r" b="b"/>
                <a:pathLst>
                  <a:path w="151" h="152">
                    <a:moveTo>
                      <a:pt x="121" y="0"/>
                    </a:moveTo>
                    <a:lnTo>
                      <a:pt x="151" y="120"/>
                    </a:lnTo>
                    <a:lnTo>
                      <a:pt x="0" y="152"/>
                    </a:lnTo>
                    <a:lnTo>
                      <a:pt x="1" y="30"/>
                    </a:lnTo>
                    <a:lnTo>
                      <a:pt x="121"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8" name="Freeform 2388">
                <a:extLst>
                  <a:ext uri="{FF2B5EF4-FFF2-40B4-BE49-F238E27FC236}">
                    <a16:creationId xmlns:a16="http://schemas.microsoft.com/office/drawing/2014/main" id="{78AF9B3E-9D35-4005-A8E5-763CB3EA7862}"/>
                  </a:ext>
                </a:extLst>
              </p:cNvPr>
              <p:cNvSpPr>
                <a:spLocks/>
              </p:cNvSpPr>
              <p:nvPr/>
            </p:nvSpPr>
            <p:spPr bwMode="auto">
              <a:xfrm>
                <a:off x="2805" y="1620"/>
                <a:ext cx="240" cy="270"/>
              </a:xfrm>
              <a:custGeom>
                <a:avLst/>
                <a:gdLst>
                  <a:gd name="T0" fmla="*/ 0 w 240"/>
                  <a:gd name="T1" fmla="*/ 180 h 270"/>
                  <a:gd name="T2" fmla="*/ 60 w 240"/>
                  <a:gd name="T3" fmla="*/ 0 h 270"/>
                  <a:gd name="T4" fmla="*/ 90 w 240"/>
                  <a:gd name="T5" fmla="*/ 90 h 270"/>
                  <a:gd name="T6" fmla="*/ 120 w 240"/>
                  <a:gd name="T7" fmla="*/ 180 h 270"/>
                  <a:gd name="T8" fmla="*/ 150 w 240"/>
                  <a:gd name="T9" fmla="*/ 270 h 270"/>
                  <a:gd name="T10" fmla="*/ 240 w 240"/>
                  <a:gd name="T11" fmla="*/ 150 h 270"/>
                </a:gdLst>
                <a:ahLst/>
                <a:cxnLst>
                  <a:cxn ang="0">
                    <a:pos x="T0" y="T1"/>
                  </a:cxn>
                  <a:cxn ang="0">
                    <a:pos x="T2" y="T3"/>
                  </a:cxn>
                  <a:cxn ang="0">
                    <a:pos x="T4" y="T5"/>
                  </a:cxn>
                  <a:cxn ang="0">
                    <a:pos x="T6" y="T7"/>
                  </a:cxn>
                  <a:cxn ang="0">
                    <a:pos x="T8" y="T9"/>
                  </a:cxn>
                  <a:cxn ang="0">
                    <a:pos x="T10" y="T11"/>
                  </a:cxn>
                </a:cxnLst>
                <a:rect l="0" t="0" r="r" b="b"/>
                <a:pathLst>
                  <a:path w="240" h="270">
                    <a:moveTo>
                      <a:pt x="0" y="180"/>
                    </a:moveTo>
                    <a:lnTo>
                      <a:pt x="60" y="0"/>
                    </a:lnTo>
                    <a:lnTo>
                      <a:pt x="90" y="90"/>
                    </a:lnTo>
                    <a:lnTo>
                      <a:pt x="120" y="180"/>
                    </a:lnTo>
                    <a:lnTo>
                      <a:pt x="150" y="270"/>
                    </a:lnTo>
                    <a:lnTo>
                      <a:pt x="24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9" name="Freeform 2389">
                <a:extLst>
                  <a:ext uri="{FF2B5EF4-FFF2-40B4-BE49-F238E27FC236}">
                    <a16:creationId xmlns:a16="http://schemas.microsoft.com/office/drawing/2014/main" id="{074410CC-BBC2-487F-9BBD-9171F6C7A085}"/>
                  </a:ext>
                </a:extLst>
              </p:cNvPr>
              <p:cNvSpPr>
                <a:spLocks/>
              </p:cNvSpPr>
              <p:nvPr/>
            </p:nvSpPr>
            <p:spPr bwMode="auto">
              <a:xfrm>
                <a:off x="2688" y="1800"/>
                <a:ext cx="237" cy="270"/>
              </a:xfrm>
              <a:custGeom>
                <a:avLst/>
                <a:gdLst>
                  <a:gd name="T0" fmla="*/ 237 w 237"/>
                  <a:gd name="T1" fmla="*/ 0 h 270"/>
                  <a:gd name="T2" fmla="*/ 177 w 237"/>
                  <a:gd name="T3" fmla="*/ 122 h 270"/>
                  <a:gd name="T4" fmla="*/ 117 w 237"/>
                  <a:gd name="T5" fmla="*/ 0 h 270"/>
                  <a:gd name="T6" fmla="*/ 57 w 237"/>
                  <a:gd name="T7" fmla="*/ 120 h 270"/>
                  <a:gd name="T8" fmla="*/ 147 w 237"/>
                  <a:gd name="T9" fmla="*/ 270 h 270"/>
                  <a:gd name="T10" fmla="*/ 0 w 237"/>
                  <a:gd name="T11" fmla="*/ 213 h 270"/>
                </a:gdLst>
                <a:ahLst/>
                <a:cxnLst>
                  <a:cxn ang="0">
                    <a:pos x="T0" y="T1"/>
                  </a:cxn>
                  <a:cxn ang="0">
                    <a:pos x="T2" y="T3"/>
                  </a:cxn>
                  <a:cxn ang="0">
                    <a:pos x="T4" y="T5"/>
                  </a:cxn>
                  <a:cxn ang="0">
                    <a:pos x="T6" y="T7"/>
                  </a:cxn>
                  <a:cxn ang="0">
                    <a:pos x="T8" y="T9"/>
                  </a:cxn>
                  <a:cxn ang="0">
                    <a:pos x="T10" y="T11"/>
                  </a:cxn>
                </a:cxnLst>
                <a:rect l="0" t="0" r="r" b="b"/>
                <a:pathLst>
                  <a:path w="237" h="270">
                    <a:moveTo>
                      <a:pt x="237" y="0"/>
                    </a:moveTo>
                    <a:lnTo>
                      <a:pt x="177" y="122"/>
                    </a:lnTo>
                    <a:lnTo>
                      <a:pt x="117" y="0"/>
                    </a:lnTo>
                    <a:lnTo>
                      <a:pt x="57" y="120"/>
                    </a:lnTo>
                    <a:lnTo>
                      <a:pt x="147" y="270"/>
                    </a:lnTo>
                    <a:lnTo>
                      <a:pt x="0" y="21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0" name="Freeform 2390">
                <a:extLst>
                  <a:ext uri="{FF2B5EF4-FFF2-40B4-BE49-F238E27FC236}">
                    <a16:creationId xmlns:a16="http://schemas.microsoft.com/office/drawing/2014/main" id="{DEC78026-7F76-4FD2-BBCB-A9A343DBC742}"/>
                  </a:ext>
                </a:extLst>
              </p:cNvPr>
              <p:cNvSpPr>
                <a:spLocks/>
              </p:cNvSpPr>
              <p:nvPr/>
            </p:nvSpPr>
            <p:spPr bwMode="auto">
              <a:xfrm>
                <a:off x="2355" y="1440"/>
                <a:ext cx="390" cy="570"/>
              </a:xfrm>
              <a:custGeom>
                <a:avLst/>
                <a:gdLst>
                  <a:gd name="T0" fmla="*/ 390 w 390"/>
                  <a:gd name="T1" fmla="*/ 480 h 570"/>
                  <a:gd name="T2" fmla="*/ 330 w 390"/>
                  <a:gd name="T3" fmla="*/ 570 h 570"/>
                  <a:gd name="T4" fmla="*/ 180 w 390"/>
                  <a:gd name="T5" fmla="*/ 540 h 570"/>
                  <a:gd name="T6" fmla="*/ 300 w 390"/>
                  <a:gd name="T7" fmla="*/ 390 h 570"/>
                  <a:gd name="T8" fmla="*/ 120 w 390"/>
                  <a:gd name="T9" fmla="*/ 390 h 570"/>
                  <a:gd name="T10" fmla="*/ 180 w 390"/>
                  <a:gd name="T11" fmla="*/ 210 h 570"/>
                  <a:gd name="T12" fmla="*/ 60 w 390"/>
                  <a:gd name="T13" fmla="*/ 330 h 570"/>
                  <a:gd name="T14" fmla="*/ 0 w 390"/>
                  <a:gd name="T15" fmla="*/ 180 h 570"/>
                  <a:gd name="T16" fmla="*/ 60 w 390"/>
                  <a:gd name="T17" fmla="*/ 60 h 570"/>
                  <a:gd name="T18" fmla="*/ 240 w 390"/>
                  <a:gd name="T19" fmla="*/ 120 h 570"/>
                  <a:gd name="T20" fmla="*/ 180 w 39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570">
                    <a:moveTo>
                      <a:pt x="390" y="480"/>
                    </a:moveTo>
                    <a:lnTo>
                      <a:pt x="330" y="570"/>
                    </a:lnTo>
                    <a:lnTo>
                      <a:pt x="180" y="540"/>
                    </a:lnTo>
                    <a:lnTo>
                      <a:pt x="300" y="390"/>
                    </a:lnTo>
                    <a:lnTo>
                      <a:pt x="120" y="390"/>
                    </a:lnTo>
                    <a:lnTo>
                      <a:pt x="180" y="210"/>
                    </a:lnTo>
                    <a:lnTo>
                      <a:pt x="60" y="330"/>
                    </a:lnTo>
                    <a:lnTo>
                      <a:pt x="0" y="180"/>
                    </a:lnTo>
                    <a:lnTo>
                      <a:pt x="60" y="60"/>
                    </a:lnTo>
                    <a:lnTo>
                      <a:pt x="240" y="120"/>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1" name="Freeform 2391">
                <a:extLst>
                  <a:ext uri="{FF2B5EF4-FFF2-40B4-BE49-F238E27FC236}">
                    <a16:creationId xmlns:a16="http://schemas.microsoft.com/office/drawing/2014/main" id="{84577B0C-4AA4-44B2-9B42-E11A1E6EF403}"/>
                  </a:ext>
                </a:extLst>
              </p:cNvPr>
              <p:cNvSpPr>
                <a:spLocks/>
              </p:cNvSpPr>
              <p:nvPr/>
            </p:nvSpPr>
            <p:spPr bwMode="auto">
              <a:xfrm>
                <a:off x="2355" y="1410"/>
                <a:ext cx="480" cy="420"/>
              </a:xfrm>
              <a:custGeom>
                <a:avLst/>
                <a:gdLst>
                  <a:gd name="T0" fmla="*/ 300 w 480"/>
                  <a:gd name="T1" fmla="*/ 420 h 420"/>
                  <a:gd name="T2" fmla="*/ 0 w 480"/>
                  <a:gd name="T3" fmla="*/ 210 h 420"/>
                  <a:gd name="T4" fmla="*/ 180 w 480"/>
                  <a:gd name="T5" fmla="*/ 240 h 420"/>
                  <a:gd name="T6" fmla="*/ 90 w 480"/>
                  <a:gd name="T7" fmla="*/ 0 h 420"/>
                  <a:gd name="T8" fmla="*/ 240 w 480"/>
                  <a:gd name="T9" fmla="*/ 150 h 420"/>
                  <a:gd name="T10" fmla="*/ 270 w 480"/>
                  <a:gd name="T11" fmla="*/ 0 h 420"/>
                  <a:gd name="T12" fmla="*/ 420 w 480"/>
                  <a:gd name="T13" fmla="*/ 0 h 420"/>
                  <a:gd name="T14" fmla="*/ 480 w 480"/>
                  <a:gd name="T15" fmla="*/ 9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0" h="420">
                    <a:moveTo>
                      <a:pt x="300" y="420"/>
                    </a:moveTo>
                    <a:lnTo>
                      <a:pt x="0" y="210"/>
                    </a:lnTo>
                    <a:lnTo>
                      <a:pt x="180" y="240"/>
                    </a:lnTo>
                    <a:lnTo>
                      <a:pt x="90" y="0"/>
                    </a:lnTo>
                    <a:lnTo>
                      <a:pt x="240" y="150"/>
                    </a:lnTo>
                    <a:lnTo>
                      <a:pt x="270" y="0"/>
                    </a:lnTo>
                    <a:lnTo>
                      <a:pt x="420" y="0"/>
                    </a:lnTo>
                    <a:lnTo>
                      <a:pt x="4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2" name="Freeform 2392">
                <a:extLst>
                  <a:ext uri="{FF2B5EF4-FFF2-40B4-BE49-F238E27FC236}">
                    <a16:creationId xmlns:a16="http://schemas.microsoft.com/office/drawing/2014/main" id="{C674CE4F-C560-43E7-A259-B8602594D77D}"/>
                  </a:ext>
                </a:extLst>
              </p:cNvPr>
              <p:cNvSpPr>
                <a:spLocks/>
              </p:cNvSpPr>
              <p:nvPr/>
            </p:nvSpPr>
            <p:spPr bwMode="auto">
              <a:xfrm>
                <a:off x="2925" y="1260"/>
                <a:ext cx="120" cy="300"/>
              </a:xfrm>
              <a:custGeom>
                <a:avLst/>
                <a:gdLst>
                  <a:gd name="T0" fmla="*/ 0 w 120"/>
                  <a:gd name="T1" fmla="*/ 0 h 300"/>
                  <a:gd name="T2" fmla="*/ 0 w 120"/>
                  <a:gd name="T3" fmla="*/ 180 h 300"/>
                  <a:gd name="T4" fmla="*/ 120 w 120"/>
                  <a:gd name="T5" fmla="*/ 90 h 300"/>
                  <a:gd name="T6" fmla="*/ 120 w 120"/>
                  <a:gd name="T7" fmla="*/ 210 h 300"/>
                  <a:gd name="T8" fmla="*/ 90 w 120"/>
                  <a:gd name="T9" fmla="*/ 300 h 300"/>
                </a:gdLst>
                <a:ahLst/>
                <a:cxnLst>
                  <a:cxn ang="0">
                    <a:pos x="T0" y="T1"/>
                  </a:cxn>
                  <a:cxn ang="0">
                    <a:pos x="T2" y="T3"/>
                  </a:cxn>
                  <a:cxn ang="0">
                    <a:pos x="T4" y="T5"/>
                  </a:cxn>
                  <a:cxn ang="0">
                    <a:pos x="T6" y="T7"/>
                  </a:cxn>
                  <a:cxn ang="0">
                    <a:pos x="T8" y="T9"/>
                  </a:cxn>
                </a:cxnLst>
                <a:rect l="0" t="0" r="r" b="b"/>
                <a:pathLst>
                  <a:path w="120" h="300">
                    <a:moveTo>
                      <a:pt x="0" y="0"/>
                    </a:moveTo>
                    <a:lnTo>
                      <a:pt x="0" y="180"/>
                    </a:lnTo>
                    <a:lnTo>
                      <a:pt x="120" y="90"/>
                    </a:lnTo>
                    <a:lnTo>
                      <a:pt x="120" y="210"/>
                    </a:lnTo>
                    <a:lnTo>
                      <a:pt x="9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3" name="Freeform 2393">
                <a:extLst>
                  <a:ext uri="{FF2B5EF4-FFF2-40B4-BE49-F238E27FC236}">
                    <a16:creationId xmlns:a16="http://schemas.microsoft.com/office/drawing/2014/main" id="{5AF8DACF-158C-4A3F-9B59-B9F331B2B76F}"/>
                  </a:ext>
                </a:extLst>
              </p:cNvPr>
              <p:cNvSpPr>
                <a:spLocks/>
              </p:cNvSpPr>
              <p:nvPr/>
            </p:nvSpPr>
            <p:spPr bwMode="auto">
              <a:xfrm>
                <a:off x="2715" y="1292"/>
                <a:ext cx="330" cy="178"/>
              </a:xfrm>
              <a:custGeom>
                <a:avLst/>
                <a:gdLst>
                  <a:gd name="T0" fmla="*/ 0 w 330"/>
                  <a:gd name="T1" fmla="*/ 0 h 178"/>
                  <a:gd name="T2" fmla="*/ 60 w 330"/>
                  <a:gd name="T3" fmla="*/ 118 h 178"/>
                  <a:gd name="T4" fmla="*/ 150 w 330"/>
                  <a:gd name="T5" fmla="*/ 28 h 178"/>
                  <a:gd name="T6" fmla="*/ 330 w 330"/>
                  <a:gd name="T7" fmla="*/ 178 h 178"/>
                </a:gdLst>
                <a:ahLst/>
                <a:cxnLst>
                  <a:cxn ang="0">
                    <a:pos x="T0" y="T1"/>
                  </a:cxn>
                  <a:cxn ang="0">
                    <a:pos x="T2" y="T3"/>
                  </a:cxn>
                  <a:cxn ang="0">
                    <a:pos x="T4" y="T5"/>
                  </a:cxn>
                  <a:cxn ang="0">
                    <a:pos x="T6" y="T7"/>
                  </a:cxn>
                </a:cxnLst>
                <a:rect l="0" t="0" r="r" b="b"/>
                <a:pathLst>
                  <a:path w="330" h="178">
                    <a:moveTo>
                      <a:pt x="0" y="0"/>
                    </a:moveTo>
                    <a:lnTo>
                      <a:pt x="60" y="118"/>
                    </a:lnTo>
                    <a:lnTo>
                      <a:pt x="150" y="28"/>
                    </a:lnTo>
                    <a:lnTo>
                      <a:pt x="330" y="17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4" name="Line 2394">
                <a:extLst>
                  <a:ext uri="{FF2B5EF4-FFF2-40B4-BE49-F238E27FC236}">
                    <a16:creationId xmlns:a16="http://schemas.microsoft.com/office/drawing/2014/main" id="{3913E87F-CAC9-4EE5-B598-41EE884A2055}"/>
                  </a:ext>
                </a:extLst>
              </p:cNvPr>
              <p:cNvSpPr>
                <a:spLocks noChangeShapeType="1"/>
              </p:cNvSpPr>
              <p:nvPr/>
            </p:nvSpPr>
            <p:spPr bwMode="auto">
              <a:xfrm flipH="1">
                <a:off x="2925" y="1410"/>
                <a:ext cx="24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5" name="Freeform 2395">
                <a:extLst>
                  <a:ext uri="{FF2B5EF4-FFF2-40B4-BE49-F238E27FC236}">
                    <a16:creationId xmlns:a16="http://schemas.microsoft.com/office/drawing/2014/main" id="{799C9C34-A5AF-4DCF-8CE4-7157841CAB4D}"/>
                  </a:ext>
                </a:extLst>
              </p:cNvPr>
              <p:cNvSpPr>
                <a:spLocks/>
              </p:cNvSpPr>
              <p:nvPr/>
            </p:nvSpPr>
            <p:spPr bwMode="auto">
              <a:xfrm>
                <a:off x="2086" y="2070"/>
                <a:ext cx="899" cy="720"/>
              </a:xfrm>
              <a:custGeom>
                <a:avLst/>
                <a:gdLst>
                  <a:gd name="T0" fmla="*/ 59 w 899"/>
                  <a:gd name="T1" fmla="*/ 240 h 720"/>
                  <a:gd name="T2" fmla="*/ 179 w 899"/>
                  <a:gd name="T3" fmla="*/ 390 h 720"/>
                  <a:gd name="T4" fmla="*/ 239 w 899"/>
                  <a:gd name="T5" fmla="*/ 300 h 720"/>
                  <a:gd name="T6" fmla="*/ 329 w 899"/>
                  <a:gd name="T7" fmla="*/ 360 h 720"/>
                  <a:gd name="T8" fmla="*/ 329 w 899"/>
                  <a:gd name="T9" fmla="*/ 240 h 720"/>
                  <a:gd name="T10" fmla="*/ 179 w 899"/>
                  <a:gd name="T11" fmla="*/ 181 h 720"/>
                  <a:gd name="T12" fmla="*/ 269 w 899"/>
                  <a:gd name="T13" fmla="*/ 150 h 720"/>
                  <a:gd name="T14" fmla="*/ 389 w 899"/>
                  <a:gd name="T15" fmla="*/ 120 h 720"/>
                  <a:gd name="T16" fmla="*/ 449 w 899"/>
                  <a:gd name="T17" fmla="*/ 300 h 720"/>
                  <a:gd name="T18" fmla="*/ 539 w 899"/>
                  <a:gd name="T19" fmla="*/ 180 h 720"/>
                  <a:gd name="T20" fmla="*/ 509 w 899"/>
                  <a:gd name="T21" fmla="*/ 60 h 720"/>
                  <a:gd name="T22" fmla="*/ 359 w 899"/>
                  <a:gd name="T23" fmla="*/ 30 h 720"/>
                  <a:gd name="T24" fmla="*/ 569 w 899"/>
                  <a:gd name="T25" fmla="*/ 0 h 720"/>
                  <a:gd name="T26" fmla="*/ 689 w 899"/>
                  <a:gd name="T27" fmla="*/ 90 h 720"/>
                  <a:gd name="T28" fmla="*/ 659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89 w 899"/>
                  <a:gd name="T41" fmla="*/ 390 h 720"/>
                  <a:gd name="T42" fmla="*/ 539 w 899"/>
                  <a:gd name="T43" fmla="*/ 330 h 720"/>
                  <a:gd name="T44" fmla="*/ 569 w 899"/>
                  <a:gd name="T45" fmla="*/ 450 h 720"/>
                  <a:gd name="T46" fmla="*/ 419 w 899"/>
                  <a:gd name="T47" fmla="*/ 420 h 720"/>
                  <a:gd name="T48" fmla="*/ 389 w 899"/>
                  <a:gd name="T49" fmla="*/ 540 h 720"/>
                  <a:gd name="T50" fmla="*/ 509 w 899"/>
                  <a:gd name="T51" fmla="*/ 570 h 720"/>
                  <a:gd name="T52" fmla="*/ 659 w 899"/>
                  <a:gd name="T53" fmla="*/ 570 h 720"/>
                  <a:gd name="T54" fmla="*/ 599 w 899"/>
                  <a:gd name="T55" fmla="*/ 720 h 720"/>
                  <a:gd name="T56" fmla="*/ 299 w 899"/>
                  <a:gd name="T57" fmla="*/ 630 h 720"/>
                  <a:gd name="T58" fmla="*/ 268 w 899"/>
                  <a:gd name="T59" fmla="*/ 482 h 720"/>
                  <a:gd name="T60" fmla="*/ 179 w 899"/>
                  <a:gd name="T61" fmla="*/ 570 h 720"/>
                  <a:gd name="T62" fmla="*/ 59 w 899"/>
                  <a:gd name="T63" fmla="*/ 480 h 720"/>
                  <a:gd name="T64" fmla="*/ 0 w 899"/>
                  <a:gd name="T65" fmla="*/ 360 h 720"/>
                  <a:gd name="T66" fmla="*/ 59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59" y="240"/>
                    </a:move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599" y="720"/>
                    </a:lnTo>
                    <a:lnTo>
                      <a:pt x="299" y="630"/>
                    </a:lnTo>
                    <a:lnTo>
                      <a:pt x="268" y="482"/>
                    </a:lnTo>
                    <a:lnTo>
                      <a:pt x="179" y="570"/>
                    </a:lnTo>
                    <a:lnTo>
                      <a:pt x="59" y="480"/>
                    </a:lnTo>
                    <a:lnTo>
                      <a:pt x="0" y="360"/>
                    </a:lnTo>
                    <a:lnTo>
                      <a:pt x="59"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6" name="Line 2396">
                <a:extLst>
                  <a:ext uri="{FF2B5EF4-FFF2-40B4-BE49-F238E27FC236}">
                    <a16:creationId xmlns:a16="http://schemas.microsoft.com/office/drawing/2014/main" id="{A678E894-5B57-4C97-A112-B2366AD75FF3}"/>
                  </a:ext>
                </a:extLst>
              </p:cNvPr>
              <p:cNvSpPr>
                <a:spLocks noChangeShapeType="1"/>
              </p:cNvSpPr>
              <p:nvPr/>
            </p:nvSpPr>
            <p:spPr bwMode="auto">
              <a:xfrm flipH="1">
                <a:off x="2145" y="225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7" name="Freeform 2397">
                <a:extLst>
                  <a:ext uri="{FF2B5EF4-FFF2-40B4-BE49-F238E27FC236}">
                    <a16:creationId xmlns:a16="http://schemas.microsoft.com/office/drawing/2014/main" id="{760239BB-6DC0-4752-B990-3ACDF667AA37}"/>
                  </a:ext>
                </a:extLst>
              </p:cNvPr>
              <p:cNvSpPr>
                <a:spLocks/>
              </p:cNvSpPr>
              <p:nvPr/>
            </p:nvSpPr>
            <p:spPr bwMode="auto">
              <a:xfrm>
                <a:off x="2354" y="243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8" name="Freeform 2398">
                <a:extLst>
                  <a:ext uri="{FF2B5EF4-FFF2-40B4-BE49-F238E27FC236}">
                    <a16:creationId xmlns:a16="http://schemas.microsoft.com/office/drawing/2014/main" id="{0A829E51-4328-4FBE-B8C8-E1E2D1C98386}"/>
                  </a:ext>
                </a:extLst>
              </p:cNvPr>
              <p:cNvSpPr>
                <a:spLocks/>
              </p:cNvSpPr>
              <p:nvPr/>
            </p:nvSpPr>
            <p:spPr bwMode="auto">
              <a:xfrm>
                <a:off x="2415" y="1980"/>
                <a:ext cx="240" cy="330"/>
              </a:xfrm>
              <a:custGeom>
                <a:avLst/>
                <a:gdLst>
                  <a:gd name="T0" fmla="*/ 180 w 240"/>
                  <a:gd name="T1" fmla="*/ 150 h 330"/>
                  <a:gd name="T2" fmla="*/ 120 w 240"/>
                  <a:gd name="T3" fmla="*/ 0 h 330"/>
                  <a:gd name="T4" fmla="*/ 240 w 240"/>
                  <a:gd name="T5" fmla="*/ 90 h 330"/>
                  <a:gd name="T6" fmla="*/ 210 w 240"/>
                  <a:gd name="T7" fmla="*/ 270 h 330"/>
                  <a:gd name="T8" fmla="*/ 0 w 240"/>
                  <a:gd name="T9" fmla="*/ 330 h 330"/>
                </a:gdLst>
                <a:ahLst/>
                <a:cxnLst>
                  <a:cxn ang="0">
                    <a:pos x="T0" y="T1"/>
                  </a:cxn>
                  <a:cxn ang="0">
                    <a:pos x="T2" y="T3"/>
                  </a:cxn>
                  <a:cxn ang="0">
                    <a:pos x="T4" y="T5"/>
                  </a:cxn>
                  <a:cxn ang="0">
                    <a:pos x="T6" y="T7"/>
                  </a:cxn>
                  <a:cxn ang="0">
                    <a:pos x="T8" y="T9"/>
                  </a:cxn>
                </a:cxnLst>
                <a:rect l="0" t="0" r="r" b="b"/>
                <a:pathLst>
                  <a:path w="240" h="330">
                    <a:moveTo>
                      <a:pt x="180" y="150"/>
                    </a:moveTo>
                    <a:lnTo>
                      <a:pt x="120" y="0"/>
                    </a:lnTo>
                    <a:lnTo>
                      <a:pt x="240" y="90"/>
                    </a:lnTo>
                    <a:lnTo>
                      <a:pt x="21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9" name="Line 2399">
                <a:extLst>
                  <a:ext uri="{FF2B5EF4-FFF2-40B4-BE49-F238E27FC236}">
                    <a16:creationId xmlns:a16="http://schemas.microsoft.com/office/drawing/2014/main" id="{FAD88ADA-A7D3-4DBF-BD40-8F11E5639677}"/>
                  </a:ext>
                </a:extLst>
              </p:cNvPr>
              <p:cNvSpPr>
                <a:spLocks noChangeShapeType="1"/>
              </p:cNvSpPr>
              <p:nvPr/>
            </p:nvSpPr>
            <p:spPr bwMode="auto">
              <a:xfrm>
                <a:off x="247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0" name="Freeform 2400">
                <a:extLst>
                  <a:ext uri="{FF2B5EF4-FFF2-40B4-BE49-F238E27FC236}">
                    <a16:creationId xmlns:a16="http://schemas.microsoft.com/office/drawing/2014/main" id="{C4DB7FC2-93AC-454D-BBEB-66BA3EFD2497}"/>
                  </a:ext>
                </a:extLst>
              </p:cNvPr>
              <p:cNvSpPr>
                <a:spLocks/>
              </p:cNvSpPr>
              <p:nvPr/>
            </p:nvSpPr>
            <p:spPr bwMode="auto">
              <a:xfrm>
                <a:off x="3045" y="207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1" name="Freeform 2401">
                <a:extLst>
                  <a:ext uri="{FF2B5EF4-FFF2-40B4-BE49-F238E27FC236}">
                    <a16:creationId xmlns:a16="http://schemas.microsoft.com/office/drawing/2014/main" id="{23AB0A3A-A2DA-4BA3-B53C-AEE118BA4F44}"/>
                  </a:ext>
                </a:extLst>
              </p:cNvPr>
              <p:cNvSpPr>
                <a:spLocks/>
              </p:cNvSpPr>
              <p:nvPr/>
            </p:nvSpPr>
            <p:spPr bwMode="auto">
              <a:xfrm>
                <a:off x="3105" y="222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2" name="Freeform 2402">
                <a:extLst>
                  <a:ext uri="{FF2B5EF4-FFF2-40B4-BE49-F238E27FC236}">
                    <a16:creationId xmlns:a16="http://schemas.microsoft.com/office/drawing/2014/main" id="{4B3092FB-CD97-417C-9616-8DCD44EC7C4E}"/>
                  </a:ext>
                </a:extLst>
              </p:cNvPr>
              <p:cNvSpPr>
                <a:spLocks/>
              </p:cNvSpPr>
              <p:nvPr/>
            </p:nvSpPr>
            <p:spPr bwMode="auto">
              <a:xfrm>
                <a:off x="2985" y="225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3" name="Freeform 2403">
                <a:extLst>
                  <a:ext uri="{FF2B5EF4-FFF2-40B4-BE49-F238E27FC236}">
                    <a16:creationId xmlns:a16="http://schemas.microsoft.com/office/drawing/2014/main" id="{1742BFB7-1EAF-4FB6-AE20-44239B5A7CA6}"/>
                  </a:ext>
                </a:extLst>
              </p:cNvPr>
              <p:cNvSpPr>
                <a:spLocks/>
              </p:cNvSpPr>
              <p:nvPr/>
            </p:nvSpPr>
            <p:spPr bwMode="auto">
              <a:xfrm>
                <a:off x="3313" y="243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4" name="Freeform 2404">
                <a:extLst>
                  <a:ext uri="{FF2B5EF4-FFF2-40B4-BE49-F238E27FC236}">
                    <a16:creationId xmlns:a16="http://schemas.microsoft.com/office/drawing/2014/main" id="{24814F3F-3F06-4C7F-8CEA-CD145D30C276}"/>
                  </a:ext>
                </a:extLst>
              </p:cNvPr>
              <p:cNvSpPr>
                <a:spLocks/>
              </p:cNvSpPr>
              <p:nvPr/>
            </p:nvSpPr>
            <p:spPr bwMode="auto">
              <a:xfrm>
                <a:off x="3375" y="204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5" name="Line 2405">
                <a:extLst>
                  <a:ext uri="{FF2B5EF4-FFF2-40B4-BE49-F238E27FC236}">
                    <a16:creationId xmlns:a16="http://schemas.microsoft.com/office/drawing/2014/main" id="{114C14EF-595F-41ED-927A-5EA3E6E5E481}"/>
                  </a:ext>
                </a:extLst>
              </p:cNvPr>
              <p:cNvSpPr>
                <a:spLocks noChangeShapeType="1"/>
              </p:cNvSpPr>
              <p:nvPr/>
            </p:nvSpPr>
            <p:spPr bwMode="auto">
              <a:xfrm>
                <a:off x="343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6" name="Line 2406">
                <a:extLst>
                  <a:ext uri="{FF2B5EF4-FFF2-40B4-BE49-F238E27FC236}">
                    <a16:creationId xmlns:a16="http://schemas.microsoft.com/office/drawing/2014/main" id="{93DE679E-F10E-4D83-AA60-996FF79AA8FD}"/>
                  </a:ext>
                </a:extLst>
              </p:cNvPr>
              <p:cNvSpPr>
                <a:spLocks noChangeShapeType="1"/>
              </p:cNvSpPr>
              <p:nvPr/>
            </p:nvSpPr>
            <p:spPr bwMode="auto">
              <a:xfrm>
                <a:off x="2955" y="18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7" name="Line 2407">
                <a:extLst>
                  <a:ext uri="{FF2B5EF4-FFF2-40B4-BE49-F238E27FC236}">
                    <a16:creationId xmlns:a16="http://schemas.microsoft.com/office/drawing/2014/main" id="{8A0EEAF5-BA83-4B9F-A98E-47CEBE5BC77C}"/>
                  </a:ext>
                </a:extLst>
              </p:cNvPr>
              <p:cNvSpPr>
                <a:spLocks noChangeShapeType="1"/>
              </p:cNvSpPr>
              <p:nvPr/>
            </p:nvSpPr>
            <p:spPr bwMode="auto">
              <a:xfrm>
                <a:off x="2655" y="18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8" name="Line 2408">
                <a:extLst>
                  <a:ext uri="{FF2B5EF4-FFF2-40B4-BE49-F238E27FC236}">
                    <a16:creationId xmlns:a16="http://schemas.microsoft.com/office/drawing/2014/main" id="{AB35D5BB-17AC-4E28-9D05-04BBF06863C6}"/>
                  </a:ext>
                </a:extLst>
              </p:cNvPr>
              <p:cNvSpPr>
                <a:spLocks noChangeShapeType="1"/>
              </p:cNvSpPr>
              <p:nvPr/>
            </p:nvSpPr>
            <p:spPr bwMode="auto">
              <a:xfrm>
                <a:off x="3045" y="17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9" name="Line 2409">
                <a:extLst>
                  <a:ext uri="{FF2B5EF4-FFF2-40B4-BE49-F238E27FC236}">
                    <a16:creationId xmlns:a16="http://schemas.microsoft.com/office/drawing/2014/main" id="{D5F584F6-BC35-47E2-BA3A-62DAB77F173C}"/>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0" name="Line 2410">
                <a:extLst>
                  <a:ext uri="{FF2B5EF4-FFF2-40B4-BE49-F238E27FC236}">
                    <a16:creationId xmlns:a16="http://schemas.microsoft.com/office/drawing/2014/main" id="{A3C0C410-D614-4D9E-9F2F-5688355E75FB}"/>
                  </a:ext>
                </a:extLst>
              </p:cNvPr>
              <p:cNvSpPr>
                <a:spLocks noChangeShapeType="1"/>
              </p:cNvSpPr>
              <p:nvPr/>
            </p:nvSpPr>
            <p:spPr bwMode="auto">
              <a:xfrm flipH="1" flipV="1">
                <a:off x="2415" y="1770"/>
                <a:ext cx="6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1" name="Line 2411">
                <a:extLst>
                  <a:ext uri="{FF2B5EF4-FFF2-40B4-BE49-F238E27FC236}">
                    <a16:creationId xmlns:a16="http://schemas.microsoft.com/office/drawing/2014/main" id="{C917CB06-AC90-4989-951F-0AABE07C79B8}"/>
                  </a:ext>
                </a:extLst>
              </p:cNvPr>
              <p:cNvSpPr>
                <a:spLocks noChangeShapeType="1"/>
              </p:cNvSpPr>
              <p:nvPr/>
            </p:nvSpPr>
            <p:spPr bwMode="auto">
              <a:xfrm>
                <a:off x="2475" y="1830"/>
                <a:ext cx="21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2" name="Line 2412">
                <a:extLst>
                  <a:ext uri="{FF2B5EF4-FFF2-40B4-BE49-F238E27FC236}">
                    <a16:creationId xmlns:a16="http://schemas.microsoft.com/office/drawing/2014/main" id="{10D4C86C-90C1-41A9-B27C-DA175EEBF137}"/>
                  </a:ext>
                </a:extLst>
              </p:cNvPr>
              <p:cNvSpPr>
                <a:spLocks noChangeShapeType="1"/>
              </p:cNvSpPr>
              <p:nvPr/>
            </p:nvSpPr>
            <p:spPr bwMode="auto">
              <a:xfrm>
                <a:off x="2535" y="16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3" name="Line 2413">
                <a:extLst>
                  <a:ext uri="{FF2B5EF4-FFF2-40B4-BE49-F238E27FC236}">
                    <a16:creationId xmlns:a16="http://schemas.microsoft.com/office/drawing/2014/main" id="{C717E9BE-61F6-475C-967F-1D231C5539FA}"/>
                  </a:ext>
                </a:extLst>
              </p:cNvPr>
              <p:cNvSpPr>
                <a:spLocks noChangeShapeType="1"/>
              </p:cNvSpPr>
              <p:nvPr/>
            </p:nvSpPr>
            <p:spPr bwMode="auto">
              <a:xfrm>
                <a:off x="3045" y="13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4" name="Line 2414">
                <a:extLst>
                  <a:ext uri="{FF2B5EF4-FFF2-40B4-BE49-F238E27FC236}">
                    <a16:creationId xmlns:a16="http://schemas.microsoft.com/office/drawing/2014/main" id="{09E01F79-10D2-48FB-919E-FFFD3F7332C7}"/>
                  </a:ext>
                </a:extLst>
              </p:cNvPr>
              <p:cNvSpPr>
                <a:spLocks noChangeShapeType="1"/>
              </p:cNvSpPr>
              <p:nvPr/>
            </p:nvSpPr>
            <p:spPr bwMode="auto">
              <a:xfrm>
                <a:off x="2925" y="12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5" name="Freeform 2415">
                <a:extLst>
                  <a:ext uri="{FF2B5EF4-FFF2-40B4-BE49-F238E27FC236}">
                    <a16:creationId xmlns:a16="http://schemas.microsoft.com/office/drawing/2014/main" id="{52BC773F-1F17-4F13-9D08-DDF06DE4574E}"/>
                  </a:ext>
                </a:extLst>
              </p:cNvPr>
              <p:cNvSpPr>
                <a:spLocks/>
              </p:cNvSpPr>
              <p:nvPr/>
            </p:nvSpPr>
            <p:spPr bwMode="auto">
              <a:xfrm>
                <a:off x="2865" y="1710"/>
                <a:ext cx="240" cy="240"/>
              </a:xfrm>
              <a:custGeom>
                <a:avLst/>
                <a:gdLst>
                  <a:gd name="T0" fmla="*/ 240 w 240"/>
                  <a:gd name="T1" fmla="*/ 0 h 240"/>
                  <a:gd name="T2" fmla="*/ 210 w 240"/>
                  <a:gd name="T3" fmla="*/ 180 h 240"/>
                  <a:gd name="T4" fmla="*/ 180 w 240"/>
                  <a:gd name="T5" fmla="*/ 60 h 240"/>
                  <a:gd name="T6" fmla="*/ 150 w 240"/>
                  <a:gd name="T7" fmla="*/ 240 h 240"/>
                  <a:gd name="T8" fmla="*/ 90 w 240"/>
                  <a:gd name="T9" fmla="*/ 180 h 240"/>
                  <a:gd name="T10" fmla="*/ 0 w 240"/>
                  <a:gd name="T11" fmla="*/ 210 h 240"/>
                </a:gdLst>
                <a:ahLst/>
                <a:cxnLst>
                  <a:cxn ang="0">
                    <a:pos x="T0" y="T1"/>
                  </a:cxn>
                  <a:cxn ang="0">
                    <a:pos x="T2" y="T3"/>
                  </a:cxn>
                  <a:cxn ang="0">
                    <a:pos x="T4" y="T5"/>
                  </a:cxn>
                  <a:cxn ang="0">
                    <a:pos x="T6" y="T7"/>
                  </a:cxn>
                  <a:cxn ang="0">
                    <a:pos x="T8" y="T9"/>
                  </a:cxn>
                  <a:cxn ang="0">
                    <a:pos x="T10" y="T11"/>
                  </a:cxn>
                </a:cxnLst>
                <a:rect l="0" t="0" r="r" b="b"/>
                <a:pathLst>
                  <a:path w="240" h="240">
                    <a:moveTo>
                      <a:pt x="240" y="0"/>
                    </a:moveTo>
                    <a:lnTo>
                      <a:pt x="210" y="180"/>
                    </a:lnTo>
                    <a:lnTo>
                      <a:pt x="180" y="60"/>
                    </a:lnTo>
                    <a:lnTo>
                      <a:pt x="150" y="240"/>
                    </a:lnTo>
                    <a:lnTo>
                      <a:pt x="90" y="18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6" name="Line 2416">
                <a:extLst>
                  <a:ext uri="{FF2B5EF4-FFF2-40B4-BE49-F238E27FC236}">
                    <a16:creationId xmlns:a16="http://schemas.microsoft.com/office/drawing/2014/main" id="{8B0E45D0-C150-4ECB-9BD7-595A1A1FE54E}"/>
                  </a:ext>
                </a:extLst>
              </p:cNvPr>
              <p:cNvSpPr>
                <a:spLocks noChangeShapeType="1"/>
              </p:cNvSpPr>
              <p:nvPr/>
            </p:nvSpPr>
            <p:spPr bwMode="auto">
              <a:xfrm>
                <a:off x="2865" y="19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7" name="Freeform 2417">
                <a:extLst>
                  <a:ext uri="{FF2B5EF4-FFF2-40B4-BE49-F238E27FC236}">
                    <a16:creationId xmlns:a16="http://schemas.microsoft.com/office/drawing/2014/main" id="{4FAF0292-9C8F-4062-96D8-0FB61BFE2C6A}"/>
                  </a:ext>
                </a:extLst>
              </p:cNvPr>
              <p:cNvSpPr>
                <a:spLocks/>
              </p:cNvSpPr>
              <p:nvPr/>
            </p:nvSpPr>
            <p:spPr bwMode="auto">
              <a:xfrm>
                <a:off x="3045" y="1770"/>
                <a:ext cx="180" cy="120"/>
              </a:xfrm>
              <a:custGeom>
                <a:avLst/>
                <a:gdLst>
                  <a:gd name="T0" fmla="*/ 150 w 180"/>
                  <a:gd name="T1" fmla="*/ 120 h 120"/>
                  <a:gd name="T2" fmla="*/ 180 w 180"/>
                  <a:gd name="T3" fmla="*/ 0 h 120"/>
                  <a:gd name="T4" fmla="*/ 30 w 180"/>
                  <a:gd name="T5" fmla="*/ 120 h 120"/>
                  <a:gd name="T6" fmla="*/ 150 w 180"/>
                  <a:gd name="T7" fmla="*/ 120 h 120"/>
                  <a:gd name="T8" fmla="*/ 0 w 180"/>
                  <a:gd name="T9" fmla="*/ 0 h 120"/>
                </a:gdLst>
                <a:ahLst/>
                <a:cxnLst>
                  <a:cxn ang="0">
                    <a:pos x="T0" y="T1"/>
                  </a:cxn>
                  <a:cxn ang="0">
                    <a:pos x="T2" y="T3"/>
                  </a:cxn>
                  <a:cxn ang="0">
                    <a:pos x="T4" y="T5"/>
                  </a:cxn>
                  <a:cxn ang="0">
                    <a:pos x="T6" y="T7"/>
                  </a:cxn>
                  <a:cxn ang="0">
                    <a:pos x="T8" y="T9"/>
                  </a:cxn>
                </a:cxnLst>
                <a:rect l="0" t="0" r="r" b="b"/>
                <a:pathLst>
                  <a:path w="180" h="120">
                    <a:moveTo>
                      <a:pt x="150" y="120"/>
                    </a:moveTo>
                    <a:lnTo>
                      <a:pt x="180" y="0"/>
                    </a:lnTo>
                    <a:lnTo>
                      <a:pt x="30" y="120"/>
                    </a:lnTo>
                    <a:lnTo>
                      <a:pt x="15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8" name="Freeform 2418">
                <a:extLst>
                  <a:ext uri="{FF2B5EF4-FFF2-40B4-BE49-F238E27FC236}">
                    <a16:creationId xmlns:a16="http://schemas.microsoft.com/office/drawing/2014/main" id="{A4F9AE93-6995-4E85-8C73-E79A77113776}"/>
                  </a:ext>
                </a:extLst>
              </p:cNvPr>
              <p:cNvSpPr>
                <a:spLocks/>
              </p:cNvSpPr>
              <p:nvPr/>
            </p:nvSpPr>
            <p:spPr bwMode="auto">
              <a:xfrm>
                <a:off x="3105" y="1530"/>
                <a:ext cx="240" cy="360"/>
              </a:xfrm>
              <a:custGeom>
                <a:avLst/>
                <a:gdLst>
                  <a:gd name="T0" fmla="*/ 120 w 240"/>
                  <a:gd name="T1" fmla="*/ 240 h 360"/>
                  <a:gd name="T2" fmla="*/ 90 w 240"/>
                  <a:gd name="T3" fmla="*/ 120 h 360"/>
                  <a:gd name="T4" fmla="*/ 90 w 240"/>
                  <a:gd name="T5" fmla="*/ 0 h 360"/>
                  <a:gd name="T6" fmla="*/ 210 w 240"/>
                  <a:gd name="T7" fmla="*/ 30 h 360"/>
                  <a:gd name="T8" fmla="*/ 240 w 240"/>
                  <a:gd name="T9" fmla="*/ 180 h 360"/>
                  <a:gd name="T10" fmla="*/ 120 w 240"/>
                  <a:gd name="T11" fmla="*/ 240 h 360"/>
                  <a:gd name="T12" fmla="*/ 210 w 240"/>
                  <a:gd name="T13" fmla="*/ 330 h 360"/>
                  <a:gd name="T14" fmla="*/ 90 w 240"/>
                  <a:gd name="T15" fmla="*/ 360 h 360"/>
                  <a:gd name="T16" fmla="*/ 0 w 240"/>
                  <a:gd name="T17"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360">
                    <a:moveTo>
                      <a:pt x="120" y="240"/>
                    </a:moveTo>
                    <a:lnTo>
                      <a:pt x="90" y="120"/>
                    </a:lnTo>
                    <a:lnTo>
                      <a:pt x="90" y="0"/>
                    </a:lnTo>
                    <a:lnTo>
                      <a:pt x="210" y="30"/>
                    </a:lnTo>
                    <a:lnTo>
                      <a:pt x="240" y="180"/>
                    </a:lnTo>
                    <a:lnTo>
                      <a:pt x="120" y="240"/>
                    </a:lnTo>
                    <a:lnTo>
                      <a:pt x="210" y="330"/>
                    </a:lnTo>
                    <a:lnTo>
                      <a:pt x="90" y="36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9" name="Freeform 2419">
                <a:extLst>
                  <a:ext uri="{FF2B5EF4-FFF2-40B4-BE49-F238E27FC236}">
                    <a16:creationId xmlns:a16="http://schemas.microsoft.com/office/drawing/2014/main" id="{D0302F25-86C0-4333-87EE-C6497D0B6B1A}"/>
                  </a:ext>
                </a:extLst>
              </p:cNvPr>
              <p:cNvSpPr>
                <a:spLocks/>
              </p:cNvSpPr>
              <p:nvPr/>
            </p:nvSpPr>
            <p:spPr bwMode="auto">
              <a:xfrm>
                <a:off x="3105" y="1590"/>
                <a:ext cx="90" cy="120"/>
              </a:xfrm>
              <a:custGeom>
                <a:avLst/>
                <a:gdLst>
                  <a:gd name="T0" fmla="*/ 0 w 90"/>
                  <a:gd name="T1" fmla="*/ 120 h 120"/>
                  <a:gd name="T2" fmla="*/ 90 w 90"/>
                  <a:gd name="T3" fmla="*/ 60 h 120"/>
                  <a:gd name="T4" fmla="*/ 0 w 90"/>
                  <a:gd name="T5" fmla="*/ 0 h 120"/>
                </a:gdLst>
                <a:ahLst/>
                <a:cxnLst>
                  <a:cxn ang="0">
                    <a:pos x="T0" y="T1"/>
                  </a:cxn>
                  <a:cxn ang="0">
                    <a:pos x="T2" y="T3"/>
                  </a:cxn>
                  <a:cxn ang="0">
                    <a:pos x="T4" y="T5"/>
                  </a:cxn>
                </a:cxnLst>
                <a:rect l="0" t="0" r="r" b="b"/>
                <a:pathLst>
                  <a:path w="90" h="120">
                    <a:moveTo>
                      <a:pt x="0" y="120"/>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0" name="Line 2420">
                <a:extLst>
                  <a:ext uri="{FF2B5EF4-FFF2-40B4-BE49-F238E27FC236}">
                    <a16:creationId xmlns:a16="http://schemas.microsoft.com/office/drawing/2014/main" id="{2A6B1EE3-F7D3-4CDE-A2C5-7E6F1CAB377B}"/>
                  </a:ext>
                </a:extLst>
              </p:cNvPr>
              <p:cNvSpPr>
                <a:spLocks noChangeShapeType="1"/>
              </p:cNvSpPr>
              <p:nvPr/>
            </p:nvSpPr>
            <p:spPr bwMode="auto">
              <a:xfrm>
                <a:off x="2595" y="15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1" name="Freeform 2421">
                <a:extLst>
                  <a:ext uri="{FF2B5EF4-FFF2-40B4-BE49-F238E27FC236}">
                    <a16:creationId xmlns:a16="http://schemas.microsoft.com/office/drawing/2014/main" id="{1DEBECB2-3B95-46A4-B4F8-2BE694493EF3}"/>
                  </a:ext>
                </a:extLst>
              </p:cNvPr>
              <p:cNvSpPr>
                <a:spLocks/>
              </p:cNvSpPr>
              <p:nvPr/>
            </p:nvSpPr>
            <p:spPr bwMode="auto">
              <a:xfrm>
                <a:off x="2715" y="1230"/>
                <a:ext cx="450" cy="180"/>
              </a:xfrm>
              <a:custGeom>
                <a:avLst/>
                <a:gdLst>
                  <a:gd name="T0" fmla="*/ 450 w 450"/>
                  <a:gd name="T1" fmla="*/ 180 h 180"/>
                  <a:gd name="T2" fmla="*/ 450 w 450"/>
                  <a:gd name="T3" fmla="*/ 60 h 180"/>
                  <a:gd name="T4" fmla="*/ 330 w 450"/>
                  <a:gd name="T5" fmla="*/ 120 h 180"/>
                  <a:gd name="T6" fmla="*/ 210 w 450"/>
                  <a:gd name="T7" fmla="*/ 30 h 180"/>
                  <a:gd name="T8" fmla="*/ 90 w 450"/>
                  <a:gd name="T9" fmla="*/ 0 h 180"/>
                  <a:gd name="T10" fmla="*/ 150 w 450"/>
                  <a:gd name="T11" fmla="*/ 90 h 180"/>
                  <a:gd name="T12" fmla="*/ 0 w 450"/>
                  <a:gd name="T13" fmla="*/ 60 h 180"/>
                </a:gdLst>
                <a:ahLst/>
                <a:cxnLst>
                  <a:cxn ang="0">
                    <a:pos x="T0" y="T1"/>
                  </a:cxn>
                  <a:cxn ang="0">
                    <a:pos x="T2" y="T3"/>
                  </a:cxn>
                  <a:cxn ang="0">
                    <a:pos x="T4" y="T5"/>
                  </a:cxn>
                  <a:cxn ang="0">
                    <a:pos x="T6" y="T7"/>
                  </a:cxn>
                  <a:cxn ang="0">
                    <a:pos x="T8" y="T9"/>
                  </a:cxn>
                  <a:cxn ang="0">
                    <a:pos x="T10" y="T11"/>
                  </a:cxn>
                  <a:cxn ang="0">
                    <a:pos x="T12" y="T13"/>
                  </a:cxn>
                </a:cxnLst>
                <a:rect l="0" t="0" r="r" b="b"/>
                <a:pathLst>
                  <a:path w="450" h="180">
                    <a:moveTo>
                      <a:pt x="450" y="180"/>
                    </a:moveTo>
                    <a:lnTo>
                      <a:pt x="450" y="60"/>
                    </a:lnTo>
                    <a:lnTo>
                      <a:pt x="330" y="120"/>
                    </a:lnTo>
                    <a:lnTo>
                      <a:pt x="210" y="30"/>
                    </a:lnTo>
                    <a:lnTo>
                      <a:pt x="90" y="0"/>
                    </a:lnTo>
                    <a:lnTo>
                      <a:pt x="150" y="9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2" name="Freeform 2422">
                <a:extLst>
                  <a:ext uri="{FF2B5EF4-FFF2-40B4-BE49-F238E27FC236}">
                    <a16:creationId xmlns:a16="http://schemas.microsoft.com/office/drawing/2014/main" id="{90C7D548-78CD-46C9-A3F9-9025089B8C3C}"/>
                  </a:ext>
                </a:extLst>
              </p:cNvPr>
              <p:cNvSpPr>
                <a:spLocks/>
              </p:cNvSpPr>
              <p:nvPr/>
            </p:nvSpPr>
            <p:spPr bwMode="auto">
              <a:xfrm>
                <a:off x="3105" y="1440"/>
                <a:ext cx="180" cy="150"/>
              </a:xfrm>
              <a:custGeom>
                <a:avLst/>
                <a:gdLst>
                  <a:gd name="T0" fmla="*/ 180 w 180"/>
                  <a:gd name="T1" fmla="*/ 0 h 150"/>
                  <a:gd name="T2" fmla="*/ 90 w 180"/>
                  <a:gd name="T3" fmla="*/ 90 h 150"/>
                  <a:gd name="T4" fmla="*/ 0 w 180"/>
                  <a:gd name="T5" fmla="*/ 150 h 150"/>
                </a:gdLst>
                <a:ahLst/>
                <a:cxnLst>
                  <a:cxn ang="0">
                    <a:pos x="T0" y="T1"/>
                  </a:cxn>
                  <a:cxn ang="0">
                    <a:pos x="T2" y="T3"/>
                  </a:cxn>
                  <a:cxn ang="0">
                    <a:pos x="T4" y="T5"/>
                  </a:cxn>
                </a:cxnLst>
                <a:rect l="0" t="0" r="r" b="b"/>
                <a:pathLst>
                  <a:path w="180" h="150">
                    <a:moveTo>
                      <a:pt x="180" y="0"/>
                    </a:moveTo>
                    <a:lnTo>
                      <a:pt x="90" y="9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3" name="Freeform 2423">
                <a:extLst>
                  <a:ext uri="{FF2B5EF4-FFF2-40B4-BE49-F238E27FC236}">
                    <a16:creationId xmlns:a16="http://schemas.microsoft.com/office/drawing/2014/main" id="{C3EC817C-D535-4275-A148-68478FA3C11C}"/>
                  </a:ext>
                </a:extLst>
              </p:cNvPr>
              <p:cNvSpPr>
                <a:spLocks/>
              </p:cNvSpPr>
              <p:nvPr/>
            </p:nvSpPr>
            <p:spPr bwMode="auto">
              <a:xfrm>
                <a:off x="2925" y="1260"/>
                <a:ext cx="390" cy="390"/>
              </a:xfrm>
              <a:custGeom>
                <a:avLst/>
                <a:gdLst>
                  <a:gd name="T0" fmla="*/ 270 w 390"/>
                  <a:gd name="T1" fmla="*/ 390 h 390"/>
                  <a:gd name="T2" fmla="*/ 390 w 390"/>
                  <a:gd name="T3" fmla="*/ 300 h 390"/>
                  <a:gd name="T4" fmla="*/ 360 w 390"/>
                  <a:gd name="T5" fmla="*/ 180 h 390"/>
                  <a:gd name="T6" fmla="*/ 240 w 390"/>
                  <a:gd name="T7" fmla="*/ 30 h 390"/>
                  <a:gd name="T8" fmla="*/ 0 w 390"/>
                  <a:gd name="T9" fmla="*/ 0 h 390"/>
                </a:gdLst>
                <a:ahLst/>
                <a:cxnLst>
                  <a:cxn ang="0">
                    <a:pos x="T0" y="T1"/>
                  </a:cxn>
                  <a:cxn ang="0">
                    <a:pos x="T2" y="T3"/>
                  </a:cxn>
                  <a:cxn ang="0">
                    <a:pos x="T4" y="T5"/>
                  </a:cxn>
                  <a:cxn ang="0">
                    <a:pos x="T6" y="T7"/>
                  </a:cxn>
                  <a:cxn ang="0">
                    <a:pos x="T8" y="T9"/>
                  </a:cxn>
                </a:cxnLst>
                <a:rect l="0" t="0" r="r" b="b"/>
                <a:pathLst>
                  <a:path w="390" h="390">
                    <a:moveTo>
                      <a:pt x="270" y="390"/>
                    </a:moveTo>
                    <a:lnTo>
                      <a:pt x="390" y="300"/>
                    </a:lnTo>
                    <a:lnTo>
                      <a:pt x="360" y="180"/>
                    </a:lnTo>
                    <a:lnTo>
                      <a:pt x="24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4" name="Freeform 2424">
                <a:extLst>
                  <a:ext uri="{FF2B5EF4-FFF2-40B4-BE49-F238E27FC236}">
                    <a16:creationId xmlns:a16="http://schemas.microsoft.com/office/drawing/2014/main" id="{C01160B6-D9D3-409D-A8F2-137759C7897C}"/>
                  </a:ext>
                </a:extLst>
              </p:cNvPr>
              <p:cNvSpPr>
                <a:spLocks/>
              </p:cNvSpPr>
              <p:nvPr/>
            </p:nvSpPr>
            <p:spPr bwMode="auto">
              <a:xfrm>
                <a:off x="2445" y="1230"/>
                <a:ext cx="360" cy="210"/>
              </a:xfrm>
              <a:custGeom>
                <a:avLst/>
                <a:gdLst>
                  <a:gd name="T0" fmla="*/ 90 w 360"/>
                  <a:gd name="T1" fmla="*/ 60 h 210"/>
                  <a:gd name="T2" fmla="*/ 0 w 360"/>
                  <a:gd name="T3" fmla="*/ 180 h 210"/>
                  <a:gd name="T4" fmla="*/ 90 w 360"/>
                  <a:gd name="T5" fmla="*/ 210 h 210"/>
                  <a:gd name="T6" fmla="*/ 180 w 360"/>
                  <a:gd name="T7" fmla="*/ 180 h 210"/>
                  <a:gd name="T8" fmla="*/ 90 w 360"/>
                  <a:gd name="T9" fmla="*/ 60 h 210"/>
                  <a:gd name="T10" fmla="*/ 270 w 360"/>
                  <a:gd name="T11" fmla="*/ 60 h 210"/>
                  <a:gd name="T12" fmla="*/ 360 w 36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60" h="210">
                    <a:moveTo>
                      <a:pt x="90" y="60"/>
                    </a:moveTo>
                    <a:lnTo>
                      <a:pt x="0" y="180"/>
                    </a:lnTo>
                    <a:lnTo>
                      <a:pt x="90" y="210"/>
                    </a:lnTo>
                    <a:lnTo>
                      <a:pt x="180" y="180"/>
                    </a:lnTo>
                    <a:lnTo>
                      <a:pt x="90" y="60"/>
                    </a:lnTo>
                    <a:lnTo>
                      <a:pt x="270" y="60"/>
                    </a:lnTo>
                    <a:lnTo>
                      <a:pt x="3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5" name="Line 2425">
                <a:extLst>
                  <a:ext uri="{FF2B5EF4-FFF2-40B4-BE49-F238E27FC236}">
                    <a16:creationId xmlns:a16="http://schemas.microsoft.com/office/drawing/2014/main" id="{9FA85475-8215-4D5C-AD97-29847CA0C8F8}"/>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6" name="Line 2426">
                <a:extLst>
                  <a:ext uri="{FF2B5EF4-FFF2-40B4-BE49-F238E27FC236}">
                    <a16:creationId xmlns:a16="http://schemas.microsoft.com/office/drawing/2014/main" id="{62C0AA4C-FEC6-4328-9170-E6281CC5DE5C}"/>
                  </a:ext>
                </a:extLst>
              </p:cNvPr>
              <p:cNvSpPr>
                <a:spLocks noChangeShapeType="1"/>
              </p:cNvSpPr>
              <p:nvPr/>
            </p:nvSpPr>
            <p:spPr bwMode="auto">
              <a:xfrm flipH="1">
                <a:off x="3105" y="141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7" name="Freeform 2427">
                <a:extLst>
                  <a:ext uri="{FF2B5EF4-FFF2-40B4-BE49-F238E27FC236}">
                    <a16:creationId xmlns:a16="http://schemas.microsoft.com/office/drawing/2014/main" id="{79535107-704F-4E59-9763-452000E5CBFB}"/>
                  </a:ext>
                </a:extLst>
              </p:cNvPr>
              <p:cNvSpPr>
                <a:spLocks/>
              </p:cNvSpPr>
              <p:nvPr/>
            </p:nvSpPr>
            <p:spPr bwMode="auto">
              <a:xfrm>
                <a:off x="2505" y="2490"/>
                <a:ext cx="450" cy="300"/>
              </a:xfrm>
              <a:custGeom>
                <a:avLst/>
                <a:gdLst>
                  <a:gd name="T0" fmla="*/ 180 w 450"/>
                  <a:gd name="T1" fmla="*/ 300 h 300"/>
                  <a:gd name="T2" fmla="*/ 300 w 450"/>
                  <a:gd name="T3" fmla="*/ 240 h 300"/>
                  <a:gd name="T4" fmla="*/ 450 w 450"/>
                  <a:gd name="T5" fmla="*/ 300 h 300"/>
                  <a:gd name="T6" fmla="*/ 360 w 450"/>
                  <a:gd name="T7" fmla="*/ 90 h 300"/>
                  <a:gd name="T8" fmla="*/ 240 w 450"/>
                  <a:gd name="T9" fmla="*/ 150 h 300"/>
                  <a:gd name="T10" fmla="*/ 0 w 450"/>
                  <a:gd name="T11" fmla="*/ 0 h 300"/>
                </a:gdLst>
                <a:ahLst/>
                <a:cxnLst>
                  <a:cxn ang="0">
                    <a:pos x="T0" y="T1"/>
                  </a:cxn>
                  <a:cxn ang="0">
                    <a:pos x="T2" y="T3"/>
                  </a:cxn>
                  <a:cxn ang="0">
                    <a:pos x="T4" y="T5"/>
                  </a:cxn>
                  <a:cxn ang="0">
                    <a:pos x="T6" y="T7"/>
                  </a:cxn>
                  <a:cxn ang="0">
                    <a:pos x="T8" y="T9"/>
                  </a:cxn>
                  <a:cxn ang="0">
                    <a:pos x="T10" y="T11"/>
                  </a:cxn>
                </a:cxnLst>
                <a:rect l="0" t="0" r="r" b="b"/>
                <a:pathLst>
                  <a:path w="450" h="300">
                    <a:moveTo>
                      <a:pt x="180" y="300"/>
                    </a:moveTo>
                    <a:lnTo>
                      <a:pt x="300" y="240"/>
                    </a:lnTo>
                    <a:lnTo>
                      <a:pt x="450" y="300"/>
                    </a:lnTo>
                    <a:lnTo>
                      <a:pt x="360" y="9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8" name="Line 2428">
                <a:extLst>
                  <a:ext uri="{FF2B5EF4-FFF2-40B4-BE49-F238E27FC236}">
                    <a16:creationId xmlns:a16="http://schemas.microsoft.com/office/drawing/2014/main" id="{55AC2076-A4DE-4BE0-992D-9FCD0EAB8FE3}"/>
                  </a:ext>
                </a:extLst>
              </p:cNvPr>
              <p:cNvSpPr>
                <a:spLocks noChangeShapeType="1"/>
              </p:cNvSpPr>
              <p:nvPr/>
            </p:nvSpPr>
            <p:spPr bwMode="auto">
              <a:xfrm flipV="1">
                <a:off x="2925" y="243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9" name="Freeform 2429">
                <a:extLst>
                  <a:ext uri="{FF2B5EF4-FFF2-40B4-BE49-F238E27FC236}">
                    <a16:creationId xmlns:a16="http://schemas.microsoft.com/office/drawing/2014/main" id="{FEA7F95F-7FD0-425C-BBD7-20946E9D1AE2}"/>
                  </a:ext>
                </a:extLst>
              </p:cNvPr>
              <p:cNvSpPr>
                <a:spLocks/>
              </p:cNvSpPr>
              <p:nvPr/>
            </p:nvSpPr>
            <p:spPr bwMode="auto">
              <a:xfrm>
                <a:off x="2835" y="2070"/>
                <a:ext cx="300" cy="240"/>
              </a:xfrm>
              <a:custGeom>
                <a:avLst/>
                <a:gdLst>
                  <a:gd name="T0" fmla="*/ 180 w 300"/>
                  <a:gd name="T1" fmla="*/ 0 h 240"/>
                  <a:gd name="T2" fmla="*/ 0 w 300"/>
                  <a:gd name="T3" fmla="*/ 0 h 240"/>
                  <a:gd name="T4" fmla="*/ 60 w 300"/>
                  <a:gd name="T5" fmla="*/ 120 h 240"/>
                  <a:gd name="T6" fmla="*/ 180 w 300"/>
                  <a:gd name="T7" fmla="*/ 0 h 240"/>
                  <a:gd name="T8" fmla="*/ 300 w 300"/>
                  <a:gd name="T9" fmla="*/ 150 h 240"/>
                  <a:gd name="T10" fmla="*/ 150 w 300"/>
                  <a:gd name="T11" fmla="*/ 240 h 240"/>
                </a:gdLst>
                <a:ahLst/>
                <a:cxnLst>
                  <a:cxn ang="0">
                    <a:pos x="T0" y="T1"/>
                  </a:cxn>
                  <a:cxn ang="0">
                    <a:pos x="T2" y="T3"/>
                  </a:cxn>
                  <a:cxn ang="0">
                    <a:pos x="T4" y="T5"/>
                  </a:cxn>
                  <a:cxn ang="0">
                    <a:pos x="T6" y="T7"/>
                  </a:cxn>
                  <a:cxn ang="0">
                    <a:pos x="T8" y="T9"/>
                  </a:cxn>
                  <a:cxn ang="0">
                    <a:pos x="T10" y="T11"/>
                  </a:cxn>
                </a:cxnLst>
                <a:rect l="0" t="0" r="r" b="b"/>
                <a:pathLst>
                  <a:path w="300" h="240">
                    <a:moveTo>
                      <a:pt x="180" y="0"/>
                    </a:moveTo>
                    <a:lnTo>
                      <a:pt x="0" y="0"/>
                    </a:lnTo>
                    <a:lnTo>
                      <a:pt x="60" y="120"/>
                    </a:lnTo>
                    <a:lnTo>
                      <a:pt x="180" y="0"/>
                    </a:lnTo>
                    <a:lnTo>
                      <a:pt x="300" y="15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0" name="Line 2430">
                <a:extLst>
                  <a:ext uri="{FF2B5EF4-FFF2-40B4-BE49-F238E27FC236}">
                    <a16:creationId xmlns:a16="http://schemas.microsoft.com/office/drawing/2014/main" id="{E2BE821E-78D5-473A-A950-640D61AC22DE}"/>
                  </a:ext>
                </a:extLst>
              </p:cNvPr>
              <p:cNvSpPr>
                <a:spLocks noChangeShapeType="1"/>
              </p:cNvSpPr>
              <p:nvPr/>
            </p:nvSpPr>
            <p:spPr bwMode="auto">
              <a:xfrm>
                <a:off x="3135" y="204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1" name="Freeform 2431">
                <a:extLst>
                  <a:ext uri="{FF2B5EF4-FFF2-40B4-BE49-F238E27FC236}">
                    <a16:creationId xmlns:a16="http://schemas.microsoft.com/office/drawing/2014/main" id="{858541FF-4E3C-4039-A605-F9B8FEFC6540}"/>
                  </a:ext>
                </a:extLst>
              </p:cNvPr>
              <p:cNvSpPr>
                <a:spLocks/>
              </p:cNvSpPr>
              <p:nvPr/>
            </p:nvSpPr>
            <p:spPr bwMode="auto">
              <a:xfrm>
                <a:off x="2655" y="2310"/>
                <a:ext cx="690" cy="420"/>
              </a:xfrm>
              <a:custGeom>
                <a:avLst/>
                <a:gdLst>
                  <a:gd name="T0" fmla="*/ 120 w 690"/>
                  <a:gd name="T1" fmla="*/ 150 h 420"/>
                  <a:gd name="T2" fmla="*/ 330 w 690"/>
                  <a:gd name="T3" fmla="*/ 0 h 420"/>
                  <a:gd name="T4" fmla="*/ 180 w 690"/>
                  <a:gd name="T5" fmla="*/ 30 h 420"/>
                  <a:gd name="T6" fmla="*/ 270 w 690"/>
                  <a:gd name="T7" fmla="*/ 180 h 420"/>
                  <a:gd name="T8" fmla="*/ 0 w 690"/>
                  <a:gd name="T9" fmla="*/ 210 h 420"/>
                  <a:gd name="T10" fmla="*/ 210 w 690"/>
                  <a:gd name="T11" fmla="*/ 270 h 420"/>
                  <a:gd name="T12" fmla="*/ 330 w 690"/>
                  <a:gd name="T13" fmla="*/ 330 h 420"/>
                  <a:gd name="T14" fmla="*/ 420 w 690"/>
                  <a:gd name="T15" fmla="*/ 420 h 420"/>
                  <a:gd name="T16" fmla="*/ 450 w 690"/>
                  <a:gd name="T17" fmla="*/ 240 h 420"/>
                  <a:gd name="T18" fmla="*/ 570 w 690"/>
                  <a:gd name="T19" fmla="*/ 420 h 420"/>
                  <a:gd name="T20" fmla="*/ 690 w 690"/>
                  <a:gd name="T21" fmla="*/ 39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420">
                    <a:moveTo>
                      <a:pt x="120" y="150"/>
                    </a:moveTo>
                    <a:lnTo>
                      <a:pt x="330" y="0"/>
                    </a:lnTo>
                    <a:lnTo>
                      <a:pt x="180" y="30"/>
                    </a:lnTo>
                    <a:lnTo>
                      <a:pt x="270" y="180"/>
                    </a:lnTo>
                    <a:lnTo>
                      <a:pt x="0" y="210"/>
                    </a:lnTo>
                    <a:lnTo>
                      <a:pt x="210" y="270"/>
                    </a:lnTo>
                    <a:lnTo>
                      <a:pt x="330" y="330"/>
                    </a:lnTo>
                    <a:lnTo>
                      <a:pt x="420" y="420"/>
                    </a:lnTo>
                    <a:lnTo>
                      <a:pt x="450" y="240"/>
                    </a:lnTo>
                    <a:lnTo>
                      <a:pt x="570" y="420"/>
                    </a:lnTo>
                    <a:lnTo>
                      <a:pt x="690" y="3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2" name="Freeform 2432">
                <a:extLst>
                  <a:ext uri="{FF2B5EF4-FFF2-40B4-BE49-F238E27FC236}">
                    <a16:creationId xmlns:a16="http://schemas.microsoft.com/office/drawing/2014/main" id="{9E04F737-C8F9-4CCD-ACD9-1392B59510D2}"/>
                  </a:ext>
                </a:extLst>
              </p:cNvPr>
              <p:cNvSpPr>
                <a:spLocks/>
              </p:cNvSpPr>
              <p:nvPr/>
            </p:nvSpPr>
            <p:spPr bwMode="auto">
              <a:xfrm>
                <a:off x="3465" y="249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3" name="Freeform 2433">
                <a:extLst>
                  <a:ext uri="{FF2B5EF4-FFF2-40B4-BE49-F238E27FC236}">
                    <a16:creationId xmlns:a16="http://schemas.microsoft.com/office/drawing/2014/main" id="{104500B7-E8AB-469F-ABFB-1B381D17D2D4}"/>
                  </a:ext>
                </a:extLst>
              </p:cNvPr>
              <p:cNvSpPr>
                <a:spLocks/>
              </p:cNvSpPr>
              <p:nvPr/>
            </p:nvSpPr>
            <p:spPr bwMode="auto">
              <a:xfrm>
                <a:off x="3615" y="231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4" name="Line 2434">
                <a:extLst>
                  <a:ext uri="{FF2B5EF4-FFF2-40B4-BE49-F238E27FC236}">
                    <a16:creationId xmlns:a16="http://schemas.microsoft.com/office/drawing/2014/main" id="{39254D43-4278-4255-86F8-0898A10D543E}"/>
                  </a:ext>
                </a:extLst>
              </p:cNvPr>
              <p:cNvSpPr>
                <a:spLocks noChangeShapeType="1"/>
              </p:cNvSpPr>
              <p:nvPr/>
            </p:nvSpPr>
            <p:spPr bwMode="auto">
              <a:xfrm>
                <a:off x="3944" y="231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5" name="Freeform 2435">
                <a:extLst>
                  <a:ext uri="{FF2B5EF4-FFF2-40B4-BE49-F238E27FC236}">
                    <a16:creationId xmlns:a16="http://schemas.microsoft.com/office/drawing/2014/main" id="{71EE6FBB-4755-4DD0-A35F-A7EE6338F69F}"/>
                  </a:ext>
                </a:extLst>
              </p:cNvPr>
              <p:cNvSpPr>
                <a:spLocks/>
              </p:cNvSpPr>
              <p:nvPr/>
            </p:nvSpPr>
            <p:spPr bwMode="auto">
              <a:xfrm>
                <a:off x="3735" y="216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6" name="Freeform 2436">
                <a:extLst>
                  <a:ext uri="{FF2B5EF4-FFF2-40B4-BE49-F238E27FC236}">
                    <a16:creationId xmlns:a16="http://schemas.microsoft.com/office/drawing/2014/main" id="{CA588507-9D31-435C-8BE4-B69B865BF858}"/>
                  </a:ext>
                </a:extLst>
              </p:cNvPr>
              <p:cNvSpPr>
                <a:spLocks/>
              </p:cNvSpPr>
              <p:nvPr/>
            </p:nvSpPr>
            <p:spPr bwMode="auto">
              <a:xfrm>
                <a:off x="1786" y="216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7" name="Freeform 2437">
                <a:extLst>
                  <a:ext uri="{FF2B5EF4-FFF2-40B4-BE49-F238E27FC236}">
                    <a16:creationId xmlns:a16="http://schemas.microsoft.com/office/drawing/2014/main" id="{2FD3F33D-FDB2-485E-AAE0-3026842CE4DC}"/>
                  </a:ext>
                </a:extLst>
              </p:cNvPr>
              <p:cNvSpPr>
                <a:spLocks/>
              </p:cNvSpPr>
              <p:nvPr/>
            </p:nvSpPr>
            <p:spPr bwMode="auto">
              <a:xfrm>
                <a:off x="2056" y="2100"/>
                <a:ext cx="719" cy="690"/>
              </a:xfrm>
              <a:custGeom>
                <a:avLst/>
                <a:gdLst>
                  <a:gd name="T0" fmla="*/ 119 w 719"/>
                  <a:gd name="T1" fmla="*/ 120 h 690"/>
                  <a:gd name="T2" fmla="*/ 0 w 719"/>
                  <a:gd name="T3" fmla="*/ 30 h 690"/>
                  <a:gd name="T4" fmla="*/ 209 w 719"/>
                  <a:gd name="T5" fmla="*/ 0 h 690"/>
                  <a:gd name="T6" fmla="*/ 299 w 719"/>
                  <a:gd name="T7" fmla="*/ 120 h 690"/>
                  <a:gd name="T8" fmla="*/ 389 w 719"/>
                  <a:gd name="T9" fmla="*/ 0 h 690"/>
                  <a:gd name="T10" fmla="*/ 209 w 719"/>
                  <a:gd name="T11" fmla="*/ 0 h 690"/>
                  <a:gd name="T12" fmla="*/ 209 w 719"/>
                  <a:gd name="T13" fmla="*/ 151 h 690"/>
                  <a:gd name="T14" fmla="*/ 119 w 719"/>
                  <a:gd name="T15" fmla="*/ 120 h 690"/>
                  <a:gd name="T16" fmla="*/ 89 w 719"/>
                  <a:gd name="T17" fmla="*/ 210 h 690"/>
                  <a:gd name="T18" fmla="*/ 89 w 719"/>
                  <a:gd name="T19" fmla="*/ 450 h 690"/>
                  <a:gd name="T20" fmla="*/ 209 w 719"/>
                  <a:gd name="T21" fmla="*/ 360 h 690"/>
                  <a:gd name="T22" fmla="*/ 298 w 719"/>
                  <a:gd name="T23" fmla="*/ 452 h 690"/>
                  <a:gd name="T24" fmla="*/ 269 w 719"/>
                  <a:gd name="T25" fmla="*/ 270 h 690"/>
                  <a:gd name="T26" fmla="*/ 359 w 719"/>
                  <a:gd name="T27" fmla="*/ 210 h 690"/>
                  <a:gd name="T28" fmla="*/ 479 w 719"/>
                  <a:gd name="T29" fmla="*/ 270 h 690"/>
                  <a:gd name="T30" fmla="*/ 359 w 719"/>
                  <a:gd name="T31" fmla="*/ 330 h 690"/>
                  <a:gd name="T32" fmla="*/ 449 w 719"/>
                  <a:gd name="T33" fmla="*/ 390 h 690"/>
                  <a:gd name="T34" fmla="*/ 719 w 719"/>
                  <a:gd name="T35" fmla="*/ 360 h 690"/>
                  <a:gd name="T36" fmla="*/ 599 w 719"/>
                  <a:gd name="T37" fmla="*/ 420 h 690"/>
                  <a:gd name="T38" fmla="*/ 629 w 719"/>
                  <a:gd name="T39" fmla="*/ 690 h 690"/>
                  <a:gd name="T40" fmla="*/ 419 w 719"/>
                  <a:gd name="T41" fmla="*/ 51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69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29" y="69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8" name="Freeform 2438">
                <a:extLst>
                  <a:ext uri="{FF2B5EF4-FFF2-40B4-BE49-F238E27FC236}">
                    <a16:creationId xmlns:a16="http://schemas.microsoft.com/office/drawing/2014/main" id="{B91558CD-E0A9-4386-982E-BE41604E9235}"/>
                  </a:ext>
                </a:extLst>
              </p:cNvPr>
              <p:cNvSpPr>
                <a:spLocks/>
              </p:cNvSpPr>
              <p:nvPr/>
            </p:nvSpPr>
            <p:spPr bwMode="auto">
              <a:xfrm>
                <a:off x="1786" y="219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9" name="Freeform 2439">
                <a:extLst>
                  <a:ext uri="{FF2B5EF4-FFF2-40B4-BE49-F238E27FC236}">
                    <a16:creationId xmlns:a16="http://schemas.microsoft.com/office/drawing/2014/main" id="{573A0C5B-2924-41B5-8E33-0A91B900AA3A}"/>
                  </a:ext>
                </a:extLst>
              </p:cNvPr>
              <p:cNvSpPr>
                <a:spLocks/>
              </p:cNvSpPr>
              <p:nvPr/>
            </p:nvSpPr>
            <p:spPr bwMode="auto">
              <a:xfrm>
                <a:off x="1906" y="252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0" name="Freeform 2440">
                <a:extLst>
                  <a:ext uri="{FF2B5EF4-FFF2-40B4-BE49-F238E27FC236}">
                    <a16:creationId xmlns:a16="http://schemas.microsoft.com/office/drawing/2014/main" id="{0166560C-FB16-467E-B5E8-B1B8873B62C1}"/>
                  </a:ext>
                </a:extLst>
              </p:cNvPr>
              <p:cNvSpPr>
                <a:spLocks/>
              </p:cNvSpPr>
              <p:nvPr/>
            </p:nvSpPr>
            <p:spPr bwMode="auto">
              <a:xfrm>
                <a:off x="2056" y="540"/>
                <a:ext cx="899" cy="750"/>
              </a:xfrm>
              <a:custGeom>
                <a:avLst/>
                <a:gdLst>
                  <a:gd name="T0" fmla="*/ 299 w 899"/>
                  <a:gd name="T1" fmla="*/ 630 h 750"/>
                  <a:gd name="T2" fmla="*/ 268 w 899"/>
                  <a:gd name="T3" fmla="*/ 482 h 750"/>
                  <a:gd name="T4" fmla="*/ 179 w 899"/>
                  <a:gd name="T5" fmla="*/ 570 h 750"/>
                  <a:gd name="T6" fmla="*/ 59 w 899"/>
                  <a:gd name="T7" fmla="*/ 480 h 750"/>
                  <a:gd name="T8" fmla="*/ 0 w 899"/>
                  <a:gd name="T9" fmla="*/ 360 h 750"/>
                  <a:gd name="T10" fmla="*/ 59 w 899"/>
                  <a:gd name="T11" fmla="*/ 240 h 750"/>
                  <a:gd name="T12" fmla="*/ 179 w 899"/>
                  <a:gd name="T13" fmla="*/ 390 h 750"/>
                  <a:gd name="T14" fmla="*/ 239 w 899"/>
                  <a:gd name="T15" fmla="*/ 300 h 750"/>
                  <a:gd name="T16" fmla="*/ 329 w 899"/>
                  <a:gd name="T17" fmla="*/ 360 h 750"/>
                  <a:gd name="T18" fmla="*/ 329 w 899"/>
                  <a:gd name="T19" fmla="*/ 240 h 750"/>
                  <a:gd name="T20" fmla="*/ 179 w 899"/>
                  <a:gd name="T21" fmla="*/ 181 h 750"/>
                  <a:gd name="T22" fmla="*/ 269 w 899"/>
                  <a:gd name="T23" fmla="*/ 150 h 750"/>
                  <a:gd name="T24" fmla="*/ 389 w 899"/>
                  <a:gd name="T25" fmla="*/ 120 h 750"/>
                  <a:gd name="T26" fmla="*/ 449 w 899"/>
                  <a:gd name="T27" fmla="*/ 300 h 750"/>
                  <a:gd name="T28" fmla="*/ 539 w 899"/>
                  <a:gd name="T29" fmla="*/ 180 h 750"/>
                  <a:gd name="T30" fmla="*/ 509 w 899"/>
                  <a:gd name="T31" fmla="*/ 60 h 750"/>
                  <a:gd name="T32" fmla="*/ 359 w 899"/>
                  <a:gd name="T33" fmla="*/ 30 h 750"/>
                  <a:gd name="T34" fmla="*/ 569 w 899"/>
                  <a:gd name="T35" fmla="*/ 0 h 750"/>
                  <a:gd name="T36" fmla="*/ 689 w 899"/>
                  <a:gd name="T37" fmla="*/ 90 h 750"/>
                  <a:gd name="T38" fmla="*/ 659 w 899"/>
                  <a:gd name="T39" fmla="*/ 240 h 750"/>
                  <a:gd name="T40" fmla="*/ 749 w 899"/>
                  <a:gd name="T41" fmla="*/ 270 h 750"/>
                  <a:gd name="T42" fmla="*/ 809 w 899"/>
                  <a:gd name="T43" fmla="*/ 120 h 750"/>
                  <a:gd name="T44" fmla="*/ 899 w 899"/>
                  <a:gd name="T45" fmla="*/ 240 h 750"/>
                  <a:gd name="T46" fmla="*/ 839 w 899"/>
                  <a:gd name="T47" fmla="*/ 420 h 750"/>
                  <a:gd name="T48" fmla="*/ 779 w 899"/>
                  <a:gd name="T49" fmla="*/ 510 h 750"/>
                  <a:gd name="T50" fmla="*/ 689 w 899"/>
                  <a:gd name="T51" fmla="*/ 390 h 750"/>
                  <a:gd name="T52" fmla="*/ 539 w 899"/>
                  <a:gd name="T53" fmla="*/ 330 h 750"/>
                  <a:gd name="T54" fmla="*/ 569 w 899"/>
                  <a:gd name="T55" fmla="*/ 450 h 750"/>
                  <a:gd name="T56" fmla="*/ 419 w 899"/>
                  <a:gd name="T57" fmla="*/ 420 h 750"/>
                  <a:gd name="T58" fmla="*/ 389 w 899"/>
                  <a:gd name="T59" fmla="*/ 540 h 750"/>
                  <a:gd name="T60" fmla="*/ 509 w 899"/>
                  <a:gd name="T61" fmla="*/ 570 h 750"/>
                  <a:gd name="T62" fmla="*/ 659 w 899"/>
                  <a:gd name="T63" fmla="*/ 570 h 750"/>
                  <a:gd name="T64" fmla="*/ 659 w 899"/>
                  <a:gd name="T65"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9" h="750">
                    <a:moveTo>
                      <a:pt x="299" y="630"/>
                    </a:moveTo>
                    <a:lnTo>
                      <a:pt x="268" y="482"/>
                    </a:lnTo>
                    <a:lnTo>
                      <a:pt x="179" y="570"/>
                    </a:lnTo>
                    <a:lnTo>
                      <a:pt x="59" y="480"/>
                    </a:lnTo>
                    <a:lnTo>
                      <a:pt x="0" y="360"/>
                    </a:lnTo>
                    <a:lnTo>
                      <a:pt x="59" y="240"/>
                    </a:ln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659" y="7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1" name="Line 2441">
                <a:extLst>
                  <a:ext uri="{FF2B5EF4-FFF2-40B4-BE49-F238E27FC236}">
                    <a16:creationId xmlns:a16="http://schemas.microsoft.com/office/drawing/2014/main" id="{76370613-ECE0-438B-9E41-7B2A80686790}"/>
                  </a:ext>
                </a:extLst>
              </p:cNvPr>
              <p:cNvSpPr>
                <a:spLocks noChangeShapeType="1"/>
              </p:cNvSpPr>
              <p:nvPr/>
            </p:nvSpPr>
            <p:spPr bwMode="auto">
              <a:xfrm flipH="1">
                <a:off x="2115" y="72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2" name="Freeform 2442">
                <a:extLst>
                  <a:ext uri="{FF2B5EF4-FFF2-40B4-BE49-F238E27FC236}">
                    <a16:creationId xmlns:a16="http://schemas.microsoft.com/office/drawing/2014/main" id="{895F5B49-8323-4A1D-8DA2-4B7FB394F2D6}"/>
                  </a:ext>
                </a:extLst>
              </p:cNvPr>
              <p:cNvSpPr>
                <a:spLocks/>
              </p:cNvSpPr>
              <p:nvPr/>
            </p:nvSpPr>
            <p:spPr bwMode="auto">
              <a:xfrm>
                <a:off x="2324" y="90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3" name="Freeform 2443">
                <a:extLst>
                  <a:ext uri="{FF2B5EF4-FFF2-40B4-BE49-F238E27FC236}">
                    <a16:creationId xmlns:a16="http://schemas.microsoft.com/office/drawing/2014/main" id="{7BE49684-9551-4946-A5CD-79FD7501AC24}"/>
                  </a:ext>
                </a:extLst>
              </p:cNvPr>
              <p:cNvSpPr>
                <a:spLocks/>
              </p:cNvSpPr>
              <p:nvPr/>
            </p:nvSpPr>
            <p:spPr bwMode="auto">
              <a:xfrm>
                <a:off x="238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4" name="Line 2444">
                <a:extLst>
                  <a:ext uri="{FF2B5EF4-FFF2-40B4-BE49-F238E27FC236}">
                    <a16:creationId xmlns:a16="http://schemas.microsoft.com/office/drawing/2014/main" id="{F2F4B6D5-A37C-4248-BAD8-D4D20E312793}"/>
                  </a:ext>
                </a:extLst>
              </p:cNvPr>
              <p:cNvSpPr>
                <a:spLocks noChangeShapeType="1"/>
              </p:cNvSpPr>
              <p:nvPr/>
            </p:nvSpPr>
            <p:spPr bwMode="auto">
              <a:xfrm>
                <a:off x="244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5" name="Freeform 2445">
                <a:extLst>
                  <a:ext uri="{FF2B5EF4-FFF2-40B4-BE49-F238E27FC236}">
                    <a16:creationId xmlns:a16="http://schemas.microsoft.com/office/drawing/2014/main" id="{5E2D7571-E893-4595-AF0B-EC38EE10C72B}"/>
                  </a:ext>
                </a:extLst>
              </p:cNvPr>
              <p:cNvSpPr>
                <a:spLocks/>
              </p:cNvSpPr>
              <p:nvPr/>
            </p:nvSpPr>
            <p:spPr bwMode="auto">
              <a:xfrm>
                <a:off x="1966" y="600"/>
                <a:ext cx="599" cy="630"/>
              </a:xfrm>
              <a:custGeom>
                <a:avLst/>
                <a:gdLst>
                  <a:gd name="T0" fmla="*/ 599 w 599"/>
                  <a:gd name="T1" fmla="*/ 510 h 630"/>
                  <a:gd name="T2" fmla="*/ 389 w 599"/>
                  <a:gd name="T3" fmla="*/ 570 h 630"/>
                  <a:gd name="T4" fmla="*/ 269 w 599"/>
                  <a:gd name="T5" fmla="*/ 510 h 630"/>
                  <a:gd name="T6" fmla="*/ 90 w 599"/>
                  <a:gd name="T7" fmla="*/ 540 h 630"/>
                  <a:gd name="T8" fmla="*/ 0 w 599"/>
                  <a:gd name="T9" fmla="*/ 390 h 630"/>
                  <a:gd name="T10" fmla="*/ 0 w 599"/>
                  <a:gd name="T11" fmla="*/ 630 h 630"/>
                  <a:gd name="T12" fmla="*/ 90 w 599"/>
                  <a:gd name="T13" fmla="*/ 300 h 630"/>
                  <a:gd name="T14" fmla="*/ 0 w 599"/>
                  <a:gd name="T15" fmla="*/ 210 h 630"/>
                  <a:gd name="T16" fmla="*/ 0 w 599"/>
                  <a:gd name="T17" fmla="*/ 60 h 630"/>
                  <a:gd name="T18" fmla="*/ 60 w 599"/>
                  <a:gd name="T19" fmla="*/ 0 h 630"/>
                  <a:gd name="T20" fmla="*/ 149 w 599"/>
                  <a:gd name="T21" fmla="*/ 180 h 630"/>
                  <a:gd name="T22" fmla="*/ 329 w 599"/>
                  <a:gd name="T23" fmla="*/ 240 h 630"/>
                  <a:gd name="T24" fmla="*/ 359 w 599"/>
                  <a:gd name="T25" fmla="*/ 9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9" h="630">
                    <a:moveTo>
                      <a:pt x="599" y="510"/>
                    </a:move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6" name="Freeform 2446">
                <a:extLst>
                  <a:ext uri="{FF2B5EF4-FFF2-40B4-BE49-F238E27FC236}">
                    <a16:creationId xmlns:a16="http://schemas.microsoft.com/office/drawing/2014/main" id="{4553C180-68EE-4802-9ADB-D0D6CFFCC172}"/>
                  </a:ext>
                </a:extLst>
              </p:cNvPr>
              <p:cNvSpPr>
                <a:spLocks/>
              </p:cNvSpPr>
              <p:nvPr/>
            </p:nvSpPr>
            <p:spPr bwMode="auto">
              <a:xfrm>
                <a:off x="3015" y="54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7" name="Freeform 2447">
                <a:extLst>
                  <a:ext uri="{FF2B5EF4-FFF2-40B4-BE49-F238E27FC236}">
                    <a16:creationId xmlns:a16="http://schemas.microsoft.com/office/drawing/2014/main" id="{0A324495-4A03-44D2-B757-EDF218B12CA2}"/>
                  </a:ext>
                </a:extLst>
              </p:cNvPr>
              <p:cNvSpPr>
                <a:spLocks/>
              </p:cNvSpPr>
              <p:nvPr/>
            </p:nvSpPr>
            <p:spPr bwMode="auto">
              <a:xfrm>
                <a:off x="3075" y="69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8" name="Freeform 2448">
                <a:extLst>
                  <a:ext uri="{FF2B5EF4-FFF2-40B4-BE49-F238E27FC236}">
                    <a16:creationId xmlns:a16="http://schemas.microsoft.com/office/drawing/2014/main" id="{C2DFCD68-0841-40A1-9D08-D05DF3BE2C0E}"/>
                  </a:ext>
                </a:extLst>
              </p:cNvPr>
              <p:cNvSpPr>
                <a:spLocks/>
              </p:cNvSpPr>
              <p:nvPr/>
            </p:nvSpPr>
            <p:spPr bwMode="auto">
              <a:xfrm>
                <a:off x="2955" y="72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9" name="Freeform 2449">
                <a:extLst>
                  <a:ext uri="{FF2B5EF4-FFF2-40B4-BE49-F238E27FC236}">
                    <a16:creationId xmlns:a16="http://schemas.microsoft.com/office/drawing/2014/main" id="{DB5DBFDF-8E66-4E03-98E9-0E9EB61E6A33}"/>
                  </a:ext>
                </a:extLst>
              </p:cNvPr>
              <p:cNvSpPr>
                <a:spLocks/>
              </p:cNvSpPr>
              <p:nvPr/>
            </p:nvSpPr>
            <p:spPr bwMode="auto">
              <a:xfrm>
                <a:off x="3283" y="90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0" name="Freeform 2450">
                <a:extLst>
                  <a:ext uri="{FF2B5EF4-FFF2-40B4-BE49-F238E27FC236}">
                    <a16:creationId xmlns:a16="http://schemas.microsoft.com/office/drawing/2014/main" id="{9D349C7D-F029-4869-AA4A-79FFDE453DAC}"/>
                  </a:ext>
                </a:extLst>
              </p:cNvPr>
              <p:cNvSpPr>
                <a:spLocks/>
              </p:cNvSpPr>
              <p:nvPr/>
            </p:nvSpPr>
            <p:spPr bwMode="auto">
              <a:xfrm>
                <a:off x="334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1" name="Line 2451">
                <a:extLst>
                  <a:ext uri="{FF2B5EF4-FFF2-40B4-BE49-F238E27FC236}">
                    <a16:creationId xmlns:a16="http://schemas.microsoft.com/office/drawing/2014/main" id="{9F2934DF-EA18-4C1B-8C71-B0DC97F441E3}"/>
                  </a:ext>
                </a:extLst>
              </p:cNvPr>
              <p:cNvSpPr>
                <a:spLocks noChangeShapeType="1"/>
              </p:cNvSpPr>
              <p:nvPr/>
            </p:nvSpPr>
            <p:spPr bwMode="auto">
              <a:xfrm>
                <a:off x="340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2" name="Freeform 2452">
                <a:extLst>
                  <a:ext uri="{FF2B5EF4-FFF2-40B4-BE49-F238E27FC236}">
                    <a16:creationId xmlns:a16="http://schemas.microsoft.com/office/drawing/2014/main" id="{D66FAF28-1F72-4573-B802-57F85F0B89B0}"/>
                  </a:ext>
                </a:extLst>
              </p:cNvPr>
              <p:cNvSpPr>
                <a:spLocks/>
              </p:cNvSpPr>
              <p:nvPr/>
            </p:nvSpPr>
            <p:spPr bwMode="auto">
              <a:xfrm>
                <a:off x="3075" y="780"/>
                <a:ext cx="450" cy="390"/>
              </a:xfrm>
              <a:custGeom>
                <a:avLst/>
                <a:gdLst>
                  <a:gd name="T0" fmla="*/ 450 w 450"/>
                  <a:gd name="T1" fmla="*/ 330 h 390"/>
                  <a:gd name="T2" fmla="*/ 240 w 450"/>
                  <a:gd name="T3" fmla="*/ 390 h 390"/>
                  <a:gd name="T4" fmla="*/ 120 w 450"/>
                  <a:gd name="T5" fmla="*/ 330 h 390"/>
                  <a:gd name="T6" fmla="*/ 0 w 450"/>
                  <a:gd name="T7" fmla="*/ 0 h 390"/>
                </a:gdLst>
                <a:ahLst/>
                <a:cxnLst>
                  <a:cxn ang="0">
                    <a:pos x="T0" y="T1"/>
                  </a:cxn>
                  <a:cxn ang="0">
                    <a:pos x="T2" y="T3"/>
                  </a:cxn>
                  <a:cxn ang="0">
                    <a:pos x="T4" y="T5"/>
                  </a:cxn>
                  <a:cxn ang="0">
                    <a:pos x="T6" y="T7"/>
                  </a:cxn>
                </a:cxnLst>
                <a:rect l="0" t="0" r="r" b="b"/>
                <a:pathLst>
                  <a:path w="450" h="390">
                    <a:moveTo>
                      <a:pt x="450" y="330"/>
                    </a:moveTo>
                    <a:lnTo>
                      <a:pt x="240" y="390"/>
                    </a:lnTo>
                    <a:lnTo>
                      <a:pt x="12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3" name="Freeform 2453">
                <a:extLst>
                  <a:ext uri="{FF2B5EF4-FFF2-40B4-BE49-F238E27FC236}">
                    <a16:creationId xmlns:a16="http://schemas.microsoft.com/office/drawing/2014/main" id="{713A2AA6-D577-4743-95ED-609BDF4611B0}"/>
                  </a:ext>
                </a:extLst>
              </p:cNvPr>
              <p:cNvSpPr>
                <a:spLocks/>
              </p:cNvSpPr>
              <p:nvPr/>
            </p:nvSpPr>
            <p:spPr bwMode="auto">
              <a:xfrm>
                <a:off x="2475" y="960"/>
                <a:ext cx="570" cy="300"/>
              </a:xfrm>
              <a:custGeom>
                <a:avLst/>
                <a:gdLst>
                  <a:gd name="T0" fmla="*/ 0 w 570"/>
                  <a:gd name="T1" fmla="*/ 0 h 300"/>
                  <a:gd name="T2" fmla="*/ 240 w 570"/>
                  <a:gd name="T3" fmla="*/ 150 h 300"/>
                  <a:gd name="T4" fmla="*/ 360 w 570"/>
                  <a:gd name="T5" fmla="*/ 90 h 300"/>
                  <a:gd name="T6" fmla="*/ 450 w 570"/>
                  <a:gd name="T7" fmla="*/ 300 h 300"/>
                  <a:gd name="T8" fmla="*/ 570 w 570"/>
                  <a:gd name="T9" fmla="*/ 240 h 300"/>
                </a:gdLst>
                <a:ahLst/>
                <a:cxnLst>
                  <a:cxn ang="0">
                    <a:pos x="T0" y="T1"/>
                  </a:cxn>
                  <a:cxn ang="0">
                    <a:pos x="T2" y="T3"/>
                  </a:cxn>
                  <a:cxn ang="0">
                    <a:pos x="T4" y="T5"/>
                  </a:cxn>
                  <a:cxn ang="0">
                    <a:pos x="T6" y="T7"/>
                  </a:cxn>
                  <a:cxn ang="0">
                    <a:pos x="T8" y="T9"/>
                  </a:cxn>
                </a:cxnLst>
                <a:rect l="0" t="0" r="r" b="b"/>
                <a:pathLst>
                  <a:path w="570" h="300">
                    <a:moveTo>
                      <a:pt x="0" y="0"/>
                    </a:moveTo>
                    <a:lnTo>
                      <a:pt x="240" y="150"/>
                    </a:lnTo>
                    <a:lnTo>
                      <a:pt x="360" y="90"/>
                    </a:lnTo>
                    <a:lnTo>
                      <a:pt x="450" y="300"/>
                    </a:lnTo>
                    <a:lnTo>
                      <a:pt x="57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4" name="Line 2454">
                <a:extLst>
                  <a:ext uri="{FF2B5EF4-FFF2-40B4-BE49-F238E27FC236}">
                    <a16:creationId xmlns:a16="http://schemas.microsoft.com/office/drawing/2014/main" id="{1003D6F5-8DCE-4302-9CC0-8B34725FCC82}"/>
                  </a:ext>
                </a:extLst>
              </p:cNvPr>
              <p:cNvSpPr>
                <a:spLocks noChangeShapeType="1"/>
              </p:cNvSpPr>
              <p:nvPr/>
            </p:nvSpPr>
            <p:spPr bwMode="auto">
              <a:xfrm flipV="1">
                <a:off x="2895" y="90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5" name="Line 2455">
                <a:extLst>
                  <a:ext uri="{FF2B5EF4-FFF2-40B4-BE49-F238E27FC236}">
                    <a16:creationId xmlns:a16="http://schemas.microsoft.com/office/drawing/2014/main" id="{F169ECE3-03C2-436B-A666-72DBF907D625}"/>
                  </a:ext>
                </a:extLst>
              </p:cNvPr>
              <p:cNvSpPr>
                <a:spLocks noChangeShapeType="1"/>
              </p:cNvSpPr>
              <p:nvPr/>
            </p:nvSpPr>
            <p:spPr bwMode="auto">
              <a:xfrm>
                <a:off x="3105" y="51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6" name="Freeform 2456">
                <a:extLst>
                  <a:ext uri="{FF2B5EF4-FFF2-40B4-BE49-F238E27FC236}">
                    <a16:creationId xmlns:a16="http://schemas.microsoft.com/office/drawing/2014/main" id="{2BD811DA-F86B-444B-AE19-68CA9D30186D}"/>
                  </a:ext>
                </a:extLst>
              </p:cNvPr>
              <p:cNvSpPr>
                <a:spLocks/>
              </p:cNvSpPr>
              <p:nvPr/>
            </p:nvSpPr>
            <p:spPr bwMode="auto">
              <a:xfrm>
                <a:off x="3435" y="96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7" name="Freeform 2457">
                <a:extLst>
                  <a:ext uri="{FF2B5EF4-FFF2-40B4-BE49-F238E27FC236}">
                    <a16:creationId xmlns:a16="http://schemas.microsoft.com/office/drawing/2014/main" id="{17866BDD-F826-4580-A781-D7B3ACF0DDAE}"/>
                  </a:ext>
                </a:extLst>
              </p:cNvPr>
              <p:cNvSpPr>
                <a:spLocks/>
              </p:cNvSpPr>
              <p:nvPr/>
            </p:nvSpPr>
            <p:spPr bwMode="auto">
              <a:xfrm>
                <a:off x="3585" y="78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8" name="Line 2458">
                <a:extLst>
                  <a:ext uri="{FF2B5EF4-FFF2-40B4-BE49-F238E27FC236}">
                    <a16:creationId xmlns:a16="http://schemas.microsoft.com/office/drawing/2014/main" id="{D7BAE0ED-E354-41BB-B846-B9FAF58EE2B9}"/>
                  </a:ext>
                </a:extLst>
              </p:cNvPr>
              <p:cNvSpPr>
                <a:spLocks noChangeShapeType="1"/>
              </p:cNvSpPr>
              <p:nvPr/>
            </p:nvSpPr>
            <p:spPr bwMode="auto">
              <a:xfrm>
                <a:off x="3914" y="78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9" name="Freeform 2459">
                <a:extLst>
                  <a:ext uri="{FF2B5EF4-FFF2-40B4-BE49-F238E27FC236}">
                    <a16:creationId xmlns:a16="http://schemas.microsoft.com/office/drawing/2014/main" id="{95E915BE-13B2-4EDF-9AB1-948D826D4DF0}"/>
                  </a:ext>
                </a:extLst>
              </p:cNvPr>
              <p:cNvSpPr>
                <a:spLocks/>
              </p:cNvSpPr>
              <p:nvPr/>
            </p:nvSpPr>
            <p:spPr bwMode="auto">
              <a:xfrm>
                <a:off x="3705" y="63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0" name="Freeform 2460">
                <a:extLst>
                  <a:ext uri="{FF2B5EF4-FFF2-40B4-BE49-F238E27FC236}">
                    <a16:creationId xmlns:a16="http://schemas.microsoft.com/office/drawing/2014/main" id="{7C33F404-48FC-4A81-8935-AA68D8352A8D}"/>
                  </a:ext>
                </a:extLst>
              </p:cNvPr>
              <p:cNvSpPr>
                <a:spLocks/>
              </p:cNvSpPr>
              <p:nvPr/>
            </p:nvSpPr>
            <p:spPr bwMode="auto">
              <a:xfrm>
                <a:off x="1756" y="63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1" name="Freeform 2461">
                <a:extLst>
                  <a:ext uri="{FF2B5EF4-FFF2-40B4-BE49-F238E27FC236}">
                    <a16:creationId xmlns:a16="http://schemas.microsoft.com/office/drawing/2014/main" id="{4F06E09E-6645-4476-9372-77969A982399}"/>
                  </a:ext>
                </a:extLst>
              </p:cNvPr>
              <p:cNvSpPr>
                <a:spLocks/>
              </p:cNvSpPr>
              <p:nvPr/>
            </p:nvSpPr>
            <p:spPr bwMode="auto">
              <a:xfrm>
                <a:off x="2026" y="570"/>
                <a:ext cx="719" cy="720"/>
              </a:xfrm>
              <a:custGeom>
                <a:avLst/>
                <a:gdLst>
                  <a:gd name="T0" fmla="*/ 119 w 719"/>
                  <a:gd name="T1" fmla="*/ 120 h 720"/>
                  <a:gd name="T2" fmla="*/ 0 w 719"/>
                  <a:gd name="T3" fmla="*/ 30 h 720"/>
                  <a:gd name="T4" fmla="*/ 209 w 719"/>
                  <a:gd name="T5" fmla="*/ 0 h 720"/>
                  <a:gd name="T6" fmla="*/ 299 w 719"/>
                  <a:gd name="T7" fmla="*/ 120 h 720"/>
                  <a:gd name="T8" fmla="*/ 389 w 719"/>
                  <a:gd name="T9" fmla="*/ 0 h 720"/>
                  <a:gd name="T10" fmla="*/ 209 w 719"/>
                  <a:gd name="T11" fmla="*/ 0 h 720"/>
                  <a:gd name="T12" fmla="*/ 209 w 719"/>
                  <a:gd name="T13" fmla="*/ 151 h 720"/>
                  <a:gd name="T14" fmla="*/ 119 w 719"/>
                  <a:gd name="T15" fmla="*/ 120 h 720"/>
                  <a:gd name="T16" fmla="*/ 89 w 719"/>
                  <a:gd name="T17" fmla="*/ 210 h 720"/>
                  <a:gd name="T18" fmla="*/ 89 w 719"/>
                  <a:gd name="T19" fmla="*/ 450 h 720"/>
                  <a:gd name="T20" fmla="*/ 209 w 719"/>
                  <a:gd name="T21" fmla="*/ 360 h 720"/>
                  <a:gd name="T22" fmla="*/ 298 w 719"/>
                  <a:gd name="T23" fmla="*/ 452 h 720"/>
                  <a:gd name="T24" fmla="*/ 269 w 719"/>
                  <a:gd name="T25" fmla="*/ 270 h 720"/>
                  <a:gd name="T26" fmla="*/ 359 w 719"/>
                  <a:gd name="T27" fmla="*/ 210 h 720"/>
                  <a:gd name="T28" fmla="*/ 479 w 719"/>
                  <a:gd name="T29" fmla="*/ 270 h 720"/>
                  <a:gd name="T30" fmla="*/ 359 w 719"/>
                  <a:gd name="T31" fmla="*/ 330 h 720"/>
                  <a:gd name="T32" fmla="*/ 449 w 719"/>
                  <a:gd name="T33" fmla="*/ 390 h 720"/>
                  <a:gd name="T34" fmla="*/ 719 w 719"/>
                  <a:gd name="T35" fmla="*/ 360 h 720"/>
                  <a:gd name="T36" fmla="*/ 599 w 719"/>
                  <a:gd name="T37" fmla="*/ 420 h 720"/>
                  <a:gd name="T38" fmla="*/ 689 w 719"/>
                  <a:gd name="T39" fmla="*/ 720 h 720"/>
                  <a:gd name="T40" fmla="*/ 419 w 719"/>
                  <a:gd name="T41" fmla="*/ 51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72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89" y="72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2" name="Freeform 2462">
                <a:extLst>
                  <a:ext uri="{FF2B5EF4-FFF2-40B4-BE49-F238E27FC236}">
                    <a16:creationId xmlns:a16="http://schemas.microsoft.com/office/drawing/2014/main" id="{D964FEF9-F81E-423F-9834-B2976EF66516}"/>
                  </a:ext>
                </a:extLst>
              </p:cNvPr>
              <p:cNvSpPr>
                <a:spLocks/>
              </p:cNvSpPr>
              <p:nvPr/>
            </p:nvSpPr>
            <p:spPr bwMode="auto">
              <a:xfrm>
                <a:off x="1756" y="66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3" name="Freeform 2463">
                <a:extLst>
                  <a:ext uri="{FF2B5EF4-FFF2-40B4-BE49-F238E27FC236}">
                    <a16:creationId xmlns:a16="http://schemas.microsoft.com/office/drawing/2014/main" id="{E89C2CC8-27F5-4DCB-B1F3-87D47A24A1A8}"/>
                  </a:ext>
                </a:extLst>
              </p:cNvPr>
              <p:cNvSpPr>
                <a:spLocks/>
              </p:cNvSpPr>
              <p:nvPr/>
            </p:nvSpPr>
            <p:spPr bwMode="auto">
              <a:xfrm>
                <a:off x="1876" y="99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4" name="Freeform 2464">
                <a:extLst>
                  <a:ext uri="{FF2B5EF4-FFF2-40B4-BE49-F238E27FC236}">
                    <a16:creationId xmlns:a16="http://schemas.microsoft.com/office/drawing/2014/main" id="{2C3C3A74-6430-47A1-9257-4D36F0B4F68A}"/>
                  </a:ext>
                </a:extLst>
              </p:cNvPr>
              <p:cNvSpPr>
                <a:spLocks/>
              </p:cNvSpPr>
              <p:nvPr/>
            </p:nvSpPr>
            <p:spPr bwMode="auto">
              <a:xfrm>
                <a:off x="2355" y="1170"/>
                <a:ext cx="360" cy="120"/>
              </a:xfrm>
              <a:custGeom>
                <a:avLst/>
                <a:gdLst>
                  <a:gd name="T0" fmla="*/ 360 w 360"/>
                  <a:gd name="T1" fmla="*/ 120 h 120"/>
                  <a:gd name="T2" fmla="*/ 150 w 360"/>
                  <a:gd name="T3" fmla="*/ 30 h 120"/>
                  <a:gd name="T4" fmla="*/ 0 w 360"/>
                  <a:gd name="T5" fmla="*/ 0 h 120"/>
                </a:gdLst>
                <a:ahLst/>
                <a:cxnLst>
                  <a:cxn ang="0">
                    <a:pos x="T0" y="T1"/>
                  </a:cxn>
                  <a:cxn ang="0">
                    <a:pos x="T2" y="T3"/>
                  </a:cxn>
                  <a:cxn ang="0">
                    <a:pos x="T4" y="T5"/>
                  </a:cxn>
                </a:cxnLst>
                <a:rect l="0" t="0" r="r" b="b"/>
                <a:pathLst>
                  <a:path w="360" h="120">
                    <a:moveTo>
                      <a:pt x="360" y="120"/>
                    </a:moveTo>
                    <a:lnTo>
                      <a:pt x="15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5" name="Freeform 2465">
                <a:extLst>
                  <a:ext uri="{FF2B5EF4-FFF2-40B4-BE49-F238E27FC236}">
                    <a16:creationId xmlns:a16="http://schemas.microsoft.com/office/drawing/2014/main" id="{F84356BC-8A9C-4B75-BF64-E96EDD828356}"/>
                  </a:ext>
                </a:extLst>
              </p:cNvPr>
              <p:cNvSpPr>
                <a:spLocks/>
              </p:cNvSpPr>
              <p:nvPr/>
            </p:nvSpPr>
            <p:spPr bwMode="auto">
              <a:xfrm>
                <a:off x="2235" y="930"/>
                <a:ext cx="720" cy="360"/>
              </a:xfrm>
              <a:custGeom>
                <a:avLst/>
                <a:gdLst>
                  <a:gd name="T0" fmla="*/ 510 w 720"/>
                  <a:gd name="T1" fmla="*/ 0 h 360"/>
                  <a:gd name="T2" fmla="*/ 570 w 720"/>
                  <a:gd name="T3" fmla="*/ 300 h 360"/>
                  <a:gd name="T4" fmla="*/ 720 w 720"/>
                  <a:gd name="T5" fmla="*/ 180 h 360"/>
                  <a:gd name="T6" fmla="*/ 480 w 720"/>
                  <a:gd name="T7" fmla="*/ 180 h 360"/>
                  <a:gd name="T8" fmla="*/ 300 w 720"/>
                  <a:gd name="T9" fmla="*/ 360 h 360"/>
                  <a:gd name="T10" fmla="*/ 270 w 720"/>
                  <a:gd name="T11" fmla="*/ 270 h 360"/>
                  <a:gd name="T12" fmla="*/ 120 w 720"/>
                  <a:gd name="T13" fmla="*/ 360 h 360"/>
                  <a:gd name="T14" fmla="*/ 0 w 720"/>
                  <a:gd name="T15" fmla="*/ 301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0" h="360">
                    <a:moveTo>
                      <a:pt x="510" y="0"/>
                    </a:moveTo>
                    <a:lnTo>
                      <a:pt x="570" y="300"/>
                    </a:lnTo>
                    <a:lnTo>
                      <a:pt x="720" y="180"/>
                    </a:lnTo>
                    <a:lnTo>
                      <a:pt x="480" y="180"/>
                    </a:lnTo>
                    <a:lnTo>
                      <a:pt x="300" y="360"/>
                    </a:lnTo>
                    <a:lnTo>
                      <a:pt x="270" y="270"/>
                    </a:lnTo>
                    <a:lnTo>
                      <a:pt x="120" y="360"/>
                    </a:lnTo>
                    <a:lnTo>
                      <a:pt x="0" y="301"/>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6" name="Freeform 2466">
                <a:extLst>
                  <a:ext uri="{FF2B5EF4-FFF2-40B4-BE49-F238E27FC236}">
                    <a16:creationId xmlns:a16="http://schemas.microsoft.com/office/drawing/2014/main" id="{09AC670D-3C83-46D6-8644-E9563602AE28}"/>
                  </a:ext>
                </a:extLst>
              </p:cNvPr>
              <p:cNvSpPr>
                <a:spLocks/>
              </p:cNvSpPr>
              <p:nvPr/>
            </p:nvSpPr>
            <p:spPr bwMode="auto">
              <a:xfrm>
                <a:off x="3045" y="1200"/>
                <a:ext cx="150" cy="90"/>
              </a:xfrm>
              <a:custGeom>
                <a:avLst/>
                <a:gdLst>
                  <a:gd name="T0" fmla="*/ 150 w 150"/>
                  <a:gd name="T1" fmla="*/ 0 h 90"/>
                  <a:gd name="T2" fmla="*/ 0 w 150"/>
                  <a:gd name="T3" fmla="*/ 0 h 90"/>
                  <a:gd name="T4" fmla="*/ 120 w 150"/>
                  <a:gd name="T5" fmla="*/ 90 h 90"/>
                  <a:gd name="T6" fmla="*/ 150 w 150"/>
                  <a:gd name="T7" fmla="*/ 0 h 90"/>
                </a:gdLst>
                <a:ahLst/>
                <a:cxnLst>
                  <a:cxn ang="0">
                    <a:pos x="T0" y="T1"/>
                  </a:cxn>
                  <a:cxn ang="0">
                    <a:pos x="T2" y="T3"/>
                  </a:cxn>
                  <a:cxn ang="0">
                    <a:pos x="T4" y="T5"/>
                  </a:cxn>
                  <a:cxn ang="0">
                    <a:pos x="T6" y="T7"/>
                  </a:cxn>
                </a:cxnLst>
                <a:rect l="0" t="0" r="r" b="b"/>
                <a:pathLst>
                  <a:path w="150" h="90">
                    <a:moveTo>
                      <a:pt x="150" y="0"/>
                    </a:moveTo>
                    <a:lnTo>
                      <a:pt x="0" y="0"/>
                    </a:lnTo>
                    <a:lnTo>
                      <a:pt x="120" y="90"/>
                    </a:lnTo>
                    <a:lnTo>
                      <a:pt x="15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7" name="Freeform 2467">
                <a:extLst>
                  <a:ext uri="{FF2B5EF4-FFF2-40B4-BE49-F238E27FC236}">
                    <a16:creationId xmlns:a16="http://schemas.microsoft.com/office/drawing/2014/main" id="{C9D5DC36-C906-48EA-A1D9-08411D6EB02C}"/>
                  </a:ext>
                </a:extLst>
              </p:cNvPr>
              <p:cNvSpPr>
                <a:spLocks/>
              </p:cNvSpPr>
              <p:nvPr/>
            </p:nvSpPr>
            <p:spPr bwMode="auto">
              <a:xfrm>
                <a:off x="1696" y="480"/>
                <a:ext cx="390" cy="360"/>
              </a:xfrm>
              <a:custGeom>
                <a:avLst/>
                <a:gdLst>
                  <a:gd name="T0" fmla="*/ 180 w 390"/>
                  <a:gd name="T1" fmla="*/ 360 h 360"/>
                  <a:gd name="T2" fmla="*/ 150 w 390"/>
                  <a:gd name="T3" fmla="*/ 150 h 360"/>
                  <a:gd name="T4" fmla="*/ 30 w 390"/>
                  <a:gd name="T5" fmla="*/ 0 h 360"/>
                  <a:gd name="T6" fmla="*/ 330 w 390"/>
                  <a:gd name="T7" fmla="*/ 120 h 360"/>
                  <a:gd name="T8" fmla="*/ 390 w 390"/>
                  <a:gd name="T9" fmla="*/ 0 h 360"/>
                  <a:gd name="T10" fmla="*/ 210 w 390"/>
                  <a:gd name="T11" fmla="*/ 30 h 360"/>
                  <a:gd name="T12" fmla="*/ 0 w 390"/>
                  <a:gd name="T13" fmla="*/ 180 h 360"/>
                  <a:gd name="T14" fmla="*/ 270 w 390"/>
                  <a:gd name="T15" fmla="*/ 33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360">
                    <a:moveTo>
                      <a:pt x="180" y="360"/>
                    </a:moveTo>
                    <a:lnTo>
                      <a:pt x="150" y="150"/>
                    </a:lnTo>
                    <a:lnTo>
                      <a:pt x="30" y="0"/>
                    </a:lnTo>
                    <a:lnTo>
                      <a:pt x="330" y="120"/>
                    </a:lnTo>
                    <a:lnTo>
                      <a:pt x="390" y="0"/>
                    </a:lnTo>
                    <a:lnTo>
                      <a:pt x="210" y="30"/>
                    </a:lnTo>
                    <a:lnTo>
                      <a:pt x="0" y="180"/>
                    </a:lnTo>
                    <a:lnTo>
                      <a:pt x="27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8" name="Line 2468">
                <a:extLst>
                  <a:ext uri="{FF2B5EF4-FFF2-40B4-BE49-F238E27FC236}">
                    <a16:creationId xmlns:a16="http://schemas.microsoft.com/office/drawing/2014/main" id="{23861CE1-07DA-45F5-A30A-C7341AED5B0E}"/>
                  </a:ext>
                </a:extLst>
              </p:cNvPr>
              <p:cNvSpPr>
                <a:spLocks noChangeShapeType="1"/>
              </p:cNvSpPr>
              <p:nvPr/>
            </p:nvSpPr>
            <p:spPr bwMode="auto">
              <a:xfrm flipV="1">
                <a:off x="1846" y="510"/>
                <a:ext cx="6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9" name="Freeform 2469">
                <a:extLst>
                  <a:ext uri="{FF2B5EF4-FFF2-40B4-BE49-F238E27FC236}">
                    <a16:creationId xmlns:a16="http://schemas.microsoft.com/office/drawing/2014/main" id="{B8AA8559-0C4D-410D-9312-8F1EC9D2836C}"/>
                  </a:ext>
                </a:extLst>
              </p:cNvPr>
              <p:cNvSpPr>
                <a:spLocks/>
              </p:cNvSpPr>
              <p:nvPr/>
            </p:nvSpPr>
            <p:spPr bwMode="auto">
              <a:xfrm>
                <a:off x="2086" y="450"/>
                <a:ext cx="239" cy="120"/>
              </a:xfrm>
              <a:custGeom>
                <a:avLst/>
                <a:gdLst>
                  <a:gd name="T0" fmla="*/ 239 w 239"/>
                  <a:gd name="T1" fmla="*/ 0 h 120"/>
                  <a:gd name="T2" fmla="*/ 0 w 239"/>
                  <a:gd name="T3" fmla="*/ 30 h 120"/>
                  <a:gd name="T4" fmla="*/ 149 w 239"/>
                  <a:gd name="T5" fmla="*/ 120 h 120"/>
                  <a:gd name="T6" fmla="*/ 239 w 239"/>
                  <a:gd name="T7" fmla="*/ 0 h 120"/>
                </a:gdLst>
                <a:ahLst/>
                <a:cxnLst>
                  <a:cxn ang="0">
                    <a:pos x="T0" y="T1"/>
                  </a:cxn>
                  <a:cxn ang="0">
                    <a:pos x="T2" y="T3"/>
                  </a:cxn>
                  <a:cxn ang="0">
                    <a:pos x="T4" y="T5"/>
                  </a:cxn>
                  <a:cxn ang="0">
                    <a:pos x="T6" y="T7"/>
                  </a:cxn>
                </a:cxnLst>
                <a:rect l="0" t="0" r="r" b="b"/>
                <a:pathLst>
                  <a:path w="239" h="120">
                    <a:moveTo>
                      <a:pt x="239" y="0"/>
                    </a:moveTo>
                    <a:lnTo>
                      <a:pt x="0" y="30"/>
                    </a:lnTo>
                    <a:lnTo>
                      <a:pt x="149" y="120"/>
                    </a:lnTo>
                    <a:lnTo>
                      <a:pt x="239"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0" name="Line 2470">
                <a:extLst>
                  <a:ext uri="{FF2B5EF4-FFF2-40B4-BE49-F238E27FC236}">
                    <a16:creationId xmlns:a16="http://schemas.microsoft.com/office/drawing/2014/main" id="{84639A92-18F0-4461-A0EC-9D331ABDD113}"/>
                  </a:ext>
                </a:extLst>
              </p:cNvPr>
              <p:cNvSpPr>
                <a:spLocks noChangeShapeType="1"/>
              </p:cNvSpPr>
              <p:nvPr/>
            </p:nvSpPr>
            <p:spPr bwMode="auto">
              <a:xfrm>
                <a:off x="2625" y="540"/>
                <a:ext cx="18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1" name="Freeform 2471">
                <a:extLst>
                  <a:ext uri="{FF2B5EF4-FFF2-40B4-BE49-F238E27FC236}">
                    <a16:creationId xmlns:a16="http://schemas.microsoft.com/office/drawing/2014/main" id="{75ED376B-1A53-4616-AC0F-40F15E050553}"/>
                  </a:ext>
                </a:extLst>
              </p:cNvPr>
              <p:cNvSpPr>
                <a:spLocks/>
              </p:cNvSpPr>
              <p:nvPr/>
            </p:nvSpPr>
            <p:spPr bwMode="auto">
              <a:xfrm>
                <a:off x="2805" y="450"/>
                <a:ext cx="300" cy="330"/>
              </a:xfrm>
              <a:custGeom>
                <a:avLst/>
                <a:gdLst>
                  <a:gd name="T0" fmla="*/ 90 w 300"/>
                  <a:gd name="T1" fmla="*/ 0 h 330"/>
                  <a:gd name="T2" fmla="*/ 180 w 300"/>
                  <a:gd name="T3" fmla="*/ 90 h 330"/>
                  <a:gd name="T4" fmla="*/ 0 w 300"/>
                  <a:gd name="T5" fmla="*/ 90 h 330"/>
                  <a:gd name="T6" fmla="*/ 60 w 300"/>
                  <a:gd name="T7" fmla="*/ 210 h 330"/>
                  <a:gd name="T8" fmla="*/ 180 w 300"/>
                  <a:gd name="T9" fmla="*/ 90 h 330"/>
                  <a:gd name="T10" fmla="*/ 300 w 300"/>
                  <a:gd name="T11" fmla="*/ 240 h 330"/>
                  <a:gd name="T12" fmla="*/ 150 w 300"/>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300" h="330">
                    <a:moveTo>
                      <a:pt x="90" y="0"/>
                    </a:moveTo>
                    <a:lnTo>
                      <a:pt x="180" y="90"/>
                    </a:lnTo>
                    <a:lnTo>
                      <a:pt x="0" y="90"/>
                    </a:lnTo>
                    <a:lnTo>
                      <a:pt x="60" y="210"/>
                    </a:lnTo>
                    <a:lnTo>
                      <a:pt x="180" y="90"/>
                    </a:lnTo>
                    <a:lnTo>
                      <a:pt x="300" y="240"/>
                    </a:lnTo>
                    <a:lnTo>
                      <a:pt x="15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2" name="Freeform 2472">
                <a:extLst>
                  <a:ext uri="{FF2B5EF4-FFF2-40B4-BE49-F238E27FC236}">
                    <a16:creationId xmlns:a16="http://schemas.microsoft.com/office/drawing/2014/main" id="{0743B6F9-61F6-4832-B874-ED6154B95804}"/>
                  </a:ext>
                </a:extLst>
              </p:cNvPr>
              <p:cNvSpPr>
                <a:spLocks/>
              </p:cNvSpPr>
              <p:nvPr/>
            </p:nvSpPr>
            <p:spPr bwMode="auto">
              <a:xfrm>
                <a:off x="3195" y="480"/>
                <a:ext cx="180" cy="90"/>
              </a:xfrm>
              <a:custGeom>
                <a:avLst/>
                <a:gdLst>
                  <a:gd name="T0" fmla="*/ 0 w 180"/>
                  <a:gd name="T1" fmla="*/ 90 h 90"/>
                  <a:gd name="T2" fmla="*/ 90 w 180"/>
                  <a:gd name="T3" fmla="*/ 0 h 90"/>
                  <a:gd name="T4" fmla="*/ 180 w 180"/>
                  <a:gd name="T5" fmla="*/ 90 h 90"/>
                </a:gdLst>
                <a:ahLst/>
                <a:cxnLst>
                  <a:cxn ang="0">
                    <a:pos x="T0" y="T1"/>
                  </a:cxn>
                  <a:cxn ang="0">
                    <a:pos x="T2" y="T3"/>
                  </a:cxn>
                  <a:cxn ang="0">
                    <a:pos x="T4" y="T5"/>
                  </a:cxn>
                </a:cxnLst>
                <a:rect l="0" t="0" r="r" b="b"/>
                <a:pathLst>
                  <a:path w="180" h="90">
                    <a:moveTo>
                      <a:pt x="0" y="90"/>
                    </a:moveTo>
                    <a:lnTo>
                      <a:pt x="9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3" name="Freeform 2473">
                <a:extLst>
                  <a:ext uri="{FF2B5EF4-FFF2-40B4-BE49-F238E27FC236}">
                    <a16:creationId xmlns:a16="http://schemas.microsoft.com/office/drawing/2014/main" id="{94E8A7B4-BCC2-49B2-A716-4CABFA68F7EB}"/>
                  </a:ext>
                </a:extLst>
              </p:cNvPr>
              <p:cNvSpPr>
                <a:spLocks/>
              </p:cNvSpPr>
              <p:nvPr/>
            </p:nvSpPr>
            <p:spPr bwMode="auto">
              <a:xfrm>
                <a:off x="3675" y="450"/>
                <a:ext cx="269" cy="210"/>
              </a:xfrm>
              <a:custGeom>
                <a:avLst/>
                <a:gdLst>
                  <a:gd name="T0" fmla="*/ 119 w 269"/>
                  <a:gd name="T1" fmla="*/ 60 h 210"/>
                  <a:gd name="T2" fmla="*/ 269 w 269"/>
                  <a:gd name="T3" fmla="*/ 30 h 210"/>
                  <a:gd name="T4" fmla="*/ 149 w 269"/>
                  <a:gd name="T5" fmla="*/ 210 h 210"/>
                  <a:gd name="T6" fmla="*/ 0 w 269"/>
                  <a:gd name="T7" fmla="*/ 0 h 210"/>
                  <a:gd name="T8" fmla="*/ 30 w 269"/>
                  <a:gd name="T9" fmla="*/ 180 h 210"/>
                </a:gdLst>
                <a:ahLst/>
                <a:cxnLst>
                  <a:cxn ang="0">
                    <a:pos x="T0" y="T1"/>
                  </a:cxn>
                  <a:cxn ang="0">
                    <a:pos x="T2" y="T3"/>
                  </a:cxn>
                  <a:cxn ang="0">
                    <a:pos x="T4" y="T5"/>
                  </a:cxn>
                  <a:cxn ang="0">
                    <a:pos x="T6" y="T7"/>
                  </a:cxn>
                  <a:cxn ang="0">
                    <a:pos x="T8" y="T9"/>
                  </a:cxn>
                </a:cxnLst>
                <a:rect l="0" t="0" r="r" b="b"/>
                <a:pathLst>
                  <a:path w="269" h="210">
                    <a:moveTo>
                      <a:pt x="119" y="60"/>
                    </a:moveTo>
                    <a:lnTo>
                      <a:pt x="269" y="30"/>
                    </a:lnTo>
                    <a:lnTo>
                      <a:pt x="149" y="210"/>
                    </a:lnTo>
                    <a:lnTo>
                      <a:pt x="0" y="0"/>
                    </a:lnTo>
                    <a:lnTo>
                      <a:pt x="3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4" name="Freeform 2474">
                <a:extLst>
                  <a:ext uri="{FF2B5EF4-FFF2-40B4-BE49-F238E27FC236}">
                    <a16:creationId xmlns:a16="http://schemas.microsoft.com/office/drawing/2014/main" id="{1EAD95B7-1971-44E4-A61D-B118C65E42C2}"/>
                  </a:ext>
                </a:extLst>
              </p:cNvPr>
              <p:cNvSpPr>
                <a:spLocks/>
              </p:cNvSpPr>
              <p:nvPr/>
            </p:nvSpPr>
            <p:spPr bwMode="auto">
              <a:xfrm>
                <a:off x="1756"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5" name="Freeform 2475">
                <a:extLst>
                  <a:ext uri="{FF2B5EF4-FFF2-40B4-BE49-F238E27FC236}">
                    <a16:creationId xmlns:a16="http://schemas.microsoft.com/office/drawing/2014/main" id="{60AA235A-9D0C-4156-999D-14EF4A834C31}"/>
                  </a:ext>
                </a:extLst>
              </p:cNvPr>
              <p:cNvSpPr>
                <a:spLocks/>
              </p:cNvSpPr>
              <p:nvPr/>
            </p:nvSpPr>
            <p:spPr bwMode="auto">
              <a:xfrm>
                <a:off x="1936"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6" name="Freeform 2476">
                <a:extLst>
                  <a:ext uri="{FF2B5EF4-FFF2-40B4-BE49-F238E27FC236}">
                    <a16:creationId xmlns:a16="http://schemas.microsoft.com/office/drawing/2014/main" id="{C0BCDFAC-7DCF-4ABC-923B-A90577F76AAE}"/>
                  </a:ext>
                </a:extLst>
              </p:cNvPr>
              <p:cNvSpPr>
                <a:spLocks/>
              </p:cNvSpPr>
              <p:nvPr/>
            </p:nvSpPr>
            <p:spPr bwMode="auto">
              <a:xfrm>
                <a:off x="1876" y="1740"/>
                <a:ext cx="479" cy="270"/>
              </a:xfrm>
              <a:custGeom>
                <a:avLst/>
                <a:gdLst>
                  <a:gd name="T0" fmla="*/ 0 w 479"/>
                  <a:gd name="T1" fmla="*/ 90 h 270"/>
                  <a:gd name="T2" fmla="*/ 180 w 479"/>
                  <a:gd name="T3" fmla="*/ 30 h 270"/>
                  <a:gd name="T4" fmla="*/ 299 w 479"/>
                  <a:gd name="T5" fmla="*/ 150 h 270"/>
                  <a:gd name="T6" fmla="*/ 210 w 479"/>
                  <a:gd name="T7" fmla="*/ 270 h 270"/>
                  <a:gd name="T8" fmla="*/ 30 w 479"/>
                  <a:gd name="T9" fmla="*/ 270 h 270"/>
                  <a:gd name="T10" fmla="*/ 0 w 479"/>
                  <a:gd name="T11" fmla="*/ 90 h 270"/>
                  <a:gd name="T12" fmla="*/ 150 w 479"/>
                  <a:gd name="T13" fmla="*/ 150 h 270"/>
                  <a:gd name="T14" fmla="*/ 299 w 479"/>
                  <a:gd name="T15" fmla="*/ 0 h 270"/>
                  <a:gd name="T16" fmla="*/ 479 w 479"/>
                  <a:gd name="T17" fmla="*/ 210 h 270"/>
                  <a:gd name="T18" fmla="*/ 419 w 479"/>
                  <a:gd name="T19" fmla="*/ 6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70">
                    <a:moveTo>
                      <a:pt x="0" y="90"/>
                    </a:moveTo>
                    <a:lnTo>
                      <a:pt x="180" y="30"/>
                    </a:lnTo>
                    <a:lnTo>
                      <a:pt x="299" y="150"/>
                    </a:lnTo>
                    <a:lnTo>
                      <a:pt x="210" y="270"/>
                    </a:lnTo>
                    <a:lnTo>
                      <a:pt x="30" y="270"/>
                    </a:lnTo>
                    <a:lnTo>
                      <a:pt x="0" y="90"/>
                    </a:lnTo>
                    <a:lnTo>
                      <a:pt x="150" y="150"/>
                    </a:lnTo>
                    <a:lnTo>
                      <a:pt x="299" y="0"/>
                    </a:lnTo>
                    <a:lnTo>
                      <a:pt x="479" y="210"/>
                    </a:lnTo>
                    <a:lnTo>
                      <a:pt x="41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7" name="Freeform 2477">
                <a:extLst>
                  <a:ext uri="{FF2B5EF4-FFF2-40B4-BE49-F238E27FC236}">
                    <a16:creationId xmlns:a16="http://schemas.microsoft.com/office/drawing/2014/main" id="{DC1A453D-82B9-40A0-BC00-A4B18D6994EE}"/>
                  </a:ext>
                </a:extLst>
              </p:cNvPr>
              <p:cNvSpPr>
                <a:spLocks/>
              </p:cNvSpPr>
              <p:nvPr/>
            </p:nvSpPr>
            <p:spPr bwMode="auto">
              <a:xfrm>
                <a:off x="2026"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8" name="Freeform 2478">
                <a:extLst>
                  <a:ext uri="{FF2B5EF4-FFF2-40B4-BE49-F238E27FC236}">
                    <a16:creationId xmlns:a16="http://schemas.microsoft.com/office/drawing/2014/main" id="{C5C9BE9E-8939-44FD-8F7E-58531792F8AC}"/>
                  </a:ext>
                </a:extLst>
              </p:cNvPr>
              <p:cNvSpPr>
                <a:spLocks/>
              </p:cNvSpPr>
              <p:nvPr/>
            </p:nvSpPr>
            <p:spPr bwMode="auto">
              <a:xfrm>
                <a:off x="3405"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9" name="Freeform 2479">
                <a:extLst>
                  <a:ext uri="{FF2B5EF4-FFF2-40B4-BE49-F238E27FC236}">
                    <a16:creationId xmlns:a16="http://schemas.microsoft.com/office/drawing/2014/main" id="{AF40A776-8C12-4894-B737-D857E612BDFD}"/>
                  </a:ext>
                </a:extLst>
              </p:cNvPr>
              <p:cNvSpPr>
                <a:spLocks/>
              </p:cNvSpPr>
              <p:nvPr/>
            </p:nvSpPr>
            <p:spPr bwMode="auto">
              <a:xfrm>
                <a:off x="3405" y="1290"/>
                <a:ext cx="300" cy="540"/>
              </a:xfrm>
              <a:custGeom>
                <a:avLst/>
                <a:gdLst>
                  <a:gd name="T0" fmla="*/ 0 w 300"/>
                  <a:gd name="T1" fmla="*/ 390 h 540"/>
                  <a:gd name="T2" fmla="*/ 180 w 300"/>
                  <a:gd name="T3" fmla="*/ 240 h 540"/>
                  <a:gd name="T4" fmla="*/ 0 w 300"/>
                  <a:gd name="T5" fmla="*/ 150 h 540"/>
                  <a:gd name="T6" fmla="*/ 120 w 300"/>
                  <a:gd name="T7" fmla="*/ 120 h 540"/>
                  <a:gd name="T8" fmla="*/ 300 w 300"/>
                  <a:gd name="T9" fmla="*/ 180 h 540"/>
                  <a:gd name="T10" fmla="*/ 270 w 300"/>
                  <a:gd name="T11" fmla="*/ 30 h 540"/>
                  <a:gd name="T12" fmla="*/ 120 w 300"/>
                  <a:gd name="T13" fmla="*/ 120 h 540"/>
                  <a:gd name="T14" fmla="*/ 30 w 300"/>
                  <a:gd name="T15" fmla="*/ 0 h 540"/>
                  <a:gd name="T16" fmla="*/ 0 w 300"/>
                  <a:gd name="T17" fmla="*/ 150 h 540"/>
                  <a:gd name="T18" fmla="*/ 30 w 300"/>
                  <a:gd name="T19" fmla="*/ 300 h 540"/>
                  <a:gd name="T20" fmla="*/ 0 w 300"/>
                  <a:gd name="T21" fmla="*/ 390 h 540"/>
                  <a:gd name="T22" fmla="*/ 120 w 300"/>
                  <a:gd name="T23"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0" h="540">
                    <a:moveTo>
                      <a:pt x="0" y="390"/>
                    </a:moveTo>
                    <a:lnTo>
                      <a:pt x="180" y="240"/>
                    </a:lnTo>
                    <a:lnTo>
                      <a:pt x="0" y="150"/>
                    </a:lnTo>
                    <a:lnTo>
                      <a:pt x="120" y="120"/>
                    </a:lnTo>
                    <a:lnTo>
                      <a:pt x="300" y="180"/>
                    </a:lnTo>
                    <a:lnTo>
                      <a:pt x="270" y="30"/>
                    </a:lnTo>
                    <a:lnTo>
                      <a:pt x="120" y="120"/>
                    </a:lnTo>
                    <a:lnTo>
                      <a:pt x="30" y="0"/>
                    </a:lnTo>
                    <a:lnTo>
                      <a:pt x="0" y="150"/>
                    </a:lnTo>
                    <a:lnTo>
                      <a:pt x="30" y="300"/>
                    </a:lnTo>
                    <a:lnTo>
                      <a:pt x="0" y="390"/>
                    </a:lnTo>
                    <a:lnTo>
                      <a:pt x="12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0" name="Freeform 2480">
                <a:extLst>
                  <a:ext uri="{FF2B5EF4-FFF2-40B4-BE49-F238E27FC236}">
                    <a16:creationId xmlns:a16="http://schemas.microsoft.com/office/drawing/2014/main" id="{4DD5B54F-E616-4E46-A620-470F599A2165}"/>
                  </a:ext>
                </a:extLst>
              </p:cNvPr>
              <p:cNvSpPr>
                <a:spLocks/>
              </p:cNvSpPr>
              <p:nvPr/>
            </p:nvSpPr>
            <p:spPr bwMode="auto">
              <a:xfrm>
                <a:off x="3585"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1" name="Freeform 2481">
                <a:extLst>
                  <a:ext uri="{FF2B5EF4-FFF2-40B4-BE49-F238E27FC236}">
                    <a16:creationId xmlns:a16="http://schemas.microsoft.com/office/drawing/2014/main" id="{C9F22C8D-A87B-4390-B633-F187B06F1325}"/>
                  </a:ext>
                </a:extLst>
              </p:cNvPr>
              <p:cNvSpPr>
                <a:spLocks/>
              </p:cNvSpPr>
              <p:nvPr/>
            </p:nvSpPr>
            <p:spPr bwMode="auto">
              <a:xfrm>
                <a:off x="3405" y="1320"/>
                <a:ext cx="599" cy="750"/>
              </a:xfrm>
              <a:custGeom>
                <a:avLst/>
                <a:gdLst>
                  <a:gd name="T0" fmla="*/ 300 w 599"/>
                  <a:gd name="T1" fmla="*/ 150 h 750"/>
                  <a:gd name="T2" fmla="*/ 479 w 599"/>
                  <a:gd name="T3" fmla="*/ 210 h 750"/>
                  <a:gd name="T4" fmla="*/ 479 w 599"/>
                  <a:gd name="T5" fmla="*/ 60 h 750"/>
                  <a:gd name="T6" fmla="*/ 359 w 599"/>
                  <a:gd name="T7" fmla="*/ 300 h 750"/>
                  <a:gd name="T8" fmla="*/ 419 w 599"/>
                  <a:gd name="T9" fmla="*/ 420 h 750"/>
                  <a:gd name="T10" fmla="*/ 539 w 599"/>
                  <a:gd name="T11" fmla="*/ 480 h 750"/>
                  <a:gd name="T12" fmla="*/ 479 w 599"/>
                  <a:gd name="T13" fmla="*/ 210 h 750"/>
                  <a:gd name="T14" fmla="*/ 419 w 599"/>
                  <a:gd name="T15" fmla="*/ 420 h 750"/>
                  <a:gd name="T16" fmla="*/ 419 w 599"/>
                  <a:gd name="T17" fmla="*/ 570 h 750"/>
                  <a:gd name="T18" fmla="*/ 599 w 599"/>
                  <a:gd name="T19" fmla="*/ 630 h 750"/>
                  <a:gd name="T20" fmla="*/ 300 w 599"/>
                  <a:gd name="T21" fmla="*/ 660 h 750"/>
                  <a:gd name="T22" fmla="*/ 270 w 599"/>
                  <a:gd name="T23" fmla="*/ 570 h 750"/>
                  <a:gd name="T24" fmla="*/ 210 w 599"/>
                  <a:gd name="T25" fmla="*/ 750 h 750"/>
                  <a:gd name="T26" fmla="*/ 0 w 599"/>
                  <a:gd name="T27" fmla="*/ 600 h 750"/>
                  <a:gd name="T28" fmla="*/ 120 w 599"/>
                  <a:gd name="T29" fmla="*/ 510 h 750"/>
                  <a:gd name="T30" fmla="*/ 180 w 599"/>
                  <a:gd name="T31" fmla="*/ 360 h 750"/>
                  <a:gd name="T32" fmla="*/ 300 w 599"/>
                  <a:gd name="T33" fmla="*/ 450 h 750"/>
                  <a:gd name="T34" fmla="*/ 359 w 599"/>
                  <a:gd name="T35" fmla="*/ 300 h 750"/>
                  <a:gd name="T36" fmla="*/ 180 w 599"/>
                  <a:gd name="T37" fmla="*/ 210 h 750"/>
                  <a:gd name="T38" fmla="*/ 300 w 599"/>
                  <a:gd name="T39" fmla="*/ 150 h 750"/>
                  <a:gd name="T40" fmla="*/ 389 w 599"/>
                  <a:gd name="T41" fmla="*/ 90 h 750"/>
                  <a:gd name="T42" fmla="*/ 270 w 599"/>
                  <a:gd name="T43" fmla="*/ 0 h 750"/>
                  <a:gd name="T44" fmla="*/ 479 w 599"/>
                  <a:gd name="T45" fmla="*/ 6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9" h="750">
                    <a:moveTo>
                      <a:pt x="300" y="150"/>
                    </a:moveTo>
                    <a:lnTo>
                      <a:pt x="479" y="210"/>
                    </a:lnTo>
                    <a:lnTo>
                      <a:pt x="479" y="60"/>
                    </a:lnTo>
                    <a:lnTo>
                      <a:pt x="359" y="300"/>
                    </a:lnTo>
                    <a:lnTo>
                      <a:pt x="419" y="420"/>
                    </a:lnTo>
                    <a:lnTo>
                      <a:pt x="539" y="480"/>
                    </a:lnTo>
                    <a:lnTo>
                      <a:pt x="479" y="210"/>
                    </a:lnTo>
                    <a:lnTo>
                      <a:pt x="419" y="420"/>
                    </a:lnTo>
                    <a:lnTo>
                      <a:pt x="419" y="570"/>
                    </a:lnTo>
                    <a:lnTo>
                      <a:pt x="599" y="630"/>
                    </a:lnTo>
                    <a:lnTo>
                      <a:pt x="300" y="660"/>
                    </a:lnTo>
                    <a:lnTo>
                      <a:pt x="270" y="570"/>
                    </a:lnTo>
                    <a:lnTo>
                      <a:pt x="210" y="750"/>
                    </a:lnTo>
                    <a:lnTo>
                      <a:pt x="0" y="600"/>
                    </a:lnTo>
                    <a:lnTo>
                      <a:pt x="120" y="510"/>
                    </a:lnTo>
                    <a:lnTo>
                      <a:pt x="180" y="360"/>
                    </a:lnTo>
                    <a:lnTo>
                      <a:pt x="300" y="450"/>
                    </a:lnTo>
                    <a:lnTo>
                      <a:pt x="359" y="300"/>
                    </a:lnTo>
                    <a:lnTo>
                      <a:pt x="180" y="210"/>
                    </a:lnTo>
                    <a:lnTo>
                      <a:pt x="300" y="150"/>
                    </a:lnTo>
                    <a:lnTo>
                      <a:pt x="389" y="90"/>
                    </a:lnTo>
                    <a:lnTo>
                      <a:pt x="270" y="0"/>
                    </a:lnTo>
                    <a:lnTo>
                      <a:pt x="47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2" name="Freeform 2482">
                <a:extLst>
                  <a:ext uri="{FF2B5EF4-FFF2-40B4-BE49-F238E27FC236}">
                    <a16:creationId xmlns:a16="http://schemas.microsoft.com/office/drawing/2014/main" id="{5613EFEC-0AF9-43C8-8EC5-1A255B44B7A5}"/>
                  </a:ext>
                </a:extLst>
              </p:cNvPr>
              <p:cNvSpPr>
                <a:spLocks/>
              </p:cNvSpPr>
              <p:nvPr/>
            </p:nvSpPr>
            <p:spPr bwMode="auto">
              <a:xfrm>
                <a:off x="3525" y="1770"/>
                <a:ext cx="299" cy="210"/>
              </a:xfrm>
              <a:custGeom>
                <a:avLst/>
                <a:gdLst>
                  <a:gd name="T0" fmla="*/ 0 w 299"/>
                  <a:gd name="T1" fmla="*/ 60 h 210"/>
                  <a:gd name="T2" fmla="*/ 180 w 299"/>
                  <a:gd name="T3" fmla="*/ 0 h 210"/>
                  <a:gd name="T4" fmla="*/ 299 w 299"/>
                  <a:gd name="T5" fmla="*/ 120 h 210"/>
                  <a:gd name="T6" fmla="*/ 180 w 299"/>
                  <a:gd name="T7" fmla="*/ 210 h 210"/>
                </a:gdLst>
                <a:ahLst/>
                <a:cxnLst>
                  <a:cxn ang="0">
                    <a:pos x="T0" y="T1"/>
                  </a:cxn>
                  <a:cxn ang="0">
                    <a:pos x="T2" y="T3"/>
                  </a:cxn>
                  <a:cxn ang="0">
                    <a:pos x="T4" y="T5"/>
                  </a:cxn>
                  <a:cxn ang="0">
                    <a:pos x="T6" y="T7"/>
                  </a:cxn>
                </a:cxnLst>
                <a:rect l="0" t="0" r="r" b="b"/>
                <a:pathLst>
                  <a:path w="299" h="210">
                    <a:moveTo>
                      <a:pt x="0" y="60"/>
                    </a:moveTo>
                    <a:lnTo>
                      <a:pt x="180" y="0"/>
                    </a:lnTo>
                    <a:lnTo>
                      <a:pt x="299" y="120"/>
                    </a:lnTo>
                    <a:lnTo>
                      <a:pt x="18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3" name="Freeform 2483">
                <a:extLst>
                  <a:ext uri="{FF2B5EF4-FFF2-40B4-BE49-F238E27FC236}">
                    <a16:creationId xmlns:a16="http://schemas.microsoft.com/office/drawing/2014/main" id="{4025AFD1-FDEA-41C4-9BBE-803C5D561BC7}"/>
                  </a:ext>
                </a:extLst>
              </p:cNvPr>
              <p:cNvSpPr>
                <a:spLocks/>
              </p:cNvSpPr>
              <p:nvPr/>
            </p:nvSpPr>
            <p:spPr bwMode="auto">
              <a:xfrm>
                <a:off x="3675"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4" name="Line 2484">
                <a:extLst>
                  <a:ext uri="{FF2B5EF4-FFF2-40B4-BE49-F238E27FC236}">
                    <a16:creationId xmlns:a16="http://schemas.microsoft.com/office/drawing/2014/main" id="{F50C1218-B7CE-4096-93EA-BB7CDBD06D37}"/>
                  </a:ext>
                </a:extLst>
              </p:cNvPr>
              <p:cNvSpPr>
                <a:spLocks noChangeShapeType="1"/>
              </p:cNvSpPr>
              <p:nvPr/>
            </p:nvSpPr>
            <p:spPr bwMode="auto">
              <a:xfrm flipV="1">
                <a:off x="1786" y="1233"/>
                <a:ext cx="181" cy="5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5" name="Line 2485">
                <a:extLst>
                  <a:ext uri="{FF2B5EF4-FFF2-40B4-BE49-F238E27FC236}">
                    <a16:creationId xmlns:a16="http://schemas.microsoft.com/office/drawing/2014/main" id="{29498FD5-D19A-4448-82F6-01A47C40E3F0}"/>
                  </a:ext>
                </a:extLst>
              </p:cNvPr>
              <p:cNvSpPr>
                <a:spLocks noChangeShapeType="1"/>
              </p:cNvSpPr>
              <p:nvPr/>
            </p:nvSpPr>
            <p:spPr bwMode="auto">
              <a:xfrm flipH="1">
                <a:off x="1936" y="1233"/>
                <a:ext cx="31"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6" name="Freeform 2486">
                <a:extLst>
                  <a:ext uri="{FF2B5EF4-FFF2-40B4-BE49-F238E27FC236}">
                    <a16:creationId xmlns:a16="http://schemas.microsoft.com/office/drawing/2014/main" id="{8D252641-B7EB-474B-BEB0-675411EFF610}"/>
                  </a:ext>
                </a:extLst>
              </p:cNvPr>
              <p:cNvSpPr>
                <a:spLocks/>
              </p:cNvSpPr>
              <p:nvPr/>
            </p:nvSpPr>
            <p:spPr bwMode="auto">
              <a:xfrm>
                <a:off x="2235" y="1231"/>
                <a:ext cx="210" cy="302"/>
              </a:xfrm>
              <a:custGeom>
                <a:avLst/>
                <a:gdLst>
                  <a:gd name="T0" fmla="*/ 0 w 210"/>
                  <a:gd name="T1" fmla="*/ 0 h 302"/>
                  <a:gd name="T2" fmla="*/ 180 w 210"/>
                  <a:gd name="T3" fmla="*/ 269 h 302"/>
                  <a:gd name="T4" fmla="*/ 2 w 210"/>
                  <a:gd name="T5" fmla="*/ 302 h 302"/>
                  <a:gd name="T6" fmla="*/ 210 w 210"/>
                  <a:gd name="T7" fmla="*/ 179 h 302"/>
                </a:gdLst>
                <a:ahLst/>
                <a:cxnLst>
                  <a:cxn ang="0">
                    <a:pos x="T0" y="T1"/>
                  </a:cxn>
                  <a:cxn ang="0">
                    <a:pos x="T2" y="T3"/>
                  </a:cxn>
                  <a:cxn ang="0">
                    <a:pos x="T4" y="T5"/>
                  </a:cxn>
                  <a:cxn ang="0">
                    <a:pos x="T6" y="T7"/>
                  </a:cxn>
                </a:cxnLst>
                <a:rect l="0" t="0" r="r" b="b"/>
                <a:pathLst>
                  <a:path w="210" h="302">
                    <a:moveTo>
                      <a:pt x="0" y="0"/>
                    </a:moveTo>
                    <a:lnTo>
                      <a:pt x="180" y="269"/>
                    </a:lnTo>
                    <a:lnTo>
                      <a:pt x="2" y="302"/>
                    </a:lnTo>
                    <a:lnTo>
                      <a:pt x="210" y="17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7" name="Line 2487">
                <a:extLst>
                  <a:ext uri="{FF2B5EF4-FFF2-40B4-BE49-F238E27FC236}">
                    <a16:creationId xmlns:a16="http://schemas.microsoft.com/office/drawing/2014/main" id="{3EDAACCA-3F15-4879-A06C-972F04B3FE64}"/>
                  </a:ext>
                </a:extLst>
              </p:cNvPr>
              <p:cNvSpPr>
                <a:spLocks noChangeShapeType="1"/>
              </p:cNvSpPr>
              <p:nvPr/>
            </p:nvSpPr>
            <p:spPr bwMode="auto">
              <a:xfrm>
                <a:off x="2235" y="1380"/>
                <a:ext cx="21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8" name="Freeform 2488">
                <a:extLst>
                  <a:ext uri="{FF2B5EF4-FFF2-40B4-BE49-F238E27FC236}">
                    <a16:creationId xmlns:a16="http://schemas.microsoft.com/office/drawing/2014/main" id="{1B934879-B002-4B9C-AAA2-D47C7DB7A246}"/>
                  </a:ext>
                </a:extLst>
              </p:cNvPr>
              <p:cNvSpPr>
                <a:spLocks/>
              </p:cNvSpPr>
              <p:nvPr/>
            </p:nvSpPr>
            <p:spPr bwMode="auto">
              <a:xfrm>
                <a:off x="1756" y="1140"/>
                <a:ext cx="599" cy="870"/>
              </a:xfrm>
              <a:custGeom>
                <a:avLst/>
                <a:gdLst>
                  <a:gd name="T0" fmla="*/ 300 w 599"/>
                  <a:gd name="T1" fmla="*/ 0 h 870"/>
                  <a:gd name="T2" fmla="*/ 479 w 599"/>
                  <a:gd name="T3" fmla="*/ 91 h 870"/>
                  <a:gd name="T4" fmla="*/ 300 w 599"/>
                  <a:gd name="T5" fmla="*/ 330 h 870"/>
                  <a:gd name="T6" fmla="*/ 479 w 599"/>
                  <a:gd name="T7" fmla="*/ 390 h 870"/>
                  <a:gd name="T8" fmla="*/ 479 w 599"/>
                  <a:gd name="T9" fmla="*/ 240 h 870"/>
                  <a:gd name="T10" fmla="*/ 359 w 599"/>
                  <a:gd name="T11" fmla="*/ 480 h 870"/>
                  <a:gd name="T12" fmla="*/ 419 w 599"/>
                  <a:gd name="T13" fmla="*/ 600 h 870"/>
                  <a:gd name="T14" fmla="*/ 539 w 599"/>
                  <a:gd name="T15" fmla="*/ 660 h 870"/>
                  <a:gd name="T16" fmla="*/ 479 w 599"/>
                  <a:gd name="T17" fmla="*/ 390 h 870"/>
                  <a:gd name="T18" fmla="*/ 419 w 599"/>
                  <a:gd name="T19" fmla="*/ 600 h 870"/>
                  <a:gd name="T20" fmla="*/ 419 w 599"/>
                  <a:gd name="T21" fmla="*/ 750 h 870"/>
                  <a:gd name="T22" fmla="*/ 599 w 599"/>
                  <a:gd name="T23" fmla="*/ 810 h 870"/>
                  <a:gd name="T24" fmla="*/ 330 w 599"/>
                  <a:gd name="T25" fmla="*/ 870 h 870"/>
                  <a:gd name="T26" fmla="*/ 270 w 599"/>
                  <a:gd name="T27" fmla="*/ 750 h 870"/>
                  <a:gd name="T28" fmla="*/ 150 w 599"/>
                  <a:gd name="T29" fmla="*/ 870 h 870"/>
                  <a:gd name="T30" fmla="*/ 0 w 599"/>
                  <a:gd name="T31" fmla="*/ 780 h 870"/>
                  <a:gd name="T32" fmla="*/ 120 w 599"/>
                  <a:gd name="T33" fmla="*/ 690 h 870"/>
                  <a:gd name="T34" fmla="*/ 180 w 599"/>
                  <a:gd name="T35" fmla="*/ 540 h 870"/>
                  <a:gd name="T36" fmla="*/ 300 w 599"/>
                  <a:gd name="T37" fmla="*/ 630 h 870"/>
                  <a:gd name="T38" fmla="*/ 359 w 599"/>
                  <a:gd name="T39" fmla="*/ 480 h 870"/>
                  <a:gd name="T40" fmla="*/ 180 w 599"/>
                  <a:gd name="T41" fmla="*/ 390 h 870"/>
                  <a:gd name="T42" fmla="*/ 300 w 599"/>
                  <a:gd name="T43" fmla="*/ 330 h 870"/>
                  <a:gd name="T44" fmla="*/ 389 w 599"/>
                  <a:gd name="T45" fmla="*/ 270 h 870"/>
                  <a:gd name="T46" fmla="*/ 270 w 599"/>
                  <a:gd name="T47" fmla="*/ 180 h 870"/>
                  <a:gd name="T48" fmla="*/ 479 w 599"/>
                  <a:gd name="T49" fmla="*/ 240 h 870"/>
                  <a:gd name="T50" fmla="*/ 479 w 599"/>
                  <a:gd name="T51" fmla="*/ 90 h 870"/>
                  <a:gd name="T52" fmla="*/ 210 w 599"/>
                  <a:gd name="T53" fmla="*/ 9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9" h="870">
                    <a:moveTo>
                      <a:pt x="300" y="0"/>
                    </a:moveTo>
                    <a:lnTo>
                      <a:pt x="479" y="91"/>
                    </a:lnTo>
                    <a:lnTo>
                      <a:pt x="300" y="330"/>
                    </a:lnTo>
                    <a:lnTo>
                      <a:pt x="479" y="390"/>
                    </a:lnTo>
                    <a:lnTo>
                      <a:pt x="479" y="240"/>
                    </a:lnTo>
                    <a:lnTo>
                      <a:pt x="359" y="480"/>
                    </a:lnTo>
                    <a:lnTo>
                      <a:pt x="419" y="600"/>
                    </a:lnTo>
                    <a:lnTo>
                      <a:pt x="539" y="660"/>
                    </a:lnTo>
                    <a:lnTo>
                      <a:pt x="479" y="390"/>
                    </a:lnTo>
                    <a:lnTo>
                      <a:pt x="419" y="600"/>
                    </a:lnTo>
                    <a:lnTo>
                      <a:pt x="419" y="750"/>
                    </a:lnTo>
                    <a:lnTo>
                      <a:pt x="599" y="810"/>
                    </a:lnTo>
                    <a:lnTo>
                      <a:pt x="330" y="870"/>
                    </a:lnTo>
                    <a:lnTo>
                      <a:pt x="270" y="750"/>
                    </a:lnTo>
                    <a:lnTo>
                      <a:pt x="150" y="870"/>
                    </a:lnTo>
                    <a:lnTo>
                      <a:pt x="0" y="780"/>
                    </a:lnTo>
                    <a:lnTo>
                      <a:pt x="120" y="690"/>
                    </a:lnTo>
                    <a:lnTo>
                      <a:pt x="180" y="540"/>
                    </a:lnTo>
                    <a:lnTo>
                      <a:pt x="300" y="630"/>
                    </a:lnTo>
                    <a:lnTo>
                      <a:pt x="359" y="480"/>
                    </a:lnTo>
                    <a:lnTo>
                      <a:pt x="180" y="390"/>
                    </a:lnTo>
                    <a:lnTo>
                      <a:pt x="300" y="330"/>
                    </a:lnTo>
                    <a:lnTo>
                      <a:pt x="389" y="270"/>
                    </a:lnTo>
                    <a:lnTo>
                      <a:pt x="270" y="180"/>
                    </a:lnTo>
                    <a:lnTo>
                      <a:pt x="479" y="240"/>
                    </a:lnTo>
                    <a:lnTo>
                      <a:pt x="479" y="9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9" name="Line 2489">
                <a:extLst>
                  <a:ext uri="{FF2B5EF4-FFF2-40B4-BE49-F238E27FC236}">
                    <a16:creationId xmlns:a16="http://schemas.microsoft.com/office/drawing/2014/main" id="{FC3FB400-A566-49E4-BE74-2BDD17371E6D}"/>
                  </a:ext>
                </a:extLst>
              </p:cNvPr>
              <p:cNvSpPr>
                <a:spLocks noChangeShapeType="1"/>
              </p:cNvSpPr>
              <p:nvPr/>
            </p:nvSpPr>
            <p:spPr bwMode="auto">
              <a:xfrm flipV="1">
                <a:off x="2026" y="1110"/>
                <a:ext cx="209"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0" name="Freeform 2490">
                <a:extLst>
                  <a:ext uri="{FF2B5EF4-FFF2-40B4-BE49-F238E27FC236}">
                    <a16:creationId xmlns:a16="http://schemas.microsoft.com/office/drawing/2014/main" id="{9CAD7A00-CE14-401F-9563-F317D9B8C9ED}"/>
                  </a:ext>
                </a:extLst>
              </p:cNvPr>
              <p:cNvSpPr>
                <a:spLocks/>
              </p:cNvSpPr>
              <p:nvPr/>
            </p:nvSpPr>
            <p:spPr bwMode="auto">
              <a:xfrm>
                <a:off x="1276" y="1290"/>
                <a:ext cx="780" cy="1080"/>
              </a:xfrm>
              <a:custGeom>
                <a:avLst/>
                <a:gdLst>
                  <a:gd name="T0" fmla="*/ 630 w 780"/>
                  <a:gd name="T1" fmla="*/ 1080 h 1080"/>
                  <a:gd name="T2" fmla="*/ 600 w 780"/>
                  <a:gd name="T3" fmla="*/ 870 h 1080"/>
                  <a:gd name="T4" fmla="*/ 480 w 780"/>
                  <a:gd name="T5" fmla="*/ 630 h 1080"/>
                  <a:gd name="T6" fmla="*/ 390 w 780"/>
                  <a:gd name="T7" fmla="*/ 720 h 1080"/>
                  <a:gd name="T8" fmla="*/ 270 w 780"/>
                  <a:gd name="T9" fmla="*/ 870 h 1080"/>
                  <a:gd name="T10" fmla="*/ 180 w 780"/>
                  <a:gd name="T11" fmla="*/ 750 h 1080"/>
                  <a:gd name="T12" fmla="*/ 210 w 780"/>
                  <a:gd name="T13" fmla="*/ 600 h 1080"/>
                  <a:gd name="T14" fmla="*/ 90 w 780"/>
                  <a:gd name="T15" fmla="*/ 660 h 1080"/>
                  <a:gd name="T16" fmla="*/ 0 w 780"/>
                  <a:gd name="T17" fmla="*/ 870 h 1080"/>
                  <a:gd name="T18" fmla="*/ 60 w 780"/>
                  <a:gd name="T19" fmla="*/ 510 h 1080"/>
                  <a:gd name="T20" fmla="*/ 0 w 780"/>
                  <a:gd name="T21" fmla="*/ 420 h 1080"/>
                  <a:gd name="T22" fmla="*/ 120 w 780"/>
                  <a:gd name="T23" fmla="*/ 330 h 1080"/>
                  <a:gd name="T24" fmla="*/ 300 w 780"/>
                  <a:gd name="T25" fmla="*/ 390 h 1080"/>
                  <a:gd name="T26" fmla="*/ 330 w 780"/>
                  <a:gd name="T27" fmla="*/ 510 h 1080"/>
                  <a:gd name="T28" fmla="*/ 480 w 780"/>
                  <a:gd name="T29" fmla="*/ 390 h 1080"/>
                  <a:gd name="T30" fmla="*/ 660 w 780"/>
                  <a:gd name="T31" fmla="*/ 240 h 1080"/>
                  <a:gd name="T32" fmla="*/ 480 w 780"/>
                  <a:gd name="T33" fmla="*/ 150 h 1080"/>
                  <a:gd name="T34" fmla="*/ 600 w 780"/>
                  <a:gd name="T35" fmla="*/ 120 h 1080"/>
                  <a:gd name="T36" fmla="*/ 780 w 780"/>
                  <a:gd name="T37" fmla="*/ 180 h 1080"/>
                  <a:gd name="T38" fmla="*/ 750 w 780"/>
                  <a:gd name="T39" fmla="*/ 30 h 1080"/>
                  <a:gd name="T40" fmla="*/ 600 w 780"/>
                  <a:gd name="T41" fmla="*/ 120 h 1080"/>
                  <a:gd name="T42" fmla="*/ 510 w 780"/>
                  <a:gd name="T43" fmla="*/ 0 h 1080"/>
                  <a:gd name="T44" fmla="*/ 480 w 780"/>
                  <a:gd name="T45" fmla="*/ 150 h 1080"/>
                  <a:gd name="T46" fmla="*/ 510 w 780"/>
                  <a:gd name="T47" fmla="*/ 300 h 1080"/>
                  <a:gd name="T48" fmla="*/ 480 w 780"/>
                  <a:gd name="T49" fmla="*/ 390 h 1080"/>
                  <a:gd name="T50" fmla="*/ 600 w 780"/>
                  <a:gd name="T51" fmla="*/ 54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1080">
                    <a:moveTo>
                      <a:pt x="630" y="1080"/>
                    </a:moveTo>
                    <a:lnTo>
                      <a:pt x="600" y="870"/>
                    </a:lnTo>
                    <a:lnTo>
                      <a:pt x="480" y="630"/>
                    </a:lnTo>
                    <a:lnTo>
                      <a:pt x="390" y="720"/>
                    </a:lnTo>
                    <a:lnTo>
                      <a:pt x="270" y="870"/>
                    </a:lnTo>
                    <a:lnTo>
                      <a:pt x="180" y="750"/>
                    </a:lnTo>
                    <a:lnTo>
                      <a:pt x="210" y="600"/>
                    </a:lnTo>
                    <a:lnTo>
                      <a:pt x="90" y="660"/>
                    </a:lnTo>
                    <a:lnTo>
                      <a:pt x="0" y="870"/>
                    </a:lnTo>
                    <a:lnTo>
                      <a:pt x="60" y="510"/>
                    </a:lnTo>
                    <a:lnTo>
                      <a:pt x="0" y="420"/>
                    </a:lnTo>
                    <a:lnTo>
                      <a:pt x="120" y="330"/>
                    </a:lnTo>
                    <a:lnTo>
                      <a:pt x="300" y="390"/>
                    </a:lnTo>
                    <a:lnTo>
                      <a:pt x="330" y="510"/>
                    </a:lnTo>
                    <a:lnTo>
                      <a:pt x="480" y="390"/>
                    </a:lnTo>
                    <a:lnTo>
                      <a:pt x="660" y="240"/>
                    </a:lnTo>
                    <a:lnTo>
                      <a:pt x="480" y="150"/>
                    </a:lnTo>
                    <a:lnTo>
                      <a:pt x="600" y="120"/>
                    </a:lnTo>
                    <a:lnTo>
                      <a:pt x="780" y="180"/>
                    </a:lnTo>
                    <a:lnTo>
                      <a:pt x="750" y="30"/>
                    </a:lnTo>
                    <a:lnTo>
                      <a:pt x="600" y="120"/>
                    </a:lnTo>
                    <a:lnTo>
                      <a:pt x="510" y="0"/>
                    </a:lnTo>
                    <a:lnTo>
                      <a:pt x="480" y="150"/>
                    </a:lnTo>
                    <a:lnTo>
                      <a:pt x="510" y="300"/>
                    </a:lnTo>
                    <a:lnTo>
                      <a:pt x="480" y="390"/>
                    </a:lnTo>
                    <a:lnTo>
                      <a:pt x="60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1" name="Line 2491">
                <a:extLst>
                  <a:ext uri="{FF2B5EF4-FFF2-40B4-BE49-F238E27FC236}">
                    <a16:creationId xmlns:a16="http://schemas.microsoft.com/office/drawing/2014/main" id="{7D2160CE-42FA-4708-B3BE-0233DD9E7957}"/>
                  </a:ext>
                </a:extLst>
              </p:cNvPr>
              <p:cNvSpPr>
                <a:spLocks noChangeShapeType="1"/>
              </p:cNvSpPr>
              <p:nvPr/>
            </p:nvSpPr>
            <p:spPr bwMode="auto">
              <a:xfrm>
                <a:off x="1909" y="2013"/>
                <a:ext cx="87" cy="17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2" name="Freeform 2492">
                <a:extLst>
                  <a:ext uri="{FF2B5EF4-FFF2-40B4-BE49-F238E27FC236}">
                    <a16:creationId xmlns:a16="http://schemas.microsoft.com/office/drawing/2014/main" id="{E9C3941D-722D-4F02-BD6C-E119D1B937D9}"/>
                  </a:ext>
                </a:extLst>
              </p:cNvPr>
              <p:cNvSpPr>
                <a:spLocks/>
              </p:cNvSpPr>
              <p:nvPr/>
            </p:nvSpPr>
            <p:spPr bwMode="auto">
              <a:xfrm>
                <a:off x="1876" y="1890"/>
                <a:ext cx="210" cy="270"/>
              </a:xfrm>
              <a:custGeom>
                <a:avLst/>
                <a:gdLst>
                  <a:gd name="T0" fmla="*/ 210 w 210"/>
                  <a:gd name="T1" fmla="*/ 120 h 270"/>
                  <a:gd name="T2" fmla="*/ 0 w 210"/>
                  <a:gd name="T3" fmla="*/ 270 h 270"/>
                  <a:gd name="T4" fmla="*/ 150 w 210"/>
                  <a:gd name="T5" fmla="*/ 0 h 270"/>
                </a:gdLst>
                <a:ahLst/>
                <a:cxnLst>
                  <a:cxn ang="0">
                    <a:pos x="T0" y="T1"/>
                  </a:cxn>
                  <a:cxn ang="0">
                    <a:pos x="T2" y="T3"/>
                  </a:cxn>
                  <a:cxn ang="0">
                    <a:pos x="T4" y="T5"/>
                  </a:cxn>
                </a:cxnLst>
                <a:rect l="0" t="0" r="r" b="b"/>
                <a:pathLst>
                  <a:path w="210" h="270">
                    <a:moveTo>
                      <a:pt x="210" y="120"/>
                    </a:moveTo>
                    <a:lnTo>
                      <a:pt x="0" y="27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3" name="Freeform 2493">
                <a:extLst>
                  <a:ext uri="{FF2B5EF4-FFF2-40B4-BE49-F238E27FC236}">
                    <a16:creationId xmlns:a16="http://schemas.microsoft.com/office/drawing/2014/main" id="{FEE6FE55-0F11-48C2-88DE-46CFD1D4F526}"/>
                  </a:ext>
                </a:extLst>
              </p:cNvPr>
              <p:cNvSpPr>
                <a:spLocks/>
              </p:cNvSpPr>
              <p:nvPr/>
            </p:nvSpPr>
            <p:spPr bwMode="auto">
              <a:xfrm>
                <a:off x="2175" y="1620"/>
                <a:ext cx="360" cy="483"/>
              </a:xfrm>
              <a:custGeom>
                <a:avLst/>
                <a:gdLst>
                  <a:gd name="T0" fmla="*/ 0 w 432"/>
                  <a:gd name="T1" fmla="*/ 146 h 579"/>
                  <a:gd name="T2" fmla="*/ 216 w 432"/>
                  <a:gd name="T3" fmla="*/ 0 h 579"/>
                  <a:gd name="T4" fmla="*/ 144 w 432"/>
                  <a:gd name="T5" fmla="*/ 216 h 579"/>
                  <a:gd name="T6" fmla="*/ 360 w 432"/>
                  <a:gd name="T7" fmla="*/ 252 h 579"/>
                  <a:gd name="T8" fmla="*/ 324 w 432"/>
                  <a:gd name="T9" fmla="*/ 578 h 579"/>
                  <a:gd name="T10" fmla="*/ 432 w 432"/>
                  <a:gd name="T11" fmla="*/ 432 h 579"/>
                  <a:gd name="T12" fmla="*/ 220 w 432"/>
                  <a:gd name="T13" fmla="*/ 399 h 579"/>
                  <a:gd name="T14" fmla="*/ 112 w 432"/>
                  <a:gd name="T15" fmla="*/ 579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579">
                    <a:moveTo>
                      <a:pt x="0" y="146"/>
                    </a:moveTo>
                    <a:cubicBezTo>
                      <a:pt x="216" y="0"/>
                      <a:pt x="216" y="0"/>
                      <a:pt x="216" y="0"/>
                    </a:cubicBezTo>
                    <a:cubicBezTo>
                      <a:pt x="144" y="216"/>
                      <a:pt x="144" y="216"/>
                      <a:pt x="144" y="216"/>
                    </a:cubicBezTo>
                    <a:cubicBezTo>
                      <a:pt x="360" y="252"/>
                      <a:pt x="360" y="252"/>
                      <a:pt x="360" y="252"/>
                    </a:cubicBezTo>
                    <a:cubicBezTo>
                      <a:pt x="324" y="578"/>
                      <a:pt x="324" y="578"/>
                      <a:pt x="324" y="578"/>
                    </a:cubicBezTo>
                    <a:cubicBezTo>
                      <a:pt x="432" y="432"/>
                      <a:pt x="432" y="432"/>
                      <a:pt x="432" y="432"/>
                    </a:cubicBezTo>
                    <a:cubicBezTo>
                      <a:pt x="220" y="399"/>
                      <a:pt x="220" y="399"/>
                      <a:pt x="220" y="399"/>
                    </a:cubicBezTo>
                    <a:cubicBezTo>
                      <a:pt x="220" y="399"/>
                      <a:pt x="108" y="576"/>
                      <a:pt x="112" y="579"/>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4" name="Freeform 2494">
                <a:extLst>
                  <a:ext uri="{FF2B5EF4-FFF2-40B4-BE49-F238E27FC236}">
                    <a16:creationId xmlns:a16="http://schemas.microsoft.com/office/drawing/2014/main" id="{B253C7C7-8D13-4D64-BC07-7C3D0D4BAA7A}"/>
                  </a:ext>
                </a:extLst>
              </p:cNvPr>
              <p:cNvSpPr>
                <a:spLocks/>
              </p:cNvSpPr>
              <p:nvPr/>
            </p:nvSpPr>
            <p:spPr bwMode="auto">
              <a:xfrm>
                <a:off x="2175" y="1800"/>
                <a:ext cx="120" cy="303"/>
              </a:xfrm>
              <a:custGeom>
                <a:avLst/>
                <a:gdLst>
                  <a:gd name="T0" fmla="*/ 0 w 120"/>
                  <a:gd name="T1" fmla="*/ 90 h 303"/>
                  <a:gd name="T2" fmla="*/ 120 w 120"/>
                  <a:gd name="T3" fmla="*/ 0 h 303"/>
                  <a:gd name="T4" fmla="*/ 94 w 120"/>
                  <a:gd name="T5" fmla="*/ 303 h 303"/>
                </a:gdLst>
                <a:ahLst/>
                <a:cxnLst>
                  <a:cxn ang="0">
                    <a:pos x="T0" y="T1"/>
                  </a:cxn>
                  <a:cxn ang="0">
                    <a:pos x="T2" y="T3"/>
                  </a:cxn>
                  <a:cxn ang="0">
                    <a:pos x="T4" y="T5"/>
                  </a:cxn>
                </a:cxnLst>
                <a:rect l="0" t="0" r="r" b="b"/>
                <a:pathLst>
                  <a:path w="120" h="303">
                    <a:moveTo>
                      <a:pt x="0" y="90"/>
                    </a:moveTo>
                    <a:lnTo>
                      <a:pt x="120" y="0"/>
                    </a:lnTo>
                    <a:lnTo>
                      <a:pt x="94" y="30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5" name="Freeform 2495">
                <a:extLst>
                  <a:ext uri="{FF2B5EF4-FFF2-40B4-BE49-F238E27FC236}">
                    <a16:creationId xmlns:a16="http://schemas.microsoft.com/office/drawing/2014/main" id="{7E9A8E32-B886-405B-A354-7F636DF62E62}"/>
                  </a:ext>
                </a:extLst>
              </p:cNvPr>
              <p:cNvSpPr>
                <a:spLocks/>
              </p:cNvSpPr>
              <p:nvPr/>
            </p:nvSpPr>
            <p:spPr bwMode="auto">
              <a:xfrm>
                <a:off x="2625" y="1922"/>
                <a:ext cx="1110" cy="868"/>
              </a:xfrm>
              <a:custGeom>
                <a:avLst/>
                <a:gdLst>
                  <a:gd name="T0" fmla="*/ 240 w 1110"/>
                  <a:gd name="T1" fmla="*/ 0 h 868"/>
                  <a:gd name="T2" fmla="*/ 210 w 1110"/>
                  <a:gd name="T3" fmla="*/ 148 h 868"/>
                  <a:gd name="T4" fmla="*/ 150 w 1110"/>
                  <a:gd name="T5" fmla="*/ 238 h 868"/>
                  <a:gd name="T6" fmla="*/ 0 w 1110"/>
                  <a:gd name="T7" fmla="*/ 328 h 868"/>
                  <a:gd name="T8" fmla="*/ 0 w 1110"/>
                  <a:gd name="T9" fmla="*/ 478 h 868"/>
                  <a:gd name="T10" fmla="*/ 120 w 1110"/>
                  <a:gd name="T11" fmla="*/ 388 h 868"/>
                  <a:gd name="T12" fmla="*/ 270 w 1110"/>
                  <a:gd name="T13" fmla="*/ 268 h 868"/>
                  <a:gd name="T14" fmla="*/ 510 w 1110"/>
                  <a:gd name="T15" fmla="*/ 118 h 868"/>
                  <a:gd name="T16" fmla="*/ 600 w 1110"/>
                  <a:gd name="T17" fmla="*/ 178 h 868"/>
                  <a:gd name="T18" fmla="*/ 690 w 1110"/>
                  <a:gd name="T19" fmla="*/ 298 h 868"/>
                  <a:gd name="T20" fmla="*/ 780 w 1110"/>
                  <a:gd name="T21" fmla="*/ 178 h 868"/>
                  <a:gd name="T22" fmla="*/ 600 w 1110"/>
                  <a:gd name="T23" fmla="*/ 178 h 868"/>
                  <a:gd name="T24" fmla="*/ 600 w 1110"/>
                  <a:gd name="T25" fmla="*/ 329 h 868"/>
                  <a:gd name="T26" fmla="*/ 510 w 1110"/>
                  <a:gd name="T27" fmla="*/ 298 h 868"/>
                  <a:gd name="T28" fmla="*/ 480 w 1110"/>
                  <a:gd name="T29" fmla="*/ 388 h 868"/>
                  <a:gd name="T30" fmla="*/ 480 w 1110"/>
                  <a:gd name="T31" fmla="*/ 628 h 868"/>
                  <a:gd name="T32" fmla="*/ 600 w 1110"/>
                  <a:gd name="T33" fmla="*/ 538 h 868"/>
                  <a:gd name="T34" fmla="*/ 688 w 1110"/>
                  <a:gd name="T35" fmla="*/ 630 h 868"/>
                  <a:gd name="T36" fmla="*/ 660 w 1110"/>
                  <a:gd name="T37" fmla="*/ 448 h 868"/>
                  <a:gd name="T38" fmla="*/ 750 w 1110"/>
                  <a:gd name="T39" fmla="*/ 388 h 868"/>
                  <a:gd name="T40" fmla="*/ 870 w 1110"/>
                  <a:gd name="T41" fmla="*/ 448 h 868"/>
                  <a:gd name="T42" fmla="*/ 750 w 1110"/>
                  <a:gd name="T43" fmla="*/ 508 h 868"/>
                  <a:gd name="T44" fmla="*/ 840 w 1110"/>
                  <a:gd name="T45" fmla="*/ 568 h 868"/>
                  <a:gd name="T46" fmla="*/ 1110 w 1110"/>
                  <a:gd name="T47" fmla="*/ 538 h 868"/>
                  <a:gd name="T48" fmla="*/ 990 w 1110"/>
                  <a:gd name="T49" fmla="*/ 598 h 868"/>
                  <a:gd name="T50" fmla="*/ 1020 w 1110"/>
                  <a:gd name="T51" fmla="*/ 868 h 868"/>
                  <a:gd name="T52" fmla="*/ 810 w 1110"/>
                  <a:gd name="T53" fmla="*/ 68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0" h="868">
                    <a:moveTo>
                      <a:pt x="240" y="0"/>
                    </a:moveTo>
                    <a:lnTo>
                      <a:pt x="210" y="148"/>
                    </a:lnTo>
                    <a:lnTo>
                      <a:pt x="150" y="238"/>
                    </a:lnTo>
                    <a:lnTo>
                      <a:pt x="0" y="328"/>
                    </a:lnTo>
                    <a:lnTo>
                      <a:pt x="0" y="478"/>
                    </a:lnTo>
                    <a:lnTo>
                      <a:pt x="120" y="388"/>
                    </a:lnTo>
                    <a:lnTo>
                      <a:pt x="270" y="268"/>
                    </a:lnTo>
                    <a:lnTo>
                      <a:pt x="510" y="118"/>
                    </a:lnTo>
                    <a:lnTo>
                      <a:pt x="600" y="178"/>
                    </a:lnTo>
                    <a:lnTo>
                      <a:pt x="690" y="298"/>
                    </a:lnTo>
                    <a:lnTo>
                      <a:pt x="780" y="178"/>
                    </a:lnTo>
                    <a:lnTo>
                      <a:pt x="600" y="178"/>
                    </a:lnTo>
                    <a:lnTo>
                      <a:pt x="600" y="329"/>
                    </a:lnTo>
                    <a:lnTo>
                      <a:pt x="510" y="298"/>
                    </a:lnTo>
                    <a:lnTo>
                      <a:pt x="480" y="388"/>
                    </a:lnTo>
                    <a:lnTo>
                      <a:pt x="480" y="628"/>
                    </a:lnTo>
                    <a:lnTo>
                      <a:pt x="600" y="538"/>
                    </a:lnTo>
                    <a:lnTo>
                      <a:pt x="688" y="630"/>
                    </a:lnTo>
                    <a:lnTo>
                      <a:pt x="660" y="448"/>
                    </a:lnTo>
                    <a:lnTo>
                      <a:pt x="750" y="388"/>
                    </a:lnTo>
                    <a:lnTo>
                      <a:pt x="870" y="448"/>
                    </a:lnTo>
                    <a:lnTo>
                      <a:pt x="750" y="508"/>
                    </a:lnTo>
                    <a:lnTo>
                      <a:pt x="840" y="568"/>
                    </a:lnTo>
                    <a:lnTo>
                      <a:pt x="1110" y="538"/>
                    </a:lnTo>
                    <a:lnTo>
                      <a:pt x="990" y="598"/>
                    </a:lnTo>
                    <a:lnTo>
                      <a:pt x="1020" y="868"/>
                    </a:lnTo>
                    <a:lnTo>
                      <a:pt x="810" y="6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6" name="Line 2496">
                <a:extLst>
                  <a:ext uri="{FF2B5EF4-FFF2-40B4-BE49-F238E27FC236}">
                    <a16:creationId xmlns:a16="http://schemas.microsoft.com/office/drawing/2014/main" id="{D903B177-8453-4D9D-905D-4FDBA39BCE34}"/>
                  </a:ext>
                </a:extLst>
              </p:cNvPr>
              <p:cNvSpPr>
                <a:spLocks noChangeShapeType="1"/>
              </p:cNvSpPr>
              <p:nvPr/>
            </p:nvSpPr>
            <p:spPr bwMode="auto">
              <a:xfrm flipV="1">
                <a:off x="2835" y="195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7" name="Line 2497">
                <a:extLst>
                  <a:ext uri="{FF2B5EF4-FFF2-40B4-BE49-F238E27FC236}">
                    <a16:creationId xmlns:a16="http://schemas.microsoft.com/office/drawing/2014/main" id="{1C844AFC-0E4D-4555-BF9B-42D32897F46A}"/>
                  </a:ext>
                </a:extLst>
              </p:cNvPr>
              <p:cNvSpPr>
                <a:spLocks noChangeShapeType="1"/>
              </p:cNvSpPr>
              <p:nvPr/>
            </p:nvSpPr>
            <p:spPr bwMode="auto">
              <a:xfrm flipH="1" flipV="1">
                <a:off x="2865" y="1922"/>
                <a:ext cx="152" cy="15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8" name="Freeform 2498">
                <a:extLst>
                  <a:ext uri="{FF2B5EF4-FFF2-40B4-BE49-F238E27FC236}">
                    <a16:creationId xmlns:a16="http://schemas.microsoft.com/office/drawing/2014/main" id="{A65980FB-EA2A-47CA-B5A8-DD462A2509BC}"/>
                  </a:ext>
                </a:extLst>
              </p:cNvPr>
              <p:cNvSpPr>
                <a:spLocks/>
              </p:cNvSpPr>
              <p:nvPr/>
            </p:nvSpPr>
            <p:spPr bwMode="auto">
              <a:xfrm>
                <a:off x="3077" y="1713"/>
                <a:ext cx="328" cy="390"/>
              </a:xfrm>
              <a:custGeom>
                <a:avLst/>
                <a:gdLst>
                  <a:gd name="T0" fmla="*/ 271 w 328"/>
                  <a:gd name="T1" fmla="*/ 0 h 390"/>
                  <a:gd name="T2" fmla="*/ 238 w 328"/>
                  <a:gd name="T3" fmla="*/ 147 h 390"/>
                  <a:gd name="T4" fmla="*/ 151 w 328"/>
                  <a:gd name="T5" fmla="*/ 390 h 390"/>
                  <a:gd name="T6" fmla="*/ 328 w 328"/>
                  <a:gd name="T7" fmla="*/ 207 h 390"/>
                  <a:gd name="T8" fmla="*/ 328 w 328"/>
                  <a:gd name="T9" fmla="*/ 389 h 390"/>
                  <a:gd name="T10" fmla="*/ 118 w 328"/>
                  <a:gd name="T11" fmla="*/ 177 h 390"/>
                  <a:gd name="T12" fmla="*/ 58 w 328"/>
                  <a:gd name="T13" fmla="*/ 327 h 390"/>
                  <a:gd name="T14" fmla="*/ 0 w 328"/>
                  <a:gd name="T15" fmla="*/ 180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90">
                    <a:moveTo>
                      <a:pt x="271" y="0"/>
                    </a:moveTo>
                    <a:lnTo>
                      <a:pt x="238" y="147"/>
                    </a:lnTo>
                    <a:lnTo>
                      <a:pt x="151" y="390"/>
                    </a:lnTo>
                    <a:lnTo>
                      <a:pt x="328" y="207"/>
                    </a:lnTo>
                    <a:lnTo>
                      <a:pt x="328" y="389"/>
                    </a:lnTo>
                    <a:lnTo>
                      <a:pt x="118" y="177"/>
                    </a:lnTo>
                    <a:lnTo>
                      <a:pt x="58" y="327"/>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9" name="Line 2499">
                <a:extLst>
                  <a:ext uri="{FF2B5EF4-FFF2-40B4-BE49-F238E27FC236}">
                    <a16:creationId xmlns:a16="http://schemas.microsoft.com/office/drawing/2014/main" id="{C2A4C151-3DD7-4231-B6E9-EFE0ECE508FE}"/>
                  </a:ext>
                </a:extLst>
              </p:cNvPr>
              <p:cNvSpPr>
                <a:spLocks noChangeShapeType="1"/>
              </p:cNvSpPr>
              <p:nvPr/>
            </p:nvSpPr>
            <p:spPr bwMode="auto">
              <a:xfrm flipH="1" flipV="1">
                <a:off x="3348" y="1713"/>
                <a:ext cx="177" cy="11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0" name="Line 2500">
                <a:extLst>
                  <a:ext uri="{FF2B5EF4-FFF2-40B4-BE49-F238E27FC236}">
                    <a16:creationId xmlns:a16="http://schemas.microsoft.com/office/drawing/2014/main" id="{60BEA763-9954-44BD-90DD-1A317CE27A63}"/>
                  </a:ext>
                </a:extLst>
              </p:cNvPr>
              <p:cNvSpPr>
                <a:spLocks noChangeShapeType="1"/>
              </p:cNvSpPr>
              <p:nvPr/>
            </p:nvSpPr>
            <p:spPr bwMode="auto">
              <a:xfrm flipV="1">
                <a:off x="3315" y="1442"/>
                <a:ext cx="88" cy="118"/>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1" name="Freeform 2501">
                <a:extLst>
                  <a:ext uri="{FF2B5EF4-FFF2-40B4-BE49-F238E27FC236}">
                    <a16:creationId xmlns:a16="http://schemas.microsoft.com/office/drawing/2014/main" id="{5E2FA531-8E8E-4F28-B213-9A75F93CB427}"/>
                  </a:ext>
                </a:extLst>
              </p:cNvPr>
              <p:cNvSpPr>
                <a:spLocks/>
              </p:cNvSpPr>
              <p:nvPr/>
            </p:nvSpPr>
            <p:spPr bwMode="auto">
              <a:xfrm>
                <a:off x="2625" y="780"/>
                <a:ext cx="690" cy="630"/>
              </a:xfrm>
              <a:custGeom>
                <a:avLst/>
                <a:gdLst>
                  <a:gd name="T0" fmla="*/ 660 w 690"/>
                  <a:gd name="T1" fmla="*/ 630 h 630"/>
                  <a:gd name="T2" fmla="*/ 690 w 690"/>
                  <a:gd name="T3" fmla="*/ 390 h 630"/>
                  <a:gd name="T4" fmla="*/ 570 w 690"/>
                  <a:gd name="T5" fmla="*/ 420 h 630"/>
                  <a:gd name="T6" fmla="*/ 450 w 690"/>
                  <a:gd name="T7" fmla="*/ 240 h 630"/>
                  <a:gd name="T8" fmla="*/ 420 w 690"/>
                  <a:gd name="T9" fmla="*/ 420 h 630"/>
                  <a:gd name="T10" fmla="*/ 330 w 690"/>
                  <a:gd name="T11" fmla="*/ 330 h 630"/>
                  <a:gd name="T12" fmla="*/ 210 w 690"/>
                  <a:gd name="T13" fmla="*/ 270 h 630"/>
                  <a:gd name="T14" fmla="*/ 0 w 690"/>
                  <a:gd name="T15" fmla="*/ 210 h 630"/>
                  <a:gd name="T16" fmla="*/ 270 w 690"/>
                  <a:gd name="T17" fmla="*/ 180 h 630"/>
                  <a:gd name="T18" fmla="*/ 180 w 690"/>
                  <a:gd name="T19" fmla="*/ 30 h 630"/>
                  <a:gd name="T20" fmla="*/ 330 w 690"/>
                  <a:gd name="T21" fmla="*/ 0 h 630"/>
                  <a:gd name="T22" fmla="*/ 120 w 690"/>
                  <a:gd name="T23" fmla="*/ 15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0" h="630">
                    <a:moveTo>
                      <a:pt x="660" y="630"/>
                    </a:moveTo>
                    <a:lnTo>
                      <a:pt x="690" y="390"/>
                    </a:lnTo>
                    <a:lnTo>
                      <a:pt x="570" y="420"/>
                    </a:lnTo>
                    <a:lnTo>
                      <a:pt x="450" y="240"/>
                    </a:lnTo>
                    <a:lnTo>
                      <a:pt x="420" y="420"/>
                    </a:lnTo>
                    <a:lnTo>
                      <a:pt x="330" y="330"/>
                    </a:lnTo>
                    <a:lnTo>
                      <a:pt x="210" y="270"/>
                    </a:lnTo>
                    <a:lnTo>
                      <a:pt x="0" y="210"/>
                    </a:lnTo>
                    <a:lnTo>
                      <a:pt x="270" y="180"/>
                    </a:lnTo>
                    <a:lnTo>
                      <a:pt x="180" y="30"/>
                    </a:lnTo>
                    <a:lnTo>
                      <a:pt x="330"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2" name="Line 2502">
                <a:extLst>
                  <a:ext uri="{FF2B5EF4-FFF2-40B4-BE49-F238E27FC236}">
                    <a16:creationId xmlns:a16="http://schemas.microsoft.com/office/drawing/2014/main" id="{2E8420B1-7EA9-426A-919F-3E22A463C461}"/>
                  </a:ext>
                </a:extLst>
              </p:cNvPr>
              <p:cNvSpPr>
                <a:spLocks noChangeShapeType="1"/>
              </p:cNvSpPr>
              <p:nvPr/>
            </p:nvSpPr>
            <p:spPr bwMode="auto">
              <a:xfrm flipH="1">
                <a:off x="3285" y="1290"/>
                <a:ext cx="15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3" name="Freeform 2503">
                <a:extLst>
                  <a:ext uri="{FF2B5EF4-FFF2-40B4-BE49-F238E27FC236}">
                    <a16:creationId xmlns:a16="http://schemas.microsoft.com/office/drawing/2014/main" id="{1BC7A803-62E6-4D76-873A-9914254CFD8C}"/>
                  </a:ext>
                </a:extLst>
              </p:cNvPr>
              <p:cNvSpPr>
                <a:spLocks/>
              </p:cNvSpPr>
              <p:nvPr/>
            </p:nvSpPr>
            <p:spPr bwMode="auto">
              <a:xfrm>
                <a:off x="3315" y="1082"/>
                <a:ext cx="120" cy="208"/>
              </a:xfrm>
              <a:custGeom>
                <a:avLst/>
                <a:gdLst>
                  <a:gd name="T0" fmla="*/ 120 w 120"/>
                  <a:gd name="T1" fmla="*/ 208 h 208"/>
                  <a:gd name="T2" fmla="*/ 90 w 120"/>
                  <a:gd name="T3" fmla="*/ 0 h 208"/>
                  <a:gd name="T4" fmla="*/ 0 w 120"/>
                  <a:gd name="T5" fmla="*/ 88 h 208"/>
                </a:gdLst>
                <a:ahLst/>
                <a:cxnLst>
                  <a:cxn ang="0">
                    <a:pos x="T0" y="T1"/>
                  </a:cxn>
                  <a:cxn ang="0">
                    <a:pos x="T2" y="T3"/>
                  </a:cxn>
                  <a:cxn ang="0">
                    <a:pos x="T4" y="T5"/>
                  </a:cxn>
                </a:cxnLst>
                <a:rect l="0" t="0" r="r" b="b"/>
                <a:pathLst>
                  <a:path w="120" h="208">
                    <a:moveTo>
                      <a:pt x="120" y="208"/>
                    </a:moveTo>
                    <a:lnTo>
                      <a:pt x="90" y="0"/>
                    </a:lnTo>
                    <a:lnTo>
                      <a:pt x="0" y="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4" name="Freeform 2504">
                <a:extLst>
                  <a:ext uri="{FF2B5EF4-FFF2-40B4-BE49-F238E27FC236}">
                    <a16:creationId xmlns:a16="http://schemas.microsoft.com/office/drawing/2014/main" id="{801ABC5B-8F2B-4E29-BCAE-7CCE8F6DD5A1}"/>
                  </a:ext>
                </a:extLst>
              </p:cNvPr>
              <p:cNvSpPr>
                <a:spLocks/>
              </p:cNvSpPr>
              <p:nvPr/>
            </p:nvSpPr>
            <p:spPr bwMode="auto">
              <a:xfrm>
                <a:off x="3195" y="1200"/>
                <a:ext cx="240" cy="242"/>
              </a:xfrm>
              <a:custGeom>
                <a:avLst/>
                <a:gdLst>
                  <a:gd name="T0" fmla="*/ 240 w 240"/>
                  <a:gd name="T1" fmla="*/ 90 h 242"/>
                  <a:gd name="T2" fmla="*/ 0 w 240"/>
                  <a:gd name="T3" fmla="*/ 0 h 242"/>
                  <a:gd name="T4" fmla="*/ 208 w 240"/>
                  <a:gd name="T5" fmla="*/ 242 h 242"/>
                </a:gdLst>
                <a:ahLst/>
                <a:cxnLst>
                  <a:cxn ang="0">
                    <a:pos x="T0" y="T1"/>
                  </a:cxn>
                  <a:cxn ang="0">
                    <a:pos x="T2" y="T3"/>
                  </a:cxn>
                  <a:cxn ang="0">
                    <a:pos x="T4" y="T5"/>
                  </a:cxn>
                </a:cxnLst>
                <a:rect l="0" t="0" r="r" b="b"/>
                <a:pathLst>
                  <a:path w="240" h="242">
                    <a:moveTo>
                      <a:pt x="240" y="90"/>
                    </a:moveTo>
                    <a:lnTo>
                      <a:pt x="0" y="0"/>
                    </a:lnTo>
                    <a:lnTo>
                      <a:pt x="208" y="24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5" name="Line 2505">
                <a:extLst>
                  <a:ext uri="{FF2B5EF4-FFF2-40B4-BE49-F238E27FC236}">
                    <a16:creationId xmlns:a16="http://schemas.microsoft.com/office/drawing/2014/main" id="{DC615D78-8814-4C3A-9C9E-0F80ADB44273}"/>
                  </a:ext>
                </a:extLst>
              </p:cNvPr>
              <p:cNvSpPr>
                <a:spLocks noChangeShapeType="1"/>
              </p:cNvSpPr>
              <p:nvPr/>
            </p:nvSpPr>
            <p:spPr bwMode="auto">
              <a:xfrm flipH="1">
                <a:off x="3585" y="1260"/>
                <a:ext cx="30" cy="272"/>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6" name="Freeform 2506">
                <a:extLst>
                  <a:ext uri="{FF2B5EF4-FFF2-40B4-BE49-F238E27FC236}">
                    <a16:creationId xmlns:a16="http://schemas.microsoft.com/office/drawing/2014/main" id="{B4C10684-C0D0-4754-B50A-2F9CFECBE58F}"/>
                  </a:ext>
                </a:extLst>
              </p:cNvPr>
              <p:cNvSpPr>
                <a:spLocks/>
              </p:cNvSpPr>
              <p:nvPr/>
            </p:nvSpPr>
            <p:spPr bwMode="auto">
              <a:xfrm>
                <a:off x="3555" y="450"/>
                <a:ext cx="449" cy="1140"/>
              </a:xfrm>
              <a:custGeom>
                <a:avLst/>
                <a:gdLst>
                  <a:gd name="T0" fmla="*/ 449 w 449"/>
                  <a:gd name="T1" fmla="*/ 1140 h 1140"/>
                  <a:gd name="T2" fmla="*/ 329 w 449"/>
                  <a:gd name="T3" fmla="*/ 930 h 1140"/>
                  <a:gd name="T4" fmla="*/ 419 w 449"/>
                  <a:gd name="T5" fmla="*/ 690 h 1140"/>
                  <a:gd name="T6" fmla="*/ 239 w 449"/>
                  <a:gd name="T7" fmla="*/ 600 h 1140"/>
                  <a:gd name="T8" fmla="*/ 269 w 449"/>
                  <a:gd name="T9" fmla="*/ 780 h 1140"/>
                  <a:gd name="T10" fmla="*/ 389 w 449"/>
                  <a:gd name="T11" fmla="*/ 570 h 1140"/>
                  <a:gd name="T12" fmla="*/ 419 w 449"/>
                  <a:gd name="T13" fmla="*/ 450 h 1140"/>
                  <a:gd name="T14" fmla="*/ 359 w 449"/>
                  <a:gd name="T15" fmla="*/ 330 h 1140"/>
                  <a:gd name="T16" fmla="*/ 389 w 449"/>
                  <a:gd name="T17" fmla="*/ 180 h 1140"/>
                  <a:gd name="T18" fmla="*/ 239 w 449"/>
                  <a:gd name="T19" fmla="*/ 60 h 1140"/>
                  <a:gd name="T20" fmla="*/ 150 w 449"/>
                  <a:gd name="T21" fmla="*/ 180 h 1140"/>
                  <a:gd name="T22" fmla="*/ 0 w 449"/>
                  <a:gd name="T23" fmla="*/ 270 h 1140"/>
                  <a:gd name="T24" fmla="*/ 0 w 449"/>
                  <a:gd name="T25" fmla="*/ 420 h 1140"/>
                  <a:gd name="T26" fmla="*/ 120 w 449"/>
                  <a:gd name="T27" fmla="*/ 330 h 1140"/>
                  <a:gd name="T28" fmla="*/ 269 w 449"/>
                  <a:gd name="T29" fmla="*/ 210 h 1140"/>
                  <a:gd name="T30" fmla="*/ 239 w 449"/>
                  <a:gd name="T31" fmla="*/ 60 h 1140"/>
                  <a:gd name="T32" fmla="*/ 120 w 449"/>
                  <a:gd name="T33" fmla="*/ 0 h 1140"/>
                  <a:gd name="T34" fmla="*/ 30 w 449"/>
                  <a:gd name="T35" fmla="*/ 9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1140">
                    <a:moveTo>
                      <a:pt x="449" y="1140"/>
                    </a:moveTo>
                    <a:lnTo>
                      <a:pt x="329" y="930"/>
                    </a:lnTo>
                    <a:lnTo>
                      <a:pt x="419" y="690"/>
                    </a:lnTo>
                    <a:lnTo>
                      <a:pt x="239" y="600"/>
                    </a:lnTo>
                    <a:lnTo>
                      <a:pt x="269" y="780"/>
                    </a:lnTo>
                    <a:lnTo>
                      <a:pt x="389" y="570"/>
                    </a:lnTo>
                    <a:lnTo>
                      <a:pt x="419" y="450"/>
                    </a:lnTo>
                    <a:lnTo>
                      <a:pt x="359" y="330"/>
                    </a:lnTo>
                    <a:lnTo>
                      <a:pt x="389" y="180"/>
                    </a:lnTo>
                    <a:lnTo>
                      <a:pt x="239" y="60"/>
                    </a:lnTo>
                    <a:lnTo>
                      <a:pt x="150" y="180"/>
                    </a:lnTo>
                    <a:lnTo>
                      <a:pt x="0" y="270"/>
                    </a:lnTo>
                    <a:lnTo>
                      <a:pt x="0" y="420"/>
                    </a:lnTo>
                    <a:lnTo>
                      <a:pt x="120" y="330"/>
                    </a:lnTo>
                    <a:lnTo>
                      <a:pt x="269" y="210"/>
                    </a:lnTo>
                    <a:lnTo>
                      <a:pt x="239" y="60"/>
                    </a:lnTo>
                    <a:lnTo>
                      <a:pt x="120" y="0"/>
                    </a:lnTo>
                    <a:lnTo>
                      <a:pt x="3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7" name="Line 2507">
                <a:extLst>
                  <a:ext uri="{FF2B5EF4-FFF2-40B4-BE49-F238E27FC236}">
                    <a16:creationId xmlns:a16="http://schemas.microsoft.com/office/drawing/2014/main" id="{D2332E4F-CD2D-4DEA-9B3F-C4FF9FC070A6}"/>
                  </a:ext>
                </a:extLst>
              </p:cNvPr>
              <p:cNvSpPr>
                <a:spLocks noChangeShapeType="1"/>
              </p:cNvSpPr>
              <p:nvPr/>
            </p:nvSpPr>
            <p:spPr bwMode="auto">
              <a:xfrm>
                <a:off x="4004"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8" name="Freeform 2508">
                <a:extLst>
                  <a:ext uri="{FF2B5EF4-FFF2-40B4-BE49-F238E27FC236}">
                    <a16:creationId xmlns:a16="http://schemas.microsoft.com/office/drawing/2014/main" id="{5645A6A0-EC05-4CC9-BE39-55C1C7A94FAF}"/>
                  </a:ext>
                </a:extLst>
              </p:cNvPr>
              <p:cNvSpPr>
                <a:spLocks/>
              </p:cNvSpPr>
              <p:nvPr/>
            </p:nvSpPr>
            <p:spPr bwMode="auto">
              <a:xfrm>
                <a:off x="3525" y="1740"/>
                <a:ext cx="659" cy="423"/>
              </a:xfrm>
              <a:custGeom>
                <a:avLst/>
                <a:gdLst>
                  <a:gd name="T0" fmla="*/ 300 w 659"/>
                  <a:gd name="T1" fmla="*/ 303 h 423"/>
                  <a:gd name="T2" fmla="*/ 299 w 659"/>
                  <a:gd name="T3" fmla="*/ 150 h 423"/>
                  <a:gd name="T4" fmla="*/ 451 w 659"/>
                  <a:gd name="T5" fmla="*/ 423 h 423"/>
                  <a:gd name="T6" fmla="*/ 483 w 659"/>
                  <a:gd name="T7" fmla="*/ 213 h 423"/>
                  <a:gd name="T8" fmla="*/ 659 w 659"/>
                  <a:gd name="T9" fmla="*/ 300 h 423"/>
                  <a:gd name="T10" fmla="*/ 419 w 659"/>
                  <a:gd name="T11" fmla="*/ 60 h 423"/>
                  <a:gd name="T12" fmla="*/ 479 w 659"/>
                  <a:gd name="T13" fmla="*/ 210 h 423"/>
                  <a:gd name="T14" fmla="*/ 299 w 659"/>
                  <a:gd name="T15" fmla="*/ 0 h 423"/>
                  <a:gd name="T16" fmla="*/ 150 w 659"/>
                  <a:gd name="T17" fmla="*/ 150 h 423"/>
                  <a:gd name="T18" fmla="*/ 0 w 659"/>
                  <a:gd name="T19" fmla="*/ 9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9" h="423">
                    <a:moveTo>
                      <a:pt x="300" y="303"/>
                    </a:moveTo>
                    <a:lnTo>
                      <a:pt x="299" y="150"/>
                    </a:lnTo>
                    <a:lnTo>
                      <a:pt x="451" y="423"/>
                    </a:lnTo>
                    <a:lnTo>
                      <a:pt x="483" y="213"/>
                    </a:lnTo>
                    <a:lnTo>
                      <a:pt x="659" y="300"/>
                    </a:lnTo>
                    <a:lnTo>
                      <a:pt x="419" y="60"/>
                    </a:lnTo>
                    <a:lnTo>
                      <a:pt x="479" y="210"/>
                    </a:lnTo>
                    <a:lnTo>
                      <a:pt x="299" y="0"/>
                    </a:lnTo>
                    <a:lnTo>
                      <a:pt x="150" y="15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9" name="Freeform 2509">
                <a:extLst>
                  <a:ext uri="{FF2B5EF4-FFF2-40B4-BE49-F238E27FC236}">
                    <a16:creationId xmlns:a16="http://schemas.microsoft.com/office/drawing/2014/main" id="{DBCBF90A-3BD4-48F6-9B2D-6C34933263A4}"/>
                  </a:ext>
                </a:extLst>
              </p:cNvPr>
              <p:cNvSpPr>
                <a:spLocks/>
              </p:cNvSpPr>
              <p:nvPr/>
            </p:nvSpPr>
            <p:spPr bwMode="auto">
              <a:xfrm>
                <a:off x="3315" y="1860"/>
                <a:ext cx="393" cy="123"/>
              </a:xfrm>
              <a:custGeom>
                <a:avLst/>
                <a:gdLst>
                  <a:gd name="T0" fmla="*/ 393 w 393"/>
                  <a:gd name="T1" fmla="*/ 123 h 123"/>
                  <a:gd name="T2" fmla="*/ 90 w 393"/>
                  <a:gd name="T3" fmla="*/ 60 h 123"/>
                  <a:gd name="T4" fmla="*/ 0 w 393"/>
                  <a:gd name="T5" fmla="*/ 0 h 123"/>
                </a:gdLst>
                <a:ahLst/>
                <a:cxnLst>
                  <a:cxn ang="0">
                    <a:pos x="T0" y="T1"/>
                  </a:cxn>
                  <a:cxn ang="0">
                    <a:pos x="T2" y="T3"/>
                  </a:cxn>
                  <a:cxn ang="0">
                    <a:pos x="T4" y="T5"/>
                  </a:cxn>
                </a:cxnLst>
                <a:rect l="0" t="0" r="r" b="b"/>
                <a:pathLst>
                  <a:path w="393" h="123">
                    <a:moveTo>
                      <a:pt x="393" y="123"/>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0" name="Freeform 2510">
                <a:extLst>
                  <a:ext uri="{FF2B5EF4-FFF2-40B4-BE49-F238E27FC236}">
                    <a16:creationId xmlns:a16="http://schemas.microsoft.com/office/drawing/2014/main" id="{B98A6A28-0ACC-467A-97FF-3436226AEC90}"/>
                  </a:ext>
                </a:extLst>
              </p:cNvPr>
              <p:cNvSpPr>
                <a:spLocks/>
              </p:cNvSpPr>
              <p:nvPr/>
            </p:nvSpPr>
            <p:spPr bwMode="auto">
              <a:xfrm>
                <a:off x="1276" y="60"/>
                <a:ext cx="690" cy="600"/>
              </a:xfrm>
              <a:custGeom>
                <a:avLst/>
                <a:gdLst>
                  <a:gd name="T0" fmla="*/ 690 w 690"/>
                  <a:gd name="T1" fmla="*/ 600 h 600"/>
                  <a:gd name="T2" fmla="*/ 630 w 690"/>
                  <a:gd name="T3" fmla="*/ 450 h 600"/>
                  <a:gd name="T4" fmla="*/ 480 w 690"/>
                  <a:gd name="T5" fmla="*/ 210 h 600"/>
                  <a:gd name="T6" fmla="*/ 330 w 690"/>
                  <a:gd name="T7" fmla="*/ 0 h 600"/>
                  <a:gd name="T8" fmla="*/ 150 w 690"/>
                  <a:gd name="T9" fmla="*/ 90 h 600"/>
                  <a:gd name="T10" fmla="*/ 60 w 690"/>
                  <a:gd name="T11" fmla="*/ 210 h 600"/>
                  <a:gd name="T12" fmla="*/ 300 w 690"/>
                  <a:gd name="T13" fmla="*/ 210 h 600"/>
                  <a:gd name="T14" fmla="*/ 330 w 690"/>
                  <a:gd name="T15" fmla="*/ 0 h 600"/>
                  <a:gd name="T16" fmla="*/ 0 w 690"/>
                  <a:gd name="T17" fmla="*/ 60 h 600"/>
                  <a:gd name="T18" fmla="*/ 150 w 690"/>
                  <a:gd name="T19" fmla="*/ 90 h 600"/>
                  <a:gd name="T20" fmla="*/ 180 w 690"/>
                  <a:gd name="T21" fmla="*/ 240 h 600"/>
                  <a:gd name="T22" fmla="*/ 60 w 690"/>
                  <a:gd name="T23" fmla="*/ 210 h 600"/>
                  <a:gd name="T24" fmla="*/ 30 w 690"/>
                  <a:gd name="T25" fmla="*/ 360 h 600"/>
                  <a:gd name="T26" fmla="*/ 60 w 690"/>
                  <a:gd name="T27" fmla="*/ 51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0" h="600">
                    <a:moveTo>
                      <a:pt x="690" y="600"/>
                    </a:moveTo>
                    <a:lnTo>
                      <a:pt x="630" y="450"/>
                    </a:lnTo>
                    <a:lnTo>
                      <a:pt x="480" y="210"/>
                    </a:lnTo>
                    <a:lnTo>
                      <a:pt x="330" y="0"/>
                    </a:lnTo>
                    <a:lnTo>
                      <a:pt x="150" y="90"/>
                    </a:lnTo>
                    <a:lnTo>
                      <a:pt x="60" y="210"/>
                    </a:lnTo>
                    <a:lnTo>
                      <a:pt x="300" y="210"/>
                    </a:lnTo>
                    <a:lnTo>
                      <a:pt x="330" y="0"/>
                    </a:lnTo>
                    <a:lnTo>
                      <a:pt x="0" y="60"/>
                    </a:lnTo>
                    <a:lnTo>
                      <a:pt x="150" y="90"/>
                    </a:lnTo>
                    <a:lnTo>
                      <a:pt x="180" y="240"/>
                    </a:lnTo>
                    <a:lnTo>
                      <a:pt x="60" y="210"/>
                    </a:lnTo>
                    <a:lnTo>
                      <a:pt x="30" y="360"/>
                    </a:lnTo>
                    <a:lnTo>
                      <a:pt x="60"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1" name="Freeform 2511">
                <a:extLst>
                  <a:ext uri="{FF2B5EF4-FFF2-40B4-BE49-F238E27FC236}">
                    <a16:creationId xmlns:a16="http://schemas.microsoft.com/office/drawing/2014/main" id="{7F2FAC57-0718-4936-BA10-EE17E5F65902}"/>
                  </a:ext>
                </a:extLst>
              </p:cNvPr>
              <p:cNvSpPr>
                <a:spLocks/>
              </p:cNvSpPr>
              <p:nvPr/>
            </p:nvSpPr>
            <p:spPr bwMode="auto">
              <a:xfrm>
                <a:off x="1306" y="2700"/>
                <a:ext cx="600" cy="510"/>
              </a:xfrm>
              <a:custGeom>
                <a:avLst/>
                <a:gdLst>
                  <a:gd name="T0" fmla="*/ 540 w 600"/>
                  <a:gd name="T1" fmla="*/ 90 h 510"/>
                  <a:gd name="T2" fmla="*/ 600 w 600"/>
                  <a:gd name="T3" fmla="*/ 270 h 510"/>
                  <a:gd name="T4" fmla="*/ 480 w 600"/>
                  <a:gd name="T5" fmla="*/ 270 h 510"/>
                  <a:gd name="T6" fmla="*/ 570 w 600"/>
                  <a:gd name="T7" fmla="*/ 420 h 510"/>
                  <a:gd name="T8" fmla="*/ 510 w 600"/>
                  <a:gd name="T9" fmla="*/ 510 h 510"/>
                  <a:gd name="T10" fmla="*/ 420 w 600"/>
                  <a:gd name="T11" fmla="*/ 360 h 510"/>
                  <a:gd name="T12" fmla="*/ 240 w 600"/>
                  <a:gd name="T13" fmla="*/ 450 h 510"/>
                  <a:gd name="T14" fmla="*/ 300 w 600"/>
                  <a:gd name="T15" fmla="*/ 270 h 510"/>
                  <a:gd name="T16" fmla="*/ 150 w 600"/>
                  <a:gd name="T17" fmla="*/ 420 h 510"/>
                  <a:gd name="T18" fmla="*/ 180 w 600"/>
                  <a:gd name="T19" fmla="*/ 300 h 510"/>
                  <a:gd name="T20" fmla="*/ 30 w 600"/>
                  <a:gd name="T21" fmla="*/ 360 h 510"/>
                  <a:gd name="T22" fmla="*/ 0 w 600"/>
                  <a:gd name="T23" fmla="*/ 510 h 510"/>
                  <a:gd name="T24" fmla="*/ 180 w 600"/>
                  <a:gd name="T25" fmla="*/ 210 h 510"/>
                  <a:gd name="T26" fmla="*/ 60 w 600"/>
                  <a:gd name="T27" fmla="*/ 120 h 510"/>
                  <a:gd name="T28" fmla="*/ 0 w 600"/>
                  <a:gd name="T29" fmla="*/ 210 h 510"/>
                  <a:gd name="T30" fmla="*/ 0 w 600"/>
                  <a:gd name="T31" fmla="*/ 0 h 510"/>
                  <a:gd name="T32" fmla="*/ 180 w 600"/>
                  <a:gd name="T33" fmla="*/ 30 h 510"/>
                  <a:gd name="T34" fmla="*/ 270 w 600"/>
                  <a:gd name="T35" fmla="*/ 120 h 510"/>
                  <a:gd name="T36" fmla="*/ 390 w 600"/>
                  <a:gd name="T37" fmla="*/ 150 h 510"/>
                  <a:gd name="T38" fmla="*/ 540 w 600"/>
                  <a:gd name="T39" fmla="*/ 9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0" h="510">
                    <a:moveTo>
                      <a:pt x="540" y="90"/>
                    </a:moveTo>
                    <a:lnTo>
                      <a:pt x="600" y="270"/>
                    </a:lnTo>
                    <a:lnTo>
                      <a:pt x="480" y="270"/>
                    </a:lnTo>
                    <a:lnTo>
                      <a:pt x="570" y="420"/>
                    </a:lnTo>
                    <a:lnTo>
                      <a:pt x="510" y="510"/>
                    </a:lnTo>
                    <a:lnTo>
                      <a:pt x="420" y="360"/>
                    </a:lnTo>
                    <a:lnTo>
                      <a:pt x="240" y="450"/>
                    </a:lnTo>
                    <a:lnTo>
                      <a:pt x="300" y="270"/>
                    </a:lnTo>
                    <a:lnTo>
                      <a:pt x="150" y="420"/>
                    </a:lnTo>
                    <a:lnTo>
                      <a:pt x="180" y="300"/>
                    </a:lnTo>
                    <a:lnTo>
                      <a:pt x="30" y="360"/>
                    </a:lnTo>
                    <a:lnTo>
                      <a:pt x="0" y="510"/>
                    </a:lnTo>
                    <a:lnTo>
                      <a:pt x="180" y="210"/>
                    </a:lnTo>
                    <a:lnTo>
                      <a:pt x="60" y="120"/>
                    </a:lnTo>
                    <a:lnTo>
                      <a:pt x="0" y="210"/>
                    </a:lnTo>
                    <a:lnTo>
                      <a:pt x="0" y="0"/>
                    </a:lnTo>
                    <a:lnTo>
                      <a:pt x="180" y="30"/>
                    </a:lnTo>
                    <a:lnTo>
                      <a:pt x="270" y="120"/>
                    </a:lnTo>
                    <a:lnTo>
                      <a:pt x="390" y="150"/>
                    </a:lnTo>
                    <a:lnTo>
                      <a:pt x="54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2" name="Freeform 2512">
                <a:extLst>
                  <a:ext uri="{FF2B5EF4-FFF2-40B4-BE49-F238E27FC236}">
                    <a16:creationId xmlns:a16="http://schemas.microsoft.com/office/drawing/2014/main" id="{24DA139D-3130-4BA4-A409-F3A9043A403B}"/>
                  </a:ext>
                </a:extLst>
              </p:cNvPr>
              <p:cNvSpPr>
                <a:spLocks/>
              </p:cNvSpPr>
              <p:nvPr/>
            </p:nvSpPr>
            <p:spPr bwMode="auto">
              <a:xfrm>
                <a:off x="1636" y="2700"/>
                <a:ext cx="539" cy="360"/>
              </a:xfrm>
              <a:custGeom>
                <a:avLst/>
                <a:gdLst>
                  <a:gd name="T0" fmla="*/ 90 w 539"/>
                  <a:gd name="T1" fmla="*/ 360 h 360"/>
                  <a:gd name="T2" fmla="*/ 60 w 539"/>
                  <a:gd name="T3" fmla="*/ 150 h 360"/>
                  <a:gd name="T4" fmla="*/ 0 w 539"/>
                  <a:gd name="T5" fmla="*/ 0 h 360"/>
                  <a:gd name="T6" fmla="*/ 210 w 539"/>
                  <a:gd name="T7" fmla="*/ 90 h 360"/>
                  <a:gd name="T8" fmla="*/ 360 w 539"/>
                  <a:gd name="T9" fmla="*/ 180 h 360"/>
                  <a:gd name="T10" fmla="*/ 270 w 539"/>
                  <a:gd name="T11" fmla="*/ 270 h 360"/>
                  <a:gd name="T12" fmla="*/ 450 w 539"/>
                  <a:gd name="T13" fmla="*/ 330 h 360"/>
                  <a:gd name="T14" fmla="*/ 509 w 539"/>
                  <a:gd name="T15" fmla="*/ 210 h 360"/>
                  <a:gd name="T16" fmla="*/ 360 w 539"/>
                  <a:gd name="T17" fmla="*/ 60 h 360"/>
                  <a:gd name="T18" fmla="*/ 539 w 539"/>
                  <a:gd name="T1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360">
                    <a:moveTo>
                      <a:pt x="90" y="360"/>
                    </a:moveTo>
                    <a:lnTo>
                      <a:pt x="60" y="150"/>
                    </a:lnTo>
                    <a:lnTo>
                      <a:pt x="0" y="0"/>
                    </a:lnTo>
                    <a:lnTo>
                      <a:pt x="210" y="90"/>
                    </a:lnTo>
                    <a:lnTo>
                      <a:pt x="360" y="180"/>
                    </a:lnTo>
                    <a:lnTo>
                      <a:pt x="270" y="270"/>
                    </a:lnTo>
                    <a:lnTo>
                      <a:pt x="450" y="330"/>
                    </a:lnTo>
                    <a:lnTo>
                      <a:pt x="509" y="210"/>
                    </a:lnTo>
                    <a:lnTo>
                      <a:pt x="360" y="60"/>
                    </a:lnTo>
                    <a:lnTo>
                      <a:pt x="53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3" name="Freeform 2513">
                <a:extLst>
                  <a:ext uri="{FF2B5EF4-FFF2-40B4-BE49-F238E27FC236}">
                    <a16:creationId xmlns:a16="http://schemas.microsoft.com/office/drawing/2014/main" id="{E80BFD0D-17A5-4AA3-93D7-5E2E7EF12A3E}"/>
                  </a:ext>
                </a:extLst>
              </p:cNvPr>
              <p:cNvSpPr>
                <a:spLocks/>
              </p:cNvSpPr>
              <p:nvPr/>
            </p:nvSpPr>
            <p:spPr bwMode="auto">
              <a:xfrm>
                <a:off x="1456" y="3120"/>
                <a:ext cx="360" cy="90"/>
              </a:xfrm>
              <a:custGeom>
                <a:avLst/>
                <a:gdLst>
                  <a:gd name="T0" fmla="*/ 360 w 360"/>
                  <a:gd name="T1" fmla="*/ 90 h 90"/>
                  <a:gd name="T2" fmla="*/ 90 w 360"/>
                  <a:gd name="T3" fmla="*/ 30 h 90"/>
                  <a:gd name="T4" fmla="*/ 0 w 360"/>
                  <a:gd name="T5" fmla="*/ 0 h 90"/>
                </a:gdLst>
                <a:ahLst/>
                <a:cxnLst>
                  <a:cxn ang="0">
                    <a:pos x="T0" y="T1"/>
                  </a:cxn>
                  <a:cxn ang="0">
                    <a:pos x="T2" y="T3"/>
                  </a:cxn>
                  <a:cxn ang="0">
                    <a:pos x="T4" y="T5"/>
                  </a:cxn>
                </a:cxnLst>
                <a:rect l="0" t="0" r="r" b="b"/>
                <a:pathLst>
                  <a:path w="360" h="90">
                    <a:moveTo>
                      <a:pt x="360" y="90"/>
                    </a:moveTo>
                    <a:lnTo>
                      <a:pt x="9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4" name="Freeform 2514">
                <a:extLst>
                  <a:ext uri="{FF2B5EF4-FFF2-40B4-BE49-F238E27FC236}">
                    <a16:creationId xmlns:a16="http://schemas.microsoft.com/office/drawing/2014/main" id="{6450715A-9AB9-4501-9B14-A2954905FBA9}"/>
                  </a:ext>
                </a:extLst>
              </p:cNvPr>
              <p:cNvSpPr>
                <a:spLocks/>
              </p:cNvSpPr>
              <p:nvPr/>
            </p:nvSpPr>
            <p:spPr bwMode="auto">
              <a:xfrm>
                <a:off x="1306" y="2820"/>
                <a:ext cx="270" cy="240"/>
              </a:xfrm>
              <a:custGeom>
                <a:avLst/>
                <a:gdLst>
                  <a:gd name="T0" fmla="*/ 30 w 270"/>
                  <a:gd name="T1" fmla="*/ 240 h 240"/>
                  <a:gd name="T2" fmla="*/ 0 w 270"/>
                  <a:gd name="T3" fmla="*/ 90 h 240"/>
                  <a:gd name="T4" fmla="*/ 270 w 270"/>
                  <a:gd name="T5" fmla="*/ 0 h 240"/>
                </a:gdLst>
                <a:ahLst/>
                <a:cxnLst>
                  <a:cxn ang="0">
                    <a:pos x="T0" y="T1"/>
                  </a:cxn>
                  <a:cxn ang="0">
                    <a:pos x="T2" y="T3"/>
                  </a:cxn>
                  <a:cxn ang="0">
                    <a:pos x="T4" y="T5"/>
                  </a:cxn>
                </a:cxnLst>
                <a:rect l="0" t="0" r="r" b="b"/>
                <a:pathLst>
                  <a:path w="270" h="240">
                    <a:moveTo>
                      <a:pt x="30" y="240"/>
                    </a:moveTo>
                    <a:lnTo>
                      <a:pt x="0" y="90"/>
                    </a:lnTo>
                    <a:lnTo>
                      <a:pt x="27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5" name="Freeform 2515">
                <a:extLst>
                  <a:ext uri="{FF2B5EF4-FFF2-40B4-BE49-F238E27FC236}">
                    <a16:creationId xmlns:a16="http://schemas.microsoft.com/office/drawing/2014/main" id="{CACCC95B-4D35-4D86-8CCD-64656BF3ED12}"/>
                  </a:ext>
                </a:extLst>
              </p:cNvPr>
              <p:cNvSpPr>
                <a:spLocks/>
              </p:cNvSpPr>
              <p:nvPr/>
            </p:nvSpPr>
            <p:spPr bwMode="auto">
              <a:xfrm>
                <a:off x="1486" y="2490"/>
                <a:ext cx="210" cy="240"/>
              </a:xfrm>
              <a:custGeom>
                <a:avLst/>
                <a:gdLst>
                  <a:gd name="T0" fmla="*/ 0 w 210"/>
                  <a:gd name="T1" fmla="*/ 240 h 240"/>
                  <a:gd name="T2" fmla="*/ 150 w 210"/>
                  <a:gd name="T3" fmla="*/ 210 h 240"/>
                  <a:gd name="T4" fmla="*/ 120 w 210"/>
                  <a:gd name="T5" fmla="*/ 0 h 240"/>
                  <a:gd name="T6" fmla="*/ 210 w 210"/>
                  <a:gd name="T7" fmla="*/ 60 h 240"/>
                </a:gdLst>
                <a:ahLst/>
                <a:cxnLst>
                  <a:cxn ang="0">
                    <a:pos x="T0" y="T1"/>
                  </a:cxn>
                  <a:cxn ang="0">
                    <a:pos x="T2" y="T3"/>
                  </a:cxn>
                  <a:cxn ang="0">
                    <a:pos x="T4" y="T5"/>
                  </a:cxn>
                  <a:cxn ang="0">
                    <a:pos x="T6" y="T7"/>
                  </a:cxn>
                </a:cxnLst>
                <a:rect l="0" t="0" r="r" b="b"/>
                <a:pathLst>
                  <a:path w="210" h="240">
                    <a:moveTo>
                      <a:pt x="0" y="240"/>
                    </a:moveTo>
                    <a:lnTo>
                      <a:pt x="150" y="210"/>
                    </a:lnTo>
                    <a:lnTo>
                      <a:pt x="120" y="0"/>
                    </a:lnTo>
                    <a:lnTo>
                      <a:pt x="21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6" name="Freeform 2516">
                <a:extLst>
                  <a:ext uri="{FF2B5EF4-FFF2-40B4-BE49-F238E27FC236}">
                    <a16:creationId xmlns:a16="http://schemas.microsoft.com/office/drawing/2014/main" id="{5E3085C4-47DC-4E72-8A76-C824D9B32483}"/>
                  </a:ext>
                </a:extLst>
              </p:cNvPr>
              <p:cNvSpPr>
                <a:spLocks/>
              </p:cNvSpPr>
              <p:nvPr/>
            </p:nvSpPr>
            <p:spPr bwMode="auto">
              <a:xfrm>
                <a:off x="1276" y="2190"/>
                <a:ext cx="510" cy="630"/>
              </a:xfrm>
              <a:custGeom>
                <a:avLst/>
                <a:gdLst>
                  <a:gd name="T0" fmla="*/ 270 w 510"/>
                  <a:gd name="T1" fmla="*/ 450 h 630"/>
                  <a:gd name="T2" fmla="*/ 0 w 510"/>
                  <a:gd name="T3" fmla="*/ 390 h 630"/>
                  <a:gd name="T4" fmla="*/ 30 w 510"/>
                  <a:gd name="T5" fmla="*/ 300 h 630"/>
                  <a:gd name="T6" fmla="*/ 210 w 510"/>
                  <a:gd name="T7" fmla="*/ 330 h 630"/>
                  <a:gd name="T8" fmla="*/ 150 w 510"/>
                  <a:gd name="T9" fmla="*/ 120 h 630"/>
                  <a:gd name="T10" fmla="*/ 90 w 510"/>
                  <a:gd name="T11" fmla="*/ 210 h 630"/>
                  <a:gd name="T12" fmla="*/ 60 w 510"/>
                  <a:gd name="T13" fmla="*/ 120 h 630"/>
                  <a:gd name="T14" fmla="*/ 180 w 510"/>
                  <a:gd name="T15" fmla="*/ 0 h 630"/>
                  <a:gd name="T16" fmla="*/ 300 w 510"/>
                  <a:gd name="T17" fmla="*/ 120 h 630"/>
                  <a:gd name="T18" fmla="*/ 510 w 510"/>
                  <a:gd name="T19" fmla="*/ 150 h 630"/>
                  <a:gd name="T20" fmla="*/ 330 w 510"/>
                  <a:gd name="T21" fmla="*/ 300 h 630"/>
                  <a:gd name="T22" fmla="*/ 270 w 510"/>
                  <a:gd name="T23" fmla="*/ 450 h 630"/>
                  <a:gd name="T24" fmla="*/ 30 w 510"/>
                  <a:gd name="T25" fmla="*/ 510 h 630"/>
                  <a:gd name="T26" fmla="*/ 300 w 510"/>
                  <a:gd name="T27" fmla="*/ 120 h 630"/>
                  <a:gd name="T28" fmla="*/ 30 w 510"/>
                  <a:gd name="T29" fmla="*/ 300 h 630"/>
                  <a:gd name="T30" fmla="*/ 90 w 510"/>
                  <a:gd name="T31" fmla="*/ 210 h 630"/>
                  <a:gd name="T32" fmla="*/ 330 w 510"/>
                  <a:gd name="T33" fmla="*/ 300 h 630"/>
                  <a:gd name="T34" fmla="*/ 210 w 510"/>
                  <a:gd name="T35" fmla="*/ 330 h 630"/>
                  <a:gd name="T36" fmla="*/ 270 w 510"/>
                  <a:gd name="T37" fmla="*/ 450 h 630"/>
                  <a:gd name="T38" fmla="*/ 210 w 510"/>
                  <a:gd name="T39" fmla="*/ 540 h 630"/>
                  <a:gd name="T40" fmla="*/ 90 w 510"/>
                  <a:gd name="T41"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0" h="630">
                    <a:moveTo>
                      <a:pt x="270" y="450"/>
                    </a:moveTo>
                    <a:lnTo>
                      <a:pt x="0" y="390"/>
                    </a:lnTo>
                    <a:lnTo>
                      <a:pt x="30" y="300"/>
                    </a:lnTo>
                    <a:lnTo>
                      <a:pt x="210" y="330"/>
                    </a:lnTo>
                    <a:lnTo>
                      <a:pt x="150" y="120"/>
                    </a:lnTo>
                    <a:lnTo>
                      <a:pt x="90" y="210"/>
                    </a:lnTo>
                    <a:lnTo>
                      <a:pt x="60" y="120"/>
                    </a:lnTo>
                    <a:lnTo>
                      <a:pt x="180" y="0"/>
                    </a:lnTo>
                    <a:lnTo>
                      <a:pt x="300" y="120"/>
                    </a:lnTo>
                    <a:lnTo>
                      <a:pt x="510" y="150"/>
                    </a:lnTo>
                    <a:lnTo>
                      <a:pt x="330" y="300"/>
                    </a:lnTo>
                    <a:lnTo>
                      <a:pt x="270" y="450"/>
                    </a:lnTo>
                    <a:lnTo>
                      <a:pt x="30" y="510"/>
                    </a:lnTo>
                    <a:lnTo>
                      <a:pt x="300" y="120"/>
                    </a:lnTo>
                    <a:lnTo>
                      <a:pt x="30" y="300"/>
                    </a:lnTo>
                    <a:lnTo>
                      <a:pt x="90" y="210"/>
                    </a:lnTo>
                    <a:lnTo>
                      <a:pt x="330" y="300"/>
                    </a:lnTo>
                    <a:lnTo>
                      <a:pt x="210" y="330"/>
                    </a:lnTo>
                    <a:lnTo>
                      <a:pt x="270" y="450"/>
                    </a:lnTo>
                    <a:lnTo>
                      <a:pt x="210" y="540"/>
                    </a:lnTo>
                    <a:lnTo>
                      <a:pt x="90" y="6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7" name="Freeform 2517">
                <a:extLst>
                  <a:ext uri="{FF2B5EF4-FFF2-40B4-BE49-F238E27FC236}">
                    <a16:creationId xmlns:a16="http://schemas.microsoft.com/office/drawing/2014/main" id="{AB2580D8-633F-43FC-95E9-A610241C7C93}"/>
                  </a:ext>
                </a:extLst>
              </p:cNvPr>
              <p:cNvSpPr>
                <a:spLocks/>
              </p:cNvSpPr>
              <p:nvPr/>
            </p:nvSpPr>
            <p:spPr bwMode="auto">
              <a:xfrm>
                <a:off x="1576" y="2190"/>
                <a:ext cx="420" cy="480"/>
              </a:xfrm>
              <a:custGeom>
                <a:avLst/>
                <a:gdLst>
                  <a:gd name="T0" fmla="*/ 420 w 420"/>
                  <a:gd name="T1" fmla="*/ 150 h 480"/>
                  <a:gd name="T2" fmla="*/ 120 w 420"/>
                  <a:gd name="T3" fmla="*/ 0 h 480"/>
                  <a:gd name="T4" fmla="*/ 0 w 420"/>
                  <a:gd name="T5" fmla="*/ 120 h 480"/>
                  <a:gd name="T6" fmla="*/ 240 w 420"/>
                  <a:gd name="T7" fmla="*/ 300 h 480"/>
                  <a:gd name="T8" fmla="*/ 120 w 420"/>
                  <a:gd name="T9" fmla="*/ 360 h 480"/>
                  <a:gd name="T10" fmla="*/ 210 w 420"/>
                  <a:gd name="T11" fmla="*/ 480 h 480"/>
                </a:gdLst>
                <a:ahLst/>
                <a:cxnLst>
                  <a:cxn ang="0">
                    <a:pos x="T0" y="T1"/>
                  </a:cxn>
                  <a:cxn ang="0">
                    <a:pos x="T2" y="T3"/>
                  </a:cxn>
                  <a:cxn ang="0">
                    <a:pos x="T4" y="T5"/>
                  </a:cxn>
                  <a:cxn ang="0">
                    <a:pos x="T6" y="T7"/>
                  </a:cxn>
                  <a:cxn ang="0">
                    <a:pos x="T8" y="T9"/>
                  </a:cxn>
                  <a:cxn ang="0">
                    <a:pos x="T10" y="T11"/>
                  </a:cxn>
                </a:cxnLst>
                <a:rect l="0" t="0" r="r" b="b"/>
                <a:pathLst>
                  <a:path w="420" h="480">
                    <a:moveTo>
                      <a:pt x="420" y="150"/>
                    </a:moveTo>
                    <a:lnTo>
                      <a:pt x="120" y="0"/>
                    </a:lnTo>
                    <a:lnTo>
                      <a:pt x="0" y="120"/>
                    </a:lnTo>
                    <a:lnTo>
                      <a:pt x="240" y="300"/>
                    </a:lnTo>
                    <a:lnTo>
                      <a:pt x="120" y="360"/>
                    </a:lnTo>
                    <a:lnTo>
                      <a:pt x="210" y="4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8" name="Freeform 2518">
                <a:extLst>
                  <a:ext uri="{FF2B5EF4-FFF2-40B4-BE49-F238E27FC236}">
                    <a16:creationId xmlns:a16="http://schemas.microsoft.com/office/drawing/2014/main" id="{7A757405-D1DC-4DCF-BD6A-35392854E70E}"/>
                  </a:ext>
                </a:extLst>
              </p:cNvPr>
              <p:cNvSpPr>
                <a:spLocks/>
              </p:cNvSpPr>
              <p:nvPr/>
            </p:nvSpPr>
            <p:spPr bwMode="auto">
              <a:xfrm>
                <a:off x="1336" y="1620"/>
                <a:ext cx="420" cy="690"/>
              </a:xfrm>
              <a:custGeom>
                <a:avLst/>
                <a:gdLst>
                  <a:gd name="T0" fmla="*/ 240 w 420"/>
                  <a:gd name="T1" fmla="*/ 690 h 690"/>
                  <a:gd name="T2" fmla="*/ 210 w 420"/>
                  <a:gd name="T3" fmla="*/ 540 h 690"/>
                  <a:gd name="T4" fmla="*/ 150 w 420"/>
                  <a:gd name="T5" fmla="*/ 270 h 690"/>
                  <a:gd name="T6" fmla="*/ 60 w 420"/>
                  <a:gd name="T7" fmla="*/ 0 h 690"/>
                  <a:gd name="T8" fmla="*/ 0 w 420"/>
                  <a:gd name="T9" fmla="*/ 180 h 690"/>
                  <a:gd name="T10" fmla="*/ 150 w 420"/>
                  <a:gd name="T11" fmla="*/ 270 h 690"/>
                  <a:gd name="T12" fmla="*/ 330 w 420"/>
                  <a:gd name="T13" fmla="*/ 390 h 690"/>
                  <a:gd name="T14" fmla="*/ 270 w 420"/>
                  <a:gd name="T15" fmla="*/ 180 h 690"/>
                  <a:gd name="T16" fmla="*/ 420 w 420"/>
                  <a:gd name="T17" fmla="*/ 30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690">
                    <a:moveTo>
                      <a:pt x="240" y="690"/>
                    </a:moveTo>
                    <a:lnTo>
                      <a:pt x="210" y="540"/>
                    </a:lnTo>
                    <a:lnTo>
                      <a:pt x="150" y="270"/>
                    </a:lnTo>
                    <a:lnTo>
                      <a:pt x="60" y="0"/>
                    </a:lnTo>
                    <a:lnTo>
                      <a:pt x="0" y="180"/>
                    </a:lnTo>
                    <a:lnTo>
                      <a:pt x="150" y="270"/>
                    </a:lnTo>
                    <a:lnTo>
                      <a:pt x="330" y="390"/>
                    </a:lnTo>
                    <a:lnTo>
                      <a:pt x="270" y="180"/>
                    </a:lnTo>
                    <a:lnTo>
                      <a:pt x="42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9" name="Freeform 2519">
                <a:extLst>
                  <a:ext uri="{FF2B5EF4-FFF2-40B4-BE49-F238E27FC236}">
                    <a16:creationId xmlns:a16="http://schemas.microsoft.com/office/drawing/2014/main" id="{93F76606-FCFD-45F2-8CDD-27E2C00905FC}"/>
                  </a:ext>
                </a:extLst>
              </p:cNvPr>
              <p:cNvSpPr>
                <a:spLocks/>
              </p:cNvSpPr>
              <p:nvPr/>
            </p:nvSpPr>
            <p:spPr bwMode="auto">
              <a:xfrm>
                <a:off x="1666" y="2010"/>
                <a:ext cx="420" cy="180"/>
              </a:xfrm>
              <a:custGeom>
                <a:avLst/>
                <a:gdLst>
                  <a:gd name="T0" fmla="*/ 210 w 420"/>
                  <a:gd name="T1" fmla="*/ 150 h 180"/>
                  <a:gd name="T2" fmla="*/ 0 w 420"/>
                  <a:gd name="T3" fmla="*/ 0 h 180"/>
                  <a:gd name="T4" fmla="*/ 30 w 420"/>
                  <a:gd name="T5" fmla="*/ 180 h 180"/>
                  <a:gd name="T6" fmla="*/ 243 w 420"/>
                  <a:gd name="T7" fmla="*/ 3 h 180"/>
                  <a:gd name="T8" fmla="*/ 390 w 420"/>
                  <a:gd name="T9" fmla="*/ 120 h 180"/>
                  <a:gd name="T10" fmla="*/ 420 w 420"/>
                  <a:gd name="T11" fmla="*/ 0 h 180"/>
                </a:gdLst>
                <a:ahLst/>
                <a:cxnLst>
                  <a:cxn ang="0">
                    <a:pos x="T0" y="T1"/>
                  </a:cxn>
                  <a:cxn ang="0">
                    <a:pos x="T2" y="T3"/>
                  </a:cxn>
                  <a:cxn ang="0">
                    <a:pos x="T4" y="T5"/>
                  </a:cxn>
                  <a:cxn ang="0">
                    <a:pos x="T6" y="T7"/>
                  </a:cxn>
                  <a:cxn ang="0">
                    <a:pos x="T8" y="T9"/>
                  </a:cxn>
                  <a:cxn ang="0">
                    <a:pos x="T10" y="T11"/>
                  </a:cxn>
                </a:cxnLst>
                <a:rect l="0" t="0" r="r" b="b"/>
                <a:pathLst>
                  <a:path w="420" h="180">
                    <a:moveTo>
                      <a:pt x="210" y="150"/>
                    </a:moveTo>
                    <a:lnTo>
                      <a:pt x="0" y="0"/>
                    </a:lnTo>
                    <a:lnTo>
                      <a:pt x="30" y="180"/>
                    </a:lnTo>
                    <a:lnTo>
                      <a:pt x="243" y="3"/>
                    </a:lnTo>
                    <a:lnTo>
                      <a:pt x="390" y="12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0" name="Line 2520">
                <a:extLst>
                  <a:ext uri="{FF2B5EF4-FFF2-40B4-BE49-F238E27FC236}">
                    <a16:creationId xmlns:a16="http://schemas.microsoft.com/office/drawing/2014/main" id="{22110E37-4984-4C01-9154-BAF75B3967DA}"/>
                  </a:ext>
                </a:extLst>
              </p:cNvPr>
              <p:cNvSpPr>
                <a:spLocks noChangeShapeType="1"/>
              </p:cNvSpPr>
              <p:nvPr/>
            </p:nvSpPr>
            <p:spPr bwMode="auto">
              <a:xfrm>
                <a:off x="1696" y="2190"/>
                <a:ext cx="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1" name="Line 2521">
                <a:extLst>
                  <a:ext uri="{FF2B5EF4-FFF2-40B4-BE49-F238E27FC236}">
                    <a16:creationId xmlns:a16="http://schemas.microsoft.com/office/drawing/2014/main" id="{CB96F118-EBC9-4B29-B8DB-FFDB06C1E24E}"/>
                  </a:ext>
                </a:extLst>
              </p:cNvPr>
              <p:cNvSpPr>
                <a:spLocks noChangeShapeType="1"/>
              </p:cNvSpPr>
              <p:nvPr/>
            </p:nvSpPr>
            <p:spPr bwMode="auto">
              <a:xfrm flipH="1" flipV="1">
                <a:off x="1426" y="2310"/>
                <a:ext cx="39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2" name="Freeform 2522">
                <a:extLst>
                  <a:ext uri="{FF2B5EF4-FFF2-40B4-BE49-F238E27FC236}">
                    <a16:creationId xmlns:a16="http://schemas.microsoft.com/office/drawing/2014/main" id="{7875A8FF-58B5-4A17-8B44-584C83256AE0}"/>
                  </a:ext>
                </a:extLst>
              </p:cNvPr>
              <p:cNvSpPr>
                <a:spLocks/>
              </p:cNvSpPr>
              <p:nvPr/>
            </p:nvSpPr>
            <p:spPr bwMode="auto">
              <a:xfrm>
                <a:off x="1276" y="1950"/>
                <a:ext cx="180" cy="360"/>
              </a:xfrm>
              <a:custGeom>
                <a:avLst/>
                <a:gdLst>
                  <a:gd name="T0" fmla="*/ 180 w 180"/>
                  <a:gd name="T1" fmla="*/ 240 h 360"/>
                  <a:gd name="T2" fmla="*/ 0 w 180"/>
                  <a:gd name="T3" fmla="*/ 210 h 360"/>
                  <a:gd name="T4" fmla="*/ 60 w 180"/>
                  <a:gd name="T5" fmla="*/ 360 h 360"/>
                  <a:gd name="T6" fmla="*/ 180 w 180"/>
                  <a:gd name="T7" fmla="*/ 90 h 360"/>
                  <a:gd name="T8" fmla="*/ 90 w 180"/>
                  <a:gd name="T9" fmla="*/ 0 h 360"/>
                </a:gdLst>
                <a:ahLst/>
                <a:cxnLst>
                  <a:cxn ang="0">
                    <a:pos x="T0" y="T1"/>
                  </a:cxn>
                  <a:cxn ang="0">
                    <a:pos x="T2" y="T3"/>
                  </a:cxn>
                  <a:cxn ang="0">
                    <a:pos x="T4" y="T5"/>
                  </a:cxn>
                  <a:cxn ang="0">
                    <a:pos x="T6" y="T7"/>
                  </a:cxn>
                  <a:cxn ang="0">
                    <a:pos x="T8" y="T9"/>
                  </a:cxn>
                </a:cxnLst>
                <a:rect l="0" t="0" r="r" b="b"/>
                <a:pathLst>
                  <a:path w="180" h="360">
                    <a:moveTo>
                      <a:pt x="180" y="240"/>
                    </a:moveTo>
                    <a:lnTo>
                      <a:pt x="0" y="210"/>
                    </a:lnTo>
                    <a:lnTo>
                      <a:pt x="60" y="360"/>
                    </a:lnTo>
                    <a:lnTo>
                      <a:pt x="180" y="90"/>
                    </a:lnTo>
                    <a:lnTo>
                      <a:pt x="9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3" name="Line 2523">
                <a:extLst>
                  <a:ext uri="{FF2B5EF4-FFF2-40B4-BE49-F238E27FC236}">
                    <a16:creationId xmlns:a16="http://schemas.microsoft.com/office/drawing/2014/main" id="{702C61C3-8BBA-4505-ACA3-262390C3945B}"/>
                  </a:ext>
                </a:extLst>
              </p:cNvPr>
              <p:cNvSpPr>
                <a:spLocks noChangeShapeType="1"/>
              </p:cNvSpPr>
              <p:nvPr/>
            </p:nvSpPr>
            <p:spPr bwMode="auto">
              <a:xfrm flipV="1">
                <a:off x="1276" y="204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4" name="Freeform 2524">
                <a:extLst>
                  <a:ext uri="{FF2B5EF4-FFF2-40B4-BE49-F238E27FC236}">
                    <a16:creationId xmlns:a16="http://schemas.microsoft.com/office/drawing/2014/main" id="{E2653A58-99B5-4360-8E26-DE7522771918}"/>
                  </a:ext>
                </a:extLst>
              </p:cNvPr>
              <p:cNvSpPr>
                <a:spLocks/>
              </p:cNvSpPr>
              <p:nvPr/>
            </p:nvSpPr>
            <p:spPr bwMode="auto">
              <a:xfrm>
                <a:off x="1606" y="1260"/>
                <a:ext cx="180" cy="330"/>
              </a:xfrm>
              <a:custGeom>
                <a:avLst/>
                <a:gdLst>
                  <a:gd name="T0" fmla="*/ 60 w 180"/>
                  <a:gd name="T1" fmla="*/ 0 h 330"/>
                  <a:gd name="T2" fmla="*/ 180 w 180"/>
                  <a:gd name="T3" fmla="*/ 30 h 330"/>
                  <a:gd name="T4" fmla="*/ 0 w 180"/>
                  <a:gd name="T5" fmla="*/ 120 h 330"/>
                  <a:gd name="T6" fmla="*/ 180 w 180"/>
                  <a:gd name="T7" fmla="*/ 330 h 330"/>
                </a:gdLst>
                <a:ahLst/>
                <a:cxnLst>
                  <a:cxn ang="0">
                    <a:pos x="T0" y="T1"/>
                  </a:cxn>
                  <a:cxn ang="0">
                    <a:pos x="T2" y="T3"/>
                  </a:cxn>
                  <a:cxn ang="0">
                    <a:pos x="T4" y="T5"/>
                  </a:cxn>
                  <a:cxn ang="0">
                    <a:pos x="T6" y="T7"/>
                  </a:cxn>
                </a:cxnLst>
                <a:rect l="0" t="0" r="r" b="b"/>
                <a:pathLst>
                  <a:path w="180" h="330">
                    <a:moveTo>
                      <a:pt x="60" y="0"/>
                    </a:moveTo>
                    <a:lnTo>
                      <a:pt x="180" y="30"/>
                    </a:lnTo>
                    <a:lnTo>
                      <a:pt x="0" y="120"/>
                    </a:lnTo>
                    <a:lnTo>
                      <a:pt x="18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5" name="Freeform 2525">
                <a:extLst>
                  <a:ext uri="{FF2B5EF4-FFF2-40B4-BE49-F238E27FC236}">
                    <a16:creationId xmlns:a16="http://schemas.microsoft.com/office/drawing/2014/main" id="{C0FFE18F-4C1D-4159-937B-A647E7D04AE0}"/>
                  </a:ext>
                </a:extLst>
              </p:cNvPr>
              <p:cNvSpPr>
                <a:spLocks/>
              </p:cNvSpPr>
              <p:nvPr/>
            </p:nvSpPr>
            <p:spPr bwMode="auto">
              <a:xfrm>
                <a:off x="1576" y="1530"/>
                <a:ext cx="180" cy="150"/>
              </a:xfrm>
              <a:custGeom>
                <a:avLst/>
                <a:gdLst>
                  <a:gd name="T0" fmla="*/ 60 w 180"/>
                  <a:gd name="T1" fmla="*/ 0 h 150"/>
                  <a:gd name="T2" fmla="*/ 180 w 180"/>
                  <a:gd name="T3" fmla="*/ 150 h 150"/>
                  <a:gd name="T4" fmla="*/ 0 w 180"/>
                  <a:gd name="T5" fmla="*/ 150 h 150"/>
                </a:gdLst>
                <a:ahLst/>
                <a:cxnLst>
                  <a:cxn ang="0">
                    <a:pos x="T0" y="T1"/>
                  </a:cxn>
                  <a:cxn ang="0">
                    <a:pos x="T2" y="T3"/>
                  </a:cxn>
                  <a:cxn ang="0">
                    <a:pos x="T4" y="T5"/>
                  </a:cxn>
                </a:cxnLst>
                <a:rect l="0" t="0" r="r" b="b"/>
                <a:pathLst>
                  <a:path w="180" h="150">
                    <a:moveTo>
                      <a:pt x="60" y="0"/>
                    </a:moveTo>
                    <a:lnTo>
                      <a:pt x="180" y="15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6" name="Freeform 2526">
                <a:extLst>
                  <a:ext uri="{FF2B5EF4-FFF2-40B4-BE49-F238E27FC236}">
                    <a16:creationId xmlns:a16="http://schemas.microsoft.com/office/drawing/2014/main" id="{0F9CE1C5-6FBE-463C-A5C4-6D9DE879C64E}"/>
                  </a:ext>
                </a:extLst>
              </p:cNvPr>
              <p:cNvSpPr>
                <a:spLocks/>
              </p:cNvSpPr>
              <p:nvPr/>
            </p:nvSpPr>
            <p:spPr bwMode="auto">
              <a:xfrm>
                <a:off x="1276" y="1110"/>
                <a:ext cx="690" cy="300"/>
              </a:xfrm>
              <a:custGeom>
                <a:avLst/>
                <a:gdLst>
                  <a:gd name="T0" fmla="*/ 330 w 690"/>
                  <a:gd name="T1" fmla="*/ 270 h 300"/>
                  <a:gd name="T2" fmla="*/ 240 w 690"/>
                  <a:gd name="T3" fmla="*/ 150 h 300"/>
                  <a:gd name="T4" fmla="*/ 180 w 690"/>
                  <a:gd name="T5" fmla="*/ 300 h 300"/>
                  <a:gd name="T6" fmla="*/ 0 w 690"/>
                  <a:gd name="T7" fmla="*/ 210 h 300"/>
                  <a:gd name="T8" fmla="*/ 60 w 690"/>
                  <a:gd name="T9" fmla="*/ 90 h 300"/>
                  <a:gd name="T10" fmla="*/ 240 w 690"/>
                  <a:gd name="T11" fmla="*/ 150 h 300"/>
                  <a:gd name="T12" fmla="*/ 360 w 690"/>
                  <a:gd name="T13" fmla="*/ 30 h 300"/>
                  <a:gd name="T14" fmla="*/ 390 w 690"/>
                  <a:gd name="T15" fmla="*/ 150 h 300"/>
                  <a:gd name="T16" fmla="*/ 480 w 690"/>
                  <a:gd name="T17" fmla="*/ 30 h 300"/>
                  <a:gd name="T18" fmla="*/ 690 w 690"/>
                  <a:gd name="T19" fmla="*/ 120 h 300"/>
                  <a:gd name="T20" fmla="*/ 600 w 690"/>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300">
                    <a:moveTo>
                      <a:pt x="330" y="270"/>
                    </a:moveTo>
                    <a:lnTo>
                      <a:pt x="240" y="150"/>
                    </a:lnTo>
                    <a:lnTo>
                      <a:pt x="180" y="300"/>
                    </a:lnTo>
                    <a:lnTo>
                      <a:pt x="0" y="210"/>
                    </a:lnTo>
                    <a:lnTo>
                      <a:pt x="60" y="90"/>
                    </a:lnTo>
                    <a:lnTo>
                      <a:pt x="240" y="150"/>
                    </a:lnTo>
                    <a:lnTo>
                      <a:pt x="360" y="30"/>
                    </a:lnTo>
                    <a:lnTo>
                      <a:pt x="390" y="150"/>
                    </a:lnTo>
                    <a:lnTo>
                      <a:pt x="480" y="30"/>
                    </a:lnTo>
                    <a:lnTo>
                      <a:pt x="690" y="120"/>
                    </a:lnTo>
                    <a:lnTo>
                      <a:pt x="60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7" name="Freeform 2527">
                <a:extLst>
                  <a:ext uri="{FF2B5EF4-FFF2-40B4-BE49-F238E27FC236}">
                    <a16:creationId xmlns:a16="http://schemas.microsoft.com/office/drawing/2014/main" id="{B3B99F83-5817-4120-9D5C-1A8629EC4C01}"/>
                  </a:ext>
                </a:extLst>
              </p:cNvPr>
              <p:cNvSpPr>
                <a:spLocks/>
              </p:cNvSpPr>
              <p:nvPr/>
            </p:nvSpPr>
            <p:spPr bwMode="auto">
              <a:xfrm>
                <a:off x="1276" y="600"/>
                <a:ext cx="480" cy="600"/>
              </a:xfrm>
              <a:custGeom>
                <a:avLst/>
                <a:gdLst>
                  <a:gd name="T0" fmla="*/ 60 w 480"/>
                  <a:gd name="T1" fmla="*/ 480 h 600"/>
                  <a:gd name="T2" fmla="*/ 180 w 480"/>
                  <a:gd name="T3" fmla="*/ 540 h 600"/>
                  <a:gd name="T4" fmla="*/ 300 w 480"/>
                  <a:gd name="T5" fmla="*/ 420 h 600"/>
                  <a:gd name="T6" fmla="*/ 330 w 480"/>
                  <a:gd name="T7" fmla="*/ 180 h 600"/>
                  <a:gd name="T8" fmla="*/ 390 w 480"/>
                  <a:gd name="T9" fmla="*/ 300 h 600"/>
                  <a:gd name="T10" fmla="*/ 480 w 480"/>
                  <a:gd name="T11" fmla="*/ 210 h 600"/>
                  <a:gd name="T12" fmla="*/ 420 w 480"/>
                  <a:gd name="T13" fmla="*/ 60 h 600"/>
                  <a:gd name="T14" fmla="*/ 300 w 480"/>
                  <a:gd name="T15" fmla="*/ 60 h 600"/>
                  <a:gd name="T16" fmla="*/ 210 w 480"/>
                  <a:gd name="T17" fmla="*/ 0 h 600"/>
                  <a:gd name="T18" fmla="*/ 150 w 480"/>
                  <a:gd name="T19" fmla="*/ 90 h 600"/>
                  <a:gd name="T20" fmla="*/ 180 w 480"/>
                  <a:gd name="T21" fmla="*/ 270 h 600"/>
                  <a:gd name="T22" fmla="*/ 30 w 480"/>
                  <a:gd name="T23" fmla="*/ 150 h 600"/>
                  <a:gd name="T24" fmla="*/ 0 w 480"/>
                  <a:gd name="T25" fmla="*/ 300 h 600"/>
                  <a:gd name="T26" fmla="*/ 120 w 480"/>
                  <a:gd name="T27" fmla="*/ 390 h 600"/>
                  <a:gd name="T28" fmla="*/ 60 w 480"/>
                  <a:gd name="T29" fmla="*/ 480 h 600"/>
                  <a:gd name="T30" fmla="*/ 60 w 480"/>
                  <a:gd name="T3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0" h="600">
                    <a:moveTo>
                      <a:pt x="60" y="480"/>
                    </a:moveTo>
                    <a:lnTo>
                      <a:pt x="180" y="540"/>
                    </a:lnTo>
                    <a:lnTo>
                      <a:pt x="300" y="420"/>
                    </a:lnTo>
                    <a:lnTo>
                      <a:pt x="330" y="180"/>
                    </a:lnTo>
                    <a:lnTo>
                      <a:pt x="390" y="300"/>
                    </a:lnTo>
                    <a:lnTo>
                      <a:pt x="480" y="210"/>
                    </a:lnTo>
                    <a:lnTo>
                      <a:pt x="420" y="60"/>
                    </a:lnTo>
                    <a:lnTo>
                      <a:pt x="300" y="60"/>
                    </a:lnTo>
                    <a:lnTo>
                      <a:pt x="210" y="0"/>
                    </a:lnTo>
                    <a:lnTo>
                      <a:pt x="150" y="90"/>
                    </a:lnTo>
                    <a:lnTo>
                      <a:pt x="180" y="270"/>
                    </a:lnTo>
                    <a:lnTo>
                      <a:pt x="30" y="150"/>
                    </a:lnTo>
                    <a:lnTo>
                      <a:pt x="0" y="300"/>
                    </a:lnTo>
                    <a:lnTo>
                      <a:pt x="120" y="390"/>
                    </a:lnTo>
                    <a:lnTo>
                      <a:pt x="60" y="480"/>
                    </a:lnTo>
                    <a:lnTo>
                      <a:pt x="60" y="6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8" name="Freeform 2528">
                <a:extLst>
                  <a:ext uri="{FF2B5EF4-FFF2-40B4-BE49-F238E27FC236}">
                    <a16:creationId xmlns:a16="http://schemas.microsoft.com/office/drawing/2014/main" id="{D008C2F2-BC64-4AFD-B985-4FD60F52E2F7}"/>
                  </a:ext>
                </a:extLst>
              </p:cNvPr>
              <p:cNvSpPr>
                <a:spLocks/>
              </p:cNvSpPr>
              <p:nvPr/>
            </p:nvSpPr>
            <p:spPr bwMode="auto">
              <a:xfrm>
                <a:off x="1336" y="450"/>
                <a:ext cx="90" cy="240"/>
              </a:xfrm>
              <a:custGeom>
                <a:avLst/>
                <a:gdLst>
                  <a:gd name="T0" fmla="*/ 0 w 90"/>
                  <a:gd name="T1" fmla="*/ 120 h 240"/>
                  <a:gd name="T2" fmla="*/ 90 w 90"/>
                  <a:gd name="T3" fmla="*/ 240 h 240"/>
                  <a:gd name="T4" fmla="*/ 60 w 90"/>
                  <a:gd name="T5" fmla="*/ 0 h 240"/>
                </a:gdLst>
                <a:ahLst/>
                <a:cxnLst>
                  <a:cxn ang="0">
                    <a:pos x="T0" y="T1"/>
                  </a:cxn>
                  <a:cxn ang="0">
                    <a:pos x="T2" y="T3"/>
                  </a:cxn>
                  <a:cxn ang="0">
                    <a:pos x="T4" y="T5"/>
                  </a:cxn>
                </a:cxnLst>
                <a:rect l="0" t="0" r="r" b="b"/>
                <a:pathLst>
                  <a:path w="90" h="240">
                    <a:moveTo>
                      <a:pt x="0" y="120"/>
                    </a:moveTo>
                    <a:lnTo>
                      <a:pt x="90" y="24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9" name="Freeform 2529">
                <a:extLst>
                  <a:ext uri="{FF2B5EF4-FFF2-40B4-BE49-F238E27FC236}">
                    <a16:creationId xmlns:a16="http://schemas.microsoft.com/office/drawing/2014/main" id="{E84C49C4-39B5-4403-8E6D-4F0C93A9A624}"/>
                  </a:ext>
                </a:extLst>
              </p:cNvPr>
              <p:cNvSpPr>
                <a:spLocks/>
              </p:cNvSpPr>
              <p:nvPr/>
            </p:nvSpPr>
            <p:spPr bwMode="auto">
              <a:xfrm>
                <a:off x="1426" y="690"/>
                <a:ext cx="180" cy="330"/>
              </a:xfrm>
              <a:custGeom>
                <a:avLst/>
                <a:gdLst>
                  <a:gd name="T0" fmla="*/ 180 w 180"/>
                  <a:gd name="T1" fmla="*/ 90 h 330"/>
                  <a:gd name="T2" fmla="*/ 30 w 180"/>
                  <a:gd name="T3" fmla="*/ 180 h 330"/>
                  <a:gd name="T4" fmla="*/ 150 w 180"/>
                  <a:gd name="T5" fmla="*/ 330 h 330"/>
                  <a:gd name="T6" fmla="*/ 0 w 180"/>
                  <a:gd name="T7" fmla="*/ 0 h 330"/>
                </a:gdLst>
                <a:ahLst/>
                <a:cxnLst>
                  <a:cxn ang="0">
                    <a:pos x="T0" y="T1"/>
                  </a:cxn>
                  <a:cxn ang="0">
                    <a:pos x="T2" y="T3"/>
                  </a:cxn>
                  <a:cxn ang="0">
                    <a:pos x="T4" y="T5"/>
                  </a:cxn>
                  <a:cxn ang="0">
                    <a:pos x="T6" y="T7"/>
                  </a:cxn>
                </a:cxnLst>
                <a:rect l="0" t="0" r="r" b="b"/>
                <a:pathLst>
                  <a:path w="180" h="330">
                    <a:moveTo>
                      <a:pt x="180" y="90"/>
                    </a:moveTo>
                    <a:lnTo>
                      <a:pt x="30" y="180"/>
                    </a:lnTo>
                    <a:lnTo>
                      <a:pt x="15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0" name="Freeform 2530">
                <a:extLst>
                  <a:ext uri="{FF2B5EF4-FFF2-40B4-BE49-F238E27FC236}">
                    <a16:creationId xmlns:a16="http://schemas.microsoft.com/office/drawing/2014/main" id="{11FA09BE-B278-4CE4-9295-227E3B0FAB13}"/>
                  </a:ext>
                </a:extLst>
              </p:cNvPr>
              <p:cNvSpPr>
                <a:spLocks/>
              </p:cNvSpPr>
              <p:nvPr/>
            </p:nvSpPr>
            <p:spPr bwMode="auto">
              <a:xfrm>
                <a:off x="1576" y="900"/>
                <a:ext cx="210" cy="240"/>
              </a:xfrm>
              <a:custGeom>
                <a:avLst/>
                <a:gdLst>
                  <a:gd name="T0" fmla="*/ 90 w 210"/>
                  <a:gd name="T1" fmla="*/ 0 h 240"/>
                  <a:gd name="T2" fmla="*/ 60 w 210"/>
                  <a:gd name="T3" fmla="*/ 240 h 240"/>
                  <a:gd name="T4" fmla="*/ 0 w 210"/>
                  <a:gd name="T5" fmla="*/ 120 h 240"/>
                  <a:gd name="T6" fmla="*/ 180 w 210"/>
                  <a:gd name="T7" fmla="*/ 240 h 240"/>
                  <a:gd name="T8" fmla="*/ 210 w 210"/>
                  <a:gd name="T9" fmla="*/ 60 h 240"/>
                  <a:gd name="T10" fmla="*/ 90 w 210"/>
                  <a:gd name="T11" fmla="*/ 0 h 240"/>
                </a:gdLst>
                <a:ahLst/>
                <a:cxnLst>
                  <a:cxn ang="0">
                    <a:pos x="T0" y="T1"/>
                  </a:cxn>
                  <a:cxn ang="0">
                    <a:pos x="T2" y="T3"/>
                  </a:cxn>
                  <a:cxn ang="0">
                    <a:pos x="T4" y="T5"/>
                  </a:cxn>
                  <a:cxn ang="0">
                    <a:pos x="T6" y="T7"/>
                  </a:cxn>
                  <a:cxn ang="0">
                    <a:pos x="T8" y="T9"/>
                  </a:cxn>
                  <a:cxn ang="0">
                    <a:pos x="T10" y="T11"/>
                  </a:cxn>
                </a:cxnLst>
                <a:rect l="0" t="0" r="r" b="b"/>
                <a:pathLst>
                  <a:path w="210" h="240">
                    <a:moveTo>
                      <a:pt x="90" y="0"/>
                    </a:moveTo>
                    <a:lnTo>
                      <a:pt x="60" y="240"/>
                    </a:lnTo>
                    <a:lnTo>
                      <a:pt x="0" y="120"/>
                    </a:lnTo>
                    <a:lnTo>
                      <a:pt x="180" y="240"/>
                    </a:lnTo>
                    <a:lnTo>
                      <a:pt x="210" y="6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1" name="Line 2531">
                <a:extLst>
                  <a:ext uri="{FF2B5EF4-FFF2-40B4-BE49-F238E27FC236}">
                    <a16:creationId xmlns:a16="http://schemas.microsoft.com/office/drawing/2014/main" id="{71205486-5C62-4D6E-82C1-4BB259C944A6}"/>
                  </a:ext>
                </a:extLst>
              </p:cNvPr>
              <p:cNvSpPr>
                <a:spLocks noChangeShapeType="1"/>
              </p:cNvSpPr>
              <p:nvPr/>
            </p:nvSpPr>
            <p:spPr bwMode="auto">
              <a:xfrm flipV="1">
                <a:off x="1576" y="960"/>
                <a:ext cx="21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2" name="Freeform 2532">
                <a:extLst>
                  <a:ext uri="{FF2B5EF4-FFF2-40B4-BE49-F238E27FC236}">
                    <a16:creationId xmlns:a16="http://schemas.microsoft.com/office/drawing/2014/main" id="{30E8FCF6-439A-40D0-B8B0-6C666424C9EC}"/>
                  </a:ext>
                </a:extLst>
              </p:cNvPr>
              <p:cNvSpPr>
                <a:spLocks/>
              </p:cNvSpPr>
              <p:nvPr/>
            </p:nvSpPr>
            <p:spPr bwMode="auto">
              <a:xfrm>
                <a:off x="1276" y="990"/>
                <a:ext cx="360" cy="330"/>
              </a:xfrm>
              <a:custGeom>
                <a:avLst/>
                <a:gdLst>
                  <a:gd name="T0" fmla="*/ 120 w 360"/>
                  <a:gd name="T1" fmla="*/ 0 h 330"/>
                  <a:gd name="T2" fmla="*/ 360 w 360"/>
                  <a:gd name="T3" fmla="*/ 150 h 330"/>
                  <a:gd name="T4" fmla="*/ 180 w 360"/>
                  <a:gd name="T5" fmla="*/ 150 h 330"/>
                  <a:gd name="T6" fmla="*/ 240 w 360"/>
                  <a:gd name="T7" fmla="*/ 270 h 330"/>
                  <a:gd name="T8" fmla="*/ 0 w 360"/>
                  <a:gd name="T9" fmla="*/ 330 h 330"/>
                </a:gdLst>
                <a:ahLst/>
                <a:cxnLst>
                  <a:cxn ang="0">
                    <a:pos x="T0" y="T1"/>
                  </a:cxn>
                  <a:cxn ang="0">
                    <a:pos x="T2" y="T3"/>
                  </a:cxn>
                  <a:cxn ang="0">
                    <a:pos x="T4" y="T5"/>
                  </a:cxn>
                  <a:cxn ang="0">
                    <a:pos x="T6" y="T7"/>
                  </a:cxn>
                  <a:cxn ang="0">
                    <a:pos x="T8" y="T9"/>
                  </a:cxn>
                </a:cxnLst>
                <a:rect l="0" t="0" r="r" b="b"/>
                <a:pathLst>
                  <a:path w="360" h="330">
                    <a:moveTo>
                      <a:pt x="120" y="0"/>
                    </a:moveTo>
                    <a:lnTo>
                      <a:pt x="360" y="150"/>
                    </a:lnTo>
                    <a:lnTo>
                      <a:pt x="180" y="150"/>
                    </a:lnTo>
                    <a:lnTo>
                      <a:pt x="24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3" name="Line 2533">
                <a:extLst>
                  <a:ext uri="{FF2B5EF4-FFF2-40B4-BE49-F238E27FC236}">
                    <a16:creationId xmlns:a16="http://schemas.microsoft.com/office/drawing/2014/main" id="{0BFA1CC8-EC1A-4803-B4FE-D6E6B7EEABF3}"/>
                  </a:ext>
                </a:extLst>
              </p:cNvPr>
              <p:cNvSpPr>
                <a:spLocks noChangeShapeType="1"/>
              </p:cNvSpPr>
              <p:nvPr/>
            </p:nvSpPr>
            <p:spPr bwMode="auto">
              <a:xfrm flipV="1">
                <a:off x="1336" y="1140"/>
                <a:ext cx="12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4" name="Freeform 2534">
                <a:extLst>
                  <a:ext uri="{FF2B5EF4-FFF2-40B4-BE49-F238E27FC236}">
                    <a16:creationId xmlns:a16="http://schemas.microsoft.com/office/drawing/2014/main" id="{65C31F46-D186-4CB1-A5BC-1A331EEB557A}"/>
                  </a:ext>
                </a:extLst>
              </p:cNvPr>
              <p:cNvSpPr>
                <a:spLocks/>
              </p:cNvSpPr>
              <p:nvPr/>
            </p:nvSpPr>
            <p:spPr bwMode="auto">
              <a:xfrm>
                <a:off x="1336" y="1290"/>
                <a:ext cx="450" cy="600"/>
              </a:xfrm>
              <a:custGeom>
                <a:avLst/>
                <a:gdLst>
                  <a:gd name="T0" fmla="*/ 270 w 450"/>
                  <a:gd name="T1" fmla="*/ 510 h 600"/>
                  <a:gd name="T2" fmla="*/ 150 w 450"/>
                  <a:gd name="T3" fmla="*/ 600 h 600"/>
                  <a:gd name="T4" fmla="*/ 270 w 450"/>
                  <a:gd name="T5" fmla="*/ 90 h 600"/>
                  <a:gd name="T6" fmla="*/ 60 w 450"/>
                  <a:gd name="T7" fmla="*/ 330 h 600"/>
                  <a:gd name="T8" fmla="*/ 0 w 450"/>
                  <a:gd name="T9" fmla="*/ 210 h 600"/>
                  <a:gd name="T10" fmla="*/ 120 w 450"/>
                  <a:gd name="T11" fmla="*/ 120 h 600"/>
                  <a:gd name="T12" fmla="*/ 240 w 450"/>
                  <a:gd name="T13" fmla="*/ 390 h 600"/>
                  <a:gd name="T14" fmla="*/ 300 w 450"/>
                  <a:gd name="T15" fmla="*/ 240 h 600"/>
                  <a:gd name="T16" fmla="*/ 450 w 45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 h="600">
                    <a:moveTo>
                      <a:pt x="270" y="510"/>
                    </a:moveTo>
                    <a:lnTo>
                      <a:pt x="150" y="600"/>
                    </a:lnTo>
                    <a:lnTo>
                      <a:pt x="270" y="90"/>
                    </a:lnTo>
                    <a:lnTo>
                      <a:pt x="60" y="330"/>
                    </a:lnTo>
                    <a:lnTo>
                      <a:pt x="0" y="210"/>
                    </a:lnTo>
                    <a:lnTo>
                      <a:pt x="120" y="120"/>
                    </a:lnTo>
                    <a:lnTo>
                      <a:pt x="240" y="390"/>
                    </a:lnTo>
                    <a:lnTo>
                      <a:pt x="300" y="24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5" name="Freeform 2535">
                <a:extLst>
                  <a:ext uri="{FF2B5EF4-FFF2-40B4-BE49-F238E27FC236}">
                    <a16:creationId xmlns:a16="http://schemas.microsoft.com/office/drawing/2014/main" id="{3E0A7DF0-ED4D-4854-B808-31E93A3D36E4}"/>
                  </a:ext>
                </a:extLst>
              </p:cNvPr>
              <p:cNvSpPr>
                <a:spLocks/>
              </p:cNvSpPr>
              <p:nvPr/>
            </p:nvSpPr>
            <p:spPr bwMode="auto">
              <a:xfrm>
                <a:off x="1486" y="60"/>
                <a:ext cx="390" cy="540"/>
              </a:xfrm>
              <a:custGeom>
                <a:avLst/>
                <a:gdLst>
                  <a:gd name="T0" fmla="*/ 90 w 390"/>
                  <a:gd name="T1" fmla="*/ 210 h 540"/>
                  <a:gd name="T2" fmla="*/ 270 w 390"/>
                  <a:gd name="T3" fmla="*/ 0 h 540"/>
                  <a:gd name="T4" fmla="*/ 390 w 390"/>
                  <a:gd name="T5" fmla="*/ 90 h 540"/>
                  <a:gd name="T6" fmla="*/ 360 w 390"/>
                  <a:gd name="T7" fmla="*/ 240 h 540"/>
                  <a:gd name="T8" fmla="*/ 270 w 390"/>
                  <a:gd name="T9" fmla="*/ 210 h 540"/>
                  <a:gd name="T10" fmla="*/ 60 w 390"/>
                  <a:gd name="T11" fmla="*/ 360 h 540"/>
                  <a:gd name="T12" fmla="*/ 90 w 390"/>
                  <a:gd name="T13" fmla="*/ 210 h 540"/>
                  <a:gd name="T14" fmla="*/ 240 w 390"/>
                  <a:gd name="T15" fmla="*/ 300 h 540"/>
                  <a:gd name="T16" fmla="*/ 0 w 390"/>
                  <a:gd name="T1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40">
                    <a:moveTo>
                      <a:pt x="90" y="210"/>
                    </a:moveTo>
                    <a:lnTo>
                      <a:pt x="270" y="0"/>
                    </a:lnTo>
                    <a:lnTo>
                      <a:pt x="390" y="90"/>
                    </a:lnTo>
                    <a:lnTo>
                      <a:pt x="360" y="240"/>
                    </a:lnTo>
                    <a:lnTo>
                      <a:pt x="270" y="210"/>
                    </a:lnTo>
                    <a:lnTo>
                      <a:pt x="60" y="360"/>
                    </a:lnTo>
                    <a:lnTo>
                      <a:pt x="90" y="210"/>
                    </a:lnTo>
                    <a:lnTo>
                      <a:pt x="240" y="300"/>
                    </a:lnTo>
                    <a:lnTo>
                      <a:pt x="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6" name="Line 2536">
                <a:extLst>
                  <a:ext uri="{FF2B5EF4-FFF2-40B4-BE49-F238E27FC236}">
                    <a16:creationId xmlns:a16="http://schemas.microsoft.com/office/drawing/2014/main" id="{07E2B77D-0E41-4483-BEA1-4565162D3485}"/>
                  </a:ext>
                </a:extLst>
              </p:cNvPr>
              <p:cNvSpPr>
                <a:spLocks noChangeShapeType="1"/>
              </p:cNvSpPr>
              <p:nvPr/>
            </p:nvSpPr>
            <p:spPr bwMode="auto">
              <a:xfrm>
                <a:off x="1276" y="12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7" name="Freeform 2537">
                <a:extLst>
                  <a:ext uri="{FF2B5EF4-FFF2-40B4-BE49-F238E27FC236}">
                    <a16:creationId xmlns:a16="http://schemas.microsoft.com/office/drawing/2014/main" id="{DBBA638F-5C7B-42E1-B71A-618C1BB961EF}"/>
                  </a:ext>
                </a:extLst>
              </p:cNvPr>
              <p:cNvSpPr>
                <a:spLocks/>
              </p:cNvSpPr>
              <p:nvPr/>
            </p:nvSpPr>
            <p:spPr bwMode="auto">
              <a:xfrm>
                <a:off x="1306" y="420"/>
                <a:ext cx="300" cy="570"/>
              </a:xfrm>
              <a:custGeom>
                <a:avLst/>
                <a:gdLst>
                  <a:gd name="T0" fmla="*/ 90 w 300"/>
                  <a:gd name="T1" fmla="*/ 30 h 570"/>
                  <a:gd name="T2" fmla="*/ 240 w 300"/>
                  <a:gd name="T3" fmla="*/ 0 h 570"/>
                  <a:gd name="T4" fmla="*/ 180 w 300"/>
                  <a:gd name="T5" fmla="*/ 180 h 570"/>
                  <a:gd name="T6" fmla="*/ 90 w 300"/>
                  <a:gd name="T7" fmla="*/ 30 h 570"/>
                  <a:gd name="T8" fmla="*/ 30 w 300"/>
                  <a:gd name="T9" fmla="*/ 150 h 570"/>
                  <a:gd name="T10" fmla="*/ 0 w 300"/>
                  <a:gd name="T11" fmla="*/ 330 h 570"/>
                  <a:gd name="T12" fmla="*/ 90 w 300"/>
                  <a:gd name="T13" fmla="*/ 570 h 570"/>
                  <a:gd name="T14" fmla="*/ 150 w 300"/>
                  <a:gd name="T15" fmla="*/ 450 h 570"/>
                  <a:gd name="T16" fmla="*/ 270 w 300"/>
                  <a:gd name="T17" fmla="*/ 240 h 570"/>
                  <a:gd name="T18" fmla="*/ 300 w 300"/>
                  <a:gd name="T19" fmla="*/ 120 h 570"/>
                  <a:gd name="T20" fmla="*/ 240 w 30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570">
                    <a:moveTo>
                      <a:pt x="90" y="30"/>
                    </a:moveTo>
                    <a:lnTo>
                      <a:pt x="240" y="0"/>
                    </a:lnTo>
                    <a:lnTo>
                      <a:pt x="180" y="180"/>
                    </a:lnTo>
                    <a:lnTo>
                      <a:pt x="90" y="30"/>
                    </a:lnTo>
                    <a:lnTo>
                      <a:pt x="30" y="150"/>
                    </a:lnTo>
                    <a:lnTo>
                      <a:pt x="0" y="330"/>
                    </a:lnTo>
                    <a:lnTo>
                      <a:pt x="90" y="570"/>
                    </a:lnTo>
                    <a:lnTo>
                      <a:pt x="150" y="450"/>
                    </a:lnTo>
                    <a:lnTo>
                      <a:pt x="270" y="240"/>
                    </a:lnTo>
                    <a:lnTo>
                      <a:pt x="300" y="12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8" name="Freeform 2538">
                <a:extLst>
                  <a:ext uri="{FF2B5EF4-FFF2-40B4-BE49-F238E27FC236}">
                    <a16:creationId xmlns:a16="http://schemas.microsoft.com/office/drawing/2014/main" id="{A619B4ED-B54D-4EE5-8CEA-DE92F0CC8B1C}"/>
                  </a:ext>
                </a:extLst>
              </p:cNvPr>
              <p:cNvSpPr>
                <a:spLocks/>
              </p:cNvSpPr>
              <p:nvPr/>
            </p:nvSpPr>
            <p:spPr bwMode="auto">
              <a:xfrm>
                <a:off x="1696" y="300"/>
                <a:ext cx="150" cy="360"/>
              </a:xfrm>
              <a:custGeom>
                <a:avLst/>
                <a:gdLst>
                  <a:gd name="T0" fmla="*/ 0 w 150"/>
                  <a:gd name="T1" fmla="*/ 360 h 360"/>
                  <a:gd name="T2" fmla="*/ 30 w 150"/>
                  <a:gd name="T3" fmla="*/ 180 h 360"/>
                  <a:gd name="T4" fmla="*/ 150 w 150"/>
                  <a:gd name="T5" fmla="*/ 0 h 360"/>
                  <a:gd name="T6" fmla="*/ 30 w 150"/>
                  <a:gd name="T7" fmla="*/ 60 h 360"/>
                </a:gdLst>
                <a:ahLst/>
                <a:cxnLst>
                  <a:cxn ang="0">
                    <a:pos x="T0" y="T1"/>
                  </a:cxn>
                  <a:cxn ang="0">
                    <a:pos x="T2" y="T3"/>
                  </a:cxn>
                  <a:cxn ang="0">
                    <a:pos x="T4" y="T5"/>
                  </a:cxn>
                  <a:cxn ang="0">
                    <a:pos x="T6" y="T7"/>
                  </a:cxn>
                </a:cxnLst>
                <a:rect l="0" t="0" r="r" b="b"/>
                <a:pathLst>
                  <a:path w="150" h="360">
                    <a:moveTo>
                      <a:pt x="0" y="360"/>
                    </a:moveTo>
                    <a:lnTo>
                      <a:pt x="30" y="180"/>
                    </a:lnTo>
                    <a:lnTo>
                      <a:pt x="150" y="0"/>
                    </a:lnTo>
                    <a:lnTo>
                      <a:pt x="3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9" name="Freeform 2539">
                <a:extLst>
                  <a:ext uri="{FF2B5EF4-FFF2-40B4-BE49-F238E27FC236}">
                    <a16:creationId xmlns:a16="http://schemas.microsoft.com/office/drawing/2014/main" id="{D748178E-BD7B-46B0-8122-38D648965ED4}"/>
                  </a:ext>
                </a:extLst>
              </p:cNvPr>
              <p:cNvSpPr>
                <a:spLocks/>
              </p:cNvSpPr>
              <p:nvPr/>
            </p:nvSpPr>
            <p:spPr bwMode="auto">
              <a:xfrm>
                <a:off x="1456" y="60"/>
                <a:ext cx="390" cy="240"/>
              </a:xfrm>
              <a:custGeom>
                <a:avLst/>
                <a:gdLst>
                  <a:gd name="T0" fmla="*/ 390 w 390"/>
                  <a:gd name="T1" fmla="*/ 210 h 240"/>
                  <a:gd name="T2" fmla="*/ 300 w 390"/>
                  <a:gd name="T3" fmla="*/ 0 h 240"/>
                  <a:gd name="T4" fmla="*/ 0 w 390"/>
                  <a:gd name="T5" fmla="*/ 240 h 240"/>
                </a:gdLst>
                <a:ahLst/>
                <a:cxnLst>
                  <a:cxn ang="0">
                    <a:pos x="T0" y="T1"/>
                  </a:cxn>
                  <a:cxn ang="0">
                    <a:pos x="T2" y="T3"/>
                  </a:cxn>
                  <a:cxn ang="0">
                    <a:pos x="T4" y="T5"/>
                  </a:cxn>
                </a:cxnLst>
                <a:rect l="0" t="0" r="r" b="b"/>
                <a:pathLst>
                  <a:path w="390" h="240">
                    <a:moveTo>
                      <a:pt x="390" y="210"/>
                    </a:moveTo>
                    <a:lnTo>
                      <a:pt x="300" y="0"/>
                    </a:lnTo>
                    <a:lnTo>
                      <a:pt x="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0" name="Freeform 2540">
                <a:extLst>
                  <a:ext uri="{FF2B5EF4-FFF2-40B4-BE49-F238E27FC236}">
                    <a16:creationId xmlns:a16="http://schemas.microsoft.com/office/drawing/2014/main" id="{0BAECA8E-5A97-46AE-A204-669CCA3CAB66}"/>
                  </a:ext>
                </a:extLst>
              </p:cNvPr>
              <p:cNvSpPr>
                <a:spLocks/>
              </p:cNvSpPr>
              <p:nvPr/>
            </p:nvSpPr>
            <p:spPr bwMode="auto">
              <a:xfrm>
                <a:off x="3974" y="2700"/>
                <a:ext cx="480" cy="360"/>
              </a:xfrm>
              <a:custGeom>
                <a:avLst/>
                <a:gdLst>
                  <a:gd name="T0" fmla="*/ 0 w 480"/>
                  <a:gd name="T1" fmla="*/ 300 h 360"/>
                  <a:gd name="T2" fmla="*/ 30 w 480"/>
                  <a:gd name="T3" fmla="*/ 150 h 360"/>
                  <a:gd name="T4" fmla="*/ 180 w 480"/>
                  <a:gd name="T5" fmla="*/ 360 h 360"/>
                  <a:gd name="T6" fmla="*/ 330 w 480"/>
                  <a:gd name="T7" fmla="*/ 300 h 360"/>
                  <a:gd name="T8" fmla="*/ 330 w 480"/>
                  <a:gd name="T9" fmla="*/ 210 h 360"/>
                  <a:gd name="T10" fmla="*/ 150 w 480"/>
                  <a:gd name="T11" fmla="*/ 210 h 360"/>
                  <a:gd name="T12" fmla="*/ 420 w 480"/>
                  <a:gd name="T13" fmla="*/ 120 h 360"/>
                  <a:gd name="T14" fmla="*/ 450 w 480"/>
                  <a:gd name="T15" fmla="*/ 270 h 360"/>
                  <a:gd name="T16" fmla="*/ 480 w 480"/>
                  <a:gd name="T1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360">
                    <a:moveTo>
                      <a:pt x="0" y="300"/>
                    </a:moveTo>
                    <a:lnTo>
                      <a:pt x="30" y="150"/>
                    </a:lnTo>
                    <a:lnTo>
                      <a:pt x="180" y="360"/>
                    </a:lnTo>
                    <a:lnTo>
                      <a:pt x="330" y="300"/>
                    </a:lnTo>
                    <a:lnTo>
                      <a:pt x="330" y="210"/>
                    </a:lnTo>
                    <a:lnTo>
                      <a:pt x="150" y="210"/>
                    </a:lnTo>
                    <a:lnTo>
                      <a:pt x="420" y="120"/>
                    </a:lnTo>
                    <a:lnTo>
                      <a:pt x="450" y="270"/>
                    </a:lnTo>
                    <a:lnTo>
                      <a:pt x="4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1" name="Freeform 2541">
                <a:extLst>
                  <a:ext uri="{FF2B5EF4-FFF2-40B4-BE49-F238E27FC236}">
                    <a16:creationId xmlns:a16="http://schemas.microsoft.com/office/drawing/2014/main" id="{B2B70DD8-D8FB-493A-A720-DA5C6961D5BE}"/>
                  </a:ext>
                </a:extLst>
              </p:cNvPr>
              <p:cNvSpPr>
                <a:spLocks/>
              </p:cNvSpPr>
              <p:nvPr/>
            </p:nvSpPr>
            <p:spPr bwMode="auto">
              <a:xfrm>
                <a:off x="3824" y="1950"/>
                <a:ext cx="570" cy="1260"/>
              </a:xfrm>
              <a:custGeom>
                <a:avLst/>
                <a:gdLst>
                  <a:gd name="T0" fmla="*/ 540 w 570"/>
                  <a:gd name="T1" fmla="*/ 1200 h 1260"/>
                  <a:gd name="T2" fmla="*/ 300 w 570"/>
                  <a:gd name="T3" fmla="*/ 1260 h 1260"/>
                  <a:gd name="T4" fmla="*/ 210 w 570"/>
                  <a:gd name="T5" fmla="*/ 1170 h 1260"/>
                  <a:gd name="T6" fmla="*/ 90 w 570"/>
                  <a:gd name="T7" fmla="*/ 1140 h 1260"/>
                  <a:gd name="T8" fmla="*/ 0 w 570"/>
                  <a:gd name="T9" fmla="*/ 990 h 1260"/>
                  <a:gd name="T10" fmla="*/ 180 w 570"/>
                  <a:gd name="T11" fmla="*/ 900 h 1260"/>
                  <a:gd name="T12" fmla="*/ 180 w 570"/>
                  <a:gd name="T13" fmla="*/ 720 h 1260"/>
                  <a:gd name="T14" fmla="*/ 300 w 570"/>
                  <a:gd name="T15" fmla="*/ 960 h 1260"/>
                  <a:gd name="T16" fmla="*/ 300 w 570"/>
                  <a:gd name="T17" fmla="*/ 750 h 1260"/>
                  <a:gd name="T18" fmla="*/ 480 w 570"/>
                  <a:gd name="T19" fmla="*/ 570 h 1260"/>
                  <a:gd name="T20" fmla="*/ 270 w 570"/>
                  <a:gd name="T21" fmla="*/ 630 h 1260"/>
                  <a:gd name="T22" fmla="*/ 150 w 570"/>
                  <a:gd name="T23" fmla="*/ 600 h 1260"/>
                  <a:gd name="T24" fmla="*/ 360 w 570"/>
                  <a:gd name="T25" fmla="*/ 450 h 1260"/>
                  <a:gd name="T26" fmla="*/ 240 w 570"/>
                  <a:gd name="T27" fmla="*/ 300 h 1260"/>
                  <a:gd name="T28" fmla="*/ 120 w 570"/>
                  <a:gd name="T29" fmla="*/ 360 h 1260"/>
                  <a:gd name="T30" fmla="*/ 360 w 570"/>
                  <a:gd name="T31" fmla="*/ 0 h 1260"/>
                  <a:gd name="T32" fmla="*/ 450 w 570"/>
                  <a:gd name="T33" fmla="*/ 210 h 1260"/>
                  <a:gd name="T34" fmla="*/ 570 w 570"/>
                  <a:gd name="T35" fmla="*/ 60 h 1260"/>
                  <a:gd name="T36" fmla="*/ 540 w 570"/>
                  <a:gd name="T37" fmla="*/ 420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1260">
                    <a:moveTo>
                      <a:pt x="540" y="1200"/>
                    </a:moveTo>
                    <a:lnTo>
                      <a:pt x="300" y="1260"/>
                    </a:lnTo>
                    <a:lnTo>
                      <a:pt x="210" y="1170"/>
                    </a:lnTo>
                    <a:lnTo>
                      <a:pt x="90" y="1140"/>
                    </a:lnTo>
                    <a:lnTo>
                      <a:pt x="0" y="990"/>
                    </a:lnTo>
                    <a:lnTo>
                      <a:pt x="180" y="900"/>
                    </a:lnTo>
                    <a:lnTo>
                      <a:pt x="180" y="720"/>
                    </a:lnTo>
                    <a:lnTo>
                      <a:pt x="300" y="960"/>
                    </a:lnTo>
                    <a:lnTo>
                      <a:pt x="300" y="750"/>
                    </a:lnTo>
                    <a:lnTo>
                      <a:pt x="480" y="570"/>
                    </a:lnTo>
                    <a:lnTo>
                      <a:pt x="270" y="630"/>
                    </a:lnTo>
                    <a:lnTo>
                      <a:pt x="150" y="600"/>
                    </a:lnTo>
                    <a:lnTo>
                      <a:pt x="360" y="450"/>
                    </a:lnTo>
                    <a:lnTo>
                      <a:pt x="240" y="300"/>
                    </a:lnTo>
                    <a:lnTo>
                      <a:pt x="120" y="360"/>
                    </a:lnTo>
                    <a:lnTo>
                      <a:pt x="360" y="0"/>
                    </a:lnTo>
                    <a:lnTo>
                      <a:pt x="450" y="210"/>
                    </a:lnTo>
                    <a:lnTo>
                      <a:pt x="570" y="60"/>
                    </a:lnTo>
                    <a:lnTo>
                      <a:pt x="540"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2" name="Freeform 2542">
                <a:extLst>
                  <a:ext uri="{FF2B5EF4-FFF2-40B4-BE49-F238E27FC236}">
                    <a16:creationId xmlns:a16="http://schemas.microsoft.com/office/drawing/2014/main" id="{DB9630F8-6B68-42EA-A82E-4A9809AE077A}"/>
                  </a:ext>
                </a:extLst>
              </p:cNvPr>
              <p:cNvSpPr>
                <a:spLocks/>
              </p:cNvSpPr>
              <p:nvPr/>
            </p:nvSpPr>
            <p:spPr bwMode="auto">
              <a:xfrm>
                <a:off x="3585" y="1890"/>
                <a:ext cx="869" cy="1320"/>
              </a:xfrm>
              <a:custGeom>
                <a:avLst/>
                <a:gdLst>
                  <a:gd name="T0" fmla="*/ 869 w 869"/>
                  <a:gd name="T1" fmla="*/ 660 h 1320"/>
                  <a:gd name="T2" fmla="*/ 839 w 869"/>
                  <a:gd name="T3" fmla="*/ 300 h 1320"/>
                  <a:gd name="T4" fmla="*/ 809 w 869"/>
                  <a:gd name="T5" fmla="*/ 120 h 1320"/>
                  <a:gd name="T6" fmla="*/ 719 w 869"/>
                  <a:gd name="T7" fmla="*/ 0 h 1320"/>
                  <a:gd name="T8" fmla="*/ 599 w 869"/>
                  <a:gd name="T9" fmla="*/ 60 h 1320"/>
                  <a:gd name="T10" fmla="*/ 599 w 869"/>
                  <a:gd name="T11" fmla="*/ 150 h 1320"/>
                  <a:gd name="T12" fmla="*/ 509 w 869"/>
                  <a:gd name="T13" fmla="*/ 270 h 1320"/>
                  <a:gd name="T14" fmla="*/ 479 w 869"/>
                  <a:gd name="T15" fmla="*/ 360 h 1320"/>
                  <a:gd name="T16" fmla="*/ 599 w 869"/>
                  <a:gd name="T17" fmla="*/ 300 h 1320"/>
                  <a:gd name="T18" fmla="*/ 689 w 869"/>
                  <a:gd name="T19" fmla="*/ 270 h 1320"/>
                  <a:gd name="T20" fmla="*/ 659 w 869"/>
                  <a:gd name="T21" fmla="*/ 420 h 1320"/>
                  <a:gd name="T22" fmla="*/ 779 w 869"/>
                  <a:gd name="T23" fmla="*/ 480 h 1320"/>
                  <a:gd name="T24" fmla="*/ 869 w 869"/>
                  <a:gd name="T25" fmla="*/ 660 h 1320"/>
                  <a:gd name="T26" fmla="*/ 719 w 869"/>
                  <a:gd name="T27" fmla="*/ 630 h 1320"/>
                  <a:gd name="T28" fmla="*/ 599 w 869"/>
                  <a:gd name="T29" fmla="*/ 510 h 1320"/>
                  <a:gd name="T30" fmla="*/ 539 w 869"/>
                  <a:gd name="T31" fmla="*/ 600 h 1320"/>
                  <a:gd name="T32" fmla="*/ 509 w 869"/>
                  <a:gd name="T33" fmla="*/ 690 h 1320"/>
                  <a:gd name="T34" fmla="*/ 539 w 869"/>
                  <a:gd name="T35" fmla="*/ 810 h 1320"/>
                  <a:gd name="T36" fmla="*/ 269 w 869"/>
                  <a:gd name="T37" fmla="*/ 870 h 1320"/>
                  <a:gd name="T38" fmla="*/ 419 w 869"/>
                  <a:gd name="T39" fmla="*/ 960 h 1320"/>
                  <a:gd name="T40" fmla="*/ 539 w 869"/>
                  <a:gd name="T41" fmla="*/ 1020 h 1320"/>
                  <a:gd name="T42" fmla="*/ 599 w 869"/>
                  <a:gd name="T43" fmla="*/ 930 h 1320"/>
                  <a:gd name="T44" fmla="*/ 719 w 869"/>
                  <a:gd name="T45" fmla="*/ 840 h 1320"/>
                  <a:gd name="T46" fmla="*/ 779 w 869"/>
                  <a:gd name="T47" fmla="*/ 750 h 1320"/>
                  <a:gd name="T48" fmla="*/ 869 w 869"/>
                  <a:gd name="T49" fmla="*/ 810 h 1320"/>
                  <a:gd name="T50" fmla="*/ 809 w 869"/>
                  <a:gd name="T51" fmla="*/ 930 h 1320"/>
                  <a:gd name="T52" fmla="*/ 719 w 869"/>
                  <a:gd name="T53" fmla="*/ 1020 h 1320"/>
                  <a:gd name="T54" fmla="*/ 839 w 869"/>
                  <a:gd name="T55" fmla="*/ 1080 h 1320"/>
                  <a:gd name="T56" fmla="*/ 719 w 869"/>
                  <a:gd name="T57" fmla="*/ 1110 h 1320"/>
                  <a:gd name="T58" fmla="*/ 779 w 869"/>
                  <a:gd name="T59" fmla="*/ 1260 h 1320"/>
                  <a:gd name="T60" fmla="*/ 689 w 869"/>
                  <a:gd name="T61" fmla="*/ 1230 h 1320"/>
                  <a:gd name="T62" fmla="*/ 539 w 869"/>
                  <a:gd name="T63" fmla="*/ 1320 h 1320"/>
                  <a:gd name="T64" fmla="*/ 569 w 869"/>
                  <a:gd name="T65" fmla="*/ 1170 h 1320"/>
                  <a:gd name="T66" fmla="*/ 449 w 869"/>
                  <a:gd name="T67" fmla="*/ 1230 h 1320"/>
                  <a:gd name="T68" fmla="*/ 389 w 869"/>
                  <a:gd name="T69" fmla="*/ 1110 h 1320"/>
                  <a:gd name="T70" fmla="*/ 329 w 869"/>
                  <a:gd name="T71" fmla="*/ 1200 h 1320"/>
                  <a:gd name="T72" fmla="*/ 299 w 869"/>
                  <a:gd name="T73" fmla="*/ 960 h 1320"/>
                  <a:gd name="T74" fmla="*/ 239 w 869"/>
                  <a:gd name="T75" fmla="*/ 1050 h 1320"/>
                  <a:gd name="T76" fmla="*/ 269 w 869"/>
                  <a:gd name="T77" fmla="*/ 870 h 1320"/>
                  <a:gd name="T78" fmla="*/ 419 w 869"/>
                  <a:gd name="T79" fmla="*/ 780 h 1320"/>
                  <a:gd name="T80" fmla="*/ 239 w 869"/>
                  <a:gd name="T81" fmla="*/ 690 h 1320"/>
                  <a:gd name="T82" fmla="*/ 269 w 869"/>
                  <a:gd name="T83" fmla="*/ 870 h 1320"/>
                  <a:gd name="T84" fmla="*/ 389 w 869"/>
                  <a:gd name="T85" fmla="*/ 660 h 1320"/>
                  <a:gd name="T86" fmla="*/ 419 w 869"/>
                  <a:gd name="T87" fmla="*/ 540 h 1320"/>
                  <a:gd name="T88" fmla="*/ 359 w 869"/>
                  <a:gd name="T89" fmla="*/ 420 h 1320"/>
                  <a:gd name="T90" fmla="*/ 389 w 869"/>
                  <a:gd name="T91" fmla="*/ 270 h 1320"/>
                  <a:gd name="T92" fmla="*/ 239 w 869"/>
                  <a:gd name="T93" fmla="*/ 150 h 1320"/>
                  <a:gd name="T94" fmla="*/ 150 w 869"/>
                  <a:gd name="T95" fmla="*/ 270 h 1320"/>
                  <a:gd name="T96" fmla="*/ 0 w 869"/>
                  <a:gd name="T97" fmla="*/ 360 h 1320"/>
                  <a:gd name="T98" fmla="*/ 0 w 869"/>
                  <a:gd name="T99" fmla="*/ 510 h 1320"/>
                  <a:gd name="T100" fmla="*/ 120 w 869"/>
                  <a:gd name="T101" fmla="*/ 420 h 1320"/>
                  <a:gd name="T102" fmla="*/ 269 w 869"/>
                  <a:gd name="T103" fmla="*/ 300 h 1320"/>
                  <a:gd name="T104" fmla="*/ 239 w 869"/>
                  <a:gd name="T105" fmla="*/ 15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9" h="1320">
                    <a:moveTo>
                      <a:pt x="869" y="660"/>
                    </a:moveTo>
                    <a:lnTo>
                      <a:pt x="839" y="300"/>
                    </a:lnTo>
                    <a:lnTo>
                      <a:pt x="809" y="120"/>
                    </a:lnTo>
                    <a:lnTo>
                      <a:pt x="719" y="0"/>
                    </a:lnTo>
                    <a:lnTo>
                      <a:pt x="599" y="60"/>
                    </a:lnTo>
                    <a:lnTo>
                      <a:pt x="599" y="150"/>
                    </a:lnTo>
                    <a:lnTo>
                      <a:pt x="509" y="270"/>
                    </a:lnTo>
                    <a:lnTo>
                      <a:pt x="479" y="360"/>
                    </a:lnTo>
                    <a:lnTo>
                      <a:pt x="599" y="300"/>
                    </a:lnTo>
                    <a:lnTo>
                      <a:pt x="689" y="270"/>
                    </a:lnTo>
                    <a:lnTo>
                      <a:pt x="659" y="420"/>
                    </a:lnTo>
                    <a:lnTo>
                      <a:pt x="779" y="480"/>
                    </a:lnTo>
                    <a:lnTo>
                      <a:pt x="869" y="660"/>
                    </a:lnTo>
                    <a:lnTo>
                      <a:pt x="719" y="630"/>
                    </a:lnTo>
                    <a:lnTo>
                      <a:pt x="599" y="510"/>
                    </a:lnTo>
                    <a:lnTo>
                      <a:pt x="539" y="600"/>
                    </a:lnTo>
                    <a:lnTo>
                      <a:pt x="509" y="690"/>
                    </a:lnTo>
                    <a:lnTo>
                      <a:pt x="539" y="810"/>
                    </a:lnTo>
                    <a:lnTo>
                      <a:pt x="269" y="870"/>
                    </a:lnTo>
                    <a:lnTo>
                      <a:pt x="419" y="960"/>
                    </a:lnTo>
                    <a:lnTo>
                      <a:pt x="539" y="1020"/>
                    </a:lnTo>
                    <a:lnTo>
                      <a:pt x="599" y="930"/>
                    </a:lnTo>
                    <a:lnTo>
                      <a:pt x="719" y="840"/>
                    </a:lnTo>
                    <a:lnTo>
                      <a:pt x="779" y="750"/>
                    </a:lnTo>
                    <a:lnTo>
                      <a:pt x="869" y="810"/>
                    </a:lnTo>
                    <a:lnTo>
                      <a:pt x="809" y="930"/>
                    </a:lnTo>
                    <a:lnTo>
                      <a:pt x="719" y="1020"/>
                    </a:lnTo>
                    <a:lnTo>
                      <a:pt x="839" y="1080"/>
                    </a:lnTo>
                    <a:lnTo>
                      <a:pt x="719" y="1110"/>
                    </a:lnTo>
                    <a:lnTo>
                      <a:pt x="779" y="1260"/>
                    </a:lnTo>
                    <a:lnTo>
                      <a:pt x="689" y="1230"/>
                    </a:lnTo>
                    <a:lnTo>
                      <a:pt x="539" y="1320"/>
                    </a:lnTo>
                    <a:lnTo>
                      <a:pt x="569" y="1170"/>
                    </a:lnTo>
                    <a:lnTo>
                      <a:pt x="449" y="1230"/>
                    </a:lnTo>
                    <a:lnTo>
                      <a:pt x="389" y="1110"/>
                    </a:lnTo>
                    <a:lnTo>
                      <a:pt x="329" y="1200"/>
                    </a:lnTo>
                    <a:lnTo>
                      <a:pt x="299" y="960"/>
                    </a:lnTo>
                    <a:lnTo>
                      <a:pt x="239" y="1050"/>
                    </a:lnTo>
                    <a:lnTo>
                      <a:pt x="269" y="870"/>
                    </a:lnTo>
                    <a:lnTo>
                      <a:pt x="419" y="780"/>
                    </a:lnTo>
                    <a:lnTo>
                      <a:pt x="239" y="690"/>
                    </a:lnTo>
                    <a:lnTo>
                      <a:pt x="269" y="870"/>
                    </a:lnTo>
                    <a:lnTo>
                      <a:pt x="389" y="660"/>
                    </a:lnTo>
                    <a:lnTo>
                      <a:pt x="419" y="540"/>
                    </a:lnTo>
                    <a:lnTo>
                      <a:pt x="359" y="420"/>
                    </a:lnTo>
                    <a:lnTo>
                      <a:pt x="389" y="270"/>
                    </a:lnTo>
                    <a:lnTo>
                      <a:pt x="239" y="150"/>
                    </a:lnTo>
                    <a:lnTo>
                      <a:pt x="150" y="270"/>
                    </a:lnTo>
                    <a:lnTo>
                      <a:pt x="0" y="360"/>
                    </a:lnTo>
                    <a:lnTo>
                      <a:pt x="0" y="510"/>
                    </a:lnTo>
                    <a:lnTo>
                      <a:pt x="120" y="420"/>
                    </a:lnTo>
                    <a:lnTo>
                      <a:pt x="269" y="300"/>
                    </a:lnTo>
                    <a:lnTo>
                      <a:pt x="239"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3" name="Freeform 2543">
                <a:extLst>
                  <a:ext uri="{FF2B5EF4-FFF2-40B4-BE49-F238E27FC236}">
                    <a16:creationId xmlns:a16="http://schemas.microsoft.com/office/drawing/2014/main" id="{03EDCB1D-E1F2-4BDC-88D4-0B4668915623}"/>
                  </a:ext>
                </a:extLst>
              </p:cNvPr>
              <p:cNvSpPr>
                <a:spLocks/>
              </p:cNvSpPr>
              <p:nvPr/>
            </p:nvSpPr>
            <p:spPr bwMode="auto">
              <a:xfrm>
                <a:off x="4004" y="2250"/>
                <a:ext cx="390" cy="570"/>
              </a:xfrm>
              <a:custGeom>
                <a:avLst/>
                <a:gdLst>
                  <a:gd name="T0" fmla="*/ 120 w 390"/>
                  <a:gd name="T1" fmla="*/ 450 h 570"/>
                  <a:gd name="T2" fmla="*/ 300 w 390"/>
                  <a:gd name="T3" fmla="*/ 480 h 570"/>
                  <a:gd name="T4" fmla="*/ 390 w 390"/>
                  <a:gd name="T5" fmla="*/ 570 h 570"/>
                  <a:gd name="T6" fmla="*/ 180 w 390"/>
                  <a:gd name="T7" fmla="*/ 570 h 570"/>
                  <a:gd name="T8" fmla="*/ 300 w 390"/>
                  <a:gd name="T9" fmla="*/ 270 h 570"/>
                  <a:gd name="T10" fmla="*/ 300 w 390"/>
                  <a:gd name="T11" fmla="*/ 480 h 570"/>
                  <a:gd name="T12" fmla="*/ 120 w 390"/>
                  <a:gd name="T13" fmla="*/ 240 h 570"/>
                  <a:gd name="T14" fmla="*/ 60 w 390"/>
                  <a:gd name="T15" fmla="*/ 0 h 570"/>
                  <a:gd name="T16" fmla="*/ 0 w 390"/>
                  <a:gd name="T17" fmla="*/ 18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70">
                    <a:moveTo>
                      <a:pt x="120" y="450"/>
                    </a:moveTo>
                    <a:lnTo>
                      <a:pt x="300" y="480"/>
                    </a:lnTo>
                    <a:lnTo>
                      <a:pt x="390" y="570"/>
                    </a:lnTo>
                    <a:lnTo>
                      <a:pt x="180" y="570"/>
                    </a:lnTo>
                    <a:lnTo>
                      <a:pt x="300" y="270"/>
                    </a:lnTo>
                    <a:lnTo>
                      <a:pt x="300" y="480"/>
                    </a:lnTo>
                    <a:lnTo>
                      <a:pt x="120" y="240"/>
                    </a:lnTo>
                    <a:lnTo>
                      <a:pt x="60" y="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4" name="Freeform 2544">
                <a:extLst>
                  <a:ext uri="{FF2B5EF4-FFF2-40B4-BE49-F238E27FC236}">
                    <a16:creationId xmlns:a16="http://schemas.microsoft.com/office/drawing/2014/main" id="{0EBC3809-48AA-4768-85C5-3E621C0B142B}"/>
                  </a:ext>
                </a:extLst>
              </p:cNvPr>
              <p:cNvSpPr>
                <a:spLocks/>
              </p:cNvSpPr>
              <p:nvPr/>
            </p:nvSpPr>
            <p:spPr bwMode="auto">
              <a:xfrm>
                <a:off x="3884" y="2850"/>
                <a:ext cx="420" cy="210"/>
              </a:xfrm>
              <a:custGeom>
                <a:avLst/>
                <a:gdLst>
                  <a:gd name="T0" fmla="*/ 0 w 420"/>
                  <a:gd name="T1" fmla="*/ 0 h 210"/>
                  <a:gd name="T2" fmla="*/ 90 w 420"/>
                  <a:gd name="T3" fmla="*/ 150 h 210"/>
                  <a:gd name="T4" fmla="*/ 270 w 420"/>
                  <a:gd name="T5" fmla="*/ 210 h 210"/>
                  <a:gd name="T6" fmla="*/ 420 w 420"/>
                  <a:gd name="T7" fmla="*/ 60 h 210"/>
                </a:gdLst>
                <a:ahLst/>
                <a:cxnLst>
                  <a:cxn ang="0">
                    <a:pos x="T0" y="T1"/>
                  </a:cxn>
                  <a:cxn ang="0">
                    <a:pos x="T2" y="T3"/>
                  </a:cxn>
                  <a:cxn ang="0">
                    <a:pos x="T4" y="T5"/>
                  </a:cxn>
                  <a:cxn ang="0">
                    <a:pos x="T6" y="T7"/>
                  </a:cxn>
                </a:cxnLst>
                <a:rect l="0" t="0" r="r" b="b"/>
                <a:pathLst>
                  <a:path w="420" h="210">
                    <a:moveTo>
                      <a:pt x="0" y="0"/>
                    </a:moveTo>
                    <a:lnTo>
                      <a:pt x="90" y="150"/>
                    </a:lnTo>
                    <a:lnTo>
                      <a:pt x="270" y="210"/>
                    </a:lnTo>
                    <a:lnTo>
                      <a:pt x="4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5" name="Freeform 2545">
                <a:extLst>
                  <a:ext uri="{FF2B5EF4-FFF2-40B4-BE49-F238E27FC236}">
                    <a16:creationId xmlns:a16="http://schemas.microsoft.com/office/drawing/2014/main" id="{6D4A7759-E745-48B2-8BE7-25FB1C5A1F9B}"/>
                  </a:ext>
                </a:extLst>
              </p:cNvPr>
              <p:cNvSpPr>
                <a:spLocks/>
              </p:cNvSpPr>
              <p:nvPr/>
            </p:nvSpPr>
            <p:spPr bwMode="auto">
              <a:xfrm>
                <a:off x="4124" y="2910"/>
                <a:ext cx="180" cy="210"/>
              </a:xfrm>
              <a:custGeom>
                <a:avLst/>
                <a:gdLst>
                  <a:gd name="T0" fmla="*/ 150 w 180"/>
                  <a:gd name="T1" fmla="*/ 210 h 210"/>
                  <a:gd name="T2" fmla="*/ 30 w 180"/>
                  <a:gd name="T3" fmla="*/ 150 h 210"/>
                  <a:gd name="T4" fmla="*/ 0 w 180"/>
                  <a:gd name="T5" fmla="*/ 0 h 210"/>
                  <a:gd name="T6" fmla="*/ 180 w 180"/>
                  <a:gd name="T7" fmla="*/ 90 h 210"/>
                </a:gdLst>
                <a:ahLst/>
                <a:cxnLst>
                  <a:cxn ang="0">
                    <a:pos x="T0" y="T1"/>
                  </a:cxn>
                  <a:cxn ang="0">
                    <a:pos x="T2" y="T3"/>
                  </a:cxn>
                  <a:cxn ang="0">
                    <a:pos x="T4" y="T5"/>
                  </a:cxn>
                  <a:cxn ang="0">
                    <a:pos x="T6" y="T7"/>
                  </a:cxn>
                </a:cxnLst>
                <a:rect l="0" t="0" r="r" b="b"/>
                <a:pathLst>
                  <a:path w="180" h="210">
                    <a:moveTo>
                      <a:pt x="150" y="210"/>
                    </a:moveTo>
                    <a:lnTo>
                      <a:pt x="30" y="150"/>
                    </a:lnTo>
                    <a:lnTo>
                      <a:pt x="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6" name="Line 2546">
                <a:extLst>
                  <a:ext uri="{FF2B5EF4-FFF2-40B4-BE49-F238E27FC236}">
                    <a16:creationId xmlns:a16="http://schemas.microsoft.com/office/drawing/2014/main" id="{2F099C05-A286-475F-BD6E-8A6BB3E670B3}"/>
                  </a:ext>
                </a:extLst>
              </p:cNvPr>
              <p:cNvSpPr>
                <a:spLocks noChangeShapeType="1"/>
              </p:cNvSpPr>
              <p:nvPr/>
            </p:nvSpPr>
            <p:spPr bwMode="auto">
              <a:xfrm flipV="1">
                <a:off x="4364"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7" name="Freeform 2547">
                <a:extLst>
                  <a:ext uri="{FF2B5EF4-FFF2-40B4-BE49-F238E27FC236}">
                    <a16:creationId xmlns:a16="http://schemas.microsoft.com/office/drawing/2014/main" id="{6B5DC7E5-B2A1-4C1B-BEAB-E364A9E6C9B8}"/>
                  </a:ext>
                </a:extLst>
              </p:cNvPr>
              <p:cNvSpPr>
                <a:spLocks/>
              </p:cNvSpPr>
              <p:nvPr/>
            </p:nvSpPr>
            <p:spPr bwMode="auto">
              <a:xfrm>
                <a:off x="3944" y="2160"/>
                <a:ext cx="300" cy="150"/>
              </a:xfrm>
              <a:custGeom>
                <a:avLst/>
                <a:gdLst>
                  <a:gd name="T0" fmla="*/ 0 w 300"/>
                  <a:gd name="T1" fmla="*/ 150 h 150"/>
                  <a:gd name="T2" fmla="*/ 300 w 300"/>
                  <a:gd name="T3" fmla="*/ 150 h 150"/>
                  <a:gd name="T4" fmla="*/ 240 w 300"/>
                  <a:gd name="T5" fmla="*/ 30 h 150"/>
                  <a:gd name="T6" fmla="*/ 150 w 300"/>
                  <a:gd name="T7" fmla="*/ 0 h 150"/>
                  <a:gd name="T8" fmla="*/ 30 w 300"/>
                  <a:gd name="T9" fmla="*/ 0 h 150"/>
                </a:gdLst>
                <a:ahLst/>
                <a:cxnLst>
                  <a:cxn ang="0">
                    <a:pos x="T0" y="T1"/>
                  </a:cxn>
                  <a:cxn ang="0">
                    <a:pos x="T2" y="T3"/>
                  </a:cxn>
                  <a:cxn ang="0">
                    <a:pos x="T4" y="T5"/>
                  </a:cxn>
                  <a:cxn ang="0">
                    <a:pos x="T6" y="T7"/>
                  </a:cxn>
                  <a:cxn ang="0">
                    <a:pos x="T8" y="T9"/>
                  </a:cxn>
                </a:cxnLst>
                <a:rect l="0" t="0" r="r" b="b"/>
                <a:pathLst>
                  <a:path w="300" h="150">
                    <a:moveTo>
                      <a:pt x="0" y="150"/>
                    </a:moveTo>
                    <a:lnTo>
                      <a:pt x="300" y="150"/>
                    </a:lnTo>
                    <a:lnTo>
                      <a:pt x="240" y="30"/>
                    </a:lnTo>
                    <a:lnTo>
                      <a:pt x="150" y="0"/>
                    </a:lnTo>
                    <a:lnTo>
                      <a:pt x="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8" name="Freeform 2548">
                <a:extLst>
                  <a:ext uri="{FF2B5EF4-FFF2-40B4-BE49-F238E27FC236}">
                    <a16:creationId xmlns:a16="http://schemas.microsoft.com/office/drawing/2014/main" id="{48834F97-25F2-4B24-9AA2-BC5B55DE669F}"/>
                  </a:ext>
                </a:extLst>
              </p:cNvPr>
              <p:cNvSpPr>
                <a:spLocks/>
              </p:cNvSpPr>
              <p:nvPr/>
            </p:nvSpPr>
            <p:spPr bwMode="auto">
              <a:xfrm>
                <a:off x="3914" y="510"/>
                <a:ext cx="180" cy="390"/>
              </a:xfrm>
              <a:custGeom>
                <a:avLst/>
                <a:gdLst>
                  <a:gd name="T0" fmla="*/ 0 w 180"/>
                  <a:gd name="T1" fmla="*/ 270 h 390"/>
                  <a:gd name="T2" fmla="*/ 180 w 180"/>
                  <a:gd name="T3" fmla="*/ 390 h 390"/>
                  <a:gd name="T4" fmla="*/ 30 w 180"/>
                  <a:gd name="T5" fmla="*/ 120 h 390"/>
                  <a:gd name="T6" fmla="*/ 150 w 180"/>
                  <a:gd name="T7" fmla="*/ 0 h 390"/>
                </a:gdLst>
                <a:ahLst/>
                <a:cxnLst>
                  <a:cxn ang="0">
                    <a:pos x="T0" y="T1"/>
                  </a:cxn>
                  <a:cxn ang="0">
                    <a:pos x="T2" y="T3"/>
                  </a:cxn>
                  <a:cxn ang="0">
                    <a:pos x="T4" y="T5"/>
                  </a:cxn>
                  <a:cxn ang="0">
                    <a:pos x="T6" y="T7"/>
                  </a:cxn>
                </a:cxnLst>
                <a:rect l="0" t="0" r="r" b="b"/>
                <a:pathLst>
                  <a:path w="180" h="390">
                    <a:moveTo>
                      <a:pt x="0" y="270"/>
                    </a:moveTo>
                    <a:lnTo>
                      <a:pt x="180" y="390"/>
                    </a:lnTo>
                    <a:lnTo>
                      <a:pt x="30" y="12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9" name="Freeform 2549">
                <a:extLst>
                  <a:ext uri="{FF2B5EF4-FFF2-40B4-BE49-F238E27FC236}">
                    <a16:creationId xmlns:a16="http://schemas.microsoft.com/office/drawing/2014/main" id="{CC01DA20-E756-4613-A6A6-32C35CFB6EFF}"/>
                  </a:ext>
                </a:extLst>
              </p:cNvPr>
              <p:cNvSpPr>
                <a:spLocks/>
              </p:cNvSpPr>
              <p:nvPr/>
            </p:nvSpPr>
            <p:spPr bwMode="auto">
              <a:xfrm>
                <a:off x="3974" y="870"/>
                <a:ext cx="300" cy="330"/>
              </a:xfrm>
              <a:custGeom>
                <a:avLst/>
                <a:gdLst>
                  <a:gd name="T0" fmla="*/ 300 w 300"/>
                  <a:gd name="T1" fmla="*/ 0 h 330"/>
                  <a:gd name="T2" fmla="*/ 240 w 300"/>
                  <a:gd name="T3" fmla="*/ 120 h 330"/>
                  <a:gd name="T4" fmla="*/ 180 w 300"/>
                  <a:gd name="T5" fmla="*/ 330 h 330"/>
                  <a:gd name="T6" fmla="*/ 0 w 300"/>
                  <a:gd name="T7" fmla="*/ 270 h 330"/>
                </a:gdLst>
                <a:ahLst/>
                <a:cxnLst>
                  <a:cxn ang="0">
                    <a:pos x="T0" y="T1"/>
                  </a:cxn>
                  <a:cxn ang="0">
                    <a:pos x="T2" y="T3"/>
                  </a:cxn>
                  <a:cxn ang="0">
                    <a:pos x="T4" y="T5"/>
                  </a:cxn>
                  <a:cxn ang="0">
                    <a:pos x="T6" y="T7"/>
                  </a:cxn>
                </a:cxnLst>
                <a:rect l="0" t="0" r="r" b="b"/>
                <a:pathLst>
                  <a:path w="300" h="330">
                    <a:moveTo>
                      <a:pt x="300" y="0"/>
                    </a:moveTo>
                    <a:lnTo>
                      <a:pt x="240" y="120"/>
                    </a:lnTo>
                    <a:lnTo>
                      <a:pt x="180" y="33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0" name="Freeform 2550">
                <a:extLst>
                  <a:ext uri="{FF2B5EF4-FFF2-40B4-BE49-F238E27FC236}">
                    <a16:creationId xmlns:a16="http://schemas.microsoft.com/office/drawing/2014/main" id="{CFAA972C-A5C6-4F4D-837F-F26862D5AAD1}"/>
                  </a:ext>
                </a:extLst>
              </p:cNvPr>
              <p:cNvSpPr>
                <a:spLocks/>
              </p:cNvSpPr>
              <p:nvPr/>
            </p:nvSpPr>
            <p:spPr bwMode="auto">
              <a:xfrm>
                <a:off x="3824" y="1050"/>
                <a:ext cx="600" cy="750"/>
              </a:xfrm>
              <a:custGeom>
                <a:avLst/>
                <a:gdLst>
                  <a:gd name="T0" fmla="*/ 600 w 600"/>
                  <a:gd name="T1" fmla="*/ 750 h 750"/>
                  <a:gd name="T2" fmla="*/ 570 w 600"/>
                  <a:gd name="T3" fmla="*/ 630 h 750"/>
                  <a:gd name="T4" fmla="*/ 330 w 600"/>
                  <a:gd name="T5" fmla="*/ 750 h 750"/>
                  <a:gd name="T6" fmla="*/ 270 w 600"/>
                  <a:gd name="T7" fmla="*/ 660 h 750"/>
                  <a:gd name="T8" fmla="*/ 180 w 600"/>
                  <a:gd name="T9" fmla="*/ 540 h 750"/>
                  <a:gd name="T10" fmla="*/ 150 w 600"/>
                  <a:gd name="T11" fmla="*/ 90 h 750"/>
                  <a:gd name="T12" fmla="*/ 0 w 600"/>
                  <a:gd name="T13" fmla="*/ 180 h 750"/>
                  <a:gd name="T14" fmla="*/ 210 w 600"/>
                  <a:gd name="T15" fmla="*/ 300 h 750"/>
                  <a:gd name="T16" fmla="*/ 240 w 600"/>
                  <a:gd name="T17"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0" h="750">
                    <a:moveTo>
                      <a:pt x="600" y="750"/>
                    </a:moveTo>
                    <a:lnTo>
                      <a:pt x="570" y="630"/>
                    </a:lnTo>
                    <a:lnTo>
                      <a:pt x="330" y="750"/>
                    </a:lnTo>
                    <a:lnTo>
                      <a:pt x="270" y="660"/>
                    </a:lnTo>
                    <a:lnTo>
                      <a:pt x="180" y="540"/>
                    </a:lnTo>
                    <a:lnTo>
                      <a:pt x="150" y="90"/>
                    </a:lnTo>
                    <a:lnTo>
                      <a:pt x="0" y="180"/>
                    </a:lnTo>
                    <a:lnTo>
                      <a:pt x="210" y="30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1" name="Freeform 2551">
                <a:extLst>
                  <a:ext uri="{FF2B5EF4-FFF2-40B4-BE49-F238E27FC236}">
                    <a16:creationId xmlns:a16="http://schemas.microsoft.com/office/drawing/2014/main" id="{69278415-BF25-4F7E-A612-C7B0381FE788}"/>
                  </a:ext>
                </a:extLst>
              </p:cNvPr>
              <p:cNvSpPr>
                <a:spLocks/>
              </p:cNvSpPr>
              <p:nvPr/>
            </p:nvSpPr>
            <p:spPr bwMode="auto">
              <a:xfrm>
                <a:off x="3884" y="1530"/>
                <a:ext cx="450" cy="420"/>
              </a:xfrm>
              <a:custGeom>
                <a:avLst/>
                <a:gdLst>
                  <a:gd name="T0" fmla="*/ 270 w 450"/>
                  <a:gd name="T1" fmla="*/ 270 h 420"/>
                  <a:gd name="T2" fmla="*/ 60 w 450"/>
                  <a:gd name="T3" fmla="*/ 270 h 420"/>
                  <a:gd name="T4" fmla="*/ 120 w 450"/>
                  <a:gd name="T5" fmla="*/ 60 h 420"/>
                  <a:gd name="T6" fmla="*/ 0 w 450"/>
                  <a:gd name="T7" fmla="*/ 0 h 420"/>
                  <a:gd name="T8" fmla="*/ 300 w 450"/>
                  <a:gd name="T9" fmla="*/ 420 h 420"/>
                  <a:gd name="T10" fmla="*/ 450 w 450"/>
                  <a:gd name="T11" fmla="*/ 0 h 420"/>
                </a:gdLst>
                <a:ahLst/>
                <a:cxnLst>
                  <a:cxn ang="0">
                    <a:pos x="T0" y="T1"/>
                  </a:cxn>
                  <a:cxn ang="0">
                    <a:pos x="T2" y="T3"/>
                  </a:cxn>
                  <a:cxn ang="0">
                    <a:pos x="T4" y="T5"/>
                  </a:cxn>
                  <a:cxn ang="0">
                    <a:pos x="T6" y="T7"/>
                  </a:cxn>
                  <a:cxn ang="0">
                    <a:pos x="T8" y="T9"/>
                  </a:cxn>
                  <a:cxn ang="0">
                    <a:pos x="T10" y="T11"/>
                  </a:cxn>
                </a:cxnLst>
                <a:rect l="0" t="0" r="r" b="b"/>
                <a:pathLst>
                  <a:path w="450" h="420">
                    <a:moveTo>
                      <a:pt x="270" y="270"/>
                    </a:moveTo>
                    <a:lnTo>
                      <a:pt x="60" y="270"/>
                    </a:lnTo>
                    <a:lnTo>
                      <a:pt x="120" y="60"/>
                    </a:lnTo>
                    <a:lnTo>
                      <a:pt x="0" y="0"/>
                    </a:lnTo>
                    <a:lnTo>
                      <a:pt x="300" y="42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2" name="Freeform 2552">
                <a:extLst>
                  <a:ext uri="{FF2B5EF4-FFF2-40B4-BE49-F238E27FC236}">
                    <a16:creationId xmlns:a16="http://schemas.microsoft.com/office/drawing/2014/main" id="{37FDC815-16C1-4C5E-B605-AAF15618BE89}"/>
                  </a:ext>
                </a:extLst>
              </p:cNvPr>
              <p:cNvSpPr>
                <a:spLocks/>
              </p:cNvSpPr>
              <p:nvPr/>
            </p:nvSpPr>
            <p:spPr bwMode="auto">
              <a:xfrm>
                <a:off x="4004" y="1410"/>
                <a:ext cx="210" cy="210"/>
              </a:xfrm>
              <a:custGeom>
                <a:avLst/>
                <a:gdLst>
                  <a:gd name="T0" fmla="*/ 0 w 210"/>
                  <a:gd name="T1" fmla="*/ 180 h 210"/>
                  <a:gd name="T2" fmla="*/ 150 w 210"/>
                  <a:gd name="T3" fmla="*/ 0 h 210"/>
                  <a:gd name="T4" fmla="*/ 210 w 210"/>
                  <a:gd name="T5" fmla="*/ 210 h 210"/>
                </a:gdLst>
                <a:ahLst/>
                <a:cxnLst>
                  <a:cxn ang="0">
                    <a:pos x="T0" y="T1"/>
                  </a:cxn>
                  <a:cxn ang="0">
                    <a:pos x="T2" y="T3"/>
                  </a:cxn>
                  <a:cxn ang="0">
                    <a:pos x="T4" y="T5"/>
                  </a:cxn>
                </a:cxnLst>
                <a:rect l="0" t="0" r="r" b="b"/>
                <a:pathLst>
                  <a:path w="210" h="210">
                    <a:moveTo>
                      <a:pt x="0" y="180"/>
                    </a:moveTo>
                    <a:lnTo>
                      <a:pt x="150" y="0"/>
                    </a:lnTo>
                    <a:lnTo>
                      <a:pt x="21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3" name="Freeform 2553">
                <a:extLst>
                  <a:ext uri="{FF2B5EF4-FFF2-40B4-BE49-F238E27FC236}">
                    <a16:creationId xmlns:a16="http://schemas.microsoft.com/office/drawing/2014/main" id="{D66617E3-7D6E-4539-9A38-D30F4C4963B3}"/>
                  </a:ext>
                </a:extLst>
              </p:cNvPr>
              <p:cNvSpPr>
                <a:spLocks/>
              </p:cNvSpPr>
              <p:nvPr/>
            </p:nvSpPr>
            <p:spPr bwMode="auto">
              <a:xfrm>
                <a:off x="4004" y="1710"/>
                <a:ext cx="90" cy="450"/>
              </a:xfrm>
              <a:custGeom>
                <a:avLst/>
                <a:gdLst>
                  <a:gd name="T0" fmla="*/ 90 w 90"/>
                  <a:gd name="T1" fmla="*/ 0 h 450"/>
                  <a:gd name="T2" fmla="*/ 0 w 90"/>
                  <a:gd name="T3" fmla="*/ 240 h 450"/>
                  <a:gd name="T4" fmla="*/ 90 w 90"/>
                  <a:gd name="T5" fmla="*/ 450 h 450"/>
                </a:gdLst>
                <a:ahLst/>
                <a:cxnLst>
                  <a:cxn ang="0">
                    <a:pos x="T0" y="T1"/>
                  </a:cxn>
                  <a:cxn ang="0">
                    <a:pos x="T2" y="T3"/>
                  </a:cxn>
                  <a:cxn ang="0">
                    <a:pos x="T4" y="T5"/>
                  </a:cxn>
                </a:cxnLst>
                <a:rect l="0" t="0" r="r" b="b"/>
                <a:pathLst>
                  <a:path w="90" h="450">
                    <a:moveTo>
                      <a:pt x="90" y="0"/>
                    </a:moveTo>
                    <a:lnTo>
                      <a:pt x="0" y="240"/>
                    </a:lnTo>
                    <a:lnTo>
                      <a:pt x="90" y="4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4" name="Freeform 2554">
                <a:extLst>
                  <a:ext uri="{FF2B5EF4-FFF2-40B4-BE49-F238E27FC236}">
                    <a16:creationId xmlns:a16="http://schemas.microsoft.com/office/drawing/2014/main" id="{42B84874-D1C0-4956-AEE7-EAEE189DF676}"/>
                  </a:ext>
                </a:extLst>
              </p:cNvPr>
              <p:cNvSpPr>
                <a:spLocks/>
              </p:cNvSpPr>
              <p:nvPr/>
            </p:nvSpPr>
            <p:spPr bwMode="auto">
              <a:xfrm>
                <a:off x="4184" y="2190"/>
                <a:ext cx="180" cy="330"/>
              </a:xfrm>
              <a:custGeom>
                <a:avLst/>
                <a:gdLst>
                  <a:gd name="T0" fmla="*/ 120 w 180"/>
                  <a:gd name="T1" fmla="*/ 330 h 330"/>
                  <a:gd name="T2" fmla="*/ 180 w 180"/>
                  <a:gd name="T3" fmla="*/ 180 h 330"/>
                  <a:gd name="T4" fmla="*/ 0 w 180"/>
                  <a:gd name="T5" fmla="*/ 210 h 330"/>
                  <a:gd name="T6" fmla="*/ 0 w 180"/>
                  <a:gd name="T7" fmla="*/ 0 h 330"/>
                </a:gdLst>
                <a:ahLst/>
                <a:cxnLst>
                  <a:cxn ang="0">
                    <a:pos x="T0" y="T1"/>
                  </a:cxn>
                  <a:cxn ang="0">
                    <a:pos x="T2" y="T3"/>
                  </a:cxn>
                  <a:cxn ang="0">
                    <a:pos x="T4" y="T5"/>
                  </a:cxn>
                  <a:cxn ang="0">
                    <a:pos x="T6" y="T7"/>
                  </a:cxn>
                </a:cxnLst>
                <a:rect l="0" t="0" r="r" b="b"/>
                <a:pathLst>
                  <a:path w="180" h="330">
                    <a:moveTo>
                      <a:pt x="120" y="330"/>
                    </a:moveTo>
                    <a:lnTo>
                      <a:pt x="180" y="180"/>
                    </a:lnTo>
                    <a:lnTo>
                      <a:pt x="0" y="21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5" name="Line 2555">
                <a:extLst>
                  <a:ext uri="{FF2B5EF4-FFF2-40B4-BE49-F238E27FC236}">
                    <a16:creationId xmlns:a16="http://schemas.microsoft.com/office/drawing/2014/main" id="{83AE1F0D-12A4-41A8-943C-67C01BFC63F9}"/>
                  </a:ext>
                </a:extLst>
              </p:cNvPr>
              <p:cNvSpPr>
                <a:spLocks noChangeShapeType="1"/>
              </p:cNvSpPr>
              <p:nvPr/>
            </p:nvSpPr>
            <p:spPr bwMode="auto">
              <a:xfrm>
                <a:off x="4004" y="2670"/>
                <a:ext cx="18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6" name="Freeform 2556">
                <a:extLst>
                  <a:ext uri="{FF2B5EF4-FFF2-40B4-BE49-F238E27FC236}">
                    <a16:creationId xmlns:a16="http://schemas.microsoft.com/office/drawing/2014/main" id="{0969F4BA-2409-4247-A9A2-67447DB6BC6A}"/>
                  </a:ext>
                </a:extLst>
              </p:cNvPr>
              <p:cNvSpPr>
                <a:spLocks/>
              </p:cNvSpPr>
              <p:nvPr/>
            </p:nvSpPr>
            <p:spPr bwMode="auto">
              <a:xfrm>
                <a:off x="4244" y="2010"/>
                <a:ext cx="180" cy="300"/>
              </a:xfrm>
              <a:custGeom>
                <a:avLst/>
                <a:gdLst>
                  <a:gd name="T0" fmla="*/ 180 w 180"/>
                  <a:gd name="T1" fmla="*/ 180 h 300"/>
                  <a:gd name="T2" fmla="*/ 0 w 180"/>
                  <a:gd name="T3" fmla="*/ 300 h 300"/>
                  <a:gd name="T4" fmla="*/ 150 w 180"/>
                  <a:gd name="T5" fmla="*/ 0 h 300"/>
                </a:gdLst>
                <a:ahLst/>
                <a:cxnLst>
                  <a:cxn ang="0">
                    <a:pos x="T0" y="T1"/>
                  </a:cxn>
                  <a:cxn ang="0">
                    <a:pos x="T2" y="T3"/>
                  </a:cxn>
                  <a:cxn ang="0">
                    <a:pos x="T4" y="T5"/>
                  </a:cxn>
                </a:cxnLst>
                <a:rect l="0" t="0" r="r" b="b"/>
                <a:pathLst>
                  <a:path w="180" h="300">
                    <a:moveTo>
                      <a:pt x="180" y="180"/>
                    </a:moveTo>
                    <a:lnTo>
                      <a:pt x="0" y="30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7" name="Freeform 2557">
                <a:extLst>
                  <a:ext uri="{FF2B5EF4-FFF2-40B4-BE49-F238E27FC236}">
                    <a16:creationId xmlns:a16="http://schemas.microsoft.com/office/drawing/2014/main" id="{9179902B-3F72-4588-B8CF-820751019700}"/>
                  </a:ext>
                </a:extLst>
              </p:cNvPr>
              <p:cNvSpPr>
                <a:spLocks/>
              </p:cNvSpPr>
              <p:nvPr/>
            </p:nvSpPr>
            <p:spPr bwMode="auto">
              <a:xfrm>
                <a:off x="3974" y="1140"/>
                <a:ext cx="180" cy="270"/>
              </a:xfrm>
              <a:custGeom>
                <a:avLst/>
                <a:gdLst>
                  <a:gd name="T0" fmla="*/ 0 w 180"/>
                  <a:gd name="T1" fmla="*/ 0 h 270"/>
                  <a:gd name="T2" fmla="*/ 180 w 180"/>
                  <a:gd name="T3" fmla="*/ 270 h 270"/>
                  <a:gd name="T4" fmla="*/ 180 w 180"/>
                  <a:gd name="T5" fmla="*/ 60 h 270"/>
                </a:gdLst>
                <a:ahLst/>
                <a:cxnLst>
                  <a:cxn ang="0">
                    <a:pos x="T0" y="T1"/>
                  </a:cxn>
                  <a:cxn ang="0">
                    <a:pos x="T2" y="T3"/>
                  </a:cxn>
                  <a:cxn ang="0">
                    <a:pos x="T4" y="T5"/>
                  </a:cxn>
                </a:cxnLst>
                <a:rect l="0" t="0" r="r" b="b"/>
                <a:pathLst>
                  <a:path w="180" h="270">
                    <a:moveTo>
                      <a:pt x="0" y="0"/>
                    </a:moveTo>
                    <a:lnTo>
                      <a:pt x="180" y="270"/>
                    </a:lnTo>
                    <a:lnTo>
                      <a:pt x="18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8" name="Freeform 2558">
                <a:extLst>
                  <a:ext uri="{FF2B5EF4-FFF2-40B4-BE49-F238E27FC236}">
                    <a16:creationId xmlns:a16="http://schemas.microsoft.com/office/drawing/2014/main" id="{6B71CFB4-7D7C-4919-880C-32B935844700}"/>
                  </a:ext>
                </a:extLst>
              </p:cNvPr>
              <p:cNvSpPr>
                <a:spLocks/>
              </p:cNvSpPr>
              <p:nvPr/>
            </p:nvSpPr>
            <p:spPr bwMode="auto">
              <a:xfrm>
                <a:off x="3884" y="60"/>
                <a:ext cx="540" cy="1830"/>
              </a:xfrm>
              <a:custGeom>
                <a:avLst/>
                <a:gdLst>
                  <a:gd name="T0" fmla="*/ 180 w 540"/>
                  <a:gd name="T1" fmla="*/ 990 h 1830"/>
                  <a:gd name="T2" fmla="*/ 330 w 540"/>
                  <a:gd name="T3" fmla="*/ 930 h 1830"/>
                  <a:gd name="T4" fmla="*/ 330 w 540"/>
                  <a:gd name="T5" fmla="*/ 1560 h 1830"/>
                  <a:gd name="T6" fmla="*/ 270 w 540"/>
                  <a:gd name="T7" fmla="*/ 1350 h 1830"/>
                  <a:gd name="T8" fmla="*/ 540 w 540"/>
                  <a:gd name="T9" fmla="*/ 1740 h 1830"/>
                  <a:gd name="T10" fmla="*/ 330 w 540"/>
                  <a:gd name="T11" fmla="*/ 1560 h 1830"/>
                  <a:gd name="T12" fmla="*/ 450 w 540"/>
                  <a:gd name="T13" fmla="*/ 1470 h 1830"/>
                  <a:gd name="T14" fmla="*/ 480 w 540"/>
                  <a:gd name="T15" fmla="*/ 1200 h 1830"/>
                  <a:gd name="T16" fmla="*/ 150 w 540"/>
                  <a:gd name="T17" fmla="*/ 1290 h 1830"/>
                  <a:gd name="T18" fmla="*/ 270 w 540"/>
                  <a:gd name="T19" fmla="*/ 1140 h 1830"/>
                  <a:gd name="T20" fmla="*/ 510 w 540"/>
                  <a:gd name="T21" fmla="*/ 960 h 1830"/>
                  <a:gd name="T22" fmla="*/ 180 w 540"/>
                  <a:gd name="T23" fmla="*/ 990 h 1830"/>
                  <a:gd name="T24" fmla="*/ 390 w 540"/>
                  <a:gd name="T25" fmla="*/ 810 h 1830"/>
                  <a:gd name="T26" fmla="*/ 360 w 540"/>
                  <a:gd name="T27" fmla="*/ 630 h 1830"/>
                  <a:gd name="T28" fmla="*/ 150 w 540"/>
                  <a:gd name="T29" fmla="*/ 630 h 1830"/>
                  <a:gd name="T30" fmla="*/ 270 w 540"/>
                  <a:gd name="T31" fmla="*/ 510 h 1830"/>
                  <a:gd name="T32" fmla="*/ 510 w 540"/>
                  <a:gd name="T33" fmla="*/ 600 h 1830"/>
                  <a:gd name="T34" fmla="*/ 480 w 540"/>
                  <a:gd name="T35" fmla="*/ 360 h 1830"/>
                  <a:gd name="T36" fmla="*/ 240 w 540"/>
                  <a:gd name="T37" fmla="*/ 360 h 1830"/>
                  <a:gd name="T38" fmla="*/ 60 w 540"/>
                  <a:gd name="T39" fmla="*/ 300 h 1830"/>
                  <a:gd name="T40" fmla="*/ 270 w 540"/>
                  <a:gd name="T41" fmla="*/ 210 h 1830"/>
                  <a:gd name="T42" fmla="*/ 90 w 540"/>
                  <a:gd name="T43" fmla="*/ 0 h 1830"/>
                  <a:gd name="T44" fmla="*/ 210 w 540"/>
                  <a:gd name="T45" fmla="*/ 60 h 1830"/>
                  <a:gd name="T46" fmla="*/ 510 w 540"/>
                  <a:gd name="T47" fmla="*/ 210 h 1830"/>
                  <a:gd name="T48" fmla="*/ 390 w 540"/>
                  <a:gd name="T49" fmla="*/ 240 h 1830"/>
                  <a:gd name="T50" fmla="*/ 270 w 540"/>
                  <a:gd name="T51" fmla="*/ 210 h 1830"/>
                  <a:gd name="T52" fmla="*/ 180 w 540"/>
                  <a:gd name="T53" fmla="*/ 240 h 1830"/>
                  <a:gd name="T54" fmla="*/ 60 w 540"/>
                  <a:gd name="T55" fmla="*/ 300 h 1830"/>
                  <a:gd name="T56" fmla="*/ 330 w 540"/>
                  <a:gd name="T57" fmla="*/ 390 h 1830"/>
                  <a:gd name="T58" fmla="*/ 480 w 540"/>
                  <a:gd name="T59" fmla="*/ 360 h 1830"/>
                  <a:gd name="T60" fmla="*/ 360 w 540"/>
                  <a:gd name="T61" fmla="*/ 630 h 1830"/>
                  <a:gd name="T62" fmla="*/ 90 w 540"/>
                  <a:gd name="T63" fmla="*/ 84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1830">
                    <a:moveTo>
                      <a:pt x="60" y="960"/>
                    </a:moveTo>
                    <a:lnTo>
                      <a:pt x="180" y="990"/>
                    </a:lnTo>
                    <a:lnTo>
                      <a:pt x="390" y="1080"/>
                    </a:lnTo>
                    <a:lnTo>
                      <a:pt x="330" y="930"/>
                    </a:lnTo>
                    <a:lnTo>
                      <a:pt x="0" y="1320"/>
                    </a:lnTo>
                    <a:lnTo>
                      <a:pt x="330" y="1560"/>
                    </a:lnTo>
                    <a:lnTo>
                      <a:pt x="450" y="1470"/>
                    </a:lnTo>
                    <a:lnTo>
                      <a:pt x="270" y="1350"/>
                    </a:lnTo>
                    <a:lnTo>
                      <a:pt x="210" y="1650"/>
                    </a:lnTo>
                    <a:lnTo>
                      <a:pt x="540" y="1740"/>
                    </a:lnTo>
                    <a:lnTo>
                      <a:pt x="420" y="1830"/>
                    </a:lnTo>
                    <a:lnTo>
                      <a:pt x="330" y="1560"/>
                    </a:lnTo>
                    <a:lnTo>
                      <a:pt x="510" y="1620"/>
                    </a:lnTo>
                    <a:lnTo>
                      <a:pt x="450" y="1470"/>
                    </a:lnTo>
                    <a:lnTo>
                      <a:pt x="420" y="1320"/>
                    </a:lnTo>
                    <a:lnTo>
                      <a:pt x="480" y="1200"/>
                    </a:lnTo>
                    <a:lnTo>
                      <a:pt x="270" y="1350"/>
                    </a:lnTo>
                    <a:lnTo>
                      <a:pt x="150" y="1290"/>
                    </a:lnTo>
                    <a:lnTo>
                      <a:pt x="330" y="1200"/>
                    </a:lnTo>
                    <a:lnTo>
                      <a:pt x="270" y="1140"/>
                    </a:lnTo>
                    <a:lnTo>
                      <a:pt x="390" y="1080"/>
                    </a:lnTo>
                    <a:lnTo>
                      <a:pt x="510" y="960"/>
                    </a:lnTo>
                    <a:lnTo>
                      <a:pt x="330" y="930"/>
                    </a:lnTo>
                    <a:lnTo>
                      <a:pt x="180" y="990"/>
                    </a:lnTo>
                    <a:lnTo>
                      <a:pt x="210" y="840"/>
                    </a:lnTo>
                    <a:lnTo>
                      <a:pt x="390" y="810"/>
                    </a:lnTo>
                    <a:lnTo>
                      <a:pt x="540" y="720"/>
                    </a:lnTo>
                    <a:lnTo>
                      <a:pt x="360" y="630"/>
                    </a:lnTo>
                    <a:lnTo>
                      <a:pt x="240" y="690"/>
                    </a:lnTo>
                    <a:lnTo>
                      <a:pt x="150" y="630"/>
                    </a:lnTo>
                    <a:lnTo>
                      <a:pt x="180" y="450"/>
                    </a:lnTo>
                    <a:lnTo>
                      <a:pt x="270" y="510"/>
                    </a:lnTo>
                    <a:lnTo>
                      <a:pt x="420" y="540"/>
                    </a:lnTo>
                    <a:lnTo>
                      <a:pt x="510" y="600"/>
                    </a:lnTo>
                    <a:lnTo>
                      <a:pt x="540" y="480"/>
                    </a:lnTo>
                    <a:lnTo>
                      <a:pt x="480" y="360"/>
                    </a:lnTo>
                    <a:lnTo>
                      <a:pt x="330" y="390"/>
                    </a:lnTo>
                    <a:lnTo>
                      <a:pt x="240" y="360"/>
                    </a:lnTo>
                    <a:lnTo>
                      <a:pt x="60" y="420"/>
                    </a:lnTo>
                    <a:lnTo>
                      <a:pt x="60" y="300"/>
                    </a:lnTo>
                    <a:lnTo>
                      <a:pt x="180" y="240"/>
                    </a:lnTo>
                    <a:lnTo>
                      <a:pt x="270" y="210"/>
                    </a:lnTo>
                    <a:lnTo>
                      <a:pt x="210" y="60"/>
                    </a:lnTo>
                    <a:lnTo>
                      <a:pt x="90" y="0"/>
                    </a:lnTo>
                    <a:lnTo>
                      <a:pt x="540" y="0"/>
                    </a:lnTo>
                    <a:lnTo>
                      <a:pt x="210" y="60"/>
                    </a:lnTo>
                    <a:lnTo>
                      <a:pt x="360" y="90"/>
                    </a:lnTo>
                    <a:lnTo>
                      <a:pt x="510" y="210"/>
                    </a:lnTo>
                    <a:lnTo>
                      <a:pt x="480" y="360"/>
                    </a:lnTo>
                    <a:lnTo>
                      <a:pt x="390" y="240"/>
                    </a:lnTo>
                    <a:lnTo>
                      <a:pt x="330" y="390"/>
                    </a:lnTo>
                    <a:lnTo>
                      <a:pt x="270" y="210"/>
                    </a:lnTo>
                    <a:lnTo>
                      <a:pt x="240" y="360"/>
                    </a:lnTo>
                    <a:lnTo>
                      <a:pt x="180" y="240"/>
                    </a:lnTo>
                    <a:lnTo>
                      <a:pt x="90" y="210"/>
                    </a:lnTo>
                    <a:lnTo>
                      <a:pt x="60" y="300"/>
                    </a:lnTo>
                    <a:lnTo>
                      <a:pt x="180" y="450"/>
                    </a:lnTo>
                    <a:lnTo>
                      <a:pt x="330" y="390"/>
                    </a:lnTo>
                    <a:lnTo>
                      <a:pt x="420" y="540"/>
                    </a:lnTo>
                    <a:lnTo>
                      <a:pt x="480" y="360"/>
                    </a:lnTo>
                    <a:lnTo>
                      <a:pt x="270" y="510"/>
                    </a:lnTo>
                    <a:lnTo>
                      <a:pt x="360" y="630"/>
                    </a:lnTo>
                    <a:lnTo>
                      <a:pt x="150" y="630"/>
                    </a:lnTo>
                    <a:lnTo>
                      <a:pt x="90" y="840"/>
                    </a:lnTo>
                    <a:lnTo>
                      <a:pt x="330" y="9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9" name="Freeform 2559">
                <a:extLst>
                  <a:ext uri="{FF2B5EF4-FFF2-40B4-BE49-F238E27FC236}">
                    <a16:creationId xmlns:a16="http://schemas.microsoft.com/office/drawing/2014/main" id="{E222A31C-4631-4592-A9F4-48566C91841B}"/>
                  </a:ext>
                </a:extLst>
              </p:cNvPr>
              <p:cNvSpPr>
                <a:spLocks/>
              </p:cNvSpPr>
              <p:nvPr/>
            </p:nvSpPr>
            <p:spPr bwMode="auto">
              <a:xfrm>
                <a:off x="4244" y="600"/>
                <a:ext cx="150" cy="420"/>
              </a:xfrm>
              <a:custGeom>
                <a:avLst/>
                <a:gdLst>
                  <a:gd name="T0" fmla="*/ 30 w 150"/>
                  <a:gd name="T1" fmla="*/ 270 h 420"/>
                  <a:gd name="T2" fmla="*/ 150 w 150"/>
                  <a:gd name="T3" fmla="*/ 420 h 420"/>
                  <a:gd name="T4" fmla="*/ 60 w 150"/>
                  <a:gd name="T5" fmla="*/ 0 h 420"/>
                  <a:gd name="T6" fmla="*/ 0 w 150"/>
                  <a:gd name="T7" fmla="*/ 90 h 420"/>
                  <a:gd name="T8" fmla="*/ 30 w 150"/>
                  <a:gd name="T9" fmla="*/ 270 h 420"/>
                </a:gdLst>
                <a:ahLst/>
                <a:cxnLst>
                  <a:cxn ang="0">
                    <a:pos x="T0" y="T1"/>
                  </a:cxn>
                  <a:cxn ang="0">
                    <a:pos x="T2" y="T3"/>
                  </a:cxn>
                  <a:cxn ang="0">
                    <a:pos x="T4" y="T5"/>
                  </a:cxn>
                  <a:cxn ang="0">
                    <a:pos x="T6" y="T7"/>
                  </a:cxn>
                  <a:cxn ang="0">
                    <a:pos x="T8" y="T9"/>
                  </a:cxn>
                </a:cxnLst>
                <a:rect l="0" t="0" r="r" b="b"/>
                <a:pathLst>
                  <a:path w="150" h="420">
                    <a:moveTo>
                      <a:pt x="30" y="270"/>
                    </a:moveTo>
                    <a:lnTo>
                      <a:pt x="150" y="420"/>
                    </a:lnTo>
                    <a:lnTo>
                      <a:pt x="60" y="0"/>
                    </a:lnTo>
                    <a:lnTo>
                      <a:pt x="0" y="90"/>
                    </a:lnTo>
                    <a:lnTo>
                      <a:pt x="30" y="27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0" name="Freeform 2560">
                <a:extLst>
                  <a:ext uri="{FF2B5EF4-FFF2-40B4-BE49-F238E27FC236}">
                    <a16:creationId xmlns:a16="http://schemas.microsoft.com/office/drawing/2014/main" id="{8363B85F-FE8E-4711-B314-A39B4C5CDAE4}"/>
                  </a:ext>
                </a:extLst>
              </p:cNvPr>
              <p:cNvSpPr>
                <a:spLocks/>
              </p:cNvSpPr>
              <p:nvPr/>
            </p:nvSpPr>
            <p:spPr bwMode="auto">
              <a:xfrm>
                <a:off x="4094" y="570"/>
                <a:ext cx="180" cy="420"/>
              </a:xfrm>
              <a:custGeom>
                <a:avLst/>
                <a:gdLst>
                  <a:gd name="T0" fmla="*/ 180 w 180"/>
                  <a:gd name="T1" fmla="*/ 300 h 420"/>
                  <a:gd name="T2" fmla="*/ 30 w 180"/>
                  <a:gd name="T3" fmla="*/ 180 h 420"/>
                  <a:gd name="T4" fmla="*/ 0 w 180"/>
                  <a:gd name="T5" fmla="*/ 330 h 420"/>
                  <a:gd name="T6" fmla="*/ 120 w 180"/>
                  <a:gd name="T7" fmla="*/ 420 h 420"/>
                  <a:gd name="T8" fmla="*/ 60 w 180"/>
                  <a:gd name="T9" fmla="*/ 0 h 420"/>
                </a:gdLst>
                <a:ahLst/>
                <a:cxnLst>
                  <a:cxn ang="0">
                    <a:pos x="T0" y="T1"/>
                  </a:cxn>
                  <a:cxn ang="0">
                    <a:pos x="T2" y="T3"/>
                  </a:cxn>
                  <a:cxn ang="0">
                    <a:pos x="T4" y="T5"/>
                  </a:cxn>
                  <a:cxn ang="0">
                    <a:pos x="T6" y="T7"/>
                  </a:cxn>
                  <a:cxn ang="0">
                    <a:pos x="T8" y="T9"/>
                  </a:cxn>
                </a:cxnLst>
                <a:rect l="0" t="0" r="r" b="b"/>
                <a:pathLst>
                  <a:path w="180" h="420">
                    <a:moveTo>
                      <a:pt x="180" y="300"/>
                    </a:moveTo>
                    <a:lnTo>
                      <a:pt x="30" y="180"/>
                    </a:lnTo>
                    <a:lnTo>
                      <a:pt x="0" y="330"/>
                    </a:lnTo>
                    <a:lnTo>
                      <a:pt x="120" y="42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1" name="Freeform 2561">
                <a:extLst>
                  <a:ext uri="{FF2B5EF4-FFF2-40B4-BE49-F238E27FC236}">
                    <a16:creationId xmlns:a16="http://schemas.microsoft.com/office/drawing/2014/main" id="{1D19730B-4D49-4B24-BD3C-2C60A7C467F1}"/>
                  </a:ext>
                </a:extLst>
              </p:cNvPr>
              <p:cNvSpPr>
                <a:spLocks/>
              </p:cNvSpPr>
              <p:nvPr/>
            </p:nvSpPr>
            <p:spPr bwMode="auto">
              <a:xfrm>
                <a:off x="4244" y="60"/>
                <a:ext cx="180" cy="240"/>
              </a:xfrm>
              <a:custGeom>
                <a:avLst/>
                <a:gdLst>
                  <a:gd name="T0" fmla="*/ 30 w 180"/>
                  <a:gd name="T1" fmla="*/ 240 h 240"/>
                  <a:gd name="T2" fmla="*/ 0 w 180"/>
                  <a:gd name="T3" fmla="*/ 90 h 240"/>
                  <a:gd name="T4" fmla="*/ 180 w 180"/>
                  <a:gd name="T5" fmla="*/ 0 h 240"/>
                  <a:gd name="T6" fmla="*/ 150 w 180"/>
                  <a:gd name="T7" fmla="*/ 210 h 240"/>
                  <a:gd name="T8" fmla="*/ 30 w 180"/>
                  <a:gd name="T9" fmla="*/ 240 h 240"/>
                </a:gdLst>
                <a:ahLst/>
                <a:cxnLst>
                  <a:cxn ang="0">
                    <a:pos x="T0" y="T1"/>
                  </a:cxn>
                  <a:cxn ang="0">
                    <a:pos x="T2" y="T3"/>
                  </a:cxn>
                  <a:cxn ang="0">
                    <a:pos x="T4" y="T5"/>
                  </a:cxn>
                  <a:cxn ang="0">
                    <a:pos x="T6" y="T7"/>
                  </a:cxn>
                  <a:cxn ang="0">
                    <a:pos x="T8" y="T9"/>
                  </a:cxn>
                </a:cxnLst>
                <a:rect l="0" t="0" r="r" b="b"/>
                <a:pathLst>
                  <a:path w="180" h="240">
                    <a:moveTo>
                      <a:pt x="30" y="240"/>
                    </a:moveTo>
                    <a:lnTo>
                      <a:pt x="0" y="90"/>
                    </a:lnTo>
                    <a:lnTo>
                      <a:pt x="180" y="0"/>
                    </a:lnTo>
                    <a:lnTo>
                      <a:pt x="150" y="210"/>
                    </a:lnTo>
                    <a:lnTo>
                      <a:pt x="3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2" name="Line 2562">
                <a:extLst>
                  <a:ext uri="{FF2B5EF4-FFF2-40B4-BE49-F238E27FC236}">
                    <a16:creationId xmlns:a16="http://schemas.microsoft.com/office/drawing/2014/main" id="{155B613E-F00F-422D-B679-87E7CD6BCDAA}"/>
                  </a:ext>
                </a:extLst>
              </p:cNvPr>
              <p:cNvSpPr>
                <a:spLocks noChangeShapeType="1"/>
              </p:cNvSpPr>
              <p:nvPr/>
            </p:nvSpPr>
            <p:spPr bwMode="auto">
              <a:xfrm flipH="1">
                <a:off x="4304" y="54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3" name="Freeform 2563">
                <a:extLst>
                  <a:ext uri="{FF2B5EF4-FFF2-40B4-BE49-F238E27FC236}">
                    <a16:creationId xmlns:a16="http://schemas.microsoft.com/office/drawing/2014/main" id="{0323FC21-9004-42A5-BABD-E4FE54FC88D8}"/>
                  </a:ext>
                </a:extLst>
              </p:cNvPr>
              <p:cNvSpPr>
                <a:spLocks/>
              </p:cNvSpPr>
              <p:nvPr/>
            </p:nvSpPr>
            <p:spPr bwMode="auto">
              <a:xfrm>
                <a:off x="2985" y="330"/>
                <a:ext cx="120" cy="210"/>
              </a:xfrm>
              <a:custGeom>
                <a:avLst/>
                <a:gdLst>
                  <a:gd name="T0" fmla="*/ 90 w 120"/>
                  <a:gd name="T1" fmla="*/ 0 h 210"/>
                  <a:gd name="T2" fmla="*/ 0 w 120"/>
                  <a:gd name="T3" fmla="*/ 210 h 210"/>
                  <a:gd name="T4" fmla="*/ 120 w 120"/>
                  <a:gd name="T5" fmla="*/ 180 h 210"/>
                  <a:gd name="T6" fmla="*/ 90 w 120"/>
                  <a:gd name="T7" fmla="*/ 0 h 210"/>
                </a:gdLst>
                <a:ahLst/>
                <a:cxnLst>
                  <a:cxn ang="0">
                    <a:pos x="T0" y="T1"/>
                  </a:cxn>
                  <a:cxn ang="0">
                    <a:pos x="T2" y="T3"/>
                  </a:cxn>
                  <a:cxn ang="0">
                    <a:pos x="T4" y="T5"/>
                  </a:cxn>
                  <a:cxn ang="0">
                    <a:pos x="T6" y="T7"/>
                  </a:cxn>
                </a:cxnLst>
                <a:rect l="0" t="0" r="r" b="b"/>
                <a:pathLst>
                  <a:path w="120" h="210">
                    <a:moveTo>
                      <a:pt x="90" y="0"/>
                    </a:moveTo>
                    <a:lnTo>
                      <a:pt x="0" y="210"/>
                    </a:lnTo>
                    <a:lnTo>
                      <a:pt x="120" y="18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4" name="Freeform 2564">
                <a:extLst>
                  <a:ext uri="{FF2B5EF4-FFF2-40B4-BE49-F238E27FC236}">
                    <a16:creationId xmlns:a16="http://schemas.microsoft.com/office/drawing/2014/main" id="{5258B345-C461-41AD-A60F-9804846D95E8}"/>
                  </a:ext>
                </a:extLst>
              </p:cNvPr>
              <p:cNvSpPr>
                <a:spLocks/>
              </p:cNvSpPr>
              <p:nvPr/>
            </p:nvSpPr>
            <p:spPr bwMode="auto">
              <a:xfrm>
                <a:off x="3195" y="240"/>
                <a:ext cx="480" cy="270"/>
              </a:xfrm>
              <a:custGeom>
                <a:avLst/>
                <a:gdLst>
                  <a:gd name="T0" fmla="*/ 0 w 480"/>
                  <a:gd name="T1" fmla="*/ 0 h 270"/>
                  <a:gd name="T2" fmla="*/ 90 w 480"/>
                  <a:gd name="T3" fmla="*/ 240 h 270"/>
                  <a:gd name="T4" fmla="*/ 300 w 480"/>
                  <a:gd name="T5" fmla="*/ 150 h 270"/>
                  <a:gd name="T6" fmla="*/ 480 w 480"/>
                  <a:gd name="T7" fmla="*/ 210 h 270"/>
                  <a:gd name="T8" fmla="*/ 270 w 480"/>
                  <a:gd name="T9" fmla="*/ 270 h 270"/>
                  <a:gd name="T10" fmla="*/ 120 w 480"/>
                  <a:gd name="T11" fmla="*/ 60 h 270"/>
                </a:gdLst>
                <a:ahLst/>
                <a:cxnLst>
                  <a:cxn ang="0">
                    <a:pos x="T0" y="T1"/>
                  </a:cxn>
                  <a:cxn ang="0">
                    <a:pos x="T2" y="T3"/>
                  </a:cxn>
                  <a:cxn ang="0">
                    <a:pos x="T4" y="T5"/>
                  </a:cxn>
                  <a:cxn ang="0">
                    <a:pos x="T6" y="T7"/>
                  </a:cxn>
                  <a:cxn ang="0">
                    <a:pos x="T8" y="T9"/>
                  </a:cxn>
                  <a:cxn ang="0">
                    <a:pos x="T10" y="T11"/>
                  </a:cxn>
                </a:cxnLst>
                <a:rect l="0" t="0" r="r" b="b"/>
                <a:pathLst>
                  <a:path w="480" h="270">
                    <a:moveTo>
                      <a:pt x="0" y="0"/>
                    </a:moveTo>
                    <a:lnTo>
                      <a:pt x="90" y="240"/>
                    </a:lnTo>
                    <a:lnTo>
                      <a:pt x="300" y="150"/>
                    </a:lnTo>
                    <a:lnTo>
                      <a:pt x="480" y="210"/>
                    </a:lnTo>
                    <a:lnTo>
                      <a:pt x="270" y="270"/>
                    </a:lnTo>
                    <a:lnTo>
                      <a:pt x="1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5" name="Freeform 2565">
                <a:extLst>
                  <a:ext uri="{FF2B5EF4-FFF2-40B4-BE49-F238E27FC236}">
                    <a16:creationId xmlns:a16="http://schemas.microsoft.com/office/drawing/2014/main" id="{36FE6D39-FB74-4886-8E52-1D1D690A7898}"/>
                  </a:ext>
                </a:extLst>
              </p:cNvPr>
              <p:cNvSpPr>
                <a:spLocks/>
              </p:cNvSpPr>
              <p:nvPr/>
            </p:nvSpPr>
            <p:spPr bwMode="auto">
              <a:xfrm>
                <a:off x="2805" y="60"/>
                <a:ext cx="1289" cy="300"/>
              </a:xfrm>
              <a:custGeom>
                <a:avLst/>
                <a:gdLst>
                  <a:gd name="T0" fmla="*/ 1169 w 1289"/>
                  <a:gd name="T1" fmla="*/ 210 h 300"/>
                  <a:gd name="T2" fmla="*/ 1169 w 1289"/>
                  <a:gd name="T3" fmla="*/ 0 h 300"/>
                  <a:gd name="T4" fmla="*/ 1049 w 1289"/>
                  <a:gd name="T5" fmla="*/ 90 h 300"/>
                  <a:gd name="T6" fmla="*/ 1169 w 1289"/>
                  <a:gd name="T7" fmla="*/ 210 h 300"/>
                  <a:gd name="T8" fmla="*/ 1289 w 1289"/>
                  <a:gd name="T9" fmla="*/ 60 h 300"/>
                  <a:gd name="T10" fmla="*/ 1259 w 1289"/>
                  <a:gd name="T11" fmla="*/ 240 h 300"/>
                  <a:gd name="T12" fmla="*/ 1169 w 1289"/>
                  <a:gd name="T13" fmla="*/ 0 h 300"/>
                  <a:gd name="T14" fmla="*/ 870 w 1289"/>
                  <a:gd name="T15" fmla="*/ 30 h 300"/>
                  <a:gd name="T16" fmla="*/ 780 w 1289"/>
                  <a:gd name="T17" fmla="*/ 240 h 300"/>
                  <a:gd name="T18" fmla="*/ 660 w 1289"/>
                  <a:gd name="T19" fmla="*/ 90 h 300"/>
                  <a:gd name="T20" fmla="*/ 450 w 1289"/>
                  <a:gd name="T21" fmla="*/ 90 h 300"/>
                  <a:gd name="T22" fmla="*/ 630 w 1289"/>
                  <a:gd name="T23" fmla="*/ 210 h 300"/>
                  <a:gd name="T24" fmla="*/ 390 w 1289"/>
                  <a:gd name="T25" fmla="*/ 180 h 300"/>
                  <a:gd name="T26" fmla="*/ 270 w 1289"/>
                  <a:gd name="T27" fmla="*/ 30 h 300"/>
                  <a:gd name="T28" fmla="*/ 210 w 1289"/>
                  <a:gd name="T29" fmla="*/ 150 h 300"/>
                  <a:gd name="T30" fmla="*/ 90 w 1289"/>
                  <a:gd name="T31" fmla="*/ 210 h 300"/>
                  <a:gd name="T32" fmla="*/ 0 w 1289"/>
                  <a:gd name="T33" fmla="*/ 60 h 300"/>
                  <a:gd name="T34" fmla="*/ 150 w 1289"/>
                  <a:gd name="T35" fmla="*/ 30 h 300"/>
                  <a:gd name="T36" fmla="*/ 150 w 1289"/>
                  <a:gd name="T3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9" h="300">
                    <a:moveTo>
                      <a:pt x="1169" y="210"/>
                    </a:moveTo>
                    <a:lnTo>
                      <a:pt x="1169" y="0"/>
                    </a:lnTo>
                    <a:lnTo>
                      <a:pt x="1049" y="90"/>
                    </a:lnTo>
                    <a:lnTo>
                      <a:pt x="1169" y="210"/>
                    </a:lnTo>
                    <a:lnTo>
                      <a:pt x="1289" y="60"/>
                    </a:lnTo>
                    <a:lnTo>
                      <a:pt x="1259" y="240"/>
                    </a:lnTo>
                    <a:lnTo>
                      <a:pt x="1169" y="0"/>
                    </a:lnTo>
                    <a:lnTo>
                      <a:pt x="870" y="30"/>
                    </a:lnTo>
                    <a:lnTo>
                      <a:pt x="780" y="240"/>
                    </a:lnTo>
                    <a:lnTo>
                      <a:pt x="660" y="90"/>
                    </a:lnTo>
                    <a:lnTo>
                      <a:pt x="450" y="90"/>
                    </a:lnTo>
                    <a:lnTo>
                      <a:pt x="630" y="210"/>
                    </a:lnTo>
                    <a:lnTo>
                      <a:pt x="390" y="180"/>
                    </a:lnTo>
                    <a:lnTo>
                      <a:pt x="270" y="30"/>
                    </a:lnTo>
                    <a:lnTo>
                      <a:pt x="210" y="150"/>
                    </a:lnTo>
                    <a:lnTo>
                      <a:pt x="90" y="210"/>
                    </a:lnTo>
                    <a:lnTo>
                      <a:pt x="0" y="60"/>
                    </a:lnTo>
                    <a:lnTo>
                      <a:pt x="150" y="3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6" name="Freeform 2566">
                <a:extLst>
                  <a:ext uri="{FF2B5EF4-FFF2-40B4-BE49-F238E27FC236}">
                    <a16:creationId xmlns:a16="http://schemas.microsoft.com/office/drawing/2014/main" id="{CFBC7517-C0DE-451F-AABA-233A0497FB86}"/>
                  </a:ext>
                </a:extLst>
              </p:cNvPr>
              <p:cNvSpPr>
                <a:spLocks/>
              </p:cNvSpPr>
              <p:nvPr/>
            </p:nvSpPr>
            <p:spPr bwMode="auto">
              <a:xfrm>
                <a:off x="3675" y="90"/>
                <a:ext cx="269" cy="270"/>
              </a:xfrm>
              <a:custGeom>
                <a:avLst/>
                <a:gdLst>
                  <a:gd name="T0" fmla="*/ 0 w 269"/>
                  <a:gd name="T1" fmla="*/ 0 h 270"/>
                  <a:gd name="T2" fmla="*/ 179 w 269"/>
                  <a:gd name="T3" fmla="*/ 60 h 270"/>
                  <a:gd name="T4" fmla="*/ 269 w 269"/>
                  <a:gd name="T5" fmla="*/ 270 h 270"/>
                </a:gdLst>
                <a:ahLst/>
                <a:cxnLst>
                  <a:cxn ang="0">
                    <a:pos x="T0" y="T1"/>
                  </a:cxn>
                  <a:cxn ang="0">
                    <a:pos x="T2" y="T3"/>
                  </a:cxn>
                  <a:cxn ang="0">
                    <a:pos x="T4" y="T5"/>
                  </a:cxn>
                </a:cxnLst>
                <a:rect l="0" t="0" r="r" b="b"/>
                <a:pathLst>
                  <a:path w="269" h="270">
                    <a:moveTo>
                      <a:pt x="0" y="0"/>
                    </a:moveTo>
                    <a:lnTo>
                      <a:pt x="179" y="60"/>
                    </a:lnTo>
                    <a:lnTo>
                      <a:pt x="26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7" name="Freeform 2567">
                <a:extLst>
                  <a:ext uri="{FF2B5EF4-FFF2-40B4-BE49-F238E27FC236}">
                    <a16:creationId xmlns:a16="http://schemas.microsoft.com/office/drawing/2014/main" id="{65031911-A15A-4247-B09F-E023298AE349}"/>
                  </a:ext>
                </a:extLst>
              </p:cNvPr>
              <p:cNvSpPr>
                <a:spLocks/>
              </p:cNvSpPr>
              <p:nvPr/>
            </p:nvSpPr>
            <p:spPr bwMode="auto">
              <a:xfrm>
                <a:off x="3195" y="30"/>
                <a:ext cx="360" cy="60"/>
              </a:xfrm>
              <a:custGeom>
                <a:avLst/>
                <a:gdLst>
                  <a:gd name="T0" fmla="*/ 360 w 360"/>
                  <a:gd name="T1" fmla="*/ 0 h 60"/>
                  <a:gd name="T2" fmla="*/ 150 w 360"/>
                  <a:gd name="T3" fmla="*/ 60 h 60"/>
                  <a:gd name="T4" fmla="*/ 0 w 360"/>
                  <a:gd name="T5" fmla="*/ 0 h 60"/>
                </a:gdLst>
                <a:ahLst/>
                <a:cxnLst>
                  <a:cxn ang="0">
                    <a:pos x="T0" y="T1"/>
                  </a:cxn>
                  <a:cxn ang="0">
                    <a:pos x="T2" y="T3"/>
                  </a:cxn>
                  <a:cxn ang="0">
                    <a:pos x="T4" y="T5"/>
                  </a:cxn>
                </a:cxnLst>
                <a:rect l="0" t="0" r="r" b="b"/>
                <a:pathLst>
                  <a:path w="360" h="60">
                    <a:moveTo>
                      <a:pt x="360" y="0"/>
                    </a:moveTo>
                    <a:lnTo>
                      <a:pt x="15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8" name="Freeform 2568">
                <a:extLst>
                  <a:ext uri="{FF2B5EF4-FFF2-40B4-BE49-F238E27FC236}">
                    <a16:creationId xmlns:a16="http://schemas.microsoft.com/office/drawing/2014/main" id="{A880E70C-7D16-420D-9154-5D0C0FB82142}"/>
                  </a:ext>
                </a:extLst>
              </p:cNvPr>
              <p:cNvSpPr>
                <a:spLocks/>
              </p:cNvSpPr>
              <p:nvPr/>
            </p:nvSpPr>
            <p:spPr bwMode="auto">
              <a:xfrm>
                <a:off x="1846" y="210"/>
                <a:ext cx="389" cy="300"/>
              </a:xfrm>
              <a:custGeom>
                <a:avLst/>
                <a:gdLst>
                  <a:gd name="T0" fmla="*/ 120 w 389"/>
                  <a:gd name="T1" fmla="*/ 150 h 300"/>
                  <a:gd name="T2" fmla="*/ 0 w 389"/>
                  <a:gd name="T3" fmla="*/ 90 h 300"/>
                  <a:gd name="T4" fmla="*/ 60 w 389"/>
                  <a:gd name="T5" fmla="*/ 300 h 300"/>
                  <a:gd name="T6" fmla="*/ 269 w 389"/>
                  <a:gd name="T7" fmla="*/ 120 h 300"/>
                  <a:gd name="T8" fmla="*/ 389 w 389"/>
                  <a:gd name="T9" fmla="*/ 180 h 300"/>
                  <a:gd name="T10" fmla="*/ 210 w 389"/>
                  <a:gd name="T11" fmla="*/ 0 h 300"/>
                  <a:gd name="T12" fmla="*/ 0 w 389"/>
                  <a:gd name="T13" fmla="*/ 90 h 300"/>
                </a:gdLst>
                <a:ahLst/>
                <a:cxnLst>
                  <a:cxn ang="0">
                    <a:pos x="T0" y="T1"/>
                  </a:cxn>
                  <a:cxn ang="0">
                    <a:pos x="T2" y="T3"/>
                  </a:cxn>
                  <a:cxn ang="0">
                    <a:pos x="T4" y="T5"/>
                  </a:cxn>
                  <a:cxn ang="0">
                    <a:pos x="T6" y="T7"/>
                  </a:cxn>
                  <a:cxn ang="0">
                    <a:pos x="T8" y="T9"/>
                  </a:cxn>
                  <a:cxn ang="0">
                    <a:pos x="T10" y="T11"/>
                  </a:cxn>
                  <a:cxn ang="0">
                    <a:pos x="T12" y="T13"/>
                  </a:cxn>
                </a:cxnLst>
                <a:rect l="0" t="0" r="r" b="b"/>
                <a:pathLst>
                  <a:path w="389" h="300">
                    <a:moveTo>
                      <a:pt x="120" y="150"/>
                    </a:moveTo>
                    <a:lnTo>
                      <a:pt x="0" y="90"/>
                    </a:lnTo>
                    <a:lnTo>
                      <a:pt x="60" y="300"/>
                    </a:lnTo>
                    <a:lnTo>
                      <a:pt x="269" y="120"/>
                    </a:lnTo>
                    <a:lnTo>
                      <a:pt x="389" y="180"/>
                    </a:lnTo>
                    <a:lnTo>
                      <a:pt x="210" y="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9" name="Freeform 2569">
                <a:extLst>
                  <a:ext uri="{FF2B5EF4-FFF2-40B4-BE49-F238E27FC236}">
                    <a16:creationId xmlns:a16="http://schemas.microsoft.com/office/drawing/2014/main" id="{2D737474-57E0-4A27-8228-5B068135A584}"/>
                  </a:ext>
                </a:extLst>
              </p:cNvPr>
              <p:cNvSpPr>
                <a:spLocks/>
              </p:cNvSpPr>
              <p:nvPr/>
            </p:nvSpPr>
            <p:spPr bwMode="auto">
              <a:xfrm>
                <a:off x="1966" y="60"/>
                <a:ext cx="149" cy="150"/>
              </a:xfrm>
              <a:custGeom>
                <a:avLst/>
                <a:gdLst>
                  <a:gd name="T0" fmla="*/ 0 w 149"/>
                  <a:gd name="T1" fmla="*/ 0 h 150"/>
                  <a:gd name="T2" fmla="*/ 90 w 149"/>
                  <a:gd name="T3" fmla="*/ 150 h 150"/>
                  <a:gd name="T4" fmla="*/ 149 w 149"/>
                  <a:gd name="T5" fmla="*/ 30 h 150"/>
                </a:gdLst>
                <a:ahLst/>
                <a:cxnLst>
                  <a:cxn ang="0">
                    <a:pos x="T0" y="T1"/>
                  </a:cxn>
                  <a:cxn ang="0">
                    <a:pos x="T2" y="T3"/>
                  </a:cxn>
                  <a:cxn ang="0">
                    <a:pos x="T4" y="T5"/>
                  </a:cxn>
                </a:cxnLst>
                <a:rect l="0" t="0" r="r" b="b"/>
                <a:pathLst>
                  <a:path w="149" h="150">
                    <a:moveTo>
                      <a:pt x="0" y="0"/>
                    </a:moveTo>
                    <a:lnTo>
                      <a:pt x="90" y="150"/>
                    </a:lnTo>
                    <a:lnTo>
                      <a:pt x="14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0" name="Freeform 2570">
                <a:extLst>
                  <a:ext uri="{FF2B5EF4-FFF2-40B4-BE49-F238E27FC236}">
                    <a16:creationId xmlns:a16="http://schemas.microsoft.com/office/drawing/2014/main" id="{9CB1E588-53D0-4209-B1ED-F41783C681E3}"/>
                  </a:ext>
                </a:extLst>
              </p:cNvPr>
              <p:cNvSpPr>
                <a:spLocks/>
              </p:cNvSpPr>
              <p:nvPr/>
            </p:nvSpPr>
            <p:spPr bwMode="auto">
              <a:xfrm>
                <a:off x="2056" y="210"/>
                <a:ext cx="1649" cy="1050"/>
              </a:xfrm>
              <a:custGeom>
                <a:avLst/>
                <a:gdLst>
                  <a:gd name="T0" fmla="*/ 0 w 1649"/>
                  <a:gd name="T1" fmla="*/ 0 h 1050"/>
                  <a:gd name="T2" fmla="*/ 179 w 1649"/>
                  <a:gd name="T3" fmla="*/ 30 h 1050"/>
                  <a:gd name="T4" fmla="*/ 299 w 1649"/>
                  <a:gd name="T5" fmla="*/ 120 h 1050"/>
                  <a:gd name="T6" fmla="*/ 269 w 1649"/>
                  <a:gd name="T7" fmla="*/ 240 h 1050"/>
                  <a:gd name="T8" fmla="*/ 479 w 1649"/>
                  <a:gd name="T9" fmla="*/ 180 h 1050"/>
                  <a:gd name="T10" fmla="*/ 449 w 1649"/>
                  <a:gd name="T11" fmla="*/ 300 h 1050"/>
                  <a:gd name="T12" fmla="*/ 269 w 1649"/>
                  <a:gd name="T13" fmla="*/ 240 h 1050"/>
                  <a:gd name="T14" fmla="*/ 359 w 1649"/>
                  <a:gd name="T15" fmla="*/ 360 h 1050"/>
                  <a:gd name="T16" fmla="*/ 449 w 1649"/>
                  <a:gd name="T17" fmla="*/ 300 h 1050"/>
                  <a:gd name="T18" fmla="*/ 839 w 1649"/>
                  <a:gd name="T19" fmla="*/ 240 h 1050"/>
                  <a:gd name="T20" fmla="*/ 749 w 1649"/>
                  <a:gd name="T21" fmla="*/ 330 h 1050"/>
                  <a:gd name="T22" fmla="*/ 689 w 1649"/>
                  <a:gd name="T23" fmla="*/ 420 h 1050"/>
                  <a:gd name="T24" fmla="*/ 539 w 1649"/>
                  <a:gd name="T25" fmla="*/ 510 h 1050"/>
                  <a:gd name="T26" fmla="*/ 539 w 1649"/>
                  <a:gd name="T27" fmla="*/ 660 h 1050"/>
                  <a:gd name="T28" fmla="*/ 659 w 1649"/>
                  <a:gd name="T29" fmla="*/ 570 h 1050"/>
                  <a:gd name="T30" fmla="*/ 809 w 1649"/>
                  <a:gd name="T31" fmla="*/ 450 h 1050"/>
                  <a:gd name="T32" fmla="*/ 1049 w 1649"/>
                  <a:gd name="T33" fmla="*/ 300 h 1050"/>
                  <a:gd name="T34" fmla="*/ 1139 w 1649"/>
                  <a:gd name="T35" fmla="*/ 360 h 1050"/>
                  <a:gd name="T36" fmla="*/ 1229 w 1649"/>
                  <a:gd name="T37" fmla="*/ 480 h 1050"/>
                  <a:gd name="T38" fmla="*/ 1319 w 1649"/>
                  <a:gd name="T39" fmla="*/ 360 h 1050"/>
                  <a:gd name="T40" fmla="*/ 1139 w 1649"/>
                  <a:gd name="T41" fmla="*/ 360 h 1050"/>
                  <a:gd name="T42" fmla="*/ 1139 w 1649"/>
                  <a:gd name="T43" fmla="*/ 511 h 1050"/>
                  <a:gd name="T44" fmla="*/ 1049 w 1649"/>
                  <a:gd name="T45" fmla="*/ 480 h 1050"/>
                  <a:gd name="T46" fmla="*/ 1019 w 1649"/>
                  <a:gd name="T47" fmla="*/ 570 h 1050"/>
                  <a:gd name="T48" fmla="*/ 1019 w 1649"/>
                  <a:gd name="T49" fmla="*/ 810 h 1050"/>
                  <a:gd name="T50" fmla="*/ 1139 w 1649"/>
                  <a:gd name="T51" fmla="*/ 720 h 1050"/>
                  <a:gd name="T52" fmla="*/ 1227 w 1649"/>
                  <a:gd name="T53" fmla="*/ 812 h 1050"/>
                  <a:gd name="T54" fmla="*/ 1199 w 1649"/>
                  <a:gd name="T55" fmla="*/ 630 h 1050"/>
                  <a:gd name="T56" fmla="*/ 1289 w 1649"/>
                  <a:gd name="T57" fmla="*/ 570 h 1050"/>
                  <a:gd name="T58" fmla="*/ 1409 w 1649"/>
                  <a:gd name="T59" fmla="*/ 630 h 1050"/>
                  <a:gd name="T60" fmla="*/ 1289 w 1649"/>
                  <a:gd name="T61" fmla="*/ 690 h 1050"/>
                  <a:gd name="T62" fmla="*/ 1379 w 1649"/>
                  <a:gd name="T63" fmla="*/ 750 h 1050"/>
                  <a:gd name="T64" fmla="*/ 1649 w 1649"/>
                  <a:gd name="T65" fmla="*/ 720 h 1050"/>
                  <a:gd name="T66" fmla="*/ 1529 w 1649"/>
                  <a:gd name="T67" fmla="*/ 780 h 1050"/>
                  <a:gd name="T68" fmla="*/ 1559 w 1649"/>
                  <a:gd name="T69" fmla="*/ 1050 h 1050"/>
                  <a:gd name="T70" fmla="*/ 1349 w 1649"/>
                  <a:gd name="T71" fmla="*/ 87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1050">
                    <a:moveTo>
                      <a:pt x="0" y="0"/>
                    </a:moveTo>
                    <a:lnTo>
                      <a:pt x="179" y="30"/>
                    </a:lnTo>
                    <a:lnTo>
                      <a:pt x="299" y="120"/>
                    </a:lnTo>
                    <a:lnTo>
                      <a:pt x="269" y="240"/>
                    </a:lnTo>
                    <a:lnTo>
                      <a:pt x="479" y="180"/>
                    </a:lnTo>
                    <a:lnTo>
                      <a:pt x="449" y="300"/>
                    </a:lnTo>
                    <a:lnTo>
                      <a:pt x="269" y="240"/>
                    </a:lnTo>
                    <a:lnTo>
                      <a:pt x="359" y="360"/>
                    </a:lnTo>
                    <a:lnTo>
                      <a:pt x="449" y="300"/>
                    </a:lnTo>
                    <a:lnTo>
                      <a:pt x="839" y="240"/>
                    </a:lnTo>
                    <a:lnTo>
                      <a:pt x="749" y="330"/>
                    </a:lnTo>
                    <a:lnTo>
                      <a:pt x="689" y="420"/>
                    </a:lnTo>
                    <a:lnTo>
                      <a:pt x="539" y="510"/>
                    </a:lnTo>
                    <a:lnTo>
                      <a:pt x="539" y="660"/>
                    </a:lnTo>
                    <a:lnTo>
                      <a:pt x="659" y="570"/>
                    </a:lnTo>
                    <a:lnTo>
                      <a:pt x="809" y="450"/>
                    </a:lnTo>
                    <a:lnTo>
                      <a:pt x="1049" y="300"/>
                    </a:lnTo>
                    <a:lnTo>
                      <a:pt x="1139" y="360"/>
                    </a:lnTo>
                    <a:lnTo>
                      <a:pt x="1229" y="480"/>
                    </a:lnTo>
                    <a:lnTo>
                      <a:pt x="1319" y="360"/>
                    </a:lnTo>
                    <a:lnTo>
                      <a:pt x="1139" y="360"/>
                    </a:lnTo>
                    <a:lnTo>
                      <a:pt x="1139" y="511"/>
                    </a:lnTo>
                    <a:lnTo>
                      <a:pt x="1049" y="480"/>
                    </a:lnTo>
                    <a:lnTo>
                      <a:pt x="1019" y="570"/>
                    </a:lnTo>
                    <a:lnTo>
                      <a:pt x="1019" y="810"/>
                    </a:lnTo>
                    <a:lnTo>
                      <a:pt x="1139" y="720"/>
                    </a:lnTo>
                    <a:lnTo>
                      <a:pt x="1227" y="812"/>
                    </a:lnTo>
                    <a:lnTo>
                      <a:pt x="1199" y="630"/>
                    </a:lnTo>
                    <a:lnTo>
                      <a:pt x="1289" y="570"/>
                    </a:lnTo>
                    <a:lnTo>
                      <a:pt x="1409" y="630"/>
                    </a:lnTo>
                    <a:lnTo>
                      <a:pt x="1289" y="690"/>
                    </a:lnTo>
                    <a:lnTo>
                      <a:pt x="1379" y="750"/>
                    </a:lnTo>
                    <a:lnTo>
                      <a:pt x="1649" y="720"/>
                    </a:lnTo>
                    <a:lnTo>
                      <a:pt x="1529" y="780"/>
                    </a:lnTo>
                    <a:lnTo>
                      <a:pt x="1559" y="1050"/>
                    </a:lnTo>
                    <a:lnTo>
                      <a:pt x="1349" y="8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1" name="Freeform 2571">
                <a:extLst>
                  <a:ext uri="{FF2B5EF4-FFF2-40B4-BE49-F238E27FC236}">
                    <a16:creationId xmlns:a16="http://schemas.microsoft.com/office/drawing/2014/main" id="{361B1F2C-B4F3-40AA-B27E-B2CA7F778418}"/>
                  </a:ext>
                </a:extLst>
              </p:cNvPr>
              <p:cNvSpPr>
                <a:spLocks/>
              </p:cNvSpPr>
              <p:nvPr/>
            </p:nvSpPr>
            <p:spPr bwMode="auto">
              <a:xfrm>
                <a:off x="2505" y="300"/>
                <a:ext cx="270" cy="210"/>
              </a:xfrm>
              <a:custGeom>
                <a:avLst/>
                <a:gdLst>
                  <a:gd name="T0" fmla="*/ 120 w 270"/>
                  <a:gd name="T1" fmla="*/ 0 h 210"/>
                  <a:gd name="T2" fmla="*/ 270 w 270"/>
                  <a:gd name="T3" fmla="*/ 60 h 210"/>
                  <a:gd name="T4" fmla="*/ 0 w 270"/>
                  <a:gd name="T5" fmla="*/ 210 h 210"/>
                </a:gdLst>
                <a:ahLst/>
                <a:cxnLst>
                  <a:cxn ang="0">
                    <a:pos x="T0" y="T1"/>
                  </a:cxn>
                  <a:cxn ang="0">
                    <a:pos x="T2" y="T3"/>
                  </a:cxn>
                  <a:cxn ang="0">
                    <a:pos x="T4" y="T5"/>
                  </a:cxn>
                </a:cxnLst>
                <a:rect l="0" t="0" r="r" b="b"/>
                <a:pathLst>
                  <a:path w="270" h="210">
                    <a:moveTo>
                      <a:pt x="120" y="0"/>
                    </a:move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2" name="Freeform 2572">
                <a:extLst>
                  <a:ext uri="{FF2B5EF4-FFF2-40B4-BE49-F238E27FC236}">
                    <a16:creationId xmlns:a16="http://schemas.microsoft.com/office/drawing/2014/main" id="{755779E0-7532-4994-A350-054BF8AA2DF2}"/>
                  </a:ext>
                </a:extLst>
              </p:cNvPr>
              <p:cNvSpPr>
                <a:spLocks/>
              </p:cNvSpPr>
              <p:nvPr/>
            </p:nvSpPr>
            <p:spPr bwMode="auto">
              <a:xfrm>
                <a:off x="2775" y="360"/>
                <a:ext cx="180" cy="90"/>
              </a:xfrm>
              <a:custGeom>
                <a:avLst/>
                <a:gdLst>
                  <a:gd name="T0" fmla="*/ 120 w 180"/>
                  <a:gd name="T1" fmla="*/ 90 h 90"/>
                  <a:gd name="T2" fmla="*/ 0 w 180"/>
                  <a:gd name="T3" fmla="*/ 0 h 90"/>
                  <a:gd name="T4" fmla="*/ 180 w 180"/>
                  <a:gd name="T5" fmla="*/ 0 h 90"/>
                  <a:gd name="T6" fmla="*/ 120 w 180"/>
                  <a:gd name="T7" fmla="*/ 90 h 90"/>
                </a:gdLst>
                <a:ahLst/>
                <a:cxnLst>
                  <a:cxn ang="0">
                    <a:pos x="T0" y="T1"/>
                  </a:cxn>
                  <a:cxn ang="0">
                    <a:pos x="T2" y="T3"/>
                  </a:cxn>
                  <a:cxn ang="0">
                    <a:pos x="T4" y="T5"/>
                  </a:cxn>
                  <a:cxn ang="0">
                    <a:pos x="T6" y="T7"/>
                  </a:cxn>
                </a:cxnLst>
                <a:rect l="0" t="0" r="r" b="b"/>
                <a:pathLst>
                  <a:path w="180" h="90">
                    <a:moveTo>
                      <a:pt x="120" y="90"/>
                    </a:moveTo>
                    <a:lnTo>
                      <a:pt x="0" y="0"/>
                    </a:lnTo>
                    <a:lnTo>
                      <a:pt x="180" y="0"/>
                    </a:lnTo>
                    <a:lnTo>
                      <a:pt x="12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3" name="Freeform 2573">
                <a:extLst>
                  <a:ext uri="{FF2B5EF4-FFF2-40B4-BE49-F238E27FC236}">
                    <a16:creationId xmlns:a16="http://schemas.microsoft.com/office/drawing/2014/main" id="{ED08F1E4-DC16-4FEC-AB71-66647DB8A845}"/>
                  </a:ext>
                </a:extLst>
              </p:cNvPr>
              <p:cNvSpPr>
                <a:spLocks/>
              </p:cNvSpPr>
              <p:nvPr/>
            </p:nvSpPr>
            <p:spPr bwMode="auto">
              <a:xfrm>
                <a:off x="2595" y="30"/>
                <a:ext cx="210" cy="150"/>
              </a:xfrm>
              <a:custGeom>
                <a:avLst/>
                <a:gdLst>
                  <a:gd name="T0" fmla="*/ 120 w 210"/>
                  <a:gd name="T1" fmla="*/ 60 h 150"/>
                  <a:gd name="T2" fmla="*/ 210 w 210"/>
                  <a:gd name="T3" fmla="*/ 90 h 150"/>
                  <a:gd name="T4" fmla="*/ 0 w 210"/>
                  <a:gd name="T5" fmla="*/ 150 h 150"/>
                  <a:gd name="T6" fmla="*/ 0 w 210"/>
                  <a:gd name="T7" fmla="*/ 0 h 150"/>
                  <a:gd name="T8" fmla="*/ 120 w 210"/>
                  <a:gd name="T9" fmla="*/ 60 h 150"/>
                </a:gdLst>
                <a:ahLst/>
                <a:cxnLst>
                  <a:cxn ang="0">
                    <a:pos x="T0" y="T1"/>
                  </a:cxn>
                  <a:cxn ang="0">
                    <a:pos x="T2" y="T3"/>
                  </a:cxn>
                  <a:cxn ang="0">
                    <a:pos x="T4" y="T5"/>
                  </a:cxn>
                  <a:cxn ang="0">
                    <a:pos x="T6" y="T7"/>
                  </a:cxn>
                  <a:cxn ang="0">
                    <a:pos x="T8" y="T9"/>
                  </a:cxn>
                </a:cxnLst>
                <a:rect l="0" t="0" r="r" b="b"/>
                <a:pathLst>
                  <a:path w="210" h="150">
                    <a:moveTo>
                      <a:pt x="120" y="60"/>
                    </a:moveTo>
                    <a:lnTo>
                      <a:pt x="210" y="90"/>
                    </a:lnTo>
                    <a:lnTo>
                      <a:pt x="0" y="150"/>
                    </a:lnTo>
                    <a:lnTo>
                      <a:pt x="0" y="0"/>
                    </a:lnTo>
                    <a:lnTo>
                      <a:pt x="120" y="6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4" name="Line 2574">
                <a:extLst>
                  <a:ext uri="{FF2B5EF4-FFF2-40B4-BE49-F238E27FC236}">
                    <a16:creationId xmlns:a16="http://schemas.microsoft.com/office/drawing/2014/main" id="{051987D3-A67E-4656-80FC-E7F3A8ADB7AE}"/>
                  </a:ext>
                </a:extLst>
              </p:cNvPr>
              <p:cNvSpPr>
                <a:spLocks noChangeShapeType="1"/>
              </p:cNvSpPr>
              <p:nvPr/>
            </p:nvSpPr>
            <p:spPr bwMode="auto">
              <a:xfrm flipH="1">
                <a:off x="2385" y="1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5" name="Freeform 2575">
                <a:extLst>
                  <a:ext uri="{FF2B5EF4-FFF2-40B4-BE49-F238E27FC236}">
                    <a16:creationId xmlns:a16="http://schemas.microsoft.com/office/drawing/2014/main" id="{C70CE78C-C1C8-43AD-A298-B9567BE3C2B2}"/>
                  </a:ext>
                </a:extLst>
              </p:cNvPr>
              <p:cNvSpPr>
                <a:spLocks/>
              </p:cNvSpPr>
              <p:nvPr/>
            </p:nvSpPr>
            <p:spPr bwMode="auto">
              <a:xfrm>
                <a:off x="1876" y="30"/>
                <a:ext cx="2398" cy="390"/>
              </a:xfrm>
              <a:custGeom>
                <a:avLst/>
                <a:gdLst>
                  <a:gd name="T0" fmla="*/ 509 w 2398"/>
                  <a:gd name="T1" fmla="*/ 60 h 390"/>
                  <a:gd name="T2" fmla="*/ 419 w 2398"/>
                  <a:gd name="T3" fmla="*/ 120 h 390"/>
                  <a:gd name="T4" fmla="*/ 239 w 2398"/>
                  <a:gd name="T5" fmla="*/ 60 h 390"/>
                  <a:gd name="T6" fmla="*/ 90 w 2398"/>
                  <a:gd name="T7" fmla="*/ 30 h 390"/>
                  <a:gd name="T8" fmla="*/ 0 w 2398"/>
                  <a:gd name="T9" fmla="*/ 120 h 390"/>
                  <a:gd name="T10" fmla="*/ 180 w 2398"/>
                  <a:gd name="T11" fmla="*/ 180 h 390"/>
                  <a:gd name="T12" fmla="*/ 90 w 2398"/>
                  <a:gd name="T13" fmla="*/ 330 h 390"/>
                  <a:gd name="T14" fmla="*/ 239 w 2398"/>
                  <a:gd name="T15" fmla="*/ 300 h 390"/>
                  <a:gd name="T16" fmla="*/ 239 w 2398"/>
                  <a:gd name="T17" fmla="*/ 60 h 390"/>
                  <a:gd name="T18" fmla="*/ 359 w 2398"/>
                  <a:gd name="T19" fmla="*/ 210 h 390"/>
                  <a:gd name="T20" fmla="*/ 359 w 2398"/>
                  <a:gd name="T21" fmla="*/ 360 h 390"/>
                  <a:gd name="T22" fmla="*/ 479 w 2398"/>
                  <a:gd name="T23" fmla="*/ 300 h 390"/>
                  <a:gd name="T24" fmla="*/ 419 w 2398"/>
                  <a:gd name="T25" fmla="*/ 120 h 390"/>
                  <a:gd name="T26" fmla="*/ 509 w 2398"/>
                  <a:gd name="T27" fmla="*/ 180 h 390"/>
                  <a:gd name="T28" fmla="*/ 509 w 2398"/>
                  <a:gd name="T29" fmla="*/ 60 h 390"/>
                  <a:gd name="T30" fmla="*/ 629 w 2398"/>
                  <a:gd name="T31" fmla="*/ 30 h 390"/>
                  <a:gd name="T32" fmla="*/ 719 w 2398"/>
                  <a:gd name="T33" fmla="*/ 0 h 390"/>
                  <a:gd name="T34" fmla="*/ 629 w 2398"/>
                  <a:gd name="T35" fmla="*/ 120 h 390"/>
                  <a:gd name="T36" fmla="*/ 719 w 2398"/>
                  <a:gd name="T37" fmla="*/ 150 h 390"/>
                  <a:gd name="T38" fmla="*/ 599 w 2398"/>
                  <a:gd name="T39" fmla="*/ 240 h 390"/>
                  <a:gd name="T40" fmla="*/ 659 w 2398"/>
                  <a:gd name="T41" fmla="*/ 360 h 390"/>
                  <a:gd name="T42" fmla="*/ 749 w 2398"/>
                  <a:gd name="T43" fmla="*/ 270 h 390"/>
                  <a:gd name="T44" fmla="*/ 839 w 2398"/>
                  <a:gd name="T45" fmla="*/ 60 h 390"/>
                  <a:gd name="T46" fmla="*/ 869 w 2398"/>
                  <a:gd name="T47" fmla="*/ 210 h 390"/>
                  <a:gd name="T48" fmla="*/ 929 w 2398"/>
                  <a:gd name="T49" fmla="*/ 90 h 390"/>
                  <a:gd name="T50" fmla="*/ 899 w 2398"/>
                  <a:gd name="T51" fmla="*/ 330 h 390"/>
                  <a:gd name="T52" fmla="*/ 1019 w 2398"/>
                  <a:gd name="T53" fmla="*/ 240 h 390"/>
                  <a:gd name="T54" fmla="*/ 1079 w 2398"/>
                  <a:gd name="T55" fmla="*/ 330 h 390"/>
                  <a:gd name="T56" fmla="*/ 1139 w 2398"/>
                  <a:gd name="T57" fmla="*/ 180 h 390"/>
                  <a:gd name="T58" fmla="*/ 1079 w 2398"/>
                  <a:gd name="T59" fmla="*/ 60 h 390"/>
                  <a:gd name="T60" fmla="*/ 1199 w 2398"/>
                  <a:gd name="T61" fmla="*/ 60 h 390"/>
                  <a:gd name="T62" fmla="*/ 1319 w 2398"/>
                  <a:gd name="T63" fmla="*/ 0 h 390"/>
                  <a:gd name="T64" fmla="*/ 1319 w 2398"/>
                  <a:gd name="T65" fmla="*/ 210 h 390"/>
                  <a:gd name="T66" fmla="*/ 1199 w 2398"/>
                  <a:gd name="T67" fmla="*/ 300 h 390"/>
                  <a:gd name="T68" fmla="*/ 1319 w 2398"/>
                  <a:gd name="T69" fmla="*/ 360 h 390"/>
                  <a:gd name="T70" fmla="*/ 1439 w 2398"/>
                  <a:gd name="T71" fmla="*/ 270 h 390"/>
                  <a:gd name="T72" fmla="*/ 1379 w 2398"/>
                  <a:gd name="T73" fmla="*/ 120 h 390"/>
                  <a:gd name="T74" fmla="*/ 1469 w 2398"/>
                  <a:gd name="T75" fmla="*/ 60 h 390"/>
                  <a:gd name="T76" fmla="*/ 1589 w 2398"/>
                  <a:gd name="T77" fmla="*/ 120 h 390"/>
                  <a:gd name="T78" fmla="*/ 1559 w 2398"/>
                  <a:gd name="T79" fmla="*/ 240 h 390"/>
                  <a:gd name="T80" fmla="*/ 1619 w 2398"/>
                  <a:gd name="T81" fmla="*/ 360 h 390"/>
                  <a:gd name="T82" fmla="*/ 1709 w 2398"/>
                  <a:gd name="T83" fmla="*/ 270 h 390"/>
                  <a:gd name="T84" fmla="*/ 1679 w 2398"/>
                  <a:gd name="T85" fmla="*/ 150 h 390"/>
                  <a:gd name="T86" fmla="*/ 1679 w 2398"/>
                  <a:gd name="T87" fmla="*/ 0 h 390"/>
                  <a:gd name="T88" fmla="*/ 1799 w 2398"/>
                  <a:gd name="T89" fmla="*/ 60 h 390"/>
                  <a:gd name="T90" fmla="*/ 1829 w 2398"/>
                  <a:gd name="T91" fmla="*/ 210 h 390"/>
                  <a:gd name="T92" fmla="*/ 1978 w 2398"/>
                  <a:gd name="T93" fmla="*/ 120 h 390"/>
                  <a:gd name="T94" fmla="*/ 1948 w 2398"/>
                  <a:gd name="T95" fmla="*/ 240 h 390"/>
                  <a:gd name="T96" fmla="*/ 1888 w 2398"/>
                  <a:gd name="T97" fmla="*/ 360 h 390"/>
                  <a:gd name="T98" fmla="*/ 2068 w 2398"/>
                  <a:gd name="T99" fmla="*/ 330 h 390"/>
                  <a:gd name="T100" fmla="*/ 2248 w 2398"/>
                  <a:gd name="T101" fmla="*/ 390 h 390"/>
                  <a:gd name="T102" fmla="*/ 2398 w 2398"/>
                  <a:gd name="T103" fmla="*/ 270 h 390"/>
                  <a:gd name="T104" fmla="*/ 2278 w 2398"/>
                  <a:gd name="T105" fmla="*/ 240 h 390"/>
                  <a:gd name="T106" fmla="*/ 2368 w 2398"/>
                  <a:gd name="T107" fmla="*/ 12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8" h="390">
                    <a:moveTo>
                      <a:pt x="509" y="60"/>
                    </a:moveTo>
                    <a:lnTo>
                      <a:pt x="419" y="120"/>
                    </a:lnTo>
                    <a:lnTo>
                      <a:pt x="239" y="60"/>
                    </a:lnTo>
                    <a:lnTo>
                      <a:pt x="90" y="30"/>
                    </a:lnTo>
                    <a:lnTo>
                      <a:pt x="0" y="120"/>
                    </a:lnTo>
                    <a:lnTo>
                      <a:pt x="180" y="180"/>
                    </a:lnTo>
                    <a:lnTo>
                      <a:pt x="90" y="330"/>
                    </a:lnTo>
                    <a:lnTo>
                      <a:pt x="239" y="300"/>
                    </a:lnTo>
                    <a:lnTo>
                      <a:pt x="239" y="60"/>
                    </a:lnTo>
                    <a:lnTo>
                      <a:pt x="359" y="210"/>
                    </a:lnTo>
                    <a:lnTo>
                      <a:pt x="359" y="360"/>
                    </a:lnTo>
                    <a:lnTo>
                      <a:pt x="479" y="300"/>
                    </a:lnTo>
                    <a:lnTo>
                      <a:pt x="419" y="120"/>
                    </a:lnTo>
                    <a:lnTo>
                      <a:pt x="509" y="180"/>
                    </a:lnTo>
                    <a:lnTo>
                      <a:pt x="509" y="60"/>
                    </a:lnTo>
                    <a:lnTo>
                      <a:pt x="629" y="30"/>
                    </a:lnTo>
                    <a:lnTo>
                      <a:pt x="719" y="0"/>
                    </a:lnTo>
                    <a:lnTo>
                      <a:pt x="629" y="120"/>
                    </a:lnTo>
                    <a:lnTo>
                      <a:pt x="719" y="150"/>
                    </a:lnTo>
                    <a:lnTo>
                      <a:pt x="599" y="240"/>
                    </a:lnTo>
                    <a:lnTo>
                      <a:pt x="659" y="360"/>
                    </a:lnTo>
                    <a:lnTo>
                      <a:pt x="749" y="270"/>
                    </a:lnTo>
                    <a:lnTo>
                      <a:pt x="839" y="60"/>
                    </a:lnTo>
                    <a:lnTo>
                      <a:pt x="869" y="210"/>
                    </a:lnTo>
                    <a:lnTo>
                      <a:pt x="929" y="90"/>
                    </a:lnTo>
                    <a:lnTo>
                      <a:pt x="899" y="330"/>
                    </a:lnTo>
                    <a:lnTo>
                      <a:pt x="1019" y="240"/>
                    </a:lnTo>
                    <a:lnTo>
                      <a:pt x="1079" y="330"/>
                    </a:lnTo>
                    <a:lnTo>
                      <a:pt x="1139" y="180"/>
                    </a:lnTo>
                    <a:lnTo>
                      <a:pt x="1079" y="60"/>
                    </a:lnTo>
                    <a:lnTo>
                      <a:pt x="1199" y="60"/>
                    </a:lnTo>
                    <a:lnTo>
                      <a:pt x="1319" y="0"/>
                    </a:lnTo>
                    <a:lnTo>
                      <a:pt x="1319" y="210"/>
                    </a:lnTo>
                    <a:lnTo>
                      <a:pt x="1199" y="300"/>
                    </a:lnTo>
                    <a:lnTo>
                      <a:pt x="1319" y="360"/>
                    </a:lnTo>
                    <a:lnTo>
                      <a:pt x="1439" y="270"/>
                    </a:lnTo>
                    <a:lnTo>
                      <a:pt x="1379" y="120"/>
                    </a:lnTo>
                    <a:lnTo>
                      <a:pt x="1469" y="60"/>
                    </a:lnTo>
                    <a:lnTo>
                      <a:pt x="1589" y="120"/>
                    </a:lnTo>
                    <a:lnTo>
                      <a:pt x="1559" y="240"/>
                    </a:lnTo>
                    <a:lnTo>
                      <a:pt x="1619" y="360"/>
                    </a:lnTo>
                    <a:lnTo>
                      <a:pt x="1709" y="270"/>
                    </a:lnTo>
                    <a:lnTo>
                      <a:pt x="1679" y="150"/>
                    </a:lnTo>
                    <a:lnTo>
                      <a:pt x="1679" y="0"/>
                    </a:lnTo>
                    <a:lnTo>
                      <a:pt x="1799" y="60"/>
                    </a:lnTo>
                    <a:lnTo>
                      <a:pt x="1829" y="210"/>
                    </a:lnTo>
                    <a:lnTo>
                      <a:pt x="1978" y="120"/>
                    </a:lnTo>
                    <a:lnTo>
                      <a:pt x="1948" y="240"/>
                    </a:lnTo>
                    <a:lnTo>
                      <a:pt x="1888" y="360"/>
                    </a:lnTo>
                    <a:lnTo>
                      <a:pt x="2068" y="330"/>
                    </a:lnTo>
                    <a:lnTo>
                      <a:pt x="2248" y="390"/>
                    </a:lnTo>
                    <a:lnTo>
                      <a:pt x="2398" y="270"/>
                    </a:lnTo>
                    <a:lnTo>
                      <a:pt x="2278" y="240"/>
                    </a:lnTo>
                    <a:lnTo>
                      <a:pt x="2368"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6" name="Line 2576">
                <a:extLst>
                  <a:ext uri="{FF2B5EF4-FFF2-40B4-BE49-F238E27FC236}">
                    <a16:creationId xmlns:a16="http://schemas.microsoft.com/office/drawing/2014/main" id="{38AAA827-ED6C-4C5E-B17D-9F88B74EF8BA}"/>
                  </a:ext>
                </a:extLst>
              </p:cNvPr>
              <p:cNvSpPr>
                <a:spLocks noChangeShapeType="1"/>
              </p:cNvSpPr>
              <p:nvPr/>
            </p:nvSpPr>
            <p:spPr bwMode="auto">
              <a:xfrm flipV="1">
                <a:off x="2235" y="15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7" name="Freeform 2577">
                <a:extLst>
                  <a:ext uri="{FF2B5EF4-FFF2-40B4-BE49-F238E27FC236}">
                    <a16:creationId xmlns:a16="http://schemas.microsoft.com/office/drawing/2014/main" id="{2A15FBB7-F34A-4B8E-80B5-8CC0534A68AE}"/>
                  </a:ext>
                </a:extLst>
              </p:cNvPr>
              <p:cNvSpPr>
                <a:spLocks/>
              </p:cNvSpPr>
              <p:nvPr/>
            </p:nvSpPr>
            <p:spPr bwMode="auto">
              <a:xfrm>
                <a:off x="2355" y="210"/>
                <a:ext cx="180" cy="360"/>
              </a:xfrm>
              <a:custGeom>
                <a:avLst/>
                <a:gdLst>
                  <a:gd name="T0" fmla="*/ 180 w 180"/>
                  <a:gd name="T1" fmla="*/ 180 h 360"/>
                  <a:gd name="T2" fmla="*/ 0 w 180"/>
                  <a:gd name="T3" fmla="*/ 120 h 360"/>
                  <a:gd name="T4" fmla="*/ 30 w 180"/>
                  <a:gd name="T5" fmla="*/ 0 h 360"/>
                  <a:gd name="T6" fmla="*/ 120 w 180"/>
                  <a:gd name="T7" fmla="*/ 60 h 360"/>
                  <a:gd name="T8" fmla="*/ 60 w 180"/>
                  <a:gd name="T9" fmla="*/ 360 h 360"/>
                </a:gdLst>
                <a:ahLst/>
                <a:cxnLst>
                  <a:cxn ang="0">
                    <a:pos x="T0" y="T1"/>
                  </a:cxn>
                  <a:cxn ang="0">
                    <a:pos x="T2" y="T3"/>
                  </a:cxn>
                  <a:cxn ang="0">
                    <a:pos x="T4" y="T5"/>
                  </a:cxn>
                  <a:cxn ang="0">
                    <a:pos x="T6" y="T7"/>
                  </a:cxn>
                  <a:cxn ang="0">
                    <a:pos x="T8" y="T9"/>
                  </a:cxn>
                </a:cxnLst>
                <a:rect l="0" t="0" r="r" b="b"/>
                <a:pathLst>
                  <a:path w="180" h="360">
                    <a:moveTo>
                      <a:pt x="180" y="180"/>
                    </a:moveTo>
                    <a:lnTo>
                      <a:pt x="0" y="120"/>
                    </a:lnTo>
                    <a:lnTo>
                      <a:pt x="30" y="0"/>
                    </a:lnTo>
                    <a:lnTo>
                      <a:pt x="120" y="60"/>
                    </a:lnTo>
                    <a:lnTo>
                      <a:pt x="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8" name="Line 2578">
                <a:extLst>
                  <a:ext uri="{FF2B5EF4-FFF2-40B4-BE49-F238E27FC236}">
                    <a16:creationId xmlns:a16="http://schemas.microsoft.com/office/drawing/2014/main" id="{8C26DC5A-9128-4976-82E8-2F03A34A501C}"/>
                  </a:ext>
                </a:extLst>
              </p:cNvPr>
              <p:cNvSpPr>
                <a:spLocks noChangeShapeType="1"/>
              </p:cNvSpPr>
              <p:nvPr/>
            </p:nvSpPr>
            <p:spPr bwMode="auto">
              <a:xfrm>
                <a:off x="2235" y="390"/>
                <a:ext cx="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9" name="Freeform 2579">
                <a:extLst>
                  <a:ext uri="{FF2B5EF4-FFF2-40B4-BE49-F238E27FC236}">
                    <a16:creationId xmlns:a16="http://schemas.microsoft.com/office/drawing/2014/main" id="{C427F4F1-14EC-445C-8CB8-99265B91D916}"/>
                  </a:ext>
                </a:extLst>
              </p:cNvPr>
              <p:cNvSpPr>
                <a:spLocks/>
              </p:cNvSpPr>
              <p:nvPr/>
            </p:nvSpPr>
            <p:spPr bwMode="auto">
              <a:xfrm>
                <a:off x="2625" y="300"/>
                <a:ext cx="180" cy="330"/>
              </a:xfrm>
              <a:custGeom>
                <a:avLst/>
                <a:gdLst>
                  <a:gd name="T0" fmla="*/ 180 w 180"/>
                  <a:gd name="T1" fmla="*/ 240 h 330"/>
                  <a:gd name="T2" fmla="*/ 0 w 180"/>
                  <a:gd name="T3" fmla="*/ 0 h 330"/>
                  <a:gd name="T4" fmla="*/ 120 w 180"/>
                  <a:gd name="T5" fmla="*/ 330 h 330"/>
                </a:gdLst>
                <a:ahLst/>
                <a:cxnLst>
                  <a:cxn ang="0">
                    <a:pos x="T0" y="T1"/>
                  </a:cxn>
                  <a:cxn ang="0">
                    <a:pos x="T2" y="T3"/>
                  </a:cxn>
                  <a:cxn ang="0">
                    <a:pos x="T4" y="T5"/>
                  </a:cxn>
                </a:cxnLst>
                <a:rect l="0" t="0" r="r" b="b"/>
                <a:pathLst>
                  <a:path w="180" h="330">
                    <a:moveTo>
                      <a:pt x="180" y="240"/>
                    </a:moveTo>
                    <a:lnTo>
                      <a:pt x="0" y="0"/>
                    </a:lnTo>
                    <a:lnTo>
                      <a:pt x="12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0" name="Line 2580">
                <a:extLst>
                  <a:ext uri="{FF2B5EF4-FFF2-40B4-BE49-F238E27FC236}">
                    <a16:creationId xmlns:a16="http://schemas.microsoft.com/office/drawing/2014/main" id="{78498A38-C9B8-4814-881B-2F63679E4709}"/>
                  </a:ext>
                </a:extLst>
              </p:cNvPr>
              <p:cNvSpPr>
                <a:spLocks noChangeShapeType="1"/>
              </p:cNvSpPr>
              <p:nvPr/>
            </p:nvSpPr>
            <p:spPr bwMode="auto">
              <a:xfrm>
                <a:off x="2595" y="18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94" name="Group 2782">
              <a:extLst>
                <a:ext uri="{FF2B5EF4-FFF2-40B4-BE49-F238E27FC236}">
                  <a16:creationId xmlns:a16="http://schemas.microsoft.com/office/drawing/2014/main" id="{26C3B066-34D7-402B-8C91-984A895A9885}"/>
                </a:ext>
              </a:extLst>
            </p:cNvPr>
            <p:cNvGrpSpPr>
              <a:grpSpLocks/>
            </p:cNvGrpSpPr>
            <p:nvPr/>
          </p:nvGrpSpPr>
          <p:grpSpPr bwMode="auto">
            <a:xfrm>
              <a:off x="1246" y="0"/>
              <a:ext cx="3268" cy="3210"/>
              <a:chOff x="1246" y="0"/>
              <a:chExt cx="3268" cy="3210"/>
            </a:xfrm>
          </p:grpSpPr>
          <p:sp>
            <p:nvSpPr>
              <p:cNvPr id="581" name="Freeform 2582">
                <a:extLst>
                  <a:ext uri="{FF2B5EF4-FFF2-40B4-BE49-F238E27FC236}">
                    <a16:creationId xmlns:a16="http://schemas.microsoft.com/office/drawing/2014/main" id="{FD92065D-DCA8-4819-94D1-AF5652919C31}"/>
                  </a:ext>
                </a:extLst>
              </p:cNvPr>
              <p:cNvSpPr>
                <a:spLocks/>
              </p:cNvSpPr>
              <p:nvPr/>
            </p:nvSpPr>
            <p:spPr bwMode="auto">
              <a:xfrm>
                <a:off x="2895" y="90"/>
                <a:ext cx="180" cy="240"/>
              </a:xfrm>
              <a:custGeom>
                <a:avLst/>
                <a:gdLst>
                  <a:gd name="T0" fmla="*/ 180 w 180"/>
                  <a:gd name="T1" fmla="*/ 0 h 240"/>
                  <a:gd name="T2" fmla="*/ 180 w 180"/>
                  <a:gd name="T3" fmla="*/ 240 h 240"/>
                  <a:gd name="T4" fmla="*/ 0 w 180"/>
                  <a:gd name="T5" fmla="*/ 180 h 240"/>
                </a:gdLst>
                <a:ahLst/>
                <a:cxnLst>
                  <a:cxn ang="0">
                    <a:pos x="T0" y="T1"/>
                  </a:cxn>
                  <a:cxn ang="0">
                    <a:pos x="T2" y="T3"/>
                  </a:cxn>
                  <a:cxn ang="0">
                    <a:pos x="T4" y="T5"/>
                  </a:cxn>
                </a:cxnLst>
                <a:rect l="0" t="0" r="r" b="b"/>
                <a:pathLst>
                  <a:path w="180" h="240">
                    <a:moveTo>
                      <a:pt x="180" y="0"/>
                    </a:moveTo>
                    <a:lnTo>
                      <a:pt x="180" y="24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2" name="Freeform 2583">
                <a:extLst>
                  <a:ext uri="{FF2B5EF4-FFF2-40B4-BE49-F238E27FC236}">
                    <a16:creationId xmlns:a16="http://schemas.microsoft.com/office/drawing/2014/main" id="{37AA75C7-F096-45B4-B5CC-4445906A8F58}"/>
                  </a:ext>
                </a:extLst>
              </p:cNvPr>
              <p:cNvSpPr>
                <a:spLocks/>
              </p:cNvSpPr>
              <p:nvPr/>
            </p:nvSpPr>
            <p:spPr bwMode="auto">
              <a:xfrm>
                <a:off x="2805" y="120"/>
                <a:ext cx="450" cy="90"/>
              </a:xfrm>
              <a:custGeom>
                <a:avLst/>
                <a:gdLst>
                  <a:gd name="T0" fmla="*/ 0 w 450"/>
                  <a:gd name="T1" fmla="*/ 0 h 90"/>
                  <a:gd name="T2" fmla="*/ 210 w 450"/>
                  <a:gd name="T3" fmla="*/ 90 h 90"/>
                  <a:gd name="T4" fmla="*/ 450 w 450"/>
                  <a:gd name="T5" fmla="*/ 30 h 90"/>
                </a:gdLst>
                <a:ahLst/>
                <a:cxnLst>
                  <a:cxn ang="0">
                    <a:pos x="T0" y="T1"/>
                  </a:cxn>
                  <a:cxn ang="0">
                    <a:pos x="T2" y="T3"/>
                  </a:cxn>
                  <a:cxn ang="0">
                    <a:pos x="T4" y="T5"/>
                  </a:cxn>
                </a:cxnLst>
                <a:rect l="0" t="0" r="r" b="b"/>
                <a:pathLst>
                  <a:path w="450" h="90">
                    <a:moveTo>
                      <a:pt x="0" y="0"/>
                    </a:moveTo>
                    <a:lnTo>
                      <a:pt x="210" y="90"/>
                    </a:lnTo>
                    <a:lnTo>
                      <a:pt x="45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3" name="Freeform 2584">
                <a:extLst>
                  <a:ext uri="{FF2B5EF4-FFF2-40B4-BE49-F238E27FC236}">
                    <a16:creationId xmlns:a16="http://schemas.microsoft.com/office/drawing/2014/main" id="{551E5727-BFA6-4CEB-907C-BCC55C8FF47D}"/>
                  </a:ext>
                </a:extLst>
              </p:cNvPr>
              <p:cNvSpPr>
                <a:spLocks/>
              </p:cNvSpPr>
              <p:nvPr/>
            </p:nvSpPr>
            <p:spPr bwMode="auto">
              <a:xfrm>
                <a:off x="2955" y="270"/>
                <a:ext cx="480" cy="240"/>
              </a:xfrm>
              <a:custGeom>
                <a:avLst/>
                <a:gdLst>
                  <a:gd name="T0" fmla="*/ 480 w 480"/>
                  <a:gd name="T1" fmla="*/ 0 h 240"/>
                  <a:gd name="T2" fmla="*/ 330 w 480"/>
                  <a:gd name="T3" fmla="*/ 210 h 240"/>
                  <a:gd name="T4" fmla="*/ 0 w 480"/>
                  <a:gd name="T5" fmla="*/ 90 h 240"/>
                  <a:gd name="T6" fmla="*/ 150 w 480"/>
                  <a:gd name="T7" fmla="*/ 240 h 240"/>
                </a:gdLst>
                <a:ahLst/>
                <a:cxnLst>
                  <a:cxn ang="0">
                    <a:pos x="T0" y="T1"/>
                  </a:cxn>
                  <a:cxn ang="0">
                    <a:pos x="T2" y="T3"/>
                  </a:cxn>
                  <a:cxn ang="0">
                    <a:pos x="T4" y="T5"/>
                  </a:cxn>
                  <a:cxn ang="0">
                    <a:pos x="T6" y="T7"/>
                  </a:cxn>
                </a:cxnLst>
                <a:rect l="0" t="0" r="r" b="b"/>
                <a:pathLst>
                  <a:path w="480" h="240">
                    <a:moveTo>
                      <a:pt x="480" y="0"/>
                    </a:moveTo>
                    <a:lnTo>
                      <a:pt x="330" y="210"/>
                    </a:lnTo>
                    <a:lnTo>
                      <a:pt x="0" y="9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4" name="Line 2585">
                <a:extLst>
                  <a:ext uri="{FF2B5EF4-FFF2-40B4-BE49-F238E27FC236}">
                    <a16:creationId xmlns:a16="http://schemas.microsoft.com/office/drawing/2014/main" id="{5588180B-940B-4843-9B20-31FD13974B50}"/>
                  </a:ext>
                </a:extLst>
              </p:cNvPr>
              <p:cNvSpPr>
                <a:spLocks noChangeShapeType="1"/>
              </p:cNvSpPr>
              <p:nvPr/>
            </p:nvSpPr>
            <p:spPr bwMode="auto">
              <a:xfrm flipV="1">
                <a:off x="3465" y="39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5" name="Freeform 2586">
                <a:extLst>
                  <a:ext uri="{FF2B5EF4-FFF2-40B4-BE49-F238E27FC236}">
                    <a16:creationId xmlns:a16="http://schemas.microsoft.com/office/drawing/2014/main" id="{56F09C63-A4A8-40BB-8A67-D5796E1A76A3}"/>
                  </a:ext>
                </a:extLst>
              </p:cNvPr>
              <p:cNvSpPr>
                <a:spLocks/>
              </p:cNvSpPr>
              <p:nvPr/>
            </p:nvSpPr>
            <p:spPr bwMode="auto">
              <a:xfrm>
                <a:off x="3585" y="240"/>
                <a:ext cx="209" cy="270"/>
              </a:xfrm>
              <a:custGeom>
                <a:avLst/>
                <a:gdLst>
                  <a:gd name="T0" fmla="*/ 0 w 209"/>
                  <a:gd name="T1" fmla="*/ 60 h 270"/>
                  <a:gd name="T2" fmla="*/ 90 w 209"/>
                  <a:gd name="T3" fmla="*/ 210 h 270"/>
                  <a:gd name="T4" fmla="*/ 120 w 209"/>
                  <a:gd name="T5" fmla="*/ 0 h 270"/>
                  <a:gd name="T6" fmla="*/ 179 w 209"/>
                  <a:gd name="T7" fmla="*/ 150 h 270"/>
                  <a:gd name="T8" fmla="*/ 209 w 209"/>
                  <a:gd name="T9" fmla="*/ 270 h 270"/>
                </a:gdLst>
                <a:ahLst/>
                <a:cxnLst>
                  <a:cxn ang="0">
                    <a:pos x="T0" y="T1"/>
                  </a:cxn>
                  <a:cxn ang="0">
                    <a:pos x="T2" y="T3"/>
                  </a:cxn>
                  <a:cxn ang="0">
                    <a:pos x="T4" y="T5"/>
                  </a:cxn>
                  <a:cxn ang="0">
                    <a:pos x="T6" y="T7"/>
                  </a:cxn>
                  <a:cxn ang="0">
                    <a:pos x="T8" y="T9"/>
                  </a:cxn>
                </a:cxnLst>
                <a:rect l="0" t="0" r="r" b="b"/>
                <a:pathLst>
                  <a:path w="209" h="270">
                    <a:moveTo>
                      <a:pt x="0" y="60"/>
                    </a:moveTo>
                    <a:lnTo>
                      <a:pt x="90" y="210"/>
                    </a:lnTo>
                    <a:lnTo>
                      <a:pt x="120" y="0"/>
                    </a:lnTo>
                    <a:lnTo>
                      <a:pt x="179" y="150"/>
                    </a:lnTo>
                    <a:lnTo>
                      <a:pt x="20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6" name="Freeform 2587">
                <a:extLst>
                  <a:ext uri="{FF2B5EF4-FFF2-40B4-BE49-F238E27FC236}">
                    <a16:creationId xmlns:a16="http://schemas.microsoft.com/office/drawing/2014/main" id="{0453082D-C43E-4215-82B5-754DE36D69D7}"/>
                  </a:ext>
                </a:extLst>
              </p:cNvPr>
              <p:cNvSpPr>
                <a:spLocks/>
              </p:cNvSpPr>
              <p:nvPr/>
            </p:nvSpPr>
            <p:spPr bwMode="auto">
              <a:xfrm>
                <a:off x="3555" y="90"/>
                <a:ext cx="389" cy="270"/>
              </a:xfrm>
              <a:custGeom>
                <a:avLst/>
                <a:gdLst>
                  <a:gd name="T0" fmla="*/ 150 w 389"/>
                  <a:gd name="T1" fmla="*/ 150 h 270"/>
                  <a:gd name="T2" fmla="*/ 0 w 389"/>
                  <a:gd name="T3" fmla="*/ 90 h 270"/>
                  <a:gd name="T4" fmla="*/ 120 w 389"/>
                  <a:gd name="T5" fmla="*/ 0 h 270"/>
                  <a:gd name="T6" fmla="*/ 269 w 389"/>
                  <a:gd name="T7" fmla="*/ 180 h 270"/>
                  <a:gd name="T8" fmla="*/ 389 w 389"/>
                  <a:gd name="T9" fmla="*/ 270 h 270"/>
                </a:gdLst>
                <a:ahLst/>
                <a:cxnLst>
                  <a:cxn ang="0">
                    <a:pos x="T0" y="T1"/>
                  </a:cxn>
                  <a:cxn ang="0">
                    <a:pos x="T2" y="T3"/>
                  </a:cxn>
                  <a:cxn ang="0">
                    <a:pos x="T4" y="T5"/>
                  </a:cxn>
                  <a:cxn ang="0">
                    <a:pos x="T6" y="T7"/>
                  </a:cxn>
                  <a:cxn ang="0">
                    <a:pos x="T8" y="T9"/>
                  </a:cxn>
                </a:cxnLst>
                <a:rect l="0" t="0" r="r" b="b"/>
                <a:pathLst>
                  <a:path w="389" h="270">
                    <a:moveTo>
                      <a:pt x="150" y="150"/>
                    </a:moveTo>
                    <a:lnTo>
                      <a:pt x="0" y="90"/>
                    </a:lnTo>
                    <a:lnTo>
                      <a:pt x="120" y="0"/>
                    </a:lnTo>
                    <a:lnTo>
                      <a:pt x="269" y="180"/>
                    </a:lnTo>
                    <a:lnTo>
                      <a:pt x="38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7" name="Freeform 2588">
                <a:extLst>
                  <a:ext uri="{FF2B5EF4-FFF2-40B4-BE49-F238E27FC236}">
                    <a16:creationId xmlns:a16="http://schemas.microsoft.com/office/drawing/2014/main" id="{21BDB80E-0B0C-46CD-A70B-6039D9EDA48B}"/>
                  </a:ext>
                </a:extLst>
              </p:cNvPr>
              <p:cNvSpPr>
                <a:spLocks/>
              </p:cNvSpPr>
              <p:nvPr/>
            </p:nvSpPr>
            <p:spPr bwMode="auto">
              <a:xfrm>
                <a:off x="3764" y="390"/>
                <a:ext cx="360" cy="360"/>
              </a:xfrm>
              <a:custGeom>
                <a:avLst/>
                <a:gdLst>
                  <a:gd name="T0" fmla="*/ 0 w 360"/>
                  <a:gd name="T1" fmla="*/ 0 h 360"/>
                  <a:gd name="T2" fmla="*/ 180 w 360"/>
                  <a:gd name="T3" fmla="*/ 90 h 360"/>
                  <a:gd name="T4" fmla="*/ 360 w 360"/>
                  <a:gd name="T5" fmla="*/ 360 h 360"/>
                </a:gdLst>
                <a:ahLst/>
                <a:cxnLst>
                  <a:cxn ang="0">
                    <a:pos x="T0" y="T1"/>
                  </a:cxn>
                  <a:cxn ang="0">
                    <a:pos x="T2" y="T3"/>
                  </a:cxn>
                  <a:cxn ang="0">
                    <a:pos x="T4" y="T5"/>
                  </a:cxn>
                </a:cxnLst>
                <a:rect l="0" t="0" r="r" b="b"/>
                <a:pathLst>
                  <a:path w="360" h="360">
                    <a:moveTo>
                      <a:pt x="0" y="0"/>
                    </a:moveTo>
                    <a:lnTo>
                      <a:pt x="180" y="90"/>
                    </a:lnTo>
                    <a:lnTo>
                      <a:pt x="3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8" name="Freeform 2589">
                <a:extLst>
                  <a:ext uri="{FF2B5EF4-FFF2-40B4-BE49-F238E27FC236}">
                    <a16:creationId xmlns:a16="http://schemas.microsoft.com/office/drawing/2014/main" id="{E4D0F417-9B14-4028-B42B-D62A03121CE1}"/>
                  </a:ext>
                </a:extLst>
              </p:cNvPr>
              <p:cNvSpPr>
                <a:spLocks/>
              </p:cNvSpPr>
              <p:nvPr/>
            </p:nvSpPr>
            <p:spPr bwMode="auto">
              <a:xfrm>
                <a:off x="3824" y="60"/>
                <a:ext cx="600" cy="240"/>
              </a:xfrm>
              <a:custGeom>
                <a:avLst/>
                <a:gdLst>
                  <a:gd name="T0" fmla="*/ 600 w 600"/>
                  <a:gd name="T1" fmla="*/ 0 h 240"/>
                  <a:gd name="T2" fmla="*/ 450 w 600"/>
                  <a:gd name="T3" fmla="*/ 240 h 240"/>
                  <a:gd name="T4" fmla="*/ 270 w 600"/>
                  <a:gd name="T5" fmla="*/ 60 h 240"/>
                  <a:gd name="T6" fmla="*/ 0 w 600"/>
                  <a:gd name="T7" fmla="*/ 210 h 240"/>
                </a:gdLst>
                <a:ahLst/>
                <a:cxnLst>
                  <a:cxn ang="0">
                    <a:pos x="T0" y="T1"/>
                  </a:cxn>
                  <a:cxn ang="0">
                    <a:pos x="T2" y="T3"/>
                  </a:cxn>
                  <a:cxn ang="0">
                    <a:pos x="T4" y="T5"/>
                  </a:cxn>
                  <a:cxn ang="0">
                    <a:pos x="T6" y="T7"/>
                  </a:cxn>
                </a:cxnLst>
                <a:rect l="0" t="0" r="r" b="b"/>
                <a:pathLst>
                  <a:path w="600" h="240">
                    <a:moveTo>
                      <a:pt x="600" y="0"/>
                    </a:moveTo>
                    <a:lnTo>
                      <a:pt x="450" y="240"/>
                    </a:ln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9" name="Freeform 2590">
                <a:extLst>
                  <a:ext uri="{FF2B5EF4-FFF2-40B4-BE49-F238E27FC236}">
                    <a16:creationId xmlns:a16="http://schemas.microsoft.com/office/drawing/2014/main" id="{2CAF4F9C-C4EB-45DF-B58A-C0D2037DEB55}"/>
                  </a:ext>
                </a:extLst>
              </p:cNvPr>
              <p:cNvSpPr>
                <a:spLocks/>
              </p:cNvSpPr>
              <p:nvPr/>
            </p:nvSpPr>
            <p:spPr bwMode="auto">
              <a:xfrm>
                <a:off x="1576" y="2550"/>
                <a:ext cx="2338" cy="660"/>
              </a:xfrm>
              <a:custGeom>
                <a:avLst/>
                <a:gdLst>
                  <a:gd name="T0" fmla="*/ 30 w 2338"/>
                  <a:gd name="T1" fmla="*/ 420 h 660"/>
                  <a:gd name="T2" fmla="*/ 0 w 2338"/>
                  <a:gd name="T3" fmla="*/ 270 h 660"/>
                  <a:gd name="T4" fmla="*/ 150 w 2338"/>
                  <a:gd name="T5" fmla="*/ 510 h 660"/>
                  <a:gd name="T6" fmla="*/ 210 w 2338"/>
                  <a:gd name="T7" fmla="*/ 420 h 660"/>
                  <a:gd name="T8" fmla="*/ 210 w 2338"/>
                  <a:gd name="T9" fmla="*/ 120 h 660"/>
                  <a:gd name="T10" fmla="*/ 60 w 2338"/>
                  <a:gd name="T11" fmla="*/ 150 h 660"/>
                  <a:gd name="T12" fmla="*/ 120 w 2338"/>
                  <a:gd name="T13" fmla="*/ 0 h 660"/>
                  <a:gd name="T14" fmla="*/ 330 w 2338"/>
                  <a:gd name="T15" fmla="*/ 90 h 660"/>
                  <a:gd name="T16" fmla="*/ 420 w 2338"/>
                  <a:gd name="T17" fmla="*/ 210 h 660"/>
                  <a:gd name="T18" fmla="*/ 210 w 2338"/>
                  <a:gd name="T19" fmla="*/ 120 h 660"/>
                  <a:gd name="T20" fmla="*/ 270 w 2338"/>
                  <a:gd name="T21" fmla="*/ 240 h 660"/>
                  <a:gd name="T22" fmla="*/ 420 w 2338"/>
                  <a:gd name="T23" fmla="*/ 210 h 660"/>
                  <a:gd name="T24" fmla="*/ 510 w 2338"/>
                  <a:gd name="T25" fmla="*/ 120 h 660"/>
                  <a:gd name="T26" fmla="*/ 599 w 2338"/>
                  <a:gd name="T27" fmla="*/ 210 h 660"/>
                  <a:gd name="T28" fmla="*/ 809 w 2338"/>
                  <a:gd name="T29" fmla="*/ 150 h 660"/>
                  <a:gd name="T30" fmla="*/ 719 w 2338"/>
                  <a:gd name="T31" fmla="*/ 240 h 660"/>
                  <a:gd name="T32" fmla="*/ 510 w 2338"/>
                  <a:gd name="T33" fmla="*/ 480 h 660"/>
                  <a:gd name="T34" fmla="*/ 689 w 2338"/>
                  <a:gd name="T35" fmla="*/ 510 h 660"/>
                  <a:gd name="T36" fmla="*/ 689 w 2338"/>
                  <a:gd name="T37" fmla="*/ 660 h 660"/>
                  <a:gd name="T38" fmla="*/ 569 w 2338"/>
                  <a:gd name="T39" fmla="*/ 600 h 660"/>
                  <a:gd name="T40" fmla="*/ 300 w 2338"/>
                  <a:gd name="T41" fmla="*/ 570 h 660"/>
                  <a:gd name="T42" fmla="*/ 420 w 2338"/>
                  <a:gd name="T43" fmla="*/ 330 h 660"/>
                  <a:gd name="T44" fmla="*/ 569 w 2338"/>
                  <a:gd name="T45" fmla="*/ 360 h 660"/>
                  <a:gd name="T46" fmla="*/ 599 w 2338"/>
                  <a:gd name="T47" fmla="*/ 210 h 660"/>
                  <a:gd name="T48" fmla="*/ 749 w 2338"/>
                  <a:gd name="T49" fmla="*/ 420 h 660"/>
                  <a:gd name="T50" fmla="*/ 689 w 2338"/>
                  <a:gd name="T51" fmla="*/ 510 h 660"/>
                  <a:gd name="T52" fmla="*/ 809 w 2338"/>
                  <a:gd name="T53" fmla="*/ 600 h 660"/>
                  <a:gd name="T54" fmla="*/ 929 w 2338"/>
                  <a:gd name="T55" fmla="*/ 540 h 660"/>
                  <a:gd name="T56" fmla="*/ 1079 w 2338"/>
                  <a:gd name="T57" fmla="*/ 570 h 660"/>
                  <a:gd name="T58" fmla="*/ 1049 w 2338"/>
                  <a:gd name="T59" fmla="*/ 450 h 660"/>
                  <a:gd name="T60" fmla="*/ 959 w 2338"/>
                  <a:gd name="T61" fmla="*/ 420 h 660"/>
                  <a:gd name="T62" fmla="*/ 1049 w 2338"/>
                  <a:gd name="T63" fmla="*/ 300 h 660"/>
                  <a:gd name="T64" fmla="*/ 1169 w 2338"/>
                  <a:gd name="T65" fmla="*/ 360 h 660"/>
                  <a:gd name="T66" fmla="*/ 1259 w 2338"/>
                  <a:gd name="T67" fmla="*/ 390 h 660"/>
                  <a:gd name="T68" fmla="*/ 1199 w 2338"/>
                  <a:gd name="T69" fmla="*/ 510 h 660"/>
                  <a:gd name="T70" fmla="*/ 1349 w 2338"/>
                  <a:gd name="T71" fmla="*/ 540 h 660"/>
                  <a:gd name="T72" fmla="*/ 1409 w 2338"/>
                  <a:gd name="T73" fmla="*/ 360 h 660"/>
                  <a:gd name="T74" fmla="*/ 1469 w 2338"/>
                  <a:gd name="T75" fmla="*/ 480 h 660"/>
                  <a:gd name="T76" fmla="*/ 1529 w 2338"/>
                  <a:gd name="T77" fmla="*/ 360 h 660"/>
                  <a:gd name="T78" fmla="*/ 1529 w 2338"/>
                  <a:gd name="T79" fmla="*/ 600 h 660"/>
                  <a:gd name="T80" fmla="*/ 1409 w 2338"/>
                  <a:gd name="T81" fmla="*/ 630 h 660"/>
                  <a:gd name="T82" fmla="*/ 1649 w 2338"/>
                  <a:gd name="T83" fmla="*/ 300 h 660"/>
                  <a:gd name="T84" fmla="*/ 1649 w 2338"/>
                  <a:gd name="T85" fmla="*/ 510 h 660"/>
                  <a:gd name="T86" fmla="*/ 1709 w 2338"/>
                  <a:gd name="T87" fmla="*/ 420 h 660"/>
                  <a:gd name="T88" fmla="*/ 1799 w 2338"/>
                  <a:gd name="T89" fmla="*/ 360 h 660"/>
                  <a:gd name="T90" fmla="*/ 1799 w 2338"/>
                  <a:gd name="T91" fmla="*/ 480 h 660"/>
                  <a:gd name="T92" fmla="*/ 1739 w 2338"/>
                  <a:gd name="T93" fmla="*/ 600 h 660"/>
                  <a:gd name="T94" fmla="*/ 1889 w 2338"/>
                  <a:gd name="T95" fmla="*/ 540 h 660"/>
                  <a:gd name="T96" fmla="*/ 1949 w 2338"/>
                  <a:gd name="T97" fmla="*/ 660 h 660"/>
                  <a:gd name="T98" fmla="*/ 2039 w 2338"/>
                  <a:gd name="T99" fmla="*/ 570 h 660"/>
                  <a:gd name="T100" fmla="*/ 2009 w 2338"/>
                  <a:gd name="T101" fmla="*/ 450 h 660"/>
                  <a:gd name="T102" fmla="*/ 1919 w 2338"/>
                  <a:gd name="T103" fmla="*/ 420 h 660"/>
                  <a:gd name="T104" fmla="*/ 2009 w 2338"/>
                  <a:gd name="T105" fmla="*/ 300 h 660"/>
                  <a:gd name="T106" fmla="*/ 2129 w 2338"/>
                  <a:gd name="T107" fmla="*/ 360 h 660"/>
                  <a:gd name="T108" fmla="*/ 2159 w 2338"/>
                  <a:gd name="T109" fmla="*/ 510 h 660"/>
                  <a:gd name="T110" fmla="*/ 2338 w 2338"/>
                  <a:gd name="T111" fmla="*/ 540 h 660"/>
                  <a:gd name="T112" fmla="*/ 2218 w 2338"/>
                  <a:gd name="T113" fmla="*/ 660 h 660"/>
                  <a:gd name="T114" fmla="*/ 2248 w 2338"/>
                  <a:gd name="T115" fmla="*/ 390 h 660"/>
                  <a:gd name="T116" fmla="*/ 2069 w 2338"/>
                  <a:gd name="T117" fmla="*/ 24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8" h="660">
                    <a:moveTo>
                      <a:pt x="30" y="420"/>
                    </a:moveTo>
                    <a:lnTo>
                      <a:pt x="0" y="270"/>
                    </a:lnTo>
                    <a:lnTo>
                      <a:pt x="150" y="510"/>
                    </a:lnTo>
                    <a:lnTo>
                      <a:pt x="210" y="420"/>
                    </a:lnTo>
                    <a:lnTo>
                      <a:pt x="210" y="120"/>
                    </a:lnTo>
                    <a:lnTo>
                      <a:pt x="60" y="150"/>
                    </a:lnTo>
                    <a:lnTo>
                      <a:pt x="120" y="0"/>
                    </a:lnTo>
                    <a:lnTo>
                      <a:pt x="330" y="90"/>
                    </a:lnTo>
                    <a:lnTo>
                      <a:pt x="420" y="210"/>
                    </a:lnTo>
                    <a:lnTo>
                      <a:pt x="210" y="120"/>
                    </a:lnTo>
                    <a:lnTo>
                      <a:pt x="270" y="240"/>
                    </a:lnTo>
                    <a:lnTo>
                      <a:pt x="420" y="210"/>
                    </a:lnTo>
                    <a:lnTo>
                      <a:pt x="510" y="120"/>
                    </a:lnTo>
                    <a:lnTo>
                      <a:pt x="599" y="210"/>
                    </a:lnTo>
                    <a:lnTo>
                      <a:pt x="809" y="150"/>
                    </a:lnTo>
                    <a:lnTo>
                      <a:pt x="719" y="240"/>
                    </a:lnTo>
                    <a:lnTo>
                      <a:pt x="510" y="480"/>
                    </a:lnTo>
                    <a:lnTo>
                      <a:pt x="689" y="510"/>
                    </a:lnTo>
                    <a:lnTo>
                      <a:pt x="689" y="660"/>
                    </a:lnTo>
                    <a:lnTo>
                      <a:pt x="569" y="600"/>
                    </a:lnTo>
                    <a:lnTo>
                      <a:pt x="300" y="570"/>
                    </a:lnTo>
                    <a:lnTo>
                      <a:pt x="420" y="330"/>
                    </a:lnTo>
                    <a:lnTo>
                      <a:pt x="569" y="360"/>
                    </a:lnTo>
                    <a:lnTo>
                      <a:pt x="599" y="210"/>
                    </a:lnTo>
                    <a:lnTo>
                      <a:pt x="749" y="420"/>
                    </a:lnTo>
                    <a:lnTo>
                      <a:pt x="689" y="510"/>
                    </a:lnTo>
                    <a:lnTo>
                      <a:pt x="809" y="600"/>
                    </a:lnTo>
                    <a:lnTo>
                      <a:pt x="929" y="540"/>
                    </a:lnTo>
                    <a:lnTo>
                      <a:pt x="1079" y="570"/>
                    </a:lnTo>
                    <a:lnTo>
                      <a:pt x="1049" y="450"/>
                    </a:lnTo>
                    <a:lnTo>
                      <a:pt x="959" y="420"/>
                    </a:lnTo>
                    <a:lnTo>
                      <a:pt x="1049" y="300"/>
                    </a:lnTo>
                    <a:lnTo>
                      <a:pt x="1169" y="360"/>
                    </a:lnTo>
                    <a:lnTo>
                      <a:pt x="1259" y="390"/>
                    </a:lnTo>
                    <a:lnTo>
                      <a:pt x="1199" y="510"/>
                    </a:lnTo>
                    <a:lnTo>
                      <a:pt x="1349" y="540"/>
                    </a:lnTo>
                    <a:lnTo>
                      <a:pt x="1409" y="360"/>
                    </a:lnTo>
                    <a:lnTo>
                      <a:pt x="1469" y="480"/>
                    </a:lnTo>
                    <a:lnTo>
                      <a:pt x="1529" y="360"/>
                    </a:lnTo>
                    <a:lnTo>
                      <a:pt x="1529" y="600"/>
                    </a:lnTo>
                    <a:lnTo>
                      <a:pt x="1409" y="630"/>
                    </a:lnTo>
                    <a:lnTo>
                      <a:pt x="1649" y="300"/>
                    </a:lnTo>
                    <a:lnTo>
                      <a:pt x="1649" y="510"/>
                    </a:lnTo>
                    <a:lnTo>
                      <a:pt x="1709" y="420"/>
                    </a:lnTo>
                    <a:lnTo>
                      <a:pt x="1799" y="360"/>
                    </a:lnTo>
                    <a:lnTo>
                      <a:pt x="1799" y="480"/>
                    </a:lnTo>
                    <a:lnTo>
                      <a:pt x="1739" y="600"/>
                    </a:lnTo>
                    <a:lnTo>
                      <a:pt x="1889" y="540"/>
                    </a:lnTo>
                    <a:lnTo>
                      <a:pt x="1949" y="660"/>
                    </a:lnTo>
                    <a:lnTo>
                      <a:pt x="2039" y="570"/>
                    </a:lnTo>
                    <a:lnTo>
                      <a:pt x="2009" y="450"/>
                    </a:lnTo>
                    <a:lnTo>
                      <a:pt x="1919" y="420"/>
                    </a:lnTo>
                    <a:lnTo>
                      <a:pt x="2009" y="300"/>
                    </a:lnTo>
                    <a:lnTo>
                      <a:pt x="2129" y="360"/>
                    </a:lnTo>
                    <a:lnTo>
                      <a:pt x="2159" y="510"/>
                    </a:lnTo>
                    <a:lnTo>
                      <a:pt x="2338" y="540"/>
                    </a:lnTo>
                    <a:lnTo>
                      <a:pt x="2218" y="660"/>
                    </a:lnTo>
                    <a:lnTo>
                      <a:pt x="2248" y="390"/>
                    </a:lnTo>
                    <a:lnTo>
                      <a:pt x="2069"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0" name="Freeform 2591">
                <a:extLst>
                  <a:ext uri="{FF2B5EF4-FFF2-40B4-BE49-F238E27FC236}">
                    <a16:creationId xmlns:a16="http://schemas.microsoft.com/office/drawing/2014/main" id="{304D719A-11B8-4225-B1AF-25D3D7D78B23}"/>
                  </a:ext>
                </a:extLst>
              </p:cNvPr>
              <p:cNvSpPr>
                <a:spLocks/>
              </p:cNvSpPr>
              <p:nvPr/>
            </p:nvSpPr>
            <p:spPr bwMode="auto">
              <a:xfrm>
                <a:off x="3585" y="2760"/>
                <a:ext cx="269" cy="300"/>
              </a:xfrm>
              <a:custGeom>
                <a:avLst/>
                <a:gdLst>
                  <a:gd name="T0" fmla="*/ 269 w 269"/>
                  <a:gd name="T1" fmla="*/ 0 h 300"/>
                  <a:gd name="T2" fmla="*/ 120 w 269"/>
                  <a:gd name="T3" fmla="*/ 150 h 300"/>
                  <a:gd name="T4" fmla="*/ 0 w 269"/>
                  <a:gd name="T5" fmla="*/ 240 h 300"/>
                  <a:gd name="T6" fmla="*/ 150 w 269"/>
                  <a:gd name="T7" fmla="*/ 300 h 300"/>
                </a:gdLst>
                <a:ahLst/>
                <a:cxnLst>
                  <a:cxn ang="0">
                    <a:pos x="T0" y="T1"/>
                  </a:cxn>
                  <a:cxn ang="0">
                    <a:pos x="T2" y="T3"/>
                  </a:cxn>
                  <a:cxn ang="0">
                    <a:pos x="T4" y="T5"/>
                  </a:cxn>
                  <a:cxn ang="0">
                    <a:pos x="T6" y="T7"/>
                  </a:cxn>
                </a:cxnLst>
                <a:rect l="0" t="0" r="r" b="b"/>
                <a:pathLst>
                  <a:path w="269" h="300">
                    <a:moveTo>
                      <a:pt x="269" y="0"/>
                    </a:moveTo>
                    <a:lnTo>
                      <a:pt x="120" y="150"/>
                    </a:lnTo>
                    <a:lnTo>
                      <a:pt x="0" y="24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1" name="Freeform 2592">
                <a:extLst>
                  <a:ext uri="{FF2B5EF4-FFF2-40B4-BE49-F238E27FC236}">
                    <a16:creationId xmlns:a16="http://schemas.microsoft.com/office/drawing/2014/main" id="{E2431D78-76CC-4874-8A41-9CE1BCDE54B5}"/>
                  </a:ext>
                </a:extLst>
              </p:cNvPr>
              <p:cNvSpPr>
                <a:spLocks/>
              </p:cNvSpPr>
              <p:nvPr/>
            </p:nvSpPr>
            <p:spPr bwMode="auto">
              <a:xfrm>
                <a:off x="2835" y="2790"/>
                <a:ext cx="1289" cy="420"/>
              </a:xfrm>
              <a:custGeom>
                <a:avLst/>
                <a:gdLst>
                  <a:gd name="T0" fmla="*/ 210 w 1289"/>
                  <a:gd name="T1" fmla="*/ 240 h 420"/>
                  <a:gd name="T2" fmla="*/ 150 w 1289"/>
                  <a:gd name="T3" fmla="*/ 390 h 420"/>
                  <a:gd name="T4" fmla="*/ 90 w 1289"/>
                  <a:gd name="T5" fmla="*/ 300 h 420"/>
                  <a:gd name="T6" fmla="*/ 0 w 1289"/>
                  <a:gd name="T7" fmla="*/ 150 h 420"/>
                  <a:gd name="T8" fmla="*/ 150 w 1289"/>
                  <a:gd name="T9" fmla="*/ 120 h 420"/>
                  <a:gd name="T10" fmla="*/ 300 w 1289"/>
                  <a:gd name="T11" fmla="*/ 30 h 420"/>
                  <a:gd name="T12" fmla="*/ 390 w 1289"/>
                  <a:gd name="T13" fmla="*/ 60 h 420"/>
                  <a:gd name="T14" fmla="*/ 450 w 1289"/>
                  <a:gd name="T15" fmla="*/ 180 h 420"/>
                  <a:gd name="T16" fmla="*/ 480 w 1289"/>
                  <a:gd name="T17" fmla="*/ 30 h 420"/>
                  <a:gd name="T18" fmla="*/ 600 w 1289"/>
                  <a:gd name="T19" fmla="*/ 0 h 420"/>
                  <a:gd name="T20" fmla="*/ 540 w 1289"/>
                  <a:gd name="T21" fmla="*/ 120 h 420"/>
                  <a:gd name="T22" fmla="*/ 660 w 1289"/>
                  <a:gd name="T23" fmla="*/ 180 h 420"/>
                  <a:gd name="T24" fmla="*/ 630 w 1289"/>
                  <a:gd name="T25" fmla="*/ 300 h 420"/>
                  <a:gd name="T26" fmla="*/ 780 w 1289"/>
                  <a:gd name="T27" fmla="*/ 330 h 420"/>
                  <a:gd name="T28" fmla="*/ 959 w 1289"/>
                  <a:gd name="T29" fmla="*/ 420 h 420"/>
                  <a:gd name="T30" fmla="*/ 1289 w 1289"/>
                  <a:gd name="T3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9" h="420">
                    <a:moveTo>
                      <a:pt x="210" y="240"/>
                    </a:moveTo>
                    <a:lnTo>
                      <a:pt x="150" y="390"/>
                    </a:lnTo>
                    <a:lnTo>
                      <a:pt x="90" y="300"/>
                    </a:lnTo>
                    <a:lnTo>
                      <a:pt x="0" y="150"/>
                    </a:lnTo>
                    <a:lnTo>
                      <a:pt x="150" y="120"/>
                    </a:lnTo>
                    <a:lnTo>
                      <a:pt x="300" y="30"/>
                    </a:lnTo>
                    <a:lnTo>
                      <a:pt x="390" y="60"/>
                    </a:lnTo>
                    <a:lnTo>
                      <a:pt x="450" y="180"/>
                    </a:lnTo>
                    <a:lnTo>
                      <a:pt x="480" y="30"/>
                    </a:lnTo>
                    <a:lnTo>
                      <a:pt x="600" y="0"/>
                    </a:lnTo>
                    <a:lnTo>
                      <a:pt x="540" y="120"/>
                    </a:lnTo>
                    <a:lnTo>
                      <a:pt x="660" y="180"/>
                    </a:lnTo>
                    <a:lnTo>
                      <a:pt x="630" y="300"/>
                    </a:lnTo>
                    <a:lnTo>
                      <a:pt x="780" y="330"/>
                    </a:lnTo>
                    <a:lnTo>
                      <a:pt x="959" y="420"/>
                    </a:lnTo>
                    <a:lnTo>
                      <a:pt x="1289"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2" name="Freeform 2593">
                <a:extLst>
                  <a:ext uri="{FF2B5EF4-FFF2-40B4-BE49-F238E27FC236}">
                    <a16:creationId xmlns:a16="http://schemas.microsoft.com/office/drawing/2014/main" id="{FC0E8EF9-B079-43F4-BC7A-30DCF9604284}"/>
                  </a:ext>
                </a:extLst>
              </p:cNvPr>
              <p:cNvSpPr>
                <a:spLocks/>
              </p:cNvSpPr>
              <p:nvPr/>
            </p:nvSpPr>
            <p:spPr bwMode="auto">
              <a:xfrm>
                <a:off x="1996" y="2130"/>
                <a:ext cx="629" cy="720"/>
              </a:xfrm>
              <a:custGeom>
                <a:avLst/>
                <a:gdLst>
                  <a:gd name="T0" fmla="*/ 629 w 629"/>
                  <a:gd name="T1" fmla="*/ 720 h 720"/>
                  <a:gd name="T2" fmla="*/ 479 w 629"/>
                  <a:gd name="T3" fmla="*/ 690 h 720"/>
                  <a:gd name="T4" fmla="*/ 599 w 629"/>
                  <a:gd name="T5" fmla="*/ 510 h 720"/>
                  <a:gd name="T6" fmla="*/ 389 w 629"/>
                  <a:gd name="T7" fmla="*/ 570 h 720"/>
                  <a:gd name="T8" fmla="*/ 269 w 629"/>
                  <a:gd name="T9" fmla="*/ 510 h 720"/>
                  <a:gd name="T10" fmla="*/ 90 w 629"/>
                  <a:gd name="T11" fmla="*/ 540 h 720"/>
                  <a:gd name="T12" fmla="*/ 0 w 629"/>
                  <a:gd name="T13" fmla="*/ 390 h 720"/>
                  <a:gd name="T14" fmla="*/ 0 w 629"/>
                  <a:gd name="T15" fmla="*/ 630 h 720"/>
                  <a:gd name="T16" fmla="*/ 90 w 629"/>
                  <a:gd name="T17" fmla="*/ 300 h 720"/>
                  <a:gd name="T18" fmla="*/ 0 w 629"/>
                  <a:gd name="T19" fmla="*/ 210 h 720"/>
                  <a:gd name="T20" fmla="*/ 0 w 629"/>
                  <a:gd name="T21" fmla="*/ 60 h 720"/>
                  <a:gd name="T22" fmla="*/ 60 w 629"/>
                  <a:gd name="T23" fmla="*/ 0 h 720"/>
                  <a:gd name="T24" fmla="*/ 149 w 629"/>
                  <a:gd name="T25" fmla="*/ 180 h 720"/>
                  <a:gd name="T26" fmla="*/ 329 w 629"/>
                  <a:gd name="T27" fmla="*/ 240 h 720"/>
                  <a:gd name="T28" fmla="*/ 359 w 629"/>
                  <a:gd name="T29" fmla="*/ 9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9" h="720">
                    <a:moveTo>
                      <a:pt x="629" y="720"/>
                    </a:moveTo>
                    <a:lnTo>
                      <a:pt x="479" y="690"/>
                    </a:lnTo>
                    <a:lnTo>
                      <a:pt x="599" y="510"/>
                    </a:ln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3" name="Freeform 2594">
                <a:extLst>
                  <a:ext uri="{FF2B5EF4-FFF2-40B4-BE49-F238E27FC236}">
                    <a16:creationId xmlns:a16="http://schemas.microsoft.com/office/drawing/2014/main" id="{DCB8B5D1-E3A0-4E87-83BE-544FAAD23CEA}"/>
                  </a:ext>
                </a:extLst>
              </p:cNvPr>
              <p:cNvSpPr>
                <a:spLocks/>
              </p:cNvSpPr>
              <p:nvPr/>
            </p:nvSpPr>
            <p:spPr bwMode="auto">
              <a:xfrm>
                <a:off x="2295" y="2640"/>
                <a:ext cx="780" cy="480"/>
              </a:xfrm>
              <a:custGeom>
                <a:avLst/>
                <a:gdLst>
                  <a:gd name="T0" fmla="*/ 330 w 780"/>
                  <a:gd name="T1" fmla="*/ 360 h 480"/>
                  <a:gd name="T2" fmla="*/ 210 w 780"/>
                  <a:gd name="T3" fmla="*/ 450 h 480"/>
                  <a:gd name="T4" fmla="*/ 120 w 780"/>
                  <a:gd name="T5" fmla="*/ 390 h 480"/>
                  <a:gd name="T6" fmla="*/ 120 w 780"/>
                  <a:gd name="T7" fmla="*/ 270 h 480"/>
                  <a:gd name="T8" fmla="*/ 180 w 780"/>
                  <a:gd name="T9" fmla="*/ 180 h 480"/>
                  <a:gd name="T10" fmla="*/ 0 w 780"/>
                  <a:gd name="T11" fmla="*/ 150 h 480"/>
                  <a:gd name="T12" fmla="*/ 30 w 780"/>
                  <a:gd name="T13" fmla="*/ 330 h 480"/>
                  <a:gd name="T14" fmla="*/ 120 w 780"/>
                  <a:gd name="T15" fmla="*/ 270 h 480"/>
                  <a:gd name="T16" fmla="*/ 240 w 780"/>
                  <a:gd name="T17" fmla="*/ 330 h 480"/>
                  <a:gd name="T18" fmla="*/ 360 w 780"/>
                  <a:gd name="T19" fmla="*/ 480 h 480"/>
                  <a:gd name="T20" fmla="*/ 480 w 780"/>
                  <a:gd name="T21" fmla="*/ 420 h 480"/>
                  <a:gd name="T22" fmla="*/ 330 w 780"/>
                  <a:gd name="T23" fmla="*/ 360 h 480"/>
                  <a:gd name="T24" fmla="*/ 450 w 780"/>
                  <a:gd name="T25" fmla="*/ 270 h 480"/>
                  <a:gd name="T26" fmla="*/ 510 w 780"/>
                  <a:gd name="T27" fmla="*/ 90 h 480"/>
                  <a:gd name="T28" fmla="*/ 690 w 780"/>
                  <a:gd name="T29" fmla="*/ 0 h 480"/>
                  <a:gd name="T30" fmla="*/ 450 w 780"/>
                  <a:gd name="T31" fmla="*/ 0 h 480"/>
                  <a:gd name="T32" fmla="*/ 780 w 780"/>
                  <a:gd name="T33" fmla="*/ 9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80">
                    <a:moveTo>
                      <a:pt x="330" y="360"/>
                    </a:moveTo>
                    <a:lnTo>
                      <a:pt x="210" y="450"/>
                    </a:lnTo>
                    <a:lnTo>
                      <a:pt x="120" y="390"/>
                    </a:lnTo>
                    <a:lnTo>
                      <a:pt x="120" y="270"/>
                    </a:lnTo>
                    <a:lnTo>
                      <a:pt x="180" y="180"/>
                    </a:lnTo>
                    <a:lnTo>
                      <a:pt x="0" y="150"/>
                    </a:lnTo>
                    <a:lnTo>
                      <a:pt x="30" y="330"/>
                    </a:lnTo>
                    <a:lnTo>
                      <a:pt x="120" y="270"/>
                    </a:lnTo>
                    <a:lnTo>
                      <a:pt x="240" y="330"/>
                    </a:lnTo>
                    <a:lnTo>
                      <a:pt x="360" y="480"/>
                    </a:lnTo>
                    <a:lnTo>
                      <a:pt x="480" y="420"/>
                    </a:lnTo>
                    <a:lnTo>
                      <a:pt x="330" y="360"/>
                    </a:lnTo>
                    <a:lnTo>
                      <a:pt x="450" y="270"/>
                    </a:lnTo>
                    <a:lnTo>
                      <a:pt x="510" y="90"/>
                    </a:lnTo>
                    <a:lnTo>
                      <a:pt x="690" y="0"/>
                    </a:lnTo>
                    <a:lnTo>
                      <a:pt x="450" y="0"/>
                    </a:lnTo>
                    <a:lnTo>
                      <a:pt x="7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4" name="Line 2595">
                <a:extLst>
                  <a:ext uri="{FF2B5EF4-FFF2-40B4-BE49-F238E27FC236}">
                    <a16:creationId xmlns:a16="http://schemas.microsoft.com/office/drawing/2014/main" id="{19EBC036-AB85-4FF3-8DB1-0BFBBA2E90A1}"/>
                  </a:ext>
                </a:extLst>
              </p:cNvPr>
              <p:cNvSpPr>
                <a:spLocks noChangeShapeType="1"/>
              </p:cNvSpPr>
              <p:nvPr/>
            </p:nvSpPr>
            <p:spPr bwMode="auto">
              <a:xfrm flipH="1" flipV="1">
                <a:off x="2325"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5" name="Freeform 2596">
                <a:extLst>
                  <a:ext uri="{FF2B5EF4-FFF2-40B4-BE49-F238E27FC236}">
                    <a16:creationId xmlns:a16="http://schemas.microsoft.com/office/drawing/2014/main" id="{B7980B33-4970-4EFC-9510-3291A3499FBA}"/>
                  </a:ext>
                </a:extLst>
              </p:cNvPr>
              <p:cNvSpPr>
                <a:spLocks/>
              </p:cNvSpPr>
              <p:nvPr/>
            </p:nvSpPr>
            <p:spPr bwMode="auto">
              <a:xfrm>
                <a:off x="2086" y="2820"/>
                <a:ext cx="449" cy="390"/>
              </a:xfrm>
              <a:custGeom>
                <a:avLst/>
                <a:gdLst>
                  <a:gd name="T0" fmla="*/ 179 w 449"/>
                  <a:gd name="T1" fmla="*/ 390 h 390"/>
                  <a:gd name="T2" fmla="*/ 329 w 449"/>
                  <a:gd name="T3" fmla="*/ 210 h 390"/>
                  <a:gd name="T4" fmla="*/ 449 w 449"/>
                  <a:gd name="T5" fmla="*/ 150 h 390"/>
                  <a:gd name="T6" fmla="*/ 389 w 449"/>
                  <a:gd name="T7" fmla="*/ 0 h 390"/>
                  <a:gd name="T8" fmla="*/ 0 w 449"/>
                  <a:gd name="T9" fmla="*/ 210 h 390"/>
                </a:gdLst>
                <a:ahLst/>
                <a:cxnLst>
                  <a:cxn ang="0">
                    <a:pos x="T0" y="T1"/>
                  </a:cxn>
                  <a:cxn ang="0">
                    <a:pos x="T2" y="T3"/>
                  </a:cxn>
                  <a:cxn ang="0">
                    <a:pos x="T4" y="T5"/>
                  </a:cxn>
                  <a:cxn ang="0">
                    <a:pos x="T6" y="T7"/>
                  </a:cxn>
                  <a:cxn ang="0">
                    <a:pos x="T8" y="T9"/>
                  </a:cxn>
                </a:cxnLst>
                <a:rect l="0" t="0" r="r" b="b"/>
                <a:pathLst>
                  <a:path w="449" h="390">
                    <a:moveTo>
                      <a:pt x="179" y="390"/>
                    </a:moveTo>
                    <a:lnTo>
                      <a:pt x="329" y="210"/>
                    </a:lnTo>
                    <a:lnTo>
                      <a:pt x="449" y="150"/>
                    </a:lnTo>
                    <a:lnTo>
                      <a:pt x="389" y="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6" name="Freeform 2597">
                <a:extLst>
                  <a:ext uri="{FF2B5EF4-FFF2-40B4-BE49-F238E27FC236}">
                    <a16:creationId xmlns:a16="http://schemas.microsoft.com/office/drawing/2014/main" id="{24D50DAF-8AE4-4967-9325-8B3544AEA308}"/>
                  </a:ext>
                </a:extLst>
              </p:cNvPr>
              <p:cNvSpPr>
                <a:spLocks/>
              </p:cNvSpPr>
              <p:nvPr/>
            </p:nvSpPr>
            <p:spPr bwMode="auto">
              <a:xfrm>
                <a:off x="2685" y="2310"/>
                <a:ext cx="870" cy="600"/>
              </a:xfrm>
              <a:custGeom>
                <a:avLst/>
                <a:gdLst>
                  <a:gd name="T0" fmla="*/ 0 w 870"/>
                  <a:gd name="T1" fmla="*/ 480 h 600"/>
                  <a:gd name="T2" fmla="*/ 60 w 870"/>
                  <a:gd name="T3" fmla="*/ 600 h 600"/>
                  <a:gd name="T4" fmla="*/ 270 w 870"/>
                  <a:gd name="T5" fmla="*/ 480 h 600"/>
                  <a:gd name="T6" fmla="*/ 390 w 870"/>
                  <a:gd name="T7" fmla="*/ 420 h 600"/>
                  <a:gd name="T8" fmla="*/ 540 w 870"/>
                  <a:gd name="T9" fmla="*/ 420 h 600"/>
                  <a:gd name="T10" fmla="*/ 750 w 870"/>
                  <a:gd name="T11" fmla="*/ 480 h 600"/>
                  <a:gd name="T12" fmla="*/ 870 w 870"/>
                  <a:gd name="T13" fmla="*/ 330 h 600"/>
                  <a:gd name="T14" fmla="*/ 660 w 870"/>
                  <a:gd name="T15" fmla="*/ 390 h 600"/>
                  <a:gd name="T16" fmla="*/ 540 w 870"/>
                  <a:gd name="T17" fmla="*/ 330 h 600"/>
                  <a:gd name="T18" fmla="*/ 420 w 870"/>
                  <a:gd name="T1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600">
                    <a:moveTo>
                      <a:pt x="0" y="480"/>
                    </a:moveTo>
                    <a:lnTo>
                      <a:pt x="60" y="600"/>
                    </a:lnTo>
                    <a:lnTo>
                      <a:pt x="270" y="480"/>
                    </a:lnTo>
                    <a:lnTo>
                      <a:pt x="390" y="420"/>
                    </a:lnTo>
                    <a:lnTo>
                      <a:pt x="540" y="420"/>
                    </a:lnTo>
                    <a:lnTo>
                      <a:pt x="750" y="480"/>
                    </a:lnTo>
                    <a:lnTo>
                      <a:pt x="870" y="330"/>
                    </a:lnTo>
                    <a:lnTo>
                      <a:pt x="660" y="390"/>
                    </a:lnTo>
                    <a:lnTo>
                      <a:pt x="540" y="33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7" name="Line 2598">
                <a:extLst>
                  <a:ext uri="{FF2B5EF4-FFF2-40B4-BE49-F238E27FC236}">
                    <a16:creationId xmlns:a16="http://schemas.microsoft.com/office/drawing/2014/main" id="{AC36C7BF-DC0C-4E8E-932C-20E9257F59C9}"/>
                  </a:ext>
                </a:extLst>
              </p:cNvPr>
              <p:cNvSpPr>
                <a:spLocks noChangeShapeType="1"/>
              </p:cNvSpPr>
              <p:nvPr/>
            </p:nvSpPr>
            <p:spPr bwMode="auto">
              <a:xfrm flipH="1" flipV="1">
                <a:off x="2745" y="2910"/>
                <a:ext cx="3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8" name="Freeform 2599">
                <a:extLst>
                  <a:ext uri="{FF2B5EF4-FFF2-40B4-BE49-F238E27FC236}">
                    <a16:creationId xmlns:a16="http://schemas.microsoft.com/office/drawing/2014/main" id="{751274E4-7E79-4A1C-8704-7D07E905D09E}"/>
                  </a:ext>
                </a:extLst>
              </p:cNvPr>
              <p:cNvSpPr>
                <a:spLocks/>
              </p:cNvSpPr>
              <p:nvPr/>
            </p:nvSpPr>
            <p:spPr bwMode="auto">
              <a:xfrm>
                <a:off x="3105" y="3060"/>
                <a:ext cx="210" cy="90"/>
              </a:xfrm>
              <a:custGeom>
                <a:avLst/>
                <a:gdLst>
                  <a:gd name="T0" fmla="*/ 0 w 210"/>
                  <a:gd name="T1" fmla="*/ 90 h 90"/>
                  <a:gd name="T2" fmla="*/ 120 w 210"/>
                  <a:gd name="T3" fmla="*/ 0 h 90"/>
                  <a:gd name="T4" fmla="*/ 210 w 210"/>
                  <a:gd name="T5" fmla="*/ 90 h 90"/>
                </a:gdLst>
                <a:ahLst/>
                <a:cxnLst>
                  <a:cxn ang="0">
                    <a:pos x="T0" y="T1"/>
                  </a:cxn>
                  <a:cxn ang="0">
                    <a:pos x="T2" y="T3"/>
                  </a:cxn>
                  <a:cxn ang="0">
                    <a:pos x="T4" y="T5"/>
                  </a:cxn>
                </a:cxnLst>
                <a:rect l="0" t="0" r="r" b="b"/>
                <a:pathLst>
                  <a:path w="210" h="90">
                    <a:moveTo>
                      <a:pt x="0" y="90"/>
                    </a:moveTo>
                    <a:lnTo>
                      <a:pt x="120" y="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9" name="Line 2600">
                <a:extLst>
                  <a:ext uri="{FF2B5EF4-FFF2-40B4-BE49-F238E27FC236}">
                    <a16:creationId xmlns:a16="http://schemas.microsoft.com/office/drawing/2014/main" id="{77265029-C3C4-47E3-B457-5308F4778167}"/>
                  </a:ext>
                </a:extLst>
              </p:cNvPr>
              <p:cNvSpPr>
                <a:spLocks noChangeShapeType="1"/>
              </p:cNvSpPr>
              <p:nvPr/>
            </p:nvSpPr>
            <p:spPr bwMode="auto">
              <a:xfrm flipH="1" flipV="1">
                <a:off x="2805" y="2730"/>
                <a:ext cx="30"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0" name="Freeform 2601">
                <a:extLst>
                  <a:ext uri="{FF2B5EF4-FFF2-40B4-BE49-F238E27FC236}">
                    <a16:creationId xmlns:a16="http://schemas.microsoft.com/office/drawing/2014/main" id="{C69B37B7-C410-415A-8EC5-4A71302B54CC}"/>
                  </a:ext>
                </a:extLst>
              </p:cNvPr>
              <p:cNvSpPr>
                <a:spLocks/>
              </p:cNvSpPr>
              <p:nvPr/>
            </p:nvSpPr>
            <p:spPr bwMode="auto">
              <a:xfrm>
                <a:off x="3225" y="2730"/>
                <a:ext cx="90" cy="120"/>
              </a:xfrm>
              <a:custGeom>
                <a:avLst/>
                <a:gdLst>
                  <a:gd name="T0" fmla="*/ 0 w 90"/>
                  <a:gd name="T1" fmla="*/ 0 h 120"/>
                  <a:gd name="T2" fmla="*/ 90 w 90"/>
                  <a:gd name="T3" fmla="*/ 90 h 120"/>
                  <a:gd name="T4" fmla="*/ 0 w 90"/>
                  <a:gd name="T5" fmla="*/ 120 h 120"/>
                  <a:gd name="T6" fmla="*/ 0 w 90"/>
                  <a:gd name="T7" fmla="*/ 0 h 120"/>
                </a:gdLst>
                <a:ahLst/>
                <a:cxnLst>
                  <a:cxn ang="0">
                    <a:pos x="T0" y="T1"/>
                  </a:cxn>
                  <a:cxn ang="0">
                    <a:pos x="T2" y="T3"/>
                  </a:cxn>
                  <a:cxn ang="0">
                    <a:pos x="T4" y="T5"/>
                  </a:cxn>
                  <a:cxn ang="0">
                    <a:pos x="T6" y="T7"/>
                  </a:cxn>
                </a:cxnLst>
                <a:rect l="0" t="0" r="r" b="b"/>
                <a:pathLst>
                  <a:path w="90" h="120">
                    <a:moveTo>
                      <a:pt x="0" y="0"/>
                    </a:moveTo>
                    <a:lnTo>
                      <a:pt x="90" y="90"/>
                    </a:lnTo>
                    <a:lnTo>
                      <a:pt x="0" y="120"/>
                    </a:lnTo>
                    <a:lnTo>
                      <a:pt x="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1" name="Freeform 2602">
                <a:extLst>
                  <a:ext uri="{FF2B5EF4-FFF2-40B4-BE49-F238E27FC236}">
                    <a16:creationId xmlns:a16="http://schemas.microsoft.com/office/drawing/2014/main" id="{268970B3-9AA7-40C7-B1D0-B8A988628A67}"/>
                  </a:ext>
                </a:extLst>
              </p:cNvPr>
              <p:cNvSpPr>
                <a:spLocks/>
              </p:cNvSpPr>
              <p:nvPr/>
            </p:nvSpPr>
            <p:spPr bwMode="auto">
              <a:xfrm>
                <a:off x="3315" y="2820"/>
                <a:ext cx="270" cy="90"/>
              </a:xfrm>
              <a:custGeom>
                <a:avLst/>
                <a:gdLst>
                  <a:gd name="T0" fmla="*/ 60 w 270"/>
                  <a:gd name="T1" fmla="*/ 90 h 90"/>
                  <a:gd name="T2" fmla="*/ 0 w 270"/>
                  <a:gd name="T3" fmla="*/ 0 h 90"/>
                  <a:gd name="T4" fmla="*/ 270 w 270"/>
                  <a:gd name="T5" fmla="*/ 30 h 90"/>
                </a:gdLst>
                <a:ahLst/>
                <a:cxnLst>
                  <a:cxn ang="0">
                    <a:pos x="T0" y="T1"/>
                  </a:cxn>
                  <a:cxn ang="0">
                    <a:pos x="T2" y="T3"/>
                  </a:cxn>
                  <a:cxn ang="0">
                    <a:pos x="T4" y="T5"/>
                  </a:cxn>
                </a:cxnLst>
                <a:rect l="0" t="0" r="r" b="b"/>
                <a:pathLst>
                  <a:path w="270" h="90">
                    <a:moveTo>
                      <a:pt x="60" y="90"/>
                    </a:moveTo>
                    <a:lnTo>
                      <a:pt x="0" y="0"/>
                    </a:lnTo>
                    <a:lnTo>
                      <a:pt x="27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2" name="Freeform 2603">
                <a:extLst>
                  <a:ext uri="{FF2B5EF4-FFF2-40B4-BE49-F238E27FC236}">
                    <a16:creationId xmlns:a16="http://schemas.microsoft.com/office/drawing/2014/main" id="{EF990CB7-1C6B-403E-8E0F-0572ADD895D8}"/>
                  </a:ext>
                </a:extLst>
              </p:cNvPr>
              <p:cNvSpPr>
                <a:spLocks/>
              </p:cNvSpPr>
              <p:nvPr/>
            </p:nvSpPr>
            <p:spPr bwMode="auto">
              <a:xfrm>
                <a:off x="2955" y="2730"/>
                <a:ext cx="540" cy="330"/>
              </a:xfrm>
              <a:custGeom>
                <a:avLst/>
                <a:gdLst>
                  <a:gd name="T0" fmla="*/ 540 w 540"/>
                  <a:gd name="T1" fmla="*/ 240 h 330"/>
                  <a:gd name="T2" fmla="*/ 420 w 540"/>
                  <a:gd name="T3" fmla="*/ 300 h 330"/>
                  <a:gd name="T4" fmla="*/ 270 w 540"/>
                  <a:gd name="T5" fmla="*/ 330 h 330"/>
                  <a:gd name="T6" fmla="*/ 150 w 540"/>
                  <a:gd name="T7" fmla="*/ 180 h 330"/>
                  <a:gd name="T8" fmla="*/ 180 w 540"/>
                  <a:gd name="T9" fmla="*/ 90 h 330"/>
                  <a:gd name="T10" fmla="*/ 120 w 540"/>
                  <a:gd name="T11" fmla="*/ 0 h 330"/>
                  <a:gd name="T12" fmla="*/ 30 w 540"/>
                  <a:gd name="T13" fmla="*/ 180 h 330"/>
                  <a:gd name="T14" fmla="*/ 0 w 540"/>
                  <a:gd name="T15" fmla="*/ 60 h 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330">
                    <a:moveTo>
                      <a:pt x="540" y="240"/>
                    </a:moveTo>
                    <a:lnTo>
                      <a:pt x="420" y="300"/>
                    </a:lnTo>
                    <a:lnTo>
                      <a:pt x="270" y="330"/>
                    </a:lnTo>
                    <a:lnTo>
                      <a:pt x="150" y="180"/>
                    </a:lnTo>
                    <a:lnTo>
                      <a:pt x="180" y="90"/>
                    </a:lnTo>
                    <a:lnTo>
                      <a:pt x="120" y="0"/>
                    </a:lnTo>
                    <a:lnTo>
                      <a:pt x="30" y="18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3" name="Line 2604">
                <a:extLst>
                  <a:ext uri="{FF2B5EF4-FFF2-40B4-BE49-F238E27FC236}">
                    <a16:creationId xmlns:a16="http://schemas.microsoft.com/office/drawing/2014/main" id="{3ACB660E-9DEC-4A90-81D1-E319DFB511FC}"/>
                  </a:ext>
                </a:extLst>
              </p:cNvPr>
              <p:cNvSpPr>
                <a:spLocks noChangeShapeType="1"/>
              </p:cNvSpPr>
              <p:nvPr/>
            </p:nvSpPr>
            <p:spPr bwMode="auto">
              <a:xfrm>
                <a:off x="3195" y="15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4" name="Freeform 2605">
                <a:extLst>
                  <a:ext uri="{FF2B5EF4-FFF2-40B4-BE49-F238E27FC236}">
                    <a16:creationId xmlns:a16="http://schemas.microsoft.com/office/drawing/2014/main" id="{D89457BE-11B1-4062-9B5C-4D19A8E2F81C}"/>
                  </a:ext>
                </a:extLst>
              </p:cNvPr>
              <p:cNvSpPr>
                <a:spLocks/>
              </p:cNvSpPr>
              <p:nvPr/>
            </p:nvSpPr>
            <p:spPr bwMode="auto">
              <a:xfrm>
                <a:off x="2865" y="1620"/>
                <a:ext cx="180" cy="150"/>
              </a:xfrm>
              <a:custGeom>
                <a:avLst/>
                <a:gdLst>
                  <a:gd name="T0" fmla="*/ 0 w 180"/>
                  <a:gd name="T1" fmla="*/ 0 h 150"/>
                  <a:gd name="T2" fmla="*/ 180 w 180"/>
                  <a:gd name="T3" fmla="*/ 150 h 150"/>
                  <a:gd name="T4" fmla="*/ 120 w 180"/>
                  <a:gd name="T5" fmla="*/ 30 h 150"/>
                </a:gdLst>
                <a:ahLst/>
                <a:cxnLst>
                  <a:cxn ang="0">
                    <a:pos x="T0" y="T1"/>
                  </a:cxn>
                  <a:cxn ang="0">
                    <a:pos x="T2" y="T3"/>
                  </a:cxn>
                  <a:cxn ang="0">
                    <a:pos x="T4" y="T5"/>
                  </a:cxn>
                </a:cxnLst>
                <a:rect l="0" t="0" r="r" b="b"/>
                <a:pathLst>
                  <a:path w="180" h="150">
                    <a:moveTo>
                      <a:pt x="0" y="0"/>
                    </a:moveTo>
                    <a:lnTo>
                      <a:pt x="180" y="150"/>
                    </a:lnTo>
                    <a:lnTo>
                      <a:pt x="12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5" name="Line 2606">
                <a:extLst>
                  <a:ext uri="{FF2B5EF4-FFF2-40B4-BE49-F238E27FC236}">
                    <a16:creationId xmlns:a16="http://schemas.microsoft.com/office/drawing/2014/main" id="{90658CCC-0ADD-4CCD-B940-756C588C2ADB}"/>
                  </a:ext>
                </a:extLst>
              </p:cNvPr>
              <p:cNvSpPr>
                <a:spLocks noChangeShapeType="1"/>
              </p:cNvSpPr>
              <p:nvPr/>
            </p:nvSpPr>
            <p:spPr bwMode="auto">
              <a:xfrm flipH="1" flipV="1">
                <a:off x="2985" y="16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6" name="Line 2607">
                <a:extLst>
                  <a:ext uri="{FF2B5EF4-FFF2-40B4-BE49-F238E27FC236}">
                    <a16:creationId xmlns:a16="http://schemas.microsoft.com/office/drawing/2014/main" id="{6CC0A872-CB73-4630-A33B-A9D70199C752}"/>
                  </a:ext>
                </a:extLst>
              </p:cNvPr>
              <p:cNvSpPr>
                <a:spLocks noChangeShapeType="1"/>
              </p:cNvSpPr>
              <p:nvPr/>
            </p:nvSpPr>
            <p:spPr bwMode="auto">
              <a:xfrm>
                <a:off x="2715"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7" name="Line 2608">
                <a:extLst>
                  <a:ext uri="{FF2B5EF4-FFF2-40B4-BE49-F238E27FC236}">
                    <a16:creationId xmlns:a16="http://schemas.microsoft.com/office/drawing/2014/main" id="{6EE908DB-47EC-432D-82C1-F4E1FE8D42E8}"/>
                  </a:ext>
                </a:extLst>
              </p:cNvPr>
              <p:cNvSpPr>
                <a:spLocks noChangeShapeType="1"/>
              </p:cNvSpPr>
              <p:nvPr/>
            </p:nvSpPr>
            <p:spPr bwMode="auto">
              <a:xfrm>
                <a:off x="2685" y="150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8" name="Freeform 2609">
                <a:extLst>
                  <a:ext uri="{FF2B5EF4-FFF2-40B4-BE49-F238E27FC236}">
                    <a16:creationId xmlns:a16="http://schemas.microsoft.com/office/drawing/2014/main" id="{C5D3CA77-78D2-4BBE-9E4C-4FBDA5042348}"/>
                  </a:ext>
                </a:extLst>
              </p:cNvPr>
              <p:cNvSpPr>
                <a:spLocks/>
              </p:cNvSpPr>
              <p:nvPr/>
            </p:nvSpPr>
            <p:spPr bwMode="auto">
              <a:xfrm>
                <a:off x="2715" y="1470"/>
                <a:ext cx="330" cy="210"/>
              </a:xfrm>
              <a:custGeom>
                <a:avLst/>
                <a:gdLst>
                  <a:gd name="T0" fmla="*/ 0 w 330"/>
                  <a:gd name="T1" fmla="*/ 150 h 210"/>
                  <a:gd name="T2" fmla="*/ 60 w 330"/>
                  <a:gd name="T3" fmla="*/ 210 h 210"/>
                  <a:gd name="T4" fmla="*/ 150 w 330"/>
                  <a:gd name="T5" fmla="*/ 150 h 210"/>
                  <a:gd name="T6" fmla="*/ 210 w 330"/>
                  <a:gd name="T7" fmla="*/ 60 h 210"/>
                  <a:gd name="T8" fmla="*/ 330 w 330"/>
                  <a:gd name="T9" fmla="*/ 0 h 210"/>
                </a:gdLst>
                <a:ahLst/>
                <a:cxnLst>
                  <a:cxn ang="0">
                    <a:pos x="T0" y="T1"/>
                  </a:cxn>
                  <a:cxn ang="0">
                    <a:pos x="T2" y="T3"/>
                  </a:cxn>
                  <a:cxn ang="0">
                    <a:pos x="T4" y="T5"/>
                  </a:cxn>
                  <a:cxn ang="0">
                    <a:pos x="T6" y="T7"/>
                  </a:cxn>
                  <a:cxn ang="0">
                    <a:pos x="T8" y="T9"/>
                  </a:cxn>
                </a:cxnLst>
                <a:rect l="0" t="0" r="r" b="b"/>
                <a:pathLst>
                  <a:path w="330" h="210">
                    <a:moveTo>
                      <a:pt x="0" y="150"/>
                    </a:moveTo>
                    <a:lnTo>
                      <a:pt x="60" y="210"/>
                    </a:lnTo>
                    <a:lnTo>
                      <a:pt x="150" y="150"/>
                    </a:lnTo>
                    <a:lnTo>
                      <a:pt x="210" y="60"/>
                    </a:lnTo>
                    <a:lnTo>
                      <a:pt x="3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9" name="Freeform 2610">
                <a:extLst>
                  <a:ext uri="{FF2B5EF4-FFF2-40B4-BE49-F238E27FC236}">
                    <a16:creationId xmlns:a16="http://schemas.microsoft.com/office/drawing/2014/main" id="{FBD9788C-DC54-4AD0-B140-A97983F1DFDD}"/>
                  </a:ext>
                </a:extLst>
              </p:cNvPr>
              <p:cNvSpPr>
                <a:spLocks/>
              </p:cNvSpPr>
              <p:nvPr/>
            </p:nvSpPr>
            <p:spPr bwMode="auto">
              <a:xfrm>
                <a:off x="2835" y="1500"/>
                <a:ext cx="270" cy="150"/>
              </a:xfrm>
              <a:custGeom>
                <a:avLst/>
                <a:gdLst>
                  <a:gd name="T0" fmla="*/ 270 w 270"/>
                  <a:gd name="T1" fmla="*/ 90 h 150"/>
                  <a:gd name="T2" fmla="*/ 150 w 270"/>
                  <a:gd name="T3" fmla="*/ 150 h 150"/>
                  <a:gd name="T4" fmla="*/ 30 w 270"/>
                  <a:gd name="T5" fmla="*/ 120 h 150"/>
                  <a:gd name="T6" fmla="*/ 0 w 270"/>
                  <a:gd name="T7" fmla="*/ 0 h 150"/>
                </a:gdLst>
                <a:ahLst/>
                <a:cxnLst>
                  <a:cxn ang="0">
                    <a:pos x="T0" y="T1"/>
                  </a:cxn>
                  <a:cxn ang="0">
                    <a:pos x="T2" y="T3"/>
                  </a:cxn>
                  <a:cxn ang="0">
                    <a:pos x="T4" y="T5"/>
                  </a:cxn>
                  <a:cxn ang="0">
                    <a:pos x="T6" y="T7"/>
                  </a:cxn>
                </a:cxnLst>
                <a:rect l="0" t="0" r="r" b="b"/>
                <a:pathLst>
                  <a:path w="270" h="150">
                    <a:moveTo>
                      <a:pt x="270" y="90"/>
                    </a:moveTo>
                    <a:lnTo>
                      <a:pt x="150" y="150"/>
                    </a:lnTo>
                    <a:lnTo>
                      <a:pt x="3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0" name="Line 2611">
                <a:extLst>
                  <a:ext uri="{FF2B5EF4-FFF2-40B4-BE49-F238E27FC236}">
                    <a16:creationId xmlns:a16="http://schemas.microsoft.com/office/drawing/2014/main" id="{B0CAA35B-2720-4B1E-BD8A-D1EF1472D023}"/>
                  </a:ext>
                </a:extLst>
              </p:cNvPr>
              <p:cNvSpPr>
                <a:spLocks noChangeShapeType="1"/>
              </p:cNvSpPr>
              <p:nvPr/>
            </p:nvSpPr>
            <p:spPr bwMode="auto">
              <a:xfrm>
                <a:off x="3045" y="14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1" name="Line 2612">
                <a:extLst>
                  <a:ext uri="{FF2B5EF4-FFF2-40B4-BE49-F238E27FC236}">
                    <a16:creationId xmlns:a16="http://schemas.microsoft.com/office/drawing/2014/main" id="{4977DE08-E24D-436C-B799-43F3BAF341E1}"/>
                  </a:ext>
                </a:extLst>
              </p:cNvPr>
              <p:cNvSpPr>
                <a:spLocks noChangeShapeType="1"/>
              </p:cNvSpPr>
              <p:nvPr/>
            </p:nvSpPr>
            <p:spPr bwMode="auto">
              <a:xfrm>
                <a:off x="2775" y="141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2" name="Line 2613">
                <a:extLst>
                  <a:ext uri="{FF2B5EF4-FFF2-40B4-BE49-F238E27FC236}">
                    <a16:creationId xmlns:a16="http://schemas.microsoft.com/office/drawing/2014/main" id="{EEC3CFCD-EACC-4FE3-9583-8322952A942E}"/>
                  </a:ext>
                </a:extLst>
              </p:cNvPr>
              <p:cNvSpPr>
                <a:spLocks noChangeShapeType="1"/>
              </p:cNvSpPr>
              <p:nvPr/>
            </p:nvSpPr>
            <p:spPr bwMode="auto">
              <a:xfrm flipV="1">
                <a:off x="2865" y="15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3" name="Freeform 2614">
                <a:extLst>
                  <a:ext uri="{FF2B5EF4-FFF2-40B4-BE49-F238E27FC236}">
                    <a16:creationId xmlns:a16="http://schemas.microsoft.com/office/drawing/2014/main" id="{4E82CB49-12E6-4254-82BB-556596361665}"/>
                  </a:ext>
                </a:extLst>
              </p:cNvPr>
              <p:cNvSpPr>
                <a:spLocks/>
              </p:cNvSpPr>
              <p:nvPr/>
            </p:nvSpPr>
            <p:spPr bwMode="auto">
              <a:xfrm>
                <a:off x="2685" y="1500"/>
                <a:ext cx="180" cy="120"/>
              </a:xfrm>
              <a:custGeom>
                <a:avLst/>
                <a:gdLst>
                  <a:gd name="T0" fmla="*/ 150 w 180"/>
                  <a:gd name="T1" fmla="*/ 0 h 120"/>
                  <a:gd name="T2" fmla="*/ 0 w 180"/>
                  <a:gd name="T3" fmla="*/ 0 h 120"/>
                  <a:gd name="T4" fmla="*/ 30 w 180"/>
                  <a:gd name="T5" fmla="*/ 120 h 120"/>
                  <a:gd name="T6" fmla="*/ 180 w 180"/>
                  <a:gd name="T7" fmla="*/ 120 h 120"/>
                </a:gdLst>
                <a:ahLst/>
                <a:cxnLst>
                  <a:cxn ang="0">
                    <a:pos x="T0" y="T1"/>
                  </a:cxn>
                  <a:cxn ang="0">
                    <a:pos x="T2" y="T3"/>
                  </a:cxn>
                  <a:cxn ang="0">
                    <a:pos x="T4" y="T5"/>
                  </a:cxn>
                  <a:cxn ang="0">
                    <a:pos x="T6" y="T7"/>
                  </a:cxn>
                </a:cxnLst>
                <a:rect l="0" t="0" r="r" b="b"/>
                <a:pathLst>
                  <a:path w="180" h="120">
                    <a:moveTo>
                      <a:pt x="150" y="0"/>
                    </a:moveTo>
                    <a:lnTo>
                      <a:pt x="0" y="0"/>
                    </a:lnTo>
                    <a:lnTo>
                      <a:pt x="30" y="120"/>
                    </a:lnTo>
                    <a:lnTo>
                      <a:pt x="180"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4" name="Freeform 2615">
                <a:extLst>
                  <a:ext uri="{FF2B5EF4-FFF2-40B4-BE49-F238E27FC236}">
                    <a16:creationId xmlns:a16="http://schemas.microsoft.com/office/drawing/2014/main" id="{9081EB72-3B7F-4E81-8F84-AEEC0078D099}"/>
                  </a:ext>
                </a:extLst>
              </p:cNvPr>
              <p:cNvSpPr>
                <a:spLocks/>
              </p:cNvSpPr>
              <p:nvPr/>
            </p:nvSpPr>
            <p:spPr bwMode="auto">
              <a:xfrm>
                <a:off x="2554" y="125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5" name="Freeform 2616">
                <a:extLst>
                  <a:ext uri="{FF2B5EF4-FFF2-40B4-BE49-F238E27FC236}">
                    <a16:creationId xmlns:a16="http://schemas.microsoft.com/office/drawing/2014/main" id="{24B6DFBD-1571-40D3-9777-47A55D5BCB37}"/>
                  </a:ext>
                </a:extLst>
              </p:cNvPr>
              <p:cNvSpPr>
                <a:spLocks/>
              </p:cNvSpPr>
              <p:nvPr/>
            </p:nvSpPr>
            <p:spPr bwMode="auto">
              <a:xfrm>
                <a:off x="2284"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6" name="Freeform 2617">
                <a:extLst>
                  <a:ext uri="{FF2B5EF4-FFF2-40B4-BE49-F238E27FC236}">
                    <a16:creationId xmlns:a16="http://schemas.microsoft.com/office/drawing/2014/main" id="{156358D8-85EA-44EA-A50C-F60B45A82461}"/>
                  </a:ext>
                </a:extLst>
              </p:cNvPr>
              <p:cNvSpPr>
                <a:spLocks/>
              </p:cNvSpPr>
              <p:nvPr/>
            </p:nvSpPr>
            <p:spPr bwMode="auto">
              <a:xfrm>
                <a:off x="3243"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7" name="Freeform 2618">
                <a:extLst>
                  <a:ext uri="{FF2B5EF4-FFF2-40B4-BE49-F238E27FC236}">
                    <a16:creationId xmlns:a16="http://schemas.microsoft.com/office/drawing/2014/main" id="{82748CB7-6999-45C4-8989-D8456470D2A4}"/>
                  </a:ext>
                </a:extLst>
              </p:cNvPr>
              <p:cNvSpPr>
                <a:spLocks/>
              </p:cNvSpPr>
              <p:nvPr/>
            </p:nvSpPr>
            <p:spPr bwMode="auto">
              <a:xfrm>
                <a:off x="2254"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8" name="Freeform 2619">
                <a:extLst>
                  <a:ext uri="{FF2B5EF4-FFF2-40B4-BE49-F238E27FC236}">
                    <a16:creationId xmlns:a16="http://schemas.microsoft.com/office/drawing/2014/main" id="{D99CA447-4C83-4680-BAA1-96A5EC91611F}"/>
                  </a:ext>
                </a:extLst>
              </p:cNvPr>
              <p:cNvSpPr>
                <a:spLocks/>
              </p:cNvSpPr>
              <p:nvPr/>
            </p:nvSpPr>
            <p:spPr bwMode="auto">
              <a:xfrm>
                <a:off x="3213"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9" name="Oval 2620">
                <a:extLst>
                  <a:ext uri="{FF2B5EF4-FFF2-40B4-BE49-F238E27FC236}">
                    <a16:creationId xmlns:a16="http://schemas.microsoft.com/office/drawing/2014/main" id="{78B9A865-F511-4EE9-930D-6E45742AB28E}"/>
                  </a:ext>
                </a:extLst>
              </p:cNvPr>
              <p:cNvSpPr>
                <a:spLocks noChangeArrowheads="1"/>
              </p:cNvSpPr>
              <p:nvPr/>
            </p:nvSpPr>
            <p:spPr bwMode="auto">
              <a:xfrm>
                <a:off x="4334"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0" name="Oval 2621">
                <a:extLst>
                  <a:ext uri="{FF2B5EF4-FFF2-40B4-BE49-F238E27FC236}">
                    <a16:creationId xmlns:a16="http://schemas.microsoft.com/office/drawing/2014/main" id="{302289F9-301A-409E-8D6C-B76F4E864708}"/>
                  </a:ext>
                </a:extLst>
              </p:cNvPr>
              <p:cNvSpPr>
                <a:spLocks noChangeArrowheads="1"/>
              </p:cNvSpPr>
              <p:nvPr/>
            </p:nvSpPr>
            <p:spPr bwMode="auto">
              <a:xfrm>
                <a:off x="427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1" name="Oval 2622">
                <a:extLst>
                  <a:ext uri="{FF2B5EF4-FFF2-40B4-BE49-F238E27FC236}">
                    <a16:creationId xmlns:a16="http://schemas.microsoft.com/office/drawing/2014/main" id="{E906A23A-9DFB-430A-AA04-B48D53155E5B}"/>
                  </a:ext>
                </a:extLst>
              </p:cNvPr>
              <p:cNvSpPr>
                <a:spLocks noChangeArrowheads="1"/>
              </p:cNvSpPr>
              <p:nvPr/>
            </p:nvSpPr>
            <p:spPr bwMode="auto">
              <a:xfrm>
                <a:off x="4394"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2" name="Oval 2623">
                <a:extLst>
                  <a:ext uri="{FF2B5EF4-FFF2-40B4-BE49-F238E27FC236}">
                    <a16:creationId xmlns:a16="http://schemas.microsoft.com/office/drawing/2014/main" id="{1EAB798E-B1A1-437F-8F61-2311D8FABE9A}"/>
                  </a:ext>
                </a:extLst>
              </p:cNvPr>
              <p:cNvSpPr>
                <a:spLocks noChangeArrowheads="1"/>
              </p:cNvSpPr>
              <p:nvPr/>
            </p:nvSpPr>
            <p:spPr bwMode="auto">
              <a:xfrm>
                <a:off x="436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3" name="Oval 2624">
                <a:extLst>
                  <a:ext uri="{FF2B5EF4-FFF2-40B4-BE49-F238E27FC236}">
                    <a16:creationId xmlns:a16="http://schemas.microsoft.com/office/drawing/2014/main" id="{3AC0C9B8-20D4-4AB5-8D13-95871D95A6D4}"/>
                  </a:ext>
                </a:extLst>
              </p:cNvPr>
              <p:cNvSpPr>
                <a:spLocks noChangeArrowheads="1"/>
              </p:cNvSpPr>
              <p:nvPr/>
            </p:nvSpPr>
            <p:spPr bwMode="auto">
              <a:xfrm>
                <a:off x="445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4" name="Oval 2625">
                <a:extLst>
                  <a:ext uri="{FF2B5EF4-FFF2-40B4-BE49-F238E27FC236}">
                    <a16:creationId xmlns:a16="http://schemas.microsoft.com/office/drawing/2014/main" id="{E3AA4AB0-3BAD-4689-9543-80C880A7FB9D}"/>
                  </a:ext>
                </a:extLst>
              </p:cNvPr>
              <p:cNvSpPr>
                <a:spLocks noChangeArrowheads="1"/>
              </p:cNvSpPr>
              <p:nvPr/>
            </p:nvSpPr>
            <p:spPr bwMode="auto">
              <a:xfrm>
                <a:off x="442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5" name="Oval 2626">
                <a:extLst>
                  <a:ext uri="{FF2B5EF4-FFF2-40B4-BE49-F238E27FC236}">
                    <a16:creationId xmlns:a16="http://schemas.microsoft.com/office/drawing/2014/main" id="{2042E209-7E1B-44B5-B159-BF00BC656149}"/>
                  </a:ext>
                </a:extLst>
              </p:cNvPr>
              <p:cNvSpPr>
                <a:spLocks noChangeArrowheads="1"/>
              </p:cNvSpPr>
              <p:nvPr/>
            </p:nvSpPr>
            <p:spPr bwMode="auto">
              <a:xfrm>
                <a:off x="442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6" name="Oval 2627">
                <a:extLst>
                  <a:ext uri="{FF2B5EF4-FFF2-40B4-BE49-F238E27FC236}">
                    <a16:creationId xmlns:a16="http://schemas.microsoft.com/office/drawing/2014/main" id="{BEBD4FD6-8C0C-4613-8490-70A1718A6375}"/>
                  </a:ext>
                </a:extLst>
              </p:cNvPr>
              <p:cNvSpPr>
                <a:spLocks noChangeArrowheads="1"/>
              </p:cNvSpPr>
              <p:nvPr/>
            </p:nvSpPr>
            <p:spPr bwMode="auto">
              <a:xfrm>
                <a:off x="433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7" name="Oval 2628">
                <a:extLst>
                  <a:ext uri="{FF2B5EF4-FFF2-40B4-BE49-F238E27FC236}">
                    <a16:creationId xmlns:a16="http://schemas.microsoft.com/office/drawing/2014/main" id="{BD426F80-B7A9-4E66-A119-0D161229C6BB}"/>
                  </a:ext>
                </a:extLst>
              </p:cNvPr>
              <p:cNvSpPr>
                <a:spLocks noChangeArrowheads="1"/>
              </p:cNvSpPr>
              <p:nvPr/>
            </p:nvSpPr>
            <p:spPr bwMode="auto">
              <a:xfrm>
                <a:off x="4274"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8" name="Oval 2629">
                <a:extLst>
                  <a:ext uri="{FF2B5EF4-FFF2-40B4-BE49-F238E27FC236}">
                    <a16:creationId xmlns:a16="http://schemas.microsoft.com/office/drawing/2014/main" id="{1904951E-139B-41AF-954F-8C437BD9266E}"/>
                  </a:ext>
                </a:extLst>
              </p:cNvPr>
              <p:cNvSpPr>
                <a:spLocks noChangeArrowheads="1"/>
              </p:cNvSpPr>
              <p:nvPr/>
            </p:nvSpPr>
            <p:spPr bwMode="auto">
              <a:xfrm>
                <a:off x="406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9" name="Oval 2630">
                <a:extLst>
                  <a:ext uri="{FF2B5EF4-FFF2-40B4-BE49-F238E27FC236}">
                    <a16:creationId xmlns:a16="http://schemas.microsoft.com/office/drawing/2014/main" id="{26FE4802-36FB-4A3B-A211-D5F412E56DFE}"/>
                  </a:ext>
                </a:extLst>
              </p:cNvPr>
              <p:cNvSpPr>
                <a:spLocks noChangeArrowheads="1"/>
              </p:cNvSpPr>
              <p:nvPr/>
            </p:nvSpPr>
            <p:spPr bwMode="auto">
              <a:xfrm>
                <a:off x="409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0" name="Oval 2631">
                <a:extLst>
                  <a:ext uri="{FF2B5EF4-FFF2-40B4-BE49-F238E27FC236}">
                    <a16:creationId xmlns:a16="http://schemas.microsoft.com/office/drawing/2014/main" id="{B69E753A-EDF8-4CBE-92A9-71763F212AE5}"/>
                  </a:ext>
                </a:extLst>
              </p:cNvPr>
              <p:cNvSpPr>
                <a:spLocks noChangeArrowheads="1"/>
              </p:cNvSpPr>
              <p:nvPr/>
            </p:nvSpPr>
            <p:spPr bwMode="auto">
              <a:xfrm>
                <a:off x="3974"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1" name="Oval 2632">
                <a:extLst>
                  <a:ext uri="{FF2B5EF4-FFF2-40B4-BE49-F238E27FC236}">
                    <a16:creationId xmlns:a16="http://schemas.microsoft.com/office/drawing/2014/main" id="{BB575067-0010-47C9-844F-413C9107FE49}"/>
                  </a:ext>
                </a:extLst>
              </p:cNvPr>
              <p:cNvSpPr>
                <a:spLocks noChangeArrowheads="1"/>
              </p:cNvSpPr>
              <p:nvPr/>
            </p:nvSpPr>
            <p:spPr bwMode="auto">
              <a:xfrm>
                <a:off x="3824"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2" name="Oval 2633">
                <a:extLst>
                  <a:ext uri="{FF2B5EF4-FFF2-40B4-BE49-F238E27FC236}">
                    <a16:creationId xmlns:a16="http://schemas.microsoft.com/office/drawing/2014/main" id="{3349B0FB-231F-41A7-AE32-E5B5BD739BE2}"/>
                  </a:ext>
                </a:extLst>
              </p:cNvPr>
              <p:cNvSpPr>
                <a:spLocks noChangeArrowheads="1"/>
              </p:cNvSpPr>
              <p:nvPr/>
            </p:nvSpPr>
            <p:spPr bwMode="auto">
              <a:xfrm>
                <a:off x="409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3" name="Oval 2634">
                <a:extLst>
                  <a:ext uri="{FF2B5EF4-FFF2-40B4-BE49-F238E27FC236}">
                    <a16:creationId xmlns:a16="http://schemas.microsoft.com/office/drawing/2014/main" id="{55CC7ECE-94D4-4084-AC00-E6EFA86E6A08}"/>
                  </a:ext>
                </a:extLst>
              </p:cNvPr>
              <p:cNvSpPr>
                <a:spLocks noChangeArrowheads="1"/>
              </p:cNvSpPr>
              <p:nvPr/>
            </p:nvSpPr>
            <p:spPr bwMode="auto">
              <a:xfrm>
                <a:off x="4334"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4" name="Oval 2635">
                <a:extLst>
                  <a:ext uri="{FF2B5EF4-FFF2-40B4-BE49-F238E27FC236}">
                    <a16:creationId xmlns:a16="http://schemas.microsoft.com/office/drawing/2014/main" id="{2270ECCC-F12A-4605-A576-A28C5732897D}"/>
                  </a:ext>
                </a:extLst>
              </p:cNvPr>
              <p:cNvSpPr>
                <a:spLocks noChangeArrowheads="1"/>
              </p:cNvSpPr>
              <p:nvPr/>
            </p:nvSpPr>
            <p:spPr bwMode="auto">
              <a:xfrm>
                <a:off x="439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5" name="Oval 2636">
                <a:extLst>
                  <a:ext uri="{FF2B5EF4-FFF2-40B4-BE49-F238E27FC236}">
                    <a16:creationId xmlns:a16="http://schemas.microsoft.com/office/drawing/2014/main" id="{FE56145E-84A4-42B8-9C1C-90312E45C39A}"/>
                  </a:ext>
                </a:extLst>
              </p:cNvPr>
              <p:cNvSpPr>
                <a:spLocks noChangeArrowheads="1"/>
              </p:cNvSpPr>
              <p:nvPr/>
            </p:nvSpPr>
            <p:spPr bwMode="auto">
              <a:xfrm>
                <a:off x="42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6" name="Oval 2637">
                <a:extLst>
                  <a:ext uri="{FF2B5EF4-FFF2-40B4-BE49-F238E27FC236}">
                    <a16:creationId xmlns:a16="http://schemas.microsoft.com/office/drawing/2014/main" id="{8CC31FCC-12E3-4EFD-8EE5-B3ADCB9173F1}"/>
                  </a:ext>
                </a:extLst>
              </p:cNvPr>
              <p:cNvSpPr>
                <a:spLocks noChangeArrowheads="1"/>
              </p:cNvSpPr>
              <p:nvPr/>
            </p:nvSpPr>
            <p:spPr bwMode="auto">
              <a:xfrm>
                <a:off x="415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7" name="Oval 2638">
                <a:extLst>
                  <a:ext uri="{FF2B5EF4-FFF2-40B4-BE49-F238E27FC236}">
                    <a16:creationId xmlns:a16="http://schemas.microsoft.com/office/drawing/2014/main" id="{9EFEF922-97D7-4301-AED0-3098ABAF0495}"/>
                  </a:ext>
                </a:extLst>
              </p:cNvPr>
              <p:cNvSpPr>
                <a:spLocks noChangeArrowheads="1"/>
              </p:cNvSpPr>
              <p:nvPr/>
            </p:nvSpPr>
            <p:spPr bwMode="auto">
              <a:xfrm>
                <a:off x="4364"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8" name="Oval 2639">
                <a:extLst>
                  <a:ext uri="{FF2B5EF4-FFF2-40B4-BE49-F238E27FC236}">
                    <a16:creationId xmlns:a16="http://schemas.microsoft.com/office/drawing/2014/main" id="{189EF210-01D0-42C0-B3A9-7778545DEA79}"/>
                  </a:ext>
                </a:extLst>
              </p:cNvPr>
              <p:cNvSpPr>
                <a:spLocks noChangeArrowheads="1"/>
              </p:cNvSpPr>
              <p:nvPr/>
            </p:nvSpPr>
            <p:spPr bwMode="auto">
              <a:xfrm>
                <a:off x="439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9" name="Oval 2640">
                <a:extLst>
                  <a:ext uri="{FF2B5EF4-FFF2-40B4-BE49-F238E27FC236}">
                    <a16:creationId xmlns:a16="http://schemas.microsoft.com/office/drawing/2014/main" id="{8B772AFB-E01A-41B6-B5A8-3FD5118722C1}"/>
                  </a:ext>
                </a:extLst>
              </p:cNvPr>
              <p:cNvSpPr>
                <a:spLocks noChangeArrowheads="1"/>
              </p:cNvSpPr>
              <p:nvPr/>
            </p:nvSpPr>
            <p:spPr bwMode="auto">
              <a:xfrm>
                <a:off x="427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0" name="Oval 2641">
                <a:extLst>
                  <a:ext uri="{FF2B5EF4-FFF2-40B4-BE49-F238E27FC236}">
                    <a16:creationId xmlns:a16="http://schemas.microsoft.com/office/drawing/2014/main" id="{589FD96D-3E13-4A44-8FB7-8B69CE30DE50}"/>
                  </a:ext>
                </a:extLst>
              </p:cNvPr>
              <p:cNvSpPr>
                <a:spLocks noChangeArrowheads="1"/>
              </p:cNvSpPr>
              <p:nvPr/>
            </p:nvSpPr>
            <p:spPr bwMode="auto">
              <a:xfrm>
                <a:off x="415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1" name="Oval 2642">
                <a:extLst>
                  <a:ext uri="{FF2B5EF4-FFF2-40B4-BE49-F238E27FC236}">
                    <a16:creationId xmlns:a16="http://schemas.microsoft.com/office/drawing/2014/main" id="{0060F796-625E-487F-893E-DFF97FE4D0BD}"/>
                  </a:ext>
                </a:extLst>
              </p:cNvPr>
              <p:cNvSpPr>
                <a:spLocks noChangeArrowheads="1"/>
              </p:cNvSpPr>
              <p:nvPr/>
            </p:nvSpPr>
            <p:spPr bwMode="auto">
              <a:xfrm>
                <a:off x="412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2" name="Oval 2643">
                <a:extLst>
                  <a:ext uri="{FF2B5EF4-FFF2-40B4-BE49-F238E27FC236}">
                    <a16:creationId xmlns:a16="http://schemas.microsoft.com/office/drawing/2014/main" id="{8F8D8853-F2FE-4E6B-89E5-E734B9DE8227}"/>
                  </a:ext>
                </a:extLst>
              </p:cNvPr>
              <p:cNvSpPr>
                <a:spLocks noChangeArrowheads="1"/>
              </p:cNvSpPr>
              <p:nvPr/>
            </p:nvSpPr>
            <p:spPr bwMode="auto">
              <a:xfrm>
                <a:off x="4364"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3" name="Oval 2644">
                <a:extLst>
                  <a:ext uri="{FF2B5EF4-FFF2-40B4-BE49-F238E27FC236}">
                    <a16:creationId xmlns:a16="http://schemas.microsoft.com/office/drawing/2014/main" id="{230776B3-77EF-4B50-B422-690CBFBB1E86}"/>
                  </a:ext>
                </a:extLst>
              </p:cNvPr>
              <p:cNvSpPr>
                <a:spLocks noChangeArrowheads="1"/>
              </p:cNvSpPr>
              <p:nvPr/>
            </p:nvSpPr>
            <p:spPr bwMode="auto">
              <a:xfrm>
                <a:off x="430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4" name="Oval 2645">
                <a:extLst>
                  <a:ext uri="{FF2B5EF4-FFF2-40B4-BE49-F238E27FC236}">
                    <a16:creationId xmlns:a16="http://schemas.microsoft.com/office/drawing/2014/main" id="{3A1CAC50-85CE-4982-9059-E403C983477B}"/>
                  </a:ext>
                </a:extLst>
              </p:cNvPr>
              <p:cNvSpPr>
                <a:spLocks noChangeArrowheads="1"/>
              </p:cNvSpPr>
              <p:nvPr/>
            </p:nvSpPr>
            <p:spPr bwMode="auto">
              <a:xfrm>
                <a:off x="427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5" name="Oval 2646">
                <a:extLst>
                  <a:ext uri="{FF2B5EF4-FFF2-40B4-BE49-F238E27FC236}">
                    <a16:creationId xmlns:a16="http://schemas.microsoft.com/office/drawing/2014/main" id="{D5FA12BD-FCE7-400B-BBB9-9D1FA83918DE}"/>
                  </a:ext>
                </a:extLst>
              </p:cNvPr>
              <p:cNvSpPr>
                <a:spLocks noChangeArrowheads="1"/>
              </p:cNvSpPr>
              <p:nvPr/>
            </p:nvSpPr>
            <p:spPr bwMode="auto">
              <a:xfrm>
                <a:off x="433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6" name="Oval 2647">
                <a:extLst>
                  <a:ext uri="{FF2B5EF4-FFF2-40B4-BE49-F238E27FC236}">
                    <a16:creationId xmlns:a16="http://schemas.microsoft.com/office/drawing/2014/main" id="{74C32E1C-CBDC-4D54-8FD8-31272C3BFF3D}"/>
                  </a:ext>
                </a:extLst>
              </p:cNvPr>
              <p:cNvSpPr>
                <a:spLocks noChangeArrowheads="1"/>
              </p:cNvSpPr>
              <p:nvPr/>
            </p:nvSpPr>
            <p:spPr bwMode="auto">
              <a:xfrm>
                <a:off x="418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7" name="Oval 2648">
                <a:extLst>
                  <a:ext uri="{FF2B5EF4-FFF2-40B4-BE49-F238E27FC236}">
                    <a16:creationId xmlns:a16="http://schemas.microsoft.com/office/drawing/2014/main" id="{50F903DB-1E27-45FF-9B99-68AC434F7E92}"/>
                  </a:ext>
                </a:extLst>
              </p:cNvPr>
              <p:cNvSpPr>
                <a:spLocks noChangeArrowheads="1"/>
              </p:cNvSpPr>
              <p:nvPr/>
            </p:nvSpPr>
            <p:spPr bwMode="auto">
              <a:xfrm>
                <a:off x="4124"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8" name="Oval 2649">
                <a:extLst>
                  <a:ext uri="{FF2B5EF4-FFF2-40B4-BE49-F238E27FC236}">
                    <a16:creationId xmlns:a16="http://schemas.microsoft.com/office/drawing/2014/main" id="{B4374EB2-E29B-4125-A8E7-EBA2E05E58C2}"/>
                  </a:ext>
                </a:extLst>
              </p:cNvPr>
              <p:cNvSpPr>
                <a:spLocks noChangeArrowheads="1"/>
              </p:cNvSpPr>
              <p:nvPr/>
            </p:nvSpPr>
            <p:spPr bwMode="auto">
              <a:xfrm>
                <a:off x="42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9" name="Oval 2650">
                <a:extLst>
                  <a:ext uri="{FF2B5EF4-FFF2-40B4-BE49-F238E27FC236}">
                    <a16:creationId xmlns:a16="http://schemas.microsoft.com/office/drawing/2014/main" id="{817DB9A6-1380-4C3D-BD73-17641E9DE6EC}"/>
                  </a:ext>
                </a:extLst>
              </p:cNvPr>
              <p:cNvSpPr>
                <a:spLocks noChangeArrowheads="1"/>
              </p:cNvSpPr>
              <p:nvPr/>
            </p:nvSpPr>
            <p:spPr bwMode="auto">
              <a:xfrm>
                <a:off x="4184"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0" name="Oval 2651">
                <a:extLst>
                  <a:ext uri="{FF2B5EF4-FFF2-40B4-BE49-F238E27FC236}">
                    <a16:creationId xmlns:a16="http://schemas.microsoft.com/office/drawing/2014/main" id="{4AF81054-013C-41B7-94D5-BDCB1FD4E1F3}"/>
                  </a:ext>
                </a:extLst>
              </p:cNvPr>
              <p:cNvSpPr>
                <a:spLocks noChangeArrowheads="1"/>
              </p:cNvSpPr>
              <p:nvPr/>
            </p:nvSpPr>
            <p:spPr bwMode="auto">
              <a:xfrm>
                <a:off x="436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1" name="Oval 2652">
                <a:extLst>
                  <a:ext uri="{FF2B5EF4-FFF2-40B4-BE49-F238E27FC236}">
                    <a16:creationId xmlns:a16="http://schemas.microsoft.com/office/drawing/2014/main" id="{60A30D7E-C78B-46AB-97A4-E73896A0C854}"/>
                  </a:ext>
                </a:extLst>
              </p:cNvPr>
              <p:cNvSpPr>
                <a:spLocks noChangeArrowheads="1"/>
              </p:cNvSpPr>
              <p:nvPr/>
            </p:nvSpPr>
            <p:spPr bwMode="auto">
              <a:xfrm>
                <a:off x="439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2" name="Oval 2653">
                <a:extLst>
                  <a:ext uri="{FF2B5EF4-FFF2-40B4-BE49-F238E27FC236}">
                    <a16:creationId xmlns:a16="http://schemas.microsoft.com/office/drawing/2014/main" id="{AFC267EF-A2EE-43DF-ABC6-49D6B1E619CE}"/>
                  </a:ext>
                </a:extLst>
              </p:cNvPr>
              <p:cNvSpPr>
                <a:spLocks noChangeArrowheads="1"/>
              </p:cNvSpPr>
              <p:nvPr/>
            </p:nvSpPr>
            <p:spPr bwMode="auto">
              <a:xfrm>
                <a:off x="436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3" name="Oval 2654">
                <a:extLst>
                  <a:ext uri="{FF2B5EF4-FFF2-40B4-BE49-F238E27FC236}">
                    <a16:creationId xmlns:a16="http://schemas.microsoft.com/office/drawing/2014/main" id="{EA15B6AF-6D3E-41DE-A423-753EF8E41357}"/>
                  </a:ext>
                </a:extLst>
              </p:cNvPr>
              <p:cNvSpPr>
                <a:spLocks noChangeArrowheads="1"/>
              </p:cNvSpPr>
              <p:nvPr/>
            </p:nvSpPr>
            <p:spPr bwMode="auto">
              <a:xfrm>
                <a:off x="4394"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4" name="Oval 2655">
                <a:extLst>
                  <a:ext uri="{FF2B5EF4-FFF2-40B4-BE49-F238E27FC236}">
                    <a16:creationId xmlns:a16="http://schemas.microsoft.com/office/drawing/2014/main" id="{C6491CBC-2680-4C2E-BCB6-91139CF27427}"/>
                  </a:ext>
                </a:extLst>
              </p:cNvPr>
              <p:cNvSpPr>
                <a:spLocks noChangeArrowheads="1"/>
              </p:cNvSpPr>
              <p:nvPr/>
            </p:nvSpPr>
            <p:spPr bwMode="auto">
              <a:xfrm>
                <a:off x="433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5" name="Oval 2656">
                <a:extLst>
                  <a:ext uri="{FF2B5EF4-FFF2-40B4-BE49-F238E27FC236}">
                    <a16:creationId xmlns:a16="http://schemas.microsoft.com/office/drawing/2014/main" id="{577ECE74-8C61-46B5-B268-DF97136B33B0}"/>
                  </a:ext>
                </a:extLst>
              </p:cNvPr>
              <p:cNvSpPr>
                <a:spLocks noChangeArrowheads="1"/>
              </p:cNvSpPr>
              <p:nvPr/>
            </p:nvSpPr>
            <p:spPr bwMode="auto">
              <a:xfrm>
                <a:off x="436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6" name="Oval 2657">
                <a:extLst>
                  <a:ext uri="{FF2B5EF4-FFF2-40B4-BE49-F238E27FC236}">
                    <a16:creationId xmlns:a16="http://schemas.microsoft.com/office/drawing/2014/main" id="{FD763096-4E00-4865-B3B4-C31F78CD807A}"/>
                  </a:ext>
                </a:extLst>
              </p:cNvPr>
              <p:cNvSpPr>
                <a:spLocks noChangeArrowheads="1"/>
              </p:cNvSpPr>
              <p:nvPr/>
            </p:nvSpPr>
            <p:spPr bwMode="auto">
              <a:xfrm>
                <a:off x="439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7" name="Oval 2658">
                <a:extLst>
                  <a:ext uri="{FF2B5EF4-FFF2-40B4-BE49-F238E27FC236}">
                    <a16:creationId xmlns:a16="http://schemas.microsoft.com/office/drawing/2014/main" id="{4A5DB0E4-544B-414D-8A7E-245B4C5DFCDD}"/>
                  </a:ext>
                </a:extLst>
              </p:cNvPr>
              <p:cNvSpPr>
                <a:spLocks noChangeArrowheads="1"/>
              </p:cNvSpPr>
              <p:nvPr/>
            </p:nvSpPr>
            <p:spPr bwMode="auto">
              <a:xfrm>
                <a:off x="421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8" name="Oval 2659">
                <a:extLst>
                  <a:ext uri="{FF2B5EF4-FFF2-40B4-BE49-F238E27FC236}">
                    <a16:creationId xmlns:a16="http://schemas.microsoft.com/office/drawing/2014/main" id="{20FF6A51-B0B4-4464-BED0-8C71F43FC283}"/>
                  </a:ext>
                </a:extLst>
              </p:cNvPr>
              <p:cNvSpPr>
                <a:spLocks noChangeArrowheads="1"/>
              </p:cNvSpPr>
              <p:nvPr/>
            </p:nvSpPr>
            <p:spPr bwMode="auto">
              <a:xfrm>
                <a:off x="424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9" name="Oval 2660">
                <a:extLst>
                  <a:ext uri="{FF2B5EF4-FFF2-40B4-BE49-F238E27FC236}">
                    <a16:creationId xmlns:a16="http://schemas.microsoft.com/office/drawing/2014/main" id="{041B352D-2A48-405E-910D-EAF806CD5C0F}"/>
                  </a:ext>
                </a:extLst>
              </p:cNvPr>
              <p:cNvSpPr>
                <a:spLocks noChangeArrowheads="1"/>
              </p:cNvSpPr>
              <p:nvPr/>
            </p:nvSpPr>
            <p:spPr bwMode="auto">
              <a:xfrm>
                <a:off x="412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0" name="Oval 2661">
                <a:extLst>
                  <a:ext uri="{FF2B5EF4-FFF2-40B4-BE49-F238E27FC236}">
                    <a16:creationId xmlns:a16="http://schemas.microsoft.com/office/drawing/2014/main" id="{3B316C33-285E-45B4-8F9A-9662B8D5B1EC}"/>
                  </a:ext>
                </a:extLst>
              </p:cNvPr>
              <p:cNvSpPr>
                <a:spLocks noChangeArrowheads="1"/>
              </p:cNvSpPr>
              <p:nvPr/>
            </p:nvSpPr>
            <p:spPr bwMode="auto">
              <a:xfrm>
                <a:off x="409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1" name="Oval 2662">
                <a:extLst>
                  <a:ext uri="{FF2B5EF4-FFF2-40B4-BE49-F238E27FC236}">
                    <a16:creationId xmlns:a16="http://schemas.microsoft.com/office/drawing/2014/main" id="{F3EB4DF3-56A0-468D-9E9A-5EB19312B016}"/>
                  </a:ext>
                </a:extLst>
              </p:cNvPr>
              <p:cNvSpPr>
                <a:spLocks noChangeArrowheads="1"/>
              </p:cNvSpPr>
              <p:nvPr/>
            </p:nvSpPr>
            <p:spPr bwMode="auto">
              <a:xfrm>
                <a:off x="4124"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2" name="Oval 2663">
                <a:extLst>
                  <a:ext uri="{FF2B5EF4-FFF2-40B4-BE49-F238E27FC236}">
                    <a16:creationId xmlns:a16="http://schemas.microsoft.com/office/drawing/2014/main" id="{F1073720-E30D-47AC-925F-455AECEC506D}"/>
                  </a:ext>
                </a:extLst>
              </p:cNvPr>
              <p:cNvSpPr>
                <a:spLocks noChangeArrowheads="1"/>
              </p:cNvSpPr>
              <p:nvPr/>
            </p:nvSpPr>
            <p:spPr bwMode="auto">
              <a:xfrm>
                <a:off x="403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3" name="Oval 2664">
                <a:extLst>
                  <a:ext uri="{FF2B5EF4-FFF2-40B4-BE49-F238E27FC236}">
                    <a16:creationId xmlns:a16="http://schemas.microsoft.com/office/drawing/2014/main" id="{74290B3A-F291-439D-A2CB-E9C1562662F4}"/>
                  </a:ext>
                </a:extLst>
              </p:cNvPr>
              <p:cNvSpPr>
                <a:spLocks noChangeArrowheads="1"/>
              </p:cNvSpPr>
              <p:nvPr/>
            </p:nvSpPr>
            <p:spPr bwMode="auto">
              <a:xfrm>
                <a:off x="4064"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4" name="Oval 2665">
                <a:extLst>
                  <a:ext uri="{FF2B5EF4-FFF2-40B4-BE49-F238E27FC236}">
                    <a16:creationId xmlns:a16="http://schemas.microsoft.com/office/drawing/2014/main" id="{223AEC7C-2CD3-4B02-BBEF-3ECC8730DC59}"/>
                  </a:ext>
                </a:extLst>
              </p:cNvPr>
              <p:cNvSpPr>
                <a:spLocks noChangeArrowheads="1"/>
              </p:cNvSpPr>
              <p:nvPr/>
            </p:nvSpPr>
            <p:spPr bwMode="auto">
              <a:xfrm>
                <a:off x="394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5" name="Oval 2666">
                <a:extLst>
                  <a:ext uri="{FF2B5EF4-FFF2-40B4-BE49-F238E27FC236}">
                    <a16:creationId xmlns:a16="http://schemas.microsoft.com/office/drawing/2014/main" id="{DE93187F-FBCE-4B0A-96B2-CC43064830BC}"/>
                  </a:ext>
                </a:extLst>
              </p:cNvPr>
              <p:cNvSpPr>
                <a:spLocks noChangeArrowheads="1"/>
              </p:cNvSpPr>
              <p:nvPr/>
            </p:nvSpPr>
            <p:spPr bwMode="auto">
              <a:xfrm>
                <a:off x="382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6" name="Oval 2667">
                <a:extLst>
                  <a:ext uri="{FF2B5EF4-FFF2-40B4-BE49-F238E27FC236}">
                    <a16:creationId xmlns:a16="http://schemas.microsoft.com/office/drawing/2014/main" id="{523619B6-DADF-4344-ADD7-6A97BD088ECB}"/>
                  </a:ext>
                </a:extLst>
              </p:cNvPr>
              <p:cNvSpPr>
                <a:spLocks noChangeArrowheads="1"/>
              </p:cNvSpPr>
              <p:nvPr/>
            </p:nvSpPr>
            <p:spPr bwMode="auto">
              <a:xfrm>
                <a:off x="36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7" name="Oval 2668">
                <a:extLst>
                  <a:ext uri="{FF2B5EF4-FFF2-40B4-BE49-F238E27FC236}">
                    <a16:creationId xmlns:a16="http://schemas.microsoft.com/office/drawing/2014/main" id="{F0B7E117-F50E-4340-82F2-7D64B34FD948}"/>
                  </a:ext>
                </a:extLst>
              </p:cNvPr>
              <p:cNvSpPr>
                <a:spLocks noChangeArrowheads="1"/>
              </p:cNvSpPr>
              <p:nvPr/>
            </p:nvSpPr>
            <p:spPr bwMode="auto">
              <a:xfrm>
                <a:off x="367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8" name="Oval 2669">
                <a:extLst>
                  <a:ext uri="{FF2B5EF4-FFF2-40B4-BE49-F238E27FC236}">
                    <a16:creationId xmlns:a16="http://schemas.microsoft.com/office/drawing/2014/main" id="{ACBF0564-59B9-4A47-9E3E-B4A9CD83A098}"/>
                  </a:ext>
                </a:extLst>
              </p:cNvPr>
              <p:cNvSpPr>
                <a:spLocks noChangeArrowheads="1"/>
              </p:cNvSpPr>
              <p:nvPr/>
            </p:nvSpPr>
            <p:spPr bwMode="auto">
              <a:xfrm>
                <a:off x="379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9" name="Oval 2670">
                <a:extLst>
                  <a:ext uri="{FF2B5EF4-FFF2-40B4-BE49-F238E27FC236}">
                    <a16:creationId xmlns:a16="http://schemas.microsoft.com/office/drawing/2014/main" id="{C8142350-F9B8-4B4C-9DB5-3F2864F83180}"/>
                  </a:ext>
                </a:extLst>
              </p:cNvPr>
              <p:cNvSpPr>
                <a:spLocks noChangeArrowheads="1"/>
              </p:cNvSpPr>
              <p:nvPr/>
            </p:nvSpPr>
            <p:spPr bwMode="auto">
              <a:xfrm>
                <a:off x="3735" y="3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0" name="Oval 2671">
                <a:extLst>
                  <a:ext uri="{FF2B5EF4-FFF2-40B4-BE49-F238E27FC236}">
                    <a16:creationId xmlns:a16="http://schemas.microsoft.com/office/drawing/2014/main" id="{DCB0B6FC-B54D-4CFC-8498-CE36FACB660A}"/>
                  </a:ext>
                </a:extLst>
              </p:cNvPr>
              <p:cNvSpPr>
                <a:spLocks noChangeArrowheads="1"/>
              </p:cNvSpPr>
              <p:nvPr/>
            </p:nvSpPr>
            <p:spPr bwMode="auto">
              <a:xfrm>
                <a:off x="376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1" name="Oval 2672">
                <a:extLst>
                  <a:ext uri="{FF2B5EF4-FFF2-40B4-BE49-F238E27FC236}">
                    <a16:creationId xmlns:a16="http://schemas.microsoft.com/office/drawing/2014/main" id="{1250A298-43C4-4B2E-AE94-4F68C0C09E69}"/>
                  </a:ext>
                </a:extLst>
              </p:cNvPr>
              <p:cNvSpPr>
                <a:spLocks noChangeArrowheads="1"/>
              </p:cNvSpPr>
              <p:nvPr/>
            </p:nvSpPr>
            <p:spPr bwMode="auto">
              <a:xfrm>
                <a:off x="379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2" name="Oval 2673">
                <a:extLst>
                  <a:ext uri="{FF2B5EF4-FFF2-40B4-BE49-F238E27FC236}">
                    <a16:creationId xmlns:a16="http://schemas.microsoft.com/office/drawing/2014/main" id="{7F0AA2BF-2513-489E-BC7C-4C5D449903AB}"/>
                  </a:ext>
                </a:extLst>
              </p:cNvPr>
              <p:cNvSpPr>
                <a:spLocks noChangeArrowheads="1"/>
              </p:cNvSpPr>
              <p:nvPr/>
            </p:nvSpPr>
            <p:spPr bwMode="auto">
              <a:xfrm>
                <a:off x="3735" y="7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3" name="Oval 2674">
                <a:extLst>
                  <a:ext uri="{FF2B5EF4-FFF2-40B4-BE49-F238E27FC236}">
                    <a16:creationId xmlns:a16="http://schemas.microsoft.com/office/drawing/2014/main" id="{E60462F0-F054-4ABA-8A0B-FA5AA744E721}"/>
                  </a:ext>
                </a:extLst>
              </p:cNvPr>
              <p:cNvSpPr>
                <a:spLocks noChangeArrowheads="1"/>
              </p:cNvSpPr>
              <p:nvPr/>
            </p:nvSpPr>
            <p:spPr bwMode="auto">
              <a:xfrm>
                <a:off x="36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4" name="Oval 2675">
                <a:extLst>
                  <a:ext uri="{FF2B5EF4-FFF2-40B4-BE49-F238E27FC236}">
                    <a16:creationId xmlns:a16="http://schemas.microsoft.com/office/drawing/2014/main" id="{002BA5DA-BFEE-41A9-A068-03340CB2FE63}"/>
                  </a:ext>
                </a:extLst>
              </p:cNvPr>
              <p:cNvSpPr>
                <a:spLocks noChangeArrowheads="1"/>
              </p:cNvSpPr>
              <p:nvPr/>
            </p:nvSpPr>
            <p:spPr bwMode="auto">
              <a:xfrm>
                <a:off x="352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5" name="Oval 2676">
                <a:extLst>
                  <a:ext uri="{FF2B5EF4-FFF2-40B4-BE49-F238E27FC236}">
                    <a16:creationId xmlns:a16="http://schemas.microsoft.com/office/drawing/2014/main" id="{A1332E12-52C1-4172-AA6A-10EAE5EEF712}"/>
                  </a:ext>
                </a:extLst>
              </p:cNvPr>
              <p:cNvSpPr>
                <a:spLocks noChangeArrowheads="1"/>
              </p:cNvSpPr>
              <p:nvPr/>
            </p:nvSpPr>
            <p:spPr bwMode="auto">
              <a:xfrm>
                <a:off x="343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6" name="Oval 2677">
                <a:extLst>
                  <a:ext uri="{FF2B5EF4-FFF2-40B4-BE49-F238E27FC236}">
                    <a16:creationId xmlns:a16="http://schemas.microsoft.com/office/drawing/2014/main" id="{9027C430-129A-417B-BE56-78CD402A889F}"/>
                  </a:ext>
                </a:extLst>
              </p:cNvPr>
              <p:cNvSpPr>
                <a:spLocks noChangeArrowheads="1"/>
              </p:cNvSpPr>
              <p:nvPr/>
            </p:nvSpPr>
            <p:spPr bwMode="auto">
              <a:xfrm>
                <a:off x="331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7" name="Oval 2678">
                <a:extLst>
                  <a:ext uri="{FF2B5EF4-FFF2-40B4-BE49-F238E27FC236}">
                    <a16:creationId xmlns:a16="http://schemas.microsoft.com/office/drawing/2014/main" id="{513C11B6-4CC8-4410-9DE9-E2EA8404A8A0}"/>
                  </a:ext>
                </a:extLst>
              </p:cNvPr>
              <p:cNvSpPr>
                <a:spLocks noChangeArrowheads="1"/>
              </p:cNvSpPr>
              <p:nvPr/>
            </p:nvSpPr>
            <p:spPr bwMode="auto">
              <a:xfrm>
                <a:off x="325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8" name="Oval 2679">
                <a:extLst>
                  <a:ext uri="{FF2B5EF4-FFF2-40B4-BE49-F238E27FC236}">
                    <a16:creationId xmlns:a16="http://schemas.microsoft.com/office/drawing/2014/main" id="{2F3F5714-31A7-4BF0-9953-9D03E24B6864}"/>
                  </a:ext>
                </a:extLst>
              </p:cNvPr>
              <p:cNvSpPr>
                <a:spLocks noChangeArrowheads="1"/>
              </p:cNvSpPr>
              <p:nvPr/>
            </p:nvSpPr>
            <p:spPr bwMode="auto">
              <a:xfrm>
                <a:off x="337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9" name="Oval 2680">
                <a:extLst>
                  <a:ext uri="{FF2B5EF4-FFF2-40B4-BE49-F238E27FC236}">
                    <a16:creationId xmlns:a16="http://schemas.microsoft.com/office/drawing/2014/main" id="{94F7C7A8-0E4C-4B0D-A1F4-FBBC7A7761E0}"/>
                  </a:ext>
                </a:extLst>
              </p:cNvPr>
              <p:cNvSpPr>
                <a:spLocks noChangeArrowheads="1"/>
              </p:cNvSpPr>
              <p:nvPr/>
            </p:nvSpPr>
            <p:spPr bwMode="auto">
              <a:xfrm>
                <a:off x="367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0" name="Oval 2681">
                <a:extLst>
                  <a:ext uri="{FF2B5EF4-FFF2-40B4-BE49-F238E27FC236}">
                    <a16:creationId xmlns:a16="http://schemas.microsoft.com/office/drawing/2014/main" id="{C2EC4D19-2AB0-41C8-82D7-0875AFA85BE8}"/>
                  </a:ext>
                </a:extLst>
              </p:cNvPr>
              <p:cNvSpPr>
                <a:spLocks noChangeArrowheads="1"/>
              </p:cNvSpPr>
              <p:nvPr/>
            </p:nvSpPr>
            <p:spPr bwMode="auto">
              <a:xfrm>
                <a:off x="349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1" name="Oval 2682">
                <a:extLst>
                  <a:ext uri="{FF2B5EF4-FFF2-40B4-BE49-F238E27FC236}">
                    <a16:creationId xmlns:a16="http://schemas.microsoft.com/office/drawing/2014/main" id="{29137E04-33D0-4424-812C-E6F3A57807FD}"/>
                  </a:ext>
                </a:extLst>
              </p:cNvPr>
              <p:cNvSpPr>
                <a:spLocks noChangeArrowheads="1"/>
              </p:cNvSpPr>
              <p:nvPr/>
            </p:nvSpPr>
            <p:spPr bwMode="auto">
              <a:xfrm>
                <a:off x="35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2" name="Oval 2683">
                <a:extLst>
                  <a:ext uri="{FF2B5EF4-FFF2-40B4-BE49-F238E27FC236}">
                    <a16:creationId xmlns:a16="http://schemas.microsoft.com/office/drawing/2014/main" id="{E36D8373-B124-4805-9B4B-71377CEB10BB}"/>
                  </a:ext>
                </a:extLst>
              </p:cNvPr>
              <p:cNvSpPr>
                <a:spLocks noChangeArrowheads="1"/>
              </p:cNvSpPr>
              <p:nvPr/>
            </p:nvSpPr>
            <p:spPr bwMode="auto">
              <a:xfrm>
                <a:off x="343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3" name="Oval 2684">
                <a:extLst>
                  <a:ext uri="{FF2B5EF4-FFF2-40B4-BE49-F238E27FC236}">
                    <a16:creationId xmlns:a16="http://schemas.microsoft.com/office/drawing/2014/main" id="{9261A063-FF02-49DF-8A2C-8E4FFDF0F638}"/>
                  </a:ext>
                </a:extLst>
              </p:cNvPr>
              <p:cNvSpPr>
                <a:spLocks noChangeArrowheads="1"/>
              </p:cNvSpPr>
              <p:nvPr/>
            </p:nvSpPr>
            <p:spPr bwMode="auto">
              <a:xfrm>
                <a:off x="364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4" name="Oval 2685">
                <a:extLst>
                  <a:ext uri="{FF2B5EF4-FFF2-40B4-BE49-F238E27FC236}">
                    <a16:creationId xmlns:a16="http://schemas.microsoft.com/office/drawing/2014/main" id="{D48332A1-6317-42A8-8F0E-5D6A745763D3}"/>
                  </a:ext>
                </a:extLst>
              </p:cNvPr>
              <p:cNvSpPr>
                <a:spLocks noChangeArrowheads="1"/>
              </p:cNvSpPr>
              <p:nvPr/>
            </p:nvSpPr>
            <p:spPr bwMode="auto">
              <a:xfrm>
                <a:off x="355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5" name="Oval 2686">
                <a:extLst>
                  <a:ext uri="{FF2B5EF4-FFF2-40B4-BE49-F238E27FC236}">
                    <a16:creationId xmlns:a16="http://schemas.microsoft.com/office/drawing/2014/main" id="{1444F493-FA11-4B54-BF48-AE15EE638501}"/>
                  </a:ext>
                </a:extLst>
              </p:cNvPr>
              <p:cNvSpPr>
                <a:spLocks noChangeArrowheads="1"/>
              </p:cNvSpPr>
              <p:nvPr/>
            </p:nvSpPr>
            <p:spPr bwMode="auto">
              <a:xfrm>
                <a:off x="34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6" name="Oval 2687">
                <a:extLst>
                  <a:ext uri="{FF2B5EF4-FFF2-40B4-BE49-F238E27FC236}">
                    <a16:creationId xmlns:a16="http://schemas.microsoft.com/office/drawing/2014/main" id="{964A8AF5-0C7A-4ED4-B325-CAE11D00197A}"/>
                  </a:ext>
                </a:extLst>
              </p:cNvPr>
              <p:cNvSpPr>
                <a:spLocks noChangeArrowheads="1"/>
              </p:cNvSpPr>
              <p:nvPr/>
            </p:nvSpPr>
            <p:spPr bwMode="auto">
              <a:xfrm>
                <a:off x="31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7" name="Oval 2688">
                <a:extLst>
                  <a:ext uri="{FF2B5EF4-FFF2-40B4-BE49-F238E27FC236}">
                    <a16:creationId xmlns:a16="http://schemas.microsoft.com/office/drawing/2014/main" id="{A0CD85F3-FF62-4D8E-BEFC-6D2E118644E0}"/>
                  </a:ext>
                </a:extLst>
              </p:cNvPr>
              <p:cNvSpPr>
                <a:spLocks noChangeArrowheads="1"/>
              </p:cNvSpPr>
              <p:nvPr/>
            </p:nvSpPr>
            <p:spPr bwMode="auto">
              <a:xfrm>
                <a:off x="304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8" name="Oval 2689">
                <a:extLst>
                  <a:ext uri="{FF2B5EF4-FFF2-40B4-BE49-F238E27FC236}">
                    <a16:creationId xmlns:a16="http://schemas.microsoft.com/office/drawing/2014/main" id="{881ABD4F-90D4-4747-9B41-7F7FFD800C7E}"/>
                  </a:ext>
                </a:extLst>
              </p:cNvPr>
              <p:cNvSpPr>
                <a:spLocks noChangeArrowheads="1"/>
              </p:cNvSpPr>
              <p:nvPr/>
            </p:nvSpPr>
            <p:spPr bwMode="auto">
              <a:xfrm>
                <a:off x="29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9" name="Oval 2690">
                <a:extLst>
                  <a:ext uri="{FF2B5EF4-FFF2-40B4-BE49-F238E27FC236}">
                    <a16:creationId xmlns:a16="http://schemas.microsoft.com/office/drawing/2014/main" id="{E1B87926-38D0-4C65-BC2C-A42045C4CFD3}"/>
                  </a:ext>
                </a:extLst>
              </p:cNvPr>
              <p:cNvSpPr>
                <a:spLocks noChangeArrowheads="1"/>
              </p:cNvSpPr>
              <p:nvPr/>
            </p:nvSpPr>
            <p:spPr bwMode="auto">
              <a:xfrm>
                <a:off x="30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0" name="Oval 2691">
                <a:extLst>
                  <a:ext uri="{FF2B5EF4-FFF2-40B4-BE49-F238E27FC236}">
                    <a16:creationId xmlns:a16="http://schemas.microsoft.com/office/drawing/2014/main" id="{88F7EDFC-C923-4B05-B2DE-DC94B3BFEA4F}"/>
                  </a:ext>
                </a:extLst>
              </p:cNvPr>
              <p:cNvSpPr>
                <a:spLocks noChangeArrowheads="1"/>
              </p:cNvSpPr>
              <p:nvPr/>
            </p:nvSpPr>
            <p:spPr bwMode="auto">
              <a:xfrm>
                <a:off x="316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1" name="Oval 2692">
                <a:extLst>
                  <a:ext uri="{FF2B5EF4-FFF2-40B4-BE49-F238E27FC236}">
                    <a16:creationId xmlns:a16="http://schemas.microsoft.com/office/drawing/2014/main" id="{716421FD-4469-4580-86AC-35FCFB5538E7}"/>
                  </a:ext>
                </a:extLst>
              </p:cNvPr>
              <p:cNvSpPr>
                <a:spLocks noChangeArrowheads="1"/>
              </p:cNvSpPr>
              <p:nvPr/>
            </p:nvSpPr>
            <p:spPr bwMode="auto">
              <a:xfrm>
                <a:off x="334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2" name="Oval 2693">
                <a:extLst>
                  <a:ext uri="{FF2B5EF4-FFF2-40B4-BE49-F238E27FC236}">
                    <a16:creationId xmlns:a16="http://schemas.microsoft.com/office/drawing/2014/main" id="{A32CBF71-8045-40F5-BB7C-B4BFF8BAFEFF}"/>
                  </a:ext>
                </a:extLst>
              </p:cNvPr>
              <p:cNvSpPr>
                <a:spLocks noChangeArrowheads="1"/>
              </p:cNvSpPr>
              <p:nvPr/>
            </p:nvSpPr>
            <p:spPr bwMode="auto">
              <a:xfrm>
                <a:off x="31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3" name="Oval 2694">
                <a:extLst>
                  <a:ext uri="{FF2B5EF4-FFF2-40B4-BE49-F238E27FC236}">
                    <a16:creationId xmlns:a16="http://schemas.microsoft.com/office/drawing/2014/main" id="{E28F7C2C-EA67-4B2B-8AB2-C33255230BE3}"/>
                  </a:ext>
                </a:extLst>
              </p:cNvPr>
              <p:cNvSpPr>
                <a:spLocks noChangeArrowheads="1"/>
              </p:cNvSpPr>
              <p:nvPr/>
            </p:nvSpPr>
            <p:spPr bwMode="auto">
              <a:xfrm>
                <a:off x="307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4" name="Oval 2695">
                <a:extLst>
                  <a:ext uri="{FF2B5EF4-FFF2-40B4-BE49-F238E27FC236}">
                    <a16:creationId xmlns:a16="http://schemas.microsoft.com/office/drawing/2014/main" id="{6706BC61-590A-4F86-9C74-A536BE1BE88A}"/>
                  </a:ext>
                </a:extLst>
              </p:cNvPr>
              <p:cNvSpPr>
                <a:spLocks noChangeArrowheads="1"/>
              </p:cNvSpPr>
              <p:nvPr/>
            </p:nvSpPr>
            <p:spPr bwMode="auto">
              <a:xfrm>
                <a:off x="30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5" name="Oval 2696">
                <a:extLst>
                  <a:ext uri="{FF2B5EF4-FFF2-40B4-BE49-F238E27FC236}">
                    <a16:creationId xmlns:a16="http://schemas.microsoft.com/office/drawing/2014/main" id="{2C7941BD-2436-46CF-B2C3-5BA8DC61C1B9}"/>
                  </a:ext>
                </a:extLst>
              </p:cNvPr>
              <p:cNvSpPr>
                <a:spLocks noChangeArrowheads="1"/>
              </p:cNvSpPr>
              <p:nvPr/>
            </p:nvSpPr>
            <p:spPr bwMode="auto">
              <a:xfrm>
                <a:off x="292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6" name="Oval 2697">
                <a:extLst>
                  <a:ext uri="{FF2B5EF4-FFF2-40B4-BE49-F238E27FC236}">
                    <a16:creationId xmlns:a16="http://schemas.microsoft.com/office/drawing/2014/main" id="{F70783AA-2DD0-4497-8F0D-C3643A0A644C}"/>
                  </a:ext>
                </a:extLst>
              </p:cNvPr>
              <p:cNvSpPr>
                <a:spLocks noChangeArrowheads="1"/>
              </p:cNvSpPr>
              <p:nvPr/>
            </p:nvSpPr>
            <p:spPr bwMode="auto">
              <a:xfrm>
                <a:off x="298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7" name="Oval 2698">
                <a:extLst>
                  <a:ext uri="{FF2B5EF4-FFF2-40B4-BE49-F238E27FC236}">
                    <a16:creationId xmlns:a16="http://schemas.microsoft.com/office/drawing/2014/main" id="{ECEDA0AE-9BBC-4E32-9454-E9395C847BAB}"/>
                  </a:ext>
                </a:extLst>
              </p:cNvPr>
              <p:cNvSpPr>
                <a:spLocks noChangeArrowheads="1"/>
              </p:cNvSpPr>
              <p:nvPr/>
            </p:nvSpPr>
            <p:spPr bwMode="auto">
              <a:xfrm>
                <a:off x="316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8" name="Oval 2699">
                <a:extLst>
                  <a:ext uri="{FF2B5EF4-FFF2-40B4-BE49-F238E27FC236}">
                    <a16:creationId xmlns:a16="http://schemas.microsoft.com/office/drawing/2014/main" id="{56371E5E-D9A9-4B14-BFDC-D12FB2517B03}"/>
                  </a:ext>
                </a:extLst>
              </p:cNvPr>
              <p:cNvSpPr>
                <a:spLocks noChangeArrowheads="1"/>
              </p:cNvSpPr>
              <p:nvPr/>
            </p:nvSpPr>
            <p:spPr bwMode="auto">
              <a:xfrm>
                <a:off x="316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9" name="Oval 2700">
                <a:extLst>
                  <a:ext uri="{FF2B5EF4-FFF2-40B4-BE49-F238E27FC236}">
                    <a16:creationId xmlns:a16="http://schemas.microsoft.com/office/drawing/2014/main" id="{45720B64-210D-4197-9F90-22EEB0836059}"/>
                  </a:ext>
                </a:extLst>
              </p:cNvPr>
              <p:cNvSpPr>
                <a:spLocks noChangeArrowheads="1"/>
              </p:cNvSpPr>
              <p:nvPr/>
            </p:nvSpPr>
            <p:spPr bwMode="auto">
              <a:xfrm>
                <a:off x="316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0" name="Oval 2701">
                <a:extLst>
                  <a:ext uri="{FF2B5EF4-FFF2-40B4-BE49-F238E27FC236}">
                    <a16:creationId xmlns:a16="http://schemas.microsoft.com/office/drawing/2014/main" id="{1B9BFC4F-51C6-4416-A284-1CCB1FE544F0}"/>
                  </a:ext>
                </a:extLst>
              </p:cNvPr>
              <p:cNvSpPr>
                <a:spLocks noChangeArrowheads="1"/>
              </p:cNvSpPr>
              <p:nvPr/>
            </p:nvSpPr>
            <p:spPr bwMode="auto">
              <a:xfrm>
                <a:off x="316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1" name="Oval 2702">
                <a:extLst>
                  <a:ext uri="{FF2B5EF4-FFF2-40B4-BE49-F238E27FC236}">
                    <a16:creationId xmlns:a16="http://schemas.microsoft.com/office/drawing/2014/main" id="{E039A853-1050-4E8D-9ADF-7DCA1D6E2455}"/>
                  </a:ext>
                </a:extLst>
              </p:cNvPr>
              <p:cNvSpPr>
                <a:spLocks noChangeArrowheads="1"/>
              </p:cNvSpPr>
              <p:nvPr/>
            </p:nvSpPr>
            <p:spPr bwMode="auto">
              <a:xfrm>
                <a:off x="29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2" name="Oval 2703">
                <a:extLst>
                  <a:ext uri="{FF2B5EF4-FFF2-40B4-BE49-F238E27FC236}">
                    <a16:creationId xmlns:a16="http://schemas.microsoft.com/office/drawing/2014/main" id="{5AEF71DB-8837-44D8-AE19-1BFE2653AD83}"/>
                  </a:ext>
                </a:extLst>
              </p:cNvPr>
              <p:cNvSpPr>
                <a:spLocks noChangeArrowheads="1"/>
              </p:cNvSpPr>
              <p:nvPr/>
            </p:nvSpPr>
            <p:spPr bwMode="auto">
              <a:xfrm>
                <a:off x="289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3" name="Oval 2704">
                <a:extLst>
                  <a:ext uri="{FF2B5EF4-FFF2-40B4-BE49-F238E27FC236}">
                    <a16:creationId xmlns:a16="http://schemas.microsoft.com/office/drawing/2014/main" id="{9D3C75D0-C8B1-4637-964D-3D95CB3C0C01}"/>
                  </a:ext>
                </a:extLst>
              </p:cNvPr>
              <p:cNvSpPr>
                <a:spLocks noChangeArrowheads="1"/>
              </p:cNvSpPr>
              <p:nvPr/>
            </p:nvSpPr>
            <p:spPr bwMode="auto">
              <a:xfrm>
                <a:off x="289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4" name="Oval 2705">
                <a:extLst>
                  <a:ext uri="{FF2B5EF4-FFF2-40B4-BE49-F238E27FC236}">
                    <a16:creationId xmlns:a16="http://schemas.microsoft.com/office/drawing/2014/main" id="{552371CF-F982-4972-8B09-4595709B44B0}"/>
                  </a:ext>
                </a:extLst>
              </p:cNvPr>
              <p:cNvSpPr>
                <a:spLocks noChangeArrowheads="1"/>
              </p:cNvSpPr>
              <p:nvPr/>
            </p:nvSpPr>
            <p:spPr bwMode="auto">
              <a:xfrm>
                <a:off x="289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5" name="Oval 2706">
                <a:extLst>
                  <a:ext uri="{FF2B5EF4-FFF2-40B4-BE49-F238E27FC236}">
                    <a16:creationId xmlns:a16="http://schemas.microsoft.com/office/drawing/2014/main" id="{C3C36B85-9786-473D-BF93-1DF7D7FFBFE4}"/>
                  </a:ext>
                </a:extLst>
              </p:cNvPr>
              <p:cNvSpPr>
                <a:spLocks noChangeArrowheads="1"/>
              </p:cNvSpPr>
              <p:nvPr/>
            </p:nvSpPr>
            <p:spPr bwMode="auto">
              <a:xfrm>
                <a:off x="277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6" name="Oval 2707">
                <a:extLst>
                  <a:ext uri="{FF2B5EF4-FFF2-40B4-BE49-F238E27FC236}">
                    <a16:creationId xmlns:a16="http://schemas.microsoft.com/office/drawing/2014/main" id="{D9F941D3-080A-48C5-BD00-DBDBA2B16A73}"/>
                  </a:ext>
                </a:extLst>
              </p:cNvPr>
              <p:cNvSpPr>
                <a:spLocks noChangeArrowheads="1"/>
              </p:cNvSpPr>
              <p:nvPr/>
            </p:nvSpPr>
            <p:spPr bwMode="auto">
              <a:xfrm>
                <a:off x="2805"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7" name="Oval 2708">
                <a:extLst>
                  <a:ext uri="{FF2B5EF4-FFF2-40B4-BE49-F238E27FC236}">
                    <a16:creationId xmlns:a16="http://schemas.microsoft.com/office/drawing/2014/main" id="{0A487D6D-648D-4996-8B71-AFC1C6196CF4}"/>
                  </a:ext>
                </a:extLst>
              </p:cNvPr>
              <p:cNvSpPr>
                <a:spLocks noChangeArrowheads="1"/>
              </p:cNvSpPr>
              <p:nvPr/>
            </p:nvSpPr>
            <p:spPr bwMode="auto">
              <a:xfrm>
                <a:off x="286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8" name="Oval 2709">
                <a:extLst>
                  <a:ext uri="{FF2B5EF4-FFF2-40B4-BE49-F238E27FC236}">
                    <a16:creationId xmlns:a16="http://schemas.microsoft.com/office/drawing/2014/main" id="{478B1143-C534-4D23-9859-8D55128F8158}"/>
                  </a:ext>
                </a:extLst>
              </p:cNvPr>
              <p:cNvSpPr>
                <a:spLocks noChangeArrowheads="1"/>
              </p:cNvSpPr>
              <p:nvPr/>
            </p:nvSpPr>
            <p:spPr bwMode="auto">
              <a:xfrm>
                <a:off x="2775"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9" name="Oval 2710">
                <a:extLst>
                  <a:ext uri="{FF2B5EF4-FFF2-40B4-BE49-F238E27FC236}">
                    <a16:creationId xmlns:a16="http://schemas.microsoft.com/office/drawing/2014/main" id="{BF4AF0E1-609F-4779-80EC-2E7ABBD2171C}"/>
                  </a:ext>
                </a:extLst>
              </p:cNvPr>
              <p:cNvSpPr>
                <a:spLocks noChangeArrowheads="1"/>
              </p:cNvSpPr>
              <p:nvPr/>
            </p:nvSpPr>
            <p:spPr bwMode="auto">
              <a:xfrm>
                <a:off x="283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0" name="Oval 2711">
                <a:extLst>
                  <a:ext uri="{FF2B5EF4-FFF2-40B4-BE49-F238E27FC236}">
                    <a16:creationId xmlns:a16="http://schemas.microsoft.com/office/drawing/2014/main" id="{4974C5C2-1004-42BA-9FA5-A61F80115935}"/>
                  </a:ext>
                </a:extLst>
              </p:cNvPr>
              <p:cNvSpPr>
                <a:spLocks noChangeArrowheads="1"/>
              </p:cNvSpPr>
              <p:nvPr/>
            </p:nvSpPr>
            <p:spPr bwMode="auto">
              <a:xfrm>
                <a:off x="286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1" name="Oval 2712">
                <a:extLst>
                  <a:ext uri="{FF2B5EF4-FFF2-40B4-BE49-F238E27FC236}">
                    <a16:creationId xmlns:a16="http://schemas.microsoft.com/office/drawing/2014/main" id="{36316800-15F6-4BF8-B9F9-74403B656589}"/>
                  </a:ext>
                </a:extLst>
              </p:cNvPr>
              <p:cNvSpPr>
                <a:spLocks noChangeArrowheads="1"/>
              </p:cNvSpPr>
              <p:nvPr/>
            </p:nvSpPr>
            <p:spPr bwMode="auto">
              <a:xfrm>
                <a:off x="2775"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2" name="Oval 2713">
                <a:extLst>
                  <a:ext uri="{FF2B5EF4-FFF2-40B4-BE49-F238E27FC236}">
                    <a16:creationId xmlns:a16="http://schemas.microsoft.com/office/drawing/2014/main" id="{7B85028E-9340-4710-898A-A9BF1F33629A}"/>
                  </a:ext>
                </a:extLst>
              </p:cNvPr>
              <p:cNvSpPr>
                <a:spLocks noChangeArrowheads="1"/>
              </p:cNvSpPr>
              <p:nvPr/>
            </p:nvSpPr>
            <p:spPr bwMode="auto">
              <a:xfrm>
                <a:off x="25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3" name="Oval 2714">
                <a:extLst>
                  <a:ext uri="{FF2B5EF4-FFF2-40B4-BE49-F238E27FC236}">
                    <a16:creationId xmlns:a16="http://schemas.microsoft.com/office/drawing/2014/main" id="{ADD99749-DBC1-40D9-9287-BB86B2442E2E}"/>
                  </a:ext>
                </a:extLst>
              </p:cNvPr>
              <p:cNvSpPr>
                <a:spLocks noChangeArrowheads="1"/>
              </p:cNvSpPr>
              <p:nvPr/>
            </p:nvSpPr>
            <p:spPr bwMode="auto">
              <a:xfrm>
                <a:off x="256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4" name="Oval 2715">
                <a:extLst>
                  <a:ext uri="{FF2B5EF4-FFF2-40B4-BE49-F238E27FC236}">
                    <a16:creationId xmlns:a16="http://schemas.microsoft.com/office/drawing/2014/main" id="{B748C324-D8D2-4D5D-B0E6-13BFE264452B}"/>
                  </a:ext>
                </a:extLst>
              </p:cNvPr>
              <p:cNvSpPr>
                <a:spLocks noChangeArrowheads="1"/>
              </p:cNvSpPr>
              <p:nvPr/>
            </p:nvSpPr>
            <p:spPr bwMode="auto">
              <a:xfrm>
                <a:off x="259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5" name="Oval 2716">
                <a:extLst>
                  <a:ext uri="{FF2B5EF4-FFF2-40B4-BE49-F238E27FC236}">
                    <a16:creationId xmlns:a16="http://schemas.microsoft.com/office/drawing/2014/main" id="{19FF2C70-8CAA-459D-BB8C-30D5263BE4B3}"/>
                  </a:ext>
                </a:extLst>
              </p:cNvPr>
              <p:cNvSpPr>
                <a:spLocks noChangeArrowheads="1"/>
              </p:cNvSpPr>
              <p:nvPr/>
            </p:nvSpPr>
            <p:spPr bwMode="auto">
              <a:xfrm>
                <a:off x="244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6" name="Oval 2717">
                <a:extLst>
                  <a:ext uri="{FF2B5EF4-FFF2-40B4-BE49-F238E27FC236}">
                    <a16:creationId xmlns:a16="http://schemas.microsoft.com/office/drawing/2014/main" id="{F4C73B04-0612-4A4E-AD40-036EFB949720}"/>
                  </a:ext>
                </a:extLst>
              </p:cNvPr>
              <p:cNvSpPr>
                <a:spLocks noChangeArrowheads="1"/>
              </p:cNvSpPr>
              <p:nvPr/>
            </p:nvSpPr>
            <p:spPr bwMode="auto">
              <a:xfrm>
                <a:off x="24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7" name="Oval 2718">
                <a:extLst>
                  <a:ext uri="{FF2B5EF4-FFF2-40B4-BE49-F238E27FC236}">
                    <a16:creationId xmlns:a16="http://schemas.microsoft.com/office/drawing/2014/main" id="{5EC81024-B338-44B7-8E7A-70C2C90F3D3C}"/>
                  </a:ext>
                </a:extLst>
              </p:cNvPr>
              <p:cNvSpPr>
                <a:spLocks noChangeArrowheads="1"/>
              </p:cNvSpPr>
              <p:nvPr/>
            </p:nvSpPr>
            <p:spPr bwMode="auto">
              <a:xfrm>
                <a:off x="247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8" name="Oval 2719">
                <a:extLst>
                  <a:ext uri="{FF2B5EF4-FFF2-40B4-BE49-F238E27FC236}">
                    <a16:creationId xmlns:a16="http://schemas.microsoft.com/office/drawing/2014/main" id="{13CEF5CF-D911-4187-955A-5232411882D6}"/>
                  </a:ext>
                </a:extLst>
              </p:cNvPr>
              <p:cNvSpPr>
                <a:spLocks noChangeArrowheads="1"/>
              </p:cNvSpPr>
              <p:nvPr/>
            </p:nvSpPr>
            <p:spPr bwMode="auto">
              <a:xfrm>
                <a:off x="2475"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9" name="Oval 2720">
                <a:extLst>
                  <a:ext uri="{FF2B5EF4-FFF2-40B4-BE49-F238E27FC236}">
                    <a16:creationId xmlns:a16="http://schemas.microsoft.com/office/drawing/2014/main" id="{8A455DCA-3590-4340-A63C-224D78AC348A}"/>
                  </a:ext>
                </a:extLst>
              </p:cNvPr>
              <p:cNvSpPr>
                <a:spLocks noChangeArrowheads="1"/>
              </p:cNvSpPr>
              <p:nvPr/>
            </p:nvSpPr>
            <p:spPr bwMode="auto">
              <a:xfrm>
                <a:off x="286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0" name="Oval 2721">
                <a:extLst>
                  <a:ext uri="{FF2B5EF4-FFF2-40B4-BE49-F238E27FC236}">
                    <a16:creationId xmlns:a16="http://schemas.microsoft.com/office/drawing/2014/main" id="{FE01B5BE-5B38-4417-B933-8374B65B31AD}"/>
                  </a:ext>
                </a:extLst>
              </p:cNvPr>
              <p:cNvSpPr>
                <a:spLocks noChangeArrowheads="1"/>
              </p:cNvSpPr>
              <p:nvPr/>
            </p:nvSpPr>
            <p:spPr bwMode="auto">
              <a:xfrm>
                <a:off x="268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1" name="Oval 2722">
                <a:extLst>
                  <a:ext uri="{FF2B5EF4-FFF2-40B4-BE49-F238E27FC236}">
                    <a16:creationId xmlns:a16="http://schemas.microsoft.com/office/drawing/2014/main" id="{60AD575B-922A-4AA1-AA34-D2A6B4343371}"/>
                  </a:ext>
                </a:extLst>
              </p:cNvPr>
              <p:cNvSpPr>
                <a:spLocks noChangeArrowheads="1"/>
              </p:cNvSpPr>
              <p:nvPr/>
            </p:nvSpPr>
            <p:spPr bwMode="auto">
              <a:xfrm>
                <a:off x="235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2" name="Oval 2723">
                <a:extLst>
                  <a:ext uri="{FF2B5EF4-FFF2-40B4-BE49-F238E27FC236}">
                    <a16:creationId xmlns:a16="http://schemas.microsoft.com/office/drawing/2014/main" id="{A1DDCB85-0548-41B8-8A50-8977750D0238}"/>
                  </a:ext>
                </a:extLst>
              </p:cNvPr>
              <p:cNvSpPr>
                <a:spLocks noChangeArrowheads="1"/>
              </p:cNvSpPr>
              <p:nvPr/>
            </p:nvSpPr>
            <p:spPr bwMode="auto">
              <a:xfrm>
                <a:off x="235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3" name="Oval 2724">
                <a:extLst>
                  <a:ext uri="{FF2B5EF4-FFF2-40B4-BE49-F238E27FC236}">
                    <a16:creationId xmlns:a16="http://schemas.microsoft.com/office/drawing/2014/main" id="{B0647387-E23A-47CD-B1D1-0CD198B1F99F}"/>
                  </a:ext>
                </a:extLst>
              </p:cNvPr>
              <p:cNvSpPr>
                <a:spLocks noChangeArrowheads="1"/>
              </p:cNvSpPr>
              <p:nvPr/>
            </p:nvSpPr>
            <p:spPr bwMode="auto">
              <a:xfrm>
                <a:off x="25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4" name="Oval 2725">
                <a:extLst>
                  <a:ext uri="{FF2B5EF4-FFF2-40B4-BE49-F238E27FC236}">
                    <a16:creationId xmlns:a16="http://schemas.microsoft.com/office/drawing/2014/main" id="{3FA5D558-B592-496C-A962-456A00CB932E}"/>
                  </a:ext>
                </a:extLst>
              </p:cNvPr>
              <p:cNvSpPr>
                <a:spLocks noChangeArrowheads="1"/>
              </p:cNvSpPr>
              <p:nvPr/>
            </p:nvSpPr>
            <p:spPr bwMode="auto">
              <a:xfrm>
                <a:off x="259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5" name="Oval 2726">
                <a:extLst>
                  <a:ext uri="{FF2B5EF4-FFF2-40B4-BE49-F238E27FC236}">
                    <a16:creationId xmlns:a16="http://schemas.microsoft.com/office/drawing/2014/main" id="{60BE347E-2C5B-4ADE-891B-5066820150FA}"/>
                  </a:ext>
                </a:extLst>
              </p:cNvPr>
              <p:cNvSpPr>
                <a:spLocks noChangeArrowheads="1"/>
              </p:cNvSpPr>
              <p:nvPr/>
            </p:nvSpPr>
            <p:spPr bwMode="auto">
              <a:xfrm>
                <a:off x="25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6" name="Oval 2727">
                <a:extLst>
                  <a:ext uri="{FF2B5EF4-FFF2-40B4-BE49-F238E27FC236}">
                    <a16:creationId xmlns:a16="http://schemas.microsoft.com/office/drawing/2014/main" id="{4A0E6CD9-94BF-48A9-AD97-D69734CE29A8}"/>
                  </a:ext>
                </a:extLst>
              </p:cNvPr>
              <p:cNvSpPr>
                <a:spLocks noChangeArrowheads="1"/>
              </p:cNvSpPr>
              <p:nvPr/>
            </p:nvSpPr>
            <p:spPr bwMode="auto">
              <a:xfrm>
                <a:off x="256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7" name="Oval 2728">
                <a:extLst>
                  <a:ext uri="{FF2B5EF4-FFF2-40B4-BE49-F238E27FC236}">
                    <a16:creationId xmlns:a16="http://schemas.microsoft.com/office/drawing/2014/main" id="{84CAFECF-B7D6-410F-A379-6330A29BEE03}"/>
                  </a:ext>
                </a:extLst>
              </p:cNvPr>
              <p:cNvSpPr>
                <a:spLocks noChangeArrowheads="1"/>
              </p:cNvSpPr>
              <p:nvPr/>
            </p:nvSpPr>
            <p:spPr bwMode="auto">
              <a:xfrm>
                <a:off x="247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8" name="Oval 2729">
                <a:extLst>
                  <a:ext uri="{FF2B5EF4-FFF2-40B4-BE49-F238E27FC236}">
                    <a16:creationId xmlns:a16="http://schemas.microsoft.com/office/drawing/2014/main" id="{C02AF75A-0F7E-40BB-9CD5-471158836022}"/>
                  </a:ext>
                </a:extLst>
              </p:cNvPr>
              <p:cNvSpPr>
                <a:spLocks noChangeArrowheads="1"/>
              </p:cNvSpPr>
              <p:nvPr/>
            </p:nvSpPr>
            <p:spPr bwMode="auto">
              <a:xfrm>
                <a:off x="235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9" name="Oval 2730">
                <a:extLst>
                  <a:ext uri="{FF2B5EF4-FFF2-40B4-BE49-F238E27FC236}">
                    <a16:creationId xmlns:a16="http://schemas.microsoft.com/office/drawing/2014/main" id="{4D3E6ED8-67D2-49C8-BE74-0200FE2A1C0A}"/>
                  </a:ext>
                </a:extLst>
              </p:cNvPr>
              <p:cNvSpPr>
                <a:spLocks noChangeArrowheads="1"/>
              </p:cNvSpPr>
              <p:nvPr/>
            </p:nvSpPr>
            <p:spPr bwMode="auto">
              <a:xfrm>
                <a:off x="229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0" name="Oval 2731">
                <a:extLst>
                  <a:ext uri="{FF2B5EF4-FFF2-40B4-BE49-F238E27FC236}">
                    <a16:creationId xmlns:a16="http://schemas.microsoft.com/office/drawing/2014/main" id="{7963EEA3-0604-44E0-A790-2026FEF8293B}"/>
                  </a:ext>
                </a:extLst>
              </p:cNvPr>
              <p:cNvSpPr>
                <a:spLocks noChangeArrowheads="1"/>
              </p:cNvSpPr>
              <p:nvPr/>
            </p:nvSpPr>
            <p:spPr bwMode="auto">
              <a:xfrm>
                <a:off x="226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1" name="Oval 2732">
                <a:extLst>
                  <a:ext uri="{FF2B5EF4-FFF2-40B4-BE49-F238E27FC236}">
                    <a16:creationId xmlns:a16="http://schemas.microsoft.com/office/drawing/2014/main" id="{3680B3D2-9124-463A-AC8B-FD4E48A727CD}"/>
                  </a:ext>
                </a:extLst>
              </p:cNvPr>
              <p:cNvSpPr>
                <a:spLocks noChangeArrowheads="1"/>
              </p:cNvSpPr>
              <p:nvPr/>
            </p:nvSpPr>
            <p:spPr bwMode="auto">
              <a:xfrm>
                <a:off x="229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2" name="Oval 2733">
                <a:extLst>
                  <a:ext uri="{FF2B5EF4-FFF2-40B4-BE49-F238E27FC236}">
                    <a16:creationId xmlns:a16="http://schemas.microsoft.com/office/drawing/2014/main" id="{24DB5EBB-3E4F-43BF-8DBF-95411A94A4C0}"/>
                  </a:ext>
                </a:extLst>
              </p:cNvPr>
              <p:cNvSpPr>
                <a:spLocks noChangeArrowheads="1"/>
              </p:cNvSpPr>
              <p:nvPr/>
            </p:nvSpPr>
            <p:spPr bwMode="auto">
              <a:xfrm>
                <a:off x="235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3" name="Oval 2734">
                <a:extLst>
                  <a:ext uri="{FF2B5EF4-FFF2-40B4-BE49-F238E27FC236}">
                    <a16:creationId xmlns:a16="http://schemas.microsoft.com/office/drawing/2014/main" id="{BA77C761-8FF2-41C7-8CC1-7C051135B232}"/>
                  </a:ext>
                </a:extLst>
              </p:cNvPr>
              <p:cNvSpPr>
                <a:spLocks noChangeArrowheads="1"/>
              </p:cNvSpPr>
              <p:nvPr/>
            </p:nvSpPr>
            <p:spPr bwMode="auto">
              <a:xfrm>
                <a:off x="244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4" name="Oval 2735">
                <a:extLst>
                  <a:ext uri="{FF2B5EF4-FFF2-40B4-BE49-F238E27FC236}">
                    <a16:creationId xmlns:a16="http://schemas.microsoft.com/office/drawing/2014/main" id="{F78B2A70-6623-45DE-9DB0-97C53AEB69A3}"/>
                  </a:ext>
                </a:extLst>
              </p:cNvPr>
              <p:cNvSpPr>
                <a:spLocks noChangeArrowheads="1"/>
              </p:cNvSpPr>
              <p:nvPr/>
            </p:nvSpPr>
            <p:spPr bwMode="auto">
              <a:xfrm>
                <a:off x="268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5" name="Oval 2736">
                <a:extLst>
                  <a:ext uri="{FF2B5EF4-FFF2-40B4-BE49-F238E27FC236}">
                    <a16:creationId xmlns:a16="http://schemas.microsoft.com/office/drawing/2014/main" id="{15DDA695-674E-422D-A6E4-28EBAEC82CF9}"/>
                  </a:ext>
                </a:extLst>
              </p:cNvPr>
              <p:cNvSpPr>
                <a:spLocks noChangeArrowheads="1"/>
              </p:cNvSpPr>
              <p:nvPr/>
            </p:nvSpPr>
            <p:spPr bwMode="auto">
              <a:xfrm>
                <a:off x="253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6" name="Oval 2737">
                <a:extLst>
                  <a:ext uri="{FF2B5EF4-FFF2-40B4-BE49-F238E27FC236}">
                    <a16:creationId xmlns:a16="http://schemas.microsoft.com/office/drawing/2014/main" id="{27203DC8-B0CF-4CA4-A3A6-316E598B7FB3}"/>
                  </a:ext>
                </a:extLst>
              </p:cNvPr>
              <p:cNvSpPr>
                <a:spLocks noChangeArrowheads="1"/>
              </p:cNvSpPr>
              <p:nvPr/>
            </p:nvSpPr>
            <p:spPr bwMode="auto">
              <a:xfrm>
                <a:off x="25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7" name="Oval 2738">
                <a:extLst>
                  <a:ext uri="{FF2B5EF4-FFF2-40B4-BE49-F238E27FC236}">
                    <a16:creationId xmlns:a16="http://schemas.microsoft.com/office/drawing/2014/main" id="{36C7A89D-B1AA-4E7E-B594-EB6E3DD51096}"/>
                  </a:ext>
                </a:extLst>
              </p:cNvPr>
              <p:cNvSpPr>
                <a:spLocks noChangeArrowheads="1"/>
              </p:cNvSpPr>
              <p:nvPr/>
            </p:nvSpPr>
            <p:spPr bwMode="auto">
              <a:xfrm>
                <a:off x="247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8" name="Oval 2739">
                <a:extLst>
                  <a:ext uri="{FF2B5EF4-FFF2-40B4-BE49-F238E27FC236}">
                    <a16:creationId xmlns:a16="http://schemas.microsoft.com/office/drawing/2014/main" id="{E6381F60-1733-4B15-B3D5-9ECA4F9D7D40}"/>
                  </a:ext>
                </a:extLst>
              </p:cNvPr>
              <p:cNvSpPr>
                <a:spLocks noChangeArrowheads="1"/>
              </p:cNvSpPr>
              <p:nvPr/>
            </p:nvSpPr>
            <p:spPr bwMode="auto">
              <a:xfrm>
                <a:off x="250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9" name="Oval 2740">
                <a:extLst>
                  <a:ext uri="{FF2B5EF4-FFF2-40B4-BE49-F238E27FC236}">
                    <a16:creationId xmlns:a16="http://schemas.microsoft.com/office/drawing/2014/main" id="{B70F5C81-60A3-499D-A9E6-9A424ED819B9}"/>
                  </a:ext>
                </a:extLst>
              </p:cNvPr>
              <p:cNvSpPr>
                <a:spLocks noChangeArrowheads="1"/>
              </p:cNvSpPr>
              <p:nvPr/>
            </p:nvSpPr>
            <p:spPr bwMode="auto">
              <a:xfrm>
                <a:off x="232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0" name="Oval 2741">
                <a:extLst>
                  <a:ext uri="{FF2B5EF4-FFF2-40B4-BE49-F238E27FC236}">
                    <a16:creationId xmlns:a16="http://schemas.microsoft.com/office/drawing/2014/main" id="{D5CC6100-2995-417C-877D-714146A1C2A8}"/>
                  </a:ext>
                </a:extLst>
              </p:cNvPr>
              <p:cNvSpPr>
                <a:spLocks noChangeArrowheads="1"/>
              </p:cNvSpPr>
              <p:nvPr/>
            </p:nvSpPr>
            <p:spPr bwMode="auto">
              <a:xfrm>
                <a:off x="232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1" name="Oval 2742">
                <a:extLst>
                  <a:ext uri="{FF2B5EF4-FFF2-40B4-BE49-F238E27FC236}">
                    <a16:creationId xmlns:a16="http://schemas.microsoft.com/office/drawing/2014/main" id="{2FFDF012-3406-4911-B0BE-4548BD3CB3C2}"/>
                  </a:ext>
                </a:extLst>
              </p:cNvPr>
              <p:cNvSpPr>
                <a:spLocks noChangeArrowheads="1"/>
              </p:cNvSpPr>
              <p:nvPr/>
            </p:nvSpPr>
            <p:spPr bwMode="auto">
              <a:xfrm>
                <a:off x="220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2" name="Oval 2743">
                <a:extLst>
                  <a:ext uri="{FF2B5EF4-FFF2-40B4-BE49-F238E27FC236}">
                    <a16:creationId xmlns:a16="http://schemas.microsoft.com/office/drawing/2014/main" id="{1FA881F1-CF07-4959-870C-F46DCEF02473}"/>
                  </a:ext>
                </a:extLst>
              </p:cNvPr>
              <p:cNvSpPr>
                <a:spLocks noChangeArrowheads="1"/>
              </p:cNvSpPr>
              <p:nvPr/>
            </p:nvSpPr>
            <p:spPr bwMode="auto">
              <a:xfrm>
                <a:off x="220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3" name="Oval 2744">
                <a:extLst>
                  <a:ext uri="{FF2B5EF4-FFF2-40B4-BE49-F238E27FC236}">
                    <a16:creationId xmlns:a16="http://schemas.microsoft.com/office/drawing/2014/main" id="{1DC2362E-9449-4EF9-BF3C-B1DADC096EA6}"/>
                  </a:ext>
                </a:extLst>
              </p:cNvPr>
              <p:cNvSpPr>
                <a:spLocks noChangeArrowheads="1"/>
              </p:cNvSpPr>
              <p:nvPr/>
            </p:nvSpPr>
            <p:spPr bwMode="auto">
              <a:xfrm>
                <a:off x="20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4" name="Oval 2745">
                <a:extLst>
                  <a:ext uri="{FF2B5EF4-FFF2-40B4-BE49-F238E27FC236}">
                    <a16:creationId xmlns:a16="http://schemas.microsoft.com/office/drawing/2014/main" id="{77C7F2A2-F9C6-43F7-BDC8-ED996A139F9F}"/>
                  </a:ext>
                </a:extLst>
              </p:cNvPr>
              <p:cNvSpPr>
                <a:spLocks noChangeArrowheads="1"/>
              </p:cNvSpPr>
              <p:nvPr/>
            </p:nvSpPr>
            <p:spPr bwMode="auto">
              <a:xfrm>
                <a:off x="2086" y="9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5" name="Oval 2746">
                <a:extLst>
                  <a:ext uri="{FF2B5EF4-FFF2-40B4-BE49-F238E27FC236}">
                    <a16:creationId xmlns:a16="http://schemas.microsoft.com/office/drawing/2014/main" id="{DF7FEF8A-CB77-46FD-B2D4-65FCEC6F5C9F}"/>
                  </a:ext>
                </a:extLst>
              </p:cNvPr>
              <p:cNvSpPr>
                <a:spLocks noChangeArrowheads="1"/>
              </p:cNvSpPr>
              <p:nvPr/>
            </p:nvSpPr>
            <p:spPr bwMode="auto">
              <a:xfrm>
                <a:off x="1936"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6" name="Oval 2747">
                <a:extLst>
                  <a:ext uri="{FF2B5EF4-FFF2-40B4-BE49-F238E27FC236}">
                    <a16:creationId xmlns:a16="http://schemas.microsoft.com/office/drawing/2014/main" id="{D7ED3D2A-4A25-4D65-A5ED-FA147075C92F}"/>
                  </a:ext>
                </a:extLst>
              </p:cNvPr>
              <p:cNvSpPr>
                <a:spLocks noChangeArrowheads="1"/>
              </p:cNvSpPr>
              <p:nvPr/>
            </p:nvSpPr>
            <p:spPr bwMode="auto">
              <a:xfrm>
                <a:off x="1936"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7" name="Oval 2748">
                <a:extLst>
                  <a:ext uri="{FF2B5EF4-FFF2-40B4-BE49-F238E27FC236}">
                    <a16:creationId xmlns:a16="http://schemas.microsoft.com/office/drawing/2014/main" id="{A2D4E703-D0D2-49D4-932A-A2321A92AF6C}"/>
                  </a:ext>
                </a:extLst>
              </p:cNvPr>
              <p:cNvSpPr>
                <a:spLocks noChangeArrowheads="1"/>
              </p:cNvSpPr>
              <p:nvPr/>
            </p:nvSpPr>
            <p:spPr bwMode="auto">
              <a:xfrm>
                <a:off x="193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8" name="Oval 2749">
                <a:extLst>
                  <a:ext uri="{FF2B5EF4-FFF2-40B4-BE49-F238E27FC236}">
                    <a16:creationId xmlns:a16="http://schemas.microsoft.com/office/drawing/2014/main" id="{0EAF9B70-4944-4095-AAD0-9930F17E249B}"/>
                  </a:ext>
                </a:extLst>
              </p:cNvPr>
              <p:cNvSpPr>
                <a:spLocks noChangeArrowheads="1"/>
              </p:cNvSpPr>
              <p:nvPr/>
            </p:nvSpPr>
            <p:spPr bwMode="auto">
              <a:xfrm>
                <a:off x="1876"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9" name="Oval 2750">
                <a:extLst>
                  <a:ext uri="{FF2B5EF4-FFF2-40B4-BE49-F238E27FC236}">
                    <a16:creationId xmlns:a16="http://schemas.microsoft.com/office/drawing/2014/main" id="{BD35651E-FE39-48E1-91D1-A6A49057E07A}"/>
                  </a:ext>
                </a:extLst>
              </p:cNvPr>
              <p:cNvSpPr>
                <a:spLocks noChangeArrowheads="1"/>
              </p:cNvSpPr>
              <p:nvPr/>
            </p:nvSpPr>
            <p:spPr bwMode="auto">
              <a:xfrm>
                <a:off x="2056" y="4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0" name="Oval 2751">
                <a:extLst>
                  <a:ext uri="{FF2B5EF4-FFF2-40B4-BE49-F238E27FC236}">
                    <a16:creationId xmlns:a16="http://schemas.microsoft.com/office/drawing/2014/main" id="{58F36CD8-6BF1-4A74-9A7C-BC2D0117D507}"/>
                  </a:ext>
                </a:extLst>
              </p:cNvPr>
              <p:cNvSpPr>
                <a:spLocks noChangeArrowheads="1"/>
              </p:cNvSpPr>
              <p:nvPr/>
            </p:nvSpPr>
            <p:spPr bwMode="auto">
              <a:xfrm>
                <a:off x="2086" y="3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1" name="Oval 2752">
                <a:extLst>
                  <a:ext uri="{FF2B5EF4-FFF2-40B4-BE49-F238E27FC236}">
                    <a16:creationId xmlns:a16="http://schemas.microsoft.com/office/drawing/2014/main" id="{DB36E47A-619D-4AEF-A240-FC7E148D9410}"/>
                  </a:ext>
                </a:extLst>
              </p:cNvPr>
              <p:cNvSpPr>
                <a:spLocks noChangeArrowheads="1"/>
              </p:cNvSpPr>
              <p:nvPr/>
            </p:nvSpPr>
            <p:spPr bwMode="auto">
              <a:xfrm>
                <a:off x="193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2" name="Oval 2753">
                <a:extLst>
                  <a:ext uri="{FF2B5EF4-FFF2-40B4-BE49-F238E27FC236}">
                    <a16:creationId xmlns:a16="http://schemas.microsoft.com/office/drawing/2014/main" id="{719508C5-6217-4140-8EC2-BCC478C02994}"/>
                  </a:ext>
                </a:extLst>
              </p:cNvPr>
              <p:cNvSpPr>
                <a:spLocks noChangeArrowheads="1"/>
              </p:cNvSpPr>
              <p:nvPr/>
            </p:nvSpPr>
            <p:spPr bwMode="auto">
              <a:xfrm>
                <a:off x="2026"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3" name="Oval 2754">
                <a:extLst>
                  <a:ext uri="{FF2B5EF4-FFF2-40B4-BE49-F238E27FC236}">
                    <a16:creationId xmlns:a16="http://schemas.microsoft.com/office/drawing/2014/main" id="{3A81F447-59C0-48AC-9391-CF06738C6364}"/>
                  </a:ext>
                </a:extLst>
              </p:cNvPr>
              <p:cNvSpPr>
                <a:spLocks noChangeArrowheads="1"/>
              </p:cNvSpPr>
              <p:nvPr/>
            </p:nvSpPr>
            <p:spPr bwMode="auto">
              <a:xfrm>
                <a:off x="2086" y="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4" name="Oval 2755">
                <a:extLst>
                  <a:ext uri="{FF2B5EF4-FFF2-40B4-BE49-F238E27FC236}">
                    <a16:creationId xmlns:a16="http://schemas.microsoft.com/office/drawing/2014/main" id="{B9CE08D1-F020-45BF-9639-5863AE2D8CEE}"/>
                  </a:ext>
                </a:extLst>
              </p:cNvPr>
              <p:cNvSpPr>
                <a:spLocks noChangeArrowheads="1"/>
              </p:cNvSpPr>
              <p:nvPr/>
            </p:nvSpPr>
            <p:spPr bwMode="auto">
              <a:xfrm>
                <a:off x="193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5" name="Oval 2756">
                <a:extLst>
                  <a:ext uri="{FF2B5EF4-FFF2-40B4-BE49-F238E27FC236}">
                    <a16:creationId xmlns:a16="http://schemas.microsoft.com/office/drawing/2014/main" id="{82540445-E8C2-4A67-B3AA-AB23646F5908}"/>
                  </a:ext>
                </a:extLst>
              </p:cNvPr>
              <p:cNvSpPr>
                <a:spLocks noChangeArrowheads="1"/>
              </p:cNvSpPr>
              <p:nvPr/>
            </p:nvSpPr>
            <p:spPr bwMode="auto">
              <a:xfrm>
                <a:off x="172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6" name="Oval 2757">
                <a:extLst>
                  <a:ext uri="{FF2B5EF4-FFF2-40B4-BE49-F238E27FC236}">
                    <a16:creationId xmlns:a16="http://schemas.microsoft.com/office/drawing/2014/main" id="{9F5040B6-E0C2-490C-B277-0225B4F9D895}"/>
                  </a:ext>
                </a:extLst>
              </p:cNvPr>
              <p:cNvSpPr>
                <a:spLocks noChangeArrowheads="1"/>
              </p:cNvSpPr>
              <p:nvPr/>
            </p:nvSpPr>
            <p:spPr bwMode="auto">
              <a:xfrm>
                <a:off x="157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7" name="Oval 2758">
                <a:extLst>
                  <a:ext uri="{FF2B5EF4-FFF2-40B4-BE49-F238E27FC236}">
                    <a16:creationId xmlns:a16="http://schemas.microsoft.com/office/drawing/2014/main" id="{6ABFE0C1-04D6-41D5-A6E5-5D18F154E65F}"/>
                  </a:ext>
                </a:extLst>
              </p:cNvPr>
              <p:cNvSpPr>
                <a:spLocks noChangeArrowheads="1"/>
              </p:cNvSpPr>
              <p:nvPr/>
            </p:nvSpPr>
            <p:spPr bwMode="auto">
              <a:xfrm>
                <a:off x="154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8" name="Oval 2759">
                <a:extLst>
                  <a:ext uri="{FF2B5EF4-FFF2-40B4-BE49-F238E27FC236}">
                    <a16:creationId xmlns:a16="http://schemas.microsoft.com/office/drawing/2014/main" id="{02870501-DB17-43B2-A6F8-3CFFE46D6BD8}"/>
                  </a:ext>
                </a:extLst>
              </p:cNvPr>
              <p:cNvSpPr>
                <a:spLocks noChangeArrowheads="1"/>
              </p:cNvSpPr>
              <p:nvPr/>
            </p:nvSpPr>
            <p:spPr bwMode="auto">
              <a:xfrm>
                <a:off x="142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9" name="Oval 2760">
                <a:extLst>
                  <a:ext uri="{FF2B5EF4-FFF2-40B4-BE49-F238E27FC236}">
                    <a16:creationId xmlns:a16="http://schemas.microsoft.com/office/drawing/2014/main" id="{912685B5-FFDE-4D58-884B-425D861703D9}"/>
                  </a:ext>
                </a:extLst>
              </p:cNvPr>
              <p:cNvSpPr>
                <a:spLocks noChangeArrowheads="1"/>
              </p:cNvSpPr>
              <p:nvPr/>
            </p:nvSpPr>
            <p:spPr bwMode="auto">
              <a:xfrm>
                <a:off x="130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0" name="Oval 2761">
                <a:extLst>
                  <a:ext uri="{FF2B5EF4-FFF2-40B4-BE49-F238E27FC236}">
                    <a16:creationId xmlns:a16="http://schemas.microsoft.com/office/drawing/2014/main" id="{5863C8D6-6DDE-4FE3-8861-86BC6206D123}"/>
                  </a:ext>
                </a:extLst>
              </p:cNvPr>
              <p:cNvSpPr>
                <a:spLocks noChangeArrowheads="1"/>
              </p:cNvSpPr>
              <p:nvPr/>
            </p:nvSpPr>
            <p:spPr bwMode="auto">
              <a:xfrm>
                <a:off x="1246"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1" name="Oval 2762">
                <a:extLst>
                  <a:ext uri="{FF2B5EF4-FFF2-40B4-BE49-F238E27FC236}">
                    <a16:creationId xmlns:a16="http://schemas.microsoft.com/office/drawing/2014/main" id="{40512555-56B5-4A08-8683-A05880DBAF48}"/>
                  </a:ext>
                </a:extLst>
              </p:cNvPr>
              <p:cNvSpPr>
                <a:spLocks noChangeArrowheads="1"/>
              </p:cNvSpPr>
              <p:nvPr/>
            </p:nvSpPr>
            <p:spPr bwMode="auto">
              <a:xfrm>
                <a:off x="139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2" name="Oval 2763">
                <a:extLst>
                  <a:ext uri="{FF2B5EF4-FFF2-40B4-BE49-F238E27FC236}">
                    <a16:creationId xmlns:a16="http://schemas.microsoft.com/office/drawing/2014/main" id="{97833DF6-C0FE-4C31-B5C8-901FEA127F90}"/>
                  </a:ext>
                </a:extLst>
              </p:cNvPr>
              <p:cNvSpPr>
                <a:spLocks noChangeArrowheads="1"/>
              </p:cNvSpPr>
              <p:nvPr/>
            </p:nvSpPr>
            <p:spPr bwMode="auto">
              <a:xfrm>
                <a:off x="172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3" name="Oval 2764">
                <a:extLst>
                  <a:ext uri="{FF2B5EF4-FFF2-40B4-BE49-F238E27FC236}">
                    <a16:creationId xmlns:a16="http://schemas.microsoft.com/office/drawing/2014/main" id="{E69E4B9A-AB41-4890-B9E9-262FDD3B1E2E}"/>
                  </a:ext>
                </a:extLst>
              </p:cNvPr>
              <p:cNvSpPr>
                <a:spLocks noChangeArrowheads="1"/>
              </p:cNvSpPr>
              <p:nvPr/>
            </p:nvSpPr>
            <p:spPr bwMode="auto">
              <a:xfrm>
                <a:off x="169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4" name="Oval 2765">
                <a:extLst>
                  <a:ext uri="{FF2B5EF4-FFF2-40B4-BE49-F238E27FC236}">
                    <a16:creationId xmlns:a16="http://schemas.microsoft.com/office/drawing/2014/main" id="{9BDE69D0-11AD-4394-8CC9-D7B93FA5B08D}"/>
                  </a:ext>
                </a:extLst>
              </p:cNvPr>
              <p:cNvSpPr>
                <a:spLocks noChangeArrowheads="1"/>
              </p:cNvSpPr>
              <p:nvPr/>
            </p:nvSpPr>
            <p:spPr bwMode="auto">
              <a:xfrm>
                <a:off x="1696"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5" name="Oval 2766">
                <a:extLst>
                  <a:ext uri="{FF2B5EF4-FFF2-40B4-BE49-F238E27FC236}">
                    <a16:creationId xmlns:a16="http://schemas.microsoft.com/office/drawing/2014/main" id="{0B4894D1-44AE-4D8C-A8EA-0EBDF893F025}"/>
                  </a:ext>
                </a:extLst>
              </p:cNvPr>
              <p:cNvSpPr>
                <a:spLocks noChangeArrowheads="1"/>
              </p:cNvSpPr>
              <p:nvPr/>
            </p:nvSpPr>
            <p:spPr bwMode="auto">
              <a:xfrm>
                <a:off x="151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6" name="Oval 2767">
                <a:extLst>
                  <a:ext uri="{FF2B5EF4-FFF2-40B4-BE49-F238E27FC236}">
                    <a16:creationId xmlns:a16="http://schemas.microsoft.com/office/drawing/2014/main" id="{8B4B5DAB-AC5E-45C2-BB66-BF8C5CCFF9C0}"/>
                  </a:ext>
                </a:extLst>
              </p:cNvPr>
              <p:cNvSpPr>
                <a:spLocks noChangeArrowheads="1"/>
              </p:cNvSpPr>
              <p:nvPr/>
            </p:nvSpPr>
            <p:spPr bwMode="auto">
              <a:xfrm>
                <a:off x="1576"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7" name="Oval 2768">
                <a:extLst>
                  <a:ext uri="{FF2B5EF4-FFF2-40B4-BE49-F238E27FC236}">
                    <a16:creationId xmlns:a16="http://schemas.microsoft.com/office/drawing/2014/main" id="{65C7D03B-02BD-4E06-A84F-2602A9627F22}"/>
                  </a:ext>
                </a:extLst>
              </p:cNvPr>
              <p:cNvSpPr>
                <a:spLocks noChangeArrowheads="1"/>
              </p:cNvSpPr>
              <p:nvPr/>
            </p:nvSpPr>
            <p:spPr bwMode="auto">
              <a:xfrm>
                <a:off x="154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8" name="Oval 2769">
                <a:extLst>
                  <a:ext uri="{FF2B5EF4-FFF2-40B4-BE49-F238E27FC236}">
                    <a16:creationId xmlns:a16="http://schemas.microsoft.com/office/drawing/2014/main" id="{6090F53A-193C-4C8A-AC6A-7EEF0FDAF7EC}"/>
                  </a:ext>
                </a:extLst>
              </p:cNvPr>
              <p:cNvSpPr>
                <a:spLocks noChangeArrowheads="1"/>
              </p:cNvSpPr>
              <p:nvPr/>
            </p:nvSpPr>
            <p:spPr bwMode="auto">
              <a:xfrm>
                <a:off x="163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9" name="Oval 2770">
                <a:extLst>
                  <a:ext uri="{FF2B5EF4-FFF2-40B4-BE49-F238E27FC236}">
                    <a16:creationId xmlns:a16="http://schemas.microsoft.com/office/drawing/2014/main" id="{6D500774-1732-4CCC-A0D6-D1C8133404AB}"/>
                  </a:ext>
                </a:extLst>
              </p:cNvPr>
              <p:cNvSpPr>
                <a:spLocks noChangeArrowheads="1"/>
              </p:cNvSpPr>
              <p:nvPr/>
            </p:nvSpPr>
            <p:spPr bwMode="auto">
              <a:xfrm>
                <a:off x="1546"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0" name="Oval 2771">
                <a:extLst>
                  <a:ext uri="{FF2B5EF4-FFF2-40B4-BE49-F238E27FC236}">
                    <a16:creationId xmlns:a16="http://schemas.microsoft.com/office/drawing/2014/main" id="{8861DBC2-B804-4CB3-87B6-5FE35EB3BA9D}"/>
                  </a:ext>
                </a:extLst>
              </p:cNvPr>
              <p:cNvSpPr>
                <a:spLocks noChangeArrowheads="1"/>
              </p:cNvSpPr>
              <p:nvPr/>
            </p:nvSpPr>
            <p:spPr bwMode="auto">
              <a:xfrm>
                <a:off x="160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1" name="Oval 2772">
                <a:extLst>
                  <a:ext uri="{FF2B5EF4-FFF2-40B4-BE49-F238E27FC236}">
                    <a16:creationId xmlns:a16="http://schemas.microsoft.com/office/drawing/2014/main" id="{B729328C-81BB-45E9-8100-C5D632B2A525}"/>
                  </a:ext>
                </a:extLst>
              </p:cNvPr>
              <p:cNvSpPr>
                <a:spLocks noChangeArrowheads="1"/>
              </p:cNvSpPr>
              <p:nvPr/>
            </p:nvSpPr>
            <p:spPr bwMode="auto">
              <a:xfrm>
                <a:off x="17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2" name="Oval 2773">
                <a:extLst>
                  <a:ext uri="{FF2B5EF4-FFF2-40B4-BE49-F238E27FC236}">
                    <a16:creationId xmlns:a16="http://schemas.microsoft.com/office/drawing/2014/main" id="{AF095C27-BC4A-49C9-A843-1B68D1108588}"/>
                  </a:ext>
                </a:extLst>
              </p:cNvPr>
              <p:cNvSpPr>
                <a:spLocks noChangeArrowheads="1"/>
              </p:cNvSpPr>
              <p:nvPr/>
            </p:nvSpPr>
            <p:spPr bwMode="auto">
              <a:xfrm>
                <a:off x="1756"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3" name="Oval 2774">
                <a:extLst>
                  <a:ext uri="{FF2B5EF4-FFF2-40B4-BE49-F238E27FC236}">
                    <a16:creationId xmlns:a16="http://schemas.microsoft.com/office/drawing/2014/main" id="{1A713BC6-BEE5-4DB2-A4A4-48B4AE02BF5B}"/>
                  </a:ext>
                </a:extLst>
              </p:cNvPr>
              <p:cNvSpPr>
                <a:spLocks noChangeArrowheads="1"/>
              </p:cNvSpPr>
              <p:nvPr/>
            </p:nvSpPr>
            <p:spPr bwMode="auto">
              <a:xfrm>
                <a:off x="1756"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4" name="Oval 2775">
                <a:extLst>
                  <a:ext uri="{FF2B5EF4-FFF2-40B4-BE49-F238E27FC236}">
                    <a16:creationId xmlns:a16="http://schemas.microsoft.com/office/drawing/2014/main" id="{199AD3CF-A0EF-46A3-BAC0-B80DCB72BF60}"/>
                  </a:ext>
                </a:extLst>
              </p:cNvPr>
              <p:cNvSpPr>
                <a:spLocks noChangeArrowheads="1"/>
              </p:cNvSpPr>
              <p:nvPr/>
            </p:nvSpPr>
            <p:spPr bwMode="auto">
              <a:xfrm>
                <a:off x="184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5" name="Oval 2776">
                <a:extLst>
                  <a:ext uri="{FF2B5EF4-FFF2-40B4-BE49-F238E27FC236}">
                    <a16:creationId xmlns:a16="http://schemas.microsoft.com/office/drawing/2014/main" id="{7A3BCF48-57DC-4112-99BB-AEBAD3E5B60D}"/>
                  </a:ext>
                </a:extLst>
              </p:cNvPr>
              <p:cNvSpPr>
                <a:spLocks noChangeArrowheads="1"/>
              </p:cNvSpPr>
              <p:nvPr/>
            </p:nvSpPr>
            <p:spPr bwMode="auto">
              <a:xfrm>
                <a:off x="1726"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6" name="Oval 2777">
                <a:extLst>
                  <a:ext uri="{FF2B5EF4-FFF2-40B4-BE49-F238E27FC236}">
                    <a16:creationId xmlns:a16="http://schemas.microsoft.com/office/drawing/2014/main" id="{4836BA17-0FA5-468C-80CC-5C034165F134}"/>
                  </a:ext>
                </a:extLst>
              </p:cNvPr>
              <p:cNvSpPr>
                <a:spLocks noChangeArrowheads="1"/>
              </p:cNvSpPr>
              <p:nvPr/>
            </p:nvSpPr>
            <p:spPr bwMode="auto">
              <a:xfrm>
                <a:off x="163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7" name="Oval 2778">
                <a:extLst>
                  <a:ext uri="{FF2B5EF4-FFF2-40B4-BE49-F238E27FC236}">
                    <a16:creationId xmlns:a16="http://schemas.microsoft.com/office/drawing/2014/main" id="{463DEA05-6CA1-4BC6-B0D9-78B75DBB5A6F}"/>
                  </a:ext>
                </a:extLst>
              </p:cNvPr>
              <p:cNvSpPr>
                <a:spLocks noChangeArrowheads="1"/>
              </p:cNvSpPr>
              <p:nvPr/>
            </p:nvSpPr>
            <p:spPr bwMode="auto">
              <a:xfrm>
                <a:off x="148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8" name="Oval 2779">
                <a:extLst>
                  <a:ext uri="{FF2B5EF4-FFF2-40B4-BE49-F238E27FC236}">
                    <a16:creationId xmlns:a16="http://schemas.microsoft.com/office/drawing/2014/main" id="{F71D3D8B-70F3-47F9-A79F-96B559C2A3F2}"/>
                  </a:ext>
                </a:extLst>
              </p:cNvPr>
              <p:cNvSpPr>
                <a:spLocks noChangeArrowheads="1"/>
              </p:cNvSpPr>
              <p:nvPr/>
            </p:nvSpPr>
            <p:spPr bwMode="auto">
              <a:xfrm>
                <a:off x="124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9" name="Oval 2780">
                <a:extLst>
                  <a:ext uri="{FF2B5EF4-FFF2-40B4-BE49-F238E27FC236}">
                    <a16:creationId xmlns:a16="http://schemas.microsoft.com/office/drawing/2014/main" id="{ACD82AB5-D857-4721-8DE7-9146EE80D37A}"/>
                  </a:ext>
                </a:extLst>
              </p:cNvPr>
              <p:cNvSpPr>
                <a:spLocks noChangeArrowheads="1"/>
              </p:cNvSpPr>
              <p:nvPr/>
            </p:nvSpPr>
            <p:spPr bwMode="auto">
              <a:xfrm>
                <a:off x="1306"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0" name="Oval 2781">
                <a:extLst>
                  <a:ext uri="{FF2B5EF4-FFF2-40B4-BE49-F238E27FC236}">
                    <a16:creationId xmlns:a16="http://schemas.microsoft.com/office/drawing/2014/main" id="{0924A134-A917-465F-9CB8-5AB4E6B73848}"/>
                  </a:ext>
                </a:extLst>
              </p:cNvPr>
              <p:cNvSpPr>
                <a:spLocks noChangeArrowheads="1"/>
              </p:cNvSpPr>
              <p:nvPr/>
            </p:nvSpPr>
            <p:spPr bwMode="auto">
              <a:xfrm>
                <a:off x="14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95" name="Group 2983">
              <a:extLst>
                <a:ext uri="{FF2B5EF4-FFF2-40B4-BE49-F238E27FC236}">
                  <a16:creationId xmlns:a16="http://schemas.microsoft.com/office/drawing/2014/main" id="{3B162C26-A2B1-42F7-A556-453EA007C55E}"/>
                </a:ext>
              </a:extLst>
            </p:cNvPr>
            <p:cNvGrpSpPr>
              <a:grpSpLocks/>
            </p:cNvGrpSpPr>
            <p:nvPr/>
          </p:nvGrpSpPr>
          <p:grpSpPr bwMode="auto">
            <a:xfrm>
              <a:off x="1246" y="120"/>
              <a:ext cx="1979" cy="3120"/>
              <a:chOff x="1246" y="120"/>
              <a:chExt cx="1979" cy="3120"/>
            </a:xfrm>
          </p:grpSpPr>
          <p:sp>
            <p:nvSpPr>
              <p:cNvPr id="381" name="Oval 2783">
                <a:extLst>
                  <a:ext uri="{FF2B5EF4-FFF2-40B4-BE49-F238E27FC236}">
                    <a16:creationId xmlns:a16="http://schemas.microsoft.com/office/drawing/2014/main" id="{9B2D0BD2-563E-47FC-BCDF-6997C8A99624}"/>
                  </a:ext>
                </a:extLst>
              </p:cNvPr>
              <p:cNvSpPr>
                <a:spLocks noChangeArrowheads="1"/>
              </p:cNvSpPr>
              <p:nvPr/>
            </p:nvSpPr>
            <p:spPr bwMode="auto">
              <a:xfrm>
                <a:off x="142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2" name="Oval 2784">
                <a:extLst>
                  <a:ext uri="{FF2B5EF4-FFF2-40B4-BE49-F238E27FC236}">
                    <a16:creationId xmlns:a16="http://schemas.microsoft.com/office/drawing/2014/main" id="{D394D316-3642-46B8-BD99-683B7C162099}"/>
                  </a:ext>
                </a:extLst>
              </p:cNvPr>
              <p:cNvSpPr>
                <a:spLocks noChangeArrowheads="1"/>
              </p:cNvSpPr>
              <p:nvPr/>
            </p:nvSpPr>
            <p:spPr bwMode="auto">
              <a:xfrm>
                <a:off x="1396"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3" name="Oval 2785">
                <a:extLst>
                  <a:ext uri="{FF2B5EF4-FFF2-40B4-BE49-F238E27FC236}">
                    <a16:creationId xmlns:a16="http://schemas.microsoft.com/office/drawing/2014/main" id="{5510A7B1-4E80-4C36-A4A7-4AAF88A92723}"/>
                  </a:ext>
                </a:extLst>
              </p:cNvPr>
              <p:cNvSpPr>
                <a:spLocks noChangeArrowheads="1"/>
              </p:cNvSpPr>
              <p:nvPr/>
            </p:nvSpPr>
            <p:spPr bwMode="auto">
              <a:xfrm>
                <a:off x="145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4" name="Oval 2786">
                <a:extLst>
                  <a:ext uri="{FF2B5EF4-FFF2-40B4-BE49-F238E27FC236}">
                    <a16:creationId xmlns:a16="http://schemas.microsoft.com/office/drawing/2014/main" id="{E57D1510-C0D4-4B10-A903-D98C869BD6A7}"/>
                  </a:ext>
                </a:extLst>
              </p:cNvPr>
              <p:cNvSpPr>
                <a:spLocks noChangeArrowheads="1"/>
              </p:cNvSpPr>
              <p:nvPr/>
            </p:nvSpPr>
            <p:spPr bwMode="auto">
              <a:xfrm>
                <a:off x="1366"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5" name="Oval 2787">
                <a:extLst>
                  <a:ext uri="{FF2B5EF4-FFF2-40B4-BE49-F238E27FC236}">
                    <a16:creationId xmlns:a16="http://schemas.microsoft.com/office/drawing/2014/main" id="{A53BFF7B-6F4E-4CB4-8A23-6C375E6A1465}"/>
                  </a:ext>
                </a:extLst>
              </p:cNvPr>
              <p:cNvSpPr>
                <a:spLocks noChangeArrowheads="1"/>
              </p:cNvSpPr>
              <p:nvPr/>
            </p:nvSpPr>
            <p:spPr bwMode="auto">
              <a:xfrm>
                <a:off x="127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6" name="Oval 2788">
                <a:extLst>
                  <a:ext uri="{FF2B5EF4-FFF2-40B4-BE49-F238E27FC236}">
                    <a16:creationId xmlns:a16="http://schemas.microsoft.com/office/drawing/2014/main" id="{B8296BCC-77A9-4262-AA91-957440472A39}"/>
                  </a:ext>
                </a:extLst>
              </p:cNvPr>
              <p:cNvSpPr>
                <a:spLocks noChangeArrowheads="1"/>
              </p:cNvSpPr>
              <p:nvPr/>
            </p:nvSpPr>
            <p:spPr bwMode="auto">
              <a:xfrm>
                <a:off x="1306"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7" name="Oval 2789">
                <a:extLst>
                  <a:ext uri="{FF2B5EF4-FFF2-40B4-BE49-F238E27FC236}">
                    <a16:creationId xmlns:a16="http://schemas.microsoft.com/office/drawing/2014/main" id="{9A71152F-5094-4892-A8B5-69727C906131}"/>
                  </a:ext>
                </a:extLst>
              </p:cNvPr>
              <p:cNvSpPr>
                <a:spLocks noChangeArrowheads="1"/>
              </p:cNvSpPr>
              <p:nvPr/>
            </p:nvSpPr>
            <p:spPr bwMode="auto">
              <a:xfrm>
                <a:off x="1276"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8" name="Oval 2790">
                <a:extLst>
                  <a:ext uri="{FF2B5EF4-FFF2-40B4-BE49-F238E27FC236}">
                    <a16:creationId xmlns:a16="http://schemas.microsoft.com/office/drawing/2014/main" id="{BA1BFD9A-62E6-473C-972D-7C6F4D434E0F}"/>
                  </a:ext>
                </a:extLst>
              </p:cNvPr>
              <p:cNvSpPr>
                <a:spLocks noChangeArrowheads="1"/>
              </p:cNvSpPr>
              <p:nvPr/>
            </p:nvSpPr>
            <p:spPr bwMode="auto">
              <a:xfrm>
                <a:off x="124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9" name="Oval 2791">
                <a:extLst>
                  <a:ext uri="{FF2B5EF4-FFF2-40B4-BE49-F238E27FC236}">
                    <a16:creationId xmlns:a16="http://schemas.microsoft.com/office/drawing/2014/main" id="{7A627B72-F3C1-40A7-90C3-B7506B73D94C}"/>
                  </a:ext>
                </a:extLst>
              </p:cNvPr>
              <p:cNvSpPr>
                <a:spLocks noChangeArrowheads="1"/>
              </p:cNvSpPr>
              <p:nvPr/>
            </p:nvSpPr>
            <p:spPr bwMode="auto">
              <a:xfrm>
                <a:off x="1306"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0" name="Oval 2792">
                <a:extLst>
                  <a:ext uri="{FF2B5EF4-FFF2-40B4-BE49-F238E27FC236}">
                    <a16:creationId xmlns:a16="http://schemas.microsoft.com/office/drawing/2014/main" id="{7C8ECD28-448B-4497-9EB5-8B532C876F32}"/>
                  </a:ext>
                </a:extLst>
              </p:cNvPr>
              <p:cNvSpPr>
                <a:spLocks noChangeArrowheads="1"/>
              </p:cNvSpPr>
              <p:nvPr/>
            </p:nvSpPr>
            <p:spPr bwMode="auto">
              <a:xfrm>
                <a:off x="1576"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1" name="Oval 2793">
                <a:extLst>
                  <a:ext uri="{FF2B5EF4-FFF2-40B4-BE49-F238E27FC236}">
                    <a16:creationId xmlns:a16="http://schemas.microsoft.com/office/drawing/2014/main" id="{EE2DF731-B5A4-486A-BE3F-20B792AF6BAD}"/>
                  </a:ext>
                </a:extLst>
              </p:cNvPr>
              <p:cNvSpPr>
                <a:spLocks noChangeArrowheads="1"/>
              </p:cNvSpPr>
              <p:nvPr/>
            </p:nvSpPr>
            <p:spPr bwMode="auto">
              <a:xfrm>
                <a:off x="16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2" name="Oval 2794">
                <a:extLst>
                  <a:ext uri="{FF2B5EF4-FFF2-40B4-BE49-F238E27FC236}">
                    <a16:creationId xmlns:a16="http://schemas.microsoft.com/office/drawing/2014/main" id="{1CCC36DD-5BAA-40BC-810E-7F2480058B54}"/>
                  </a:ext>
                </a:extLst>
              </p:cNvPr>
              <p:cNvSpPr>
                <a:spLocks noChangeArrowheads="1"/>
              </p:cNvSpPr>
              <p:nvPr/>
            </p:nvSpPr>
            <p:spPr bwMode="auto">
              <a:xfrm>
                <a:off x="1756"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3" name="Oval 2795">
                <a:extLst>
                  <a:ext uri="{FF2B5EF4-FFF2-40B4-BE49-F238E27FC236}">
                    <a16:creationId xmlns:a16="http://schemas.microsoft.com/office/drawing/2014/main" id="{3FE20FFF-E3C5-4B2A-8E7D-8AF976C18683}"/>
                  </a:ext>
                </a:extLst>
              </p:cNvPr>
              <p:cNvSpPr>
                <a:spLocks noChangeArrowheads="1"/>
              </p:cNvSpPr>
              <p:nvPr/>
            </p:nvSpPr>
            <p:spPr bwMode="auto">
              <a:xfrm>
                <a:off x="172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4" name="Oval 2796">
                <a:extLst>
                  <a:ext uri="{FF2B5EF4-FFF2-40B4-BE49-F238E27FC236}">
                    <a16:creationId xmlns:a16="http://schemas.microsoft.com/office/drawing/2014/main" id="{7C26E0AA-1ACF-4B35-AA27-C66ECBC850D8}"/>
                  </a:ext>
                </a:extLst>
              </p:cNvPr>
              <p:cNvSpPr>
                <a:spLocks noChangeArrowheads="1"/>
              </p:cNvSpPr>
              <p:nvPr/>
            </p:nvSpPr>
            <p:spPr bwMode="auto">
              <a:xfrm>
                <a:off x="1726"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5" name="Oval 2797">
                <a:extLst>
                  <a:ext uri="{FF2B5EF4-FFF2-40B4-BE49-F238E27FC236}">
                    <a16:creationId xmlns:a16="http://schemas.microsoft.com/office/drawing/2014/main" id="{7FFB72A4-CFF1-44F9-BD73-6F5874F52CBA}"/>
                  </a:ext>
                </a:extLst>
              </p:cNvPr>
              <p:cNvSpPr>
                <a:spLocks noChangeArrowheads="1"/>
              </p:cNvSpPr>
              <p:nvPr/>
            </p:nvSpPr>
            <p:spPr bwMode="auto">
              <a:xfrm>
                <a:off x="163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6" name="Oval 2798">
                <a:extLst>
                  <a:ext uri="{FF2B5EF4-FFF2-40B4-BE49-F238E27FC236}">
                    <a16:creationId xmlns:a16="http://schemas.microsoft.com/office/drawing/2014/main" id="{987AFAA3-A6F5-4A5B-AD76-A5756B5E1A4B}"/>
                  </a:ext>
                </a:extLst>
              </p:cNvPr>
              <p:cNvSpPr>
                <a:spLocks noChangeArrowheads="1"/>
              </p:cNvSpPr>
              <p:nvPr/>
            </p:nvSpPr>
            <p:spPr bwMode="auto">
              <a:xfrm>
                <a:off x="16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7" name="Oval 2799">
                <a:extLst>
                  <a:ext uri="{FF2B5EF4-FFF2-40B4-BE49-F238E27FC236}">
                    <a16:creationId xmlns:a16="http://schemas.microsoft.com/office/drawing/2014/main" id="{9DECB0EA-E2F2-4CD6-9F25-360BA36F69C5}"/>
                  </a:ext>
                </a:extLst>
              </p:cNvPr>
              <p:cNvSpPr>
                <a:spLocks noChangeArrowheads="1"/>
              </p:cNvSpPr>
              <p:nvPr/>
            </p:nvSpPr>
            <p:spPr bwMode="auto">
              <a:xfrm>
                <a:off x="175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8" name="Oval 2800">
                <a:extLst>
                  <a:ext uri="{FF2B5EF4-FFF2-40B4-BE49-F238E27FC236}">
                    <a16:creationId xmlns:a16="http://schemas.microsoft.com/office/drawing/2014/main" id="{58A8C258-BB72-45A4-B2DE-5C0259009D11}"/>
                  </a:ext>
                </a:extLst>
              </p:cNvPr>
              <p:cNvSpPr>
                <a:spLocks noChangeArrowheads="1"/>
              </p:cNvSpPr>
              <p:nvPr/>
            </p:nvSpPr>
            <p:spPr bwMode="auto">
              <a:xfrm>
                <a:off x="154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9" name="Oval 2801">
                <a:extLst>
                  <a:ext uri="{FF2B5EF4-FFF2-40B4-BE49-F238E27FC236}">
                    <a16:creationId xmlns:a16="http://schemas.microsoft.com/office/drawing/2014/main" id="{C382C34E-1A9D-42DA-A3C2-6285A28D8786}"/>
                  </a:ext>
                </a:extLst>
              </p:cNvPr>
              <p:cNvSpPr>
                <a:spLocks noChangeArrowheads="1"/>
              </p:cNvSpPr>
              <p:nvPr/>
            </p:nvSpPr>
            <p:spPr bwMode="auto">
              <a:xfrm>
                <a:off x="15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0" name="Oval 2802">
                <a:extLst>
                  <a:ext uri="{FF2B5EF4-FFF2-40B4-BE49-F238E27FC236}">
                    <a16:creationId xmlns:a16="http://schemas.microsoft.com/office/drawing/2014/main" id="{97D1CAE5-BC0B-41EB-9734-F330C6E31D5D}"/>
                  </a:ext>
                </a:extLst>
              </p:cNvPr>
              <p:cNvSpPr>
                <a:spLocks noChangeArrowheads="1"/>
              </p:cNvSpPr>
              <p:nvPr/>
            </p:nvSpPr>
            <p:spPr bwMode="auto">
              <a:xfrm>
                <a:off x="160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1" name="Oval 2803">
                <a:extLst>
                  <a:ext uri="{FF2B5EF4-FFF2-40B4-BE49-F238E27FC236}">
                    <a16:creationId xmlns:a16="http://schemas.microsoft.com/office/drawing/2014/main" id="{82EF8F5D-11DC-43D6-B6A7-017F8346C8D1}"/>
                  </a:ext>
                </a:extLst>
              </p:cNvPr>
              <p:cNvSpPr>
                <a:spLocks noChangeArrowheads="1"/>
              </p:cNvSpPr>
              <p:nvPr/>
            </p:nvSpPr>
            <p:spPr bwMode="auto">
              <a:xfrm>
                <a:off x="1666"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2" name="Oval 2804">
                <a:extLst>
                  <a:ext uri="{FF2B5EF4-FFF2-40B4-BE49-F238E27FC236}">
                    <a16:creationId xmlns:a16="http://schemas.microsoft.com/office/drawing/2014/main" id="{2F0E115D-73B2-47AB-80A4-94BE607AB08D}"/>
                  </a:ext>
                </a:extLst>
              </p:cNvPr>
              <p:cNvSpPr>
                <a:spLocks noChangeArrowheads="1"/>
              </p:cNvSpPr>
              <p:nvPr/>
            </p:nvSpPr>
            <p:spPr bwMode="auto">
              <a:xfrm>
                <a:off x="175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3" name="Oval 2805">
                <a:extLst>
                  <a:ext uri="{FF2B5EF4-FFF2-40B4-BE49-F238E27FC236}">
                    <a16:creationId xmlns:a16="http://schemas.microsoft.com/office/drawing/2014/main" id="{61A554F1-BEA1-4D19-BD4D-1DD5EDFBB285}"/>
                  </a:ext>
                </a:extLst>
              </p:cNvPr>
              <p:cNvSpPr>
                <a:spLocks noChangeArrowheads="1"/>
              </p:cNvSpPr>
              <p:nvPr/>
            </p:nvSpPr>
            <p:spPr bwMode="auto">
              <a:xfrm>
                <a:off x="169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4" name="Oval 2806">
                <a:extLst>
                  <a:ext uri="{FF2B5EF4-FFF2-40B4-BE49-F238E27FC236}">
                    <a16:creationId xmlns:a16="http://schemas.microsoft.com/office/drawing/2014/main" id="{AB638A93-B839-4A92-A28C-A66405551CB8}"/>
                  </a:ext>
                </a:extLst>
              </p:cNvPr>
              <p:cNvSpPr>
                <a:spLocks noChangeArrowheads="1"/>
              </p:cNvSpPr>
              <p:nvPr/>
            </p:nvSpPr>
            <p:spPr bwMode="auto">
              <a:xfrm>
                <a:off x="1456"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5" name="Oval 2807">
                <a:extLst>
                  <a:ext uri="{FF2B5EF4-FFF2-40B4-BE49-F238E27FC236}">
                    <a16:creationId xmlns:a16="http://schemas.microsoft.com/office/drawing/2014/main" id="{5663110F-C18E-4AB8-B3C3-D8068A8CCFF5}"/>
                  </a:ext>
                </a:extLst>
              </p:cNvPr>
              <p:cNvSpPr>
                <a:spLocks noChangeArrowheads="1"/>
              </p:cNvSpPr>
              <p:nvPr/>
            </p:nvSpPr>
            <p:spPr bwMode="auto">
              <a:xfrm>
                <a:off x="142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6" name="Oval 2808">
                <a:extLst>
                  <a:ext uri="{FF2B5EF4-FFF2-40B4-BE49-F238E27FC236}">
                    <a16:creationId xmlns:a16="http://schemas.microsoft.com/office/drawing/2014/main" id="{111C46A2-19A2-452F-9AE0-727E904D7123}"/>
                  </a:ext>
                </a:extLst>
              </p:cNvPr>
              <p:cNvSpPr>
                <a:spLocks noChangeArrowheads="1"/>
              </p:cNvSpPr>
              <p:nvPr/>
            </p:nvSpPr>
            <p:spPr bwMode="auto">
              <a:xfrm>
                <a:off x="127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7" name="Oval 2809">
                <a:extLst>
                  <a:ext uri="{FF2B5EF4-FFF2-40B4-BE49-F238E27FC236}">
                    <a16:creationId xmlns:a16="http://schemas.microsoft.com/office/drawing/2014/main" id="{8C512406-7C42-42C6-91A8-026287C1BAA8}"/>
                  </a:ext>
                </a:extLst>
              </p:cNvPr>
              <p:cNvSpPr>
                <a:spLocks noChangeArrowheads="1"/>
              </p:cNvSpPr>
              <p:nvPr/>
            </p:nvSpPr>
            <p:spPr bwMode="auto">
              <a:xfrm>
                <a:off x="130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8" name="Oval 2810">
                <a:extLst>
                  <a:ext uri="{FF2B5EF4-FFF2-40B4-BE49-F238E27FC236}">
                    <a16:creationId xmlns:a16="http://schemas.microsoft.com/office/drawing/2014/main" id="{ECD02E42-06D8-4FCD-BB80-D1AB9A4EE30D}"/>
                  </a:ext>
                </a:extLst>
              </p:cNvPr>
              <p:cNvSpPr>
                <a:spLocks noChangeArrowheads="1"/>
              </p:cNvSpPr>
              <p:nvPr/>
            </p:nvSpPr>
            <p:spPr bwMode="auto">
              <a:xfrm>
                <a:off x="127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9" name="Oval 2811">
                <a:extLst>
                  <a:ext uri="{FF2B5EF4-FFF2-40B4-BE49-F238E27FC236}">
                    <a16:creationId xmlns:a16="http://schemas.microsoft.com/office/drawing/2014/main" id="{EE1D68A1-284C-4D6D-9764-64F3E41DC70E}"/>
                  </a:ext>
                </a:extLst>
              </p:cNvPr>
              <p:cNvSpPr>
                <a:spLocks noChangeArrowheads="1"/>
              </p:cNvSpPr>
              <p:nvPr/>
            </p:nvSpPr>
            <p:spPr bwMode="auto">
              <a:xfrm>
                <a:off x="127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0" name="Oval 2812">
                <a:extLst>
                  <a:ext uri="{FF2B5EF4-FFF2-40B4-BE49-F238E27FC236}">
                    <a16:creationId xmlns:a16="http://schemas.microsoft.com/office/drawing/2014/main" id="{BE629183-D18E-4876-A411-C579C728704C}"/>
                  </a:ext>
                </a:extLst>
              </p:cNvPr>
              <p:cNvSpPr>
                <a:spLocks noChangeArrowheads="1"/>
              </p:cNvSpPr>
              <p:nvPr/>
            </p:nvSpPr>
            <p:spPr bwMode="auto">
              <a:xfrm>
                <a:off x="1246"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1" name="Oval 2813">
                <a:extLst>
                  <a:ext uri="{FF2B5EF4-FFF2-40B4-BE49-F238E27FC236}">
                    <a16:creationId xmlns:a16="http://schemas.microsoft.com/office/drawing/2014/main" id="{5DF3C095-421D-4206-AF5A-1CD19038D686}"/>
                  </a:ext>
                </a:extLst>
              </p:cNvPr>
              <p:cNvSpPr>
                <a:spLocks noChangeArrowheads="1"/>
              </p:cNvSpPr>
              <p:nvPr/>
            </p:nvSpPr>
            <p:spPr bwMode="auto">
              <a:xfrm>
                <a:off x="12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2" name="Oval 2814">
                <a:extLst>
                  <a:ext uri="{FF2B5EF4-FFF2-40B4-BE49-F238E27FC236}">
                    <a16:creationId xmlns:a16="http://schemas.microsoft.com/office/drawing/2014/main" id="{2F4C9C98-0C00-40E4-95DC-579B26ABC7DC}"/>
                  </a:ext>
                </a:extLst>
              </p:cNvPr>
              <p:cNvSpPr>
                <a:spLocks noChangeArrowheads="1"/>
              </p:cNvSpPr>
              <p:nvPr/>
            </p:nvSpPr>
            <p:spPr bwMode="auto">
              <a:xfrm>
                <a:off x="133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3" name="Oval 2815">
                <a:extLst>
                  <a:ext uri="{FF2B5EF4-FFF2-40B4-BE49-F238E27FC236}">
                    <a16:creationId xmlns:a16="http://schemas.microsoft.com/office/drawing/2014/main" id="{DDA121B7-3A25-41E8-8B35-3BB5968897DE}"/>
                  </a:ext>
                </a:extLst>
              </p:cNvPr>
              <p:cNvSpPr>
                <a:spLocks noChangeArrowheads="1"/>
              </p:cNvSpPr>
              <p:nvPr/>
            </p:nvSpPr>
            <p:spPr bwMode="auto">
              <a:xfrm>
                <a:off x="130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4" name="Oval 2816">
                <a:extLst>
                  <a:ext uri="{FF2B5EF4-FFF2-40B4-BE49-F238E27FC236}">
                    <a16:creationId xmlns:a16="http://schemas.microsoft.com/office/drawing/2014/main" id="{360AB908-9AD8-43FB-A3B0-7233B55C866D}"/>
                  </a:ext>
                </a:extLst>
              </p:cNvPr>
              <p:cNvSpPr>
                <a:spLocks noChangeArrowheads="1"/>
              </p:cNvSpPr>
              <p:nvPr/>
            </p:nvSpPr>
            <p:spPr bwMode="auto">
              <a:xfrm>
                <a:off x="145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5" name="Oval 2817">
                <a:extLst>
                  <a:ext uri="{FF2B5EF4-FFF2-40B4-BE49-F238E27FC236}">
                    <a16:creationId xmlns:a16="http://schemas.microsoft.com/office/drawing/2014/main" id="{4E351928-73AC-4566-8B4E-AAD5D99189C2}"/>
                  </a:ext>
                </a:extLst>
              </p:cNvPr>
              <p:cNvSpPr>
                <a:spLocks noChangeArrowheads="1"/>
              </p:cNvSpPr>
              <p:nvPr/>
            </p:nvSpPr>
            <p:spPr bwMode="auto">
              <a:xfrm>
                <a:off x="133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6" name="Oval 2818">
                <a:extLst>
                  <a:ext uri="{FF2B5EF4-FFF2-40B4-BE49-F238E27FC236}">
                    <a16:creationId xmlns:a16="http://schemas.microsoft.com/office/drawing/2014/main" id="{9A8A054F-D6F5-4118-A996-977EF189D320}"/>
                  </a:ext>
                </a:extLst>
              </p:cNvPr>
              <p:cNvSpPr>
                <a:spLocks noChangeArrowheads="1"/>
              </p:cNvSpPr>
              <p:nvPr/>
            </p:nvSpPr>
            <p:spPr bwMode="auto">
              <a:xfrm>
                <a:off x="1516"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7" name="Oval 2819">
                <a:extLst>
                  <a:ext uri="{FF2B5EF4-FFF2-40B4-BE49-F238E27FC236}">
                    <a16:creationId xmlns:a16="http://schemas.microsoft.com/office/drawing/2014/main" id="{19365980-8D7C-4761-8FDD-3E56B37F108D}"/>
                  </a:ext>
                </a:extLst>
              </p:cNvPr>
              <p:cNvSpPr>
                <a:spLocks noChangeArrowheads="1"/>
              </p:cNvSpPr>
              <p:nvPr/>
            </p:nvSpPr>
            <p:spPr bwMode="auto">
              <a:xfrm>
                <a:off x="178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8" name="Oval 2820">
                <a:extLst>
                  <a:ext uri="{FF2B5EF4-FFF2-40B4-BE49-F238E27FC236}">
                    <a16:creationId xmlns:a16="http://schemas.microsoft.com/office/drawing/2014/main" id="{553056E3-239E-491C-8D1C-1F885A1E0A64}"/>
                  </a:ext>
                </a:extLst>
              </p:cNvPr>
              <p:cNvSpPr>
                <a:spLocks noChangeArrowheads="1"/>
              </p:cNvSpPr>
              <p:nvPr/>
            </p:nvSpPr>
            <p:spPr bwMode="auto">
              <a:xfrm>
                <a:off x="15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9" name="Oval 2821">
                <a:extLst>
                  <a:ext uri="{FF2B5EF4-FFF2-40B4-BE49-F238E27FC236}">
                    <a16:creationId xmlns:a16="http://schemas.microsoft.com/office/drawing/2014/main" id="{099799BA-D3F1-4CFC-AB1C-031D7A6CB6F3}"/>
                  </a:ext>
                </a:extLst>
              </p:cNvPr>
              <p:cNvSpPr>
                <a:spLocks noChangeArrowheads="1"/>
              </p:cNvSpPr>
              <p:nvPr/>
            </p:nvSpPr>
            <p:spPr bwMode="auto">
              <a:xfrm>
                <a:off x="154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0" name="Oval 2822">
                <a:extLst>
                  <a:ext uri="{FF2B5EF4-FFF2-40B4-BE49-F238E27FC236}">
                    <a16:creationId xmlns:a16="http://schemas.microsoft.com/office/drawing/2014/main" id="{E76E19F0-5B42-4185-B8BA-F36B155970EE}"/>
                  </a:ext>
                </a:extLst>
              </p:cNvPr>
              <p:cNvSpPr>
                <a:spLocks noChangeArrowheads="1"/>
              </p:cNvSpPr>
              <p:nvPr/>
            </p:nvSpPr>
            <p:spPr bwMode="auto">
              <a:xfrm>
                <a:off x="1666"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1" name="Oval 2823">
                <a:extLst>
                  <a:ext uri="{FF2B5EF4-FFF2-40B4-BE49-F238E27FC236}">
                    <a16:creationId xmlns:a16="http://schemas.microsoft.com/office/drawing/2014/main" id="{9694FBE0-C043-478B-A876-675A2E76E4DB}"/>
                  </a:ext>
                </a:extLst>
              </p:cNvPr>
              <p:cNvSpPr>
                <a:spLocks noChangeArrowheads="1"/>
              </p:cNvSpPr>
              <p:nvPr/>
            </p:nvSpPr>
            <p:spPr bwMode="auto">
              <a:xfrm>
                <a:off x="151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2" name="Oval 2824">
                <a:extLst>
                  <a:ext uri="{FF2B5EF4-FFF2-40B4-BE49-F238E27FC236}">
                    <a16:creationId xmlns:a16="http://schemas.microsoft.com/office/drawing/2014/main" id="{F9518AED-3E5F-40F4-8FDF-69221F6FF6E8}"/>
                  </a:ext>
                </a:extLst>
              </p:cNvPr>
              <p:cNvSpPr>
                <a:spLocks noChangeArrowheads="1"/>
              </p:cNvSpPr>
              <p:nvPr/>
            </p:nvSpPr>
            <p:spPr bwMode="auto">
              <a:xfrm>
                <a:off x="145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3" name="Oval 2825">
                <a:extLst>
                  <a:ext uri="{FF2B5EF4-FFF2-40B4-BE49-F238E27FC236}">
                    <a16:creationId xmlns:a16="http://schemas.microsoft.com/office/drawing/2014/main" id="{8ACDBDC3-2112-47A7-A404-28BC0E61C0B9}"/>
                  </a:ext>
                </a:extLst>
              </p:cNvPr>
              <p:cNvSpPr>
                <a:spLocks noChangeArrowheads="1"/>
              </p:cNvSpPr>
              <p:nvPr/>
            </p:nvSpPr>
            <p:spPr bwMode="auto">
              <a:xfrm>
                <a:off x="139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4" name="Oval 2826">
                <a:extLst>
                  <a:ext uri="{FF2B5EF4-FFF2-40B4-BE49-F238E27FC236}">
                    <a16:creationId xmlns:a16="http://schemas.microsoft.com/office/drawing/2014/main" id="{BD0F3036-B7FA-441C-A60B-05522D1A48AB}"/>
                  </a:ext>
                </a:extLst>
              </p:cNvPr>
              <p:cNvSpPr>
                <a:spLocks noChangeArrowheads="1"/>
              </p:cNvSpPr>
              <p:nvPr/>
            </p:nvSpPr>
            <p:spPr bwMode="auto">
              <a:xfrm>
                <a:off x="1456"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5" name="Oval 2827">
                <a:extLst>
                  <a:ext uri="{FF2B5EF4-FFF2-40B4-BE49-F238E27FC236}">
                    <a16:creationId xmlns:a16="http://schemas.microsoft.com/office/drawing/2014/main" id="{DD0C3C1B-1B72-4DDB-857F-7C725E077626}"/>
                  </a:ext>
                </a:extLst>
              </p:cNvPr>
              <p:cNvSpPr>
                <a:spLocks noChangeArrowheads="1"/>
              </p:cNvSpPr>
              <p:nvPr/>
            </p:nvSpPr>
            <p:spPr bwMode="auto">
              <a:xfrm>
                <a:off x="151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6" name="Oval 2828">
                <a:extLst>
                  <a:ext uri="{FF2B5EF4-FFF2-40B4-BE49-F238E27FC236}">
                    <a16:creationId xmlns:a16="http://schemas.microsoft.com/office/drawing/2014/main" id="{363258EE-4595-4F2A-962C-10215D14ACAF}"/>
                  </a:ext>
                </a:extLst>
              </p:cNvPr>
              <p:cNvSpPr>
                <a:spLocks noChangeArrowheads="1"/>
              </p:cNvSpPr>
              <p:nvPr/>
            </p:nvSpPr>
            <p:spPr bwMode="auto">
              <a:xfrm>
                <a:off x="145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7" name="Oval 2829">
                <a:extLst>
                  <a:ext uri="{FF2B5EF4-FFF2-40B4-BE49-F238E27FC236}">
                    <a16:creationId xmlns:a16="http://schemas.microsoft.com/office/drawing/2014/main" id="{58871101-98F6-417D-A6F9-AA94E1313BF0}"/>
                  </a:ext>
                </a:extLst>
              </p:cNvPr>
              <p:cNvSpPr>
                <a:spLocks noChangeArrowheads="1"/>
              </p:cNvSpPr>
              <p:nvPr/>
            </p:nvSpPr>
            <p:spPr bwMode="auto">
              <a:xfrm>
                <a:off x="1426"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8" name="Oval 2830">
                <a:extLst>
                  <a:ext uri="{FF2B5EF4-FFF2-40B4-BE49-F238E27FC236}">
                    <a16:creationId xmlns:a16="http://schemas.microsoft.com/office/drawing/2014/main" id="{5BF6B6B0-6809-4264-AE56-4101B19BF2BC}"/>
                  </a:ext>
                </a:extLst>
              </p:cNvPr>
              <p:cNvSpPr>
                <a:spLocks noChangeArrowheads="1"/>
              </p:cNvSpPr>
              <p:nvPr/>
            </p:nvSpPr>
            <p:spPr bwMode="auto">
              <a:xfrm>
                <a:off x="1336"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9" name="Oval 2831">
                <a:extLst>
                  <a:ext uri="{FF2B5EF4-FFF2-40B4-BE49-F238E27FC236}">
                    <a16:creationId xmlns:a16="http://schemas.microsoft.com/office/drawing/2014/main" id="{3E777FFA-69FA-492A-A25D-257B98142A84}"/>
                  </a:ext>
                </a:extLst>
              </p:cNvPr>
              <p:cNvSpPr>
                <a:spLocks noChangeArrowheads="1"/>
              </p:cNvSpPr>
              <p:nvPr/>
            </p:nvSpPr>
            <p:spPr bwMode="auto">
              <a:xfrm>
                <a:off x="130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0" name="Oval 2832">
                <a:extLst>
                  <a:ext uri="{FF2B5EF4-FFF2-40B4-BE49-F238E27FC236}">
                    <a16:creationId xmlns:a16="http://schemas.microsoft.com/office/drawing/2014/main" id="{4BE97F28-10BA-4EE1-883A-DD0F3EB7B21F}"/>
                  </a:ext>
                </a:extLst>
              </p:cNvPr>
              <p:cNvSpPr>
                <a:spLocks noChangeArrowheads="1"/>
              </p:cNvSpPr>
              <p:nvPr/>
            </p:nvSpPr>
            <p:spPr bwMode="auto">
              <a:xfrm>
                <a:off x="1366"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1" name="Oval 2833">
                <a:extLst>
                  <a:ext uri="{FF2B5EF4-FFF2-40B4-BE49-F238E27FC236}">
                    <a16:creationId xmlns:a16="http://schemas.microsoft.com/office/drawing/2014/main" id="{71CD9972-F78F-45C7-9CCE-84EBEE4FFFD3}"/>
                  </a:ext>
                </a:extLst>
              </p:cNvPr>
              <p:cNvSpPr>
                <a:spLocks noChangeArrowheads="1"/>
              </p:cNvSpPr>
              <p:nvPr/>
            </p:nvSpPr>
            <p:spPr bwMode="auto">
              <a:xfrm>
                <a:off x="1246"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2" name="Oval 2834">
                <a:extLst>
                  <a:ext uri="{FF2B5EF4-FFF2-40B4-BE49-F238E27FC236}">
                    <a16:creationId xmlns:a16="http://schemas.microsoft.com/office/drawing/2014/main" id="{11836E6D-2F7B-43A0-AAA7-6183B4DE88CE}"/>
                  </a:ext>
                </a:extLst>
              </p:cNvPr>
              <p:cNvSpPr>
                <a:spLocks noChangeArrowheads="1"/>
              </p:cNvSpPr>
              <p:nvPr/>
            </p:nvSpPr>
            <p:spPr bwMode="auto">
              <a:xfrm>
                <a:off x="142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3" name="Oval 2835">
                <a:extLst>
                  <a:ext uri="{FF2B5EF4-FFF2-40B4-BE49-F238E27FC236}">
                    <a16:creationId xmlns:a16="http://schemas.microsoft.com/office/drawing/2014/main" id="{1DF0D9A2-0FE3-4202-9910-7AB7C3CC6271}"/>
                  </a:ext>
                </a:extLst>
              </p:cNvPr>
              <p:cNvSpPr>
                <a:spLocks noChangeArrowheads="1"/>
              </p:cNvSpPr>
              <p:nvPr/>
            </p:nvSpPr>
            <p:spPr bwMode="auto">
              <a:xfrm>
                <a:off x="1306"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4" name="Oval 2836">
                <a:extLst>
                  <a:ext uri="{FF2B5EF4-FFF2-40B4-BE49-F238E27FC236}">
                    <a16:creationId xmlns:a16="http://schemas.microsoft.com/office/drawing/2014/main" id="{DA035016-9C13-4F5B-843A-918C4B0838AC}"/>
                  </a:ext>
                </a:extLst>
              </p:cNvPr>
              <p:cNvSpPr>
                <a:spLocks noChangeArrowheads="1"/>
              </p:cNvSpPr>
              <p:nvPr/>
            </p:nvSpPr>
            <p:spPr bwMode="auto">
              <a:xfrm>
                <a:off x="142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5" name="Oval 2837">
                <a:extLst>
                  <a:ext uri="{FF2B5EF4-FFF2-40B4-BE49-F238E27FC236}">
                    <a16:creationId xmlns:a16="http://schemas.microsoft.com/office/drawing/2014/main" id="{32FC5C91-22C8-41AD-B7CE-CA8380076298}"/>
                  </a:ext>
                </a:extLst>
              </p:cNvPr>
              <p:cNvSpPr>
                <a:spLocks noChangeArrowheads="1"/>
              </p:cNvSpPr>
              <p:nvPr/>
            </p:nvSpPr>
            <p:spPr bwMode="auto">
              <a:xfrm>
                <a:off x="12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6" name="Oval 2838">
                <a:extLst>
                  <a:ext uri="{FF2B5EF4-FFF2-40B4-BE49-F238E27FC236}">
                    <a16:creationId xmlns:a16="http://schemas.microsoft.com/office/drawing/2014/main" id="{22CB0C97-E491-49FB-B149-F0EFFCE4CC82}"/>
                  </a:ext>
                </a:extLst>
              </p:cNvPr>
              <p:cNvSpPr>
                <a:spLocks noChangeArrowheads="1"/>
              </p:cNvSpPr>
              <p:nvPr/>
            </p:nvSpPr>
            <p:spPr bwMode="auto">
              <a:xfrm>
                <a:off x="166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7" name="Oval 2839">
                <a:extLst>
                  <a:ext uri="{FF2B5EF4-FFF2-40B4-BE49-F238E27FC236}">
                    <a16:creationId xmlns:a16="http://schemas.microsoft.com/office/drawing/2014/main" id="{9471D543-D84E-40F0-99B2-8340B3D20286}"/>
                  </a:ext>
                </a:extLst>
              </p:cNvPr>
              <p:cNvSpPr>
                <a:spLocks noChangeArrowheads="1"/>
              </p:cNvSpPr>
              <p:nvPr/>
            </p:nvSpPr>
            <p:spPr bwMode="auto">
              <a:xfrm>
                <a:off x="172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8" name="Oval 2840">
                <a:extLst>
                  <a:ext uri="{FF2B5EF4-FFF2-40B4-BE49-F238E27FC236}">
                    <a16:creationId xmlns:a16="http://schemas.microsoft.com/office/drawing/2014/main" id="{82204824-AD26-4C85-B0F0-0CEC6CF9B3FA}"/>
                  </a:ext>
                </a:extLst>
              </p:cNvPr>
              <p:cNvSpPr>
                <a:spLocks noChangeArrowheads="1"/>
              </p:cNvSpPr>
              <p:nvPr/>
            </p:nvSpPr>
            <p:spPr bwMode="auto">
              <a:xfrm>
                <a:off x="1576"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9" name="Oval 2841">
                <a:extLst>
                  <a:ext uri="{FF2B5EF4-FFF2-40B4-BE49-F238E27FC236}">
                    <a16:creationId xmlns:a16="http://schemas.microsoft.com/office/drawing/2014/main" id="{4E2F553E-05B6-4BA6-80E2-E5366AEBAB85}"/>
                  </a:ext>
                </a:extLst>
              </p:cNvPr>
              <p:cNvSpPr>
                <a:spLocks noChangeArrowheads="1"/>
              </p:cNvSpPr>
              <p:nvPr/>
            </p:nvSpPr>
            <p:spPr bwMode="auto">
              <a:xfrm>
                <a:off x="184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0" name="Oval 2842">
                <a:extLst>
                  <a:ext uri="{FF2B5EF4-FFF2-40B4-BE49-F238E27FC236}">
                    <a16:creationId xmlns:a16="http://schemas.microsoft.com/office/drawing/2014/main" id="{8E198ABA-AAF3-4BF3-9AA4-F032DE98BFF1}"/>
                  </a:ext>
                </a:extLst>
              </p:cNvPr>
              <p:cNvSpPr>
                <a:spLocks noChangeArrowheads="1"/>
              </p:cNvSpPr>
              <p:nvPr/>
            </p:nvSpPr>
            <p:spPr bwMode="auto">
              <a:xfrm>
                <a:off x="181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1" name="Oval 2843">
                <a:extLst>
                  <a:ext uri="{FF2B5EF4-FFF2-40B4-BE49-F238E27FC236}">
                    <a16:creationId xmlns:a16="http://schemas.microsoft.com/office/drawing/2014/main" id="{8B7E5E7A-B510-4A52-9BDC-B2FFE7E0C4F0}"/>
                  </a:ext>
                </a:extLst>
              </p:cNvPr>
              <p:cNvSpPr>
                <a:spLocks noChangeArrowheads="1"/>
              </p:cNvSpPr>
              <p:nvPr/>
            </p:nvSpPr>
            <p:spPr bwMode="auto">
              <a:xfrm>
                <a:off x="1816"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2" name="Oval 2844">
                <a:extLst>
                  <a:ext uri="{FF2B5EF4-FFF2-40B4-BE49-F238E27FC236}">
                    <a16:creationId xmlns:a16="http://schemas.microsoft.com/office/drawing/2014/main" id="{51F2A016-1846-48AD-888A-C671958CC2AB}"/>
                  </a:ext>
                </a:extLst>
              </p:cNvPr>
              <p:cNvSpPr>
                <a:spLocks noChangeArrowheads="1"/>
              </p:cNvSpPr>
              <p:nvPr/>
            </p:nvSpPr>
            <p:spPr bwMode="auto">
              <a:xfrm>
                <a:off x="193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3" name="Oval 2845">
                <a:extLst>
                  <a:ext uri="{FF2B5EF4-FFF2-40B4-BE49-F238E27FC236}">
                    <a16:creationId xmlns:a16="http://schemas.microsoft.com/office/drawing/2014/main" id="{643923C6-F13C-473D-A19A-1CC6C140688E}"/>
                  </a:ext>
                </a:extLst>
              </p:cNvPr>
              <p:cNvSpPr>
                <a:spLocks noChangeArrowheads="1"/>
              </p:cNvSpPr>
              <p:nvPr/>
            </p:nvSpPr>
            <p:spPr bwMode="auto">
              <a:xfrm>
                <a:off x="2086" y="7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4" name="Oval 2846">
                <a:extLst>
                  <a:ext uri="{FF2B5EF4-FFF2-40B4-BE49-F238E27FC236}">
                    <a16:creationId xmlns:a16="http://schemas.microsoft.com/office/drawing/2014/main" id="{615CCA8C-A2E2-477A-A05D-C4D0F2DDA196}"/>
                  </a:ext>
                </a:extLst>
              </p:cNvPr>
              <p:cNvSpPr>
                <a:spLocks noChangeArrowheads="1"/>
              </p:cNvSpPr>
              <p:nvPr/>
            </p:nvSpPr>
            <p:spPr bwMode="auto">
              <a:xfrm>
                <a:off x="211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5" name="Oval 2847">
                <a:extLst>
                  <a:ext uri="{FF2B5EF4-FFF2-40B4-BE49-F238E27FC236}">
                    <a16:creationId xmlns:a16="http://schemas.microsoft.com/office/drawing/2014/main" id="{6D2E7D4C-FEE1-4CF7-A372-5420744EC895}"/>
                  </a:ext>
                </a:extLst>
              </p:cNvPr>
              <p:cNvSpPr>
                <a:spLocks noChangeArrowheads="1"/>
              </p:cNvSpPr>
              <p:nvPr/>
            </p:nvSpPr>
            <p:spPr bwMode="auto">
              <a:xfrm>
                <a:off x="199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6" name="Oval 2848">
                <a:extLst>
                  <a:ext uri="{FF2B5EF4-FFF2-40B4-BE49-F238E27FC236}">
                    <a16:creationId xmlns:a16="http://schemas.microsoft.com/office/drawing/2014/main" id="{65396D69-654C-4D88-88E2-444E7BA19709}"/>
                  </a:ext>
                </a:extLst>
              </p:cNvPr>
              <p:cNvSpPr>
                <a:spLocks noChangeArrowheads="1"/>
              </p:cNvSpPr>
              <p:nvPr/>
            </p:nvSpPr>
            <p:spPr bwMode="auto">
              <a:xfrm>
                <a:off x="202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7" name="Oval 2849">
                <a:extLst>
                  <a:ext uri="{FF2B5EF4-FFF2-40B4-BE49-F238E27FC236}">
                    <a16:creationId xmlns:a16="http://schemas.microsoft.com/office/drawing/2014/main" id="{D458437E-AC68-4EA6-8FB8-14A46926B85D}"/>
                  </a:ext>
                </a:extLst>
              </p:cNvPr>
              <p:cNvSpPr>
                <a:spLocks noChangeArrowheads="1"/>
              </p:cNvSpPr>
              <p:nvPr/>
            </p:nvSpPr>
            <p:spPr bwMode="auto">
              <a:xfrm>
                <a:off x="184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8" name="Oval 2850">
                <a:extLst>
                  <a:ext uri="{FF2B5EF4-FFF2-40B4-BE49-F238E27FC236}">
                    <a16:creationId xmlns:a16="http://schemas.microsoft.com/office/drawing/2014/main" id="{C60C5669-A98F-4E00-9899-558358D59C78}"/>
                  </a:ext>
                </a:extLst>
              </p:cNvPr>
              <p:cNvSpPr>
                <a:spLocks noChangeArrowheads="1"/>
              </p:cNvSpPr>
              <p:nvPr/>
            </p:nvSpPr>
            <p:spPr bwMode="auto">
              <a:xfrm>
                <a:off x="1846"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9" name="Oval 2851">
                <a:extLst>
                  <a:ext uri="{FF2B5EF4-FFF2-40B4-BE49-F238E27FC236}">
                    <a16:creationId xmlns:a16="http://schemas.microsoft.com/office/drawing/2014/main" id="{012EC235-53C1-4EC1-B34A-CDE5112E9CA4}"/>
                  </a:ext>
                </a:extLst>
              </p:cNvPr>
              <p:cNvSpPr>
                <a:spLocks noChangeArrowheads="1"/>
              </p:cNvSpPr>
              <p:nvPr/>
            </p:nvSpPr>
            <p:spPr bwMode="auto">
              <a:xfrm>
                <a:off x="241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0" name="Oval 2852">
                <a:extLst>
                  <a:ext uri="{FF2B5EF4-FFF2-40B4-BE49-F238E27FC236}">
                    <a16:creationId xmlns:a16="http://schemas.microsoft.com/office/drawing/2014/main" id="{4C464339-2166-4089-A6A5-12095D91505C}"/>
                  </a:ext>
                </a:extLst>
              </p:cNvPr>
              <p:cNvSpPr>
                <a:spLocks noChangeArrowheads="1"/>
              </p:cNvSpPr>
              <p:nvPr/>
            </p:nvSpPr>
            <p:spPr bwMode="auto">
              <a:xfrm>
                <a:off x="259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1" name="Oval 2853">
                <a:extLst>
                  <a:ext uri="{FF2B5EF4-FFF2-40B4-BE49-F238E27FC236}">
                    <a16:creationId xmlns:a16="http://schemas.microsoft.com/office/drawing/2014/main" id="{30AAB738-18AB-495F-9E5B-E59C292F451A}"/>
                  </a:ext>
                </a:extLst>
              </p:cNvPr>
              <p:cNvSpPr>
                <a:spLocks noChangeArrowheads="1"/>
              </p:cNvSpPr>
              <p:nvPr/>
            </p:nvSpPr>
            <p:spPr bwMode="auto">
              <a:xfrm>
                <a:off x="220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2" name="Oval 2854">
                <a:extLst>
                  <a:ext uri="{FF2B5EF4-FFF2-40B4-BE49-F238E27FC236}">
                    <a16:creationId xmlns:a16="http://schemas.microsoft.com/office/drawing/2014/main" id="{B930E241-586F-4CEB-A083-5EF7515237D9}"/>
                  </a:ext>
                </a:extLst>
              </p:cNvPr>
              <p:cNvSpPr>
                <a:spLocks noChangeArrowheads="1"/>
              </p:cNvSpPr>
              <p:nvPr/>
            </p:nvSpPr>
            <p:spPr bwMode="auto">
              <a:xfrm>
                <a:off x="253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3" name="Oval 2855">
                <a:extLst>
                  <a:ext uri="{FF2B5EF4-FFF2-40B4-BE49-F238E27FC236}">
                    <a16:creationId xmlns:a16="http://schemas.microsoft.com/office/drawing/2014/main" id="{7F65235E-AE63-4912-81FE-37C735E0ECED}"/>
                  </a:ext>
                </a:extLst>
              </p:cNvPr>
              <p:cNvSpPr>
                <a:spLocks noChangeArrowheads="1"/>
              </p:cNvSpPr>
              <p:nvPr/>
            </p:nvSpPr>
            <p:spPr bwMode="auto">
              <a:xfrm>
                <a:off x="238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4" name="Oval 2856">
                <a:extLst>
                  <a:ext uri="{FF2B5EF4-FFF2-40B4-BE49-F238E27FC236}">
                    <a16:creationId xmlns:a16="http://schemas.microsoft.com/office/drawing/2014/main" id="{2D9BC1E5-3648-40C5-A4DA-14DEE201DA8B}"/>
                  </a:ext>
                </a:extLst>
              </p:cNvPr>
              <p:cNvSpPr>
                <a:spLocks noChangeArrowheads="1"/>
              </p:cNvSpPr>
              <p:nvPr/>
            </p:nvSpPr>
            <p:spPr bwMode="auto">
              <a:xfrm>
                <a:off x="241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5" name="Oval 2857">
                <a:extLst>
                  <a:ext uri="{FF2B5EF4-FFF2-40B4-BE49-F238E27FC236}">
                    <a16:creationId xmlns:a16="http://schemas.microsoft.com/office/drawing/2014/main" id="{D291D320-41DE-4CE3-8682-F7EECE3001D2}"/>
                  </a:ext>
                </a:extLst>
              </p:cNvPr>
              <p:cNvSpPr>
                <a:spLocks noChangeArrowheads="1"/>
              </p:cNvSpPr>
              <p:nvPr/>
            </p:nvSpPr>
            <p:spPr bwMode="auto">
              <a:xfrm>
                <a:off x="232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6" name="Oval 2858">
                <a:extLst>
                  <a:ext uri="{FF2B5EF4-FFF2-40B4-BE49-F238E27FC236}">
                    <a16:creationId xmlns:a16="http://schemas.microsoft.com/office/drawing/2014/main" id="{AFA02B73-357B-4B1E-8BC6-48BD561C294A}"/>
                  </a:ext>
                </a:extLst>
              </p:cNvPr>
              <p:cNvSpPr>
                <a:spLocks noChangeArrowheads="1"/>
              </p:cNvSpPr>
              <p:nvPr/>
            </p:nvSpPr>
            <p:spPr bwMode="auto">
              <a:xfrm>
                <a:off x="229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7" name="Oval 2859">
                <a:extLst>
                  <a:ext uri="{FF2B5EF4-FFF2-40B4-BE49-F238E27FC236}">
                    <a16:creationId xmlns:a16="http://schemas.microsoft.com/office/drawing/2014/main" id="{94A80225-1C3C-4081-A338-3FDF8533EBBD}"/>
                  </a:ext>
                </a:extLst>
              </p:cNvPr>
              <p:cNvSpPr>
                <a:spLocks noChangeArrowheads="1"/>
              </p:cNvSpPr>
              <p:nvPr/>
            </p:nvSpPr>
            <p:spPr bwMode="auto">
              <a:xfrm>
                <a:off x="220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8" name="Oval 2860">
                <a:extLst>
                  <a:ext uri="{FF2B5EF4-FFF2-40B4-BE49-F238E27FC236}">
                    <a16:creationId xmlns:a16="http://schemas.microsoft.com/office/drawing/2014/main" id="{BB220300-5749-4F8E-B8F8-8F35C889AAC4}"/>
                  </a:ext>
                </a:extLst>
              </p:cNvPr>
              <p:cNvSpPr>
                <a:spLocks noChangeArrowheads="1"/>
              </p:cNvSpPr>
              <p:nvPr/>
            </p:nvSpPr>
            <p:spPr bwMode="auto">
              <a:xfrm>
                <a:off x="22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9" name="Oval 2861">
                <a:extLst>
                  <a:ext uri="{FF2B5EF4-FFF2-40B4-BE49-F238E27FC236}">
                    <a16:creationId xmlns:a16="http://schemas.microsoft.com/office/drawing/2014/main" id="{4113B053-4190-4BD8-8848-E87D65CD6CD5}"/>
                  </a:ext>
                </a:extLst>
              </p:cNvPr>
              <p:cNvSpPr>
                <a:spLocks noChangeArrowheads="1"/>
              </p:cNvSpPr>
              <p:nvPr/>
            </p:nvSpPr>
            <p:spPr bwMode="auto">
              <a:xfrm>
                <a:off x="220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0" name="Oval 2862">
                <a:extLst>
                  <a:ext uri="{FF2B5EF4-FFF2-40B4-BE49-F238E27FC236}">
                    <a16:creationId xmlns:a16="http://schemas.microsoft.com/office/drawing/2014/main" id="{D667442A-DF0A-4F1E-84B5-B8530EC887A8}"/>
                  </a:ext>
                </a:extLst>
              </p:cNvPr>
              <p:cNvSpPr>
                <a:spLocks noChangeArrowheads="1"/>
              </p:cNvSpPr>
              <p:nvPr/>
            </p:nvSpPr>
            <p:spPr bwMode="auto">
              <a:xfrm>
                <a:off x="220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1" name="Oval 2863">
                <a:extLst>
                  <a:ext uri="{FF2B5EF4-FFF2-40B4-BE49-F238E27FC236}">
                    <a16:creationId xmlns:a16="http://schemas.microsoft.com/office/drawing/2014/main" id="{00603455-92EF-4C62-8DEB-0254503A13DF}"/>
                  </a:ext>
                </a:extLst>
              </p:cNvPr>
              <p:cNvSpPr>
                <a:spLocks noChangeArrowheads="1"/>
              </p:cNvSpPr>
              <p:nvPr/>
            </p:nvSpPr>
            <p:spPr bwMode="auto">
              <a:xfrm>
                <a:off x="226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2" name="Oval 2864">
                <a:extLst>
                  <a:ext uri="{FF2B5EF4-FFF2-40B4-BE49-F238E27FC236}">
                    <a16:creationId xmlns:a16="http://schemas.microsoft.com/office/drawing/2014/main" id="{E3915851-62AA-4D45-9B94-88BC77B75BC3}"/>
                  </a:ext>
                </a:extLst>
              </p:cNvPr>
              <p:cNvSpPr>
                <a:spLocks noChangeArrowheads="1"/>
              </p:cNvSpPr>
              <p:nvPr/>
            </p:nvSpPr>
            <p:spPr bwMode="auto">
              <a:xfrm>
                <a:off x="271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3" name="Oval 2865">
                <a:extLst>
                  <a:ext uri="{FF2B5EF4-FFF2-40B4-BE49-F238E27FC236}">
                    <a16:creationId xmlns:a16="http://schemas.microsoft.com/office/drawing/2014/main" id="{4576F437-F170-44F7-A052-B03F9050799D}"/>
                  </a:ext>
                </a:extLst>
              </p:cNvPr>
              <p:cNvSpPr>
                <a:spLocks noChangeArrowheads="1"/>
              </p:cNvSpPr>
              <p:nvPr/>
            </p:nvSpPr>
            <p:spPr bwMode="auto">
              <a:xfrm>
                <a:off x="274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4" name="Oval 2866">
                <a:extLst>
                  <a:ext uri="{FF2B5EF4-FFF2-40B4-BE49-F238E27FC236}">
                    <a16:creationId xmlns:a16="http://schemas.microsoft.com/office/drawing/2014/main" id="{3E13C505-07E7-4A78-8933-7286A3641FE4}"/>
                  </a:ext>
                </a:extLst>
              </p:cNvPr>
              <p:cNvSpPr>
                <a:spLocks noChangeArrowheads="1"/>
              </p:cNvSpPr>
              <p:nvPr/>
            </p:nvSpPr>
            <p:spPr bwMode="auto">
              <a:xfrm>
                <a:off x="277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5" name="Oval 2867">
                <a:extLst>
                  <a:ext uri="{FF2B5EF4-FFF2-40B4-BE49-F238E27FC236}">
                    <a16:creationId xmlns:a16="http://schemas.microsoft.com/office/drawing/2014/main" id="{6E360FD4-5521-49E8-9EB4-6FB019ABCF3F}"/>
                  </a:ext>
                </a:extLst>
              </p:cNvPr>
              <p:cNvSpPr>
                <a:spLocks noChangeArrowheads="1"/>
              </p:cNvSpPr>
              <p:nvPr/>
            </p:nvSpPr>
            <p:spPr bwMode="auto">
              <a:xfrm>
                <a:off x="271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6" name="Oval 2868">
                <a:extLst>
                  <a:ext uri="{FF2B5EF4-FFF2-40B4-BE49-F238E27FC236}">
                    <a16:creationId xmlns:a16="http://schemas.microsoft.com/office/drawing/2014/main" id="{1C3DB9AC-E931-48F2-8A47-1B4D7308DEC2}"/>
                  </a:ext>
                </a:extLst>
              </p:cNvPr>
              <p:cNvSpPr>
                <a:spLocks noChangeArrowheads="1"/>
              </p:cNvSpPr>
              <p:nvPr/>
            </p:nvSpPr>
            <p:spPr bwMode="auto">
              <a:xfrm>
                <a:off x="268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7" name="Oval 2869">
                <a:extLst>
                  <a:ext uri="{FF2B5EF4-FFF2-40B4-BE49-F238E27FC236}">
                    <a16:creationId xmlns:a16="http://schemas.microsoft.com/office/drawing/2014/main" id="{40FD7379-AE99-4F6A-AA79-B86255CB4899}"/>
                  </a:ext>
                </a:extLst>
              </p:cNvPr>
              <p:cNvSpPr>
                <a:spLocks noChangeArrowheads="1"/>
              </p:cNvSpPr>
              <p:nvPr/>
            </p:nvSpPr>
            <p:spPr bwMode="auto">
              <a:xfrm>
                <a:off x="271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8" name="Oval 2870">
                <a:extLst>
                  <a:ext uri="{FF2B5EF4-FFF2-40B4-BE49-F238E27FC236}">
                    <a16:creationId xmlns:a16="http://schemas.microsoft.com/office/drawing/2014/main" id="{1E61B107-8756-4C48-8FD2-22B82A27C14E}"/>
                  </a:ext>
                </a:extLst>
              </p:cNvPr>
              <p:cNvSpPr>
                <a:spLocks noChangeArrowheads="1"/>
              </p:cNvSpPr>
              <p:nvPr/>
            </p:nvSpPr>
            <p:spPr bwMode="auto">
              <a:xfrm>
                <a:off x="292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9" name="Oval 2871">
                <a:extLst>
                  <a:ext uri="{FF2B5EF4-FFF2-40B4-BE49-F238E27FC236}">
                    <a16:creationId xmlns:a16="http://schemas.microsoft.com/office/drawing/2014/main" id="{D740BA5E-1D52-4324-8089-E8DC1571F309}"/>
                  </a:ext>
                </a:extLst>
              </p:cNvPr>
              <p:cNvSpPr>
                <a:spLocks noChangeArrowheads="1"/>
              </p:cNvSpPr>
              <p:nvPr/>
            </p:nvSpPr>
            <p:spPr bwMode="auto">
              <a:xfrm>
                <a:off x="268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0" name="Oval 2872">
                <a:extLst>
                  <a:ext uri="{FF2B5EF4-FFF2-40B4-BE49-F238E27FC236}">
                    <a16:creationId xmlns:a16="http://schemas.microsoft.com/office/drawing/2014/main" id="{E1397536-28CA-435E-AF9B-1D46328247FC}"/>
                  </a:ext>
                </a:extLst>
              </p:cNvPr>
              <p:cNvSpPr>
                <a:spLocks noChangeArrowheads="1"/>
              </p:cNvSpPr>
              <p:nvPr/>
            </p:nvSpPr>
            <p:spPr bwMode="auto">
              <a:xfrm>
                <a:off x="280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1" name="Oval 2873">
                <a:extLst>
                  <a:ext uri="{FF2B5EF4-FFF2-40B4-BE49-F238E27FC236}">
                    <a16:creationId xmlns:a16="http://schemas.microsoft.com/office/drawing/2014/main" id="{6F9258A7-E392-4569-8A42-40C1894DCE52}"/>
                  </a:ext>
                </a:extLst>
              </p:cNvPr>
              <p:cNvSpPr>
                <a:spLocks noChangeArrowheads="1"/>
              </p:cNvSpPr>
              <p:nvPr/>
            </p:nvSpPr>
            <p:spPr bwMode="auto">
              <a:xfrm>
                <a:off x="301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2" name="Oval 2874">
                <a:extLst>
                  <a:ext uri="{FF2B5EF4-FFF2-40B4-BE49-F238E27FC236}">
                    <a16:creationId xmlns:a16="http://schemas.microsoft.com/office/drawing/2014/main" id="{93938B76-D586-4E53-A97C-809F5D2FA3BE}"/>
                  </a:ext>
                </a:extLst>
              </p:cNvPr>
              <p:cNvSpPr>
                <a:spLocks noChangeArrowheads="1"/>
              </p:cNvSpPr>
              <p:nvPr/>
            </p:nvSpPr>
            <p:spPr bwMode="auto">
              <a:xfrm>
                <a:off x="316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3" name="Oval 2875">
                <a:extLst>
                  <a:ext uri="{FF2B5EF4-FFF2-40B4-BE49-F238E27FC236}">
                    <a16:creationId xmlns:a16="http://schemas.microsoft.com/office/drawing/2014/main" id="{94CCEB90-A80E-41A0-B6E5-A70D46B54CD9}"/>
                  </a:ext>
                </a:extLst>
              </p:cNvPr>
              <p:cNvSpPr>
                <a:spLocks noChangeArrowheads="1"/>
              </p:cNvSpPr>
              <p:nvPr/>
            </p:nvSpPr>
            <p:spPr bwMode="auto">
              <a:xfrm>
                <a:off x="307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4" name="Oval 2876">
                <a:extLst>
                  <a:ext uri="{FF2B5EF4-FFF2-40B4-BE49-F238E27FC236}">
                    <a16:creationId xmlns:a16="http://schemas.microsoft.com/office/drawing/2014/main" id="{0F29DA1D-F09A-4087-A310-4CB0F68557CC}"/>
                  </a:ext>
                </a:extLst>
              </p:cNvPr>
              <p:cNvSpPr>
                <a:spLocks noChangeArrowheads="1"/>
              </p:cNvSpPr>
              <p:nvPr/>
            </p:nvSpPr>
            <p:spPr bwMode="auto">
              <a:xfrm>
                <a:off x="295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5" name="Oval 2877">
                <a:extLst>
                  <a:ext uri="{FF2B5EF4-FFF2-40B4-BE49-F238E27FC236}">
                    <a16:creationId xmlns:a16="http://schemas.microsoft.com/office/drawing/2014/main" id="{26B0BD0F-E44D-4F41-88A3-34912D224380}"/>
                  </a:ext>
                </a:extLst>
              </p:cNvPr>
              <p:cNvSpPr>
                <a:spLocks noChangeArrowheads="1"/>
              </p:cNvSpPr>
              <p:nvPr/>
            </p:nvSpPr>
            <p:spPr bwMode="auto">
              <a:xfrm>
                <a:off x="301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6" name="Oval 2878">
                <a:extLst>
                  <a:ext uri="{FF2B5EF4-FFF2-40B4-BE49-F238E27FC236}">
                    <a16:creationId xmlns:a16="http://schemas.microsoft.com/office/drawing/2014/main" id="{08A36996-9BF9-4BD9-A6F7-1761EF632E63}"/>
                  </a:ext>
                </a:extLst>
              </p:cNvPr>
              <p:cNvSpPr>
                <a:spLocks noChangeArrowheads="1"/>
              </p:cNvSpPr>
              <p:nvPr/>
            </p:nvSpPr>
            <p:spPr bwMode="auto">
              <a:xfrm>
                <a:off x="298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7" name="Oval 2879">
                <a:extLst>
                  <a:ext uri="{FF2B5EF4-FFF2-40B4-BE49-F238E27FC236}">
                    <a16:creationId xmlns:a16="http://schemas.microsoft.com/office/drawing/2014/main" id="{D9FF9405-5950-4A38-91E0-AEE34C27C9F8}"/>
                  </a:ext>
                </a:extLst>
              </p:cNvPr>
              <p:cNvSpPr>
                <a:spLocks noChangeArrowheads="1"/>
              </p:cNvSpPr>
              <p:nvPr/>
            </p:nvSpPr>
            <p:spPr bwMode="auto">
              <a:xfrm>
                <a:off x="30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8" name="Oval 2880">
                <a:extLst>
                  <a:ext uri="{FF2B5EF4-FFF2-40B4-BE49-F238E27FC236}">
                    <a16:creationId xmlns:a16="http://schemas.microsoft.com/office/drawing/2014/main" id="{04623EDA-440B-472F-9D39-414C57F8126D}"/>
                  </a:ext>
                </a:extLst>
              </p:cNvPr>
              <p:cNvSpPr>
                <a:spLocks noChangeArrowheads="1"/>
              </p:cNvSpPr>
              <p:nvPr/>
            </p:nvSpPr>
            <p:spPr bwMode="auto">
              <a:xfrm>
                <a:off x="310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9" name="Oval 2881">
                <a:extLst>
                  <a:ext uri="{FF2B5EF4-FFF2-40B4-BE49-F238E27FC236}">
                    <a16:creationId xmlns:a16="http://schemas.microsoft.com/office/drawing/2014/main" id="{42C1852F-FC3D-4846-956A-F4C1A2E3CF18}"/>
                  </a:ext>
                </a:extLst>
              </p:cNvPr>
              <p:cNvSpPr>
                <a:spLocks noChangeArrowheads="1"/>
              </p:cNvSpPr>
              <p:nvPr/>
            </p:nvSpPr>
            <p:spPr bwMode="auto">
              <a:xfrm>
                <a:off x="310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0" name="Oval 2882">
                <a:extLst>
                  <a:ext uri="{FF2B5EF4-FFF2-40B4-BE49-F238E27FC236}">
                    <a16:creationId xmlns:a16="http://schemas.microsoft.com/office/drawing/2014/main" id="{49B3156D-8E66-4D86-9751-971DBADA73A0}"/>
                  </a:ext>
                </a:extLst>
              </p:cNvPr>
              <p:cNvSpPr>
                <a:spLocks noChangeArrowheads="1"/>
              </p:cNvSpPr>
              <p:nvPr/>
            </p:nvSpPr>
            <p:spPr bwMode="auto">
              <a:xfrm>
                <a:off x="29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1" name="Oval 2883">
                <a:extLst>
                  <a:ext uri="{FF2B5EF4-FFF2-40B4-BE49-F238E27FC236}">
                    <a16:creationId xmlns:a16="http://schemas.microsoft.com/office/drawing/2014/main" id="{E3902CC7-B1E0-47FF-8743-F762F48A79EF}"/>
                  </a:ext>
                </a:extLst>
              </p:cNvPr>
              <p:cNvSpPr>
                <a:spLocks noChangeArrowheads="1"/>
              </p:cNvSpPr>
              <p:nvPr/>
            </p:nvSpPr>
            <p:spPr bwMode="auto">
              <a:xfrm>
                <a:off x="280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2" name="Oval 2884">
                <a:extLst>
                  <a:ext uri="{FF2B5EF4-FFF2-40B4-BE49-F238E27FC236}">
                    <a16:creationId xmlns:a16="http://schemas.microsoft.com/office/drawing/2014/main" id="{0CE8EC7A-13B6-4ED0-925C-7422EB20D25B}"/>
                  </a:ext>
                </a:extLst>
              </p:cNvPr>
              <p:cNvSpPr>
                <a:spLocks noChangeArrowheads="1"/>
              </p:cNvSpPr>
              <p:nvPr/>
            </p:nvSpPr>
            <p:spPr bwMode="auto">
              <a:xfrm>
                <a:off x="289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3" name="Oval 2885">
                <a:extLst>
                  <a:ext uri="{FF2B5EF4-FFF2-40B4-BE49-F238E27FC236}">
                    <a16:creationId xmlns:a16="http://schemas.microsoft.com/office/drawing/2014/main" id="{5C07BBA1-F057-4E72-A25B-412E9275F986}"/>
                  </a:ext>
                </a:extLst>
              </p:cNvPr>
              <p:cNvSpPr>
                <a:spLocks noChangeArrowheads="1"/>
              </p:cNvSpPr>
              <p:nvPr/>
            </p:nvSpPr>
            <p:spPr bwMode="auto">
              <a:xfrm>
                <a:off x="292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4" name="Oval 2886">
                <a:extLst>
                  <a:ext uri="{FF2B5EF4-FFF2-40B4-BE49-F238E27FC236}">
                    <a16:creationId xmlns:a16="http://schemas.microsoft.com/office/drawing/2014/main" id="{4122C63A-E839-4C3D-A5D4-DDD293321B86}"/>
                  </a:ext>
                </a:extLst>
              </p:cNvPr>
              <p:cNvSpPr>
                <a:spLocks noChangeArrowheads="1"/>
              </p:cNvSpPr>
              <p:nvPr/>
            </p:nvSpPr>
            <p:spPr bwMode="auto">
              <a:xfrm>
                <a:off x="283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5" name="Oval 2887">
                <a:extLst>
                  <a:ext uri="{FF2B5EF4-FFF2-40B4-BE49-F238E27FC236}">
                    <a16:creationId xmlns:a16="http://schemas.microsoft.com/office/drawing/2014/main" id="{715B1AB0-199C-4666-A466-079E31C0DF64}"/>
                  </a:ext>
                </a:extLst>
              </p:cNvPr>
              <p:cNvSpPr>
                <a:spLocks noChangeArrowheads="1"/>
              </p:cNvSpPr>
              <p:nvPr/>
            </p:nvSpPr>
            <p:spPr bwMode="auto">
              <a:xfrm>
                <a:off x="286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6" name="Oval 2888">
                <a:extLst>
                  <a:ext uri="{FF2B5EF4-FFF2-40B4-BE49-F238E27FC236}">
                    <a16:creationId xmlns:a16="http://schemas.microsoft.com/office/drawing/2014/main" id="{E59D8D7E-F2EF-4442-B632-78913EAFE8B7}"/>
                  </a:ext>
                </a:extLst>
              </p:cNvPr>
              <p:cNvSpPr>
                <a:spLocks noChangeArrowheads="1"/>
              </p:cNvSpPr>
              <p:nvPr/>
            </p:nvSpPr>
            <p:spPr bwMode="auto">
              <a:xfrm>
                <a:off x="30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7" name="Oval 2889">
                <a:extLst>
                  <a:ext uri="{FF2B5EF4-FFF2-40B4-BE49-F238E27FC236}">
                    <a16:creationId xmlns:a16="http://schemas.microsoft.com/office/drawing/2014/main" id="{F7E40FE9-4CBC-4715-AC52-69759D38CE90}"/>
                  </a:ext>
                </a:extLst>
              </p:cNvPr>
              <p:cNvSpPr>
                <a:spLocks noChangeArrowheads="1"/>
              </p:cNvSpPr>
              <p:nvPr/>
            </p:nvSpPr>
            <p:spPr bwMode="auto">
              <a:xfrm>
                <a:off x="295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8" name="Oval 2890">
                <a:extLst>
                  <a:ext uri="{FF2B5EF4-FFF2-40B4-BE49-F238E27FC236}">
                    <a16:creationId xmlns:a16="http://schemas.microsoft.com/office/drawing/2014/main" id="{9C612BA5-D877-4950-B95C-999FDE29B927}"/>
                  </a:ext>
                </a:extLst>
              </p:cNvPr>
              <p:cNvSpPr>
                <a:spLocks noChangeArrowheads="1"/>
              </p:cNvSpPr>
              <p:nvPr/>
            </p:nvSpPr>
            <p:spPr bwMode="auto">
              <a:xfrm>
                <a:off x="295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9" name="Oval 2891">
                <a:extLst>
                  <a:ext uri="{FF2B5EF4-FFF2-40B4-BE49-F238E27FC236}">
                    <a16:creationId xmlns:a16="http://schemas.microsoft.com/office/drawing/2014/main" id="{19867660-0785-4F9F-BD39-5E888F7A98D0}"/>
                  </a:ext>
                </a:extLst>
              </p:cNvPr>
              <p:cNvSpPr>
                <a:spLocks noChangeArrowheads="1"/>
              </p:cNvSpPr>
              <p:nvPr/>
            </p:nvSpPr>
            <p:spPr bwMode="auto">
              <a:xfrm>
                <a:off x="301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0" name="Oval 2892">
                <a:extLst>
                  <a:ext uri="{FF2B5EF4-FFF2-40B4-BE49-F238E27FC236}">
                    <a16:creationId xmlns:a16="http://schemas.microsoft.com/office/drawing/2014/main" id="{E994923B-EA94-4F76-95EB-84639CBA31EC}"/>
                  </a:ext>
                </a:extLst>
              </p:cNvPr>
              <p:cNvSpPr>
                <a:spLocks noChangeArrowheads="1"/>
              </p:cNvSpPr>
              <p:nvPr/>
            </p:nvSpPr>
            <p:spPr bwMode="auto">
              <a:xfrm>
                <a:off x="289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1" name="Oval 2893">
                <a:extLst>
                  <a:ext uri="{FF2B5EF4-FFF2-40B4-BE49-F238E27FC236}">
                    <a16:creationId xmlns:a16="http://schemas.microsoft.com/office/drawing/2014/main" id="{12568344-DCE8-4DAB-BBD2-478A78B94067}"/>
                  </a:ext>
                </a:extLst>
              </p:cNvPr>
              <p:cNvSpPr>
                <a:spLocks noChangeArrowheads="1"/>
              </p:cNvSpPr>
              <p:nvPr/>
            </p:nvSpPr>
            <p:spPr bwMode="auto">
              <a:xfrm>
                <a:off x="307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2" name="Oval 2894">
                <a:extLst>
                  <a:ext uri="{FF2B5EF4-FFF2-40B4-BE49-F238E27FC236}">
                    <a16:creationId xmlns:a16="http://schemas.microsoft.com/office/drawing/2014/main" id="{FFCF0B2D-26D4-41F9-A3E0-BD40CFF4A935}"/>
                  </a:ext>
                </a:extLst>
              </p:cNvPr>
              <p:cNvSpPr>
                <a:spLocks noChangeArrowheads="1"/>
              </p:cNvSpPr>
              <p:nvPr/>
            </p:nvSpPr>
            <p:spPr bwMode="auto">
              <a:xfrm>
                <a:off x="310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3" name="Oval 2895">
                <a:extLst>
                  <a:ext uri="{FF2B5EF4-FFF2-40B4-BE49-F238E27FC236}">
                    <a16:creationId xmlns:a16="http://schemas.microsoft.com/office/drawing/2014/main" id="{147DAC0D-AA4B-42DE-A89D-B173581DEE32}"/>
                  </a:ext>
                </a:extLst>
              </p:cNvPr>
              <p:cNvSpPr>
                <a:spLocks noChangeArrowheads="1"/>
              </p:cNvSpPr>
              <p:nvPr/>
            </p:nvSpPr>
            <p:spPr bwMode="auto">
              <a:xfrm>
                <a:off x="30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4" name="Oval 2896">
                <a:extLst>
                  <a:ext uri="{FF2B5EF4-FFF2-40B4-BE49-F238E27FC236}">
                    <a16:creationId xmlns:a16="http://schemas.microsoft.com/office/drawing/2014/main" id="{228D37EA-777E-495C-B10D-50145FFA24B9}"/>
                  </a:ext>
                </a:extLst>
              </p:cNvPr>
              <p:cNvSpPr>
                <a:spLocks noChangeArrowheads="1"/>
              </p:cNvSpPr>
              <p:nvPr/>
            </p:nvSpPr>
            <p:spPr bwMode="auto">
              <a:xfrm>
                <a:off x="295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5" name="Oval 2897">
                <a:extLst>
                  <a:ext uri="{FF2B5EF4-FFF2-40B4-BE49-F238E27FC236}">
                    <a16:creationId xmlns:a16="http://schemas.microsoft.com/office/drawing/2014/main" id="{57354CEF-6390-4D4E-AA6F-98FEF1482F57}"/>
                  </a:ext>
                </a:extLst>
              </p:cNvPr>
              <p:cNvSpPr>
                <a:spLocks noChangeArrowheads="1"/>
              </p:cNvSpPr>
              <p:nvPr/>
            </p:nvSpPr>
            <p:spPr bwMode="auto">
              <a:xfrm>
                <a:off x="292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6" name="Oval 2898">
                <a:extLst>
                  <a:ext uri="{FF2B5EF4-FFF2-40B4-BE49-F238E27FC236}">
                    <a16:creationId xmlns:a16="http://schemas.microsoft.com/office/drawing/2014/main" id="{35EC7404-490E-4C93-BFDC-A209D281604B}"/>
                  </a:ext>
                </a:extLst>
              </p:cNvPr>
              <p:cNvSpPr>
                <a:spLocks noChangeArrowheads="1"/>
              </p:cNvSpPr>
              <p:nvPr/>
            </p:nvSpPr>
            <p:spPr bwMode="auto">
              <a:xfrm>
                <a:off x="2835"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7" name="Oval 2899">
                <a:extLst>
                  <a:ext uri="{FF2B5EF4-FFF2-40B4-BE49-F238E27FC236}">
                    <a16:creationId xmlns:a16="http://schemas.microsoft.com/office/drawing/2014/main" id="{C527707F-E60C-42E2-8C30-05C35C844A79}"/>
                  </a:ext>
                </a:extLst>
              </p:cNvPr>
              <p:cNvSpPr>
                <a:spLocks noChangeArrowheads="1"/>
              </p:cNvSpPr>
              <p:nvPr/>
            </p:nvSpPr>
            <p:spPr bwMode="auto">
              <a:xfrm>
                <a:off x="277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8" name="Oval 2900">
                <a:extLst>
                  <a:ext uri="{FF2B5EF4-FFF2-40B4-BE49-F238E27FC236}">
                    <a16:creationId xmlns:a16="http://schemas.microsoft.com/office/drawing/2014/main" id="{4CDF1465-152C-4C6C-A7E7-81DD775ADB8A}"/>
                  </a:ext>
                </a:extLst>
              </p:cNvPr>
              <p:cNvSpPr>
                <a:spLocks noChangeArrowheads="1"/>
              </p:cNvSpPr>
              <p:nvPr/>
            </p:nvSpPr>
            <p:spPr bwMode="auto">
              <a:xfrm>
                <a:off x="271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9" name="Oval 2901">
                <a:extLst>
                  <a:ext uri="{FF2B5EF4-FFF2-40B4-BE49-F238E27FC236}">
                    <a16:creationId xmlns:a16="http://schemas.microsoft.com/office/drawing/2014/main" id="{042BCE62-8356-4D7E-A8C7-828E7BC72E44}"/>
                  </a:ext>
                </a:extLst>
              </p:cNvPr>
              <p:cNvSpPr>
                <a:spLocks noChangeArrowheads="1"/>
              </p:cNvSpPr>
              <p:nvPr/>
            </p:nvSpPr>
            <p:spPr bwMode="auto">
              <a:xfrm>
                <a:off x="274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0" name="Oval 2902">
                <a:extLst>
                  <a:ext uri="{FF2B5EF4-FFF2-40B4-BE49-F238E27FC236}">
                    <a16:creationId xmlns:a16="http://schemas.microsoft.com/office/drawing/2014/main" id="{FD00AB39-BC78-4925-BE74-0E634806DA1A}"/>
                  </a:ext>
                </a:extLst>
              </p:cNvPr>
              <p:cNvSpPr>
                <a:spLocks noChangeArrowheads="1"/>
              </p:cNvSpPr>
              <p:nvPr/>
            </p:nvSpPr>
            <p:spPr bwMode="auto">
              <a:xfrm>
                <a:off x="2805"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1" name="Oval 2903">
                <a:extLst>
                  <a:ext uri="{FF2B5EF4-FFF2-40B4-BE49-F238E27FC236}">
                    <a16:creationId xmlns:a16="http://schemas.microsoft.com/office/drawing/2014/main" id="{6A22973D-9034-479B-8152-4A5F540036E8}"/>
                  </a:ext>
                </a:extLst>
              </p:cNvPr>
              <p:cNvSpPr>
                <a:spLocks noChangeArrowheads="1"/>
              </p:cNvSpPr>
              <p:nvPr/>
            </p:nvSpPr>
            <p:spPr bwMode="auto">
              <a:xfrm>
                <a:off x="27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2" name="Oval 2904">
                <a:extLst>
                  <a:ext uri="{FF2B5EF4-FFF2-40B4-BE49-F238E27FC236}">
                    <a16:creationId xmlns:a16="http://schemas.microsoft.com/office/drawing/2014/main" id="{0BB0FE06-4A83-454A-A028-D27823BDE29A}"/>
                  </a:ext>
                </a:extLst>
              </p:cNvPr>
              <p:cNvSpPr>
                <a:spLocks noChangeArrowheads="1"/>
              </p:cNvSpPr>
              <p:nvPr/>
            </p:nvSpPr>
            <p:spPr bwMode="auto">
              <a:xfrm>
                <a:off x="2745"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3" name="Oval 2905">
                <a:extLst>
                  <a:ext uri="{FF2B5EF4-FFF2-40B4-BE49-F238E27FC236}">
                    <a16:creationId xmlns:a16="http://schemas.microsoft.com/office/drawing/2014/main" id="{837D79BA-849A-4DB8-B2EE-4A98E2F2FF1F}"/>
                  </a:ext>
                </a:extLst>
              </p:cNvPr>
              <p:cNvSpPr>
                <a:spLocks noChangeArrowheads="1"/>
              </p:cNvSpPr>
              <p:nvPr/>
            </p:nvSpPr>
            <p:spPr bwMode="auto">
              <a:xfrm>
                <a:off x="25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4" name="Oval 2906">
                <a:extLst>
                  <a:ext uri="{FF2B5EF4-FFF2-40B4-BE49-F238E27FC236}">
                    <a16:creationId xmlns:a16="http://schemas.microsoft.com/office/drawing/2014/main" id="{B189E087-FAB4-4D91-BF9E-F4FAD3CD24A1}"/>
                  </a:ext>
                </a:extLst>
              </p:cNvPr>
              <p:cNvSpPr>
                <a:spLocks noChangeArrowheads="1"/>
              </p:cNvSpPr>
              <p:nvPr/>
            </p:nvSpPr>
            <p:spPr bwMode="auto">
              <a:xfrm>
                <a:off x="259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5" name="Oval 2907">
                <a:extLst>
                  <a:ext uri="{FF2B5EF4-FFF2-40B4-BE49-F238E27FC236}">
                    <a16:creationId xmlns:a16="http://schemas.microsoft.com/office/drawing/2014/main" id="{4BDCDA1D-7786-4B28-B171-0E14EC39255D}"/>
                  </a:ext>
                </a:extLst>
              </p:cNvPr>
              <p:cNvSpPr>
                <a:spLocks noChangeArrowheads="1"/>
              </p:cNvSpPr>
              <p:nvPr/>
            </p:nvSpPr>
            <p:spPr bwMode="auto">
              <a:xfrm>
                <a:off x="262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6" name="Oval 2908">
                <a:extLst>
                  <a:ext uri="{FF2B5EF4-FFF2-40B4-BE49-F238E27FC236}">
                    <a16:creationId xmlns:a16="http://schemas.microsoft.com/office/drawing/2014/main" id="{E4C50688-3F31-4CAE-AEBE-FACD2CCC327E}"/>
                  </a:ext>
                </a:extLst>
              </p:cNvPr>
              <p:cNvSpPr>
                <a:spLocks noChangeArrowheads="1"/>
              </p:cNvSpPr>
              <p:nvPr/>
            </p:nvSpPr>
            <p:spPr bwMode="auto">
              <a:xfrm>
                <a:off x="2655"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7" name="Oval 2909">
                <a:extLst>
                  <a:ext uri="{FF2B5EF4-FFF2-40B4-BE49-F238E27FC236}">
                    <a16:creationId xmlns:a16="http://schemas.microsoft.com/office/drawing/2014/main" id="{96BA625D-19CA-46F0-85CD-42EEE0FCA425}"/>
                  </a:ext>
                </a:extLst>
              </p:cNvPr>
              <p:cNvSpPr>
                <a:spLocks noChangeArrowheads="1"/>
              </p:cNvSpPr>
              <p:nvPr/>
            </p:nvSpPr>
            <p:spPr bwMode="auto">
              <a:xfrm>
                <a:off x="271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8" name="Oval 2910">
                <a:extLst>
                  <a:ext uri="{FF2B5EF4-FFF2-40B4-BE49-F238E27FC236}">
                    <a16:creationId xmlns:a16="http://schemas.microsoft.com/office/drawing/2014/main" id="{8490CD7D-76A0-49E6-A350-AE2E935E74E6}"/>
                  </a:ext>
                </a:extLst>
              </p:cNvPr>
              <p:cNvSpPr>
                <a:spLocks noChangeArrowheads="1"/>
              </p:cNvSpPr>
              <p:nvPr/>
            </p:nvSpPr>
            <p:spPr bwMode="auto">
              <a:xfrm>
                <a:off x="262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9" name="Oval 2911">
                <a:extLst>
                  <a:ext uri="{FF2B5EF4-FFF2-40B4-BE49-F238E27FC236}">
                    <a16:creationId xmlns:a16="http://schemas.microsoft.com/office/drawing/2014/main" id="{E253F905-BC42-488F-86D5-37DFE188CD5D}"/>
                  </a:ext>
                </a:extLst>
              </p:cNvPr>
              <p:cNvSpPr>
                <a:spLocks noChangeArrowheads="1"/>
              </p:cNvSpPr>
              <p:nvPr/>
            </p:nvSpPr>
            <p:spPr bwMode="auto">
              <a:xfrm>
                <a:off x="256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0" name="Oval 2912">
                <a:extLst>
                  <a:ext uri="{FF2B5EF4-FFF2-40B4-BE49-F238E27FC236}">
                    <a16:creationId xmlns:a16="http://schemas.microsoft.com/office/drawing/2014/main" id="{8A86CCA5-D1A0-4A44-BFEC-3EA94DBBB573}"/>
                  </a:ext>
                </a:extLst>
              </p:cNvPr>
              <p:cNvSpPr>
                <a:spLocks noChangeArrowheads="1"/>
              </p:cNvSpPr>
              <p:nvPr/>
            </p:nvSpPr>
            <p:spPr bwMode="auto">
              <a:xfrm>
                <a:off x="27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1" name="Oval 2913">
                <a:extLst>
                  <a:ext uri="{FF2B5EF4-FFF2-40B4-BE49-F238E27FC236}">
                    <a16:creationId xmlns:a16="http://schemas.microsoft.com/office/drawing/2014/main" id="{378A7E07-936C-4DEB-9ACA-116F116668E5}"/>
                  </a:ext>
                </a:extLst>
              </p:cNvPr>
              <p:cNvSpPr>
                <a:spLocks noChangeArrowheads="1"/>
              </p:cNvSpPr>
              <p:nvPr/>
            </p:nvSpPr>
            <p:spPr bwMode="auto">
              <a:xfrm>
                <a:off x="265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2" name="Oval 2914">
                <a:extLst>
                  <a:ext uri="{FF2B5EF4-FFF2-40B4-BE49-F238E27FC236}">
                    <a16:creationId xmlns:a16="http://schemas.microsoft.com/office/drawing/2014/main" id="{517DCB3C-F8C2-4B9F-AEDE-B61D385677E6}"/>
                  </a:ext>
                </a:extLst>
              </p:cNvPr>
              <p:cNvSpPr>
                <a:spLocks noChangeArrowheads="1"/>
              </p:cNvSpPr>
              <p:nvPr/>
            </p:nvSpPr>
            <p:spPr bwMode="auto">
              <a:xfrm>
                <a:off x="25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3" name="Oval 2915">
                <a:extLst>
                  <a:ext uri="{FF2B5EF4-FFF2-40B4-BE49-F238E27FC236}">
                    <a16:creationId xmlns:a16="http://schemas.microsoft.com/office/drawing/2014/main" id="{94225FB2-C19D-44F4-92DD-5B0F6A9A2FE5}"/>
                  </a:ext>
                </a:extLst>
              </p:cNvPr>
              <p:cNvSpPr>
                <a:spLocks noChangeArrowheads="1"/>
              </p:cNvSpPr>
              <p:nvPr/>
            </p:nvSpPr>
            <p:spPr bwMode="auto">
              <a:xfrm>
                <a:off x="2805"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4" name="Oval 2916">
                <a:extLst>
                  <a:ext uri="{FF2B5EF4-FFF2-40B4-BE49-F238E27FC236}">
                    <a16:creationId xmlns:a16="http://schemas.microsoft.com/office/drawing/2014/main" id="{801695D1-9CD5-40E7-88CB-86B28750DED1}"/>
                  </a:ext>
                </a:extLst>
              </p:cNvPr>
              <p:cNvSpPr>
                <a:spLocks noChangeArrowheads="1"/>
              </p:cNvSpPr>
              <p:nvPr/>
            </p:nvSpPr>
            <p:spPr bwMode="auto">
              <a:xfrm>
                <a:off x="307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5" name="Oval 2917">
                <a:extLst>
                  <a:ext uri="{FF2B5EF4-FFF2-40B4-BE49-F238E27FC236}">
                    <a16:creationId xmlns:a16="http://schemas.microsoft.com/office/drawing/2014/main" id="{22172FB8-6206-4B2B-AB26-BC883DAF3A63}"/>
                  </a:ext>
                </a:extLst>
              </p:cNvPr>
              <p:cNvSpPr>
                <a:spLocks noChangeArrowheads="1"/>
              </p:cNvSpPr>
              <p:nvPr/>
            </p:nvSpPr>
            <p:spPr bwMode="auto">
              <a:xfrm>
                <a:off x="301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6" name="Oval 2918">
                <a:extLst>
                  <a:ext uri="{FF2B5EF4-FFF2-40B4-BE49-F238E27FC236}">
                    <a16:creationId xmlns:a16="http://schemas.microsoft.com/office/drawing/2014/main" id="{30491518-0C55-439E-981F-7DD36E1168C4}"/>
                  </a:ext>
                </a:extLst>
              </p:cNvPr>
              <p:cNvSpPr>
                <a:spLocks noChangeArrowheads="1"/>
              </p:cNvSpPr>
              <p:nvPr/>
            </p:nvSpPr>
            <p:spPr bwMode="auto">
              <a:xfrm>
                <a:off x="289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7" name="Oval 2919">
                <a:extLst>
                  <a:ext uri="{FF2B5EF4-FFF2-40B4-BE49-F238E27FC236}">
                    <a16:creationId xmlns:a16="http://schemas.microsoft.com/office/drawing/2014/main" id="{DA45C5E6-9C86-488D-BD92-034A26525EDB}"/>
                  </a:ext>
                </a:extLst>
              </p:cNvPr>
              <p:cNvSpPr>
                <a:spLocks noChangeArrowheads="1"/>
              </p:cNvSpPr>
              <p:nvPr/>
            </p:nvSpPr>
            <p:spPr bwMode="auto">
              <a:xfrm>
                <a:off x="274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8" name="Oval 2920">
                <a:extLst>
                  <a:ext uri="{FF2B5EF4-FFF2-40B4-BE49-F238E27FC236}">
                    <a16:creationId xmlns:a16="http://schemas.microsoft.com/office/drawing/2014/main" id="{10B600A0-5B0E-47E4-9B9F-411FD40D04C3}"/>
                  </a:ext>
                </a:extLst>
              </p:cNvPr>
              <p:cNvSpPr>
                <a:spLocks noChangeArrowheads="1"/>
              </p:cNvSpPr>
              <p:nvPr/>
            </p:nvSpPr>
            <p:spPr bwMode="auto">
              <a:xfrm>
                <a:off x="259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9" name="Oval 2921">
                <a:extLst>
                  <a:ext uri="{FF2B5EF4-FFF2-40B4-BE49-F238E27FC236}">
                    <a16:creationId xmlns:a16="http://schemas.microsoft.com/office/drawing/2014/main" id="{2157A787-09EF-441D-9C75-641326A721F4}"/>
                  </a:ext>
                </a:extLst>
              </p:cNvPr>
              <p:cNvSpPr>
                <a:spLocks noChangeArrowheads="1"/>
              </p:cNvSpPr>
              <p:nvPr/>
            </p:nvSpPr>
            <p:spPr bwMode="auto">
              <a:xfrm>
                <a:off x="262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0" name="Oval 2922">
                <a:extLst>
                  <a:ext uri="{FF2B5EF4-FFF2-40B4-BE49-F238E27FC236}">
                    <a16:creationId xmlns:a16="http://schemas.microsoft.com/office/drawing/2014/main" id="{78DC2E9A-7DC8-42C9-92AF-A1425898C4B0}"/>
                  </a:ext>
                </a:extLst>
              </p:cNvPr>
              <p:cNvSpPr>
                <a:spLocks noChangeArrowheads="1"/>
              </p:cNvSpPr>
              <p:nvPr/>
            </p:nvSpPr>
            <p:spPr bwMode="auto">
              <a:xfrm>
                <a:off x="2955" y="3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1" name="Oval 2923">
                <a:extLst>
                  <a:ext uri="{FF2B5EF4-FFF2-40B4-BE49-F238E27FC236}">
                    <a16:creationId xmlns:a16="http://schemas.microsoft.com/office/drawing/2014/main" id="{50EAE111-34A6-42AF-B8E4-B7F1B3EF3430}"/>
                  </a:ext>
                </a:extLst>
              </p:cNvPr>
              <p:cNvSpPr>
                <a:spLocks noChangeArrowheads="1"/>
              </p:cNvSpPr>
              <p:nvPr/>
            </p:nvSpPr>
            <p:spPr bwMode="auto">
              <a:xfrm>
                <a:off x="304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2" name="Oval 2924">
                <a:extLst>
                  <a:ext uri="{FF2B5EF4-FFF2-40B4-BE49-F238E27FC236}">
                    <a16:creationId xmlns:a16="http://schemas.microsoft.com/office/drawing/2014/main" id="{189F895D-DB9E-482D-B748-1274DF666BF6}"/>
                  </a:ext>
                </a:extLst>
              </p:cNvPr>
              <p:cNvSpPr>
                <a:spLocks noChangeArrowheads="1"/>
              </p:cNvSpPr>
              <p:nvPr/>
            </p:nvSpPr>
            <p:spPr bwMode="auto">
              <a:xfrm>
                <a:off x="286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3" name="Oval 2925">
                <a:extLst>
                  <a:ext uri="{FF2B5EF4-FFF2-40B4-BE49-F238E27FC236}">
                    <a16:creationId xmlns:a16="http://schemas.microsoft.com/office/drawing/2014/main" id="{1AA5ED54-EA92-4D92-AA28-D3BA8955C413}"/>
                  </a:ext>
                </a:extLst>
              </p:cNvPr>
              <p:cNvSpPr>
                <a:spLocks noChangeArrowheads="1"/>
              </p:cNvSpPr>
              <p:nvPr/>
            </p:nvSpPr>
            <p:spPr bwMode="auto">
              <a:xfrm>
                <a:off x="274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4" name="Oval 2926">
                <a:extLst>
                  <a:ext uri="{FF2B5EF4-FFF2-40B4-BE49-F238E27FC236}">
                    <a16:creationId xmlns:a16="http://schemas.microsoft.com/office/drawing/2014/main" id="{E65749A6-F455-4008-93B2-1D212B56A66F}"/>
                  </a:ext>
                </a:extLst>
              </p:cNvPr>
              <p:cNvSpPr>
                <a:spLocks noChangeArrowheads="1"/>
              </p:cNvSpPr>
              <p:nvPr/>
            </p:nvSpPr>
            <p:spPr bwMode="auto">
              <a:xfrm>
                <a:off x="283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5" name="Oval 2927">
                <a:extLst>
                  <a:ext uri="{FF2B5EF4-FFF2-40B4-BE49-F238E27FC236}">
                    <a16:creationId xmlns:a16="http://schemas.microsoft.com/office/drawing/2014/main" id="{8AE38A02-804F-417D-8959-9FC1F84A8FB0}"/>
                  </a:ext>
                </a:extLst>
              </p:cNvPr>
              <p:cNvSpPr>
                <a:spLocks noChangeArrowheads="1"/>
              </p:cNvSpPr>
              <p:nvPr/>
            </p:nvSpPr>
            <p:spPr bwMode="auto">
              <a:xfrm>
                <a:off x="277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6" name="Oval 2928">
                <a:extLst>
                  <a:ext uri="{FF2B5EF4-FFF2-40B4-BE49-F238E27FC236}">
                    <a16:creationId xmlns:a16="http://schemas.microsoft.com/office/drawing/2014/main" id="{2F63D72B-FB4D-4288-ABB1-29C79EBEECB7}"/>
                  </a:ext>
                </a:extLst>
              </p:cNvPr>
              <p:cNvSpPr>
                <a:spLocks noChangeArrowheads="1"/>
              </p:cNvSpPr>
              <p:nvPr/>
            </p:nvSpPr>
            <p:spPr bwMode="auto">
              <a:xfrm>
                <a:off x="301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7" name="Oval 2929">
                <a:extLst>
                  <a:ext uri="{FF2B5EF4-FFF2-40B4-BE49-F238E27FC236}">
                    <a16:creationId xmlns:a16="http://schemas.microsoft.com/office/drawing/2014/main" id="{14AFFA27-3C35-48D4-9CF2-A3595B4F4063}"/>
                  </a:ext>
                </a:extLst>
              </p:cNvPr>
              <p:cNvSpPr>
                <a:spLocks noChangeArrowheads="1"/>
              </p:cNvSpPr>
              <p:nvPr/>
            </p:nvSpPr>
            <p:spPr bwMode="auto">
              <a:xfrm>
                <a:off x="3015"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8" name="Oval 2930">
                <a:extLst>
                  <a:ext uri="{FF2B5EF4-FFF2-40B4-BE49-F238E27FC236}">
                    <a16:creationId xmlns:a16="http://schemas.microsoft.com/office/drawing/2014/main" id="{08CAD3FA-DD33-421C-B1B7-46ACEB74F031}"/>
                  </a:ext>
                </a:extLst>
              </p:cNvPr>
              <p:cNvSpPr>
                <a:spLocks noChangeArrowheads="1"/>
              </p:cNvSpPr>
              <p:nvPr/>
            </p:nvSpPr>
            <p:spPr bwMode="auto">
              <a:xfrm>
                <a:off x="283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9" name="Oval 2931">
                <a:extLst>
                  <a:ext uri="{FF2B5EF4-FFF2-40B4-BE49-F238E27FC236}">
                    <a16:creationId xmlns:a16="http://schemas.microsoft.com/office/drawing/2014/main" id="{257DDF8C-1B9E-4DA1-9A68-4CB4685AA88F}"/>
                  </a:ext>
                </a:extLst>
              </p:cNvPr>
              <p:cNvSpPr>
                <a:spLocks noChangeArrowheads="1"/>
              </p:cNvSpPr>
              <p:nvPr/>
            </p:nvSpPr>
            <p:spPr bwMode="auto">
              <a:xfrm>
                <a:off x="274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0" name="Oval 2932">
                <a:extLst>
                  <a:ext uri="{FF2B5EF4-FFF2-40B4-BE49-F238E27FC236}">
                    <a16:creationId xmlns:a16="http://schemas.microsoft.com/office/drawing/2014/main" id="{E8435892-2917-4FB3-8134-271FD90822C6}"/>
                  </a:ext>
                </a:extLst>
              </p:cNvPr>
              <p:cNvSpPr>
                <a:spLocks noChangeArrowheads="1"/>
              </p:cNvSpPr>
              <p:nvPr/>
            </p:nvSpPr>
            <p:spPr bwMode="auto">
              <a:xfrm>
                <a:off x="25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1" name="Oval 2933">
                <a:extLst>
                  <a:ext uri="{FF2B5EF4-FFF2-40B4-BE49-F238E27FC236}">
                    <a16:creationId xmlns:a16="http://schemas.microsoft.com/office/drawing/2014/main" id="{DC0FDAD4-0A6C-49B6-BAA8-C7DBB6D07DBD}"/>
                  </a:ext>
                </a:extLst>
              </p:cNvPr>
              <p:cNvSpPr>
                <a:spLocks noChangeArrowheads="1"/>
              </p:cNvSpPr>
              <p:nvPr/>
            </p:nvSpPr>
            <p:spPr bwMode="auto">
              <a:xfrm>
                <a:off x="24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2" name="Oval 2934">
                <a:extLst>
                  <a:ext uri="{FF2B5EF4-FFF2-40B4-BE49-F238E27FC236}">
                    <a16:creationId xmlns:a16="http://schemas.microsoft.com/office/drawing/2014/main" id="{3CD46D45-384A-443C-9751-1CBD7DC1169C}"/>
                  </a:ext>
                </a:extLst>
              </p:cNvPr>
              <p:cNvSpPr>
                <a:spLocks noChangeArrowheads="1"/>
              </p:cNvSpPr>
              <p:nvPr/>
            </p:nvSpPr>
            <p:spPr bwMode="auto">
              <a:xfrm>
                <a:off x="238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3" name="Oval 2935">
                <a:extLst>
                  <a:ext uri="{FF2B5EF4-FFF2-40B4-BE49-F238E27FC236}">
                    <a16:creationId xmlns:a16="http://schemas.microsoft.com/office/drawing/2014/main" id="{399FD0FB-3FE1-4F4B-B8D0-75A0ACE3EADE}"/>
                  </a:ext>
                </a:extLst>
              </p:cNvPr>
              <p:cNvSpPr>
                <a:spLocks noChangeArrowheads="1"/>
              </p:cNvSpPr>
              <p:nvPr/>
            </p:nvSpPr>
            <p:spPr bwMode="auto">
              <a:xfrm>
                <a:off x="256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4" name="Oval 2936">
                <a:extLst>
                  <a:ext uri="{FF2B5EF4-FFF2-40B4-BE49-F238E27FC236}">
                    <a16:creationId xmlns:a16="http://schemas.microsoft.com/office/drawing/2014/main" id="{99526C2F-E36E-442C-A620-754621E3E91C}"/>
                  </a:ext>
                </a:extLst>
              </p:cNvPr>
              <p:cNvSpPr>
                <a:spLocks noChangeArrowheads="1"/>
              </p:cNvSpPr>
              <p:nvPr/>
            </p:nvSpPr>
            <p:spPr bwMode="auto">
              <a:xfrm>
                <a:off x="232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5" name="Oval 2937">
                <a:extLst>
                  <a:ext uri="{FF2B5EF4-FFF2-40B4-BE49-F238E27FC236}">
                    <a16:creationId xmlns:a16="http://schemas.microsoft.com/office/drawing/2014/main" id="{D499C528-6C69-44AE-A33F-28AD4409A4BF}"/>
                  </a:ext>
                </a:extLst>
              </p:cNvPr>
              <p:cNvSpPr>
                <a:spLocks noChangeArrowheads="1"/>
              </p:cNvSpPr>
              <p:nvPr/>
            </p:nvSpPr>
            <p:spPr bwMode="auto">
              <a:xfrm>
                <a:off x="250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6" name="Oval 2938">
                <a:extLst>
                  <a:ext uri="{FF2B5EF4-FFF2-40B4-BE49-F238E27FC236}">
                    <a16:creationId xmlns:a16="http://schemas.microsoft.com/office/drawing/2014/main" id="{122BBDAE-7CEE-4E5C-9E5A-884CEBF528B9}"/>
                  </a:ext>
                </a:extLst>
              </p:cNvPr>
              <p:cNvSpPr>
                <a:spLocks noChangeArrowheads="1"/>
              </p:cNvSpPr>
              <p:nvPr/>
            </p:nvSpPr>
            <p:spPr bwMode="auto">
              <a:xfrm>
                <a:off x="238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7" name="Oval 2939">
                <a:extLst>
                  <a:ext uri="{FF2B5EF4-FFF2-40B4-BE49-F238E27FC236}">
                    <a16:creationId xmlns:a16="http://schemas.microsoft.com/office/drawing/2014/main" id="{ABE9CB51-E433-4CC5-B1DE-0A912AF4A006}"/>
                  </a:ext>
                </a:extLst>
              </p:cNvPr>
              <p:cNvSpPr>
                <a:spLocks noChangeArrowheads="1"/>
              </p:cNvSpPr>
              <p:nvPr/>
            </p:nvSpPr>
            <p:spPr bwMode="auto">
              <a:xfrm>
                <a:off x="244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8" name="Oval 2940">
                <a:extLst>
                  <a:ext uri="{FF2B5EF4-FFF2-40B4-BE49-F238E27FC236}">
                    <a16:creationId xmlns:a16="http://schemas.microsoft.com/office/drawing/2014/main" id="{989138DF-96F2-4F60-BA52-3F96C05078ED}"/>
                  </a:ext>
                </a:extLst>
              </p:cNvPr>
              <p:cNvSpPr>
                <a:spLocks noChangeArrowheads="1"/>
              </p:cNvSpPr>
              <p:nvPr/>
            </p:nvSpPr>
            <p:spPr bwMode="auto">
              <a:xfrm>
                <a:off x="250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9" name="Oval 2941">
                <a:extLst>
                  <a:ext uri="{FF2B5EF4-FFF2-40B4-BE49-F238E27FC236}">
                    <a16:creationId xmlns:a16="http://schemas.microsoft.com/office/drawing/2014/main" id="{4CC04F2D-3FFE-4F0E-A2B8-1AA02CC159AC}"/>
                  </a:ext>
                </a:extLst>
              </p:cNvPr>
              <p:cNvSpPr>
                <a:spLocks noChangeArrowheads="1"/>
              </p:cNvSpPr>
              <p:nvPr/>
            </p:nvSpPr>
            <p:spPr bwMode="auto">
              <a:xfrm>
                <a:off x="256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0" name="Oval 2942">
                <a:extLst>
                  <a:ext uri="{FF2B5EF4-FFF2-40B4-BE49-F238E27FC236}">
                    <a16:creationId xmlns:a16="http://schemas.microsoft.com/office/drawing/2014/main" id="{0A04AA88-8DF8-4E5F-A3CE-EA56C7846AB8}"/>
                  </a:ext>
                </a:extLst>
              </p:cNvPr>
              <p:cNvSpPr>
                <a:spLocks noChangeArrowheads="1"/>
              </p:cNvSpPr>
              <p:nvPr/>
            </p:nvSpPr>
            <p:spPr bwMode="auto">
              <a:xfrm>
                <a:off x="244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1" name="Oval 2943">
                <a:extLst>
                  <a:ext uri="{FF2B5EF4-FFF2-40B4-BE49-F238E27FC236}">
                    <a16:creationId xmlns:a16="http://schemas.microsoft.com/office/drawing/2014/main" id="{7F431B9D-ED43-4D03-925D-63DCB1A4E9DD}"/>
                  </a:ext>
                </a:extLst>
              </p:cNvPr>
              <p:cNvSpPr>
                <a:spLocks noChangeArrowheads="1"/>
              </p:cNvSpPr>
              <p:nvPr/>
            </p:nvSpPr>
            <p:spPr bwMode="auto">
              <a:xfrm>
                <a:off x="238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2" name="Oval 2944">
                <a:extLst>
                  <a:ext uri="{FF2B5EF4-FFF2-40B4-BE49-F238E27FC236}">
                    <a16:creationId xmlns:a16="http://schemas.microsoft.com/office/drawing/2014/main" id="{85D70196-6357-42BF-9DCE-1E0096E03708}"/>
                  </a:ext>
                </a:extLst>
              </p:cNvPr>
              <p:cNvSpPr>
                <a:spLocks noChangeArrowheads="1"/>
              </p:cNvSpPr>
              <p:nvPr/>
            </p:nvSpPr>
            <p:spPr bwMode="auto">
              <a:xfrm>
                <a:off x="238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3" name="Oval 2945">
                <a:extLst>
                  <a:ext uri="{FF2B5EF4-FFF2-40B4-BE49-F238E27FC236}">
                    <a16:creationId xmlns:a16="http://schemas.microsoft.com/office/drawing/2014/main" id="{37FEBE67-5146-466F-A2B9-7C0CE98F448F}"/>
                  </a:ext>
                </a:extLst>
              </p:cNvPr>
              <p:cNvSpPr>
                <a:spLocks noChangeArrowheads="1"/>
              </p:cNvSpPr>
              <p:nvPr/>
            </p:nvSpPr>
            <p:spPr bwMode="auto">
              <a:xfrm>
                <a:off x="250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4" name="Oval 2946">
                <a:extLst>
                  <a:ext uri="{FF2B5EF4-FFF2-40B4-BE49-F238E27FC236}">
                    <a16:creationId xmlns:a16="http://schemas.microsoft.com/office/drawing/2014/main" id="{450BE7C7-8470-4DD0-9502-8084F9A91AEC}"/>
                  </a:ext>
                </a:extLst>
              </p:cNvPr>
              <p:cNvSpPr>
                <a:spLocks noChangeArrowheads="1"/>
              </p:cNvSpPr>
              <p:nvPr/>
            </p:nvSpPr>
            <p:spPr bwMode="auto">
              <a:xfrm>
                <a:off x="232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5" name="Oval 2947">
                <a:extLst>
                  <a:ext uri="{FF2B5EF4-FFF2-40B4-BE49-F238E27FC236}">
                    <a16:creationId xmlns:a16="http://schemas.microsoft.com/office/drawing/2014/main" id="{E07194E5-6957-4BF9-9E4B-1CAC84E5D81D}"/>
                  </a:ext>
                </a:extLst>
              </p:cNvPr>
              <p:cNvSpPr>
                <a:spLocks noChangeArrowheads="1"/>
              </p:cNvSpPr>
              <p:nvPr/>
            </p:nvSpPr>
            <p:spPr bwMode="auto">
              <a:xfrm>
                <a:off x="247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6" name="Oval 2948">
                <a:extLst>
                  <a:ext uri="{FF2B5EF4-FFF2-40B4-BE49-F238E27FC236}">
                    <a16:creationId xmlns:a16="http://schemas.microsoft.com/office/drawing/2014/main" id="{D0BD3456-68CB-480D-91DE-883F4FF0A753}"/>
                  </a:ext>
                </a:extLst>
              </p:cNvPr>
              <p:cNvSpPr>
                <a:spLocks noChangeArrowheads="1"/>
              </p:cNvSpPr>
              <p:nvPr/>
            </p:nvSpPr>
            <p:spPr bwMode="auto">
              <a:xfrm>
                <a:off x="244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7" name="Oval 2949">
                <a:extLst>
                  <a:ext uri="{FF2B5EF4-FFF2-40B4-BE49-F238E27FC236}">
                    <a16:creationId xmlns:a16="http://schemas.microsoft.com/office/drawing/2014/main" id="{559F93C6-16F9-4DFD-8806-7C5FFE9CC924}"/>
                  </a:ext>
                </a:extLst>
              </p:cNvPr>
              <p:cNvSpPr>
                <a:spLocks noChangeArrowheads="1"/>
              </p:cNvSpPr>
              <p:nvPr/>
            </p:nvSpPr>
            <p:spPr bwMode="auto">
              <a:xfrm>
                <a:off x="223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8" name="Oval 2950">
                <a:extLst>
                  <a:ext uri="{FF2B5EF4-FFF2-40B4-BE49-F238E27FC236}">
                    <a16:creationId xmlns:a16="http://schemas.microsoft.com/office/drawing/2014/main" id="{DA547076-2C54-4A48-8E8E-ECF41F1B9875}"/>
                  </a:ext>
                </a:extLst>
              </p:cNvPr>
              <p:cNvSpPr>
                <a:spLocks noChangeArrowheads="1"/>
              </p:cNvSpPr>
              <p:nvPr/>
            </p:nvSpPr>
            <p:spPr bwMode="auto">
              <a:xfrm>
                <a:off x="223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9" name="Oval 2951">
                <a:extLst>
                  <a:ext uri="{FF2B5EF4-FFF2-40B4-BE49-F238E27FC236}">
                    <a16:creationId xmlns:a16="http://schemas.microsoft.com/office/drawing/2014/main" id="{9C647759-A04A-4324-856D-612894F6F266}"/>
                  </a:ext>
                </a:extLst>
              </p:cNvPr>
              <p:cNvSpPr>
                <a:spLocks noChangeArrowheads="1"/>
              </p:cNvSpPr>
              <p:nvPr/>
            </p:nvSpPr>
            <p:spPr bwMode="auto">
              <a:xfrm>
                <a:off x="235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0" name="Oval 2952">
                <a:extLst>
                  <a:ext uri="{FF2B5EF4-FFF2-40B4-BE49-F238E27FC236}">
                    <a16:creationId xmlns:a16="http://schemas.microsoft.com/office/drawing/2014/main" id="{F227F914-78DF-4EF4-81CF-6292BB00FBBD}"/>
                  </a:ext>
                </a:extLst>
              </p:cNvPr>
              <p:cNvSpPr>
                <a:spLocks noChangeArrowheads="1"/>
              </p:cNvSpPr>
              <p:nvPr/>
            </p:nvSpPr>
            <p:spPr bwMode="auto">
              <a:xfrm>
                <a:off x="244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1" name="Oval 2953">
                <a:extLst>
                  <a:ext uri="{FF2B5EF4-FFF2-40B4-BE49-F238E27FC236}">
                    <a16:creationId xmlns:a16="http://schemas.microsoft.com/office/drawing/2014/main" id="{90CD9D5B-BA46-416E-A484-3A0257873F04}"/>
                  </a:ext>
                </a:extLst>
              </p:cNvPr>
              <p:cNvSpPr>
                <a:spLocks noChangeArrowheads="1"/>
              </p:cNvSpPr>
              <p:nvPr/>
            </p:nvSpPr>
            <p:spPr bwMode="auto">
              <a:xfrm>
                <a:off x="250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2" name="Oval 2954">
                <a:extLst>
                  <a:ext uri="{FF2B5EF4-FFF2-40B4-BE49-F238E27FC236}">
                    <a16:creationId xmlns:a16="http://schemas.microsoft.com/office/drawing/2014/main" id="{C567D3CC-CC56-4704-9ED5-FE07EB136A22}"/>
                  </a:ext>
                </a:extLst>
              </p:cNvPr>
              <p:cNvSpPr>
                <a:spLocks noChangeArrowheads="1"/>
              </p:cNvSpPr>
              <p:nvPr/>
            </p:nvSpPr>
            <p:spPr bwMode="auto">
              <a:xfrm>
                <a:off x="247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3" name="Oval 2955">
                <a:extLst>
                  <a:ext uri="{FF2B5EF4-FFF2-40B4-BE49-F238E27FC236}">
                    <a16:creationId xmlns:a16="http://schemas.microsoft.com/office/drawing/2014/main" id="{952EE973-492E-4308-970E-F9C0C5EF4CED}"/>
                  </a:ext>
                </a:extLst>
              </p:cNvPr>
              <p:cNvSpPr>
                <a:spLocks noChangeArrowheads="1"/>
              </p:cNvSpPr>
              <p:nvPr/>
            </p:nvSpPr>
            <p:spPr bwMode="auto">
              <a:xfrm>
                <a:off x="235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4" name="Oval 2956">
                <a:extLst>
                  <a:ext uri="{FF2B5EF4-FFF2-40B4-BE49-F238E27FC236}">
                    <a16:creationId xmlns:a16="http://schemas.microsoft.com/office/drawing/2014/main" id="{DC2E5150-DBCB-41B6-8777-3723EA4B8908}"/>
                  </a:ext>
                </a:extLst>
              </p:cNvPr>
              <p:cNvSpPr>
                <a:spLocks noChangeArrowheads="1"/>
              </p:cNvSpPr>
              <p:nvPr/>
            </p:nvSpPr>
            <p:spPr bwMode="auto">
              <a:xfrm>
                <a:off x="229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5" name="Oval 2957">
                <a:extLst>
                  <a:ext uri="{FF2B5EF4-FFF2-40B4-BE49-F238E27FC236}">
                    <a16:creationId xmlns:a16="http://schemas.microsoft.com/office/drawing/2014/main" id="{03C8B8F1-F7CA-4056-98FE-50B33038577E}"/>
                  </a:ext>
                </a:extLst>
              </p:cNvPr>
              <p:cNvSpPr>
                <a:spLocks noChangeArrowheads="1"/>
              </p:cNvSpPr>
              <p:nvPr/>
            </p:nvSpPr>
            <p:spPr bwMode="auto">
              <a:xfrm>
                <a:off x="223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6" name="Oval 2958">
                <a:extLst>
                  <a:ext uri="{FF2B5EF4-FFF2-40B4-BE49-F238E27FC236}">
                    <a16:creationId xmlns:a16="http://schemas.microsoft.com/office/drawing/2014/main" id="{F9D03B22-F83F-45C5-A09C-B7E72436F82A}"/>
                  </a:ext>
                </a:extLst>
              </p:cNvPr>
              <p:cNvSpPr>
                <a:spLocks noChangeArrowheads="1"/>
              </p:cNvSpPr>
              <p:nvPr/>
            </p:nvSpPr>
            <p:spPr bwMode="auto">
              <a:xfrm>
                <a:off x="223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7" name="Oval 2959">
                <a:extLst>
                  <a:ext uri="{FF2B5EF4-FFF2-40B4-BE49-F238E27FC236}">
                    <a16:creationId xmlns:a16="http://schemas.microsoft.com/office/drawing/2014/main" id="{BC0794E8-2F6E-45C8-8EB3-8EB4873C3D61}"/>
                  </a:ext>
                </a:extLst>
              </p:cNvPr>
              <p:cNvSpPr>
                <a:spLocks noChangeArrowheads="1"/>
              </p:cNvSpPr>
              <p:nvPr/>
            </p:nvSpPr>
            <p:spPr bwMode="auto">
              <a:xfrm>
                <a:off x="211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8" name="Oval 2960">
                <a:extLst>
                  <a:ext uri="{FF2B5EF4-FFF2-40B4-BE49-F238E27FC236}">
                    <a16:creationId xmlns:a16="http://schemas.microsoft.com/office/drawing/2014/main" id="{44111DC3-AB7D-4649-9821-CE311297FAAB}"/>
                  </a:ext>
                </a:extLst>
              </p:cNvPr>
              <p:cNvSpPr>
                <a:spLocks noChangeArrowheads="1"/>
              </p:cNvSpPr>
              <p:nvPr/>
            </p:nvSpPr>
            <p:spPr bwMode="auto">
              <a:xfrm>
                <a:off x="21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9" name="Oval 2961">
                <a:extLst>
                  <a:ext uri="{FF2B5EF4-FFF2-40B4-BE49-F238E27FC236}">
                    <a16:creationId xmlns:a16="http://schemas.microsoft.com/office/drawing/2014/main" id="{ADE11EC0-6124-49B8-8766-D6BFBD376D22}"/>
                  </a:ext>
                </a:extLst>
              </p:cNvPr>
              <p:cNvSpPr>
                <a:spLocks noChangeArrowheads="1"/>
              </p:cNvSpPr>
              <p:nvPr/>
            </p:nvSpPr>
            <p:spPr bwMode="auto">
              <a:xfrm>
                <a:off x="238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0" name="Oval 2962">
                <a:extLst>
                  <a:ext uri="{FF2B5EF4-FFF2-40B4-BE49-F238E27FC236}">
                    <a16:creationId xmlns:a16="http://schemas.microsoft.com/office/drawing/2014/main" id="{9C8C981C-C928-45F3-9E82-F8AFF0C88A6E}"/>
                  </a:ext>
                </a:extLst>
              </p:cNvPr>
              <p:cNvSpPr>
                <a:spLocks noChangeArrowheads="1"/>
              </p:cNvSpPr>
              <p:nvPr/>
            </p:nvSpPr>
            <p:spPr bwMode="auto">
              <a:xfrm>
                <a:off x="238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1" name="Oval 2963">
                <a:extLst>
                  <a:ext uri="{FF2B5EF4-FFF2-40B4-BE49-F238E27FC236}">
                    <a16:creationId xmlns:a16="http://schemas.microsoft.com/office/drawing/2014/main" id="{229DC873-9E2C-4C41-8BC1-7252F48B5438}"/>
                  </a:ext>
                </a:extLst>
              </p:cNvPr>
              <p:cNvSpPr>
                <a:spLocks noChangeArrowheads="1"/>
              </p:cNvSpPr>
              <p:nvPr/>
            </p:nvSpPr>
            <p:spPr bwMode="auto">
              <a:xfrm>
                <a:off x="226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2" name="Oval 2964">
                <a:extLst>
                  <a:ext uri="{FF2B5EF4-FFF2-40B4-BE49-F238E27FC236}">
                    <a16:creationId xmlns:a16="http://schemas.microsoft.com/office/drawing/2014/main" id="{2F33E289-15AD-43CB-8A55-04A9E9CCE1C3}"/>
                  </a:ext>
                </a:extLst>
              </p:cNvPr>
              <p:cNvSpPr>
                <a:spLocks noChangeArrowheads="1"/>
              </p:cNvSpPr>
              <p:nvPr/>
            </p:nvSpPr>
            <p:spPr bwMode="auto">
              <a:xfrm>
                <a:off x="2145"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3" name="Oval 2965">
                <a:extLst>
                  <a:ext uri="{FF2B5EF4-FFF2-40B4-BE49-F238E27FC236}">
                    <a16:creationId xmlns:a16="http://schemas.microsoft.com/office/drawing/2014/main" id="{BFB985B9-7C6F-4E17-B147-CF507883D289}"/>
                  </a:ext>
                </a:extLst>
              </p:cNvPr>
              <p:cNvSpPr>
                <a:spLocks noChangeArrowheads="1"/>
              </p:cNvSpPr>
              <p:nvPr/>
            </p:nvSpPr>
            <p:spPr bwMode="auto">
              <a:xfrm>
                <a:off x="2056" y="30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4" name="Oval 2966">
                <a:extLst>
                  <a:ext uri="{FF2B5EF4-FFF2-40B4-BE49-F238E27FC236}">
                    <a16:creationId xmlns:a16="http://schemas.microsoft.com/office/drawing/2014/main" id="{0A0DE442-5776-4531-8C51-3820B0E2C07C}"/>
                  </a:ext>
                </a:extLst>
              </p:cNvPr>
              <p:cNvSpPr>
                <a:spLocks noChangeArrowheads="1"/>
              </p:cNvSpPr>
              <p:nvPr/>
            </p:nvSpPr>
            <p:spPr bwMode="auto">
              <a:xfrm>
                <a:off x="1966" y="28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5" name="Oval 2967">
                <a:extLst>
                  <a:ext uri="{FF2B5EF4-FFF2-40B4-BE49-F238E27FC236}">
                    <a16:creationId xmlns:a16="http://schemas.microsoft.com/office/drawing/2014/main" id="{78BF2F5A-FDBA-4789-A7C5-BEE64E58BA80}"/>
                  </a:ext>
                </a:extLst>
              </p:cNvPr>
              <p:cNvSpPr>
                <a:spLocks noChangeArrowheads="1"/>
              </p:cNvSpPr>
              <p:nvPr/>
            </p:nvSpPr>
            <p:spPr bwMode="auto">
              <a:xfrm>
                <a:off x="1966"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6" name="Oval 2968">
                <a:extLst>
                  <a:ext uri="{FF2B5EF4-FFF2-40B4-BE49-F238E27FC236}">
                    <a16:creationId xmlns:a16="http://schemas.microsoft.com/office/drawing/2014/main" id="{2CB98664-239B-4353-8A64-5D85AE377D69}"/>
                  </a:ext>
                </a:extLst>
              </p:cNvPr>
              <p:cNvSpPr>
                <a:spLocks noChangeArrowheads="1"/>
              </p:cNvSpPr>
              <p:nvPr/>
            </p:nvSpPr>
            <p:spPr bwMode="auto">
              <a:xfrm>
                <a:off x="2056" y="264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7" name="Oval 2969">
                <a:extLst>
                  <a:ext uri="{FF2B5EF4-FFF2-40B4-BE49-F238E27FC236}">
                    <a16:creationId xmlns:a16="http://schemas.microsoft.com/office/drawing/2014/main" id="{6CFD63D4-7217-4701-9114-6132D99501EA}"/>
                  </a:ext>
                </a:extLst>
              </p:cNvPr>
              <p:cNvSpPr>
                <a:spLocks noChangeArrowheads="1"/>
              </p:cNvSpPr>
              <p:nvPr/>
            </p:nvSpPr>
            <p:spPr bwMode="auto">
              <a:xfrm>
                <a:off x="211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8" name="Oval 2970">
                <a:extLst>
                  <a:ext uri="{FF2B5EF4-FFF2-40B4-BE49-F238E27FC236}">
                    <a16:creationId xmlns:a16="http://schemas.microsoft.com/office/drawing/2014/main" id="{877AFCC1-9646-47F1-8C51-FD5A1EB28E43}"/>
                  </a:ext>
                </a:extLst>
              </p:cNvPr>
              <p:cNvSpPr>
                <a:spLocks noChangeArrowheads="1"/>
              </p:cNvSpPr>
              <p:nvPr/>
            </p:nvSpPr>
            <p:spPr bwMode="auto">
              <a:xfrm>
                <a:off x="196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9" name="Oval 2971">
                <a:extLst>
                  <a:ext uri="{FF2B5EF4-FFF2-40B4-BE49-F238E27FC236}">
                    <a16:creationId xmlns:a16="http://schemas.microsoft.com/office/drawing/2014/main" id="{EED2D839-57B6-4DF3-AF1B-0F68D9D4FB3D}"/>
                  </a:ext>
                </a:extLst>
              </p:cNvPr>
              <p:cNvSpPr>
                <a:spLocks noChangeArrowheads="1"/>
              </p:cNvSpPr>
              <p:nvPr/>
            </p:nvSpPr>
            <p:spPr bwMode="auto">
              <a:xfrm>
                <a:off x="2056" y="24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0" name="Oval 2972">
                <a:extLst>
                  <a:ext uri="{FF2B5EF4-FFF2-40B4-BE49-F238E27FC236}">
                    <a16:creationId xmlns:a16="http://schemas.microsoft.com/office/drawing/2014/main" id="{FC00FFFF-10C1-4E9B-88B9-4602555EB7E5}"/>
                  </a:ext>
                </a:extLst>
              </p:cNvPr>
              <p:cNvSpPr>
                <a:spLocks noChangeArrowheads="1"/>
              </p:cNvSpPr>
              <p:nvPr/>
            </p:nvSpPr>
            <p:spPr bwMode="auto">
              <a:xfrm>
                <a:off x="21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1" name="Oval 2973">
                <a:extLst>
                  <a:ext uri="{FF2B5EF4-FFF2-40B4-BE49-F238E27FC236}">
                    <a16:creationId xmlns:a16="http://schemas.microsoft.com/office/drawing/2014/main" id="{1BCC5227-07F1-41BF-A72B-EA9460AD8444}"/>
                  </a:ext>
                </a:extLst>
              </p:cNvPr>
              <p:cNvSpPr>
                <a:spLocks noChangeArrowheads="1"/>
              </p:cNvSpPr>
              <p:nvPr/>
            </p:nvSpPr>
            <p:spPr bwMode="auto">
              <a:xfrm>
                <a:off x="196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2" name="Oval 2974">
                <a:extLst>
                  <a:ext uri="{FF2B5EF4-FFF2-40B4-BE49-F238E27FC236}">
                    <a16:creationId xmlns:a16="http://schemas.microsoft.com/office/drawing/2014/main" id="{1B47B152-33F1-49DF-ADA9-58A9C56B1807}"/>
                  </a:ext>
                </a:extLst>
              </p:cNvPr>
              <p:cNvSpPr>
                <a:spLocks noChangeArrowheads="1"/>
              </p:cNvSpPr>
              <p:nvPr/>
            </p:nvSpPr>
            <p:spPr bwMode="auto">
              <a:xfrm>
                <a:off x="187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3" name="Oval 2975">
                <a:extLst>
                  <a:ext uri="{FF2B5EF4-FFF2-40B4-BE49-F238E27FC236}">
                    <a16:creationId xmlns:a16="http://schemas.microsoft.com/office/drawing/2014/main" id="{2004A352-D03B-4FBE-8B5B-1C5E40FF6AE7}"/>
                  </a:ext>
                </a:extLst>
              </p:cNvPr>
              <p:cNvSpPr>
                <a:spLocks noChangeArrowheads="1"/>
              </p:cNvSpPr>
              <p:nvPr/>
            </p:nvSpPr>
            <p:spPr bwMode="auto">
              <a:xfrm>
                <a:off x="178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4" name="Oval 2976">
                <a:extLst>
                  <a:ext uri="{FF2B5EF4-FFF2-40B4-BE49-F238E27FC236}">
                    <a16:creationId xmlns:a16="http://schemas.microsoft.com/office/drawing/2014/main" id="{56DD698C-185E-44B2-916F-83A2B5DF3AB3}"/>
                  </a:ext>
                </a:extLst>
              </p:cNvPr>
              <p:cNvSpPr>
                <a:spLocks noChangeArrowheads="1"/>
              </p:cNvSpPr>
              <p:nvPr/>
            </p:nvSpPr>
            <p:spPr bwMode="auto">
              <a:xfrm>
                <a:off x="1756"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5" name="Oval 2977">
                <a:extLst>
                  <a:ext uri="{FF2B5EF4-FFF2-40B4-BE49-F238E27FC236}">
                    <a16:creationId xmlns:a16="http://schemas.microsoft.com/office/drawing/2014/main" id="{94F370EE-735B-41E4-BAD7-7E4F3836D4DB}"/>
                  </a:ext>
                </a:extLst>
              </p:cNvPr>
              <p:cNvSpPr>
                <a:spLocks noChangeArrowheads="1"/>
              </p:cNvSpPr>
              <p:nvPr/>
            </p:nvSpPr>
            <p:spPr bwMode="auto">
              <a:xfrm>
                <a:off x="187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6" name="Oval 2978">
                <a:extLst>
                  <a:ext uri="{FF2B5EF4-FFF2-40B4-BE49-F238E27FC236}">
                    <a16:creationId xmlns:a16="http://schemas.microsoft.com/office/drawing/2014/main" id="{69BBBF02-7AF7-4EB2-9131-A45077150315}"/>
                  </a:ext>
                </a:extLst>
              </p:cNvPr>
              <p:cNvSpPr>
                <a:spLocks noChangeArrowheads="1"/>
              </p:cNvSpPr>
              <p:nvPr/>
            </p:nvSpPr>
            <p:spPr bwMode="auto">
              <a:xfrm>
                <a:off x="1816"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7" name="Oval 2979">
                <a:extLst>
                  <a:ext uri="{FF2B5EF4-FFF2-40B4-BE49-F238E27FC236}">
                    <a16:creationId xmlns:a16="http://schemas.microsoft.com/office/drawing/2014/main" id="{F3A496D7-A776-4249-89D9-8B36C8CE2E6A}"/>
                  </a:ext>
                </a:extLst>
              </p:cNvPr>
              <p:cNvSpPr>
                <a:spLocks noChangeArrowheads="1"/>
              </p:cNvSpPr>
              <p:nvPr/>
            </p:nvSpPr>
            <p:spPr bwMode="auto">
              <a:xfrm>
                <a:off x="18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8" name="Oval 2980">
                <a:extLst>
                  <a:ext uri="{FF2B5EF4-FFF2-40B4-BE49-F238E27FC236}">
                    <a16:creationId xmlns:a16="http://schemas.microsoft.com/office/drawing/2014/main" id="{C2FE21B7-4CEE-4EF7-9C8E-1612AE0E2182}"/>
                  </a:ext>
                </a:extLst>
              </p:cNvPr>
              <p:cNvSpPr>
                <a:spLocks noChangeArrowheads="1"/>
              </p:cNvSpPr>
              <p:nvPr/>
            </p:nvSpPr>
            <p:spPr bwMode="auto">
              <a:xfrm>
                <a:off x="184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9" name="Oval 2981">
                <a:extLst>
                  <a:ext uri="{FF2B5EF4-FFF2-40B4-BE49-F238E27FC236}">
                    <a16:creationId xmlns:a16="http://schemas.microsoft.com/office/drawing/2014/main" id="{6D4D8F44-A156-4967-9234-8D068B867519}"/>
                  </a:ext>
                </a:extLst>
              </p:cNvPr>
              <p:cNvSpPr>
                <a:spLocks noChangeArrowheads="1"/>
              </p:cNvSpPr>
              <p:nvPr/>
            </p:nvSpPr>
            <p:spPr bwMode="auto">
              <a:xfrm>
                <a:off x="229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0" name="Oval 2982">
                <a:extLst>
                  <a:ext uri="{FF2B5EF4-FFF2-40B4-BE49-F238E27FC236}">
                    <a16:creationId xmlns:a16="http://schemas.microsoft.com/office/drawing/2014/main" id="{3A80870B-5929-4841-AB71-5FA343605FF8}"/>
                  </a:ext>
                </a:extLst>
              </p:cNvPr>
              <p:cNvSpPr>
                <a:spLocks noChangeArrowheads="1"/>
              </p:cNvSpPr>
              <p:nvPr/>
            </p:nvSpPr>
            <p:spPr bwMode="auto">
              <a:xfrm>
                <a:off x="232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sp>
          <p:nvSpPr>
            <p:cNvPr id="196" name="Oval 2984">
              <a:extLst>
                <a:ext uri="{FF2B5EF4-FFF2-40B4-BE49-F238E27FC236}">
                  <a16:creationId xmlns:a16="http://schemas.microsoft.com/office/drawing/2014/main" id="{C2010941-C99E-47E3-B623-695DCB8F02D4}"/>
                </a:ext>
              </a:extLst>
            </p:cNvPr>
            <p:cNvSpPr>
              <a:spLocks noChangeArrowheads="1"/>
            </p:cNvSpPr>
            <p:nvPr/>
          </p:nvSpPr>
          <p:spPr bwMode="auto">
            <a:xfrm>
              <a:off x="232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7" name="Oval 2985">
              <a:extLst>
                <a:ext uri="{FF2B5EF4-FFF2-40B4-BE49-F238E27FC236}">
                  <a16:creationId xmlns:a16="http://schemas.microsoft.com/office/drawing/2014/main" id="{B89318CD-1BCB-4C39-9313-98B406C662B7}"/>
                </a:ext>
              </a:extLst>
            </p:cNvPr>
            <p:cNvSpPr>
              <a:spLocks noChangeArrowheads="1"/>
            </p:cNvSpPr>
            <p:nvPr/>
          </p:nvSpPr>
          <p:spPr bwMode="auto">
            <a:xfrm>
              <a:off x="214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8" name="Oval 2986">
              <a:extLst>
                <a:ext uri="{FF2B5EF4-FFF2-40B4-BE49-F238E27FC236}">
                  <a16:creationId xmlns:a16="http://schemas.microsoft.com/office/drawing/2014/main" id="{659B38B9-26AF-4996-88C3-FCE980F997BD}"/>
                </a:ext>
              </a:extLst>
            </p:cNvPr>
            <p:cNvSpPr>
              <a:spLocks noChangeArrowheads="1"/>
            </p:cNvSpPr>
            <p:nvPr/>
          </p:nvSpPr>
          <p:spPr bwMode="auto">
            <a:xfrm>
              <a:off x="2026"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9" name="Oval 2987">
              <a:extLst>
                <a:ext uri="{FF2B5EF4-FFF2-40B4-BE49-F238E27FC236}">
                  <a16:creationId xmlns:a16="http://schemas.microsoft.com/office/drawing/2014/main" id="{CC99817A-B185-4F70-8D09-54C0508360BE}"/>
                </a:ext>
              </a:extLst>
            </p:cNvPr>
            <p:cNvSpPr>
              <a:spLocks noChangeArrowheads="1"/>
            </p:cNvSpPr>
            <p:nvPr/>
          </p:nvSpPr>
          <p:spPr bwMode="auto">
            <a:xfrm>
              <a:off x="18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0" name="Oval 2988">
              <a:extLst>
                <a:ext uri="{FF2B5EF4-FFF2-40B4-BE49-F238E27FC236}">
                  <a16:creationId xmlns:a16="http://schemas.microsoft.com/office/drawing/2014/main" id="{7100E660-B31E-4653-B5AA-AE20B594C37D}"/>
                </a:ext>
              </a:extLst>
            </p:cNvPr>
            <p:cNvSpPr>
              <a:spLocks noChangeArrowheads="1"/>
            </p:cNvSpPr>
            <p:nvPr/>
          </p:nvSpPr>
          <p:spPr bwMode="auto">
            <a:xfrm>
              <a:off x="2056" y="19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1" name="Oval 2989">
              <a:extLst>
                <a:ext uri="{FF2B5EF4-FFF2-40B4-BE49-F238E27FC236}">
                  <a16:creationId xmlns:a16="http://schemas.microsoft.com/office/drawing/2014/main" id="{963F343C-18D4-44F4-B3E5-1892530E9734}"/>
                </a:ext>
              </a:extLst>
            </p:cNvPr>
            <p:cNvSpPr>
              <a:spLocks noChangeArrowheads="1"/>
            </p:cNvSpPr>
            <p:nvPr/>
          </p:nvSpPr>
          <p:spPr bwMode="auto">
            <a:xfrm>
              <a:off x="199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2" name="Oval 2990">
              <a:extLst>
                <a:ext uri="{FF2B5EF4-FFF2-40B4-BE49-F238E27FC236}">
                  <a16:creationId xmlns:a16="http://schemas.microsoft.com/office/drawing/2014/main" id="{AD12B24B-EDF5-4E0A-8274-C2901C2B691A}"/>
                </a:ext>
              </a:extLst>
            </p:cNvPr>
            <p:cNvSpPr>
              <a:spLocks noChangeArrowheads="1"/>
            </p:cNvSpPr>
            <p:nvPr/>
          </p:nvSpPr>
          <p:spPr bwMode="auto">
            <a:xfrm>
              <a:off x="21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3" name="Oval 2991">
              <a:extLst>
                <a:ext uri="{FF2B5EF4-FFF2-40B4-BE49-F238E27FC236}">
                  <a16:creationId xmlns:a16="http://schemas.microsoft.com/office/drawing/2014/main" id="{5C4B1942-7398-4062-8705-55053736CC0B}"/>
                </a:ext>
              </a:extLst>
            </p:cNvPr>
            <p:cNvSpPr>
              <a:spLocks noChangeArrowheads="1"/>
            </p:cNvSpPr>
            <p:nvPr/>
          </p:nvSpPr>
          <p:spPr bwMode="auto">
            <a:xfrm>
              <a:off x="2145"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4" name="Oval 2992">
              <a:extLst>
                <a:ext uri="{FF2B5EF4-FFF2-40B4-BE49-F238E27FC236}">
                  <a16:creationId xmlns:a16="http://schemas.microsoft.com/office/drawing/2014/main" id="{FB43F157-0BBF-4DAC-999D-89B6DF6F2D38}"/>
                </a:ext>
              </a:extLst>
            </p:cNvPr>
            <p:cNvSpPr>
              <a:spLocks noChangeArrowheads="1"/>
            </p:cNvSpPr>
            <p:nvPr/>
          </p:nvSpPr>
          <p:spPr bwMode="auto">
            <a:xfrm>
              <a:off x="220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5" name="Oval 2993">
              <a:extLst>
                <a:ext uri="{FF2B5EF4-FFF2-40B4-BE49-F238E27FC236}">
                  <a16:creationId xmlns:a16="http://schemas.microsoft.com/office/drawing/2014/main" id="{B7303EA8-E2F4-411C-8CF3-2CB5391A34B4}"/>
                </a:ext>
              </a:extLst>
            </p:cNvPr>
            <p:cNvSpPr>
              <a:spLocks noChangeArrowheads="1"/>
            </p:cNvSpPr>
            <p:nvPr/>
          </p:nvSpPr>
          <p:spPr bwMode="auto">
            <a:xfrm>
              <a:off x="2086"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6" name="Oval 2994">
              <a:extLst>
                <a:ext uri="{FF2B5EF4-FFF2-40B4-BE49-F238E27FC236}">
                  <a16:creationId xmlns:a16="http://schemas.microsoft.com/office/drawing/2014/main" id="{47A690EB-C801-4AD9-95B8-8C01F8783487}"/>
                </a:ext>
              </a:extLst>
            </p:cNvPr>
            <p:cNvSpPr>
              <a:spLocks noChangeArrowheads="1"/>
            </p:cNvSpPr>
            <p:nvPr/>
          </p:nvSpPr>
          <p:spPr bwMode="auto">
            <a:xfrm>
              <a:off x="2205"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7" name="Oval 2995">
              <a:extLst>
                <a:ext uri="{FF2B5EF4-FFF2-40B4-BE49-F238E27FC236}">
                  <a16:creationId xmlns:a16="http://schemas.microsoft.com/office/drawing/2014/main" id="{24DEBA2C-A283-4350-B7DD-2074338EA0C6}"/>
                </a:ext>
              </a:extLst>
            </p:cNvPr>
            <p:cNvSpPr>
              <a:spLocks noChangeArrowheads="1"/>
            </p:cNvSpPr>
            <p:nvPr/>
          </p:nvSpPr>
          <p:spPr bwMode="auto">
            <a:xfrm>
              <a:off x="21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8" name="Oval 2996">
              <a:extLst>
                <a:ext uri="{FF2B5EF4-FFF2-40B4-BE49-F238E27FC236}">
                  <a16:creationId xmlns:a16="http://schemas.microsoft.com/office/drawing/2014/main" id="{A7B89994-0499-407A-9E12-A92160C9100A}"/>
                </a:ext>
              </a:extLst>
            </p:cNvPr>
            <p:cNvSpPr>
              <a:spLocks noChangeArrowheads="1"/>
            </p:cNvSpPr>
            <p:nvPr/>
          </p:nvSpPr>
          <p:spPr bwMode="auto">
            <a:xfrm>
              <a:off x="2026"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9" name="Oval 2997">
              <a:extLst>
                <a:ext uri="{FF2B5EF4-FFF2-40B4-BE49-F238E27FC236}">
                  <a16:creationId xmlns:a16="http://schemas.microsoft.com/office/drawing/2014/main" id="{E7BA40B8-863C-4734-99C5-BA4DA96C1E89}"/>
                </a:ext>
              </a:extLst>
            </p:cNvPr>
            <p:cNvSpPr>
              <a:spLocks noChangeArrowheads="1"/>
            </p:cNvSpPr>
            <p:nvPr/>
          </p:nvSpPr>
          <p:spPr bwMode="auto">
            <a:xfrm>
              <a:off x="199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0" name="Oval 2998">
              <a:extLst>
                <a:ext uri="{FF2B5EF4-FFF2-40B4-BE49-F238E27FC236}">
                  <a16:creationId xmlns:a16="http://schemas.microsoft.com/office/drawing/2014/main" id="{252C05AC-44FD-4BE9-A432-5F8BDD78CC9C}"/>
                </a:ext>
              </a:extLst>
            </p:cNvPr>
            <p:cNvSpPr>
              <a:spLocks noChangeArrowheads="1"/>
            </p:cNvSpPr>
            <p:nvPr/>
          </p:nvSpPr>
          <p:spPr bwMode="auto">
            <a:xfrm>
              <a:off x="19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1" name="Oval 2999">
              <a:extLst>
                <a:ext uri="{FF2B5EF4-FFF2-40B4-BE49-F238E27FC236}">
                  <a16:creationId xmlns:a16="http://schemas.microsoft.com/office/drawing/2014/main" id="{73FBA2DD-BB67-4FF9-8253-79D820379802}"/>
                </a:ext>
              </a:extLst>
            </p:cNvPr>
            <p:cNvSpPr>
              <a:spLocks noChangeArrowheads="1"/>
            </p:cNvSpPr>
            <p:nvPr/>
          </p:nvSpPr>
          <p:spPr bwMode="auto">
            <a:xfrm>
              <a:off x="190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2" name="Oval 3000">
              <a:extLst>
                <a:ext uri="{FF2B5EF4-FFF2-40B4-BE49-F238E27FC236}">
                  <a16:creationId xmlns:a16="http://schemas.microsoft.com/office/drawing/2014/main" id="{449A093E-F33E-4DD5-B5F4-F3813D94A976}"/>
                </a:ext>
              </a:extLst>
            </p:cNvPr>
            <p:cNvSpPr>
              <a:spLocks noChangeArrowheads="1"/>
            </p:cNvSpPr>
            <p:nvPr/>
          </p:nvSpPr>
          <p:spPr bwMode="auto">
            <a:xfrm>
              <a:off x="2026"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3" name="Oval 3001">
              <a:extLst>
                <a:ext uri="{FF2B5EF4-FFF2-40B4-BE49-F238E27FC236}">
                  <a16:creationId xmlns:a16="http://schemas.microsoft.com/office/drawing/2014/main" id="{82B69540-3AF9-40BD-952B-1E62E03CC07C}"/>
                </a:ext>
              </a:extLst>
            </p:cNvPr>
            <p:cNvSpPr>
              <a:spLocks noChangeArrowheads="1"/>
            </p:cNvSpPr>
            <p:nvPr/>
          </p:nvSpPr>
          <p:spPr bwMode="auto">
            <a:xfrm>
              <a:off x="1846"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4" name="Oval 3002">
              <a:extLst>
                <a:ext uri="{FF2B5EF4-FFF2-40B4-BE49-F238E27FC236}">
                  <a16:creationId xmlns:a16="http://schemas.microsoft.com/office/drawing/2014/main" id="{6FEB7860-8537-4F1A-B4D1-EEF7C592CA13}"/>
                </a:ext>
              </a:extLst>
            </p:cNvPr>
            <p:cNvSpPr>
              <a:spLocks noChangeArrowheads="1"/>
            </p:cNvSpPr>
            <p:nvPr/>
          </p:nvSpPr>
          <p:spPr bwMode="auto">
            <a:xfrm>
              <a:off x="157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5" name="Oval 3003">
              <a:extLst>
                <a:ext uri="{FF2B5EF4-FFF2-40B4-BE49-F238E27FC236}">
                  <a16:creationId xmlns:a16="http://schemas.microsoft.com/office/drawing/2014/main" id="{6C76FCB3-CFDF-474A-8C8C-6365CD946F9A}"/>
                </a:ext>
              </a:extLst>
            </p:cNvPr>
            <p:cNvSpPr>
              <a:spLocks noChangeArrowheads="1"/>
            </p:cNvSpPr>
            <p:nvPr/>
          </p:nvSpPr>
          <p:spPr bwMode="auto">
            <a:xfrm>
              <a:off x="154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6" name="Oval 3004">
              <a:extLst>
                <a:ext uri="{FF2B5EF4-FFF2-40B4-BE49-F238E27FC236}">
                  <a16:creationId xmlns:a16="http://schemas.microsoft.com/office/drawing/2014/main" id="{3DDF761A-169C-4946-92FE-A5C9313F715B}"/>
                </a:ext>
              </a:extLst>
            </p:cNvPr>
            <p:cNvSpPr>
              <a:spLocks noChangeArrowheads="1"/>
            </p:cNvSpPr>
            <p:nvPr/>
          </p:nvSpPr>
          <p:spPr bwMode="auto">
            <a:xfrm>
              <a:off x="187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7" name="Oval 3005">
              <a:extLst>
                <a:ext uri="{FF2B5EF4-FFF2-40B4-BE49-F238E27FC236}">
                  <a16:creationId xmlns:a16="http://schemas.microsoft.com/office/drawing/2014/main" id="{6FD6FFC4-6C34-484A-A576-9361D1409323}"/>
                </a:ext>
              </a:extLst>
            </p:cNvPr>
            <p:cNvSpPr>
              <a:spLocks noChangeArrowheads="1"/>
            </p:cNvSpPr>
            <p:nvPr/>
          </p:nvSpPr>
          <p:spPr bwMode="auto">
            <a:xfrm>
              <a:off x="19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8" name="Oval 3006">
              <a:extLst>
                <a:ext uri="{FF2B5EF4-FFF2-40B4-BE49-F238E27FC236}">
                  <a16:creationId xmlns:a16="http://schemas.microsoft.com/office/drawing/2014/main" id="{B19F30DF-37D5-4DD4-8309-61A5A72FB512}"/>
                </a:ext>
              </a:extLst>
            </p:cNvPr>
            <p:cNvSpPr>
              <a:spLocks noChangeArrowheads="1"/>
            </p:cNvSpPr>
            <p:nvPr/>
          </p:nvSpPr>
          <p:spPr bwMode="auto">
            <a:xfrm>
              <a:off x="226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9" name="Oval 3007">
              <a:extLst>
                <a:ext uri="{FF2B5EF4-FFF2-40B4-BE49-F238E27FC236}">
                  <a16:creationId xmlns:a16="http://schemas.microsoft.com/office/drawing/2014/main" id="{3A301A6D-268E-470E-947F-C67BEA302E4A}"/>
                </a:ext>
              </a:extLst>
            </p:cNvPr>
            <p:cNvSpPr>
              <a:spLocks noChangeArrowheads="1"/>
            </p:cNvSpPr>
            <p:nvPr/>
          </p:nvSpPr>
          <p:spPr bwMode="auto">
            <a:xfrm>
              <a:off x="223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0" name="Oval 3008">
              <a:extLst>
                <a:ext uri="{FF2B5EF4-FFF2-40B4-BE49-F238E27FC236}">
                  <a16:creationId xmlns:a16="http://schemas.microsoft.com/office/drawing/2014/main" id="{14CD102E-55C2-4379-B5C0-B78300994D1A}"/>
                </a:ext>
              </a:extLst>
            </p:cNvPr>
            <p:cNvSpPr>
              <a:spLocks noChangeArrowheads="1"/>
            </p:cNvSpPr>
            <p:nvPr/>
          </p:nvSpPr>
          <p:spPr bwMode="auto">
            <a:xfrm>
              <a:off x="223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1" name="Oval 3009">
              <a:extLst>
                <a:ext uri="{FF2B5EF4-FFF2-40B4-BE49-F238E27FC236}">
                  <a16:creationId xmlns:a16="http://schemas.microsoft.com/office/drawing/2014/main" id="{BC54C499-8169-422C-9A76-2E4E2DF6CA85}"/>
                </a:ext>
              </a:extLst>
            </p:cNvPr>
            <p:cNvSpPr>
              <a:spLocks noChangeArrowheads="1"/>
            </p:cNvSpPr>
            <p:nvPr/>
          </p:nvSpPr>
          <p:spPr bwMode="auto">
            <a:xfrm>
              <a:off x="241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2" name="Oval 3010">
              <a:extLst>
                <a:ext uri="{FF2B5EF4-FFF2-40B4-BE49-F238E27FC236}">
                  <a16:creationId xmlns:a16="http://schemas.microsoft.com/office/drawing/2014/main" id="{1A73C887-E9C6-4B0E-A0AF-98D25720E2AE}"/>
                </a:ext>
              </a:extLst>
            </p:cNvPr>
            <p:cNvSpPr>
              <a:spLocks noChangeArrowheads="1"/>
            </p:cNvSpPr>
            <p:nvPr/>
          </p:nvSpPr>
          <p:spPr bwMode="auto">
            <a:xfrm>
              <a:off x="274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3" name="Oval 3011">
              <a:extLst>
                <a:ext uri="{FF2B5EF4-FFF2-40B4-BE49-F238E27FC236}">
                  <a16:creationId xmlns:a16="http://schemas.microsoft.com/office/drawing/2014/main" id="{7F719F1F-5BA7-4775-AEDF-4533FE8BE024}"/>
                </a:ext>
              </a:extLst>
            </p:cNvPr>
            <p:cNvSpPr>
              <a:spLocks noChangeArrowheads="1"/>
            </p:cNvSpPr>
            <p:nvPr/>
          </p:nvSpPr>
          <p:spPr bwMode="auto">
            <a:xfrm>
              <a:off x="265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4" name="Oval 3012">
              <a:extLst>
                <a:ext uri="{FF2B5EF4-FFF2-40B4-BE49-F238E27FC236}">
                  <a16:creationId xmlns:a16="http://schemas.microsoft.com/office/drawing/2014/main" id="{32E02702-9A7A-4144-8E42-BBE004E0180A}"/>
                </a:ext>
              </a:extLst>
            </p:cNvPr>
            <p:cNvSpPr>
              <a:spLocks noChangeArrowheads="1"/>
            </p:cNvSpPr>
            <p:nvPr/>
          </p:nvSpPr>
          <p:spPr bwMode="auto">
            <a:xfrm>
              <a:off x="268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5" name="Oval 3013">
              <a:extLst>
                <a:ext uri="{FF2B5EF4-FFF2-40B4-BE49-F238E27FC236}">
                  <a16:creationId xmlns:a16="http://schemas.microsoft.com/office/drawing/2014/main" id="{D7739861-DE5B-4C15-9C22-B137CD5819AF}"/>
                </a:ext>
              </a:extLst>
            </p:cNvPr>
            <p:cNvSpPr>
              <a:spLocks noChangeArrowheads="1"/>
            </p:cNvSpPr>
            <p:nvPr/>
          </p:nvSpPr>
          <p:spPr bwMode="auto">
            <a:xfrm>
              <a:off x="262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6" name="Oval 3014">
              <a:extLst>
                <a:ext uri="{FF2B5EF4-FFF2-40B4-BE49-F238E27FC236}">
                  <a16:creationId xmlns:a16="http://schemas.microsoft.com/office/drawing/2014/main" id="{30D1F88B-1DE0-4739-B091-276823FC28AA}"/>
                </a:ext>
              </a:extLst>
            </p:cNvPr>
            <p:cNvSpPr>
              <a:spLocks noChangeArrowheads="1"/>
            </p:cNvSpPr>
            <p:nvPr/>
          </p:nvSpPr>
          <p:spPr bwMode="auto">
            <a:xfrm>
              <a:off x="262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7" name="Oval 3015">
              <a:extLst>
                <a:ext uri="{FF2B5EF4-FFF2-40B4-BE49-F238E27FC236}">
                  <a16:creationId xmlns:a16="http://schemas.microsoft.com/office/drawing/2014/main" id="{330F9F5B-537C-4AA3-9077-4BE3632C8956}"/>
                </a:ext>
              </a:extLst>
            </p:cNvPr>
            <p:cNvSpPr>
              <a:spLocks noChangeArrowheads="1"/>
            </p:cNvSpPr>
            <p:nvPr/>
          </p:nvSpPr>
          <p:spPr bwMode="auto">
            <a:xfrm>
              <a:off x="304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8" name="Oval 3016">
              <a:extLst>
                <a:ext uri="{FF2B5EF4-FFF2-40B4-BE49-F238E27FC236}">
                  <a16:creationId xmlns:a16="http://schemas.microsoft.com/office/drawing/2014/main" id="{92BA8DA4-528F-4C7E-8E95-2C7A1BA6EDB6}"/>
                </a:ext>
              </a:extLst>
            </p:cNvPr>
            <p:cNvSpPr>
              <a:spLocks noChangeArrowheads="1"/>
            </p:cNvSpPr>
            <p:nvPr/>
          </p:nvSpPr>
          <p:spPr bwMode="auto">
            <a:xfrm>
              <a:off x="343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9" name="Oval 3017">
              <a:extLst>
                <a:ext uri="{FF2B5EF4-FFF2-40B4-BE49-F238E27FC236}">
                  <a16:creationId xmlns:a16="http://schemas.microsoft.com/office/drawing/2014/main" id="{A7494437-896E-4B9D-BE77-709138D5A049}"/>
                </a:ext>
              </a:extLst>
            </p:cNvPr>
            <p:cNvSpPr>
              <a:spLocks noChangeArrowheads="1"/>
            </p:cNvSpPr>
            <p:nvPr/>
          </p:nvSpPr>
          <p:spPr bwMode="auto">
            <a:xfrm>
              <a:off x="352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0" name="Oval 3018">
              <a:extLst>
                <a:ext uri="{FF2B5EF4-FFF2-40B4-BE49-F238E27FC236}">
                  <a16:creationId xmlns:a16="http://schemas.microsoft.com/office/drawing/2014/main" id="{15E9122B-6F48-45A6-8477-0CF4C91FEA4B}"/>
                </a:ext>
              </a:extLst>
            </p:cNvPr>
            <p:cNvSpPr>
              <a:spLocks noChangeArrowheads="1"/>
            </p:cNvSpPr>
            <p:nvPr/>
          </p:nvSpPr>
          <p:spPr bwMode="auto">
            <a:xfrm>
              <a:off x="352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1" name="Oval 3019">
              <a:extLst>
                <a:ext uri="{FF2B5EF4-FFF2-40B4-BE49-F238E27FC236}">
                  <a16:creationId xmlns:a16="http://schemas.microsoft.com/office/drawing/2014/main" id="{64EF0762-8F0E-4086-87AB-73FEC37708EC}"/>
                </a:ext>
              </a:extLst>
            </p:cNvPr>
            <p:cNvSpPr>
              <a:spLocks noChangeArrowheads="1"/>
            </p:cNvSpPr>
            <p:nvPr/>
          </p:nvSpPr>
          <p:spPr bwMode="auto">
            <a:xfrm>
              <a:off x="331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2" name="Oval 3020">
              <a:extLst>
                <a:ext uri="{FF2B5EF4-FFF2-40B4-BE49-F238E27FC236}">
                  <a16:creationId xmlns:a16="http://schemas.microsoft.com/office/drawing/2014/main" id="{2BF6D6C8-954E-4A63-83C7-14EDB5BC56CA}"/>
                </a:ext>
              </a:extLst>
            </p:cNvPr>
            <p:cNvSpPr>
              <a:spLocks noChangeArrowheads="1"/>
            </p:cNvSpPr>
            <p:nvPr/>
          </p:nvSpPr>
          <p:spPr bwMode="auto">
            <a:xfrm>
              <a:off x="30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3" name="Oval 3021">
              <a:extLst>
                <a:ext uri="{FF2B5EF4-FFF2-40B4-BE49-F238E27FC236}">
                  <a16:creationId xmlns:a16="http://schemas.microsoft.com/office/drawing/2014/main" id="{102892DA-E14C-42F2-A380-39C6B627C351}"/>
                </a:ext>
              </a:extLst>
            </p:cNvPr>
            <p:cNvSpPr>
              <a:spLocks noChangeArrowheads="1"/>
            </p:cNvSpPr>
            <p:nvPr/>
          </p:nvSpPr>
          <p:spPr bwMode="auto">
            <a:xfrm>
              <a:off x="292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4" name="Oval 3022">
              <a:extLst>
                <a:ext uri="{FF2B5EF4-FFF2-40B4-BE49-F238E27FC236}">
                  <a16:creationId xmlns:a16="http://schemas.microsoft.com/office/drawing/2014/main" id="{2AF8C3F8-113D-4349-8881-9C7C90CA40DB}"/>
                </a:ext>
              </a:extLst>
            </p:cNvPr>
            <p:cNvSpPr>
              <a:spLocks noChangeArrowheads="1"/>
            </p:cNvSpPr>
            <p:nvPr/>
          </p:nvSpPr>
          <p:spPr bwMode="auto">
            <a:xfrm>
              <a:off x="298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5" name="Oval 3023">
              <a:extLst>
                <a:ext uri="{FF2B5EF4-FFF2-40B4-BE49-F238E27FC236}">
                  <a16:creationId xmlns:a16="http://schemas.microsoft.com/office/drawing/2014/main" id="{87A9DFD0-3F8D-4B60-8443-F8603869967A}"/>
                </a:ext>
              </a:extLst>
            </p:cNvPr>
            <p:cNvSpPr>
              <a:spLocks noChangeArrowheads="1"/>
            </p:cNvSpPr>
            <p:nvPr/>
          </p:nvSpPr>
          <p:spPr bwMode="auto">
            <a:xfrm>
              <a:off x="292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6" name="Oval 3024">
              <a:extLst>
                <a:ext uri="{FF2B5EF4-FFF2-40B4-BE49-F238E27FC236}">
                  <a16:creationId xmlns:a16="http://schemas.microsoft.com/office/drawing/2014/main" id="{509BC97D-C0BB-4E88-848B-E6E0A06FD240}"/>
                </a:ext>
              </a:extLst>
            </p:cNvPr>
            <p:cNvSpPr>
              <a:spLocks noChangeArrowheads="1"/>
            </p:cNvSpPr>
            <p:nvPr/>
          </p:nvSpPr>
          <p:spPr bwMode="auto">
            <a:xfrm>
              <a:off x="328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7" name="Oval 3025">
              <a:extLst>
                <a:ext uri="{FF2B5EF4-FFF2-40B4-BE49-F238E27FC236}">
                  <a16:creationId xmlns:a16="http://schemas.microsoft.com/office/drawing/2014/main" id="{778ABA2F-139B-4BFB-B4A7-50BC29BFF3D2}"/>
                </a:ext>
              </a:extLst>
            </p:cNvPr>
            <p:cNvSpPr>
              <a:spLocks noChangeArrowheads="1"/>
            </p:cNvSpPr>
            <p:nvPr/>
          </p:nvSpPr>
          <p:spPr bwMode="auto">
            <a:xfrm>
              <a:off x="3255"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8" name="Oval 3026">
              <a:extLst>
                <a:ext uri="{FF2B5EF4-FFF2-40B4-BE49-F238E27FC236}">
                  <a16:creationId xmlns:a16="http://schemas.microsoft.com/office/drawing/2014/main" id="{FDC9D308-A5A5-4F01-9B47-DC0DAE4C1F71}"/>
                </a:ext>
              </a:extLst>
            </p:cNvPr>
            <p:cNvSpPr>
              <a:spLocks noChangeArrowheads="1"/>
            </p:cNvSpPr>
            <p:nvPr/>
          </p:nvSpPr>
          <p:spPr bwMode="auto">
            <a:xfrm>
              <a:off x="340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9" name="Oval 3027">
              <a:extLst>
                <a:ext uri="{FF2B5EF4-FFF2-40B4-BE49-F238E27FC236}">
                  <a16:creationId xmlns:a16="http://schemas.microsoft.com/office/drawing/2014/main" id="{961D5628-957A-496B-BFC9-87B4383C6959}"/>
                </a:ext>
              </a:extLst>
            </p:cNvPr>
            <p:cNvSpPr>
              <a:spLocks noChangeArrowheads="1"/>
            </p:cNvSpPr>
            <p:nvPr/>
          </p:nvSpPr>
          <p:spPr bwMode="auto">
            <a:xfrm>
              <a:off x="322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0" name="Oval 3028">
              <a:extLst>
                <a:ext uri="{FF2B5EF4-FFF2-40B4-BE49-F238E27FC236}">
                  <a16:creationId xmlns:a16="http://schemas.microsoft.com/office/drawing/2014/main" id="{CC4AC432-8D45-4538-8CBC-6F9AC722E7D4}"/>
                </a:ext>
              </a:extLst>
            </p:cNvPr>
            <p:cNvSpPr>
              <a:spLocks noChangeArrowheads="1"/>
            </p:cNvSpPr>
            <p:nvPr/>
          </p:nvSpPr>
          <p:spPr bwMode="auto">
            <a:xfrm>
              <a:off x="316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1" name="Oval 3029">
              <a:extLst>
                <a:ext uri="{FF2B5EF4-FFF2-40B4-BE49-F238E27FC236}">
                  <a16:creationId xmlns:a16="http://schemas.microsoft.com/office/drawing/2014/main" id="{E95A2CFA-A553-4802-B04A-4539AF034F02}"/>
                </a:ext>
              </a:extLst>
            </p:cNvPr>
            <p:cNvSpPr>
              <a:spLocks noChangeArrowheads="1"/>
            </p:cNvSpPr>
            <p:nvPr/>
          </p:nvSpPr>
          <p:spPr bwMode="auto">
            <a:xfrm>
              <a:off x="31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2" name="Oval 3030">
              <a:extLst>
                <a:ext uri="{FF2B5EF4-FFF2-40B4-BE49-F238E27FC236}">
                  <a16:creationId xmlns:a16="http://schemas.microsoft.com/office/drawing/2014/main" id="{3D697EDA-CE1C-4472-9626-20030CA918B7}"/>
                </a:ext>
              </a:extLst>
            </p:cNvPr>
            <p:cNvSpPr>
              <a:spLocks noChangeArrowheads="1"/>
            </p:cNvSpPr>
            <p:nvPr/>
          </p:nvSpPr>
          <p:spPr bwMode="auto">
            <a:xfrm>
              <a:off x="394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3" name="Oval 3031">
              <a:extLst>
                <a:ext uri="{FF2B5EF4-FFF2-40B4-BE49-F238E27FC236}">
                  <a16:creationId xmlns:a16="http://schemas.microsoft.com/office/drawing/2014/main" id="{B7B7EDB1-96CC-4EE2-A33F-DC9A0FF7D4D0}"/>
                </a:ext>
              </a:extLst>
            </p:cNvPr>
            <p:cNvSpPr>
              <a:spLocks noChangeArrowheads="1"/>
            </p:cNvSpPr>
            <p:nvPr/>
          </p:nvSpPr>
          <p:spPr bwMode="auto">
            <a:xfrm>
              <a:off x="3914"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4" name="Oval 3032">
              <a:extLst>
                <a:ext uri="{FF2B5EF4-FFF2-40B4-BE49-F238E27FC236}">
                  <a16:creationId xmlns:a16="http://schemas.microsoft.com/office/drawing/2014/main" id="{C28CA5AC-5F85-4D17-80A6-62E7C21B7E4C}"/>
                </a:ext>
              </a:extLst>
            </p:cNvPr>
            <p:cNvSpPr>
              <a:spLocks noChangeArrowheads="1"/>
            </p:cNvSpPr>
            <p:nvPr/>
          </p:nvSpPr>
          <p:spPr bwMode="auto">
            <a:xfrm>
              <a:off x="403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5" name="Oval 3033">
              <a:extLst>
                <a:ext uri="{FF2B5EF4-FFF2-40B4-BE49-F238E27FC236}">
                  <a16:creationId xmlns:a16="http://schemas.microsoft.com/office/drawing/2014/main" id="{0FB4E787-274A-4B58-92DD-AAFF3D6A8E06}"/>
                </a:ext>
              </a:extLst>
            </p:cNvPr>
            <p:cNvSpPr>
              <a:spLocks noChangeArrowheads="1"/>
            </p:cNvSpPr>
            <p:nvPr/>
          </p:nvSpPr>
          <p:spPr bwMode="auto">
            <a:xfrm>
              <a:off x="3914"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6" name="Oval 3034">
              <a:extLst>
                <a:ext uri="{FF2B5EF4-FFF2-40B4-BE49-F238E27FC236}">
                  <a16:creationId xmlns:a16="http://schemas.microsoft.com/office/drawing/2014/main" id="{B453302B-DF9F-4AD5-8C4C-270387E3DE17}"/>
                </a:ext>
              </a:extLst>
            </p:cNvPr>
            <p:cNvSpPr>
              <a:spLocks noChangeArrowheads="1"/>
            </p:cNvSpPr>
            <p:nvPr/>
          </p:nvSpPr>
          <p:spPr bwMode="auto">
            <a:xfrm>
              <a:off x="400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7" name="Oval 3035">
              <a:extLst>
                <a:ext uri="{FF2B5EF4-FFF2-40B4-BE49-F238E27FC236}">
                  <a16:creationId xmlns:a16="http://schemas.microsoft.com/office/drawing/2014/main" id="{8FE8CF4F-91B8-4654-BC82-0A2CE27811C0}"/>
                </a:ext>
              </a:extLst>
            </p:cNvPr>
            <p:cNvSpPr>
              <a:spLocks noChangeArrowheads="1"/>
            </p:cNvSpPr>
            <p:nvPr/>
          </p:nvSpPr>
          <p:spPr bwMode="auto">
            <a:xfrm>
              <a:off x="388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8" name="Oval 3036">
              <a:extLst>
                <a:ext uri="{FF2B5EF4-FFF2-40B4-BE49-F238E27FC236}">
                  <a16:creationId xmlns:a16="http://schemas.microsoft.com/office/drawing/2014/main" id="{0A90CE52-D441-483B-BEF3-4EA8C4A85D44}"/>
                </a:ext>
              </a:extLst>
            </p:cNvPr>
            <p:cNvSpPr>
              <a:spLocks noChangeArrowheads="1"/>
            </p:cNvSpPr>
            <p:nvPr/>
          </p:nvSpPr>
          <p:spPr bwMode="auto">
            <a:xfrm>
              <a:off x="367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9" name="Oval 3037">
              <a:extLst>
                <a:ext uri="{FF2B5EF4-FFF2-40B4-BE49-F238E27FC236}">
                  <a16:creationId xmlns:a16="http://schemas.microsoft.com/office/drawing/2014/main" id="{74C1B7DE-8B7A-4A02-9B96-B1B495C784A4}"/>
                </a:ext>
              </a:extLst>
            </p:cNvPr>
            <p:cNvSpPr>
              <a:spLocks noChangeArrowheads="1"/>
            </p:cNvSpPr>
            <p:nvPr/>
          </p:nvSpPr>
          <p:spPr bwMode="auto">
            <a:xfrm>
              <a:off x="364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0" name="Oval 3038">
              <a:extLst>
                <a:ext uri="{FF2B5EF4-FFF2-40B4-BE49-F238E27FC236}">
                  <a16:creationId xmlns:a16="http://schemas.microsoft.com/office/drawing/2014/main" id="{7DCC572B-403B-41F9-BF4B-FCA7A0AF6813}"/>
                </a:ext>
              </a:extLst>
            </p:cNvPr>
            <p:cNvSpPr>
              <a:spLocks noChangeArrowheads="1"/>
            </p:cNvSpPr>
            <p:nvPr/>
          </p:nvSpPr>
          <p:spPr bwMode="auto">
            <a:xfrm>
              <a:off x="364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1" name="Oval 3039">
              <a:extLst>
                <a:ext uri="{FF2B5EF4-FFF2-40B4-BE49-F238E27FC236}">
                  <a16:creationId xmlns:a16="http://schemas.microsoft.com/office/drawing/2014/main" id="{0D36694C-8D61-4EEC-BF56-2C766F86A4C8}"/>
                </a:ext>
              </a:extLst>
            </p:cNvPr>
            <p:cNvSpPr>
              <a:spLocks noChangeArrowheads="1"/>
            </p:cNvSpPr>
            <p:nvPr/>
          </p:nvSpPr>
          <p:spPr bwMode="auto">
            <a:xfrm>
              <a:off x="394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2" name="Oval 3040">
              <a:extLst>
                <a:ext uri="{FF2B5EF4-FFF2-40B4-BE49-F238E27FC236}">
                  <a16:creationId xmlns:a16="http://schemas.microsoft.com/office/drawing/2014/main" id="{3194E863-4F96-4B04-9472-7715AA16C770}"/>
                </a:ext>
              </a:extLst>
            </p:cNvPr>
            <p:cNvSpPr>
              <a:spLocks noChangeArrowheads="1"/>
            </p:cNvSpPr>
            <p:nvPr/>
          </p:nvSpPr>
          <p:spPr bwMode="auto">
            <a:xfrm>
              <a:off x="3824"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3" name="Oval 3041">
              <a:extLst>
                <a:ext uri="{FF2B5EF4-FFF2-40B4-BE49-F238E27FC236}">
                  <a16:creationId xmlns:a16="http://schemas.microsoft.com/office/drawing/2014/main" id="{29AAD5C9-CFCA-446C-84E2-C3CA944420A6}"/>
                </a:ext>
              </a:extLst>
            </p:cNvPr>
            <p:cNvSpPr>
              <a:spLocks noChangeArrowheads="1"/>
            </p:cNvSpPr>
            <p:nvPr/>
          </p:nvSpPr>
          <p:spPr bwMode="auto">
            <a:xfrm>
              <a:off x="391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4" name="Oval 3042">
              <a:extLst>
                <a:ext uri="{FF2B5EF4-FFF2-40B4-BE49-F238E27FC236}">
                  <a16:creationId xmlns:a16="http://schemas.microsoft.com/office/drawing/2014/main" id="{D4C25A18-94B2-4CBA-86A5-09DED5A5CCC3}"/>
                </a:ext>
              </a:extLst>
            </p:cNvPr>
            <p:cNvSpPr>
              <a:spLocks noChangeArrowheads="1"/>
            </p:cNvSpPr>
            <p:nvPr/>
          </p:nvSpPr>
          <p:spPr bwMode="auto">
            <a:xfrm>
              <a:off x="376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5" name="Oval 3043">
              <a:extLst>
                <a:ext uri="{FF2B5EF4-FFF2-40B4-BE49-F238E27FC236}">
                  <a16:creationId xmlns:a16="http://schemas.microsoft.com/office/drawing/2014/main" id="{806CBDA1-E98D-4939-9F43-8649ED7339AF}"/>
                </a:ext>
              </a:extLst>
            </p:cNvPr>
            <p:cNvSpPr>
              <a:spLocks noChangeArrowheads="1"/>
            </p:cNvSpPr>
            <p:nvPr/>
          </p:nvSpPr>
          <p:spPr bwMode="auto">
            <a:xfrm>
              <a:off x="403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6" name="Oval 3044">
              <a:extLst>
                <a:ext uri="{FF2B5EF4-FFF2-40B4-BE49-F238E27FC236}">
                  <a16:creationId xmlns:a16="http://schemas.microsoft.com/office/drawing/2014/main" id="{43369E95-0FC1-4D08-B6B3-1AFABC419764}"/>
                </a:ext>
              </a:extLst>
            </p:cNvPr>
            <p:cNvSpPr>
              <a:spLocks noChangeArrowheads="1"/>
            </p:cNvSpPr>
            <p:nvPr/>
          </p:nvSpPr>
          <p:spPr bwMode="auto">
            <a:xfrm>
              <a:off x="39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7" name="Oval 3045">
              <a:extLst>
                <a:ext uri="{FF2B5EF4-FFF2-40B4-BE49-F238E27FC236}">
                  <a16:creationId xmlns:a16="http://schemas.microsoft.com/office/drawing/2014/main" id="{239E9269-8AAD-4153-976F-CF1A0824B051}"/>
                </a:ext>
              </a:extLst>
            </p:cNvPr>
            <p:cNvSpPr>
              <a:spLocks noChangeArrowheads="1"/>
            </p:cNvSpPr>
            <p:nvPr/>
          </p:nvSpPr>
          <p:spPr bwMode="auto">
            <a:xfrm>
              <a:off x="3794"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8" name="Oval 3046">
              <a:extLst>
                <a:ext uri="{FF2B5EF4-FFF2-40B4-BE49-F238E27FC236}">
                  <a16:creationId xmlns:a16="http://schemas.microsoft.com/office/drawing/2014/main" id="{4AE550E0-74C4-492D-AB3F-02D76E758133}"/>
                </a:ext>
              </a:extLst>
            </p:cNvPr>
            <p:cNvSpPr>
              <a:spLocks noChangeArrowheads="1"/>
            </p:cNvSpPr>
            <p:nvPr/>
          </p:nvSpPr>
          <p:spPr bwMode="auto">
            <a:xfrm>
              <a:off x="376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9" name="Oval 3047">
              <a:extLst>
                <a:ext uri="{FF2B5EF4-FFF2-40B4-BE49-F238E27FC236}">
                  <a16:creationId xmlns:a16="http://schemas.microsoft.com/office/drawing/2014/main" id="{1C6EF303-B31C-4997-8311-4EFA868CEB74}"/>
                </a:ext>
              </a:extLst>
            </p:cNvPr>
            <p:cNvSpPr>
              <a:spLocks noChangeArrowheads="1"/>
            </p:cNvSpPr>
            <p:nvPr/>
          </p:nvSpPr>
          <p:spPr bwMode="auto">
            <a:xfrm>
              <a:off x="367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0" name="Oval 3048">
              <a:extLst>
                <a:ext uri="{FF2B5EF4-FFF2-40B4-BE49-F238E27FC236}">
                  <a16:creationId xmlns:a16="http://schemas.microsoft.com/office/drawing/2014/main" id="{B4C2F6AB-444D-4916-B22B-8BA836DEA0BA}"/>
                </a:ext>
              </a:extLst>
            </p:cNvPr>
            <p:cNvSpPr>
              <a:spLocks noChangeArrowheads="1"/>
            </p:cNvSpPr>
            <p:nvPr/>
          </p:nvSpPr>
          <p:spPr bwMode="auto">
            <a:xfrm>
              <a:off x="355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 name="Oval 3049">
              <a:extLst>
                <a:ext uri="{FF2B5EF4-FFF2-40B4-BE49-F238E27FC236}">
                  <a16:creationId xmlns:a16="http://schemas.microsoft.com/office/drawing/2014/main" id="{62674EE4-5181-48D1-B37C-E84384ED6B8C}"/>
                </a:ext>
              </a:extLst>
            </p:cNvPr>
            <p:cNvSpPr>
              <a:spLocks noChangeArrowheads="1"/>
            </p:cNvSpPr>
            <p:nvPr/>
          </p:nvSpPr>
          <p:spPr bwMode="auto">
            <a:xfrm>
              <a:off x="34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 name="Oval 3050">
              <a:extLst>
                <a:ext uri="{FF2B5EF4-FFF2-40B4-BE49-F238E27FC236}">
                  <a16:creationId xmlns:a16="http://schemas.microsoft.com/office/drawing/2014/main" id="{25B3C609-83F3-46BC-AD86-3AC50B73028A}"/>
                </a:ext>
              </a:extLst>
            </p:cNvPr>
            <p:cNvSpPr>
              <a:spLocks noChangeArrowheads="1"/>
            </p:cNvSpPr>
            <p:nvPr/>
          </p:nvSpPr>
          <p:spPr bwMode="auto">
            <a:xfrm>
              <a:off x="349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 name="Oval 3051">
              <a:extLst>
                <a:ext uri="{FF2B5EF4-FFF2-40B4-BE49-F238E27FC236}">
                  <a16:creationId xmlns:a16="http://schemas.microsoft.com/office/drawing/2014/main" id="{2A34631A-745A-48FF-BB1C-C32E88FC3D03}"/>
                </a:ext>
              </a:extLst>
            </p:cNvPr>
            <p:cNvSpPr>
              <a:spLocks noChangeArrowheads="1"/>
            </p:cNvSpPr>
            <p:nvPr/>
          </p:nvSpPr>
          <p:spPr bwMode="auto">
            <a:xfrm>
              <a:off x="3285" y="18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 name="Oval 3052">
              <a:extLst>
                <a:ext uri="{FF2B5EF4-FFF2-40B4-BE49-F238E27FC236}">
                  <a16:creationId xmlns:a16="http://schemas.microsoft.com/office/drawing/2014/main" id="{12FF5194-3278-46BC-B745-30217B6CFFB6}"/>
                </a:ext>
              </a:extLst>
            </p:cNvPr>
            <p:cNvSpPr>
              <a:spLocks noChangeArrowheads="1"/>
            </p:cNvSpPr>
            <p:nvPr/>
          </p:nvSpPr>
          <p:spPr bwMode="auto">
            <a:xfrm>
              <a:off x="331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 name="Oval 3053">
              <a:extLst>
                <a:ext uri="{FF2B5EF4-FFF2-40B4-BE49-F238E27FC236}">
                  <a16:creationId xmlns:a16="http://schemas.microsoft.com/office/drawing/2014/main" id="{F6498710-1A16-4038-8972-60973E8CDDF6}"/>
                </a:ext>
              </a:extLst>
            </p:cNvPr>
            <p:cNvSpPr>
              <a:spLocks noChangeArrowheads="1"/>
            </p:cNvSpPr>
            <p:nvPr/>
          </p:nvSpPr>
          <p:spPr bwMode="auto">
            <a:xfrm>
              <a:off x="32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 name="Oval 3054">
              <a:extLst>
                <a:ext uri="{FF2B5EF4-FFF2-40B4-BE49-F238E27FC236}">
                  <a16:creationId xmlns:a16="http://schemas.microsoft.com/office/drawing/2014/main" id="{F7F0835D-3FA3-4FD0-8B63-76F2215337D6}"/>
                </a:ext>
              </a:extLst>
            </p:cNvPr>
            <p:cNvSpPr>
              <a:spLocks noChangeArrowheads="1"/>
            </p:cNvSpPr>
            <p:nvPr/>
          </p:nvSpPr>
          <p:spPr bwMode="auto">
            <a:xfrm>
              <a:off x="325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 name="Oval 3055">
              <a:extLst>
                <a:ext uri="{FF2B5EF4-FFF2-40B4-BE49-F238E27FC236}">
                  <a16:creationId xmlns:a16="http://schemas.microsoft.com/office/drawing/2014/main" id="{4ACF7FA4-F4C8-47C1-A34B-1CB87C4AC4BC}"/>
                </a:ext>
              </a:extLst>
            </p:cNvPr>
            <p:cNvSpPr>
              <a:spLocks noChangeArrowheads="1"/>
            </p:cNvSpPr>
            <p:nvPr/>
          </p:nvSpPr>
          <p:spPr bwMode="auto">
            <a:xfrm>
              <a:off x="337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 name="Oval 3056">
              <a:extLst>
                <a:ext uri="{FF2B5EF4-FFF2-40B4-BE49-F238E27FC236}">
                  <a16:creationId xmlns:a16="http://schemas.microsoft.com/office/drawing/2014/main" id="{FB211FA1-02CD-463B-88F0-A4509127143F}"/>
                </a:ext>
              </a:extLst>
            </p:cNvPr>
            <p:cNvSpPr>
              <a:spLocks noChangeArrowheads="1"/>
            </p:cNvSpPr>
            <p:nvPr/>
          </p:nvSpPr>
          <p:spPr bwMode="auto">
            <a:xfrm>
              <a:off x="340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 name="Oval 3057">
              <a:extLst>
                <a:ext uri="{FF2B5EF4-FFF2-40B4-BE49-F238E27FC236}">
                  <a16:creationId xmlns:a16="http://schemas.microsoft.com/office/drawing/2014/main" id="{E088EA81-7207-465E-8920-73188716C68F}"/>
                </a:ext>
              </a:extLst>
            </p:cNvPr>
            <p:cNvSpPr>
              <a:spLocks noChangeArrowheads="1"/>
            </p:cNvSpPr>
            <p:nvPr/>
          </p:nvSpPr>
          <p:spPr bwMode="auto">
            <a:xfrm>
              <a:off x="337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 name="Oval 3058">
              <a:extLst>
                <a:ext uri="{FF2B5EF4-FFF2-40B4-BE49-F238E27FC236}">
                  <a16:creationId xmlns:a16="http://schemas.microsoft.com/office/drawing/2014/main" id="{574CE22D-6E92-4D41-A46D-359C059E4E71}"/>
                </a:ext>
              </a:extLst>
            </p:cNvPr>
            <p:cNvSpPr>
              <a:spLocks noChangeArrowheads="1"/>
            </p:cNvSpPr>
            <p:nvPr/>
          </p:nvSpPr>
          <p:spPr bwMode="auto">
            <a:xfrm>
              <a:off x="34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 name="Oval 3059">
              <a:extLst>
                <a:ext uri="{FF2B5EF4-FFF2-40B4-BE49-F238E27FC236}">
                  <a16:creationId xmlns:a16="http://schemas.microsoft.com/office/drawing/2014/main" id="{640EB23B-FC1A-454A-B622-50344BA3EB97}"/>
                </a:ext>
              </a:extLst>
            </p:cNvPr>
            <p:cNvSpPr>
              <a:spLocks noChangeArrowheads="1"/>
            </p:cNvSpPr>
            <p:nvPr/>
          </p:nvSpPr>
          <p:spPr bwMode="auto">
            <a:xfrm>
              <a:off x="313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 name="Oval 3060">
              <a:extLst>
                <a:ext uri="{FF2B5EF4-FFF2-40B4-BE49-F238E27FC236}">
                  <a16:creationId xmlns:a16="http://schemas.microsoft.com/office/drawing/2014/main" id="{386EAC42-69CC-4402-8C9C-4986811FFBD5}"/>
                </a:ext>
              </a:extLst>
            </p:cNvPr>
            <p:cNvSpPr>
              <a:spLocks noChangeArrowheads="1"/>
            </p:cNvSpPr>
            <p:nvPr/>
          </p:nvSpPr>
          <p:spPr bwMode="auto">
            <a:xfrm>
              <a:off x="313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 name="Oval 3061">
              <a:extLst>
                <a:ext uri="{FF2B5EF4-FFF2-40B4-BE49-F238E27FC236}">
                  <a16:creationId xmlns:a16="http://schemas.microsoft.com/office/drawing/2014/main" id="{29B04539-3976-45F5-9966-7D83D5800957}"/>
                </a:ext>
              </a:extLst>
            </p:cNvPr>
            <p:cNvSpPr>
              <a:spLocks noChangeArrowheads="1"/>
            </p:cNvSpPr>
            <p:nvPr/>
          </p:nvSpPr>
          <p:spPr bwMode="auto">
            <a:xfrm>
              <a:off x="307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 name="Oval 3062">
              <a:extLst>
                <a:ext uri="{FF2B5EF4-FFF2-40B4-BE49-F238E27FC236}">
                  <a16:creationId xmlns:a16="http://schemas.microsoft.com/office/drawing/2014/main" id="{21C16987-0C7E-45F1-A133-89D784B5F3ED}"/>
                </a:ext>
              </a:extLst>
            </p:cNvPr>
            <p:cNvSpPr>
              <a:spLocks noChangeArrowheads="1"/>
            </p:cNvSpPr>
            <p:nvPr/>
          </p:nvSpPr>
          <p:spPr bwMode="auto">
            <a:xfrm>
              <a:off x="328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 name="Oval 3063">
              <a:extLst>
                <a:ext uri="{FF2B5EF4-FFF2-40B4-BE49-F238E27FC236}">
                  <a16:creationId xmlns:a16="http://schemas.microsoft.com/office/drawing/2014/main" id="{8E409EDB-3522-4738-9D3C-ED679808CC8F}"/>
                </a:ext>
              </a:extLst>
            </p:cNvPr>
            <p:cNvSpPr>
              <a:spLocks noChangeArrowheads="1"/>
            </p:cNvSpPr>
            <p:nvPr/>
          </p:nvSpPr>
          <p:spPr bwMode="auto">
            <a:xfrm>
              <a:off x="337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 name="Oval 3064">
              <a:extLst>
                <a:ext uri="{FF2B5EF4-FFF2-40B4-BE49-F238E27FC236}">
                  <a16:creationId xmlns:a16="http://schemas.microsoft.com/office/drawing/2014/main" id="{8F5B5D3A-D870-4B9B-8CA0-928E1FB1B5D6}"/>
                </a:ext>
              </a:extLst>
            </p:cNvPr>
            <p:cNvSpPr>
              <a:spLocks noChangeArrowheads="1"/>
            </p:cNvSpPr>
            <p:nvPr/>
          </p:nvSpPr>
          <p:spPr bwMode="auto">
            <a:xfrm>
              <a:off x="3735"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 name="Oval 3065">
              <a:extLst>
                <a:ext uri="{FF2B5EF4-FFF2-40B4-BE49-F238E27FC236}">
                  <a16:creationId xmlns:a16="http://schemas.microsoft.com/office/drawing/2014/main" id="{189A0CA9-8B12-4F76-BDD2-A5E43979896D}"/>
                </a:ext>
              </a:extLst>
            </p:cNvPr>
            <p:cNvSpPr>
              <a:spLocks noChangeArrowheads="1"/>
            </p:cNvSpPr>
            <p:nvPr/>
          </p:nvSpPr>
          <p:spPr bwMode="auto">
            <a:xfrm>
              <a:off x="358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 name="Oval 3066">
              <a:extLst>
                <a:ext uri="{FF2B5EF4-FFF2-40B4-BE49-F238E27FC236}">
                  <a16:creationId xmlns:a16="http://schemas.microsoft.com/office/drawing/2014/main" id="{9A68E5C5-FD2D-4CB7-9AED-07D3C7F5EC10}"/>
                </a:ext>
              </a:extLst>
            </p:cNvPr>
            <p:cNvSpPr>
              <a:spLocks noChangeArrowheads="1"/>
            </p:cNvSpPr>
            <p:nvPr/>
          </p:nvSpPr>
          <p:spPr bwMode="auto">
            <a:xfrm>
              <a:off x="355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 name="Oval 3067">
              <a:extLst>
                <a:ext uri="{FF2B5EF4-FFF2-40B4-BE49-F238E27FC236}">
                  <a16:creationId xmlns:a16="http://schemas.microsoft.com/office/drawing/2014/main" id="{BEA17ECF-A13E-4856-89DE-FBBA67915A3C}"/>
                </a:ext>
              </a:extLst>
            </p:cNvPr>
            <p:cNvSpPr>
              <a:spLocks noChangeArrowheads="1"/>
            </p:cNvSpPr>
            <p:nvPr/>
          </p:nvSpPr>
          <p:spPr bwMode="auto">
            <a:xfrm>
              <a:off x="349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 name="Oval 3068">
              <a:extLst>
                <a:ext uri="{FF2B5EF4-FFF2-40B4-BE49-F238E27FC236}">
                  <a16:creationId xmlns:a16="http://schemas.microsoft.com/office/drawing/2014/main" id="{0E8E204C-4B7D-4DE5-9E67-52BDC2FAAB06}"/>
                </a:ext>
              </a:extLst>
            </p:cNvPr>
            <p:cNvSpPr>
              <a:spLocks noChangeArrowheads="1"/>
            </p:cNvSpPr>
            <p:nvPr/>
          </p:nvSpPr>
          <p:spPr bwMode="auto">
            <a:xfrm>
              <a:off x="337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 name="Oval 3069">
              <a:extLst>
                <a:ext uri="{FF2B5EF4-FFF2-40B4-BE49-F238E27FC236}">
                  <a16:creationId xmlns:a16="http://schemas.microsoft.com/office/drawing/2014/main" id="{C624B339-FAD5-40CF-8733-96E1E31FA7F8}"/>
                </a:ext>
              </a:extLst>
            </p:cNvPr>
            <p:cNvSpPr>
              <a:spLocks noChangeArrowheads="1"/>
            </p:cNvSpPr>
            <p:nvPr/>
          </p:nvSpPr>
          <p:spPr bwMode="auto">
            <a:xfrm>
              <a:off x="340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 name="Oval 3070">
              <a:extLst>
                <a:ext uri="{FF2B5EF4-FFF2-40B4-BE49-F238E27FC236}">
                  <a16:creationId xmlns:a16="http://schemas.microsoft.com/office/drawing/2014/main" id="{4D722975-F78B-42B4-8FDB-C9142CEC9CA7}"/>
                </a:ext>
              </a:extLst>
            </p:cNvPr>
            <p:cNvSpPr>
              <a:spLocks noChangeArrowheads="1"/>
            </p:cNvSpPr>
            <p:nvPr/>
          </p:nvSpPr>
          <p:spPr bwMode="auto">
            <a:xfrm>
              <a:off x="325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 name="Oval 3071">
              <a:extLst>
                <a:ext uri="{FF2B5EF4-FFF2-40B4-BE49-F238E27FC236}">
                  <a16:creationId xmlns:a16="http://schemas.microsoft.com/office/drawing/2014/main" id="{3DE121C8-363C-4C2E-A913-1AA2522B209B}"/>
                </a:ext>
              </a:extLst>
            </p:cNvPr>
            <p:cNvSpPr>
              <a:spLocks noChangeArrowheads="1"/>
            </p:cNvSpPr>
            <p:nvPr/>
          </p:nvSpPr>
          <p:spPr bwMode="auto">
            <a:xfrm>
              <a:off x="322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 name="Oval 3072">
              <a:extLst>
                <a:ext uri="{FF2B5EF4-FFF2-40B4-BE49-F238E27FC236}">
                  <a16:creationId xmlns:a16="http://schemas.microsoft.com/office/drawing/2014/main" id="{2442AAD0-7024-439F-8B6A-C666F13E4519}"/>
                </a:ext>
              </a:extLst>
            </p:cNvPr>
            <p:cNvSpPr>
              <a:spLocks noChangeArrowheads="1"/>
            </p:cNvSpPr>
            <p:nvPr/>
          </p:nvSpPr>
          <p:spPr bwMode="auto">
            <a:xfrm>
              <a:off x="331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 name="Oval 3073">
              <a:extLst>
                <a:ext uri="{FF2B5EF4-FFF2-40B4-BE49-F238E27FC236}">
                  <a16:creationId xmlns:a16="http://schemas.microsoft.com/office/drawing/2014/main" id="{52A41508-052C-497D-8B2D-BCACA394AD88}"/>
                </a:ext>
              </a:extLst>
            </p:cNvPr>
            <p:cNvSpPr>
              <a:spLocks noChangeArrowheads="1"/>
            </p:cNvSpPr>
            <p:nvPr/>
          </p:nvSpPr>
          <p:spPr bwMode="auto">
            <a:xfrm>
              <a:off x="352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 name="Oval 3074">
              <a:extLst>
                <a:ext uri="{FF2B5EF4-FFF2-40B4-BE49-F238E27FC236}">
                  <a16:creationId xmlns:a16="http://schemas.microsoft.com/office/drawing/2014/main" id="{A8F225EB-969F-4CB5-B066-16977D5E3CFB}"/>
                </a:ext>
              </a:extLst>
            </p:cNvPr>
            <p:cNvSpPr>
              <a:spLocks noChangeArrowheads="1"/>
            </p:cNvSpPr>
            <p:nvPr/>
          </p:nvSpPr>
          <p:spPr bwMode="auto">
            <a:xfrm>
              <a:off x="3914"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 name="Oval 3075">
              <a:extLst>
                <a:ext uri="{FF2B5EF4-FFF2-40B4-BE49-F238E27FC236}">
                  <a16:creationId xmlns:a16="http://schemas.microsoft.com/office/drawing/2014/main" id="{3BFDED45-52DE-4EAB-A928-AD902769D6DE}"/>
                </a:ext>
              </a:extLst>
            </p:cNvPr>
            <p:cNvSpPr>
              <a:spLocks noChangeArrowheads="1"/>
            </p:cNvSpPr>
            <p:nvPr/>
          </p:nvSpPr>
          <p:spPr bwMode="auto">
            <a:xfrm>
              <a:off x="4274"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 name="Oval 3076">
              <a:extLst>
                <a:ext uri="{FF2B5EF4-FFF2-40B4-BE49-F238E27FC236}">
                  <a16:creationId xmlns:a16="http://schemas.microsoft.com/office/drawing/2014/main" id="{49A5533B-6D7B-4C96-8E39-6F68BDAB4B42}"/>
                </a:ext>
              </a:extLst>
            </p:cNvPr>
            <p:cNvSpPr>
              <a:spLocks noChangeArrowheads="1"/>
            </p:cNvSpPr>
            <p:nvPr/>
          </p:nvSpPr>
          <p:spPr bwMode="auto">
            <a:xfrm>
              <a:off x="4184"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 name="Oval 3077">
              <a:extLst>
                <a:ext uri="{FF2B5EF4-FFF2-40B4-BE49-F238E27FC236}">
                  <a16:creationId xmlns:a16="http://schemas.microsoft.com/office/drawing/2014/main" id="{21D6533A-9216-4D2F-8E9C-9D065A905426}"/>
                </a:ext>
              </a:extLst>
            </p:cNvPr>
            <p:cNvSpPr>
              <a:spLocks noChangeArrowheads="1"/>
            </p:cNvSpPr>
            <p:nvPr/>
          </p:nvSpPr>
          <p:spPr bwMode="auto">
            <a:xfrm>
              <a:off x="421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 name="Oval 3078">
              <a:extLst>
                <a:ext uri="{FF2B5EF4-FFF2-40B4-BE49-F238E27FC236}">
                  <a16:creationId xmlns:a16="http://schemas.microsoft.com/office/drawing/2014/main" id="{C63DB52E-2583-4790-9B20-050494981F85}"/>
                </a:ext>
              </a:extLst>
            </p:cNvPr>
            <p:cNvSpPr>
              <a:spLocks noChangeArrowheads="1"/>
            </p:cNvSpPr>
            <p:nvPr/>
          </p:nvSpPr>
          <p:spPr bwMode="auto">
            <a:xfrm>
              <a:off x="4244"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 name="Oval 3079">
              <a:extLst>
                <a:ext uri="{FF2B5EF4-FFF2-40B4-BE49-F238E27FC236}">
                  <a16:creationId xmlns:a16="http://schemas.microsoft.com/office/drawing/2014/main" id="{B549BA67-1A77-42F7-AAF2-0E8F7FE690D8}"/>
                </a:ext>
              </a:extLst>
            </p:cNvPr>
            <p:cNvSpPr>
              <a:spLocks noChangeArrowheads="1"/>
            </p:cNvSpPr>
            <p:nvPr/>
          </p:nvSpPr>
          <p:spPr bwMode="auto">
            <a:xfrm>
              <a:off x="4094"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 name="Oval 3080">
              <a:extLst>
                <a:ext uri="{FF2B5EF4-FFF2-40B4-BE49-F238E27FC236}">
                  <a16:creationId xmlns:a16="http://schemas.microsoft.com/office/drawing/2014/main" id="{F2CFA2AB-A4A3-407E-B0C4-84C0E3FBE8EB}"/>
                </a:ext>
              </a:extLst>
            </p:cNvPr>
            <p:cNvSpPr>
              <a:spLocks noChangeArrowheads="1"/>
            </p:cNvSpPr>
            <p:nvPr/>
          </p:nvSpPr>
          <p:spPr bwMode="auto">
            <a:xfrm>
              <a:off x="406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 name="Oval 3081">
              <a:extLst>
                <a:ext uri="{FF2B5EF4-FFF2-40B4-BE49-F238E27FC236}">
                  <a16:creationId xmlns:a16="http://schemas.microsoft.com/office/drawing/2014/main" id="{EFFDBA04-7E02-4D8C-AE23-5F508D16FCF7}"/>
                </a:ext>
              </a:extLst>
            </p:cNvPr>
            <p:cNvSpPr>
              <a:spLocks noChangeArrowheads="1"/>
            </p:cNvSpPr>
            <p:nvPr/>
          </p:nvSpPr>
          <p:spPr bwMode="auto">
            <a:xfrm>
              <a:off x="4004"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 name="Oval 3082">
              <a:extLst>
                <a:ext uri="{FF2B5EF4-FFF2-40B4-BE49-F238E27FC236}">
                  <a16:creationId xmlns:a16="http://schemas.microsoft.com/office/drawing/2014/main" id="{F32D46B7-7823-4D08-AF52-2BA18E94F2AC}"/>
                </a:ext>
              </a:extLst>
            </p:cNvPr>
            <p:cNvSpPr>
              <a:spLocks noChangeArrowheads="1"/>
            </p:cNvSpPr>
            <p:nvPr/>
          </p:nvSpPr>
          <p:spPr bwMode="auto">
            <a:xfrm>
              <a:off x="385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 name="Oval 3083">
              <a:extLst>
                <a:ext uri="{FF2B5EF4-FFF2-40B4-BE49-F238E27FC236}">
                  <a16:creationId xmlns:a16="http://schemas.microsoft.com/office/drawing/2014/main" id="{936E0ECA-1F36-4DE8-B8AF-51CBF4CF376B}"/>
                </a:ext>
              </a:extLst>
            </p:cNvPr>
            <p:cNvSpPr>
              <a:spLocks noChangeArrowheads="1"/>
            </p:cNvSpPr>
            <p:nvPr/>
          </p:nvSpPr>
          <p:spPr bwMode="auto">
            <a:xfrm>
              <a:off x="4184"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 name="Oval 3084">
              <a:extLst>
                <a:ext uri="{FF2B5EF4-FFF2-40B4-BE49-F238E27FC236}">
                  <a16:creationId xmlns:a16="http://schemas.microsoft.com/office/drawing/2014/main" id="{83B11DBC-FE7E-4A36-A483-90222D9720B3}"/>
                </a:ext>
              </a:extLst>
            </p:cNvPr>
            <p:cNvSpPr>
              <a:spLocks noChangeArrowheads="1"/>
            </p:cNvSpPr>
            <p:nvPr/>
          </p:nvSpPr>
          <p:spPr bwMode="auto">
            <a:xfrm>
              <a:off x="412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 name="Oval 3085">
              <a:extLst>
                <a:ext uri="{FF2B5EF4-FFF2-40B4-BE49-F238E27FC236}">
                  <a16:creationId xmlns:a16="http://schemas.microsoft.com/office/drawing/2014/main" id="{BFBA1A7D-C628-4A3F-99A2-1F31F7EACFDE}"/>
                </a:ext>
              </a:extLst>
            </p:cNvPr>
            <p:cNvSpPr>
              <a:spLocks noChangeArrowheads="1"/>
            </p:cNvSpPr>
            <p:nvPr/>
          </p:nvSpPr>
          <p:spPr bwMode="auto">
            <a:xfrm>
              <a:off x="4064"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 name="Oval 3086">
              <a:extLst>
                <a:ext uri="{FF2B5EF4-FFF2-40B4-BE49-F238E27FC236}">
                  <a16:creationId xmlns:a16="http://schemas.microsoft.com/office/drawing/2014/main" id="{4C70CCDB-80A3-42C3-9700-3E8113F8C22A}"/>
                </a:ext>
              </a:extLst>
            </p:cNvPr>
            <p:cNvSpPr>
              <a:spLocks noChangeArrowheads="1"/>
            </p:cNvSpPr>
            <p:nvPr/>
          </p:nvSpPr>
          <p:spPr bwMode="auto">
            <a:xfrm>
              <a:off x="3974"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 name="Oval 3087">
              <a:extLst>
                <a:ext uri="{FF2B5EF4-FFF2-40B4-BE49-F238E27FC236}">
                  <a16:creationId xmlns:a16="http://schemas.microsoft.com/office/drawing/2014/main" id="{546D2DD6-B9FE-4C26-97FC-D514148BBB31}"/>
                </a:ext>
              </a:extLst>
            </p:cNvPr>
            <p:cNvSpPr>
              <a:spLocks noChangeArrowheads="1"/>
            </p:cNvSpPr>
            <p:nvPr/>
          </p:nvSpPr>
          <p:spPr bwMode="auto">
            <a:xfrm>
              <a:off x="385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 name="Oval 3088">
              <a:extLst>
                <a:ext uri="{FF2B5EF4-FFF2-40B4-BE49-F238E27FC236}">
                  <a16:creationId xmlns:a16="http://schemas.microsoft.com/office/drawing/2014/main" id="{2DB784B5-B4F4-4F6F-945B-E00541E9303E}"/>
                </a:ext>
              </a:extLst>
            </p:cNvPr>
            <p:cNvSpPr>
              <a:spLocks noChangeArrowheads="1"/>
            </p:cNvSpPr>
            <p:nvPr/>
          </p:nvSpPr>
          <p:spPr bwMode="auto">
            <a:xfrm>
              <a:off x="367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 name="Oval 3089">
              <a:extLst>
                <a:ext uri="{FF2B5EF4-FFF2-40B4-BE49-F238E27FC236}">
                  <a16:creationId xmlns:a16="http://schemas.microsoft.com/office/drawing/2014/main" id="{524D02DE-6100-434C-A67C-EB91BB3B2270}"/>
                </a:ext>
              </a:extLst>
            </p:cNvPr>
            <p:cNvSpPr>
              <a:spLocks noChangeArrowheads="1"/>
            </p:cNvSpPr>
            <p:nvPr/>
          </p:nvSpPr>
          <p:spPr bwMode="auto">
            <a:xfrm>
              <a:off x="367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 name="Oval 3090">
              <a:extLst>
                <a:ext uri="{FF2B5EF4-FFF2-40B4-BE49-F238E27FC236}">
                  <a16:creationId xmlns:a16="http://schemas.microsoft.com/office/drawing/2014/main" id="{3FA24846-0859-451D-9BCC-C1A024A7447D}"/>
                </a:ext>
              </a:extLst>
            </p:cNvPr>
            <p:cNvSpPr>
              <a:spLocks noChangeArrowheads="1"/>
            </p:cNvSpPr>
            <p:nvPr/>
          </p:nvSpPr>
          <p:spPr bwMode="auto">
            <a:xfrm>
              <a:off x="35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 name="Oval 3091">
              <a:extLst>
                <a:ext uri="{FF2B5EF4-FFF2-40B4-BE49-F238E27FC236}">
                  <a16:creationId xmlns:a16="http://schemas.microsoft.com/office/drawing/2014/main" id="{BB6BE094-3B46-44E9-9932-F600FFAA8CA4}"/>
                </a:ext>
              </a:extLst>
            </p:cNvPr>
            <p:cNvSpPr>
              <a:spLocks noChangeArrowheads="1"/>
            </p:cNvSpPr>
            <p:nvPr/>
          </p:nvSpPr>
          <p:spPr bwMode="auto">
            <a:xfrm>
              <a:off x="355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 name="Oval 3092">
              <a:extLst>
                <a:ext uri="{FF2B5EF4-FFF2-40B4-BE49-F238E27FC236}">
                  <a16:creationId xmlns:a16="http://schemas.microsoft.com/office/drawing/2014/main" id="{2CA6DDBB-C77A-4668-8311-25D018AEBA6B}"/>
                </a:ext>
              </a:extLst>
            </p:cNvPr>
            <p:cNvSpPr>
              <a:spLocks noChangeArrowheads="1"/>
            </p:cNvSpPr>
            <p:nvPr/>
          </p:nvSpPr>
          <p:spPr bwMode="auto">
            <a:xfrm>
              <a:off x="355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 name="Oval 3093">
              <a:extLst>
                <a:ext uri="{FF2B5EF4-FFF2-40B4-BE49-F238E27FC236}">
                  <a16:creationId xmlns:a16="http://schemas.microsoft.com/office/drawing/2014/main" id="{C88C8A33-D5CD-4D2D-A74B-D880138B2372}"/>
                </a:ext>
              </a:extLst>
            </p:cNvPr>
            <p:cNvSpPr>
              <a:spLocks noChangeArrowheads="1"/>
            </p:cNvSpPr>
            <p:nvPr/>
          </p:nvSpPr>
          <p:spPr bwMode="auto">
            <a:xfrm>
              <a:off x="358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 name="Oval 3094">
              <a:extLst>
                <a:ext uri="{FF2B5EF4-FFF2-40B4-BE49-F238E27FC236}">
                  <a16:creationId xmlns:a16="http://schemas.microsoft.com/office/drawing/2014/main" id="{D88F7BAF-2FBE-42A5-8C77-37889CE0F0DA}"/>
                </a:ext>
              </a:extLst>
            </p:cNvPr>
            <p:cNvSpPr>
              <a:spLocks noChangeArrowheads="1"/>
            </p:cNvSpPr>
            <p:nvPr/>
          </p:nvSpPr>
          <p:spPr bwMode="auto">
            <a:xfrm>
              <a:off x="343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 name="Oval 3095">
              <a:extLst>
                <a:ext uri="{FF2B5EF4-FFF2-40B4-BE49-F238E27FC236}">
                  <a16:creationId xmlns:a16="http://schemas.microsoft.com/office/drawing/2014/main" id="{09B9A57F-CBD4-49F5-A90D-0C46379CE5D3}"/>
                </a:ext>
              </a:extLst>
            </p:cNvPr>
            <p:cNvSpPr>
              <a:spLocks noChangeArrowheads="1"/>
            </p:cNvSpPr>
            <p:nvPr/>
          </p:nvSpPr>
          <p:spPr bwMode="auto">
            <a:xfrm>
              <a:off x="340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 name="Oval 3096">
              <a:extLst>
                <a:ext uri="{FF2B5EF4-FFF2-40B4-BE49-F238E27FC236}">
                  <a16:creationId xmlns:a16="http://schemas.microsoft.com/office/drawing/2014/main" id="{A5BC210B-13D2-434E-9F75-14827FAB5F01}"/>
                </a:ext>
              </a:extLst>
            </p:cNvPr>
            <p:cNvSpPr>
              <a:spLocks noChangeArrowheads="1"/>
            </p:cNvSpPr>
            <p:nvPr/>
          </p:nvSpPr>
          <p:spPr bwMode="auto">
            <a:xfrm>
              <a:off x="331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 name="Oval 3097">
              <a:extLst>
                <a:ext uri="{FF2B5EF4-FFF2-40B4-BE49-F238E27FC236}">
                  <a16:creationId xmlns:a16="http://schemas.microsoft.com/office/drawing/2014/main" id="{CBEE5E55-E19B-4C11-ACF5-554E986B8201}"/>
                </a:ext>
              </a:extLst>
            </p:cNvPr>
            <p:cNvSpPr>
              <a:spLocks noChangeArrowheads="1"/>
            </p:cNvSpPr>
            <p:nvPr/>
          </p:nvSpPr>
          <p:spPr bwMode="auto">
            <a:xfrm>
              <a:off x="340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 name="Oval 3098">
              <a:extLst>
                <a:ext uri="{FF2B5EF4-FFF2-40B4-BE49-F238E27FC236}">
                  <a16:creationId xmlns:a16="http://schemas.microsoft.com/office/drawing/2014/main" id="{8378830F-6B5D-4620-8827-C175529FAE54}"/>
                </a:ext>
              </a:extLst>
            </p:cNvPr>
            <p:cNvSpPr>
              <a:spLocks noChangeArrowheads="1"/>
            </p:cNvSpPr>
            <p:nvPr/>
          </p:nvSpPr>
          <p:spPr bwMode="auto">
            <a:xfrm>
              <a:off x="328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 name="Oval 3099">
              <a:extLst>
                <a:ext uri="{FF2B5EF4-FFF2-40B4-BE49-F238E27FC236}">
                  <a16:creationId xmlns:a16="http://schemas.microsoft.com/office/drawing/2014/main" id="{8CF9D8DC-3FA7-4D55-A680-49355D15C1CC}"/>
                </a:ext>
              </a:extLst>
            </p:cNvPr>
            <p:cNvSpPr>
              <a:spLocks noChangeArrowheads="1"/>
            </p:cNvSpPr>
            <p:nvPr/>
          </p:nvSpPr>
          <p:spPr bwMode="auto">
            <a:xfrm>
              <a:off x="334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 name="Oval 3100">
              <a:extLst>
                <a:ext uri="{FF2B5EF4-FFF2-40B4-BE49-F238E27FC236}">
                  <a16:creationId xmlns:a16="http://schemas.microsoft.com/office/drawing/2014/main" id="{44275355-0D59-4E84-B634-043D009E37D4}"/>
                </a:ext>
              </a:extLst>
            </p:cNvPr>
            <p:cNvSpPr>
              <a:spLocks noChangeArrowheads="1"/>
            </p:cNvSpPr>
            <p:nvPr/>
          </p:nvSpPr>
          <p:spPr bwMode="auto">
            <a:xfrm>
              <a:off x="334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 name="Oval 3101">
              <a:extLst>
                <a:ext uri="{FF2B5EF4-FFF2-40B4-BE49-F238E27FC236}">
                  <a16:creationId xmlns:a16="http://schemas.microsoft.com/office/drawing/2014/main" id="{DD2414BA-4674-4CD3-AA8B-B5AC21C3A79F}"/>
                </a:ext>
              </a:extLst>
            </p:cNvPr>
            <p:cNvSpPr>
              <a:spLocks noChangeArrowheads="1"/>
            </p:cNvSpPr>
            <p:nvPr/>
          </p:nvSpPr>
          <p:spPr bwMode="auto">
            <a:xfrm>
              <a:off x="325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 name="Oval 3102">
              <a:extLst>
                <a:ext uri="{FF2B5EF4-FFF2-40B4-BE49-F238E27FC236}">
                  <a16:creationId xmlns:a16="http://schemas.microsoft.com/office/drawing/2014/main" id="{7ABFC575-86AA-4384-BA4E-D25BFC0FA696}"/>
                </a:ext>
              </a:extLst>
            </p:cNvPr>
            <p:cNvSpPr>
              <a:spLocks noChangeArrowheads="1"/>
            </p:cNvSpPr>
            <p:nvPr/>
          </p:nvSpPr>
          <p:spPr bwMode="auto">
            <a:xfrm>
              <a:off x="319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 name="Oval 3103">
              <a:extLst>
                <a:ext uri="{FF2B5EF4-FFF2-40B4-BE49-F238E27FC236}">
                  <a16:creationId xmlns:a16="http://schemas.microsoft.com/office/drawing/2014/main" id="{408CA180-4BE2-404C-B5DB-298A424F697E}"/>
                </a:ext>
              </a:extLst>
            </p:cNvPr>
            <p:cNvSpPr>
              <a:spLocks noChangeArrowheads="1"/>
            </p:cNvSpPr>
            <p:nvPr/>
          </p:nvSpPr>
          <p:spPr bwMode="auto">
            <a:xfrm>
              <a:off x="31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 name="Oval 3104">
              <a:extLst>
                <a:ext uri="{FF2B5EF4-FFF2-40B4-BE49-F238E27FC236}">
                  <a16:creationId xmlns:a16="http://schemas.microsoft.com/office/drawing/2014/main" id="{A5AD08FE-ADEF-4771-8E4A-6C447B3E51F6}"/>
                </a:ext>
              </a:extLst>
            </p:cNvPr>
            <p:cNvSpPr>
              <a:spLocks noChangeArrowheads="1"/>
            </p:cNvSpPr>
            <p:nvPr/>
          </p:nvSpPr>
          <p:spPr bwMode="auto">
            <a:xfrm>
              <a:off x="319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 name="Oval 3105">
              <a:extLst>
                <a:ext uri="{FF2B5EF4-FFF2-40B4-BE49-F238E27FC236}">
                  <a16:creationId xmlns:a16="http://schemas.microsoft.com/office/drawing/2014/main" id="{55264941-2CE5-4A6B-AB29-B1FEA0F75F7F}"/>
                </a:ext>
              </a:extLst>
            </p:cNvPr>
            <p:cNvSpPr>
              <a:spLocks noChangeArrowheads="1"/>
            </p:cNvSpPr>
            <p:nvPr/>
          </p:nvSpPr>
          <p:spPr bwMode="auto">
            <a:xfrm>
              <a:off x="319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 name="Oval 3106">
              <a:extLst>
                <a:ext uri="{FF2B5EF4-FFF2-40B4-BE49-F238E27FC236}">
                  <a16:creationId xmlns:a16="http://schemas.microsoft.com/office/drawing/2014/main" id="{FED67515-85C8-47F4-A96E-0BFE492387CC}"/>
                </a:ext>
              </a:extLst>
            </p:cNvPr>
            <p:cNvSpPr>
              <a:spLocks noChangeArrowheads="1"/>
            </p:cNvSpPr>
            <p:nvPr/>
          </p:nvSpPr>
          <p:spPr bwMode="auto">
            <a:xfrm>
              <a:off x="319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 name="Oval 3107">
              <a:extLst>
                <a:ext uri="{FF2B5EF4-FFF2-40B4-BE49-F238E27FC236}">
                  <a16:creationId xmlns:a16="http://schemas.microsoft.com/office/drawing/2014/main" id="{C2F5069B-236E-4226-B61D-3CD713267726}"/>
                </a:ext>
              </a:extLst>
            </p:cNvPr>
            <p:cNvSpPr>
              <a:spLocks noChangeArrowheads="1"/>
            </p:cNvSpPr>
            <p:nvPr/>
          </p:nvSpPr>
          <p:spPr bwMode="auto">
            <a:xfrm>
              <a:off x="31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 name="Oval 3108">
              <a:extLst>
                <a:ext uri="{FF2B5EF4-FFF2-40B4-BE49-F238E27FC236}">
                  <a16:creationId xmlns:a16="http://schemas.microsoft.com/office/drawing/2014/main" id="{E6C27DC0-23CC-43BB-97D8-1CF6E854BAC1}"/>
                </a:ext>
              </a:extLst>
            </p:cNvPr>
            <p:cNvSpPr>
              <a:spLocks noChangeArrowheads="1"/>
            </p:cNvSpPr>
            <p:nvPr/>
          </p:nvSpPr>
          <p:spPr bwMode="auto">
            <a:xfrm>
              <a:off x="319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 name="Oval 3109">
              <a:extLst>
                <a:ext uri="{FF2B5EF4-FFF2-40B4-BE49-F238E27FC236}">
                  <a16:creationId xmlns:a16="http://schemas.microsoft.com/office/drawing/2014/main" id="{6D004224-06B6-42BB-8D07-BAEC0F2A11C1}"/>
                </a:ext>
              </a:extLst>
            </p:cNvPr>
            <p:cNvSpPr>
              <a:spLocks noChangeArrowheads="1"/>
            </p:cNvSpPr>
            <p:nvPr/>
          </p:nvSpPr>
          <p:spPr bwMode="auto">
            <a:xfrm>
              <a:off x="319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 name="Oval 3110">
              <a:extLst>
                <a:ext uri="{FF2B5EF4-FFF2-40B4-BE49-F238E27FC236}">
                  <a16:creationId xmlns:a16="http://schemas.microsoft.com/office/drawing/2014/main" id="{5A12F982-5BE1-428A-B64C-4F708A4974D2}"/>
                </a:ext>
              </a:extLst>
            </p:cNvPr>
            <p:cNvSpPr>
              <a:spLocks noChangeArrowheads="1"/>
            </p:cNvSpPr>
            <p:nvPr/>
          </p:nvSpPr>
          <p:spPr bwMode="auto">
            <a:xfrm>
              <a:off x="316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 name="Oval 3111">
              <a:extLst>
                <a:ext uri="{FF2B5EF4-FFF2-40B4-BE49-F238E27FC236}">
                  <a16:creationId xmlns:a16="http://schemas.microsoft.com/office/drawing/2014/main" id="{AEC4A13E-A9D1-4517-B5AF-9C7D61B1A529}"/>
                </a:ext>
              </a:extLst>
            </p:cNvPr>
            <p:cNvSpPr>
              <a:spLocks noChangeArrowheads="1"/>
            </p:cNvSpPr>
            <p:nvPr/>
          </p:nvSpPr>
          <p:spPr bwMode="auto">
            <a:xfrm>
              <a:off x="328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 name="Oval 3112">
              <a:extLst>
                <a:ext uri="{FF2B5EF4-FFF2-40B4-BE49-F238E27FC236}">
                  <a16:creationId xmlns:a16="http://schemas.microsoft.com/office/drawing/2014/main" id="{6617819B-5B07-4509-88FD-0E447BA8875D}"/>
                </a:ext>
              </a:extLst>
            </p:cNvPr>
            <p:cNvSpPr>
              <a:spLocks noChangeArrowheads="1"/>
            </p:cNvSpPr>
            <p:nvPr/>
          </p:nvSpPr>
          <p:spPr bwMode="auto">
            <a:xfrm>
              <a:off x="325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 name="Oval 3113">
              <a:extLst>
                <a:ext uri="{FF2B5EF4-FFF2-40B4-BE49-F238E27FC236}">
                  <a16:creationId xmlns:a16="http://schemas.microsoft.com/office/drawing/2014/main" id="{369A5D7B-94C6-4C05-840D-07A7DAC05D20}"/>
                </a:ext>
              </a:extLst>
            </p:cNvPr>
            <p:cNvSpPr>
              <a:spLocks noChangeArrowheads="1"/>
            </p:cNvSpPr>
            <p:nvPr/>
          </p:nvSpPr>
          <p:spPr bwMode="auto">
            <a:xfrm>
              <a:off x="328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 name="Oval 3114">
              <a:extLst>
                <a:ext uri="{FF2B5EF4-FFF2-40B4-BE49-F238E27FC236}">
                  <a16:creationId xmlns:a16="http://schemas.microsoft.com/office/drawing/2014/main" id="{F7810F88-9B20-40C4-82A0-4EF2AA63E45C}"/>
                </a:ext>
              </a:extLst>
            </p:cNvPr>
            <p:cNvSpPr>
              <a:spLocks noChangeArrowheads="1"/>
            </p:cNvSpPr>
            <p:nvPr/>
          </p:nvSpPr>
          <p:spPr bwMode="auto">
            <a:xfrm>
              <a:off x="352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 name="Oval 3115">
              <a:extLst>
                <a:ext uri="{FF2B5EF4-FFF2-40B4-BE49-F238E27FC236}">
                  <a16:creationId xmlns:a16="http://schemas.microsoft.com/office/drawing/2014/main" id="{22663C66-F377-408A-BE83-74275AA7C76C}"/>
                </a:ext>
              </a:extLst>
            </p:cNvPr>
            <p:cNvSpPr>
              <a:spLocks noChangeArrowheads="1"/>
            </p:cNvSpPr>
            <p:nvPr/>
          </p:nvSpPr>
          <p:spPr bwMode="auto">
            <a:xfrm>
              <a:off x="352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 name="Oval 3116">
              <a:extLst>
                <a:ext uri="{FF2B5EF4-FFF2-40B4-BE49-F238E27FC236}">
                  <a16:creationId xmlns:a16="http://schemas.microsoft.com/office/drawing/2014/main" id="{E56C30EB-7FD6-4BAD-B3F2-F501A6AE8EAC}"/>
                </a:ext>
              </a:extLst>
            </p:cNvPr>
            <p:cNvSpPr>
              <a:spLocks noChangeArrowheads="1"/>
            </p:cNvSpPr>
            <p:nvPr/>
          </p:nvSpPr>
          <p:spPr bwMode="auto">
            <a:xfrm>
              <a:off x="346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 name="Oval 3117">
              <a:extLst>
                <a:ext uri="{FF2B5EF4-FFF2-40B4-BE49-F238E27FC236}">
                  <a16:creationId xmlns:a16="http://schemas.microsoft.com/office/drawing/2014/main" id="{5EACF36F-ADE0-4E10-9215-26DBE9B2B2F9}"/>
                </a:ext>
              </a:extLst>
            </p:cNvPr>
            <p:cNvSpPr>
              <a:spLocks noChangeArrowheads="1"/>
            </p:cNvSpPr>
            <p:nvPr/>
          </p:nvSpPr>
          <p:spPr bwMode="auto">
            <a:xfrm>
              <a:off x="346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 name="Oval 3118">
              <a:extLst>
                <a:ext uri="{FF2B5EF4-FFF2-40B4-BE49-F238E27FC236}">
                  <a16:creationId xmlns:a16="http://schemas.microsoft.com/office/drawing/2014/main" id="{744BFAD8-A57D-4B3F-9F1C-AE60D689BCB6}"/>
                </a:ext>
              </a:extLst>
            </p:cNvPr>
            <p:cNvSpPr>
              <a:spLocks noChangeArrowheads="1"/>
            </p:cNvSpPr>
            <p:nvPr/>
          </p:nvSpPr>
          <p:spPr bwMode="auto">
            <a:xfrm>
              <a:off x="334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 name="Oval 3119">
              <a:extLst>
                <a:ext uri="{FF2B5EF4-FFF2-40B4-BE49-F238E27FC236}">
                  <a16:creationId xmlns:a16="http://schemas.microsoft.com/office/drawing/2014/main" id="{5080E3B5-C0D1-4A01-A297-E15231730333}"/>
                </a:ext>
              </a:extLst>
            </p:cNvPr>
            <p:cNvSpPr>
              <a:spLocks noChangeArrowheads="1"/>
            </p:cNvSpPr>
            <p:nvPr/>
          </p:nvSpPr>
          <p:spPr bwMode="auto">
            <a:xfrm>
              <a:off x="334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 name="Oval 3120">
              <a:extLst>
                <a:ext uri="{FF2B5EF4-FFF2-40B4-BE49-F238E27FC236}">
                  <a16:creationId xmlns:a16="http://schemas.microsoft.com/office/drawing/2014/main" id="{2849AC97-68BD-4AD9-8E57-964B8C823D44}"/>
                </a:ext>
              </a:extLst>
            </p:cNvPr>
            <p:cNvSpPr>
              <a:spLocks noChangeArrowheads="1"/>
            </p:cNvSpPr>
            <p:nvPr/>
          </p:nvSpPr>
          <p:spPr bwMode="auto">
            <a:xfrm>
              <a:off x="328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 name="Oval 3121">
              <a:extLst>
                <a:ext uri="{FF2B5EF4-FFF2-40B4-BE49-F238E27FC236}">
                  <a16:creationId xmlns:a16="http://schemas.microsoft.com/office/drawing/2014/main" id="{1BF66E62-E7E3-4FD8-8B20-50B033EDA39F}"/>
                </a:ext>
              </a:extLst>
            </p:cNvPr>
            <p:cNvSpPr>
              <a:spLocks noChangeArrowheads="1"/>
            </p:cNvSpPr>
            <p:nvPr/>
          </p:nvSpPr>
          <p:spPr bwMode="auto">
            <a:xfrm>
              <a:off x="337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 name="Oval 3122">
              <a:extLst>
                <a:ext uri="{FF2B5EF4-FFF2-40B4-BE49-F238E27FC236}">
                  <a16:creationId xmlns:a16="http://schemas.microsoft.com/office/drawing/2014/main" id="{E5E7D388-5C15-45B4-A14F-5641AA474CC6}"/>
                </a:ext>
              </a:extLst>
            </p:cNvPr>
            <p:cNvSpPr>
              <a:spLocks noChangeArrowheads="1"/>
            </p:cNvSpPr>
            <p:nvPr/>
          </p:nvSpPr>
          <p:spPr bwMode="auto">
            <a:xfrm>
              <a:off x="340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 name="Oval 3123">
              <a:extLst>
                <a:ext uri="{FF2B5EF4-FFF2-40B4-BE49-F238E27FC236}">
                  <a16:creationId xmlns:a16="http://schemas.microsoft.com/office/drawing/2014/main" id="{84E2598A-79B8-489E-BD87-8C51C2AA6683}"/>
                </a:ext>
              </a:extLst>
            </p:cNvPr>
            <p:cNvSpPr>
              <a:spLocks noChangeArrowheads="1"/>
            </p:cNvSpPr>
            <p:nvPr/>
          </p:nvSpPr>
          <p:spPr bwMode="auto">
            <a:xfrm>
              <a:off x="36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 name="Oval 3124">
              <a:extLst>
                <a:ext uri="{FF2B5EF4-FFF2-40B4-BE49-F238E27FC236}">
                  <a16:creationId xmlns:a16="http://schemas.microsoft.com/office/drawing/2014/main" id="{170E3777-5BE0-42BB-89C3-35B8D5EC2038}"/>
                </a:ext>
              </a:extLst>
            </p:cNvPr>
            <p:cNvSpPr>
              <a:spLocks noChangeArrowheads="1"/>
            </p:cNvSpPr>
            <p:nvPr/>
          </p:nvSpPr>
          <p:spPr bwMode="auto">
            <a:xfrm>
              <a:off x="355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 name="Oval 3125">
              <a:extLst>
                <a:ext uri="{FF2B5EF4-FFF2-40B4-BE49-F238E27FC236}">
                  <a16:creationId xmlns:a16="http://schemas.microsoft.com/office/drawing/2014/main" id="{CC390414-4C04-472B-B3D6-4C93FC914D88}"/>
                </a:ext>
              </a:extLst>
            </p:cNvPr>
            <p:cNvSpPr>
              <a:spLocks noChangeArrowheads="1"/>
            </p:cNvSpPr>
            <p:nvPr/>
          </p:nvSpPr>
          <p:spPr bwMode="auto">
            <a:xfrm>
              <a:off x="397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 name="Oval 3126">
              <a:extLst>
                <a:ext uri="{FF2B5EF4-FFF2-40B4-BE49-F238E27FC236}">
                  <a16:creationId xmlns:a16="http://schemas.microsoft.com/office/drawing/2014/main" id="{1DA1E34D-4C5D-43A7-84AC-474086C44546}"/>
                </a:ext>
              </a:extLst>
            </p:cNvPr>
            <p:cNvSpPr>
              <a:spLocks noChangeArrowheads="1"/>
            </p:cNvSpPr>
            <p:nvPr/>
          </p:nvSpPr>
          <p:spPr bwMode="auto">
            <a:xfrm>
              <a:off x="379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9" name="Oval 3127">
              <a:extLst>
                <a:ext uri="{FF2B5EF4-FFF2-40B4-BE49-F238E27FC236}">
                  <a16:creationId xmlns:a16="http://schemas.microsoft.com/office/drawing/2014/main" id="{1C15E110-4DD2-4103-8488-144815B32931}"/>
                </a:ext>
              </a:extLst>
            </p:cNvPr>
            <p:cNvSpPr>
              <a:spLocks noChangeArrowheads="1"/>
            </p:cNvSpPr>
            <p:nvPr/>
          </p:nvSpPr>
          <p:spPr bwMode="auto">
            <a:xfrm>
              <a:off x="3914"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0" name="Oval 3128">
              <a:extLst>
                <a:ext uri="{FF2B5EF4-FFF2-40B4-BE49-F238E27FC236}">
                  <a16:creationId xmlns:a16="http://schemas.microsoft.com/office/drawing/2014/main" id="{1ED360CF-C6BB-437F-973C-A4B550102CAB}"/>
                </a:ext>
              </a:extLst>
            </p:cNvPr>
            <p:cNvSpPr>
              <a:spLocks noChangeArrowheads="1"/>
            </p:cNvSpPr>
            <p:nvPr/>
          </p:nvSpPr>
          <p:spPr bwMode="auto">
            <a:xfrm>
              <a:off x="391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1" name="Oval 3129">
              <a:extLst>
                <a:ext uri="{FF2B5EF4-FFF2-40B4-BE49-F238E27FC236}">
                  <a16:creationId xmlns:a16="http://schemas.microsoft.com/office/drawing/2014/main" id="{58B5D60E-7826-457E-8F33-A4FA07D22244}"/>
                </a:ext>
              </a:extLst>
            </p:cNvPr>
            <p:cNvSpPr>
              <a:spLocks noChangeArrowheads="1"/>
            </p:cNvSpPr>
            <p:nvPr/>
          </p:nvSpPr>
          <p:spPr bwMode="auto">
            <a:xfrm>
              <a:off x="379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2" name="Oval 3130">
              <a:extLst>
                <a:ext uri="{FF2B5EF4-FFF2-40B4-BE49-F238E27FC236}">
                  <a16:creationId xmlns:a16="http://schemas.microsoft.com/office/drawing/2014/main" id="{12EDBD96-A806-48A4-BD09-3027D6907A33}"/>
                </a:ext>
              </a:extLst>
            </p:cNvPr>
            <p:cNvSpPr>
              <a:spLocks noChangeArrowheads="1"/>
            </p:cNvSpPr>
            <p:nvPr/>
          </p:nvSpPr>
          <p:spPr bwMode="auto">
            <a:xfrm>
              <a:off x="3794"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3" name="Oval 3131">
              <a:extLst>
                <a:ext uri="{FF2B5EF4-FFF2-40B4-BE49-F238E27FC236}">
                  <a16:creationId xmlns:a16="http://schemas.microsoft.com/office/drawing/2014/main" id="{97D4B625-2E03-4DAB-8958-EF92152E7C21}"/>
                </a:ext>
              </a:extLst>
            </p:cNvPr>
            <p:cNvSpPr>
              <a:spLocks noChangeArrowheads="1"/>
            </p:cNvSpPr>
            <p:nvPr/>
          </p:nvSpPr>
          <p:spPr bwMode="auto">
            <a:xfrm>
              <a:off x="415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4" name="Oval 3132">
              <a:extLst>
                <a:ext uri="{FF2B5EF4-FFF2-40B4-BE49-F238E27FC236}">
                  <a16:creationId xmlns:a16="http://schemas.microsoft.com/office/drawing/2014/main" id="{5B9B1919-21AA-4A98-8486-A19021843320}"/>
                </a:ext>
              </a:extLst>
            </p:cNvPr>
            <p:cNvSpPr>
              <a:spLocks noChangeArrowheads="1"/>
            </p:cNvSpPr>
            <p:nvPr/>
          </p:nvSpPr>
          <p:spPr bwMode="auto">
            <a:xfrm>
              <a:off x="406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5" name="Oval 3133">
              <a:extLst>
                <a:ext uri="{FF2B5EF4-FFF2-40B4-BE49-F238E27FC236}">
                  <a16:creationId xmlns:a16="http://schemas.microsoft.com/office/drawing/2014/main" id="{76911B48-2625-43C6-82E6-63FAC9B39A8C}"/>
                </a:ext>
              </a:extLst>
            </p:cNvPr>
            <p:cNvSpPr>
              <a:spLocks noChangeArrowheads="1"/>
            </p:cNvSpPr>
            <p:nvPr/>
          </p:nvSpPr>
          <p:spPr bwMode="auto">
            <a:xfrm>
              <a:off x="4034"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6" name="Oval 3134">
              <a:extLst>
                <a:ext uri="{FF2B5EF4-FFF2-40B4-BE49-F238E27FC236}">
                  <a16:creationId xmlns:a16="http://schemas.microsoft.com/office/drawing/2014/main" id="{6FC39E23-AC03-4835-A78E-2AB7701B6A23}"/>
                </a:ext>
              </a:extLst>
            </p:cNvPr>
            <p:cNvSpPr>
              <a:spLocks noChangeArrowheads="1"/>
            </p:cNvSpPr>
            <p:nvPr/>
          </p:nvSpPr>
          <p:spPr bwMode="auto">
            <a:xfrm>
              <a:off x="3974"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7" name="Oval 3135">
              <a:extLst>
                <a:ext uri="{FF2B5EF4-FFF2-40B4-BE49-F238E27FC236}">
                  <a16:creationId xmlns:a16="http://schemas.microsoft.com/office/drawing/2014/main" id="{9BEDB278-FB0F-4A26-898F-93E9146A08E3}"/>
                </a:ext>
              </a:extLst>
            </p:cNvPr>
            <p:cNvSpPr>
              <a:spLocks noChangeArrowheads="1"/>
            </p:cNvSpPr>
            <p:nvPr/>
          </p:nvSpPr>
          <p:spPr bwMode="auto">
            <a:xfrm>
              <a:off x="394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8" name="Oval 3136">
              <a:extLst>
                <a:ext uri="{FF2B5EF4-FFF2-40B4-BE49-F238E27FC236}">
                  <a16:creationId xmlns:a16="http://schemas.microsoft.com/office/drawing/2014/main" id="{D5B67084-833D-4882-86F5-39E0FC84D82C}"/>
                </a:ext>
              </a:extLst>
            </p:cNvPr>
            <p:cNvSpPr>
              <a:spLocks noChangeArrowheads="1"/>
            </p:cNvSpPr>
            <p:nvPr/>
          </p:nvSpPr>
          <p:spPr bwMode="auto">
            <a:xfrm>
              <a:off x="379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9" name="Oval 3137">
              <a:extLst>
                <a:ext uri="{FF2B5EF4-FFF2-40B4-BE49-F238E27FC236}">
                  <a16:creationId xmlns:a16="http://schemas.microsoft.com/office/drawing/2014/main" id="{E73F5D25-4022-4B99-85D5-8890DA111A4D}"/>
                </a:ext>
              </a:extLst>
            </p:cNvPr>
            <p:cNvSpPr>
              <a:spLocks noChangeArrowheads="1"/>
            </p:cNvSpPr>
            <p:nvPr/>
          </p:nvSpPr>
          <p:spPr bwMode="auto">
            <a:xfrm>
              <a:off x="385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0" name="Oval 3138">
              <a:extLst>
                <a:ext uri="{FF2B5EF4-FFF2-40B4-BE49-F238E27FC236}">
                  <a16:creationId xmlns:a16="http://schemas.microsoft.com/office/drawing/2014/main" id="{97D2A9E6-0C4B-41A7-A1BE-5277F65F9CC3}"/>
                </a:ext>
              </a:extLst>
            </p:cNvPr>
            <p:cNvSpPr>
              <a:spLocks noChangeArrowheads="1"/>
            </p:cNvSpPr>
            <p:nvPr/>
          </p:nvSpPr>
          <p:spPr bwMode="auto">
            <a:xfrm>
              <a:off x="3764"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1" name="Oval 3139">
              <a:extLst>
                <a:ext uri="{FF2B5EF4-FFF2-40B4-BE49-F238E27FC236}">
                  <a16:creationId xmlns:a16="http://schemas.microsoft.com/office/drawing/2014/main" id="{5E3EF544-9F6F-4155-9575-3A32A94624C0}"/>
                </a:ext>
              </a:extLst>
            </p:cNvPr>
            <p:cNvSpPr>
              <a:spLocks noChangeArrowheads="1"/>
            </p:cNvSpPr>
            <p:nvPr/>
          </p:nvSpPr>
          <p:spPr bwMode="auto">
            <a:xfrm>
              <a:off x="3705" y="24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2" name="Oval 3140">
              <a:extLst>
                <a:ext uri="{FF2B5EF4-FFF2-40B4-BE49-F238E27FC236}">
                  <a16:creationId xmlns:a16="http://schemas.microsoft.com/office/drawing/2014/main" id="{9C71EAFD-D542-457F-AA69-A040043C776A}"/>
                </a:ext>
              </a:extLst>
            </p:cNvPr>
            <p:cNvSpPr>
              <a:spLocks noChangeArrowheads="1"/>
            </p:cNvSpPr>
            <p:nvPr/>
          </p:nvSpPr>
          <p:spPr bwMode="auto">
            <a:xfrm>
              <a:off x="367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3" name="Oval 3141">
              <a:extLst>
                <a:ext uri="{FF2B5EF4-FFF2-40B4-BE49-F238E27FC236}">
                  <a16:creationId xmlns:a16="http://schemas.microsoft.com/office/drawing/2014/main" id="{6D493BAB-8B96-49DA-8978-0CAC24BB3B38}"/>
                </a:ext>
              </a:extLst>
            </p:cNvPr>
            <p:cNvSpPr>
              <a:spLocks noChangeArrowheads="1"/>
            </p:cNvSpPr>
            <p:nvPr/>
          </p:nvSpPr>
          <p:spPr bwMode="auto">
            <a:xfrm>
              <a:off x="361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4" name="Oval 3142">
              <a:extLst>
                <a:ext uri="{FF2B5EF4-FFF2-40B4-BE49-F238E27FC236}">
                  <a16:creationId xmlns:a16="http://schemas.microsoft.com/office/drawing/2014/main" id="{F69D11AC-340E-4113-A7C2-DAD3D0AC62DF}"/>
                </a:ext>
              </a:extLst>
            </p:cNvPr>
            <p:cNvSpPr>
              <a:spLocks noChangeArrowheads="1"/>
            </p:cNvSpPr>
            <p:nvPr/>
          </p:nvSpPr>
          <p:spPr bwMode="auto">
            <a:xfrm>
              <a:off x="355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5" name="Oval 3143">
              <a:extLst>
                <a:ext uri="{FF2B5EF4-FFF2-40B4-BE49-F238E27FC236}">
                  <a16:creationId xmlns:a16="http://schemas.microsoft.com/office/drawing/2014/main" id="{4EE95E23-F8B3-4A68-82F9-CFB6F5FC67D0}"/>
                </a:ext>
              </a:extLst>
            </p:cNvPr>
            <p:cNvSpPr>
              <a:spLocks noChangeArrowheads="1"/>
            </p:cNvSpPr>
            <p:nvPr/>
          </p:nvSpPr>
          <p:spPr bwMode="auto">
            <a:xfrm>
              <a:off x="346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6" name="Oval 3144">
              <a:extLst>
                <a:ext uri="{FF2B5EF4-FFF2-40B4-BE49-F238E27FC236}">
                  <a16:creationId xmlns:a16="http://schemas.microsoft.com/office/drawing/2014/main" id="{64A1BF97-558C-49F3-AD16-AA9EFEE4E653}"/>
                </a:ext>
              </a:extLst>
            </p:cNvPr>
            <p:cNvSpPr>
              <a:spLocks noChangeArrowheads="1"/>
            </p:cNvSpPr>
            <p:nvPr/>
          </p:nvSpPr>
          <p:spPr bwMode="auto">
            <a:xfrm>
              <a:off x="343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7" name="Oval 3145">
              <a:extLst>
                <a:ext uri="{FF2B5EF4-FFF2-40B4-BE49-F238E27FC236}">
                  <a16:creationId xmlns:a16="http://schemas.microsoft.com/office/drawing/2014/main" id="{E956AC71-E16E-4743-8864-6C7059DA667C}"/>
                </a:ext>
              </a:extLst>
            </p:cNvPr>
            <p:cNvSpPr>
              <a:spLocks noChangeArrowheads="1"/>
            </p:cNvSpPr>
            <p:nvPr/>
          </p:nvSpPr>
          <p:spPr bwMode="auto">
            <a:xfrm>
              <a:off x="39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8" name="Oval 3146">
              <a:extLst>
                <a:ext uri="{FF2B5EF4-FFF2-40B4-BE49-F238E27FC236}">
                  <a16:creationId xmlns:a16="http://schemas.microsoft.com/office/drawing/2014/main" id="{6C49FD99-6A26-4FD2-8C1C-98D22B57F93D}"/>
                </a:ext>
              </a:extLst>
            </p:cNvPr>
            <p:cNvSpPr>
              <a:spLocks noChangeArrowheads="1"/>
            </p:cNvSpPr>
            <p:nvPr/>
          </p:nvSpPr>
          <p:spPr bwMode="auto">
            <a:xfrm>
              <a:off x="382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9" name="Oval 3147">
              <a:extLst>
                <a:ext uri="{FF2B5EF4-FFF2-40B4-BE49-F238E27FC236}">
                  <a16:creationId xmlns:a16="http://schemas.microsoft.com/office/drawing/2014/main" id="{F9B7E6F5-C3B4-422B-A9D9-6AE2D53C1A98}"/>
                </a:ext>
              </a:extLst>
            </p:cNvPr>
            <p:cNvSpPr>
              <a:spLocks noChangeArrowheads="1"/>
            </p:cNvSpPr>
            <p:nvPr/>
          </p:nvSpPr>
          <p:spPr bwMode="auto">
            <a:xfrm>
              <a:off x="3705" y="21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0" name="Oval 3148">
              <a:extLst>
                <a:ext uri="{FF2B5EF4-FFF2-40B4-BE49-F238E27FC236}">
                  <a16:creationId xmlns:a16="http://schemas.microsoft.com/office/drawing/2014/main" id="{E858E9BF-2FEF-46DC-937E-4781C9EB5475}"/>
                </a:ext>
              </a:extLst>
            </p:cNvPr>
            <p:cNvSpPr>
              <a:spLocks noChangeArrowheads="1"/>
            </p:cNvSpPr>
            <p:nvPr/>
          </p:nvSpPr>
          <p:spPr bwMode="auto">
            <a:xfrm>
              <a:off x="36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1" name="Oval 3149">
              <a:extLst>
                <a:ext uri="{FF2B5EF4-FFF2-40B4-BE49-F238E27FC236}">
                  <a16:creationId xmlns:a16="http://schemas.microsoft.com/office/drawing/2014/main" id="{5B847ACB-8990-4E81-A490-A13784BEAF4C}"/>
                </a:ext>
              </a:extLst>
            </p:cNvPr>
            <p:cNvSpPr>
              <a:spLocks noChangeArrowheads="1"/>
            </p:cNvSpPr>
            <p:nvPr/>
          </p:nvSpPr>
          <p:spPr bwMode="auto">
            <a:xfrm>
              <a:off x="4154"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2" name="Oval 3150">
              <a:extLst>
                <a:ext uri="{FF2B5EF4-FFF2-40B4-BE49-F238E27FC236}">
                  <a16:creationId xmlns:a16="http://schemas.microsoft.com/office/drawing/2014/main" id="{8F4776F9-59A9-4C16-910F-3F9F0E2C88FE}"/>
                </a:ext>
              </a:extLst>
            </p:cNvPr>
            <p:cNvSpPr>
              <a:spLocks noChangeArrowheads="1"/>
            </p:cNvSpPr>
            <p:nvPr/>
          </p:nvSpPr>
          <p:spPr bwMode="auto">
            <a:xfrm>
              <a:off x="4274"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3" name="Oval 3151">
              <a:extLst>
                <a:ext uri="{FF2B5EF4-FFF2-40B4-BE49-F238E27FC236}">
                  <a16:creationId xmlns:a16="http://schemas.microsoft.com/office/drawing/2014/main" id="{9B99875B-6415-48A2-96EE-6CB0B3C3FA4F}"/>
                </a:ext>
              </a:extLst>
            </p:cNvPr>
            <p:cNvSpPr>
              <a:spLocks noChangeArrowheads="1"/>
            </p:cNvSpPr>
            <p:nvPr/>
          </p:nvSpPr>
          <p:spPr bwMode="auto">
            <a:xfrm>
              <a:off x="409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4" name="Oval 3152">
              <a:extLst>
                <a:ext uri="{FF2B5EF4-FFF2-40B4-BE49-F238E27FC236}">
                  <a16:creationId xmlns:a16="http://schemas.microsoft.com/office/drawing/2014/main" id="{0B0AFCEE-C1A3-4403-ACB2-699ADF7FE47B}"/>
                </a:ext>
              </a:extLst>
            </p:cNvPr>
            <p:cNvSpPr>
              <a:spLocks noChangeArrowheads="1"/>
            </p:cNvSpPr>
            <p:nvPr/>
          </p:nvSpPr>
          <p:spPr bwMode="auto">
            <a:xfrm>
              <a:off x="397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5" name="Oval 3153">
              <a:extLst>
                <a:ext uri="{FF2B5EF4-FFF2-40B4-BE49-F238E27FC236}">
                  <a16:creationId xmlns:a16="http://schemas.microsoft.com/office/drawing/2014/main" id="{F1F6C586-378E-466D-B1A7-126640269E9C}"/>
                </a:ext>
              </a:extLst>
            </p:cNvPr>
            <p:cNvSpPr>
              <a:spLocks noChangeArrowheads="1"/>
            </p:cNvSpPr>
            <p:nvPr/>
          </p:nvSpPr>
          <p:spPr bwMode="auto">
            <a:xfrm>
              <a:off x="385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6" name="Oval 3154">
              <a:extLst>
                <a:ext uri="{FF2B5EF4-FFF2-40B4-BE49-F238E27FC236}">
                  <a16:creationId xmlns:a16="http://schemas.microsoft.com/office/drawing/2014/main" id="{583B4B83-AD32-4FA4-8512-CF7CAE89DCA9}"/>
                </a:ext>
              </a:extLst>
            </p:cNvPr>
            <p:cNvSpPr>
              <a:spLocks noChangeArrowheads="1"/>
            </p:cNvSpPr>
            <p:nvPr/>
          </p:nvSpPr>
          <p:spPr bwMode="auto">
            <a:xfrm>
              <a:off x="3794"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7" name="Oval 3155">
              <a:extLst>
                <a:ext uri="{FF2B5EF4-FFF2-40B4-BE49-F238E27FC236}">
                  <a16:creationId xmlns:a16="http://schemas.microsoft.com/office/drawing/2014/main" id="{3883C075-1043-49D1-84EC-12ECC7275D82}"/>
                </a:ext>
              </a:extLst>
            </p:cNvPr>
            <p:cNvSpPr>
              <a:spLocks noChangeArrowheads="1"/>
            </p:cNvSpPr>
            <p:nvPr/>
          </p:nvSpPr>
          <p:spPr bwMode="auto">
            <a:xfrm>
              <a:off x="36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8" name="Oval 3156">
              <a:extLst>
                <a:ext uri="{FF2B5EF4-FFF2-40B4-BE49-F238E27FC236}">
                  <a16:creationId xmlns:a16="http://schemas.microsoft.com/office/drawing/2014/main" id="{01154EB1-7E45-4CB9-B7BC-E3D86105E6EE}"/>
                </a:ext>
              </a:extLst>
            </p:cNvPr>
            <p:cNvSpPr>
              <a:spLocks noChangeArrowheads="1"/>
            </p:cNvSpPr>
            <p:nvPr/>
          </p:nvSpPr>
          <p:spPr bwMode="auto">
            <a:xfrm>
              <a:off x="409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9" name="Oval 3157">
              <a:extLst>
                <a:ext uri="{FF2B5EF4-FFF2-40B4-BE49-F238E27FC236}">
                  <a16:creationId xmlns:a16="http://schemas.microsoft.com/office/drawing/2014/main" id="{C591E2E6-48F8-4589-9EDC-7837016042C5}"/>
                </a:ext>
              </a:extLst>
            </p:cNvPr>
            <p:cNvSpPr>
              <a:spLocks noChangeArrowheads="1"/>
            </p:cNvSpPr>
            <p:nvPr/>
          </p:nvSpPr>
          <p:spPr bwMode="auto">
            <a:xfrm>
              <a:off x="400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0" name="Oval 3158">
              <a:extLst>
                <a:ext uri="{FF2B5EF4-FFF2-40B4-BE49-F238E27FC236}">
                  <a16:creationId xmlns:a16="http://schemas.microsoft.com/office/drawing/2014/main" id="{46887ADE-1F56-4BDE-A25D-AE28097E15A5}"/>
                </a:ext>
              </a:extLst>
            </p:cNvPr>
            <p:cNvSpPr>
              <a:spLocks noChangeArrowheads="1"/>
            </p:cNvSpPr>
            <p:nvPr/>
          </p:nvSpPr>
          <p:spPr bwMode="auto">
            <a:xfrm>
              <a:off x="415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1" name="Oval 3159">
              <a:extLst>
                <a:ext uri="{FF2B5EF4-FFF2-40B4-BE49-F238E27FC236}">
                  <a16:creationId xmlns:a16="http://schemas.microsoft.com/office/drawing/2014/main" id="{D516E4C8-07DF-4257-B890-1ED1C2A67591}"/>
                </a:ext>
              </a:extLst>
            </p:cNvPr>
            <p:cNvSpPr>
              <a:spLocks noChangeArrowheads="1"/>
            </p:cNvSpPr>
            <p:nvPr/>
          </p:nvSpPr>
          <p:spPr bwMode="auto">
            <a:xfrm>
              <a:off x="424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2" name="Oval 3160">
              <a:extLst>
                <a:ext uri="{FF2B5EF4-FFF2-40B4-BE49-F238E27FC236}">
                  <a16:creationId xmlns:a16="http://schemas.microsoft.com/office/drawing/2014/main" id="{A64BBDD0-E34E-4531-80A9-1842631F754C}"/>
                </a:ext>
              </a:extLst>
            </p:cNvPr>
            <p:cNvSpPr>
              <a:spLocks noChangeArrowheads="1"/>
            </p:cNvSpPr>
            <p:nvPr/>
          </p:nvSpPr>
          <p:spPr bwMode="auto">
            <a:xfrm>
              <a:off x="427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3" name="Oval 3161">
              <a:extLst>
                <a:ext uri="{FF2B5EF4-FFF2-40B4-BE49-F238E27FC236}">
                  <a16:creationId xmlns:a16="http://schemas.microsoft.com/office/drawing/2014/main" id="{E425F421-2AD4-49B5-B485-C8C92C247A0F}"/>
                </a:ext>
              </a:extLst>
            </p:cNvPr>
            <p:cNvSpPr>
              <a:spLocks noChangeArrowheads="1"/>
            </p:cNvSpPr>
            <p:nvPr/>
          </p:nvSpPr>
          <p:spPr bwMode="auto">
            <a:xfrm>
              <a:off x="4124"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4" name="Oval 3162">
              <a:extLst>
                <a:ext uri="{FF2B5EF4-FFF2-40B4-BE49-F238E27FC236}">
                  <a16:creationId xmlns:a16="http://schemas.microsoft.com/office/drawing/2014/main" id="{BCDAAFF9-CEDA-4D3D-B230-077FEB9EEB6B}"/>
                </a:ext>
              </a:extLst>
            </p:cNvPr>
            <p:cNvSpPr>
              <a:spLocks noChangeArrowheads="1"/>
            </p:cNvSpPr>
            <p:nvPr/>
          </p:nvSpPr>
          <p:spPr bwMode="auto">
            <a:xfrm>
              <a:off x="394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5" name="Oval 3163">
              <a:extLst>
                <a:ext uri="{FF2B5EF4-FFF2-40B4-BE49-F238E27FC236}">
                  <a16:creationId xmlns:a16="http://schemas.microsoft.com/office/drawing/2014/main" id="{FC6508AF-50B0-4BE4-8498-2F5BD73A3FC7}"/>
                </a:ext>
              </a:extLst>
            </p:cNvPr>
            <p:cNvSpPr>
              <a:spLocks noChangeArrowheads="1"/>
            </p:cNvSpPr>
            <p:nvPr/>
          </p:nvSpPr>
          <p:spPr bwMode="auto">
            <a:xfrm>
              <a:off x="3884"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6" name="Oval 3164">
              <a:extLst>
                <a:ext uri="{FF2B5EF4-FFF2-40B4-BE49-F238E27FC236}">
                  <a16:creationId xmlns:a16="http://schemas.microsoft.com/office/drawing/2014/main" id="{C3706AEE-F6C7-4AFD-823B-2B0F53EF5589}"/>
                </a:ext>
              </a:extLst>
            </p:cNvPr>
            <p:cNvSpPr>
              <a:spLocks noChangeArrowheads="1"/>
            </p:cNvSpPr>
            <p:nvPr/>
          </p:nvSpPr>
          <p:spPr bwMode="auto">
            <a:xfrm>
              <a:off x="376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7" name="Oval 3165">
              <a:extLst>
                <a:ext uri="{FF2B5EF4-FFF2-40B4-BE49-F238E27FC236}">
                  <a16:creationId xmlns:a16="http://schemas.microsoft.com/office/drawing/2014/main" id="{43D0DC33-8D84-48CE-AAFB-67945FD00BFC}"/>
                </a:ext>
              </a:extLst>
            </p:cNvPr>
            <p:cNvSpPr>
              <a:spLocks noChangeArrowheads="1"/>
            </p:cNvSpPr>
            <p:nvPr/>
          </p:nvSpPr>
          <p:spPr bwMode="auto">
            <a:xfrm>
              <a:off x="3705" y="30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8" name="Oval 3166">
              <a:extLst>
                <a:ext uri="{FF2B5EF4-FFF2-40B4-BE49-F238E27FC236}">
                  <a16:creationId xmlns:a16="http://schemas.microsoft.com/office/drawing/2014/main" id="{D6576A32-2B16-4042-8DB0-E31594A90541}"/>
                </a:ext>
              </a:extLst>
            </p:cNvPr>
            <p:cNvSpPr>
              <a:spLocks noChangeArrowheads="1"/>
            </p:cNvSpPr>
            <p:nvPr/>
          </p:nvSpPr>
          <p:spPr bwMode="auto">
            <a:xfrm>
              <a:off x="349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9" name="Oval 3167">
              <a:extLst>
                <a:ext uri="{FF2B5EF4-FFF2-40B4-BE49-F238E27FC236}">
                  <a16:creationId xmlns:a16="http://schemas.microsoft.com/office/drawing/2014/main" id="{21FEEA15-D4FF-4481-B91E-77BB79BBD4D1}"/>
                </a:ext>
              </a:extLst>
            </p:cNvPr>
            <p:cNvSpPr>
              <a:spLocks noChangeArrowheads="1"/>
            </p:cNvSpPr>
            <p:nvPr/>
          </p:nvSpPr>
          <p:spPr bwMode="auto">
            <a:xfrm>
              <a:off x="358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0" name="Oval 3168">
              <a:extLst>
                <a:ext uri="{FF2B5EF4-FFF2-40B4-BE49-F238E27FC236}">
                  <a16:creationId xmlns:a16="http://schemas.microsoft.com/office/drawing/2014/main" id="{323201B7-DE16-414E-A707-37067E1201CA}"/>
                </a:ext>
              </a:extLst>
            </p:cNvPr>
            <p:cNvSpPr>
              <a:spLocks noChangeArrowheads="1"/>
            </p:cNvSpPr>
            <p:nvPr/>
          </p:nvSpPr>
          <p:spPr bwMode="auto">
            <a:xfrm>
              <a:off x="355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39" name="Group 38">
            <a:extLst>
              <a:ext uri="{FF2B5EF4-FFF2-40B4-BE49-F238E27FC236}">
                <a16:creationId xmlns:a16="http://schemas.microsoft.com/office/drawing/2014/main" id="{8BF80C3F-6F81-41C7-A979-1FF004E8E7D3}"/>
              </a:ext>
            </a:extLst>
          </p:cNvPr>
          <p:cNvGrpSpPr/>
          <p:nvPr/>
        </p:nvGrpSpPr>
        <p:grpSpPr>
          <a:xfrm>
            <a:off x="2874415" y="1090998"/>
            <a:ext cx="6490235" cy="3005777"/>
            <a:chOff x="2874415" y="1090998"/>
            <a:chExt cx="6490235" cy="3005777"/>
          </a:xfrm>
        </p:grpSpPr>
        <p:sp>
          <p:nvSpPr>
            <p:cNvPr id="3446" name="Oval 3445">
              <a:extLst>
                <a:ext uri="{FF2B5EF4-FFF2-40B4-BE49-F238E27FC236}">
                  <a16:creationId xmlns:a16="http://schemas.microsoft.com/office/drawing/2014/main" id="{57679F6E-893D-495C-9405-255A5CBBF40E}"/>
                </a:ext>
              </a:extLst>
            </p:cNvPr>
            <p:cNvSpPr/>
            <p:nvPr/>
          </p:nvSpPr>
          <p:spPr>
            <a:xfrm>
              <a:off x="6566463" y="1472547"/>
              <a:ext cx="2358881" cy="235888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445" name="Oval 3444">
              <a:extLst>
                <a:ext uri="{FF2B5EF4-FFF2-40B4-BE49-F238E27FC236}">
                  <a16:creationId xmlns:a16="http://schemas.microsoft.com/office/drawing/2014/main" id="{9F415423-D7FE-493B-89E0-91B64079247B}"/>
                </a:ext>
              </a:extLst>
            </p:cNvPr>
            <p:cNvSpPr/>
            <p:nvPr/>
          </p:nvSpPr>
          <p:spPr>
            <a:xfrm>
              <a:off x="3306000" y="1472547"/>
              <a:ext cx="2358881" cy="235888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35" name="Group 34">
              <a:extLst>
                <a:ext uri="{FF2B5EF4-FFF2-40B4-BE49-F238E27FC236}">
                  <a16:creationId xmlns:a16="http://schemas.microsoft.com/office/drawing/2014/main" id="{8D57C345-643D-4C43-AE5F-4DE9335D64ED}"/>
                </a:ext>
              </a:extLst>
            </p:cNvPr>
            <p:cNvGrpSpPr/>
            <p:nvPr>
              <p:custDataLst>
                <p:tags r:id="rId21"/>
              </p:custDataLst>
            </p:nvPr>
          </p:nvGrpSpPr>
          <p:grpSpPr>
            <a:xfrm>
              <a:off x="2874415" y="1090998"/>
              <a:ext cx="6490235" cy="3005777"/>
              <a:chOff x="2874415" y="1090998"/>
              <a:chExt cx="6490235" cy="3005777"/>
            </a:xfrm>
          </p:grpSpPr>
          <p:grpSp>
            <p:nvGrpSpPr>
              <p:cNvPr id="33" name="Group 32">
                <a:extLst>
                  <a:ext uri="{FF2B5EF4-FFF2-40B4-BE49-F238E27FC236}">
                    <a16:creationId xmlns:a16="http://schemas.microsoft.com/office/drawing/2014/main" id="{6DDAE028-1711-439E-A86A-C87BF9147CDD}"/>
                  </a:ext>
                </a:extLst>
              </p:cNvPr>
              <p:cNvGrpSpPr/>
              <p:nvPr/>
            </p:nvGrpSpPr>
            <p:grpSpPr>
              <a:xfrm>
                <a:off x="3128937" y="1630273"/>
                <a:ext cx="5460006" cy="2138287"/>
                <a:chOff x="3128937" y="1630273"/>
                <a:chExt cx="5460006" cy="2138287"/>
              </a:xfrm>
            </p:grpSpPr>
            <p:cxnSp>
              <p:nvCxnSpPr>
                <p:cNvPr id="3504" name="Straight Connector 3503">
                  <a:extLst>
                    <a:ext uri="{FF2B5EF4-FFF2-40B4-BE49-F238E27FC236}">
                      <a16:creationId xmlns:a16="http://schemas.microsoft.com/office/drawing/2014/main" id="{73B0551B-8239-4081-A93B-75479F0F1AA0}"/>
                    </a:ext>
                  </a:extLst>
                </p:cNvPr>
                <p:cNvCxnSpPr>
                  <a:cxnSpLocks/>
                </p:cNvCxnSpPr>
                <p:nvPr/>
              </p:nvCxnSpPr>
              <p:spPr>
                <a:xfrm flipV="1">
                  <a:off x="7369412" y="3285907"/>
                  <a:ext cx="184145" cy="482653"/>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3508" name="Straight Connector 3507">
                  <a:extLst>
                    <a:ext uri="{FF2B5EF4-FFF2-40B4-BE49-F238E27FC236}">
                      <a16:creationId xmlns:a16="http://schemas.microsoft.com/office/drawing/2014/main" id="{6DB3E471-700D-4BA6-A50D-48491A5AEFCA}"/>
                    </a:ext>
                  </a:extLst>
                </p:cNvPr>
                <p:cNvCxnSpPr>
                  <a:cxnSpLocks/>
                </p:cNvCxnSpPr>
                <p:nvPr/>
              </p:nvCxnSpPr>
              <p:spPr>
                <a:xfrm flipV="1">
                  <a:off x="8111156" y="1653749"/>
                  <a:ext cx="236084" cy="327790"/>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3501" name="Straight Connector 3500">
                  <a:extLst>
                    <a:ext uri="{FF2B5EF4-FFF2-40B4-BE49-F238E27FC236}">
                      <a16:creationId xmlns:a16="http://schemas.microsoft.com/office/drawing/2014/main" id="{6AEEE599-41D4-41C7-BFD1-FAC7CB20DC52}"/>
                    </a:ext>
                  </a:extLst>
                </p:cNvPr>
                <p:cNvCxnSpPr>
                  <a:cxnSpLocks/>
                </p:cNvCxnSpPr>
                <p:nvPr/>
              </p:nvCxnSpPr>
              <p:spPr>
                <a:xfrm>
                  <a:off x="3601106" y="1863496"/>
                  <a:ext cx="294917" cy="308294"/>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3448" name="Straight Connector 3447">
                  <a:extLst>
                    <a:ext uri="{FF2B5EF4-FFF2-40B4-BE49-F238E27FC236}">
                      <a16:creationId xmlns:a16="http://schemas.microsoft.com/office/drawing/2014/main" id="{D3F47701-B710-462A-B9D3-8F44610E9F8A}"/>
                    </a:ext>
                  </a:extLst>
                </p:cNvPr>
                <p:cNvCxnSpPr>
                  <a:cxnSpLocks/>
                </p:cNvCxnSpPr>
                <p:nvPr/>
              </p:nvCxnSpPr>
              <p:spPr>
                <a:xfrm>
                  <a:off x="3128937" y="2669454"/>
                  <a:ext cx="3916223" cy="0"/>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3443" name="Straight Connector 3442">
                  <a:extLst>
                    <a:ext uri="{FF2B5EF4-FFF2-40B4-BE49-F238E27FC236}">
                      <a16:creationId xmlns:a16="http://schemas.microsoft.com/office/drawing/2014/main" id="{A23DDF24-2EF0-45E4-8CEE-DBC0C6140045}"/>
                    </a:ext>
                  </a:extLst>
                </p:cNvPr>
                <p:cNvCxnSpPr>
                  <a:cxnSpLocks/>
                </p:cNvCxnSpPr>
                <p:nvPr/>
              </p:nvCxnSpPr>
              <p:spPr>
                <a:xfrm>
                  <a:off x="5117710" y="3252958"/>
                  <a:ext cx="234229" cy="157829"/>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sp>
              <p:nvSpPr>
                <p:cNvPr id="2573" name="Oval 2572">
                  <a:extLst>
                    <a:ext uri="{FF2B5EF4-FFF2-40B4-BE49-F238E27FC236}">
                      <a16:creationId xmlns:a16="http://schemas.microsoft.com/office/drawing/2014/main" id="{74C91EB0-6669-485F-B16A-13F7364467DF}"/>
                    </a:ext>
                  </a:extLst>
                </p:cNvPr>
                <p:cNvSpPr/>
                <p:nvPr/>
              </p:nvSpPr>
              <p:spPr>
                <a:xfrm>
                  <a:off x="3640021" y="1803844"/>
                  <a:ext cx="1731220" cy="1731220"/>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574" name="Oval 2573">
                  <a:extLst>
                    <a:ext uri="{FF2B5EF4-FFF2-40B4-BE49-F238E27FC236}">
                      <a16:creationId xmlns:a16="http://schemas.microsoft.com/office/drawing/2014/main" id="{03D8EBB7-FBB9-4CCA-958D-56ADDBFCB95A}"/>
                    </a:ext>
                  </a:extLst>
                </p:cNvPr>
                <p:cNvSpPr/>
                <p:nvPr/>
              </p:nvSpPr>
              <p:spPr>
                <a:xfrm>
                  <a:off x="6857723" y="1803844"/>
                  <a:ext cx="1731220" cy="1731220"/>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2576" name="Picture 2575">
                  <a:extLst>
                    <a:ext uri="{FF2B5EF4-FFF2-40B4-BE49-F238E27FC236}">
                      <a16:creationId xmlns:a16="http://schemas.microsoft.com/office/drawing/2014/main" id="{79D0F817-A6C1-49D2-8F77-A10BD9A6358C}"/>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7530993" y="1633449"/>
                  <a:ext cx="429820" cy="429820"/>
                </a:xfrm>
                <a:prstGeom prst="rect">
                  <a:avLst/>
                </a:prstGeom>
              </p:spPr>
            </p:pic>
            <p:pic>
              <p:nvPicPr>
                <p:cNvPr id="1314" name="Picture 1313">
                  <a:extLst>
                    <a:ext uri="{FF2B5EF4-FFF2-40B4-BE49-F238E27FC236}">
                      <a16:creationId xmlns:a16="http://schemas.microsoft.com/office/drawing/2014/main" id="{11B100FB-3B15-4655-9F85-3046995E823E}"/>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530879" y="3291285"/>
                  <a:ext cx="430049" cy="430049"/>
                </a:xfrm>
                <a:prstGeom prst="rect">
                  <a:avLst/>
                </a:prstGeom>
              </p:spPr>
            </p:pic>
            <p:pic>
              <p:nvPicPr>
                <p:cNvPr id="1051" name="Graphic 1050">
                  <a:extLst>
                    <a:ext uri="{FF2B5EF4-FFF2-40B4-BE49-F238E27FC236}">
                      <a16:creationId xmlns:a16="http://schemas.microsoft.com/office/drawing/2014/main" id="{CB061DD2-CB0C-4D6C-8ECD-68B4ECA759DF}"/>
                    </a:ext>
                  </a:extLst>
                </p:cNvPr>
                <p:cNvPicPr>
                  <a:picLocks noChangeAspect="1"/>
                </p:cNvPicPr>
                <p:nvPr/>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4274353" y="1630273"/>
                  <a:ext cx="422385" cy="422385"/>
                </a:xfrm>
                <a:prstGeom prst="rect">
                  <a:avLst/>
                </a:prstGeom>
              </p:spPr>
            </p:pic>
          </p:grpSp>
          <p:sp>
            <p:nvSpPr>
              <p:cNvPr id="34" name="Rectangle 33">
                <a:extLst>
                  <a:ext uri="{FF2B5EF4-FFF2-40B4-BE49-F238E27FC236}">
                    <a16:creationId xmlns:a16="http://schemas.microsoft.com/office/drawing/2014/main" id="{3EB16A59-717A-4003-80F2-41E0FD61C497}"/>
                  </a:ext>
                </a:extLst>
              </p:cNvPr>
              <p:cNvSpPr/>
              <p:nvPr/>
            </p:nvSpPr>
            <p:spPr>
              <a:xfrm>
                <a:off x="2874415" y="1090998"/>
                <a:ext cx="6490235" cy="300577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cxnSp>
        <p:nvCxnSpPr>
          <p:cNvPr id="3582" name="Straight Connector 3581">
            <a:extLst>
              <a:ext uri="{FF2B5EF4-FFF2-40B4-BE49-F238E27FC236}">
                <a16:creationId xmlns:a16="http://schemas.microsoft.com/office/drawing/2014/main" id="{317420A0-5DD8-4BFF-8170-EB4856FE5AF1}"/>
              </a:ext>
            </a:extLst>
          </p:cNvPr>
          <p:cNvCxnSpPr>
            <a:cxnSpLocks/>
          </p:cNvCxnSpPr>
          <p:nvPr>
            <p:custDataLst>
              <p:tags r:id="rId1"/>
            </p:custDataLst>
          </p:nvPr>
        </p:nvCxnSpPr>
        <p:spPr>
          <a:xfrm>
            <a:off x="4885101" y="2668784"/>
            <a:ext cx="2461064" cy="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3661" name="Straight Connector 3660">
            <a:extLst>
              <a:ext uri="{FF2B5EF4-FFF2-40B4-BE49-F238E27FC236}">
                <a16:creationId xmlns:a16="http://schemas.microsoft.com/office/drawing/2014/main" id="{E9528C8C-7185-4E88-A004-C0F46061C1A6}"/>
              </a:ext>
            </a:extLst>
          </p:cNvPr>
          <p:cNvCxnSpPr>
            <a:cxnSpLocks/>
          </p:cNvCxnSpPr>
          <p:nvPr>
            <p:custDataLst>
              <p:tags r:id="rId2"/>
            </p:custDataLst>
          </p:nvPr>
        </p:nvCxnSpPr>
        <p:spPr>
          <a:xfrm>
            <a:off x="3187957" y="2668784"/>
            <a:ext cx="929320" cy="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3444" name="Freeform: Shape 3443">
            <a:extLst>
              <a:ext uri="{FF2B5EF4-FFF2-40B4-BE49-F238E27FC236}">
                <a16:creationId xmlns:a16="http://schemas.microsoft.com/office/drawing/2014/main" id="{469A5848-6187-4192-A46B-755A9A8A9DA0}"/>
              </a:ext>
            </a:extLst>
          </p:cNvPr>
          <p:cNvSpPr>
            <a:spLocks noChangeArrowheads="1"/>
          </p:cNvSpPr>
          <p:nvPr/>
        </p:nvSpPr>
        <p:spPr bwMode="auto">
          <a:xfrm>
            <a:off x="2931135" y="1260459"/>
            <a:ext cx="6374240" cy="2674054"/>
          </a:xfrm>
          <a:custGeom>
            <a:avLst/>
            <a:gdLst>
              <a:gd name="connsiteX0" fmla="*/ 4794585 w 6374240"/>
              <a:gd name="connsiteY0" fmla="*/ 259675 h 2674054"/>
              <a:gd name="connsiteX1" fmla="*/ 3655701 w 6374240"/>
              <a:gd name="connsiteY1" fmla="*/ 1395157 h 2674054"/>
              <a:gd name="connsiteX2" fmla="*/ 4794585 w 6374240"/>
              <a:gd name="connsiteY2" fmla="*/ 2530639 h 2674054"/>
              <a:gd name="connsiteX3" fmla="*/ 5933469 w 6374240"/>
              <a:gd name="connsiteY3" fmla="*/ 1395157 h 2674054"/>
              <a:gd name="connsiteX4" fmla="*/ 4794585 w 6374240"/>
              <a:gd name="connsiteY4" fmla="*/ 259675 h 2674054"/>
              <a:gd name="connsiteX5" fmla="*/ 1574605 w 6374240"/>
              <a:gd name="connsiteY5" fmla="*/ 259673 h 2674054"/>
              <a:gd name="connsiteX6" fmla="*/ 428923 w 6374240"/>
              <a:gd name="connsiteY6" fmla="*/ 1395156 h 2674054"/>
              <a:gd name="connsiteX7" fmla="*/ 1574605 w 6374240"/>
              <a:gd name="connsiteY7" fmla="*/ 2530639 h 2674054"/>
              <a:gd name="connsiteX8" fmla="*/ 2720287 w 6374240"/>
              <a:gd name="connsiteY8" fmla="*/ 1395156 h 2674054"/>
              <a:gd name="connsiteX9" fmla="*/ 1574605 w 6374240"/>
              <a:gd name="connsiteY9" fmla="*/ 259673 h 2674054"/>
              <a:gd name="connsiteX10" fmla="*/ 3181118 w 6374240"/>
              <a:gd name="connsiteY10" fmla="*/ 0 h 2674054"/>
              <a:gd name="connsiteX11" fmla="*/ 3925380 w 6374240"/>
              <a:gd name="connsiteY11" fmla="*/ 455668 h 2674054"/>
              <a:gd name="connsiteX12" fmla="*/ 4789683 w 6374240"/>
              <a:gd name="connsiteY12" fmla="*/ 119913 h 2674054"/>
              <a:gd name="connsiteX13" fmla="*/ 5822046 w 6374240"/>
              <a:gd name="connsiteY13" fmla="*/ 635538 h 2674054"/>
              <a:gd name="connsiteX14" fmla="*/ 6374240 w 6374240"/>
              <a:gd name="connsiteY14" fmla="*/ 1390988 h 2674054"/>
              <a:gd name="connsiteX15" fmla="*/ 5822046 w 6374240"/>
              <a:gd name="connsiteY15" fmla="*/ 2158429 h 2674054"/>
              <a:gd name="connsiteX16" fmla="*/ 4789683 w 6374240"/>
              <a:gd name="connsiteY16" fmla="*/ 2674054 h 2674054"/>
              <a:gd name="connsiteX17" fmla="*/ 3529240 w 6374240"/>
              <a:gd name="connsiteY17" fmla="*/ 1606831 h 2674054"/>
              <a:gd name="connsiteX18" fmla="*/ 3181118 w 6374240"/>
              <a:gd name="connsiteY18" fmla="*/ 1678778 h 2674054"/>
              <a:gd name="connsiteX19" fmla="*/ 2832996 w 6374240"/>
              <a:gd name="connsiteY19" fmla="*/ 1606831 h 2674054"/>
              <a:gd name="connsiteX20" fmla="*/ 1572553 w 6374240"/>
              <a:gd name="connsiteY20" fmla="*/ 2674054 h 2674054"/>
              <a:gd name="connsiteX21" fmla="*/ 540190 w 6374240"/>
              <a:gd name="connsiteY21" fmla="*/ 2158429 h 2674054"/>
              <a:gd name="connsiteX22" fmla="*/ 0 w 6374240"/>
              <a:gd name="connsiteY22" fmla="*/ 1390988 h 2674054"/>
              <a:gd name="connsiteX23" fmla="*/ 540190 w 6374240"/>
              <a:gd name="connsiteY23" fmla="*/ 635538 h 2674054"/>
              <a:gd name="connsiteX24" fmla="*/ 1572553 w 6374240"/>
              <a:gd name="connsiteY24" fmla="*/ 119913 h 2674054"/>
              <a:gd name="connsiteX25" fmla="*/ 2436856 w 6374240"/>
              <a:gd name="connsiteY25" fmla="*/ 455668 h 2674054"/>
              <a:gd name="connsiteX26" fmla="*/ 3181118 w 6374240"/>
              <a:gd name="connsiteY26" fmla="*/ 0 h 26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74240" h="2674054">
                <a:moveTo>
                  <a:pt x="4794585" y="259675"/>
                </a:moveTo>
                <a:cubicBezTo>
                  <a:pt x="4165597" y="259675"/>
                  <a:pt x="3655701" y="768048"/>
                  <a:pt x="3655701" y="1395157"/>
                </a:cubicBezTo>
                <a:cubicBezTo>
                  <a:pt x="3655701" y="2022266"/>
                  <a:pt x="4165597" y="2530639"/>
                  <a:pt x="4794585" y="2530639"/>
                </a:cubicBezTo>
                <a:cubicBezTo>
                  <a:pt x="5423573" y="2530639"/>
                  <a:pt x="5933469" y="2022266"/>
                  <a:pt x="5933469" y="1395157"/>
                </a:cubicBezTo>
                <a:cubicBezTo>
                  <a:pt x="5933469" y="768048"/>
                  <a:pt x="5423573" y="259675"/>
                  <a:pt x="4794585" y="259675"/>
                </a:cubicBezTo>
                <a:close/>
                <a:moveTo>
                  <a:pt x="1574605" y="259673"/>
                </a:moveTo>
                <a:cubicBezTo>
                  <a:pt x="941862" y="259673"/>
                  <a:pt x="428923" y="768046"/>
                  <a:pt x="428923" y="1395156"/>
                </a:cubicBezTo>
                <a:cubicBezTo>
                  <a:pt x="428923" y="2022266"/>
                  <a:pt x="941862" y="2530639"/>
                  <a:pt x="1574605" y="2530639"/>
                </a:cubicBezTo>
                <a:cubicBezTo>
                  <a:pt x="2207348" y="2530639"/>
                  <a:pt x="2720287" y="2022266"/>
                  <a:pt x="2720287" y="1395156"/>
                </a:cubicBezTo>
                <a:cubicBezTo>
                  <a:pt x="2720287" y="768046"/>
                  <a:pt x="2207348" y="259673"/>
                  <a:pt x="1574605" y="259673"/>
                </a:cubicBezTo>
                <a:close/>
                <a:moveTo>
                  <a:pt x="3181118" y="0"/>
                </a:moveTo>
                <a:cubicBezTo>
                  <a:pt x="3505232" y="0"/>
                  <a:pt x="3793333" y="179869"/>
                  <a:pt x="3925380" y="455668"/>
                </a:cubicBezTo>
                <a:cubicBezTo>
                  <a:pt x="4153460" y="239825"/>
                  <a:pt x="4465570" y="119913"/>
                  <a:pt x="4789683" y="119913"/>
                </a:cubicBezTo>
                <a:cubicBezTo>
                  <a:pt x="5209831" y="119913"/>
                  <a:pt x="5593966" y="323764"/>
                  <a:pt x="5822046" y="635538"/>
                </a:cubicBezTo>
                <a:cubicBezTo>
                  <a:pt x="6146160" y="743459"/>
                  <a:pt x="6374240" y="1043241"/>
                  <a:pt x="6374240" y="1390988"/>
                </a:cubicBezTo>
                <a:cubicBezTo>
                  <a:pt x="6374240" y="1750726"/>
                  <a:pt x="6146160" y="2050508"/>
                  <a:pt x="5822046" y="2158429"/>
                </a:cubicBezTo>
                <a:cubicBezTo>
                  <a:pt x="5593966" y="2470202"/>
                  <a:pt x="5209831" y="2674054"/>
                  <a:pt x="4789683" y="2674054"/>
                </a:cubicBezTo>
                <a:cubicBezTo>
                  <a:pt x="4153460" y="2674054"/>
                  <a:pt x="3625274" y="2206394"/>
                  <a:pt x="3529240" y="1606831"/>
                </a:cubicBezTo>
                <a:cubicBezTo>
                  <a:pt x="3421202" y="1654796"/>
                  <a:pt x="3313164" y="1678778"/>
                  <a:pt x="3181118" y="1678778"/>
                </a:cubicBezTo>
                <a:cubicBezTo>
                  <a:pt x="3061076" y="1678778"/>
                  <a:pt x="2941034" y="1654796"/>
                  <a:pt x="2832996" y="1606831"/>
                </a:cubicBezTo>
                <a:cubicBezTo>
                  <a:pt x="2736962" y="2206394"/>
                  <a:pt x="2208776" y="2674054"/>
                  <a:pt x="1572553" y="2674054"/>
                </a:cubicBezTo>
                <a:cubicBezTo>
                  <a:pt x="1152405" y="2674054"/>
                  <a:pt x="780274" y="2470202"/>
                  <a:pt x="540190" y="2158429"/>
                </a:cubicBezTo>
                <a:cubicBezTo>
                  <a:pt x="228080" y="2050508"/>
                  <a:pt x="0" y="1750726"/>
                  <a:pt x="0" y="1390988"/>
                </a:cubicBezTo>
                <a:cubicBezTo>
                  <a:pt x="0" y="1043241"/>
                  <a:pt x="228080" y="743459"/>
                  <a:pt x="540190" y="635538"/>
                </a:cubicBezTo>
                <a:cubicBezTo>
                  <a:pt x="780274" y="323764"/>
                  <a:pt x="1152405" y="119913"/>
                  <a:pt x="1572553" y="119913"/>
                </a:cubicBezTo>
                <a:cubicBezTo>
                  <a:pt x="1908671" y="119913"/>
                  <a:pt x="2208776" y="239825"/>
                  <a:pt x="2436856" y="455668"/>
                </a:cubicBezTo>
                <a:cubicBezTo>
                  <a:pt x="2580907" y="179869"/>
                  <a:pt x="2857004" y="0"/>
                  <a:pt x="3181118" y="0"/>
                </a:cubicBezTo>
                <a:close/>
              </a:path>
            </a:pathLst>
          </a:cu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cxnSp>
        <p:nvCxnSpPr>
          <p:cNvPr id="3607" name="Connector: Elbow 3606">
            <a:extLst>
              <a:ext uri="{FF2B5EF4-FFF2-40B4-BE49-F238E27FC236}">
                <a16:creationId xmlns:a16="http://schemas.microsoft.com/office/drawing/2014/main" id="{AB612B98-4CDD-4D2A-A6A9-01C06C2FD49A}"/>
              </a:ext>
            </a:extLst>
          </p:cNvPr>
          <p:cNvCxnSpPr>
            <a:cxnSpLocks/>
          </p:cNvCxnSpPr>
          <p:nvPr/>
        </p:nvCxnSpPr>
        <p:spPr>
          <a:xfrm rot="5400000">
            <a:off x="7277507"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3611" name="Connector: Elbow 3610">
            <a:extLst>
              <a:ext uri="{FF2B5EF4-FFF2-40B4-BE49-F238E27FC236}">
                <a16:creationId xmlns:a16="http://schemas.microsoft.com/office/drawing/2014/main" id="{5CD3A2E4-7E63-4D8F-AD70-3C000BAA2F14}"/>
              </a:ext>
            </a:extLst>
          </p:cNvPr>
          <p:cNvCxnSpPr>
            <a:cxnSpLocks/>
          </p:cNvCxnSpPr>
          <p:nvPr/>
        </p:nvCxnSpPr>
        <p:spPr>
          <a:xfrm rot="16200000" flipV="1">
            <a:off x="7277507" y="274341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41A42D-75B0-47CC-BB9B-14DCA7FBC5D0}"/>
              </a:ext>
            </a:extLst>
          </p:cNvPr>
          <p:cNvSpPr/>
          <p:nvPr/>
        </p:nvSpPr>
        <p:spPr>
          <a:xfrm>
            <a:off x="-1409" y="0"/>
            <a:ext cx="3048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6" name="TextBox 35">
            <a:extLst>
              <a:ext uri="{FF2B5EF4-FFF2-40B4-BE49-F238E27FC236}">
                <a16:creationId xmlns:a16="http://schemas.microsoft.com/office/drawing/2014/main" id="{FCC2024E-4C1C-491C-89B0-E218DD07924A}"/>
              </a:ext>
            </a:extLst>
          </p:cNvPr>
          <p:cNvSpPr txBox="1"/>
          <p:nvPr/>
        </p:nvSpPr>
        <p:spPr>
          <a:xfrm>
            <a:off x="470129"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01</a:t>
            </a:r>
          </a:p>
        </p:txBody>
      </p:sp>
      <p:sp>
        <p:nvSpPr>
          <p:cNvPr id="37" name="TextBox 36">
            <a:extLst>
              <a:ext uri="{FF2B5EF4-FFF2-40B4-BE49-F238E27FC236}">
                <a16:creationId xmlns:a16="http://schemas.microsoft.com/office/drawing/2014/main" id="{66B1CDC2-09F5-46B2-8C85-49C88B6107BE}"/>
              </a:ext>
            </a:extLst>
          </p:cNvPr>
          <p:cNvSpPr txBox="1"/>
          <p:nvPr/>
        </p:nvSpPr>
        <p:spPr>
          <a:xfrm>
            <a:off x="1624281"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00BCEB">
                    <a:lumMod val="75000"/>
                  </a:srgbClr>
                </a:solidFill>
                <a:effectLst/>
                <a:uLnTx/>
                <a:uFillTx/>
                <a:latin typeface="CiscoSans ExtraLight" charset="0"/>
                <a:ea typeface="CiscoSans ExtraLight" charset="0"/>
                <a:cs typeface="CiscoSans ExtraLight" charset="0"/>
              </a:rPr>
              <a:t>03</a:t>
            </a:r>
          </a:p>
        </p:txBody>
      </p:sp>
      <p:sp>
        <p:nvSpPr>
          <p:cNvPr id="38" name="TextBox 37">
            <a:extLst>
              <a:ext uri="{FF2B5EF4-FFF2-40B4-BE49-F238E27FC236}">
                <a16:creationId xmlns:a16="http://schemas.microsoft.com/office/drawing/2014/main" id="{973EDB0B-5B05-4D71-ABD7-10D5C483FEC6}"/>
              </a:ext>
            </a:extLst>
          </p:cNvPr>
          <p:cNvSpPr txBox="1"/>
          <p:nvPr/>
        </p:nvSpPr>
        <p:spPr>
          <a:xfrm>
            <a:off x="1047205"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00BCEB">
                    <a:lumMod val="75000"/>
                  </a:srgbClr>
                </a:solidFill>
                <a:effectLst/>
                <a:uLnTx/>
                <a:uFillTx/>
                <a:latin typeface="CiscoSans ExtraLight" charset="0"/>
                <a:ea typeface="CiscoSans ExtraLight" charset="0"/>
                <a:cs typeface="CiscoSans ExtraLight" charset="0"/>
              </a:rPr>
              <a:t>02</a:t>
            </a:r>
          </a:p>
        </p:txBody>
      </p:sp>
      <p:grpSp>
        <p:nvGrpSpPr>
          <p:cNvPr id="29" name="Group 28">
            <a:extLst>
              <a:ext uri="{FF2B5EF4-FFF2-40B4-BE49-F238E27FC236}">
                <a16:creationId xmlns:a16="http://schemas.microsoft.com/office/drawing/2014/main" id="{87E70065-45E0-4FA6-AA09-27E3B9D1C080}"/>
              </a:ext>
            </a:extLst>
          </p:cNvPr>
          <p:cNvGrpSpPr/>
          <p:nvPr/>
        </p:nvGrpSpPr>
        <p:grpSpPr>
          <a:xfrm>
            <a:off x="1064458" y="710972"/>
            <a:ext cx="457390" cy="457390"/>
            <a:chOff x="1176043" y="485585"/>
            <a:chExt cx="457390" cy="457390"/>
          </a:xfrm>
        </p:grpSpPr>
        <p:sp>
          <p:nvSpPr>
            <p:cNvPr id="145" name="Oval 144">
              <a:extLst>
                <a:ext uri="{FF2B5EF4-FFF2-40B4-BE49-F238E27FC236}">
                  <a16:creationId xmlns:a16="http://schemas.microsoft.com/office/drawing/2014/main" id="{0E7507E6-D844-4F56-92A0-3B2CEB3CBC0D}"/>
                </a:ext>
              </a:extLst>
            </p:cNvPr>
            <p:cNvSpPr/>
            <p:nvPr/>
          </p:nvSpPr>
          <p:spPr>
            <a:xfrm>
              <a:off x="1176043"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65" name="Group 64"/>
            <p:cNvGrpSpPr/>
            <p:nvPr/>
          </p:nvGrpSpPr>
          <p:grpSpPr>
            <a:xfrm>
              <a:off x="1230721" y="540297"/>
              <a:ext cx="349271" cy="349271"/>
              <a:chOff x="2581275" y="2140516"/>
              <a:chExt cx="933450" cy="933450"/>
            </a:xfrm>
          </p:grpSpPr>
          <p:sp>
            <p:nvSpPr>
              <p:cNvPr id="7" name="Freeform 5"/>
              <p:cNvSpPr>
                <a:spLocks/>
              </p:cNvSpPr>
              <p:nvPr/>
            </p:nvSpPr>
            <p:spPr bwMode="auto">
              <a:xfrm>
                <a:off x="2581275" y="2140516"/>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26" name="Group 25"/>
              <p:cNvGrpSpPr/>
              <p:nvPr/>
            </p:nvGrpSpPr>
            <p:grpSpPr>
              <a:xfrm>
                <a:off x="2728913" y="2324308"/>
                <a:ext cx="638175" cy="590551"/>
                <a:chOff x="2728913" y="2324100"/>
                <a:chExt cx="638175" cy="590551"/>
              </a:xfrm>
              <a:solidFill>
                <a:schemeClr val="accent1">
                  <a:lumMod val="75000"/>
                  <a:alpha val="40000"/>
                </a:schemeClr>
              </a:solidFill>
            </p:grpSpPr>
            <p:sp>
              <p:nvSpPr>
                <p:cNvPr id="8" name="Freeform 6"/>
                <p:cNvSpPr>
                  <a:spLocks noEditPoints="1"/>
                </p:cNvSpPr>
                <p:nvPr/>
              </p:nvSpPr>
              <p:spPr bwMode="auto">
                <a:xfrm>
                  <a:off x="2728913" y="2324100"/>
                  <a:ext cx="638175" cy="333375"/>
                </a:xfrm>
                <a:custGeom>
                  <a:avLst/>
                  <a:gdLst>
                    <a:gd name="T0" fmla="*/ 237 w 864"/>
                    <a:gd name="T1" fmla="*/ 452 h 452"/>
                    <a:gd name="T2" fmla="*/ 628 w 864"/>
                    <a:gd name="T3" fmla="*/ 452 h 452"/>
                    <a:gd name="T4" fmla="*/ 835 w 864"/>
                    <a:gd name="T5" fmla="*/ 452 h 452"/>
                    <a:gd name="T6" fmla="*/ 864 w 864"/>
                    <a:gd name="T7" fmla="*/ 412 h 452"/>
                    <a:gd name="T8" fmla="*/ 788 w 864"/>
                    <a:gd name="T9" fmla="*/ 188 h 452"/>
                    <a:gd name="T10" fmla="*/ 749 w 864"/>
                    <a:gd name="T11" fmla="*/ 139 h 452"/>
                    <a:gd name="T12" fmla="*/ 721 w 864"/>
                    <a:gd name="T13" fmla="*/ 111 h 452"/>
                    <a:gd name="T14" fmla="*/ 701 w 864"/>
                    <a:gd name="T15" fmla="*/ 94 h 452"/>
                    <a:gd name="T16" fmla="*/ 680 w 864"/>
                    <a:gd name="T17" fmla="*/ 79 h 452"/>
                    <a:gd name="T18" fmla="*/ 660 w 864"/>
                    <a:gd name="T19" fmla="*/ 65 h 452"/>
                    <a:gd name="T20" fmla="*/ 636 w 864"/>
                    <a:gd name="T21" fmla="*/ 51 h 452"/>
                    <a:gd name="T22" fmla="*/ 615 w 864"/>
                    <a:gd name="T23" fmla="*/ 41 h 452"/>
                    <a:gd name="T24" fmla="*/ 601 w 864"/>
                    <a:gd name="T25" fmla="*/ 35 h 452"/>
                    <a:gd name="T26" fmla="*/ 578 w 864"/>
                    <a:gd name="T27" fmla="*/ 26 h 452"/>
                    <a:gd name="T28" fmla="*/ 563 w 864"/>
                    <a:gd name="T29" fmla="*/ 21 h 452"/>
                    <a:gd name="T30" fmla="*/ 540 w 864"/>
                    <a:gd name="T31" fmla="*/ 14 h 452"/>
                    <a:gd name="T32" fmla="*/ 524 w 864"/>
                    <a:gd name="T33" fmla="*/ 10 h 452"/>
                    <a:gd name="T34" fmla="*/ 503 w 864"/>
                    <a:gd name="T35" fmla="*/ 6 h 452"/>
                    <a:gd name="T36" fmla="*/ 486 w 864"/>
                    <a:gd name="T37" fmla="*/ 4 h 452"/>
                    <a:gd name="T38" fmla="*/ 462 w 864"/>
                    <a:gd name="T39" fmla="*/ 1 h 452"/>
                    <a:gd name="T40" fmla="*/ 452 w 864"/>
                    <a:gd name="T41" fmla="*/ 0 h 452"/>
                    <a:gd name="T42" fmla="*/ 407 w 864"/>
                    <a:gd name="T43" fmla="*/ 1 h 452"/>
                    <a:gd name="T44" fmla="*/ 390 w 864"/>
                    <a:gd name="T45" fmla="*/ 2 h 452"/>
                    <a:gd name="T46" fmla="*/ 365 w 864"/>
                    <a:gd name="T47" fmla="*/ 5 h 452"/>
                    <a:gd name="T48" fmla="*/ 349 w 864"/>
                    <a:gd name="T49" fmla="*/ 8 h 452"/>
                    <a:gd name="T50" fmla="*/ 327 w 864"/>
                    <a:gd name="T51" fmla="*/ 13 h 452"/>
                    <a:gd name="T52" fmla="*/ 311 w 864"/>
                    <a:gd name="T53" fmla="*/ 18 h 452"/>
                    <a:gd name="T54" fmla="*/ 289 w 864"/>
                    <a:gd name="T55" fmla="*/ 25 h 452"/>
                    <a:gd name="T56" fmla="*/ 275 w 864"/>
                    <a:gd name="T57" fmla="*/ 30 h 452"/>
                    <a:gd name="T58" fmla="*/ 252 w 864"/>
                    <a:gd name="T59" fmla="*/ 40 h 452"/>
                    <a:gd name="T60" fmla="*/ 238 w 864"/>
                    <a:gd name="T61" fmla="*/ 46 h 452"/>
                    <a:gd name="T62" fmla="*/ 206 w 864"/>
                    <a:gd name="T63" fmla="*/ 64 h 452"/>
                    <a:gd name="T64" fmla="*/ 194 w 864"/>
                    <a:gd name="T65" fmla="*/ 72 h 452"/>
                    <a:gd name="T66" fmla="*/ 164 w 864"/>
                    <a:gd name="T67" fmla="*/ 94 h 452"/>
                    <a:gd name="T68" fmla="*/ 153 w 864"/>
                    <a:gd name="T69" fmla="*/ 103 h 452"/>
                    <a:gd name="T70" fmla="*/ 117 w 864"/>
                    <a:gd name="T71" fmla="*/ 138 h 452"/>
                    <a:gd name="T72" fmla="*/ 83 w 864"/>
                    <a:gd name="T73" fmla="*/ 178 h 452"/>
                    <a:gd name="T74" fmla="*/ 76 w 864"/>
                    <a:gd name="T75" fmla="*/ 188 h 452"/>
                    <a:gd name="T76" fmla="*/ 0 w 864"/>
                    <a:gd name="T77" fmla="*/ 423 h 452"/>
                    <a:gd name="T78" fmla="*/ 757 w 864"/>
                    <a:gd name="T79" fmla="*/ 214 h 452"/>
                    <a:gd name="T80" fmla="*/ 648 w 864"/>
                    <a:gd name="T81" fmla="*/ 258 h 452"/>
                    <a:gd name="T82" fmla="*/ 580 w 864"/>
                    <a:gd name="T83" fmla="*/ 69 h 452"/>
                    <a:gd name="T84" fmla="*/ 597 w 864"/>
                    <a:gd name="T85" fmla="*/ 77 h 452"/>
                    <a:gd name="T86" fmla="*/ 610 w 864"/>
                    <a:gd name="T87" fmla="*/ 83 h 452"/>
                    <a:gd name="T88" fmla="*/ 638 w 864"/>
                    <a:gd name="T89" fmla="*/ 220 h 452"/>
                    <a:gd name="T90" fmla="*/ 452 w 864"/>
                    <a:gd name="T91" fmla="*/ 43 h 452"/>
                    <a:gd name="T92" fmla="*/ 452 w 864"/>
                    <a:gd name="T93" fmla="*/ 244 h 452"/>
                    <a:gd name="T94" fmla="*/ 609 w 864"/>
                    <a:gd name="T95" fmla="*/ 267 h 452"/>
                    <a:gd name="T96" fmla="*/ 452 w 864"/>
                    <a:gd name="T97" fmla="*/ 284 h 452"/>
                    <a:gd name="T98" fmla="*/ 255 w 864"/>
                    <a:gd name="T99" fmla="*/ 267 h 452"/>
                    <a:gd name="T100" fmla="*/ 412 w 864"/>
                    <a:gd name="T101" fmla="*/ 43 h 452"/>
                    <a:gd name="T102" fmla="*/ 300 w 864"/>
                    <a:gd name="T103" fmla="*/ 146 h 452"/>
                    <a:gd name="T104" fmla="*/ 254 w 864"/>
                    <a:gd name="T105" fmla="*/ 83 h 452"/>
                    <a:gd name="T106" fmla="*/ 268 w 864"/>
                    <a:gd name="T107" fmla="*/ 77 h 452"/>
                    <a:gd name="T108" fmla="*/ 285 w 864"/>
                    <a:gd name="T109" fmla="*/ 69 h 452"/>
                    <a:gd name="T110" fmla="*/ 227 w 864"/>
                    <a:gd name="T111" fmla="*/ 220 h 452"/>
                    <a:gd name="T112" fmla="*/ 107 w 864"/>
                    <a:gd name="T113" fmla="*/ 214 h 452"/>
                    <a:gd name="T114" fmla="*/ 41 w 864"/>
                    <a:gd name="T115" fmla="*/ 41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4" h="452">
                      <a:moveTo>
                        <a:pt x="41" y="452"/>
                      </a:moveTo>
                      <a:cubicBezTo>
                        <a:pt x="197" y="452"/>
                        <a:pt x="197" y="452"/>
                        <a:pt x="197" y="452"/>
                      </a:cubicBezTo>
                      <a:cubicBezTo>
                        <a:pt x="237" y="452"/>
                        <a:pt x="237" y="452"/>
                        <a:pt x="237" y="452"/>
                      </a:cubicBezTo>
                      <a:cubicBezTo>
                        <a:pt x="412" y="452"/>
                        <a:pt x="412" y="452"/>
                        <a:pt x="412" y="452"/>
                      </a:cubicBezTo>
                      <a:cubicBezTo>
                        <a:pt x="452" y="452"/>
                        <a:pt x="452" y="452"/>
                        <a:pt x="452" y="452"/>
                      </a:cubicBezTo>
                      <a:cubicBezTo>
                        <a:pt x="628" y="452"/>
                        <a:pt x="628" y="452"/>
                        <a:pt x="628" y="452"/>
                      </a:cubicBezTo>
                      <a:cubicBezTo>
                        <a:pt x="668" y="452"/>
                        <a:pt x="668" y="452"/>
                        <a:pt x="668" y="452"/>
                      </a:cubicBezTo>
                      <a:cubicBezTo>
                        <a:pt x="823" y="452"/>
                        <a:pt x="823" y="452"/>
                        <a:pt x="823" y="452"/>
                      </a:cubicBezTo>
                      <a:cubicBezTo>
                        <a:pt x="835" y="452"/>
                        <a:pt x="835" y="452"/>
                        <a:pt x="835" y="452"/>
                      </a:cubicBezTo>
                      <a:cubicBezTo>
                        <a:pt x="851" y="452"/>
                        <a:pt x="864" y="439"/>
                        <a:pt x="864" y="423"/>
                      </a:cubicBezTo>
                      <a:cubicBezTo>
                        <a:pt x="864" y="412"/>
                        <a:pt x="864" y="412"/>
                        <a:pt x="864" y="412"/>
                      </a:cubicBezTo>
                      <a:cubicBezTo>
                        <a:pt x="864" y="412"/>
                        <a:pt x="864" y="412"/>
                        <a:pt x="864" y="412"/>
                      </a:cubicBezTo>
                      <a:cubicBezTo>
                        <a:pt x="860" y="329"/>
                        <a:pt x="833" y="252"/>
                        <a:pt x="788" y="188"/>
                      </a:cubicBezTo>
                      <a:cubicBezTo>
                        <a:pt x="788" y="188"/>
                        <a:pt x="788" y="188"/>
                        <a:pt x="788" y="188"/>
                      </a:cubicBezTo>
                      <a:cubicBezTo>
                        <a:pt x="788" y="188"/>
                        <a:pt x="788" y="188"/>
                        <a:pt x="788" y="188"/>
                      </a:cubicBezTo>
                      <a:cubicBezTo>
                        <a:pt x="786" y="184"/>
                        <a:pt x="783" y="181"/>
                        <a:pt x="781" y="178"/>
                      </a:cubicBezTo>
                      <a:cubicBezTo>
                        <a:pt x="778" y="173"/>
                        <a:pt x="778" y="173"/>
                        <a:pt x="778" y="173"/>
                      </a:cubicBezTo>
                      <a:cubicBezTo>
                        <a:pt x="769" y="161"/>
                        <a:pt x="759" y="150"/>
                        <a:pt x="749" y="139"/>
                      </a:cubicBezTo>
                      <a:cubicBezTo>
                        <a:pt x="749" y="138"/>
                        <a:pt x="748" y="138"/>
                        <a:pt x="748" y="138"/>
                      </a:cubicBezTo>
                      <a:cubicBezTo>
                        <a:pt x="739" y="128"/>
                        <a:pt x="730" y="119"/>
                        <a:pt x="721" y="111"/>
                      </a:cubicBezTo>
                      <a:cubicBezTo>
                        <a:pt x="721" y="111"/>
                        <a:pt x="721" y="111"/>
                        <a:pt x="721" y="111"/>
                      </a:cubicBezTo>
                      <a:cubicBezTo>
                        <a:pt x="718" y="108"/>
                        <a:pt x="715" y="105"/>
                        <a:pt x="711" y="103"/>
                      </a:cubicBezTo>
                      <a:cubicBezTo>
                        <a:pt x="711" y="102"/>
                        <a:pt x="711" y="102"/>
                        <a:pt x="710" y="102"/>
                      </a:cubicBezTo>
                      <a:cubicBezTo>
                        <a:pt x="707" y="99"/>
                        <a:pt x="704" y="97"/>
                        <a:pt x="701" y="94"/>
                      </a:cubicBezTo>
                      <a:cubicBezTo>
                        <a:pt x="701" y="94"/>
                        <a:pt x="701" y="94"/>
                        <a:pt x="701" y="94"/>
                      </a:cubicBezTo>
                      <a:cubicBezTo>
                        <a:pt x="694" y="89"/>
                        <a:pt x="687" y="84"/>
                        <a:pt x="681" y="79"/>
                      </a:cubicBezTo>
                      <a:cubicBezTo>
                        <a:pt x="680" y="79"/>
                        <a:pt x="680" y="79"/>
                        <a:pt x="680" y="79"/>
                      </a:cubicBezTo>
                      <a:cubicBezTo>
                        <a:pt x="677" y="76"/>
                        <a:pt x="674" y="74"/>
                        <a:pt x="671" y="72"/>
                      </a:cubicBezTo>
                      <a:cubicBezTo>
                        <a:pt x="669" y="71"/>
                        <a:pt x="668" y="71"/>
                        <a:pt x="667" y="70"/>
                      </a:cubicBezTo>
                      <a:cubicBezTo>
                        <a:pt x="665" y="68"/>
                        <a:pt x="663" y="67"/>
                        <a:pt x="660" y="65"/>
                      </a:cubicBezTo>
                      <a:cubicBezTo>
                        <a:pt x="659" y="65"/>
                        <a:pt x="659" y="65"/>
                        <a:pt x="658" y="64"/>
                      </a:cubicBezTo>
                      <a:cubicBezTo>
                        <a:pt x="651" y="60"/>
                        <a:pt x="644" y="56"/>
                        <a:pt x="637" y="52"/>
                      </a:cubicBezTo>
                      <a:cubicBezTo>
                        <a:pt x="636" y="52"/>
                        <a:pt x="636" y="51"/>
                        <a:pt x="636" y="51"/>
                      </a:cubicBezTo>
                      <a:cubicBezTo>
                        <a:pt x="633" y="50"/>
                        <a:pt x="629" y="48"/>
                        <a:pt x="626" y="46"/>
                      </a:cubicBezTo>
                      <a:cubicBezTo>
                        <a:pt x="625" y="46"/>
                        <a:pt x="624" y="45"/>
                        <a:pt x="624" y="45"/>
                      </a:cubicBezTo>
                      <a:cubicBezTo>
                        <a:pt x="621" y="44"/>
                        <a:pt x="618" y="42"/>
                        <a:pt x="615" y="41"/>
                      </a:cubicBezTo>
                      <a:cubicBezTo>
                        <a:pt x="614" y="40"/>
                        <a:pt x="613" y="40"/>
                        <a:pt x="612" y="40"/>
                      </a:cubicBezTo>
                      <a:cubicBezTo>
                        <a:pt x="609" y="38"/>
                        <a:pt x="606" y="36"/>
                        <a:pt x="602" y="35"/>
                      </a:cubicBezTo>
                      <a:cubicBezTo>
                        <a:pt x="602" y="35"/>
                        <a:pt x="602" y="35"/>
                        <a:pt x="601" y="35"/>
                      </a:cubicBezTo>
                      <a:cubicBezTo>
                        <a:pt x="597" y="33"/>
                        <a:pt x="594" y="31"/>
                        <a:pt x="590" y="30"/>
                      </a:cubicBezTo>
                      <a:cubicBezTo>
                        <a:pt x="589" y="30"/>
                        <a:pt x="589" y="30"/>
                        <a:pt x="588" y="29"/>
                      </a:cubicBezTo>
                      <a:cubicBezTo>
                        <a:pt x="585" y="28"/>
                        <a:pt x="582" y="27"/>
                        <a:pt x="578" y="26"/>
                      </a:cubicBezTo>
                      <a:cubicBezTo>
                        <a:pt x="577" y="25"/>
                        <a:pt x="576" y="25"/>
                        <a:pt x="575" y="25"/>
                      </a:cubicBezTo>
                      <a:cubicBezTo>
                        <a:pt x="572" y="24"/>
                        <a:pt x="569" y="23"/>
                        <a:pt x="567" y="22"/>
                      </a:cubicBezTo>
                      <a:cubicBezTo>
                        <a:pt x="565" y="21"/>
                        <a:pt x="564" y="21"/>
                        <a:pt x="563" y="21"/>
                      </a:cubicBezTo>
                      <a:cubicBezTo>
                        <a:pt x="560" y="20"/>
                        <a:pt x="557" y="19"/>
                        <a:pt x="554" y="18"/>
                      </a:cubicBezTo>
                      <a:cubicBezTo>
                        <a:pt x="553" y="17"/>
                        <a:pt x="552" y="17"/>
                        <a:pt x="552" y="17"/>
                      </a:cubicBezTo>
                      <a:cubicBezTo>
                        <a:pt x="548" y="16"/>
                        <a:pt x="544" y="15"/>
                        <a:pt x="540" y="14"/>
                      </a:cubicBezTo>
                      <a:cubicBezTo>
                        <a:pt x="539" y="14"/>
                        <a:pt x="538" y="13"/>
                        <a:pt x="538" y="13"/>
                      </a:cubicBezTo>
                      <a:cubicBezTo>
                        <a:pt x="535" y="12"/>
                        <a:pt x="531" y="12"/>
                        <a:pt x="528" y="11"/>
                      </a:cubicBezTo>
                      <a:cubicBezTo>
                        <a:pt x="526" y="11"/>
                        <a:pt x="525" y="10"/>
                        <a:pt x="524" y="10"/>
                      </a:cubicBezTo>
                      <a:cubicBezTo>
                        <a:pt x="521" y="9"/>
                        <a:pt x="518" y="9"/>
                        <a:pt x="516" y="8"/>
                      </a:cubicBezTo>
                      <a:cubicBezTo>
                        <a:pt x="514" y="8"/>
                        <a:pt x="513" y="8"/>
                        <a:pt x="511" y="8"/>
                      </a:cubicBezTo>
                      <a:cubicBezTo>
                        <a:pt x="509" y="7"/>
                        <a:pt x="506" y="7"/>
                        <a:pt x="503" y="6"/>
                      </a:cubicBezTo>
                      <a:cubicBezTo>
                        <a:pt x="502" y="6"/>
                        <a:pt x="500" y="6"/>
                        <a:pt x="499" y="5"/>
                      </a:cubicBezTo>
                      <a:cubicBezTo>
                        <a:pt x="495" y="5"/>
                        <a:pt x="491" y="4"/>
                        <a:pt x="487" y="4"/>
                      </a:cubicBezTo>
                      <a:cubicBezTo>
                        <a:pt x="487" y="4"/>
                        <a:pt x="486" y="4"/>
                        <a:pt x="486" y="4"/>
                      </a:cubicBezTo>
                      <a:cubicBezTo>
                        <a:pt x="482" y="3"/>
                        <a:pt x="478" y="3"/>
                        <a:pt x="475" y="2"/>
                      </a:cubicBezTo>
                      <a:cubicBezTo>
                        <a:pt x="473" y="2"/>
                        <a:pt x="472" y="2"/>
                        <a:pt x="471" y="2"/>
                      </a:cubicBezTo>
                      <a:cubicBezTo>
                        <a:pt x="468" y="2"/>
                        <a:pt x="465" y="2"/>
                        <a:pt x="462" y="1"/>
                      </a:cubicBezTo>
                      <a:cubicBezTo>
                        <a:pt x="461" y="1"/>
                        <a:pt x="459" y="1"/>
                        <a:pt x="458" y="1"/>
                      </a:cubicBezTo>
                      <a:cubicBezTo>
                        <a:pt x="456" y="1"/>
                        <a:pt x="454" y="1"/>
                        <a:pt x="452" y="1"/>
                      </a:cubicBezTo>
                      <a:cubicBezTo>
                        <a:pt x="452" y="0"/>
                        <a:pt x="452" y="0"/>
                        <a:pt x="452" y="0"/>
                      </a:cubicBezTo>
                      <a:cubicBezTo>
                        <a:pt x="412" y="0"/>
                        <a:pt x="412" y="0"/>
                        <a:pt x="412" y="0"/>
                      </a:cubicBezTo>
                      <a:cubicBezTo>
                        <a:pt x="412" y="1"/>
                        <a:pt x="412" y="1"/>
                        <a:pt x="412" y="1"/>
                      </a:cubicBezTo>
                      <a:cubicBezTo>
                        <a:pt x="410" y="1"/>
                        <a:pt x="409" y="1"/>
                        <a:pt x="407" y="1"/>
                      </a:cubicBezTo>
                      <a:cubicBezTo>
                        <a:pt x="405" y="1"/>
                        <a:pt x="404" y="1"/>
                        <a:pt x="402" y="1"/>
                      </a:cubicBezTo>
                      <a:cubicBezTo>
                        <a:pt x="400" y="2"/>
                        <a:pt x="397" y="2"/>
                        <a:pt x="394" y="2"/>
                      </a:cubicBezTo>
                      <a:cubicBezTo>
                        <a:pt x="393" y="2"/>
                        <a:pt x="391" y="2"/>
                        <a:pt x="390" y="2"/>
                      </a:cubicBezTo>
                      <a:cubicBezTo>
                        <a:pt x="386" y="3"/>
                        <a:pt x="383" y="3"/>
                        <a:pt x="379" y="4"/>
                      </a:cubicBezTo>
                      <a:cubicBezTo>
                        <a:pt x="378" y="4"/>
                        <a:pt x="378" y="4"/>
                        <a:pt x="378" y="4"/>
                      </a:cubicBezTo>
                      <a:cubicBezTo>
                        <a:pt x="373" y="4"/>
                        <a:pt x="369" y="5"/>
                        <a:pt x="365" y="5"/>
                      </a:cubicBezTo>
                      <a:cubicBezTo>
                        <a:pt x="364" y="6"/>
                        <a:pt x="363" y="6"/>
                        <a:pt x="362" y="6"/>
                      </a:cubicBezTo>
                      <a:cubicBezTo>
                        <a:pt x="359" y="7"/>
                        <a:pt x="356" y="7"/>
                        <a:pt x="353" y="8"/>
                      </a:cubicBezTo>
                      <a:cubicBezTo>
                        <a:pt x="352" y="8"/>
                        <a:pt x="350" y="8"/>
                        <a:pt x="349" y="8"/>
                      </a:cubicBezTo>
                      <a:cubicBezTo>
                        <a:pt x="346" y="9"/>
                        <a:pt x="343" y="9"/>
                        <a:pt x="340" y="10"/>
                      </a:cubicBezTo>
                      <a:cubicBezTo>
                        <a:pt x="339" y="10"/>
                        <a:pt x="338" y="11"/>
                        <a:pt x="337" y="11"/>
                      </a:cubicBezTo>
                      <a:cubicBezTo>
                        <a:pt x="333" y="12"/>
                        <a:pt x="330" y="12"/>
                        <a:pt x="327" y="13"/>
                      </a:cubicBezTo>
                      <a:cubicBezTo>
                        <a:pt x="326" y="13"/>
                        <a:pt x="325" y="14"/>
                        <a:pt x="325" y="14"/>
                      </a:cubicBezTo>
                      <a:cubicBezTo>
                        <a:pt x="321" y="15"/>
                        <a:pt x="317" y="16"/>
                        <a:pt x="313" y="17"/>
                      </a:cubicBezTo>
                      <a:cubicBezTo>
                        <a:pt x="312" y="17"/>
                        <a:pt x="311" y="17"/>
                        <a:pt x="311" y="18"/>
                      </a:cubicBezTo>
                      <a:cubicBezTo>
                        <a:pt x="307" y="19"/>
                        <a:pt x="304" y="20"/>
                        <a:pt x="301" y="21"/>
                      </a:cubicBezTo>
                      <a:cubicBezTo>
                        <a:pt x="300" y="21"/>
                        <a:pt x="299" y="21"/>
                        <a:pt x="298" y="22"/>
                      </a:cubicBezTo>
                      <a:cubicBezTo>
                        <a:pt x="295" y="23"/>
                        <a:pt x="292" y="24"/>
                        <a:pt x="289" y="25"/>
                      </a:cubicBezTo>
                      <a:cubicBezTo>
                        <a:pt x="288" y="25"/>
                        <a:pt x="287" y="25"/>
                        <a:pt x="286" y="26"/>
                      </a:cubicBezTo>
                      <a:cubicBezTo>
                        <a:pt x="283" y="27"/>
                        <a:pt x="280" y="28"/>
                        <a:pt x="276" y="29"/>
                      </a:cubicBezTo>
                      <a:cubicBezTo>
                        <a:pt x="276" y="30"/>
                        <a:pt x="275" y="30"/>
                        <a:pt x="275" y="30"/>
                      </a:cubicBezTo>
                      <a:cubicBezTo>
                        <a:pt x="271" y="31"/>
                        <a:pt x="267" y="33"/>
                        <a:pt x="263" y="35"/>
                      </a:cubicBezTo>
                      <a:cubicBezTo>
                        <a:pt x="263" y="35"/>
                        <a:pt x="263" y="35"/>
                        <a:pt x="262" y="35"/>
                      </a:cubicBezTo>
                      <a:cubicBezTo>
                        <a:pt x="259" y="36"/>
                        <a:pt x="256" y="38"/>
                        <a:pt x="252" y="40"/>
                      </a:cubicBezTo>
                      <a:cubicBezTo>
                        <a:pt x="251" y="40"/>
                        <a:pt x="251" y="40"/>
                        <a:pt x="250" y="41"/>
                      </a:cubicBezTo>
                      <a:cubicBezTo>
                        <a:pt x="247" y="42"/>
                        <a:pt x="243" y="44"/>
                        <a:pt x="240" y="45"/>
                      </a:cubicBezTo>
                      <a:cubicBezTo>
                        <a:pt x="240" y="46"/>
                        <a:pt x="239" y="46"/>
                        <a:pt x="238" y="46"/>
                      </a:cubicBezTo>
                      <a:cubicBezTo>
                        <a:pt x="235" y="48"/>
                        <a:pt x="232" y="50"/>
                        <a:pt x="229" y="51"/>
                      </a:cubicBezTo>
                      <a:cubicBezTo>
                        <a:pt x="228" y="51"/>
                        <a:pt x="228" y="52"/>
                        <a:pt x="228" y="52"/>
                      </a:cubicBezTo>
                      <a:cubicBezTo>
                        <a:pt x="220" y="56"/>
                        <a:pt x="213" y="60"/>
                        <a:pt x="206" y="64"/>
                      </a:cubicBezTo>
                      <a:cubicBezTo>
                        <a:pt x="206" y="65"/>
                        <a:pt x="205" y="65"/>
                        <a:pt x="205" y="65"/>
                      </a:cubicBezTo>
                      <a:cubicBezTo>
                        <a:pt x="202" y="67"/>
                        <a:pt x="200" y="68"/>
                        <a:pt x="197" y="70"/>
                      </a:cubicBezTo>
                      <a:cubicBezTo>
                        <a:pt x="196" y="70"/>
                        <a:pt x="195" y="71"/>
                        <a:pt x="194" y="72"/>
                      </a:cubicBezTo>
                      <a:cubicBezTo>
                        <a:pt x="191" y="74"/>
                        <a:pt x="188" y="76"/>
                        <a:pt x="184" y="79"/>
                      </a:cubicBezTo>
                      <a:cubicBezTo>
                        <a:pt x="184" y="79"/>
                        <a:pt x="184" y="79"/>
                        <a:pt x="184" y="79"/>
                      </a:cubicBezTo>
                      <a:cubicBezTo>
                        <a:pt x="177" y="84"/>
                        <a:pt x="170" y="89"/>
                        <a:pt x="164" y="94"/>
                      </a:cubicBezTo>
                      <a:cubicBezTo>
                        <a:pt x="163" y="94"/>
                        <a:pt x="163" y="94"/>
                        <a:pt x="163" y="94"/>
                      </a:cubicBezTo>
                      <a:cubicBezTo>
                        <a:pt x="160" y="97"/>
                        <a:pt x="157" y="99"/>
                        <a:pt x="154" y="102"/>
                      </a:cubicBezTo>
                      <a:cubicBezTo>
                        <a:pt x="154" y="102"/>
                        <a:pt x="153" y="102"/>
                        <a:pt x="153" y="103"/>
                      </a:cubicBezTo>
                      <a:cubicBezTo>
                        <a:pt x="150" y="105"/>
                        <a:pt x="147" y="108"/>
                        <a:pt x="144" y="111"/>
                      </a:cubicBezTo>
                      <a:cubicBezTo>
                        <a:pt x="144" y="111"/>
                        <a:pt x="144" y="111"/>
                        <a:pt x="144" y="111"/>
                      </a:cubicBezTo>
                      <a:cubicBezTo>
                        <a:pt x="134" y="119"/>
                        <a:pt x="125" y="128"/>
                        <a:pt x="117" y="138"/>
                      </a:cubicBezTo>
                      <a:cubicBezTo>
                        <a:pt x="116" y="138"/>
                        <a:pt x="116" y="138"/>
                        <a:pt x="116" y="139"/>
                      </a:cubicBezTo>
                      <a:cubicBezTo>
                        <a:pt x="104" y="151"/>
                        <a:pt x="94" y="164"/>
                        <a:pt x="84" y="177"/>
                      </a:cubicBezTo>
                      <a:cubicBezTo>
                        <a:pt x="83" y="178"/>
                        <a:pt x="83" y="178"/>
                        <a:pt x="83" y="178"/>
                      </a:cubicBezTo>
                      <a:cubicBezTo>
                        <a:pt x="81" y="181"/>
                        <a:pt x="79" y="184"/>
                        <a:pt x="76" y="188"/>
                      </a:cubicBezTo>
                      <a:cubicBezTo>
                        <a:pt x="76" y="188"/>
                        <a:pt x="76" y="188"/>
                        <a:pt x="76" y="188"/>
                      </a:cubicBezTo>
                      <a:cubicBezTo>
                        <a:pt x="76" y="188"/>
                        <a:pt x="76" y="188"/>
                        <a:pt x="76" y="188"/>
                      </a:cubicBezTo>
                      <a:cubicBezTo>
                        <a:pt x="32" y="252"/>
                        <a:pt x="5" y="329"/>
                        <a:pt x="1" y="412"/>
                      </a:cubicBezTo>
                      <a:cubicBezTo>
                        <a:pt x="0" y="412"/>
                        <a:pt x="0" y="412"/>
                        <a:pt x="0" y="412"/>
                      </a:cubicBezTo>
                      <a:cubicBezTo>
                        <a:pt x="0" y="423"/>
                        <a:pt x="0" y="423"/>
                        <a:pt x="0" y="423"/>
                      </a:cubicBezTo>
                      <a:cubicBezTo>
                        <a:pt x="0" y="439"/>
                        <a:pt x="13" y="452"/>
                        <a:pt x="29" y="452"/>
                      </a:cubicBezTo>
                      <a:lnTo>
                        <a:pt x="41" y="452"/>
                      </a:lnTo>
                      <a:close/>
                      <a:moveTo>
                        <a:pt x="757" y="214"/>
                      </a:moveTo>
                      <a:cubicBezTo>
                        <a:pt x="796" y="271"/>
                        <a:pt x="820" y="339"/>
                        <a:pt x="823" y="412"/>
                      </a:cubicBezTo>
                      <a:cubicBezTo>
                        <a:pt x="668" y="412"/>
                        <a:pt x="668" y="412"/>
                        <a:pt x="668" y="412"/>
                      </a:cubicBezTo>
                      <a:cubicBezTo>
                        <a:pt x="667" y="358"/>
                        <a:pt x="660" y="306"/>
                        <a:pt x="648" y="258"/>
                      </a:cubicBezTo>
                      <a:cubicBezTo>
                        <a:pt x="693" y="247"/>
                        <a:pt x="730" y="231"/>
                        <a:pt x="757" y="214"/>
                      </a:cubicBezTo>
                      <a:close/>
                      <a:moveTo>
                        <a:pt x="579" y="69"/>
                      </a:moveTo>
                      <a:cubicBezTo>
                        <a:pt x="579" y="69"/>
                        <a:pt x="579" y="69"/>
                        <a:pt x="580" y="69"/>
                      </a:cubicBezTo>
                      <a:cubicBezTo>
                        <a:pt x="582" y="70"/>
                        <a:pt x="585" y="71"/>
                        <a:pt x="588" y="73"/>
                      </a:cubicBezTo>
                      <a:cubicBezTo>
                        <a:pt x="589" y="73"/>
                        <a:pt x="589" y="73"/>
                        <a:pt x="590" y="74"/>
                      </a:cubicBezTo>
                      <a:cubicBezTo>
                        <a:pt x="592" y="75"/>
                        <a:pt x="595" y="76"/>
                        <a:pt x="597" y="77"/>
                      </a:cubicBezTo>
                      <a:cubicBezTo>
                        <a:pt x="598" y="77"/>
                        <a:pt x="599" y="78"/>
                        <a:pt x="600" y="78"/>
                      </a:cubicBezTo>
                      <a:cubicBezTo>
                        <a:pt x="602" y="79"/>
                        <a:pt x="603" y="80"/>
                        <a:pt x="605" y="80"/>
                      </a:cubicBezTo>
                      <a:cubicBezTo>
                        <a:pt x="607" y="81"/>
                        <a:pt x="608" y="82"/>
                        <a:pt x="610" y="83"/>
                      </a:cubicBezTo>
                      <a:cubicBezTo>
                        <a:pt x="611" y="83"/>
                        <a:pt x="611" y="84"/>
                        <a:pt x="612" y="84"/>
                      </a:cubicBezTo>
                      <a:cubicBezTo>
                        <a:pt x="658" y="108"/>
                        <a:pt x="700" y="141"/>
                        <a:pt x="733" y="181"/>
                      </a:cubicBezTo>
                      <a:cubicBezTo>
                        <a:pt x="710" y="196"/>
                        <a:pt x="678" y="209"/>
                        <a:pt x="638" y="220"/>
                      </a:cubicBezTo>
                      <a:cubicBezTo>
                        <a:pt x="617" y="153"/>
                        <a:pt x="587" y="97"/>
                        <a:pt x="551" y="59"/>
                      </a:cubicBezTo>
                      <a:cubicBezTo>
                        <a:pt x="560" y="62"/>
                        <a:pt x="570" y="65"/>
                        <a:pt x="579" y="69"/>
                      </a:cubicBezTo>
                      <a:close/>
                      <a:moveTo>
                        <a:pt x="452" y="43"/>
                      </a:moveTo>
                      <a:cubicBezTo>
                        <a:pt x="493" y="52"/>
                        <a:pt x="533" y="88"/>
                        <a:pt x="564" y="146"/>
                      </a:cubicBezTo>
                      <a:cubicBezTo>
                        <a:pt x="578" y="171"/>
                        <a:pt x="589" y="199"/>
                        <a:pt x="599" y="229"/>
                      </a:cubicBezTo>
                      <a:cubicBezTo>
                        <a:pt x="556" y="237"/>
                        <a:pt x="506" y="243"/>
                        <a:pt x="452" y="244"/>
                      </a:cubicBezTo>
                      <a:lnTo>
                        <a:pt x="452" y="43"/>
                      </a:lnTo>
                      <a:close/>
                      <a:moveTo>
                        <a:pt x="452" y="284"/>
                      </a:moveTo>
                      <a:cubicBezTo>
                        <a:pt x="509" y="283"/>
                        <a:pt x="562" y="277"/>
                        <a:pt x="609" y="267"/>
                      </a:cubicBezTo>
                      <a:cubicBezTo>
                        <a:pt x="620" y="312"/>
                        <a:pt x="627" y="361"/>
                        <a:pt x="628" y="412"/>
                      </a:cubicBezTo>
                      <a:cubicBezTo>
                        <a:pt x="452" y="412"/>
                        <a:pt x="452" y="412"/>
                        <a:pt x="452" y="412"/>
                      </a:cubicBezTo>
                      <a:lnTo>
                        <a:pt x="452" y="284"/>
                      </a:lnTo>
                      <a:close/>
                      <a:moveTo>
                        <a:pt x="412" y="412"/>
                      </a:moveTo>
                      <a:cubicBezTo>
                        <a:pt x="237" y="412"/>
                        <a:pt x="237" y="412"/>
                        <a:pt x="237" y="412"/>
                      </a:cubicBezTo>
                      <a:cubicBezTo>
                        <a:pt x="238" y="361"/>
                        <a:pt x="244" y="312"/>
                        <a:pt x="255" y="267"/>
                      </a:cubicBezTo>
                      <a:cubicBezTo>
                        <a:pt x="302" y="277"/>
                        <a:pt x="356" y="283"/>
                        <a:pt x="412" y="284"/>
                      </a:cubicBezTo>
                      <a:lnTo>
                        <a:pt x="412" y="412"/>
                      </a:lnTo>
                      <a:close/>
                      <a:moveTo>
                        <a:pt x="412" y="43"/>
                      </a:moveTo>
                      <a:cubicBezTo>
                        <a:pt x="412" y="244"/>
                        <a:pt x="412" y="244"/>
                        <a:pt x="412" y="244"/>
                      </a:cubicBezTo>
                      <a:cubicBezTo>
                        <a:pt x="358" y="243"/>
                        <a:pt x="309" y="237"/>
                        <a:pt x="266" y="229"/>
                      </a:cubicBezTo>
                      <a:cubicBezTo>
                        <a:pt x="275" y="199"/>
                        <a:pt x="287" y="171"/>
                        <a:pt x="300" y="146"/>
                      </a:cubicBezTo>
                      <a:cubicBezTo>
                        <a:pt x="332" y="88"/>
                        <a:pt x="372" y="52"/>
                        <a:pt x="412" y="43"/>
                      </a:cubicBezTo>
                      <a:close/>
                      <a:moveTo>
                        <a:pt x="253" y="84"/>
                      </a:moveTo>
                      <a:cubicBezTo>
                        <a:pt x="253" y="84"/>
                        <a:pt x="254" y="83"/>
                        <a:pt x="254" y="83"/>
                      </a:cubicBezTo>
                      <a:cubicBezTo>
                        <a:pt x="256" y="82"/>
                        <a:pt x="258" y="81"/>
                        <a:pt x="260" y="80"/>
                      </a:cubicBezTo>
                      <a:cubicBezTo>
                        <a:pt x="261" y="80"/>
                        <a:pt x="263" y="79"/>
                        <a:pt x="264" y="78"/>
                      </a:cubicBezTo>
                      <a:cubicBezTo>
                        <a:pt x="265" y="78"/>
                        <a:pt x="267" y="77"/>
                        <a:pt x="268" y="77"/>
                      </a:cubicBezTo>
                      <a:cubicBezTo>
                        <a:pt x="270" y="76"/>
                        <a:pt x="272" y="75"/>
                        <a:pt x="274" y="74"/>
                      </a:cubicBezTo>
                      <a:cubicBezTo>
                        <a:pt x="275" y="73"/>
                        <a:pt x="276" y="73"/>
                        <a:pt x="276" y="73"/>
                      </a:cubicBezTo>
                      <a:cubicBezTo>
                        <a:pt x="279" y="71"/>
                        <a:pt x="282" y="70"/>
                        <a:pt x="285" y="69"/>
                      </a:cubicBezTo>
                      <a:cubicBezTo>
                        <a:pt x="285" y="69"/>
                        <a:pt x="285" y="69"/>
                        <a:pt x="285" y="69"/>
                      </a:cubicBezTo>
                      <a:cubicBezTo>
                        <a:pt x="295" y="65"/>
                        <a:pt x="304" y="62"/>
                        <a:pt x="314" y="59"/>
                      </a:cubicBezTo>
                      <a:cubicBezTo>
                        <a:pt x="277" y="97"/>
                        <a:pt x="247" y="153"/>
                        <a:pt x="227" y="220"/>
                      </a:cubicBezTo>
                      <a:cubicBezTo>
                        <a:pt x="187" y="209"/>
                        <a:pt x="154" y="196"/>
                        <a:pt x="131" y="181"/>
                      </a:cubicBezTo>
                      <a:cubicBezTo>
                        <a:pt x="165" y="141"/>
                        <a:pt x="206" y="108"/>
                        <a:pt x="253" y="84"/>
                      </a:cubicBezTo>
                      <a:close/>
                      <a:moveTo>
                        <a:pt x="107" y="214"/>
                      </a:moveTo>
                      <a:cubicBezTo>
                        <a:pt x="135" y="231"/>
                        <a:pt x="172" y="247"/>
                        <a:pt x="216" y="258"/>
                      </a:cubicBezTo>
                      <a:cubicBezTo>
                        <a:pt x="205" y="306"/>
                        <a:pt x="198" y="358"/>
                        <a:pt x="197" y="412"/>
                      </a:cubicBezTo>
                      <a:cubicBezTo>
                        <a:pt x="41" y="412"/>
                        <a:pt x="41" y="412"/>
                        <a:pt x="41" y="412"/>
                      </a:cubicBezTo>
                      <a:cubicBezTo>
                        <a:pt x="45" y="339"/>
                        <a:pt x="69" y="271"/>
                        <a:pt x="107" y="2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 name="Freeform 7"/>
                <p:cNvSpPr>
                  <a:spLocks/>
                </p:cNvSpPr>
                <p:nvPr/>
              </p:nvSpPr>
              <p:spPr bwMode="auto">
                <a:xfrm>
                  <a:off x="273843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 name="Freeform 8"/>
                <p:cNvSpPr>
                  <a:spLocks/>
                </p:cNvSpPr>
                <p:nvPr/>
              </p:nvSpPr>
              <p:spPr bwMode="auto">
                <a:xfrm>
                  <a:off x="2846388" y="2674938"/>
                  <a:ext cx="77788" cy="77788"/>
                </a:xfrm>
                <a:custGeom>
                  <a:avLst/>
                  <a:gdLst>
                    <a:gd name="T0" fmla="*/ 75 w 104"/>
                    <a:gd name="T1" fmla="*/ 105 h 105"/>
                    <a:gd name="T2" fmla="*/ 28 w 104"/>
                    <a:gd name="T3" fmla="*/ 105 h 105"/>
                    <a:gd name="T4" fmla="*/ 0 w 104"/>
                    <a:gd name="T5" fmla="*/ 76 h 105"/>
                    <a:gd name="T6" fmla="*/ 0 w 104"/>
                    <a:gd name="T7" fmla="*/ 29 h 105"/>
                    <a:gd name="T8" fmla="*/ 28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8" y="105"/>
                        <a:pt x="28" y="105"/>
                        <a:pt x="28" y="105"/>
                      </a:cubicBezTo>
                      <a:cubicBezTo>
                        <a:pt x="12" y="105"/>
                        <a:pt x="0" y="92"/>
                        <a:pt x="0" y="76"/>
                      </a:cubicBezTo>
                      <a:cubicBezTo>
                        <a:pt x="0" y="29"/>
                        <a:pt x="0" y="29"/>
                        <a:pt x="0" y="29"/>
                      </a:cubicBezTo>
                      <a:cubicBezTo>
                        <a:pt x="0" y="13"/>
                        <a:pt x="12" y="0"/>
                        <a:pt x="28"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 name="Freeform 9"/>
                <p:cNvSpPr>
                  <a:spLocks/>
                </p:cNvSpPr>
                <p:nvPr/>
              </p:nvSpPr>
              <p:spPr bwMode="auto">
                <a:xfrm>
                  <a:off x="295433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 name="Freeform 10"/>
                <p:cNvSpPr>
                  <a:spLocks/>
                </p:cNvSpPr>
                <p:nvPr/>
              </p:nvSpPr>
              <p:spPr bwMode="auto">
                <a:xfrm>
                  <a:off x="306228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 name="Freeform 11"/>
                <p:cNvSpPr>
                  <a:spLocks/>
                </p:cNvSpPr>
                <p:nvPr/>
              </p:nvSpPr>
              <p:spPr bwMode="auto">
                <a:xfrm>
                  <a:off x="3170238" y="2674938"/>
                  <a:ext cx="77788" cy="77788"/>
                </a:xfrm>
                <a:custGeom>
                  <a:avLst/>
                  <a:gdLst>
                    <a:gd name="T0" fmla="*/ 76 w 104"/>
                    <a:gd name="T1" fmla="*/ 105 h 105"/>
                    <a:gd name="T2" fmla="*/ 29 w 104"/>
                    <a:gd name="T3" fmla="*/ 105 h 105"/>
                    <a:gd name="T4" fmla="*/ 0 w 104"/>
                    <a:gd name="T5" fmla="*/ 76 h 105"/>
                    <a:gd name="T6" fmla="*/ 0 w 104"/>
                    <a:gd name="T7" fmla="*/ 29 h 105"/>
                    <a:gd name="T8" fmla="*/ 29 w 104"/>
                    <a:gd name="T9" fmla="*/ 0 h 105"/>
                    <a:gd name="T10" fmla="*/ 76 w 104"/>
                    <a:gd name="T11" fmla="*/ 0 h 105"/>
                    <a:gd name="T12" fmla="*/ 104 w 104"/>
                    <a:gd name="T13" fmla="*/ 29 h 105"/>
                    <a:gd name="T14" fmla="*/ 104 w 104"/>
                    <a:gd name="T15" fmla="*/ 76 h 105"/>
                    <a:gd name="T16" fmla="*/ 76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4" y="13"/>
                        <a:pt x="104" y="29"/>
                      </a:cubicBezTo>
                      <a:cubicBezTo>
                        <a:pt x="104" y="76"/>
                        <a:pt x="104" y="76"/>
                        <a:pt x="104" y="76"/>
                      </a:cubicBezTo>
                      <a:cubicBezTo>
                        <a:pt x="104"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 name="Freeform 12"/>
                <p:cNvSpPr>
                  <a:spLocks/>
                </p:cNvSpPr>
                <p:nvPr/>
              </p:nvSpPr>
              <p:spPr bwMode="auto">
                <a:xfrm>
                  <a:off x="327818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 name="Freeform 13"/>
                <p:cNvSpPr>
                  <a:spLocks/>
                </p:cNvSpPr>
                <p:nvPr/>
              </p:nvSpPr>
              <p:spPr bwMode="auto">
                <a:xfrm>
                  <a:off x="2789238" y="2776538"/>
                  <a:ext cx="65088" cy="65088"/>
                </a:xfrm>
                <a:custGeom>
                  <a:avLst/>
                  <a:gdLst>
                    <a:gd name="T0" fmla="*/ 58 w 87"/>
                    <a:gd name="T1" fmla="*/ 87 h 87"/>
                    <a:gd name="T2" fmla="*/ 28 w 87"/>
                    <a:gd name="T3" fmla="*/ 87 h 87"/>
                    <a:gd name="T4" fmla="*/ 0 w 87"/>
                    <a:gd name="T5" fmla="*/ 58 h 87"/>
                    <a:gd name="T6" fmla="*/ 0 w 87"/>
                    <a:gd name="T7" fmla="*/ 29 h 87"/>
                    <a:gd name="T8" fmla="*/ 28 w 87"/>
                    <a:gd name="T9" fmla="*/ 0 h 87"/>
                    <a:gd name="T10" fmla="*/ 58 w 87"/>
                    <a:gd name="T11" fmla="*/ 0 h 87"/>
                    <a:gd name="T12" fmla="*/ 87 w 87"/>
                    <a:gd name="T13" fmla="*/ 29 h 87"/>
                    <a:gd name="T14" fmla="*/ 87 w 87"/>
                    <a:gd name="T15" fmla="*/ 58 h 87"/>
                    <a:gd name="T16" fmla="*/ 58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8" y="87"/>
                      </a:moveTo>
                      <a:cubicBezTo>
                        <a:pt x="28" y="87"/>
                        <a:pt x="28" y="87"/>
                        <a:pt x="28" y="87"/>
                      </a:cubicBezTo>
                      <a:cubicBezTo>
                        <a:pt x="12" y="87"/>
                        <a:pt x="0" y="74"/>
                        <a:pt x="0" y="58"/>
                      </a:cubicBezTo>
                      <a:cubicBezTo>
                        <a:pt x="0" y="29"/>
                        <a:pt x="0" y="29"/>
                        <a:pt x="0" y="29"/>
                      </a:cubicBezTo>
                      <a:cubicBezTo>
                        <a:pt x="0" y="13"/>
                        <a:pt x="12" y="0"/>
                        <a:pt x="28" y="0"/>
                      </a:cubicBezTo>
                      <a:cubicBezTo>
                        <a:pt x="58" y="0"/>
                        <a:pt x="58" y="0"/>
                        <a:pt x="58" y="0"/>
                      </a:cubicBezTo>
                      <a:cubicBezTo>
                        <a:pt x="74" y="0"/>
                        <a:pt x="87" y="13"/>
                        <a:pt x="87" y="29"/>
                      </a:cubicBezTo>
                      <a:cubicBezTo>
                        <a:pt x="87" y="58"/>
                        <a:pt x="87" y="58"/>
                        <a:pt x="87" y="58"/>
                      </a:cubicBezTo>
                      <a:cubicBezTo>
                        <a:pt x="87" y="74"/>
                        <a:pt x="74" y="87"/>
                        <a:pt x="58"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 name="Freeform 14"/>
                <p:cNvSpPr>
                  <a:spLocks/>
                </p:cNvSpPr>
                <p:nvPr/>
              </p:nvSpPr>
              <p:spPr bwMode="auto">
                <a:xfrm>
                  <a:off x="2901950" y="2776538"/>
                  <a:ext cx="65088" cy="65088"/>
                </a:xfrm>
                <a:custGeom>
                  <a:avLst/>
                  <a:gdLst>
                    <a:gd name="T0" fmla="*/ 59 w 88"/>
                    <a:gd name="T1" fmla="*/ 87 h 87"/>
                    <a:gd name="T2" fmla="*/ 29 w 88"/>
                    <a:gd name="T3" fmla="*/ 87 h 87"/>
                    <a:gd name="T4" fmla="*/ 0 w 88"/>
                    <a:gd name="T5" fmla="*/ 58 h 87"/>
                    <a:gd name="T6" fmla="*/ 0 w 88"/>
                    <a:gd name="T7" fmla="*/ 29 h 87"/>
                    <a:gd name="T8" fmla="*/ 29 w 88"/>
                    <a:gd name="T9" fmla="*/ 0 h 87"/>
                    <a:gd name="T10" fmla="*/ 59 w 88"/>
                    <a:gd name="T11" fmla="*/ 0 h 87"/>
                    <a:gd name="T12" fmla="*/ 88 w 88"/>
                    <a:gd name="T13" fmla="*/ 29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9"/>
                        <a:pt x="0" y="29"/>
                        <a:pt x="0" y="29"/>
                      </a:cubicBezTo>
                      <a:cubicBezTo>
                        <a:pt x="0" y="13"/>
                        <a:pt x="13" y="0"/>
                        <a:pt x="29" y="0"/>
                      </a:cubicBezTo>
                      <a:cubicBezTo>
                        <a:pt x="59" y="0"/>
                        <a:pt x="59" y="0"/>
                        <a:pt x="59" y="0"/>
                      </a:cubicBezTo>
                      <a:cubicBezTo>
                        <a:pt x="75" y="0"/>
                        <a:pt x="88" y="13"/>
                        <a:pt x="88" y="29"/>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8" name="Freeform 15"/>
                <p:cNvSpPr>
                  <a:spLocks/>
                </p:cNvSpPr>
                <p:nvPr/>
              </p:nvSpPr>
              <p:spPr bwMode="auto">
                <a:xfrm>
                  <a:off x="3014663"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9" name="Freeform 16"/>
                <p:cNvSpPr>
                  <a:spLocks/>
                </p:cNvSpPr>
                <p:nvPr/>
              </p:nvSpPr>
              <p:spPr bwMode="auto">
                <a:xfrm>
                  <a:off x="3127375"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0" name="Freeform 17"/>
                <p:cNvSpPr>
                  <a:spLocks/>
                </p:cNvSpPr>
                <p:nvPr/>
              </p:nvSpPr>
              <p:spPr bwMode="auto">
                <a:xfrm>
                  <a:off x="3240088" y="2778125"/>
                  <a:ext cx="65088" cy="63500"/>
                </a:xfrm>
                <a:custGeom>
                  <a:avLst/>
                  <a:gdLst>
                    <a:gd name="T0" fmla="*/ 59 w 87"/>
                    <a:gd name="T1" fmla="*/ 87 h 87"/>
                    <a:gd name="T2" fmla="*/ 29 w 87"/>
                    <a:gd name="T3" fmla="*/ 87 h 87"/>
                    <a:gd name="T4" fmla="*/ 0 w 87"/>
                    <a:gd name="T5" fmla="*/ 58 h 87"/>
                    <a:gd name="T6" fmla="*/ 0 w 87"/>
                    <a:gd name="T7" fmla="*/ 28 h 87"/>
                    <a:gd name="T8" fmla="*/ 29 w 87"/>
                    <a:gd name="T9" fmla="*/ 0 h 87"/>
                    <a:gd name="T10" fmla="*/ 59 w 87"/>
                    <a:gd name="T11" fmla="*/ 0 h 87"/>
                    <a:gd name="T12" fmla="*/ 87 w 87"/>
                    <a:gd name="T13" fmla="*/ 28 h 87"/>
                    <a:gd name="T14" fmla="*/ 87 w 87"/>
                    <a:gd name="T15" fmla="*/ 58 h 87"/>
                    <a:gd name="T16" fmla="*/ 59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7" y="13"/>
                        <a:pt x="87" y="28"/>
                      </a:cubicBezTo>
                      <a:cubicBezTo>
                        <a:pt x="87" y="58"/>
                        <a:pt x="87" y="58"/>
                        <a:pt x="87" y="58"/>
                      </a:cubicBezTo>
                      <a:cubicBezTo>
                        <a:pt x="87"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 name="Freeform 18"/>
                <p:cNvSpPr>
                  <a:spLocks/>
                </p:cNvSpPr>
                <p:nvPr/>
              </p:nvSpPr>
              <p:spPr bwMode="auto">
                <a:xfrm>
                  <a:off x="2841625" y="2862263"/>
                  <a:ext cx="50800" cy="52388"/>
                </a:xfrm>
                <a:custGeom>
                  <a:avLst/>
                  <a:gdLst>
                    <a:gd name="T0" fmla="*/ 41 w 70"/>
                    <a:gd name="T1" fmla="*/ 70 h 70"/>
                    <a:gd name="T2" fmla="*/ 28 w 70"/>
                    <a:gd name="T3" fmla="*/ 70 h 70"/>
                    <a:gd name="T4" fmla="*/ 0 w 70"/>
                    <a:gd name="T5" fmla="*/ 41 h 70"/>
                    <a:gd name="T6" fmla="*/ 0 w 70"/>
                    <a:gd name="T7" fmla="*/ 29 h 70"/>
                    <a:gd name="T8" fmla="*/ 28 w 70"/>
                    <a:gd name="T9" fmla="*/ 0 h 70"/>
                    <a:gd name="T10" fmla="*/ 41 w 70"/>
                    <a:gd name="T11" fmla="*/ 0 h 70"/>
                    <a:gd name="T12" fmla="*/ 70 w 70"/>
                    <a:gd name="T13" fmla="*/ 29 h 70"/>
                    <a:gd name="T14" fmla="*/ 70 w 70"/>
                    <a:gd name="T15" fmla="*/ 41 h 70"/>
                    <a:gd name="T16" fmla="*/ 41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70" y="13"/>
                        <a:pt x="70" y="29"/>
                      </a:cubicBezTo>
                      <a:cubicBezTo>
                        <a:pt x="70" y="41"/>
                        <a:pt x="70" y="41"/>
                        <a:pt x="70" y="41"/>
                      </a:cubicBezTo>
                      <a:cubicBezTo>
                        <a:pt x="70" y="57"/>
                        <a:pt x="57"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2" name="Freeform 19"/>
                <p:cNvSpPr>
                  <a:spLocks/>
                </p:cNvSpPr>
                <p:nvPr/>
              </p:nvSpPr>
              <p:spPr bwMode="auto">
                <a:xfrm>
                  <a:off x="2962275" y="2862263"/>
                  <a:ext cx="50800" cy="52388"/>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69" y="13"/>
                        <a:pt x="69" y="29"/>
                      </a:cubicBezTo>
                      <a:cubicBezTo>
                        <a:pt x="69" y="41"/>
                        <a:pt x="69" y="41"/>
                        <a:pt x="69" y="41"/>
                      </a:cubicBezTo>
                      <a:cubicBezTo>
                        <a:pt x="69" y="57"/>
                        <a:pt x="57"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4" name="Freeform 20"/>
                <p:cNvSpPr>
                  <a:spLocks/>
                </p:cNvSpPr>
                <p:nvPr/>
              </p:nvSpPr>
              <p:spPr bwMode="auto">
                <a:xfrm>
                  <a:off x="3081338" y="2863850"/>
                  <a:ext cx="52388" cy="50800"/>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2" y="70"/>
                        <a:pt x="0" y="57"/>
                        <a:pt x="0" y="41"/>
                      </a:cubicBezTo>
                      <a:cubicBezTo>
                        <a:pt x="0" y="29"/>
                        <a:pt x="0" y="29"/>
                        <a:pt x="0" y="29"/>
                      </a:cubicBezTo>
                      <a:cubicBezTo>
                        <a:pt x="0" y="13"/>
                        <a:pt x="12" y="0"/>
                        <a:pt x="28" y="0"/>
                      </a:cubicBezTo>
                      <a:cubicBezTo>
                        <a:pt x="41" y="0"/>
                        <a:pt x="41" y="0"/>
                        <a:pt x="41" y="0"/>
                      </a:cubicBezTo>
                      <a:cubicBezTo>
                        <a:pt x="56" y="0"/>
                        <a:pt x="69" y="13"/>
                        <a:pt x="69" y="29"/>
                      </a:cubicBezTo>
                      <a:cubicBezTo>
                        <a:pt x="69" y="41"/>
                        <a:pt x="69" y="41"/>
                        <a:pt x="69" y="41"/>
                      </a:cubicBezTo>
                      <a:cubicBezTo>
                        <a:pt x="69" y="57"/>
                        <a:pt x="56"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5" name="Freeform 21"/>
                <p:cNvSpPr>
                  <a:spLocks/>
                </p:cNvSpPr>
                <p:nvPr/>
              </p:nvSpPr>
              <p:spPr bwMode="auto">
                <a:xfrm>
                  <a:off x="3201988" y="2863850"/>
                  <a:ext cx="50800" cy="50800"/>
                </a:xfrm>
                <a:custGeom>
                  <a:avLst/>
                  <a:gdLst>
                    <a:gd name="T0" fmla="*/ 42 w 70"/>
                    <a:gd name="T1" fmla="*/ 70 h 70"/>
                    <a:gd name="T2" fmla="*/ 29 w 70"/>
                    <a:gd name="T3" fmla="*/ 70 h 70"/>
                    <a:gd name="T4" fmla="*/ 0 w 70"/>
                    <a:gd name="T5" fmla="*/ 41 h 70"/>
                    <a:gd name="T6" fmla="*/ 0 w 70"/>
                    <a:gd name="T7" fmla="*/ 29 h 70"/>
                    <a:gd name="T8" fmla="*/ 29 w 70"/>
                    <a:gd name="T9" fmla="*/ 0 h 70"/>
                    <a:gd name="T10" fmla="*/ 42 w 70"/>
                    <a:gd name="T11" fmla="*/ 0 h 70"/>
                    <a:gd name="T12" fmla="*/ 70 w 70"/>
                    <a:gd name="T13" fmla="*/ 29 h 70"/>
                    <a:gd name="T14" fmla="*/ 70 w 70"/>
                    <a:gd name="T15" fmla="*/ 41 h 70"/>
                    <a:gd name="T16" fmla="*/ 42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2" y="70"/>
                      </a:moveTo>
                      <a:cubicBezTo>
                        <a:pt x="29" y="70"/>
                        <a:pt x="29" y="70"/>
                        <a:pt x="29" y="70"/>
                      </a:cubicBezTo>
                      <a:cubicBezTo>
                        <a:pt x="13" y="70"/>
                        <a:pt x="0" y="57"/>
                        <a:pt x="0" y="41"/>
                      </a:cubicBezTo>
                      <a:cubicBezTo>
                        <a:pt x="0" y="29"/>
                        <a:pt x="0" y="29"/>
                        <a:pt x="0" y="29"/>
                      </a:cubicBezTo>
                      <a:cubicBezTo>
                        <a:pt x="0" y="13"/>
                        <a:pt x="13" y="0"/>
                        <a:pt x="29" y="0"/>
                      </a:cubicBezTo>
                      <a:cubicBezTo>
                        <a:pt x="42" y="0"/>
                        <a:pt x="42" y="0"/>
                        <a:pt x="42" y="0"/>
                      </a:cubicBezTo>
                      <a:cubicBezTo>
                        <a:pt x="57" y="0"/>
                        <a:pt x="70" y="13"/>
                        <a:pt x="70" y="29"/>
                      </a:cubicBezTo>
                      <a:cubicBezTo>
                        <a:pt x="70" y="41"/>
                        <a:pt x="70" y="41"/>
                        <a:pt x="70" y="41"/>
                      </a:cubicBezTo>
                      <a:cubicBezTo>
                        <a:pt x="70" y="57"/>
                        <a:pt x="57" y="70"/>
                        <a:pt x="4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28" name="Group 27">
            <a:extLst>
              <a:ext uri="{FF2B5EF4-FFF2-40B4-BE49-F238E27FC236}">
                <a16:creationId xmlns:a16="http://schemas.microsoft.com/office/drawing/2014/main" id="{D509A774-3AF6-49E0-B164-3495FD8AB9F8}"/>
              </a:ext>
            </a:extLst>
          </p:cNvPr>
          <p:cNvGrpSpPr/>
          <p:nvPr/>
        </p:nvGrpSpPr>
        <p:grpSpPr>
          <a:xfrm>
            <a:off x="485585" y="710972"/>
            <a:ext cx="457390" cy="457390"/>
            <a:chOff x="485585" y="485585"/>
            <a:chExt cx="457390" cy="457390"/>
          </a:xfrm>
        </p:grpSpPr>
        <p:sp>
          <p:nvSpPr>
            <p:cNvPr id="5" name="Oval 4">
              <a:extLst>
                <a:ext uri="{FF2B5EF4-FFF2-40B4-BE49-F238E27FC236}">
                  <a16:creationId xmlns:a16="http://schemas.microsoft.com/office/drawing/2014/main" id="{61C01907-C391-464F-908A-D62C0216549E}"/>
                </a:ext>
              </a:extLst>
            </p:cNvPr>
            <p:cNvSpPr/>
            <p:nvPr/>
          </p:nvSpPr>
          <p:spPr>
            <a:xfrm>
              <a:off x="485585" y="485585"/>
              <a:ext cx="457390" cy="4573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56" name="Group 55"/>
            <p:cNvGrpSpPr>
              <a:grpSpLocks noChangeAspect="1"/>
            </p:cNvGrpSpPr>
            <p:nvPr/>
          </p:nvGrpSpPr>
          <p:grpSpPr>
            <a:xfrm>
              <a:off x="553885" y="555835"/>
              <a:ext cx="318407" cy="318194"/>
              <a:chOff x="2474271" y="-1836096"/>
              <a:chExt cx="2363788" cy="2362200"/>
            </a:xfrm>
          </p:grpSpPr>
          <p:sp>
            <p:nvSpPr>
              <p:cNvPr id="52" name="Oval 36"/>
              <p:cNvSpPr>
                <a:spLocks noChangeArrowheads="1"/>
              </p:cNvSpPr>
              <p:nvPr/>
            </p:nvSpPr>
            <p:spPr bwMode="auto">
              <a:xfrm>
                <a:off x="2474271" y="-1836096"/>
                <a:ext cx="2363788" cy="2362200"/>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 name="Freeform 35"/>
              <p:cNvSpPr>
                <a:spLocks/>
              </p:cNvSpPr>
              <p:nvPr/>
            </p:nvSpPr>
            <p:spPr bwMode="auto">
              <a:xfrm>
                <a:off x="2658418" y="-1013772"/>
                <a:ext cx="2163761" cy="1539876"/>
              </a:xfrm>
              <a:custGeom>
                <a:avLst/>
                <a:gdLst>
                  <a:gd name="T0" fmla="*/ 574 w 574"/>
                  <a:gd name="T1" fmla="*/ 141 h 409"/>
                  <a:gd name="T2" fmla="*/ 527 w 574"/>
                  <a:gd name="T3" fmla="*/ 94 h 409"/>
                  <a:gd name="T4" fmla="*/ 507 w 574"/>
                  <a:gd name="T5" fmla="*/ 66 h 409"/>
                  <a:gd name="T6" fmla="*/ 505 w 574"/>
                  <a:gd name="T7" fmla="*/ 63 h 409"/>
                  <a:gd name="T8" fmla="*/ 501 w 574"/>
                  <a:gd name="T9" fmla="*/ 61 h 409"/>
                  <a:gd name="T10" fmla="*/ 499 w 574"/>
                  <a:gd name="T11" fmla="*/ 59 h 409"/>
                  <a:gd name="T12" fmla="*/ 494 w 574"/>
                  <a:gd name="T13" fmla="*/ 57 h 409"/>
                  <a:gd name="T14" fmla="*/ 493 w 574"/>
                  <a:gd name="T15" fmla="*/ 56 h 409"/>
                  <a:gd name="T16" fmla="*/ 487 w 574"/>
                  <a:gd name="T17" fmla="*/ 54 h 409"/>
                  <a:gd name="T18" fmla="*/ 485 w 574"/>
                  <a:gd name="T19" fmla="*/ 53 h 409"/>
                  <a:gd name="T20" fmla="*/ 482 w 574"/>
                  <a:gd name="T21" fmla="*/ 49 h 409"/>
                  <a:gd name="T22" fmla="*/ 479 w 574"/>
                  <a:gd name="T23" fmla="*/ 45 h 409"/>
                  <a:gd name="T24" fmla="*/ 479 w 574"/>
                  <a:gd name="T25" fmla="*/ 45 h 409"/>
                  <a:gd name="T26" fmla="*/ 475 w 574"/>
                  <a:gd name="T27" fmla="*/ 41 h 409"/>
                  <a:gd name="T28" fmla="*/ 475 w 574"/>
                  <a:gd name="T29" fmla="*/ 41 h 409"/>
                  <a:gd name="T30" fmla="*/ 471 w 574"/>
                  <a:gd name="T31" fmla="*/ 37 h 409"/>
                  <a:gd name="T32" fmla="*/ 471 w 574"/>
                  <a:gd name="T33" fmla="*/ 37 h 409"/>
                  <a:gd name="T34" fmla="*/ 466 w 574"/>
                  <a:gd name="T35" fmla="*/ 33 h 409"/>
                  <a:gd name="T36" fmla="*/ 399 w 574"/>
                  <a:gd name="T37" fmla="*/ 10 h 409"/>
                  <a:gd name="T38" fmla="*/ 327 w 574"/>
                  <a:gd name="T39" fmla="*/ 38 h 409"/>
                  <a:gd name="T40" fmla="*/ 265 w 574"/>
                  <a:gd name="T41" fmla="*/ 0 h 409"/>
                  <a:gd name="T42" fmla="*/ 256 w 574"/>
                  <a:gd name="T43" fmla="*/ 1 h 409"/>
                  <a:gd name="T44" fmla="*/ 253 w 574"/>
                  <a:gd name="T45" fmla="*/ 1 h 409"/>
                  <a:gd name="T46" fmla="*/ 251 w 574"/>
                  <a:gd name="T47" fmla="*/ 1 h 409"/>
                  <a:gd name="T48" fmla="*/ 249 w 574"/>
                  <a:gd name="T49" fmla="*/ 2 h 409"/>
                  <a:gd name="T50" fmla="*/ 247 w 574"/>
                  <a:gd name="T51" fmla="*/ 3 h 409"/>
                  <a:gd name="T52" fmla="*/ 244 w 574"/>
                  <a:gd name="T53" fmla="*/ 3 h 409"/>
                  <a:gd name="T54" fmla="*/ 242 w 574"/>
                  <a:gd name="T55" fmla="*/ 4 h 409"/>
                  <a:gd name="T56" fmla="*/ 240 w 574"/>
                  <a:gd name="T57" fmla="*/ 5 h 409"/>
                  <a:gd name="T58" fmla="*/ 238 w 574"/>
                  <a:gd name="T59" fmla="*/ 5 h 409"/>
                  <a:gd name="T60" fmla="*/ 236 w 574"/>
                  <a:gd name="T61" fmla="*/ 6 h 409"/>
                  <a:gd name="T62" fmla="*/ 234 w 574"/>
                  <a:gd name="T63" fmla="*/ 7 h 409"/>
                  <a:gd name="T64" fmla="*/ 232 w 574"/>
                  <a:gd name="T65" fmla="*/ 8 h 409"/>
                  <a:gd name="T66" fmla="*/ 230 w 574"/>
                  <a:gd name="T67" fmla="*/ 10 h 409"/>
                  <a:gd name="T68" fmla="*/ 228 w 574"/>
                  <a:gd name="T69" fmla="*/ 11 h 409"/>
                  <a:gd name="T70" fmla="*/ 225 w 574"/>
                  <a:gd name="T71" fmla="*/ 13 h 409"/>
                  <a:gd name="T72" fmla="*/ 223 w 574"/>
                  <a:gd name="T73" fmla="*/ 14 h 409"/>
                  <a:gd name="T74" fmla="*/ 221 w 574"/>
                  <a:gd name="T75" fmla="*/ 16 h 409"/>
                  <a:gd name="T76" fmla="*/ 220 w 574"/>
                  <a:gd name="T77" fmla="*/ 17 h 409"/>
                  <a:gd name="T78" fmla="*/ 218 w 574"/>
                  <a:gd name="T79" fmla="*/ 19 h 409"/>
                  <a:gd name="T80" fmla="*/ 216 w 574"/>
                  <a:gd name="T81" fmla="*/ 20 h 409"/>
                  <a:gd name="T82" fmla="*/ 215 w 574"/>
                  <a:gd name="T83" fmla="*/ 22 h 409"/>
                  <a:gd name="T84" fmla="*/ 213 w 574"/>
                  <a:gd name="T85" fmla="*/ 23 h 409"/>
                  <a:gd name="T86" fmla="*/ 212 w 574"/>
                  <a:gd name="T87" fmla="*/ 25 h 409"/>
                  <a:gd name="T88" fmla="*/ 210 w 574"/>
                  <a:gd name="T89" fmla="*/ 26 h 409"/>
                  <a:gd name="T90" fmla="*/ 209 w 574"/>
                  <a:gd name="T91" fmla="*/ 29 h 409"/>
                  <a:gd name="T92" fmla="*/ 208 w 574"/>
                  <a:gd name="T93" fmla="*/ 30 h 409"/>
                  <a:gd name="T94" fmla="*/ 206 w 574"/>
                  <a:gd name="T95" fmla="*/ 33 h 409"/>
                  <a:gd name="T96" fmla="*/ 205 w 574"/>
                  <a:gd name="T97" fmla="*/ 34 h 409"/>
                  <a:gd name="T98" fmla="*/ 203 w 574"/>
                  <a:gd name="T99" fmla="*/ 38 h 409"/>
                  <a:gd name="T100" fmla="*/ 131 w 574"/>
                  <a:gd name="T101" fmla="*/ 10 h 409"/>
                  <a:gd name="T102" fmla="*/ 45 w 574"/>
                  <a:gd name="T103" fmla="*/ 53 h 409"/>
                  <a:gd name="T104" fmla="*/ 39 w 574"/>
                  <a:gd name="T105" fmla="*/ 55 h 409"/>
                  <a:gd name="T106" fmla="*/ 38 w 574"/>
                  <a:gd name="T107" fmla="*/ 56 h 409"/>
                  <a:gd name="T108" fmla="*/ 33 w 574"/>
                  <a:gd name="T109" fmla="*/ 58 h 409"/>
                  <a:gd name="T110" fmla="*/ 32 w 574"/>
                  <a:gd name="T111" fmla="*/ 59 h 409"/>
                  <a:gd name="T112" fmla="*/ 21 w 574"/>
                  <a:gd name="T113" fmla="*/ 67 h 409"/>
                  <a:gd name="T114" fmla="*/ 0 w 574"/>
                  <a:gd name="T115" fmla="*/ 116 h 409"/>
                  <a:gd name="T116" fmla="*/ 45 w 574"/>
                  <a:gd name="T117" fmla="*/ 180 h 409"/>
                  <a:gd name="T118" fmla="*/ 75 w 574"/>
                  <a:gd name="T119" fmla="*/ 207 h 409"/>
                  <a:gd name="T120" fmla="*/ 277 w 574"/>
                  <a:gd name="T121" fmla="*/ 409 h 409"/>
                  <a:gd name="T122" fmla="*/ 574 w 574"/>
                  <a:gd name="T123" fmla="*/ 14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4" h="409">
                    <a:moveTo>
                      <a:pt x="574" y="141"/>
                    </a:moveTo>
                    <a:cubicBezTo>
                      <a:pt x="527" y="94"/>
                      <a:pt x="527" y="94"/>
                      <a:pt x="527" y="94"/>
                    </a:cubicBezTo>
                    <a:cubicBezTo>
                      <a:pt x="523" y="83"/>
                      <a:pt x="516" y="73"/>
                      <a:pt x="507" y="66"/>
                    </a:cubicBezTo>
                    <a:cubicBezTo>
                      <a:pt x="506" y="65"/>
                      <a:pt x="505" y="64"/>
                      <a:pt x="505" y="63"/>
                    </a:cubicBezTo>
                    <a:cubicBezTo>
                      <a:pt x="504" y="63"/>
                      <a:pt x="502" y="62"/>
                      <a:pt x="501" y="61"/>
                    </a:cubicBezTo>
                    <a:cubicBezTo>
                      <a:pt x="500" y="60"/>
                      <a:pt x="500" y="60"/>
                      <a:pt x="499" y="59"/>
                    </a:cubicBezTo>
                    <a:cubicBezTo>
                      <a:pt x="497" y="58"/>
                      <a:pt x="496" y="58"/>
                      <a:pt x="494" y="57"/>
                    </a:cubicBezTo>
                    <a:cubicBezTo>
                      <a:pt x="494" y="57"/>
                      <a:pt x="493" y="56"/>
                      <a:pt x="493" y="56"/>
                    </a:cubicBezTo>
                    <a:cubicBezTo>
                      <a:pt x="491" y="55"/>
                      <a:pt x="489" y="54"/>
                      <a:pt x="487" y="54"/>
                    </a:cubicBezTo>
                    <a:cubicBezTo>
                      <a:pt x="486" y="53"/>
                      <a:pt x="486" y="53"/>
                      <a:pt x="485" y="53"/>
                    </a:cubicBezTo>
                    <a:cubicBezTo>
                      <a:pt x="484" y="52"/>
                      <a:pt x="483" y="51"/>
                      <a:pt x="482" y="49"/>
                    </a:cubicBezTo>
                    <a:cubicBezTo>
                      <a:pt x="481" y="48"/>
                      <a:pt x="480" y="47"/>
                      <a:pt x="479" y="45"/>
                    </a:cubicBezTo>
                    <a:cubicBezTo>
                      <a:pt x="479" y="45"/>
                      <a:pt x="479" y="45"/>
                      <a:pt x="479" y="45"/>
                    </a:cubicBezTo>
                    <a:cubicBezTo>
                      <a:pt x="477" y="44"/>
                      <a:pt x="476" y="42"/>
                      <a:pt x="475" y="41"/>
                    </a:cubicBezTo>
                    <a:cubicBezTo>
                      <a:pt x="475" y="41"/>
                      <a:pt x="475" y="41"/>
                      <a:pt x="475" y="41"/>
                    </a:cubicBezTo>
                    <a:cubicBezTo>
                      <a:pt x="473" y="39"/>
                      <a:pt x="472" y="38"/>
                      <a:pt x="471" y="37"/>
                    </a:cubicBezTo>
                    <a:cubicBezTo>
                      <a:pt x="471" y="37"/>
                      <a:pt x="471" y="37"/>
                      <a:pt x="471" y="37"/>
                    </a:cubicBezTo>
                    <a:cubicBezTo>
                      <a:pt x="469" y="36"/>
                      <a:pt x="468" y="34"/>
                      <a:pt x="466" y="33"/>
                    </a:cubicBezTo>
                    <a:cubicBezTo>
                      <a:pt x="448" y="18"/>
                      <a:pt x="425" y="10"/>
                      <a:pt x="399" y="10"/>
                    </a:cubicBezTo>
                    <a:cubicBezTo>
                      <a:pt x="372" y="10"/>
                      <a:pt x="346" y="20"/>
                      <a:pt x="327" y="38"/>
                    </a:cubicBezTo>
                    <a:cubicBezTo>
                      <a:pt x="316" y="15"/>
                      <a:pt x="292" y="0"/>
                      <a:pt x="265" y="0"/>
                    </a:cubicBezTo>
                    <a:cubicBezTo>
                      <a:pt x="262" y="0"/>
                      <a:pt x="259" y="0"/>
                      <a:pt x="256" y="1"/>
                    </a:cubicBezTo>
                    <a:cubicBezTo>
                      <a:pt x="255" y="1"/>
                      <a:pt x="254" y="1"/>
                      <a:pt x="253" y="1"/>
                    </a:cubicBezTo>
                    <a:cubicBezTo>
                      <a:pt x="252" y="1"/>
                      <a:pt x="252" y="1"/>
                      <a:pt x="251" y="1"/>
                    </a:cubicBezTo>
                    <a:cubicBezTo>
                      <a:pt x="250" y="2"/>
                      <a:pt x="249" y="2"/>
                      <a:pt x="249" y="2"/>
                    </a:cubicBezTo>
                    <a:cubicBezTo>
                      <a:pt x="248" y="2"/>
                      <a:pt x="247" y="2"/>
                      <a:pt x="247" y="3"/>
                    </a:cubicBezTo>
                    <a:cubicBezTo>
                      <a:pt x="246" y="3"/>
                      <a:pt x="245" y="3"/>
                      <a:pt x="244" y="3"/>
                    </a:cubicBezTo>
                    <a:cubicBezTo>
                      <a:pt x="244" y="3"/>
                      <a:pt x="243" y="4"/>
                      <a:pt x="242" y="4"/>
                    </a:cubicBezTo>
                    <a:cubicBezTo>
                      <a:pt x="242" y="4"/>
                      <a:pt x="241" y="4"/>
                      <a:pt x="240" y="5"/>
                    </a:cubicBezTo>
                    <a:cubicBezTo>
                      <a:pt x="239" y="5"/>
                      <a:pt x="239" y="5"/>
                      <a:pt x="238" y="5"/>
                    </a:cubicBezTo>
                    <a:cubicBezTo>
                      <a:pt x="237" y="6"/>
                      <a:pt x="237" y="6"/>
                      <a:pt x="236" y="6"/>
                    </a:cubicBezTo>
                    <a:cubicBezTo>
                      <a:pt x="235" y="7"/>
                      <a:pt x="235" y="7"/>
                      <a:pt x="234" y="7"/>
                    </a:cubicBezTo>
                    <a:cubicBezTo>
                      <a:pt x="233" y="8"/>
                      <a:pt x="233" y="8"/>
                      <a:pt x="232" y="8"/>
                    </a:cubicBezTo>
                    <a:cubicBezTo>
                      <a:pt x="231" y="9"/>
                      <a:pt x="231" y="9"/>
                      <a:pt x="230" y="10"/>
                    </a:cubicBezTo>
                    <a:cubicBezTo>
                      <a:pt x="229" y="10"/>
                      <a:pt x="229" y="10"/>
                      <a:pt x="228" y="11"/>
                    </a:cubicBezTo>
                    <a:cubicBezTo>
                      <a:pt x="227" y="11"/>
                      <a:pt x="226" y="12"/>
                      <a:pt x="225" y="13"/>
                    </a:cubicBezTo>
                    <a:cubicBezTo>
                      <a:pt x="224" y="13"/>
                      <a:pt x="224" y="14"/>
                      <a:pt x="223" y="14"/>
                    </a:cubicBezTo>
                    <a:cubicBezTo>
                      <a:pt x="223" y="15"/>
                      <a:pt x="222" y="15"/>
                      <a:pt x="221" y="16"/>
                    </a:cubicBezTo>
                    <a:cubicBezTo>
                      <a:pt x="221" y="16"/>
                      <a:pt x="220" y="16"/>
                      <a:pt x="220" y="17"/>
                    </a:cubicBezTo>
                    <a:cubicBezTo>
                      <a:pt x="219" y="17"/>
                      <a:pt x="218" y="18"/>
                      <a:pt x="218" y="19"/>
                    </a:cubicBezTo>
                    <a:cubicBezTo>
                      <a:pt x="217" y="19"/>
                      <a:pt x="217" y="19"/>
                      <a:pt x="216" y="20"/>
                    </a:cubicBezTo>
                    <a:cubicBezTo>
                      <a:pt x="216" y="21"/>
                      <a:pt x="215" y="21"/>
                      <a:pt x="215" y="22"/>
                    </a:cubicBezTo>
                    <a:cubicBezTo>
                      <a:pt x="214" y="22"/>
                      <a:pt x="214" y="23"/>
                      <a:pt x="213" y="23"/>
                    </a:cubicBezTo>
                    <a:cubicBezTo>
                      <a:pt x="213" y="24"/>
                      <a:pt x="212" y="24"/>
                      <a:pt x="212" y="25"/>
                    </a:cubicBezTo>
                    <a:cubicBezTo>
                      <a:pt x="211" y="26"/>
                      <a:pt x="211" y="26"/>
                      <a:pt x="210" y="26"/>
                    </a:cubicBezTo>
                    <a:cubicBezTo>
                      <a:pt x="210" y="27"/>
                      <a:pt x="209" y="28"/>
                      <a:pt x="209" y="29"/>
                    </a:cubicBezTo>
                    <a:cubicBezTo>
                      <a:pt x="208" y="29"/>
                      <a:pt x="208" y="30"/>
                      <a:pt x="208" y="30"/>
                    </a:cubicBezTo>
                    <a:cubicBezTo>
                      <a:pt x="207" y="31"/>
                      <a:pt x="207" y="32"/>
                      <a:pt x="206" y="33"/>
                    </a:cubicBezTo>
                    <a:cubicBezTo>
                      <a:pt x="206" y="33"/>
                      <a:pt x="206" y="33"/>
                      <a:pt x="205" y="34"/>
                    </a:cubicBezTo>
                    <a:cubicBezTo>
                      <a:pt x="205" y="35"/>
                      <a:pt x="204" y="36"/>
                      <a:pt x="203" y="38"/>
                    </a:cubicBezTo>
                    <a:cubicBezTo>
                      <a:pt x="184" y="20"/>
                      <a:pt x="159" y="10"/>
                      <a:pt x="131" y="10"/>
                    </a:cubicBezTo>
                    <a:cubicBezTo>
                      <a:pt x="96" y="10"/>
                      <a:pt x="65" y="27"/>
                      <a:pt x="45" y="53"/>
                    </a:cubicBezTo>
                    <a:cubicBezTo>
                      <a:pt x="43" y="53"/>
                      <a:pt x="41" y="54"/>
                      <a:pt x="39" y="55"/>
                    </a:cubicBezTo>
                    <a:cubicBezTo>
                      <a:pt x="39" y="55"/>
                      <a:pt x="38" y="56"/>
                      <a:pt x="38" y="56"/>
                    </a:cubicBezTo>
                    <a:cubicBezTo>
                      <a:pt x="36" y="57"/>
                      <a:pt x="35" y="57"/>
                      <a:pt x="33" y="58"/>
                    </a:cubicBezTo>
                    <a:cubicBezTo>
                      <a:pt x="33" y="59"/>
                      <a:pt x="33" y="59"/>
                      <a:pt x="32" y="59"/>
                    </a:cubicBezTo>
                    <a:cubicBezTo>
                      <a:pt x="28" y="61"/>
                      <a:pt x="25" y="64"/>
                      <a:pt x="21" y="67"/>
                    </a:cubicBezTo>
                    <a:cubicBezTo>
                      <a:pt x="8" y="79"/>
                      <a:pt x="0" y="97"/>
                      <a:pt x="0" y="116"/>
                    </a:cubicBezTo>
                    <a:cubicBezTo>
                      <a:pt x="0" y="146"/>
                      <a:pt x="19" y="171"/>
                      <a:pt x="45" y="180"/>
                    </a:cubicBezTo>
                    <a:cubicBezTo>
                      <a:pt x="53" y="191"/>
                      <a:pt x="63" y="200"/>
                      <a:pt x="75" y="207"/>
                    </a:cubicBezTo>
                    <a:cubicBezTo>
                      <a:pt x="277" y="409"/>
                      <a:pt x="277" y="409"/>
                      <a:pt x="277" y="409"/>
                    </a:cubicBezTo>
                    <a:cubicBezTo>
                      <a:pt x="429" y="403"/>
                      <a:pt x="553" y="289"/>
                      <a:pt x="574" y="141"/>
                    </a:cubicBezTo>
                    <a:close/>
                  </a:path>
                </a:pathLst>
              </a:custGeom>
              <a:solidFill>
                <a:srgbClr val="00A2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 name="Freeform 34"/>
              <p:cNvSpPr>
                <a:spLocks/>
              </p:cNvSpPr>
              <p:nvPr/>
            </p:nvSpPr>
            <p:spPr bwMode="auto">
              <a:xfrm>
                <a:off x="2624138" y="-979488"/>
                <a:ext cx="2001838" cy="839788"/>
              </a:xfrm>
              <a:custGeom>
                <a:avLst/>
                <a:gdLst>
                  <a:gd name="T0" fmla="*/ 485 w 531"/>
                  <a:gd name="T1" fmla="*/ 53 h 223"/>
                  <a:gd name="T2" fmla="*/ 399 w 531"/>
                  <a:gd name="T3" fmla="*/ 10 h 223"/>
                  <a:gd name="T4" fmla="*/ 327 w 531"/>
                  <a:gd name="T5" fmla="*/ 38 h 223"/>
                  <a:gd name="T6" fmla="*/ 265 w 531"/>
                  <a:gd name="T7" fmla="*/ 0 h 223"/>
                  <a:gd name="T8" fmla="*/ 203 w 531"/>
                  <a:gd name="T9" fmla="*/ 38 h 223"/>
                  <a:gd name="T10" fmla="*/ 131 w 531"/>
                  <a:gd name="T11" fmla="*/ 10 h 223"/>
                  <a:gd name="T12" fmla="*/ 45 w 531"/>
                  <a:gd name="T13" fmla="*/ 53 h 223"/>
                  <a:gd name="T14" fmla="*/ 0 w 531"/>
                  <a:gd name="T15" fmla="*/ 116 h 223"/>
                  <a:gd name="T16" fmla="*/ 45 w 531"/>
                  <a:gd name="T17" fmla="*/ 180 h 223"/>
                  <a:gd name="T18" fmla="*/ 131 w 531"/>
                  <a:gd name="T19" fmla="*/ 223 h 223"/>
                  <a:gd name="T20" fmla="*/ 236 w 531"/>
                  <a:gd name="T21" fmla="*/ 134 h 223"/>
                  <a:gd name="T22" fmla="*/ 265 w 531"/>
                  <a:gd name="T23" fmla="*/ 140 h 223"/>
                  <a:gd name="T24" fmla="*/ 294 w 531"/>
                  <a:gd name="T25" fmla="*/ 134 h 223"/>
                  <a:gd name="T26" fmla="*/ 399 w 531"/>
                  <a:gd name="T27" fmla="*/ 223 h 223"/>
                  <a:gd name="T28" fmla="*/ 485 w 531"/>
                  <a:gd name="T29" fmla="*/ 180 h 223"/>
                  <a:gd name="T30" fmla="*/ 531 w 531"/>
                  <a:gd name="T31" fmla="*/ 116 h 223"/>
                  <a:gd name="T32" fmla="*/ 485 w 531"/>
                  <a:gd name="T33" fmla="*/ 5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1" h="223">
                    <a:moveTo>
                      <a:pt x="485" y="53"/>
                    </a:moveTo>
                    <a:cubicBezTo>
                      <a:pt x="466" y="27"/>
                      <a:pt x="434" y="10"/>
                      <a:pt x="399" y="10"/>
                    </a:cubicBezTo>
                    <a:cubicBezTo>
                      <a:pt x="372" y="10"/>
                      <a:pt x="346" y="20"/>
                      <a:pt x="327" y="38"/>
                    </a:cubicBezTo>
                    <a:cubicBezTo>
                      <a:pt x="316" y="15"/>
                      <a:pt x="292" y="0"/>
                      <a:pt x="265" y="0"/>
                    </a:cubicBezTo>
                    <a:cubicBezTo>
                      <a:pt x="238" y="0"/>
                      <a:pt x="215" y="15"/>
                      <a:pt x="203" y="38"/>
                    </a:cubicBezTo>
                    <a:cubicBezTo>
                      <a:pt x="184" y="20"/>
                      <a:pt x="159" y="10"/>
                      <a:pt x="131" y="10"/>
                    </a:cubicBezTo>
                    <a:cubicBezTo>
                      <a:pt x="96" y="10"/>
                      <a:pt x="65" y="27"/>
                      <a:pt x="45" y="53"/>
                    </a:cubicBezTo>
                    <a:cubicBezTo>
                      <a:pt x="19" y="62"/>
                      <a:pt x="0" y="87"/>
                      <a:pt x="0" y="116"/>
                    </a:cubicBezTo>
                    <a:cubicBezTo>
                      <a:pt x="0" y="146"/>
                      <a:pt x="19" y="171"/>
                      <a:pt x="45" y="180"/>
                    </a:cubicBezTo>
                    <a:cubicBezTo>
                      <a:pt x="65" y="206"/>
                      <a:pt x="96" y="223"/>
                      <a:pt x="131" y="223"/>
                    </a:cubicBezTo>
                    <a:cubicBezTo>
                      <a:pt x="184" y="223"/>
                      <a:pt x="228" y="184"/>
                      <a:pt x="236" y="134"/>
                    </a:cubicBezTo>
                    <a:cubicBezTo>
                      <a:pt x="245" y="138"/>
                      <a:pt x="255" y="140"/>
                      <a:pt x="265" y="140"/>
                    </a:cubicBezTo>
                    <a:cubicBezTo>
                      <a:pt x="276" y="140"/>
                      <a:pt x="285" y="138"/>
                      <a:pt x="294" y="134"/>
                    </a:cubicBezTo>
                    <a:cubicBezTo>
                      <a:pt x="302" y="184"/>
                      <a:pt x="346" y="223"/>
                      <a:pt x="399" y="223"/>
                    </a:cubicBezTo>
                    <a:cubicBezTo>
                      <a:pt x="434" y="223"/>
                      <a:pt x="466" y="206"/>
                      <a:pt x="485" y="180"/>
                    </a:cubicBezTo>
                    <a:cubicBezTo>
                      <a:pt x="512" y="171"/>
                      <a:pt x="531" y="146"/>
                      <a:pt x="531" y="116"/>
                    </a:cubicBezTo>
                    <a:cubicBezTo>
                      <a:pt x="531" y="87"/>
                      <a:pt x="512" y="62"/>
                      <a:pt x="485" y="53"/>
                    </a:cubicBezTo>
                    <a:close/>
                  </a:path>
                </a:pathLst>
              </a:custGeom>
              <a:solidFill>
                <a:schemeClr val="accent3"/>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4" name="Oval 32"/>
              <p:cNvSpPr>
                <a:spLocks noChangeArrowheads="1"/>
              </p:cNvSpPr>
              <p:nvPr/>
            </p:nvSpPr>
            <p:spPr bwMode="auto">
              <a:xfrm>
                <a:off x="2851151" y="-806451"/>
                <a:ext cx="534988" cy="530225"/>
              </a:xfrm>
              <a:prstGeom prst="ellipse">
                <a:avLst/>
              </a:prstGeom>
              <a:solidFill>
                <a:srgbClr val="BFEEF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5" name="Oval 33"/>
              <p:cNvSpPr>
                <a:spLocks noChangeArrowheads="1"/>
              </p:cNvSpPr>
              <p:nvPr/>
            </p:nvSpPr>
            <p:spPr bwMode="auto">
              <a:xfrm>
                <a:off x="3863976" y="-806451"/>
                <a:ext cx="531813" cy="530225"/>
              </a:xfrm>
              <a:prstGeom prst="ellipse">
                <a:avLst/>
              </a:prstGeom>
              <a:solidFill>
                <a:srgbClr val="BFEEF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12" name="Group 11">
            <a:extLst>
              <a:ext uri="{FF2B5EF4-FFF2-40B4-BE49-F238E27FC236}">
                <a16:creationId xmlns:a16="http://schemas.microsoft.com/office/drawing/2014/main" id="{00C164E4-AA47-44D6-A4CF-A840F3257CAD}"/>
              </a:ext>
            </a:extLst>
          </p:cNvPr>
          <p:cNvGrpSpPr/>
          <p:nvPr/>
        </p:nvGrpSpPr>
        <p:grpSpPr>
          <a:xfrm>
            <a:off x="1643331" y="710972"/>
            <a:ext cx="457390" cy="457390"/>
            <a:chOff x="1866501" y="485585"/>
            <a:chExt cx="457390" cy="457390"/>
          </a:xfrm>
        </p:grpSpPr>
        <p:sp>
          <p:nvSpPr>
            <p:cNvPr id="146" name="Oval 145">
              <a:extLst>
                <a:ext uri="{FF2B5EF4-FFF2-40B4-BE49-F238E27FC236}">
                  <a16:creationId xmlns:a16="http://schemas.microsoft.com/office/drawing/2014/main" id="{E7BA089C-A271-4556-8CB7-A3D326590ACE}"/>
                </a:ext>
              </a:extLst>
            </p:cNvPr>
            <p:cNvSpPr/>
            <p:nvPr/>
          </p:nvSpPr>
          <p:spPr>
            <a:xfrm>
              <a:off x="1866501"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64" name="Group 63"/>
            <p:cNvGrpSpPr/>
            <p:nvPr/>
          </p:nvGrpSpPr>
          <p:grpSpPr>
            <a:xfrm>
              <a:off x="1921147" y="540297"/>
              <a:ext cx="349271" cy="349271"/>
              <a:chOff x="2568933" y="3136772"/>
              <a:chExt cx="933450" cy="933450"/>
            </a:xfrm>
          </p:grpSpPr>
          <p:sp>
            <p:nvSpPr>
              <p:cNvPr id="30" name="Freeform 25"/>
              <p:cNvSpPr>
                <a:spLocks/>
              </p:cNvSpPr>
              <p:nvPr/>
            </p:nvSpPr>
            <p:spPr bwMode="auto">
              <a:xfrm>
                <a:off x="2568933" y="3136772"/>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0" name="Freeform 59"/>
              <p:cNvSpPr>
                <a:spLocks/>
              </p:cNvSpPr>
              <p:nvPr/>
            </p:nvSpPr>
            <p:spPr bwMode="auto">
              <a:xfrm>
                <a:off x="2912865" y="3411052"/>
                <a:ext cx="560585" cy="619125"/>
              </a:xfrm>
              <a:custGeom>
                <a:avLst/>
                <a:gdLst>
                  <a:gd name="connsiteX0" fmla="*/ 343475 w 560585"/>
                  <a:gd name="connsiteY0" fmla="*/ 0 h 619125"/>
                  <a:gd name="connsiteX1" fmla="*/ 560585 w 560585"/>
                  <a:gd name="connsiteY1" fmla="*/ 219427 h 619125"/>
                  <a:gd name="connsiteX2" fmla="*/ 435784 w 560585"/>
                  <a:gd name="connsiteY2" fmla="*/ 506087 h 619125"/>
                  <a:gd name="connsiteX3" fmla="*/ 236397 w 560585"/>
                  <a:gd name="connsiteY3" fmla="*/ 619125 h 619125"/>
                  <a:gd name="connsiteX4" fmla="*/ 87 w 560585"/>
                  <a:gd name="connsiteY4" fmla="*/ 393048 h 619125"/>
                  <a:gd name="connsiteX5" fmla="*/ 64 w 560585"/>
                  <a:gd name="connsiteY5" fmla="*/ 391571 h 619125"/>
                  <a:gd name="connsiteX6" fmla="*/ 0 w 560585"/>
                  <a:gd name="connsiteY6" fmla="*/ 387488 h 619125"/>
                  <a:gd name="connsiteX7" fmla="*/ 49858 w 560585"/>
                  <a:gd name="connsiteY7" fmla="*/ 430601 h 619125"/>
                  <a:gd name="connsiteX8" fmla="*/ 135135 w 560585"/>
                  <a:gd name="connsiteY8" fmla="*/ 463550 h 619125"/>
                  <a:gd name="connsiteX9" fmla="*/ 347860 w 560585"/>
                  <a:gd name="connsiteY9" fmla="*/ 204928 h 619125"/>
                  <a:gd name="connsiteX10" fmla="*/ 347860 w 560585"/>
                  <a:gd name="connsiteY10" fmla="*/ 14093 h 619125"/>
                  <a:gd name="connsiteX11" fmla="*/ 342392 w 560585"/>
                  <a:gd name="connsiteY11" fmla="*/ 938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0585" h="619125">
                    <a:moveTo>
                      <a:pt x="343475" y="0"/>
                    </a:moveTo>
                    <a:cubicBezTo>
                      <a:pt x="343475" y="0"/>
                      <a:pt x="343475" y="0"/>
                      <a:pt x="560585" y="219427"/>
                    </a:cubicBezTo>
                    <a:cubicBezTo>
                      <a:pt x="556893" y="323600"/>
                      <a:pt x="515539" y="427034"/>
                      <a:pt x="435784" y="506087"/>
                    </a:cubicBezTo>
                    <a:cubicBezTo>
                      <a:pt x="378922" y="563714"/>
                      <a:pt x="309506" y="601394"/>
                      <a:pt x="236397" y="619125"/>
                    </a:cubicBezTo>
                    <a:cubicBezTo>
                      <a:pt x="236397" y="619125"/>
                      <a:pt x="236397" y="619125"/>
                      <a:pt x="87" y="393048"/>
                    </a:cubicBezTo>
                    <a:cubicBezTo>
                      <a:pt x="87" y="393048"/>
                      <a:pt x="87" y="393048"/>
                      <a:pt x="64" y="391571"/>
                    </a:cubicBezTo>
                    <a:lnTo>
                      <a:pt x="0" y="387488"/>
                    </a:lnTo>
                    <a:lnTo>
                      <a:pt x="49858" y="430601"/>
                    </a:lnTo>
                    <a:cubicBezTo>
                      <a:pt x="75583" y="446143"/>
                      <a:pt x="104297" y="457471"/>
                      <a:pt x="135135" y="463550"/>
                    </a:cubicBezTo>
                    <a:cubicBezTo>
                      <a:pt x="258486" y="439235"/>
                      <a:pt x="347860" y="330924"/>
                      <a:pt x="347860" y="204928"/>
                    </a:cubicBezTo>
                    <a:cubicBezTo>
                      <a:pt x="347860" y="14093"/>
                      <a:pt x="347860" y="14093"/>
                      <a:pt x="347860" y="14093"/>
                    </a:cubicBezTo>
                    <a:lnTo>
                      <a:pt x="342392" y="938"/>
                    </a:lnTo>
                    <a:close/>
                  </a:path>
                </a:pathLst>
              </a:custGeom>
              <a:solidFill>
                <a:srgbClr val="00A2E1">
                  <a:alpha val="23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63" name="Group 62"/>
              <p:cNvGrpSpPr/>
              <p:nvPr/>
            </p:nvGrpSpPr>
            <p:grpSpPr>
              <a:xfrm>
                <a:off x="2835275" y="3350727"/>
                <a:ext cx="425450" cy="523875"/>
                <a:chOff x="2835275" y="3350727"/>
                <a:chExt cx="425450" cy="523875"/>
              </a:xfrm>
              <a:solidFill>
                <a:schemeClr val="accent1">
                  <a:lumMod val="75000"/>
                  <a:alpha val="40000"/>
                </a:schemeClr>
              </a:solidFill>
            </p:grpSpPr>
            <p:sp>
              <p:nvSpPr>
                <p:cNvPr id="61" name="Freeform 27"/>
                <p:cNvSpPr>
                  <a:spLocks/>
                </p:cNvSpPr>
                <p:nvPr/>
              </p:nvSpPr>
              <p:spPr bwMode="auto">
                <a:xfrm>
                  <a:off x="2835275" y="3350727"/>
                  <a:ext cx="425450" cy="523875"/>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 name="Freeform 28"/>
                <p:cNvSpPr>
                  <a:spLocks/>
                </p:cNvSpPr>
                <p:nvPr/>
              </p:nvSpPr>
              <p:spPr bwMode="auto">
                <a:xfrm>
                  <a:off x="3048000" y="3350727"/>
                  <a:ext cx="212725" cy="523875"/>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1">
                    <a:lumMod val="75000"/>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cxnSp>
        <p:nvCxnSpPr>
          <p:cNvPr id="27" name="Straight Connector 26">
            <a:extLst>
              <a:ext uri="{FF2B5EF4-FFF2-40B4-BE49-F238E27FC236}">
                <a16:creationId xmlns:a16="http://schemas.microsoft.com/office/drawing/2014/main" id="{E206152A-F543-4A9A-8EB0-07A67EB36E3E}"/>
              </a:ext>
            </a:extLst>
          </p:cNvPr>
          <p:cNvCxnSpPr>
            <a:cxnSpLocks/>
          </p:cNvCxnSpPr>
          <p:nvPr/>
        </p:nvCxnSpPr>
        <p:spPr>
          <a:xfrm>
            <a:off x="4330103"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17" name="Straight Connector 1216">
            <a:extLst>
              <a:ext uri="{FF2B5EF4-FFF2-40B4-BE49-F238E27FC236}">
                <a16:creationId xmlns:a16="http://schemas.microsoft.com/office/drawing/2014/main" id="{494AE977-6F5A-42B9-B3DA-7C0C0EA0E5C2}"/>
              </a:ext>
            </a:extLst>
          </p:cNvPr>
          <p:cNvCxnSpPr>
            <a:cxnSpLocks/>
          </p:cNvCxnSpPr>
          <p:nvPr/>
        </p:nvCxnSpPr>
        <p:spPr>
          <a:xfrm>
            <a:off x="4489647"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78" name="Straight Connector 1277">
            <a:extLst>
              <a:ext uri="{FF2B5EF4-FFF2-40B4-BE49-F238E27FC236}">
                <a16:creationId xmlns:a16="http://schemas.microsoft.com/office/drawing/2014/main" id="{50463F8D-9641-458B-ABB4-477D1F156D5D}"/>
              </a:ext>
            </a:extLst>
          </p:cNvPr>
          <p:cNvCxnSpPr>
            <a:cxnSpLocks/>
          </p:cNvCxnSpPr>
          <p:nvPr/>
        </p:nvCxnSpPr>
        <p:spPr>
          <a:xfrm>
            <a:off x="4649191"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1299" name="yellow 1">
            <a:extLst>
              <a:ext uri="{FF2B5EF4-FFF2-40B4-BE49-F238E27FC236}">
                <a16:creationId xmlns:a16="http://schemas.microsoft.com/office/drawing/2014/main" id="{D8B18284-1D83-4FE6-8C47-8CC0DBAB1C7D}"/>
              </a:ext>
            </a:extLst>
          </p:cNvPr>
          <p:cNvSpPr/>
          <p:nvPr>
            <p:custDataLst>
              <p:tags r:id="rId3"/>
            </p:custDataLst>
          </p:nvPr>
        </p:nvSpPr>
        <p:spPr>
          <a:xfrm>
            <a:off x="4314498" y="2824055"/>
            <a:ext cx="45719" cy="45719"/>
          </a:xfrm>
          <a:prstGeom prst="ellipse">
            <a:avLst/>
          </a:prstGeom>
          <a:solidFill>
            <a:schemeClr val="accent5">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98" name="blue 1">
            <a:extLst>
              <a:ext uri="{FF2B5EF4-FFF2-40B4-BE49-F238E27FC236}">
                <a16:creationId xmlns:a16="http://schemas.microsoft.com/office/drawing/2014/main" id="{763C78AA-3C46-4FB3-A271-0B725C911D04}"/>
              </a:ext>
            </a:extLst>
          </p:cNvPr>
          <p:cNvSpPr/>
          <p:nvPr>
            <p:custDataLst>
              <p:tags r:id="rId4"/>
            </p:custDataLst>
          </p:nvPr>
        </p:nvSpPr>
        <p:spPr>
          <a:xfrm>
            <a:off x="4314080" y="2821659"/>
            <a:ext cx="45719" cy="45719"/>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92" name="green 1">
            <a:extLst>
              <a:ext uri="{FF2B5EF4-FFF2-40B4-BE49-F238E27FC236}">
                <a16:creationId xmlns:a16="http://schemas.microsoft.com/office/drawing/2014/main" id="{99605758-DED4-4676-8CA2-29767154AD95}"/>
              </a:ext>
            </a:extLst>
          </p:cNvPr>
          <p:cNvSpPr/>
          <p:nvPr>
            <p:custDataLst>
              <p:tags r:id="rId5"/>
            </p:custDataLst>
          </p:nvPr>
        </p:nvSpPr>
        <p:spPr>
          <a:xfrm>
            <a:off x="4314076" y="2824039"/>
            <a:ext cx="45719" cy="45719"/>
          </a:xfrm>
          <a:prstGeom prst="ellips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00" name="green 2">
            <a:extLst>
              <a:ext uri="{FF2B5EF4-FFF2-40B4-BE49-F238E27FC236}">
                <a16:creationId xmlns:a16="http://schemas.microsoft.com/office/drawing/2014/main" id="{C2B2ECF0-12D8-4577-939C-C84EA2F0F11B}"/>
              </a:ext>
            </a:extLst>
          </p:cNvPr>
          <p:cNvSpPr/>
          <p:nvPr>
            <p:custDataLst>
              <p:tags r:id="rId6"/>
            </p:custDataLst>
          </p:nvPr>
        </p:nvSpPr>
        <p:spPr>
          <a:xfrm>
            <a:off x="4466898" y="2818926"/>
            <a:ext cx="45719" cy="45719"/>
          </a:xfrm>
          <a:prstGeom prst="ellips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01" name="yellow 2">
            <a:extLst>
              <a:ext uri="{FF2B5EF4-FFF2-40B4-BE49-F238E27FC236}">
                <a16:creationId xmlns:a16="http://schemas.microsoft.com/office/drawing/2014/main" id="{1C134F4A-32EF-40A8-8FBD-E892EA6820E2}"/>
              </a:ext>
            </a:extLst>
          </p:cNvPr>
          <p:cNvSpPr/>
          <p:nvPr>
            <p:custDataLst>
              <p:tags r:id="rId7"/>
            </p:custDataLst>
          </p:nvPr>
        </p:nvSpPr>
        <p:spPr>
          <a:xfrm>
            <a:off x="4468906" y="2824039"/>
            <a:ext cx="45719" cy="45719"/>
          </a:xfrm>
          <a:prstGeom prst="ellipse">
            <a:avLst/>
          </a:prstGeom>
          <a:solidFill>
            <a:schemeClr val="accent5">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02" name="blue 2">
            <a:extLst>
              <a:ext uri="{FF2B5EF4-FFF2-40B4-BE49-F238E27FC236}">
                <a16:creationId xmlns:a16="http://schemas.microsoft.com/office/drawing/2014/main" id="{4FE98C92-D14D-423F-8A97-86B5E42E1EA7}"/>
              </a:ext>
            </a:extLst>
          </p:cNvPr>
          <p:cNvSpPr/>
          <p:nvPr>
            <p:custDataLst>
              <p:tags r:id="rId8"/>
            </p:custDataLst>
          </p:nvPr>
        </p:nvSpPr>
        <p:spPr>
          <a:xfrm>
            <a:off x="4463564" y="2824039"/>
            <a:ext cx="45719" cy="45719"/>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97" name="yellow 3">
            <a:extLst>
              <a:ext uri="{FF2B5EF4-FFF2-40B4-BE49-F238E27FC236}">
                <a16:creationId xmlns:a16="http://schemas.microsoft.com/office/drawing/2014/main" id="{1CF45028-8CDB-4006-871C-697F04F3C85B}"/>
              </a:ext>
            </a:extLst>
          </p:cNvPr>
          <p:cNvSpPr/>
          <p:nvPr>
            <p:custDataLst>
              <p:tags r:id="rId9"/>
            </p:custDataLst>
          </p:nvPr>
        </p:nvSpPr>
        <p:spPr>
          <a:xfrm>
            <a:off x="4632797" y="2818926"/>
            <a:ext cx="45719" cy="45719"/>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03" name="green 3">
            <a:extLst>
              <a:ext uri="{FF2B5EF4-FFF2-40B4-BE49-F238E27FC236}">
                <a16:creationId xmlns:a16="http://schemas.microsoft.com/office/drawing/2014/main" id="{399818EA-2E9D-47DF-88E1-A089224A236C}"/>
              </a:ext>
            </a:extLst>
          </p:cNvPr>
          <p:cNvSpPr/>
          <p:nvPr>
            <p:custDataLst>
              <p:tags r:id="rId10"/>
            </p:custDataLst>
          </p:nvPr>
        </p:nvSpPr>
        <p:spPr>
          <a:xfrm>
            <a:off x="4632797" y="2818926"/>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04" name="blue 3">
            <a:extLst>
              <a:ext uri="{FF2B5EF4-FFF2-40B4-BE49-F238E27FC236}">
                <a16:creationId xmlns:a16="http://schemas.microsoft.com/office/drawing/2014/main" id="{34147C7A-6FC2-4A67-83EC-C4DA922C7EAE}"/>
              </a:ext>
            </a:extLst>
          </p:cNvPr>
          <p:cNvSpPr/>
          <p:nvPr>
            <p:custDataLst>
              <p:tags r:id="rId11"/>
            </p:custDataLst>
          </p:nvPr>
        </p:nvSpPr>
        <p:spPr>
          <a:xfrm>
            <a:off x="4632810" y="2821315"/>
            <a:ext cx="45719" cy="4571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3662" name="Group 3661">
            <a:extLst>
              <a:ext uri="{FF2B5EF4-FFF2-40B4-BE49-F238E27FC236}">
                <a16:creationId xmlns:a16="http://schemas.microsoft.com/office/drawing/2014/main" id="{7BDEE26C-C323-4086-8D99-AC444E785EDA}"/>
              </a:ext>
            </a:extLst>
          </p:cNvPr>
          <p:cNvGrpSpPr/>
          <p:nvPr/>
        </p:nvGrpSpPr>
        <p:grpSpPr>
          <a:xfrm>
            <a:off x="4259919" y="2214899"/>
            <a:ext cx="465186" cy="337180"/>
            <a:chOff x="4207537" y="2273730"/>
            <a:chExt cx="598923" cy="434116"/>
          </a:xfrm>
        </p:grpSpPr>
        <p:grpSp>
          <p:nvGrpSpPr>
            <p:cNvPr id="3663" name="Group 3662">
              <a:extLst>
                <a:ext uri="{FF2B5EF4-FFF2-40B4-BE49-F238E27FC236}">
                  <a16:creationId xmlns:a16="http://schemas.microsoft.com/office/drawing/2014/main" id="{88B8EEAC-0C4C-41B4-8B5D-F1116E305E5E}"/>
                </a:ext>
              </a:extLst>
            </p:cNvPr>
            <p:cNvGrpSpPr/>
            <p:nvPr/>
          </p:nvGrpSpPr>
          <p:grpSpPr>
            <a:xfrm>
              <a:off x="4207537" y="2273730"/>
              <a:ext cx="179387" cy="434116"/>
              <a:chOff x="2330274" y="3840316"/>
              <a:chExt cx="238125" cy="576262"/>
            </a:xfrm>
          </p:grpSpPr>
          <p:sp>
            <p:nvSpPr>
              <p:cNvPr id="3678" name="Freeform 201">
                <a:extLst>
                  <a:ext uri="{FF2B5EF4-FFF2-40B4-BE49-F238E27FC236}">
                    <a16:creationId xmlns:a16="http://schemas.microsoft.com/office/drawing/2014/main" id="{F508452D-BF83-4137-ADF3-A5242ED4F746}"/>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79" name="Line 202">
                <a:extLst>
                  <a:ext uri="{FF2B5EF4-FFF2-40B4-BE49-F238E27FC236}">
                    <a16:creationId xmlns:a16="http://schemas.microsoft.com/office/drawing/2014/main" id="{69FB30A3-F9DB-4D3C-8ED5-36CAB7DC3040}"/>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80" name="Line 203">
                <a:extLst>
                  <a:ext uri="{FF2B5EF4-FFF2-40B4-BE49-F238E27FC236}">
                    <a16:creationId xmlns:a16="http://schemas.microsoft.com/office/drawing/2014/main" id="{89755442-06BB-4E0C-8797-8B7EF30317DA}"/>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81" name="Line 204">
                <a:extLst>
                  <a:ext uri="{FF2B5EF4-FFF2-40B4-BE49-F238E27FC236}">
                    <a16:creationId xmlns:a16="http://schemas.microsoft.com/office/drawing/2014/main" id="{EA9D7178-2F89-4B8D-9D66-8B3150ACE164}"/>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82" name="Line 205">
                <a:extLst>
                  <a:ext uri="{FF2B5EF4-FFF2-40B4-BE49-F238E27FC236}">
                    <a16:creationId xmlns:a16="http://schemas.microsoft.com/office/drawing/2014/main" id="{416D26AD-4ED7-4F89-B2FB-30B8313C192B}"/>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83" name="Line 206">
                <a:extLst>
                  <a:ext uri="{FF2B5EF4-FFF2-40B4-BE49-F238E27FC236}">
                    <a16:creationId xmlns:a16="http://schemas.microsoft.com/office/drawing/2014/main" id="{DDCE1096-1E03-41F0-989D-05639A450A40}"/>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3664" name="Group 3663">
              <a:extLst>
                <a:ext uri="{FF2B5EF4-FFF2-40B4-BE49-F238E27FC236}">
                  <a16:creationId xmlns:a16="http://schemas.microsoft.com/office/drawing/2014/main" id="{0F47D0A4-444E-4FA4-BDFF-C971B4CF38F1}"/>
                </a:ext>
              </a:extLst>
            </p:cNvPr>
            <p:cNvGrpSpPr/>
            <p:nvPr/>
          </p:nvGrpSpPr>
          <p:grpSpPr>
            <a:xfrm>
              <a:off x="4417305" y="2273730"/>
              <a:ext cx="179387" cy="434116"/>
              <a:chOff x="2330274" y="3840316"/>
              <a:chExt cx="238125" cy="576262"/>
            </a:xfrm>
          </p:grpSpPr>
          <p:sp>
            <p:nvSpPr>
              <p:cNvPr id="3672" name="Freeform 201">
                <a:extLst>
                  <a:ext uri="{FF2B5EF4-FFF2-40B4-BE49-F238E27FC236}">
                    <a16:creationId xmlns:a16="http://schemas.microsoft.com/office/drawing/2014/main" id="{C2C21232-7A6D-444C-8F56-A1658DC4C80D}"/>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73" name="Line 202">
                <a:extLst>
                  <a:ext uri="{FF2B5EF4-FFF2-40B4-BE49-F238E27FC236}">
                    <a16:creationId xmlns:a16="http://schemas.microsoft.com/office/drawing/2014/main" id="{4D9E1BE5-8D56-49D3-B35E-1953E2712942}"/>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74" name="Line 203">
                <a:extLst>
                  <a:ext uri="{FF2B5EF4-FFF2-40B4-BE49-F238E27FC236}">
                    <a16:creationId xmlns:a16="http://schemas.microsoft.com/office/drawing/2014/main" id="{8B1AEAC6-A757-4090-B7F6-B8F35A725A0B}"/>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75" name="Line 204">
                <a:extLst>
                  <a:ext uri="{FF2B5EF4-FFF2-40B4-BE49-F238E27FC236}">
                    <a16:creationId xmlns:a16="http://schemas.microsoft.com/office/drawing/2014/main" id="{0209E748-6D3A-485D-B7EF-878C815CCBBB}"/>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76" name="Line 205">
                <a:extLst>
                  <a:ext uri="{FF2B5EF4-FFF2-40B4-BE49-F238E27FC236}">
                    <a16:creationId xmlns:a16="http://schemas.microsoft.com/office/drawing/2014/main" id="{AC44A579-34AF-4108-846F-9BAC79342933}"/>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77" name="Line 206">
                <a:extLst>
                  <a:ext uri="{FF2B5EF4-FFF2-40B4-BE49-F238E27FC236}">
                    <a16:creationId xmlns:a16="http://schemas.microsoft.com/office/drawing/2014/main" id="{358A69CE-0D58-4C23-A6A5-6CCED0FAC992}"/>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3665" name="Group 3664">
              <a:extLst>
                <a:ext uri="{FF2B5EF4-FFF2-40B4-BE49-F238E27FC236}">
                  <a16:creationId xmlns:a16="http://schemas.microsoft.com/office/drawing/2014/main" id="{2D1409BB-028E-4F03-89B6-91D4804D4D4D}"/>
                </a:ext>
              </a:extLst>
            </p:cNvPr>
            <p:cNvGrpSpPr/>
            <p:nvPr/>
          </p:nvGrpSpPr>
          <p:grpSpPr>
            <a:xfrm>
              <a:off x="4627073" y="2273730"/>
              <a:ext cx="179387" cy="434116"/>
              <a:chOff x="2330274" y="3840316"/>
              <a:chExt cx="238125" cy="576262"/>
            </a:xfrm>
          </p:grpSpPr>
          <p:sp>
            <p:nvSpPr>
              <p:cNvPr id="3666" name="Freeform 201">
                <a:extLst>
                  <a:ext uri="{FF2B5EF4-FFF2-40B4-BE49-F238E27FC236}">
                    <a16:creationId xmlns:a16="http://schemas.microsoft.com/office/drawing/2014/main" id="{A0B5C5B0-AC1F-4C82-8F45-5BAC41165A75}"/>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67" name="Line 202">
                <a:extLst>
                  <a:ext uri="{FF2B5EF4-FFF2-40B4-BE49-F238E27FC236}">
                    <a16:creationId xmlns:a16="http://schemas.microsoft.com/office/drawing/2014/main" id="{FC94A115-9D87-4EC6-BE85-0FEB3A4C7F2A}"/>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68" name="Line 203">
                <a:extLst>
                  <a:ext uri="{FF2B5EF4-FFF2-40B4-BE49-F238E27FC236}">
                    <a16:creationId xmlns:a16="http://schemas.microsoft.com/office/drawing/2014/main" id="{8982D130-3FCD-4CB1-9154-D3FE909CA5DD}"/>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69" name="Line 204">
                <a:extLst>
                  <a:ext uri="{FF2B5EF4-FFF2-40B4-BE49-F238E27FC236}">
                    <a16:creationId xmlns:a16="http://schemas.microsoft.com/office/drawing/2014/main" id="{5E4C97BC-59B6-40CD-B6A5-C089B20A571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70" name="Line 205">
                <a:extLst>
                  <a:ext uri="{FF2B5EF4-FFF2-40B4-BE49-F238E27FC236}">
                    <a16:creationId xmlns:a16="http://schemas.microsoft.com/office/drawing/2014/main" id="{3998518F-2773-497D-B69A-3B94C2B2213C}"/>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71" name="Line 206">
                <a:extLst>
                  <a:ext uri="{FF2B5EF4-FFF2-40B4-BE49-F238E27FC236}">
                    <a16:creationId xmlns:a16="http://schemas.microsoft.com/office/drawing/2014/main" id="{52A0BD43-438F-4BB2-A0C9-B45A8DB491BE}"/>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3684" name="Group 3683">
            <a:extLst>
              <a:ext uri="{FF2B5EF4-FFF2-40B4-BE49-F238E27FC236}">
                <a16:creationId xmlns:a16="http://schemas.microsoft.com/office/drawing/2014/main" id="{15A48F88-AE66-48D9-A376-7858B951ABE0}"/>
              </a:ext>
            </a:extLst>
          </p:cNvPr>
          <p:cNvGrpSpPr/>
          <p:nvPr/>
        </p:nvGrpSpPr>
        <p:grpSpPr>
          <a:xfrm>
            <a:off x="4259919" y="2780652"/>
            <a:ext cx="465186" cy="337180"/>
            <a:chOff x="4207537" y="2273730"/>
            <a:chExt cx="598923" cy="434116"/>
          </a:xfrm>
        </p:grpSpPr>
        <p:grpSp>
          <p:nvGrpSpPr>
            <p:cNvPr id="3685" name="Group 3684">
              <a:extLst>
                <a:ext uri="{FF2B5EF4-FFF2-40B4-BE49-F238E27FC236}">
                  <a16:creationId xmlns:a16="http://schemas.microsoft.com/office/drawing/2014/main" id="{4E69870A-EEAC-4898-8317-3FEED94931DB}"/>
                </a:ext>
              </a:extLst>
            </p:cNvPr>
            <p:cNvGrpSpPr/>
            <p:nvPr/>
          </p:nvGrpSpPr>
          <p:grpSpPr>
            <a:xfrm>
              <a:off x="4207537" y="2273730"/>
              <a:ext cx="179387" cy="434116"/>
              <a:chOff x="2330274" y="3840316"/>
              <a:chExt cx="238125" cy="576262"/>
            </a:xfrm>
          </p:grpSpPr>
          <p:sp>
            <p:nvSpPr>
              <p:cNvPr id="3700" name="Freeform 201">
                <a:extLst>
                  <a:ext uri="{FF2B5EF4-FFF2-40B4-BE49-F238E27FC236}">
                    <a16:creationId xmlns:a16="http://schemas.microsoft.com/office/drawing/2014/main" id="{7BF9D046-C546-4E48-8E0A-2DE41C90F52F}"/>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01" name="Line 202">
                <a:extLst>
                  <a:ext uri="{FF2B5EF4-FFF2-40B4-BE49-F238E27FC236}">
                    <a16:creationId xmlns:a16="http://schemas.microsoft.com/office/drawing/2014/main" id="{C43F859F-8E30-427A-8D20-F27E3C567793}"/>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02" name="Line 203">
                <a:extLst>
                  <a:ext uri="{FF2B5EF4-FFF2-40B4-BE49-F238E27FC236}">
                    <a16:creationId xmlns:a16="http://schemas.microsoft.com/office/drawing/2014/main" id="{3F44537E-575E-4EDD-82A9-2E0686A8CA24}"/>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03" name="Line 204">
                <a:extLst>
                  <a:ext uri="{FF2B5EF4-FFF2-40B4-BE49-F238E27FC236}">
                    <a16:creationId xmlns:a16="http://schemas.microsoft.com/office/drawing/2014/main" id="{0FF70040-6E8F-47CB-B97B-02127E5D5699}"/>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04" name="Line 205">
                <a:extLst>
                  <a:ext uri="{FF2B5EF4-FFF2-40B4-BE49-F238E27FC236}">
                    <a16:creationId xmlns:a16="http://schemas.microsoft.com/office/drawing/2014/main" id="{61543744-FB8C-448C-B8A5-C3588863878F}"/>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05" name="Line 206">
                <a:extLst>
                  <a:ext uri="{FF2B5EF4-FFF2-40B4-BE49-F238E27FC236}">
                    <a16:creationId xmlns:a16="http://schemas.microsoft.com/office/drawing/2014/main" id="{3C81102F-A3DC-4973-98AB-DAB68CFFD252}"/>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3686" name="Group 3685">
              <a:extLst>
                <a:ext uri="{FF2B5EF4-FFF2-40B4-BE49-F238E27FC236}">
                  <a16:creationId xmlns:a16="http://schemas.microsoft.com/office/drawing/2014/main" id="{239550D8-5178-41F4-A46A-E7F6E473296F}"/>
                </a:ext>
              </a:extLst>
            </p:cNvPr>
            <p:cNvGrpSpPr/>
            <p:nvPr/>
          </p:nvGrpSpPr>
          <p:grpSpPr>
            <a:xfrm>
              <a:off x="4417305" y="2273730"/>
              <a:ext cx="179387" cy="434116"/>
              <a:chOff x="2330274" y="3840316"/>
              <a:chExt cx="238125" cy="576262"/>
            </a:xfrm>
          </p:grpSpPr>
          <p:sp>
            <p:nvSpPr>
              <p:cNvPr id="3694" name="Freeform 201">
                <a:extLst>
                  <a:ext uri="{FF2B5EF4-FFF2-40B4-BE49-F238E27FC236}">
                    <a16:creationId xmlns:a16="http://schemas.microsoft.com/office/drawing/2014/main" id="{35C8D95F-02B8-4CCD-9570-A1AFD30B9499}"/>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95" name="Line 202">
                <a:extLst>
                  <a:ext uri="{FF2B5EF4-FFF2-40B4-BE49-F238E27FC236}">
                    <a16:creationId xmlns:a16="http://schemas.microsoft.com/office/drawing/2014/main" id="{8EC2106A-2F0F-4361-A5A5-9AFC18567588}"/>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96" name="Line 203">
                <a:extLst>
                  <a:ext uri="{FF2B5EF4-FFF2-40B4-BE49-F238E27FC236}">
                    <a16:creationId xmlns:a16="http://schemas.microsoft.com/office/drawing/2014/main" id="{AFAD2AB8-7004-4959-A517-2185D1383D64}"/>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97" name="Line 204">
                <a:extLst>
                  <a:ext uri="{FF2B5EF4-FFF2-40B4-BE49-F238E27FC236}">
                    <a16:creationId xmlns:a16="http://schemas.microsoft.com/office/drawing/2014/main" id="{E04F0661-448B-40E8-B53B-11A47762D05E}"/>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98" name="Line 205">
                <a:extLst>
                  <a:ext uri="{FF2B5EF4-FFF2-40B4-BE49-F238E27FC236}">
                    <a16:creationId xmlns:a16="http://schemas.microsoft.com/office/drawing/2014/main" id="{361BEEBE-C610-4F55-9B98-B705D0B1827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99" name="Line 206">
                <a:extLst>
                  <a:ext uri="{FF2B5EF4-FFF2-40B4-BE49-F238E27FC236}">
                    <a16:creationId xmlns:a16="http://schemas.microsoft.com/office/drawing/2014/main" id="{CECD2CB4-8FD6-45D5-9AC9-9D3C5EA87947}"/>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3687" name="Group 3686">
              <a:extLst>
                <a:ext uri="{FF2B5EF4-FFF2-40B4-BE49-F238E27FC236}">
                  <a16:creationId xmlns:a16="http://schemas.microsoft.com/office/drawing/2014/main" id="{7F41F43E-E0E7-4F93-A283-B01ECF364C2B}"/>
                </a:ext>
              </a:extLst>
            </p:cNvPr>
            <p:cNvGrpSpPr/>
            <p:nvPr/>
          </p:nvGrpSpPr>
          <p:grpSpPr>
            <a:xfrm>
              <a:off x="4627073" y="2273730"/>
              <a:ext cx="179387" cy="434116"/>
              <a:chOff x="2330274" y="3840316"/>
              <a:chExt cx="238125" cy="576262"/>
            </a:xfrm>
          </p:grpSpPr>
          <p:sp>
            <p:nvSpPr>
              <p:cNvPr id="3688" name="Freeform 201">
                <a:extLst>
                  <a:ext uri="{FF2B5EF4-FFF2-40B4-BE49-F238E27FC236}">
                    <a16:creationId xmlns:a16="http://schemas.microsoft.com/office/drawing/2014/main" id="{7494285A-7895-4AF6-8495-E94FA6A51B7C}"/>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89" name="Line 202">
                <a:extLst>
                  <a:ext uri="{FF2B5EF4-FFF2-40B4-BE49-F238E27FC236}">
                    <a16:creationId xmlns:a16="http://schemas.microsoft.com/office/drawing/2014/main" id="{9ACB8513-9AAE-4364-A6C5-D45C435EE261}"/>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90" name="Line 203">
                <a:extLst>
                  <a:ext uri="{FF2B5EF4-FFF2-40B4-BE49-F238E27FC236}">
                    <a16:creationId xmlns:a16="http://schemas.microsoft.com/office/drawing/2014/main" id="{25DD7B1F-F09C-4955-935E-A528FF8EB24D}"/>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91" name="Line 204">
                <a:extLst>
                  <a:ext uri="{FF2B5EF4-FFF2-40B4-BE49-F238E27FC236}">
                    <a16:creationId xmlns:a16="http://schemas.microsoft.com/office/drawing/2014/main" id="{5DEE6EA9-3C5F-4FC5-AC39-18B6F80113BB}"/>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92" name="Line 205">
                <a:extLst>
                  <a:ext uri="{FF2B5EF4-FFF2-40B4-BE49-F238E27FC236}">
                    <a16:creationId xmlns:a16="http://schemas.microsoft.com/office/drawing/2014/main" id="{6016FFE6-F0FC-4907-8D2E-4D165D534715}"/>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93" name="Line 206">
                <a:extLst>
                  <a:ext uri="{FF2B5EF4-FFF2-40B4-BE49-F238E27FC236}">
                    <a16:creationId xmlns:a16="http://schemas.microsoft.com/office/drawing/2014/main" id="{5972C5E5-13D5-4DDC-AE1F-026F7C03D021}"/>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cxnSp>
        <p:nvCxnSpPr>
          <p:cNvPr id="3706" name="Connector: Elbow 3705">
            <a:extLst>
              <a:ext uri="{FF2B5EF4-FFF2-40B4-BE49-F238E27FC236}">
                <a16:creationId xmlns:a16="http://schemas.microsoft.com/office/drawing/2014/main" id="{9E0955C0-28EA-4321-9F12-FC3A037E0A7E}"/>
              </a:ext>
            </a:extLst>
          </p:cNvPr>
          <p:cNvCxnSpPr>
            <a:cxnSpLocks/>
          </p:cNvCxnSpPr>
          <p:nvPr/>
        </p:nvCxnSpPr>
        <p:spPr>
          <a:xfrm rot="5400000">
            <a:off x="4048619"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3707" name="Connector: Elbow 3706">
            <a:extLst>
              <a:ext uri="{FF2B5EF4-FFF2-40B4-BE49-F238E27FC236}">
                <a16:creationId xmlns:a16="http://schemas.microsoft.com/office/drawing/2014/main" id="{C1A860F8-06C6-4738-A8D2-1CD2F5D8CEB8}"/>
              </a:ext>
            </a:extLst>
          </p:cNvPr>
          <p:cNvCxnSpPr>
            <a:cxnSpLocks/>
          </p:cNvCxnSpPr>
          <p:nvPr/>
        </p:nvCxnSpPr>
        <p:spPr>
          <a:xfrm rot="16200000" flipV="1">
            <a:off x="4048619" y="274341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3710" name="Connector: Elbow 3709">
            <a:extLst>
              <a:ext uri="{FF2B5EF4-FFF2-40B4-BE49-F238E27FC236}">
                <a16:creationId xmlns:a16="http://schemas.microsoft.com/office/drawing/2014/main" id="{2138BB9A-E1F7-42DB-A64F-99AA8906F143}"/>
              </a:ext>
            </a:extLst>
          </p:cNvPr>
          <p:cNvCxnSpPr>
            <a:cxnSpLocks/>
          </p:cNvCxnSpPr>
          <p:nvPr/>
        </p:nvCxnSpPr>
        <p:spPr>
          <a:xfrm rot="16200000" flipH="1">
            <a:off x="4673799"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36CF219D-0CCC-42B6-89D0-2B30EFCC271C}"/>
              </a:ext>
            </a:extLst>
          </p:cNvPr>
          <p:cNvGrpSpPr/>
          <p:nvPr/>
        </p:nvGrpSpPr>
        <p:grpSpPr>
          <a:xfrm>
            <a:off x="-22640" y="2774515"/>
            <a:ext cx="3062110" cy="2059044"/>
            <a:chOff x="-22640" y="2774515"/>
            <a:chExt cx="3062110" cy="2059044"/>
          </a:xfrm>
        </p:grpSpPr>
        <p:sp>
          <p:nvSpPr>
            <p:cNvPr id="3612" name="Oval 3611">
              <a:extLst>
                <a:ext uri="{FF2B5EF4-FFF2-40B4-BE49-F238E27FC236}">
                  <a16:creationId xmlns:a16="http://schemas.microsoft.com/office/drawing/2014/main" id="{23F1BD17-1F1D-4543-8CE4-E01F97F09C2A}"/>
                </a:ext>
              </a:extLst>
            </p:cNvPr>
            <p:cNvSpPr/>
            <p:nvPr/>
          </p:nvSpPr>
          <p:spPr>
            <a:xfrm>
              <a:off x="-22640" y="4474271"/>
              <a:ext cx="3062110" cy="359288"/>
            </a:xfrm>
            <a:prstGeom prst="ellipse">
              <a:avLst/>
            </a:prstGeom>
            <a:gradFill flip="none" rotWithShape="1">
              <a:gsLst>
                <a:gs pos="0">
                  <a:schemeClr val="accent1">
                    <a:lumMod val="50000"/>
                  </a:schemeClr>
                </a:gs>
                <a:gs pos="32000">
                  <a:schemeClr val="accent1">
                    <a:lumMod val="75000"/>
                  </a:schemeClr>
                </a:gs>
                <a:gs pos="100000">
                  <a:schemeClr val="accent1">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1" name="Rectangle: Rounded Corners 30">
              <a:extLst>
                <a:ext uri="{FF2B5EF4-FFF2-40B4-BE49-F238E27FC236}">
                  <a16:creationId xmlns:a16="http://schemas.microsoft.com/office/drawing/2014/main" id="{BDD1837A-886D-40A3-8B58-B970F3C1C40C}"/>
                </a:ext>
              </a:extLst>
            </p:cNvPr>
            <p:cNvSpPr/>
            <p:nvPr/>
          </p:nvSpPr>
          <p:spPr>
            <a:xfrm>
              <a:off x="480060" y="2780127"/>
              <a:ext cx="1224049" cy="269045"/>
            </a:xfrm>
            <a:prstGeom prst="roundRect">
              <a:avLst>
                <a:gd name="adj" fmla="val 5000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2" name="Isosceles Triangle 31">
              <a:extLst>
                <a:ext uri="{FF2B5EF4-FFF2-40B4-BE49-F238E27FC236}">
                  <a16:creationId xmlns:a16="http://schemas.microsoft.com/office/drawing/2014/main" id="{937600EC-7FFF-4C9E-ABF9-716F29A9C544}"/>
                </a:ext>
              </a:extLst>
            </p:cNvPr>
            <p:cNvSpPr/>
            <p:nvPr/>
          </p:nvSpPr>
          <p:spPr>
            <a:xfrm rot="10800000">
              <a:off x="604651" y="3034884"/>
              <a:ext cx="152313" cy="131304"/>
            </a:xfrm>
            <a:prstGeom prst="triangl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561" name="Rectangle 2560">
              <a:extLst>
                <a:ext uri="{FF2B5EF4-FFF2-40B4-BE49-F238E27FC236}">
                  <a16:creationId xmlns:a16="http://schemas.microsoft.com/office/drawing/2014/main" id="{67B3A002-29DF-4AAC-B80F-4975850276B9}"/>
                </a:ext>
              </a:extLst>
            </p:cNvPr>
            <p:cNvSpPr/>
            <p:nvPr/>
          </p:nvSpPr>
          <p:spPr>
            <a:xfrm>
              <a:off x="510757" y="2774515"/>
              <a:ext cx="1184940" cy="261610"/>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Cisco </a:t>
              </a:r>
              <a:r>
                <a:rPr kumimoji="0" lang="en-US" sz="1100" b="0" i="0" u="none" strike="noStrike" kern="1200" cap="none" spc="0" normalizeH="0" baseline="0" noProof="0" dirty="0" err="1">
                  <a:ln>
                    <a:noFill/>
                  </a:ln>
                  <a:solidFill>
                    <a:srgbClr val="005073"/>
                  </a:solidFill>
                  <a:effectLst/>
                  <a:uLnTx/>
                  <a:uFillTx/>
                  <a:latin typeface="CiscoSans ExtraLight" charset="0"/>
                  <a:ea typeface="CiscoSans ExtraLight" charset="0"/>
                  <a:cs typeface="CiscoSans ExtraLight" charset="0"/>
                </a:rPr>
                <a:t>Tetration</a:t>
              </a:r>
              <a:r>
                <a:rPr kumimoji="0" lang="en-US" sz="11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 </a:t>
              </a:r>
              <a:endParaRPr kumimoji="0" lang="en-US" sz="14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pic>
          <p:nvPicPr>
            <p:cNvPr id="40" name="Picture 39">
              <a:extLst>
                <a:ext uri="{FF2B5EF4-FFF2-40B4-BE49-F238E27FC236}">
                  <a16:creationId xmlns:a16="http://schemas.microsoft.com/office/drawing/2014/main" id="{F7EF0DDA-1C40-49BA-8AB6-86C53A0073B7}"/>
                </a:ext>
              </a:extLst>
            </p:cNvPr>
            <p:cNvPicPr>
              <a:picLocks noChangeAspect="1"/>
            </p:cNvPicPr>
            <p:nvPr/>
          </p:nvPicPr>
          <p:blipFill>
            <a:blip r:embed="rId28"/>
            <a:stretch>
              <a:fillRect/>
            </a:stretch>
          </p:blipFill>
          <p:spPr>
            <a:xfrm>
              <a:off x="549267" y="3256022"/>
              <a:ext cx="1917708" cy="1289687"/>
            </a:xfrm>
            <a:prstGeom prst="rect">
              <a:avLst/>
            </a:prstGeom>
          </p:spPr>
        </p:pic>
        <p:pic>
          <p:nvPicPr>
            <p:cNvPr id="4" name="Picture 3">
              <a:extLst>
                <a:ext uri="{FF2B5EF4-FFF2-40B4-BE49-F238E27FC236}">
                  <a16:creationId xmlns:a16="http://schemas.microsoft.com/office/drawing/2014/main" id="{77DB61C0-C370-4062-8E66-232BBCF4B698}"/>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218175" y="3190876"/>
              <a:ext cx="2575848" cy="1551890"/>
            </a:xfrm>
            <a:prstGeom prst="rect">
              <a:avLst/>
            </a:prstGeom>
          </p:spPr>
        </p:pic>
      </p:grpSp>
      <p:grpSp>
        <p:nvGrpSpPr>
          <p:cNvPr id="41" name="Group 40">
            <a:extLst>
              <a:ext uri="{FF2B5EF4-FFF2-40B4-BE49-F238E27FC236}">
                <a16:creationId xmlns:a16="http://schemas.microsoft.com/office/drawing/2014/main" id="{5FF859B6-5641-4B6B-A988-1B4156602BBD}"/>
              </a:ext>
            </a:extLst>
          </p:cNvPr>
          <p:cNvGrpSpPr/>
          <p:nvPr/>
        </p:nvGrpSpPr>
        <p:grpSpPr>
          <a:xfrm>
            <a:off x="4290865" y="3325833"/>
            <a:ext cx="4441153" cy="1449935"/>
            <a:chOff x="4490397" y="3217286"/>
            <a:chExt cx="1452205" cy="989192"/>
          </a:xfrm>
        </p:grpSpPr>
        <p:sp>
          <p:nvSpPr>
            <p:cNvPr id="1197" name="Rectangle: Rounded Corners 1196">
              <a:extLst>
                <a:ext uri="{FF2B5EF4-FFF2-40B4-BE49-F238E27FC236}">
                  <a16:creationId xmlns:a16="http://schemas.microsoft.com/office/drawing/2014/main" id="{5B2D18F0-C1DA-4193-8C6F-E0973D497BAB}"/>
                </a:ext>
              </a:extLst>
            </p:cNvPr>
            <p:cNvSpPr/>
            <p:nvPr/>
          </p:nvSpPr>
          <p:spPr>
            <a:xfrm>
              <a:off x="4490397" y="3342359"/>
              <a:ext cx="1432905" cy="864119"/>
            </a:xfrm>
            <a:prstGeom prst="roundRect">
              <a:avLst>
                <a:gd name="adj" fmla="val 10749"/>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98" name="Isosceles Triangle 1197">
              <a:extLst>
                <a:ext uri="{FF2B5EF4-FFF2-40B4-BE49-F238E27FC236}">
                  <a16:creationId xmlns:a16="http://schemas.microsoft.com/office/drawing/2014/main" id="{5D8512FB-8EC6-461D-94E5-DD64305A3FE1}"/>
                </a:ext>
              </a:extLst>
            </p:cNvPr>
            <p:cNvSpPr/>
            <p:nvPr/>
          </p:nvSpPr>
          <p:spPr>
            <a:xfrm rot="10800000" flipV="1">
              <a:off x="4614987" y="3217286"/>
              <a:ext cx="152313" cy="131304"/>
            </a:xfrm>
            <a:prstGeom prst="triangle">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99" name="Rectangle 1198">
              <a:extLst>
                <a:ext uri="{FF2B5EF4-FFF2-40B4-BE49-F238E27FC236}">
                  <a16:creationId xmlns:a16="http://schemas.microsoft.com/office/drawing/2014/main" id="{F7DE3585-1A42-4528-9933-8B3058453F69}"/>
                </a:ext>
              </a:extLst>
            </p:cNvPr>
            <p:cNvSpPr/>
            <p:nvPr/>
          </p:nvSpPr>
          <p:spPr>
            <a:xfrm>
              <a:off x="4502343" y="3398822"/>
              <a:ext cx="1440259" cy="797905"/>
            </a:xfrm>
            <a:prstGeom prst="rect">
              <a:avLst/>
            </a:prstGeom>
          </p:spPr>
          <p:txBody>
            <a:bodyPr wrap="square" anchor="t">
              <a:spAutoFit/>
            </a:bodyPr>
            <a:lstStyle/>
            <a:p>
              <a:pPr marL="171450" marR="0" lvl="0" indent="-1714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Full visibility into application components including workloads, processes and application behavior in the data center</a:t>
              </a:r>
            </a:p>
            <a:p>
              <a:pPr marL="171450" marR="0" lvl="0" indent="-1714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Application dependency mapping</a:t>
              </a:r>
            </a:p>
            <a:p>
              <a:pPr marL="171450" marR="0" lvl="0" indent="-1714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Application segmentation policies (whitelist/blacklist)</a:t>
              </a:r>
            </a:p>
            <a:p>
              <a:pPr marL="171450" marR="0" lvl="0" indent="-1714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Forensic search and application anomaly detection</a:t>
              </a:r>
            </a:p>
          </p:txBody>
        </p:sp>
      </p:grpSp>
      <p:cxnSp>
        <p:nvCxnSpPr>
          <p:cNvPr id="1279" name="Straight Connector 1278">
            <a:extLst>
              <a:ext uri="{FF2B5EF4-FFF2-40B4-BE49-F238E27FC236}">
                <a16:creationId xmlns:a16="http://schemas.microsoft.com/office/drawing/2014/main" id="{05B67877-FB31-4448-A6DA-A6F2F13C9939}"/>
              </a:ext>
            </a:extLst>
          </p:cNvPr>
          <p:cNvCxnSpPr>
            <a:cxnSpLocks/>
          </p:cNvCxnSpPr>
          <p:nvPr/>
        </p:nvCxnSpPr>
        <p:spPr>
          <a:xfrm>
            <a:off x="7568603"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80" name="Straight Connector 1279">
            <a:extLst>
              <a:ext uri="{FF2B5EF4-FFF2-40B4-BE49-F238E27FC236}">
                <a16:creationId xmlns:a16="http://schemas.microsoft.com/office/drawing/2014/main" id="{7CD132C3-FCFA-4A08-8707-1068815C6769}"/>
              </a:ext>
            </a:extLst>
          </p:cNvPr>
          <p:cNvCxnSpPr>
            <a:cxnSpLocks/>
          </p:cNvCxnSpPr>
          <p:nvPr/>
        </p:nvCxnSpPr>
        <p:spPr>
          <a:xfrm>
            <a:off x="7728147"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81" name="Straight Connector 1280">
            <a:extLst>
              <a:ext uri="{FF2B5EF4-FFF2-40B4-BE49-F238E27FC236}">
                <a16:creationId xmlns:a16="http://schemas.microsoft.com/office/drawing/2014/main" id="{38B44934-CEB3-43BF-9611-4ED70BB7382E}"/>
              </a:ext>
            </a:extLst>
          </p:cNvPr>
          <p:cNvCxnSpPr>
            <a:cxnSpLocks/>
          </p:cNvCxnSpPr>
          <p:nvPr/>
        </p:nvCxnSpPr>
        <p:spPr>
          <a:xfrm>
            <a:off x="7887691"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1305" name="yellow 1">
            <a:extLst>
              <a:ext uri="{FF2B5EF4-FFF2-40B4-BE49-F238E27FC236}">
                <a16:creationId xmlns:a16="http://schemas.microsoft.com/office/drawing/2014/main" id="{1D17EA8C-83BB-4C38-BE3F-1B0CDCE0A749}"/>
              </a:ext>
            </a:extLst>
          </p:cNvPr>
          <p:cNvSpPr/>
          <p:nvPr>
            <p:custDataLst>
              <p:tags r:id="rId12"/>
            </p:custDataLst>
          </p:nvPr>
        </p:nvSpPr>
        <p:spPr>
          <a:xfrm>
            <a:off x="7554418" y="2805895"/>
            <a:ext cx="45719" cy="45719"/>
          </a:xfrm>
          <a:prstGeom prst="ellipse">
            <a:avLst/>
          </a:prstGeom>
          <a:solidFill>
            <a:schemeClr val="accent5">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06" name="blue 1">
            <a:extLst>
              <a:ext uri="{FF2B5EF4-FFF2-40B4-BE49-F238E27FC236}">
                <a16:creationId xmlns:a16="http://schemas.microsoft.com/office/drawing/2014/main" id="{ED994EE1-796F-453D-805F-02AE9408F7B3}"/>
              </a:ext>
            </a:extLst>
          </p:cNvPr>
          <p:cNvSpPr/>
          <p:nvPr>
            <p:custDataLst>
              <p:tags r:id="rId13"/>
            </p:custDataLst>
          </p:nvPr>
        </p:nvSpPr>
        <p:spPr>
          <a:xfrm>
            <a:off x="7554000" y="2803499"/>
            <a:ext cx="45719" cy="45719"/>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07" name="green 1">
            <a:extLst>
              <a:ext uri="{FF2B5EF4-FFF2-40B4-BE49-F238E27FC236}">
                <a16:creationId xmlns:a16="http://schemas.microsoft.com/office/drawing/2014/main" id="{F18C48D5-7635-45AB-9451-6C87D9FBA695}"/>
              </a:ext>
            </a:extLst>
          </p:cNvPr>
          <p:cNvSpPr/>
          <p:nvPr>
            <p:custDataLst>
              <p:tags r:id="rId14"/>
            </p:custDataLst>
          </p:nvPr>
        </p:nvSpPr>
        <p:spPr>
          <a:xfrm>
            <a:off x="7553996" y="2805879"/>
            <a:ext cx="45719" cy="45719"/>
          </a:xfrm>
          <a:prstGeom prst="ellips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08" name="green 2">
            <a:extLst>
              <a:ext uri="{FF2B5EF4-FFF2-40B4-BE49-F238E27FC236}">
                <a16:creationId xmlns:a16="http://schemas.microsoft.com/office/drawing/2014/main" id="{8823020A-6505-4824-97D1-1903E904352F}"/>
              </a:ext>
            </a:extLst>
          </p:cNvPr>
          <p:cNvSpPr/>
          <p:nvPr>
            <p:custDataLst>
              <p:tags r:id="rId15"/>
            </p:custDataLst>
          </p:nvPr>
        </p:nvSpPr>
        <p:spPr>
          <a:xfrm>
            <a:off x="7706818" y="2800766"/>
            <a:ext cx="45719" cy="45719"/>
          </a:xfrm>
          <a:prstGeom prst="ellips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09" name="yellow 2">
            <a:extLst>
              <a:ext uri="{FF2B5EF4-FFF2-40B4-BE49-F238E27FC236}">
                <a16:creationId xmlns:a16="http://schemas.microsoft.com/office/drawing/2014/main" id="{B01159E0-24C3-4379-A982-7924FBEEEB09}"/>
              </a:ext>
            </a:extLst>
          </p:cNvPr>
          <p:cNvSpPr/>
          <p:nvPr>
            <p:custDataLst>
              <p:tags r:id="rId16"/>
            </p:custDataLst>
          </p:nvPr>
        </p:nvSpPr>
        <p:spPr>
          <a:xfrm>
            <a:off x="7708826" y="2805879"/>
            <a:ext cx="45719" cy="45719"/>
          </a:xfrm>
          <a:prstGeom prst="ellipse">
            <a:avLst/>
          </a:prstGeom>
          <a:solidFill>
            <a:schemeClr val="accent5">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10" name="blue 2">
            <a:extLst>
              <a:ext uri="{FF2B5EF4-FFF2-40B4-BE49-F238E27FC236}">
                <a16:creationId xmlns:a16="http://schemas.microsoft.com/office/drawing/2014/main" id="{3DC004C0-8B86-407B-B6B5-662B1A4E0D71}"/>
              </a:ext>
            </a:extLst>
          </p:cNvPr>
          <p:cNvSpPr/>
          <p:nvPr>
            <p:custDataLst>
              <p:tags r:id="rId17"/>
            </p:custDataLst>
          </p:nvPr>
        </p:nvSpPr>
        <p:spPr>
          <a:xfrm>
            <a:off x="7703484" y="2805879"/>
            <a:ext cx="45719" cy="45719"/>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11" name="yellow 3">
            <a:extLst>
              <a:ext uri="{FF2B5EF4-FFF2-40B4-BE49-F238E27FC236}">
                <a16:creationId xmlns:a16="http://schemas.microsoft.com/office/drawing/2014/main" id="{A7B2B546-8BC1-41C8-B424-2BCCCCD42F51}"/>
              </a:ext>
            </a:extLst>
          </p:cNvPr>
          <p:cNvSpPr/>
          <p:nvPr>
            <p:custDataLst>
              <p:tags r:id="rId18"/>
            </p:custDataLst>
          </p:nvPr>
        </p:nvSpPr>
        <p:spPr>
          <a:xfrm>
            <a:off x="7872717" y="2800766"/>
            <a:ext cx="45719" cy="45719"/>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12" name="green 3">
            <a:extLst>
              <a:ext uri="{FF2B5EF4-FFF2-40B4-BE49-F238E27FC236}">
                <a16:creationId xmlns:a16="http://schemas.microsoft.com/office/drawing/2014/main" id="{9829BD98-EC7D-4463-A689-0A08D0FF0DF9}"/>
              </a:ext>
            </a:extLst>
          </p:cNvPr>
          <p:cNvSpPr/>
          <p:nvPr>
            <p:custDataLst>
              <p:tags r:id="rId19"/>
            </p:custDataLst>
          </p:nvPr>
        </p:nvSpPr>
        <p:spPr>
          <a:xfrm>
            <a:off x="7872717" y="2800766"/>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13" name="blue 3">
            <a:extLst>
              <a:ext uri="{FF2B5EF4-FFF2-40B4-BE49-F238E27FC236}">
                <a16:creationId xmlns:a16="http://schemas.microsoft.com/office/drawing/2014/main" id="{58BBA109-C554-4037-90E4-FD14DF00C09C}"/>
              </a:ext>
            </a:extLst>
          </p:cNvPr>
          <p:cNvSpPr/>
          <p:nvPr>
            <p:custDataLst>
              <p:tags r:id="rId20"/>
            </p:custDataLst>
          </p:nvPr>
        </p:nvSpPr>
        <p:spPr>
          <a:xfrm>
            <a:off x="7872730" y="2803155"/>
            <a:ext cx="45719" cy="4571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3512" name="Group 3511">
            <a:extLst>
              <a:ext uri="{FF2B5EF4-FFF2-40B4-BE49-F238E27FC236}">
                <a16:creationId xmlns:a16="http://schemas.microsoft.com/office/drawing/2014/main" id="{91347035-99D9-42F0-ADB6-2971A8BDB77A}"/>
              </a:ext>
            </a:extLst>
          </p:cNvPr>
          <p:cNvGrpSpPr/>
          <p:nvPr/>
        </p:nvGrpSpPr>
        <p:grpSpPr>
          <a:xfrm>
            <a:off x="7488807" y="2214899"/>
            <a:ext cx="465186" cy="337180"/>
            <a:chOff x="4207537" y="2273730"/>
            <a:chExt cx="598923" cy="434116"/>
          </a:xfrm>
        </p:grpSpPr>
        <p:grpSp>
          <p:nvGrpSpPr>
            <p:cNvPr id="3513" name="Group 3512">
              <a:extLst>
                <a:ext uri="{FF2B5EF4-FFF2-40B4-BE49-F238E27FC236}">
                  <a16:creationId xmlns:a16="http://schemas.microsoft.com/office/drawing/2014/main" id="{F6ABA459-DEF6-4221-B147-4FE7B6556B12}"/>
                </a:ext>
              </a:extLst>
            </p:cNvPr>
            <p:cNvGrpSpPr/>
            <p:nvPr/>
          </p:nvGrpSpPr>
          <p:grpSpPr>
            <a:xfrm>
              <a:off x="4207537" y="2273730"/>
              <a:ext cx="179387" cy="434116"/>
              <a:chOff x="2330274" y="3840316"/>
              <a:chExt cx="238125" cy="576262"/>
            </a:xfrm>
          </p:grpSpPr>
          <p:sp>
            <p:nvSpPr>
              <p:cNvPr id="3528" name="Freeform 201">
                <a:extLst>
                  <a:ext uri="{FF2B5EF4-FFF2-40B4-BE49-F238E27FC236}">
                    <a16:creationId xmlns:a16="http://schemas.microsoft.com/office/drawing/2014/main" id="{31F9CC96-76C7-4E23-B332-5C79E3B74EAB}"/>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29" name="Line 202">
                <a:extLst>
                  <a:ext uri="{FF2B5EF4-FFF2-40B4-BE49-F238E27FC236}">
                    <a16:creationId xmlns:a16="http://schemas.microsoft.com/office/drawing/2014/main" id="{843D2ACF-23F1-451A-9C92-79E946CB24A8}"/>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30" name="Line 203">
                <a:extLst>
                  <a:ext uri="{FF2B5EF4-FFF2-40B4-BE49-F238E27FC236}">
                    <a16:creationId xmlns:a16="http://schemas.microsoft.com/office/drawing/2014/main" id="{CA63233B-2BCA-44E3-84AB-244ECF3B7D5B}"/>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31" name="Line 204">
                <a:extLst>
                  <a:ext uri="{FF2B5EF4-FFF2-40B4-BE49-F238E27FC236}">
                    <a16:creationId xmlns:a16="http://schemas.microsoft.com/office/drawing/2014/main" id="{376B4943-273F-4F16-9E60-E512EB4722E5}"/>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32" name="Line 205">
                <a:extLst>
                  <a:ext uri="{FF2B5EF4-FFF2-40B4-BE49-F238E27FC236}">
                    <a16:creationId xmlns:a16="http://schemas.microsoft.com/office/drawing/2014/main" id="{768D12DB-99FE-44B6-9E9F-0BB95D3170B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33" name="Line 206">
                <a:extLst>
                  <a:ext uri="{FF2B5EF4-FFF2-40B4-BE49-F238E27FC236}">
                    <a16:creationId xmlns:a16="http://schemas.microsoft.com/office/drawing/2014/main" id="{284F26CC-B9B6-4EB3-9EE0-9B5191228545}"/>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3514" name="Group 3513">
              <a:extLst>
                <a:ext uri="{FF2B5EF4-FFF2-40B4-BE49-F238E27FC236}">
                  <a16:creationId xmlns:a16="http://schemas.microsoft.com/office/drawing/2014/main" id="{40F05D58-4627-4D38-993A-39D9F153B1B9}"/>
                </a:ext>
              </a:extLst>
            </p:cNvPr>
            <p:cNvGrpSpPr/>
            <p:nvPr/>
          </p:nvGrpSpPr>
          <p:grpSpPr>
            <a:xfrm>
              <a:off x="4417305" y="2273730"/>
              <a:ext cx="179387" cy="434116"/>
              <a:chOff x="2330274" y="3840316"/>
              <a:chExt cx="238125" cy="576262"/>
            </a:xfrm>
          </p:grpSpPr>
          <p:sp>
            <p:nvSpPr>
              <p:cNvPr id="3522" name="Freeform 201">
                <a:extLst>
                  <a:ext uri="{FF2B5EF4-FFF2-40B4-BE49-F238E27FC236}">
                    <a16:creationId xmlns:a16="http://schemas.microsoft.com/office/drawing/2014/main" id="{75BDFE3F-CED2-48E5-9F8E-B336D9546C5D}"/>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23" name="Line 202">
                <a:extLst>
                  <a:ext uri="{FF2B5EF4-FFF2-40B4-BE49-F238E27FC236}">
                    <a16:creationId xmlns:a16="http://schemas.microsoft.com/office/drawing/2014/main" id="{126E4B4F-EA75-4D50-8525-E3FB8886853D}"/>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24" name="Line 203">
                <a:extLst>
                  <a:ext uri="{FF2B5EF4-FFF2-40B4-BE49-F238E27FC236}">
                    <a16:creationId xmlns:a16="http://schemas.microsoft.com/office/drawing/2014/main" id="{5F0E0D8A-2BFD-4A84-B99C-1AD09DF80994}"/>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25" name="Line 204">
                <a:extLst>
                  <a:ext uri="{FF2B5EF4-FFF2-40B4-BE49-F238E27FC236}">
                    <a16:creationId xmlns:a16="http://schemas.microsoft.com/office/drawing/2014/main" id="{31FADD0A-7188-474E-A505-00DB5219FC78}"/>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26" name="Line 205">
                <a:extLst>
                  <a:ext uri="{FF2B5EF4-FFF2-40B4-BE49-F238E27FC236}">
                    <a16:creationId xmlns:a16="http://schemas.microsoft.com/office/drawing/2014/main" id="{A8713570-A78F-41D0-B073-0E02B3741A52}"/>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27" name="Line 206">
                <a:extLst>
                  <a:ext uri="{FF2B5EF4-FFF2-40B4-BE49-F238E27FC236}">
                    <a16:creationId xmlns:a16="http://schemas.microsoft.com/office/drawing/2014/main" id="{7EAC848D-0D9C-4D92-B15E-11748FA1E82F}"/>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3515" name="Group 3514">
              <a:extLst>
                <a:ext uri="{FF2B5EF4-FFF2-40B4-BE49-F238E27FC236}">
                  <a16:creationId xmlns:a16="http://schemas.microsoft.com/office/drawing/2014/main" id="{6F1F29B8-D130-48C0-9D5A-2EAF11B97574}"/>
                </a:ext>
              </a:extLst>
            </p:cNvPr>
            <p:cNvGrpSpPr/>
            <p:nvPr/>
          </p:nvGrpSpPr>
          <p:grpSpPr>
            <a:xfrm>
              <a:off x="4627073" y="2273730"/>
              <a:ext cx="179387" cy="434116"/>
              <a:chOff x="2330274" y="3840316"/>
              <a:chExt cx="238125" cy="576262"/>
            </a:xfrm>
          </p:grpSpPr>
          <p:sp>
            <p:nvSpPr>
              <p:cNvPr id="3516" name="Freeform 201">
                <a:extLst>
                  <a:ext uri="{FF2B5EF4-FFF2-40B4-BE49-F238E27FC236}">
                    <a16:creationId xmlns:a16="http://schemas.microsoft.com/office/drawing/2014/main" id="{15094D6B-9A5B-4B86-9B91-7DA0F7483EB6}"/>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17" name="Line 202">
                <a:extLst>
                  <a:ext uri="{FF2B5EF4-FFF2-40B4-BE49-F238E27FC236}">
                    <a16:creationId xmlns:a16="http://schemas.microsoft.com/office/drawing/2014/main" id="{9992A9A4-7FB7-4350-9174-0F0286D9C632}"/>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18" name="Line 203">
                <a:extLst>
                  <a:ext uri="{FF2B5EF4-FFF2-40B4-BE49-F238E27FC236}">
                    <a16:creationId xmlns:a16="http://schemas.microsoft.com/office/drawing/2014/main" id="{982AA5F7-3B04-49A7-9E3C-3BB26E6B07F4}"/>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19" name="Line 204">
                <a:extLst>
                  <a:ext uri="{FF2B5EF4-FFF2-40B4-BE49-F238E27FC236}">
                    <a16:creationId xmlns:a16="http://schemas.microsoft.com/office/drawing/2014/main" id="{4F833476-0D9F-451A-B352-05F759654467}"/>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20" name="Line 205">
                <a:extLst>
                  <a:ext uri="{FF2B5EF4-FFF2-40B4-BE49-F238E27FC236}">
                    <a16:creationId xmlns:a16="http://schemas.microsoft.com/office/drawing/2014/main" id="{7A585599-8815-4C78-8A5E-306F3440177B}"/>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21" name="Line 206">
                <a:extLst>
                  <a:ext uri="{FF2B5EF4-FFF2-40B4-BE49-F238E27FC236}">
                    <a16:creationId xmlns:a16="http://schemas.microsoft.com/office/drawing/2014/main" id="{8A283454-A962-410E-BB89-653825680312}"/>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3583" name="Group 3582">
            <a:extLst>
              <a:ext uri="{FF2B5EF4-FFF2-40B4-BE49-F238E27FC236}">
                <a16:creationId xmlns:a16="http://schemas.microsoft.com/office/drawing/2014/main" id="{F5063D7E-B5A7-4E38-AE31-E7980E6EA8D8}"/>
              </a:ext>
            </a:extLst>
          </p:cNvPr>
          <p:cNvGrpSpPr/>
          <p:nvPr/>
        </p:nvGrpSpPr>
        <p:grpSpPr>
          <a:xfrm>
            <a:off x="7488807" y="2780652"/>
            <a:ext cx="465186" cy="337180"/>
            <a:chOff x="4207537" y="2273730"/>
            <a:chExt cx="598923" cy="434116"/>
          </a:xfrm>
        </p:grpSpPr>
        <p:grpSp>
          <p:nvGrpSpPr>
            <p:cNvPr id="3584" name="Group 3583">
              <a:extLst>
                <a:ext uri="{FF2B5EF4-FFF2-40B4-BE49-F238E27FC236}">
                  <a16:creationId xmlns:a16="http://schemas.microsoft.com/office/drawing/2014/main" id="{DC204382-92AC-444C-BBA3-C68C8F911F7F}"/>
                </a:ext>
              </a:extLst>
            </p:cNvPr>
            <p:cNvGrpSpPr/>
            <p:nvPr/>
          </p:nvGrpSpPr>
          <p:grpSpPr>
            <a:xfrm>
              <a:off x="4207537" y="2273730"/>
              <a:ext cx="179387" cy="434116"/>
              <a:chOff x="2330274" y="3840316"/>
              <a:chExt cx="238125" cy="576262"/>
            </a:xfrm>
          </p:grpSpPr>
          <p:sp>
            <p:nvSpPr>
              <p:cNvPr id="3599" name="Freeform 201">
                <a:extLst>
                  <a:ext uri="{FF2B5EF4-FFF2-40B4-BE49-F238E27FC236}">
                    <a16:creationId xmlns:a16="http://schemas.microsoft.com/office/drawing/2014/main" id="{A140103E-6E07-490D-8CDA-528D1250B01D}"/>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00" name="Line 202">
                <a:extLst>
                  <a:ext uri="{FF2B5EF4-FFF2-40B4-BE49-F238E27FC236}">
                    <a16:creationId xmlns:a16="http://schemas.microsoft.com/office/drawing/2014/main" id="{308A576F-5015-4592-BC74-F2CDF48D3A9B}"/>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01" name="Line 203">
                <a:extLst>
                  <a:ext uri="{FF2B5EF4-FFF2-40B4-BE49-F238E27FC236}">
                    <a16:creationId xmlns:a16="http://schemas.microsoft.com/office/drawing/2014/main" id="{104FDEEB-500D-46D2-A413-CCDEE92B234E}"/>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02" name="Line 204">
                <a:extLst>
                  <a:ext uri="{FF2B5EF4-FFF2-40B4-BE49-F238E27FC236}">
                    <a16:creationId xmlns:a16="http://schemas.microsoft.com/office/drawing/2014/main" id="{4A27DAA3-5490-49FE-8DD3-25A454598187}"/>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03" name="Line 205">
                <a:extLst>
                  <a:ext uri="{FF2B5EF4-FFF2-40B4-BE49-F238E27FC236}">
                    <a16:creationId xmlns:a16="http://schemas.microsoft.com/office/drawing/2014/main" id="{A68B719F-0CB8-41BE-826E-42A8C2C3D8B7}"/>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604" name="Line 206">
                <a:extLst>
                  <a:ext uri="{FF2B5EF4-FFF2-40B4-BE49-F238E27FC236}">
                    <a16:creationId xmlns:a16="http://schemas.microsoft.com/office/drawing/2014/main" id="{FCF8FE67-0941-4422-9932-36E1D139FFA0}"/>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3585" name="Group 3584">
              <a:extLst>
                <a:ext uri="{FF2B5EF4-FFF2-40B4-BE49-F238E27FC236}">
                  <a16:creationId xmlns:a16="http://schemas.microsoft.com/office/drawing/2014/main" id="{1399B0E7-4915-4C01-ACCC-3957972FED88}"/>
                </a:ext>
              </a:extLst>
            </p:cNvPr>
            <p:cNvGrpSpPr/>
            <p:nvPr/>
          </p:nvGrpSpPr>
          <p:grpSpPr>
            <a:xfrm>
              <a:off x="4417305" y="2273730"/>
              <a:ext cx="179387" cy="434116"/>
              <a:chOff x="2330274" y="3840316"/>
              <a:chExt cx="238125" cy="576262"/>
            </a:xfrm>
          </p:grpSpPr>
          <p:sp>
            <p:nvSpPr>
              <p:cNvPr id="3593" name="Freeform 201">
                <a:extLst>
                  <a:ext uri="{FF2B5EF4-FFF2-40B4-BE49-F238E27FC236}">
                    <a16:creationId xmlns:a16="http://schemas.microsoft.com/office/drawing/2014/main" id="{2A317F94-7AB9-43FC-931A-40841BEF688D}"/>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94" name="Line 202">
                <a:extLst>
                  <a:ext uri="{FF2B5EF4-FFF2-40B4-BE49-F238E27FC236}">
                    <a16:creationId xmlns:a16="http://schemas.microsoft.com/office/drawing/2014/main" id="{D5487F58-1B9D-4703-94F1-4E0A9778724A}"/>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95" name="Line 203">
                <a:extLst>
                  <a:ext uri="{FF2B5EF4-FFF2-40B4-BE49-F238E27FC236}">
                    <a16:creationId xmlns:a16="http://schemas.microsoft.com/office/drawing/2014/main" id="{69F46007-CF58-441C-90B3-8B451FA6452F}"/>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96" name="Line 204">
                <a:extLst>
                  <a:ext uri="{FF2B5EF4-FFF2-40B4-BE49-F238E27FC236}">
                    <a16:creationId xmlns:a16="http://schemas.microsoft.com/office/drawing/2014/main" id="{1AC9755E-4492-4582-A6E7-ADADE9A16241}"/>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97" name="Line 205">
                <a:extLst>
                  <a:ext uri="{FF2B5EF4-FFF2-40B4-BE49-F238E27FC236}">
                    <a16:creationId xmlns:a16="http://schemas.microsoft.com/office/drawing/2014/main" id="{CE13C1C7-9531-4D7C-8E4B-6F0C6E548ABF}"/>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98" name="Line 206">
                <a:extLst>
                  <a:ext uri="{FF2B5EF4-FFF2-40B4-BE49-F238E27FC236}">
                    <a16:creationId xmlns:a16="http://schemas.microsoft.com/office/drawing/2014/main" id="{A2632B83-C4CC-4689-8E78-DD0EA752852A}"/>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3586" name="Group 3585">
              <a:extLst>
                <a:ext uri="{FF2B5EF4-FFF2-40B4-BE49-F238E27FC236}">
                  <a16:creationId xmlns:a16="http://schemas.microsoft.com/office/drawing/2014/main" id="{A3CAAB48-445D-4691-9EB9-FD2C4A9D798C}"/>
                </a:ext>
              </a:extLst>
            </p:cNvPr>
            <p:cNvGrpSpPr/>
            <p:nvPr/>
          </p:nvGrpSpPr>
          <p:grpSpPr>
            <a:xfrm>
              <a:off x="4627073" y="2273730"/>
              <a:ext cx="179387" cy="434116"/>
              <a:chOff x="2330274" y="3840316"/>
              <a:chExt cx="238125" cy="576262"/>
            </a:xfrm>
          </p:grpSpPr>
          <p:sp>
            <p:nvSpPr>
              <p:cNvPr id="3587" name="Freeform 201">
                <a:extLst>
                  <a:ext uri="{FF2B5EF4-FFF2-40B4-BE49-F238E27FC236}">
                    <a16:creationId xmlns:a16="http://schemas.microsoft.com/office/drawing/2014/main" id="{6DE3E030-9316-405A-92DD-829F24EA820C}"/>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88" name="Line 202">
                <a:extLst>
                  <a:ext uri="{FF2B5EF4-FFF2-40B4-BE49-F238E27FC236}">
                    <a16:creationId xmlns:a16="http://schemas.microsoft.com/office/drawing/2014/main" id="{22931012-26A1-4581-840F-AF53FEF0B5C9}"/>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89" name="Line 203">
                <a:extLst>
                  <a:ext uri="{FF2B5EF4-FFF2-40B4-BE49-F238E27FC236}">
                    <a16:creationId xmlns:a16="http://schemas.microsoft.com/office/drawing/2014/main" id="{5CCDA46C-10C3-4F64-B203-C03ABE673E2E}"/>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90" name="Line 204">
                <a:extLst>
                  <a:ext uri="{FF2B5EF4-FFF2-40B4-BE49-F238E27FC236}">
                    <a16:creationId xmlns:a16="http://schemas.microsoft.com/office/drawing/2014/main" id="{8D18BAB7-9BBA-4A70-8340-D0CDB34CC3C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91" name="Line 205">
                <a:extLst>
                  <a:ext uri="{FF2B5EF4-FFF2-40B4-BE49-F238E27FC236}">
                    <a16:creationId xmlns:a16="http://schemas.microsoft.com/office/drawing/2014/main" id="{8C76D2E0-7304-44D1-B2E8-3746C836C724}"/>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592" name="Line 206">
                <a:extLst>
                  <a:ext uri="{FF2B5EF4-FFF2-40B4-BE49-F238E27FC236}">
                    <a16:creationId xmlns:a16="http://schemas.microsoft.com/office/drawing/2014/main" id="{E286EB1F-D655-4E9E-A468-94433DDFBE8A}"/>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sp>
        <p:nvSpPr>
          <p:cNvPr id="981" name="TextBox 980">
            <a:extLst>
              <a:ext uri="{FF2B5EF4-FFF2-40B4-BE49-F238E27FC236}">
                <a16:creationId xmlns:a16="http://schemas.microsoft.com/office/drawing/2014/main" id="{CF3393CF-03E8-4CF0-A5FC-11D4DD9F6333}"/>
              </a:ext>
            </a:extLst>
          </p:cNvPr>
          <p:cNvSpPr txBox="1"/>
          <p:nvPr/>
        </p:nvSpPr>
        <p:spPr>
          <a:xfrm>
            <a:off x="386201" y="1228847"/>
            <a:ext cx="2761785" cy="1477328"/>
          </a:xfrm>
          <a:prstGeom prst="rect">
            <a:avLst/>
          </a:prstGeom>
          <a:noFill/>
        </p:spPr>
        <p:txBody>
          <a:bodyPr wrap="square" rtlCol="0" anchor="ctr">
            <a:spAutoFit/>
          </a:bodyPr>
          <a:lstStyle/>
          <a:p>
            <a:pPr marL="0" marR="0" lvl="0" indent="0" algn="l" defTabSz="685783" rtl="0" eaLnBrk="1" fontAlgn="base" latinLnBrk="0" hangingPunct="1">
              <a:lnSpc>
                <a:spcPct val="90000"/>
              </a:lnSpc>
              <a:spcBef>
                <a:spcPts val="600"/>
              </a:spcBef>
              <a:spcAft>
                <a:spcPct val="0"/>
              </a:spcAft>
              <a:buClrTx/>
              <a:buSzTx/>
              <a:buFontTx/>
              <a:buNone/>
              <a:tabLst/>
              <a:defRPr/>
            </a:pPr>
            <a:r>
              <a:rPr kumimoji="0" lang="en-US" sz="2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Visibility: </a:t>
            </a:r>
            <a:br>
              <a:rPr kumimoji="0" lang="en-US" sz="2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br>
            <a:r>
              <a:rPr kumimoji="0" lang="en-US" sz="2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See Application Components and Their Behavior</a:t>
            </a:r>
          </a:p>
        </p:txBody>
      </p:sp>
    </p:spTree>
    <p:extLst>
      <p:ext uri="{BB962C8B-B14F-4D97-AF65-F5344CB8AC3E}">
        <p14:creationId xmlns:p14="http://schemas.microsoft.com/office/powerpoint/2010/main" val="4009735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
                                  </p:stCondLst>
                                  <p:childTnLst>
                                    <p:set>
                                      <p:cBhvr>
                                        <p:cTn id="6" dur="1" fill="hold">
                                          <p:stCondLst>
                                            <p:cond delay="0"/>
                                          </p:stCondLst>
                                        </p:cTn>
                                        <p:tgtEl>
                                          <p:spTgt spid="3444"/>
                                        </p:tgtEl>
                                        <p:attrNameLst>
                                          <p:attrName>style.visibility</p:attrName>
                                        </p:attrNameLst>
                                      </p:cBhvr>
                                      <p:to>
                                        <p:strVal val="visible"/>
                                      </p:to>
                                    </p:set>
                                    <p:animEffect transition="in" filter="fade">
                                      <p:cBhvr>
                                        <p:cTn id="7" dur="1000"/>
                                        <p:tgtEl>
                                          <p:spTgt spid="3444"/>
                                        </p:tgtEl>
                                      </p:cBhvr>
                                    </p:animEffect>
                                  </p:childTnLst>
                                </p:cTn>
                              </p:par>
                              <p:par>
                                <p:cTn id="8" presetID="6" presetClass="emph" presetSubtype="0" decel="100000" fill="hold" grpId="1" nodeType="withEffect">
                                  <p:stCondLst>
                                    <p:cond delay="0"/>
                                  </p:stCondLst>
                                  <p:childTnLst>
                                    <p:animScale>
                                      <p:cBhvr>
                                        <p:cTn id="9" dur="10" fill="hold"/>
                                        <p:tgtEl>
                                          <p:spTgt spid="3444"/>
                                        </p:tgtEl>
                                      </p:cBhvr>
                                      <p:by x="142850" y="142850"/>
                                    </p:animScale>
                                  </p:childTnLst>
                                </p:cTn>
                              </p:par>
                              <p:par>
                                <p:cTn id="10" presetID="6" presetClass="emph" presetSubtype="0" decel="100000" fill="hold" grpId="2" nodeType="withEffect">
                                  <p:stCondLst>
                                    <p:cond delay="10"/>
                                  </p:stCondLst>
                                  <p:childTnLst>
                                    <p:animScale>
                                      <p:cBhvr>
                                        <p:cTn id="11" dur="1000" fill="hold"/>
                                        <p:tgtEl>
                                          <p:spTgt spid="3444"/>
                                        </p:tgtEl>
                                      </p:cBhvr>
                                      <p:by x="70000" y="70000"/>
                                    </p:animScale>
                                  </p:childTnLst>
                                </p:cTn>
                              </p:par>
                              <p:par>
                                <p:cTn id="12" presetID="10" presetClass="entr" presetSubtype="0" fill="hold" nodeType="withEffect">
                                  <p:stCondLst>
                                    <p:cond delay="10"/>
                                  </p:stCondLst>
                                  <p:childTnLst>
                                    <p:set>
                                      <p:cBhvr>
                                        <p:cTn id="13" dur="1" fill="hold">
                                          <p:stCondLst>
                                            <p:cond delay="0"/>
                                          </p:stCondLst>
                                        </p:cTn>
                                        <p:tgtEl>
                                          <p:spTgt spid="39"/>
                                        </p:tgtEl>
                                        <p:attrNameLst>
                                          <p:attrName>style.visibility</p:attrName>
                                        </p:attrNameLst>
                                      </p:cBhvr>
                                      <p:to>
                                        <p:strVal val="visible"/>
                                      </p:to>
                                    </p:set>
                                    <p:animEffect transition="in" filter="fade">
                                      <p:cBhvr>
                                        <p:cTn id="14" dur="1000"/>
                                        <p:tgtEl>
                                          <p:spTgt spid="39"/>
                                        </p:tgtEl>
                                      </p:cBhvr>
                                    </p:animEffect>
                                  </p:childTnLst>
                                </p:cTn>
                              </p:par>
                              <p:par>
                                <p:cTn id="15" presetID="6" presetClass="emph" presetSubtype="0" decel="100000" fill="hold" nodeType="withEffect">
                                  <p:stCondLst>
                                    <p:cond delay="0"/>
                                  </p:stCondLst>
                                  <p:childTnLst>
                                    <p:animScale>
                                      <p:cBhvr>
                                        <p:cTn id="16" dur="10" fill="hold"/>
                                        <p:tgtEl>
                                          <p:spTgt spid="39"/>
                                        </p:tgtEl>
                                      </p:cBhvr>
                                      <p:by x="142850" y="142850"/>
                                    </p:animScale>
                                  </p:childTnLst>
                                </p:cTn>
                              </p:par>
                              <p:par>
                                <p:cTn id="17" presetID="6" presetClass="emph" presetSubtype="0" decel="100000" fill="hold" nodeType="withEffect">
                                  <p:stCondLst>
                                    <p:cond delay="10"/>
                                  </p:stCondLst>
                                  <p:childTnLst>
                                    <p:animScale>
                                      <p:cBhvr>
                                        <p:cTn id="18" dur="1000" fill="hold"/>
                                        <p:tgtEl>
                                          <p:spTgt spid="39"/>
                                        </p:tgtEl>
                                      </p:cBhvr>
                                      <p:by x="70000" y="70000"/>
                                    </p:animScale>
                                  </p:childTnLst>
                                </p:cTn>
                              </p:par>
                              <p:par>
                                <p:cTn id="19" presetID="10" presetClass="entr" presetSubtype="0" fill="hold" grpId="1" nodeType="withEffect">
                                  <p:stCondLst>
                                    <p:cond delay="750"/>
                                  </p:stCondLst>
                                  <p:childTnLst>
                                    <p:set>
                                      <p:cBhvr>
                                        <p:cTn id="20" dur="1" fill="hold">
                                          <p:stCondLst>
                                            <p:cond delay="0"/>
                                          </p:stCondLst>
                                        </p:cTn>
                                        <p:tgtEl>
                                          <p:spTgt spid="1292"/>
                                        </p:tgtEl>
                                        <p:attrNameLst>
                                          <p:attrName>style.visibility</p:attrName>
                                        </p:attrNameLst>
                                      </p:cBhvr>
                                      <p:to>
                                        <p:strVal val="visible"/>
                                      </p:to>
                                    </p:set>
                                    <p:animEffect transition="in" filter="fade">
                                      <p:cBhvr>
                                        <p:cTn id="21" dur="500"/>
                                        <p:tgtEl>
                                          <p:spTgt spid="1292"/>
                                        </p:tgtEl>
                                      </p:cBhvr>
                                    </p:animEffect>
                                  </p:childTnLst>
                                </p:cTn>
                              </p:par>
                              <p:par>
                                <p:cTn id="22" presetID="10" presetClass="entr" presetSubtype="0" fill="hold" grpId="1" nodeType="withEffect">
                                  <p:stCondLst>
                                    <p:cond delay="750"/>
                                  </p:stCondLst>
                                  <p:childTnLst>
                                    <p:set>
                                      <p:cBhvr>
                                        <p:cTn id="23" dur="1" fill="hold">
                                          <p:stCondLst>
                                            <p:cond delay="0"/>
                                          </p:stCondLst>
                                        </p:cTn>
                                        <p:tgtEl>
                                          <p:spTgt spid="1298"/>
                                        </p:tgtEl>
                                        <p:attrNameLst>
                                          <p:attrName>style.visibility</p:attrName>
                                        </p:attrNameLst>
                                      </p:cBhvr>
                                      <p:to>
                                        <p:strVal val="visible"/>
                                      </p:to>
                                    </p:set>
                                    <p:animEffect transition="in" filter="fade">
                                      <p:cBhvr>
                                        <p:cTn id="24" dur="500"/>
                                        <p:tgtEl>
                                          <p:spTgt spid="1298"/>
                                        </p:tgtEl>
                                      </p:cBhvr>
                                    </p:animEffect>
                                  </p:childTnLst>
                                </p:cTn>
                              </p:par>
                              <p:par>
                                <p:cTn id="25" presetID="10" presetClass="entr" presetSubtype="0" fill="hold" grpId="1" nodeType="withEffect">
                                  <p:stCondLst>
                                    <p:cond delay="750"/>
                                  </p:stCondLst>
                                  <p:childTnLst>
                                    <p:set>
                                      <p:cBhvr>
                                        <p:cTn id="26" dur="1" fill="hold">
                                          <p:stCondLst>
                                            <p:cond delay="0"/>
                                          </p:stCondLst>
                                        </p:cTn>
                                        <p:tgtEl>
                                          <p:spTgt spid="1299"/>
                                        </p:tgtEl>
                                        <p:attrNameLst>
                                          <p:attrName>style.visibility</p:attrName>
                                        </p:attrNameLst>
                                      </p:cBhvr>
                                      <p:to>
                                        <p:strVal val="visible"/>
                                      </p:to>
                                    </p:set>
                                    <p:animEffect transition="in" filter="fade">
                                      <p:cBhvr>
                                        <p:cTn id="27" dur="500"/>
                                        <p:tgtEl>
                                          <p:spTgt spid="1299"/>
                                        </p:tgtEl>
                                      </p:cBhvr>
                                    </p:animEffect>
                                  </p:childTnLst>
                                </p:cTn>
                              </p:par>
                              <p:par>
                                <p:cTn id="28" presetID="10" presetClass="entr" presetSubtype="0" fill="hold" grpId="1" nodeType="withEffect">
                                  <p:stCondLst>
                                    <p:cond delay="750"/>
                                  </p:stCondLst>
                                  <p:childTnLst>
                                    <p:set>
                                      <p:cBhvr>
                                        <p:cTn id="29" dur="1" fill="hold">
                                          <p:stCondLst>
                                            <p:cond delay="0"/>
                                          </p:stCondLst>
                                        </p:cTn>
                                        <p:tgtEl>
                                          <p:spTgt spid="1300"/>
                                        </p:tgtEl>
                                        <p:attrNameLst>
                                          <p:attrName>style.visibility</p:attrName>
                                        </p:attrNameLst>
                                      </p:cBhvr>
                                      <p:to>
                                        <p:strVal val="visible"/>
                                      </p:to>
                                    </p:set>
                                    <p:animEffect transition="in" filter="fade">
                                      <p:cBhvr>
                                        <p:cTn id="30" dur="500"/>
                                        <p:tgtEl>
                                          <p:spTgt spid="1300"/>
                                        </p:tgtEl>
                                      </p:cBhvr>
                                    </p:animEffect>
                                  </p:childTnLst>
                                </p:cTn>
                              </p:par>
                              <p:par>
                                <p:cTn id="31" presetID="10" presetClass="entr" presetSubtype="0" fill="hold" grpId="1" nodeType="withEffect">
                                  <p:stCondLst>
                                    <p:cond delay="750"/>
                                  </p:stCondLst>
                                  <p:childTnLst>
                                    <p:set>
                                      <p:cBhvr>
                                        <p:cTn id="32" dur="1" fill="hold">
                                          <p:stCondLst>
                                            <p:cond delay="0"/>
                                          </p:stCondLst>
                                        </p:cTn>
                                        <p:tgtEl>
                                          <p:spTgt spid="1301"/>
                                        </p:tgtEl>
                                        <p:attrNameLst>
                                          <p:attrName>style.visibility</p:attrName>
                                        </p:attrNameLst>
                                      </p:cBhvr>
                                      <p:to>
                                        <p:strVal val="visible"/>
                                      </p:to>
                                    </p:set>
                                    <p:animEffect transition="in" filter="fade">
                                      <p:cBhvr>
                                        <p:cTn id="33" dur="500"/>
                                        <p:tgtEl>
                                          <p:spTgt spid="1301"/>
                                        </p:tgtEl>
                                      </p:cBhvr>
                                    </p:animEffect>
                                  </p:childTnLst>
                                </p:cTn>
                              </p:par>
                              <p:par>
                                <p:cTn id="34" presetID="10" presetClass="entr" presetSubtype="0" fill="hold" grpId="1" nodeType="withEffect">
                                  <p:stCondLst>
                                    <p:cond delay="750"/>
                                  </p:stCondLst>
                                  <p:childTnLst>
                                    <p:set>
                                      <p:cBhvr>
                                        <p:cTn id="35" dur="1" fill="hold">
                                          <p:stCondLst>
                                            <p:cond delay="0"/>
                                          </p:stCondLst>
                                        </p:cTn>
                                        <p:tgtEl>
                                          <p:spTgt spid="1302"/>
                                        </p:tgtEl>
                                        <p:attrNameLst>
                                          <p:attrName>style.visibility</p:attrName>
                                        </p:attrNameLst>
                                      </p:cBhvr>
                                      <p:to>
                                        <p:strVal val="visible"/>
                                      </p:to>
                                    </p:set>
                                    <p:animEffect transition="in" filter="fade">
                                      <p:cBhvr>
                                        <p:cTn id="36" dur="500"/>
                                        <p:tgtEl>
                                          <p:spTgt spid="1302"/>
                                        </p:tgtEl>
                                      </p:cBhvr>
                                    </p:animEffect>
                                  </p:childTnLst>
                                </p:cTn>
                              </p:par>
                              <p:par>
                                <p:cTn id="37" presetID="10" presetClass="entr" presetSubtype="0" fill="hold" grpId="1" nodeType="withEffect">
                                  <p:stCondLst>
                                    <p:cond delay="750"/>
                                  </p:stCondLst>
                                  <p:childTnLst>
                                    <p:set>
                                      <p:cBhvr>
                                        <p:cTn id="38" dur="1" fill="hold">
                                          <p:stCondLst>
                                            <p:cond delay="0"/>
                                          </p:stCondLst>
                                        </p:cTn>
                                        <p:tgtEl>
                                          <p:spTgt spid="1297"/>
                                        </p:tgtEl>
                                        <p:attrNameLst>
                                          <p:attrName>style.visibility</p:attrName>
                                        </p:attrNameLst>
                                      </p:cBhvr>
                                      <p:to>
                                        <p:strVal val="visible"/>
                                      </p:to>
                                    </p:set>
                                    <p:animEffect transition="in" filter="fade">
                                      <p:cBhvr>
                                        <p:cTn id="39" dur="500"/>
                                        <p:tgtEl>
                                          <p:spTgt spid="1297"/>
                                        </p:tgtEl>
                                      </p:cBhvr>
                                    </p:animEffect>
                                  </p:childTnLst>
                                </p:cTn>
                              </p:par>
                              <p:par>
                                <p:cTn id="40" presetID="10" presetClass="entr" presetSubtype="0" fill="hold" grpId="1" nodeType="withEffect">
                                  <p:stCondLst>
                                    <p:cond delay="750"/>
                                  </p:stCondLst>
                                  <p:childTnLst>
                                    <p:set>
                                      <p:cBhvr>
                                        <p:cTn id="41" dur="1" fill="hold">
                                          <p:stCondLst>
                                            <p:cond delay="0"/>
                                          </p:stCondLst>
                                        </p:cTn>
                                        <p:tgtEl>
                                          <p:spTgt spid="1303"/>
                                        </p:tgtEl>
                                        <p:attrNameLst>
                                          <p:attrName>style.visibility</p:attrName>
                                        </p:attrNameLst>
                                      </p:cBhvr>
                                      <p:to>
                                        <p:strVal val="visible"/>
                                      </p:to>
                                    </p:set>
                                    <p:animEffect transition="in" filter="fade">
                                      <p:cBhvr>
                                        <p:cTn id="42" dur="500"/>
                                        <p:tgtEl>
                                          <p:spTgt spid="1303"/>
                                        </p:tgtEl>
                                      </p:cBhvr>
                                    </p:animEffect>
                                  </p:childTnLst>
                                </p:cTn>
                              </p:par>
                              <p:par>
                                <p:cTn id="43" presetID="10" presetClass="entr" presetSubtype="0" fill="hold" grpId="1" nodeType="withEffect">
                                  <p:stCondLst>
                                    <p:cond delay="750"/>
                                  </p:stCondLst>
                                  <p:childTnLst>
                                    <p:set>
                                      <p:cBhvr>
                                        <p:cTn id="44" dur="1" fill="hold">
                                          <p:stCondLst>
                                            <p:cond delay="0"/>
                                          </p:stCondLst>
                                        </p:cTn>
                                        <p:tgtEl>
                                          <p:spTgt spid="1304"/>
                                        </p:tgtEl>
                                        <p:attrNameLst>
                                          <p:attrName>style.visibility</p:attrName>
                                        </p:attrNameLst>
                                      </p:cBhvr>
                                      <p:to>
                                        <p:strVal val="visible"/>
                                      </p:to>
                                    </p:set>
                                    <p:animEffect transition="in" filter="fade">
                                      <p:cBhvr>
                                        <p:cTn id="45" dur="500"/>
                                        <p:tgtEl>
                                          <p:spTgt spid="1304"/>
                                        </p:tgtEl>
                                      </p:cBhvr>
                                    </p:animEffect>
                                  </p:childTnLst>
                                </p:cTn>
                              </p:par>
                              <p:par>
                                <p:cTn id="46" presetID="10" presetClass="entr" presetSubtype="0" fill="hold" grpId="1" nodeType="withEffect">
                                  <p:stCondLst>
                                    <p:cond delay="750"/>
                                  </p:stCondLst>
                                  <p:childTnLst>
                                    <p:set>
                                      <p:cBhvr>
                                        <p:cTn id="47" dur="1" fill="hold">
                                          <p:stCondLst>
                                            <p:cond delay="0"/>
                                          </p:stCondLst>
                                        </p:cTn>
                                        <p:tgtEl>
                                          <p:spTgt spid="1307"/>
                                        </p:tgtEl>
                                        <p:attrNameLst>
                                          <p:attrName>style.visibility</p:attrName>
                                        </p:attrNameLst>
                                      </p:cBhvr>
                                      <p:to>
                                        <p:strVal val="visible"/>
                                      </p:to>
                                    </p:set>
                                    <p:animEffect transition="in" filter="fade">
                                      <p:cBhvr>
                                        <p:cTn id="48" dur="500"/>
                                        <p:tgtEl>
                                          <p:spTgt spid="1307"/>
                                        </p:tgtEl>
                                      </p:cBhvr>
                                    </p:animEffect>
                                  </p:childTnLst>
                                </p:cTn>
                              </p:par>
                              <p:par>
                                <p:cTn id="49" presetID="10" presetClass="entr" presetSubtype="0" fill="hold" grpId="1" nodeType="withEffect">
                                  <p:stCondLst>
                                    <p:cond delay="750"/>
                                  </p:stCondLst>
                                  <p:childTnLst>
                                    <p:set>
                                      <p:cBhvr>
                                        <p:cTn id="50" dur="1" fill="hold">
                                          <p:stCondLst>
                                            <p:cond delay="0"/>
                                          </p:stCondLst>
                                        </p:cTn>
                                        <p:tgtEl>
                                          <p:spTgt spid="1306"/>
                                        </p:tgtEl>
                                        <p:attrNameLst>
                                          <p:attrName>style.visibility</p:attrName>
                                        </p:attrNameLst>
                                      </p:cBhvr>
                                      <p:to>
                                        <p:strVal val="visible"/>
                                      </p:to>
                                    </p:set>
                                    <p:animEffect transition="in" filter="fade">
                                      <p:cBhvr>
                                        <p:cTn id="51" dur="500"/>
                                        <p:tgtEl>
                                          <p:spTgt spid="1306"/>
                                        </p:tgtEl>
                                      </p:cBhvr>
                                    </p:animEffect>
                                  </p:childTnLst>
                                </p:cTn>
                              </p:par>
                              <p:par>
                                <p:cTn id="52" presetID="10" presetClass="entr" presetSubtype="0" fill="hold" grpId="1" nodeType="withEffect">
                                  <p:stCondLst>
                                    <p:cond delay="750"/>
                                  </p:stCondLst>
                                  <p:childTnLst>
                                    <p:set>
                                      <p:cBhvr>
                                        <p:cTn id="53" dur="1" fill="hold">
                                          <p:stCondLst>
                                            <p:cond delay="0"/>
                                          </p:stCondLst>
                                        </p:cTn>
                                        <p:tgtEl>
                                          <p:spTgt spid="1305"/>
                                        </p:tgtEl>
                                        <p:attrNameLst>
                                          <p:attrName>style.visibility</p:attrName>
                                        </p:attrNameLst>
                                      </p:cBhvr>
                                      <p:to>
                                        <p:strVal val="visible"/>
                                      </p:to>
                                    </p:set>
                                    <p:animEffect transition="in" filter="fade">
                                      <p:cBhvr>
                                        <p:cTn id="54" dur="500"/>
                                        <p:tgtEl>
                                          <p:spTgt spid="1305"/>
                                        </p:tgtEl>
                                      </p:cBhvr>
                                    </p:animEffect>
                                  </p:childTnLst>
                                </p:cTn>
                              </p:par>
                              <p:par>
                                <p:cTn id="55" presetID="10" presetClass="entr" presetSubtype="0" fill="hold" grpId="1" nodeType="withEffect">
                                  <p:stCondLst>
                                    <p:cond delay="750"/>
                                  </p:stCondLst>
                                  <p:childTnLst>
                                    <p:set>
                                      <p:cBhvr>
                                        <p:cTn id="56" dur="1" fill="hold">
                                          <p:stCondLst>
                                            <p:cond delay="0"/>
                                          </p:stCondLst>
                                        </p:cTn>
                                        <p:tgtEl>
                                          <p:spTgt spid="1308"/>
                                        </p:tgtEl>
                                        <p:attrNameLst>
                                          <p:attrName>style.visibility</p:attrName>
                                        </p:attrNameLst>
                                      </p:cBhvr>
                                      <p:to>
                                        <p:strVal val="visible"/>
                                      </p:to>
                                    </p:set>
                                    <p:animEffect transition="in" filter="fade">
                                      <p:cBhvr>
                                        <p:cTn id="57" dur="500"/>
                                        <p:tgtEl>
                                          <p:spTgt spid="1308"/>
                                        </p:tgtEl>
                                      </p:cBhvr>
                                    </p:animEffect>
                                  </p:childTnLst>
                                </p:cTn>
                              </p:par>
                              <p:par>
                                <p:cTn id="58" presetID="10" presetClass="entr" presetSubtype="0" fill="hold" grpId="1" nodeType="withEffect">
                                  <p:stCondLst>
                                    <p:cond delay="750"/>
                                  </p:stCondLst>
                                  <p:childTnLst>
                                    <p:set>
                                      <p:cBhvr>
                                        <p:cTn id="59" dur="1" fill="hold">
                                          <p:stCondLst>
                                            <p:cond delay="0"/>
                                          </p:stCondLst>
                                        </p:cTn>
                                        <p:tgtEl>
                                          <p:spTgt spid="1309"/>
                                        </p:tgtEl>
                                        <p:attrNameLst>
                                          <p:attrName>style.visibility</p:attrName>
                                        </p:attrNameLst>
                                      </p:cBhvr>
                                      <p:to>
                                        <p:strVal val="visible"/>
                                      </p:to>
                                    </p:set>
                                    <p:animEffect transition="in" filter="fade">
                                      <p:cBhvr>
                                        <p:cTn id="60" dur="500"/>
                                        <p:tgtEl>
                                          <p:spTgt spid="1309"/>
                                        </p:tgtEl>
                                      </p:cBhvr>
                                    </p:animEffect>
                                  </p:childTnLst>
                                </p:cTn>
                              </p:par>
                              <p:par>
                                <p:cTn id="61" presetID="10" presetClass="entr" presetSubtype="0" fill="hold" grpId="1" nodeType="withEffect">
                                  <p:stCondLst>
                                    <p:cond delay="750"/>
                                  </p:stCondLst>
                                  <p:childTnLst>
                                    <p:set>
                                      <p:cBhvr>
                                        <p:cTn id="62" dur="1" fill="hold">
                                          <p:stCondLst>
                                            <p:cond delay="0"/>
                                          </p:stCondLst>
                                        </p:cTn>
                                        <p:tgtEl>
                                          <p:spTgt spid="1310"/>
                                        </p:tgtEl>
                                        <p:attrNameLst>
                                          <p:attrName>style.visibility</p:attrName>
                                        </p:attrNameLst>
                                      </p:cBhvr>
                                      <p:to>
                                        <p:strVal val="visible"/>
                                      </p:to>
                                    </p:set>
                                    <p:animEffect transition="in" filter="fade">
                                      <p:cBhvr>
                                        <p:cTn id="63" dur="500"/>
                                        <p:tgtEl>
                                          <p:spTgt spid="1310"/>
                                        </p:tgtEl>
                                      </p:cBhvr>
                                    </p:animEffect>
                                  </p:childTnLst>
                                </p:cTn>
                              </p:par>
                              <p:par>
                                <p:cTn id="64" presetID="10" presetClass="entr" presetSubtype="0" fill="hold" grpId="1" nodeType="withEffect">
                                  <p:stCondLst>
                                    <p:cond delay="750"/>
                                  </p:stCondLst>
                                  <p:childTnLst>
                                    <p:set>
                                      <p:cBhvr>
                                        <p:cTn id="65" dur="1" fill="hold">
                                          <p:stCondLst>
                                            <p:cond delay="0"/>
                                          </p:stCondLst>
                                        </p:cTn>
                                        <p:tgtEl>
                                          <p:spTgt spid="1311"/>
                                        </p:tgtEl>
                                        <p:attrNameLst>
                                          <p:attrName>style.visibility</p:attrName>
                                        </p:attrNameLst>
                                      </p:cBhvr>
                                      <p:to>
                                        <p:strVal val="visible"/>
                                      </p:to>
                                    </p:set>
                                    <p:animEffect transition="in" filter="fade">
                                      <p:cBhvr>
                                        <p:cTn id="66" dur="500"/>
                                        <p:tgtEl>
                                          <p:spTgt spid="1311"/>
                                        </p:tgtEl>
                                      </p:cBhvr>
                                    </p:animEffect>
                                  </p:childTnLst>
                                </p:cTn>
                              </p:par>
                              <p:par>
                                <p:cTn id="67" presetID="10" presetClass="entr" presetSubtype="0" fill="hold" grpId="1" nodeType="withEffect">
                                  <p:stCondLst>
                                    <p:cond delay="750"/>
                                  </p:stCondLst>
                                  <p:childTnLst>
                                    <p:set>
                                      <p:cBhvr>
                                        <p:cTn id="68" dur="1" fill="hold">
                                          <p:stCondLst>
                                            <p:cond delay="0"/>
                                          </p:stCondLst>
                                        </p:cTn>
                                        <p:tgtEl>
                                          <p:spTgt spid="1312"/>
                                        </p:tgtEl>
                                        <p:attrNameLst>
                                          <p:attrName>style.visibility</p:attrName>
                                        </p:attrNameLst>
                                      </p:cBhvr>
                                      <p:to>
                                        <p:strVal val="visible"/>
                                      </p:to>
                                    </p:set>
                                    <p:animEffect transition="in" filter="fade">
                                      <p:cBhvr>
                                        <p:cTn id="69" dur="500"/>
                                        <p:tgtEl>
                                          <p:spTgt spid="1312"/>
                                        </p:tgtEl>
                                      </p:cBhvr>
                                    </p:animEffect>
                                  </p:childTnLst>
                                </p:cTn>
                              </p:par>
                              <p:par>
                                <p:cTn id="70" presetID="10" presetClass="entr" presetSubtype="0" fill="hold" grpId="1" nodeType="withEffect">
                                  <p:stCondLst>
                                    <p:cond delay="750"/>
                                  </p:stCondLst>
                                  <p:childTnLst>
                                    <p:set>
                                      <p:cBhvr>
                                        <p:cTn id="71" dur="1" fill="hold">
                                          <p:stCondLst>
                                            <p:cond delay="0"/>
                                          </p:stCondLst>
                                        </p:cTn>
                                        <p:tgtEl>
                                          <p:spTgt spid="1313"/>
                                        </p:tgtEl>
                                        <p:attrNameLst>
                                          <p:attrName>style.visibility</p:attrName>
                                        </p:attrNameLst>
                                      </p:cBhvr>
                                      <p:to>
                                        <p:strVal val="visible"/>
                                      </p:to>
                                    </p:set>
                                    <p:animEffect transition="in" filter="fade">
                                      <p:cBhvr>
                                        <p:cTn id="72" dur="500"/>
                                        <p:tgtEl>
                                          <p:spTgt spid="1313"/>
                                        </p:tgtEl>
                                      </p:cBhvr>
                                    </p:animEffect>
                                  </p:childTnLst>
                                </p:cTn>
                              </p:par>
                              <p:par>
                                <p:cTn id="73" presetID="10" presetClass="entr" presetSubtype="0" fill="hold" nodeType="withEffect">
                                  <p:stCondLst>
                                    <p:cond delay="750"/>
                                  </p:stCondLst>
                                  <p:childTnLst>
                                    <p:set>
                                      <p:cBhvr>
                                        <p:cTn id="74" dur="1" fill="hold">
                                          <p:stCondLst>
                                            <p:cond delay="0"/>
                                          </p:stCondLst>
                                        </p:cTn>
                                        <p:tgtEl>
                                          <p:spTgt spid="3582"/>
                                        </p:tgtEl>
                                        <p:attrNameLst>
                                          <p:attrName>style.visibility</p:attrName>
                                        </p:attrNameLst>
                                      </p:cBhvr>
                                      <p:to>
                                        <p:strVal val="visible"/>
                                      </p:to>
                                    </p:set>
                                    <p:animEffect transition="in" filter="fade">
                                      <p:cBhvr>
                                        <p:cTn id="75" dur="500"/>
                                        <p:tgtEl>
                                          <p:spTgt spid="3582"/>
                                        </p:tgtEl>
                                      </p:cBhvr>
                                    </p:animEffect>
                                  </p:childTnLst>
                                </p:cTn>
                              </p:par>
                              <p:par>
                                <p:cTn id="76" presetID="10" presetClass="entr" presetSubtype="0" fill="hold" nodeType="withEffect">
                                  <p:stCondLst>
                                    <p:cond delay="750"/>
                                  </p:stCondLst>
                                  <p:childTnLst>
                                    <p:set>
                                      <p:cBhvr>
                                        <p:cTn id="77" dur="1" fill="hold">
                                          <p:stCondLst>
                                            <p:cond delay="0"/>
                                          </p:stCondLst>
                                        </p:cTn>
                                        <p:tgtEl>
                                          <p:spTgt spid="3661"/>
                                        </p:tgtEl>
                                        <p:attrNameLst>
                                          <p:attrName>style.visibility</p:attrName>
                                        </p:attrNameLst>
                                      </p:cBhvr>
                                      <p:to>
                                        <p:strVal val="visible"/>
                                      </p:to>
                                    </p:set>
                                    <p:animEffect transition="in" filter="fade">
                                      <p:cBhvr>
                                        <p:cTn id="78" dur="500"/>
                                        <p:tgtEl>
                                          <p:spTgt spid="3661"/>
                                        </p:tgtEl>
                                      </p:cBhvr>
                                    </p:animEffect>
                                  </p:childTnLst>
                                </p:cTn>
                              </p:par>
                              <p:par>
                                <p:cTn id="79" presetID="10" presetClass="entr" presetSubtype="0" fill="hold" nodeType="withEffect">
                                  <p:stCondLst>
                                    <p:cond delay="750"/>
                                  </p:stCondLst>
                                  <p:childTnLst>
                                    <p:set>
                                      <p:cBhvr>
                                        <p:cTn id="80" dur="1" fill="hold">
                                          <p:stCondLst>
                                            <p:cond delay="0"/>
                                          </p:stCondLst>
                                        </p:cTn>
                                        <p:tgtEl>
                                          <p:spTgt spid="3607"/>
                                        </p:tgtEl>
                                        <p:attrNameLst>
                                          <p:attrName>style.visibility</p:attrName>
                                        </p:attrNameLst>
                                      </p:cBhvr>
                                      <p:to>
                                        <p:strVal val="visible"/>
                                      </p:to>
                                    </p:set>
                                    <p:animEffect transition="in" filter="fade">
                                      <p:cBhvr>
                                        <p:cTn id="81" dur="500"/>
                                        <p:tgtEl>
                                          <p:spTgt spid="3607"/>
                                        </p:tgtEl>
                                      </p:cBhvr>
                                    </p:animEffect>
                                  </p:childTnLst>
                                </p:cTn>
                              </p:par>
                              <p:par>
                                <p:cTn id="82" presetID="10" presetClass="entr" presetSubtype="0" fill="hold" nodeType="withEffect">
                                  <p:stCondLst>
                                    <p:cond delay="750"/>
                                  </p:stCondLst>
                                  <p:childTnLst>
                                    <p:set>
                                      <p:cBhvr>
                                        <p:cTn id="83" dur="1" fill="hold">
                                          <p:stCondLst>
                                            <p:cond delay="0"/>
                                          </p:stCondLst>
                                        </p:cTn>
                                        <p:tgtEl>
                                          <p:spTgt spid="3611"/>
                                        </p:tgtEl>
                                        <p:attrNameLst>
                                          <p:attrName>style.visibility</p:attrName>
                                        </p:attrNameLst>
                                      </p:cBhvr>
                                      <p:to>
                                        <p:strVal val="visible"/>
                                      </p:to>
                                    </p:set>
                                    <p:animEffect transition="in" filter="fade">
                                      <p:cBhvr>
                                        <p:cTn id="84" dur="500"/>
                                        <p:tgtEl>
                                          <p:spTgt spid="3611"/>
                                        </p:tgtEl>
                                      </p:cBhvr>
                                    </p:animEffect>
                                  </p:childTnLst>
                                </p:cTn>
                              </p:par>
                              <p:par>
                                <p:cTn id="85" presetID="10" presetClass="entr" presetSubtype="0" fill="hold" nodeType="withEffect">
                                  <p:stCondLst>
                                    <p:cond delay="750"/>
                                  </p:stCondLst>
                                  <p:childTnLst>
                                    <p:set>
                                      <p:cBhvr>
                                        <p:cTn id="86" dur="1" fill="hold">
                                          <p:stCondLst>
                                            <p:cond delay="0"/>
                                          </p:stCondLst>
                                        </p:cTn>
                                        <p:tgtEl>
                                          <p:spTgt spid="27"/>
                                        </p:tgtEl>
                                        <p:attrNameLst>
                                          <p:attrName>style.visibility</p:attrName>
                                        </p:attrNameLst>
                                      </p:cBhvr>
                                      <p:to>
                                        <p:strVal val="visible"/>
                                      </p:to>
                                    </p:set>
                                    <p:animEffect transition="in" filter="fade">
                                      <p:cBhvr>
                                        <p:cTn id="87" dur="500"/>
                                        <p:tgtEl>
                                          <p:spTgt spid="27"/>
                                        </p:tgtEl>
                                      </p:cBhvr>
                                    </p:animEffect>
                                  </p:childTnLst>
                                </p:cTn>
                              </p:par>
                              <p:par>
                                <p:cTn id="88" presetID="10" presetClass="entr" presetSubtype="0" fill="hold" nodeType="withEffect">
                                  <p:stCondLst>
                                    <p:cond delay="750"/>
                                  </p:stCondLst>
                                  <p:childTnLst>
                                    <p:set>
                                      <p:cBhvr>
                                        <p:cTn id="89" dur="1" fill="hold">
                                          <p:stCondLst>
                                            <p:cond delay="0"/>
                                          </p:stCondLst>
                                        </p:cTn>
                                        <p:tgtEl>
                                          <p:spTgt spid="1217"/>
                                        </p:tgtEl>
                                        <p:attrNameLst>
                                          <p:attrName>style.visibility</p:attrName>
                                        </p:attrNameLst>
                                      </p:cBhvr>
                                      <p:to>
                                        <p:strVal val="visible"/>
                                      </p:to>
                                    </p:set>
                                    <p:animEffect transition="in" filter="fade">
                                      <p:cBhvr>
                                        <p:cTn id="90" dur="500"/>
                                        <p:tgtEl>
                                          <p:spTgt spid="1217"/>
                                        </p:tgtEl>
                                      </p:cBhvr>
                                    </p:animEffect>
                                  </p:childTnLst>
                                </p:cTn>
                              </p:par>
                              <p:par>
                                <p:cTn id="91" presetID="10" presetClass="entr" presetSubtype="0" fill="hold" nodeType="withEffect">
                                  <p:stCondLst>
                                    <p:cond delay="750"/>
                                  </p:stCondLst>
                                  <p:childTnLst>
                                    <p:set>
                                      <p:cBhvr>
                                        <p:cTn id="92" dur="1" fill="hold">
                                          <p:stCondLst>
                                            <p:cond delay="0"/>
                                          </p:stCondLst>
                                        </p:cTn>
                                        <p:tgtEl>
                                          <p:spTgt spid="1278"/>
                                        </p:tgtEl>
                                        <p:attrNameLst>
                                          <p:attrName>style.visibility</p:attrName>
                                        </p:attrNameLst>
                                      </p:cBhvr>
                                      <p:to>
                                        <p:strVal val="visible"/>
                                      </p:to>
                                    </p:set>
                                    <p:animEffect transition="in" filter="fade">
                                      <p:cBhvr>
                                        <p:cTn id="93" dur="500"/>
                                        <p:tgtEl>
                                          <p:spTgt spid="1278"/>
                                        </p:tgtEl>
                                      </p:cBhvr>
                                    </p:animEffect>
                                  </p:childTnLst>
                                </p:cTn>
                              </p:par>
                              <p:par>
                                <p:cTn id="94" presetID="10" presetClass="entr" presetSubtype="0" fill="hold" nodeType="withEffect">
                                  <p:stCondLst>
                                    <p:cond delay="750"/>
                                  </p:stCondLst>
                                  <p:childTnLst>
                                    <p:set>
                                      <p:cBhvr>
                                        <p:cTn id="95" dur="1" fill="hold">
                                          <p:stCondLst>
                                            <p:cond delay="0"/>
                                          </p:stCondLst>
                                        </p:cTn>
                                        <p:tgtEl>
                                          <p:spTgt spid="3662"/>
                                        </p:tgtEl>
                                        <p:attrNameLst>
                                          <p:attrName>style.visibility</p:attrName>
                                        </p:attrNameLst>
                                      </p:cBhvr>
                                      <p:to>
                                        <p:strVal val="visible"/>
                                      </p:to>
                                    </p:set>
                                    <p:animEffect transition="in" filter="fade">
                                      <p:cBhvr>
                                        <p:cTn id="96" dur="500"/>
                                        <p:tgtEl>
                                          <p:spTgt spid="3662"/>
                                        </p:tgtEl>
                                      </p:cBhvr>
                                    </p:animEffect>
                                  </p:childTnLst>
                                </p:cTn>
                              </p:par>
                              <p:par>
                                <p:cTn id="97" presetID="10" presetClass="entr" presetSubtype="0" fill="hold" nodeType="withEffect">
                                  <p:stCondLst>
                                    <p:cond delay="750"/>
                                  </p:stCondLst>
                                  <p:childTnLst>
                                    <p:set>
                                      <p:cBhvr>
                                        <p:cTn id="98" dur="1" fill="hold">
                                          <p:stCondLst>
                                            <p:cond delay="0"/>
                                          </p:stCondLst>
                                        </p:cTn>
                                        <p:tgtEl>
                                          <p:spTgt spid="3684"/>
                                        </p:tgtEl>
                                        <p:attrNameLst>
                                          <p:attrName>style.visibility</p:attrName>
                                        </p:attrNameLst>
                                      </p:cBhvr>
                                      <p:to>
                                        <p:strVal val="visible"/>
                                      </p:to>
                                    </p:set>
                                    <p:animEffect transition="in" filter="fade">
                                      <p:cBhvr>
                                        <p:cTn id="99" dur="500"/>
                                        <p:tgtEl>
                                          <p:spTgt spid="3684"/>
                                        </p:tgtEl>
                                      </p:cBhvr>
                                    </p:animEffect>
                                  </p:childTnLst>
                                </p:cTn>
                              </p:par>
                              <p:par>
                                <p:cTn id="100" presetID="10" presetClass="entr" presetSubtype="0" fill="hold" nodeType="withEffect">
                                  <p:stCondLst>
                                    <p:cond delay="750"/>
                                  </p:stCondLst>
                                  <p:childTnLst>
                                    <p:set>
                                      <p:cBhvr>
                                        <p:cTn id="101" dur="1" fill="hold">
                                          <p:stCondLst>
                                            <p:cond delay="0"/>
                                          </p:stCondLst>
                                        </p:cTn>
                                        <p:tgtEl>
                                          <p:spTgt spid="3706"/>
                                        </p:tgtEl>
                                        <p:attrNameLst>
                                          <p:attrName>style.visibility</p:attrName>
                                        </p:attrNameLst>
                                      </p:cBhvr>
                                      <p:to>
                                        <p:strVal val="visible"/>
                                      </p:to>
                                    </p:set>
                                    <p:animEffect transition="in" filter="fade">
                                      <p:cBhvr>
                                        <p:cTn id="102" dur="500"/>
                                        <p:tgtEl>
                                          <p:spTgt spid="3706"/>
                                        </p:tgtEl>
                                      </p:cBhvr>
                                    </p:animEffect>
                                  </p:childTnLst>
                                </p:cTn>
                              </p:par>
                              <p:par>
                                <p:cTn id="103" presetID="10" presetClass="entr" presetSubtype="0" fill="hold" nodeType="withEffect">
                                  <p:stCondLst>
                                    <p:cond delay="750"/>
                                  </p:stCondLst>
                                  <p:childTnLst>
                                    <p:set>
                                      <p:cBhvr>
                                        <p:cTn id="104" dur="1" fill="hold">
                                          <p:stCondLst>
                                            <p:cond delay="0"/>
                                          </p:stCondLst>
                                        </p:cTn>
                                        <p:tgtEl>
                                          <p:spTgt spid="3707"/>
                                        </p:tgtEl>
                                        <p:attrNameLst>
                                          <p:attrName>style.visibility</p:attrName>
                                        </p:attrNameLst>
                                      </p:cBhvr>
                                      <p:to>
                                        <p:strVal val="visible"/>
                                      </p:to>
                                    </p:set>
                                    <p:animEffect transition="in" filter="fade">
                                      <p:cBhvr>
                                        <p:cTn id="105" dur="500"/>
                                        <p:tgtEl>
                                          <p:spTgt spid="3707"/>
                                        </p:tgtEl>
                                      </p:cBhvr>
                                    </p:animEffect>
                                  </p:childTnLst>
                                </p:cTn>
                              </p:par>
                              <p:par>
                                <p:cTn id="106" presetID="10" presetClass="entr" presetSubtype="0" fill="hold" nodeType="withEffect">
                                  <p:stCondLst>
                                    <p:cond delay="750"/>
                                  </p:stCondLst>
                                  <p:childTnLst>
                                    <p:set>
                                      <p:cBhvr>
                                        <p:cTn id="107" dur="1" fill="hold">
                                          <p:stCondLst>
                                            <p:cond delay="0"/>
                                          </p:stCondLst>
                                        </p:cTn>
                                        <p:tgtEl>
                                          <p:spTgt spid="3710"/>
                                        </p:tgtEl>
                                        <p:attrNameLst>
                                          <p:attrName>style.visibility</p:attrName>
                                        </p:attrNameLst>
                                      </p:cBhvr>
                                      <p:to>
                                        <p:strVal val="visible"/>
                                      </p:to>
                                    </p:set>
                                    <p:animEffect transition="in" filter="fade">
                                      <p:cBhvr>
                                        <p:cTn id="108" dur="500"/>
                                        <p:tgtEl>
                                          <p:spTgt spid="3710"/>
                                        </p:tgtEl>
                                      </p:cBhvr>
                                    </p:animEffect>
                                  </p:childTnLst>
                                </p:cTn>
                              </p:par>
                              <p:par>
                                <p:cTn id="109" presetID="10" presetClass="entr" presetSubtype="0" fill="hold" nodeType="withEffect">
                                  <p:stCondLst>
                                    <p:cond delay="750"/>
                                  </p:stCondLst>
                                  <p:childTnLst>
                                    <p:set>
                                      <p:cBhvr>
                                        <p:cTn id="110" dur="1" fill="hold">
                                          <p:stCondLst>
                                            <p:cond delay="0"/>
                                          </p:stCondLst>
                                        </p:cTn>
                                        <p:tgtEl>
                                          <p:spTgt spid="1279"/>
                                        </p:tgtEl>
                                        <p:attrNameLst>
                                          <p:attrName>style.visibility</p:attrName>
                                        </p:attrNameLst>
                                      </p:cBhvr>
                                      <p:to>
                                        <p:strVal val="visible"/>
                                      </p:to>
                                    </p:set>
                                    <p:animEffect transition="in" filter="fade">
                                      <p:cBhvr>
                                        <p:cTn id="111" dur="500"/>
                                        <p:tgtEl>
                                          <p:spTgt spid="1279"/>
                                        </p:tgtEl>
                                      </p:cBhvr>
                                    </p:animEffect>
                                  </p:childTnLst>
                                </p:cTn>
                              </p:par>
                              <p:par>
                                <p:cTn id="112" presetID="10" presetClass="entr" presetSubtype="0" fill="hold" nodeType="withEffect">
                                  <p:stCondLst>
                                    <p:cond delay="750"/>
                                  </p:stCondLst>
                                  <p:childTnLst>
                                    <p:set>
                                      <p:cBhvr>
                                        <p:cTn id="113" dur="1" fill="hold">
                                          <p:stCondLst>
                                            <p:cond delay="0"/>
                                          </p:stCondLst>
                                        </p:cTn>
                                        <p:tgtEl>
                                          <p:spTgt spid="1280"/>
                                        </p:tgtEl>
                                        <p:attrNameLst>
                                          <p:attrName>style.visibility</p:attrName>
                                        </p:attrNameLst>
                                      </p:cBhvr>
                                      <p:to>
                                        <p:strVal val="visible"/>
                                      </p:to>
                                    </p:set>
                                    <p:animEffect transition="in" filter="fade">
                                      <p:cBhvr>
                                        <p:cTn id="114" dur="500"/>
                                        <p:tgtEl>
                                          <p:spTgt spid="1280"/>
                                        </p:tgtEl>
                                      </p:cBhvr>
                                    </p:animEffect>
                                  </p:childTnLst>
                                </p:cTn>
                              </p:par>
                              <p:par>
                                <p:cTn id="115" presetID="10" presetClass="entr" presetSubtype="0" fill="hold" nodeType="withEffect">
                                  <p:stCondLst>
                                    <p:cond delay="750"/>
                                  </p:stCondLst>
                                  <p:childTnLst>
                                    <p:set>
                                      <p:cBhvr>
                                        <p:cTn id="116" dur="1" fill="hold">
                                          <p:stCondLst>
                                            <p:cond delay="0"/>
                                          </p:stCondLst>
                                        </p:cTn>
                                        <p:tgtEl>
                                          <p:spTgt spid="1281"/>
                                        </p:tgtEl>
                                        <p:attrNameLst>
                                          <p:attrName>style.visibility</p:attrName>
                                        </p:attrNameLst>
                                      </p:cBhvr>
                                      <p:to>
                                        <p:strVal val="visible"/>
                                      </p:to>
                                    </p:set>
                                    <p:animEffect transition="in" filter="fade">
                                      <p:cBhvr>
                                        <p:cTn id="117" dur="500"/>
                                        <p:tgtEl>
                                          <p:spTgt spid="1281"/>
                                        </p:tgtEl>
                                      </p:cBhvr>
                                    </p:animEffect>
                                  </p:childTnLst>
                                </p:cTn>
                              </p:par>
                              <p:par>
                                <p:cTn id="118" presetID="10" presetClass="entr" presetSubtype="0" fill="hold" nodeType="withEffect">
                                  <p:stCondLst>
                                    <p:cond delay="750"/>
                                  </p:stCondLst>
                                  <p:childTnLst>
                                    <p:set>
                                      <p:cBhvr>
                                        <p:cTn id="119" dur="1" fill="hold">
                                          <p:stCondLst>
                                            <p:cond delay="0"/>
                                          </p:stCondLst>
                                        </p:cTn>
                                        <p:tgtEl>
                                          <p:spTgt spid="3512"/>
                                        </p:tgtEl>
                                        <p:attrNameLst>
                                          <p:attrName>style.visibility</p:attrName>
                                        </p:attrNameLst>
                                      </p:cBhvr>
                                      <p:to>
                                        <p:strVal val="visible"/>
                                      </p:to>
                                    </p:set>
                                    <p:animEffect transition="in" filter="fade">
                                      <p:cBhvr>
                                        <p:cTn id="120" dur="500"/>
                                        <p:tgtEl>
                                          <p:spTgt spid="3512"/>
                                        </p:tgtEl>
                                      </p:cBhvr>
                                    </p:animEffect>
                                  </p:childTnLst>
                                </p:cTn>
                              </p:par>
                              <p:par>
                                <p:cTn id="121" presetID="10" presetClass="entr" presetSubtype="0" fill="hold" nodeType="withEffect">
                                  <p:stCondLst>
                                    <p:cond delay="750"/>
                                  </p:stCondLst>
                                  <p:childTnLst>
                                    <p:set>
                                      <p:cBhvr>
                                        <p:cTn id="122" dur="1" fill="hold">
                                          <p:stCondLst>
                                            <p:cond delay="0"/>
                                          </p:stCondLst>
                                        </p:cTn>
                                        <p:tgtEl>
                                          <p:spTgt spid="3583"/>
                                        </p:tgtEl>
                                        <p:attrNameLst>
                                          <p:attrName>style.visibility</p:attrName>
                                        </p:attrNameLst>
                                      </p:cBhvr>
                                      <p:to>
                                        <p:strVal val="visible"/>
                                      </p:to>
                                    </p:set>
                                    <p:animEffect transition="in" filter="fade">
                                      <p:cBhvr>
                                        <p:cTn id="123" dur="500"/>
                                        <p:tgtEl>
                                          <p:spTgt spid="3583"/>
                                        </p:tgtEl>
                                      </p:cBhvr>
                                    </p:animEffect>
                                  </p:childTnLst>
                                </p:cTn>
                              </p:par>
                              <p:par>
                                <p:cTn id="124" presetID="42" presetClass="path" presetSubtype="0" repeatCount="indefinite" fill="hold" grpId="0" nodeType="withEffect">
                                  <p:stCondLst>
                                    <p:cond delay="100"/>
                                  </p:stCondLst>
                                  <p:childTnLst>
                                    <p:animMotion origin="layout" path="M -0.00087 -0.00093 L -0.00122 -0.06112 " pathEditMode="relative" rAng="0" ptsTypes="AA">
                                      <p:cBhvr>
                                        <p:cTn id="125" dur="750" fill="hold"/>
                                        <p:tgtEl>
                                          <p:spTgt spid="1292"/>
                                        </p:tgtEl>
                                        <p:attrNameLst>
                                          <p:attrName>ppt_x</p:attrName>
                                          <p:attrName>ppt_y</p:attrName>
                                        </p:attrNameLst>
                                      </p:cBhvr>
                                      <p:rCtr x="-17" y="-3025"/>
                                    </p:animMotion>
                                  </p:childTnLst>
                                </p:cTn>
                              </p:par>
                              <p:par>
                                <p:cTn id="126" presetID="42" presetClass="path" presetSubtype="0" repeatCount="indefinite" fill="hold" grpId="0" nodeType="withEffect">
                                  <p:stCondLst>
                                    <p:cond delay="900"/>
                                  </p:stCondLst>
                                  <p:childTnLst>
                                    <p:animMotion origin="layout" path="M -0.00087 -0.00093 L -0.00122 -0.06111 " pathEditMode="relative" rAng="0" ptsTypes="AA">
                                      <p:cBhvr>
                                        <p:cTn id="127" dur="1900" fill="hold"/>
                                        <p:tgtEl>
                                          <p:spTgt spid="1298"/>
                                        </p:tgtEl>
                                        <p:attrNameLst>
                                          <p:attrName>ppt_x</p:attrName>
                                          <p:attrName>ppt_y</p:attrName>
                                        </p:attrNameLst>
                                      </p:cBhvr>
                                      <p:rCtr x="-17" y="-3025"/>
                                    </p:animMotion>
                                  </p:childTnLst>
                                </p:cTn>
                              </p:par>
                              <p:par>
                                <p:cTn id="128" presetID="42" presetClass="path" presetSubtype="0" repeatCount="indefinite" fill="hold" grpId="0" nodeType="withEffect">
                                  <p:stCondLst>
                                    <p:cond delay="1600"/>
                                  </p:stCondLst>
                                  <p:childTnLst>
                                    <p:animMotion origin="layout" path="M -0.00087 -0.00093 L -0.00122 -0.06112 " pathEditMode="relative" rAng="0" ptsTypes="AA">
                                      <p:cBhvr>
                                        <p:cTn id="129" dur="1000" fill="hold"/>
                                        <p:tgtEl>
                                          <p:spTgt spid="1299"/>
                                        </p:tgtEl>
                                        <p:attrNameLst>
                                          <p:attrName>ppt_x</p:attrName>
                                          <p:attrName>ppt_y</p:attrName>
                                        </p:attrNameLst>
                                      </p:cBhvr>
                                      <p:rCtr x="-17" y="-3025"/>
                                    </p:animMotion>
                                  </p:childTnLst>
                                </p:cTn>
                              </p:par>
                              <p:par>
                                <p:cTn id="130" presetID="64" presetClass="path" presetSubtype="0" repeatCount="indefinite" accel="50000" decel="50000" fill="hold" grpId="0" nodeType="withEffect">
                                  <p:stCondLst>
                                    <p:cond delay="100"/>
                                  </p:stCondLst>
                                  <p:childTnLst>
                                    <p:animMotion origin="layout" path="M 1.38889E-6 4.5679E-6 L -0.00052 -0.05741 " pathEditMode="relative" rAng="0" ptsTypes="AA">
                                      <p:cBhvr>
                                        <p:cTn id="131" dur="1000" spd="-100000" fill="hold"/>
                                        <p:tgtEl>
                                          <p:spTgt spid="1300"/>
                                        </p:tgtEl>
                                        <p:attrNameLst>
                                          <p:attrName>ppt_x</p:attrName>
                                          <p:attrName>ppt_y</p:attrName>
                                        </p:attrNameLst>
                                      </p:cBhvr>
                                      <p:rCtr x="-35" y="-2870"/>
                                    </p:animMotion>
                                  </p:childTnLst>
                                </p:cTn>
                              </p:par>
                              <p:par>
                                <p:cTn id="132" presetID="64" presetClass="path" presetSubtype="0" repeatCount="indefinite" accel="50000" decel="50000" fill="hold" grpId="0" nodeType="withEffect">
                                  <p:stCondLst>
                                    <p:cond delay="1100"/>
                                  </p:stCondLst>
                                  <p:childTnLst>
                                    <p:animMotion origin="layout" path="M 1.38889E-6 3.20988E-6 L -0.00052 -0.06019 " pathEditMode="relative" rAng="0" ptsTypes="AA">
                                      <p:cBhvr>
                                        <p:cTn id="133" dur="1900" spd="-100000" fill="hold"/>
                                        <p:tgtEl>
                                          <p:spTgt spid="1301"/>
                                        </p:tgtEl>
                                        <p:attrNameLst>
                                          <p:attrName>ppt_x</p:attrName>
                                          <p:attrName>ppt_y</p:attrName>
                                        </p:attrNameLst>
                                      </p:cBhvr>
                                      <p:rCtr x="-35" y="-3025"/>
                                    </p:animMotion>
                                  </p:childTnLst>
                                </p:cTn>
                              </p:par>
                              <p:par>
                                <p:cTn id="134" presetID="64" presetClass="path" presetSubtype="0" repeatCount="indefinite" accel="50000" decel="50000" fill="hold" grpId="0" nodeType="withEffect">
                                  <p:stCondLst>
                                    <p:cond delay="1900"/>
                                  </p:stCondLst>
                                  <p:childTnLst>
                                    <p:animMotion origin="layout" path="M -4.16667E-6 -3.20988E-6 L 0.00053 -0.06018 " pathEditMode="relative" rAng="0" ptsTypes="AA">
                                      <p:cBhvr>
                                        <p:cTn id="135" dur="1000" spd="-100000" fill="hold"/>
                                        <p:tgtEl>
                                          <p:spTgt spid="1302"/>
                                        </p:tgtEl>
                                        <p:attrNameLst>
                                          <p:attrName>ppt_x</p:attrName>
                                          <p:attrName>ppt_y</p:attrName>
                                        </p:attrNameLst>
                                      </p:cBhvr>
                                      <p:rCtr x="17" y="-3025"/>
                                    </p:animMotion>
                                  </p:childTnLst>
                                </p:cTn>
                              </p:par>
                              <p:par>
                                <p:cTn id="136" presetID="42" presetClass="path" presetSubtype="0" repeatCount="indefinite" fill="hold" grpId="0" nodeType="withEffect">
                                  <p:stCondLst>
                                    <p:cond delay="100"/>
                                  </p:stCondLst>
                                  <p:childTnLst>
                                    <p:animMotion origin="layout" path="M -0.00087 -0.00093 L -0.00122 -0.06111 " pathEditMode="relative" rAng="0" ptsTypes="AA">
                                      <p:cBhvr>
                                        <p:cTn id="137" dur="750" fill="hold"/>
                                        <p:tgtEl>
                                          <p:spTgt spid="1297"/>
                                        </p:tgtEl>
                                        <p:attrNameLst>
                                          <p:attrName>ppt_x</p:attrName>
                                          <p:attrName>ppt_y</p:attrName>
                                        </p:attrNameLst>
                                      </p:cBhvr>
                                      <p:rCtr x="-17" y="-3025"/>
                                    </p:animMotion>
                                  </p:childTnLst>
                                </p:cTn>
                              </p:par>
                              <p:par>
                                <p:cTn id="138" presetID="42" presetClass="path" presetSubtype="0" repeatCount="indefinite" fill="hold" grpId="0" nodeType="withEffect">
                                  <p:stCondLst>
                                    <p:cond delay="1050"/>
                                  </p:stCondLst>
                                  <p:childTnLst>
                                    <p:animMotion origin="layout" path="M -0.00087 -0.00093 L -0.00122 -0.06111 " pathEditMode="relative" rAng="0" ptsTypes="AA">
                                      <p:cBhvr>
                                        <p:cTn id="139" dur="1900" fill="hold"/>
                                        <p:tgtEl>
                                          <p:spTgt spid="1303"/>
                                        </p:tgtEl>
                                        <p:attrNameLst>
                                          <p:attrName>ppt_x</p:attrName>
                                          <p:attrName>ppt_y</p:attrName>
                                        </p:attrNameLst>
                                      </p:cBhvr>
                                      <p:rCtr x="-17" y="-3025"/>
                                    </p:animMotion>
                                  </p:childTnLst>
                                </p:cTn>
                              </p:par>
                              <p:par>
                                <p:cTn id="140" presetID="42" presetClass="path" presetSubtype="0" repeatCount="indefinite" fill="hold" grpId="0" nodeType="withEffect">
                                  <p:stCondLst>
                                    <p:cond delay="1050"/>
                                  </p:stCondLst>
                                  <p:childTnLst>
                                    <p:animMotion origin="layout" path="M -0.00087 -0.00093 L -0.00122 -0.06111 " pathEditMode="relative" rAng="0" ptsTypes="AA">
                                      <p:cBhvr>
                                        <p:cTn id="141" dur="1000" fill="hold"/>
                                        <p:tgtEl>
                                          <p:spTgt spid="1304"/>
                                        </p:tgtEl>
                                        <p:attrNameLst>
                                          <p:attrName>ppt_x</p:attrName>
                                          <p:attrName>ppt_y</p:attrName>
                                        </p:attrNameLst>
                                      </p:cBhvr>
                                      <p:rCtr x="-17" y="-3025"/>
                                    </p:animMotion>
                                  </p:childTnLst>
                                </p:cTn>
                              </p:par>
                              <p:par>
                                <p:cTn id="142" presetID="10" presetClass="entr" presetSubtype="0" fill="hold" nodeType="withEffect">
                                  <p:stCondLst>
                                    <p:cond delay="2000"/>
                                  </p:stCondLst>
                                  <p:childTnLst>
                                    <p:set>
                                      <p:cBhvr>
                                        <p:cTn id="143" dur="1" fill="hold">
                                          <p:stCondLst>
                                            <p:cond delay="0"/>
                                          </p:stCondLst>
                                        </p:cTn>
                                        <p:tgtEl>
                                          <p:spTgt spid="41"/>
                                        </p:tgtEl>
                                        <p:attrNameLst>
                                          <p:attrName>style.visibility</p:attrName>
                                        </p:attrNameLst>
                                      </p:cBhvr>
                                      <p:to>
                                        <p:strVal val="visible"/>
                                      </p:to>
                                    </p:set>
                                    <p:animEffect transition="in" filter="fade">
                                      <p:cBhvr>
                                        <p:cTn id="144" dur="250"/>
                                        <p:tgtEl>
                                          <p:spTgt spid="41"/>
                                        </p:tgtEl>
                                      </p:cBhvr>
                                    </p:animEffect>
                                  </p:childTnLst>
                                </p:cTn>
                              </p:par>
                              <p:par>
                                <p:cTn id="145" presetID="6" presetClass="emph" presetSubtype="0" fill="hold" nodeType="withEffect">
                                  <p:stCondLst>
                                    <p:cond delay="1750"/>
                                  </p:stCondLst>
                                  <p:childTnLst>
                                    <p:animScale>
                                      <p:cBhvr>
                                        <p:cTn id="146" dur="10" fill="hold"/>
                                        <p:tgtEl>
                                          <p:spTgt spid="41"/>
                                        </p:tgtEl>
                                      </p:cBhvr>
                                      <p:by x="1000" y="1000"/>
                                    </p:animScale>
                                  </p:childTnLst>
                                </p:cTn>
                              </p:par>
                              <p:par>
                                <p:cTn id="147" presetID="6" presetClass="emph" presetSubtype="0" decel="100000" fill="hold" nodeType="withEffect">
                                  <p:stCondLst>
                                    <p:cond delay="2000"/>
                                  </p:stCondLst>
                                  <p:childTnLst>
                                    <p:animScale>
                                      <p:cBhvr>
                                        <p:cTn id="148" dur="1000" fill="hold"/>
                                        <p:tgtEl>
                                          <p:spTgt spid="41"/>
                                        </p:tgtEl>
                                      </p:cBhvr>
                                      <p:by x="9999000" y="9999000"/>
                                    </p:animScale>
                                  </p:childTnLst>
                                </p:cTn>
                              </p:par>
                              <p:par>
                                <p:cTn id="149" presetID="42" presetClass="path" presetSubtype="0" decel="100000" fill="hold" nodeType="withEffect">
                                  <p:stCondLst>
                                    <p:cond delay="2000"/>
                                  </p:stCondLst>
                                  <p:childTnLst>
                                    <p:animMotion origin="layout" path="M 1.38889E-6 -3.7037E-6 L -0.075 -0.10926 " pathEditMode="relative" rAng="0" ptsTypes="AA">
                                      <p:cBhvr>
                                        <p:cTn id="150" dur="1000" spd="-100000" fill="hold"/>
                                        <p:tgtEl>
                                          <p:spTgt spid="41"/>
                                        </p:tgtEl>
                                        <p:attrNameLst>
                                          <p:attrName>ppt_x</p:attrName>
                                          <p:attrName>ppt_y</p:attrName>
                                        </p:attrNameLst>
                                      </p:cBhvr>
                                      <p:rCtr x="-3750" y="-5463"/>
                                    </p:animMotion>
                                  </p:childTnLst>
                                </p:cTn>
                              </p:par>
                              <p:par>
                                <p:cTn id="151" presetID="42" presetClass="path" presetSubtype="0" repeatCount="indefinite" fill="hold" grpId="0" nodeType="withEffect">
                                  <p:stCondLst>
                                    <p:cond delay="0"/>
                                  </p:stCondLst>
                                  <p:childTnLst>
                                    <p:animMotion origin="layout" path="M -0.00087 -0.00092 L -0.00121 -0.06111 " pathEditMode="relative" rAng="0" ptsTypes="AA">
                                      <p:cBhvr>
                                        <p:cTn id="152" dur="700" fill="hold"/>
                                        <p:tgtEl>
                                          <p:spTgt spid="1307"/>
                                        </p:tgtEl>
                                        <p:attrNameLst>
                                          <p:attrName>ppt_x</p:attrName>
                                          <p:attrName>ppt_y</p:attrName>
                                        </p:attrNameLst>
                                      </p:cBhvr>
                                      <p:rCtr x="-17" y="-3025"/>
                                    </p:animMotion>
                                  </p:childTnLst>
                                </p:cTn>
                              </p:par>
                              <p:par>
                                <p:cTn id="153" presetID="42" presetClass="path" presetSubtype="0" repeatCount="indefinite" fill="hold" grpId="0" nodeType="withEffect">
                                  <p:stCondLst>
                                    <p:cond delay="900"/>
                                  </p:stCondLst>
                                  <p:childTnLst>
                                    <p:animMotion origin="layout" path="M -0.00087 -0.00092 L -0.00121 -0.06111 " pathEditMode="relative" rAng="0" ptsTypes="AA">
                                      <p:cBhvr>
                                        <p:cTn id="154" dur="1900" fill="hold"/>
                                        <p:tgtEl>
                                          <p:spTgt spid="1306"/>
                                        </p:tgtEl>
                                        <p:attrNameLst>
                                          <p:attrName>ppt_x</p:attrName>
                                          <p:attrName>ppt_y</p:attrName>
                                        </p:attrNameLst>
                                      </p:cBhvr>
                                      <p:rCtr x="-17" y="-3025"/>
                                    </p:animMotion>
                                  </p:childTnLst>
                                </p:cTn>
                              </p:par>
                              <p:par>
                                <p:cTn id="155" presetID="42" presetClass="path" presetSubtype="0" repeatCount="indefinite" fill="hold" grpId="0" nodeType="withEffect">
                                  <p:stCondLst>
                                    <p:cond delay="1500"/>
                                  </p:stCondLst>
                                  <p:childTnLst>
                                    <p:animMotion origin="layout" path="M -0.00087 -0.00092 L -0.00122 -0.06111 " pathEditMode="relative" rAng="0" ptsTypes="AA">
                                      <p:cBhvr>
                                        <p:cTn id="156" dur="1000" fill="hold"/>
                                        <p:tgtEl>
                                          <p:spTgt spid="1305"/>
                                        </p:tgtEl>
                                        <p:attrNameLst>
                                          <p:attrName>ppt_x</p:attrName>
                                          <p:attrName>ppt_y</p:attrName>
                                        </p:attrNameLst>
                                      </p:cBhvr>
                                      <p:rCtr x="-17" y="-3025"/>
                                    </p:animMotion>
                                  </p:childTnLst>
                                </p:cTn>
                              </p:par>
                              <p:par>
                                <p:cTn id="157" presetID="64" presetClass="path" presetSubtype="0" repeatCount="indefinite" accel="50000" decel="50000" fill="hold" grpId="0" nodeType="withEffect">
                                  <p:stCondLst>
                                    <p:cond delay="100"/>
                                  </p:stCondLst>
                                  <p:childTnLst>
                                    <p:animMotion origin="layout" path="M -2.5E-6 4.5679E-6 L -0.00052 -0.05741 " pathEditMode="relative" rAng="0" ptsTypes="AA">
                                      <p:cBhvr>
                                        <p:cTn id="158" dur="1000" spd="-100000" fill="hold"/>
                                        <p:tgtEl>
                                          <p:spTgt spid="1308"/>
                                        </p:tgtEl>
                                        <p:attrNameLst>
                                          <p:attrName>ppt_x</p:attrName>
                                          <p:attrName>ppt_y</p:attrName>
                                        </p:attrNameLst>
                                      </p:cBhvr>
                                      <p:rCtr x="-35" y="-2870"/>
                                    </p:animMotion>
                                  </p:childTnLst>
                                </p:cTn>
                              </p:par>
                              <p:par>
                                <p:cTn id="159" presetID="64" presetClass="path" presetSubtype="0" repeatCount="indefinite" accel="50000" decel="50000" fill="hold" grpId="0" nodeType="withEffect">
                                  <p:stCondLst>
                                    <p:cond delay="1100"/>
                                  </p:stCondLst>
                                  <p:childTnLst>
                                    <p:animMotion origin="layout" path="M 3.88889E-6 -1.35802E-6 L -0.00052 -0.06018 " pathEditMode="relative" rAng="0" ptsTypes="AA">
                                      <p:cBhvr>
                                        <p:cTn id="160" dur="1900" spd="-100000" fill="hold"/>
                                        <p:tgtEl>
                                          <p:spTgt spid="1309"/>
                                        </p:tgtEl>
                                        <p:attrNameLst>
                                          <p:attrName>ppt_x</p:attrName>
                                          <p:attrName>ppt_y</p:attrName>
                                        </p:attrNameLst>
                                      </p:cBhvr>
                                      <p:rCtr x="-35" y="-3025"/>
                                    </p:animMotion>
                                  </p:childTnLst>
                                </p:cTn>
                              </p:par>
                              <p:par>
                                <p:cTn id="161" presetID="64" presetClass="path" presetSubtype="0" repeatCount="indefinite" accel="50000" decel="50000" fill="hold" grpId="0" nodeType="withEffect">
                                  <p:stCondLst>
                                    <p:cond delay="1900"/>
                                  </p:stCondLst>
                                  <p:childTnLst>
                                    <p:animMotion origin="layout" path="M 4.72222E-6 -1.35802E-6 L 0.00052 -0.06018 " pathEditMode="relative" rAng="0" ptsTypes="AA">
                                      <p:cBhvr>
                                        <p:cTn id="162" dur="1000" spd="-100000" fill="hold"/>
                                        <p:tgtEl>
                                          <p:spTgt spid="1310"/>
                                        </p:tgtEl>
                                        <p:attrNameLst>
                                          <p:attrName>ppt_x</p:attrName>
                                          <p:attrName>ppt_y</p:attrName>
                                        </p:attrNameLst>
                                      </p:cBhvr>
                                      <p:rCtr x="17" y="-3025"/>
                                    </p:animMotion>
                                  </p:childTnLst>
                                </p:cTn>
                              </p:par>
                              <p:par>
                                <p:cTn id="163" presetID="42" presetClass="path" presetSubtype="0" repeatCount="indefinite" fill="hold" grpId="0" nodeType="withEffect">
                                  <p:stCondLst>
                                    <p:cond delay="100"/>
                                  </p:stCondLst>
                                  <p:childTnLst>
                                    <p:animMotion origin="layout" path="M -0.00087 -0.00093 L -0.00122 -0.06112 " pathEditMode="relative" rAng="0" ptsTypes="AA">
                                      <p:cBhvr>
                                        <p:cTn id="164" dur="750" fill="hold"/>
                                        <p:tgtEl>
                                          <p:spTgt spid="1311"/>
                                        </p:tgtEl>
                                        <p:attrNameLst>
                                          <p:attrName>ppt_x</p:attrName>
                                          <p:attrName>ppt_y</p:attrName>
                                        </p:attrNameLst>
                                      </p:cBhvr>
                                      <p:rCtr x="-17" y="-3025"/>
                                    </p:animMotion>
                                  </p:childTnLst>
                                </p:cTn>
                              </p:par>
                              <p:par>
                                <p:cTn id="165" presetID="42" presetClass="path" presetSubtype="0" repeatCount="indefinite" fill="hold" grpId="0" nodeType="withEffect">
                                  <p:stCondLst>
                                    <p:cond delay="1050"/>
                                  </p:stCondLst>
                                  <p:childTnLst>
                                    <p:animMotion origin="layout" path="M -0.00087 -0.00093 L -0.00122 -0.06112 " pathEditMode="relative" rAng="0" ptsTypes="AA">
                                      <p:cBhvr>
                                        <p:cTn id="166" dur="1900" fill="hold"/>
                                        <p:tgtEl>
                                          <p:spTgt spid="1312"/>
                                        </p:tgtEl>
                                        <p:attrNameLst>
                                          <p:attrName>ppt_x</p:attrName>
                                          <p:attrName>ppt_y</p:attrName>
                                        </p:attrNameLst>
                                      </p:cBhvr>
                                      <p:rCtr x="-17" y="-3025"/>
                                    </p:animMotion>
                                  </p:childTnLst>
                                </p:cTn>
                              </p:par>
                              <p:par>
                                <p:cTn id="167" presetID="42" presetClass="path" presetSubtype="0" repeatCount="indefinite" fill="hold" grpId="0" nodeType="withEffect">
                                  <p:stCondLst>
                                    <p:cond delay="1050"/>
                                  </p:stCondLst>
                                  <p:childTnLst>
                                    <p:animMotion origin="layout" path="M -0.00087 -0.00092 L -0.00122 -0.06111 " pathEditMode="relative" rAng="0" ptsTypes="AA">
                                      <p:cBhvr>
                                        <p:cTn id="168" dur="1000" fill="hold"/>
                                        <p:tgtEl>
                                          <p:spTgt spid="1313"/>
                                        </p:tgtEl>
                                        <p:attrNameLst>
                                          <p:attrName>ppt_x</p:attrName>
                                          <p:attrName>ppt_y</p:attrName>
                                        </p:attrNameLst>
                                      </p:cBhvr>
                                      <p:rCtr x="-17" y="-3025"/>
                                    </p:animMotion>
                                  </p:childTnLst>
                                </p:cTn>
                              </p:par>
                            </p:childTnLst>
                          </p:cTn>
                        </p:par>
                      </p:childTnLst>
                    </p:cTn>
                  </p:par>
                  <p:par>
                    <p:cTn id="169" fill="hold">
                      <p:stCondLst>
                        <p:cond delay="indefinite"/>
                      </p:stCondLst>
                      <p:childTnLst>
                        <p:par>
                          <p:cTn id="170" fill="hold">
                            <p:stCondLst>
                              <p:cond delay="0"/>
                            </p:stCondLst>
                            <p:childTnLst>
                              <p:par>
                                <p:cTn id="171" presetID="10" presetClass="entr" presetSubtype="0" fill="hold" nodeType="clickEffect">
                                  <p:stCondLst>
                                    <p:cond delay="0"/>
                                  </p:stCondLst>
                                  <p:childTnLst>
                                    <p:set>
                                      <p:cBhvr>
                                        <p:cTn id="172" dur="1" fill="hold">
                                          <p:stCondLst>
                                            <p:cond delay="0"/>
                                          </p:stCondLst>
                                        </p:cTn>
                                        <p:tgtEl>
                                          <p:spTgt spid="44"/>
                                        </p:tgtEl>
                                        <p:attrNameLst>
                                          <p:attrName>style.visibility</p:attrName>
                                        </p:attrNameLst>
                                      </p:cBhvr>
                                      <p:to>
                                        <p:strVal val="visible"/>
                                      </p:to>
                                    </p:set>
                                    <p:animEffect transition="in" filter="fade">
                                      <p:cBhvr>
                                        <p:cTn id="173"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44" grpId="0" animBg="1"/>
      <p:bldP spid="3444" grpId="1" animBg="1"/>
      <p:bldP spid="3444" grpId="2" animBg="1"/>
      <p:bldP spid="1299" grpId="0" animBg="1"/>
      <p:bldP spid="1299" grpId="1" animBg="1"/>
      <p:bldP spid="1298" grpId="0" animBg="1"/>
      <p:bldP spid="1298" grpId="1" animBg="1"/>
      <p:bldP spid="1292" grpId="0" animBg="1"/>
      <p:bldP spid="1292" grpId="1" animBg="1"/>
      <p:bldP spid="1300" grpId="0" animBg="1"/>
      <p:bldP spid="1300" grpId="1" animBg="1"/>
      <p:bldP spid="1301" grpId="0" animBg="1"/>
      <p:bldP spid="1301" grpId="1" animBg="1"/>
      <p:bldP spid="1302" grpId="0" animBg="1"/>
      <p:bldP spid="1302" grpId="1" animBg="1"/>
      <p:bldP spid="1297" grpId="0" animBg="1"/>
      <p:bldP spid="1297" grpId="1" animBg="1"/>
      <p:bldP spid="1303" grpId="0" animBg="1"/>
      <p:bldP spid="1303" grpId="1" animBg="1"/>
      <p:bldP spid="1304" grpId="0" animBg="1"/>
      <p:bldP spid="1304" grpId="1" animBg="1"/>
      <p:bldP spid="1305" grpId="0" animBg="1"/>
      <p:bldP spid="1305" grpId="1" animBg="1"/>
      <p:bldP spid="1306" grpId="0" animBg="1"/>
      <p:bldP spid="1306" grpId="1" animBg="1"/>
      <p:bldP spid="1307" grpId="0" animBg="1"/>
      <p:bldP spid="1307" grpId="1" animBg="1"/>
      <p:bldP spid="1308" grpId="0" animBg="1"/>
      <p:bldP spid="1308" grpId="1" animBg="1"/>
      <p:bldP spid="1309" grpId="0" animBg="1"/>
      <p:bldP spid="1309" grpId="1" animBg="1"/>
      <p:bldP spid="1310" grpId="0" animBg="1"/>
      <p:bldP spid="1310" grpId="1" animBg="1"/>
      <p:bldP spid="1311" grpId="0" animBg="1"/>
      <p:bldP spid="1311" grpId="1" animBg="1"/>
      <p:bldP spid="1312" grpId="0" animBg="1"/>
      <p:bldP spid="1312" grpId="1" animBg="1"/>
      <p:bldP spid="1313" grpId="0" animBg="1"/>
      <p:bldP spid="1313"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7" name="Group 2380">
            <a:extLst>
              <a:ext uri="{FF2B5EF4-FFF2-40B4-BE49-F238E27FC236}">
                <a16:creationId xmlns:a16="http://schemas.microsoft.com/office/drawing/2014/main" id="{23A25497-FC3D-439F-B703-D5BCFF3F3A98}"/>
              </a:ext>
            </a:extLst>
          </p:cNvPr>
          <p:cNvGrpSpPr>
            <a:grpSpLocks noChangeAspect="1"/>
          </p:cNvGrpSpPr>
          <p:nvPr/>
        </p:nvGrpSpPr>
        <p:grpSpPr bwMode="auto">
          <a:xfrm>
            <a:off x="2951873" y="-615394"/>
            <a:ext cx="6429375" cy="6374289"/>
            <a:chOff x="1246" y="0"/>
            <a:chExt cx="3268" cy="3240"/>
          </a:xfrm>
        </p:grpSpPr>
        <p:grpSp>
          <p:nvGrpSpPr>
            <p:cNvPr id="209" name="Group 2581">
              <a:extLst>
                <a:ext uri="{FF2B5EF4-FFF2-40B4-BE49-F238E27FC236}">
                  <a16:creationId xmlns:a16="http://schemas.microsoft.com/office/drawing/2014/main" id="{2BBA3A0E-B5E1-4543-BB1B-6F740D562EE5}"/>
                </a:ext>
              </a:extLst>
            </p:cNvPr>
            <p:cNvGrpSpPr>
              <a:grpSpLocks/>
            </p:cNvGrpSpPr>
            <p:nvPr/>
          </p:nvGrpSpPr>
          <p:grpSpPr bwMode="auto">
            <a:xfrm>
              <a:off x="1276" y="30"/>
              <a:ext cx="3178" cy="3180"/>
              <a:chOff x="1276" y="30"/>
              <a:chExt cx="3178" cy="3180"/>
            </a:xfrm>
          </p:grpSpPr>
          <p:sp>
            <p:nvSpPr>
              <p:cNvPr id="797" name="Line 2381">
                <a:extLst>
                  <a:ext uri="{FF2B5EF4-FFF2-40B4-BE49-F238E27FC236}">
                    <a16:creationId xmlns:a16="http://schemas.microsoft.com/office/drawing/2014/main" id="{D500BB3D-44A1-483A-8A56-1D77357072CD}"/>
                  </a:ext>
                </a:extLst>
              </p:cNvPr>
              <p:cNvSpPr>
                <a:spLocks noChangeShapeType="1"/>
              </p:cNvSpPr>
              <p:nvPr/>
            </p:nvSpPr>
            <p:spPr bwMode="auto">
              <a:xfrm>
                <a:off x="3045" y="147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8" name="Freeform 2382">
                <a:extLst>
                  <a:ext uri="{FF2B5EF4-FFF2-40B4-BE49-F238E27FC236}">
                    <a16:creationId xmlns:a16="http://schemas.microsoft.com/office/drawing/2014/main" id="{0D706719-6AB6-4250-8823-FE9BF788450E}"/>
                  </a:ext>
                </a:extLst>
              </p:cNvPr>
              <p:cNvSpPr>
                <a:spLocks/>
              </p:cNvSpPr>
              <p:nvPr/>
            </p:nvSpPr>
            <p:spPr bwMode="auto">
              <a:xfrm>
                <a:off x="2625" y="1410"/>
                <a:ext cx="300" cy="210"/>
              </a:xfrm>
              <a:custGeom>
                <a:avLst/>
                <a:gdLst>
                  <a:gd name="T0" fmla="*/ 210 w 300"/>
                  <a:gd name="T1" fmla="*/ 90 h 210"/>
                  <a:gd name="T2" fmla="*/ 300 w 300"/>
                  <a:gd name="T3" fmla="*/ 30 h 210"/>
                  <a:gd name="T4" fmla="*/ 300 w 300"/>
                  <a:gd name="T5" fmla="*/ 120 h 210"/>
                  <a:gd name="T6" fmla="*/ 240 w 300"/>
                  <a:gd name="T7" fmla="*/ 210 h 210"/>
                  <a:gd name="T8" fmla="*/ 150 w 300"/>
                  <a:gd name="T9" fmla="*/ 150 h 210"/>
                  <a:gd name="T10" fmla="*/ 60 w 300"/>
                  <a:gd name="T11" fmla="*/ 90 h 210"/>
                  <a:gd name="T12" fmla="*/ 0 w 30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210" y="90"/>
                    </a:moveTo>
                    <a:lnTo>
                      <a:pt x="300" y="30"/>
                    </a:lnTo>
                    <a:lnTo>
                      <a:pt x="300" y="120"/>
                    </a:lnTo>
                    <a:lnTo>
                      <a:pt x="240" y="210"/>
                    </a:lnTo>
                    <a:lnTo>
                      <a:pt x="150" y="150"/>
                    </a:lnTo>
                    <a:lnTo>
                      <a:pt x="60" y="9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9" name="Freeform 2383">
                <a:extLst>
                  <a:ext uri="{FF2B5EF4-FFF2-40B4-BE49-F238E27FC236}">
                    <a16:creationId xmlns:a16="http://schemas.microsoft.com/office/drawing/2014/main" id="{3433035D-CE64-4269-842D-5A41A8759653}"/>
                  </a:ext>
                </a:extLst>
              </p:cNvPr>
              <p:cNvSpPr>
                <a:spLocks/>
              </p:cNvSpPr>
              <p:nvPr/>
            </p:nvSpPr>
            <p:spPr bwMode="auto">
              <a:xfrm>
                <a:off x="2535" y="1292"/>
                <a:ext cx="180" cy="208"/>
              </a:xfrm>
              <a:custGeom>
                <a:avLst/>
                <a:gdLst>
                  <a:gd name="T0" fmla="*/ 0 w 180"/>
                  <a:gd name="T1" fmla="*/ 149 h 208"/>
                  <a:gd name="T2" fmla="*/ 150 w 180"/>
                  <a:gd name="T3" fmla="*/ 208 h 208"/>
                  <a:gd name="T4" fmla="*/ 180 w 180"/>
                  <a:gd name="T5" fmla="*/ 0 h 208"/>
                </a:gdLst>
                <a:ahLst/>
                <a:cxnLst>
                  <a:cxn ang="0">
                    <a:pos x="T0" y="T1"/>
                  </a:cxn>
                  <a:cxn ang="0">
                    <a:pos x="T2" y="T3"/>
                  </a:cxn>
                  <a:cxn ang="0">
                    <a:pos x="T4" y="T5"/>
                  </a:cxn>
                </a:cxnLst>
                <a:rect l="0" t="0" r="r" b="b"/>
                <a:pathLst>
                  <a:path w="180" h="208">
                    <a:moveTo>
                      <a:pt x="0" y="149"/>
                    </a:moveTo>
                    <a:lnTo>
                      <a:pt x="150" y="208"/>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0" name="Line 2384">
                <a:extLst>
                  <a:ext uri="{FF2B5EF4-FFF2-40B4-BE49-F238E27FC236}">
                    <a16:creationId xmlns:a16="http://schemas.microsoft.com/office/drawing/2014/main" id="{80936654-E79B-4EAA-A13F-3605BB7D5809}"/>
                  </a:ext>
                </a:extLst>
              </p:cNvPr>
              <p:cNvSpPr>
                <a:spLocks noChangeShapeType="1"/>
              </p:cNvSpPr>
              <p:nvPr/>
            </p:nvSpPr>
            <p:spPr bwMode="auto">
              <a:xfrm flipH="1">
                <a:off x="2535" y="1620"/>
                <a:ext cx="18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1" name="Line 2385">
                <a:extLst>
                  <a:ext uri="{FF2B5EF4-FFF2-40B4-BE49-F238E27FC236}">
                    <a16:creationId xmlns:a16="http://schemas.microsoft.com/office/drawing/2014/main" id="{55D97AED-CECA-403F-BE72-E0FAD2120EAE}"/>
                  </a:ext>
                </a:extLst>
              </p:cNvPr>
              <p:cNvSpPr>
                <a:spLocks noChangeShapeType="1"/>
              </p:cNvSpPr>
              <p:nvPr/>
            </p:nvSpPr>
            <p:spPr bwMode="auto">
              <a:xfrm>
                <a:off x="2595" y="156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2" name="Freeform 2386">
                <a:extLst>
                  <a:ext uri="{FF2B5EF4-FFF2-40B4-BE49-F238E27FC236}">
                    <a16:creationId xmlns:a16="http://schemas.microsoft.com/office/drawing/2014/main" id="{F8091644-4D2D-46F5-AA05-297EF16A9A09}"/>
                  </a:ext>
                </a:extLst>
              </p:cNvPr>
              <p:cNvSpPr>
                <a:spLocks/>
              </p:cNvSpPr>
              <p:nvPr/>
            </p:nvSpPr>
            <p:spPr bwMode="auto">
              <a:xfrm>
                <a:off x="2535" y="1650"/>
                <a:ext cx="210" cy="330"/>
              </a:xfrm>
              <a:custGeom>
                <a:avLst/>
                <a:gdLst>
                  <a:gd name="T0" fmla="*/ 120 w 210"/>
                  <a:gd name="T1" fmla="*/ 60 h 330"/>
                  <a:gd name="T2" fmla="*/ 0 w 210"/>
                  <a:gd name="T3" fmla="*/ 0 h 330"/>
                  <a:gd name="T4" fmla="*/ 0 w 210"/>
                  <a:gd name="T5" fmla="*/ 330 h 330"/>
                  <a:gd name="T6" fmla="*/ 210 w 210"/>
                  <a:gd name="T7" fmla="*/ 270 h 330"/>
                  <a:gd name="T8" fmla="*/ 119 w 210"/>
                  <a:gd name="T9" fmla="*/ 182 h 330"/>
                </a:gdLst>
                <a:ahLst/>
                <a:cxnLst>
                  <a:cxn ang="0">
                    <a:pos x="T0" y="T1"/>
                  </a:cxn>
                  <a:cxn ang="0">
                    <a:pos x="T2" y="T3"/>
                  </a:cxn>
                  <a:cxn ang="0">
                    <a:pos x="T4" y="T5"/>
                  </a:cxn>
                  <a:cxn ang="0">
                    <a:pos x="T6" y="T7"/>
                  </a:cxn>
                  <a:cxn ang="0">
                    <a:pos x="T8" y="T9"/>
                  </a:cxn>
                </a:cxnLst>
                <a:rect l="0" t="0" r="r" b="b"/>
                <a:pathLst>
                  <a:path w="210" h="330">
                    <a:moveTo>
                      <a:pt x="120" y="60"/>
                    </a:moveTo>
                    <a:lnTo>
                      <a:pt x="0" y="0"/>
                    </a:lnTo>
                    <a:lnTo>
                      <a:pt x="0" y="330"/>
                    </a:lnTo>
                    <a:lnTo>
                      <a:pt x="210" y="270"/>
                    </a:lnTo>
                    <a:lnTo>
                      <a:pt x="119" y="18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3" name="Freeform 2387">
                <a:extLst>
                  <a:ext uri="{FF2B5EF4-FFF2-40B4-BE49-F238E27FC236}">
                    <a16:creationId xmlns:a16="http://schemas.microsoft.com/office/drawing/2014/main" id="{9EFBDCBB-C7B9-477F-B9E9-15AD184C1723}"/>
                  </a:ext>
                </a:extLst>
              </p:cNvPr>
              <p:cNvSpPr>
                <a:spLocks/>
              </p:cNvSpPr>
              <p:nvPr/>
            </p:nvSpPr>
            <p:spPr bwMode="auto">
              <a:xfrm>
                <a:off x="2654" y="1680"/>
                <a:ext cx="151" cy="152"/>
              </a:xfrm>
              <a:custGeom>
                <a:avLst/>
                <a:gdLst>
                  <a:gd name="T0" fmla="*/ 121 w 151"/>
                  <a:gd name="T1" fmla="*/ 0 h 152"/>
                  <a:gd name="T2" fmla="*/ 151 w 151"/>
                  <a:gd name="T3" fmla="*/ 120 h 152"/>
                  <a:gd name="T4" fmla="*/ 0 w 151"/>
                  <a:gd name="T5" fmla="*/ 152 h 152"/>
                  <a:gd name="T6" fmla="*/ 1 w 151"/>
                  <a:gd name="T7" fmla="*/ 30 h 152"/>
                  <a:gd name="T8" fmla="*/ 121 w 151"/>
                  <a:gd name="T9" fmla="*/ 0 h 152"/>
                </a:gdLst>
                <a:ahLst/>
                <a:cxnLst>
                  <a:cxn ang="0">
                    <a:pos x="T0" y="T1"/>
                  </a:cxn>
                  <a:cxn ang="0">
                    <a:pos x="T2" y="T3"/>
                  </a:cxn>
                  <a:cxn ang="0">
                    <a:pos x="T4" y="T5"/>
                  </a:cxn>
                  <a:cxn ang="0">
                    <a:pos x="T6" y="T7"/>
                  </a:cxn>
                  <a:cxn ang="0">
                    <a:pos x="T8" y="T9"/>
                  </a:cxn>
                </a:cxnLst>
                <a:rect l="0" t="0" r="r" b="b"/>
                <a:pathLst>
                  <a:path w="151" h="152">
                    <a:moveTo>
                      <a:pt x="121" y="0"/>
                    </a:moveTo>
                    <a:lnTo>
                      <a:pt x="151" y="120"/>
                    </a:lnTo>
                    <a:lnTo>
                      <a:pt x="0" y="152"/>
                    </a:lnTo>
                    <a:lnTo>
                      <a:pt x="1" y="30"/>
                    </a:lnTo>
                    <a:lnTo>
                      <a:pt x="121"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4" name="Freeform 2388">
                <a:extLst>
                  <a:ext uri="{FF2B5EF4-FFF2-40B4-BE49-F238E27FC236}">
                    <a16:creationId xmlns:a16="http://schemas.microsoft.com/office/drawing/2014/main" id="{5C2954B3-A224-4387-B3A8-2A61D6F9FFFB}"/>
                  </a:ext>
                </a:extLst>
              </p:cNvPr>
              <p:cNvSpPr>
                <a:spLocks/>
              </p:cNvSpPr>
              <p:nvPr/>
            </p:nvSpPr>
            <p:spPr bwMode="auto">
              <a:xfrm>
                <a:off x="2805" y="1620"/>
                <a:ext cx="240" cy="270"/>
              </a:xfrm>
              <a:custGeom>
                <a:avLst/>
                <a:gdLst>
                  <a:gd name="T0" fmla="*/ 0 w 240"/>
                  <a:gd name="T1" fmla="*/ 180 h 270"/>
                  <a:gd name="T2" fmla="*/ 60 w 240"/>
                  <a:gd name="T3" fmla="*/ 0 h 270"/>
                  <a:gd name="T4" fmla="*/ 90 w 240"/>
                  <a:gd name="T5" fmla="*/ 90 h 270"/>
                  <a:gd name="T6" fmla="*/ 120 w 240"/>
                  <a:gd name="T7" fmla="*/ 180 h 270"/>
                  <a:gd name="T8" fmla="*/ 150 w 240"/>
                  <a:gd name="T9" fmla="*/ 270 h 270"/>
                  <a:gd name="T10" fmla="*/ 240 w 240"/>
                  <a:gd name="T11" fmla="*/ 150 h 270"/>
                </a:gdLst>
                <a:ahLst/>
                <a:cxnLst>
                  <a:cxn ang="0">
                    <a:pos x="T0" y="T1"/>
                  </a:cxn>
                  <a:cxn ang="0">
                    <a:pos x="T2" y="T3"/>
                  </a:cxn>
                  <a:cxn ang="0">
                    <a:pos x="T4" y="T5"/>
                  </a:cxn>
                  <a:cxn ang="0">
                    <a:pos x="T6" y="T7"/>
                  </a:cxn>
                  <a:cxn ang="0">
                    <a:pos x="T8" y="T9"/>
                  </a:cxn>
                  <a:cxn ang="0">
                    <a:pos x="T10" y="T11"/>
                  </a:cxn>
                </a:cxnLst>
                <a:rect l="0" t="0" r="r" b="b"/>
                <a:pathLst>
                  <a:path w="240" h="270">
                    <a:moveTo>
                      <a:pt x="0" y="180"/>
                    </a:moveTo>
                    <a:lnTo>
                      <a:pt x="60" y="0"/>
                    </a:lnTo>
                    <a:lnTo>
                      <a:pt x="90" y="90"/>
                    </a:lnTo>
                    <a:lnTo>
                      <a:pt x="120" y="180"/>
                    </a:lnTo>
                    <a:lnTo>
                      <a:pt x="150" y="270"/>
                    </a:lnTo>
                    <a:lnTo>
                      <a:pt x="24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5" name="Freeform 2389">
                <a:extLst>
                  <a:ext uri="{FF2B5EF4-FFF2-40B4-BE49-F238E27FC236}">
                    <a16:creationId xmlns:a16="http://schemas.microsoft.com/office/drawing/2014/main" id="{9B6F9852-A64A-4EEB-9AC5-7CC6279791EF}"/>
                  </a:ext>
                </a:extLst>
              </p:cNvPr>
              <p:cNvSpPr>
                <a:spLocks/>
              </p:cNvSpPr>
              <p:nvPr/>
            </p:nvSpPr>
            <p:spPr bwMode="auto">
              <a:xfrm>
                <a:off x="2688" y="1800"/>
                <a:ext cx="237" cy="270"/>
              </a:xfrm>
              <a:custGeom>
                <a:avLst/>
                <a:gdLst>
                  <a:gd name="T0" fmla="*/ 237 w 237"/>
                  <a:gd name="T1" fmla="*/ 0 h 270"/>
                  <a:gd name="T2" fmla="*/ 177 w 237"/>
                  <a:gd name="T3" fmla="*/ 122 h 270"/>
                  <a:gd name="T4" fmla="*/ 117 w 237"/>
                  <a:gd name="T5" fmla="*/ 0 h 270"/>
                  <a:gd name="T6" fmla="*/ 57 w 237"/>
                  <a:gd name="T7" fmla="*/ 120 h 270"/>
                  <a:gd name="T8" fmla="*/ 147 w 237"/>
                  <a:gd name="T9" fmla="*/ 270 h 270"/>
                  <a:gd name="T10" fmla="*/ 0 w 237"/>
                  <a:gd name="T11" fmla="*/ 213 h 270"/>
                </a:gdLst>
                <a:ahLst/>
                <a:cxnLst>
                  <a:cxn ang="0">
                    <a:pos x="T0" y="T1"/>
                  </a:cxn>
                  <a:cxn ang="0">
                    <a:pos x="T2" y="T3"/>
                  </a:cxn>
                  <a:cxn ang="0">
                    <a:pos x="T4" y="T5"/>
                  </a:cxn>
                  <a:cxn ang="0">
                    <a:pos x="T6" y="T7"/>
                  </a:cxn>
                  <a:cxn ang="0">
                    <a:pos x="T8" y="T9"/>
                  </a:cxn>
                  <a:cxn ang="0">
                    <a:pos x="T10" y="T11"/>
                  </a:cxn>
                </a:cxnLst>
                <a:rect l="0" t="0" r="r" b="b"/>
                <a:pathLst>
                  <a:path w="237" h="270">
                    <a:moveTo>
                      <a:pt x="237" y="0"/>
                    </a:moveTo>
                    <a:lnTo>
                      <a:pt x="177" y="122"/>
                    </a:lnTo>
                    <a:lnTo>
                      <a:pt x="117" y="0"/>
                    </a:lnTo>
                    <a:lnTo>
                      <a:pt x="57" y="120"/>
                    </a:lnTo>
                    <a:lnTo>
                      <a:pt x="147" y="270"/>
                    </a:lnTo>
                    <a:lnTo>
                      <a:pt x="0" y="21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6" name="Freeform 2390">
                <a:extLst>
                  <a:ext uri="{FF2B5EF4-FFF2-40B4-BE49-F238E27FC236}">
                    <a16:creationId xmlns:a16="http://schemas.microsoft.com/office/drawing/2014/main" id="{C959BB6E-039C-4346-9E8D-01586E4DA453}"/>
                  </a:ext>
                </a:extLst>
              </p:cNvPr>
              <p:cNvSpPr>
                <a:spLocks/>
              </p:cNvSpPr>
              <p:nvPr/>
            </p:nvSpPr>
            <p:spPr bwMode="auto">
              <a:xfrm>
                <a:off x="2355" y="1440"/>
                <a:ext cx="390" cy="570"/>
              </a:xfrm>
              <a:custGeom>
                <a:avLst/>
                <a:gdLst>
                  <a:gd name="T0" fmla="*/ 390 w 390"/>
                  <a:gd name="T1" fmla="*/ 480 h 570"/>
                  <a:gd name="T2" fmla="*/ 330 w 390"/>
                  <a:gd name="T3" fmla="*/ 570 h 570"/>
                  <a:gd name="T4" fmla="*/ 180 w 390"/>
                  <a:gd name="T5" fmla="*/ 540 h 570"/>
                  <a:gd name="T6" fmla="*/ 300 w 390"/>
                  <a:gd name="T7" fmla="*/ 390 h 570"/>
                  <a:gd name="T8" fmla="*/ 120 w 390"/>
                  <a:gd name="T9" fmla="*/ 390 h 570"/>
                  <a:gd name="T10" fmla="*/ 180 w 390"/>
                  <a:gd name="T11" fmla="*/ 210 h 570"/>
                  <a:gd name="T12" fmla="*/ 60 w 390"/>
                  <a:gd name="T13" fmla="*/ 330 h 570"/>
                  <a:gd name="T14" fmla="*/ 0 w 390"/>
                  <a:gd name="T15" fmla="*/ 180 h 570"/>
                  <a:gd name="T16" fmla="*/ 60 w 390"/>
                  <a:gd name="T17" fmla="*/ 60 h 570"/>
                  <a:gd name="T18" fmla="*/ 240 w 390"/>
                  <a:gd name="T19" fmla="*/ 120 h 570"/>
                  <a:gd name="T20" fmla="*/ 180 w 39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570">
                    <a:moveTo>
                      <a:pt x="390" y="480"/>
                    </a:moveTo>
                    <a:lnTo>
                      <a:pt x="330" y="570"/>
                    </a:lnTo>
                    <a:lnTo>
                      <a:pt x="180" y="540"/>
                    </a:lnTo>
                    <a:lnTo>
                      <a:pt x="300" y="390"/>
                    </a:lnTo>
                    <a:lnTo>
                      <a:pt x="120" y="390"/>
                    </a:lnTo>
                    <a:lnTo>
                      <a:pt x="180" y="210"/>
                    </a:lnTo>
                    <a:lnTo>
                      <a:pt x="60" y="330"/>
                    </a:lnTo>
                    <a:lnTo>
                      <a:pt x="0" y="180"/>
                    </a:lnTo>
                    <a:lnTo>
                      <a:pt x="60" y="60"/>
                    </a:lnTo>
                    <a:lnTo>
                      <a:pt x="240" y="120"/>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7" name="Freeform 2391">
                <a:extLst>
                  <a:ext uri="{FF2B5EF4-FFF2-40B4-BE49-F238E27FC236}">
                    <a16:creationId xmlns:a16="http://schemas.microsoft.com/office/drawing/2014/main" id="{7339116D-F0F8-40B7-8EFE-1DEF2E061246}"/>
                  </a:ext>
                </a:extLst>
              </p:cNvPr>
              <p:cNvSpPr>
                <a:spLocks/>
              </p:cNvSpPr>
              <p:nvPr/>
            </p:nvSpPr>
            <p:spPr bwMode="auto">
              <a:xfrm>
                <a:off x="2355" y="1410"/>
                <a:ext cx="480" cy="420"/>
              </a:xfrm>
              <a:custGeom>
                <a:avLst/>
                <a:gdLst>
                  <a:gd name="T0" fmla="*/ 300 w 480"/>
                  <a:gd name="T1" fmla="*/ 420 h 420"/>
                  <a:gd name="T2" fmla="*/ 0 w 480"/>
                  <a:gd name="T3" fmla="*/ 210 h 420"/>
                  <a:gd name="T4" fmla="*/ 180 w 480"/>
                  <a:gd name="T5" fmla="*/ 240 h 420"/>
                  <a:gd name="T6" fmla="*/ 90 w 480"/>
                  <a:gd name="T7" fmla="*/ 0 h 420"/>
                  <a:gd name="T8" fmla="*/ 240 w 480"/>
                  <a:gd name="T9" fmla="*/ 150 h 420"/>
                  <a:gd name="T10" fmla="*/ 270 w 480"/>
                  <a:gd name="T11" fmla="*/ 0 h 420"/>
                  <a:gd name="T12" fmla="*/ 420 w 480"/>
                  <a:gd name="T13" fmla="*/ 0 h 420"/>
                  <a:gd name="T14" fmla="*/ 480 w 480"/>
                  <a:gd name="T15" fmla="*/ 9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0" h="420">
                    <a:moveTo>
                      <a:pt x="300" y="420"/>
                    </a:moveTo>
                    <a:lnTo>
                      <a:pt x="0" y="210"/>
                    </a:lnTo>
                    <a:lnTo>
                      <a:pt x="180" y="240"/>
                    </a:lnTo>
                    <a:lnTo>
                      <a:pt x="90" y="0"/>
                    </a:lnTo>
                    <a:lnTo>
                      <a:pt x="240" y="150"/>
                    </a:lnTo>
                    <a:lnTo>
                      <a:pt x="270" y="0"/>
                    </a:lnTo>
                    <a:lnTo>
                      <a:pt x="420" y="0"/>
                    </a:lnTo>
                    <a:lnTo>
                      <a:pt x="4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8" name="Freeform 2392">
                <a:extLst>
                  <a:ext uri="{FF2B5EF4-FFF2-40B4-BE49-F238E27FC236}">
                    <a16:creationId xmlns:a16="http://schemas.microsoft.com/office/drawing/2014/main" id="{B2466D97-DF56-443D-91E6-274A8EAE8591}"/>
                  </a:ext>
                </a:extLst>
              </p:cNvPr>
              <p:cNvSpPr>
                <a:spLocks/>
              </p:cNvSpPr>
              <p:nvPr/>
            </p:nvSpPr>
            <p:spPr bwMode="auto">
              <a:xfrm>
                <a:off x="2925" y="1260"/>
                <a:ext cx="120" cy="300"/>
              </a:xfrm>
              <a:custGeom>
                <a:avLst/>
                <a:gdLst>
                  <a:gd name="T0" fmla="*/ 0 w 120"/>
                  <a:gd name="T1" fmla="*/ 0 h 300"/>
                  <a:gd name="T2" fmla="*/ 0 w 120"/>
                  <a:gd name="T3" fmla="*/ 180 h 300"/>
                  <a:gd name="T4" fmla="*/ 120 w 120"/>
                  <a:gd name="T5" fmla="*/ 90 h 300"/>
                  <a:gd name="T6" fmla="*/ 120 w 120"/>
                  <a:gd name="T7" fmla="*/ 210 h 300"/>
                  <a:gd name="T8" fmla="*/ 90 w 120"/>
                  <a:gd name="T9" fmla="*/ 300 h 300"/>
                </a:gdLst>
                <a:ahLst/>
                <a:cxnLst>
                  <a:cxn ang="0">
                    <a:pos x="T0" y="T1"/>
                  </a:cxn>
                  <a:cxn ang="0">
                    <a:pos x="T2" y="T3"/>
                  </a:cxn>
                  <a:cxn ang="0">
                    <a:pos x="T4" y="T5"/>
                  </a:cxn>
                  <a:cxn ang="0">
                    <a:pos x="T6" y="T7"/>
                  </a:cxn>
                  <a:cxn ang="0">
                    <a:pos x="T8" y="T9"/>
                  </a:cxn>
                </a:cxnLst>
                <a:rect l="0" t="0" r="r" b="b"/>
                <a:pathLst>
                  <a:path w="120" h="300">
                    <a:moveTo>
                      <a:pt x="0" y="0"/>
                    </a:moveTo>
                    <a:lnTo>
                      <a:pt x="0" y="180"/>
                    </a:lnTo>
                    <a:lnTo>
                      <a:pt x="120" y="90"/>
                    </a:lnTo>
                    <a:lnTo>
                      <a:pt x="120" y="210"/>
                    </a:lnTo>
                    <a:lnTo>
                      <a:pt x="9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9" name="Freeform 2393">
                <a:extLst>
                  <a:ext uri="{FF2B5EF4-FFF2-40B4-BE49-F238E27FC236}">
                    <a16:creationId xmlns:a16="http://schemas.microsoft.com/office/drawing/2014/main" id="{171D9683-8DB5-4FCE-84CD-5E19DE139978}"/>
                  </a:ext>
                </a:extLst>
              </p:cNvPr>
              <p:cNvSpPr>
                <a:spLocks/>
              </p:cNvSpPr>
              <p:nvPr/>
            </p:nvSpPr>
            <p:spPr bwMode="auto">
              <a:xfrm>
                <a:off x="2715" y="1292"/>
                <a:ext cx="330" cy="178"/>
              </a:xfrm>
              <a:custGeom>
                <a:avLst/>
                <a:gdLst>
                  <a:gd name="T0" fmla="*/ 0 w 330"/>
                  <a:gd name="T1" fmla="*/ 0 h 178"/>
                  <a:gd name="T2" fmla="*/ 60 w 330"/>
                  <a:gd name="T3" fmla="*/ 118 h 178"/>
                  <a:gd name="T4" fmla="*/ 150 w 330"/>
                  <a:gd name="T5" fmla="*/ 28 h 178"/>
                  <a:gd name="T6" fmla="*/ 330 w 330"/>
                  <a:gd name="T7" fmla="*/ 178 h 178"/>
                </a:gdLst>
                <a:ahLst/>
                <a:cxnLst>
                  <a:cxn ang="0">
                    <a:pos x="T0" y="T1"/>
                  </a:cxn>
                  <a:cxn ang="0">
                    <a:pos x="T2" y="T3"/>
                  </a:cxn>
                  <a:cxn ang="0">
                    <a:pos x="T4" y="T5"/>
                  </a:cxn>
                  <a:cxn ang="0">
                    <a:pos x="T6" y="T7"/>
                  </a:cxn>
                </a:cxnLst>
                <a:rect l="0" t="0" r="r" b="b"/>
                <a:pathLst>
                  <a:path w="330" h="178">
                    <a:moveTo>
                      <a:pt x="0" y="0"/>
                    </a:moveTo>
                    <a:lnTo>
                      <a:pt x="60" y="118"/>
                    </a:lnTo>
                    <a:lnTo>
                      <a:pt x="150" y="28"/>
                    </a:lnTo>
                    <a:lnTo>
                      <a:pt x="330" y="17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0" name="Line 2394">
                <a:extLst>
                  <a:ext uri="{FF2B5EF4-FFF2-40B4-BE49-F238E27FC236}">
                    <a16:creationId xmlns:a16="http://schemas.microsoft.com/office/drawing/2014/main" id="{D9AFEF79-F47A-4F9B-8E49-CA6F3407579E}"/>
                  </a:ext>
                </a:extLst>
              </p:cNvPr>
              <p:cNvSpPr>
                <a:spLocks noChangeShapeType="1"/>
              </p:cNvSpPr>
              <p:nvPr/>
            </p:nvSpPr>
            <p:spPr bwMode="auto">
              <a:xfrm flipH="1">
                <a:off x="2925" y="1410"/>
                <a:ext cx="24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1" name="Freeform 2395">
                <a:extLst>
                  <a:ext uri="{FF2B5EF4-FFF2-40B4-BE49-F238E27FC236}">
                    <a16:creationId xmlns:a16="http://schemas.microsoft.com/office/drawing/2014/main" id="{BE944435-403B-4156-BBE3-D302CBA14520}"/>
                  </a:ext>
                </a:extLst>
              </p:cNvPr>
              <p:cNvSpPr>
                <a:spLocks/>
              </p:cNvSpPr>
              <p:nvPr/>
            </p:nvSpPr>
            <p:spPr bwMode="auto">
              <a:xfrm>
                <a:off x="2086" y="2070"/>
                <a:ext cx="899" cy="720"/>
              </a:xfrm>
              <a:custGeom>
                <a:avLst/>
                <a:gdLst>
                  <a:gd name="T0" fmla="*/ 59 w 899"/>
                  <a:gd name="T1" fmla="*/ 240 h 720"/>
                  <a:gd name="T2" fmla="*/ 179 w 899"/>
                  <a:gd name="T3" fmla="*/ 390 h 720"/>
                  <a:gd name="T4" fmla="*/ 239 w 899"/>
                  <a:gd name="T5" fmla="*/ 300 h 720"/>
                  <a:gd name="T6" fmla="*/ 329 w 899"/>
                  <a:gd name="T7" fmla="*/ 360 h 720"/>
                  <a:gd name="T8" fmla="*/ 329 w 899"/>
                  <a:gd name="T9" fmla="*/ 240 h 720"/>
                  <a:gd name="T10" fmla="*/ 179 w 899"/>
                  <a:gd name="T11" fmla="*/ 181 h 720"/>
                  <a:gd name="T12" fmla="*/ 269 w 899"/>
                  <a:gd name="T13" fmla="*/ 150 h 720"/>
                  <a:gd name="T14" fmla="*/ 389 w 899"/>
                  <a:gd name="T15" fmla="*/ 120 h 720"/>
                  <a:gd name="T16" fmla="*/ 449 w 899"/>
                  <a:gd name="T17" fmla="*/ 300 h 720"/>
                  <a:gd name="T18" fmla="*/ 539 w 899"/>
                  <a:gd name="T19" fmla="*/ 180 h 720"/>
                  <a:gd name="T20" fmla="*/ 509 w 899"/>
                  <a:gd name="T21" fmla="*/ 60 h 720"/>
                  <a:gd name="T22" fmla="*/ 359 w 899"/>
                  <a:gd name="T23" fmla="*/ 30 h 720"/>
                  <a:gd name="T24" fmla="*/ 569 w 899"/>
                  <a:gd name="T25" fmla="*/ 0 h 720"/>
                  <a:gd name="T26" fmla="*/ 689 w 899"/>
                  <a:gd name="T27" fmla="*/ 90 h 720"/>
                  <a:gd name="T28" fmla="*/ 659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89 w 899"/>
                  <a:gd name="T41" fmla="*/ 390 h 720"/>
                  <a:gd name="T42" fmla="*/ 539 w 899"/>
                  <a:gd name="T43" fmla="*/ 330 h 720"/>
                  <a:gd name="T44" fmla="*/ 569 w 899"/>
                  <a:gd name="T45" fmla="*/ 450 h 720"/>
                  <a:gd name="T46" fmla="*/ 419 w 899"/>
                  <a:gd name="T47" fmla="*/ 420 h 720"/>
                  <a:gd name="T48" fmla="*/ 389 w 899"/>
                  <a:gd name="T49" fmla="*/ 540 h 720"/>
                  <a:gd name="T50" fmla="*/ 509 w 899"/>
                  <a:gd name="T51" fmla="*/ 570 h 720"/>
                  <a:gd name="T52" fmla="*/ 659 w 899"/>
                  <a:gd name="T53" fmla="*/ 570 h 720"/>
                  <a:gd name="T54" fmla="*/ 599 w 899"/>
                  <a:gd name="T55" fmla="*/ 720 h 720"/>
                  <a:gd name="T56" fmla="*/ 299 w 899"/>
                  <a:gd name="T57" fmla="*/ 630 h 720"/>
                  <a:gd name="T58" fmla="*/ 268 w 899"/>
                  <a:gd name="T59" fmla="*/ 482 h 720"/>
                  <a:gd name="T60" fmla="*/ 179 w 899"/>
                  <a:gd name="T61" fmla="*/ 570 h 720"/>
                  <a:gd name="T62" fmla="*/ 59 w 899"/>
                  <a:gd name="T63" fmla="*/ 480 h 720"/>
                  <a:gd name="T64" fmla="*/ 0 w 899"/>
                  <a:gd name="T65" fmla="*/ 360 h 720"/>
                  <a:gd name="T66" fmla="*/ 59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59" y="240"/>
                    </a:move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599" y="720"/>
                    </a:lnTo>
                    <a:lnTo>
                      <a:pt x="299" y="630"/>
                    </a:lnTo>
                    <a:lnTo>
                      <a:pt x="268" y="482"/>
                    </a:lnTo>
                    <a:lnTo>
                      <a:pt x="179" y="570"/>
                    </a:lnTo>
                    <a:lnTo>
                      <a:pt x="59" y="480"/>
                    </a:lnTo>
                    <a:lnTo>
                      <a:pt x="0" y="360"/>
                    </a:lnTo>
                    <a:lnTo>
                      <a:pt x="59"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2" name="Line 2396">
                <a:extLst>
                  <a:ext uri="{FF2B5EF4-FFF2-40B4-BE49-F238E27FC236}">
                    <a16:creationId xmlns:a16="http://schemas.microsoft.com/office/drawing/2014/main" id="{B8104728-D8E4-4A73-BC01-EC079EC297E5}"/>
                  </a:ext>
                </a:extLst>
              </p:cNvPr>
              <p:cNvSpPr>
                <a:spLocks noChangeShapeType="1"/>
              </p:cNvSpPr>
              <p:nvPr/>
            </p:nvSpPr>
            <p:spPr bwMode="auto">
              <a:xfrm flipH="1">
                <a:off x="2145" y="225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3" name="Freeform 2397">
                <a:extLst>
                  <a:ext uri="{FF2B5EF4-FFF2-40B4-BE49-F238E27FC236}">
                    <a16:creationId xmlns:a16="http://schemas.microsoft.com/office/drawing/2014/main" id="{FD5B9D8B-7714-4939-83BD-57733664C6E1}"/>
                  </a:ext>
                </a:extLst>
              </p:cNvPr>
              <p:cNvSpPr>
                <a:spLocks/>
              </p:cNvSpPr>
              <p:nvPr/>
            </p:nvSpPr>
            <p:spPr bwMode="auto">
              <a:xfrm>
                <a:off x="2354" y="243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4" name="Freeform 2398">
                <a:extLst>
                  <a:ext uri="{FF2B5EF4-FFF2-40B4-BE49-F238E27FC236}">
                    <a16:creationId xmlns:a16="http://schemas.microsoft.com/office/drawing/2014/main" id="{5FAC873A-9A3A-462C-A606-1C1E3392CC1E}"/>
                  </a:ext>
                </a:extLst>
              </p:cNvPr>
              <p:cNvSpPr>
                <a:spLocks/>
              </p:cNvSpPr>
              <p:nvPr/>
            </p:nvSpPr>
            <p:spPr bwMode="auto">
              <a:xfrm>
                <a:off x="2415" y="1980"/>
                <a:ext cx="240" cy="330"/>
              </a:xfrm>
              <a:custGeom>
                <a:avLst/>
                <a:gdLst>
                  <a:gd name="T0" fmla="*/ 180 w 240"/>
                  <a:gd name="T1" fmla="*/ 150 h 330"/>
                  <a:gd name="T2" fmla="*/ 120 w 240"/>
                  <a:gd name="T3" fmla="*/ 0 h 330"/>
                  <a:gd name="T4" fmla="*/ 240 w 240"/>
                  <a:gd name="T5" fmla="*/ 90 h 330"/>
                  <a:gd name="T6" fmla="*/ 210 w 240"/>
                  <a:gd name="T7" fmla="*/ 270 h 330"/>
                  <a:gd name="T8" fmla="*/ 0 w 240"/>
                  <a:gd name="T9" fmla="*/ 330 h 330"/>
                </a:gdLst>
                <a:ahLst/>
                <a:cxnLst>
                  <a:cxn ang="0">
                    <a:pos x="T0" y="T1"/>
                  </a:cxn>
                  <a:cxn ang="0">
                    <a:pos x="T2" y="T3"/>
                  </a:cxn>
                  <a:cxn ang="0">
                    <a:pos x="T4" y="T5"/>
                  </a:cxn>
                  <a:cxn ang="0">
                    <a:pos x="T6" y="T7"/>
                  </a:cxn>
                  <a:cxn ang="0">
                    <a:pos x="T8" y="T9"/>
                  </a:cxn>
                </a:cxnLst>
                <a:rect l="0" t="0" r="r" b="b"/>
                <a:pathLst>
                  <a:path w="240" h="330">
                    <a:moveTo>
                      <a:pt x="180" y="150"/>
                    </a:moveTo>
                    <a:lnTo>
                      <a:pt x="120" y="0"/>
                    </a:lnTo>
                    <a:lnTo>
                      <a:pt x="240" y="90"/>
                    </a:lnTo>
                    <a:lnTo>
                      <a:pt x="21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5" name="Line 2399">
                <a:extLst>
                  <a:ext uri="{FF2B5EF4-FFF2-40B4-BE49-F238E27FC236}">
                    <a16:creationId xmlns:a16="http://schemas.microsoft.com/office/drawing/2014/main" id="{EC064D65-5C49-453D-96C9-ED307BAD6719}"/>
                  </a:ext>
                </a:extLst>
              </p:cNvPr>
              <p:cNvSpPr>
                <a:spLocks noChangeShapeType="1"/>
              </p:cNvSpPr>
              <p:nvPr/>
            </p:nvSpPr>
            <p:spPr bwMode="auto">
              <a:xfrm>
                <a:off x="247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6" name="Freeform 2400">
                <a:extLst>
                  <a:ext uri="{FF2B5EF4-FFF2-40B4-BE49-F238E27FC236}">
                    <a16:creationId xmlns:a16="http://schemas.microsoft.com/office/drawing/2014/main" id="{36C34468-F2F4-4D77-B5F1-7CA69EF56FD9}"/>
                  </a:ext>
                </a:extLst>
              </p:cNvPr>
              <p:cNvSpPr>
                <a:spLocks/>
              </p:cNvSpPr>
              <p:nvPr/>
            </p:nvSpPr>
            <p:spPr bwMode="auto">
              <a:xfrm>
                <a:off x="3045" y="207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7" name="Freeform 2401">
                <a:extLst>
                  <a:ext uri="{FF2B5EF4-FFF2-40B4-BE49-F238E27FC236}">
                    <a16:creationId xmlns:a16="http://schemas.microsoft.com/office/drawing/2014/main" id="{87C67C65-A3A2-48CA-9F23-84073898BCEC}"/>
                  </a:ext>
                </a:extLst>
              </p:cNvPr>
              <p:cNvSpPr>
                <a:spLocks/>
              </p:cNvSpPr>
              <p:nvPr/>
            </p:nvSpPr>
            <p:spPr bwMode="auto">
              <a:xfrm>
                <a:off x="3105" y="222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8" name="Freeform 2402">
                <a:extLst>
                  <a:ext uri="{FF2B5EF4-FFF2-40B4-BE49-F238E27FC236}">
                    <a16:creationId xmlns:a16="http://schemas.microsoft.com/office/drawing/2014/main" id="{77CD6AE5-2F1C-434A-AE10-8DE7BBB0E431}"/>
                  </a:ext>
                </a:extLst>
              </p:cNvPr>
              <p:cNvSpPr>
                <a:spLocks/>
              </p:cNvSpPr>
              <p:nvPr/>
            </p:nvSpPr>
            <p:spPr bwMode="auto">
              <a:xfrm>
                <a:off x="2985" y="225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9" name="Freeform 2403">
                <a:extLst>
                  <a:ext uri="{FF2B5EF4-FFF2-40B4-BE49-F238E27FC236}">
                    <a16:creationId xmlns:a16="http://schemas.microsoft.com/office/drawing/2014/main" id="{C5E3EB88-761E-42A7-8F72-380FBA8F3E1C}"/>
                  </a:ext>
                </a:extLst>
              </p:cNvPr>
              <p:cNvSpPr>
                <a:spLocks/>
              </p:cNvSpPr>
              <p:nvPr/>
            </p:nvSpPr>
            <p:spPr bwMode="auto">
              <a:xfrm>
                <a:off x="3313" y="243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0" name="Freeform 2404">
                <a:extLst>
                  <a:ext uri="{FF2B5EF4-FFF2-40B4-BE49-F238E27FC236}">
                    <a16:creationId xmlns:a16="http://schemas.microsoft.com/office/drawing/2014/main" id="{D75B570F-9D47-410A-934C-E5D7EEFB58CD}"/>
                  </a:ext>
                </a:extLst>
              </p:cNvPr>
              <p:cNvSpPr>
                <a:spLocks/>
              </p:cNvSpPr>
              <p:nvPr/>
            </p:nvSpPr>
            <p:spPr bwMode="auto">
              <a:xfrm>
                <a:off x="3375" y="204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1" name="Line 2405">
                <a:extLst>
                  <a:ext uri="{FF2B5EF4-FFF2-40B4-BE49-F238E27FC236}">
                    <a16:creationId xmlns:a16="http://schemas.microsoft.com/office/drawing/2014/main" id="{351EB5B4-7576-458A-9FD0-5A7C81F514F0}"/>
                  </a:ext>
                </a:extLst>
              </p:cNvPr>
              <p:cNvSpPr>
                <a:spLocks noChangeShapeType="1"/>
              </p:cNvSpPr>
              <p:nvPr/>
            </p:nvSpPr>
            <p:spPr bwMode="auto">
              <a:xfrm>
                <a:off x="343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2" name="Line 2406">
                <a:extLst>
                  <a:ext uri="{FF2B5EF4-FFF2-40B4-BE49-F238E27FC236}">
                    <a16:creationId xmlns:a16="http://schemas.microsoft.com/office/drawing/2014/main" id="{425EA28B-1277-4501-8E98-EDB80C9422EA}"/>
                  </a:ext>
                </a:extLst>
              </p:cNvPr>
              <p:cNvSpPr>
                <a:spLocks noChangeShapeType="1"/>
              </p:cNvSpPr>
              <p:nvPr/>
            </p:nvSpPr>
            <p:spPr bwMode="auto">
              <a:xfrm>
                <a:off x="2955" y="18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3" name="Line 2407">
                <a:extLst>
                  <a:ext uri="{FF2B5EF4-FFF2-40B4-BE49-F238E27FC236}">
                    <a16:creationId xmlns:a16="http://schemas.microsoft.com/office/drawing/2014/main" id="{7A505ACE-EC58-42C5-B30A-1416DE72A4CE}"/>
                  </a:ext>
                </a:extLst>
              </p:cNvPr>
              <p:cNvSpPr>
                <a:spLocks noChangeShapeType="1"/>
              </p:cNvSpPr>
              <p:nvPr/>
            </p:nvSpPr>
            <p:spPr bwMode="auto">
              <a:xfrm>
                <a:off x="2655" y="18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4" name="Line 2408">
                <a:extLst>
                  <a:ext uri="{FF2B5EF4-FFF2-40B4-BE49-F238E27FC236}">
                    <a16:creationId xmlns:a16="http://schemas.microsoft.com/office/drawing/2014/main" id="{C0C2BB8C-6AC8-42CD-88EC-C6091AEED7D4}"/>
                  </a:ext>
                </a:extLst>
              </p:cNvPr>
              <p:cNvSpPr>
                <a:spLocks noChangeShapeType="1"/>
              </p:cNvSpPr>
              <p:nvPr/>
            </p:nvSpPr>
            <p:spPr bwMode="auto">
              <a:xfrm>
                <a:off x="3045" y="17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5" name="Line 2409">
                <a:extLst>
                  <a:ext uri="{FF2B5EF4-FFF2-40B4-BE49-F238E27FC236}">
                    <a16:creationId xmlns:a16="http://schemas.microsoft.com/office/drawing/2014/main" id="{724B5E99-C043-41B2-B929-DE04F93D972C}"/>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6" name="Line 2410">
                <a:extLst>
                  <a:ext uri="{FF2B5EF4-FFF2-40B4-BE49-F238E27FC236}">
                    <a16:creationId xmlns:a16="http://schemas.microsoft.com/office/drawing/2014/main" id="{8AA1850B-7949-4ACB-B21F-12ADE542ADDE}"/>
                  </a:ext>
                </a:extLst>
              </p:cNvPr>
              <p:cNvSpPr>
                <a:spLocks noChangeShapeType="1"/>
              </p:cNvSpPr>
              <p:nvPr/>
            </p:nvSpPr>
            <p:spPr bwMode="auto">
              <a:xfrm flipH="1" flipV="1">
                <a:off x="2415" y="1770"/>
                <a:ext cx="6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7" name="Line 2411">
                <a:extLst>
                  <a:ext uri="{FF2B5EF4-FFF2-40B4-BE49-F238E27FC236}">
                    <a16:creationId xmlns:a16="http://schemas.microsoft.com/office/drawing/2014/main" id="{8402A544-6B57-4C01-BBD8-41848D5BAF3B}"/>
                  </a:ext>
                </a:extLst>
              </p:cNvPr>
              <p:cNvSpPr>
                <a:spLocks noChangeShapeType="1"/>
              </p:cNvSpPr>
              <p:nvPr/>
            </p:nvSpPr>
            <p:spPr bwMode="auto">
              <a:xfrm>
                <a:off x="2475" y="1830"/>
                <a:ext cx="21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8" name="Line 2412">
                <a:extLst>
                  <a:ext uri="{FF2B5EF4-FFF2-40B4-BE49-F238E27FC236}">
                    <a16:creationId xmlns:a16="http://schemas.microsoft.com/office/drawing/2014/main" id="{06F6648E-8720-4323-AF0D-FEF2CC34BD2F}"/>
                  </a:ext>
                </a:extLst>
              </p:cNvPr>
              <p:cNvSpPr>
                <a:spLocks noChangeShapeType="1"/>
              </p:cNvSpPr>
              <p:nvPr/>
            </p:nvSpPr>
            <p:spPr bwMode="auto">
              <a:xfrm>
                <a:off x="2535" y="16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9" name="Line 2413">
                <a:extLst>
                  <a:ext uri="{FF2B5EF4-FFF2-40B4-BE49-F238E27FC236}">
                    <a16:creationId xmlns:a16="http://schemas.microsoft.com/office/drawing/2014/main" id="{129A2415-DEF3-44D8-B4EA-3CA76DE5BD0F}"/>
                  </a:ext>
                </a:extLst>
              </p:cNvPr>
              <p:cNvSpPr>
                <a:spLocks noChangeShapeType="1"/>
              </p:cNvSpPr>
              <p:nvPr/>
            </p:nvSpPr>
            <p:spPr bwMode="auto">
              <a:xfrm>
                <a:off x="3045" y="13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0" name="Line 2414">
                <a:extLst>
                  <a:ext uri="{FF2B5EF4-FFF2-40B4-BE49-F238E27FC236}">
                    <a16:creationId xmlns:a16="http://schemas.microsoft.com/office/drawing/2014/main" id="{D3B387C6-33BB-4943-A3FE-357FC0FF7877}"/>
                  </a:ext>
                </a:extLst>
              </p:cNvPr>
              <p:cNvSpPr>
                <a:spLocks noChangeShapeType="1"/>
              </p:cNvSpPr>
              <p:nvPr/>
            </p:nvSpPr>
            <p:spPr bwMode="auto">
              <a:xfrm>
                <a:off x="2925" y="12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1" name="Freeform 2415">
                <a:extLst>
                  <a:ext uri="{FF2B5EF4-FFF2-40B4-BE49-F238E27FC236}">
                    <a16:creationId xmlns:a16="http://schemas.microsoft.com/office/drawing/2014/main" id="{F565FF17-D43F-4706-B4E3-786D4D52821B}"/>
                  </a:ext>
                </a:extLst>
              </p:cNvPr>
              <p:cNvSpPr>
                <a:spLocks/>
              </p:cNvSpPr>
              <p:nvPr/>
            </p:nvSpPr>
            <p:spPr bwMode="auto">
              <a:xfrm>
                <a:off x="2865" y="1710"/>
                <a:ext cx="240" cy="240"/>
              </a:xfrm>
              <a:custGeom>
                <a:avLst/>
                <a:gdLst>
                  <a:gd name="T0" fmla="*/ 240 w 240"/>
                  <a:gd name="T1" fmla="*/ 0 h 240"/>
                  <a:gd name="T2" fmla="*/ 210 w 240"/>
                  <a:gd name="T3" fmla="*/ 180 h 240"/>
                  <a:gd name="T4" fmla="*/ 180 w 240"/>
                  <a:gd name="T5" fmla="*/ 60 h 240"/>
                  <a:gd name="T6" fmla="*/ 150 w 240"/>
                  <a:gd name="T7" fmla="*/ 240 h 240"/>
                  <a:gd name="T8" fmla="*/ 90 w 240"/>
                  <a:gd name="T9" fmla="*/ 180 h 240"/>
                  <a:gd name="T10" fmla="*/ 0 w 240"/>
                  <a:gd name="T11" fmla="*/ 210 h 240"/>
                </a:gdLst>
                <a:ahLst/>
                <a:cxnLst>
                  <a:cxn ang="0">
                    <a:pos x="T0" y="T1"/>
                  </a:cxn>
                  <a:cxn ang="0">
                    <a:pos x="T2" y="T3"/>
                  </a:cxn>
                  <a:cxn ang="0">
                    <a:pos x="T4" y="T5"/>
                  </a:cxn>
                  <a:cxn ang="0">
                    <a:pos x="T6" y="T7"/>
                  </a:cxn>
                  <a:cxn ang="0">
                    <a:pos x="T8" y="T9"/>
                  </a:cxn>
                  <a:cxn ang="0">
                    <a:pos x="T10" y="T11"/>
                  </a:cxn>
                </a:cxnLst>
                <a:rect l="0" t="0" r="r" b="b"/>
                <a:pathLst>
                  <a:path w="240" h="240">
                    <a:moveTo>
                      <a:pt x="240" y="0"/>
                    </a:moveTo>
                    <a:lnTo>
                      <a:pt x="210" y="180"/>
                    </a:lnTo>
                    <a:lnTo>
                      <a:pt x="180" y="60"/>
                    </a:lnTo>
                    <a:lnTo>
                      <a:pt x="150" y="240"/>
                    </a:lnTo>
                    <a:lnTo>
                      <a:pt x="90" y="18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2" name="Line 2416">
                <a:extLst>
                  <a:ext uri="{FF2B5EF4-FFF2-40B4-BE49-F238E27FC236}">
                    <a16:creationId xmlns:a16="http://schemas.microsoft.com/office/drawing/2014/main" id="{0B635541-E5D0-443D-82DD-969B3652B0A4}"/>
                  </a:ext>
                </a:extLst>
              </p:cNvPr>
              <p:cNvSpPr>
                <a:spLocks noChangeShapeType="1"/>
              </p:cNvSpPr>
              <p:nvPr/>
            </p:nvSpPr>
            <p:spPr bwMode="auto">
              <a:xfrm>
                <a:off x="2865" y="19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3" name="Freeform 2417">
                <a:extLst>
                  <a:ext uri="{FF2B5EF4-FFF2-40B4-BE49-F238E27FC236}">
                    <a16:creationId xmlns:a16="http://schemas.microsoft.com/office/drawing/2014/main" id="{33D91B6A-7CA9-42C7-A5A0-98DB9A9D38E3}"/>
                  </a:ext>
                </a:extLst>
              </p:cNvPr>
              <p:cNvSpPr>
                <a:spLocks/>
              </p:cNvSpPr>
              <p:nvPr/>
            </p:nvSpPr>
            <p:spPr bwMode="auto">
              <a:xfrm>
                <a:off x="3045" y="1770"/>
                <a:ext cx="180" cy="120"/>
              </a:xfrm>
              <a:custGeom>
                <a:avLst/>
                <a:gdLst>
                  <a:gd name="T0" fmla="*/ 150 w 180"/>
                  <a:gd name="T1" fmla="*/ 120 h 120"/>
                  <a:gd name="T2" fmla="*/ 180 w 180"/>
                  <a:gd name="T3" fmla="*/ 0 h 120"/>
                  <a:gd name="T4" fmla="*/ 30 w 180"/>
                  <a:gd name="T5" fmla="*/ 120 h 120"/>
                  <a:gd name="T6" fmla="*/ 150 w 180"/>
                  <a:gd name="T7" fmla="*/ 120 h 120"/>
                  <a:gd name="T8" fmla="*/ 0 w 180"/>
                  <a:gd name="T9" fmla="*/ 0 h 120"/>
                </a:gdLst>
                <a:ahLst/>
                <a:cxnLst>
                  <a:cxn ang="0">
                    <a:pos x="T0" y="T1"/>
                  </a:cxn>
                  <a:cxn ang="0">
                    <a:pos x="T2" y="T3"/>
                  </a:cxn>
                  <a:cxn ang="0">
                    <a:pos x="T4" y="T5"/>
                  </a:cxn>
                  <a:cxn ang="0">
                    <a:pos x="T6" y="T7"/>
                  </a:cxn>
                  <a:cxn ang="0">
                    <a:pos x="T8" y="T9"/>
                  </a:cxn>
                </a:cxnLst>
                <a:rect l="0" t="0" r="r" b="b"/>
                <a:pathLst>
                  <a:path w="180" h="120">
                    <a:moveTo>
                      <a:pt x="150" y="120"/>
                    </a:moveTo>
                    <a:lnTo>
                      <a:pt x="180" y="0"/>
                    </a:lnTo>
                    <a:lnTo>
                      <a:pt x="30" y="120"/>
                    </a:lnTo>
                    <a:lnTo>
                      <a:pt x="15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4" name="Freeform 2418">
                <a:extLst>
                  <a:ext uri="{FF2B5EF4-FFF2-40B4-BE49-F238E27FC236}">
                    <a16:creationId xmlns:a16="http://schemas.microsoft.com/office/drawing/2014/main" id="{8638BA5A-F2CD-4AC7-8AD5-0FF5A2B1C9CE}"/>
                  </a:ext>
                </a:extLst>
              </p:cNvPr>
              <p:cNvSpPr>
                <a:spLocks/>
              </p:cNvSpPr>
              <p:nvPr/>
            </p:nvSpPr>
            <p:spPr bwMode="auto">
              <a:xfrm>
                <a:off x="3105" y="1530"/>
                <a:ext cx="240" cy="360"/>
              </a:xfrm>
              <a:custGeom>
                <a:avLst/>
                <a:gdLst>
                  <a:gd name="T0" fmla="*/ 120 w 240"/>
                  <a:gd name="T1" fmla="*/ 240 h 360"/>
                  <a:gd name="T2" fmla="*/ 90 w 240"/>
                  <a:gd name="T3" fmla="*/ 120 h 360"/>
                  <a:gd name="T4" fmla="*/ 90 w 240"/>
                  <a:gd name="T5" fmla="*/ 0 h 360"/>
                  <a:gd name="T6" fmla="*/ 210 w 240"/>
                  <a:gd name="T7" fmla="*/ 30 h 360"/>
                  <a:gd name="T8" fmla="*/ 240 w 240"/>
                  <a:gd name="T9" fmla="*/ 180 h 360"/>
                  <a:gd name="T10" fmla="*/ 120 w 240"/>
                  <a:gd name="T11" fmla="*/ 240 h 360"/>
                  <a:gd name="T12" fmla="*/ 210 w 240"/>
                  <a:gd name="T13" fmla="*/ 330 h 360"/>
                  <a:gd name="T14" fmla="*/ 90 w 240"/>
                  <a:gd name="T15" fmla="*/ 360 h 360"/>
                  <a:gd name="T16" fmla="*/ 0 w 240"/>
                  <a:gd name="T17"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360">
                    <a:moveTo>
                      <a:pt x="120" y="240"/>
                    </a:moveTo>
                    <a:lnTo>
                      <a:pt x="90" y="120"/>
                    </a:lnTo>
                    <a:lnTo>
                      <a:pt x="90" y="0"/>
                    </a:lnTo>
                    <a:lnTo>
                      <a:pt x="210" y="30"/>
                    </a:lnTo>
                    <a:lnTo>
                      <a:pt x="240" y="180"/>
                    </a:lnTo>
                    <a:lnTo>
                      <a:pt x="120" y="240"/>
                    </a:lnTo>
                    <a:lnTo>
                      <a:pt x="210" y="330"/>
                    </a:lnTo>
                    <a:lnTo>
                      <a:pt x="90" y="36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5" name="Freeform 2419">
                <a:extLst>
                  <a:ext uri="{FF2B5EF4-FFF2-40B4-BE49-F238E27FC236}">
                    <a16:creationId xmlns:a16="http://schemas.microsoft.com/office/drawing/2014/main" id="{9C22BFEC-5B2B-4BD2-AF1C-7AED59A929BA}"/>
                  </a:ext>
                </a:extLst>
              </p:cNvPr>
              <p:cNvSpPr>
                <a:spLocks/>
              </p:cNvSpPr>
              <p:nvPr/>
            </p:nvSpPr>
            <p:spPr bwMode="auto">
              <a:xfrm>
                <a:off x="3105" y="1590"/>
                <a:ext cx="90" cy="120"/>
              </a:xfrm>
              <a:custGeom>
                <a:avLst/>
                <a:gdLst>
                  <a:gd name="T0" fmla="*/ 0 w 90"/>
                  <a:gd name="T1" fmla="*/ 120 h 120"/>
                  <a:gd name="T2" fmla="*/ 90 w 90"/>
                  <a:gd name="T3" fmla="*/ 60 h 120"/>
                  <a:gd name="T4" fmla="*/ 0 w 90"/>
                  <a:gd name="T5" fmla="*/ 0 h 120"/>
                </a:gdLst>
                <a:ahLst/>
                <a:cxnLst>
                  <a:cxn ang="0">
                    <a:pos x="T0" y="T1"/>
                  </a:cxn>
                  <a:cxn ang="0">
                    <a:pos x="T2" y="T3"/>
                  </a:cxn>
                  <a:cxn ang="0">
                    <a:pos x="T4" y="T5"/>
                  </a:cxn>
                </a:cxnLst>
                <a:rect l="0" t="0" r="r" b="b"/>
                <a:pathLst>
                  <a:path w="90" h="120">
                    <a:moveTo>
                      <a:pt x="0" y="120"/>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6" name="Line 2420">
                <a:extLst>
                  <a:ext uri="{FF2B5EF4-FFF2-40B4-BE49-F238E27FC236}">
                    <a16:creationId xmlns:a16="http://schemas.microsoft.com/office/drawing/2014/main" id="{93D7EA2B-4D03-4F64-AA9F-2ECFB6D8B0F1}"/>
                  </a:ext>
                </a:extLst>
              </p:cNvPr>
              <p:cNvSpPr>
                <a:spLocks noChangeShapeType="1"/>
              </p:cNvSpPr>
              <p:nvPr/>
            </p:nvSpPr>
            <p:spPr bwMode="auto">
              <a:xfrm>
                <a:off x="2595" y="15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7" name="Freeform 2421">
                <a:extLst>
                  <a:ext uri="{FF2B5EF4-FFF2-40B4-BE49-F238E27FC236}">
                    <a16:creationId xmlns:a16="http://schemas.microsoft.com/office/drawing/2014/main" id="{85047C80-15B6-4352-B4C8-95C2CA1E6735}"/>
                  </a:ext>
                </a:extLst>
              </p:cNvPr>
              <p:cNvSpPr>
                <a:spLocks/>
              </p:cNvSpPr>
              <p:nvPr/>
            </p:nvSpPr>
            <p:spPr bwMode="auto">
              <a:xfrm>
                <a:off x="2715" y="1230"/>
                <a:ext cx="450" cy="180"/>
              </a:xfrm>
              <a:custGeom>
                <a:avLst/>
                <a:gdLst>
                  <a:gd name="T0" fmla="*/ 450 w 450"/>
                  <a:gd name="T1" fmla="*/ 180 h 180"/>
                  <a:gd name="T2" fmla="*/ 450 w 450"/>
                  <a:gd name="T3" fmla="*/ 60 h 180"/>
                  <a:gd name="T4" fmla="*/ 330 w 450"/>
                  <a:gd name="T5" fmla="*/ 120 h 180"/>
                  <a:gd name="T6" fmla="*/ 210 w 450"/>
                  <a:gd name="T7" fmla="*/ 30 h 180"/>
                  <a:gd name="T8" fmla="*/ 90 w 450"/>
                  <a:gd name="T9" fmla="*/ 0 h 180"/>
                  <a:gd name="T10" fmla="*/ 150 w 450"/>
                  <a:gd name="T11" fmla="*/ 90 h 180"/>
                  <a:gd name="T12" fmla="*/ 0 w 450"/>
                  <a:gd name="T13" fmla="*/ 60 h 180"/>
                </a:gdLst>
                <a:ahLst/>
                <a:cxnLst>
                  <a:cxn ang="0">
                    <a:pos x="T0" y="T1"/>
                  </a:cxn>
                  <a:cxn ang="0">
                    <a:pos x="T2" y="T3"/>
                  </a:cxn>
                  <a:cxn ang="0">
                    <a:pos x="T4" y="T5"/>
                  </a:cxn>
                  <a:cxn ang="0">
                    <a:pos x="T6" y="T7"/>
                  </a:cxn>
                  <a:cxn ang="0">
                    <a:pos x="T8" y="T9"/>
                  </a:cxn>
                  <a:cxn ang="0">
                    <a:pos x="T10" y="T11"/>
                  </a:cxn>
                  <a:cxn ang="0">
                    <a:pos x="T12" y="T13"/>
                  </a:cxn>
                </a:cxnLst>
                <a:rect l="0" t="0" r="r" b="b"/>
                <a:pathLst>
                  <a:path w="450" h="180">
                    <a:moveTo>
                      <a:pt x="450" y="180"/>
                    </a:moveTo>
                    <a:lnTo>
                      <a:pt x="450" y="60"/>
                    </a:lnTo>
                    <a:lnTo>
                      <a:pt x="330" y="120"/>
                    </a:lnTo>
                    <a:lnTo>
                      <a:pt x="210" y="30"/>
                    </a:lnTo>
                    <a:lnTo>
                      <a:pt x="90" y="0"/>
                    </a:lnTo>
                    <a:lnTo>
                      <a:pt x="150" y="9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8" name="Freeform 2422">
                <a:extLst>
                  <a:ext uri="{FF2B5EF4-FFF2-40B4-BE49-F238E27FC236}">
                    <a16:creationId xmlns:a16="http://schemas.microsoft.com/office/drawing/2014/main" id="{BDDA0226-624F-4E4E-BB48-C9BD070BDE84}"/>
                  </a:ext>
                </a:extLst>
              </p:cNvPr>
              <p:cNvSpPr>
                <a:spLocks/>
              </p:cNvSpPr>
              <p:nvPr/>
            </p:nvSpPr>
            <p:spPr bwMode="auto">
              <a:xfrm>
                <a:off x="3105" y="1440"/>
                <a:ext cx="180" cy="150"/>
              </a:xfrm>
              <a:custGeom>
                <a:avLst/>
                <a:gdLst>
                  <a:gd name="T0" fmla="*/ 180 w 180"/>
                  <a:gd name="T1" fmla="*/ 0 h 150"/>
                  <a:gd name="T2" fmla="*/ 90 w 180"/>
                  <a:gd name="T3" fmla="*/ 90 h 150"/>
                  <a:gd name="T4" fmla="*/ 0 w 180"/>
                  <a:gd name="T5" fmla="*/ 150 h 150"/>
                </a:gdLst>
                <a:ahLst/>
                <a:cxnLst>
                  <a:cxn ang="0">
                    <a:pos x="T0" y="T1"/>
                  </a:cxn>
                  <a:cxn ang="0">
                    <a:pos x="T2" y="T3"/>
                  </a:cxn>
                  <a:cxn ang="0">
                    <a:pos x="T4" y="T5"/>
                  </a:cxn>
                </a:cxnLst>
                <a:rect l="0" t="0" r="r" b="b"/>
                <a:pathLst>
                  <a:path w="180" h="150">
                    <a:moveTo>
                      <a:pt x="180" y="0"/>
                    </a:moveTo>
                    <a:lnTo>
                      <a:pt x="90" y="9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9" name="Freeform 2423">
                <a:extLst>
                  <a:ext uri="{FF2B5EF4-FFF2-40B4-BE49-F238E27FC236}">
                    <a16:creationId xmlns:a16="http://schemas.microsoft.com/office/drawing/2014/main" id="{8723628F-1867-4CA3-9CAD-2312B09CDC3B}"/>
                  </a:ext>
                </a:extLst>
              </p:cNvPr>
              <p:cNvSpPr>
                <a:spLocks/>
              </p:cNvSpPr>
              <p:nvPr/>
            </p:nvSpPr>
            <p:spPr bwMode="auto">
              <a:xfrm>
                <a:off x="2925" y="1260"/>
                <a:ext cx="390" cy="390"/>
              </a:xfrm>
              <a:custGeom>
                <a:avLst/>
                <a:gdLst>
                  <a:gd name="T0" fmla="*/ 270 w 390"/>
                  <a:gd name="T1" fmla="*/ 390 h 390"/>
                  <a:gd name="T2" fmla="*/ 390 w 390"/>
                  <a:gd name="T3" fmla="*/ 300 h 390"/>
                  <a:gd name="T4" fmla="*/ 360 w 390"/>
                  <a:gd name="T5" fmla="*/ 180 h 390"/>
                  <a:gd name="T6" fmla="*/ 240 w 390"/>
                  <a:gd name="T7" fmla="*/ 30 h 390"/>
                  <a:gd name="T8" fmla="*/ 0 w 390"/>
                  <a:gd name="T9" fmla="*/ 0 h 390"/>
                </a:gdLst>
                <a:ahLst/>
                <a:cxnLst>
                  <a:cxn ang="0">
                    <a:pos x="T0" y="T1"/>
                  </a:cxn>
                  <a:cxn ang="0">
                    <a:pos x="T2" y="T3"/>
                  </a:cxn>
                  <a:cxn ang="0">
                    <a:pos x="T4" y="T5"/>
                  </a:cxn>
                  <a:cxn ang="0">
                    <a:pos x="T6" y="T7"/>
                  </a:cxn>
                  <a:cxn ang="0">
                    <a:pos x="T8" y="T9"/>
                  </a:cxn>
                </a:cxnLst>
                <a:rect l="0" t="0" r="r" b="b"/>
                <a:pathLst>
                  <a:path w="390" h="390">
                    <a:moveTo>
                      <a:pt x="270" y="390"/>
                    </a:moveTo>
                    <a:lnTo>
                      <a:pt x="390" y="300"/>
                    </a:lnTo>
                    <a:lnTo>
                      <a:pt x="360" y="180"/>
                    </a:lnTo>
                    <a:lnTo>
                      <a:pt x="24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0" name="Freeform 2424">
                <a:extLst>
                  <a:ext uri="{FF2B5EF4-FFF2-40B4-BE49-F238E27FC236}">
                    <a16:creationId xmlns:a16="http://schemas.microsoft.com/office/drawing/2014/main" id="{E3D45E88-07F9-4C4B-A0A3-822A78FC66BE}"/>
                  </a:ext>
                </a:extLst>
              </p:cNvPr>
              <p:cNvSpPr>
                <a:spLocks/>
              </p:cNvSpPr>
              <p:nvPr/>
            </p:nvSpPr>
            <p:spPr bwMode="auto">
              <a:xfrm>
                <a:off x="2445" y="1230"/>
                <a:ext cx="360" cy="210"/>
              </a:xfrm>
              <a:custGeom>
                <a:avLst/>
                <a:gdLst>
                  <a:gd name="T0" fmla="*/ 90 w 360"/>
                  <a:gd name="T1" fmla="*/ 60 h 210"/>
                  <a:gd name="T2" fmla="*/ 0 w 360"/>
                  <a:gd name="T3" fmla="*/ 180 h 210"/>
                  <a:gd name="T4" fmla="*/ 90 w 360"/>
                  <a:gd name="T5" fmla="*/ 210 h 210"/>
                  <a:gd name="T6" fmla="*/ 180 w 360"/>
                  <a:gd name="T7" fmla="*/ 180 h 210"/>
                  <a:gd name="T8" fmla="*/ 90 w 360"/>
                  <a:gd name="T9" fmla="*/ 60 h 210"/>
                  <a:gd name="T10" fmla="*/ 270 w 360"/>
                  <a:gd name="T11" fmla="*/ 60 h 210"/>
                  <a:gd name="T12" fmla="*/ 360 w 36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60" h="210">
                    <a:moveTo>
                      <a:pt x="90" y="60"/>
                    </a:moveTo>
                    <a:lnTo>
                      <a:pt x="0" y="180"/>
                    </a:lnTo>
                    <a:lnTo>
                      <a:pt x="90" y="210"/>
                    </a:lnTo>
                    <a:lnTo>
                      <a:pt x="180" y="180"/>
                    </a:lnTo>
                    <a:lnTo>
                      <a:pt x="90" y="60"/>
                    </a:lnTo>
                    <a:lnTo>
                      <a:pt x="270" y="60"/>
                    </a:lnTo>
                    <a:lnTo>
                      <a:pt x="3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1" name="Line 2425">
                <a:extLst>
                  <a:ext uri="{FF2B5EF4-FFF2-40B4-BE49-F238E27FC236}">
                    <a16:creationId xmlns:a16="http://schemas.microsoft.com/office/drawing/2014/main" id="{562CE630-9011-45F8-9A0C-4CF8A3AAEF51}"/>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2" name="Line 2426">
                <a:extLst>
                  <a:ext uri="{FF2B5EF4-FFF2-40B4-BE49-F238E27FC236}">
                    <a16:creationId xmlns:a16="http://schemas.microsoft.com/office/drawing/2014/main" id="{155BEE6F-2D31-4C85-B8F3-2BDB6F429A54}"/>
                  </a:ext>
                </a:extLst>
              </p:cNvPr>
              <p:cNvSpPr>
                <a:spLocks noChangeShapeType="1"/>
              </p:cNvSpPr>
              <p:nvPr/>
            </p:nvSpPr>
            <p:spPr bwMode="auto">
              <a:xfrm flipH="1">
                <a:off x="3105" y="141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3" name="Freeform 2427">
                <a:extLst>
                  <a:ext uri="{FF2B5EF4-FFF2-40B4-BE49-F238E27FC236}">
                    <a16:creationId xmlns:a16="http://schemas.microsoft.com/office/drawing/2014/main" id="{D0E9FF98-FD0C-4136-A31A-50EAD66F3FE9}"/>
                  </a:ext>
                </a:extLst>
              </p:cNvPr>
              <p:cNvSpPr>
                <a:spLocks/>
              </p:cNvSpPr>
              <p:nvPr/>
            </p:nvSpPr>
            <p:spPr bwMode="auto">
              <a:xfrm>
                <a:off x="2505" y="2490"/>
                <a:ext cx="450" cy="300"/>
              </a:xfrm>
              <a:custGeom>
                <a:avLst/>
                <a:gdLst>
                  <a:gd name="T0" fmla="*/ 180 w 450"/>
                  <a:gd name="T1" fmla="*/ 300 h 300"/>
                  <a:gd name="T2" fmla="*/ 300 w 450"/>
                  <a:gd name="T3" fmla="*/ 240 h 300"/>
                  <a:gd name="T4" fmla="*/ 450 w 450"/>
                  <a:gd name="T5" fmla="*/ 300 h 300"/>
                  <a:gd name="T6" fmla="*/ 360 w 450"/>
                  <a:gd name="T7" fmla="*/ 90 h 300"/>
                  <a:gd name="T8" fmla="*/ 240 w 450"/>
                  <a:gd name="T9" fmla="*/ 150 h 300"/>
                  <a:gd name="T10" fmla="*/ 0 w 450"/>
                  <a:gd name="T11" fmla="*/ 0 h 300"/>
                </a:gdLst>
                <a:ahLst/>
                <a:cxnLst>
                  <a:cxn ang="0">
                    <a:pos x="T0" y="T1"/>
                  </a:cxn>
                  <a:cxn ang="0">
                    <a:pos x="T2" y="T3"/>
                  </a:cxn>
                  <a:cxn ang="0">
                    <a:pos x="T4" y="T5"/>
                  </a:cxn>
                  <a:cxn ang="0">
                    <a:pos x="T6" y="T7"/>
                  </a:cxn>
                  <a:cxn ang="0">
                    <a:pos x="T8" y="T9"/>
                  </a:cxn>
                  <a:cxn ang="0">
                    <a:pos x="T10" y="T11"/>
                  </a:cxn>
                </a:cxnLst>
                <a:rect l="0" t="0" r="r" b="b"/>
                <a:pathLst>
                  <a:path w="450" h="300">
                    <a:moveTo>
                      <a:pt x="180" y="300"/>
                    </a:moveTo>
                    <a:lnTo>
                      <a:pt x="300" y="240"/>
                    </a:lnTo>
                    <a:lnTo>
                      <a:pt x="450" y="300"/>
                    </a:lnTo>
                    <a:lnTo>
                      <a:pt x="360" y="9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4" name="Line 2428">
                <a:extLst>
                  <a:ext uri="{FF2B5EF4-FFF2-40B4-BE49-F238E27FC236}">
                    <a16:creationId xmlns:a16="http://schemas.microsoft.com/office/drawing/2014/main" id="{2EA35BC8-FC10-47F7-A23F-0FF9B07EC2E3}"/>
                  </a:ext>
                </a:extLst>
              </p:cNvPr>
              <p:cNvSpPr>
                <a:spLocks noChangeShapeType="1"/>
              </p:cNvSpPr>
              <p:nvPr/>
            </p:nvSpPr>
            <p:spPr bwMode="auto">
              <a:xfrm flipV="1">
                <a:off x="2925" y="243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5" name="Freeform 2429">
                <a:extLst>
                  <a:ext uri="{FF2B5EF4-FFF2-40B4-BE49-F238E27FC236}">
                    <a16:creationId xmlns:a16="http://schemas.microsoft.com/office/drawing/2014/main" id="{A0A5BEE2-BFBC-4025-866A-4BAC1BA4D65F}"/>
                  </a:ext>
                </a:extLst>
              </p:cNvPr>
              <p:cNvSpPr>
                <a:spLocks/>
              </p:cNvSpPr>
              <p:nvPr/>
            </p:nvSpPr>
            <p:spPr bwMode="auto">
              <a:xfrm>
                <a:off x="2835" y="2070"/>
                <a:ext cx="300" cy="240"/>
              </a:xfrm>
              <a:custGeom>
                <a:avLst/>
                <a:gdLst>
                  <a:gd name="T0" fmla="*/ 180 w 300"/>
                  <a:gd name="T1" fmla="*/ 0 h 240"/>
                  <a:gd name="T2" fmla="*/ 0 w 300"/>
                  <a:gd name="T3" fmla="*/ 0 h 240"/>
                  <a:gd name="T4" fmla="*/ 60 w 300"/>
                  <a:gd name="T5" fmla="*/ 120 h 240"/>
                  <a:gd name="T6" fmla="*/ 180 w 300"/>
                  <a:gd name="T7" fmla="*/ 0 h 240"/>
                  <a:gd name="T8" fmla="*/ 300 w 300"/>
                  <a:gd name="T9" fmla="*/ 150 h 240"/>
                  <a:gd name="T10" fmla="*/ 150 w 300"/>
                  <a:gd name="T11" fmla="*/ 240 h 240"/>
                </a:gdLst>
                <a:ahLst/>
                <a:cxnLst>
                  <a:cxn ang="0">
                    <a:pos x="T0" y="T1"/>
                  </a:cxn>
                  <a:cxn ang="0">
                    <a:pos x="T2" y="T3"/>
                  </a:cxn>
                  <a:cxn ang="0">
                    <a:pos x="T4" y="T5"/>
                  </a:cxn>
                  <a:cxn ang="0">
                    <a:pos x="T6" y="T7"/>
                  </a:cxn>
                  <a:cxn ang="0">
                    <a:pos x="T8" y="T9"/>
                  </a:cxn>
                  <a:cxn ang="0">
                    <a:pos x="T10" y="T11"/>
                  </a:cxn>
                </a:cxnLst>
                <a:rect l="0" t="0" r="r" b="b"/>
                <a:pathLst>
                  <a:path w="300" h="240">
                    <a:moveTo>
                      <a:pt x="180" y="0"/>
                    </a:moveTo>
                    <a:lnTo>
                      <a:pt x="0" y="0"/>
                    </a:lnTo>
                    <a:lnTo>
                      <a:pt x="60" y="120"/>
                    </a:lnTo>
                    <a:lnTo>
                      <a:pt x="180" y="0"/>
                    </a:lnTo>
                    <a:lnTo>
                      <a:pt x="300" y="15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6" name="Line 2430">
                <a:extLst>
                  <a:ext uri="{FF2B5EF4-FFF2-40B4-BE49-F238E27FC236}">
                    <a16:creationId xmlns:a16="http://schemas.microsoft.com/office/drawing/2014/main" id="{0A3A25C4-7D0F-4325-A1C6-F2312E5BCA49}"/>
                  </a:ext>
                </a:extLst>
              </p:cNvPr>
              <p:cNvSpPr>
                <a:spLocks noChangeShapeType="1"/>
              </p:cNvSpPr>
              <p:nvPr/>
            </p:nvSpPr>
            <p:spPr bwMode="auto">
              <a:xfrm>
                <a:off x="3135" y="204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7" name="Freeform 2431">
                <a:extLst>
                  <a:ext uri="{FF2B5EF4-FFF2-40B4-BE49-F238E27FC236}">
                    <a16:creationId xmlns:a16="http://schemas.microsoft.com/office/drawing/2014/main" id="{C72D515C-AFAC-421E-8B4B-3E815DB95099}"/>
                  </a:ext>
                </a:extLst>
              </p:cNvPr>
              <p:cNvSpPr>
                <a:spLocks/>
              </p:cNvSpPr>
              <p:nvPr/>
            </p:nvSpPr>
            <p:spPr bwMode="auto">
              <a:xfrm>
                <a:off x="2655" y="2310"/>
                <a:ext cx="690" cy="420"/>
              </a:xfrm>
              <a:custGeom>
                <a:avLst/>
                <a:gdLst>
                  <a:gd name="T0" fmla="*/ 120 w 690"/>
                  <a:gd name="T1" fmla="*/ 150 h 420"/>
                  <a:gd name="T2" fmla="*/ 330 w 690"/>
                  <a:gd name="T3" fmla="*/ 0 h 420"/>
                  <a:gd name="T4" fmla="*/ 180 w 690"/>
                  <a:gd name="T5" fmla="*/ 30 h 420"/>
                  <a:gd name="T6" fmla="*/ 270 w 690"/>
                  <a:gd name="T7" fmla="*/ 180 h 420"/>
                  <a:gd name="T8" fmla="*/ 0 w 690"/>
                  <a:gd name="T9" fmla="*/ 210 h 420"/>
                  <a:gd name="T10" fmla="*/ 210 w 690"/>
                  <a:gd name="T11" fmla="*/ 270 h 420"/>
                  <a:gd name="T12" fmla="*/ 330 w 690"/>
                  <a:gd name="T13" fmla="*/ 330 h 420"/>
                  <a:gd name="T14" fmla="*/ 420 w 690"/>
                  <a:gd name="T15" fmla="*/ 420 h 420"/>
                  <a:gd name="T16" fmla="*/ 450 w 690"/>
                  <a:gd name="T17" fmla="*/ 240 h 420"/>
                  <a:gd name="T18" fmla="*/ 570 w 690"/>
                  <a:gd name="T19" fmla="*/ 420 h 420"/>
                  <a:gd name="T20" fmla="*/ 690 w 690"/>
                  <a:gd name="T21" fmla="*/ 39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420">
                    <a:moveTo>
                      <a:pt x="120" y="150"/>
                    </a:moveTo>
                    <a:lnTo>
                      <a:pt x="330" y="0"/>
                    </a:lnTo>
                    <a:lnTo>
                      <a:pt x="180" y="30"/>
                    </a:lnTo>
                    <a:lnTo>
                      <a:pt x="270" y="180"/>
                    </a:lnTo>
                    <a:lnTo>
                      <a:pt x="0" y="210"/>
                    </a:lnTo>
                    <a:lnTo>
                      <a:pt x="210" y="270"/>
                    </a:lnTo>
                    <a:lnTo>
                      <a:pt x="330" y="330"/>
                    </a:lnTo>
                    <a:lnTo>
                      <a:pt x="420" y="420"/>
                    </a:lnTo>
                    <a:lnTo>
                      <a:pt x="450" y="240"/>
                    </a:lnTo>
                    <a:lnTo>
                      <a:pt x="570" y="420"/>
                    </a:lnTo>
                    <a:lnTo>
                      <a:pt x="690" y="3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8" name="Freeform 2432">
                <a:extLst>
                  <a:ext uri="{FF2B5EF4-FFF2-40B4-BE49-F238E27FC236}">
                    <a16:creationId xmlns:a16="http://schemas.microsoft.com/office/drawing/2014/main" id="{47898FE6-E89F-43F1-B138-8D931A1DC598}"/>
                  </a:ext>
                </a:extLst>
              </p:cNvPr>
              <p:cNvSpPr>
                <a:spLocks/>
              </p:cNvSpPr>
              <p:nvPr/>
            </p:nvSpPr>
            <p:spPr bwMode="auto">
              <a:xfrm>
                <a:off x="3465" y="249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9" name="Freeform 2433">
                <a:extLst>
                  <a:ext uri="{FF2B5EF4-FFF2-40B4-BE49-F238E27FC236}">
                    <a16:creationId xmlns:a16="http://schemas.microsoft.com/office/drawing/2014/main" id="{FBE9F8F1-5D3B-4753-A5AE-006C1A4C818D}"/>
                  </a:ext>
                </a:extLst>
              </p:cNvPr>
              <p:cNvSpPr>
                <a:spLocks/>
              </p:cNvSpPr>
              <p:nvPr/>
            </p:nvSpPr>
            <p:spPr bwMode="auto">
              <a:xfrm>
                <a:off x="3615" y="231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0" name="Line 2434">
                <a:extLst>
                  <a:ext uri="{FF2B5EF4-FFF2-40B4-BE49-F238E27FC236}">
                    <a16:creationId xmlns:a16="http://schemas.microsoft.com/office/drawing/2014/main" id="{7E9D2D9F-B249-4342-870F-34A434781A9F}"/>
                  </a:ext>
                </a:extLst>
              </p:cNvPr>
              <p:cNvSpPr>
                <a:spLocks noChangeShapeType="1"/>
              </p:cNvSpPr>
              <p:nvPr/>
            </p:nvSpPr>
            <p:spPr bwMode="auto">
              <a:xfrm>
                <a:off x="3944" y="231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1" name="Freeform 2435">
                <a:extLst>
                  <a:ext uri="{FF2B5EF4-FFF2-40B4-BE49-F238E27FC236}">
                    <a16:creationId xmlns:a16="http://schemas.microsoft.com/office/drawing/2014/main" id="{29E2C23D-0C3D-4D4D-8C88-F5E3CEA3377B}"/>
                  </a:ext>
                </a:extLst>
              </p:cNvPr>
              <p:cNvSpPr>
                <a:spLocks/>
              </p:cNvSpPr>
              <p:nvPr/>
            </p:nvSpPr>
            <p:spPr bwMode="auto">
              <a:xfrm>
                <a:off x="3735" y="216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2" name="Freeform 2436">
                <a:extLst>
                  <a:ext uri="{FF2B5EF4-FFF2-40B4-BE49-F238E27FC236}">
                    <a16:creationId xmlns:a16="http://schemas.microsoft.com/office/drawing/2014/main" id="{7CA5CF9B-DD3E-437D-83B7-D99C647A2B16}"/>
                  </a:ext>
                </a:extLst>
              </p:cNvPr>
              <p:cNvSpPr>
                <a:spLocks/>
              </p:cNvSpPr>
              <p:nvPr/>
            </p:nvSpPr>
            <p:spPr bwMode="auto">
              <a:xfrm>
                <a:off x="1786" y="216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3" name="Freeform 2437">
                <a:extLst>
                  <a:ext uri="{FF2B5EF4-FFF2-40B4-BE49-F238E27FC236}">
                    <a16:creationId xmlns:a16="http://schemas.microsoft.com/office/drawing/2014/main" id="{97455551-3237-4A5A-B20A-E42276820AA6}"/>
                  </a:ext>
                </a:extLst>
              </p:cNvPr>
              <p:cNvSpPr>
                <a:spLocks/>
              </p:cNvSpPr>
              <p:nvPr/>
            </p:nvSpPr>
            <p:spPr bwMode="auto">
              <a:xfrm>
                <a:off x="2056" y="2100"/>
                <a:ext cx="719" cy="690"/>
              </a:xfrm>
              <a:custGeom>
                <a:avLst/>
                <a:gdLst>
                  <a:gd name="T0" fmla="*/ 119 w 719"/>
                  <a:gd name="T1" fmla="*/ 120 h 690"/>
                  <a:gd name="T2" fmla="*/ 0 w 719"/>
                  <a:gd name="T3" fmla="*/ 30 h 690"/>
                  <a:gd name="T4" fmla="*/ 209 w 719"/>
                  <a:gd name="T5" fmla="*/ 0 h 690"/>
                  <a:gd name="T6" fmla="*/ 299 w 719"/>
                  <a:gd name="T7" fmla="*/ 120 h 690"/>
                  <a:gd name="T8" fmla="*/ 389 w 719"/>
                  <a:gd name="T9" fmla="*/ 0 h 690"/>
                  <a:gd name="T10" fmla="*/ 209 w 719"/>
                  <a:gd name="T11" fmla="*/ 0 h 690"/>
                  <a:gd name="T12" fmla="*/ 209 w 719"/>
                  <a:gd name="T13" fmla="*/ 151 h 690"/>
                  <a:gd name="T14" fmla="*/ 119 w 719"/>
                  <a:gd name="T15" fmla="*/ 120 h 690"/>
                  <a:gd name="T16" fmla="*/ 89 w 719"/>
                  <a:gd name="T17" fmla="*/ 210 h 690"/>
                  <a:gd name="T18" fmla="*/ 89 w 719"/>
                  <a:gd name="T19" fmla="*/ 450 h 690"/>
                  <a:gd name="T20" fmla="*/ 209 w 719"/>
                  <a:gd name="T21" fmla="*/ 360 h 690"/>
                  <a:gd name="T22" fmla="*/ 298 w 719"/>
                  <a:gd name="T23" fmla="*/ 452 h 690"/>
                  <a:gd name="T24" fmla="*/ 269 w 719"/>
                  <a:gd name="T25" fmla="*/ 270 h 690"/>
                  <a:gd name="T26" fmla="*/ 359 w 719"/>
                  <a:gd name="T27" fmla="*/ 210 h 690"/>
                  <a:gd name="T28" fmla="*/ 479 w 719"/>
                  <a:gd name="T29" fmla="*/ 270 h 690"/>
                  <a:gd name="T30" fmla="*/ 359 w 719"/>
                  <a:gd name="T31" fmla="*/ 330 h 690"/>
                  <a:gd name="T32" fmla="*/ 449 w 719"/>
                  <a:gd name="T33" fmla="*/ 390 h 690"/>
                  <a:gd name="T34" fmla="*/ 719 w 719"/>
                  <a:gd name="T35" fmla="*/ 360 h 690"/>
                  <a:gd name="T36" fmla="*/ 599 w 719"/>
                  <a:gd name="T37" fmla="*/ 420 h 690"/>
                  <a:gd name="T38" fmla="*/ 629 w 719"/>
                  <a:gd name="T39" fmla="*/ 690 h 690"/>
                  <a:gd name="T40" fmla="*/ 419 w 719"/>
                  <a:gd name="T41" fmla="*/ 51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69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29" y="69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4" name="Freeform 2438">
                <a:extLst>
                  <a:ext uri="{FF2B5EF4-FFF2-40B4-BE49-F238E27FC236}">
                    <a16:creationId xmlns:a16="http://schemas.microsoft.com/office/drawing/2014/main" id="{83846C58-8156-48B6-B31F-1CC89E322EC2}"/>
                  </a:ext>
                </a:extLst>
              </p:cNvPr>
              <p:cNvSpPr>
                <a:spLocks/>
              </p:cNvSpPr>
              <p:nvPr/>
            </p:nvSpPr>
            <p:spPr bwMode="auto">
              <a:xfrm>
                <a:off x="1786" y="219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5" name="Freeform 2439">
                <a:extLst>
                  <a:ext uri="{FF2B5EF4-FFF2-40B4-BE49-F238E27FC236}">
                    <a16:creationId xmlns:a16="http://schemas.microsoft.com/office/drawing/2014/main" id="{6BD7BA7E-06A3-4586-8907-107426D7D0A8}"/>
                  </a:ext>
                </a:extLst>
              </p:cNvPr>
              <p:cNvSpPr>
                <a:spLocks/>
              </p:cNvSpPr>
              <p:nvPr/>
            </p:nvSpPr>
            <p:spPr bwMode="auto">
              <a:xfrm>
                <a:off x="1906" y="252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6" name="Freeform 2440">
                <a:extLst>
                  <a:ext uri="{FF2B5EF4-FFF2-40B4-BE49-F238E27FC236}">
                    <a16:creationId xmlns:a16="http://schemas.microsoft.com/office/drawing/2014/main" id="{ED06D996-1A13-4FD2-8DA9-392D046C62A3}"/>
                  </a:ext>
                </a:extLst>
              </p:cNvPr>
              <p:cNvSpPr>
                <a:spLocks/>
              </p:cNvSpPr>
              <p:nvPr/>
            </p:nvSpPr>
            <p:spPr bwMode="auto">
              <a:xfrm>
                <a:off x="2056" y="540"/>
                <a:ext cx="899" cy="750"/>
              </a:xfrm>
              <a:custGeom>
                <a:avLst/>
                <a:gdLst>
                  <a:gd name="T0" fmla="*/ 299 w 899"/>
                  <a:gd name="T1" fmla="*/ 630 h 750"/>
                  <a:gd name="T2" fmla="*/ 268 w 899"/>
                  <a:gd name="T3" fmla="*/ 482 h 750"/>
                  <a:gd name="T4" fmla="*/ 179 w 899"/>
                  <a:gd name="T5" fmla="*/ 570 h 750"/>
                  <a:gd name="T6" fmla="*/ 59 w 899"/>
                  <a:gd name="T7" fmla="*/ 480 h 750"/>
                  <a:gd name="T8" fmla="*/ 0 w 899"/>
                  <a:gd name="T9" fmla="*/ 360 h 750"/>
                  <a:gd name="T10" fmla="*/ 59 w 899"/>
                  <a:gd name="T11" fmla="*/ 240 h 750"/>
                  <a:gd name="T12" fmla="*/ 179 w 899"/>
                  <a:gd name="T13" fmla="*/ 390 h 750"/>
                  <a:gd name="T14" fmla="*/ 239 w 899"/>
                  <a:gd name="T15" fmla="*/ 300 h 750"/>
                  <a:gd name="T16" fmla="*/ 329 w 899"/>
                  <a:gd name="T17" fmla="*/ 360 h 750"/>
                  <a:gd name="T18" fmla="*/ 329 w 899"/>
                  <a:gd name="T19" fmla="*/ 240 h 750"/>
                  <a:gd name="T20" fmla="*/ 179 w 899"/>
                  <a:gd name="T21" fmla="*/ 181 h 750"/>
                  <a:gd name="T22" fmla="*/ 269 w 899"/>
                  <a:gd name="T23" fmla="*/ 150 h 750"/>
                  <a:gd name="T24" fmla="*/ 389 w 899"/>
                  <a:gd name="T25" fmla="*/ 120 h 750"/>
                  <a:gd name="T26" fmla="*/ 449 w 899"/>
                  <a:gd name="T27" fmla="*/ 300 h 750"/>
                  <a:gd name="T28" fmla="*/ 539 w 899"/>
                  <a:gd name="T29" fmla="*/ 180 h 750"/>
                  <a:gd name="T30" fmla="*/ 509 w 899"/>
                  <a:gd name="T31" fmla="*/ 60 h 750"/>
                  <a:gd name="T32" fmla="*/ 359 w 899"/>
                  <a:gd name="T33" fmla="*/ 30 h 750"/>
                  <a:gd name="T34" fmla="*/ 569 w 899"/>
                  <a:gd name="T35" fmla="*/ 0 h 750"/>
                  <a:gd name="T36" fmla="*/ 689 w 899"/>
                  <a:gd name="T37" fmla="*/ 90 h 750"/>
                  <a:gd name="T38" fmla="*/ 659 w 899"/>
                  <a:gd name="T39" fmla="*/ 240 h 750"/>
                  <a:gd name="T40" fmla="*/ 749 w 899"/>
                  <a:gd name="T41" fmla="*/ 270 h 750"/>
                  <a:gd name="T42" fmla="*/ 809 w 899"/>
                  <a:gd name="T43" fmla="*/ 120 h 750"/>
                  <a:gd name="T44" fmla="*/ 899 w 899"/>
                  <a:gd name="T45" fmla="*/ 240 h 750"/>
                  <a:gd name="T46" fmla="*/ 839 w 899"/>
                  <a:gd name="T47" fmla="*/ 420 h 750"/>
                  <a:gd name="T48" fmla="*/ 779 w 899"/>
                  <a:gd name="T49" fmla="*/ 510 h 750"/>
                  <a:gd name="T50" fmla="*/ 689 w 899"/>
                  <a:gd name="T51" fmla="*/ 390 h 750"/>
                  <a:gd name="T52" fmla="*/ 539 w 899"/>
                  <a:gd name="T53" fmla="*/ 330 h 750"/>
                  <a:gd name="T54" fmla="*/ 569 w 899"/>
                  <a:gd name="T55" fmla="*/ 450 h 750"/>
                  <a:gd name="T56" fmla="*/ 419 w 899"/>
                  <a:gd name="T57" fmla="*/ 420 h 750"/>
                  <a:gd name="T58" fmla="*/ 389 w 899"/>
                  <a:gd name="T59" fmla="*/ 540 h 750"/>
                  <a:gd name="T60" fmla="*/ 509 w 899"/>
                  <a:gd name="T61" fmla="*/ 570 h 750"/>
                  <a:gd name="T62" fmla="*/ 659 w 899"/>
                  <a:gd name="T63" fmla="*/ 570 h 750"/>
                  <a:gd name="T64" fmla="*/ 659 w 899"/>
                  <a:gd name="T65"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9" h="750">
                    <a:moveTo>
                      <a:pt x="299" y="630"/>
                    </a:moveTo>
                    <a:lnTo>
                      <a:pt x="268" y="482"/>
                    </a:lnTo>
                    <a:lnTo>
                      <a:pt x="179" y="570"/>
                    </a:lnTo>
                    <a:lnTo>
                      <a:pt x="59" y="480"/>
                    </a:lnTo>
                    <a:lnTo>
                      <a:pt x="0" y="360"/>
                    </a:lnTo>
                    <a:lnTo>
                      <a:pt x="59" y="240"/>
                    </a:ln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659" y="7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7" name="Line 2441">
                <a:extLst>
                  <a:ext uri="{FF2B5EF4-FFF2-40B4-BE49-F238E27FC236}">
                    <a16:creationId xmlns:a16="http://schemas.microsoft.com/office/drawing/2014/main" id="{BFF77B18-9A14-4E96-8A67-E0EC0A047803}"/>
                  </a:ext>
                </a:extLst>
              </p:cNvPr>
              <p:cNvSpPr>
                <a:spLocks noChangeShapeType="1"/>
              </p:cNvSpPr>
              <p:nvPr/>
            </p:nvSpPr>
            <p:spPr bwMode="auto">
              <a:xfrm flipH="1">
                <a:off x="2115" y="72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8" name="Freeform 2442">
                <a:extLst>
                  <a:ext uri="{FF2B5EF4-FFF2-40B4-BE49-F238E27FC236}">
                    <a16:creationId xmlns:a16="http://schemas.microsoft.com/office/drawing/2014/main" id="{10323AF7-1779-468A-90B6-A20276D09C74}"/>
                  </a:ext>
                </a:extLst>
              </p:cNvPr>
              <p:cNvSpPr>
                <a:spLocks/>
              </p:cNvSpPr>
              <p:nvPr/>
            </p:nvSpPr>
            <p:spPr bwMode="auto">
              <a:xfrm>
                <a:off x="2324" y="90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9" name="Freeform 2443">
                <a:extLst>
                  <a:ext uri="{FF2B5EF4-FFF2-40B4-BE49-F238E27FC236}">
                    <a16:creationId xmlns:a16="http://schemas.microsoft.com/office/drawing/2014/main" id="{7D0A9ED1-9B7F-4C9F-AE6F-1799B5EDF81A}"/>
                  </a:ext>
                </a:extLst>
              </p:cNvPr>
              <p:cNvSpPr>
                <a:spLocks/>
              </p:cNvSpPr>
              <p:nvPr/>
            </p:nvSpPr>
            <p:spPr bwMode="auto">
              <a:xfrm>
                <a:off x="238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0" name="Line 2444">
                <a:extLst>
                  <a:ext uri="{FF2B5EF4-FFF2-40B4-BE49-F238E27FC236}">
                    <a16:creationId xmlns:a16="http://schemas.microsoft.com/office/drawing/2014/main" id="{9E96D9A6-552D-4DA4-AE71-38D4E04803A9}"/>
                  </a:ext>
                </a:extLst>
              </p:cNvPr>
              <p:cNvSpPr>
                <a:spLocks noChangeShapeType="1"/>
              </p:cNvSpPr>
              <p:nvPr/>
            </p:nvSpPr>
            <p:spPr bwMode="auto">
              <a:xfrm>
                <a:off x="244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1" name="Freeform 2445">
                <a:extLst>
                  <a:ext uri="{FF2B5EF4-FFF2-40B4-BE49-F238E27FC236}">
                    <a16:creationId xmlns:a16="http://schemas.microsoft.com/office/drawing/2014/main" id="{1A1B7B98-8801-4DD0-AFD0-B4C03A2D4939}"/>
                  </a:ext>
                </a:extLst>
              </p:cNvPr>
              <p:cNvSpPr>
                <a:spLocks/>
              </p:cNvSpPr>
              <p:nvPr/>
            </p:nvSpPr>
            <p:spPr bwMode="auto">
              <a:xfrm>
                <a:off x="1966" y="600"/>
                <a:ext cx="599" cy="630"/>
              </a:xfrm>
              <a:custGeom>
                <a:avLst/>
                <a:gdLst>
                  <a:gd name="T0" fmla="*/ 599 w 599"/>
                  <a:gd name="T1" fmla="*/ 510 h 630"/>
                  <a:gd name="T2" fmla="*/ 389 w 599"/>
                  <a:gd name="T3" fmla="*/ 570 h 630"/>
                  <a:gd name="T4" fmla="*/ 269 w 599"/>
                  <a:gd name="T5" fmla="*/ 510 h 630"/>
                  <a:gd name="T6" fmla="*/ 90 w 599"/>
                  <a:gd name="T7" fmla="*/ 540 h 630"/>
                  <a:gd name="T8" fmla="*/ 0 w 599"/>
                  <a:gd name="T9" fmla="*/ 390 h 630"/>
                  <a:gd name="T10" fmla="*/ 0 w 599"/>
                  <a:gd name="T11" fmla="*/ 630 h 630"/>
                  <a:gd name="T12" fmla="*/ 90 w 599"/>
                  <a:gd name="T13" fmla="*/ 300 h 630"/>
                  <a:gd name="T14" fmla="*/ 0 w 599"/>
                  <a:gd name="T15" fmla="*/ 210 h 630"/>
                  <a:gd name="T16" fmla="*/ 0 w 599"/>
                  <a:gd name="T17" fmla="*/ 60 h 630"/>
                  <a:gd name="T18" fmla="*/ 60 w 599"/>
                  <a:gd name="T19" fmla="*/ 0 h 630"/>
                  <a:gd name="T20" fmla="*/ 149 w 599"/>
                  <a:gd name="T21" fmla="*/ 180 h 630"/>
                  <a:gd name="T22" fmla="*/ 329 w 599"/>
                  <a:gd name="T23" fmla="*/ 240 h 630"/>
                  <a:gd name="T24" fmla="*/ 359 w 599"/>
                  <a:gd name="T25" fmla="*/ 9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9" h="630">
                    <a:moveTo>
                      <a:pt x="599" y="510"/>
                    </a:move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2" name="Freeform 2446">
                <a:extLst>
                  <a:ext uri="{FF2B5EF4-FFF2-40B4-BE49-F238E27FC236}">
                    <a16:creationId xmlns:a16="http://schemas.microsoft.com/office/drawing/2014/main" id="{782290E6-7870-4993-BD9E-7806089F8F8A}"/>
                  </a:ext>
                </a:extLst>
              </p:cNvPr>
              <p:cNvSpPr>
                <a:spLocks/>
              </p:cNvSpPr>
              <p:nvPr/>
            </p:nvSpPr>
            <p:spPr bwMode="auto">
              <a:xfrm>
                <a:off x="3015" y="54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3" name="Freeform 2447">
                <a:extLst>
                  <a:ext uri="{FF2B5EF4-FFF2-40B4-BE49-F238E27FC236}">
                    <a16:creationId xmlns:a16="http://schemas.microsoft.com/office/drawing/2014/main" id="{4506ECE2-AD41-4B9A-BD84-0B8E89D8FFE9}"/>
                  </a:ext>
                </a:extLst>
              </p:cNvPr>
              <p:cNvSpPr>
                <a:spLocks/>
              </p:cNvSpPr>
              <p:nvPr/>
            </p:nvSpPr>
            <p:spPr bwMode="auto">
              <a:xfrm>
                <a:off x="3075" y="69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4" name="Freeform 2448">
                <a:extLst>
                  <a:ext uri="{FF2B5EF4-FFF2-40B4-BE49-F238E27FC236}">
                    <a16:creationId xmlns:a16="http://schemas.microsoft.com/office/drawing/2014/main" id="{76B62C3D-AFBA-4D2D-A2F0-C0DAF30AAA3B}"/>
                  </a:ext>
                </a:extLst>
              </p:cNvPr>
              <p:cNvSpPr>
                <a:spLocks/>
              </p:cNvSpPr>
              <p:nvPr/>
            </p:nvSpPr>
            <p:spPr bwMode="auto">
              <a:xfrm>
                <a:off x="2955" y="72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5" name="Freeform 2449">
                <a:extLst>
                  <a:ext uri="{FF2B5EF4-FFF2-40B4-BE49-F238E27FC236}">
                    <a16:creationId xmlns:a16="http://schemas.microsoft.com/office/drawing/2014/main" id="{47D2F17B-4A33-4751-9A8F-9C56EDBB8B57}"/>
                  </a:ext>
                </a:extLst>
              </p:cNvPr>
              <p:cNvSpPr>
                <a:spLocks/>
              </p:cNvSpPr>
              <p:nvPr/>
            </p:nvSpPr>
            <p:spPr bwMode="auto">
              <a:xfrm>
                <a:off x="3283" y="90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6" name="Freeform 2450">
                <a:extLst>
                  <a:ext uri="{FF2B5EF4-FFF2-40B4-BE49-F238E27FC236}">
                    <a16:creationId xmlns:a16="http://schemas.microsoft.com/office/drawing/2014/main" id="{7712AE85-1D8A-4FA5-AC6A-10D1392BA411}"/>
                  </a:ext>
                </a:extLst>
              </p:cNvPr>
              <p:cNvSpPr>
                <a:spLocks/>
              </p:cNvSpPr>
              <p:nvPr/>
            </p:nvSpPr>
            <p:spPr bwMode="auto">
              <a:xfrm>
                <a:off x="334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7" name="Line 2451">
                <a:extLst>
                  <a:ext uri="{FF2B5EF4-FFF2-40B4-BE49-F238E27FC236}">
                    <a16:creationId xmlns:a16="http://schemas.microsoft.com/office/drawing/2014/main" id="{E38B4E93-D152-4B68-A065-8E7DA5F0EE7E}"/>
                  </a:ext>
                </a:extLst>
              </p:cNvPr>
              <p:cNvSpPr>
                <a:spLocks noChangeShapeType="1"/>
              </p:cNvSpPr>
              <p:nvPr/>
            </p:nvSpPr>
            <p:spPr bwMode="auto">
              <a:xfrm>
                <a:off x="340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8" name="Freeform 2452">
                <a:extLst>
                  <a:ext uri="{FF2B5EF4-FFF2-40B4-BE49-F238E27FC236}">
                    <a16:creationId xmlns:a16="http://schemas.microsoft.com/office/drawing/2014/main" id="{B136A156-8468-49A1-909D-863CB3A01725}"/>
                  </a:ext>
                </a:extLst>
              </p:cNvPr>
              <p:cNvSpPr>
                <a:spLocks/>
              </p:cNvSpPr>
              <p:nvPr/>
            </p:nvSpPr>
            <p:spPr bwMode="auto">
              <a:xfrm>
                <a:off x="3075" y="780"/>
                <a:ext cx="450" cy="390"/>
              </a:xfrm>
              <a:custGeom>
                <a:avLst/>
                <a:gdLst>
                  <a:gd name="T0" fmla="*/ 450 w 450"/>
                  <a:gd name="T1" fmla="*/ 330 h 390"/>
                  <a:gd name="T2" fmla="*/ 240 w 450"/>
                  <a:gd name="T3" fmla="*/ 390 h 390"/>
                  <a:gd name="T4" fmla="*/ 120 w 450"/>
                  <a:gd name="T5" fmla="*/ 330 h 390"/>
                  <a:gd name="T6" fmla="*/ 0 w 450"/>
                  <a:gd name="T7" fmla="*/ 0 h 390"/>
                </a:gdLst>
                <a:ahLst/>
                <a:cxnLst>
                  <a:cxn ang="0">
                    <a:pos x="T0" y="T1"/>
                  </a:cxn>
                  <a:cxn ang="0">
                    <a:pos x="T2" y="T3"/>
                  </a:cxn>
                  <a:cxn ang="0">
                    <a:pos x="T4" y="T5"/>
                  </a:cxn>
                  <a:cxn ang="0">
                    <a:pos x="T6" y="T7"/>
                  </a:cxn>
                </a:cxnLst>
                <a:rect l="0" t="0" r="r" b="b"/>
                <a:pathLst>
                  <a:path w="450" h="390">
                    <a:moveTo>
                      <a:pt x="450" y="330"/>
                    </a:moveTo>
                    <a:lnTo>
                      <a:pt x="240" y="390"/>
                    </a:lnTo>
                    <a:lnTo>
                      <a:pt x="12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9" name="Freeform 2453">
                <a:extLst>
                  <a:ext uri="{FF2B5EF4-FFF2-40B4-BE49-F238E27FC236}">
                    <a16:creationId xmlns:a16="http://schemas.microsoft.com/office/drawing/2014/main" id="{445260B2-FFA7-4557-A3BF-AA47B79EAD7D}"/>
                  </a:ext>
                </a:extLst>
              </p:cNvPr>
              <p:cNvSpPr>
                <a:spLocks/>
              </p:cNvSpPr>
              <p:nvPr/>
            </p:nvSpPr>
            <p:spPr bwMode="auto">
              <a:xfrm>
                <a:off x="2475" y="960"/>
                <a:ext cx="570" cy="300"/>
              </a:xfrm>
              <a:custGeom>
                <a:avLst/>
                <a:gdLst>
                  <a:gd name="T0" fmla="*/ 0 w 570"/>
                  <a:gd name="T1" fmla="*/ 0 h 300"/>
                  <a:gd name="T2" fmla="*/ 240 w 570"/>
                  <a:gd name="T3" fmla="*/ 150 h 300"/>
                  <a:gd name="T4" fmla="*/ 360 w 570"/>
                  <a:gd name="T5" fmla="*/ 90 h 300"/>
                  <a:gd name="T6" fmla="*/ 450 w 570"/>
                  <a:gd name="T7" fmla="*/ 300 h 300"/>
                  <a:gd name="T8" fmla="*/ 570 w 570"/>
                  <a:gd name="T9" fmla="*/ 240 h 300"/>
                </a:gdLst>
                <a:ahLst/>
                <a:cxnLst>
                  <a:cxn ang="0">
                    <a:pos x="T0" y="T1"/>
                  </a:cxn>
                  <a:cxn ang="0">
                    <a:pos x="T2" y="T3"/>
                  </a:cxn>
                  <a:cxn ang="0">
                    <a:pos x="T4" y="T5"/>
                  </a:cxn>
                  <a:cxn ang="0">
                    <a:pos x="T6" y="T7"/>
                  </a:cxn>
                  <a:cxn ang="0">
                    <a:pos x="T8" y="T9"/>
                  </a:cxn>
                </a:cxnLst>
                <a:rect l="0" t="0" r="r" b="b"/>
                <a:pathLst>
                  <a:path w="570" h="300">
                    <a:moveTo>
                      <a:pt x="0" y="0"/>
                    </a:moveTo>
                    <a:lnTo>
                      <a:pt x="240" y="150"/>
                    </a:lnTo>
                    <a:lnTo>
                      <a:pt x="360" y="90"/>
                    </a:lnTo>
                    <a:lnTo>
                      <a:pt x="450" y="300"/>
                    </a:lnTo>
                    <a:lnTo>
                      <a:pt x="57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0" name="Line 2454">
                <a:extLst>
                  <a:ext uri="{FF2B5EF4-FFF2-40B4-BE49-F238E27FC236}">
                    <a16:creationId xmlns:a16="http://schemas.microsoft.com/office/drawing/2014/main" id="{F6DE2892-5758-4BD7-96B5-03BD93614D25}"/>
                  </a:ext>
                </a:extLst>
              </p:cNvPr>
              <p:cNvSpPr>
                <a:spLocks noChangeShapeType="1"/>
              </p:cNvSpPr>
              <p:nvPr/>
            </p:nvSpPr>
            <p:spPr bwMode="auto">
              <a:xfrm flipV="1">
                <a:off x="2895" y="90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1" name="Line 2455">
                <a:extLst>
                  <a:ext uri="{FF2B5EF4-FFF2-40B4-BE49-F238E27FC236}">
                    <a16:creationId xmlns:a16="http://schemas.microsoft.com/office/drawing/2014/main" id="{EB10AD09-9B40-4EB0-90EA-1D5B1F16B32D}"/>
                  </a:ext>
                </a:extLst>
              </p:cNvPr>
              <p:cNvSpPr>
                <a:spLocks noChangeShapeType="1"/>
              </p:cNvSpPr>
              <p:nvPr/>
            </p:nvSpPr>
            <p:spPr bwMode="auto">
              <a:xfrm>
                <a:off x="3105" y="51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2" name="Freeform 2456">
                <a:extLst>
                  <a:ext uri="{FF2B5EF4-FFF2-40B4-BE49-F238E27FC236}">
                    <a16:creationId xmlns:a16="http://schemas.microsoft.com/office/drawing/2014/main" id="{092A6D52-AD7D-47DE-B2D4-79861DC18C33}"/>
                  </a:ext>
                </a:extLst>
              </p:cNvPr>
              <p:cNvSpPr>
                <a:spLocks/>
              </p:cNvSpPr>
              <p:nvPr/>
            </p:nvSpPr>
            <p:spPr bwMode="auto">
              <a:xfrm>
                <a:off x="3435" y="96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3" name="Freeform 2457">
                <a:extLst>
                  <a:ext uri="{FF2B5EF4-FFF2-40B4-BE49-F238E27FC236}">
                    <a16:creationId xmlns:a16="http://schemas.microsoft.com/office/drawing/2014/main" id="{E85BEEF5-8F3B-49EA-BFE6-011AD1EE0C0F}"/>
                  </a:ext>
                </a:extLst>
              </p:cNvPr>
              <p:cNvSpPr>
                <a:spLocks/>
              </p:cNvSpPr>
              <p:nvPr/>
            </p:nvSpPr>
            <p:spPr bwMode="auto">
              <a:xfrm>
                <a:off x="3585" y="78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4" name="Line 2458">
                <a:extLst>
                  <a:ext uri="{FF2B5EF4-FFF2-40B4-BE49-F238E27FC236}">
                    <a16:creationId xmlns:a16="http://schemas.microsoft.com/office/drawing/2014/main" id="{D931721F-192A-4526-9BE3-55E0A9298E74}"/>
                  </a:ext>
                </a:extLst>
              </p:cNvPr>
              <p:cNvSpPr>
                <a:spLocks noChangeShapeType="1"/>
              </p:cNvSpPr>
              <p:nvPr/>
            </p:nvSpPr>
            <p:spPr bwMode="auto">
              <a:xfrm>
                <a:off x="3914" y="78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5" name="Freeform 2459">
                <a:extLst>
                  <a:ext uri="{FF2B5EF4-FFF2-40B4-BE49-F238E27FC236}">
                    <a16:creationId xmlns:a16="http://schemas.microsoft.com/office/drawing/2014/main" id="{5E1B4E53-E90A-4908-8FDE-E86C4C006AB2}"/>
                  </a:ext>
                </a:extLst>
              </p:cNvPr>
              <p:cNvSpPr>
                <a:spLocks/>
              </p:cNvSpPr>
              <p:nvPr/>
            </p:nvSpPr>
            <p:spPr bwMode="auto">
              <a:xfrm>
                <a:off x="3705" y="63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6" name="Freeform 2460">
                <a:extLst>
                  <a:ext uri="{FF2B5EF4-FFF2-40B4-BE49-F238E27FC236}">
                    <a16:creationId xmlns:a16="http://schemas.microsoft.com/office/drawing/2014/main" id="{03EE8E58-B1B2-4DDC-9C84-26D3647A278E}"/>
                  </a:ext>
                </a:extLst>
              </p:cNvPr>
              <p:cNvSpPr>
                <a:spLocks/>
              </p:cNvSpPr>
              <p:nvPr/>
            </p:nvSpPr>
            <p:spPr bwMode="auto">
              <a:xfrm>
                <a:off x="1756" y="63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7" name="Freeform 2461">
                <a:extLst>
                  <a:ext uri="{FF2B5EF4-FFF2-40B4-BE49-F238E27FC236}">
                    <a16:creationId xmlns:a16="http://schemas.microsoft.com/office/drawing/2014/main" id="{83A71BF8-5D70-417D-B05D-8C5F5FCF954D}"/>
                  </a:ext>
                </a:extLst>
              </p:cNvPr>
              <p:cNvSpPr>
                <a:spLocks/>
              </p:cNvSpPr>
              <p:nvPr/>
            </p:nvSpPr>
            <p:spPr bwMode="auto">
              <a:xfrm>
                <a:off x="2026" y="570"/>
                <a:ext cx="719" cy="720"/>
              </a:xfrm>
              <a:custGeom>
                <a:avLst/>
                <a:gdLst>
                  <a:gd name="T0" fmla="*/ 119 w 719"/>
                  <a:gd name="T1" fmla="*/ 120 h 720"/>
                  <a:gd name="T2" fmla="*/ 0 w 719"/>
                  <a:gd name="T3" fmla="*/ 30 h 720"/>
                  <a:gd name="T4" fmla="*/ 209 w 719"/>
                  <a:gd name="T5" fmla="*/ 0 h 720"/>
                  <a:gd name="T6" fmla="*/ 299 w 719"/>
                  <a:gd name="T7" fmla="*/ 120 h 720"/>
                  <a:gd name="T8" fmla="*/ 389 w 719"/>
                  <a:gd name="T9" fmla="*/ 0 h 720"/>
                  <a:gd name="T10" fmla="*/ 209 w 719"/>
                  <a:gd name="T11" fmla="*/ 0 h 720"/>
                  <a:gd name="T12" fmla="*/ 209 w 719"/>
                  <a:gd name="T13" fmla="*/ 151 h 720"/>
                  <a:gd name="T14" fmla="*/ 119 w 719"/>
                  <a:gd name="T15" fmla="*/ 120 h 720"/>
                  <a:gd name="T16" fmla="*/ 89 w 719"/>
                  <a:gd name="T17" fmla="*/ 210 h 720"/>
                  <a:gd name="T18" fmla="*/ 89 w 719"/>
                  <a:gd name="T19" fmla="*/ 450 h 720"/>
                  <a:gd name="T20" fmla="*/ 209 w 719"/>
                  <a:gd name="T21" fmla="*/ 360 h 720"/>
                  <a:gd name="T22" fmla="*/ 298 w 719"/>
                  <a:gd name="T23" fmla="*/ 452 h 720"/>
                  <a:gd name="T24" fmla="*/ 269 w 719"/>
                  <a:gd name="T25" fmla="*/ 270 h 720"/>
                  <a:gd name="T26" fmla="*/ 359 w 719"/>
                  <a:gd name="T27" fmla="*/ 210 h 720"/>
                  <a:gd name="T28" fmla="*/ 479 w 719"/>
                  <a:gd name="T29" fmla="*/ 270 h 720"/>
                  <a:gd name="T30" fmla="*/ 359 w 719"/>
                  <a:gd name="T31" fmla="*/ 330 h 720"/>
                  <a:gd name="T32" fmla="*/ 449 w 719"/>
                  <a:gd name="T33" fmla="*/ 390 h 720"/>
                  <a:gd name="T34" fmla="*/ 719 w 719"/>
                  <a:gd name="T35" fmla="*/ 360 h 720"/>
                  <a:gd name="T36" fmla="*/ 599 w 719"/>
                  <a:gd name="T37" fmla="*/ 420 h 720"/>
                  <a:gd name="T38" fmla="*/ 689 w 719"/>
                  <a:gd name="T39" fmla="*/ 720 h 720"/>
                  <a:gd name="T40" fmla="*/ 419 w 719"/>
                  <a:gd name="T41" fmla="*/ 51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72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89" y="72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8" name="Freeform 2462">
                <a:extLst>
                  <a:ext uri="{FF2B5EF4-FFF2-40B4-BE49-F238E27FC236}">
                    <a16:creationId xmlns:a16="http://schemas.microsoft.com/office/drawing/2014/main" id="{B52E7484-C594-4231-BD6F-ADF0728270B1}"/>
                  </a:ext>
                </a:extLst>
              </p:cNvPr>
              <p:cNvSpPr>
                <a:spLocks/>
              </p:cNvSpPr>
              <p:nvPr/>
            </p:nvSpPr>
            <p:spPr bwMode="auto">
              <a:xfrm>
                <a:off x="1756" y="66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9" name="Freeform 2463">
                <a:extLst>
                  <a:ext uri="{FF2B5EF4-FFF2-40B4-BE49-F238E27FC236}">
                    <a16:creationId xmlns:a16="http://schemas.microsoft.com/office/drawing/2014/main" id="{425DCA30-65DB-4507-8BBF-0A7FF16B01AD}"/>
                  </a:ext>
                </a:extLst>
              </p:cNvPr>
              <p:cNvSpPr>
                <a:spLocks/>
              </p:cNvSpPr>
              <p:nvPr/>
            </p:nvSpPr>
            <p:spPr bwMode="auto">
              <a:xfrm>
                <a:off x="1876" y="99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0" name="Freeform 2464">
                <a:extLst>
                  <a:ext uri="{FF2B5EF4-FFF2-40B4-BE49-F238E27FC236}">
                    <a16:creationId xmlns:a16="http://schemas.microsoft.com/office/drawing/2014/main" id="{F90950EC-C139-4DEB-9CA1-628AB853A6B7}"/>
                  </a:ext>
                </a:extLst>
              </p:cNvPr>
              <p:cNvSpPr>
                <a:spLocks/>
              </p:cNvSpPr>
              <p:nvPr/>
            </p:nvSpPr>
            <p:spPr bwMode="auto">
              <a:xfrm>
                <a:off x="2355" y="1170"/>
                <a:ext cx="360" cy="120"/>
              </a:xfrm>
              <a:custGeom>
                <a:avLst/>
                <a:gdLst>
                  <a:gd name="T0" fmla="*/ 360 w 360"/>
                  <a:gd name="T1" fmla="*/ 120 h 120"/>
                  <a:gd name="T2" fmla="*/ 150 w 360"/>
                  <a:gd name="T3" fmla="*/ 30 h 120"/>
                  <a:gd name="T4" fmla="*/ 0 w 360"/>
                  <a:gd name="T5" fmla="*/ 0 h 120"/>
                </a:gdLst>
                <a:ahLst/>
                <a:cxnLst>
                  <a:cxn ang="0">
                    <a:pos x="T0" y="T1"/>
                  </a:cxn>
                  <a:cxn ang="0">
                    <a:pos x="T2" y="T3"/>
                  </a:cxn>
                  <a:cxn ang="0">
                    <a:pos x="T4" y="T5"/>
                  </a:cxn>
                </a:cxnLst>
                <a:rect l="0" t="0" r="r" b="b"/>
                <a:pathLst>
                  <a:path w="360" h="120">
                    <a:moveTo>
                      <a:pt x="360" y="120"/>
                    </a:moveTo>
                    <a:lnTo>
                      <a:pt x="15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1" name="Freeform 2465">
                <a:extLst>
                  <a:ext uri="{FF2B5EF4-FFF2-40B4-BE49-F238E27FC236}">
                    <a16:creationId xmlns:a16="http://schemas.microsoft.com/office/drawing/2014/main" id="{48081A73-E687-447F-8CDF-A840361964F3}"/>
                  </a:ext>
                </a:extLst>
              </p:cNvPr>
              <p:cNvSpPr>
                <a:spLocks/>
              </p:cNvSpPr>
              <p:nvPr/>
            </p:nvSpPr>
            <p:spPr bwMode="auto">
              <a:xfrm>
                <a:off x="2235" y="930"/>
                <a:ext cx="720" cy="360"/>
              </a:xfrm>
              <a:custGeom>
                <a:avLst/>
                <a:gdLst>
                  <a:gd name="T0" fmla="*/ 510 w 720"/>
                  <a:gd name="T1" fmla="*/ 0 h 360"/>
                  <a:gd name="T2" fmla="*/ 570 w 720"/>
                  <a:gd name="T3" fmla="*/ 300 h 360"/>
                  <a:gd name="T4" fmla="*/ 720 w 720"/>
                  <a:gd name="T5" fmla="*/ 180 h 360"/>
                  <a:gd name="T6" fmla="*/ 480 w 720"/>
                  <a:gd name="T7" fmla="*/ 180 h 360"/>
                  <a:gd name="T8" fmla="*/ 300 w 720"/>
                  <a:gd name="T9" fmla="*/ 360 h 360"/>
                  <a:gd name="T10" fmla="*/ 270 w 720"/>
                  <a:gd name="T11" fmla="*/ 270 h 360"/>
                  <a:gd name="T12" fmla="*/ 120 w 720"/>
                  <a:gd name="T13" fmla="*/ 360 h 360"/>
                  <a:gd name="T14" fmla="*/ 0 w 720"/>
                  <a:gd name="T15" fmla="*/ 301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0" h="360">
                    <a:moveTo>
                      <a:pt x="510" y="0"/>
                    </a:moveTo>
                    <a:lnTo>
                      <a:pt x="570" y="300"/>
                    </a:lnTo>
                    <a:lnTo>
                      <a:pt x="720" y="180"/>
                    </a:lnTo>
                    <a:lnTo>
                      <a:pt x="480" y="180"/>
                    </a:lnTo>
                    <a:lnTo>
                      <a:pt x="300" y="360"/>
                    </a:lnTo>
                    <a:lnTo>
                      <a:pt x="270" y="270"/>
                    </a:lnTo>
                    <a:lnTo>
                      <a:pt x="120" y="360"/>
                    </a:lnTo>
                    <a:lnTo>
                      <a:pt x="0" y="301"/>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2" name="Freeform 2466">
                <a:extLst>
                  <a:ext uri="{FF2B5EF4-FFF2-40B4-BE49-F238E27FC236}">
                    <a16:creationId xmlns:a16="http://schemas.microsoft.com/office/drawing/2014/main" id="{28D45817-3496-4C16-8F8B-0B3A934997E5}"/>
                  </a:ext>
                </a:extLst>
              </p:cNvPr>
              <p:cNvSpPr>
                <a:spLocks/>
              </p:cNvSpPr>
              <p:nvPr/>
            </p:nvSpPr>
            <p:spPr bwMode="auto">
              <a:xfrm>
                <a:off x="3045" y="1200"/>
                <a:ext cx="150" cy="90"/>
              </a:xfrm>
              <a:custGeom>
                <a:avLst/>
                <a:gdLst>
                  <a:gd name="T0" fmla="*/ 150 w 150"/>
                  <a:gd name="T1" fmla="*/ 0 h 90"/>
                  <a:gd name="T2" fmla="*/ 0 w 150"/>
                  <a:gd name="T3" fmla="*/ 0 h 90"/>
                  <a:gd name="T4" fmla="*/ 120 w 150"/>
                  <a:gd name="T5" fmla="*/ 90 h 90"/>
                  <a:gd name="T6" fmla="*/ 150 w 150"/>
                  <a:gd name="T7" fmla="*/ 0 h 90"/>
                </a:gdLst>
                <a:ahLst/>
                <a:cxnLst>
                  <a:cxn ang="0">
                    <a:pos x="T0" y="T1"/>
                  </a:cxn>
                  <a:cxn ang="0">
                    <a:pos x="T2" y="T3"/>
                  </a:cxn>
                  <a:cxn ang="0">
                    <a:pos x="T4" y="T5"/>
                  </a:cxn>
                  <a:cxn ang="0">
                    <a:pos x="T6" y="T7"/>
                  </a:cxn>
                </a:cxnLst>
                <a:rect l="0" t="0" r="r" b="b"/>
                <a:pathLst>
                  <a:path w="150" h="90">
                    <a:moveTo>
                      <a:pt x="150" y="0"/>
                    </a:moveTo>
                    <a:lnTo>
                      <a:pt x="0" y="0"/>
                    </a:lnTo>
                    <a:lnTo>
                      <a:pt x="120" y="90"/>
                    </a:lnTo>
                    <a:lnTo>
                      <a:pt x="15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3" name="Freeform 2467">
                <a:extLst>
                  <a:ext uri="{FF2B5EF4-FFF2-40B4-BE49-F238E27FC236}">
                    <a16:creationId xmlns:a16="http://schemas.microsoft.com/office/drawing/2014/main" id="{1EF1AD81-40E6-45A6-A0F3-2A2BEC76000C}"/>
                  </a:ext>
                </a:extLst>
              </p:cNvPr>
              <p:cNvSpPr>
                <a:spLocks/>
              </p:cNvSpPr>
              <p:nvPr/>
            </p:nvSpPr>
            <p:spPr bwMode="auto">
              <a:xfrm>
                <a:off x="1696" y="480"/>
                <a:ext cx="390" cy="360"/>
              </a:xfrm>
              <a:custGeom>
                <a:avLst/>
                <a:gdLst>
                  <a:gd name="T0" fmla="*/ 180 w 390"/>
                  <a:gd name="T1" fmla="*/ 360 h 360"/>
                  <a:gd name="T2" fmla="*/ 150 w 390"/>
                  <a:gd name="T3" fmla="*/ 150 h 360"/>
                  <a:gd name="T4" fmla="*/ 30 w 390"/>
                  <a:gd name="T5" fmla="*/ 0 h 360"/>
                  <a:gd name="T6" fmla="*/ 330 w 390"/>
                  <a:gd name="T7" fmla="*/ 120 h 360"/>
                  <a:gd name="T8" fmla="*/ 390 w 390"/>
                  <a:gd name="T9" fmla="*/ 0 h 360"/>
                  <a:gd name="T10" fmla="*/ 210 w 390"/>
                  <a:gd name="T11" fmla="*/ 30 h 360"/>
                  <a:gd name="T12" fmla="*/ 0 w 390"/>
                  <a:gd name="T13" fmla="*/ 180 h 360"/>
                  <a:gd name="T14" fmla="*/ 270 w 390"/>
                  <a:gd name="T15" fmla="*/ 33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360">
                    <a:moveTo>
                      <a:pt x="180" y="360"/>
                    </a:moveTo>
                    <a:lnTo>
                      <a:pt x="150" y="150"/>
                    </a:lnTo>
                    <a:lnTo>
                      <a:pt x="30" y="0"/>
                    </a:lnTo>
                    <a:lnTo>
                      <a:pt x="330" y="120"/>
                    </a:lnTo>
                    <a:lnTo>
                      <a:pt x="390" y="0"/>
                    </a:lnTo>
                    <a:lnTo>
                      <a:pt x="210" y="30"/>
                    </a:lnTo>
                    <a:lnTo>
                      <a:pt x="0" y="180"/>
                    </a:lnTo>
                    <a:lnTo>
                      <a:pt x="27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4" name="Line 2468">
                <a:extLst>
                  <a:ext uri="{FF2B5EF4-FFF2-40B4-BE49-F238E27FC236}">
                    <a16:creationId xmlns:a16="http://schemas.microsoft.com/office/drawing/2014/main" id="{6DEE9AEA-2A12-4C75-B563-71958B992ED6}"/>
                  </a:ext>
                </a:extLst>
              </p:cNvPr>
              <p:cNvSpPr>
                <a:spLocks noChangeShapeType="1"/>
              </p:cNvSpPr>
              <p:nvPr/>
            </p:nvSpPr>
            <p:spPr bwMode="auto">
              <a:xfrm flipV="1">
                <a:off x="1846" y="510"/>
                <a:ext cx="6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5" name="Freeform 2469">
                <a:extLst>
                  <a:ext uri="{FF2B5EF4-FFF2-40B4-BE49-F238E27FC236}">
                    <a16:creationId xmlns:a16="http://schemas.microsoft.com/office/drawing/2014/main" id="{72CEF27F-562C-48C4-AC4C-819D6E6FBF7F}"/>
                  </a:ext>
                </a:extLst>
              </p:cNvPr>
              <p:cNvSpPr>
                <a:spLocks/>
              </p:cNvSpPr>
              <p:nvPr/>
            </p:nvSpPr>
            <p:spPr bwMode="auto">
              <a:xfrm>
                <a:off x="2086" y="450"/>
                <a:ext cx="239" cy="120"/>
              </a:xfrm>
              <a:custGeom>
                <a:avLst/>
                <a:gdLst>
                  <a:gd name="T0" fmla="*/ 239 w 239"/>
                  <a:gd name="T1" fmla="*/ 0 h 120"/>
                  <a:gd name="T2" fmla="*/ 0 w 239"/>
                  <a:gd name="T3" fmla="*/ 30 h 120"/>
                  <a:gd name="T4" fmla="*/ 149 w 239"/>
                  <a:gd name="T5" fmla="*/ 120 h 120"/>
                  <a:gd name="T6" fmla="*/ 239 w 239"/>
                  <a:gd name="T7" fmla="*/ 0 h 120"/>
                </a:gdLst>
                <a:ahLst/>
                <a:cxnLst>
                  <a:cxn ang="0">
                    <a:pos x="T0" y="T1"/>
                  </a:cxn>
                  <a:cxn ang="0">
                    <a:pos x="T2" y="T3"/>
                  </a:cxn>
                  <a:cxn ang="0">
                    <a:pos x="T4" y="T5"/>
                  </a:cxn>
                  <a:cxn ang="0">
                    <a:pos x="T6" y="T7"/>
                  </a:cxn>
                </a:cxnLst>
                <a:rect l="0" t="0" r="r" b="b"/>
                <a:pathLst>
                  <a:path w="239" h="120">
                    <a:moveTo>
                      <a:pt x="239" y="0"/>
                    </a:moveTo>
                    <a:lnTo>
                      <a:pt x="0" y="30"/>
                    </a:lnTo>
                    <a:lnTo>
                      <a:pt x="149" y="120"/>
                    </a:lnTo>
                    <a:lnTo>
                      <a:pt x="239"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6" name="Line 2470">
                <a:extLst>
                  <a:ext uri="{FF2B5EF4-FFF2-40B4-BE49-F238E27FC236}">
                    <a16:creationId xmlns:a16="http://schemas.microsoft.com/office/drawing/2014/main" id="{614B1F2D-113D-4710-866C-08E8267179D2}"/>
                  </a:ext>
                </a:extLst>
              </p:cNvPr>
              <p:cNvSpPr>
                <a:spLocks noChangeShapeType="1"/>
              </p:cNvSpPr>
              <p:nvPr/>
            </p:nvSpPr>
            <p:spPr bwMode="auto">
              <a:xfrm>
                <a:off x="2625" y="540"/>
                <a:ext cx="18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7" name="Freeform 2471">
                <a:extLst>
                  <a:ext uri="{FF2B5EF4-FFF2-40B4-BE49-F238E27FC236}">
                    <a16:creationId xmlns:a16="http://schemas.microsoft.com/office/drawing/2014/main" id="{31697062-7215-4D1A-B8E2-DE00766290F9}"/>
                  </a:ext>
                </a:extLst>
              </p:cNvPr>
              <p:cNvSpPr>
                <a:spLocks/>
              </p:cNvSpPr>
              <p:nvPr/>
            </p:nvSpPr>
            <p:spPr bwMode="auto">
              <a:xfrm>
                <a:off x="2805" y="450"/>
                <a:ext cx="300" cy="330"/>
              </a:xfrm>
              <a:custGeom>
                <a:avLst/>
                <a:gdLst>
                  <a:gd name="T0" fmla="*/ 90 w 300"/>
                  <a:gd name="T1" fmla="*/ 0 h 330"/>
                  <a:gd name="T2" fmla="*/ 180 w 300"/>
                  <a:gd name="T3" fmla="*/ 90 h 330"/>
                  <a:gd name="T4" fmla="*/ 0 w 300"/>
                  <a:gd name="T5" fmla="*/ 90 h 330"/>
                  <a:gd name="T6" fmla="*/ 60 w 300"/>
                  <a:gd name="T7" fmla="*/ 210 h 330"/>
                  <a:gd name="T8" fmla="*/ 180 w 300"/>
                  <a:gd name="T9" fmla="*/ 90 h 330"/>
                  <a:gd name="T10" fmla="*/ 300 w 300"/>
                  <a:gd name="T11" fmla="*/ 240 h 330"/>
                  <a:gd name="T12" fmla="*/ 150 w 300"/>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300" h="330">
                    <a:moveTo>
                      <a:pt x="90" y="0"/>
                    </a:moveTo>
                    <a:lnTo>
                      <a:pt x="180" y="90"/>
                    </a:lnTo>
                    <a:lnTo>
                      <a:pt x="0" y="90"/>
                    </a:lnTo>
                    <a:lnTo>
                      <a:pt x="60" y="210"/>
                    </a:lnTo>
                    <a:lnTo>
                      <a:pt x="180" y="90"/>
                    </a:lnTo>
                    <a:lnTo>
                      <a:pt x="300" y="240"/>
                    </a:lnTo>
                    <a:lnTo>
                      <a:pt x="15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8" name="Freeform 2472">
                <a:extLst>
                  <a:ext uri="{FF2B5EF4-FFF2-40B4-BE49-F238E27FC236}">
                    <a16:creationId xmlns:a16="http://schemas.microsoft.com/office/drawing/2014/main" id="{63E478F5-40AB-43E3-92CF-F3B28AEA17A3}"/>
                  </a:ext>
                </a:extLst>
              </p:cNvPr>
              <p:cNvSpPr>
                <a:spLocks/>
              </p:cNvSpPr>
              <p:nvPr/>
            </p:nvSpPr>
            <p:spPr bwMode="auto">
              <a:xfrm>
                <a:off x="3195" y="480"/>
                <a:ext cx="180" cy="90"/>
              </a:xfrm>
              <a:custGeom>
                <a:avLst/>
                <a:gdLst>
                  <a:gd name="T0" fmla="*/ 0 w 180"/>
                  <a:gd name="T1" fmla="*/ 90 h 90"/>
                  <a:gd name="T2" fmla="*/ 90 w 180"/>
                  <a:gd name="T3" fmla="*/ 0 h 90"/>
                  <a:gd name="T4" fmla="*/ 180 w 180"/>
                  <a:gd name="T5" fmla="*/ 90 h 90"/>
                </a:gdLst>
                <a:ahLst/>
                <a:cxnLst>
                  <a:cxn ang="0">
                    <a:pos x="T0" y="T1"/>
                  </a:cxn>
                  <a:cxn ang="0">
                    <a:pos x="T2" y="T3"/>
                  </a:cxn>
                  <a:cxn ang="0">
                    <a:pos x="T4" y="T5"/>
                  </a:cxn>
                </a:cxnLst>
                <a:rect l="0" t="0" r="r" b="b"/>
                <a:pathLst>
                  <a:path w="180" h="90">
                    <a:moveTo>
                      <a:pt x="0" y="90"/>
                    </a:moveTo>
                    <a:lnTo>
                      <a:pt x="9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9" name="Freeform 2473">
                <a:extLst>
                  <a:ext uri="{FF2B5EF4-FFF2-40B4-BE49-F238E27FC236}">
                    <a16:creationId xmlns:a16="http://schemas.microsoft.com/office/drawing/2014/main" id="{A6313266-2419-44A2-AC42-ABE7250651FE}"/>
                  </a:ext>
                </a:extLst>
              </p:cNvPr>
              <p:cNvSpPr>
                <a:spLocks/>
              </p:cNvSpPr>
              <p:nvPr/>
            </p:nvSpPr>
            <p:spPr bwMode="auto">
              <a:xfrm>
                <a:off x="3675" y="450"/>
                <a:ext cx="269" cy="210"/>
              </a:xfrm>
              <a:custGeom>
                <a:avLst/>
                <a:gdLst>
                  <a:gd name="T0" fmla="*/ 119 w 269"/>
                  <a:gd name="T1" fmla="*/ 60 h 210"/>
                  <a:gd name="T2" fmla="*/ 269 w 269"/>
                  <a:gd name="T3" fmla="*/ 30 h 210"/>
                  <a:gd name="T4" fmla="*/ 149 w 269"/>
                  <a:gd name="T5" fmla="*/ 210 h 210"/>
                  <a:gd name="T6" fmla="*/ 0 w 269"/>
                  <a:gd name="T7" fmla="*/ 0 h 210"/>
                  <a:gd name="T8" fmla="*/ 30 w 269"/>
                  <a:gd name="T9" fmla="*/ 180 h 210"/>
                </a:gdLst>
                <a:ahLst/>
                <a:cxnLst>
                  <a:cxn ang="0">
                    <a:pos x="T0" y="T1"/>
                  </a:cxn>
                  <a:cxn ang="0">
                    <a:pos x="T2" y="T3"/>
                  </a:cxn>
                  <a:cxn ang="0">
                    <a:pos x="T4" y="T5"/>
                  </a:cxn>
                  <a:cxn ang="0">
                    <a:pos x="T6" y="T7"/>
                  </a:cxn>
                  <a:cxn ang="0">
                    <a:pos x="T8" y="T9"/>
                  </a:cxn>
                </a:cxnLst>
                <a:rect l="0" t="0" r="r" b="b"/>
                <a:pathLst>
                  <a:path w="269" h="210">
                    <a:moveTo>
                      <a:pt x="119" y="60"/>
                    </a:moveTo>
                    <a:lnTo>
                      <a:pt x="269" y="30"/>
                    </a:lnTo>
                    <a:lnTo>
                      <a:pt x="149" y="210"/>
                    </a:lnTo>
                    <a:lnTo>
                      <a:pt x="0" y="0"/>
                    </a:lnTo>
                    <a:lnTo>
                      <a:pt x="3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0" name="Freeform 2474">
                <a:extLst>
                  <a:ext uri="{FF2B5EF4-FFF2-40B4-BE49-F238E27FC236}">
                    <a16:creationId xmlns:a16="http://schemas.microsoft.com/office/drawing/2014/main" id="{96E70456-D5BD-489F-B2A2-A8E4287E541F}"/>
                  </a:ext>
                </a:extLst>
              </p:cNvPr>
              <p:cNvSpPr>
                <a:spLocks/>
              </p:cNvSpPr>
              <p:nvPr/>
            </p:nvSpPr>
            <p:spPr bwMode="auto">
              <a:xfrm>
                <a:off x="1756"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1" name="Freeform 2475">
                <a:extLst>
                  <a:ext uri="{FF2B5EF4-FFF2-40B4-BE49-F238E27FC236}">
                    <a16:creationId xmlns:a16="http://schemas.microsoft.com/office/drawing/2014/main" id="{ECB3AE84-A4D0-48CD-8884-33BFEAFC9B6A}"/>
                  </a:ext>
                </a:extLst>
              </p:cNvPr>
              <p:cNvSpPr>
                <a:spLocks/>
              </p:cNvSpPr>
              <p:nvPr/>
            </p:nvSpPr>
            <p:spPr bwMode="auto">
              <a:xfrm>
                <a:off x="1936"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2" name="Freeform 2476">
                <a:extLst>
                  <a:ext uri="{FF2B5EF4-FFF2-40B4-BE49-F238E27FC236}">
                    <a16:creationId xmlns:a16="http://schemas.microsoft.com/office/drawing/2014/main" id="{F19BB9BE-2410-4B7B-842D-F5115260792F}"/>
                  </a:ext>
                </a:extLst>
              </p:cNvPr>
              <p:cNvSpPr>
                <a:spLocks/>
              </p:cNvSpPr>
              <p:nvPr/>
            </p:nvSpPr>
            <p:spPr bwMode="auto">
              <a:xfrm>
                <a:off x="1876" y="1740"/>
                <a:ext cx="479" cy="270"/>
              </a:xfrm>
              <a:custGeom>
                <a:avLst/>
                <a:gdLst>
                  <a:gd name="T0" fmla="*/ 0 w 479"/>
                  <a:gd name="T1" fmla="*/ 90 h 270"/>
                  <a:gd name="T2" fmla="*/ 180 w 479"/>
                  <a:gd name="T3" fmla="*/ 30 h 270"/>
                  <a:gd name="T4" fmla="*/ 299 w 479"/>
                  <a:gd name="T5" fmla="*/ 150 h 270"/>
                  <a:gd name="T6" fmla="*/ 210 w 479"/>
                  <a:gd name="T7" fmla="*/ 270 h 270"/>
                  <a:gd name="T8" fmla="*/ 30 w 479"/>
                  <a:gd name="T9" fmla="*/ 270 h 270"/>
                  <a:gd name="T10" fmla="*/ 0 w 479"/>
                  <a:gd name="T11" fmla="*/ 90 h 270"/>
                  <a:gd name="T12" fmla="*/ 150 w 479"/>
                  <a:gd name="T13" fmla="*/ 150 h 270"/>
                  <a:gd name="T14" fmla="*/ 299 w 479"/>
                  <a:gd name="T15" fmla="*/ 0 h 270"/>
                  <a:gd name="T16" fmla="*/ 479 w 479"/>
                  <a:gd name="T17" fmla="*/ 210 h 270"/>
                  <a:gd name="T18" fmla="*/ 419 w 479"/>
                  <a:gd name="T19" fmla="*/ 6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70">
                    <a:moveTo>
                      <a:pt x="0" y="90"/>
                    </a:moveTo>
                    <a:lnTo>
                      <a:pt x="180" y="30"/>
                    </a:lnTo>
                    <a:lnTo>
                      <a:pt x="299" y="150"/>
                    </a:lnTo>
                    <a:lnTo>
                      <a:pt x="210" y="270"/>
                    </a:lnTo>
                    <a:lnTo>
                      <a:pt x="30" y="270"/>
                    </a:lnTo>
                    <a:lnTo>
                      <a:pt x="0" y="90"/>
                    </a:lnTo>
                    <a:lnTo>
                      <a:pt x="150" y="150"/>
                    </a:lnTo>
                    <a:lnTo>
                      <a:pt x="299" y="0"/>
                    </a:lnTo>
                    <a:lnTo>
                      <a:pt x="479" y="210"/>
                    </a:lnTo>
                    <a:lnTo>
                      <a:pt x="41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3" name="Freeform 2477">
                <a:extLst>
                  <a:ext uri="{FF2B5EF4-FFF2-40B4-BE49-F238E27FC236}">
                    <a16:creationId xmlns:a16="http://schemas.microsoft.com/office/drawing/2014/main" id="{05BDA66B-6984-4ECE-90EA-EC2774D3744D}"/>
                  </a:ext>
                </a:extLst>
              </p:cNvPr>
              <p:cNvSpPr>
                <a:spLocks/>
              </p:cNvSpPr>
              <p:nvPr/>
            </p:nvSpPr>
            <p:spPr bwMode="auto">
              <a:xfrm>
                <a:off x="2026"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4" name="Freeform 2478">
                <a:extLst>
                  <a:ext uri="{FF2B5EF4-FFF2-40B4-BE49-F238E27FC236}">
                    <a16:creationId xmlns:a16="http://schemas.microsoft.com/office/drawing/2014/main" id="{3B9D5B23-3B13-4648-ABD2-71FBE7710748}"/>
                  </a:ext>
                </a:extLst>
              </p:cNvPr>
              <p:cNvSpPr>
                <a:spLocks/>
              </p:cNvSpPr>
              <p:nvPr/>
            </p:nvSpPr>
            <p:spPr bwMode="auto">
              <a:xfrm>
                <a:off x="3405"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5" name="Freeform 2479">
                <a:extLst>
                  <a:ext uri="{FF2B5EF4-FFF2-40B4-BE49-F238E27FC236}">
                    <a16:creationId xmlns:a16="http://schemas.microsoft.com/office/drawing/2014/main" id="{2F47E73F-AC21-45AF-A300-9FE0EF590BF0}"/>
                  </a:ext>
                </a:extLst>
              </p:cNvPr>
              <p:cNvSpPr>
                <a:spLocks/>
              </p:cNvSpPr>
              <p:nvPr/>
            </p:nvSpPr>
            <p:spPr bwMode="auto">
              <a:xfrm>
                <a:off x="3405" y="1290"/>
                <a:ext cx="300" cy="540"/>
              </a:xfrm>
              <a:custGeom>
                <a:avLst/>
                <a:gdLst>
                  <a:gd name="T0" fmla="*/ 0 w 300"/>
                  <a:gd name="T1" fmla="*/ 390 h 540"/>
                  <a:gd name="T2" fmla="*/ 180 w 300"/>
                  <a:gd name="T3" fmla="*/ 240 h 540"/>
                  <a:gd name="T4" fmla="*/ 0 w 300"/>
                  <a:gd name="T5" fmla="*/ 150 h 540"/>
                  <a:gd name="T6" fmla="*/ 120 w 300"/>
                  <a:gd name="T7" fmla="*/ 120 h 540"/>
                  <a:gd name="T8" fmla="*/ 300 w 300"/>
                  <a:gd name="T9" fmla="*/ 180 h 540"/>
                  <a:gd name="T10" fmla="*/ 270 w 300"/>
                  <a:gd name="T11" fmla="*/ 30 h 540"/>
                  <a:gd name="T12" fmla="*/ 120 w 300"/>
                  <a:gd name="T13" fmla="*/ 120 h 540"/>
                  <a:gd name="T14" fmla="*/ 30 w 300"/>
                  <a:gd name="T15" fmla="*/ 0 h 540"/>
                  <a:gd name="T16" fmla="*/ 0 w 300"/>
                  <a:gd name="T17" fmla="*/ 150 h 540"/>
                  <a:gd name="T18" fmla="*/ 30 w 300"/>
                  <a:gd name="T19" fmla="*/ 300 h 540"/>
                  <a:gd name="T20" fmla="*/ 0 w 300"/>
                  <a:gd name="T21" fmla="*/ 390 h 540"/>
                  <a:gd name="T22" fmla="*/ 120 w 300"/>
                  <a:gd name="T23"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0" h="540">
                    <a:moveTo>
                      <a:pt x="0" y="390"/>
                    </a:moveTo>
                    <a:lnTo>
                      <a:pt x="180" y="240"/>
                    </a:lnTo>
                    <a:lnTo>
                      <a:pt x="0" y="150"/>
                    </a:lnTo>
                    <a:lnTo>
                      <a:pt x="120" y="120"/>
                    </a:lnTo>
                    <a:lnTo>
                      <a:pt x="300" y="180"/>
                    </a:lnTo>
                    <a:lnTo>
                      <a:pt x="270" y="30"/>
                    </a:lnTo>
                    <a:lnTo>
                      <a:pt x="120" y="120"/>
                    </a:lnTo>
                    <a:lnTo>
                      <a:pt x="30" y="0"/>
                    </a:lnTo>
                    <a:lnTo>
                      <a:pt x="0" y="150"/>
                    </a:lnTo>
                    <a:lnTo>
                      <a:pt x="30" y="300"/>
                    </a:lnTo>
                    <a:lnTo>
                      <a:pt x="0" y="390"/>
                    </a:lnTo>
                    <a:lnTo>
                      <a:pt x="12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6" name="Freeform 2480">
                <a:extLst>
                  <a:ext uri="{FF2B5EF4-FFF2-40B4-BE49-F238E27FC236}">
                    <a16:creationId xmlns:a16="http://schemas.microsoft.com/office/drawing/2014/main" id="{946F0468-F4F7-4111-BB31-6C21E7D9454E}"/>
                  </a:ext>
                </a:extLst>
              </p:cNvPr>
              <p:cNvSpPr>
                <a:spLocks/>
              </p:cNvSpPr>
              <p:nvPr/>
            </p:nvSpPr>
            <p:spPr bwMode="auto">
              <a:xfrm>
                <a:off x="3585"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7" name="Freeform 2481">
                <a:extLst>
                  <a:ext uri="{FF2B5EF4-FFF2-40B4-BE49-F238E27FC236}">
                    <a16:creationId xmlns:a16="http://schemas.microsoft.com/office/drawing/2014/main" id="{27866ACB-1C90-4083-A478-341BE2CC3220}"/>
                  </a:ext>
                </a:extLst>
              </p:cNvPr>
              <p:cNvSpPr>
                <a:spLocks/>
              </p:cNvSpPr>
              <p:nvPr/>
            </p:nvSpPr>
            <p:spPr bwMode="auto">
              <a:xfrm>
                <a:off x="3405" y="1320"/>
                <a:ext cx="599" cy="750"/>
              </a:xfrm>
              <a:custGeom>
                <a:avLst/>
                <a:gdLst>
                  <a:gd name="T0" fmla="*/ 300 w 599"/>
                  <a:gd name="T1" fmla="*/ 150 h 750"/>
                  <a:gd name="T2" fmla="*/ 479 w 599"/>
                  <a:gd name="T3" fmla="*/ 210 h 750"/>
                  <a:gd name="T4" fmla="*/ 479 w 599"/>
                  <a:gd name="T5" fmla="*/ 60 h 750"/>
                  <a:gd name="T6" fmla="*/ 359 w 599"/>
                  <a:gd name="T7" fmla="*/ 300 h 750"/>
                  <a:gd name="T8" fmla="*/ 419 w 599"/>
                  <a:gd name="T9" fmla="*/ 420 h 750"/>
                  <a:gd name="T10" fmla="*/ 539 w 599"/>
                  <a:gd name="T11" fmla="*/ 480 h 750"/>
                  <a:gd name="T12" fmla="*/ 479 w 599"/>
                  <a:gd name="T13" fmla="*/ 210 h 750"/>
                  <a:gd name="T14" fmla="*/ 419 w 599"/>
                  <a:gd name="T15" fmla="*/ 420 h 750"/>
                  <a:gd name="T16" fmla="*/ 419 w 599"/>
                  <a:gd name="T17" fmla="*/ 570 h 750"/>
                  <a:gd name="T18" fmla="*/ 599 w 599"/>
                  <a:gd name="T19" fmla="*/ 630 h 750"/>
                  <a:gd name="T20" fmla="*/ 300 w 599"/>
                  <a:gd name="T21" fmla="*/ 660 h 750"/>
                  <a:gd name="T22" fmla="*/ 270 w 599"/>
                  <a:gd name="T23" fmla="*/ 570 h 750"/>
                  <a:gd name="T24" fmla="*/ 210 w 599"/>
                  <a:gd name="T25" fmla="*/ 750 h 750"/>
                  <a:gd name="T26" fmla="*/ 0 w 599"/>
                  <a:gd name="T27" fmla="*/ 600 h 750"/>
                  <a:gd name="T28" fmla="*/ 120 w 599"/>
                  <a:gd name="T29" fmla="*/ 510 h 750"/>
                  <a:gd name="T30" fmla="*/ 180 w 599"/>
                  <a:gd name="T31" fmla="*/ 360 h 750"/>
                  <a:gd name="T32" fmla="*/ 300 w 599"/>
                  <a:gd name="T33" fmla="*/ 450 h 750"/>
                  <a:gd name="T34" fmla="*/ 359 w 599"/>
                  <a:gd name="T35" fmla="*/ 300 h 750"/>
                  <a:gd name="T36" fmla="*/ 180 w 599"/>
                  <a:gd name="T37" fmla="*/ 210 h 750"/>
                  <a:gd name="T38" fmla="*/ 300 w 599"/>
                  <a:gd name="T39" fmla="*/ 150 h 750"/>
                  <a:gd name="T40" fmla="*/ 389 w 599"/>
                  <a:gd name="T41" fmla="*/ 90 h 750"/>
                  <a:gd name="T42" fmla="*/ 270 w 599"/>
                  <a:gd name="T43" fmla="*/ 0 h 750"/>
                  <a:gd name="T44" fmla="*/ 479 w 599"/>
                  <a:gd name="T45" fmla="*/ 6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9" h="750">
                    <a:moveTo>
                      <a:pt x="300" y="150"/>
                    </a:moveTo>
                    <a:lnTo>
                      <a:pt x="479" y="210"/>
                    </a:lnTo>
                    <a:lnTo>
                      <a:pt x="479" y="60"/>
                    </a:lnTo>
                    <a:lnTo>
                      <a:pt x="359" y="300"/>
                    </a:lnTo>
                    <a:lnTo>
                      <a:pt x="419" y="420"/>
                    </a:lnTo>
                    <a:lnTo>
                      <a:pt x="539" y="480"/>
                    </a:lnTo>
                    <a:lnTo>
                      <a:pt x="479" y="210"/>
                    </a:lnTo>
                    <a:lnTo>
                      <a:pt x="419" y="420"/>
                    </a:lnTo>
                    <a:lnTo>
                      <a:pt x="419" y="570"/>
                    </a:lnTo>
                    <a:lnTo>
                      <a:pt x="599" y="630"/>
                    </a:lnTo>
                    <a:lnTo>
                      <a:pt x="300" y="660"/>
                    </a:lnTo>
                    <a:lnTo>
                      <a:pt x="270" y="570"/>
                    </a:lnTo>
                    <a:lnTo>
                      <a:pt x="210" y="750"/>
                    </a:lnTo>
                    <a:lnTo>
                      <a:pt x="0" y="600"/>
                    </a:lnTo>
                    <a:lnTo>
                      <a:pt x="120" y="510"/>
                    </a:lnTo>
                    <a:lnTo>
                      <a:pt x="180" y="360"/>
                    </a:lnTo>
                    <a:lnTo>
                      <a:pt x="300" y="450"/>
                    </a:lnTo>
                    <a:lnTo>
                      <a:pt x="359" y="300"/>
                    </a:lnTo>
                    <a:lnTo>
                      <a:pt x="180" y="210"/>
                    </a:lnTo>
                    <a:lnTo>
                      <a:pt x="300" y="150"/>
                    </a:lnTo>
                    <a:lnTo>
                      <a:pt x="389" y="90"/>
                    </a:lnTo>
                    <a:lnTo>
                      <a:pt x="270" y="0"/>
                    </a:lnTo>
                    <a:lnTo>
                      <a:pt x="47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8" name="Freeform 2482">
                <a:extLst>
                  <a:ext uri="{FF2B5EF4-FFF2-40B4-BE49-F238E27FC236}">
                    <a16:creationId xmlns:a16="http://schemas.microsoft.com/office/drawing/2014/main" id="{CEF238ED-436F-4608-9ADE-06315C75AAA5}"/>
                  </a:ext>
                </a:extLst>
              </p:cNvPr>
              <p:cNvSpPr>
                <a:spLocks/>
              </p:cNvSpPr>
              <p:nvPr/>
            </p:nvSpPr>
            <p:spPr bwMode="auto">
              <a:xfrm>
                <a:off x="3525" y="1770"/>
                <a:ext cx="299" cy="210"/>
              </a:xfrm>
              <a:custGeom>
                <a:avLst/>
                <a:gdLst>
                  <a:gd name="T0" fmla="*/ 0 w 299"/>
                  <a:gd name="T1" fmla="*/ 60 h 210"/>
                  <a:gd name="T2" fmla="*/ 180 w 299"/>
                  <a:gd name="T3" fmla="*/ 0 h 210"/>
                  <a:gd name="T4" fmla="*/ 299 w 299"/>
                  <a:gd name="T5" fmla="*/ 120 h 210"/>
                  <a:gd name="T6" fmla="*/ 180 w 299"/>
                  <a:gd name="T7" fmla="*/ 210 h 210"/>
                </a:gdLst>
                <a:ahLst/>
                <a:cxnLst>
                  <a:cxn ang="0">
                    <a:pos x="T0" y="T1"/>
                  </a:cxn>
                  <a:cxn ang="0">
                    <a:pos x="T2" y="T3"/>
                  </a:cxn>
                  <a:cxn ang="0">
                    <a:pos x="T4" y="T5"/>
                  </a:cxn>
                  <a:cxn ang="0">
                    <a:pos x="T6" y="T7"/>
                  </a:cxn>
                </a:cxnLst>
                <a:rect l="0" t="0" r="r" b="b"/>
                <a:pathLst>
                  <a:path w="299" h="210">
                    <a:moveTo>
                      <a:pt x="0" y="60"/>
                    </a:moveTo>
                    <a:lnTo>
                      <a:pt x="180" y="0"/>
                    </a:lnTo>
                    <a:lnTo>
                      <a:pt x="299" y="120"/>
                    </a:lnTo>
                    <a:lnTo>
                      <a:pt x="18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9" name="Freeform 2483">
                <a:extLst>
                  <a:ext uri="{FF2B5EF4-FFF2-40B4-BE49-F238E27FC236}">
                    <a16:creationId xmlns:a16="http://schemas.microsoft.com/office/drawing/2014/main" id="{DE252E7A-F44A-46CC-A90F-7D4BAEB958B8}"/>
                  </a:ext>
                </a:extLst>
              </p:cNvPr>
              <p:cNvSpPr>
                <a:spLocks/>
              </p:cNvSpPr>
              <p:nvPr/>
            </p:nvSpPr>
            <p:spPr bwMode="auto">
              <a:xfrm>
                <a:off x="3675"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0" name="Line 2484">
                <a:extLst>
                  <a:ext uri="{FF2B5EF4-FFF2-40B4-BE49-F238E27FC236}">
                    <a16:creationId xmlns:a16="http://schemas.microsoft.com/office/drawing/2014/main" id="{84445669-2F86-40E1-BB6D-C7371430356D}"/>
                  </a:ext>
                </a:extLst>
              </p:cNvPr>
              <p:cNvSpPr>
                <a:spLocks noChangeShapeType="1"/>
              </p:cNvSpPr>
              <p:nvPr/>
            </p:nvSpPr>
            <p:spPr bwMode="auto">
              <a:xfrm flipV="1">
                <a:off x="1786" y="1233"/>
                <a:ext cx="181" cy="5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1" name="Line 2485">
                <a:extLst>
                  <a:ext uri="{FF2B5EF4-FFF2-40B4-BE49-F238E27FC236}">
                    <a16:creationId xmlns:a16="http://schemas.microsoft.com/office/drawing/2014/main" id="{3736D49F-5924-4B35-A8FA-1BF4AA79804A}"/>
                  </a:ext>
                </a:extLst>
              </p:cNvPr>
              <p:cNvSpPr>
                <a:spLocks noChangeShapeType="1"/>
              </p:cNvSpPr>
              <p:nvPr/>
            </p:nvSpPr>
            <p:spPr bwMode="auto">
              <a:xfrm flipH="1">
                <a:off x="1936" y="1233"/>
                <a:ext cx="31"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2" name="Freeform 2486">
                <a:extLst>
                  <a:ext uri="{FF2B5EF4-FFF2-40B4-BE49-F238E27FC236}">
                    <a16:creationId xmlns:a16="http://schemas.microsoft.com/office/drawing/2014/main" id="{F855289C-8EBD-4392-BB41-AC25BFEA27BE}"/>
                  </a:ext>
                </a:extLst>
              </p:cNvPr>
              <p:cNvSpPr>
                <a:spLocks/>
              </p:cNvSpPr>
              <p:nvPr/>
            </p:nvSpPr>
            <p:spPr bwMode="auto">
              <a:xfrm>
                <a:off x="2235" y="1231"/>
                <a:ext cx="210" cy="302"/>
              </a:xfrm>
              <a:custGeom>
                <a:avLst/>
                <a:gdLst>
                  <a:gd name="T0" fmla="*/ 0 w 210"/>
                  <a:gd name="T1" fmla="*/ 0 h 302"/>
                  <a:gd name="T2" fmla="*/ 180 w 210"/>
                  <a:gd name="T3" fmla="*/ 269 h 302"/>
                  <a:gd name="T4" fmla="*/ 2 w 210"/>
                  <a:gd name="T5" fmla="*/ 302 h 302"/>
                  <a:gd name="T6" fmla="*/ 210 w 210"/>
                  <a:gd name="T7" fmla="*/ 179 h 302"/>
                </a:gdLst>
                <a:ahLst/>
                <a:cxnLst>
                  <a:cxn ang="0">
                    <a:pos x="T0" y="T1"/>
                  </a:cxn>
                  <a:cxn ang="0">
                    <a:pos x="T2" y="T3"/>
                  </a:cxn>
                  <a:cxn ang="0">
                    <a:pos x="T4" y="T5"/>
                  </a:cxn>
                  <a:cxn ang="0">
                    <a:pos x="T6" y="T7"/>
                  </a:cxn>
                </a:cxnLst>
                <a:rect l="0" t="0" r="r" b="b"/>
                <a:pathLst>
                  <a:path w="210" h="302">
                    <a:moveTo>
                      <a:pt x="0" y="0"/>
                    </a:moveTo>
                    <a:lnTo>
                      <a:pt x="180" y="269"/>
                    </a:lnTo>
                    <a:lnTo>
                      <a:pt x="2" y="302"/>
                    </a:lnTo>
                    <a:lnTo>
                      <a:pt x="210" y="17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3" name="Line 2487">
                <a:extLst>
                  <a:ext uri="{FF2B5EF4-FFF2-40B4-BE49-F238E27FC236}">
                    <a16:creationId xmlns:a16="http://schemas.microsoft.com/office/drawing/2014/main" id="{B02FD88F-A1ED-47C5-AC5E-8AEF37E92E00}"/>
                  </a:ext>
                </a:extLst>
              </p:cNvPr>
              <p:cNvSpPr>
                <a:spLocks noChangeShapeType="1"/>
              </p:cNvSpPr>
              <p:nvPr/>
            </p:nvSpPr>
            <p:spPr bwMode="auto">
              <a:xfrm>
                <a:off x="2235" y="1380"/>
                <a:ext cx="21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4" name="Freeform 2488">
                <a:extLst>
                  <a:ext uri="{FF2B5EF4-FFF2-40B4-BE49-F238E27FC236}">
                    <a16:creationId xmlns:a16="http://schemas.microsoft.com/office/drawing/2014/main" id="{4BDE33B8-EEE5-4BF8-BD11-E970D239A849}"/>
                  </a:ext>
                </a:extLst>
              </p:cNvPr>
              <p:cNvSpPr>
                <a:spLocks/>
              </p:cNvSpPr>
              <p:nvPr/>
            </p:nvSpPr>
            <p:spPr bwMode="auto">
              <a:xfrm>
                <a:off x="1756" y="1140"/>
                <a:ext cx="599" cy="870"/>
              </a:xfrm>
              <a:custGeom>
                <a:avLst/>
                <a:gdLst>
                  <a:gd name="T0" fmla="*/ 300 w 599"/>
                  <a:gd name="T1" fmla="*/ 0 h 870"/>
                  <a:gd name="T2" fmla="*/ 479 w 599"/>
                  <a:gd name="T3" fmla="*/ 91 h 870"/>
                  <a:gd name="T4" fmla="*/ 300 w 599"/>
                  <a:gd name="T5" fmla="*/ 330 h 870"/>
                  <a:gd name="T6" fmla="*/ 479 w 599"/>
                  <a:gd name="T7" fmla="*/ 390 h 870"/>
                  <a:gd name="T8" fmla="*/ 479 w 599"/>
                  <a:gd name="T9" fmla="*/ 240 h 870"/>
                  <a:gd name="T10" fmla="*/ 359 w 599"/>
                  <a:gd name="T11" fmla="*/ 480 h 870"/>
                  <a:gd name="T12" fmla="*/ 419 w 599"/>
                  <a:gd name="T13" fmla="*/ 600 h 870"/>
                  <a:gd name="T14" fmla="*/ 539 w 599"/>
                  <a:gd name="T15" fmla="*/ 660 h 870"/>
                  <a:gd name="T16" fmla="*/ 479 w 599"/>
                  <a:gd name="T17" fmla="*/ 390 h 870"/>
                  <a:gd name="T18" fmla="*/ 419 w 599"/>
                  <a:gd name="T19" fmla="*/ 600 h 870"/>
                  <a:gd name="T20" fmla="*/ 419 w 599"/>
                  <a:gd name="T21" fmla="*/ 750 h 870"/>
                  <a:gd name="T22" fmla="*/ 599 w 599"/>
                  <a:gd name="T23" fmla="*/ 810 h 870"/>
                  <a:gd name="T24" fmla="*/ 330 w 599"/>
                  <a:gd name="T25" fmla="*/ 870 h 870"/>
                  <a:gd name="T26" fmla="*/ 270 w 599"/>
                  <a:gd name="T27" fmla="*/ 750 h 870"/>
                  <a:gd name="T28" fmla="*/ 150 w 599"/>
                  <a:gd name="T29" fmla="*/ 870 h 870"/>
                  <a:gd name="T30" fmla="*/ 0 w 599"/>
                  <a:gd name="T31" fmla="*/ 780 h 870"/>
                  <a:gd name="T32" fmla="*/ 120 w 599"/>
                  <a:gd name="T33" fmla="*/ 690 h 870"/>
                  <a:gd name="T34" fmla="*/ 180 w 599"/>
                  <a:gd name="T35" fmla="*/ 540 h 870"/>
                  <a:gd name="T36" fmla="*/ 300 w 599"/>
                  <a:gd name="T37" fmla="*/ 630 h 870"/>
                  <a:gd name="T38" fmla="*/ 359 w 599"/>
                  <a:gd name="T39" fmla="*/ 480 h 870"/>
                  <a:gd name="T40" fmla="*/ 180 w 599"/>
                  <a:gd name="T41" fmla="*/ 390 h 870"/>
                  <a:gd name="T42" fmla="*/ 300 w 599"/>
                  <a:gd name="T43" fmla="*/ 330 h 870"/>
                  <a:gd name="T44" fmla="*/ 389 w 599"/>
                  <a:gd name="T45" fmla="*/ 270 h 870"/>
                  <a:gd name="T46" fmla="*/ 270 w 599"/>
                  <a:gd name="T47" fmla="*/ 180 h 870"/>
                  <a:gd name="T48" fmla="*/ 479 w 599"/>
                  <a:gd name="T49" fmla="*/ 240 h 870"/>
                  <a:gd name="T50" fmla="*/ 479 w 599"/>
                  <a:gd name="T51" fmla="*/ 90 h 870"/>
                  <a:gd name="T52" fmla="*/ 210 w 599"/>
                  <a:gd name="T53" fmla="*/ 9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9" h="870">
                    <a:moveTo>
                      <a:pt x="300" y="0"/>
                    </a:moveTo>
                    <a:lnTo>
                      <a:pt x="479" y="91"/>
                    </a:lnTo>
                    <a:lnTo>
                      <a:pt x="300" y="330"/>
                    </a:lnTo>
                    <a:lnTo>
                      <a:pt x="479" y="390"/>
                    </a:lnTo>
                    <a:lnTo>
                      <a:pt x="479" y="240"/>
                    </a:lnTo>
                    <a:lnTo>
                      <a:pt x="359" y="480"/>
                    </a:lnTo>
                    <a:lnTo>
                      <a:pt x="419" y="600"/>
                    </a:lnTo>
                    <a:lnTo>
                      <a:pt x="539" y="660"/>
                    </a:lnTo>
                    <a:lnTo>
                      <a:pt x="479" y="390"/>
                    </a:lnTo>
                    <a:lnTo>
                      <a:pt x="419" y="600"/>
                    </a:lnTo>
                    <a:lnTo>
                      <a:pt x="419" y="750"/>
                    </a:lnTo>
                    <a:lnTo>
                      <a:pt x="599" y="810"/>
                    </a:lnTo>
                    <a:lnTo>
                      <a:pt x="330" y="870"/>
                    </a:lnTo>
                    <a:lnTo>
                      <a:pt x="270" y="750"/>
                    </a:lnTo>
                    <a:lnTo>
                      <a:pt x="150" y="870"/>
                    </a:lnTo>
                    <a:lnTo>
                      <a:pt x="0" y="780"/>
                    </a:lnTo>
                    <a:lnTo>
                      <a:pt x="120" y="690"/>
                    </a:lnTo>
                    <a:lnTo>
                      <a:pt x="180" y="540"/>
                    </a:lnTo>
                    <a:lnTo>
                      <a:pt x="300" y="630"/>
                    </a:lnTo>
                    <a:lnTo>
                      <a:pt x="359" y="480"/>
                    </a:lnTo>
                    <a:lnTo>
                      <a:pt x="180" y="390"/>
                    </a:lnTo>
                    <a:lnTo>
                      <a:pt x="300" y="330"/>
                    </a:lnTo>
                    <a:lnTo>
                      <a:pt x="389" y="270"/>
                    </a:lnTo>
                    <a:lnTo>
                      <a:pt x="270" y="180"/>
                    </a:lnTo>
                    <a:lnTo>
                      <a:pt x="479" y="240"/>
                    </a:lnTo>
                    <a:lnTo>
                      <a:pt x="479" y="9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5" name="Line 2489">
                <a:extLst>
                  <a:ext uri="{FF2B5EF4-FFF2-40B4-BE49-F238E27FC236}">
                    <a16:creationId xmlns:a16="http://schemas.microsoft.com/office/drawing/2014/main" id="{A1492364-5FEC-41CD-B224-79EF5DBDC289}"/>
                  </a:ext>
                </a:extLst>
              </p:cNvPr>
              <p:cNvSpPr>
                <a:spLocks noChangeShapeType="1"/>
              </p:cNvSpPr>
              <p:nvPr/>
            </p:nvSpPr>
            <p:spPr bwMode="auto">
              <a:xfrm flipV="1">
                <a:off x="2026" y="1110"/>
                <a:ext cx="209"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6" name="Freeform 2490">
                <a:extLst>
                  <a:ext uri="{FF2B5EF4-FFF2-40B4-BE49-F238E27FC236}">
                    <a16:creationId xmlns:a16="http://schemas.microsoft.com/office/drawing/2014/main" id="{E2025B45-19CC-47A5-BE77-915217A647FC}"/>
                  </a:ext>
                </a:extLst>
              </p:cNvPr>
              <p:cNvSpPr>
                <a:spLocks/>
              </p:cNvSpPr>
              <p:nvPr/>
            </p:nvSpPr>
            <p:spPr bwMode="auto">
              <a:xfrm>
                <a:off x="1276" y="1290"/>
                <a:ext cx="780" cy="1080"/>
              </a:xfrm>
              <a:custGeom>
                <a:avLst/>
                <a:gdLst>
                  <a:gd name="T0" fmla="*/ 630 w 780"/>
                  <a:gd name="T1" fmla="*/ 1080 h 1080"/>
                  <a:gd name="T2" fmla="*/ 600 w 780"/>
                  <a:gd name="T3" fmla="*/ 870 h 1080"/>
                  <a:gd name="T4" fmla="*/ 480 w 780"/>
                  <a:gd name="T5" fmla="*/ 630 h 1080"/>
                  <a:gd name="T6" fmla="*/ 390 w 780"/>
                  <a:gd name="T7" fmla="*/ 720 h 1080"/>
                  <a:gd name="T8" fmla="*/ 270 w 780"/>
                  <a:gd name="T9" fmla="*/ 870 h 1080"/>
                  <a:gd name="T10" fmla="*/ 180 w 780"/>
                  <a:gd name="T11" fmla="*/ 750 h 1080"/>
                  <a:gd name="T12" fmla="*/ 210 w 780"/>
                  <a:gd name="T13" fmla="*/ 600 h 1080"/>
                  <a:gd name="T14" fmla="*/ 90 w 780"/>
                  <a:gd name="T15" fmla="*/ 660 h 1080"/>
                  <a:gd name="T16" fmla="*/ 0 w 780"/>
                  <a:gd name="T17" fmla="*/ 870 h 1080"/>
                  <a:gd name="T18" fmla="*/ 60 w 780"/>
                  <a:gd name="T19" fmla="*/ 510 h 1080"/>
                  <a:gd name="T20" fmla="*/ 0 w 780"/>
                  <a:gd name="T21" fmla="*/ 420 h 1080"/>
                  <a:gd name="T22" fmla="*/ 120 w 780"/>
                  <a:gd name="T23" fmla="*/ 330 h 1080"/>
                  <a:gd name="T24" fmla="*/ 300 w 780"/>
                  <a:gd name="T25" fmla="*/ 390 h 1080"/>
                  <a:gd name="T26" fmla="*/ 330 w 780"/>
                  <a:gd name="T27" fmla="*/ 510 h 1080"/>
                  <a:gd name="T28" fmla="*/ 480 w 780"/>
                  <a:gd name="T29" fmla="*/ 390 h 1080"/>
                  <a:gd name="T30" fmla="*/ 660 w 780"/>
                  <a:gd name="T31" fmla="*/ 240 h 1080"/>
                  <a:gd name="T32" fmla="*/ 480 w 780"/>
                  <a:gd name="T33" fmla="*/ 150 h 1080"/>
                  <a:gd name="T34" fmla="*/ 600 w 780"/>
                  <a:gd name="T35" fmla="*/ 120 h 1080"/>
                  <a:gd name="T36" fmla="*/ 780 w 780"/>
                  <a:gd name="T37" fmla="*/ 180 h 1080"/>
                  <a:gd name="T38" fmla="*/ 750 w 780"/>
                  <a:gd name="T39" fmla="*/ 30 h 1080"/>
                  <a:gd name="T40" fmla="*/ 600 w 780"/>
                  <a:gd name="T41" fmla="*/ 120 h 1080"/>
                  <a:gd name="T42" fmla="*/ 510 w 780"/>
                  <a:gd name="T43" fmla="*/ 0 h 1080"/>
                  <a:gd name="T44" fmla="*/ 480 w 780"/>
                  <a:gd name="T45" fmla="*/ 150 h 1080"/>
                  <a:gd name="T46" fmla="*/ 510 w 780"/>
                  <a:gd name="T47" fmla="*/ 300 h 1080"/>
                  <a:gd name="T48" fmla="*/ 480 w 780"/>
                  <a:gd name="T49" fmla="*/ 390 h 1080"/>
                  <a:gd name="T50" fmla="*/ 600 w 780"/>
                  <a:gd name="T51" fmla="*/ 54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1080">
                    <a:moveTo>
                      <a:pt x="630" y="1080"/>
                    </a:moveTo>
                    <a:lnTo>
                      <a:pt x="600" y="870"/>
                    </a:lnTo>
                    <a:lnTo>
                      <a:pt x="480" y="630"/>
                    </a:lnTo>
                    <a:lnTo>
                      <a:pt x="390" y="720"/>
                    </a:lnTo>
                    <a:lnTo>
                      <a:pt x="270" y="870"/>
                    </a:lnTo>
                    <a:lnTo>
                      <a:pt x="180" y="750"/>
                    </a:lnTo>
                    <a:lnTo>
                      <a:pt x="210" y="600"/>
                    </a:lnTo>
                    <a:lnTo>
                      <a:pt x="90" y="660"/>
                    </a:lnTo>
                    <a:lnTo>
                      <a:pt x="0" y="870"/>
                    </a:lnTo>
                    <a:lnTo>
                      <a:pt x="60" y="510"/>
                    </a:lnTo>
                    <a:lnTo>
                      <a:pt x="0" y="420"/>
                    </a:lnTo>
                    <a:lnTo>
                      <a:pt x="120" y="330"/>
                    </a:lnTo>
                    <a:lnTo>
                      <a:pt x="300" y="390"/>
                    </a:lnTo>
                    <a:lnTo>
                      <a:pt x="330" y="510"/>
                    </a:lnTo>
                    <a:lnTo>
                      <a:pt x="480" y="390"/>
                    </a:lnTo>
                    <a:lnTo>
                      <a:pt x="660" y="240"/>
                    </a:lnTo>
                    <a:lnTo>
                      <a:pt x="480" y="150"/>
                    </a:lnTo>
                    <a:lnTo>
                      <a:pt x="600" y="120"/>
                    </a:lnTo>
                    <a:lnTo>
                      <a:pt x="780" y="180"/>
                    </a:lnTo>
                    <a:lnTo>
                      <a:pt x="750" y="30"/>
                    </a:lnTo>
                    <a:lnTo>
                      <a:pt x="600" y="120"/>
                    </a:lnTo>
                    <a:lnTo>
                      <a:pt x="510" y="0"/>
                    </a:lnTo>
                    <a:lnTo>
                      <a:pt x="480" y="150"/>
                    </a:lnTo>
                    <a:lnTo>
                      <a:pt x="510" y="300"/>
                    </a:lnTo>
                    <a:lnTo>
                      <a:pt x="480" y="390"/>
                    </a:lnTo>
                    <a:lnTo>
                      <a:pt x="60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7" name="Line 2491">
                <a:extLst>
                  <a:ext uri="{FF2B5EF4-FFF2-40B4-BE49-F238E27FC236}">
                    <a16:creationId xmlns:a16="http://schemas.microsoft.com/office/drawing/2014/main" id="{7F11E2FC-0801-47FF-948D-35D99F15645F}"/>
                  </a:ext>
                </a:extLst>
              </p:cNvPr>
              <p:cNvSpPr>
                <a:spLocks noChangeShapeType="1"/>
              </p:cNvSpPr>
              <p:nvPr/>
            </p:nvSpPr>
            <p:spPr bwMode="auto">
              <a:xfrm>
                <a:off x="1909" y="2013"/>
                <a:ext cx="87" cy="17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8" name="Freeform 2492">
                <a:extLst>
                  <a:ext uri="{FF2B5EF4-FFF2-40B4-BE49-F238E27FC236}">
                    <a16:creationId xmlns:a16="http://schemas.microsoft.com/office/drawing/2014/main" id="{C0DF8055-E9F7-4AD3-8B16-CB0D188D4926}"/>
                  </a:ext>
                </a:extLst>
              </p:cNvPr>
              <p:cNvSpPr>
                <a:spLocks/>
              </p:cNvSpPr>
              <p:nvPr/>
            </p:nvSpPr>
            <p:spPr bwMode="auto">
              <a:xfrm>
                <a:off x="1876" y="1890"/>
                <a:ext cx="210" cy="270"/>
              </a:xfrm>
              <a:custGeom>
                <a:avLst/>
                <a:gdLst>
                  <a:gd name="T0" fmla="*/ 210 w 210"/>
                  <a:gd name="T1" fmla="*/ 120 h 270"/>
                  <a:gd name="T2" fmla="*/ 0 w 210"/>
                  <a:gd name="T3" fmla="*/ 270 h 270"/>
                  <a:gd name="T4" fmla="*/ 150 w 210"/>
                  <a:gd name="T5" fmla="*/ 0 h 270"/>
                </a:gdLst>
                <a:ahLst/>
                <a:cxnLst>
                  <a:cxn ang="0">
                    <a:pos x="T0" y="T1"/>
                  </a:cxn>
                  <a:cxn ang="0">
                    <a:pos x="T2" y="T3"/>
                  </a:cxn>
                  <a:cxn ang="0">
                    <a:pos x="T4" y="T5"/>
                  </a:cxn>
                </a:cxnLst>
                <a:rect l="0" t="0" r="r" b="b"/>
                <a:pathLst>
                  <a:path w="210" h="270">
                    <a:moveTo>
                      <a:pt x="210" y="120"/>
                    </a:moveTo>
                    <a:lnTo>
                      <a:pt x="0" y="27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9" name="Freeform 2493">
                <a:extLst>
                  <a:ext uri="{FF2B5EF4-FFF2-40B4-BE49-F238E27FC236}">
                    <a16:creationId xmlns:a16="http://schemas.microsoft.com/office/drawing/2014/main" id="{052F14B7-3479-43F4-9F73-5176F04F9F09}"/>
                  </a:ext>
                </a:extLst>
              </p:cNvPr>
              <p:cNvSpPr>
                <a:spLocks/>
              </p:cNvSpPr>
              <p:nvPr/>
            </p:nvSpPr>
            <p:spPr bwMode="auto">
              <a:xfrm>
                <a:off x="2175" y="1620"/>
                <a:ext cx="360" cy="483"/>
              </a:xfrm>
              <a:custGeom>
                <a:avLst/>
                <a:gdLst>
                  <a:gd name="T0" fmla="*/ 0 w 432"/>
                  <a:gd name="T1" fmla="*/ 146 h 579"/>
                  <a:gd name="T2" fmla="*/ 216 w 432"/>
                  <a:gd name="T3" fmla="*/ 0 h 579"/>
                  <a:gd name="T4" fmla="*/ 144 w 432"/>
                  <a:gd name="T5" fmla="*/ 216 h 579"/>
                  <a:gd name="T6" fmla="*/ 360 w 432"/>
                  <a:gd name="T7" fmla="*/ 252 h 579"/>
                  <a:gd name="T8" fmla="*/ 324 w 432"/>
                  <a:gd name="T9" fmla="*/ 578 h 579"/>
                  <a:gd name="T10" fmla="*/ 432 w 432"/>
                  <a:gd name="T11" fmla="*/ 432 h 579"/>
                  <a:gd name="T12" fmla="*/ 220 w 432"/>
                  <a:gd name="T13" fmla="*/ 399 h 579"/>
                  <a:gd name="T14" fmla="*/ 112 w 432"/>
                  <a:gd name="T15" fmla="*/ 579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579">
                    <a:moveTo>
                      <a:pt x="0" y="146"/>
                    </a:moveTo>
                    <a:cubicBezTo>
                      <a:pt x="216" y="0"/>
                      <a:pt x="216" y="0"/>
                      <a:pt x="216" y="0"/>
                    </a:cubicBezTo>
                    <a:cubicBezTo>
                      <a:pt x="144" y="216"/>
                      <a:pt x="144" y="216"/>
                      <a:pt x="144" y="216"/>
                    </a:cubicBezTo>
                    <a:cubicBezTo>
                      <a:pt x="360" y="252"/>
                      <a:pt x="360" y="252"/>
                      <a:pt x="360" y="252"/>
                    </a:cubicBezTo>
                    <a:cubicBezTo>
                      <a:pt x="324" y="578"/>
                      <a:pt x="324" y="578"/>
                      <a:pt x="324" y="578"/>
                    </a:cubicBezTo>
                    <a:cubicBezTo>
                      <a:pt x="432" y="432"/>
                      <a:pt x="432" y="432"/>
                      <a:pt x="432" y="432"/>
                    </a:cubicBezTo>
                    <a:cubicBezTo>
                      <a:pt x="220" y="399"/>
                      <a:pt x="220" y="399"/>
                      <a:pt x="220" y="399"/>
                    </a:cubicBezTo>
                    <a:cubicBezTo>
                      <a:pt x="220" y="399"/>
                      <a:pt x="108" y="576"/>
                      <a:pt x="112" y="579"/>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9" name="Freeform 2494">
                <a:extLst>
                  <a:ext uri="{FF2B5EF4-FFF2-40B4-BE49-F238E27FC236}">
                    <a16:creationId xmlns:a16="http://schemas.microsoft.com/office/drawing/2014/main" id="{7C467FBC-57B7-49D2-8329-CD508D1A083C}"/>
                  </a:ext>
                </a:extLst>
              </p:cNvPr>
              <p:cNvSpPr>
                <a:spLocks/>
              </p:cNvSpPr>
              <p:nvPr/>
            </p:nvSpPr>
            <p:spPr bwMode="auto">
              <a:xfrm>
                <a:off x="2175" y="1800"/>
                <a:ext cx="120" cy="303"/>
              </a:xfrm>
              <a:custGeom>
                <a:avLst/>
                <a:gdLst>
                  <a:gd name="T0" fmla="*/ 0 w 120"/>
                  <a:gd name="T1" fmla="*/ 90 h 303"/>
                  <a:gd name="T2" fmla="*/ 120 w 120"/>
                  <a:gd name="T3" fmla="*/ 0 h 303"/>
                  <a:gd name="T4" fmla="*/ 94 w 120"/>
                  <a:gd name="T5" fmla="*/ 303 h 303"/>
                </a:gdLst>
                <a:ahLst/>
                <a:cxnLst>
                  <a:cxn ang="0">
                    <a:pos x="T0" y="T1"/>
                  </a:cxn>
                  <a:cxn ang="0">
                    <a:pos x="T2" y="T3"/>
                  </a:cxn>
                  <a:cxn ang="0">
                    <a:pos x="T4" y="T5"/>
                  </a:cxn>
                </a:cxnLst>
                <a:rect l="0" t="0" r="r" b="b"/>
                <a:pathLst>
                  <a:path w="120" h="303">
                    <a:moveTo>
                      <a:pt x="0" y="90"/>
                    </a:moveTo>
                    <a:lnTo>
                      <a:pt x="120" y="0"/>
                    </a:lnTo>
                    <a:lnTo>
                      <a:pt x="94" y="30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0" name="Freeform 2495">
                <a:extLst>
                  <a:ext uri="{FF2B5EF4-FFF2-40B4-BE49-F238E27FC236}">
                    <a16:creationId xmlns:a16="http://schemas.microsoft.com/office/drawing/2014/main" id="{75A5A9CD-4F00-4417-A224-77D1B13D31BA}"/>
                  </a:ext>
                </a:extLst>
              </p:cNvPr>
              <p:cNvSpPr>
                <a:spLocks/>
              </p:cNvSpPr>
              <p:nvPr/>
            </p:nvSpPr>
            <p:spPr bwMode="auto">
              <a:xfrm>
                <a:off x="2625" y="1922"/>
                <a:ext cx="1110" cy="868"/>
              </a:xfrm>
              <a:custGeom>
                <a:avLst/>
                <a:gdLst>
                  <a:gd name="T0" fmla="*/ 240 w 1110"/>
                  <a:gd name="T1" fmla="*/ 0 h 868"/>
                  <a:gd name="T2" fmla="*/ 210 w 1110"/>
                  <a:gd name="T3" fmla="*/ 148 h 868"/>
                  <a:gd name="T4" fmla="*/ 150 w 1110"/>
                  <a:gd name="T5" fmla="*/ 238 h 868"/>
                  <a:gd name="T6" fmla="*/ 0 w 1110"/>
                  <a:gd name="T7" fmla="*/ 328 h 868"/>
                  <a:gd name="T8" fmla="*/ 0 w 1110"/>
                  <a:gd name="T9" fmla="*/ 478 h 868"/>
                  <a:gd name="T10" fmla="*/ 120 w 1110"/>
                  <a:gd name="T11" fmla="*/ 388 h 868"/>
                  <a:gd name="T12" fmla="*/ 270 w 1110"/>
                  <a:gd name="T13" fmla="*/ 268 h 868"/>
                  <a:gd name="T14" fmla="*/ 510 w 1110"/>
                  <a:gd name="T15" fmla="*/ 118 h 868"/>
                  <a:gd name="T16" fmla="*/ 600 w 1110"/>
                  <a:gd name="T17" fmla="*/ 178 h 868"/>
                  <a:gd name="T18" fmla="*/ 690 w 1110"/>
                  <a:gd name="T19" fmla="*/ 298 h 868"/>
                  <a:gd name="T20" fmla="*/ 780 w 1110"/>
                  <a:gd name="T21" fmla="*/ 178 h 868"/>
                  <a:gd name="T22" fmla="*/ 600 w 1110"/>
                  <a:gd name="T23" fmla="*/ 178 h 868"/>
                  <a:gd name="T24" fmla="*/ 600 w 1110"/>
                  <a:gd name="T25" fmla="*/ 329 h 868"/>
                  <a:gd name="T26" fmla="*/ 510 w 1110"/>
                  <a:gd name="T27" fmla="*/ 298 h 868"/>
                  <a:gd name="T28" fmla="*/ 480 w 1110"/>
                  <a:gd name="T29" fmla="*/ 388 h 868"/>
                  <a:gd name="T30" fmla="*/ 480 w 1110"/>
                  <a:gd name="T31" fmla="*/ 628 h 868"/>
                  <a:gd name="T32" fmla="*/ 600 w 1110"/>
                  <a:gd name="T33" fmla="*/ 538 h 868"/>
                  <a:gd name="T34" fmla="*/ 688 w 1110"/>
                  <a:gd name="T35" fmla="*/ 630 h 868"/>
                  <a:gd name="T36" fmla="*/ 660 w 1110"/>
                  <a:gd name="T37" fmla="*/ 448 h 868"/>
                  <a:gd name="T38" fmla="*/ 750 w 1110"/>
                  <a:gd name="T39" fmla="*/ 388 h 868"/>
                  <a:gd name="T40" fmla="*/ 870 w 1110"/>
                  <a:gd name="T41" fmla="*/ 448 h 868"/>
                  <a:gd name="T42" fmla="*/ 750 w 1110"/>
                  <a:gd name="T43" fmla="*/ 508 h 868"/>
                  <a:gd name="T44" fmla="*/ 840 w 1110"/>
                  <a:gd name="T45" fmla="*/ 568 h 868"/>
                  <a:gd name="T46" fmla="*/ 1110 w 1110"/>
                  <a:gd name="T47" fmla="*/ 538 h 868"/>
                  <a:gd name="T48" fmla="*/ 990 w 1110"/>
                  <a:gd name="T49" fmla="*/ 598 h 868"/>
                  <a:gd name="T50" fmla="*/ 1020 w 1110"/>
                  <a:gd name="T51" fmla="*/ 868 h 868"/>
                  <a:gd name="T52" fmla="*/ 810 w 1110"/>
                  <a:gd name="T53" fmla="*/ 68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0" h="868">
                    <a:moveTo>
                      <a:pt x="240" y="0"/>
                    </a:moveTo>
                    <a:lnTo>
                      <a:pt x="210" y="148"/>
                    </a:lnTo>
                    <a:lnTo>
                      <a:pt x="150" y="238"/>
                    </a:lnTo>
                    <a:lnTo>
                      <a:pt x="0" y="328"/>
                    </a:lnTo>
                    <a:lnTo>
                      <a:pt x="0" y="478"/>
                    </a:lnTo>
                    <a:lnTo>
                      <a:pt x="120" y="388"/>
                    </a:lnTo>
                    <a:lnTo>
                      <a:pt x="270" y="268"/>
                    </a:lnTo>
                    <a:lnTo>
                      <a:pt x="510" y="118"/>
                    </a:lnTo>
                    <a:lnTo>
                      <a:pt x="600" y="178"/>
                    </a:lnTo>
                    <a:lnTo>
                      <a:pt x="690" y="298"/>
                    </a:lnTo>
                    <a:lnTo>
                      <a:pt x="780" y="178"/>
                    </a:lnTo>
                    <a:lnTo>
                      <a:pt x="600" y="178"/>
                    </a:lnTo>
                    <a:lnTo>
                      <a:pt x="600" y="329"/>
                    </a:lnTo>
                    <a:lnTo>
                      <a:pt x="510" y="298"/>
                    </a:lnTo>
                    <a:lnTo>
                      <a:pt x="480" y="388"/>
                    </a:lnTo>
                    <a:lnTo>
                      <a:pt x="480" y="628"/>
                    </a:lnTo>
                    <a:lnTo>
                      <a:pt x="600" y="538"/>
                    </a:lnTo>
                    <a:lnTo>
                      <a:pt x="688" y="630"/>
                    </a:lnTo>
                    <a:lnTo>
                      <a:pt x="660" y="448"/>
                    </a:lnTo>
                    <a:lnTo>
                      <a:pt x="750" y="388"/>
                    </a:lnTo>
                    <a:lnTo>
                      <a:pt x="870" y="448"/>
                    </a:lnTo>
                    <a:lnTo>
                      <a:pt x="750" y="508"/>
                    </a:lnTo>
                    <a:lnTo>
                      <a:pt x="840" y="568"/>
                    </a:lnTo>
                    <a:lnTo>
                      <a:pt x="1110" y="538"/>
                    </a:lnTo>
                    <a:lnTo>
                      <a:pt x="990" y="598"/>
                    </a:lnTo>
                    <a:lnTo>
                      <a:pt x="1020" y="868"/>
                    </a:lnTo>
                    <a:lnTo>
                      <a:pt x="810" y="6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1" name="Line 2496">
                <a:extLst>
                  <a:ext uri="{FF2B5EF4-FFF2-40B4-BE49-F238E27FC236}">
                    <a16:creationId xmlns:a16="http://schemas.microsoft.com/office/drawing/2014/main" id="{5E1DDEBF-F468-44BA-AC4A-3CD2FA9F71D8}"/>
                  </a:ext>
                </a:extLst>
              </p:cNvPr>
              <p:cNvSpPr>
                <a:spLocks noChangeShapeType="1"/>
              </p:cNvSpPr>
              <p:nvPr/>
            </p:nvSpPr>
            <p:spPr bwMode="auto">
              <a:xfrm flipV="1">
                <a:off x="2835" y="195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2" name="Line 2497">
                <a:extLst>
                  <a:ext uri="{FF2B5EF4-FFF2-40B4-BE49-F238E27FC236}">
                    <a16:creationId xmlns:a16="http://schemas.microsoft.com/office/drawing/2014/main" id="{6D5C7F6E-F543-4026-8688-006116D6F135}"/>
                  </a:ext>
                </a:extLst>
              </p:cNvPr>
              <p:cNvSpPr>
                <a:spLocks noChangeShapeType="1"/>
              </p:cNvSpPr>
              <p:nvPr/>
            </p:nvSpPr>
            <p:spPr bwMode="auto">
              <a:xfrm flipH="1" flipV="1">
                <a:off x="2865" y="1922"/>
                <a:ext cx="152" cy="15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3" name="Freeform 2498">
                <a:extLst>
                  <a:ext uri="{FF2B5EF4-FFF2-40B4-BE49-F238E27FC236}">
                    <a16:creationId xmlns:a16="http://schemas.microsoft.com/office/drawing/2014/main" id="{3A376153-8C83-4F35-B373-73072F54C08B}"/>
                  </a:ext>
                </a:extLst>
              </p:cNvPr>
              <p:cNvSpPr>
                <a:spLocks/>
              </p:cNvSpPr>
              <p:nvPr/>
            </p:nvSpPr>
            <p:spPr bwMode="auto">
              <a:xfrm>
                <a:off x="3077" y="1713"/>
                <a:ext cx="328" cy="390"/>
              </a:xfrm>
              <a:custGeom>
                <a:avLst/>
                <a:gdLst>
                  <a:gd name="T0" fmla="*/ 271 w 328"/>
                  <a:gd name="T1" fmla="*/ 0 h 390"/>
                  <a:gd name="T2" fmla="*/ 238 w 328"/>
                  <a:gd name="T3" fmla="*/ 147 h 390"/>
                  <a:gd name="T4" fmla="*/ 151 w 328"/>
                  <a:gd name="T5" fmla="*/ 390 h 390"/>
                  <a:gd name="T6" fmla="*/ 328 w 328"/>
                  <a:gd name="T7" fmla="*/ 207 h 390"/>
                  <a:gd name="T8" fmla="*/ 328 w 328"/>
                  <a:gd name="T9" fmla="*/ 389 h 390"/>
                  <a:gd name="T10" fmla="*/ 118 w 328"/>
                  <a:gd name="T11" fmla="*/ 177 h 390"/>
                  <a:gd name="T12" fmla="*/ 58 w 328"/>
                  <a:gd name="T13" fmla="*/ 327 h 390"/>
                  <a:gd name="T14" fmla="*/ 0 w 328"/>
                  <a:gd name="T15" fmla="*/ 180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90">
                    <a:moveTo>
                      <a:pt x="271" y="0"/>
                    </a:moveTo>
                    <a:lnTo>
                      <a:pt x="238" y="147"/>
                    </a:lnTo>
                    <a:lnTo>
                      <a:pt x="151" y="390"/>
                    </a:lnTo>
                    <a:lnTo>
                      <a:pt x="328" y="207"/>
                    </a:lnTo>
                    <a:lnTo>
                      <a:pt x="328" y="389"/>
                    </a:lnTo>
                    <a:lnTo>
                      <a:pt x="118" y="177"/>
                    </a:lnTo>
                    <a:lnTo>
                      <a:pt x="58" y="327"/>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4" name="Line 2499">
                <a:extLst>
                  <a:ext uri="{FF2B5EF4-FFF2-40B4-BE49-F238E27FC236}">
                    <a16:creationId xmlns:a16="http://schemas.microsoft.com/office/drawing/2014/main" id="{4AA9F2BB-B3D7-4FCE-ABF3-D0A42C215C75}"/>
                  </a:ext>
                </a:extLst>
              </p:cNvPr>
              <p:cNvSpPr>
                <a:spLocks noChangeShapeType="1"/>
              </p:cNvSpPr>
              <p:nvPr/>
            </p:nvSpPr>
            <p:spPr bwMode="auto">
              <a:xfrm flipH="1" flipV="1">
                <a:off x="3348" y="1713"/>
                <a:ext cx="177" cy="11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5" name="Line 2500">
                <a:extLst>
                  <a:ext uri="{FF2B5EF4-FFF2-40B4-BE49-F238E27FC236}">
                    <a16:creationId xmlns:a16="http://schemas.microsoft.com/office/drawing/2014/main" id="{57D98BE5-BDDB-4153-AC6D-F8D8C88D5507}"/>
                  </a:ext>
                </a:extLst>
              </p:cNvPr>
              <p:cNvSpPr>
                <a:spLocks noChangeShapeType="1"/>
              </p:cNvSpPr>
              <p:nvPr/>
            </p:nvSpPr>
            <p:spPr bwMode="auto">
              <a:xfrm flipV="1">
                <a:off x="3315" y="1442"/>
                <a:ext cx="88" cy="118"/>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6" name="Freeform 2501">
                <a:extLst>
                  <a:ext uri="{FF2B5EF4-FFF2-40B4-BE49-F238E27FC236}">
                    <a16:creationId xmlns:a16="http://schemas.microsoft.com/office/drawing/2014/main" id="{AF4A0555-DDB2-4F06-A602-4352E93112BE}"/>
                  </a:ext>
                </a:extLst>
              </p:cNvPr>
              <p:cNvSpPr>
                <a:spLocks/>
              </p:cNvSpPr>
              <p:nvPr/>
            </p:nvSpPr>
            <p:spPr bwMode="auto">
              <a:xfrm>
                <a:off x="2625" y="780"/>
                <a:ext cx="690" cy="630"/>
              </a:xfrm>
              <a:custGeom>
                <a:avLst/>
                <a:gdLst>
                  <a:gd name="T0" fmla="*/ 660 w 690"/>
                  <a:gd name="T1" fmla="*/ 630 h 630"/>
                  <a:gd name="T2" fmla="*/ 690 w 690"/>
                  <a:gd name="T3" fmla="*/ 390 h 630"/>
                  <a:gd name="T4" fmla="*/ 570 w 690"/>
                  <a:gd name="T5" fmla="*/ 420 h 630"/>
                  <a:gd name="T6" fmla="*/ 450 w 690"/>
                  <a:gd name="T7" fmla="*/ 240 h 630"/>
                  <a:gd name="T8" fmla="*/ 420 w 690"/>
                  <a:gd name="T9" fmla="*/ 420 h 630"/>
                  <a:gd name="T10" fmla="*/ 330 w 690"/>
                  <a:gd name="T11" fmla="*/ 330 h 630"/>
                  <a:gd name="T12" fmla="*/ 210 w 690"/>
                  <a:gd name="T13" fmla="*/ 270 h 630"/>
                  <a:gd name="T14" fmla="*/ 0 w 690"/>
                  <a:gd name="T15" fmla="*/ 210 h 630"/>
                  <a:gd name="T16" fmla="*/ 270 w 690"/>
                  <a:gd name="T17" fmla="*/ 180 h 630"/>
                  <a:gd name="T18" fmla="*/ 180 w 690"/>
                  <a:gd name="T19" fmla="*/ 30 h 630"/>
                  <a:gd name="T20" fmla="*/ 330 w 690"/>
                  <a:gd name="T21" fmla="*/ 0 h 630"/>
                  <a:gd name="T22" fmla="*/ 120 w 690"/>
                  <a:gd name="T23" fmla="*/ 15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0" h="630">
                    <a:moveTo>
                      <a:pt x="660" y="630"/>
                    </a:moveTo>
                    <a:lnTo>
                      <a:pt x="690" y="390"/>
                    </a:lnTo>
                    <a:lnTo>
                      <a:pt x="570" y="420"/>
                    </a:lnTo>
                    <a:lnTo>
                      <a:pt x="450" y="240"/>
                    </a:lnTo>
                    <a:lnTo>
                      <a:pt x="420" y="420"/>
                    </a:lnTo>
                    <a:lnTo>
                      <a:pt x="330" y="330"/>
                    </a:lnTo>
                    <a:lnTo>
                      <a:pt x="210" y="270"/>
                    </a:lnTo>
                    <a:lnTo>
                      <a:pt x="0" y="210"/>
                    </a:lnTo>
                    <a:lnTo>
                      <a:pt x="270" y="180"/>
                    </a:lnTo>
                    <a:lnTo>
                      <a:pt x="180" y="30"/>
                    </a:lnTo>
                    <a:lnTo>
                      <a:pt x="330"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7" name="Line 2502">
                <a:extLst>
                  <a:ext uri="{FF2B5EF4-FFF2-40B4-BE49-F238E27FC236}">
                    <a16:creationId xmlns:a16="http://schemas.microsoft.com/office/drawing/2014/main" id="{219A1347-FBEA-4A19-BE2B-868AC7BBB6EA}"/>
                  </a:ext>
                </a:extLst>
              </p:cNvPr>
              <p:cNvSpPr>
                <a:spLocks noChangeShapeType="1"/>
              </p:cNvSpPr>
              <p:nvPr/>
            </p:nvSpPr>
            <p:spPr bwMode="auto">
              <a:xfrm flipH="1">
                <a:off x="3285" y="1290"/>
                <a:ext cx="15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8" name="Freeform 2503">
                <a:extLst>
                  <a:ext uri="{FF2B5EF4-FFF2-40B4-BE49-F238E27FC236}">
                    <a16:creationId xmlns:a16="http://schemas.microsoft.com/office/drawing/2014/main" id="{0063CE13-5982-4BE5-B18B-4A9F269CAEDE}"/>
                  </a:ext>
                </a:extLst>
              </p:cNvPr>
              <p:cNvSpPr>
                <a:spLocks/>
              </p:cNvSpPr>
              <p:nvPr/>
            </p:nvSpPr>
            <p:spPr bwMode="auto">
              <a:xfrm>
                <a:off x="3315" y="1082"/>
                <a:ext cx="120" cy="208"/>
              </a:xfrm>
              <a:custGeom>
                <a:avLst/>
                <a:gdLst>
                  <a:gd name="T0" fmla="*/ 120 w 120"/>
                  <a:gd name="T1" fmla="*/ 208 h 208"/>
                  <a:gd name="T2" fmla="*/ 90 w 120"/>
                  <a:gd name="T3" fmla="*/ 0 h 208"/>
                  <a:gd name="T4" fmla="*/ 0 w 120"/>
                  <a:gd name="T5" fmla="*/ 88 h 208"/>
                </a:gdLst>
                <a:ahLst/>
                <a:cxnLst>
                  <a:cxn ang="0">
                    <a:pos x="T0" y="T1"/>
                  </a:cxn>
                  <a:cxn ang="0">
                    <a:pos x="T2" y="T3"/>
                  </a:cxn>
                  <a:cxn ang="0">
                    <a:pos x="T4" y="T5"/>
                  </a:cxn>
                </a:cxnLst>
                <a:rect l="0" t="0" r="r" b="b"/>
                <a:pathLst>
                  <a:path w="120" h="208">
                    <a:moveTo>
                      <a:pt x="120" y="208"/>
                    </a:moveTo>
                    <a:lnTo>
                      <a:pt x="90" y="0"/>
                    </a:lnTo>
                    <a:lnTo>
                      <a:pt x="0" y="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9" name="Freeform 2504">
                <a:extLst>
                  <a:ext uri="{FF2B5EF4-FFF2-40B4-BE49-F238E27FC236}">
                    <a16:creationId xmlns:a16="http://schemas.microsoft.com/office/drawing/2014/main" id="{1178B4CD-9030-409D-929E-D6BC33A4FF0D}"/>
                  </a:ext>
                </a:extLst>
              </p:cNvPr>
              <p:cNvSpPr>
                <a:spLocks/>
              </p:cNvSpPr>
              <p:nvPr/>
            </p:nvSpPr>
            <p:spPr bwMode="auto">
              <a:xfrm>
                <a:off x="3195" y="1200"/>
                <a:ext cx="240" cy="242"/>
              </a:xfrm>
              <a:custGeom>
                <a:avLst/>
                <a:gdLst>
                  <a:gd name="T0" fmla="*/ 240 w 240"/>
                  <a:gd name="T1" fmla="*/ 90 h 242"/>
                  <a:gd name="T2" fmla="*/ 0 w 240"/>
                  <a:gd name="T3" fmla="*/ 0 h 242"/>
                  <a:gd name="T4" fmla="*/ 208 w 240"/>
                  <a:gd name="T5" fmla="*/ 242 h 242"/>
                </a:gdLst>
                <a:ahLst/>
                <a:cxnLst>
                  <a:cxn ang="0">
                    <a:pos x="T0" y="T1"/>
                  </a:cxn>
                  <a:cxn ang="0">
                    <a:pos x="T2" y="T3"/>
                  </a:cxn>
                  <a:cxn ang="0">
                    <a:pos x="T4" y="T5"/>
                  </a:cxn>
                </a:cxnLst>
                <a:rect l="0" t="0" r="r" b="b"/>
                <a:pathLst>
                  <a:path w="240" h="242">
                    <a:moveTo>
                      <a:pt x="240" y="90"/>
                    </a:moveTo>
                    <a:lnTo>
                      <a:pt x="0" y="0"/>
                    </a:lnTo>
                    <a:lnTo>
                      <a:pt x="208" y="24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0" name="Line 2505">
                <a:extLst>
                  <a:ext uri="{FF2B5EF4-FFF2-40B4-BE49-F238E27FC236}">
                    <a16:creationId xmlns:a16="http://schemas.microsoft.com/office/drawing/2014/main" id="{8F2250B7-B24D-425A-B0C8-054E43649E26}"/>
                  </a:ext>
                </a:extLst>
              </p:cNvPr>
              <p:cNvSpPr>
                <a:spLocks noChangeShapeType="1"/>
              </p:cNvSpPr>
              <p:nvPr/>
            </p:nvSpPr>
            <p:spPr bwMode="auto">
              <a:xfrm flipH="1">
                <a:off x="3585" y="1260"/>
                <a:ext cx="30" cy="272"/>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1" name="Freeform 2506">
                <a:extLst>
                  <a:ext uri="{FF2B5EF4-FFF2-40B4-BE49-F238E27FC236}">
                    <a16:creationId xmlns:a16="http://schemas.microsoft.com/office/drawing/2014/main" id="{E5A8F86E-2960-461B-9B85-6644C76387C6}"/>
                  </a:ext>
                </a:extLst>
              </p:cNvPr>
              <p:cNvSpPr>
                <a:spLocks/>
              </p:cNvSpPr>
              <p:nvPr/>
            </p:nvSpPr>
            <p:spPr bwMode="auto">
              <a:xfrm>
                <a:off x="3555" y="450"/>
                <a:ext cx="449" cy="1140"/>
              </a:xfrm>
              <a:custGeom>
                <a:avLst/>
                <a:gdLst>
                  <a:gd name="T0" fmla="*/ 449 w 449"/>
                  <a:gd name="T1" fmla="*/ 1140 h 1140"/>
                  <a:gd name="T2" fmla="*/ 329 w 449"/>
                  <a:gd name="T3" fmla="*/ 930 h 1140"/>
                  <a:gd name="T4" fmla="*/ 419 w 449"/>
                  <a:gd name="T5" fmla="*/ 690 h 1140"/>
                  <a:gd name="T6" fmla="*/ 239 w 449"/>
                  <a:gd name="T7" fmla="*/ 600 h 1140"/>
                  <a:gd name="T8" fmla="*/ 269 w 449"/>
                  <a:gd name="T9" fmla="*/ 780 h 1140"/>
                  <a:gd name="T10" fmla="*/ 389 w 449"/>
                  <a:gd name="T11" fmla="*/ 570 h 1140"/>
                  <a:gd name="T12" fmla="*/ 419 w 449"/>
                  <a:gd name="T13" fmla="*/ 450 h 1140"/>
                  <a:gd name="T14" fmla="*/ 359 w 449"/>
                  <a:gd name="T15" fmla="*/ 330 h 1140"/>
                  <a:gd name="T16" fmla="*/ 389 w 449"/>
                  <a:gd name="T17" fmla="*/ 180 h 1140"/>
                  <a:gd name="T18" fmla="*/ 239 w 449"/>
                  <a:gd name="T19" fmla="*/ 60 h 1140"/>
                  <a:gd name="T20" fmla="*/ 150 w 449"/>
                  <a:gd name="T21" fmla="*/ 180 h 1140"/>
                  <a:gd name="T22" fmla="*/ 0 w 449"/>
                  <a:gd name="T23" fmla="*/ 270 h 1140"/>
                  <a:gd name="T24" fmla="*/ 0 w 449"/>
                  <a:gd name="T25" fmla="*/ 420 h 1140"/>
                  <a:gd name="T26" fmla="*/ 120 w 449"/>
                  <a:gd name="T27" fmla="*/ 330 h 1140"/>
                  <a:gd name="T28" fmla="*/ 269 w 449"/>
                  <a:gd name="T29" fmla="*/ 210 h 1140"/>
                  <a:gd name="T30" fmla="*/ 239 w 449"/>
                  <a:gd name="T31" fmla="*/ 60 h 1140"/>
                  <a:gd name="T32" fmla="*/ 120 w 449"/>
                  <a:gd name="T33" fmla="*/ 0 h 1140"/>
                  <a:gd name="T34" fmla="*/ 30 w 449"/>
                  <a:gd name="T35" fmla="*/ 9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1140">
                    <a:moveTo>
                      <a:pt x="449" y="1140"/>
                    </a:moveTo>
                    <a:lnTo>
                      <a:pt x="329" y="930"/>
                    </a:lnTo>
                    <a:lnTo>
                      <a:pt x="419" y="690"/>
                    </a:lnTo>
                    <a:lnTo>
                      <a:pt x="239" y="600"/>
                    </a:lnTo>
                    <a:lnTo>
                      <a:pt x="269" y="780"/>
                    </a:lnTo>
                    <a:lnTo>
                      <a:pt x="389" y="570"/>
                    </a:lnTo>
                    <a:lnTo>
                      <a:pt x="419" y="450"/>
                    </a:lnTo>
                    <a:lnTo>
                      <a:pt x="359" y="330"/>
                    </a:lnTo>
                    <a:lnTo>
                      <a:pt x="389" y="180"/>
                    </a:lnTo>
                    <a:lnTo>
                      <a:pt x="239" y="60"/>
                    </a:lnTo>
                    <a:lnTo>
                      <a:pt x="150" y="180"/>
                    </a:lnTo>
                    <a:lnTo>
                      <a:pt x="0" y="270"/>
                    </a:lnTo>
                    <a:lnTo>
                      <a:pt x="0" y="420"/>
                    </a:lnTo>
                    <a:lnTo>
                      <a:pt x="120" y="330"/>
                    </a:lnTo>
                    <a:lnTo>
                      <a:pt x="269" y="210"/>
                    </a:lnTo>
                    <a:lnTo>
                      <a:pt x="239" y="60"/>
                    </a:lnTo>
                    <a:lnTo>
                      <a:pt x="120" y="0"/>
                    </a:lnTo>
                    <a:lnTo>
                      <a:pt x="3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2" name="Line 2507">
                <a:extLst>
                  <a:ext uri="{FF2B5EF4-FFF2-40B4-BE49-F238E27FC236}">
                    <a16:creationId xmlns:a16="http://schemas.microsoft.com/office/drawing/2014/main" id="{C8789927-92E4-4A2C-BDD0-8FE348DB8B23}"/>
                  </a:ext>
                </a:extLst>
              </p:cNvPr>
              <p:cNvSpPr>
                <a:spLocks noChangeShapeType="1"/>
              </p:cNvSpPr>
              <p:nvPr/>
            </p:nvSpPr>
            <p:spPr bwMode="auto">
              <a:xfrm>
                <a:off x="4004"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3" name="Freeform 2508">
                <a:extLst>
                  <a:ext uri="{FF2B5EF4-FFF2-40B4-BE49-F238E27FC236}">
                    <a16:creationId xmlns:a16="http://schemas.microsoft.com/office/drawing/2014/main" id="{7A738882-B16A-477F-9C81-1E629E6EDBBC}"/>
                  </a:ext>
                </a:extLst>
              </p:cNvPr>
              <p:cNvSpPr>
                <a:spLocks/>
              </p:cNvSpPr>
              <p:nvPr/>
            </p:nvSpPr>
            <p:spPr bwMode="auto">
              <a:xfrm>
                <a:off x="3525" y="1740"/>
                <a:ext cx="659" cy="423"/>
              </a:xfrm>
              <a:custGeom>
                <a:avLst/>
                <a:gdLst>
                  <a:gd name="T0" fmla="*/ 300 w 659"/>
                  <a:gd name="T1" fmla="*/ 303 h 423"/>
                  <a:gd name="T2" fmla="*/ 299 w 659"/>
                  <a:gd name="T3" fmla="*/ 150 h 423"/>
                  <a:gd name="T4" fmla="*/ 451 w 659"/>
                  <a:gd name="T5" fmla="*/ 423 h 423"/>
                  <a:gd name="T6" fmla="*/ 483 w 659"/>
                  <a:gd name="T7" fmla="*/ 213 h 423"/>
                  <a:gd name="T8" fmla="*/ 659 w 659"/>
                  <a:gd name="T9" fmla="*/ 300 h 423"/>
                  <a:gd name="T10" fmla="*/ 419 w 659"/>
                  <a:gd name="T11" fmla="*/ 60 h 423"/>
                  <a:gd name="T12" fmla="*/ 479 w 659"/>
                  <a:gd name="T13" fmla="*/ 210 h 423"/>
                  <a:gd name="T14" fmla="*/ 299 w 659"/>
                  <a:gd name="T15" fmla="*/ 0 h 423"/>
                  <a:gd name="T16" fmla="*/ 150 w 659"/>
                  <a:gd name="T17" fmla="*/ 150 h 423"/>
                  <a:gd name="T18" fmla="*/ 0 w 659"/>
                  <a:gd name="T19" fmla="*/ 9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9" h="423">
                    <a:moveTo>
                      <a:pt x="300" y="303"/>
                    </a:moveTo>
                    <a:lnTo>
                      <a:pt x="299" y="150"/>
                    </a:lnTo>
                    <a:lnTo>
                      <a:pt x="451" y="423"/>
                    </a:lnTo>
                    <a:lnTo>
                      <a:pt x="483" y="213"/>
                    </a:lnTo>
                    <a:lnTo>
                      <a:pt x="659" y="300"/>
                    </a:lnTo>
                    <a:lnTo>
                      <a:pt x="419" y="60"/>
                    </a:lnTo>
                    <a:lnTo>
                      <a:pt x="479" y="210"/>
                    </a:lnTo>
                    <a:lnTo>
                      <a:pt x="299" y="0"/>
                    </a:lnTo>
                    <a:lnTo>
                      <a:pt x="150" y="15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4" name="Freeform 2509">
                <a:extLst>
                  <a:ext uri="{FF2B5EF4-FFF2-40B4-BE49-F238E27FC236}">
                    <a16:creationId xmlns:a16="http://schemas.microsoft.com/office/drawing/2014/main" id="{2F14571A-9238-4B01-A3DB-56F5FBF70CD9}"/>
                  </a:ext>
                </a:extLst>
              </p:cNvPr>
              <p:cNvSpPr>
                <a:spLocks/>
              </p:cNvSpPr>
              <p:nvPr/>
            </p:nvSpPr>
            <p:spPr bwMode="auto">
              <a:xfrm>
                <a:off x="3315" y="1860"/>
                <a:ext cx="393" cy="123"/>
              </a:xfrm>
              <a:custGeom>
                <a:avLst/>
                <a:gdLst>
                  <a:gd name="T0" fmla="*/ 393 w 393"/>
                  <a:gd name="T1" fmla="*/ 123 h 123"/>
                  <a:gd name="T2" fmla="*/ 90 w 393"/>
                  <a:gd name="T3" fmla="*/ 60 h 123"/>
                  <a:gd name="T4" fmla="*/ 0 w 393"/>
                  <a:gd name="T5" fmla="*/ 0 h 123"/>
                </a:gdLst>
                <a:ahLst/>
                <a:cxnLst>
                  <a:cxn ang="0">
                    <a:pos x="T0" y="T1"/>
                  </a:cxn>
                  <a:cxn ang="0">
                    <a:pos x="T2" y="T3"/>
                  </a:cxn>
                  <a:cxn ang="0">
                    <a:pos x="T4" y="T5"/>
                  </a:cxn>
                </a:cxnLst>
                <a:rect l="0" t="0" r="r" b="b"/>
                <a:pathLst>
                  <a:path w="393" h="123">
                    <a:moveTo>
                      <a:pt x="393" y="123"/>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0" name="Freeform 2510">
                <a:extLst>
                  <a:ext uri="{FF2B5EF4-FFF2-40B4-BE49-F238E27FC236}">
                    <a16:creationId xmlns:a16="http://schemas.microsoft.com/office/drawing/2014/main" id="{11AE3C5D-29D3-45A3-BE4A-D22252C29E3D}"/>
                  </a:ext>
                </a:extLst>
              </p:cNvPr>
              <p:cNvSpPr>
                <a:spLocks/>
              </p:cNvSpPr>
              <p:nvPr/>
            </p:nvSpPr>
            <p:spPr bwMode="auto">
              <a:xfrm>
                <a:off x="1276" y="60"/>
                <a:ext cx="690" cy="600"/>
              </a:xfrm>
              <a:custGeom>
                <a:avLst/>
                <a:gdLst>
                  <a:gd name="T0" fmla="*/ 690 w 690"/>
                  <a:gd name="T1" fmla="*/ 600 h 600"/>
                  <a:gd name="T2" fmla="*/ 630 w 690"/>
                  <a:gd name="T3" fmla="*/ 450 h 600"/>
                  <a:gd name="T4" fmla="*/ 480 w 690"/>
                  <a:gd name="T5" fmla="*/ 210 h 600"/>
                  <a:gd name="T6" fmla="*/ 330 w 690"/>
                  <a:gd name="T7" fmla="*/ 0 h 600"/>
                  <a:gd name="T8" fmla="*/ 150 w 690"/>
                  <a:gd name="T9" fmla="*/ 90 h 600"/>
                  <a:gd name="T10" fmla="*/ 60 w 690"/>
                  <a:gd name="T11" fmla="*/ 210 h 600"/>
                  <a:gd name="T12" fmla="*/ 300 w 690"/>
                  <a:gd name="T13" fmla="*/ 210 h 600"/>
                  <a:gd name="T14" fmla="*/ 330 w 690"/>
                  <a:gd name="T15" fmla="*/ 0 h 600"/>
                  <a:gd name="T16" fmla="*/ 0 w 690"/>
                  <a:gd name="T17" fmla="*/ 60 h 600"/>
                  <a:gd name="T18" fmla="*/ 150 w 690"/>
                  <a:gd name="T19" fmla="*/ 90 h 600"/>
                  <a:gd name="T20" fmla="*/ 180 w 690"/>
                  <a:gd name="T21" fmla="*/ 240 h 600"/>
                  <a:gd name="T22" fmla="*/ 60 w 690"/>
                  <a:gd name="T23" fmla="*/ 210 h 600"/>
                  <a:gd name="T24" fmla="*/ 30 w 690"/>
                  <a:gd name="T25" fmla="*/ 360 h 600"/>
                  <a:gd name="T26" fmla="*/ 60 w 690"/>
                  <a:gd name="T27" fmla="*/ 51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0" h="600">
                    <a:moveTo>
                      <a:pt x="690" y="600"/>
                    </a:moveTo>
                    <a:lnTo>
                      <a:pt x="630" y="450"/>
                    </a:lnTo>
                    <a:lnTo>
                      <a:pt x="480" y="210"/>
                    </a:lnTo>
                    <a:lnTo>
                      <a:pt x="330" y="0"/>
                    </a:lnTo>
                    <a:lnTo>
                      <a:pt x="150" y="90"/>
                    </a:lnTo>
                    <a:lnTo>
                      <a:pt x="60" y="210"/>
                    </a:lnTo>
                    <a:lnTo>
                      <a:pt x="300" y="210"/>
                    </a:lnTo>
                    <a:lnTo>
                      <a:pt x="330" y="0"/>
                    </a:lnTo>
                    <a:lnTo>
                      <a:pt x="0" y="60"/>
                    </a:lnTo>
                    <a:lnTo>
                      <a:pt x="150" y="90"/>
                    </a:lnTo>
                    <a:lnTo>
                      <a:pt x="180" y="240"/>
                    </a:lnTo>
                    <a:lnTo>
                      <a:pt x="60" y="210"/>
                    </a:lnTo>
                    <a:lnTo>
                      <a:pt x="30" y="360"/>
                    </a:lnTo>
                    <a:lnTo>
                      <a:pt x="60"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1" name="Freeform 2511">
                <a:extLst>
                  <a:ext uri="{FF2B5EF4-FFF2-40B4-BE49-F238E27FC236}">
                    <a16:creationId xmlns:a16="http://schemas.microsoft.com/office/drawing/2014/main" id="{AB7D310A-00B4-4224-A440-120D0336454F}"/>
                  </a:ext>
                </a:extLst>
              </p:cNvPr>
              <p:cNvSpPr>
                <a:spLocks/>
              </p:cNvSpPr>
              <p:nvPr/>
            </p:nvSpPr>
            <p:spPr bwMode="auto">
              <a:xfrm>
                <a:off x="1306" y="2700"/>
                <a:ext cx="600" cy="510"/>
              </a:xfrm>
              <a:custGeom>
                <a:avLst/>
                <a:gdLst>
                  <a:gd name="T0" fmla="*/ 540 w 600"/>
                  <a:gd name="T1" fmla="*/ 90 h 510"/>
                  <a:gd name="T2" fmla="*/ 600 w 600"/>
                  <a:gd name="T3" fmla="*/ 270 h 510"/>
                  <a:gd name="T4" fmla="*/ 480 w 600"/>
                  <a:gd name="T5" fmla="*/ 270 h 510"/>
                  <a:gd name="T6" fmla="*/ 570 w 600"/>
                  <a:gd name="T7" fmla="*/ 420 h 510"/>
                  <a:gd name="T8" fmla="*/ 510 w 600"/>
                  <a:gd name="T9" fmla="*/ 510 h 510"/>
                  <a:gd name="T10" fmla="*/ 420 w 600"/>
                  <a:gd name="T11" fmla="*/ 360 h 510"/>
                  <a:gd name="T12" fmla="*/ 240 w 600"/>
                  <a:gd name="T13" fmla="*/ 450 h 510"/>
                  <a:gd name="T14" fmla="*/ 300 w 600"/>
                  <a:gd name="T15" fmla="*/ 270 h 510"/>
                  <a:gd name="T16" fmla="*/ 150 w 600"/>
                  <a:gd name="T17" fmla="*/ 420 h 510"/>
                  <a:gd name="T18" fmla="*/ 180 w 600"/>
                  <a:gd name="T19" fmla="*/ 300 h 510"/>
                  <a:gd name="T20" fmla="*/ 30 w 600"/>
                  <a:gd name="T21" fmla="*/ 360 h 510"/>
                  <a:gd name="T22" fmla="*/ 0 w 600"/>
                  <a:gd name="T23" fmla="*/ 510 h 510"/>
                  <a:gd name="T24" fmla="*/ 180 w 600"/>
                  <a:gd name="T25" fmla="*/ 210 h 510"/>
                  <a:gd name="T26" fmla="*/ 60 w 600"/>
                  <a:gd name="T27" fmla="*/ 120 h 510"/>
                  <a:gd name="T28" fmla="*/ 0 w 600"/>
                  <a:gd name="T29" fmla="*/ 210 h 510"/>
                  <a:gd name="T30" fmla="*/ 0 w 600"/>
                  <a:gd name="T31" fmla="*/ 0 h 510"/>
                  <a:gd name="T32" fmla="*/ 180 w 600"/>
                  <a:gd name="T33" fmla="*/ 30 h 510"/>
                  <a:gd name="T34" fmla="*/ 270 w 600"/>
                  <a:gd name="T35" fmla="*/ 120 h 510"/>
                  <a:gd name="T36" fmla="*/ 390 w 600"/>
                  <a:gd name="T37" fmla="*/ 150 h 510"/>
                  <a:gd name="T38" fmla="*/ 540 w 600"/>
                  <a:gd name="T39" fmla="*/ 9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0" h="510">
                    <a:moveTo>
                      <a:pt x="540" y="90"/>
                    </a:moveTo>
                    <a:lnTo>
                      <a:pt x="600" y="270"/>
                    </a:lnTo>
                    <a:lnTo>
                      <a:pt x="480" y="270"/>
                    </a:lnTo>
                    <a:lnTo>
                      <a:pt x="570" y="420"/>
                    </a:lnTo>
                    <a:lnTo>
                      <a:pt x="510" y="510"/>
                    </a:lnTo>
                    <a:lnTo>
                      <a:pt x="420" y="360"/>
                    </a:lnTo>
                    <a:lnTo>
                      <a:pt x="240" y="450"/>
                    </a:lnTo>
                    <a:lnTo>
                      <a:pt x="300" y="270"/>
                    </a:lnTo>
                    <a:lnTo>
                      <a:pt x="150" y="420"/>
                    </a:lnTo>
                    <a:lnTo>
                      <a:pt x="180" y="300"/>
                    </a:lnTo>
                    <a:lnTo>
                      <a:pt x="30" y="360"/>
                    </a:lnTo>
                    <a:lnTo>
                      <a:pt x="0" y="510"/>
                    </a:lnTo>
                    <a:lnTo>
                      <a:pt x="180" y="210"/>
                    </a:lnTo>
                    <a:lnTo>
                      <a:pt x="60" y="120"/>
                    </a:lnTo>
                    <a:lnTo>
                      <a:pt x="0" y="210"/>
                    </a:lnTo>
                    <a:lnTo>
                      <a:pt x="0" y="0"/>
                    </a:lnTo>
                    <a:lnTo>
                      <a:pt x="180" y="30"/>
                    </a:lnTo>
                    <a:lnTo>
                      <a:pt x="270" y="120"/>
                    </a:lnTo>
                    <a:lnTo>
                      <a:pt x="390" y="150"/>
                    </a:lnTo>
                    <a:lnTo>
                      <a:pt x="54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2" name="Freeform 2512">
                <a:extLst>
                  <a:ext uri="{FF2B5EF4-FFF2-40B4-BE49-F238E27FC236}">
                    <a16:creationId xmlns:a16="http://schemas.microsoft.com/office/drawing/2014/main" id="{3AD34352-BD14-4A35-8757-05AA2E598AB3}"/>
                  </a:ext>
                </a:extLst>
              </p:cNvPr>
              <p:cNvSpPr>
                <a:spLocks/>
              </p:cNvSpPr>
              <p:nvPr/>
            </p:nvSpPr>
            <p:spPr bwMode="auto">
              <a:xfrm>
                <a:off x="1636" y="2700"/>
                <a:ext cx="539" cy="360"/>
              </a:xfrm>
              <a:custGeom>
                <a:avLst/>
                <a:gdLst>
                  <a:gd name="T0" fmla="*/ 90 w 539"/>
                  <a:gd name="T1" fmla="*/ 360 h 360"/>
                  <a:gd name="T2" fmla="*/ 60 w 539"/>
                  <a:gd name="T3" fmla="*/ 150 h 360"/>
                  <a:gd name="T4" fmla="*/ 0 w 539"/>
                  <a:gd name="T5" fmla="*/ 0 h 360"/>
                  <a:gd name="T6" fmla="*/ 210 w 539"/>
                  <a:gd name="T7" fmla="*/ 90 h 360"/>
                  <a:gd name="T8" fmla="*/ 360 w 539"/>
                  <a:gd name="T9" fmla="*/ 180 h 360"/>
                  <a:gd name="T10" fmla="*/ 270 w 539"/>
                  <a:gd name="T11" fmla="*/ 270 h 360"/>
                  <a:gd name="T12" fmla="*/ 450 w 539"/>
                  <a:gd name="T13" fmla="*/ 330 h 360"/>
                  <a:gd name="T14" fmla="*/ 509 w 539"/>
                  <a:gd name="T15" fmla="*/ 210 h 360"/>
                  <a:gd name="T16" fmla="*/ 360 w 539"/>
                  <a:gd name="T17" fmla="*/ 60 h 360"/>
                  <a:gd name="T18" fmla="*/ 539 w 539"/>
                  <a:gd name="T1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360">
                    <a:moveTo>
                      <a:pt x="90" y="360"/>
                    </a:moveTo>
                    <a:lnTo>
                      <a:pt x="60" y="150"/>
                    </a:lnTo>
                    <a:lnTo>
                      <a:pt x="0" y="0"/>
                    </a:lnTo>
                    <a:lnTo>
                      <a:pt x="210" y="90"/>
                    </a:lnTo>
                    <a:lnTo>
                      <a:pt x="360" y="180"/>
                    </a:lnTo>
                    <a:lnTo>
                      <a:pt x="270" y="270"/>
                    </a:lnTo>
                    <a:lnTo>
                      <a:pt x="450" y="330"/>
                    </a:lnTo>
                    <a:lnTo>
                      <a:pt x="509" y="210"/>
                    </a:lnTo>
                    <a:lnTo>
                      <a:pt x="360" y="60"/>
                    </a:lnTo>
                    <a:lnTo>
                      <a:pt x="53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3" name="Freeform 2513">
                <a:extLst>
                  <a:ext uri="{FF2B5EF4-FFF2-40B4-BE49-F238E27FC236}">
                    <a16:creationId xmlns:a16="http://schemas.microsoft.com/office/drawing/2014/main" id="{36567B11-40D0-4BE9-A2DD-EA2CF5C29BE0}"/>
                  </a:ext>
                </a:extLst>
              </p:cNvPr>
              <p:cNvSpPr>
                <a:spLocks/>
              </p:cNvSpPr>
              <p:nvPr/>
            </p:nvSpPr>
            <p:spPr bwMode="auto">
              <a:xfrm>
                <a:off x="1456" y="3120"/>
                <a:ext cx="360" cy="90"/>
              </a:xfrm>
              <a:custGeom>
                <a:avLst/>
                <a:gdLst>
                  <a:gd name="T0" fmla="*/ 360 w 360"/>
                  <a:gd name="T1" fmla="*/ 90 h 90"/>
                  <a:gd name="T2" fmla="*/ 90 w 360"/>
                  <a:gd name="T3" fmla="*/ 30 h 90"/>
                  <a:gd name="T4" fmla="*/ 0 w 360"/>
                  <a:gd name="T5" fmla="*/ 0 h 90"/>
                </a:gdLst>
                <a:ahLst/>
                <a:cxnLst>
                  <a:cxn ang="0">
                    <a:pos x="T0" y="T1"/>
                  </a:cxn>
                  <a:cxn ang="0">
                    <a:pos x="T2" y="T3"/>
                  </a:cxn>
                  <a:cxn ang="0">
                    <a:pos x="T4" y="T5"/>
                  </a:cxn>
                </a:cxnLst>
                <a:rect l="0" t="0" r="r" b="b"/>
                <a:pathLst>
                  <a:path w="360" h="90">
                    <a:moveTo>
                      <a:pt x="360" y="90"/>
                    </a:moveTo>
                    <a:lnTo>
                      <a:pt x="9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4" name="Freeform 2514">
                <a:extLst>
                  <a:ext uri="{FF2B5EF4-FFF2-40B4-BE49-F238E27FC236}">
                    <a16:creationId xmlns:a16="http://schemas.microsoft.com/office/drawing/2014/main" id="{0A82CF6E-DCCF-4481-81F4-67B6B10E9157}"/>
                  </a:ext>
                </a:extLst>
              </p:cNvPr>
              <p:cNvSpPr>
                <a:spLocks/>
              </p:cNvSpPr>
              <p:nvPr/>
            </p:nvSpPr>
            <p:spPr bwMode="auto">
              <a:xfrm>
                <a:off x="1306" y="2820"/>
                <a:ext cx="270" cy="240"/>
              </a:xfrm>
              <a:custGeom>
                <a:avLst/>
                <a:gdLst>
                  <a:gd name="T0" fmla="*/ 30 w 270"/>
                  <a:gd name="T1" fmla="*/ 240 h 240"/>
                  <a:gd name="T2" fmla="*/ 0 w 270"/>
                  <a:gd name="T3" fmla="*/ 90 h 240"/>
                  <a:gd name="T4" fmla="*/ 270 w 270"/>
                  <a:gd name="T5" fmla="*/ 0 h 240"/>
                </a:gdLst>
                <a:ahLst/>
                <a:cxnLst>
                  <a:cxn ang="0">
                    <a:pos x="T0" y="T1"/>
                  </a:cxn>
                  <a:cxn ang="0">
                    <a:pos x="T2" y="T3"/>
                  </a:cxn>
                  <a:cxn ang="0">
                    <a:pos x="T4" y="T5"/>
                  </a:cxn>
                </a:cxnLst>
                <a:rect l="0" t="0" r="r" b="b"/>
                <a:pathLst>
                  <a:path w="270" h="240">
                    <a:moveTo>
                      <a:pt x="30" y="240"/>
                    </a:moveTo>
                    <a:lnTo>
                      <a:pt x="0" y="90"/>
                    </a:lnTo>
                    <a:lnTo>
                      <a:pt x="27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5" name="Freeform 2515">
                <a:extLst>
                  <a:ext uri="{FF2B5EF4-FFF2-40B4-BE49-F238E27FC236}">
                    <a16:creationId xmlns:a16="http://schemas.microsoft.com/office/drawing/2014/main" id="{EE8EDF1C-EFCC-4318-B488-B0DF6A219565}"/>
                  </a:ext>
                </a:extLst>
              </p:cNvPr>
              <p:cNvSpPr>
                <a:spLocks/>
              </p:cNvSpPr>
              <p:nvPr/>
            </p:nvSpPr>
            <p:spPr bwMode="auto">
              <a:xfrm>
                <a:off x="1486" y="2490"/>
                <a:ext cx="210" cy="240"/>
              </a:xfrm>
              <a:custGeom>
                <a:avLst/>
                <a:gdLst>
                  <a:gd name="T0" fmla="*/ 0 w 210"/>
                  <a:gd name="T1" fmla="*/ 240 h 240"/>
                  <a:gd name="T2" fmla="*/ 150 w 210"/>
                  <a:gd name="T3" fmla="*/ 210 h 240"/>
                  <a:gd name="T4" fmla="*/ 120 w 210"/>
                  <a:gd name="T5" fmla="*/ 0 h 240"/>
                  <a:gd name="T6" fmla="*/ 210 w 210"/>
                  <a:gd name="T7" fmla="*/ 60 h 240"/>
                </a:gdLst>
                <a:ahLst/>
                <a:cxnLst>
                  <a:cxn ang="0">
                    <a:pos x="T0" y="T1"/>
                  </a:cxn>
                  <a:cxn ang="0">
                    <a:pos x="T2" y="T3"/>
                  </a:cxn>
                  <a:cxn ang="0">
                    <a:pos x="T4" y="T5"/>
                  </a:cxn>
                  <a:cxn ang="0">
                    <a:pos x="T6" y="T7"/>
                  </a:cxn>
                </a:cxnLst>
                <a:rect l="0" t="0" r="r" b="b"/>
                <a:pathLst>
                  <a:path w="210" h="240">
                    <a:moveTo>
                      <a:pt x="0" y="240"/>
                    </a:moveTo>
                    <a:lnTo>
                      <a:pt x="150" y="210"/>
                    </a:lnTo>
                    <a:lnTo>
                      <a:pt x="120" y="0"/>
                    </a:lnTo>
                    <a:lnTo>
                      <a:pt x="21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6" name="Freeform 2516">
                <a:extLst>
                  <a:ext uri="{FF2B5EF4-FFF2-40B4-BE49-F238E27FC236}">
                    <a16:creationId xmlns:a16="http://schemas.microsoft.com/office/drawing/2014/main" id="{4D0881E1-11A7-4A78-8AFC-1372FE9E53AE}"/>
                  </a:ext>
                </a:extLst>
              </p:cNvPr>
              <p:cNvSpPr>
                <a:spLocks/>
              </p:cNvSpPr>
              <p:nvPr/>
            </p:nvSpPr>
            <p:spPr bwMode="auto">
              <a:xfrm>
                <a:off x="1276" y="2190"/>
                <a:ext cx="510" cy="630"/>
              </a:xfrm>
              <a:custGeom>
                <a:avLst/>
                <a:gdLst>
                  <a:gd name="T0" fmla="*/ 270 w 510"/>
                  <a:gd name="T1" fmla="*/ 450 h 630"/>
                  <a:gd name="T2" fmla="*/ 0 w 510"/>
                  <a:gd name="T3" fmla="*/ 390 h 630"/>
                  <a:gd name="T4" fmla="*/ 30 w 510"/>
                  <a:gd name="T5" fmla="*/ 300 h 630"/>
                  <a:gd name="T6" fmla="*/ 210 w 510"/>
                  <a:gd name="T7" fmla="*/ 330 h 630"/>
                  <a:gd name="T8" fmla="*/ 150 w 510"/>
                  <a:gd name="T9" fmla="*/ 120 h 630"/>
                  <a:gd name="T10" fmla="*/ 90 w 510"/>
                  <a:gd name="T11" fmla="*/ 210 h 630"/>
                  <a:gd name="T12" fmla="*/ 60 w 510"/>
                  <a:gd name="T13" fmla="*/ 120 h 630"/>
                  <a:gd name="T14" fmla="*/ 180 w 510"/>
                  <a:gd name="T15" fmla="*/ 0 h 630"/>
                  <a:gd name="T16" fmla="*/ 300 w 510"/>
                  <a:gd name="T17" fmla="*/ 120 h 630"/>
                  <a:gd name="T18" fmla="*/ 510 w 510"/>
                  <a:gd name="T19" fmla="*/ 150 h 630"/>
                  <a:gd name="T20" fmla="*/ 330 w 510"/>
                  <a:gd name="T21" fmla="*/ 300 h 630"/>
                  <a:gd name="T22" fmla="*/ 270 w 510"/>
                  <a:gd name="T23" fmla="*/ 450 h 630"/>
                  <a:gd name="T24" fmla="*/ 30 w 510"/>
                  <a:gd name="T25" fmla="*/ 510 h 630"/>
                  <a:gd name="T26" fmla="*/ 300 w 510"/>
                  <a:gd name="T27" fmla="*/ 120 h 630"/>
                  <a:gd name="T28" fmla="*/ 30 w 510"/>
                  <a:gd name="T29" fmla="*/ 300 h 630"/>
                  <a:gd name="T30" fmla="*/ 90 w 510"/>
                  <a:gd name="T31" fmla="*/ 210 h 630"/>
                  <a:gd name="T32" fmla="*/ 330 w 510"/>
                  <a:gd name="T33" fmla="*/ 300 h 630"/>
                  <a:gd name="T34" fmla="*/ 210 w 510"/>
                  <a:gd name="T35" fmla="*/ 330 h 630"/>
                  <a:gd name="T36" fmla="*/ 270 w 510"/>
                  <a:gd name="T37" fmla="*/ 450 h 630"/>
                  <a:gd name="T38" fmla="*/ 210 w 510"/>
                  <a:gd name="T39" fmla="*/ 540 h 630"/>
                  <a:gd name="T40" fmla="*/ 90 w 510"/>
                  <a:gd name="T41"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0" h="630">
                    <a:moveTo>
                      <a:pt x="270" y="450"/>
                    </a:moveTo>
                    <a:lnTo>
                      <a:pt x="0" y="390"/>
                    </a:lnTo>
                    <a:lnTo>
                      <a:pt x="30" y="300"/>
                    </a:lnTo>
                    <a:lnTo>
                      <a:pt x="210" y="330"/>
                    </a:lnTo>
                    <a:lnTo>
                      <a:pt x="150" y="120"/>
                    </a:lnTo>
                    <a:lnTo>
                      <a:pt x="90" y="210"/>
                    </a:lnTo>
                    <a:lnTo>
                      <a:pt x="60" y="120"/>
                    </a:lnTo>
                    <a:lnTo>
                      <a:pt x="180" y="0"/>
                    </a:lnTo>
                    <a:lnTo>
                      <a:pt x="300" y="120"/>
                    </a:lnTo>
                    <a:lnTo>
                      <a:pt x="510" y="150"/>
                    </a:lnTo>
                    <a:lnTo>
                      <a:pt x="330" y="300"/>
                    </a:lnTo>
                    <a:lnTo>
                      <a:pt x="270" y="450"/>
                    </a:lnTo>
                    <a:lnTo>
                      <a:pt x="30" y="510"/>
                    </a:lnTo>
                    <a:lnTo>
                      <a:pt x="300" y="120"/>
                    </a:lnTo>
                    <a:lnTo>
                      <a:pt x="30" y="300"/>
                    </a:lnTo>
                    <a:lnTo>
                      <a:pt x="90" y="210"/>
                    </a:lnTo>
                    <a:lnTo>
                      <a:pt x="330" y="300"/>
                    </a:lnTo>
                    <a:lnTo>
                      <a:pt x="210" y="330"/>
                    </a:lnTo>
                    <a:lnTo>
                      <a:pt x="270" y="450"/>
                    </a:lnTo>
                    <a:lnTo>
                      <a:pt x="210" y="540"/>
                    </a:lnTo>
                    <a:lnTo>
                      <a:pt x="90" y="6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7" name="Freeform 2517">
                <a:extLst>
                  <a:ext uri="{FF2B5EF4-FFF2-40B4-BE49-F238E27FC236}">
                    <a16:creationId xmlns:a16="http://schemas.microsoft.com/office/drawing/2014/main" id="{433BA52D-9EC9-427B-97EA-EC2FCA2A933B}"/>
                  </a:ext>
                </a:extLst>
              </p:cNvPr>
              <p:cNvSpPr>
                <a:spLocks/>
              </p:cNvSpPr>
              <p:nvPr/>
            </p:nvSpPr>
            <p:spPr bwMode="auto">
              <a:xfrm>
                <a:off x="1576" y="2190"/>
                <a:ext cx="420" cy="480"/>
              </a:xfrm>
              <a:custGeom>
                <a:avLst/>
                <a:gdLst>
                  <a:gd name="T0" fmla="*/ 420 w 420"/>
                  <a:gd name="T1" fmla="*/ 150 h 480"/>
                  <a:gd name="T2" fmla="*/ 120 w 420"/>
                  <a:gd name="T3" fmla="*/ 0 h 480"/>
                  <a:gd name="T4" fmla="*/ 0 w 420"/>
                  <a:gd name="T5" fmla="*/ 120 h 480"/>
                  <a:gd name="T6" fmla="*/ 240 w 420"/>
                  <a:gd name="T7" fmla="*/ 300 h 480"/>
                  <a:gd name="T8" fmla="*/ 120 w 420"/>
                  <a:gd name="T9" fmla="*/ 360 h 480"/>
                  <a:gd name="T10" fmla="*/ 210 w 420"/>
                  <a:gd name="T11" fmla="*/ 480 h 480"/>
                </a:gdLst>
                <a:ahLst/>
                <a:cxnLst>
                  <a:cxn ang="0">
                    <a:pos x="T0" y="T1"/>
                  </a:cxn>
                  <a:cxn ang="0">
                    <a:pos x="T2" y="T3"/>
                  </a:cxn>
                  <a:cxn ang="0">
                    <a:pos x="T4" y="T5"/>
                  </a:cxn>
                  <a:cxn ang="0">
                    <a:pos x="T6" y="T7"/>
                  </a:cxn>
                  <a:cxn ang="0">
                    <a:pos x="T8" y="T9"/>
                  </a:cxn>
                  <a:cxn ang="0">
                    <a:pos x="T10" y="T11"/>
                  </a:cxn>
                </a:cxnLst>
                <a:rect l="0" t="0" r="r" b="b"/>
                <a:pathLst>
                  <a:path w="420" h="480">
                    <a:moveTo>
                      <a:pt x="420" y="150"/>
                    </a:moveTo>
                    <a:lnTo>
                      <a:pt x="120" y="0"/>
                    </a:lnTo>
                    <a:lnTo>
                      <a:pt x="0" y="120"/>
                    </a:lnTo>
                    <a:lnTo>
                      <a:pt x="240" y="300"/>
                    </a:lnTo>
                    <a:lnTo>
                      <a:pt x="120" y="360"/>
                    </a:lnTo>
                    <a:lnTo>
                      <a:pt x="210" y="4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8" name="Freeform 2518">
                <a:extLst>
                  <a:ext uri="{FF2B5EF4-FFF2-40B4-BE49-F238E27FC236}">
                    <a16:creationId xmlns:a16="http://schemas.microsoft.com/office/drawing/2014/main" id="{C20BDDD4-8613-44F9-8ECA-D7F2C58545A5}"/>
                  </a:ext>
                </a:extLst>
              </p:cNvPr>
              <p:cNvSpPr>
                <a:spLocks/>
              </p:cNvSpPr>
              <p:nvPr/>
            </p:nvSpPr>
            <p:spPr bwMode="auto">
              <a:xfrm>
                <a:off x="1336" y="1620"/>
                <a:ext cx="420" cy="690"/>
              </a:xfrm>
              <a:custGeom>
                <a:avLst/>
                <a:gdLst>
                  <a:gd name="T0" fmla="*/ 240 w 420"/>
                  <a:gd name="T1" fmla="*/ 690 h 690"/>
                  <a:gd name="T2" fmla="*/ 210 w 420"/>
                  <a:gd name="T3" fmla="*/ 540 h 690"/>
                  <a:gd name="T4" fmla="*/ 150 w 420"/>
                  <a:gd name="T5" fmla="*/ 270 h 690"/>
                  <a:gd name="T6" fmla="*/ 60 w 420"/>
                  <a:gd name="T7" fmla="*/ 0 h 690"/>
                  <a:gd name="T8" fmla="*/ 0 w 420"/>
                  <a:gd name="T9" fmla="*/ 180 h 690"/>
                  <a:gd name="T10" fmla="*/ 150 w 420"/>
                  <a:gd name="T11" fmla="*/ 270 h 690"/>
                  <a:gd name="T12" fmla="*/ 330 w 420"/>
                  <a:gd name="T13" fmla="*/ 390 h 690"/>
                  <a:gd name="T14" fmla="*/ 270 w 420"/>
                  <a:gd name="T15" fmla="*/ 180 h 690"/>
                  <a:gd name="T16" fmla="*/ 420 w 420"/>
                  <a:gd name="T17" fmla="*/ 30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690">
                    <a:moveTo>
                      <a:pt x="240" y="690"/>
                    </a:moveTo>
                    <a:lnTo>
                      <a:pt x="210" y="540"/>
                    </a:lnTo>
                    <a:lnTo>
                      <a:pt x="150" y="270"/>
                    </a:lnTo>
                    <a:lnTo>
                      <a:pt x="60" y="0"/>
                    </a:lnTo>
                    <a:lnTo>
                      <a:pt x="0" y="180"/>
                    </a:lnTo>
                    <a:lnTo>
                      <a:pt x="150" y="270"/>
                    </a:lnTo>
                    <a:lnTo>
                      <a:pt x="330" y="390"/>
                    </a:lnTo>
                    <a:lnTo>
                      <a:pt x="270" y="180"/>
                    </a:lnTo>
                    <a:lnTo>
                      <a:pt x="42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9" name="Freeform 2519">
                <a:extLst>
                  <a:ext uri="{FF2B5EF4-FFF2-40B4-BE49-F238E27FC236}">
                    <a16:creationId xmlns:a16="http://schemas.microsoft.com/office/drawing/2014/main" id="{FF768D4B-5AAA-4187-8380-E2BF32FBAF5F}"/>
                  </a:ext>
                </a:extLst>
              </p:cNvPr>
              <p:cNvSpPr>
                <a:spLocks/>
              </p:cNvSpPr>
              <p:nvPr/>
            </p:nvSpPr>
            <p:spPr bwMode="auto">
              <a:xfrm>
                <a:off x="1666" y="2010"/>
                <a:ext cx="420" cy="180"/>
              </a:xfrm>
              <a:custGeom>
                <a:avLst/>
                <a:gdLst>
                  <a:gd name="T0" fmla="*/ 210 w 420"/>
                  <a:gd name="T1" fmla="*/ 150 h 180"/>
                  <a:gd name="T2" fmla="*/ 0 w 420"/>
                  <a:gd name="T3" fmla="*/ 0 h 180"/>
                  <a:gd name="T4" fmla="*/ 30 w 420"/>
                  <a:gd name="T5" fmla="*/ 180 h 180"/>
                  <a:gd name="T6" fmla="*/ 243 w 420"/>
                  <a:gd name="T7" fmla="*/ 3 h 180"/>
                  <a:gd name="T8" fmla="*/ 390 w 420"/>
                  <a:gd name="T9" fmla="*/ 120 h 180"/>
                  <a:gd name="T10" fmla="*/ 420 w 420"/>
                  <a:gd name="T11" fmla="*/ 0 h 180"/>
                </a:gdLst>
                <a:ahLst/>
                <a:cxnLst>
                  <a:cxn ang="0">
                    <a:pos x="T0" y="T1"/>
                  </a:cxn>
                  <a:cxn ang="0">
                    <a:pos x="T2" y="T3"/>
                  </a:cxn>
                  <a:cxn ang="0">
                    <a:pos x="T4" y="T5"/>
                  </a:cxn>
                  <a:cxn ang="0">
                    <a:pos x="T6" y="T7"/>
                  </a:cxn>
                  <a:cxn ang="0">
                    <a:pos x="T8" y="T9"/>
                  </a:cxn>
                  <a:cxn ang="0">
                    <a:pos x="T10" y="T11"/>
                  </a:cxn>
                </a:cxnLst>
                <a:rect l="0" t="0" r="r" b="b"/>
                <a:pathLst>
                  <a:path w="420" h="180">
                    <a:moveTo>
                      <a:pt x="210" y="150"/>
                    </a:moveTo>
                    <a:lnTo>
                      <a:pt x="0" y="0"/>
                    </a:lnTo>
                    <a:lnTo>
                      <a:pt x="30" y="180"/>
                    </a:lnTo>
                    <a:lnTo>
                      <a:pt x="243" y="3"/>
                    </a:lnTo>
                    <a:lnTo>
                      <a:pt x="390" y="12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0" name="Line 2520">
                <a:extLst>
                  <a:ext uri="{FF2B5EF4-FFF2-40B4-BE49-F238E27FC236}">
                    <a16:creationId xmlns:a16="http://schemas.microsoft.com/office/drawing/2014/main" id="{3C5B8E8A-AC0B-4D09-8594-F22C5251A064}"/>
                  </a:ext>
                </a:extLst>
              </p:cNvPr>
              <p:cNvSpPr>
                <a:spLocks noChangeShapeType="1"/>
              </p:cNvSpPr>
              <p:nvPr/>
            </p:nvSpPr>
            <p:spPr bwMode="auto">
              <a:xfrm>
                <a:off x="1696" y="2190"/>
                <a:ext cx="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4" name="Line 2521">
                <a:extLst>
                  <a:ext uri="{FF2B5EF4-FFF2-40B4-BE49-F238E27FC236}">
                    <a16:creationId xmlns:a16="http://schemas.microsoft.com/office/drawing/2014/main" id="{E3E10586-D803-4EB9-8539-A5CFC0EB11C2}"/>
                  </a:ext>
                </a:extLst>
              </p:cNvPr>
              <p:cNvSpPr>
                <a:spLocks noChangeShapeType="1"/>
              </p:cNvSpPr>
              <p:nvPr/>
            </p:nvSpPr>
            <p:spPr bwMode="auto">
              <a:xfrm flipH="1" flipV="1">
                <a:off x="1426" y="2310"/>
                <a:ext cx="39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5" name="Freeform 2522">
                <a:extLst>
                  <a:ext uri="{FF2B5EF4-FFF2-40B4-BE49-F238E27FC236}">
                    <a16:creationId xmlns:a16="http://schemas.microsoft.com/office/drawing/2014/main" id="{A4FC2871-4987-4EB2-AD49-10F56C0F2130}"/>
                  </a:ext>
                </a:extLst>
              </p:cNvPr>
              <p:cNvSpPr>
                <a:spLocks/>
              </p:cNvSpPr>
              <p:nvPr/>
            </p:nvSpPr>
            <p:spPr bwMode="auto">
              <a:xfrm>
                <a:off x="1276" y="1950"/>
                <a:ext cx="180" cy="360"/>
              </a:xfrm>
              <a:custGeom>
                <a:avLst/>
                <a:gdLst>
                  <a:gd name="T0" fmla="*/ 180 w 180"/>
                  <a:gd name="T1" fmla="*/ 240 h 360"/>
                  <a:gd name="T2" fmla="*/ 0 w 180"/>
                  <a:gd name="T3" fmla="*/ 210 h 360"/>
                  <a:gd name="T4" fmla="*/ 60 w 180"/>
                  <a:gd name="T5" fmla="*/ 360 h 360"/>
                  <a:gd name="T6" fmla="*/ 180 w 180"/>
                  <a:gd name="T7" fmla="*/ 90 h 360"/>
                  <a:gd name="T8" fmla="*/ 90 w 180"/>
                  <a:gd name="T9" fmla="*/ 0 h 360"/>
                </a:gdLst>
                <a:ahLst/>
                <a:cxnLst>
                  <a:cxn ang="0">
                    <a:pos x="T0" y="T1"/>
                  </a:cxn>
                  <a:cxn ang="0">
                    <a:pos x="T2" y="T3"/>
                  </a:cxn>
                  <a:cxn ang="0">
                    <a:pos x="T4" y="T5"/>
                  </a:cxn>
                  <a:cxn ang="0">
                    <a:pos x="T6" y="T7"/>
                  </a:cxn>
                  <a:cxn ang="0">
                    <a:pos x="T8" y="T9"/>
                  </a:cxn>
                </a:cxnLst>
                <a:rect l="0" t="0" r="r" b="b"/>
                <a:pathLst>
                  <a:path w="180" h="360">
                    <a:moveTo>
                      <a:pt x="180" y="240"/>
                    </a:moveTo>
                    <a:lnTo>
                      <a:pt x="0" y="210"/>
                    </a:lnTo>
                    <a:lnTo>
                      <a:pt x="60" y="360"/>
                    </a:lnTo>
                    <a:lnTo>
                      <a:pt x="180" y="90"/>
                    </a:lnTo>
                    <a:lnTo>
                      <a:pt x="9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7" name="Line 2523">
                <a:extLst>
                  <a:ext uri="{FF2B5EF4-FFF2-40B4-BE49-F238E27FC236}">
                    <a16:creationId xmlns:a16="http://schemas.microsoft.com/office/drawing/2014/main" id="{C0322B17-E734-4580-983E-E95711D810DC}"/>
                  </a:ext>
                </a:extLst>
              </p:cNvPr>
              <p:cNvSpPr>
                <a:spLocks noChangeShapeType="1"/>
              </p:cNvSpPr>
              <p:nvPr/>
            </p:nvSpPr>
            <p:spPr bwMode="auto">
              <a:xfrm flipV="1">
                <a:off x="1276" y="204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8" name="Freeform 2524">
                <a:extLst>
                  <a:ext uri="{FF2B5EF4-FFF2-40B4-BE49-F238E27FC236}">
                    <a16:creationId xmlns:a16="http://schemas.microsoft.com/office/drawing/2014/main" id="{1155CE91-66E9-4564-B942-EBABC0B1CE26}"/>
                  </a:ext>
                </a:extLst>
              </p:cNvPr>
              <p:cNvSpPr>
                <a:spLocks/>
              </p:cNvSpPr>
              <p:nvPr/>
            </p:nvSpPr>
            <p:spPr bwMode="auto">
              <a:xfrm>
                <a:off x="1606" y="1260"/>
                <a:ext cx="180" cy="330"/>
              </a:xfrm>
              <a:custGeom>
                <a:avLst/>
                <a:gdLst>
                  <a:gd name="T0" fmla="*/ 60 w 180"/>
                  <a:gd name="T1" fmla="*/ 0 h 330"/>
                  <a:gd name="T2" fmla="*/ 180 w 180"/>
                  <a:gd name="T3" fmla="*/ 30 h 330"/>
                  <a:gd name="T4" fmla="*/ 0 w 180"/>
                  <a:gd name="T5" fmla="*/ 120 h 330"/>
                  <a:gd name="T6" fmla="*/ 180 w 180"/>
                  <a:gd name="T7" fmla="*/ 330 h 330"/>
                </a:gdLst>
                <a:ahLst/>
                <a:cxnLst>
                  <a:cxn ang="0">
                    <a:pos x="T0" y="T1"/>
                  </a:cxn>
                  <a:cxn ang="0">
                    <a:pos x="T2" y="T3"/>
                  </a:cxn>
                  <a:cxn ang="0">
                    <a:pos x="T4" y="T5"/>
                  </a:cxn>
                  <a:cxn ang="0">
                    <a:pos x="T6" y="T7"/>
                  </a:cxn>
                </a:cxnLst>
                <a:rect l="0" t="0" r="r" b="b"/>
                <a:pathLst>
                  <a:path w="180" h="330">
                    <a:moveTo>
                      <a:pt x="60" y="0"/>
                    </a:moveTo>
                    <a:lnTo>
                      <a:pt x="180" y="30"/>
                    </a:lnTo>
                    <a:lnTo>
                      <a:pt x="0" y="120"/>
                    </a:lnTo>
                    <a:lnTo>
                      <a:pt x="18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4" name="Freeform 2525">
                <a:extLst>
                  <a:ext uri="{FF2B5EF4-FFF2-40B4-BE49-F238E27FC236}">
                    <a16:creationId xmlns:a16="http://schemas.microsoft.com/office/drawing/2014/main" id="{63700856-F623-4C95-A3CC-5BDB4769D16C}"/>
                  </a:ext>
                </a:extLst>
              </p:cNvPr>
              <p:cNvSpPr>
                <a:spLocks/>
              </p:cNvSpPr>
              <p:nvPr/>
            </p:nvSpPr>
            <p:spPr bwMode="auto">
              <a:xfrm>
                <a:off x="1576" y="1530"/>
                <a:ext cx="180" cy="150"/>
              </a:xfrm>
              <a:custGeom>
                <a:avLst/>
                <a:gdLst>
                  <a:gd name="T0" fmla="*/ 60 w 180"/>
                  <a:gd name="T1" fmla="*/ 0 h 150"/>
                  <a:gd name="T2" fmla="*/ 180 w 180"/>
                  <a:gd name="T3" fmla="*/ 150 h 150"/>
                  <a:gd name="T4" fmla="*/ 0 w 180"/>
                  <a:gd name="T5" fmla="*/ 150 h 150"/>
                </a:gdLst>
                <a:ahLst/>
                <a:cxnLst>
                  <a:cxn ang="0">
                    <a:pos x="T0" y="T1"/>
                  </a:cxn>
                  <a:cxn ang="0">
                    <a:pos x="T2" y="T3"/>
                  </a:cxn>
                  <a:cxn ang="0">
                    <a:pos x="T4" y="T5"/>
                  </a:cxn>
                </a:cxnLst>
                <a:rect l="0" t="0" r="r" b="b"/>
                <a:pathLst>
                  <a:path w="180" h="150">
                    <a:moveTo>
                      <a:pt x="60" y="0"/>
                    </a:moveTo>
                    <a:lnTo>
                      <a:pt x="180" y="15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6" name="Freeform 2526">
                <a:extLst>
                  <a:ext uri="{FF2B5EF4-FFF2-40B4-BE49-F238E27FC236}">
                    <a16:creationId xmlns:a16="http://schemas.microsoft.com/office/drawing/2014/main" id="{D591F451-D2CB-43B2-8E95-AED4590390FD}"/>
                  </a:ext>
                </a:extLst>
              </p:cNvPr>
              <p:cNvSpPr>
                <a:spLocks/>
              </p:cNvSpPr>
              <p:nvPr/>
            </p:nvSpPr>
            <p:spPr bwMode="auto">
              <a:xfrm>
                <a:off x="1276" y="1110"/>
                <a:ext cx="690" cy="300"/>
              </a:xfrm>
              <a:custGeom>
                <a:avLst/>
                <a:gdLst>
                  <a:gd name="T0" fmla="*/ 330 w 690"/>
                  <a:gd name="T1" fmla="*/ 270 h 300"/>
                  <a:gd name="T2" fmla="*/ 240 w 690"/>
                  <a:gd name="T3" fmla="*/ 150 h 300"/>
                  <a:gd name="T4" fmla="*/ 180 w 690"/>
                  <a:gd name="T5" fmla="*/ 300 h 300"/>
                  <a:gd name="T6" fmla="*/ 0 w 690"/>
                  <a:gd name="T7" fmla="*/ 210 h 300"/>
                  <a:gd name="T8" fmla="*/ 60 w 690"/>
                  <a:gd name="T9" fmla="*/ 90 h 300"/>
                  <a:gd name="T10" fmla="*/ 240 w 690"/>
                  <a:gd name="T11" fmla="*/ 150 h 300"/>
                  <a:gd name="T12" fmla="*/ 360 w 690"/>
                  <a:gd name="T13" fmla="*/ 30 h 300"/>
                  <a:gd name="T14" fmla="*/ 390 w 690"/>
                  <a:gd name="T15" fmla="*/ 150 h 300"/>
                  <a:gd name="T16" fmla="*/ 480 w 690"/>
                  <a:gd name="T17" fmla="*/ 30 h 300"/>
                  <a:gd name="T18" fmla="*/ 690 w 690"/>
                  <a:gd name="T19" fmla="*/ 120 h 300"/>
                  <a:gd name="T20" fmla="*/ 600 w 690"/>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300">
                    <a:moveTo>
                      <a:pt x="330" y="270"/>
                    </a:moveTo>
                    <a:lnTo>
                      <a:pt x="240" y="150"/>
                    </a:lnTo>
                    <a:lnTo>
                      <a:pt x="180" y="300"/>
                    </a:lnTo>
                    <a:lnTo>
                      <a:pt x="0" y="210"/>
                    </a:lnTo>
                    <a:lnTo>
                      <a:pt x="60" y="90"/>
                    </a:lnTo>
                    <a:lnTo>
                      <a:pt x="240" y="150"/>
                    </a:lnTo>
                    <a:lnTo>
                      <a:pt x="360" y="30"/>
                    </a:lnTo>
                    <a:lnTo>
                      <a:pt x="390" y="150"/>
                    </a:lnTo>
                    <a:lnTo>
                      <a:pt x="480" y="30"/>
                    </a:lnTo>
                    <a:lnTo>
                      <a:pt x="690" y="120"/>
                    </a:lnTo>
                    <a:lnTo>
                      <a:pt x="60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7" name="Freeform 2527">
                <a:extLst>
                  <a:ext uri="{FF2B5EF4-FFF2-40B4-BE49-F238E27FC236}">
                    <a16:creationId xmlns:a16="http://schemas.microsoft.com/office/drawing/2014/main" id="{8E4C87CD-9123-4663-8F2C-3FB161B0FD3B}"/>
                  </a:ext>
                </a:extLst>
              </p:cNvPr>
              <p:cNvSpPr>
                <a:spLocks/>
              </p:cNvSpPr>
              <p:nvPr/>
            </p:nvSpPr>
            <p:spPr bwMode="auto">
              <a:xfrm>
                <a:off x="1276" y="600"/>
                <a:ext cx="480" cy="600"/>
              </a:xfrm>
              <a:custGeom>
                <a:avLst/>
                <a:gdLst>
                  <a:gd name="T0" fmla="*/ 60 w 480"/>
                  <a:gd name="T1" fmla="*/ 480 h 600"/>
                  <a:gd name="T2" fmla="*/ 180 w 480"/>
                  <a:gd name="T3" fmla="*/ 540 h 600"/>
                  <a:gd name="T4" fmla="*/ 300 w 480"/>
                  <a:gd name="T5" fmla="*/ 420 h 600"/>
                  <a:gd name="T6" fmla="*/ 330 w 480"/>
                  <a:gd name="T7" fmla="*/ 180 h 600"/>
                  <a:gd name="T8" fmla="*/ 390 w 480"/>
                  <a:gd name="T9" fmla="*/ 300 h 600"/>
                  <a:gd name="T10" fmla="*/ 480 w 480"/>
                  <a:gd name="T11" fmla="*/ 210 h 600"/>
                  <a:gd name="T12" fmla="*/ 420 w 480"/>
                  <a:gd name="T13" fmla="*/ 60 h 600"/>
                  <a:gd name="T14" fmla="*/ 300 w 480"/>
                  <a:gd name="T15" fmla="*/ 60 h 600"/>
                  <a:gd name="T16" fmla="*/ 210 w 480"/>
                  <a:gd name="T17" fmla="*/ 0 h 600"/>
                  <a:gd name="T18" fmla="*/ 150 w 480"/>
                  <a:gd name="T19" fmla="*/ 90 h 600"/>
                  <a:gd name="T20" fmla="*/ 180 w 480"/>
                  <a:gd name="T21" fmla="*/ 270 h 600"/>
                  <a:gd name="T22" fmla="*/ 30 w 480"/>
                  <a:gd name="T23" fmla="*/ 150 h 600"/>
                  <a:gd name="T24" fmla="*/ 0 w 480"/>
                  <a:gd name="T25" fmla="*/ 300 h 600"/>
                  <a:gd name="T26" fmla="*/ 120 w 480"/>
                  <a:gd name="T27" fmla="*/ 390 h 600"/>
                  <a:gd name="T28" fmla="*/ 60 w 480"/>
                  <a:gd name="T29" fmla="*/ 480 h 600"/>
                  <a:gd name="T30" fmla="*/ 60 w 480"/>
                  <a:gd name="T3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0" h="600">
                    <a:moveTo>
                      <a:pt x="60" y="480"/>
                    </a:moveTo>
                    <a:lnTo>
                      <a:pt x="180" y="540"/>
                    </a:lnTo>
                    <a:lnTo>
                      <a:pt x="300" y="420"/>
                    </a:lnTo>
                    <a:lnTo>
                      <a:pt x="330" y="180"/>
                    </a:lnTo>
                    <a:lnTo>
                      <a:pt x="390" y="300"/>
                    </a:lnTo>
                    <a:lnTo>
                      <a:pt x="480" y="210"/>
                    </a:lnTo>
                    <a:lnTo>
                      <a:pt x="420" y="60"/>
                    </a:lnTo>
                    <a:lnTo>
                      <a:pt x="300" y="60"/>
                    </a:lnTo>
                    <a:lnTo>
                      <a:pt x="210" y="0"/>
                    </a:lnTo>
                    <a:lnTo>
                      <a:pt x="150" y="90"/>
                    </a:lnTo>
                    <a:lnTo>
                      <a:pt x="180" y="270"/>
                    </a:lnTo>
                    <a:lnTo>
                      <a:pt x="30" y="150"/>
                    </a:lnTo>
                    <a:lnTo>
                      <a:pt x="0" y="300"/>
                    </a:lnTo>
                    <a:lnTo>
                      <a:pt x="120" y="390"/>
                    </a:lnTo>
                    <a:lnTo>
                      <a:pt x="60" y="480"/>
                    </a:lnTo>
                    <a:lnTo>
                      <a:pt x="60" y="6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8" name="Freeform 2528">
                <a:extLst>
                  <a:ext uri="{FF2B5EF4-FFF2-40B4-BE49-F238E27FC236}">
                    <a16:creationId xmlns:a16="http://schemas.microsoft.com/office/drawing/2014/main" id="{7300CF8A-086C-461B-AFA0-FA6C5817C61D}"/>
                  </a:ext>
                </a:extLst>
              </p:cNvPr>
              <p:cNvSpPr>
                <a:spLocks/>
              </p:cNvSpPr>
              <p:nvPr/>
            </p:nvSpPr>
            <p:spPr bwMode="auto">
              <a:xfrm>
                <a:off x="1336" y="450"/>
                <a:ext cx="90" cy="240"/>
              </a:xfrm>
              <a:custGeom>
                <a:avLst/>
                <a:gdLst>
                  <a:gd name="T0" fmla="*/ 0 w 90"/>
                  <a:gd name="T1" fmla="*/ 120 h 240"/>
                  <a:gd name="T2" fmla="*/ 90 w 90"/>
                  <a:gd name="T3" fmla="*/ 240 h 240"/>
                  <a:gd name="T4" fmla="*/ 60 w 90"/>
                  <a:gd name="T5" fmla="*/ 0 h 240"/>
                </a:gdLst>
                <a:ahLst/>
                <a:cxnLst>
                  <a:cxn ang="0">
                    <a:pos x="T0" y="T1"/>
                  </a:cxn>
                  <a:cxn ang="0">
                    <a:pos x="T2" y="T3"/>
                  </a:cxn>
                  <a:cxn ang="0">
                    <a:pos x="T4" y="T5"/>
                  </a:cxn>
                </a:cxnLst>
                <a:rect l="0" t="0" r="r" b="b"/>
                <a:pathLst>
                  <a:path w="90" h="240">
                    <a:moveTo>
                      <a:pt x="0" y="120"/>
                    </a:moveTo>
                    <a:lnTo>
                      <a:pt x="90" y="24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0" name="Freeform 2529">
                <a:extLst>
                  <a:ext uri="{FF2B5EF4-FFF2-40B4-BE49-F238E27FC236}">
                    <a16:creationId xmlns:a16="http://schemas.microsoft.com/office/drawing/2014/main" id="{8103EEAB-51A2-483B-AFA0-8BFA72DA593A}"/>
                  </a:ext>
                </a:extLst>
              </p:cNvPr>
              <p:cNvSpPr>
                <a:spLocks/>
              </p:cNvSpPr>
              <p:nvPr/>
            </p:nvSpPr>
            <p:spPr bwMode="auto">
              <a:xfrm>
                <a:off x="1426" y="690"/>
                <a:ext cx="180" cy="330"/>
              </a:xfrm>
              <a:custGeom>
                <a:avLst/>
                <a:gdLst>
                  <a:gd name="T0" fmla="*/ 180 w 180"/>
                  <a:gd name="T1" fmla="*/ 90 h 330"/>
                  <a:gd name="T2" fmla="*/ 30 w 180"/>
                  <a:gd name="T3" fmla="*/ 180 h 330"/>
                  <a:gd name="T4" fmla="*/ 150 w 180"/>
                  <a:gd name="T5" fmla="*/ 330 h 330"/>
                  <a:gd name="T6" fmla="*/ 0 w 180"/>
                  <a:gd name="T7" fmla="*/ 0 h 330"/>
                </a:gdLst>
                <a:ahLst/>
                <a:cxnLst>
                  <a:cxn ang="0">
                    <a:pos x="T0" y="T1"/>
                  </a:cxn>
                  <a:cxn ang="0">
                    <a:pos x="T2" y="T3"/>
                  </a:cxn>
                  <a:cxn ang="0">
                    <a:pos x="T4" y="T5"/>
                  </a:cxn>
                  <a:cxn ang="0">
                    <a:pos x="T6" y="T7"/>
                  </a:cxn>
                </a:cxnLst>
                <a:rect l="0" t="0" r="r" b="b"/>
                <a:pathLst>
                  <a:path w="180" h="330">
                    <a:moveTo>
                      <a:pt x="180" y="90"/>
                    </a:moveTo>
                    <a:lnTo>
                      <a:pt x="30" y="180"/>
                    </a:lnTo>
                    <a:lnTo>
                      <a:pt x="15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6" name="Freeform 2530">
                <a:extLst>
                  <a:ext uri="{FF2B5EF4-FFF2-40B4-BE49-F238E27FC236}">
                    <a16:creationId xmlns:a16="http://schemas.microsoft.com/office/drawing/2014/main" id="{207C38F3-CD27-4A51-B59D-9740899C2F7D}"/>
                  </a:ext>
                </a:extLst>
              </p:cNvPr>
              <p:cNvSpPr>
                <a:spLocks/>
              </p:cNvSpPr>
              <p:nvPr/>
            </p:nvSpPr>
            <p:spPr bwMode="auto">
              <a:xfrm>
                <a:off x="1576" y="900"/>
                <a:ext cx="210" cy="240"/>
              </a:xfrm>
              <a:custGeom>
                <a:avLst/>
                <a:gdLst>
                  <a:gd name="T0" fmla="*/ 90 w 210"/>
                  <a:gd name="T1" fmla="*/ 0 h 240"/>
                  <a:gd name="T2" fmla="*/ 60 w 210"/>
                  <a:gd name="T3" fmla="*/ 240 h 240"/>
                  <a:gd name="T4" fmla="*/ 0 w 210"/>
                  <a:gd name="T5" fmla="*/ 120 h 240"/>
                  <a:gd name="T6" fmla="*/ 180 w 210"/>
                  <a:gd name="T7" fmla="*/ 240 h 240"/>
                  <a:gd name="T8" fmla="*/ 210 w 210"/>
                  <a:gd name="T9" fmla="*/ 60 h 240"/>
                  <a:gd name="T10" fmla="*/ 90 w 210"/>
                  <a:gd name="T11" fmla="*/ 0 h 240"/>
                </a:gdLst>
                <a:ahLst/>
                <a:cxnLst>
                  <a:cxn ang="0">
                    <a:pos x="T0" y="T1"/>
                  </a:cxn>
                  <a:cxn ang="0">
                    <a:pos x="T2" y="T3"/>
                  </a:cxn>
                  <a:cxn ang="0">
                    <a:pos x="T4" y="T5"/>
                  </a:cxn>
                  <a:cxn ang="0">
                    <a:pos x="T6" y="T7"/>
                  </a:cxn>
                  <a:cxn ang="0">
                    <a:pos x="T8" y="T9"/>
                  </a:cxn>
                  <a:cxn ang="0">
                    <a:pos x="T10" y="T11"/>
                  </a:cxn>
                </a:cxnLst>
                <a:rect l="0" t="0" r="r" b="b"/>
                <a:pathLst>
                  <a:path w="210" h="240">
                    <a:moveTo>
                      <a:pt x="90" y="0"/>
                    </a:moveTo>
                    <a:lnTo>
                      <a:pt x="60" y="240"/>
                    </a:lnTo>
                    <a:lnTo>
                      <a:pt x="0" y="120"/>
                    </a:lnTo>
                    <a:lnTo>
                      <a:pt x="180" y="240"/>
                    </a:lnTo>
                    <a:lnTo>
                      <a:pt x="210" y="6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7" name="Line 2531">
                <a:extLst>
                  <a:ext uri="{FF2B5EF4-FFF2-40B4-BE49-F238E27FC236}">
                    <a16:creationId xmlns:a16="http://schemas.microsoft.com/office/drawing/2014/main" id="{504E4253-30DC-4D55-AB27-99A1DF99216F}"/>
                  </a:ext>
                </a:extLst>
              </p:cNvPr>
              <p:cNvSpPr>
                <a:spLocks noChangeShapeType="1"/>
              </p:cNvSpPr>
              <p:nvPr/>
            </p:nvSpPr>
            <p:spPr bwMode="auto">
              <a:xfrm flipV="1">
                <a:off x="1576" y="960"/>
                <a:ext cx="21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8" name="Freeform 2532">
                <a:extLst>
                  <a:ext uri="{FF2B5EF4-FFF2-40B4-BE49-F238E27FC236}">
                    <a16:creationId xmlns:a16="http://schemas.microsoft.com/office/drawing/2014/main" id="{D6E6B54B-8698-4235-9584-5195D2ADB185}"/>
                  </a:ext>
                </a:extLst>
              </p:cNvPr>
              <p:cNvSpPr>
                <a:spLocks/>
              </p:cNvSpPr>
              <p:nvPr/>
            </p:nvSpPr>
            <p:spPr bwMode="auto">
              <a:xfrm>
                <a:off x="1276" y="990"/>
                <a:ext cx="360" cy="330"/>
              </a:xfrm>
              <a:custGeom>
                <a:avLst/>
                <a:gdLst>
                  <a:gd name="T0" fmla="*/ 120 w 360"/>
                  <a:gd name="T1" fmla="*/ 0 h 330"/>
                  <a:gd name="T2" fmla="*/ 360 w 360"/>
                  <a:gd name="T3" fmla="*/ 150 h 330"/>
                  <a:gd name="T4" fmla="*/ 180 w 360"/>
                  <a:gd name="T5" fmla="*/ 150 h 330"/>
                  <a:gd name="T6" fmla="*/ 240 w 360"/>
                  <a:gd name="T7" fmla="*/ 270 h 330"/>
                  <a:gd name="T8" fmla="*/ 0 w 360"/>
                  <a:gd name="T9" fmla="*/ 330 h 330"/>
                </a:gdLst>
                <a:ahLst/>
                <a:cxnLst>
                  <a:cxn ang="0">
                    <a:pos x="T0" y="T1"/>
                  </a:cxn>
                  <a:cxn ang="0">
                    <a:pos x="T2" y="T3"/>
                  </a:cxn>
                  <a:cxn ang="0">
                    <a:pos x="T4" y="T5"/>
                  </a:cxn>
                  <a:cxn ang="0">
                    <a:pos x="T6" y="T7"/>
                  </a:cxn>
                  <a:cxn ang="0">
                    <a:pos x="T8" y="T9"/>
                  </a:cxn>
                </a:cxnLst>
                <a:rect l="0" t="0" r="r" b="b"/>
                <a:pathLst>
                  <a:path w="360" h="330">
                    <a:moveTo>
                      <a:pt x="120" y="0"/>
                    </a:moveTo>
                    <a:lnTo>
                      <a:pt x="360" y="150"/>
                    </a:lnTo>
                    <a:lnTo>
                      <a:pt x="180" y="150"/>
                    </a:lnTo>
                    <a:lnTo>
                      <a:pt x="24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9" name="Line 2533">
                <a:extLst>
                  <a:ext uri="{FF2B5EF4-FFF2-40B4-BE49-F238E27FC236}">
                    <a16:creationId xmlns:a16="http://schemas.microsoft.com/office/drawing/2014/main" id="{24B03B2A-BB8B-458A-BB07-04054334F8B3}"/>
                  </a:ext>
                </a:extLst>
              </p:cNvPr>
              <p:cNvSpPr>
                <a:spLocks noChangeShapeType="1"/>
              </p:cNvSpPr>
              <p:nvPr/>
            </p:nvSpPr>
            <p:spPr bwMode="auto">
              <a:xfrm flipV="1">
                <a:off x="1336" y="1140"/>
                <a:ext cx="12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90" name="Freeform 2534">
                <a:extLst>
                  <a:ext uri="{FF2B5EF4-FFF2-40B4-BE49-F238E27FC236}">
                    <a16:creationId xmlns:a16="http://schemas.microsoft.com/office/drawing/2014/main" id="{02871937-2432-45E1-A6F2-E421BFF2D86F}"/>
                  </a:ext>
                </a:extLst>
              </p:cNvPr>
              <p:cNvSpPr>
                <a:spLocks/>
              </p:cNvSpPr>
              <p:nvPr/>
            </p:nvSpPr>
            <p:spPr bwMode="auto">
              <a:xfrm>
                <a:off x="1336" y="1290"/>
                <a:ext cx="450" cy="600"/>
              </a:xfrm>
              <a:custGeom>
                <a:avLst/>
                <a:gdLst>
                  <a:gd name="T0" fmla="*/ 270 w 450"/>
                  <a:gd name="T1" fmla="*/ 510 h 600"/>
                  <a:gd name="T2" fmla="*/ 150 w 450"/>
                  <a:gd name="T3" fmla="*/ 600 h 600"/>
                  <a:gd name="T4" fmla="*/ 270 w 450"/>
                  <a:gd name="T5" fmla="*/ 90 h 600"/>
                  <a:gd name="T6" fmla="*/ 60 w 450"/>
                  <a:gd name="T7" fmla="*/ 330 h 600"/>
                  <a:gd name="T8" fmla="*/ 0 w 450"/>
                  <a:gd name="T9" fmla="*/ 210 h 600"/>
                  <a:gd name="T10" fmla="*/ 120 w 450"/>
                  <a:gd name="T11" fmla="*/ 120 h 600"/>
                  <a:gd name="T12" fmla="*/ 240 w 450"/>
                  <a:gd name="T13" fmla="*/ 390 h 600"/>
                  <a:gd name="T14" fmla="*/ 300 w 450"/>
                  <a:gd name="T15" fmla="*/ 240 h 600"/>
                  <a:gd name="T16" fmla="*/ 450 w 45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 h="600">
                    <a:moveTo>
                      <a:pt x="270" y="510"/>
                    </a:moveTo>
                    <a:lnTo>
                      <a:pt x="150" y="600"/>
                    </a:lnTo>
                    <a:lnTo>
                      <a:pt x="270" y="90"/>
                    </a:lnTo>
                    <a:lnTo>
                      <a:pt x="60" y="330"/>
                    </a:lnTo>
                    <a:lnTo>
                      <a:pt x="0" y="210"/>
                    </a:lnTo>
                    <a:lnTo>
                      <a:pt x="120" y="120"/>
                    </a:lnTo>
                    <a:lnTo>
                      <a:pt x="240" y="390"/>
                    </a:lnTo>
                    <a:lnTo>
                      <a:pt x="300" y="24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91" name="Freeform 2535">
                <a:extLst>
                  <a:ext uri="{FF2B5EF4-FFF2-40B4-BE49-F238E27FC236}">
                    <a16:creationId xmlns:a16="http://schemas.microsoft.com/office/drawing/2014/main" id="{FC5DE38A-60B6-45A6-BDEB-449E5BB2C11F}"/>
                  </a:ext>
                </a:extLst>
              </p:cNvPr>
              <p:cNvSpPr>
                <a:spLocks/>
              </p:cNvSpPr>
              <p:nvPr/>
            </p:nvSpPr>
            <p:spPr bwMode="auto">
              <a:xfrm>
                <a:off x="1486" y="60"/>
                <a:ext cx="390" cy="540"/>
              </a:xfrm>
              <a:custGeom>
                <a:avLst/>
                <a:gdLst>
                  <a:gd name="T0" fmla="*/ 90 w 390"/>
                  <a:gd name="T1" fmla="*/ 210 h 540"/>
                  <a:gd name="T2" fmla="*/ 270 w 390"/>
                  <a:gd name="T3" fmla="*/ 0 h 540"/>
                  <a:gd name="T4" fmla="*/ 390 w 390"/>
                  <a:gd name="T5" fmla="*/ 90 h 540"/>
                  <a:gd name="T6" fmla="*/ 360 w 390"/>
                  <a:gd name="T7" fmla="*/ 240 h 540"/>
                  <a:gd name="T8" fmla="*/ 270 w 390"/>
                  <a:gd name="T9" fmla="*/ 210 h 540"/>
                  <a:gd name="T10" fmla="*/ 60 w 390"/>
                  <a:gd name="T11" fmla="*/ 360 h 540"/>
                  <a:gd name="T12" fmla="*/ 90 w 390"/>
                  <a:gd name="T13" fmla="*/ 210 h 540"/>
                  <a:gd name="T14" fmla="*/ 240 w 390"/>
                  <a:gd name="T15" fmla="*/ 300 h 540"/>
                  <a:gd name="T16" fmla="*/ 0 w 390"/>
                  <a:gd name="T1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40">
                    <a:moveTo>
                      <a:pt x="90" y="210"/>
                    </a:moveTo>
                    <a:lnTo>
                      <a:pt x="270" y="0"/>
                    </a:lnTo>
                    <a:lnTo>
                      <a:pt x="390" y="90"/>
                    </a:lnTo>
                    <a:lnTo>
                      <a:pt x="360" y="240"/>
                    </a:lnTo>
                    <a:lnTo>
                      <a:pt x="270" y="210"/>
                    </a:lnTo>
                    <a:lnTo>
                      <a:pt x="60" y="360"/>
                    </a:lnTo>
                    <a:lnTo>
                      <a:pt x="90" y="210"/>
                    </a:lnTo>
                    <a:lnTo>
                      <a:pt x="240" y="300"/>
                    </a:lnTo>
                    <a:lnTo>
                      <a:pt x="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92" name="Line 2536">
                <a:extLst>
                  <a:ext uri="{FF2B5EF4-FFF2-40B4-BE49-F238E27FC236}">
                    <a16:creationId xmlns:a16="http://schemas.microsoft.com/office/drawing/2014/main" id="{90091473-029A-46D7-918D-D1B1F2B70C45}"/>
                  </a:ext>
                </a:extLst>
              </p:cNvPr>
              <p:cNvSpPr>
                <a:spLocks noChangeShapeType="1"/>
              </p:cNvSpPr>
              <p:nvPr/>
            </p:nvSpPr>
            <p:spPr bwMode="auto">
              <a:xfrm>
                <a:off x="1276" y="12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93" name="Freeform 2537">
                <a:extLst>
                  <a:ext uri="{FF2B5EF4-FFF2-40B4-BE49-F238E27FC236}">
                    <a16:creationId xmlns:a16="http://schemas.microsoft.com/office/drawing/2014/main" id="{B6877CC3-88CC-4A0D-9EB8-E67059F2382C}"/>
                  </a:ext>
                </a:extLst>
              </p:cNvPr>
              <p:cNvSpPr>
                <a:spLocks/>
              </p:cNvSpPr>
              <p:nvPr/>
            </p:nvSpPr>
            <p:spPr bwMode="auto">
              <a:xfrm>
                <a:off x="1306" y="420"/>
                <a:ext cx="300" cy="570"/>
              </a:xfrm>
              <a:custGeom>
                <a:avLst/>
                <a:gdLst>
                  <a:gd name="T0" fmla="*/ 90 w 300"/>
                  <a:gd name="T1" fmla="*/ 30 h 570"/>
                  <a:gd name="T2" fmla="*/ 240 w 300"/>
                  <a:gd name="T3" fmla="*/ 0 h 570"/>
                  <a:gd name="T4" fmla="*/ 180 w 300"/>
                  <a:gd name="T5" fmla="*/ 180 h 570"/>
                  <a:gd name="T6" fmla="*/ 90 w 300"/>
                  <a:gd name="T7" fmla="*/ 30 h 570"/>
                  <a:gd name="T8" fmla="*/ 30 w 300"/>
                  <a:gd name="T9" fmla="*/ 150 h 570"/>
                  <a:gd name="T10" fmla="*/ 0 w 300"/>
                  <a:gd name="T11" fmla="*/ 330 h 570"/>
                  <a:gd name="T12" fmla="*/ 90 w 300"/>
                  <a:gd name="T13" fmla="*/ 570 h 570"/>
                  <a:gd name="T14" fmla="*/ 150 w 300"/>
                  <a:gd name="T15" fmla="*/ 450 h 570"/>
                  <a:gd name="T16" fmla="*/ 270 w 300"/>
                  <a:gd name="T17" fmla="*/ 240 h 570"/>
                  <a:gd name="T18" fmla="*/ 300 w 300"/>
                  <a:gd name="T19" fmla="*/ 120 h 570"/>
                  <a:gd name="T20" fmla="*/ 240 w 30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570">
                    <a:moveTo>
                      <a:pt x="90" y="30"/>
                    </a:moveTo>
                    <a:lnTo>
                      <a:pt x="240" y="0"/>
                    </a:lnTo>
                    <a:lnTo>
                      <a:pt x="180" y="180"/>
                    </a:lnTo>
                    <a:lnTo>
                      <a:pt x="90" y="30"/>
                    </a:lnTo>
                    <a:lnTo>
                      <a:pt x="30" y="150"/>
                    </a:lnTo>
                    <a:lnTo>
                      <a:pt x="0" y="330"/>
                    </a:lnTo>
                    <a:lnTo>
                      <a:pt x="90" y="570"/>
                    </a:lnTo>
                    <a:lnTo>
                      <a:pt x="150" y="450"/>
                    </a:lnTo>
                    <a:lnTo>
                      <a:pt x="270" y="240"/>
                    </a:lnTo>
                    <a:lnTo>
                      <a:pt x="300" y="12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94" name="Freeform 2538">
                <a:extLst>
                  <a:ext uri="{FF2B5EF4-FFF2-40B4-BE49-F238E27FC236}">
                    <a16:creationId xmlns:a16="http://schemas.microsoft.com/office/drawing/2014/main" id="{DB6A3767-7A96-49D3-BF06-507D0118D1AC}"/>
                  </a:ext>
                </a:extLst>
              </p:cNvPr>
              <p:cNvSpPr>
                <a:spLocks/>
              </p:cNvSpPr>
              <p:nvPr/>
            </p:nvSpPr>
            <p:spPr bwMode="auto">
              <a:xfrm>
                <a:off x="1696" y="300"/>
                <a:ext cx="150" cy="360"/>
              </a:xfrm>
              <a:custGeom>
                <a:avLst/>
                <a:gdLst>
                  <a:gd name="T0" fmla="*/ 0 w 150"/>
                  <a:gd name="T1" fmla="*/ 360 h 360"/>
                  <a:gd name="T2" fmla="*/ 30 w 150"/>
                  <a:gd name="T3" fmla="*/ 180 h 360"/>
                  <a:gd name="T4" fmla="*/ 150 w 150"/>
                  <a:gd name="T5" fmla="*/ 0 h 360"/>
                  <a:gd name="T6" fmla="*/ 30 w 150"/>
                  <a:gd name="T7" fmla="*/ 60 h 360"/>
                </a:gdLst>
                <a:ahLst/>
                <a:cxnLst>
                  <a:cxn ang="0">
                    <a:pos x="T0" y="T1"/>
                  </a:cxn>
                  <a:cxn ang="0">
                    <a:pos x="T2" y="T3"/>
                  </a:cxn>
                  <a:cxn ang="0">
                    <a:pos x="T4" y="T5"/>
                  </a:cxn>
                  <a:cxn ang="0">
                    <a:pos x="T6" y="T7"/>
                  </a:cxn>
                </a:cxnLst>
                <a:rect l="0" t="0" r="r" b="b"/>
                <a:pathLst>
                  <a:path w="150" h="360">
                    <a:moveTo>
                      <a:pt x="0" y="360"/>
                    </a:moveTo>
                    <a:lnTo>
                      <a:pt x="30" y="180"/>
                    </a:lnTo>
                    <a:lnTo>
                      <a:pt x="150" y="0"/>
                    </a:lnTo>
                    <a:lnTo>
                      <a:pt x="3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95" name="Freeform 2539">
                <a:extLst>
                  <a:ext uri="{FF2B5EF4-FFF2-40B4-BE49-F238E27FC236}">
                    <a16:creationId xmlns:a16="http://schemas.microsoft.com/office/drawing/2014/main" id="{AC385AF5-5CB1-49C0-BB81-BE11FA14E303}"/>
                  </a:ext>
                </a:extLst>
              </p:cNvPr>
              <p:cNvSpPr>
                <a:spLocks/>
              </p:cNvSpPr>
              <p:nvPr/>
            </p:nvSpPr>
            <p:spPr bwMode="auto">
              <a:xfrm>
                <a:off x="1456" y="60"/>
                <a:ext cx="390" cy="240"/>
              </a:xfrm>
              <a:custGeom>
                <a:avLst/>
                <a:gdLst>
                  <a:gd name="T0" fmla="*/ 390 w 390"/>
                  <a:gd name="T1" fmla="*/ 210 h 240"/>
                  <a:gd name="T2" fmla="*/ 300 w 390"/>
                  <a:gd name="T3" fmla="*/ 0 h 240"/>
                  <a:gd name="T4" fmla="*/ 0 w 390"/>
                  <a:gd name="T5" fmla="*/ 240 h 240"/>
                </a:gdLst>
                <a:ahLst/>
                <a:cxnLst>
                  <a:cxn ang="0">
                    <a:pos x="T0" y="T1"/>
                  </a:cxn>
                  <a:cxn ang="0">
                    <a:pos x="T2" y="T3"/>
                  </a:cxn>
                  <a:cxn ang="0">
                    <a:pos x="T4" y="T5"/>
                  </a:cxn>
                </a:cxnLst>
                <a:rect l="0" t="0" r="r" b="b"/>
                <a:pathLst>
                  <a:path w="390" h="240">
                    <a:moveTo>
                      <a:pt x="390" y="210"/>
                    </a:moveTo>
                    <a:lnTo>
                      <a:pt x="300" y="0"/>
                    </a:lnTo>
                    <a:lnTo>
                      <a:pt x="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96" name="Freeform 2540">
                <a:extLst>
                  <a:ext uri="{FF2B5EF4-FFF2-40B4-BE49-F238E27FC236}">
                    <a16:creationId xmlns:a16="http://schemas.microsoft.com/office/drawing/2014/main" id="{CC4DC044-E474-4569-93CD-1BCDBD406EE4}"/>
                  </a:ext>
                </a:extLst>
              </p:cNvPr>
              <p:cNvSpPr>
                <a:spLocks/>
              </p:cNvSpPr>
              <p:nvPr/>
            </p:nvSpPr>
            <p:spPr bwMode="auto">
              <a:xfrm>
                <a:off x="3974" y="2700"/>
                <a:ext cx="480" cy="360"/>
              </a:xfrm>
              <a:custGeom>
                <a:avLst/>
                <a:gdLst>
                  <a:gd name="T0" fmla="*/ 0 w 480"/>
                  <a:gd name="T1" fmla="*/ 300 h 360"/>
                  <a:gd name="T2" fmla="*/ 30 w 480"/>
                  <a:gd name="T3" fmla="*/ 150 h 360"/>
                  <a:gd name="T4" fmla="*/ 180 w 480"/>
                  <a:gd name="T5" fmla="*/ 360 h 360"/>
                  <a:gd name="T6" fmla="*/ 330 w 480"/>
                  <a:gd name="T7" fmla="*/ 300 h 360"/>
                  <a:gd name="T8" fmla="*/ 330 w 480"/>
                  <a:gd name="T9" fmla="*/ 210 h 360"/>
                  <a:gd name="T10" fmla="*/ 150 w 480"/>
                  <a:gd name="T11" fmla="*/ 210 h 360"/>
                  <a:gd name="T12" fmla="*/ 420 w 480"/>
                  <a:gd name="T13" fmla="*/ 120 h 360"/>
                  <a:gd name="T14" fmla="*/ 450 w 480"/>
                  <a:gd name="T15" fmla="*/ 270 h 360"/>
                  <a:gd name="T16" fmla="*/ 480 w 480"/>
                  <a:gd name="T1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360">
                    <a:moveTo>
                      <a:pt x="0" y="300"/>
                    </a:moveTo>
                    <a:lnTo>
                      <a:pt x="30" y="150"/>
                    </a:lnTo>
                    <a:lnTo>
                      <a:pt x="180" y="360"/>
                    </a:lnTo>
                    <a:lnTo>
                      <a:pt x="330" y="300"/>
                    </a:lnTo>
                    <a:lnTo>
                      <a:pt x="330" y="210"/>
                    </a:lnTo>
                    <a:lnTo>
                      <a:pt x="150" y="210"/>
                    </a:lnTo>
                    <a:lnTo>
                      <a:pt x="420" y="120"/>
                    </a:lnTo>
                    <a:lnTo>
                      <a:pt x="450" y="270"/>
                    </a:lnTo>
                    <a:lnTo>
                      <a:pt x="4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97" name="Freeform 2541">
                <a:extLst>
                  <a:ext uri="{FF2B5EF4-FFF2-40B4-BE49-F238E27FC236}">
                    <a16:creationId xmlns:a16="http://schemas.microsoft.com/office/drawing/2014/main" id="{AF04D3E8-92D7-4EB7-A0B1-DDC4FDFB42B9}"/>
                  </a:ext>
                </a:extLst>
              </p:cNvPr>
              <p:cNvSpPr>
                <a:spLocks/>
              </p:cNvSpPr>
              <p:nvPr/>
            </p:nvSpPr>
            <p:spPr bwMode="auto">
              <a:xfrm>
                <a:off x="3824" y="1950"/>
                <a:ext cx="570" cy="1260"/>
              </a:xfrm>
              <a:custGeom>
                <a:avLst/>
                <a:gdLst>
                  <a:gd name="T0" fmla="*/ 540 w 570"/>
                  <a:gd name="T1" fmla="*/ 1200 h 1260"/>
                  <a:gd name="T2" fmla="*/ 300 w 570"/>
                  <a:gd name="T3" fmla="*/ 1260 h 1260"/>
                  <a:gd name="T4" fmla="*/ 210 w 570"/>
                  <a:gd name="T5" fmla="*/ 1170 h 1260"/>
                  <a:gd name="T6" fmla="*/ 90 w 570"/>
                  <a:gd name="T7" fmla="*/ 1140 h 1260"/>
                  <a:gd name="T8" fmla="*/ 0 w 570"/>
                  <a:gd name="T9" fmla="*/ 990 h 1260"/>
                  <a:gd name="T10" fmla="*/ 180 w 570"/>
                  <a:gd name="T11" fmla="*/ 900 h 1260"/>
                  <a:gd name="T12" fmla="*/ 180 w 570"/>
                  <a:gd name="T13" fmla="*/ 720 h 1260"/>
                  <a:gd name="T14" fmla="*/ 300 w 570"/>
                  <a:gd name="T15" fmla="*/ 960 h 1260"/>
                  <a:gd name="T16" fmla="*/ 300 w 570"/>
                  <a:gd name="T17" fmla="*/ 750 h 1260"/>
                  <a:gd name="T18" fmla="*/ 480 w 570"/>
                  <a:gd name="T19" fmla="*/ 570 h 1260"/>
                  <a:gd name="T20" fmla="*/ 270 w 570"/>
                  <a:gd name="T21" fmla="*/ 630 h 1260"/>
                  <a:gd name="T22" fmla="*/ 150 w 570"/>
                  <a:gd name="T23" fmla="*/ 600 h 1260"/>
                  <a:gd name="T24" fmla="*/ 360 w 570"/>
                  <a:gd name="T25" fmla="*/ 450 h 1260"/>
                  <a:gd name="T26" fmla="*/ 240 w 570"/>
                  <a:gd name="T27" fmla="*/ 300 h 1260"/>
                  <a:gd name="T28" fmla="*/ 120 w 570"/>
                  <a:gd name="T29" fmla="*/ 360 h 1260"/>
                  <a:gd name="T30" fmla="*/ 360 w 570"/>
                  <a:gd name="T31" fmla="*/ 0 h 1260"/>
                  <a:gd name="T32" fmla="*/ 450 w 570"/>
                  <a:gd name="T33" fmla="*/ 210 h 1260"/>
                  <a:gd name="T34" fmla="*/ 570 w 570"/>
                  <a:gd name="T35" fmla="*/ 60 h 1260"/>
                  <a:gd name="T36" fmla="*/ 540 w 570"/>
                  <a:gd name="T37" fmla="*/ 420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1260">
                    <a:moveTo>
                      <a:pt x="540" y="1200"/>
                    </a:moveTo>
                    <a:lnTo>
                      <a:pt x="300" y="1260"/>
                    </a:lnTo>
                    <a:lnTo>
                      <a:pt x="210" y="1170"/>
                    </a:lnTo>
                    <a:lnTo>
                      <a:pt x="90" y="1140"/>
                    </a:lnTo>
                    <a:lnTo>
                      <a:pt x="0" y="990"/>
                    </a:lnTo>
                    <a:lnTo>
                      <a:pt x="180" y="900"/>
                    </a:lnTo>
                    <a:lnTo>
                      <a:pt x="180" y="720"/>
                    </a:lnTo>
                    <a:lnTo>
                      <a:pt x="300" y="960"/>
                    </a:lnTo>
                    <a:lnTo>
                      <a:pt x="300" y="750"/>
                    </a:lnTo>
                    <a:lnTo>
                      <a:pt x="480" y="570"/>
                    </a:lnTo>
                    <a:lnTo>
                      <a:pt x="270" y="630"/>
                    </a:lnTo>
                    <a:lnTo>
                      <a:pt x="150" y="600"/>
                    </a:lnTo>
                    <a:lnTo>
                      <a:pt x="360" y="450"/>
                    </a:lnTo>
                    <a:lnTo>
                      <a:pt x="240" y="300"/>
                    </a:lnTo>
                    <a:lnTo>
                      <a:pt x="120" y="360"/>
                    </a:lnTo>
                    <a:lnTo>
                      <a:pt x="360" y="0"/>
                    </a:lnTo>
                    <a:lnTo>
                      <a:pt x="450" y="210"/>
                    </a:lnTo>
                    <a:lnTo>
                      <a:pt x="570" y="60"/>
                    </a:lnTo>
                    <a:lnTo>
                      <a:pt x="540"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98" name="Freeform 2542">
                <a:extLst>
                  <a:ext uri="{FF2B5EF4-FFF2-40B4-BE49-F238E27FC236}">
                    <a16:creationId xmlns:a16="http://schemas.microsoft.com/office/drawing/2014/main" id="{BBBE16B5-92AF-4E3A-9A5C-D9EEC1DAD79A}"/>
                  </a:ext>
                </a:extLst>
              </p:cNvPr>
              <p:cNvSpPr>
                <a:spLocks/>
              </p:cNvSpPr>
              <p:nvPr/>
            </p:nvSpPr>
            <p:spPr bwMode="auto">
              <a:xfrm>
                <a:off x="3585" y="1890"/>
                <a:ext cx="869" cy="1320"/>
              </a:xfrm>
              <a:custGeom>
                <a:avLst/>
                <a:gdLst>
                  <a:gd name="T0" fmla="*/ 869 w 869"/>
                  <a:gd name="T1" fmla="*/ 660 h 1320"/>
                  <a:gd name="T2" fmla="*/ 839 w 869"/>
                  <a:gd name="T3" fmla="*/ 300 h 1320"/>
                  <a:gd name="T4" fmla="*/ 809 w 869"/>
                  <a:gd name="T5" fmla="*/ 120 h 1320"/>
                  <a:gd name="T6" fmla="*/ 719 w 869"/>
                  <a:gd name="T7" fmla="*/ 0 h 1320"/>
                  <a:gd name="T8" fmla="*/ 599 w 869"/>
                  <a:gd name="T9" fmla="*/ 60 h 1320"/>
                  <a:gd name="T10" fmla="*/ 599 w 869"/>
                  <a:gd name="T11" fmla="*/ 150 h 1320"/>
                  <a:gd name="T12" fmla="*/ 509 w 869"/>
                  <a:gd name="T13" fmla="*/ 270 h 1320"/>
                  <a:gd name="T14" fmla="*/ 479 w 869"/>
                  <a:gd name="T15" fmla="*/ 360 h 1320"/>
                  <a:gd name="T16" fmla="*/ 599 w 869"/>
                  <a:gd name="T17" fmla="*/ 300 h 1320"/>
                  <a:gd name="T18" fmla="*/ 689 w 869"/>
                  <a:gd name="T19" fmla="*/ 270 h 1320"/>
                  <a:gd name="T20" fmla="*/ 659 w 869"/>
                  <a:gd name="T21" fmla="*/ 420 h 1320"/>
                  <a:gd name="T22" fmla="*/ 779 w 869"/>
                  <a:gd name="T23" fmla="*/ 480 h 1320"/>
                  <a:gd name="T24" fmla="*/ 869 w 869"/>
                  <a:gd name="T25" fmla="*/ 660 h 1320"/>
                  <a:gd name="T26" fmla="*/ 719 w 869"/>
                  <a:gd name="T27" fmla="*/ 630 h 1320"/>
                  <a:gd name="T28" fmla="*/ 599 w 869"/>
                  <a:gd name="T29" fmla="*/ 510 h 1320"/>
                  <a:gd name="T30" fmla="*/ 539 w 869"/>
                  <a:gd name="T31" fmla="*/ 600 h 1320"/>
                  <a:gd name="T32" fmla="*/ 509 w 869"/>
                  <a:gd name="T33" fmla="*/ 690 h 1320"/>
                  <a:gd name="T34" fmla="*/ 539 w 869"/>
                  <a:gd name="T35" fmla="*/ 810 h 1320"/>
                  <a:gd name="T36" fmla="*/ 269 w 869"/>
                  <a:gd name="T37" fmla="*/ 870 h 1320"/>
                  <a:gd name="T38" fmla="*/ 419 w 869"/>
                  <a:gd name="T39" fmla="*/ 960 h 1320"/>
                  <a:gd name="T40" fmla="*/ 539 w 869"/>
                  <a:gd name="T41" fmla="*/ 1020 h 1320"/>
                  <a:gd name="T42" fmla="*/ 599 w 869"/>
                  <a:gd name="T43" fmla="*/ 930 h 1320"/>
                  <a:gd name="T44" fmla="*/ 719 w 869"/>
                  <a:gd name="T45" fmla="*/ 840 h 1320"/>
                  <a:gd name="T46" fmla="*/ 779 w 869"/>
                  <a:gd name="T47" fmla="*/ 750 h 1320"/>
                  <a:gd name="T48" fmla="*/ 869 w 869"/>
                  <a:gd name="T49" fmla="*/ 810 h 1320"/>
                  <a:gd name="T50" fmla="*/ 809 w 869"/>
                  <a:gd name="T51" fmla="*/ 930 h 1320"/>
                  <a:gd name="T52" fmla="*/ 719 w 869"/>
                  <a:gd name="T53" fmla="*/ 1020 h 1320"/>
                  <a:gd name="T54" fmla="*/ 839 w 869"/>
                  <a:gd name="T55" fmla="*/ 1080 h 1320"/>
                  <a:gd name="T56" fmla="*/ 719 w 869"/>
                  <a:gd name="T57" fmla="*/ 1110 h 1320"/>
                  <a:gd name="T58" fmla="*/ 779 w 869"/>
                  <a:gd name="T59" fmla="*/ 1260 h 1320"/>
                  <a:gd name="T60" fmla="*/ 689 w 869"/>
                  <a:gd name="T61" fmla="*/ 1230 h 1320"/>
                  <a:gd name="T62" fmla="*/ 539 w 869"/>
                  <a:gd name="T63" fmla="*/ 1320 h 1320"/>
                  <a:gd name="T64" fmla="*/ 569 w 869"/>
                  <a:gd name="T65" fmla="*/ 1170 h 1320"/>
                  <a:gd name="T66" fmla="*/ 449 w 869"/>
                  <a:gd name="T67" fmla="*/ 1230 h 1320"/>
                  <a:gd name="T68" fmla="*/ 389 w 869"/>
                  <a:gd name="T69" fmla="*/ 1110 h 1320"/>
                  <a:gd name="T70" fmla="*/ 329 w 869"/>
                  <a:gd name="T71" fmla="*/ 1200 h 1320"/>
                  <a:gd name="T72" fmla="*/ 299 w 869"/>
                  <a:gd name="T73" fmla="*/ 960 h 1320"/>
                  <a:gd name="T74" fmla="*/ 239 w 869"/>
                  <a:gd name="T75" fmla="*/ 1050 h 1320"/>
                  <a:gd name="T76" fmla="*/ 269 w 869"/>
                  <a:gd name="T77" fmla="*/ 870 h 1320"/>
                  <a:gd name="T78" fmla="*/ 419 w 869"/>
                  <a:gd name="T79" fmla="*/ 780 h 1320"/>
                  <a:gd name="T80" fmla="*/ 239 w 869"/>
                  <a:gd name="T81" fmla="*/ 690 h 1320"/>
                  <a:gd name="T82" fmla="*/ 269 w 869"/>
                  <a:gd name="T83" fmla="*/ 870 h 1320"/>
                  <a:gd name="T84" fmla="*/ 389 w 869"/>
                  <a:gd name="T85" fmla="*/ 660 h 1320"/>
                  <a:gd name="T86" fmla="*/ 419 w 869"/>
                  <a:gd name="T87" fmla="*/ 540 h 1320"/>
                  <a:gd name="T88" fmla="*/ 359 w 869"/>
                  <a:gd name="T89" fmla="*/ 420 h 1320"/>
                  <a:gd name="T90" fmla="*/ 389 w 869"/>
                  <a:gd name="T91" fmla="*/ 270 h 1320"/>
                  <a:gd name="T92" fmla="*/ 239 w 869"/>
                  <a:gd name="T93" fmla="*/ 150 h 1320"/>
                  <a:gd name="T94" fmla="*/ 150 w 869"/>
                  <a:gd name="T95" fmla="*/ 270 h 1320"/>
                  <a:gd name="T96" fmla="*/ 0 w 869"/>
                  <a:gd name="T97" fmla="*/ 360 h 1320"/>
                  <a:gd name="T98" fmla="*/ 0 w 869"/>
                  <a:gd name="T99" fmla="*/ 510 h 1320"/>
                  <a:gd name="T100" fmla="*/ 120 w 869"/>
                  <a:gd name="T101" fmla="*/ 420 h 1320"/>
                  <a:gd name="T102" fmla="*/ 269 w 869"/>
                  <a:gd name="T103" fmla="*/ 300 h 1320"/>
                  <a:gd name="T104" fmla="*/ 239 w 869"/>
                  <a:gd name="T105" fmla="*/ 15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9" h="1320">
                    <a:moveTo>
                      <a:pt x="869" y="660"/>
                    </a:moveTo>
                    <a:lnTo>
                      <a:pt x="839" y="300"/>
                    </a:lnTo>
                    <a:lnTo>
                      <a:pt x="809" y="120"/>
                    </a:lnTo>
                    <a:lnTo>
                      <a:pt x="719" y="0"/>
                    </a:lnTo>
                    <a:lnTo>
                      <a:pt x="599" y="60"/>
                    </a:lnTo>
                    <a:lnTo>
                      <a:pt x="599" y="150"/>
                    </a:lnTo>
                    <a:lnTo>
                      <a:pt x="509" y="270"/>
                    </a:lnTo>
                    <a:lnTo>
                      <a:pt x="479" y="360"/>
                    </a:lnTo>
                    <a:lnTo>
                      <a:pt x="599" y="300"/>
                    </a:lnTo>
                    <a:lnTo>
                      <a:pt x="689" y="270"/>
                    </a:lnTo>
                    <a:lnTo>
                      <a:pt x="659" y="420"/>
                    </a:lnTo>
                    <a:lnTo>
                      <a:pt x="779" y="480"/>
                    </a:lnTo>
                    <a:lnTo>
                      <a:pt x="869" y="660"/>
                    </a:lnTo>
                    <a:lnTo>
                      <a:pt x="719" y="630"/>
                    </a:lnTo>
                    <a:lnTo>
                      <a:pt x="599" y="510"/>
                    </a:lnTo>
                    <a:lnTo>
                      <a:pt x="539" y="600"/>
                    </a:lnTo>
                    <a:lnTo>
                      <a:pt x="509" y="690"/>
                    </a:lnTo>
                    <a:lnTo>
                      <a:pt x="539" y="810"/>
                    </a:lnTo>
                    <a:lnTo>
                      <a:pt x="269" y="870"/>
                    </a:lnTo>
                    <a:lnTo>
                      <a:pt x="419" y="960"/>
                    </a:lnTo>
                    <a:lnTo>
                      <a:pt x="539" y="1020"/>
                    </a:lnTo>
                    <a:lnTo>
                      <a:pt x="599" y="930"/>
                    </a:lnTo>
                    <a:lnTo>
                      <a:pt x="719" y="840"/>
                    </a:lnTo>
                    <a:lnTo>
                      <a:pt x="779" y="750"/>
                    </a:lnTo>
                    <a:lnTo>
                      <a:pt x="869" y="810"/>
                    </a:lnTo>
                    <a:lnTo>
                      <a:pt x="809" y="930"/>
                    </a:lnTo>
                    <a:lnTo>
                      <a:pt x="719" y="1020"/>
                    </a:lnTo>
                    <a:lnTo>
                      <a:pt x="839" y="1080"/>
                    </a:lnTo>
                    <a:lnTo>
                      <a:pt x="719" y="1110"/>
                    </a:lnTo>
                    <a:lnTo>
                      <a:pt x="779" y="1260"/>
                    </a:lnTo>
                    <a:lnTo>
                      <a:pt x="689" y="1230"/>
                    </a:lnTo>
                    <a:lnTo>
                      <a:pt x="539" y="1320"/>
                    </a:lnTo>
                    <a:lnTo>
                      <a:pt x="569" y="1170"/>
                    </a:lnTo>
                    <a:lnTo>
                      <a:pt x="449" y="1230"/>
                    </a:lnTo>
                    <a:lnTo>
                      <a:pt x="389" y="1110"/>
                    </a:lnTo>
                    <a:lnTo>
                      <a:pt x="329" y="1200"/>
                    </a:lnTo>
                    <a:lnTo>
                      <a:pt x="299" y="960"/>
                    </a:lnTo>
                    <a:lnTo>
                      <a:pt x="239" y="1050"/>
                    </a:lnTo>
                    <a:lnTo>
                      <a:pt x="269" y="870"/>
                    </a:lnTo>
                    <a:lnTo>
                      <a:pt x="419" y="780"/>
                    </a:lnTo>
                    <a:lnTo>
                      <a:pt x="239" y="690"/>
                    </a:lnTo>
                    <a:lnTo>
                      <a:pt x="269" y="870"/>
                    </a:lnTo>
                    <a:lnTo>
                      <a:pt x="389" y="660"/>
                    </a:lnTo>
                    <a:lnTo>
                      <a:pt x="419" y="540"/>
                    </a:lnTo>
                    <a:lnTo>
                      <a:pt x="359" y="420"/>
                    </a:lnTo>
                    <a:lnTo>
                      <a:pt x="389" y="270"/>
                    </a:lnTo>
                    <a:lnTo>
                      <a:pt x="239" y="150"/>
                    </a:lnTo>
                    <a:lnTo>
                      <a:pt x="150" y="270"/>
                    </a:lnTo>
                    <a:lnTo>
                      <a:pt x="0" y="360"/>
                    </a:lnTo>
                    <a:lnTo>
                      <a:pt x="0" y="510"/>
                    </a:lnTo>
                    <a:lnTo>
                      <a:pt x="120" y="420"/>
                    </a:lnTo>
                    <a:lnTo>
                      <a:pt x="269" y="300"/>
                    </a:lnTo>
                    <a:lnTo>
                      <a:pt x="239"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99" name="Freeform 2543">
                <a:extLst>
                  <a:ext uri="{FF2B5EF4-FFF2-40B4-BE49-F238E27FC236}">
                    <a16:creationId xmlns:a16="http://schemas.microsoft.com/office/drawing/2014/main" id="{9A9108A9-5CE1-41F5-8783-790DC54B3280}"/>
                  </a:ext>
                </a:extLst>
              </p:cNvPr>
              <p:cNvSpPr>
                <a:spLocks/>
              </p:cNvSpPr>
              <p:nvPr/>
            </p:nvSpPr>
            <p:spPr bwMode="auto">
              <a:xfrm>
                <a:off x="4004" y="2250"/>
                <a:ext cx="390" cy="570"/>
              </a:xfrm>
              <a:custGeom>
                <a:avLst/>
                <a:gdLst>
                  <a:gd name="T0" fmla="*/ 120 w 390"/>
                  <a:gd name="T1" fmla="*/ 450 h 570"/>
                  <a:gd name="T2" fmla="*/ 300 w 390"/>
                  <a:gd name="T3" fmla="*/ 480 h 570"/>
                  <a:gd name="T4" fmla="*/ 390 w 390"/>
                  <a:gd name="T5" fmla="*/ 570 h 570"/>
                  <a:gd name="T6" fmla="*/ 180 w 390"/>
                  <a:gd name="T7" fmla="*/ 570 h 570"/>
                  <a:gd name="T8" fmla="*/ 300 w 390"/>
                  <a:gd name="T9" fmla="*/ 270 h 570"/>
                  <a:gd name="T10" fmla="*/ 300 w 390"/>
                  <a:gd name="T11" fmla="*/ 480 h 570"/>
                  <a:gd name="T12" fmla="*/ 120 w 390"/>
                  <a:gd name="T13" fmla="*/ 240 h 570"/>
                  <a:gd name="T14" fmla="*/ 60 w 390"/>
                  <a:gd name="T15" fmla="*/ 0 h 570"/>
                  <a:gd name="T16" fmla="*/ 0 w 390"/>
                  <a:gd name="T17" fmla="*/ 18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70">
                    <a:moveTo>
                      <a:pt x="120" y="450"/>
                    </a:moveTo>
                    <a:lnTo>
                      <a:pt x="300" y="480"/>
                    </a:lnTo>
                    <a:lnTo>
                      <a:pt x="390" y="570"/>
                    </a:lnTo>
                    <a:lnTo>
                      <a:pt x="180" y="570"/>
                    </a:lnTo>
                    <a:lnTo>
                      <a:pt x="300" y="270"/>
                    </a:lnTo>
                    <a:lnTo>
                      <a:pt x="300" y="480"/>
                    </a:lnTo>
                    <a:lnTo>
                      <a:pt x="120" y="240"/>
                    </a:lnTo>
                    <a:lnTo>
                      <a:pt x="60" y="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00" name="Freeform 2544">
                <a:extLst>
                  <a:ext uri="{FF2B5EF4-FFF2-40B4-BE49-F238E27FC236}">
                    <a16:creationId xmlns:a16="http://schemas.microsoft.com/office/drawing/2014/main" id="{5BDE27B2-B3B0-4DC9-84DF-0714414256CE}"/>
                  </a:ext>
                </a:extLst>
              </p:cNvPr>
              <p:cNvSpPr>
                <a:spLocks/>
              </p:cNvSpPr>
              <p:nvPr/>
            </p:nvSpPr>
            <p:spPr bwMode="auto">
              <a:xfrm>
                <a:off x="3884" y="2850"/>
                <a:ext cx="420" cy="210"/>
              </a:xfrm>
              <a:custGeom>
                <a:avLst/>
                <a:gdLst>
                  <a:gd name="T0" fmla="*/ 0 w 420"/>
                  <a:gd name="T1" fmla="*/ 0 h 210"/>
                  <a:gd name="T2" fmla="*/ 90 w 420"/>
                  <a:gd name="T3" fmla="*/ 150 h 210"/>
                  <a:gd name="T4" fmla="*/ 270 w 420"/>
                  <a:gd name="T5" fmla="*/ 210 h 210"/>
                  <a:gd name="T6" fmla="*/ 420 w 420"/>
                  <a:gd name="T7" fmla="*/ 60 h 210"/>
                </a:gdLst>
                <a:ahLst/>
                <a:cxnLst>
                  <a:cxn ang="0">
                    <a:pos x="T0" y="T1"/>
                  </a:cxn>
                  <a:cxn ang="0">
                    <a:pos x="T2" y="T3"/>
                  </a:cxn>
                  <a:cxn ang="0">
                    <a:pos x="T4" y="T5"/>
                  </a:cxn>
                  <a:cxn ang="0">
                    <a:pos x="T6" y="T7"/>
                  </a:cxn>
                </a:cxnLst>
                <a:rect l="0" t="0" r="r" b="b"/>
                <a:pathLst>
                  <a:path w="420" h="210">
                    <a:moveTo>
                      <a:pt x="0" y="0"/>
                    </a:moveTo>
                    <a:lnTo>
                      <a:pt x="90" y="150"/>
                    </a:lnTo>
                    <a:lnTo>
                      <a:pt x="270" y="210"/>
                    </a:lnTo>
                    <a:lnTo>
                      <a:pt x="4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01" name="Freeform 2545">
                <a:extLst>
                  <a:ext uri="{FF2B5EF4-FFF2-40B4-BE49-F238E27FC236}">
                    <a16:creationId xmlns:a16="http://schemas.microsoft.com/office/drawing/2014/main" id="{D1EC59AD-8AA2-464C-874D-A589D3C14DF9}"/>
                  </a:ext>
                </a:extLst>
              </p:cNvPr>
              <p:cNvSpPr>
                <a:spLocks/>
              </p:cNvSpPr>
              <p:nvPr/>
            </p:nvSpPr>
            <p:spPr bwMode="auto">
              <a:xfrm>
                <a:off x="4124" y="2910"/>
                <a:ext cx="180" cy="210"/>
              </a:xfrm>
              <a:custGeom>
                <a:avLst/>
                <a:gdLst>
                  <a:gd name="T0" fmla="*/ 150 w 180"/>
                  <a:gd name="T1" fmla="*/ 210 h 210"/>
                  <a:gd name="T2" fmla="*/ 30 w 180"/>
                  <a:gd name="T3" fmla="*/ 150 h 210"/>
                  <a:gd name="T4" fmla="*/ 0 w 180"/>
                  <a:gd name="T5" fmla="*/ 0 h 210"/>
                  <a:gd name="T6" fmla="*/ 180 w 180"/>
                  <a:gd name="T7" fmla="*/ 90 h 210"/>
                </a:gdLst>
                <a:ahLst/>
                <a:cxnLst>
                  <a:cxn ang="0">
                    <a:pos x="T0" y="T1"/>
                  </a:cxn>
                  <a:cxn ang="0">
                    <a:pos x="T2" y="T3"/>
                  </a:cxn>
                  <a:cxn ang="0">
                    <a:pos x="T4" y="T5"/>
                  </a:cxn>
                  <a:cxn ang="0">
                    <a:pos x="T6" y="T7"/>
                  </a:cxn>
                </a:cxnLst>
                <a:rect l="0" t="0" r="r" b="b"/>
                <a:pathLst>
                  <a:path w="180" h="210">
                    <a:moveTo>
                      <a:pt x="150" y="210"/>
                    </a:moveTo>
                    <a:lnTo>
                      <a:pt x="30" y="150"/>
                    </a:lnTo>
                    <a:lnTo>
                      <a:pt x="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02" name="Line 2546">
                <a:extLst>
                  <a:ext uri="{FF2B5EF4-FFF2-40B4-BE49-F238E27FC236}">
                    <a16:creationId xmlns:a16="http://schemas.microsoft.com/office/drawing/2014/main" id="{C199D30A-33AC-424E-9E08-1675CA466B73}"/>
                  </a:ext>
                </a:extLst>
              </p:cNvPr>
              <p:cNvSpPr>
                <a:spLocks noChangeShapeType="1"/>
              </p:cNvSpPr>
              <p:nvPr/>
            </p:nvSpPr>
            <p:spPr bwMode="auto">
              <a:xfrm flipV="1">
                <a:off x="4364"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03" name="Freeform 2547">
                <a:extLst>
                  <a:ext uri="{FF2B5EF4-FFF2-40B4-BE49-F238E27FC236}">
                    <a16:creationId xmlns:a16="http://schemas.microsoft.com/office/drawing/2014/main" id="{0C93C673-6593-4008-8833-B1CB08162F34}"/>
                  </a:ext>
                </a:extLst>
              </p:cNvPr>
              <p:cNvSpPr>
                <a:spLocks/>
              </p:cNvSpPr>
              <p:nvPr/>
            </p:nvSpPr>
            <p:spPr bwMode="auto">
              <a:xfrm>
                <a:off x="3944" y="2160"/>
                <a:ext cx="300" cy="150"/>
              </a:xfrm>
              <a:custGeom>
                <a:avLst/>
                <a:gdLst>
                  <a:gd name="T0" fmla="*/ 0 w 300"/>
                  <a:gd name="T1" fmla="*/ 150 h 150"/>
                  <a:gd name="T2" fmla="*/ 300 w 300"/>
                  <a:gd name="T3" fmla="*/ 150 h 150"/>
                  <a:gd name="T4" fmla="*/ 240 w 300"/>
                  <a:gd name="T5" fmla="*/ 30 h 150"/>
                  <a:gd name="T6" fmla="*/ 150 w 300"/>
                  <a:gd name="T7" fmla="*/ 0 h 150"/>
                  <a:gd name="T8" fmla="*/ 30 w 300"/>
                  <a:gd name="T9" fmla="*/ 0 h 150"/>
                </a:gdLst>
                <a:ahLst/>
                <a:cxnLst>
                  <a:cxn ang="0">
                    <a:pos x="T0" y="T1"/>
                  </a:cxn>
                  <a:cxn ang="0">
                    <a:pos x="T2" y="T3"/>
                  </a:cxn>
                  <a:cxn ang="0">
                    <a:pos x="T4" y="T5"/>
                  </a:cxn>
                  <a:cxn ang="0">
                    <a:pos x="T6" y="T7"/>
                  </a:cxn>
                  <a:cxn ang="0">
                    <a:pos x="T8" y="T9"/>
                  </a:cxn>
                </a:cxnLst>
                <a:rect l="0" t="0" r="r" b="b"/>
                <a:pathLst>
                  <a:path w="300" h="150">
                    <a:moveTo>
                      <a:pt x="0" y="150"/>
                    </a:moveTo>
                    <a:lnTo>
                      <a:pt x="300" y="150"/>
                    </a:lnTo>
                    <a:lnTo>
                      <a:pt x="240" y="30"/>
                    </a:lnTo>
                    <a:lnTo>
                      <a:pt x="150" y="0"/>
                    </a:lnTo>
                    <a:lnTo>
                      <a:pt x="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04" name="Freeform 2548">
                <a:extLst>
                  <a:ext uri="{FF2B5EF4-FFF2-40B4-BE49-F238E27FC236}">
                    <a16:creationId xmlns:a16="http://schemas.microsoft.com/office/drawing/2014/main" id="{A46B8EDB-7FBD-48F1-A02B-2ECED72817B8}"/>
                  </a:ext>
                </a:extLst>
              </p:cNvPr>
              <p:cNvSpPr>
                <a:spLocks/>
              </p:cNvSpPr>
              <p:nvPr/>
            </p:nvSpPr>
            <p:spPr bwMode="auto">
              <a:xfrm>
                <a:off x="3914" y="510"/>
                <a:ext cx="180" cy="390"/>
              </a:xfrm>
              <a:custGeom>
                <a:avLst/>
                <a:gdLst>
                  <a:gd name="T0" fmla="*/ 0 w 180"/>
                  <a:gd name="T1" fmla="*/ 270 h 390"/>
                  <a:gd name="T2" fmla="*/ 180 w 180"/>
                  <a:gd name="T3" fmla="*/ 390 h 390"/>
                  <a:gd name="T4" fmla="*/ 30 w 180"/>
                  <a:gd name="T5" fmla="*/ 120 h 390"/>
                  <a:gd name="T6" fmla="*/ 150 w 180"/>
                  <a:gd name="T7" fmla="*/ 0 h 390"/>
                </a:gdLst>
                <a:ahLst/>
                <a:cxnLst>
                  <a:cxn ang="0">
                    <a:pos x="T0" y="T1"/>
                  </a:cxn>
                  <a:cxn ang="0">
                    <a:pos x="T2" y="T3"/>
                  </a:cxn>
                  <a:cxn ang="0">
                    <a:pos x="T4" y="T5"/>
                  </a:cxn>
                  <a:cxn ang="0">
                    <a:pos x="T6" y="T7"/>
                  </a:cxn>
                </a:cxnLst>
                <a:rect l="0" t="0" r="r" b="b"/>
                <a:pathLst>
                  <a:path w="180" h="390">
                    <a:moveTo>
                      <a:pt x="0" y="270"/>
                    </a:moveTo>
                    <a:lnTo>
                      <a:pt x="180" y="390"/>
                    </a:lnTo>
                    <a:lnTo>
                      <a:pt x="30" y="12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05" name="Freeform 2549">
                <a:extLst>
                  <a:ext uri="{FF2B5EF4-FFF2-40B4-BE49-F238E27FC236}">
                    <a16:creationId xmlns:a16="http://schemas.microsoft.com/office/drawing/2014/main" id="{E787C4C5-6026-49A7-9D3B-CA50F6534660}"/>
                  </a:ext>
                </a:extLst>
              </p:cNvPr>
              <p:cNvSpPr>
                <a:spLocks/>
              </p:cNvSpPr>
              <p:nvPr/>
            </p:nvSpPr>
            <p:spPr bwMode="auto">
              <a:xfrm>
                <a:off x="3974" y="870"/>
                <a:ext cx="300" cy="330"/>
              </a:xfrm>
              <a:custGeom>
                <a:avLst/>
                <a:gdLst>
                  <a:gd name="T0" fmla="*/ 300 w 300"/>
                  <a:gd name="T1" fmla="*/ 0 h 330"/>
                  <a:gd name="T2" fmla="*/ 240 w 300"/>
                  <a:gd name="T3" fmla="*/ 120 h 330"/>
                  <a:gd name="T4" fmla="*/ 180 w 300"/>
                  <a:gd name="T5" fmla="*/ 330 h 330"/>
                  <a:gd name="T6" fmla="*/ 0 w 300"/>
                  <a:gd name="T7" fmla="*/ 270 h 330"/>
                </a:gdLst>
                <a:ahLst/>
                <a:cxnLst>
                  <a:cxn ang="0">
                    <a:pos x="T0" y="T1"/>
                  </a:cxn>
                  <a:cxn ang="0">
                    <a:pos x="T2" y="T3"/>
                  </a:cxn>
                  <a:cxn ang="0">
                    <a:pos x="T4" y="T5"/>
                  </a:cxn>
                  <a:cxn ang="0">
                    <a:pos x="T6" y="T7"/>
                  </a:cxn>
                </a:cxnLst>
                <a:rect l="0" t="0" r="r" b="b"/>
                <a:pathLst>
                  <a:path w="300" h="330">
                    <a:moveTo>
                      <a:pt x="300" y="0"/>
                    </a:moveTo>
                    <a:lnTo>
                      <a:pt x="240" y="120"/>
                    </a:lnTo>
                    <a:lnTo>
                      <a:pt x="180" y="33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06" name="Freeform 2550">
                <a:extLst>
                  <a:ext uri="{FF2B5EF4-FFF2-40B4-BE49-F238E27FC236}">
                    <a16:creationId xmlns:a16="http://schemas.microsoft.com/office/drawing/2014/main" id="{8CAC9EDF-2B6B-4642-AF32-0FA063551CAC}"/>
                  </a:ext>
                </a:extLst>
              </p:cNvPr>
              <p:cNvSpPr>
                <a:spLocks/>
              </p:cNvSpPr>
              <p:nvPr/>
            </p:nvSpPr>
            <p:spPr bwMode="auto">
              <a:xfrm>
                <a:off x="3824" y="1050"/>
                <a:ext cx="600" cy="750"/>
              </a:xfrm>
              <a:custGeom>
                <a:avLst/>
                <a:gdLst>
                  <a:gd name="T0" fmla="*/ 600 w 600"/>
                  <a:gd name="T1" fmla="*/ 750 h 750"/>
                  <a:gd name="T2" fmla="*/ 570 w 600"/>
                  <a:gd name="T3" fmla="*/ 630 h 750"/>
                  <a:gd name="T4" fmla="*/ 330 w 600"/>
                  <a:gd name="T5" fmla="*/ 750 h 750"/>
                  <a:gd name="T6" fmla="*/ 270 w 600"/>
                  <a:gd name="T7" fmla="*/ 660 h 750"/>
                  <a:gd name="T8" fmla="*/ 180 w 600"/>
                  <a:gd name="T9" fmla="*/ 540 h 750"/>
                  <a:gd name="T10" fmla="*/ 150 w 600"/>
                  <a:gd name="T11" fmla="*/ 90 h 750"/>
                  <a:gd name="T12" fmla="*/ 0 w 600"/>
                  <a:gd name="T13" fmla="*/ 180 h 750"/>
                  <a:gd name="T14" fmla="*/ 210 w 600"/>
                  <a:gd name="T15" fmla="*/ 300 h 750"/>
                  <a:gd name="T16" fmla="*/ 240 w 600"/>
                  <a:gd name="T17"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0" h="750">
                    <a:moveTo>
                      <a:pt x="600" y="750"/>
                    </a:moveTo>
                    <a:lnTo>
                      <a:pt x="570" y="630"/>
                    </a:lnTo>
                    <a:lnTo>
                      <a:pt x="330" y="750"/>
                    </a:lnTo>
                    <a:lnTo>
                      <a:pt x="270" y="660"/>
                    </a:lnTo>
                    <a:lnTo>
                      <a:pt x="180" y="540"/>
                    </a:lnTo>
                    <a:lnTo>
                      <a:pt x="150" y="90"/>
                    </a:lnTo>
                    <a:lnTo>
                      <a:pt x="0" y="180"/>
                    </a:lnTo>
                    <a:lnTo>
                      <a:pt x="210" y="30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07" name="Freeform 2551">
                <a:extLst>
                  <a:ext uri="{FF2B5EF4-FFF2-40B4-BE49-F238E27FC236}">
                    <a16:creationId xmlns:a16="http://schemas.microsoft.com/office/drawing/2014/main" id="{AEC0500D-B067-4084-B0D9-0A4687807062}"/>
                  </a:ext>
                </a:extLst>
              </p:cNvPr>
              <p:cNvSpPr>
                <a:spLocks/>
              </p:cNvSpPr>
              <p:nvPr/>
            </p:nvSpPr>
            <p:spPr bwMode="auto">
              <a:xfrm>
                <a:off x="3884" y="1530"/>
                <a:ext cx="450" cy="420"/>
              </a:xfrm>
              <a:custGeom>
                <a:avLst/>
                <a:gdLst>
                  <a:gd name="T0" fmla="*/ 270 w 450"/>
                  <a:gd name="T1" fmla="*/ 270 h 420"/>
                  <a:gd name="T2" fmla="*/ 60 w 450"/>
                  <a:gd name="T3" fmla="*/ 270 h 420"/>
                  <a:gd name="T4" fmla="*/ 120 w 450"/>
                  <a:gd name="T5" fmla="*/ 60 h 420"/>
                  <a:gd name="T6" fmla="*/ 0 w 450"/>
                  <a:gd name="T7" fmla="*/ 0 h 420"/>
                  <a:gd name="T8" fmla="*/ 300 w 450"/>
                  <a:gd name="T9" fmla="*/ 420 h 420"/>
                  <a:gd name="T10" fmla="*/ 450 w 450"/>
                  <a:gd name="T11" fmla="*/ 0 h 420"/>
                </a:gdLst>
                <a:ahLst/>
                <a:cxnLst>
                  <a:cxn ang="0">
                    <a:pos x="T0" y="T1"/>
                  </a:cxn>
                  <a:cxn ang="0">
                    <a:pos x="T2" y="T3"/>
                  </a:cxn>
                  <a:cxn ang="0">
                    <a:pos x="T4" y="T5"/>
                  </a:cxn>
                  <a:cxn ang="0">
                    <a:pos x="T6" y="T7"/>
                  </a:cxn>
                  <a:cxn ang="0">
                    <a:pos x="T8" y="T9"/>
                  </a:cxn>
                  <a:cxn ang="0">
                    <a:pos x="T10" y="T11"/>
                  </a:cxn>
                </a:cxnLst>
                <a:rect l="0" t="0" r="r" b="b"/>
                <a:pathLst>
                  <a:path w="450" h="420">
                    <a:moveTo>
                      <a:pt x="270" y="270"/>
                    </a:moveTo>
                    <a:lnTo>
                      <a:pt x="60" y="270"/>
                    </a:lnTo>
                    <a:lnTo>
                      <a:pt x="120" y="60"/>
                    </a:lnTo>
                    <a:lnTo>
                      <a:pt x="0" y="0"/>
                    </a:lnTo>
                    <a:lnTo>
                      <a:pt x="300" y="42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08" name="Freeform 2552">
                <a:extLst>
                  <a:ext uri="{FF2B5EF4-FFF2-40B4-BE49-F238E27FC236}">
                    <a16:creationId xmlns:a16="http://schemas.microsoft.com/office/drawing/2014/main" id="{7DABA295-162D-4814-8CDB-25A6B8FAE065}"/>
                  </a:ext>
                </a:extLst>
              </p:cNvPr>
              <p:cNvSpPr>
                <a:spLocks/>
              </p:cNvSpPr>
              <p:nvPr/>
            </p:nvSpPr>
            <p:spPr bwMode="auto">
              <a:xfrm>
                <a:off x="4004" y="1410"/>
                <a:ext cx="210" cy="210"/>
              </a:xfrm>
              <a:custGeom>
                <a:avLst/>
                <a:gdLst>
                  <a:gd name="T0" fmla="*/ 0 w 210"/>
                  <a:gd name="T1" fmla="*/ 180 h 210"/>
                  <a:gd name="T2" fmla="*/ 150 w 210"/>
                  <a:gd name="T3" fmla="*/ 0 h 210"/>
                  <a:gd name="T4" fmla="*/ 210 w 210"/>
                  <a:gd name="T5" fmla="*/ 210 h 210"/>
                </a:gdLst>
                <a:ahLst/>
                <a:cxnLst>
                  <a:cxn ang="0">
                    <a:pos x="T0" y="T1"/>
                  </a:cxn>
                  <a:cxn ang="0">
                    <a:pos x="T2" y="T3"/>
                  </a:cxn>
                  <a:cxn ang="0">
                    <a:pos x="T4" y="T5"/>
                  </a:cxn>
                </a:cxnLst>
                <a:rect l="0" t="0" r="r" b="b"/>
                <a:pathLst>
                  <a:path w="210" h="210">
                    <a:moveTo>
                      <a:pt x="0" y="180"/>
                    </a:moveTo>
                    <a:lnTo>
                      <a:pt x="150" y="0"/>
                    </a:lnTo>
                    <a:lnTo>
                      <a:pt x="21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09" name="Freeform 2553">
                <a:extLst>
                  <a:ext uri="{FF2B5EF4-FFF2-40B4-BE49-F238E27FC236}">
                    <a16:creationId xmlns:a16="http://schemas.microsoft.com/office/drawing/2014/main" id="{2186F3C6-C47F-441D-980D-6F9D7ED75C86}"/>
                  </a:ext>
                </a:extLst>
              </p:cNvPr>
              <p:cNvSpPr>
                <a:spLocks/>
              </p:cNvSpPr>
              <p:nvPr/>
            </p:nvSpPr>
            <p:spPr bwMode="auto">
              <a:xfrm>
                <a:off x="4004" y="1710"/>
                <a:ext cx="90" cy="450"/>
              </a:xfrm>
              <a:custGeom>
                <a:avLst/>
                <a:gdLst>
                  <a:gd name="T0" fmla="*/ 90 w 90"/>
                  <a:gd name="T1" fmla="*/ 0 h 450"/>
                  <a:gd name="T2" fmla="*/ 0 w 90"/>
                  <a:gd name="T3" fmla="*/ 240 h 450"/>
                  <a:gd name="T4" fmla="*/ 90 w 90"/>
                  <a:gd name="T5" fmla="*/ 450 h 450"/>
                </a:gdLst>
                <a:ahLst/>
                <a:cxnLst>
                  <a:cxn ang="0">
                    <a:pos x="T0" y="T1"/>
                  </a:cxn>
                  <a:cxn ang="0">
                    <a:pos x="T2" y="T3"/>
                  </a:cxn>
                  <a:cxn ang="0">
                    <a:pos x="T4" y="T5"/>
                  </a:cxn>
                </a:cxnLst>
                <a:rect l="0" t="0" r="r" b="b"/>
                <a:pathLst>
                  <a:path w="90" h="450">
                    <a:moveTo>
                      <a:pt x="90" y="0"/>
                    </a:moveTo>
                    <a:lnTo>
                      <a:pt x="0" y="240"/>
                    </a:lnTo>
                    <a:lnTo>
                      <a:pt x="90" y="4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10" name="Freeform 2554">
                <a:extLst>
                  <a:ext uri="{FF2B5EF4-FFF2-40B4-BE49-F238E27FC236}">
                    <a16:creationId xmlns:a16="http://schemas.microsoft.com/office/drawing/2014/main" id="{54C16F85-3B79-4BB8-B69E-37D342392FED}"/>
                  </a:ext>
                </a:extLst>
              </p:cNvPr>
              <p:cNvSpPr>
                <a:spLocks/>
              </p:cNvSpPr>
              <p:nvPr/>
            </p:nvSpPr>
            <p:spPr bwMode="auto">
              <a:xfrm>
                <a:off x="4184" y="2190"/>
                <a:ext cx="180" cy="330"/>
              </a:xfrm>
              <a:custGeom>
                <a:avLst/>
                <a:gdLst>
                  <a:gd name="T0" fmla="*/ 120 w 180"/>
                  <a:gd name="T1" fmla="*/ 330 h 330"/>
                  <a:gd name="T2" fmla="*/ 180 w 180"/>
                  <a:gd name="T3" fmla="*/ 180 h 330"/>
                  <a:gd name="T4" fmla="*/ 0 w 180"/>
                  <a:gd name="T5" fmla="*/ 210 h 330"/>
                  <a:gd name="T6" fmla="*/ 0 w 180"/>
                  <a:gd name="T7" fmla="*/ 0 h 330"/>
                </a:gdLst>
                <a:ahLst/>
                <a:cxnLst>
                  <a:cxn ang="0">
                    <a:pos x="T0" y="T1"/>
                  </a:cxn>
                  <a:cxn ang="0">
                    <a:pos x="T2" y="T3"/>
                  </a:cxn>
                  <a:cxn ang="0">
                    <a:pos x="T4" y="T5"/>
                  </a:cxn>
                  <a:cxn ang="0">
                    <a:pos x="T6" y="T7"/>
                  </a:cxn>
                </a:cxnLst>
                <a:rect l="0" t="0" r="r" b="b"/>
                <a:pathLst>
                  <a:path w="180" h="330">
                    <a:moveTo>
                      <a:pt x="120" y="330"/>
                    </a:moveTo>
                    <a:lnTo>
                      <a:pt x="180" y="180"/>
                    </a:lnTo>
                    <a:lnTo>
                      <a:pt x="0" y="21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11" name="Line 2555">
                <a:extLst>
                  <a:ext uri="{FF2B5EF4-FFF2-40B4-BE49-F238E27FC236}">
                    <a16:creationId xmlns:a16="http://schemas.microsoft.com/office/drawing/2014/main" id="{1A8F2411-4AA0-41FB-B3A1-FE993CE9D011}"/>
                  </a:ext>
                </a:extLst>
              </p:cNvPr>
              <p:cNvSpPr>
                <a:spLocks noChangeShapeType="1"/>
              </p:cNvSpPr>
              <p:nvPr/>
            </p:nvSpPr>
            <p:spPr bwMode="auto">
              <a:xfrm>
                <a:off x="4004" y="2670"/>
                <a:ext cx="18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12" name="Freeform 2556">
                <a:extLst>
                  <a:ext uri="{FF2B5EF4-FFF2-40B4-BE49-F238E27FC236}">
                    <a16:creationId xmlns:a16="http://schemas.microsoft.com/office/drawing/2014/main" id="{D6E7803B-FAAC-4263-8363-71E156EA2E35}"/>
                  </a:ext>
                </a:extLst>
              </p:cNvPr>
              <p:cNvSpPr>
                <a:spLocks/>
              </p:cNvSpPr>
              <p:nvPr/>
            </p:nvSpPr>
            <p:spPr bwMode="auto">
              <a:xfrm>
                <a:off x="4244" y="2010"/>
                <a:ext cx="180" cy="300"/>
              </a:xfrm>
              <a:custGeom>
                <a:avLst/>
                <a:gdLst>
                  <a:gd name="T0" fmla="*/ 180 w 180"/>
                  <a:gd name="T1" fmla="*/ 180 h 300"/>
                  <a:gd name="T2" fmla="*/ 0 w 180"/>
                  <a:gd name="T3" fmla="*/ 300 h 300"/>
                  <a:gd name="T4" fmla="*/ 150 w 180"/>
                  <a:gd name="T5" fmla="*/ 0 h 300"/>
                </a:gdLst>
                <a:ahLst/>
                <a:cxnLst>
                  <a:cxn ang="0">
                    <a:pos x="T0" y="T1"/>
                  </a:cxn>
                  <a:cxn ang="0">
                    <a:pos x="T2" y="T3"/>
                  </a:cxn>
                  <a:cxn ang="0">
                    <a:pos x="T4" y="T5"/>
                  </a:cxn>
                </a:cxnLst>
                <a:rect l="0" t="0" r="r" b="b"/>
                <a:pathLst>
                  <a:path w="180" h="300">
                    <a:moveTo>
                      <a:pt x="180" y="180"/>
                    </a:moveTo>
                    <a:lnTo>
                      <a:pt x="0" y="30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13" name="Freeform 2557">
                <a:extLst>
                  <a:ext uri="{FF2B5EF4-FFF2-40B4-BE49-F238E27FC236}">
                    <a16:creationId xmlns:a16="http://schemas.microsoft.com/office/drawing/2014/main" id="{5DF291C7-C2CA-48CD-980E-98F6C18770C1}"/>
                  </a:ext>
                </a:extLst>
              </p:cNvPr>
              <p:cNvSpPr>
                <a:spLocks/>
              </p:cNvSpPr>
              <p:nvPr/>
            </p:nvSpPr>
            <p:spPr bwMode="auto">
              <a:xfrm>
                <a:off x="3974" y="1140"/>
                <a:ext cx="180" cy="270"/>
              </a:xfrm>
              <a:custGeom>
                <a:avLst/>
                <a:gdLst>
                  <a:gd name="T0" fmla="*/ 0 w 180"/>
                  <a:gd name="T1" fmla="*/ 0 h 270"/>
                  <a:gd name="T2" fmla="*/ 180 w 180"/>
                  <a:gd name="T3" fmla="*/ 270 h 270"/>
                  <a:gd name="T4" fmla="*/ 180 w 180"/>
                  <a:gd name="T5" fmla="*/ 60 h 270"/>
                </a:gdLst>
                <a:ahLst/>
                <a:cxnLst>
                  <a:cxn ang="0">
                    <a:pos x="T0" y="T1"/>
                  </a:cxn>
                  <a:cxn ang="0">
                    <a:pos x="T2" y="T3"/>
                  </a:cxn>
                  <a:cxn ang="0">
                    <a:pos x="T4" y="T5"/>
                  </a:cxn>
                </a:cxnLst>
                <a:rect l="0" t="0" r="r" b="b"/>
                <a:pathLst>
                  <a:path w="180" h="270">
                    <a:moveTo>
                      <a:pt x="0" y="0"/>
                    </a:moveTo>
                    <a:lnTo>
                      <a:pt x="180" y="270"/>
                    </a:lnTo>
                    <a:lnTo>
                      <a:pt x="18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14" name="Freeform 2558">
                <a:extLst>
                  <a:ext uri="{FF2B5EF4-FFF2-40B4-BE49-F238E27FC236}">
                    <a16:creationId xmlns:a16="http://schemas.microsoft.com/office/drawing/2014/main" id="{5A4FAAC2-B0AB-4055-91BA-D9DFC7956092}"/>
                  </a:ext>
                </a:extLst>
              </p:cNvPr>
              <p:cNvSpPr>
                <a:spLocks/>
              </p:cNvSpPr>
              <p:nvPr/>
            </p:nvSpPr>
            <p:spPr bwMode="auto">
              <a:xfrm>
                <a:off x="3884" y="60"/>
                <a:ext cx="540" cy="1830"/>
              </a:xfrm>
              <a:custGeom>
                <a:avLst/>
                <a:gdLst>
                  <a:gd name="T0" fmla="*/ 180 w 540"/>
                  <a:gd name="T1" fmla="*/ 990 h 1830"/>
                  <a:gd name="T2" fmla="*/ 330 w 540"/>
                  <a:gd name="T3" fmla="*/ 930 h 1830"/>
                  <a:gd name="T4" fmla="*/ 330 w 540"/>
                  <a:gd name="T5" fmla="*/ 1560 h 1830"/>
                  <a:gd name="T6" fmla="*/ 270 w 540"/>
                  <a:gd name="T7" fmla="*/ 1350 h 1830"/>
                  <a:gd name="T8" fmla="*/ 540 w 540"/>
                  <a:gd name="T9" fmla="*/ 1740 h 1830"/>
                  <a:gd name="T10" fmla="*/ 330 w 540"/>
                  <a:gd name="T11" fmla="*/ 1560 h 1830"/>
                  <a:gd name="T12" fmla="*/ 450 w 540"/>
                  <a:gd name="T13" fmla="*/ 1470 h 1830"/>
                  <a:gd name="T14" fmla="*/ 480 w 540"/>
                  <a:gd name="T15" fmla="*/ 1200 h 1830"/>
                  <a:gd name="T16" fmla="*/ 150 w 540"/>
                  <a:gd name="T17" fmla="*/ 1290 h 1830"/>
                  <a:gd name="T18" fmla="*/ 270 w 540"/>
                  <a:gd name="T19" fmla="*/ 1140 h 1830"/>
                  <a:gd name="T20" fmla="*/ 510 w 540"/>
                  <a:gd name="T21" fmla="*/ 960 h 1830"/>
                  <a:gd name="T22" fmla="*/ 180 w 540"/>
                  <a:gd name="T23" fmla="*/ 990 h 1830"/>
                  <a:gd name="T24" fmla="*/ 390 w 540"/>
                  <a:gd name="T25" fmla="*/ 810 h 1830"/>
                  <a:gd name="T26" fmla="*/ 360 w 540"/>
                  <a:gd name="T27" fmla="*/ 630 h 1830"/>
                  <a:gd name="T28" fmla="*/ 150 w 540"/>
                  <a:gd name="T29" fmla="*/ 630 h 1830"/>
                  <a:gd name="T30" fmla="*/ 270 w 540"/>
                  <a:gd name="T31" fmla="*/ 510 h 1830"/>
                  <a:gd name="T32" fmla="*/ 510 w 540"/>
                  <a:gd name="T33" fmla="*/ 600 h 1830"/>
                  <a:gd name="T34" fmla="*/ 480 w 540"/>
                  <a:gd name="T35" fmla="*/ 360 h 1830"/>
                  <a:gd name="T36" fmla="*/ 240 w 540"/>
                  <a:gd name="T37" fmla="*/ 360 h 1830"/>
                  <a:gd name="T38" fmla="*/ 60 w 540"/>
                  <a:gd name="T39" fmla="*/ 300 h 1830"/>
                  <a:gd name="T40" fmla="*/ 270 w 540"/>
                  <a:gd name="T41" fmla="*/ 210 h 1830"/>
                  <a:gd name="T42" fmla="*/ 90 w 540"/>
                  <a:gd name="T43" fmla="*/ 0 h 1830"/>
                  <a:gd name="T44" fmla="*/ 210 w 540"/>
                  <a:gd name="T45" fmla="*/ 60 h 1830"/>
                  <a:gd name="T46" fmla="*/ 510 w 540"/>
                  <a:gd name="T47" fmla="*/ 210 h 1830"/>
                  <a:gd name="T48" fmla="*/ 390 w 540"/>
                  <a:gd name="T49" fmla="*/ 240 h 1830"/>
                  <a:gd name="T50" fmla="*/ 270 w 540"/>
                  <a:gd name="T51" fmla="*/ 210 h 1830"/>
                  <a:gd name="T52" fmla="*/ 180 w 540"/>
                  <a:gd name="T53" fmla="*/ 240 h 1830"/>
                  <a:gd name="T54" fmla="*/ 60 w 540"/>
                  <a:gd name="T55" fmla="*/ 300 h 1830"/>
                  <a:gd name="T56" fmla="*/ 330 w 540"/>
                  <a:gd name="T57" fmla="*/ 390 h 1830"/>
                  <a:gd name="T58" fmla="*/ 480 w 540"/>
                  <a:gd name="T59" fmla="*/ 360 h 1830"/>
                  <a:gd name="T60" fmla="*/ 360 w 540"/>
                  <a:gd name="T61" fmla="*/ 630 h 1830"/>
                  <a:gd name="T62" fmla="*/ 90 w 540"/>
                  <a:gd name="T63" fmla="*/ 84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1830">
                    <a:moveTo>
                      <a:pt x="60" y="960"/>
                    </a:moveTo>
                    <a:lnTo>
                      <a:pt x="180" y="990"/>
                    </a:lnTo>
                    <a:lnTo>
                      <a:pt x="390" y="1080"/>
                    </a:lnTo>
                    <a:lnTo>
                      <a:pt x="330" y="930"/>
                    </a:lnTo>
                    <a:lnTo>
                      <a:pt x="0" y="1320"/>
                    </a:lnTo>
                    <a:lnTo>
                      <a:pt x="330" y="1560"/>
                    </a:lnTo>
                    <a:lnTo>
                      <a:pt x="450" y="1470"/>
                    </a:lnTo>
                    <a:lnTo>
                      <a:pt x="270" y="1350"/>
                    </a:lnTo>
                    <a:lnTo>
                      <a:pt x="210" y="1650"/>
                    </a:lnTo>
                    <a:lnTo>
                      <a:pt x="540" y="1740"/>
                    </a:lnTo>
                    <a:lnTo>
                      <a:pt x="420" y="1830"/>
                    </a:lnTo>
                    <a:lnTo>
                      <a:pt x="330" y="1560"/>
                    </a:lnTo>
                    <a:lnTo>
                      <a:pt x="510" y="1620"/>
                    </a:lnTo>
                    <a:lnTo>
                      <a:pt x="450" y="1470"/>
                    </a:lnTo>
                    <a:lnTo>
                      <a:pt x="420" y="1320"/>
                    </a:lnTo>
                    <a:lnTo>
                      <a:pt x="480" y="1200"/>
                    </a:lnTo>
                    <a:lnTo>
                      <a:pt x="270" y="1350"/>
                    </a:lnTo>
                    <a:lnTo>
                      <a:pt x="150" y="1290"/>
                    </a:lnTo>
                    <a:lnTo>
                      <a:pt x="330" y="1200"/>
                    </a:lnTo>
                    <a:lnTo>
                      <a:pt x="270" y="1140"/>
                    </a:lnTo>
                    <a:lnTo>
                      <a:pt x="390" y="1080"/>
                    </a:lnTo>
                    <a:lnTo>
                      <a:pt x="510" y="960"/>
                    </a:lnTo>
                    <a:lnTo>
                      <a:pt x="330" y="930"/>
                    </a:lnTo>
                    <a:lnTo>
                      <a:pt x="180" y="990"/>
                    </a:lnTo>
                    <a:lnTo>
                      <a:pt x="210" y="840"/>
                    </a:lnTo>
                    <a:lnTo>
                      <a:pt x="390" y="810"/>
                    </a:lnTo>
                    <a:lnTo>
                      <a:pt x="540" y="720"/>
                    </a:lnTo>
                    <a:lnTo>
                      <a:pt x="360" y="630"/>
                    </a:lnTo>
                    <a:lnTo>
                      <a:pt x="240" y="690"/>
                    </a:lnTo>
                    <a:lnTo>
                      <a:pt x="150" y="630"/>
                    </a:lnTo>
                    <a:lnTo>
                      <a:pt x="180" y="450"/>
                    </a:lnTo>
                    <a:lnTo>
                      <a:pt x="270" y="510"/>
                    </a:lnTo>
                    <a:lnTo>
                      <a:pt x="420" y="540"/>
                    </a:lnTo>
                    <a:lnTo>
                      <a:pt x="510" y="600"/>
                    </a:lnTo>
                    <a:lnTo>
                      <a:pt x="540" y="480"/>
                    </a:lnTo>
                    <a:lnTo>
                      <a:pt x="480" y="360"/>
                    </a:lnTo>
                    <a:lnTo>
                      <a:pt x="330" y="390"/>
                    </a:lnTo>
                    <a:lnTo>
                      <a:pt x="240" y="360"/>
                    </a:lnTo>
                    <a:lnTo>
                      <a:pt x="60" y="420"/>
                    </a:lnTo>
                    <a:lnTo>
                      <a:pt x="60" y="300"/>
                    </a:lnTo>
                    <a:lnTo>
                      <a:pt x="180" y="240"/>
                    </a:lnTo>
                    <a:lnTo>
                      <a:pt x="270" y="210"/>
                    </a:lnTo>
                    <a:lnTo>
                      <a:pt x="210" y="60"/>
                    </a:lnTo>
                    <a:lnTo>
                      <a:pt x="90" y="0"/>
                    </a:lnTo>
                    <a:lnTo>
                      <a:pt x="540" y="0"/>
                    </a:lnTo>
                    <a:lnTo>
                      <a:pt x="210" y="60"/>
                    </a:lnTo>
                    <a:lnTo>
                      <a:pt x="360" y="90"/>
                    </a:lnTo>
                    <a:lnTo>
                      <a:pt x="510" y="210"/>
                    </a:lnTo>
                    <a:lnTo>
                      <a:pt x="480" y="360"/>
                    </a:lnTo>
                    <a:lnTo>
                      <a:pt x="390" y="240"/>
                    </a:lnTo>
                    <a:lnTo>
                      <a:pt x="330" y="390"/>
                    </a:lnTo>
                    <a:lnTo>
                      <a:pt x="270" y="210"/>
                    </a:lnTo>
                    <a:lnTo>
                      <a:pt x="240" y="360"/>
                    </a:lnTo>
                    <a:lnTo>
                      <a:pt x="180" y="240"/>
                    </a:lnTo>
                    <a:lnTo>
                      <a:pt x="90" y="210"/>
                    </a:lnTo>
                    <a:lnTo>
                      <a:pt x="60" y="300"/>
                    </a:lnTo>
                    <a:lnTo>
                      <a:pt x="180" y="450"/>
                    </a:lnTo>
                    <a:lnTo>
                      <a:pt x="330" y="390"/>
                    </a:lnTo>
                    <a:lnTo>
                      <a:pt x="420" y="540"/>
                    </a:lnTo>
                    <a:lnTo>
                      <a:pt x="480" y="360"/>
                    </a:lnTo>
                    <a:lnTo>
                      <a:pt x="270" y="510"/>
                    </a:lnTo>
                    <a:lnTo>
                      <a:pt x="360" y="630"/>
                    </a:lnTo>
                    <a:lnTo>
                      <a:pt x="150" y="630"/>
                    </a:lnTo>
                    <a:lnTo>
                      <a:pt x="90" y="840"/>
                    </a:lnTo>
                    <a:lnTo>
                      <a:pt x="330" y="9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15" name="Freeform 2559">
                <a:extLst>
                  <a:ext uri="{FF2B5EF4-FFF2-40B4-BE49-F238E27FC236}">
                    <a16:creationId xmlns:a16="http://schemas.microsoft.com/office/drawing/2014/main" id="{1CBC6F9A-7D67-4223-AADA-24EDA089B54C}"/>
                  </a:ext>
                </a:extLst>
              </p:cNvPr>
              <p:cNvSpPr>
                <a:spLocks/>
              </p:cNvSpPr>
              <p:nvPr/>
            </p:nvSpPr>
            <p:spPr bwMode="auto">
              <a:xfrm>
                <a:off x="4244" y="600"/>
                <a:ext cx="150" cy="420"/>
              </a:xfrm>
              <a:custGeom>
                <a:avLst/>
                <a:gdLst>
                  <a:gd name="T0" fmla="*/ 30 w 150"/>
                  <a:gd name="T1" fmla="*/ 270 h 420"/>
                  <a:gd name="T2" fmla="*/ 150 w 150"/>
                  <a:gd name="T3" fmla="*/ 420 h 420"/>
                  <a:gd name="T4" fmla="*/ 60 w 150"/>
                  <a:gd name="T5" fmla="*/ 0 h 420"/>
                  <a:gd name="T6" fmla="*/ 0 w 150"/>
                  <a:gd name="T7" fmla="*/ 90 h 420"/>
                  <a:gd name="T8" fmla="*/ 30 w 150"/>
                  <a:gd name="T9" fmla="*/ 270 h 420"/>
                </a:gdLst>
                <a:ahLst/>
                <a:cxnLst>
                  <a:cxn ang="0">
                    <a:pos x="T0" y="T1"/>
                  </a:cxn>
                  <a:cxn ang="0">
                    <a:pos x="T2" y="T3"/>
                  </a:cxn>
                  <a:cxn ang="0">
                    <a:pos x="T4" y="T5"/>
                  </a:cxn>
                  <a:cxn ang="0">
                    <a:pos x="T6" y="T7"/>
                  </a:cxn>
                  <a:cxn ang="0">
                    <a:pos x="T8" y="T9"/>
                  </a:cxn>
                </a:cxnLst>
                <a:rect l="0" t="0" r="r" b="b"/>
                <a:pathLst>
                  <a:path w="150" h="420">
                    <a:moveTo>
                      <a:pt x="30" y="270"/>
                    </a:moveTo>
                    <a:lnTo>
                      <a:pt x="150" y="420"/>
                    </a:lnTo>
                    <a:lnTo>
                      <a:pt x="60" y="0"/>
                    </a:lnTo>
                    <a:lnTo>
                      <a:pt x="0" y="90"/>
                    </a:lnTo>
                    <a:lnTo>
                      <a:pt x="30" y="27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16" name="Freeform 2560">
                <a:extLst>
                  <a:ext uri="{FF2B5EF4-FFF2-40B4-BE49-F238E27FC236}">
                    <a16:creationId xmlns:a16="http://schemas.microsoft.com/office/drawing/2014/main" id="{65120FEC-7540-48F7-8048-0CBF4BC60F40}"/>
                  </a:ext>
                </a:extLst>
              </p:cNvPr>
              <p:cNvSpPr>
                <a:spLocks/>
              </p:cNvSpPr>
              <p:nvPr/>
            </p:nvSpPr>
            <p:spPr bwMode="auto">
              <a:xfrm>
                <a:off x="4094" y="570"/>
                <a:ext cx="180" cy="420"/>
              </a:xfrm>
              <a:custGeom>
                <a:avLst/>
                <a:gdLst>
                  <a:gd name="T0" fmla="*/ 180 w 180"/>
                  <a:gd name="T1" fmla="*/ 300 h 420"/>
                  <a:gd name="T2" fmla="*/ 30 w 180"/>
                  <a:gd name="T3" fmla="*/ 180 h 420"/>
                  <a:gd name="T4" fmla="*/ 0 w 180"/>
                  <a:gd name="T5" fmla="*/ 330 h 420"/>
                  <a:gd name="T6" fmla="*/ 120 w 180"/>
                  <a:gd name="T7" fmla="*/ 420 h 420"/>
                  <a:gd name="T8" fmla="*/ 60 w 180"/>
                  <a:gd name="T9" fmla="*/ 0 h 420"/>
                </a:gdLst>
                <a:ahLst/>
                <a:cxnLst>
                  <a:cxn ang="0">
                    <a:pos x="T0" y="T1"/>
                  </a:cxn>
                  <a:cxn ang="0">
                    <a:pos x="T2" y="T3"/>
                  </a:cxn>
                  <a:cxn ang="0">
                    <a:pos x="T4" y="T5"/>
                  </a:cxn>
                  <a:cxn ang="0">
                    <a:pos x="T6" y="T7"/>
                  </a:cxn>
                  <a:cxn ang="0">
                    <a:pos x="T8" y="T9"/>
                  </a:cxn>
                </a:cxnLst>
                <a:rect l="0" t="0" r="r" b="b"/>
                <a:pathLst>
                  <a:path w="180" h="420">
                    <a:moveTo>
                      <a:pt x="180" y="300"/>
                    </a:moveTo>
                    <a:lnTo>
                      <a:pt x="30" y="180"/>
                    </a:lnTo>
                    <a:lnTo>
                      <a:pt x="0" y="330"/>
                    </a:lnTo>
                    <a:lnTo>
                      <a:pt x="120" y="42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17" name="Freeform 2561">
                <a:extLst>
                  <a:ext uri="{FF2B5EF4-FFF2-40B4-BE49-F238E27FC236}">
                    <a16:creationId xmlns:a16="http://schemas.microsoft.com/office/drawing/2014/main" id="{2071DABC-B929-4075-8376-8A81F6CD47DD}"/>
                  </a:ext>
                </a:extLst>
              </p:cNvPr>
              <p:cNvSpPr>
                <a:spLocks/>
              </p:cNvSpPr>
              <p:nvPr/>
            </p:nvSpPr>
            <p:spPr bwMode="auto">
              <a:xfrm>
                <a:off x="4244" y="60"/>
                <a:ext cx="180" cy="240"/>
              </a:xfrm>
              <a:custGeom>
                <a:avLst/>
                <a:gdLst>
                  <a:gd name="T0" fmla="*/ 30 w 180"/>
                  <a:gd name="T1" fmla="*/ 240 h 240"/>
                  <a:gd name="T2" fmla="*/ 0 w 180"/>
                  <a:gd name="T3" fmla="*/ 90 h 240"/>
                  <a:gd name="T4" fmla="*/ 180 w 180"/>
                  <a:gd name="T5" fmla="*/ 0 h 240"/>
                  <a:gd name="T6" fmla="*/ 150 w 180"/>
                  <a:gd name="T7" fmla="*/ 210 h 240"/>
                  <a:gd name="T8" fmla="*/ 30 w 180"/>
                  <a:gd name="T9" fmla="*/ 240 h 240"/>
                </a:gdLst>
                <a:ahLst/>
                <a:cxnLst>
                  <a:cxn ang="0">
                    <a:pos x="T0" y="T1"/>
                  </a:cxn>
                  <a:cxn ang="0">
                    <a:pos x="T2" y="T3"/>
                  </a:cxn>
                  <a:cxn ang="0">
                    <a:pos x="T4" y="T5"/>
                  </a:cxn>
                  <a:cxn ang="0">
                    <a:pos x="T6" y="T7"/>
                  </a:cxn>
                  <a:cxn ang="0">
                    <a:pos x="T8" y="T9"/>
                  </a:cxn>
                </a:cxnLst>
                <a:rect l="0" t="0" r="r" b="b"/>
                <a:pathLst>
                  <a:path w="180" h="240">
                    <a:moveTo>
                      <a:pt x="30" y="240"/>
                    </a:moveTo>
                    <a:lnTo>
                      <a:pt x="0" y="90"/>
                    </a:lnTo>
                    <a:lnTo>
                      <a:pt x="180" y="0"/>
                    </a:lnTo>
                    <a:lnTo>
                      <a:pt x="150" y="210"/>
                    </a:lnTo>
                    <a:lnTo>
                      <a:pt x="3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18" name="Line 2562">
                <a:extLst>
                  <a:ext uri="{FF2B5EF4-FFF2-40B4-BE49-F238E27FC236}">
                    <a16:creationId xmlns:a16="http://schemas.microsoft.com/office/drawing/2014/main" id="{E629246E-3BFB-4420-B276-0E10A9C5A117}"/>
                  </a:ext>
                </a:extLst>
              </p:cNvPr>
              <p:cNvSpPr>
                <a:spLocks noChangeShapeType="1"/>
              </p:cNvSpPr>
              <p:nvPr/>
            </p:nvSpPr>
            <p:spPr bwMode="auto">
              <a:xfrm flipH="1">
                <a:off x="4304" y="54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19" name="Freeform 2563">
                <a:extLst>
                  <a:ext uri="{FF2B5EF4-FFF2-40B4-BE49-F238E27FC236}">
                    <a16:creationId xmlns:a16="http://schemas.microsoft.com/office/drawing/2014/main" id="{6E781536-0CEA-4E42-969A-1C6145A9AE1C}"/>
                  </a:ext>
                </a:extLst>
              </p:cNvPr>
              <p:cNvSpPr>
                <a:spLocks/>
              </p:cNvSpPr>
              <p:nvPr/>
            </p:nvSpPr>
            <p:spPr bwMode="auto">
              <a:xfrm>
                <a:off x="2985" y="330"/>
                <a:ext cx="120" cy="210"/>
              </a:xfrm>
              <a:custGeom>
                <a:avLst/>
                <a:gdLst>
                  <a:gd name="T0" fmla="*/ 90 w 120"/>
                  <a:gd name="T1" fmla="*/ 0 h 210"/>
                  <a:gd name="T2" fmla="*/ 0 w 120"/>
                  <a:gd name="T3" fmla="*/ 210 h 210"/>
                  <a:gd name="T4" fmla="*/ 120 w 120"/>
                  <a:gd name="T5" fmla="*/ 180 h 210"/>
                  <a:gd name="T6" fmla="*/ 90 w 120"/>
                  <a:gd name="T7" fmla="*/ 0 h 210"/>
                </a:gdLst>
                <a:ahLst/>
                <a:cxnLst>
                  <a:cxn ang="0">
                    <a:pos x="T0" y="T1"/>
                  </a:cxn>
                  <a:cxn ang="0">
                    <a:pos x="T2" y="T3"/>
                  </a:cxn>
                  <a:cxn ang="0">
                    <a:pos x="T4" y="T5"/>
                  </a:cxn>
                  <a:cxn ang="0">
                    <a:pos x="T6" y="T7"/>
                  </a:cxn>
                </a:cxnLst>
                <a:rect l="0" t="0" r="r" b="b"/>
                <a:pathLst>
                  <a:path w="120" h="210">
                    <a:moveTo>
                      <a:pt x="90" y="0"/>
                    </a:moveTo>
                    <a:lnTo>
                      <a:pt x="0" y="210"/>
                    </a:lnTo>
                    <a:lnTo>
                      <a:pt x="120" y="18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0" name="Freeform 2564">
                <a:extLst>
                  <a:ext uri="{FF2B5EF4-FFF2-40B4-BE49-F238E27FC236}">
                    <a16:creationId xmlns:a16="http://schemas.microsoft.com/office/drawing/2014/main" id="{D1E28C72-9935-4922-A5BE-6864E6276187}"/>
                  </a:ext>
                </a:extLst>
              </p:cNvPr>
              <p:cNvSpPr>
                <a:spLocks/>
              </p:cNvSpPr>
              <p:nvPr/>
            </p:nvSpPr>
            <p:spPr bwMode="auto">
              <a:xfrm>
                <a:off x="3195" y="240"/>
                <a:ext cx="480" cy="270"/>
              </a:xfrm>
              <a:custGeom>
                <a:avLst/>
                <a:gdLst>
                  <a:gd name="T0" fmla="*/ 0 w 480"/>
                  <a:gd name="T1" fmla="*/ 0 h 270"/>
                  <a:gd name="T2" fmla="*/ 90 w 480"/>
                  <a:gd name="T3" fmla="*/ 240 h 270"/>
                  <a:gd name="T4" fmla="*/ 300 w 480"/>
                  <a:gd name="T5" fmla="*/ 150 h 270"/>
                  <a:gd name="T6" fmla="*/ 480 w 480"/>
                  <a:gd name="T7" fmla="*/ 210 h 270"/>
                  <a:gd name="T8" fmla="*/ 270 w 480"/>
                  <a:gd name="T9" fmla="*/ 270 h 270"/>
                  <a:gd name="T10" fmla="*/ 120 w 480"/>
                  <a:gd name="T11" fmla="*/ 60 h 270"/>
                </a:gdLst>
                <a:ahLst/>
                <a:cxnLst>
                  <a:cxn ang="0">
                    <a:pos x="T0" y="T1"/>
                  </a:cxn>
                  <a:cxn ang="0">
                    <a:pos x="T2" y="T3"/>
                  </a:cxn>
                  <a:cxn ang="0">
                    <a:pos x="T4" y="T5"/>
                  </a:cxn>
                  <a:cxn ang="0">
                    <a:pos x="T6" y="T7"/>
                  </a:cxn>
                  <a:cxn ang="0">
                    <a:pos x="T8" y="T9"/>
                  </a:cxn>
                  <a:cxn ang="0">
                    <a:pos x="T10" y="T11"/>
                  </a:cxn>
                </a:cxnLst>
                <a:rect l="0" t="0" r="r" b="b"/>
                <a:pathLst>
                  <a:path w="480" h="270">
                    <a:moveTo>
                      <a:pt x="0" y="0"/>
                    </a:moveTo>
                    <a:lnTo>
                      <a:pt x="90" y="240"/>
                    </a:lnTo>
                    <a:lnTo>
                      <a:pt x="300" y="150"/>
                    </a:lnTo>
                    <a:lnTo>
                      <a:pt x="480" y="210"/>
                    </a:lnTo>
                    <a:lnTo>
                      <a:pt x="270" y="270"/>
                    </a:lnTo>
                    <a:lnTo>
                      <a:pt x="1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1" name="Freeform 2565">
                <a:extLst>
                  <a:ext uri="{FF2B5EF4-FFF2-40B4-BE49-F238E27FC236}">
                    <a16:creationId xmlns:a16="http://schemas.microsoft.com/office/drawing/2014/main" id="{724D862B-72D2-45B6-A23A-E75B17A2C7B1}"/>
                  </a:ext>
                </a:extLst>
              </p:cNvPr>
              <p:cNvSpPr>
                <a:spLocks/>
              </p:cNvSpPr>
              <p:nvPr/>
            </p:nvSpPr>
            <p:spPr bwMode="auto">
              <a:xfrm>
                <a:off x="2805" y="60"/>
                <a:ext cx="1289" cy="300"/>
              </a:xfrm>
              <a:custGeom>
                <a:avLst/>
                <a:gdLst>
                  <a:gd name="T0" fmla="*/ 1169 w 1289"/>
                  <a:gd name="T1" fmla="*/ 210 h 300"/>
                  <a:gd name="T2" fmla="*/ 1169 w 1289"/>
                  <a:gd name="T3" fmla="*/ 0 h 300"/>
                  <a:gd name="T4" fmla="*/ 1049 w 1289"/>
                  <a:gd name="T5" fmla="*/ 90 h 300"/>
                  <a:gd name="T6" fmla="*/ 1169 w 1289"/>
                  <a:gd name="T7" fmla="*/ 210 h 300"/>
                  <a:gd name="T8" fmla="*/ 1289 w 1289"/>
                  <a:gd name="T9" fmla="*/ 60 h 300"/>
                  <a:gd name="T10" fmla="*/ 1259 w 1289"/>
                  <a:gd name="T11" fmla="*/ 240 h 300"/>
                  <a:gd name="T12" fmla="*/ 1169 w 1289"/>
                  <a:gd name="T13" fmla="*/ 0 h 300"/>
                  <a:gd name="T14" fmla="*/ 870 w 1289"/>
                  <a:gd name="T15" fmla="*/ 30 h 300"/>
                  <a:gd name="T16" fmla="*/ 780 w 1289"/>
                  <a:gd name="T17" fmla="*/ 240 h 300"/>
                  <a:gd name="T18" fmla="*/ 660 w 1289"/>
                  <a:gd name="T19" fmla="*/ 90 h 300"/>
                  <a:gd name="T20" fmla="*/ 450 w 1289"/>
                  <a:gd name="T21" fmla="*/ 90 h 300"/>
                  <a:gd name="T22" fmla="*/ 630 w 1289"/>
                  <a:gd name="T23" fmla="*/ 210 h 300"/>
                  <a:gd name="T24" fmla="*/ 390 w 1289"/>
                  <a:gd name="T25" fmla="*/ 180 h 300"/>
                  <a:gd name="T26" fmla="*/ 270 w 1289"/>
                  <a:gd name="T27" fmla="*/ 30 h 300"/>
                  <a:gd name="T28" fmla="*/ 210 w 1289"/>
                  <a:gd name="T29" fmla="*/ 150 h 300"/>
                  <a:gd name="T30" fmla="*/ 90 w 1289"/>
                  <a:gd name="T31" fmla="*/ 210 h 300"/>
                  <a:gd name="T32" fmla="*/ 0 w 1289"/>
                  <a:gd name="T33" fmla="*/ 60 h 300"/>
                  <a:gd name="T34" fmla="*/ 150 w 1289"/>
                  <a:gd name="T35" fmla="*/ 30 h 300"/>
                  <a:gd name="T36" fmla="*/ 150 w 1289"/>
                  <a:gd name="T3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9" h="300">
                    <a:moveTo>
                      <a:pt x="1169" y="210"/>
                    </a:moveTo>
                    <a:lnTo>
                      <a:pt x="1169" y="0"/>
                    </a:lnTo>
                    <a:lnTo>
                      <a:pt x="1049" y="90"/>
                    </a:lnTo>
                    <a:lnTo>
                      <a:pt x="1169" y="210"/>
                    </a:lnTo>
                    <a:lnTo>
                      <a:pt x="1289" y="60"/>
                    </a:lnTo>
                    <a:lnTo>
                      <a:pt x="1259" y="240"/>
                    </a:lnTo>
                    <a:lnTo>
                      <a:pt x="1169" y="0"/>
                    </a:lnTo>
                    <a:lnTo>
                      <a:pt x="870" y="30"/>
                    </a:lnTo>
                    <a:lnTo>
                      <a:pt x="780" y="240"/>
                    </a:lnTo>
                    <a:lnTo>
                      <a:pt x="660" y="90"/>
                    </a:lnTo>
                    <a:lnTo>
                      <a:pt x="450" y="90"/>
                    </a:lnTo>
                    <a:lnTo>
                      <a:pt x="630" y="210"/>
                    </a:lnTo>
                    <a:lnTo>
                      <a:pt x="390" y="180"/>
                    </a:lnTo>
                    <a:lnTo>
                      <a:pt x="270" y="30"/>
                    </a:lnTo>
                    <a:lnTo>
                      <a:pt x="210" y="150"/>
                    </a:lnTo>
                    <a:lnTo>
                      <a:pt x="90" y="210"/>
                    </a:lnTo>
                    <a:lnTo>
                      <a:pt x="0" y="60"/>
                    </a:lnTo>
                    <a:lnTo>
                      <a:pt x="150" y="3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2" name="Freeform 2566">
                <a:extLst>
                  <a:ext uri="{FF2B5EF4-FFF2-40B4-BE49-F238E27FC236}">
                    <a16:creationId xmlns:a16="http://schemas.microsoft.com/office/drawing/2014/main" id="{48656FA7-A338-46EC-9938-613BCDE03415}"/>
                  </a:ext>
                </a:extLst>
              </p:cNvPr>
              <p:cNvSpPr>
                <a:spLocks/>
              </p:cNvSpPr>
              <p:nvPr/>
            </p:nvSpPr>
            <p:spPr bwMode="auto">
              <a:xfrm>
                <a:off x="3675" y="90"/>
                <a:ext cx="269" cy="270"/>
              </a:xfrm>
              <a:custGeom>
                <a:avLst/>
                <a:gdLst>
                  <a:gd name="T0" fmla="*/ 0 w 269"/>
                  <a:gd name="T1" fmla="*/ 0 h 270"/>
                  <a:gd name="T2" fmla="*/ 179 w 269"/>
                  <a:gd name="T3" fmla="*/ 60 h 270"/>
                  <a:gd name="T4" fmla="*/ 269 w 269"/>
                  <a:gd name="T5" fmla="*/ 270 h 270"/>
                </a:gdLst>
                <a:ahLst/>
                <a:cxnLst>
                  <a:cxn ang="0">
                    <a:pos x="T0" y="T1"/>
                  </a:cxn>
                  <a:cxn ang="0">
                    <a:pos x="T2" y="T3"/>
                  </a:cxn>
                  <a:cxn ang="0">
                    <a:pos x="T4" y="T5"/>
                  </a:cxn>
                </a:cxnLst>
                <a:rect l="0" t="0" r="r" b="b"/>
                <a:pathLst>
                  <a:path w="269" h="270">
                    <a:moveTo>
                      <a:pt x="0" y="0"/>
                    </a:moveTo>
                    <a:lnTo>
                      <a:pt x="179" y="60"/>
                    </a:lnTo>
                    <a:lnTo>
                      <a:pt x="26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3" name="Freeform 2567">
                <a:extLst>
                  <a:ext uri="{FF2B5EF4-FFF2-40B4-BE49-F238E27FC236}">
                    <a16:creationId xmlns:a16="http://schemas.microsoft.com/office/drawing/2014/main" id="{B1564D14-1055-486C-A367-3425333FF67D}"/>
                  </a:ext>
                </a:extLst>
              </p:cNvPr>
              <p:cNvSpPr>
                <a:spLocks/>
              </p:cNvSpPr>
              <p:nvPr/>
            </p:nvSpPr>
            <p:spPr bwMode="auto">
              <a:xfrm>
                <a:off x="3195" y="30"/>
                <a:ext cx="360" cy="60"/>
              </a:xfrm>
              <a:custGeom>
                <a:avLst/>
                <a:gdLst>
                  <a:gd name="T0" fmla="*/ 360 w 360"/>
                  <a:gd name="T1" fmla="*/ 0 h 60"/>
                  <a:gd name="T2" fmla="*/ 150 w 360"/>
                  <a:gd name="T3" fmla="*/ 60 h 60"/>
                  <a:gd name="T4" fmla="*/ 0 w 360"/>
                  <a:gd name="T5" fmla="*/ 0 h 60"/>
                </a:gdLst>
                <a:ahLst/>
                <a:cxnLst>
                  <a:cxn ang="0">
                    <a:pos x="T0" y="T1"/>
                  </a:cxn>
                  <a:cxn ang="0">
                    <a:pos x="T2" y="T3"/>
                  </a:cxn>
                  <a:cxn ang="0">
                    <a:pos x="T4" y="T5"/>
                  </a:cxn>
                </a:cxnLst>
                <a:rect l="0" t="0" r="r" b="b"/>
                <a:pathLst>
                  <a:path w="360" h="60">
                    <a:moveTo>
                      <a:pt x="360" y="0"/>
                    </a:moveTo>
                    <a:lnTo>
                      <a:pt x="15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4" name="Freeform 2568">
                <a:extLst>
                  <a:ext uri="{FF2B5EF4-FFF2-40B4-BE49-F238E27FC236}">
                    <a16:creationId xmlns:a16="http://schemas.microsoft.com/office/drawing/2014/main" id="{2B37D0EA-9A58-490D-B8D5-48345154FEFB}"/>
                  </a:ext>
                </a:extLst>
              </p:cNvPr>
              <p:cNvSpPr>
                <a:spLocks/>
              </p:cNvSpPr>
              <p:nvPr/>
            </p:nvSpPr>
            <p:spPr bwMode="auto">
              <a:xfrm>
                <a:off x="1846" y="210"/>
                <a:ext cx="389" cy="300"/>
              </a:xfrm>
              <a:custGeom>
                <a:avLst/>
                <a:gdLst>
                  <a:gd name="T0" fmla="*/ 120 w 389"/>
                  <a:gd name="T1" fmla="*/ 150 h 300"/>
                  <a:gd name="T2" fmla="*/ 0 w 389"/>
                  <a:gd name="T3" fmla="*/ 90 h 300"/>
                  <a:gd name="T4" fmla="*/ 60 w 389"/>
                  <a:gd name="T5" fmla="*/ 300 h 300"/>
                  <a:gd name="T6" fmla="*/ 269 w 389"/>
                  <a:gd name="T7" fmla="*/ 120 h 300"/>
                  <a:gd name="T8" fmla="*/ 389 w 389"/>
                  <a:gd name="T9" fmla="*/ 180 h 300"/>
                  <a:gd name="T10" fmla="*/ 210 w 389"/>
                  <a:gd name="T11" fmla="*/ 0 h 300"/>
                  <a:gd name="T12" fmla="*/ 0 w 389"/>
                  <a:gd name="T13" fmla="*/ 90 h 300"/>
                </a:gdLst>
                <a:ahLst/>
                <a:cxnLst>
                  <a:cxn ang="0">
                    <a:pos x="T0" y="T1"/>
                  </a:cxn>
                  <a:cxn ang="0">
                    <a:pos x="T2" y="T3"/>
                  </a:cxn>
                  <a:cxn ang="0">
                    <a:pos x="T4" y="T5"/>
                  </a:cxn>
                  <a:cxn ang="0">
                    <a:pos x="T6" y="T7"/>
                  </a:cxn>
                  <a:cxn ang="0">
                    <a:pos x="T8" y="T9"/>
                  </a:cxn>
                  <a:cxn ang="0">
                    <a:pos x="T10" y="T11"/>
                  </a:cxn>
                  <a:cxn ang="0">
                    <a:pos x="T12" y="T13"/>
                  </a:cxn>
                </a:cxnLst>
                <a:rect l="0" t="0" r="r" b="b"/>
                <a:pathLst>
                  <a:path w="389" h="300">
                    <a:moveTo>
                      <a:pt x="120" y="150"/>
                    </a:moveTo>
                    <a:lnTo>
                      <a:pt x="0" y="90"/>
                    </a:lnTo>
                    <a:lnTo>
                      <a:pt x="60" y="300"/>
                    </a:lnTo>
                    <a:lnTo>
                      <a:pt x="269" y="120"/>
                    </a:lnTo>
                    <a:lnTo>
                      <a:pt x="389" y="180"/>
                    </a:lnTo>
                    <a:lnTo>
                      <a:pt x="210" y="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5" name="Freeform 2569">
                <a:extLst>
                  <a:ext uri="{FF2B5EF4-FFF2-40B4-BE49-F238E27FC236}">
                    <a16:creationId xmlns:a16="http://schemas.microsoft.com/office/drawing/2014/main" id="{E0024289-D3EB-4411-B43B-E7631101D9DD}"/>
                  </a:ext>
                </a:extLst>
              </p:cNvPr>
              <p:cNvSpPr>
                <a:spLocks/>
              </p:cNvSpPr>
              <p:nvPr/>
            </p:nvSpPr>
            <p:spPr bwMode="auto">
              <a:xfrm>
                <a:off x="1966" y="60"/>
                <a:ext cx="149" cy="150"/>
              </a:xfrm>
              <a:custGeom>
                <a:avLst/>
                <a:gdLst>
                  <a:gd name="T0" fmla="*/ 0 w 149"/>
                  <a:gd name="T1" fmla="*/ 0 h 150"/>
                  <a:gd name="T2" fmla="*/ 90 w 149"/>
                  <a:gd name="T3" fmla="*/ 150 h 150"/>
                  <a:gd name="T4" fmla="*/ 149 w 149"/>
                  <a:gd name="T5" fmla="*/ 30 h 150"/>
                </a:gdLst>
                <a:ahLst/>
                <a:cxnLst>
                  <a:cxn ang="0">
                    <a:pos x="T0" y="T1"/>
                  </a:cxn>
                  <a:cxn ang="0">
                    <a:pos x="T2" y="T3"/>
                  </a:cxn>
                  <a:cxn ang="0">
                    <a:pos x="T4" y="T5"/>
                  </a:cxn>
                </a:cxnLst>
                <a:rect l="0" t="0" r="r" b="b"/>
                <a:pathLst>
                  <a:path w="149" h="150">
                    <a:moveTo>
                      <a:pt x="0" y="0"/>
                    </a:moveTo>
                    <a:lnTo>
                      <a:pt x="90" y="150"/>
                    </a:lnTo>
                    <a:lnTo>
                      <a:pt x="14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6" name="Freeform 2570">
                <a:extLst>
                  <a:ext uri="{FF2B5EF4-FFF2-40B4-BE49-F238E27FC236}">
                    <a16:creationId xmlns:a16="http://schemas.microsoft.com/office/drawing/2014/main" id="{5A2B9DED-7313-4958-9792-DDD9819120FC}"/>
                  </a:ext>
                </a:extLst>
              </p:cNvPr>
              <p:cNvSpPr>
                <a:spLocks/>
              </p:cNvSpPr>
              <p:nvPr/>
            </p:nvSpPr>
            <p:spPr bwMode="auto">
              <a:xfrm>
                <a:off x="2056" y="210"/>
                <a:ext cx="1649" cy="1050"/>
              </a:xfrm>
              <a:custGeom>
                <a:avLst/>
                <a:gdLst>
                  <a:gd name="T0" fmla="*/ 0 w 1649"/>
                  <a:gd name="T1" fmla="*/ 0 h 1050"/>
                  <a:gd name="T2" fmla="*/ 179 w 1649"/>
                  <a:gd name="T3" fmla="*/ 30 h 1050"/>
                  <a:gd name="T4" fmla="*/ 299 w 1649"/>
                  <a:gd name="T5" fmla="*/ 120 h 1050"/>
                  <a:gd name="T6" fmla="*/ 269 w 1649"/>
                  <a:gd name="T7" fmla="*/ 240 h 1050"/>
                  <a:gd name="T8" fmla="*/ 479 w 1649"/>
                  <a:gd name="T9" fmla="*/ 180 h 1050"/>
                  <a:gd name="T10" fmla="*/ 449 w 1649"/>
                  <a:gd name="T11" fmla="*/ 300 h 1050"/>
                  <a:gd name="T12" fmla="*/ 269 w 1649"/>
                  <a:gd name="T13" fmla="*/ 240 h 1050"/>
                  <a:gd name="T14" fmla="*/ 359 w 1649"/>
                  <a:gd name="T15" fmla="*/ 360 h 1050"/>
                  <a:gd name="T16" fmla="*/ 449 w 1649"/>
                  <a:gd name="T17" fmla="*/ 300 h 1050"/>
                  <a:gd name="T18" fmla="*/ 839 w 1649"/>
                  <a:gd name="T19" fmla="*/ 240 h 1050"/>
                  <a:gd name="T20" fmla="*/ 749 w 1649"/>
                  <a:gd name="T21" fmla="*/ 330 h 1050"/>
                  <a:gd name="T22" fmla="*/ 689 w 1649"/>
                  <a:gd name="T23" fmla="*/ 420 h 1050"/>
                  <a:gd name="T24" fmla="*/ 539 w 1649"/>
                  <a:gd name="T25" fmla="*/ 510 h 1050"/>
                  <a:gd name="T26" fmla="*/ 539 w 1649"/>
                  <a:gd name="T27" fmla="*/ 660 h 1050"/>
                  <a:gd name="T28" fmla="*/ 659 w 1649"/>
                  <a:gd name="T29" fmla="*/ 570 h 1050"/>
                  <a:gd name="T30" fmla="*/ 809 w 1649"/>
                  <a:gd name="T31" fmla="*/ 450 h 1050"/>
                  <a:gd name="T32" fmla="*/ 1049 w 1649"/>
                  <a:gd name="T33" fmla="*/ 300 h 1050"/>
                  <a:gd name="T34" fmla="*/ 1139 w 1649"/>
                  <a:gd name="T35" fmla="*/ 360 h 1050"/>
                  <a:gd name="T36" fmla="*/ 1229 w 1649"/>
                  <a:gd name="T37" fmla="*/ 480 h 1050"/>
                  <a:gd name="T38" fmla="*/ 1319 w 1649"/>
                  <a:gd name="T39" fmla="*/ 360 h 1050"/>
                  <a:gd name="T40" fmla="*/ 1139 w 1649"/>
                  <a:gd name="T41" fmla="*/ 360 h 1050"/>
                  <a:gd name="T42" fmla="*/ 1139 w 1649"/>
                  <a:gd name="T43" fmla="*/ 511 h 1050"/>
                  <a:gd name="T44" fmla="*/ 1049 w 1649"/>
                  <a:gd name="T45" fmla="*/ 480 h 1050"/>
                  <a:gd name="T46" fmla="*/ 1019 w 1649"/>
                  <a:gd name="T47" fmla="*/ 570 h 1050"/>
                  <a:gd name="T48" fmla="*/ 1019 w 1649"/>
                  <a:gd name="T49" fmla="*/ 810 h 1050"/>
                  <a:gd name="T50" fmla="*/ 1139 w 1649"/>
                  <a:gd name="T51" fmla="*/ 720 h 1050"/>
                  <a:gd name="T52" fmla="*/ 1227 w 1649"/>
                  <a:gd name="T53" fmla="*/ 812 h 1050"/>
                  <a:gd name="T54" fmla="*/ 1199 w 1649"/>
                  <a:gd name="T55" fmla="*/ 630 h 1050"/>
                  <a:gd name="T56" fmla="*/ 1289 w 1649"/>
                  <a:gd name="T57" fmla="*/ 570 h 1050"/>
                  <a:gd name="T58" fmla="*/ 1409 w 1649"/>
                  <a:gd name="T59" fmla="*/ 630 h 1050"/>
                  <a:gd name="T60" fmla="*/ 1289 w 1649"/>
                  <a:gd name="T61" fmla="*/ 690 h 1050"/>
                  <a:gd name="T62" fmla="*/ 1379 w 1649"/>
                  <a:gd name="T63" fmla="*/ 750 h 1050"/>
                  <a:gd name="T64" fmla="*/ 1649 w 1649"/>
                  <a:gd name="T65" fmla="*/ 720 h 1050"/>
                  <a:gd name="T66" fmla="*/ 1529 w 1649"/>
                  <a:gd name="T67" fmla="*/ 780 h 1050"/>
                  <a:gd name="T68" fmla="*/ 1559 w 1649"/>
                  <a:gd name="T69" fmla="*/ 1050 h 1050"/>
                  <a:gd name="T70" fmla="*/ 1349 w 1649"/>
                  <a:gd name="T71" fmla="*/ 87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1050">
                    <a:moveTo>
                      <a:pt x="0" y="0"/>
                    </a:moveTo>
                    <a:lnTo>
                      <a:pt x="179" y="30"/>
                    </a:lnTo>
                    <a:lnTo>
                      <a:pt x="299" y="120"/>
                    </a:lnTo>
                    <a:lnTo>
                      <a:pt x="269" y="240"/>
                    </a:lnTo>
                    <a:lnTo>
                      <a:pt x="479" y="180"/>
                    </a:lnTo>
                    <a:lnTo>
                      <a:pt x="449" y="300"/>
                    </a:lnTo>
                    <a:lnTo>
                      <a:pt x="269" y="240"/>
                    </a:lnTo>
                    <a:lnTo>
                      <a:pt x="359" y="360"/>
                    </a:lnTo>
                    <a:lnTo>
                      <a:pt x="449" y="300"/>
                    </a:lnTo>
                    <a:lnTo>
                      <a:pt x="839" y="240"/>
                    </a:lnTo>
                    <a:lnTo>
                      <a:pt x="749" y="330"/>
                    </a:lnTo>
                    <a:lnTo>
                      <a:pt x="689" y="420"/>
                    </a:lnTo>
                    <a:lnTo>
                      <a:pt x="539" y="510"/>
                    </a:lnTo>
                    <a:lnTo>
                      <a:pt x="539" y="660"/>
                    </a:lnTo>
                    <a:lnTo>
                      <a:pt x="659" y="570"/>
                    </a:lnTo>
                    <a:lnTo>
                      <a:pt x="809" y="450"/>
                    </a:lnTo>
                    <a:lnTo>
                      <a:pt x="1049" y="300"/>
                    </a:lnTo>
                    <a:lnTo>
                      <a:pt x="1139" y="360"/>
                    </a:lnTo>
                    <a:lnTo>
                      <a:pt x="1229" y="480"/>
                    </a:lnTo>
                    <a:lnTo>
                      <a:pt x="1319" y="360"/>
                    </a:lnTo>
                    <a:lnTo>
                      <a:pt x="1139" y="360"/>
                    </a:lnTo>
                    <a:lnTo>
                      <a:pt x="1139" y="511"/>
                    </a:lnTo>
                    <a:lnTo>
                      <a:pt x="1049" y="480"/>
                    </a:lnTo>
                    <a:lnTo>
                      <a:pt x="1019" y="570"/>
                    </a:lnTo>
                    <a:lnTo>
                      <a:pt x="1019" y="810"/>
                    </a:lnTo>
                    <a:lnTo>
                      <a:pt x="1139" y="720"/>
                    </a:lnTo>
                    <a:lnTo>
                      <a:pt x="1227" y="812"/>
                    </a:lnTo>
                    <a:lnTo>
                      <a:pt x="1199" y="630"/>
                    </a:lnTo>
                    <a:lnTo>
                      <a:pt x="1289" y="570"/>
                    </a:lnTo>
                    <a:lnTo>
                      <a:pt x="1409" y="630"/>
                    </a:lnTo>
                    <a:lnTo>
                      <a:pt x="1289" y="690"/>
                    </a:lnTo>
                    <a:lnTo>
                      <a:pt x="1379" y="750"/>
                    </a:lnTo>
                    <a:lnTo>
                      <a:pt x="1649" y="720"/>
                    </a:lnTo>
                    <a:lnTo>
                      <a:pt x="1529" y="780"/>
                    </a:lnTo>
                    <a:lnTo>
                      <a:pt x="1559" y="1050"/>
                    </a:lnTo>
                    <a:lnTo>
                      <a:pt x="1349" y="8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7" name="Freeform 2571">
                <a:extLst>
                  <a:ext uri="{FF2B5EF4-FFF2-40B4-BE49-F238E27FC236}">
                    <a16:creationId xmlns:a16="http://schemas.microsoft.com/office/drawing/2014/main" id="{148C921D-D6DF-4B30-84A4-F61DC74467D0}"/>
                  </a:ext>
                </a:extLst>
              </p:cNvPr>
              <p:cNvSpPr>
                <a:spLocks/>
              </p:cNvSpPr>
              <p:nvPr/>
            </p:nvSpPr>
            <p:spPr bwMode="auto">
              <a:xfrm>
                <a:off x="2505" y="300"/>
                <a:ext cx="270" cy="210"/>
              </a:xfrm>
              <a:custGeom>
                <a:avLst/>
                <a:gdLst>
                  <a:gd name="T0" fmla="*/ 120 w 270"/>
                  <a:gd name="T1" fmla="*/ 0 h 210"/>
                  <a:gd name="T2" fmla="*/ 270 w 270"/>
                  <a:gd name="T3" fmla="*/ 60 h 210"/>
                  <a:gd name="T4" fmla="*/ 0 w 270"/>
                  <a:gd name="T5" fmla="*/ 210 h 210"/>
                </a:gdLst>
                <a:ahLst/>
                <a:cxnLst>
                  <a:cxn ang="0">
                    <a:pos x="T0" y="T1"/>
                  </a:cxn>
                  <a:cxn ang="0">
                    <a:pos x="T2" y="T3"/>
                  </a:cxn>
                  <a:cxn ang="0">
                    <a:pos x="T4" y="T5"/>
                  </a:cxn>
                </a:cxnLst>
                <a:rect l="0" t="0" r="r" b="b"/>
                <a:pathLst>
                  <a:path w="270" h="210">
                    <a:moveTo>
                      <a:pt x="120" y="0"/>
                    </a:move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8" name="Freeform 2572">
                <a:extLst>
                  <a:ext uri="{FF2B5EF4-FFF2-40B4-BE49-F238E27FC236}">
                    <a16:creationId xmlns:a16="http://schemas.microsoft.com/office/drawing/2014/main" id="{66046DEF-967F-4407-BA9F-3704FA4293D2}"/>
                  </a:ext>
                </a:extLst>
              </p:cNvPr>
              <p:cNvSpPr>
                <a:spLocks/>
              </p:cNvSpPr>
              <p:nvPr/>
            </p:nvSpPr>
            <p:spPr bwMode="auto">
              <a:xfrm>
                <a:off x="2775" y="360"/>
                <a:ext cx="180" cy="90"/>
              </a:xfrm>
              <a:custGeom>
                <a:avLst/>
                <a:gdLst>
                  <a:gd name="T0" fmla="*/ 120 w 180"/>
                  <a:gd name="T1" fmla="*/ 90 h 90"/>
                  <a:gd name="T2" fmla="*/ 0 w 180"/>
                  <a:gd name="T3" fmla="*/ 0 h 90"/>
                  <a:gd name="T4" fmla="*/ 180 w 180"/>
                  <a:gd name="T5" fmla="*/ 0 h 90"/>
                  <a:gd name="T6" fmla="*/ 120 w 180"/>
                  <a:gd name="T7" fmla="*/ 90 h 90"/>
                </a:gdLst>
                <a:ahLst/>
                <a:cxnLst>
                  <a:cxn ang="0">
                    <a:pos x="T0" y="T1"/>
                  </a:cxn>
                  <a:cxn ang="0">
                    <a:pos x="T2" y="T3"/>
                  </a:cxn>
                  <a:cxn ang="0">
                    <a:pos x="T4" y="T5"/>
                  </a:cxn>
                  <a:cxn ang="0">
                    <a:pos x="T6" y="T7"/>
                  </a:cxn>
                </a:cxnLst>
                <a:rect l="0" t="0" r="r" b="b"/>
                <a:pathLst>
                  <a:path w="180" h="90">
                    <a:moveTo>
                      <a:pt x="120" y="90"/>
                    </a:moveTo>
                    <a:lnTo>
                      <a:pt x="0" y="0"/>
                    </a:lnTo>
                    <a:lnTo>
                      <a:pt x="180" y="0"/>
                    </a:lnTo>
                    <a:lnTo>
                      <a:pt x="12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9" name="Freeform 2573">
                <a:extLst>
                  <a:ext uri="{FF2B5EF4-FFF2-40B4-BE49-F238E27FC236}">
                    <a16:creationId xmlns:a16="http://schemas.microsoft.com/office/drawing/2014/main" id="{51637D34-AB45-4897-BD99-87E70BE5F872}"/>
                  </a:ext>
                </a:extLst>
              </p:cNvPr>
              <p:cNvSpPr>
                <a:spLocks/>
              </p:cNvSpPr>
              <p:nvPr/>
            </p:nvSpPr>
            <p:spPr bwMode="auto">
              <a:xfrm>
                <a:off x="2595" y="30"/>
                <a:ext cx="210" cy="150"/>
              </a:xfrm>
              <a:custGeom>
                <a:avLst/>
                <a:gdLst>
                  <a:gd name="T0" fmla="*/ 120 w 210"/>
                  <a:gd name="T1" fmla="*/ 60 h 150"/>
                  <a:gd name="T2" fmla="*/ 210 w 210"/>
                  <a:gd name="T3" fmla="*/ 90 h 150"/>
                  <a:gd name="T4" fmla="*/ 0 w 210"/>
                  <a:gd name="T5" fmla="*/ 150 h 150"/>
                  <a:gd name="T6" fmla="*/ 0 w 210"/>
                  <a:gd name="T7" fmla="*/ 0 h 150"/>
                  <a:gd name="T8" fmla="*/ 120 w 210"/>
                  <a:gd name="T9" fmla="*/ 60 h 150"/>
                </a:gdLst>
                <a:ahLst/>
                <a:cxnLst>
                  <a:cxn ang="0">
                    <a:pos x="T0" y="T1"/>
                  </a:cxn>
                  <a:cxn ang="0">
                    <a:pos x="T2" y="T3"/>
                  </a:cxn>
                  <a:cxn ang="0">
                    <a:pos x="T4" y="T5"/>
                  </a:cxn>
                  <a:cxn ang="0">
                    <a:pos x="T6" y="T7"/>
                  </a:cxn>
                  <a:cxn ang="0">
                    <a:pos x="T8" y="T9"/>
                  </a:cxn>
                </a:cxnLst>
                <a:rect l="0" t="0" r="r" b="b"/>
                <a:pathLst>
                  <a:path w="210" h="150">
                    <a:moveTo>
                      <a:pt x="120" y="60"/>
                    </a:moveTo>
                    <a:lnTo>
                      <a:pt x="210" y="90"/>
                    </a:lnTo>
                    <a:lnTo>
                      <a:pt x="0" y="150"/>
                    </a:lnTo>
                    <a:lnTo>
                      <a:pt x="0" y="0"/>
                    </a:lnTo>
                    <a:lnTo>
                      <a:pt x="120" y="6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0" name="Line 2574">
                <a:extLst>
                  <a:ext uri="{FF2B5EF4-FFF2-40B4-BE49-F238E27FC236}">
                    <a16:creationId xmlns:a16="http://schemas.microsoft.com/office/drawing/2014/main" id="{625B027C-9F46-4E3F-8A8B-48C3292B9CD0}"/>
                  </a:ext>
                </a:extLst>
              </p:cNvPr>
              <p:cNvSpPr>
                <a:spLocks noChangeShapeType="1"/>
              </p:cNvSpPr>
              <p:nvPr/>
            </p:nvSpPr>
            <p:spPr bwMode="auto">
              <a:xfrm flipH="1">
                <a:off x="2385" y="1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1" name="Freeform 2575">
                <a:extLst>
                  <a:ext uri="{FF2B5EF4-FFF2-40B4-BE49-F238E27FC236}">
                    <a16:creationId xmlns:a16="http://schemas.microsoft.com/office/drawing/2014/main" id="{91991F84-6DAC-479C-BF83-0C4264B0691B}"/>
                  </a:ext>
                </a:extLst>
              </p:cNvPr>
              <p:cNvSpPr>
                <a:spLocks/>
              </p:cNvSpPr>
              <p:nvPr/>
            </p:nvSpPr>
            <p:spPr bwMode="auto">
              <a:xfrm>
                <a:off x="1876" y="30"/>
                <a:ext cx="2398" cy="390"/>
              </a:xfrm>
              <a:custGeom>
                <a:avLst/>
                <a:gdLst>
                  <a:gd name="T0" fmla="*/ 509 w 2398"/>
                  <a:gd name="T1" fmla="*/ 60 h 390"/>
                  <a:gd name="T2" fmla="*/ 419 w 2398"/>
                  <a:gd name="T3" fmla="*/ 120 h 390"/>
                  <a:gd name="T4" fmla="*/ 239 w 2398"/>
                  <a:gd name="T5" fmla="*/ 60 h 390"/>
                  <a:gd name="T6" fmla="*/ 90 w 2398"/>
                  <a:gd name="T7" fmla="*/ 30 h 390"/>
                  <a:gd name="T8" fmla="*/ 0 w 2398"/>
                  <a:gd name="T9" fmla="*/ 120 h 390"/>
                  <a:gd name="T10" fmla="*/ 180 w 2398"/>
                  <a:gd name="T11" fmla="*/ 180 h 390"/>
                  <a:gd name="T12" fmla="*/ 90 w 2398"/>
                  <a:gd name="T13" fmla="*/ 330 h 390"/>
                  <a:gd name="T14" fmla="*/ 239 w 2398"/>
                  <a:gd name="T15" fmla="*/ 300 h 390"/>
                  <a:gd name="T16" fmla="*/ 239 w 2398"/>
                  <a:gd name="T17" fmla="*/ 60 h 390"/>
                  <a:gd name="T18" fmla="*/ 359 w 2398"/>
                  <a:gd name="T19" fmla="*/ 210 h 390"/>
                  <a:gd name="T20" fmla="*/ 359 w 2398"/>
                  <a:gd name="T21" fmla="*/ 360 h 390"/>
                  <a:gd name="T22" fmla="*/ 479 w 2398"/>
                  <a:gd name="T23" fmla="*/ 300 h 390"/>
                  <a:gd name="T24" fmla="*/ 419 w 2398"/>
                  <a:gd name="T25" fmla="*/ 120 h 390"/>
                  <a:gd name="T26" fmla="*/ 509 w 2398"/>
                  <a:gd name="T27" fmla="*/ 180 h 390"/>
                  <a:gd name="T28" fmla="*/ 509 w 2398"/>
                  <a:gd name="T29" fmla="*/ 60 h 390"/>
                  <a:gd name="T30" fmla="*/ 629 w 2398"/>
                  <a:gd name="T31" fmla="*/ 30 h 390"/>
                  <a:gd name="T32" fmla="*/ 719 w 2398"/>
                  <a:gd name="T33" fmla="*/ 0 h 390"/>
                  <a:gd name="T34" fmla="*/ 629 w 2398"/>
                  <a:gd name="T35" fmla="*/ 120 h 390"/>
                  <a:gd name="T36" fmla="*/ 719 w 2398"/>
                  <a:gd name="T37" fmla="*/ 150 h 390"/>
                  <a:gd name="T38" fmla="*/ 599 w 2398"/>
                  <a:gd name="T39" fmla="*/ 240 h 390"/>
                  <a:gd name="T40" fmla="*/ 659 w 2398"/>
                  <a:gd name="T41" fmla="*/ 360 h 390"/>
                  <a:gd name="T42" fmla="*/ 749 w 2398"/>
                  <a:gd name="T43" fmla="*/ 270 h 390"/>
                  <a:gd name="T44" fmla="*/ 839 w 2398"/>
                  <a:gd name="T45" fmla="*/ 60 h 390"/>
                  <a:gd name="T46" fmla="*/ 869 w 2398"/>
                  <a:gd name="T47" fmla="*/ 210 h 390"/>
                  <a:gd name="T48" fmla="*/ 929 w 2398"/>
                  <a:gd name="T49" fmla="*/ 90 h 390"/>
                  <a:gd name="T50" fmla="*/ 899 w 2398"/>
                  <a:gd name="T51" fmla="*/ 330 h 390"/>
                  <a:gd name="T52" fmla="*/ 1019 w 2398"/>
                  <a:gd name="T53" fmla="*/ 240 h 390"/>
                  <a:gd name="T54" fmla="*/ 1079 w 2398"/>
                  <a:gd name="T55" fmla="*/ 330 h 390"/>
                  <a:gd name="T56" fmla="*/ 1139 w 2398"/>
                  <a:gd name="T57" fmla="*/ 180 h 390"/>
                  <a:gd name="T58" fmla="*/ 1079 w 2398"/>
                  <a:gd name="T59" fmla="*/ 60 h 390"/>
                  <a:gd name="T60" fmla="*/ 1199 w 2398"/>
                  <a:gd name="T61" fmla="*/ 60 h 390"/>
                  <a:gd name="T62" fmla="*/ 1319 w 2398"/>
                  <a:gd name="T63" fmla="*/ 0 h 390"/>
                  <a:gd name="T64" fmla="*/ 1319 w 2398"/>
                  <a:gd name="T65" fmla="*/ 210 h 390"/>
                  <a:gd name="T66" fmla="*/ 1199 w 2398"/>
                  <a:gd name="T67" fmla="*/ 300 h 390"/>
                  <a:gd name="T68" fmla="*/ 1319 w 2398"/>
                  <a:gd name="T69" fmla="*/ 360 h 390"/>
                  <a:gd name="T70" fmla="*/ 1439 w 2398"/>
                  <a:gd name="T71" fmla="*/ 270 h 390"/>
                  <a:gd name="T72" fmla="*/ 1379 w 2398"/>
                  <a:gd name="T73" fmla="*/ 120 h 390"/>
                  <a:gd name="T74" fmla="*/ 1469 w 2398"/>
                  <a:gd name="T75" fmla="*/ 60 h 390"/>
                  <a:gd name="T76" fmla="*/ 1589 w 2398"/>
                  <a:gd name="T77" fmla="*/ 120 h 390"/>
                  <a:gd name="T78" fmla="*/ 1559 w 2398"/>
                  <a:gd name="T79" fmla="*/ 240 h 390"/>
                  <a:gd name="T80" fmla="*/ 1619 w 2398"/>
                  <a:gd name="T81" fmla="*/ 360 h 390"/>
                  <a:gd name="T82" fmla="*/ 1709 w 2398"/>
                  <a:gd name="T83" fmla="*/ 270 h 390"/>
                  <a:gd name="T84" fmla="*/ 1679 w 2398"/>
                  <a:gd name="T85" fmla="*/ 150 h 390"/>
                  <a:gd name="T86" fmla="*/ 1679 w 2398"/>
                  <a:gd name="T87" fmla="*/ 0 h 390"/>
                  <a:gd name="T88" fmla="*/ 1799 w 2398"/>
                  <a:gd name="T89" fmla="*/ 60 h 390"/>
                  <a:gd name="T90" fmla="*/ 1829 w 2398"/>
                  <a:gd name="T91" fmla="*/ 210 h 390"/>
                  <a:gd name="T92" fmla="*/ 1978 w 2398"/>
                  <a:gd name="T93" fmla="*/ 120 h 390"/>
                  <a:gd name="T94" fmla="*/ 1948 w 2398"/>
                  <a:gd name="T95" fmla="*/ 240 h 390"/>
                  <a:gd name="T96" fmla="*/ 1888 w 2398"/>
                  <a:gd name="T97" fmla="*/ 360 h 390"/>
                  <a:gd name="T98" fmla="*/ 2068 w 2398"/>
                  <a:gd name="T99" fmla="*/ 330 h 390"/>
                  <a:gd name="T100" fmla="*/ 2248 w 2398"/>
                  <a:gd name="T101" fmla="*/ 390 h 390"/>
                  <a:gd name="T102" fmla="*/ 2398 w 2398"/>
                  <a:gd name="T103" fmla="*/ 270 h 390"/>
                  <a:gd name="T104" fmla="*/ 2278 w 2398"/>
                  <a:gd name="T105" fmla="*/ 240 h 390"/>
                  <a:gd name="T106" fmla="*/ 2368 w 2398"/>
                  <a:gd name="T107" fmla="*/ 12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8" h="390">
                    <a:moveTo>
                      <a:pt x="509" y="60"/>
                    </a:moveTo>
                    <a:lnTo>
                      <a:pt x="419" y="120"/>
                    </a:lnTo>
                    <a:lnTo>
                      <a:pt x="239" y="60"/>
                    </a:lnTo>
                    <a:lnTo>
                      <a:pt x="90" y="30"/>
                    </a:lnTo>
                    <a:lnTo>
                      <a:pt x="0" y="120"/>
                    </a:lnTo>
                    <a:lnTo>
                      <a:pt x="180" y="180"/>
                    </a:lnTo>
                    <a:lnTo>
                      <a:pt x="90" y="330"/>
                    </a:lnTo>
                    <a:lnTo>
                      <a:pt x="239" y="300"/>
                    </a:lnTo>
                    <a:lnTo>
                      <a:pt x="239" y="60"/>
                    </a:lnTo>
                    <a:lnTo>
                      <a:pt x="359" y="210"/>
                    </a:lnTo>
                    <a:lnTo>
                      <a:pt x="359" y="360"/>
                    </a:lnTo>
                    <a:lnTo>
                      <a:pt x="479" y="300"/>
                    </a:lnTo>
                    <a:lnTo>
                      <a:pt x="419" y="120"/>
                    </a:lnTo>
                    <a:lnTo>
                      <a:pt x="509" y="180"/>
                    </a:lnTo>
                    <a:lnTo>
                      <a:pt x="509" y="60"/>
                    </a:lnTo>
                    <a:lnTo>
                      <a:pt x="629" y="30"/>
                    </a:lnTo>
                    <a:lnTo>
                      <a:pt x="719" y="0"/>
                    </a:lnTo>
                    <a:lnTo>
                      <a:pt x="629" y="120"/>
                    </a:lnTo>
                    <a:lnTo>
                      <a:pt x="719" y="150"/>
                    </a:lnTo>
                    <a:lnTo>
                      <a:pt x="599" y="240"/>
                    </a:lnTo>
                    <a:lnTo>
                      <a:pt x="659" y="360"/>
                    </a:lnTo>
                    <a:lnTo>
                      <a:pt x="749" y="270"/>
                    </a:lnTo>
                    <a:lnTo>
                      <a:pt x="839" y="60"/>
                    </a:lnTo>
                    <a:lnTo>
                      <a:pt x="869" y="210"/>
                    </a:lnTo>
                    <a:lnTo>
                      <a:pt x="929" y="90"/>
                    </a:lnTo>
                    <a:lnTo>
                      <a:pt x="899" y="330"/>
                    </a:lnTo>
                    <a:lnTo>
                      <a:pt x="1019" y="240"/>
                    </a:lnTo>
                    <a:lnTo>
                      <a:pt x="1079" y="330"/>
                    </a:lnTo>
                    <a:lnTo>
                      <a:pt x="1139" y="180"/>
                    </a:lnTo>
                    <a:lnTo>
                      <a:pt x="1079" y="60"/>
                    </a:lnTo>
                    <a:lnTo>
                      <a:pt x="1199" y="60"/>
                    </a:lnTo>
                    <a:lnTo>
                      <a:pt x="1319" y="0"/>
                    </a:lnTo>
                    <a:lnTo>
                      <a:pt x="1319" y="210"/>
                    </a:lnTo>
                    <a:lnTo>
                      <a:pt x="1199" y="300"/>
                    </a:lnTo>
                    <a:lnTo>
                      <a:pt x="1319" y="360"/>
                    </a:lnTo>
                    <a:lnTo>
                      <a:pt x="1439" y="270"/>
                    </a:lnTo>
                    <a:lnTo>
                      <a:pt x="1379" y="120"/>
                    </a:lnTo>
                    <a:lnTo>
                      <a:pt x="1469" y="60"/>
                    </a:lnTo>
                    <a:lnTo>
                      <a:pt x="1589" y="120"/>
                    </a:lnTo>
                    <a:lnTo>
                      <a:pt x="1559" y="240"/>
                    </a:lnTo>
                    <a:lnTo>
                      <a:pt x="1619" y="360"/>
                    </a:lnTo>
                    <a:lnTo>
                      <a:pt x="1709" y="270"/>
                    </a:lnTo>
                    <a:lnTo>
                      <a:pt x="1679" y="150"/>
                    </a:lnTo>
                    <a:lnTo>
                      <a:pt x="1679" y="0"/>
                    </a:lnTo>
                    <a:lnTo>
                      <a:pt x="1799" y="60"/>
                    </a:lnTo>
                    <a:lnTo>
                      <a:pt x="1829" y="210"/>
                    </a:lnTo>
                    <a:lnTo>
                      <a:pt x="1978" y="120"/>
                    </a:lnTo>
                    <a:lnTo>
                      <a:pt x="1948" y="240"/>
                    </a:lnTo>
                    <a:lnTo>
                      <a:pt x="1888" y="360"/>
                    </a:lnTo>
                    <a:lnTo>
                      <a:pt x="2068" y="330"/>
                    </a:lnTo>
                    <a:lnTo>
                      <a:pt x="2248" y="390"/>
                    </a:lnTo>
                    <a:lnTo>
                      <a:pt x="2398" y="270"/>
                    </a:lnTo>
                    <a:lnTo>
                      <a:pt x="2278" y="240"/>
                    </a:lnTo>
                    <a:lnTo>
                      <a:pt x="2368"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2" name="Line 2576">
                <a:extLst>
                  <a:ext uri="{FF2B5EF4-FFF2-40B4-BE49-F238E27FC236}">
                    <a16:creationId xmlns:a16="http://schemas.microsoft.com/office/drawing/2014/main" id="{1C629F1A-FEAE-4069-8986-68E7DF55FBDB}"/>
                  </a:ext>
                </a:extLst>
              </p:cNvPr>
              <p:cNvSpPr>
                <a:spLocks noChangeShapeType="1"/>
              </p:cNvSpPr>
              <p:nvPr/>
            </p:nvSpPr>
            <p:spPr bwMode="auto">
              <a:xfrm flipV="1">
                <a:off x="2235" y="15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3" name="Freeform 2577">
                <a:extLst>
                  <a:ext uri="{FF2B5EF4-FFF2-40B4-BE49-F238E27FC236}">
                    <a16:creationId xmlns:a16="http://schemas.microsoft.com/office/drawing/2014/main" id="{4156D02A-C302-42A8-9BB2-630491DE55D9}"/>
                  </a:ext>
                </a:extLst>
              </p:cNvPr>
              <p:cNvSpPr>
                <a:spLocks/>
              </p:cNvSpPr>
              <p:nvPr/>
            </p:nvSpPr>
            <p:spPr bwMode="auto">
              <a:xfrm>
                <a:off x="2355" y="210"/>
                <a:ext cx="180" cy="360"/>
              </a:xfrm>
              <a:custGeom>
                <a:avLst/>
                <a:gdLst>
                  <a:gd name="T0" fmla="*/ 180 w 180"/>
                  <a:gd name="T1" fmla="*/ 180 h 360"/>
                  <a:gd name="T2" fmla="*/ 0 w 180"/>
                  <a:gd name="T3" fmla="*/ 120 h 360"/>
                  <a:gd name="T4" fmla="*/ 30 w 180"/>
                  <a:gd name="T5" fmla="*/ 0 h 360"/>
                  <a:gd name="T6" fmla="*/ 120 w 180"/>
                  <a:gd name="T7" fmla="*/ 60 h 360"/>
                  <a:gd name="T8" fmla="*/ 60 w 180"/>
                  <a:gd name="T9" fmla="*/ 360 h 360"/>
                </a:gdLst>
                <a:ahLst/>
                <a:cxnLst>
                  <a:cxn ang="0">
                    <a:pos x="T0" y="T1"/>
                  </a:cxn>
                  <a:cxn ang="0">
                    <a:pos x="T2" y="T3"/>
                  </a:cxn>
                  <a:cxn ang="0">
                    <a:pos x="T4" y="T5"/>
                  </a:cxn>
                  <a:cxn ang="0">
                    <a:pos x="T6" y="T7"/>
                  </a:cxn>
                  <a:cxn ang="0">
                    <a:pos x="T8" y="T9"/>
                  </a:cxn>
                </a:cxnLst>
                <a:rect l="0" t="0" r="r" b="b"/>
                <a:pathLst>
                  <a:path w="180" h="360">
                    <a:moveTo>
                      <a:pt x="180" y="180"/>
                    </a:moveTo>
                    <a:lnTo>
                      <a:pt x="0" y="120"/>
                    </a:lnTo>
                    <a:lnTo>
                      <a:pt x="30" y="0"/>
                    </a:lnTo>
                    <a:lnTo>
                      <a:pt x="120" y="60"/>
                    </a:lnTo>
                    <a:lnTo>
                      <a:pt x="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4" name="Line 2578">
                <a:extLst>
                  <a:ext uri="{FF2B5EF4-FFF2-40B4-BE49-F238E27FC236}">
                    <a16:creationId xmlns:a16="http://schemas.microsoft.com/office/drawing/2014/main" id="{9CD6E701-6EE7-43DC-8EE7-986477AE1EE1}"/>
                  </a:ext>
                </a:extLst>
              </p:cNvPr>
              <p:cNvSpPr>
                <a:spLocks noChangeShapeType="1"/>
              </p:cNvSpPr>
              <p:nvPr/>
            </p:nvSpPr>
            <p:spPr bwMode="auto">
              <a:xfrm>
                <a:off x="2235" y="390"/>
                <a:ext cx="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5" name="Freeform 2579">
                <a:extLst>
                  <a:ext uri="{FF2B5EF4-FFF2-40B4-BE49-F238E27FC236}">
                    <a16:creationId xmlns:a16="http://schemas.microsoft.com/office/drawing/2014/main" id="{3045E092-A0A6-48C3-9586-3CAB2DFA2C11}"/>
                  </a:ext>
                </a:extLst>
              </p:cNvPr>
              <p:cNvSpPr>
                <a:spLocks/>
              </p:cNvSpPr>
              <p:nvPr/>
            </p:nvSpPr>
            <p:spPr bwMode="auto">
              <a:xfrm>
                <a:off x="2625" y="300"/>
                <a:ext cx="180" cy="330"/>
              </a:xfrm>
              <a:custGeom>
                <a:avLst/>
                <a:gdLst>
                  <a:gd name="T0" fmla="*/ 180 w 180"/>
                  <a:gd name="T1" fmla="*/ 240 h 330"/>
                  <a:gd name="T2" fmla="*/ 0 w 180"/>
                  <a:gd name="T3" fmla="*/ 0 h 330"/>
                  <a:gd name="T4" fmla="*/ 120 w 180"/>
                  <a:gd name="T5" fmla="*/ 330 h 330"/>
                </a:gdLst>
                <a:ahLst/>
                <a:cxnLst>
                  <a:cxn ang="0">
                    <a:pos x="T0" y="T1"/>
                  </a:cxn>
                  <a:cxn ang="0">
                    <a:pos x="T2" y="T3"/>
                  </a:cxn>
                  <a:cxn ang="0">
                    <a:pos x="T4" y="T5"/>
                  </a:cxn>
                </a:cxnLst>
                <a:rect l="0" t="0" r="r" b="b"/>
                <a:pathLst>
                  <a:path w="180" h="330">
                    <a:moveTo>
                      <a:pt x="180" y="240"/>
                    </a:moveTo>
                    <a:lnTo>
                      <a:pt x="0" y="0"/>
                    </a:lnTo>
                    <a:lnTo>
                      <a:pt x="12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6" name="Line 2580">
                <a:extLst>
                  <a:ext uri="{FF2B5EF4-FFF2-40B4-BE49-F238E27FC236}">
                    <a16:creationId xmlns:a16="http://schemas.microsoft.com/office/drawing/2014/main" id="{0E961154-7347-4753-9E22-1FFE455D8ACC}"/>
                  </a:ext>
                </a:extLst>
              </p:cNvPr>
              <p:cNvSpPr>
                <a:spLocks noChangeShapeType="1"/>
              </p:cNvSpPr>
              <p:nvPr/>
            </p:nvSpPr>
            <p:spPr bwMode="auto">
              <a:xfrm>
                <a:off x="2595" y="18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210" name="Group 2782">
              <a:extLst>
                <a:ext uri="{FF2B5EF4-FFF2-40B4-BE49-F238E27FC236}">
                  <a16:creationId xmlns:a16="http://schemas.microsoft.com/office/drawing/2014/main" id="{095EC21D-C9DA-46C3-810B-72115F53E4FE}"/>
                </a:ext>
              </a:extLst>
            </p:cNvPr>
            <p:cNvGrpSpPr>
              <a:grpSpLocks/>
            </p:cNvGrpSpPr>
            <p:nvPr/>
          </p:nvGrpSpPr>
          <p:grpSpPr bwMode="auto">
            <a:xfrm>
              <a:off x="1246" y="0"/>
              <a:ext cx="3268" cy="3210"/>
              <a:chOff x="1246" y="0"/>
              <a:chExt cx="3268" cy="3210"/>
            </a:xfrm>
          </p:grpSpPr>
          <p:sp>
            <p:nvSpPr>
              <p:cNvPr id="597" name="Freeform 2582">
                <a:extLst>
                  <a:ext uri="{FF2B5EF4-FFF2-40B4-BE49-F238E27FC236}">
                    <a16:creationId xmlns:a16="http://schemas.microsoft.com/office/drawing/2014/main" id="{E7716FB0-328F-48B8-B06B-7E8D27764301}"/>
                  </a:ext>
                </a:extLst>
              </p:cNvPr>
              <p:cNvSpPr>
                <a:spLocks/>
              </p:cNvSpPr>
              <p:nvPr/>
            </p:nvSpPr>
            <p:spPr bwMode="auto">
              <a:xfrm>
                <a:off x="2895" y="90"/>
                <a:ext cx="180" cy="240"/>
              </a:xfrm>
              <a:custGeom>
                <a:avLst/>
                <a:gdLst>
                  <a:gd name="T0" fmla="*/ 180 w 180"/>
                  <a:gd name="T1" fmla="*/ 0 h 240"/>
                  <a:gd name="T2" fmla="*/ 180 w 180"/>
                  <a:gd name="T3" fmla="*/ 240 h 240"/>
                  <a:gd name="T4" fmla="*/ 0 w 180"/>
                  <a:gd name="T5" fmla="*/ 180 h 240"/>
                </a:gdLst>
                <a:ahLst/>
                <a:cxnLst>
                  <a:cxn ang="0">
                    <a:pos x="T0" y="T1"/>
                  </a:cxn>
                  <a:cxn ang="0">
                    <a:pos x="T2" y="T3"/>
                  </a:cxn>
                  <a:cxn ang="0">
                    <a:pos x="T4" y="T5"/>
                  </a:cxn>
                </a:cxnLst>
                <a:rect l="0" t="0" r="r" b="b"/>
                <a:pathLst>
                  <a:path w="180" h="240">
                    <a:moveTo>
                      <a:pt x="180" y="0"/>
                    </a:moveTo>
                    <a:lnTo>
                      <a:pt x="180" y="24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8" name="Freeform 2583">
                <a:extLst>
                  <a:ext uri="{FF2B5EF4-FFF2-40B4-BE49-F238E27FC236}">
                    <a16:creationId xmlns:a16="http://schemas.microsoft.com/office/drawing/2014/main" id="{4FF5B36B-3480-4A8F-84B6-3729F1D6AD02}"/>
                  </a:ext>
                </a:extLst>
              </p:cNvPr>
              <p:cNvSpPr>
                <a:spLocks/>
              </p:cNvSpPr>
              <p:nvPr/>
            </p:nvSpPr>
            <p:spPr bwMode="auto">
              <a:xfrm>
                <a:off x="2805" y="120"/>
                <a:ext cx="450" cy="90"/>
              </a:xfrm>
              <a:custGeom>
                <a:avLst/>
                <a:gdLst>
                  <a:gd name="T0" fmla="*/ 0 w 450"/>
                  <a:gd name="T1" fmla="*/ 0 h 90"/>
                  <a:gd name="T2" fmla="*/ 210 w 450"/>
                  <a:gd name="T3" fmla="*/ 90 h 90"/>
                  <a:gd name="T4" fmla="*/ 450 w 450"/>
                  <a:gd name="T5" fmla="*/ 30 h 90"/>
                </a:gdLst>
                <a:ahLst/>
                <a:cxnLst>
                  <a:cxn ang="0">
                    <a:pos x="T0" y="T1"/>
                  </a:cxn>
                  <a:cxn ang="0">
                    <a:pos x="T2" y="T3"/>
                  </a:cxn>
                  <a:cxn ang="0">
                    <a:pos x="T4" y="T5"/>
                  </a:cxn>
                </a:cxnLst>
                <a:rect l="0" t="0" r="r" b="b"/>
                <a:pathLst>
                  <a:path w="450" h="90">
                    <a:moveTo>
                      <a:pt x="0" y="0"/>
                    </a:moveTo>
                    <a:lnTo>
                      <a:pt x="210" y="90"/>
                    </a:lnTo>
                    <a:lnTo>
                      <a:pt x="45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9" name="Freeform 2584">
                <a:extLst>
                  <a:ext uri="{FF2B5EF4-FFF2-40B4-BE49-F238E27FC236}">
                    <a16:creationId xmlns:a16="http://schemas.microsoft.com/office/drawing/2014/main" id="{8BF38EBB-4C64-4E14-A285-675F17A43029}"/>
                  </a:ext>
                </a:extLst>
              </p:cNvPr>
              <p:cNvSpPr>
                <a:spLocks/>
              </p:cNvSpPr>
              <p:nvPr/>
            </p:nvSpPr>
            <p:spPr bwMode="auto">
              <a:xfrm>
                <a:off x="2955" y="270"/>
                <a:ext cx="480" cy="240"/>
              </a:xfrm>
              <a:custGeom>
                <a:avLst/>
                <a:gdLst>
                  <a:gd name="T0" fmla="*/ 480 w 480"/>
                  <a:gd name="T1" fmla="*/ 0 h 240"/>
                  <a:gd name="T2" fmla="*/ 330 w 480"/>
                  <a:gd name="T3" fmla="*/ 210 h 240"/>
                  <a:gd name="T4" fmla="*/ 0 w 480"/>
                  <a:gd name="T5" fmla="*/ 90 h 240"/>
                  <a:gd name="T6" fmla="*/ 150 w 480"/>
                  <a:gd name="T7" fmla="*/ 240 h 240"/>
                </a:gdLst>
                <a:ahLst/>
                <a:cxnLst>
                  <a:cxn ang="0">
                    <a:pos x="T0" y="T1"/>
                  </a:cxn>
                  <a:cxn ang="0">
                    <a:pos x="T2" y="T3"/>
                  </a:cxn>
                  <a:cxn ang="0">
                    <a:pos x="T4" y="T5"/>
                  </a:cxn>
                  <a:cxn ang="0">
                    <a:pos x="T6" y="T7"/>
                  </a:cxn>
                </a:cxnLst>
                <a:rect l="0" t="0" r="r" b="b"/>
                <a:pathLst>
                  <a:path w="480" h="240">
                    <a:moveTo>
                      <a:pt x="480" y="0"/>
                    </a:moveTo>
                    <a:lnTo>
                      <a:pt x="330" y="210"/>
                    </a:lnTo>
                    <a:lnTo>
                      <a:pt x="0" y="9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0" name="Line 2585">
                <a:extLst>
                  <a:ext uri="{FF2B5EF4-FFF2-40B4-BE49-F238E27FC236}">
                    <a16:creationId xmlns:a16="http://schemas.microsoft.com/office/drawing/2014/main" id="{936342B7-87DB-45BB-A397-326490C9294B}"/>
                  </a:ext>
                </a:extLst>
              </p:cNvPr>
              <p:cNvSpPr>
                <a:spLocks noChangeShapeType="1"/>
              </p:cNvSpPr>
              <p:nvPr/>
            </p:nvSpPr>
            <p:spPr bwMode="auto">
              <a:xfrm flipV="1">
                <a:off x="3465" y="39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1" name="Freeform 2586">
                <a:extLst>
                  <a:ext uri="{FF2B5EF4-FFF2-40B4-BE49-F238E27FC236}">
                    <a16:creationId xmlns:a16="http://schemas.microsoft.com/office/drawing/2014/main" id="{938AC454-BBC8-4894-9541-5A9A34D59FC7}"/>
                  </a:ext>
                </a:extLst>
              </p:cNvPr>
              <p:cNvSpPr>
                <a:spLocks/>
              </p:cNvSpPr>
              <p:nvPr/>
            </p:nvSpPr>
            <p:spPr bwMode="auto">
              <a:xfrm>
                <a:off x="3585" y="240"/>
                <a:ext cx="209" cy="270"/>
              </a:xfrm>
              <a:custGeom>
                <a:avLst/>
                <a:gdLst>
                  <a:gd name="T0" fmla="*/ 0 w 209"/>
                  <a:gd name="T1" fmla="*/ 60 h 270"/>
                  <a:gd name="T2" fmla="*/ 90 w 209"/>
                  <a:gd name="T3" fmla="*/ 210 h 270"/>
                  <a:gd name="T4" fmla="*/ 120 w 209"/>
                  <a:gd name="T5" fmla="*/ 0 h 270"/>
                  <a:gd name="T6" fmla="*/ 179 w 209"/>
                  <a:gd name="T7" fmla="*/ 150 h 270"/>
                  <a:gd name="T8" fmla="*/ 209 w 209"/>
                  <a:gd name="T9" fmla="*/ 270 h 270"/>
                </a:gdLst>
                <a:ahLst/>
                <a:cxnLst>
                  <a:cxn ang="0">
                    <a:pos x="T0" y="T1"/>
                  </a:cxn>
                  <a:cxn ang="0">
                    <a:pos x="T2" y="T3"/>
                  </a:cxn>
                  <a:cxn ang="0">
                    <a:pos x="T4" y="T5"/>
                  </a:cxn>
                  <a:cxn ang="0">
                    <a:pos x="T6" y="T7"/>
                  </a:cxn>
                  <a:cxn ang="0">
                    <a:pos x="T8" y="T9"/>
                  </a:cxn>
                </a:cxnLst>
                <a:rect l="0" t="0" r="r" b="b"/>
                <a:pathLst>
                  <a:path w="209" h="270">
                    <a:moveTo>
                      <a:pt x="0" y="60"/>
                    </a:moveTo>
                    <a:lnTo>
                      <a:pt x="90" y="210"/>
                    </a:lnTo>
                    <a:lnTo>
                      <a:pt x="120" y="0"/>
                    </a:lnTo>
                    <a:lnTo>
                      <a:pt x="179" y="150"/>
                    </a:lnTo>
                    <a:lnTo>
                      <a:pt x="20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2" name="Freeform 2587">
                <a:extLst>
                  <a:ext uri="{FF2B5EF4-FFF2-40B4-BE49-F238E27FC236}">
                    <a16:creationId xmlns:a16="http://schemas.microsoft.com/office/drawing/2014/main" id="{802E714F-ABD5-494E-A017-F8216B6CAC6F}"/>
                  </a:ext>
                </a:extLst>
              </p:cNvPr>
              <p:cNvSpPr>
                <a:spLocks/>
              </p:cNvSpPr>
              <p:nvPr/>
            </p:nvSpPr>
            <p:spPr bwMode="auto">
              <a:xfrm>
                <a:off x="3555" y="90"/>
                <a:ext cx="389" cy="270"/>
              </a:xfrm>
              <a:custGeom>
                <a:avLst/>
                <a:gdLst>
                  <a:gd name="T0" fmla="*/ 150 w 389"/>
                  <a:gd name="T1" fmla="*/ 150 h 270"/>
                  <a:gd name="T2" fmla="*/ 0 w 389"/>
                  <a:gd name="T3" fmla="*/ 90 h 270"/>
                  <a:gd name="T4" fmla="*/ 120 w 389"/>
                  <a:gd name="T5" fmla="*/ 0 h 270"/>
                  <a:gd name="T6" fmla="*/ 269 w 389"/>
                  <a:gd name="T7" fmla="*/ 180 h 270"/>
                  <a:gd name="T8" fmla="*/ 389 w 389"/>
                  <a:gd name="T9" fmla="*/ 270 h 270"/>
                </a:gdLst>
                <a:ahLst/>
                <a:cxnLst>
                  <a:cxn ang="0">
                    <a:pos x="T0" y="T1"/>
                  </a:cxn>
                  <a:cxn ang="0">
                    <a:pos x="T2" y="T3"/>
                  </a:cxn>
                  <a:cxn ang="0">
                    <a:pos x="T4" y="T5"/>
                  </a:cxn>
                  <a:cxn ang="0">
                    <a:pos x="T6" y="T7"/>
                  </a:cxn>
                  <a:cxn ang="0">
                    <a:pos x="T8" y="T9"/>
                  </a:cxn>
                </a:cxnLst>
                <a:rect l="0" t="0" r="r" b="b"/>
                <a:pathLst>
                  <a:path w="389" h="270">
                    <a:moveTo>
                      <a:pt x="150" y="150"/>
                    </a:moveTo>
                    <a:lnTo>
                      <a:pt x="0" y="90"/>
                    </a:lnTo>
                    <a:lnTo>
                      <a:pt x="120" y="0"/>
                    </a:lnTo>
                    <a:lnTo>
                      <a:pt x="269" y="180"/>
                    </a:lnTo>
                    <a:lnTo>
                      <a:pt x="38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3" name="Freeform 2588">
                <a:extLst>
                  <a:ext uri="{FF2B5EF4-FFF2-40B4-BE49-F238E27FC236}">
                    <a16:creationId xmlns:a16="http://schemas.microsoft.com/office/drawing/2014/main" id="{BE016745-27D8-41FA-89C0-85A1FF62DC49}"/>
                  </a:ext>
                </a:extLst>
              </p:cNvPr>
              <p:cNvSpPr>
                <a:spLocks/>
              </p:cNvSpPr>
              <p:nvPr/>
            </p:nvSpPr>
            <p:spPr bwMode="auto">
              <a:xfrm>
                <a:off x="3764" y="390"/>
                <a:ext cx="360" cy="360"/>
              </a:xfrm>
              <a:custGeom>
                <a:avLst/>
                <a:gdLst>
                  <a:gd name="T0" fmla="*/ 0 w 360"/>
                  <a:gd name="T1" fmla="*/ 0 h 360"/>
                  <a:gd name="T2" fmla="*/ 180 w 360"/>
                  <a:gd name="T3" fmla="*/ 90 h 360"/>
                  <a:gd name="T4" fmla="*/ 360 w 360"/>
                  <a:gd name="T5" fmla="*/ 360 h 360"/>
                </a:gdLst>
                <a:ahLst/>
                <a:cxnLst>
                  <a:cxn ang="0">
                    <a:pos x="T0" y="T1"/>
                  </a:cxn>
                  <a:cxn ang="0">
                    <a:pos x="T2" y="T3"/>
                  </a:cxn>
                  <a:cxn ang="0">
                    <a:pos x="T4" y="T5"/>
                  </a:cxn>
                </a:cxnLst>
                <a:rect l="0" t="0" r="r" b="b"/>
                <a:pathLst>
                  <a:path w="360" h="360">
                    <a:moveTo>
                      <a:pt x="0" y="0"/>
                    </a:moveTo>
                    <a:lnTo>
                      <a:pt x="180" y="90"/>
                    </a:lnTo>
                    <a:lnTo>
                      <a:pt x="3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4" name="Freeform 2589">
                <a:extLst>
                  <a:ext uri="{FF2B5EF4-FFF2-40B4-BE49-F238E27FC236}">
                    <a16:creationId xmlns:a16="http://schemas.microsoft.com/office/drawing/2014/main" id="{B9B995A7-F5FA-40C5-8E0E-8369574572DF}"/>
                  </a:ext>
                </a:extLst>
              </p:cNvPr>
              <p:cNvSpPr>
                <a:spLocks/>
              </p:cNvSpPr>
              <p:nvPr/>
            </p:nvSpPr>
            <p:spPr bwMode="auto">
              <a:xfrm>
                <a:off x="3824" y="60"/>
                <a:ext cx="600" cy="240"/>
              </a:xfrm>
              <a:custGeom>
                <a:avLst/>
                <a:gdLst>
                  <a:gd name="T0" fmla="*/ 600 w 600"/>
                  <a:gd name="T1" fmla="*/ 0 h 240"/>
                  <a:gd name="T2" fmla="*/ 450 w 600"/>
                  <a:gd name="T3" fmla="*/ 240 h 240"/>
                  <a:gd name="T4" fmla="*/ 270 w 600"/>
                  <a:gd name="T5" fmla="*/ 60 h 240"/>
                  <a:gd name="T6" fmla="*/ 0 w 600"/>
                  <a:gd name="T7" fmla="*/ 210 h 240"/>
                </a:gdLst>
                <a:ahLst/>
                <a:cxnLst>
                  <a:cxn ang="0">
                    <a:pos x="T0" y="T1"/>
                  </a:cxn>
                  <a:cxn ang="0">
                    <a:pos x="T2" y="T3"/>
                  </a:cxn>
                  <a:cxn ang="0">
                    <a:pos x="T4" y="T5"/>
                  </a:cxn>
                  <a:cxn ang="0">
                    <a:pos x="T6" y="T7"/>
                  </a:cxn>
                </a:cxnLst>
                <a:rect l="0" t="0" r="r" b="b"/>
                <a:pathLst>
                  <a:path w="600" h="240">
                    <a:moveTo>
                      <a:pt x="600" y="0"/>
                    </a:moveTo>
                    <a:lnTo>
                      <a:pt x="450" y="240"/>
                    </a:ln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5" name="Freeform 2590">
                <a:extLst>
                  <a:ext uri="{FF2B5EF4-FFF2-40B4-BE49-F238E27FC236}">
                    <a16:creationId xmlns:a16="http://schemas.microsoft.com/office/drawing/2014/main" id="{503C3C56-2C33-4C46-BD7F-BF4B0B1D9770}"/>
                  </a:ext>
                </a:extLst>
              </p:cNvPr>
              <p:cNvSpPr>
                <a:spLocks/>
              </p:cNvSpPr>
              <p:nvPr/>
            </p:nvSpPr>
            <p:spPr bwMode="auto">
              <a:xfrm>
                <a:off x="1576" y="2550"/>
                <a:ext cx="2338" cy="660"/>
              </a:xfrm>
              <a:custGeom>
                <a:avLst/>
                <a:gdLst>
                  <a:gd name="T0" fmla="*/ 30 w 2338"/>
                  <a:gd name="T1" fmla="*/ 420 h 660"/>
                  <a:gd name="T2" fmla="*/ 0 w 2338"/>
                  <a:gd name="T3" fmla="*/ 270 h 660"/>
                  <a:gd name="T4" fmla="*/ 150 w 2338"/>
                  <a:gd name="T5" fmla="*/ 510 h 660"/>
                  <a:gd name="T6" fmla="*/ 210 w 2338"/>
                  <a:gd name="T7" fmla="*/ 420 h 660"/>
                  <a:gd name="T8" fmla="*/ 210 w 2338"/>
                  <a:gd name="T9" fmla="*/ 120 h 660"/>
                  <a:gd name="T10" fmla="*/ 60 w 2338"/>
                  <a:gd name="T11" fmla="*/ 150 h 660"/>
                  <a:gd name="T12" fmla="*/ 120 w 2338"/>
                  <a:gd name="T13" fmla="*/ 0 h 660"/>
                  <a:gd name="T14" fmla="*/ 330 w 2338"/>
                  <a:gd name="T15" fmla="*/ 90 h 660"/>
                  <a:gd name="T16" fmla="*/ 420 w 2338"/>
                  <a:gd name="T17" fmla="*/ 210 h 660"/>
                  <a:gd name="T18" fmla="*/ 210 w 2338"/>
                  <a:gd name="T19" fmla="*/ 120 h 660"/>
                  <a:gd name="T20" fmla="*/ 270 w 2338"/>
                  <a:gd name="T21" fmla="*/ 240 h 660"/>
                  <a:gd name="T22" fmla="*/ 420 w 2338"/>
                  <a:gd name="T23" fmla="*/ 210 h 660"/>
                  <a:gd name="T24" fmla="*/ 510 w 2338"/>
                  <a:gd name="T25" fmla="*/ 120 h 660"/>
                  <a:gd name="T26" fmla="*/ 599 w 2338"/>
                  <a:gd name="T27" fmla="*/ 210 h 660"/>
                  <a:gd name="T28" fmla="*/ 809 w 2338"/>
                  <a:gd name="T29" fmla="*/ 150 h 660"/>
                  <a:gd name="T30" fmla="*/ 719 w 2338"/>
                  <a:gd name="T31" fmla="*/ 240 h 660"/>
                  <a:gd name="T32" fmla="*/ 510 w 2338"/>
                  <a:gd name="T33" fmla="*/ 480 h 660"/>
                  <a:gd name="T34" fmla="*/ 689 w 2338"/>
                  <a:gd name="T35" fmla="*/ 510 h 660"/>
                  <a:gd name="T36" fmla="*/ 689 w 2338"/>
                  <a:gd name="T37" fmla="*/ 660 h 660"/>
                  <a:gd name="T38" fmla="*/ 569 w 2338"/>
                  <a:gd name="T39" fmla="*/ 600 h 660"/>
                  <a:gd name="T40" fmla="*/ 300 w 2338"/>
                  <a:gd name="T41" fmla="*/ 570 h 660"/>
                  <a:gd name="T42" fmla="*/ 420 w 2338"/>
                  <a:gd name="T43" fmla="*/ 330 h 660"/>
                  <a:gd name="T44" fmla="*/ 569 w 2338"/>
                  <a:gd name="T45" fmla="*/ 360 h 660"/>
                  <a:gd name="T46" fmla="*/ 599 w 2338"/>
                  <a:gd name="T47" fmla="*/ 210 h 660"/>
                  <a:gd name="T48" fmla="*/ 749 w 2338"/>
                  <a:gd name="T49" fmla="*/ 420 h 660"/>
                  <a:gd name="T50" fmla="*/ 689 w 2338"/>
                  <a:gd name="T51" fmla="*/ 510 h 660"/>
                  <a:gd name="T52" fmla="*/ 809 w 2338"/>
                  <a:gd name="T53" fmla="*/ 600 h 660"/>
                  <a:gd name="T54" fmla="*/ 929 w 2338"/>
                  <a:gd name="T55" fmla="*/ 540 h 660"/>
                  <a:gd name="T56" fmla="*/ 1079 w 2338"/>
                  <a:gd name="T57" fmla="*/ 570 h 660"/>
                  <a:gd name="T58" fmla="*/ 1049 w 2338"/>
                  <a:gd name="T59" fmla="*/ 450 h 660"/>
                  <a:gd name="T60" fmla="*/ 959 w 2338"/>
                  <a:gd name="T61" fmla="*/ 420 h 660"/>
                  <a:gd name="T62" fmla="*/ 1049 w 2338"/>
                  <a:gd name="T63" fmla="*/ 300 h 660"/>
                  <a:gd name="T64" fmla="*/ 1169 w 2338"/>
                  <a:gd name="T65" fmla="*/ 360 h 660"/>
                  <a:gd name="T66" fmla="*/ 1259 w 2338"/>
                  <a:gd name="T67" fmla="*/ 390 h 660"/>
                  <a:gd name="T68" fmla="*/ 1199 w 2338"/>
                  <a:gd name="T69" fmla="*/ 510 h 660"/>
                  <a:gd name="T70" fmla="*/ 1349 w 2338"/>
                  <a:gd name="T71" fmla="*/ 540 h 660"/>
                  <a:gd name="T72" fmla="*/ 1409 w 2338"/>
                  <a:gd name="T73" fmla="*/ 360 h 660"/>
                  <a:gd name="T74" fmla="*/ 1469 w 2338"/>
                  <a:gd name="T75" fmla="*/ 480 h 660"/>
                  <a:gd name="T76" fmla="*/ 1529 w 2338"/>
                  <a:gd name="T77" fmla="*/ 360 h 660"/>
                  <a:gd name="T78" fmla="*/ 1529 w 2338"/>
                  <a:gd name="T79" fmla="*/ 600 h 660"/>
                  <a:gd name="T80" fmla="*/ 1409 w 2338"/>
                  <a:gd name="T81" fmla="*/ 630 h 660"/>
                  <a:gd name="T82" fmla="*/ 1649 w 2338"/>
                  <a:gd name="T83" fmla="*/ 300 h 660"/>
                  <a:gd name="T84" fmla="*/ 1649 w 2338"/>
                  <a:gd name="T85" fmla="*/ 510 h 660"/>
                  <a:gd name="T86" fmla="*/ 1709 w 2338"/>
                  <a:gd name="T87" fmla="*/ 420 h 660"/>
                  <a:gd name="T88" fmla="*/ 1799 w 2338"/>
                  <a:gd name="T89" fmla="*/ 360 h 660"/>
                  <a:gd name="T90" fmla="*/ 1799 w 2338"/>
                  <a:gd name="T91" fmla="*/ 480 h 660"/>
                  <a:gd name="T92" fmla="*/ 1739 w 2338"/>
                  <a:gd name="T93" fmla="*/ 600 h 660"/>
                  <a:gd name="T94" fmla="*/ 1889 w 2338"/>
                  <a:gd name="T95" fmla="*/ 540 h 660"/>
                  <a:gd name="T96" fmla="*/ 1949 w 2338"/>
                  <a:gd name="T97" fmla="*/ 660 h 660"/>
                  <a:gd name="T98" fmla="*/ 2039 w 2338"/>
                  <a:gd name="T99" fmla="*/ 570 h 660"/>
                  <a:gd name="T100" fmla="*/ 2009 w 2338"/>
                  <a:gd name="T101" fmla="*/ 450 h 660"/>
                  <a:gd name="T102" fmla="*/ 1919 w 2338"/>
                  <a:gd name="T103" fmla="*/ 420 h 660"/>
                  <a:gd name="T104" fmla="*/ 2009 w 2338"/>
                  <a:gd name="T105" fmla="*/ 300 h 660"/>
                  <a:gd name="T106" fmla="*/ 2129 w 2338"/>
                  <a:gd name="T107" fmla="*/ 360 h 660"/>
                  <a:gd name="T108" fmla="*/ 2159 w 2338"/>
                  <a:gd name="T109" fmla="*/ 510 h 660"/>
                  <a:gd name="T110" fmla="*/ 2338 w 2338"/>
                  <a:gd name="T111" fmla="*/ 540 h 660"/>
                  <a:gd name="T112" fmla="*/ 2218 w 2338"/>
                  <a:gd name="T113" fmla="*/ 660 h 660"/>
                  <a:gd name="T114" fmla="*/ 2248 w 2338"/>
                  <a:gd name="T115" fmla="*/ 390 h 660"/>
                  <a:gd name="T116" fmla="*/ 2069 w 2338"/>
                  <a:gd name="T117" fmla="*/ 24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8" h="660">
                    <a:moveTo>
                      <a:pt x="30" y="420"/>
                    </a:moveTo>
                    <a:lnTo>
                      <a:pt x="0" y="270"/>
                    </a:lnTo>
                    <a:lnTo>
                      <a:pt x="150" y="510"/>
                    </a:lnTo>
                    <a:lnTo>
                      <a:pt x="210" y="420"/>
                    </a:lnTo>
                    <a:lnTo>
                      <a:pt x="210" y="120"/>
                    </a:lnTo>
                    <a:lnTo>
                      <a:pt x="60" y="150"/>
                    </a:lnTo>
                    <a:lnTo>
                      <a:pt x="120" y="0"/>
                    </a:lnTo>
                    <a:lnTo>
                      <a:pt x="330" y="90"/>
                    </a:lnTo>
                    <a:lnTo>
                      <a:pt x="420" y="210"/>
                    </a:lnTo>
                    <a:lnTo>
                      <a:pt x="210" y="120"/>
                    </a:lnTo>
                    <a:lnTo>
                      <a:pt x="270" y="240"/>
                    </a:lnTo>
                    <a:lnTo>
                      <a:pt x="420" y="210"/>
                    </a:lnTo>
                    <a:lnTo>
                      <a:pt x="510" y="120"/>
                    </a:lnTo>
                    <a:lnTo>
                      <a:pt x="599" y="210"/>
                    </a:lnTo>
                    <a:lnTo>
                      <a:pt x="809" y="150"/>
                    </a:lnTo>
                    <a:lnTo>
                      <a:pt x="719" y="240"/>
                    </a:lnTo>
                    <a:lnTo>
                      <a:pt x="510" y="480"/>
                    </a:lnTo>
                    <a:lnTo>
                      <a:pt x="689" y="510"/>
                    </a:lnTo>
                    <a:lnTo>
                      <a:pt x="689" y="660"/>
                    </a:lnTo>
                    <a:lnTo>
                      <a:pt x="569" y="600"/>
                    </a:lnTo>
                    <a:lnTo>
                      <a:pt x="300" y="570"/>
                    </a:lnTo>
                    <a:lnTo>
                      <a:pt x="420" y="330"/>
                    </a:lnTo>
                    <a:lnTo>
                      <a:pt x="569" y="360"/>
                    </a:lnTo>
                    <a:lnTo>
                      <a:pt x="599" y="210"/>
                    </a:lnTo>
                    <a:lnTo>
                      <a:pt x="749" y="420"/>
                    </a:lnTo>
                    <a:lnTo>
                      <a:pt x="689" y="510"/>
                    </a:lnTo>
                    <a:lnTo>
                      <a:pt x="809" y="600"/>
                    </a:lnTo>
                    <a:lnTo>
                      <a:pt x="929" y="540"/>
                    </a:lnTo>
                    <a:lnTo>
                      <a:pt x="1079" y="570"/>
                    </a:lnTo>
                    <a:lnTo>
                      <a:pt x="1049" y="450"/>
                    </a:lnTo>
                    <a:lnTo>
                      <a:pt x="959" y="420"/>
                    </a:lnTo>
                    <a:lnTo>
                      <a:pt x="1049" y="300"/>
                    </a:lnTo>
                    <a:lnTo>
                      <a:pt x="1169" y="360"/>
                    </a:lnTo>
                    <a:lnTo>
                      <a:pt x="1259" y="390"/>
                    </a:lnTo>
                    <a:lnTo>
                      <a:pt x="1199" y="510"/>
                    </a:lnTo>
                    <a:lnTo>
                      <a:pt x="1349" y="540"/>
                    </a:lnTo>
                    <a:lnTo>
                      <a:pt x="1409" y="360"/>
                    </a:lnTo>
                    <a:lnTo>
                      <a:pt x="1469" y="480"/>
                    </a:lnTo>
                    <a:lnTo>
                      <a:pt x="1529" y="360"/>
                    </a:lnTo>
                    <a:lnTo>
                      <a:pt x="1529" y="600"/>
                    </a:lnTo>
                    <a:lnTo>
                      <a:pt x="1409" y="630"/>
                    </a:lnTo>
                    <a:lnTo>
                      <a:pt x="1649" y="300"/>
                    </a:lnTo>
                    <a:lnTo>
                      <a:pt x="1649" y="510"/>
                    </a:lnTo>
                    <a:lnTo>
                      <a:pt x="1709" y="420"/>
                    </a:lnTo>
                    <a:lnTo>
                      <a:pt x="1799" y="360"/>
                    </a:lnTo>
                    <a:lnTo>
                      <a:pt x="1799" y="480"/>
                    </a:lnTo>
                    <a:lnTo>
                      <a:pt x="1739" y="600"/>
                    </a:lnTo>
                    <a:lnTo>
                      <a:pt x="1889" y="540"/>
                    </a:lnTo>
                    <a:lnTo>
                      <a:pt x="1949" y="660"/>
                    </a:lnTo>
                    <a:lnTo>
                      <a:pt x="2039" y="570"/>
                    </a:lnTo>
                    <a:lnTo>
                      <a:pt x="2009" y="450"/>
                    </a:lnTo>
                    <a:lnTo>
                      <a:pt x="1919" y="420"/>
                    </a:lnTo>
                    <a:lnTo>
                      <a:pt x="2009" y="300"/>
                    </a:lnTo>
                    <a:lnTo>
                      <a:pt x="2129" y="360"/>
                    </a:lnTo>
                    <a:lnTo>
                      <a:pt x="2159" y="510"/>
                    </a:lnTo>
                    <a:lnTo>
                      <a:pt x="2338" y="540"/>
                    </a:lnTo>
                    <a:lnTo>
                      <a:pt x="2218" y="660"/>
                    </a:lnTo>
                    <a:lnTo>
                      <a:pt x="2248" y="390"/>
                    </a:lnTo>
                    <a:lnTo>
                      <a:pt x="2069"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6" name="Freeform 2591">
                <a:extLst>
                  <a:ext uri="{FF2B5EF4-FFF2-40B4-BE49-F238E27FC236}">
                    <a16:creationId xmlns:a16="http://schemas.microsoft.com/office/drawing/2014/main" id="{6E907BC8-D7C9-4091-A832-495B425599BC}"/>
                  </a:ext>
                </a:extLst>
              </p:cNvPr>
              <p:cNvSpPr>
                <a:spLocks/>
              </p:cNvSpPr>
              <p:nvPr/>
            </p:nvSpPr>
            <p:spPr bwMode="auto">
              <a:xfrm>
                <a:off x="3585" y="2760"/>
                <a:ext cx="269" cy="300"/>
              </a:xfrm>
              <a:custGeom>
                <a:avLst/>
                <a:gdLst>
                  <a:gd name="T0" fmla="*/ 269 w 269"/>
                  <a:gd name="T1" fmla="*/ 0 h 300"/>
                  <a:gd name="T2" fmla="*/ 120 w 269"/>
                  <a:gd name="T3" fmla="*/ 150 h 300"/>
                  <a:gd name="T4" fmla="*/ 0 w 269"/>
                  <a:gd name="T5" fmla="*/ 240 h 300"/>
                  <a:gd name="T6" fmla="*/ 150 w 269"/>
                  <a:gd name="T7" fmla="*/ 300 h 300"/>
                </a:gdLst>
                <a:ahLst/>
                <a:cxnLst>
                  <a:cxn ang="0">
                    <a:pos x="T0" y="T1"/>
                  </a:cxn>
                  <a:cxn ang="0">
                    <a:pos x="T2" y="T3"/>
                  </a:cxn>
                  <a:cxn ang="0">
                    <a:pos x="T4" y="T5"/>
                  </a:cxn>
                  <a:cxn ang="0">
                    <a:pos x="T6" y="T7"/>
                  </a:cxn>
                </a:cxnLst>
                <a:rect l="0" t="0" r="r" b="b"/>
                <a:pathLst>
                  <a:path w="269" h="300">
                    <a:moveTo>
                      <a:pt x="269" y="0"/>
                    </a:moveTo>
                    <a:lnTo>
                      <a:pt x="120" y="150"/>
                    </a:lnTo>
                    <a:lnTo>
                      <a:pt x="0" y="24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7" name="Freeform 2592">
                <a:extLst>
                  <a:ext uri="{FF2B5EF4-FFF2-40B4-BE49-F238E27FC236}">
                    <a16:creationId xmlns:a16="http://schemas.microsoft.com/office/drawing/2014/main" id="{9644798D-B6EB-46B9-B8AF-F4DA0CC17625}"/>
                  </a:ext>
                </a:extLst>
              </p:cNvPr>
              <p:cNvSpPr>
                <a:spLocks/>
              </p:cNvSpPr>
              <p:nvPr/>
            </p:nvSpPr>
            <p:spPr bwMode="auto">
              <a:xfrm>
                <a:off x="2835" y="2790"/>
                <a:ext cx="1289" cy="420"/>
              </a:xfrm>
              <a:custGeom>
                <a:avLst/>
                <a:gdLst>
                  <a:gd name="T0" fmla="*/ 210 w 1289"/>
                  <a:gd name="T1" fmla="*/ 240 h 420"/>
                  <a:gd name="T2" fmla="*/ 150 w 1289"/>
                  <a:gd name="T3" fmla="*/ 390 h 420"/>
                  <a:gd name="T4" fmla="*/ 90 w 1289"/>
                  <a:gd name="T5" fmla="*/ 300 h 420"/>
                  <a:gd name="T6" fmla="*/ 0 w 1289"/>
                  <a:gd name="T7" fmla="*/ 150 h 420"/>
                  <a:gd name="T8" fmla="*/ 150 w 1289"/>
                  <a:gd name="T9" fmla="*/ 120 h 420"/>
                  <a:gd name="T10" fmla="*/ 300 w 1289"/>
                  <a:gd name="T11" fmla="*/ 30 h 420"/>
                  <a:gd name="T12" fmla="*/ 390 w 1289"/>
                  <a:gd name="T13" fmla="*/ 60 h 420"/>
                  <a:gd name="T14" fmla="*/ 450 w 1289"/>
                  <a:gd name="T15" fmla="*/ 180 h 420"/>
                  <a:gd name="T16" fmla="*/ 480 w 1289"/>
                  <a:gd name="T17" fmla="*/ 30 h 420"/>
                  <a:gd name="T18" fmla="*/ 600 w 1289"/>
                  <a:gd name="T19" fmla="*/ 0 h 420"/>
                  <a:gd name="T20" fmla="*/ 540 w 1289"/>
                  <a:gd name="T21" fmla="*/ 120 h 420"/>
                  <a:gd name="T22" fmla="*/ 660 w 1289"/>
                  <a:gd name="T23" fmla="*/ 180 h 420"/>
                  <a:gd name="T24" fmla="*/ 630 w 1289"/>
                  <a:gd name="T25" fmla="*/ 300 h 420"/>
                  <a:gd name="T26" fmla="*/ 780 w 1289"/>
                  <a:gd name="T27" fmla="*/ 330 h 420"/>
                  <a:gd name="T28" fmla="*/ 959 w 1289"/>
                  <a:gd name="T29" fmla="*/ 420 h 420"/>
                  <a:gd name="T30" fmla="*/ 1289 w 1289"/>
                  <a:gd name="T3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9" h="420">
                    <a:moveTo>
                      <a:pt x="210" y="240"/>
                    </a:moveTo>
                    <a:lnTo>
                      <a:pt x="150" y="390"/>
                    </a:lnTo>
                    <a:lnTo>
                      <a:pt x="90" y="300"/>
                    </a:lnTo>
                    <a:lnTo>
                      <a:pt x="0" y="150"/>
                    </a:lnTo>
                    <a:lnTo>
                      <a:pt x="150" y="120"/>
                    </a:lnTo>
                    <a:lnTo>
                      <a:pt x="300" y="30"/>
                    </a:lnTo>
                    <a:lnTo>
                      <a:pt x="390" y="60"/>
                    </a:lnTo>
                    <a:lnTo>
                      <a:pt x="450" y="180"/>
                    </a:lnTo>
                    <a:lnTo>
                      <a:pt x="480" y="30"/>
                    </a:lnTo>
                    <a:lnTo>
                      <a:pt x="600" y="0"/>
                    </a:lnTo>
                    <a:lnTo>
                      <a:pt x="540" y="120"/>
                    </a:lnTo>
                    <a:lnTo>
                      <a:pt x="660" y="180"/>
                    </a:lnTo>
                    <a:lnTo>
                      <a:pt x="630" y="300"/>
                    </a:lnTo>
                    <a:lnTo>
                      <a:pt x="780" y="330"/>
                    </a:lnTo>
                    <a:lnTo>
                      <a:pt x="959" y="420"/>
                    </a:lnTo>
                    <a:lnTo>
                      <a:pt x="1289"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8" name="Freeform 2593">
                <a:extLst>
                  <a:ext uri="{FF2B5EF4-FFF2-40B4-BE49-F238E27FC236}">
                    <a16:creationId xmlns:a16="http://schemas.microsoft.com/office/drawing/2014/main" id="{41F3A21D-F100-4A8A-8A76-7A2E9DFA172B}"/>
                  </a:ext>
                </a:extLst>
              </p:cNvPr>
              <p:cNvSpPr>
                <a:spLocks/>
              </p:cNvSpPr>
              <p:nvPr/>
            </p:nvSpPr>
            <p:spPr bwMode="auto">
              <a:xfrm>
                <a:off x="1996" y="2130"/>
                <a:ext cx="629" cy="720"/>
              </a:xfrm>
              <a:custGeom>
                <a:avLst/>
                <a:gdLst>
                  <a:gd name="T0" fmla="*/ 629 w 629"/>
                  <a:gd name="T1" fmla="*/ 720 h 720"/>
                  <a:gd name="T2" fmla="*/ 479 w 629"/>
                  <a:gd name="T3" fmla="*/ 690 h 720"/>
                  <a:gd name="T4" fmla="*/ 599 w 629"/>
                  <a:gd name="T5" fmla="*/ 510 h 720"/>
                  <a:gd name="T6" fmla="*/ 389 w 629"/>
                  <a:gd name="T7" fmla="*/ 570 h 720"/>
                  <a:gd name="T8" fmla="*/ 269 w 629"/>
                  <a:gd name="T9" fmla="*/ 510 h 720"/>
                  <a:gd name="T10" fmla="*/ 90 w 629"/>
                  <a:gd name="T11" fmla="*/ 540 h 720"/>
                  <a:gd name="T12" fmla="*/ 0 w 629"/>
                  <a:gd name="T13" fmla="*/ 390 h 720"/>
                  <a:gd name="T14" fmla="*/ 0 w 629"/>
                  <a:gd name="T15" fmla="*/ 630 h 720"/>
                  <a:gd name="T16" fmla="*/ 90 w 629"/>
                  <a:gd name="T17" fmla="*/ 300 h 720"/>
                  <a:gd name="T18" fmla="*/ 0 w 629"/>
                  <a:gd name="T19" fmla="*/ 210 h 720"/>
                  <a:gd name="T20" fmla="*/ 0 w 629"/>
                  <a:gd name="T21" fmla="*/ 60 h 720"/>
                  <a:gd name="T22" fmla="*/ 60 w 629"/>
                  <a:gd name="T23" fmla="*/ 0 h 720"/>
                  <a:gd name="T24" fmla="*/ 149 w 629"/>
                  <a:gd name="T25" fmla="*/ 180 h 720"/>
                  <a:gd name="T26" fmla="*/ 329 w 629"/>
                  <a:gd name="T27" fmla="*/ 240 h 720"/>
                  <a:gd name="T28" fmla="*/ 359 w 629"/>
                  <a:gd name="T29" fmla="*/ 9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9" h="720">
                    <a:moveTo>
                      <a:pt x="629" y="720"/>
                    </a:moveTo>
                    <a:lnTo>
                      <a:pt x="479" y="690"/>
                    </a:lnTo>
                    <a:lnTo>
                      <a:pt x="599" y="510"/>
                    </a:ln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9" name="Freeform 2594">
                <a:extLst>
                  <a:ext uri="{FF2B5EF4-FFF2-40B4-BE49-F238E27FC236}">
                    <a16:creationId xmlns:a16="http://schemas.microsoft.com/office/drawing/2014/main" id="{AF349DC0-5E09-477F-9940-F9BDCD68AEFF}"/>
                  </a:ext>
                </a:extLst>
              </p:cNvPr>
              <p:cNvSpPr>
                <a:spLocks/>
              </p:cNvSpPr>
              <p:nvPr/>
            </p:nvSpPr>
            <p:spPr bwMode="auto">
              <a:xfrm>
                <a:off x="2295" y="2640"/>
                <a:ext cx="780" cy="480"/>
              </a:xfrm>
              <a:custGeom>
                <a:avLst/>
                <a:gdLst>
                  <a:gd name="T0" fmla="*/ 330 w 780"/>
                  <a:gd name="T1" fmla="*/ 360 h 480"/>
                  <a:gd name="T2" fmla="*/ 210 w 780"/>
                  <a:gd name="T3" fmla="*/ 450 h 480"/>
                  <a:gd name="T4" fmla="*/ 120 w 780"/>
                  <a:gd name="T5" fmla="*/ 390 h 480"/>
                  <a:gd name="T6" fmla="*/ 120 w 780"/>
                  <a:gd name="T7" fmla="*/ 270 h 480"/>
                  <a:gd name="T8" fmla="*/ 180 w 780"/>
                  <a:gd name="T9" fmla="*/ 180 h 480"/>
                  <a:gd name="T10" fmla="*/ 0 w 780"/>
                  <a:gd name="T11" fmla="*/ 150 h 480"/>
                  <a:gd name="T12" fmla="*/ 30 w 780"/>
                  <a:gd name="T13" fmla="*/ 330 h 480"/>
                  <a:gd name="T14" fmla="*/ 120 w 780"/>
                  <a:gd name="T15" fmla="*/ 270 h 480"/>
                  <a:gd name="T16" fmla="*/ 240 w 780"/>
                  <a:gd name="T17" fmla="*/ 330 h 480"/>
                  <a:gd name="T18" fmla="*/ 360 w 780"/>
                  <a:gd name="T19" fmla="*/ 480 h 480"/>
                  <a:gd name="T20" fmla="*/ 480 w 780"/>
                  <a:gd name="T21" fmla="*/ 420 h 480"/>
                  <a:gd name="T22" fmla="*/ 330 w 780"/>
                  <a:gd name="T23" fmla="*/ 360 h 480"/>
                  <a:gd name="T24" fmla="*/ 450 w 780"/>
                  <a:gd name="T25" fmla="*/ 270 h 480"/>
                  <a:gd name="T26" fmla="*/ 510 w 780"/>
                  <a:gd name="T27" fmla="*/ 90 h 480"/>
                  <a:gd name="T28" fmla="*/ 690 w 780"/>
                  <a:gd name="T29" fmla="*/ 0 h 480"/>
                  <a:gd name="T30" fmla="*/ 450 w 780"/>
                  <a:gd name="T31" fmla="*/ 0 h 480"/>
                  <a:gd name="T32" fmla="*/ 780 w 780"/>
                  <a:gd name="T33" fmla="*/ 9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80">
                    <a:moveTo>
                      <a:pt x="330" y="360"/>
                    </a:moveTo>
                    <a:lnTo>
                      <a:pt x="210" y="450"/>
                    </a:lnTo>
                    <a:lnTo>
                      <a:pt x="120" y="390"/>
                    </a:lnTo>
                    <a:lnTo>
                      <a:pt x="120" y="270"/>
                    </a:lnTo>
                    <a:lnTo>
                      <a:pt x="180" y="180"/>
                    </a:lnTo>
                    <a:lnTo>
                      <a:pt x="0" y="150"/>
                    </a:lnTo>
                    <a:lnTo>
                      <a:pt x="30" y="330"/>
                    </a:lnTo>
                    <a:lnTo>
                      <a:pt x="120" y="270"/>
                    </a:lnTo>
                    <a:lnTo>
                      <a:pt x="240" y="330"/>
                    </a:lnTo>
                    <a:lnTo>
                      <a:pt x="360" y="480"/>
                    </a:lnTo>
                    <a:lnTo>
                      <a:pt x="480" y="420"/>
                    </a:lnTo>
                    <a:lnTo>
                      <a:pt x="330" y="360"/>
                    </a:lnTo>
                    <a:lnTo>
                      <a:pt x="450" y="270"/>
                    </a:lnTo>
                    <a:lnTo>
                      <a:pt x="510" y="90"/>
                    </a:lnTo>
                    <a:lnTo>
                      <a:pt x="690" y="0"/>
                    </a:lnTo>
                    <a:lnTo>
                      <a:pt x="450" y="0"/>
                    </a:lnTo>
                    <a:lnTo>
                      <a:pt x="7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0" name="Line 2595">
                <a:extLst>
                  <a:ext uri="{FF2B5EF4-FFF2-40B4-BE49-F238E27FC236}">
                    <a16:creationId xmlns:a16="http://schemas.microsoft.com/office/drawing/2014/main" id="{D8BEF9AE-BE3B-46A8-9455-3B45B5C376C4}"/>
                  </a:ext>
                </a:extLst>
              </p:cNvPr>
              <p:cNvSpPr>
                <a:spLocks noChangeShapeType="1"/>
              </p:cNvSpPr>
              <p:nvPr/>
            </p:nvSpPr>
            <p:spPr bwMode="auto">
              <a:xfrm flipH="1" flipV="1">
                <a:off x="2325"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1" name="Freeform 2596">
                <a:extLst>
                  <a:ext uri="{FF2B5EF4-FFF2-40B4-BE49-F238E27FC236}">
                    <a16:creationId xmlns:a16="http://schemas.microsoft.com/office/drawing/2014/main" id="{E75ECAE1-F115-494E-B350-1BAB6FD7B00A}"/>
                  </a:ext>
                </a:extLst>
              </p:cNvPr>
              <p:cNvSpPr>
                <a:spLocks/>
              </p:cNvSpPr>
              <p:nvPr/>
            </p:nvSpPr>
            <p:spPr bwMode="auto">
              <a:xfrm>
                <a:off x="2086" y="2820"/>
                <a:ext cx="449" cy="390"/>
              </a:xfrm>
              <a:custGeom>
                <a:avLst/>
                <a:gdLst>
                  <a:gd name="T0" fmla="*/ 179 w 449"/>
                  <a:gd name="T1" fmla="*/ 390 h 390"/>
                  <a:gd name="T2" fmla="*/ 329 w 449"/>
                  <a:gd name="T3" fmla="*/ 210 h 390"/>
                  <a:gd name="T4" fmla="*/ 449 w 449"/>
                  <a:gd name="T5" fmla="*/ 150 h 390"/>
                  <a:gd name="T6" fmla="*/ 389 w 449"/>
                  <a:gd name="T7" fmla="*/ 0 h 390"/>
                  <a:gd name="T8" fmla="*/ 0 w 449"/>
                  <a:gd name="T9" fmla="*/ 210 h 390"/>
                </a:gdLst>
                <a:ahLst/>
                <a:cxnLst>
                  <a:cxn ang="0">
                    <a:pos x="T0" y="T1"/>
                  </a:cxn>
                  <a:cxn ang="0">
                    <a:pos x="T2" y="T3"/>
                  </a:cxn>
                  <a:cxn ang="0">
                    <a:pos x="T4" y="T5"/>
                  </a:cxn>
                  <a:cxn ang="0">
                    <a:pos x="T6" y="T7"/>
                  </a:cxn>
                  <a:cxn ang="0">
                    <a:pos x="T8" y="T9"/>
                  </a:cxn>
                </a:cxnLst>
                <a:rect l="0" t="0" r="r" b="b"/>
                <a:pathLst>
                  <a:path w="449" h="390">
                    <a:moveTo>
                      <a:pt x="179" y="390"/>
                    </a:moveTo>
                    <a:lnTo>
                      <a:pt x="329" y="210"/>
                    </a:lnTo>
                    <a:lnTo>
                      <a:pt x="449" y="150"/>
                    </a:lnTo>
                    <a:lnTo>
                      <a:pt x="389" y="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2" name="Freeform 2597">
                <a:extLst>
                  <a:ext uri="{FF2B5EF4-FFF2-40B4-BE49-F238E27FC236}">
                    <a16:creationId xmlns:a16="http://schemas.microsoft.com/office/drawing/2014/main" id="{2A233670-0B6A-45F1-B01D-2C2B884F892A}"/>
                  </a:ext>
                </a:extLst>
              </p:cNvPr>
              <p:cNvSpPr>
                <a:spLocks/>
              </p:cNvSpPr>
              <p:nvPr/>
            </p:nvSpPr>
            <p:spPr bwMode="auto">
              <a:xfrm>
                <a:off x="2685" y="2310"/>
                <a:ext cx="870" cy="600"/>
              </a:xfrm>
              <a:custGeom>
                <a:avLst/>
                <a:gdLst>
                  <a:gd name="T0" fmla="*/ 0 w 870"/>
                  <a:gd name="T1" fmla="*/ 480 h 600"/>
                  <a:gd name="T2" fmla="*/ 60 w 870"/>
                  <a:gd name="T3" fmla="*/ 600 h 600"/>
                  <a:gd name="T4" fmla="*/ 270 w 870"/>
                  <a:gd name="T5" fmla="*/ 480 h 600"/>
                  <a:gd name="T6" fmla="*/ 390 w 870"/>
                  <a:gd name="T7" fmla="*/ 420 h 600"/>
                  <a:gd name="T8" fmla="*/ 540 w 870"/>
                  <a:gd name="T9" fmla="*/ 420 h 600"/>
                  <a:gd name="T10" fmla="*/ 750 w 870"/>
                  <a:gd name="T11" fmla="*/ 480 h 600"/>
                  <a:gd name="T12" fmla="*/ 870 w 870"/>
                  <a:gd name="T13" fmla="*/ 330 h 600"/>
                  <a:gd name="T14" fmla="*/ 660 w 870"/>
                  <a:gd name="T15" fmla="*/ 390 h 600"/>
                  <a:gd name="T16" fmla="*/ 540 w 870"/>
                  <a:gd name="T17" fmla="*/ 330 h 600"/>
                  <a:gd name="T18" fmla="*/ 420 w 870"/>
                  <a:gd name="T1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600">
                    <a:moveTo>
                      <a:pt x="0" y="480"/>
                    </a:moveTo>
                    <a:lnTo>
                      <a:pt x="60" y="600"/>
                    </a:lnTo>
                    <a:lnTo>
                      <a:pt x="270" y="480"/>
                    </a:lnTo>
                    <a:lnTo>
                      <a:pt x="390" y="420"/>
                    </a:lnTo>
                    <a:lnTo>
                      <a:pt x="540" y="420"/>
                    </a:lnTo>
                    <a:lnTo>
                      <a:pt x="750" y="480"/>
                    </a:lnTo>
                    <a:lnTo>
                      <a:pt x="870" y="330"/>
                    </a:lnTo>
                    <a:lnTo>
                      <a:pt x="660" y="390"/>
                    </a:lnTo>
                    <a:lnTo>
                      <a:pt x="540" y="33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3" name="Line 2598">
                <a:extLst>
                  <a:ext uri="{FF2B5EF4-FFF2-40B4-BE49-F238E27FC236}">
                    <a16:creationId xmlns:a16="http://schemas.microsoft.com/office/drawing/2014/main" id="{BFABECAB-812C-4687-BA3C-51CAF91AA667}"/>
                  </a:ext>
                </a:extLst>
              </p:cNvPr>
              <p:cNvSpPr>
                <a:spLocks noChangeShapeType="1"/>
              </p:cNvSpPr>
              <p:nvPr/>
            </p:nvSpPr>
            <p:spPr bwMode="auto">
              <a:xfrm flipH="1" flipV="1">
                <a:off x="2745" y="2910"/>
                <a:ext cx="3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4" name="Freeform 2599">
                <a:extLst>
                  <a:ext uri="{FF2B5EF4-FFF2-40B4-BE49-F238E27FC236}">
                    <a16:creationId xmlns:a16="http://schemas.microsoft.com/office/drawing/2014/main" id="{4BD24BEC-7F64-439D-888F-85DE04BF29F1}"/>
                  </a:ext>
                </a:extLst>
              </p:cNvPr>
              <p:cNvSpPr>
                <a:spLocks/>
              </p:cNvSpPr>
              <p:nvPr/>
            </p:nvSpPr>
            <p:spPr bwMode="auto">
              <a:xfrm>
                <a:off x="3105" y="3060"/>
                <a:ext cx="210" cy="90"/>
              </a:xfrm>
              <a:custGeom>
                <a:avLst/>
                <a:gdLst>
                  <a:gd name="T0" fmla="*/ 0 w 210"/>
                  <a:gd name="T1" fmla="*/ 90 h 90"/>
                  <a:gd name="T2" fmla="*/ 120 w 210"/>
                  <a:gd name="T3" fmla="*/ 0 h 90"/>
                  <a:gd name="T4" fmla="*/ 210 w 210"/>
                  <a:gd name="T5" fmla="*/ 90 h 90"/>
                </a:gdLst>
                <a:ahLst/>
                <a:cxnLst>
                  <a:cxn ang="0">
                    <a:pos x="T0" y="T1"/>
                  </a:cxn>
                  <a:cxn ang="0">
                    <a:pos x="T2" y="T3"/>
                  </a:cxn>
                  <a:cxn ang="0">
                    <a:pos x="T4" y="T5"/>
                  </a:cxn>
                </a:cxnLst>
                <a:rect l="0" t="0" r="r" b="b"/>
                <a:pathLst>
                  <a:path w="210" h="90">
                    <a:moveTo>
                      <a:pt x="0" y="90"/>
                    </a:moveTo>
                    <a:lnTo>
                      <a:pt x="120" y="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5" name="Line 2600">
                <a:extLst>
                  <a:ext uri="{FF2B5EF4-FFF2-40B4-BE49-F238E27FC236}">
                    <a16:creationId xmlns:a16="http://schemas.microsoft.com/office/drawing/2014/main" id="{32F47089-37AF-46BA-BB15-9E7A20CB31E8}"/>
                  </a:ext>
                </a:extLst>
              </p:cNvPr>
              <p:cNvSpPr>
                <a:spLocks noChangeShapeType="1"/>
              </p:cNvSpPr>
              <p:nvPr/>
            </p:nvSpPr>
            <p:spPr bwMode="auto">
              <a:xfrm flipH="1" flipV="1">
                <a:off x="2805" y="2730"/>
                <a:ext cx="30"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6" name="Freeform 2601">
                <a:extLst>
                  <a:ext uri="{FF2B5EF4-FFF2-40B4-BE49-F238E27FC236}">
                    <a16:creationId xmlns:a16="http://schemas.microsoft.com/office/drawing/2014/main" id="{11CDF823-BB1B-4426-BD29-C36A232922A4}"/>
                  </a:ext>
                </a:extLst>
              </p:cNvPr>
              <p:cNvSpPr>
                <a:spLocks/>
              </p:cNvSpPr>
              <p:nvPr/>
            </p:nvSpPr>
            <p:spPr bwMode="auto">
              <a:xfrm>
                <a:off x="3225" y="2730"/>
                <a:ext cx="90" cy="120"/>
              </a:xfrm>
              <a:custGeom>
                <a:avLst/>
                <a:gdLst>
                  <a:gd name="T0" fmla="*/ 0 w 90"/>
                  <a:gd name="T1" fmla="*/ 0 h 120"/>
                  <a:gd name="T2" fmla="*/ 90 w 90"/>
                  <a:gd name="T3" fmla="*/ 90 h 120"/>
                  <a:gd name="T4" fmla="*/ 0 w 90"/>
                  <a:gd name="T5" fmla="*/ 120 h 120"/>
                  <a:gd name="T6" fmla="*/ 0 w 90"/>
                  <a:gd name="T7" fmla="*/ 0 h 120"/>
                </a:gdLst>
                <a:ahLst/>
                <a:cxnLst>
                  <a:cxn ang="0">
                    <a:pos x="T0" y="T1"/>
                  </a:cxn>
                  <a:cxn ang="0">
                    <a:pos x="T2" y="T3"/>
                  </a:cxn>
                  <a:cxn ang="0">
                    <a:pos x="T4" y="T5"/>
                  </a:cxn>
                  <a:cxn ang="0">
                    <a:pos x="T6" y="T7"/>
                  </a:cxn>
                </a:cxnLst>
                <a:rect l="0" t="0" r="r" b="b"/>
                <a:pathLst>
                  <a:path w="90" h="120">
                    <a:moveTo>
                      <a:pt x="0" y="0"/>
                    </a:moveTo>
                    <a:lnTo>
                      <a:pt x="90" y="90"/>
                    </a:lnTo>
                    <a:lnTo>
                      <a:pt x="0" y="120"/>
                    </a:lnTo>
                    <a:lnTo>
                      <a:pt x="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7" name="Freeform 2602">
                <a:extLst>
                  <a:ext uri="{FF2B5EF4-FFF2-40B4-BE49-F238E27FC236}">
                    <a16:creationId xmlns:a16="http://schemas.microsoft.com/office/drawing/2014/main" id="{5A1D1526-387F-4525-844D-A32D70DA3F44}"/>
                  </a:ext>
                </a:extLst>
              </p:cNvPr>
              <p:cNvSpPr>
                <a:spLocks/>
              </p:cNvSpPr>
              <p:nvPr/>
            </p:nvSpPr>
            <p:spPr bwMode="auto">
              <a:xfrm>
                <a:off x="3315" y="2820"/>
                <a:ext cx="270" cy="90"/>
              </a:xfrm>
              <a:custGeom>
                <a:avLst/>
                <a:gdLst>
                  <a:gd name="T0" fmla="*/ 60 w 270"/>
                  <a:gd name="T1" fmla="*/ 90 h 90"/>
                  <a:gd name="T2" fmla="*/ 0 w 270"/>
                  <a:gd name="T3" fmla="*/ 0 h 90"/>
                  <a:gd name="T4" fmla="*/ 270 w 270"/>
                  <a:gd name="T5" fmla="*/ 30 h 90"/>
                </a:gdLst>
                <a:ahLst/>
                <a:cxnLst>
                  <a:cxn ang="0">
                    <a:pos x="T0" y="T1"/>
                  </a:cxn>
                  <a:cxn ang="0">
                    <a:pos x="T2" y="T3"/>
                  </a:cxn>
                  <a:cxn ang="0">
                    <a:pos x="T4" y="T5"/>
                  </a:cxn>
                </a:cxnLst>
                <a:rect l="0" t="0" r="r" b="b"/>
                <a:pathLst>
                  <a:path w="270" h="90">
                    <a:moveTo>
                      <a:pt x="60" y="90"/>
                    </a:moveTo>
                    <a:lnTo>
                      <a:pt x="0" y="0"/>
                    </a:lnTo>
                    <a:lnTo>
                      <a:pt x="27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8" name="Freeform 2603">
                <a:extLst>
                  <a:ext uri="{FF2B5EF4-FFF2-40B4-BE49-F238E27FC236}">
                    <a16:creationId xmlns:a16="http://schemas.microsoft.com/office/drawing/2014/main" id="{25EFA292-992A-4591-B6F9-5E316AFD83D7}"/>
                  </a:ext>
                </a:extLst>
              </p:cNvPr>
              <p:cNvSpPr>
                <a:spLocks/>
              </p:cNvSpPr>
              <p:nvPr/>
            </p:nvSpPr>
            <p:spPr bwMode="auto">
              <a:xfrm>
                <a:off x="2955" y="2730"/>
                <a:ext cx="540" cy="330"/>
              </a:xfrm>
              <a:custGeom>
                <a:avLst/>
                <a:gdLst>
                  <a:gd name="T0" fmla="*/ 540 w 540"/>
                  <a:gd name="T1" fmla="*/ 240 h 330"/>
                  <a:gd name="T2" fmla="*/ 420 w 540"/>
                  <a:gd name="T3" fmla="*/ 300 h 330"/>
                  <a:gd name="T4" fmla="*/ 270 w 540"/>
                  <a:gd name="T5" fmla="*/ 330 h 330"/>
                  <a:gd name="T6" fmla="*/ 150 w 540"/>
                  <a:gd name="T7" fmla="*/ 180 h 330"/>
                  <a:gd name="T8" fmla="*/ 180 w 540"/>
                  <a:gd name="T9" fmla="*/ 90 h 330"/>
                  <a:gd name="T10" fmla="*/ 120 w 540"/>
                  <a:gd name="T11" fmla="*/ 0 h 330"/>
                  <a:gd name="T12" fmla="*/ 30 w 540"/>
                  <a:gd name="T13" fmla="*/ 180 h 330"/>
                  <a:gd name="T14" fmla="*/ 0 w 540"/>
                  <a:gd name="T15" fmla="*/ 60 h 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330">
                    <a:moveTo>
                      <a:pt x="540" y="240"/>
                    </a:moveTo>
                    <a:lnTo>
                      <a:pt x="420" y="300"/>
                    </a:lnTo>
                    <a:lnTo>
                      <a:pt x="270" y="330"/>
                    </a:lnTo>
                    <a:lnTo>
                      <a:pt x="150" y="180"/>
                    </a:lnTo>
                    <a:lnTo>
                      <a:pt x="180" y="90"/>
                    </a:lnTo>
                    <a:lnTo>
                      <a:pt x="120" y="0"/>
                    </a:lnTo>
                    <a:lnTo>
                      <a:pt x="30" y="18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9" name="Line 2604">
                <a:extLst>
                  <a:ext uri="{FF2B5EF4-FFF2-40B4-BE49-F238E27FC236}">
                    <a16:creationId xmlns:a16="http://schemas.microsoft.com/office/drawing/2014/main" id="{1EAB08B8-8560-4D67-B81E-0A4B439B7039}"/>
                  </a:ext>
                </a:extLst>
              </p:cNvPr>
              <p:cNvSpPr>
                <a:spLocks noChangeShapeType="1"/>
              </p:cNvSpPr>
              <p:nvPr/>
            </p:nvSpPr>
            <p:spPr bwMode="auto">
              <a:xfrm>
                <a:off x="3195" y="15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0" name="Freeform 2605">
                <a:extLst>
                  <a:ext uri="{FF2B5EF4-FFF2-40B4-BE49-F238E27FC236}">
                    <a16:creationId xmlns:a16="http://schemas.microsoft.com/office/drawing/2014/main" id="{E7454A1D-E224-4FEF-8342-3512303D07C0}"/>
                  </a:ext>
                </a:extLst>
              </p:cNvPr>
              <p:cNvSpPr>
                <a:spLocks/>
              </p:cNvSpPr>
              <p:nvPr/>
            </p:nvSpPr>
            <p:spPr bwMode="auto">
              <a:xfrm>
                <a:off x="2865" y="1620"/>
                <a:ext cx="180" cy="150"/>
              </a:xfrm>
              <a:custGeom>
                <a:avLst/>
                <a:gdLst>
                  <a:gd name="T0" fmla="*/ 0 w 180"/>
                  <a:gd name="T1" fmla="*/ 0 h 150"/>
                  <a:gd name="T2" fmla="*/ 180 w 180"/>
                  <a:gd name="T3" fmla="*/ 150 h 150"/>
                  <a:gd name="T4" fmla="*/ 120 w 180"/>
                  <a:gd name="T5" fmla="*/ 30 h 150"/>
                </a:gdLst>
                <a:ahLst/>
                <a:cxnLst>
                  <a:cxn ang="0">
                    <a:pos x="T0" y="T1"/>
                  </a:cxn>
                  <a:cxn ang="0">
                    <a:pos x="T2" y="T3"/>
                  </a:cxn>
                  <a:cxn ang="0">
                    <a:pos x="T4" y="T5"/>
                  </a:cxn>
                </a:cxnLst>
                <a:rect l="0" t="0" r="r" b="b"/>
                <a:pathLst>
                  <a:path w="180" h="150">
                    <a:moveTo>
                      <a:pt x="0" y="0"/>
                    </a:moveTo>
                    <a:lnTo>
                      <a:pt x="180" y="150"/>
                    </a:lnTo>
                    <a:lnTo>
                      <a:pt x="12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1" name="Line 2606">
                <a:extLst>
                  <a:ext uri="{FF2B5EF4-FFF2-40B4-BE49-F238E27FC236}">
                    <a16:creationId xmlns:a16="http://schemas.microsoft.com/office/drawing/2014/main" id="{D1B4B8AA-9CD6-4184-89E8-0BA4D59BAC22}"/>
                  </a:ext>
                </a:extLst>
              </p:cNvPr>
              <p:cNvSpPr>
                <a:spLocks noChangeShapeType="1"/>
              </p:cNvSpPr>
              <p:nvPr/>
            </p:nvSpPr>
            <p:spPr bwMode="auto">
              <a:xfrm flipH="1" flipV="1">
                <a:off x="2985" y="16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2" name="Line 2607">
                <a:extLst>
                  <a:ext uri="{FF2B5EF4-FFF2-40B4-BE49-F238E27FC236}">
                    <a16:creationId xmlns:a16="http://schemas.microsoft.com/office/drawing/2014/main" id="{BC02AD9F-55FF-4E47-A5D0-CA5D0034E153}"/>
                  </a:ext>
                </a:extLst>
              </p:cNvPr>
              <p:cNvSpPr>
                <a:spLocks noChangeShapeType="1"/>
              </p:cNvSpPr>
              <p:nvPr/>
            </p:nvSpPr>
            <p:spPr bwMode="auto">
              <a:xfrm>
                <a:off x="2715"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3" name="Line 2608">
                <a:extLst>
                  <a:ext uri="{FF2B5EF4-FFF2-40B4-BE49-F238E27FC236}">
                    <a16:creationId xmlns:a16="http://schemas.microsoft.com/office/drawing/2014/main" id="{7FB53FA1-609F-480C-8FBC-54428D20162C}"/>
                  </a:ext>
                </a:extLst>
              </p:cNvPr>
              <p:cNvSpPr>
                <a:spLocks noChangeShapeType="1"/>
              </p:cNvSpPr>
              <p:nvPr/>
            </p:nvSpPr>
            <p:spPr bwMode="auto">
              <a:xfrm>
                <a:off x="2685" y="150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4" name="Freeform 2609">
                <a:extLst>
                  <a:ext uri="{FF2B5EF4-FFF2-40B4-BE49-F238E27FC236}">
                    <a16:creationId xmlns:a16="http://schemas.microsoft.com/office/drawing/2014/main" id="{86B7AD24-3E05-4BD4-848F-2E4AC6BE118B}"/>
                  </a:ext>
                </a:extLst>
              </p:cNvPr>
              <p:cNvSpPr>
                <a:spLocks/>
              </p:cNvSpPr>
              <p:nvPr/>
            </p:nvSpPr>
            <p:spPr bwMode="auto">
              <a:xfrm>
                <a:off x="2715" y="1470"/>
                <a:ext cx="330" cy="210"/>
              </a:xfrm>
              <a:custGeom>
                <a:avLst/>
                <a:gdLst>
                  <a:gd name="T0" fmla="*/ 0 w 330"/>
                  <a:gd name="T1" fmla="*/ 150 h 210"/>
                  <a:gd name="T2" fmla="*/ 60 w 330"/>
                  <a:gd name="T3" fmla="*/ 210 h 210"/>
                  <a:gd name="T4" fmla="*/ 150 w 330"/>
                  <a:gd name="T5" fmla="*/ 150 h 210"/>
                  <a:gd name="T6" fmla="*/ 210 w 330"/>
                  <a:gd name="T7" fmla="*/ 60 h 210"/>
                  <a:gd name="T8" fmla="*/ 330 w 330"/>
                  <a:gd name="T9" fmla="*/ 0 h 210"/>
                </a:gdLst>
                <a:ahLst/>
                <a:cxnLst>
                  <a:cxn ang="0">
                    <a:pos x="T0" y="T1"/>
                  </a:cxn>
                  <a:cxn ang="0">
                    <a:pos x="T2" y="T3"/>
                  </a:cxn>
                  <a:cxn ang="0">
                    <a:pos x="T4" y="T5"/>
                  </a:cxn>
                  <a:cxn ang="0">
                    <a:pos x="T6" y="T7"/>
                  </a:cxn>
                  <a:cxn ang="0">
                    <a:pos x="T8" y="T9"/>
                  </a:cxn>
                </a:cxnLst>
                <a:rect l="0" t="0" r="r" b="b"/>
                <a:pathLst>
                  <a:path w="330" h="210">
                    <a:moveTo>
                      <a:pt x="0" y="150"/>
                    </a:moveTo>
                    <a:lnTo>
                      <a:pt x="60" y="210"/>
                    </a:lnTo>
                    <a:lnTo>
                      <a:pt x="150" y="150"/>
                    </a:lnTo>
                    <a:lnTo>
                      <a:pt x="210" y="60"/>
                    </a:lnTo>
                    <a:lnTo>
                      <a:pt x="3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5" name="Freeform 2610">
                <a:extLst>
                  <a:ext uri="{FF2B5EF4-FFF2-40B4-BE49-F238E27FC236}">
                    <a16:creationId xmlns:a16="http://schemas.microsoft.com/office/drawing/2014/main" id="{5281058F-2F48-4E49-BC30-FAC1B3B6F065}"/>
                  </a:ext>
                </a:extLst>
              </p:cNvPr>
              <p:cNvSpPr>
                <a:spLocks/>
              </p:cNvSpPr>
              <p:nvPr/>
            </p:nvSpPr>
            <p:spPr bwMode="auto">
              <a:xfrm>
                <a:off x="2835" y="1500"/>
                <a:ext cx="270" cy="150"/>
              </a:xfrm>
              <a:custGeom>
                <a:avLst/>
                <a:gdLst>
                  <a:gd name="T0" fmla="*/ 270 w 270"/>
                  <a:gd name="T1" fmla="*/ 90 h 150"/>
                  <a:gd name="T2" fmla="*/ 150 w 270"/>
                  <a:gd name="T3" fmla="*/ 150 h 150"/>
                  <a:gd name="T4" fmla="*/ 30 w 270"/>
                  <a:gd name="T5" fmla="*/ 120 h 150"/>
                  <a:gd name="T6" fmla="*/ 0 w 270"/>
                  <a:gd name="T7" fmla="*/ 0 h 150"/>
                </a:gdLst>
                <a:ahLst/>
                <a:cxnLst>
                  <a:cxn ang="0">
                    <a:pos x="T0" y="T1"/>
                  </a:cxn>
                  <a:cxn ang="0">
                    <a:pos x="T2" y="T3"/>
                  </a:cxn>
                  <a:cxn ang="0">
                    <a:pos x="T4" y="T5"/>
                  </a:cxn>
                  <a:cxn ang="0">
                    <a:pos x="T6" y="T7"/>
                  </a:cxn>
                </a:cxnLst>
                <a:rect l="0" t="0" r="r" b="b"/>
                <a:pathLst>
                  <a:path w="270" h="150">
                    <a:moveTo>
                      <a:pt x="270" y="90"/>
                    </a:moveTo>
                    <a:lnTo>
                      <a:pt x="150" y="150"/>
                    </a:lnTo>
                    <a:lnTo>
                      <a:pt x="3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6" name="Line 2611">
                <a:extLst>
                  <a:ext uri="{FF2B5EF4-FFF2-40B4-BE49-F238E27FC236}">
                    <a16:creationId xmlns:a16="http://schemas.microsoft.com/office/drawing/2014/main" id="{B4FB9FEA-8B4B-4098-9C1D-B60CED5E5EC3}"/>
                  </a:ext>
                </a:extLst>
              </p:cNvPr>
              <p:cNvSpPr>
                <a:spLocks noChangeShapeType="1"/>
              </p:cNvSpPr>
              <p:nvPr/>
            </p:nvSpPr>
            <p:spPr bwMode="auto">
              <a:xfrm>
                <a:off x="3045" y="14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7" name="Line 2612">
                <a:extLst>
                  <a:ext uri="{FF2B5EF4-FFF2-40B4-BE49-F238E27FC236}">
                    <a16:creationId xmlns:a16="http://schemas.microsoft.com/office/drawing/2014/main" id="{2B4C26B8-E8DE-4DCD-BD45-94C2FF1696A7}"/>
                  </a:ext>
                </a:extLst>
              </p:cNvPr>
              <p:cNvSpPr>
                <a:spLocks noChangeShapeType="1"/>
              </p:cNvSpPr>
              <p:nvPr/>
            </p:nvSpPr>
            <p:spPr bwMode="auto">
              <a:xfrm>
                <a:off x="2775" y="141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8" name="Line 2613">
                <a:extLst>
                  <a:ext uri="{FF2B5EF4-FFF2-40B4-BE49-F238E27FC236}">
                    <a16:creationId xmlns:a16="http://schemas.microsoft.com/office/drawing/2014/main" id="{9B3BDA7C-B800-4F71-AF9B-867D439D0B8A}"/>
                  </a:ext>
                </a:extLst>
              </p:cNvPr>
              <p:cNvSpPr>
                <a:spLocks noChangeShapeType="1"/>
              </p:cNvSpPr>
              <p:nvPr/>
            </p:nvSpPr>
            <p:spPr bwMode="auto">
              <a:xfrm flipV="1">
                <a:off x="2865" y="15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9" name="Freeform 2614">
                <a:extLst>
                  <a:ext uri="{FF2B5EF4-FFF2-40B4-BE49-F238E27FC236}">
                    <a16:creationId xmlns:a16="http://schemas.microsoft.com/office/drawing/2014/main" id="{C9F9AD3B-AB40-4BB1-8E07-38984D526FBD}"/>
                  </a:ext>
                </a:extLst>
              </p:cNvPr>
              <p:cNvSpPr>
                <a:spLocks/>
              </p:cNvSpPr>
              <p:nvPr/>
            </p:nvSpPr>
            <p:spPr bwMode="auto">
              <a:xfrm>
                <a:off x="2685" y="1500"/>
                <a:ext cx="180" cy="120"/>
              </a:xfrm>
              <a:custGeom>
                <a:avLst/>
                <a:gdLst>
                  <a:gd name="T0" fmla="*/ 150 w 180"/>
                  <a:gd name="T1" fmla="*/ 0 h 120"/>
                  <a:gd name="T2" fmla="*/ 0 w 180"/>
                  <a:gd name="T3" fmla="*/ 0 h 120"/>
                  <a:gd name="T4" fmla="*/ 30 w 180"/>
                  <a:gd name="T5" fmla="*/ 120 h 120"/>
                  <a:gd name="T6" fmla="*/ 180 w 180"/>
                  <a:gd name="T7" fmla="*/ 120 h 120"/>
                </a:gdLst>
                <a:ahLst/>
                <a:cxnLst>
                  <a:cxn ang="0">
                    <a:pos x="T0" y="T1"/>
                  </a:cxn>
                  <a:cxn ang="0">
                    <a:pos x="T2" y="T3"/>
                  </a:cxn>
                  <a:cxn ang="0">
                    <a:pos x="T4" y="T5"/>
                  </a:cxn>
                  <a:cxn ang="0">
                    <a:pos x="T6" y="T7"/>
                  </a:cxn>
                </a:cxnLst>
                <a:rect l="0" t="0" r="r" b="b"/>
                <a:pathLst>
                  <a:path w="180" h="120">
                    <a:moveTo>
                      <a:pt x="150" y="0"/>
                    </a:moveTo>
                    <a:lnTo>
                      <a:pt x="0" y="0"/>
                    </a:lnTo>
                    <a:lnTo>
                      <a:pt x="30" y="120"/>
                    </a:lnTo>
                    <a:lnTo>
                      <a:pt x="180"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0" name="Freeform 2615">
                <a:extLst>
                  <a:ext uri="{FF2B5EF4-FFF2-40B4-BE49-F238E27FC236}">
                    <a16:creationId xmlns:a16="http://schemas.microsoft.com/office/drawing/2014/main" id="{60514F72-A3A4-47F2-AAAA-704B2B414209}"/>
                  </a:ext>
                </a:extLst>
              </p:cNvPr>
              <p:cNvSpPr>
                <a:spLocks/>
              </p:cNvSpPr>
              <p:nvPr/>
            </p:nvSpPr>
            <p:spPr bwMode="auto">
              <a:xfrm>
                <a:off x="2554" y="125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1" name="Freeform 2616">
                <a:extLst>
                  <a:ext uri="{FF2B5EF4-FFF2-40B4-BE49-F238E27FC236}">
                    <a16:creationId xmlns:a16="http://schemas.microsoft.com/office/drawing/2014/main" id="{631E848E-CBB9-441A-9F25-0FC2780B5CE7}"/>
                  </a:ext>
                </a:extLst>
              </p:cNvPr>
              <p:cNvSpPr>
                <a:spLocks/>
              </p:cNvSpPr>
              <p:nvPr/>
            </p:nvSpPr>
            <p:spPr bwMode="auto">
              <a:xfrm>
                <a:off x="2284"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2" name="Freeform 2617">
                <a:extLst>
                  <a:ext uri="{FF2B5EF4-FFF2-40B4-BE49-F238E27FC236}">
                    <a16:creationId xmlns:a16="http://schemas.microsoft.com/office/drawing/2014/main" id="{71E832B3-C35F-4E3C-9319-9DB9572FFB8B}"/>
                  </a:ext>
                </a:extLst>
              </p:cNvPr>
              <p:cNvSpPr>
                <a:spLocks/>
              </p:cNvSpPr>
              <p:nvPr/>
            </p:nvSpPr>
            <p:spPr bwMode="auto">
              <a:xfrm>
                <a:off x="3243"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3" name="Freeform 2618">
                <a:extLst>
                  <a:ext uri="{FF2B5EF4-FFF2-40B4-BE49-F238E27FC236}">
                    <a16:creationId xmlns:a16="http://schemas.microsoft.com/office/drawing/2014/main" id="{A863ECFE-D8E9-478D-AC50-6C64AADE2830}"/>
                  </a:ext>
                </a:extLst>
              </p:cNvPr>
              <p:cNvSpPr>
                <a:spLocks/>
              </p:cNvSpPr>
              <p:nvPr/>
            </p:nvSpPr>
            <p:spPr bwMode="auto">
              <a:xfrm>
                <a:off x="2254"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4" name="Freeform 2619">
                <a:extLst>
                  <a:ext uri="{FF2B5EF4-FFF2-40B4-BE49-F238E27FC236}">
                    <a16:creationId xmlns:a16="http://schemas.microsoft.com/office/drawing/2014/main" id="{74666C09-892F-4572-892E-3D3F3E035BC7}"/>
                  </a:ext>
                </a:extLst>
              </p:cNvPr>
              <p:cNvSpPr>
                <a:spLocks/>
              </p:cNvSpPr>
              <p:nvPr/>
            </p:nvSpPr>
            <p:spPr bwMode="auto">
              <a:xfrm>
                <a:off x="3213"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5" name="Oval 2620">
                <a:extLst>
                  <a:ext uri="{FF2B5EF4-FFF2-40B4-BE49-F238E27FC236}">
                    <a16:creationId xmlns:a16="http://schemas.microsoft.com/office/drawing/2014/main" id="{60B27E0D-2B38-4A3D-A602-444764B098E6}"/>
                  </a:ext>
                </a:extLst>
              </p:cNvPr>
              <p:cNvSpPr>
                <a:spLocks noChangeArrowheads="1"/>
              </p:cNvSpPr>
              <p:nvPr/>
            </p:nvSpPr>
            <p:spPr bwMode="auto">
              <a:xfrm>
                <a:off x="4334"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6" name="Oval 2621">
                <a:extLst>
                  <a:ext uri="{FF2B5EF4-FFF2-40B4-BE49-F238E27FC236}">
                    <a16:creationId xmlns:a16="http://schemas.microsoft.com/office/drawing/2014/main" id="{8D3DCFF5-E8F1-45E1-8A2E-1B87D8DA6414}"/>
                  </a:ext>
                </a:extLst>
              </p:cNvPr>
              <p:cNvSpPr>
                <a:spLocks noChangeArrowheads="1"/>
              </p:cNvSpPr>
              <p:nvPr/>
            </p:nvSpPr>
            <p:spPr bwMode="auto">
              <a:xfrm>
                <a:off x="427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7" name="Oval 2622">
                <a:extLst>
                  <a:ext uri="{FF2B5EF4-FFF2-40B4-BE49-F238E27FC236}">
                    <a16:creationId xmlns:a16="http://schemas.microsoft.com/office/drawing/2014/main" id="{439A27C1-BCA6-41ED-8D0E-BFA732694DFE}"/>
                  </a:ext>
                </a:extLst>
              </p:cNvPr>
              <p:cNvSpPr>
                <a:spLocks noChangeArrowheads="1"/>
              </p:cNvSpPr>
              <p:nvPr/>
            </p:nvSpPr>
            <p:spPr bwMode="auto">
              <a:xfrm>
                <a:off x="4394"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8" name="Oval 2623">
                <a:extLst>
                  <a:ext uri="{FF2B5EF4-FFF2-40B4-BE49-F238E27FC236}">
                    <a16:creationId xmlns:a16="http://schemas.microsoft.com/office/drawing/2014/main" id="{F592518B-754A-4ADE-89C0-10716FF9D07C}"/>
                  </a:ext>
                </a:extLst>
              </p:cNvPr>
              <p:cNvSpPr>
                <a:spLocks noChangeArrowheads="1"/>
              </p:cNvSpPr>
              <p:nvPr/>
            </p:nvSpPr>
            <p:spPr bwMode="auto">
              <a:xfrm>
                <a:off x="436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9" name="Oval 2624">
                <a:extLst>
                  <a:ext uri="{FF2B5EF4-FFF2-40B4-BE49-F238E27FC236}">
                    <a16:creationId xmlns:a16="http://schemas.microsoft.com/office/drawing/2014/main" id="{AC86E0BB-06FD-4A43-BD7A-B5D69B3E91E6}"/>
                  </a:ext>
                </a:extLst>
              </p:cNvPr>
              <p:cNvSpPr>
                <a:spLocks noChangeArrowheads="1"/>
              </p:cNvSpPr>
              <p:nvPr/>
            </p:nvSpPr>
            <p:spPr bwMode="auto">
              <a:xfrm>
                <a:off x="445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0" name="Oval 2625">
                <a:extLst>
                  <a:ext uri="{FF2B5EF4-FFF2-40B4-BE49-F238E27FC236}">
                    <a16:creationId xmlns:a16="http://schemas.microsoft.com/office/drawing/2014/main" id="{35FD96EE-2005-4C5D-AB07-9263486CE148}"/>
                  </a:ext>
                </a:extLst>
              </p:cNvPr>
              <p:cNvSpPr>
                <a:spLocks noChangeArrowheads="1"/>
              </p:cNvSpPr>
              <p:nvPr/>
            </p:nvSpPr>
            <p:spPr bwMode="auto">
              <a:xfrm>
                <a:off x="442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1" name="Oval 2626">
                <a:extLst>
                  <a:ext uri="{FF2B5EF4-FFF2-40B4-BE49-F238E27FC236}">
                    <a16:creationId xmlns:a16="http://schemas.microsoft.com/office/drawing/2014/main" id="{8781690F-7C7F-48F0-9EFA-1E6A1A1700F0}"/>
                  </a:ext>
                </a:extLst>
              </p:cNvPr>
              <p:cNvSpPr>
                <a:spLocks noChangeArrowheads="1"/>
              </p:cNvSpPr>
              <p:nvPr/>
            </p:nvSpPr>
            <p:spPr bwMode="auto">
              <a:xfrm>
                <a:off x="442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2" name="Oval 2627">
                <a:extLst>
                  <a:ext uri="{FF2B5EF4-FFF2-40B4-BE49-F238E27FC236}">
                    <a16:creationId xmlns:a16="http://schemas.microsoft.com/office/drawing/2014/main" id="{6241D2BE-28A6-44F5-AB4F-17068909DDA8}"/>
                  </a:ext>
                </a:extLst>
              </p:cNvPr>
              <p:cNvSpPr>
                <a:spLocks noChangeArrowheads="1"/>
              </p:cNvSpPr>
              <p:nvPr/>
            </p:nvSpPr>
            <p:spPr bwMode="auto">
              <a:xfrm>
                <a:off x="433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3" name="Oval 2628">
                <a:extLst>
                  <a:ext uri="{FF2B5EF4-FFF2-40B4-BE49-F238E27FC236}">
                    <a16:creationId xmlns:a16="http://schemas.microsoft.com/office/drawing/2014/main" id="{D70AFDBE-5164-4515-A48B-5C93154020C7}"/>
                  </a:ext>
                </a:extLst>
              </p:cNvPr>
              <p:cNvSpPr>
                <a:spLocks noChangeArrowheads="1"/>
              </p:cNvSpPr>
              <p:nvPr/>
            </p:nvSpPr>
            <p:spPr bwMode="auto">
              <a:xfrm>
                <a:off x="4274"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4" name="Oval 2629">
                <a:extLst>
                  <a:ext uri="{FF2B5EF4-FFF2-40B4-BE49-F238E27FC236}">
                    <a16:creationId xmlns:a16="http://schemas.microsoft.com/office/drawing/2014/main" id="{ECC47C3B-A71C-4E2F-88B7-8591692209C2}"/>
                  </a:ext>
                </a:extLst>
              </p:cNvPr>
              <p:cNvSpPr>
                <a:spLocks noChangeArrowheads="1"/>
              </p:cNvSpPr>
              <p:nvPr/>
            </p:nvSpPr>
            <p:spPr bwMode="auto">
              <a:xfrm>
                <a:off x="406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5" name="Oval 2630">
                <a:extLst>
                  <a:ext uri="{FF2B5EF4-FFF2-40B4-BE49-F238E27FC236}">
                    <a16:creationId xmlns:a16="http://schemas.microsoft.com/office/drawing/2014/main" id="{619B1B4F-FFC8-4F59-AC50-2442F6C080AC}"/>
                  </a:ext>
                </a:extLst>
              </p:cNvPr>
              <p:cNvSpPr>
                <a:spLocks noChangeArrowheads="1"/>
              </p:cNvSpPr>
              <p:nvPr/>
            </p:nvSpPr>
            <p:spPr bwMode="auto">
              <a:xfrm>
                <a:off x="409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6" name="Oval 2631">
                <a:extLst>
                  <a:ext uri="{FF2B5EF4-FFF2-40B4-BE49-F238E27FC236}">
                    <a16:creationId xmlns:a16="http://schemas.microsoft.com/office/drawing/2014/main" id="{1DFDE051-11A0-4909-8F32-AA932B9CF98F}"/>
                  </a:ext>
                </a:extLst>
              </p:cNvPr>
              <p:cNvSpPr>
                <a:spLocks noChangeArrowheads="1"/>
              </p:cNvSpPr>
              <p:nvPr/>
            </p:nvSpPr>
            <p:spPr bwMode="auto">
              <a:xfrm>
                <a:off x="3974"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7" name="Oval 2632">
                <a:extLst>
                  <a:ext uri="{FF2B5EF4-FFF2-40B4-BE49-F238E27FC236}">
                    <a16:creationId xmlns:a16="http://schemas.microsoft.com/office/drawing/2014/main" id="{FC4C6310-65C4-44B5-8F85-7606D0B06539}"/>
                  </a:ext>
                </a:extLst>
              </p:cNvPr>
              <p:cNvSpPr>
                <a:spLocks noChangeArrowheads="1"/>
              </p:cNvSpPr>
              <p:nvPr/>
            </p:nvSpPr>
            <p:spPr bwMode="auto">
              <a:xfrm>
                <a:off x="3824"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8" name="Oval 2633">
                <a:extLst>
                  <a:ext uri="{FF2B5EF4-FFF2-40B4-BE49-F238E27FC236}">
                    <a16:creationId xmlns:a16="http://schemas.microsoft.com/office/drawing/2014/main" id="{74305745-88D6-4E4C-8855-C06EB6713EE5}"/>
                  </a:ext>
                </a:extLst>
              </p:cNvPr>
              <p:cNvSpPr>
                <a:spLocks noChangeArrowheads="1"/>
              </p:cNvSpPr>
              <p:nvPr/>
            </p:nvSpPr>
            <p:spPr bwMode="auto">
              <a:xfrm>
                <a:off x="409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9" name="Oval 2634">
                <a:extLst>
                  <a:ext uri="{FF2B5EF4-FFF2-40B4-BE49-F238E27FC236}">
                    <a16:creationId xmlns:a16="http://schemas.microsoft.com/office/drawing/2014/main" id="{987793F2-BEF9-4966-9241-884467B429DB}"/>
                  </a:ext>
                </a:extLst>
              </p:cNvPr>
              <p:cNvSpPr>
                <a:spLocks noChangeArrowheads="1"/>
              </p:cNvSpPr>
              <p:nvPr/>
            </p:nvSpPr>
            <p:spPr bwMode="auto">
              <a:xfrm>
                <a:off x="4334"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0" name="Oval 2635">
                <a:extLst>
                  <a:ext uri="{FF2B5EF4-FFF2-40B4-BE49-F238E27FC236}">
                    <a16:creationId xmlns:a16="http://schemas.microsoft.com/office/drawing/2014/main" id="{A4817A0E-25AA-4DC0-9307-9AEA30B03E8B}"/>
                  </a:ext>
                </a:extLst>
              </p:cNvPr>
              <p:cNvSpPr>
                <a:spLocks noChangeArrowheads="1"/>
              </p:cNvSpPr>
              <p:nvPr/>
            </p:nvSpPr>
            <p:spPr bwMode="auto">
              <a:xfrm>
                <a:off x="439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1" name="Oval 2636">
                <a:extLst>
                  <a:ext uri="{FF2B5EF4-FFF2-40B4-BE49-F238E27FC236}">
                    <a16:creationId xmlns:a16="http://schemas.microsoft.com/office/drawing/2014/main" id="{784CB9D7-A631-44F5-8E31-A0D6B3FC247B}"/>
                  </a:ext>
                </a:extLst>
              </p:cNvPr>
              <p:cNvSpPr>
                <a:spLocks noChangeArrowheads="1"/>
              </p:cNvSpPr>
              <p:nvPr/>
            </p:nvSpPr>
            <p:spPr bwMode="auto">
              <a:xfrm>
                <a:off x="42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2" name="Oval 2637">
                <a:extLst>
                  <a:ext uri="{FF2B5EF4-FFF2-40B4-BE49-F238E27FC236}">
                    <a16:creationId xmlns:a16="http://schemas.microsoft.com/office/drawing/2014/main" id="{101270B5-1C77-45A8-84BA-9A945D0DF450}"/>
                  </a:ext>
                </a:extLst>
              </p:cNvPr>
              <p:cNvSpPr>
                <a:spLocks noChangeArrowheads="1"/>
              </p:cNvSpPr>
              <p:nvPr/>
            </p:nvSpPr>
            <p:spPr bwMode="auto">
              <a:xfrm>
                <a:off x="415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3" name="Oval 2638">
                <a:extLst>
                  <a:ext uri="{FF2B5EF4-FFF2-40B4-BE49-F238E27FC236}">
                    <a16:creationId xmlns:a16="http://schemas.microsoft.com/office/drawing/2014/main" id="{DE11B5AC-7A85-4999-A269-8F97DCBFA7F9}"/>
                  </a:ext>
                </a:extLst>
              </p:cNvPr>
              <p:cNvSpPr>
                <a:spLocks noChangeArrowheads="1"/>
              </p:cNvSpPr>
              <p:nvPr/>
            </p:nvSpPr>
            <p:spPr bwMode="auto">
              <a:xfrm>
                <a:off x="4364"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4" name="Oval 2639">
                <a:extLst>
                  <a:ext uri="{FF2B5EF4-FFF2-40B4-BE49-F238E27FC236}">
                    <a16:creationId xmlns:a16="http://schemas.microsoft.com/office/drawing/2014/main" id="{D140DC8F-CFCC-4F27-A76E-6B0332F13D86}"/>
                  </a:ext>
                </a:extLst>
              </p:cNvPr>
              <p:cNvSpPr>
                <a:spLocks noChangeArrowheads="1"/>
              </p:cNvSpPr>
              <p:nvPr/>
            </p:nvSpPr>
            <p:spPr bwMode="auto">
              <a:xfrm>
                <a:off x="439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5" name="Oval 2640">
                <a:extLst>
                  <a:ext uri="{FF2B5EF4-FFF2-40B4-BE49-F238E27FC236}">
                    <a16:creationId xmlns:a16="http://schemas.microsoft.com/office/drawing/2014/main" id="{51125BD1-069E-4964-8F50-B89C15DB6287}"/>
                  </a:ext>
                </a:extLst>
              </p:cNvPr>
              <p:cNvSpPr>
                <a:spLocks noChangeArrowheads="1"/>
              </p:cNvSpPr>
              <p:nvPr/>
            </p:nvSpPr>
            <p:spPr bwMode="auto">
              <a:xfrm>
                <a:off x="427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6" name="Oval 2641">
                <a:extLst>
                  <a:ext uri="{FF2B5EF4-FFF2-40B4-BE49-F238E27FC236}">
                    <a16:creationId xmlns:a16="http://schemas.microsoft.com/office/drawing/2014/main" id="{90E372A2-B827-40A8-AA42-3290C201CF2C}"/>
                  </a:ext>
                </a:extLst>
              </p:cNvPr>
              <p:cNvSpPr>
                <a:spLocks noChangeArrowheads="1"/>
              </p:cNvSpPr>
              <p:nvPr/>
            </p:nvSpPr>
            <p:spPr bwMode="auto">
              <a:xfrm>
                <a:off x="415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7" name="Oval 2642">
                <a:extLst>
                  <a:ext uri="{FF2B5EF4-FFF2-40B4-BE49-F238E27FC236}">
                    <a16:creationId xmlns:a16="http://schemas.microsoft.com/office/drawing/2014/main" id="{9C1FEBDE-10E0-4EE3-8B72-746FA4622F43}"/>
                  </a:ext>
                </a:extLst>
              </p:cNvPr>
              <p:cNvSpPr>
                <a:spLocks noChangeArrowheads="1"/>
              </p:cNvSpPr>
              <p:nvPr/>
            </p:nvSpPr>
            <p:spPr bwMode="auto">
              <a:xfrm>
                <a:off x="412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8" name="Oval 2643">
                <a:extLst>
                  <a:ext uri="{FF2B5EF4-FFF2-40B4-BE49-F238E27FC236}">
                    <a16:creationId xmlns:a16="http://schemas.microsoft.com/office/drawing/2014/main" id="{8E2AFD4B-175B-490F-BDC3-F980F0A58040}"/>
                  </a:ext>
                </a:extLst>
              </p:cNvPr>
              <p:cNvSpPr>
                <a:spLocks noChangeArrowheads="1"/>
              </p:cNvSpPr>
              <p:nvPr/>
            </p:nvSpPr>
            <p:spPr bwMode="auto">
              <a:xfrm>
                <a:off x="4364"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9" name="Oval 2644">
                <a:extLst>
                  <a:ext uri="{FF2B5EF4-FFF2-40B4-BE49-F238E27FC236}">
                    <a16:creationId xmlns:a16="http://schemas.microsoft.com/office/drawing/2014/main" id="{5C6D7C88-BEAC-4DB2-BF0B-4B08DDEA6ABC}"/>
                  </a:ext>
                </a:extLst>
              </p:cNvPr>
              <p:cNvSpPr>
                <a:spLocks noChangeArrowheads="1"/>
              </p:cNvSpPr>
              <p:nvPr/>
            </p:nvSpPr>
            <p:spPr bwMode="auto">
              <a:xfrm>
                <a:off x="430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0" name="Oval 2645">
                <a:extLst>
                  <a:ext uri="{FF2B5EF4-FFF2-40B4-BE49-F238E27FC236}">
                    <a16:creationId xmlns:a16="http://schemas.microsoft.com/office/drawing/2014/main" id="{514B40E7-600B-4E37-B278-2AF23CA1E476}"/>
                  </a:ext>
                </a:extLst>
              </p:cNvPr>
              <p:cNvSpPr>
                <a:spLocks noChangeArrowheads="1"/>
              </p:cNvSpPr>
              <p:nvPr/>
            </p:nvSpPr>
            <p:spPr bwMode="auto">
              <a:xfrm>
                <a:off x="427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1" name="Oval 2646">
                <a:extLst>
                  <a:ext uri="{FF2B5EF4-FFF2-40B4-BE49-F238E27FC236}">
                    <a16:creationId xmlns:a16="http://schemas.microsoft.com/office/drawing/2014/main" id="{162E9418-BB57-4A52-9300-11F76D738DCE}"/>
                  </a:ext>
                </a:extLst>
              </p:cNvPr>
              <p:cNvSpPr>
                <a:spLocks noChangeArrowheads="1"/>
              </p:cNvSpPr>
              <p:nvPr/>
            </p:nvSpPr>
            <p:spPr bwMode="auto">
              <a:xfrm>
                <a:off x="433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2" name="Oval 2647">
                <a:extLst>
                  <a:ext uri="{FF2B5EF4-FFF2-40B4-BE49-F238E27FC236}">
                    <a16:creationId xmlns:a16="http://schemas.microsoft.com/office/drawing/2014/main" id="{F2372ED1-291A-4EDF-A702-DDA814BBE592}"/>
                  </a:ext>
                </a:extLst>
              </p:cNvPr>
              <p:cNvSpPr>
                <a:spLocks noChangeArrowheads="1"/>
              </p:cNvSpPr>
              <p:nvPr/>
            </p:nvSpPr>
            <p:spPr bwMode="auto">
              <a:xfrm>
                <a:off x="418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3" name="Oval 2648">
                <a:extLst>
                  <a:ext uri="{FF2B5EF4-FFF2-40B4-BE49-F238E27FC236}">
                    <a16:creationId xmlns:a16="http://schemas.microsoft.com/office/drawing/2014/main" id="{809CB9C2-0EE1-4AAC-9CAC-46DDCB5261CD}"/>
                  </a:ext>
                </a:extLst>
              </p:cNvPr>
              <p:cNvSpPr>
                <a:spLocks noChangeArrowheads="1"/>
              </p:cNvSpPr>
              <p:nvPr/>
            </p:nvSpPr>
            <p:spPr bwMode="auto">
              <a:xfrm>
                <a:off x="4124"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4" name="Oval 2649">
                <a:extLst>
                  <a:ext uri="{FF2B5EF4-FFF2-40B4-BE49-F238E27FC236}">
                    <a16:creationId xmlns:a16="http://schemas.microsoft.com/office/drawing/2014/main" id="{1B2F6394-B2A8-40BA-9BA6-6D32F9416572}"/>
                  </a:ext>
                </a:extLst>
              </p:cNvPr>
              <p:cNvSpPr>
                <a:spLocks noChangeArrowheads="1"/>
              </p:cNvSpPr>
              <p:nvPr/>
            </p:nvSpPr>
            <p:spPr bwMode="auto">
              <a:xfrm>
                <a:off x="42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5" name="Oval 2650">
                <a:extLst>
                  <a:ext uri="{FF2B5EF4-FFF2-40B4-BE49-F238E27FC236}">
                    <a16:creationId xmlns:a16="http://schemas.microsoft.com/office/drawing/2014/main" id="{C5CF7E74-CC6A-4176-9D0F-11BC52903416}"/>
                  </a:ext>
                </a:extLst>
              </p:cNvPr>
              <p:cNvSpPr>
                <a:spLocks noChangeArrowheads="1"/>
              </p:cNvSpPr>
              <p:nvPr/>
            </p:nvSpPr>
            <p:spPr bwMode="auto">
              <a:xfrm>
                <a:off x="4184"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6" name="Oval 2651">
                <a:extLst>
                  <a:ext uri="{FF2B5EF4-FFF2-40B4-BE49-F238E27FC236}">
                    <a16:creationId xmlns:a16="http://schemas.microsoft.com/office/drawing/2014/main" id="{A0E6837A-EEE5-432A-B32F-9E6B7E00DBBC}"/>
                  </a:ext>
                </a:extLst>
              </p:cNvPr>
              <p:cNvSpPr>
                <a:spLocks noChangeArrowheads="1"/>
              </p:cNvSpPr>
              <p:nvPr/>
            </p:nvSpPr>
            <p:spPr bwMode="auto">
              <a:xfrm>
                <a:off x="436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7" name="Oval 2652">
                <a:extLst>
                  <a:ext uri="{FF2B5EF4-FFF2-40B4-BE49-F238E27FC236}">
                    <a16:creationId xmlns:a16="http://schemas.microsoft.com/office/drawing/2014/main" id="{D94A3221-27B1-45B4-809C-1615B7A57DFC}"/>
                  </a:ext>
                </a:extLst>
              </p:cNvPr>
              <p:cNvSpPr>
                <a:spLocks noChangeArrowheads="1"/>
              </p:cNvSpPr>
              <p:nvPr/>
            </p:nvSpPr>
            <p:spPr bwMode="auto">
              <a:xfrm>
                <a:off x="439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8" name="Oval 2653">
                <a:extLst>
                  <a:ext uri="{FF2B5EF4-FFF2-40B4-BE49-F238E27FC236}">
                    <a16:creationId xmlns:a16="http://schemas.microsoft.com/office/drawing/2014/main" id="{509847EC-10BD-460C-9C32-43BEB015FD44}"/>
                  </a:ext>
                </a:extLst>
              </p:cNvPr>
              <p:cNvSpPr>
                <a:spLocks noChangeArrowheads="1"/>
              </p:cNvSpPr>
              <p:nvPr/>
            </p:nvSpPr>
            <p:spPr bwMode="auto">
              <a:xfrm>
                <a:off x="436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9" name="Oval 2654">
                <a:extLst>
                  <a:ext uri="{FF2B5EF4-FFF2-40B4-BE49-F238E27FC236}">
                    <a16:creationId xmlns:a16="http://schemas.microsoft.com/office/drawing/2014/main" id="{773E97F0-AB95-4558-A723-91029EF6BC95}"/>
                  </a:ext>
                </a:extLst>
              </p:cNvPr>
              <p:cNvSpPr>
                <a:spLocks noChangeArrowheads="1"/>
              </p:cNvSpPr>
              <p:nvPr/>
            </p:nvSpPr>
            <p:spPr bwMode="auto">
              <a:xfrm>
                <a:off x="4394"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0" name="Oval 2655">
                <a:extLst>
                  <a:ext uri="{FF2B5EF4-FFF2-40B4-BE49-F238E27FC236}">
                    <a16:creationId xmlns:a16="http://schemas.microsoft.com/office/drawing/2014/main" id="{E39F422F-B285-4860-BC7C-B3882F51C354}"/>
                  </a:ext>
                </a:extLst>
              </p:cNvPr>
              <p:cNvSpPr>
                <a:spLocks noChangeArrowheads="1"/>
              </p:cNvSpPr>
              <p:nvPr/>
            </p:nvSpPr>
            <p:spPr bwMode="auto">
              <a:xfrm>
                <a:off x="433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1" name="Oval 2656">
                <a:extLst>
                  <a:ext uri="{FF2B5EF4-FFF2-40B4-BE49-F238E27FC236}">
                    <a16:creationId xmlns:a16="http://schemas.microsoft.com/office/drawing/2014/main" id="{74F2CBED-AF50-43C8-B31E-D10ED2EE9E3F}"/>
                  </a:ext>
                </a:extLst>
              </p:cNvPr>
              <p:cNvSpPr>
                <a:spLocks noChangeArrowheads="1"/>
              </p:cNvSpPr>
              <p:nvPr/>
            </p:nvSpPr>
            <p:spPr bwMode="auto">
              <a:xfrm>
                <a:off x="436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2" name="Oval 2657">
                <a:extLst>
                  <a:ext uri="{FF2B5EF4-FFF2-40B4-BE49-F238E27FC236}">
                    <a16:creationId xmlns:a16="http://schemas.microsoft.com/office/drawing/2014/main" id="{11FE5D65-26BE-4801-884F-937EE05F2CB6}"/>
                  </a:ext>
                </a:extLst>
              </p:cNvPr>
              <p:cNvSpPr>
                <a:spLocks noChangeArrowheads="1"/>
              </p:cNvSpPr>
              <p:nvPr/>
            </p:nvSpPr>
            <p:spPr bwMode="auto">
              <a:xfrm>
                <a:off x="439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3" name="Oval 2658">
                <a:extLst>
                  <a:ext uri="{FF2B5EF4-FFF2-40B4-BE49-F238E27FC236}">
                    <a16:creationId xmlns:a16="http://schemas.microsoft.com/office/drawing/2014/main" id="{0DEA86E2-6866-418E-8BB6-D3EE2F2A7B9A}"/>
                  </a:ext>
                </a:extLst>
              </p:cNvPr>
              <p:cNvSpPr>
                <a:spLocks noChangeArrowheads="1"/>
              </p:cNvSpPr>
              <p:nvPr/>
            </p:nvSpPr>
            <p:spPr bwMode="auto">
              <a:xfrm>
                <a:off x="421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4" name="Oval 2659">
                <a:extLst>
                  <a:ext uri="{FF2B5EF4-FFF2-40B4-BE49-F238E27FC236}">
                    <a16:creationId xmlns:a16="http://schemas.microsoft.com/office/drawing/2014/main" id="{407C2455-CFA0-405E-8324-DFB9376E55AD}"/>
                  </a:ext>
                </a:extLst>
              </p:cNvPr>
              <p:cNvSpPr>
                <a:spLocks noChangeArrowheads="1"/>
              </p:cNvSpPr>
              <p:nvPr/>
            </p:nvSpPr>
            <p:spPr bwMode="auto">
              <a:xfrm>
                <a:off x="424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5" name="Oval 2660">
                <a:extLst>
                  <a:ext uri="{FF2B5EF4-FFF2-40B4-BE49-F238E27FC236}">
                    <a16:creationId xmlns:a16="http://schemas.microsoft.com/office/drawing/2014/main" id="{724C5340-E015-4152-9E55-FA18CDA16C6A}"/>
                  </a:ext>
                </a:extLst>
              </p:cNvPr>
              <p:cNvSpPr>
                <a:spLocks noChangeArrowheads="1"/>
              </p:cNvSpPr>
              <p:nvPr/>
            </p:nvSpPr>
            <p:spPr bwMode="auto">
              <a:xfrm>
                <a:off x="412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6" name="Oval 2661">
                <a:extLst>
                  <a:ext uri="{FF2B5EF4-FFF2-40B4-BE49-F238E27FC236}">
                    <a16:creationId xmlns:a16="http://schemas.microsoft.com/office/drawing/2014/main" id="{2A91F71D-8B85-4AF7-ABFF-738A47F627D9}"/>
                  </a:ext>
                </a:extLst>
              </p:cNvPr>
              <p:cNvSpPr>
                <a:spLocks noChangeArrowheads="1"/>
              </p:cNvSpPr>
              <p:nvPr/>
            </p:nvSpPr>
            <p:spPr bwMode="auto">
              <a:xfrm>
                <a:off x="409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7" name="Oval 2662">
                <a:extLst>
                  <a:ext uri="{FF2B5EF4-FFF2-40B4-BE49-F238E27FC236}">
                    <a16:creationId xmlns:a16="http://schemas.microsoft.com/office/drawing/2014/main" id="{BAFE79D6-CCD6-4AB9-8BB4-5840811AF87C}"/>
                  </a:ext>
                </a:extLst>
              </p:cNvPr>
              <p:cNvSpPr>
                <a:spLocks noChangeArrowheads="1"/>
              </p:cNvSpPr>
              <p:nvPr/>
            </p:nvSpPr>
            <p:spPr bwMode="auto">
              <a:xfrm>
                <a:off x="4124"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8" name="Oval 2663">
                <a:extLst>
                  <a:ext uri="{FF2B5EF4-FFF2-40B4-BE49-F238E27FC236}">
                    <a16:creationId xmlns:a16="http://schemas.microsoft.com/office/drawing/2014/main" id="{820571FE-375F-4D45-A5FB-7ABDBEAD9907}"/>
                  </a:ext>
                </a:extLst>
              </p:cNvPr>
              <p:cNvSpPr>
                <a:spLocks noChangeArrowheads="1"/>
              </p:cNvSpPr>
              <p:nvPr/>
            </p:nvSpPr>
            <p:spPr bwMode="auto">
              <a:xfrm>
                <a:off x="403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9" name="Oval 2664">
                <a:extLst>
                  <a:ext uri="{FF2B5EF4-FFF2-40B4-BE49-F238E27FC236}">
                    <a16:creationId xmlns:a16="http://schemas.microsoft.com/office/drawing/2014/main" id="{D7332213-54C6-4BCA-B42E-79C1A7FDD848}"/>
                  </a:ext>
                </a:extLst>
              </p:cNvPr>
              <p:cNvSpPr>
                <a:spLocks noChangeArrowheads="1"/>
              </p:cNvSpPr>
              <p:nvPr/>
            </p:nvSpPr>
            <p:spPr bwMode="auto">
              <a:xfrm>
                <a:off x="4064"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0" name="Oval 2665">
                <a:extLst>
                  <a:ext uri="{FF2B5EF4-FFF2-40B4-BE49-F238E27FC236}">
                    <a16:creationId xmlns:a16="http://schemas.microsoft.com/office/drawing/2014/main" id="{7F3AA801-8659-49C5-97D6-986EE6D26CCF}"/>
                  </a:ext>
                </a:extLst>
              </p:cNvPr>
              <p:cNvSpPr>
                <a:spLocks noChangeArrowheads="1"/>
              </p:cNvSpPr>
              <p:nvPr/>
            </p:nvSpPr>
            <p:spPr bwMode="auto">
              <a:xfrm>
                <a:off x="394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1" name="Oval 2666">
                <a:extLst>
                  <a:ext uri="{FF2B5EF4-FFF2-40B4-BE49-F238E27FC236}">
                    <a16:creationId xmlns:a16="http://schemas.microsoft.com/office/drawing/2014/main" id="{C8D27F60-26CC-4A37-85ED-A2A6FC21FFE8}"/>
                  </a:ext>
                </a:extLst>
              </p:cNvPr>
              <p:cNvSpPr>
                <a:spLocks noChangeArrowheads="1"/>
              </p:cNvSpPr>
              <p:nvPr/>
            </p:nvSpPr>
            <p:spPr bwMode="auto">
              <a:xfrm>
                <a:off x="382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2" name="Oval 2667">
                <a:extLst>
                  <a:ext uri="{FF2B5EF4-FFF2-40B4-BE49-F238E27FC236}">
                    <a16:creationId xmlns:a16="http://schemas.microsoft.com/office/drawing/2014/main" id="{813BD1B4-BF81-4159-B075-B28EF6BEA72F}"/>
                  </a:ext>
                </a:extLst>
              </p:cNvPr>
              <p:cNvSpPr>
                <a:spLocks noChangeArrowheads="1"/>
              </p:cNvSpPr>
              <p:nvPr/>
            </p:nvSpPr>
            <p:spPr bwMode="auto">
              <a:xfrm>
                <a:off x="36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3" name="Oval 2668">
                <a:extLst>
                  <a:ext uri="{FF2B5EF4-FFF2-40B4-BE49-F238E27FC236}">
                    <a16:creationId xmlns:a16="http://schemas.microsoft.com/office/drawing/2014/main" id="{ECADA279-FB90-484E-87BE-885340D5C234}"/>
                  </a:ext>
                </a:extLst>
              </p:cNvPr>
              <p:cNvSpPr>
                <a:spLocks noChangeArrowheads="1"/>
              </p:cNvSpPr>
              <p:nvPr/>
            </p:nvSpPr>
            <p:spPr bwMode="auto">
              <a:xfrm>
                <a:off x="367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4" name="Oval 2669">
                <a:extLst>
                  <a:ext uri="{FF2B5EF4-FFF2-40B4-BE49-F238E27FC236}">
                    <a16:creationId xmlns:a16="http://schemas.microsoft.com/office/drawing/2014/main" id="{1C827AAA-0B85-45E8-A2B8-B7F4387C04B9}"/>
                  </a:ext>
                </a:extLst>
              </p:cNvPr>
              <p:cNvSpPr>
                <a:spLocks noChangeArrowheads="1"/>
              </p:cNvSpPr>
              <p:nvPr/>
            </p:nvSpPr>
            <p:spPr bwMode="auto">
              <a:xfrm>
                <a:off x="379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5" name="Oval 2670">
                <a:extLst>
                  <a:ext uri="{FF2B5EF4-FFF2-40B4-BE49-F238E27FC236}">
                    <a16:creationId xmlns:a16="http://schemas.microsoft.com/office/drawing/2014/main" id="{288E38BE-F0BF-4DAC-87D3-BB18F6BFEF97}"/>
                  </a:ext>
                </a:extLst>
              </p:cNvPr>
              <p:cNvSpPr>
                <a:spLocks noChangeArrowheads="1"/>
              </p:cNvSpPr>
              <p:nvPr/>
            </p:nvSpPr>
            <p:spPr bwMode="auto">
              <a:xfrm>
                <a:off x="3735" y="3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6" name="Oval 2671">
                <a:extLst>
                  <a:ext uri="{FF2B5EF4-FFF2-40B4-BE49-F238E27FC236}">
                    <a16:creationId xmlns:a16="http://schemas.microsoft.com/office/drawing/2014/main" id="{5EBFAF38-A71F-46FC-AFD8-7B91319E36CE}"/>
                  </a:ext>
                </a:extLst>
              </p:cNvPr>
              <p:cNvSpPr>
                <a:spLocks noChangeArrowheads="1"/>
              </p:cNvSpPr>
              <p:nvPr/>
            </p:nvSpPr>
            <p:spPr bwMode="auto">
              <a:xfrm>
                <a:off x="376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7" name="Oval 2672">
                <a:extLst>
                  <a:ext uri="{FF2B5EF4-FFF2-40B4-BE49-F238E27FC236}">
                    <a16:creationId xmlns:a16="http://schemas.microsoft.com/office/drawing/2014/main" id="{9B16DFF8-F8B1-4CA3-94C6-BF9FE85249EA}"/>
                  </a:ext>
                </a:extLst>
              </p:cNvPr>
              <p:cNvSpPr>
                <a:spLocks noChangeArrowheads="1"/>
              </p:cNvSpPr>
              <p:nvPr/>
            </p:nvSpPr>
            <p:spPr bwMode="auto">
              <a:xfrm>
                <a:off x="379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8" name="Oval 2673">
                <a:extLst>
                  <a:ext uri="{FF2B5EF4-FFF2-40B4-BE49-F238E27FC236}">
                    <a16:creationId xmlns:a16="http://schemas.microsoft.com/office/drawing/2014/main" id="{7F861151-451F-4A10-BE07-FBED2EF7F503}"/>
                  </a:ext>
                </a:extLst>
              </p:cNvPr>
              <p:cNvSpPr>
                <a:spLocks noChangeArrowheads="1"/>
              </p:cNvSpPr>
              <p:nvPr/>
            </p:nvSpPr>
            <p:spPr bwMode="auto">
              <a:xfrm>
                <a:off x="3735" y="7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9" name="Oval 2674">
                <a:extLst>
                  <a:ext uri="{FF2B5EF4-FFF2-40B4-BE49-F238E27FC236}">
                    <a16:creationId xmlns:a16="http://schemas.microsoft.com/office/drawing/2014/main" id="{EE05311F-C2AF-4DE1-A090-42F65329F762}"/>
                  </a:ext>
                </a:extLst>
              </p:cNvPr>
              <p:cNvSpPr>
                <a:spLocks noChangeArrowheads="1"/>
              </p:cNvSpPr>
              <p:nvPr/>
            </p:nvSpPr>
            <p:spPr bwMode="auto">
              <a:xfrm>
                <a:off x="36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0" name="Oval 2675">
                <a:extLst>
                  <a:ext uri="{FF2B5EF4-FFF2-40B4-BE49-F238E27FC236}">
                    <a16:creationId xmlns:a16="http://schemas.microsoft.com/office/drawing/2014/main" id="{7486B583-9FE2-4EB4-BB3B-FBC0EB4EABFF}"/>
                  </a:ext>
                </a:extLst>
              </p:cNvPr>
              <p:cNvSpPr>
                <a:spLocks noChangeArrowheads="1"/>
              </p:cNvSpPr>
              <p:nvPr/>
            </p:nvSpPr>
            <p:spPr bwMode="auto">
              <a:xfrm>
                <a:off x="352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1" name="Oval 2676">
                <a:extLst>
                  <a:ext uri="{FF2B5EF4-FFF2-40B4-BE49-F238E27FC236}">
                    <a16:creationId xmlns:a16="http://schemas.microsoft.com/office/drawing/2014/main" id="{62E2E59F-D504-4897-997F-9A1C32DF8FA4}"/>
                  </a:ext>
                </a:extLst>
              </p:cNvPr>
              <p:cNvSpPr>
                <a:spLocks noChangeArrowheads="1"/>
              </p:cNvSpPr>
              <p:nvPr/>
            </p:nvSpPr>
            <p:spPr bwMode="auto">
              <a:xfrm>
                <a:off x="343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2" name="Oval 2677">
                <a:extLst>
                  <a:ext uri="{FF2B5EF4-FFF2-40B4-BE49-F238E27FC236}">
                    <a16:creationId xmlns:a16="http://schemas.microsoft.com/office/drawing/2014/main" id="{B82AC9EF-0B0E-4B8F-AEB8-F30FB75C8CD8}"/>
                  </a:ext>
                </a:extLst>
              </p:cNvPr>
              <p:cNvSpPr>
                <a:spLocks noChangeArrowheads="1"/>
              </p:cNvSpPr>
              <p:nvPr/>
            </p:nvSpPr>
            <p:spPr bwMode="auto">
              <a:xfrm>
                <a:off x="331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3" name="Oval 2678">
                <a:extLst>
                  <a:ext uri="{FF2B5EF4-FFF2-40B4-BE49-F238E27FC236}">
                    <a16:creationId xmlns:a16="http://schemas.microsoft.com/office/drawing/2014/main" id="{603C644E-F4A3-4515-BD8C-8E16CC0DDB2F}"/>
                  </a:ext>
                </a:extLst>
              </p:cNvPr>
              <p:cNvSpPr>
                <a:spLocks noChangeArrowheads="1"/>
              </p:cNvSpPr>
              <p:nvPr/>
            </p:nvSpPr>
            <p:spPr bwMode="auto">
              <a:xfrm>
                <a:off x="325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4" name="Oval 2679">
                <a:extLst>
                  <a:ext uri="{FF2B5EF4-FFF2-40B4-BE49-F238E27FC236}">
                    <a16:creationId xmlns:a16="http://schemas.microsoft.com/office/drawing/2014/main" id="{0773064F-AA54-41FC-870C-E34238078CD0}"/>
                  </a:ext>
                </a:extLst>
              </p:cNvPr>
              <p:cNvSpPr>
                <a:spLocks noChangeArrowheads="1"/>
              </p:cNvSpPr>
              <p:nvPr/>
            </p:nvSpPr>
            <p:spPr bwMode="auto">
              <a:xfrm>
                <a:off x="337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5" name="Oval 2680">
                <a:extLst>
                  <a:ext uri="{FF2B5EF4-FFF2-40B4-BE49-F238E27FC236}">
                    <a16:creationId xmlns:a16="http://schemas.microsoft.com/office/drawing/2014/main" id="{9DFC9DCB-AEED-4FC9-9156-BBE21757DDF5}"/>
                  </a:ext>
                </a:extLst>
              </p:cNvPr>
              <p:cNvSpPr>
                <a:spLocks noChangeArrowheads="1"/>
              </p:cNvSpPr>
              <p:nvPr/>
            </p:nvSpPr>
            <p:spPr bwMode="auto">
              <a:xfrm>
                <a:off x="367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6" name="Oval 2681">
                <a:extLst>
                  <a:ext uri="{FF2B5EF4-FFF2-40B4-BE49-F238E27FC236}">
                    <a16:creationId xmlns:a16="http://schemas.microsoft.com/office/drawing/2014/main" id="{4415CE92-89CD-43EC-9D4B-5A3292D5418C}"/>
                  </a:ext>
                </a:extLst>
              </p:cNvPr>
              <p:cNvSpPr>
                <a:spLocks noChangeArrowheads="1"/>
              </p:cNvSpPr>
              <p:nvPr/>
            </p:nvSpPr>
            <p:spPr bwMode="auto">
              <a:xfrm>
                <a:off x="349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7" name="Oval 2682">
                <a:extLst>
                  <a:ext uri="{FF2B5EF4-FFF2-40B4-BE49-F238E27FC236}">
                    <a16:creationId xmlns:a16="http://schemas.microsoft.com/office/drawing/2014/main" id="{DBBE84F9-842F-4E39-8E87-F4EBF938EE82}"/>
                  </a:ext>
                </a:extLst>
              </p:cNvPr>
              <p:cNvSpPr>
                <a:spLocks noChangeArrowheads="1"/>
              </p:cNvSpPr>
              <p:nvPr/>
            </p:nvSpPr>
            <p:spPr bwMode="auto">
              <a:xfrm>
                <a:off x="35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8" name="Oval 2683">
                <a:extLst>
                  <a:ext uri="{FF2B5EF4-FFF2-40B4-BE49-F238E27FC236}">
                    <a16:creationId xmlns:a16="http://schemas.microsoft.com/office/drawing/2014/main" id="{44525505-9ABA-43C9-9E6C-AD5E52A11795}"/>
                  </a:ext>
                </a:extLst>
              </p:cNvPr>
              <p:cNvSpPr>
                <a:spLocks noChangeArrowheads="1"/>
              </p:cNvSpPr>
              <p:nvPr/>
            </p:nvSpPr>
            <p:spPr bwMode="auto">
              <a:xfrm>
                <a:off x="343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9" name="Oval 2684">
                <a:extLst>
                  <a:ext uri="{FF2B5EF4-FFF2-40B4-BE49-F238E27FC236}">
                    <a16:creationId xmlns:a16="http://schemas.microsoft.com/office/drawing/2014/main" id="{96F46A28-B3C9-490C-B249-FE12DB3E0254}"/>
                  </a:ext>
                </a:extLst>
              </p:cNvPr>
              <p:cNvSpPr>
                <a:spLocks noChangeArrowheads="1"/>
              </p:cNvSpPr>
              <p:nvPr/>
            </p:nvSpPr>
            <p:spPr bwMode="auto">
              <a:xfrm>
                <a:off x="364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0" name="Oval 2685">
                <a:extLst>
                  <a:ext uri="{FF2B5EF4-FFF2-40B4-BE49-F238E27FC236}">
                    <a16:creationId xmlns:a16="http://schemas.microsoft.com/office/drawing/2014/main" id="{D7435FE2-D24F-408A-89A7-C8F2F379BCE0}"/>
                  </a:ext>
                </a:extLst>
              </p:cNvPr>
              <p:cNvSpPr>
                <a:spLocks noChangeArrowheads="1"/>
              </p:cNvSpPr>
              <p:nvPr/>
            </p:nvSpPr>
            <p:spPr bwMode="auto">
              <a:xfrm>
                <a:off x="355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1" name="Oval 2686">
                <a:extLst>
                  <a:ext uri="{FF2B5EF4-FFF2-40B4-BE49-F238E27FC236}">
                    <a16:creationId xmlns:a16="http://schemas.microsoft.com/office/drawing/2014/main" id="{35116634-0E2F-45A9-A959-0A940BADA1F1}"/>
                  </a:ext>
                </a:extLst>
              </p:cNvPr>
              <p:cNvSpPr>
                <a:spLocks noChangeArrowheads="1"/>
              </p:cNvSpPr>
              <p:nvPr/>
            </p:nvSpPr>
            <p:spPr bwMode="auto">
              <a:xfrm>
                <a:off x="34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2" name="Oval 2687">
                <a:extLst>
                  <a:ext uri="{FF2B5EF4-FFF2-40B4-BE49-F238E27FC236}">
                    <a16:creationId xmlns:a16="http://schemas.microsoft.com/office/drawing/2014/main" id="{2037F8D6-97B8-4812-869B-E9D4765BCBA9}"/>
                  </a:ext>
                </a:extLst>
              </p:cNvPr>
              <p:cNvSpPr>
                <a:spLocks noChangeArrowheads="1"/>
              </p:cNvSpPr>
              <p:nvPr/>
            </p:nvSpPr>
            <p:spPr bwMode="auto">
              <a:xfrm>
                <a:off x="31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3" name="Oval 2688">
                <a:extLst>
                  <a:ext uri="{FF2B5EF4-FFF2-40B4-BE49-F238E27FC236}">
                    <a16:creationId xmlns:a16="http://schemas.microsoft.com/office/drawing/2014/main" id="{EDA1A4BD-2F49-40D7-A07C-CDACEA8D5D8F}"/>
                  </a:ext>
                </a:extLst>
              </p:cNvPr>
              <p:cNvSpPr>
                <a:spLocks noChangeArrowheads="1"/>
              </p:cNvSpPr>
              <p:nvPr/>
            </p:nvSpPr>
            <p:spPr bwMode="auto">
              <a:xfrm>
                <a:off x="304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4" name="Oval 2689">
                <a:extLst>
                  <a:ext uri="{FF2B5EF4-FFF2-40B4-BE49-F238E27FC236}">
                    <a16:creationId xmlns:a16="http://schemas.microsoft.com/office/drawing/2014/main" id="{B5BB889F-1AFF-4190-B163-F7AA1A7A5124}"/>
                  </a:ext>
                </a:extLst>
              </p:cNvPr>
              <p:cNvSpPr>
                <a:spLocks noChangeArrowheads="1"/>
              </p:cNvSpPr>
              <p:nvPr/>
            </p:nvSpPr>
            <p:spPr bwMode="auto">
              <a:xfrm>
                <a:off x="29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5" name="Oval 2690">
                <a:extLst>
                  <a:ext uri="{FF2B5EF4-FFF2-40B4-BE49-F238E27FC236}">
                    <a16:creationId xmlns:a16="http://schemas.microsoft.com/office/drawing/2014/main" id="{F2FB9344-0765-4212-B7B2-20F6CC0E202E}"/>
                  </a:ext>
                </a:extLst>
              </p:cNvPr>
              <p:cNvSpPr>
                <a:spLocks noChangeArrowheads="1"/>
              </p:cNvSpPr>
              <p:nvPr/>
            </p:nvSpPr>
            <p:spPr bwMode="auto">
              <a:xfrm>
                <a:off x="30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6" name="Oval 2691">
                <a:extLst>
                  <a:ext uri="{FF2B5EF4-FFF2-40B4-BE49-F238E27FC236}">
                    <a16:creationId xmlns:a16="http://schemas.microsoft.com/office/drawing/2014/main" id="{C8BBA960-7037-434C-9A1B-7F32E152FFF4}"/>
                  </a:ext>
                </a:extLst>
              </p:cNvPr>
              <p:cNvSpPr>
                <a:spLocks noChangeArrowheads="1"/>
              </p:cNvSpPr>
              <p:nvPr/>
            </p:nvSpPr>
            <p:spPr bwMode="auto">
              <a:xfrm>
                <a:off x="316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7" name="Oval 2692">
                <a:extLst>
                  <a:ext uri="{FF2B5EF4-FFF2-40B4-BE49-F238E27FC236}">
                    <a16:creationId xmlns:a16="http://schemas.microsoft.com/office/drawing/2014/main" id="{508C9E6C-25E8-471E-8BD4-05AE9E3B5307}"/>
                  </a:ext>
                </a:extLst>
              </p:cNvPr>
              <p:cNvSpPr>
                <a:spLocks noChangeArrowheads="1"/>
              </p:cNvSpPr>
              <p:nvPr/>
            </p:nvSpPr>
            <p:spPr bwMode="auto">
              <a:xfrm>
                <a:off x="334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8" name="Oval 2693">
                <a:extLst>
                  <a:ext uri="{FF2B5EF4-FFF2-40B4-BE49-F238E27FC236}">
                    <a16:creationId xmlns:a16="http://schemas.microsoft.com/office/drawing/2014/main" id="{48128734-929C-47B0-BA1B-781A081FDCCD}"/>
                  </a:ext>
                </a:extLst>
              </p:cNvPr>
              <p:cNvSpPr>
                <a:spLocks noChangeArrowheads="1"/>
              </p:cNvSpPr>
              <p:nvPr/>
            </p:nvSpPr>
            <p:spPr bwMode="auto">
              <a:xfrm>
                <a:off x="31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9" name="Oval 2694">
                <a:extLst>
                  <a:ext uri="{FF2B5EF4-FFF2-40B4-BE49-F238E27FC236}">
                    <a16:creationId xmlns:a16="http://schemas.microsoft.com/office/drawing/2014/main" id="{E0F41571-FC84-4661-AA37-002CF52CF852}"/>
                  </a:ext>
                </a:extLst>
              </p:cNvPr>
              <p:cNvSpPr>
                <a:spLocks noChangeArrowheads="1"/>
              </p:cNvSpPr>
              <p:nvPr/>
            </p:nvSpPr>
            <p:spPr bwMode="auto">
              <a:xfrm>
                <a:off x="307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0" name="Oval 2695">
                <a:extLst>
                  <a:ext uri="{FF2B5EF4-FFF2-40B4-BE49-F238E27FC236}">
                    <a16:creationId xmlns:a16="http://schemas.microsoft.com/office/drawing/2014/main" id="{389C93DF-3799-47AF-BDF0-0235A1867515}"/>
                  </a:ext>
                </a:extLst>
              </p:cNvPr>
              <p:cNvSpPr>
                <a:spLocks noChangeArrowheads="1"/>
              </p:cNvSpPr>
              <p:nvPr/>
            </p:nvSpPr>
            <p:spPr bwMode="auto">
              <a:xfrm>
                <a:off x="30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1" name="Oval 2696">
                <a:extLst>
                  <a:ext uri="{FF2B5EF4-FFF2-40B4-BE49-F238E27FC236}">
                    <a16:creationId xmlns:a16="http://schemas.microsoft.com/office/drawing/2014/main" id="{2E351F6A-95A8-4FFF-845D-513663F196D6}"/>
                  </a:ext>
                </a:extLst>
              </p:cNvPr>
              <p:cNvSpPr>
                <a:spLocks noChangeArrowheads="1"/>
              </p:cNvSpPr>
              <p:nvPr/>
            </p:nvSpPr>
            <p:spPr bwMode="auto">
              <a:xfrm>
                <a:off x="292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2" name="Oval 2697">
                <a:extLst>
                  <a:ext uri="{FF2B5EF4-FFF2-40B4-BE49-F238E27FC236}">
                    <a16:creationId xmlns:a16="http://schemas.microsoft.com/office/drawing/2014/main" id="{7CA5A46B-23BE-4C85-9F77-F80FF981E128}"/>
                  </a:ext>
                </a:extLst>
              </p:cNvPr>
              <p:cNvSpPr>
                <a:spLocks noChangeArrowheads="1"/>
              </p:cNvSpPr>
              <p:nvPr/>
            </p:nvSpPr>
            <p:spPr bwMode="auto">
              <a:xfrm>
                <a:off x="298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3" name="Oval 2698">
                <a:extLst>
                  <a:ext uri="{FF2B5EF4-FFF2-40B4-BE49-F238E27FC236}">
                    <a16:creationId xmlns:a16="http://schemas.microsoft.com/office/drawing/2014/main" id="{CA25ECE7-094A-4C71-99FF-EFB00B50E31B}"/>
                  </a:ext>
                </a:extLst>
              </p:cNvPr>
              <p:cNvSpPr>
                <a:spLocks noChangeArrowheads="1"/>
              </p:cNvSpPr>
              <p:nvPr/>
            </p:nvSpPr>
            <p:spPr bwMode="auto">
              <a:xfrm>
                <a:off x="316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4" name="Oval 2699">
                <a:extLst>
                  <a:ext uri="{FF2B5EF4-FFF2-40B4-BE49-F238E27FC236}">
                    <a16:creationId xmlns:a16="http://schemas.microsoft.com/office/drawing/2014/main" id="{90A62FDF-59C1-45FB-A75B-6E3366F5A2C8}"/>
                  </a:ext>
                </a:extLst>
              </p:cNvPr>
              <p:cNvSpPr>
                <a:spLocks noChangeArrowheads="1"/>
              </p:cNvSpPr>
              <p:nvPr/>
            </p:nvSpPr>
            <p:spPr bwMode="auto">
              <a:xfrm>
                <a:off x="316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5" name="Oval 2700">
                <a:extLst>
                  <a:ext uri="{FF2B5EF4-FFF2-40B4-BE49-F238E27FC236}">
                    <a16:creationId xmlns:a16="http://schemas.microsoft.com/office/drawing/2014/main" id="{4A0B6E9F-4830-4E6D-9E42-EE0BF2BE0BFA}"/>
                  </a:ext>
                </a:extLst>
              </p:cNvPr>
              <p:cNvSpPr>
                <a:spLocks noChangeArrowheads="1"/>
              </p:cNvSpPr>
              <p:nvPr/>
            </p:nvSpPr>
            <p:spPr bwMode="auto">
              <a:xfrm>
                <a:off x="316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6" name="Oval 2701">
                <a:extLst>
                  <a:ext uri="{FF2B5EF4-FFF2-40B4-BE49-F238E27FC236}">
                    <a16:creationId xmlns:a16="http://schemas.microsoft.com/office/drawing/2014/main" id="{AEB1B56C-FAE6-4E89-BCAD-85CACE6E3A46}"/>
                  </a:ext>
                </a:extLst>
              </p:cNvPr>
              <p:cNvSpPr>
                <a:spLocks noChangeArrowheads="1"/>
              </p:cNvSpPr>
              <p:nvPr/>
            </p:nvSpPr>
            <p:spPr bwMode="auto">
              <a:xfrm>
                <a:off x="316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7" name="Oval 2702">
                <a:extLst>
                  <a:ext uri="{FF2B5EF4-FFF2-40B4-BE49-F238E27FC236}">
                    <a16:creationId xmlns:a16="http://schemas.microsoft.com/office/drawing/2014/main" id="{5110C477-1BCF-421D-AB28-639F90FE14E9}"/>
                  </a:ext>
                </a:extLst>
              </p:cNvPr>
              <p:cNvSpPr>
                <a:spLocks noChangeArrowheads="1"/>
              </p:cNvSpPr>
              <p:nvPr/>
            </p:nvSpPr>
            <p:spPr bwMode="auto">
              <a:xfrm>
                <a:off x="29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8" name="Oval 2703">
                <a:extLst>
                  <a:ext uri="{FF2B5EF4-FFF2-40B4-BE49-F238E27FC236}">
                    <a16:creationId xmlns:a16="http://schemas.microsoft.com/office/drawing/2014/main" id="{5E2121D9-B30A-4C44-84D8-0422CBCBA993}"/>
                  </a:ext>
                </a:extLst>
              </p:cNvPr>
              <p:cNvSpPr>
                <a:spLocks noChangeArrowheads="1"/>
              </p:cNvSpPr>
              <p:nvPr/>
            </p:nvSpPr>
            <p:spPr bwMode="auto">
              <a:xfrm>
                <a:off x="289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9" name="Oval 2704">
                <a:extLst>
                  <a:ext uri="{FF2B5EF4-FFF2-40B4-BE49-F238E27FC236}">
                    <a16:creationId xmlns:a16="http://schemas.microsoft.com/office/drawing/2014/main" id="{EF1CA4A0-0B6C-49FD-A6E8-EC6B94A5550B}"/>
                  </a:ext>
                </a:extLst>
              </p:cNvPr>
              <p:cNvSpPr>
                <a:spLocks noChangeArrowheads="1"/>
              </p:cNvSpPr>
              <p:nvPr/>
            </p:nvSpPr>
            <p:spPr bwMode="auto">
              <a:xfrm>
                <a:off x="289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0" name="Oval 2705">
                <a:extLst>
                  <a:ext uri="{FF2B5EF4-FFF2-40B4-BE49-F238E27FC236}">
                    <a16:creationId xmlns:a16="http://schemas.microsoft.com/office/drawing/2014/main" id="{30E955D2-B302-47F2-AAF6-85C9218CC4EE}"/>
                  </a:ext>
                </a:extLst>
              </p:cNvPr>
              <p:cNvSpPr>
                <a:spLocks noChangeArrowheads="1"/>
              </p:cNvSpPr>
              <p:nvPr/>
            </p:nvSpPr>
            <p:spPr bwMode="auto">
              <a:xfrm>
                <a:off x="289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1" name="Oval 2706">
                <a:extLst>
                  <a:ext uri="{FF2B5EF4-FFF2-40B4-BE49-F238E27FC236}">
                    <a16:creationId xmlns:a16="http://schemas.microsoft.com/office/drawing/2014/main" id="{0168C838-4A64-4C7D-ABA1-E658F132BD4B}"/>
                  </a:ext>
                </a:extLst>
              </p:cNvPr>
              <p:cNvSpPr>
                <a:spLocks noChangeArrowheads="1"/>
              </p:cNvSpPr>
              <p:nvPr/>
            </p:nvSpPr>
            <p:spPr bwMode="auto">
              <a:xfrm>
                <a:off x="277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2" name="Oval 2707">
                <a:extLst>
                  <a:ext uri="{FF2B5EF4-FFF2-40B4-BE49-F238E27FC236}">
                    <a16:creationId xmlns:a16="http://schemas.microsoft.com/office/drawing/2014/main" id="{32B2B3CC-1727-43FF-85FA-77DA9B1134A3}"/>
                  </a:ext>
                </a:extLst>
              </p:cNvPr>
              <p:cNvSpPr>
                <a:spLocks noChangeArrowheads="1"/>
              </p:cNvSpPr>
              <p:nvPr/>
            </p:nvSpPr>
            <p:spPr bwMode="auto">
              <a:xfrm>
                <a:off x="2805"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3" name="Oval 2708">
                <a:extLst>
                  <a:ext uri="{FF2B5EF4-FFF2-40B4-BE49-F238E27FC236}">
                    <a16:creationId xmlns:a16="http://schemas.microsoft.com/office/drawing/2014/main" id="{B1C58CA9-D3CE-407D-A135-2FD35425A7B1}"/>
                  </a:ext>
                </a:extLst>
              </p:cNvPr>
              <p:cNvSpPr>
                <a:spLocks noChangeArrowheads="1"/>
              </p:cNvSpPr>
              <p:nvPr/>
            </p:nvSpPr>
            <p:spPr bwMode="auto">
              <a:xfrm>
                <a:off x="286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4" name="Oval 2709">
                <a:extLst>
                  <a:ext uri="{FF2B5EF4-FFF2-40B4-BE49-F238E27FC236}">
                    <a16:creationId xmlns:a16="http://schemas.microsoft.com/office/drawing/2014/main" id="{B331EC13-80AC-46E0-ABD9-789A908D7113}"/>
                  </a:ext>
                </a:extLst>
              </p:cNvPr>
              <p:cNvSpPr>
                <a:spLocks noChangeArrowheads="1"/>
              </p:cNvSpPr>
              <p:nvPr/>
            </p:nvSpPr>
            <p:spPr bwMode="auto">
              <a:xfrm>
                <a:off x="2775"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5" name="Oval 2710">
                <a:extLst>
                  <a:ext uri="{FF2B5EF4-FFF2-40B4-BE49-F238E27FC236}">
                    <a16:creationId xmlns:a16="http://schemas.microsoft.com/office/drawing/2014/main" id="{0E7EDFA5-3A25-4604-9DBA-807009C2738B}"/>
                  </a:ext>
                </a:extLst>
              </p:cNvPr>
              <p:cNvSpPr>
                <a:spLocks noChangeArrowheads="1"/>
              </p:cNvSpPr>
              <p:nvPr/>
            </p:nvSpPr>
            <p:spPr bwMode="auto">
              <a:xfrm>
                <a:off x="283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6" name="Oval 2711">
                <a:extLst>
                  <a:ext uri="{FF2B5EF4-FFF2-40B4-BE49-F238E27FC236}">
                    <a16:creationId xmlns:a16="http://schemas.microsoft.com/office/drawing/2014/main" id="{507A3C50-7C3A-405C-99DF-E53FBF4A5392}"/>
                  </a:ext>
                </a:extLst>
              </p:cNvPr>
              <p:cNvSpPr>
                <a:spLocks noChangeArrowheads="1"/>
              </p:cNvSpPr>
              <p:nvPr/>
            </p:nvSpPr>
            <p:spPr bwMode="auto">
              <a:xfrm>
                <a:off x="286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7" name="Oval 2712">
                <a:extLst>
                  <a:ext uri="{FF2B5EF4-FFF2-40B4-BE49-F238E27FC236}">
                    <a16:creationId xmlns:a16="http://schemas.microsoft.com/office/drawing/2014/main" id="{0ECD6A37-60A3-4DB6-B8F6-5EB8272C1031}"/>
                  </a:ext>
                </a:extLst>
              </p:cNvPr>
              <p:cNvSpPr>
                <a:spLocks noChangeArrowheads="1"/>
              </p:cNvSpPr>
              <p:nvPr/>
            </p:nvSpPr>
            <p:spPr bwMode="auto">
              <a:xfrm>
                <a:off x="2775"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8" name="Oval 2713">
                <a:extLst>
                  <a:ext uri="{FF2B5EF4-FFF2-40B4-BE49-F238E27FC236}">
                    <a16:creationId xmlns:a16="http://schemas.microsoft.com/office/drawing/2014/main" id="{D281CCF3-7826-4521-9F2B-A0B7E09896F2}"/>
                  </a:ext>
                </a:extLst>
              </p:cNvPr>
              <p:cNvSpPr>
                <a:spLocks noChangeArrowheads="1"/>
              </p:cNvSpPr>
              <p:nvPr/>
            </p:nvSpPr>
            <p:spPr bwMode="auto">
              <a:xfrm>
                <a:off x="25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9" name="Oval 2714">
                <a:extLst>
                  <a:ext uri="{FF2B5EF4-FFF2-40B4-BE49-F238E27FC236}">
                    <a16:creationId xmlns:a16="http://schemas.microsoft.com/office/drawing/2014/main" id="{DBBAE2CA-CB5B-484F-AE4D-061306759033}"/>
                  </a:ext>
                </a:extLst>
              </p:cNvPr>
              <p:cNvSpPr>
                <a:spLocks noChangeArrowheads="1"/>
              </p:cNvSpPr>
              <p:nvPr/>
            </p:nvSpPr>
            <p:spPr bwMode="auto">
              <a:xfrm>
                <a:off x="256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0" name="Oval 2715">
                <a:extLst>
                  <a:ext uri="{FF2B5EF4-FFF2-40B4-BE49-F238E27FC236}">
                    <a16:creationId xmlns:a16="http://schemas.microsoft.com/office/drawing/2014/main" id="{5E95C0CB-ADA1-4708-BABD-0FD5D2E7A52C}"/>
                  </a:ext>
                </a:extLst>
              </p:cNvPr>
              <p:cNvSpPr>
                <a:spLocks noChangeArrowheads="1"/>
              </p:cNvSpPr>
              <p:nvPr/>
            </p:nvSpPr>
            <p:spPr bwMode="auto">
              <a:xfrm>
                <a:off x="259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1" name="Oval 2716">
                <a:extLst>
                  <a:ext uri="{FF2B5EF4-FFF2-40B4-BE49-F238E27FC236}">
                    <a16:creationId xmlns:a16="http://schemas.microsoft.com/office/drawing/2014/main" id="{1B0956B4-3DAF-4632-9850-78EC84311571}"/>
                  </a:ext>
                </a:extLst>
              </p:cNvPr>
              <p:cNvSpPr>
                <a:spLocks noChangeArrowheads="1"/>
              </p:cNvSpPr>
              <p:nvPr/>
            </p:nvSpPr>
            <p:spPr bwMode="auto">
              <a:xfrm>
                <a:off x="244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2" name="Oval 2717">
                <a:extLst>
                  <a:ext uri="{FF2B5EF4-FFF2-40B4-BE49-F238E27FC236}">
                    <a16:creationId xmlns:a16="http://schemas.microsoft.com/office/drawing/2014/main" id="{C635C7D4-2C47-40C7-A1C4-ECE5503361A5}"/>
                  </a:ext>
                </a:extLst>
              </p:cNvPr>
              <p:cNvSpPr>
                <a:spLocks noChangeArrowheads="1"/>
              </p:cNvSpPr>
              <p:nvPr/>
            </p:nvSpPr>
            <p:spPr bwMode="auto">
              <a:xfrm>
                <a:off x="24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3" name="Oval 2718">
                <a:extLst>
                  <a:ext uri="{FF2B5EF4-FFF2-40B4-BE49-F238E27FC236}">
                    <a16:creationId xmlns:a16="http://schemas.microsoft.com/office/drawing/2014/main" id="{57B3EBC2-0D3A-4BF8-AE05-42AD888AFAA9}"/>
                  </a:ext>
                </a:extLst>
              </p:cNvPr>
              <p:cNvSpPr>
                <a:spLocks noChangeArrowheads="1"/>
              </p:cNvSpPr>
              <p:nvPr/>
            </p:nvSpPr>
            <p:spPr bwMode="auto">
              <a:xfrm>
                <a:off x="247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4" name="Oval 2719">
                <a:extLst>
                  <a:ext uri="{FF2B5EF4-FFF2-40B4-BE49-F238E27FC236}">
                    <a16:creationId xmlns:a16="http://schemas.microsoft.com/office/drawing/2014/main" id="{FDF8EC4D-8F4A-43F3-9403-266F0DC4796E}"/>
                  </a:ext>
                </a:extLst>
              </p:cNvPr>
              <p:cNvSpPr>
                <a:spLocks noChangeArrowheads="1"/>
              </p:cNvSpPr>
              <p:nvPr/>
            </p:nvSpPr>
            <p:spPr bwMode="auto">
              <a:xfrm>
                <a:off x="2475"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5" name="Oval 2720">
                <a:extLst>
                  <a:ext uri="{FF2B5EF4-FFF2-40B4-BE49-F238E27FC236}">
                    <a16:creationId xmlns:a16="http://schemas.microsoft.com/office/drawing/2014/main" id="{D49333FF-E98B-4387-8141-100E5142B39D}"/>
                  </a:ext>
                </a:extLst>
              </p:cNvPr>
              <p:cNvSpPr>
                <a:spLocks noChangeArrowheads="1"/>
              </p:cNvSpPr>
              <p:nvPr/>
            </p:nvSpPr>
            <p:spPr bwMode="auto">
              <a:xfrm>
                <a:off x="286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6" name="Oval 2721">
                <a:extLst>
                  <a:ext uri="{FF2B5EF4-FFF2-40B4-BE49-F238E27FC236}">
                    <a16:creationId xmlns:a16="http://schemas.microsoft.com/office/drawing/2014/main" id="{1CEC0102-CE78-4C60-8D58-EFED08ECD6A5}"/>
                  </a:ext>
                </a:extLst>
              </p:cNvPr>
              <p:cNvSpPr>
                <a:spLocks noChangeArrowheads="1"/>
              </p:cNvSpPr>
              <p:nvPr/>
            </p:nvSpPr>
            <p:spPr bwMode="auto">
              <a:xfrm>
                <a:off x="268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7" name="Oval 2722">
                <a:extLst>
                  <a:ext uri="{FF2B5EF4-FFF2-40B4-BE49-F238E27FC236}">
                    <a16:creationId xmlns:a16="http://schemas.microsoft.com/office/drawing/2014/main" id="{B79C75CC-94EF-4643-886A-229A7411B2B6}"/>
                  </a:ext>
                </a:extLst>
              </p:cNvPr>
              <p:cNvSpPr>
                <a:spLocks noChangeArrowheads="1"/>
              </p:cNvSpPr>
              <p:nvPr/>
            </p:nvSpPr>
            <p:spPr bwMode="auto">
              <a:xfrm>
                <a:off x="235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8" name="Oval 2723">
                <a:extLst>
                  <a:ext uri="{FF2B5EF4-FFF2-40B4-BE49-F238E27FC236}">
                    <a16:creationId xmlns:a16="http://schemas.microsoft.com/office/drawing/2014/main" id="{D3240858-9068-4982-AD89-015529FAE680}"/>
                  </a:ext>
                </a:extLst>
              </p:cNvPr>
              <p:cNvSpPr>
                <a:spLocks noChangeArrowheads="1"/>
              </p:cNvSpPr>
              <p:nvPr/>
            </p:nvSpPr>
            <p:spPr bwMode="auto">
              <a:xfrm>
                <a:off x="235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9" name="Oval 2724">
                <a:extLst>
                  <a:ext uri="{FF2B5EF4-FFF2-40B4-BE49-F238E27FC236}">
                    <a16:creationId xmlns:a16="http://schemas.microsoft.com/office/drawing/2014/main" id="{058372D1-A872-40A5-AD30-6067F2D2B809}"/>
                  </a:ext>
                </a:extLst>
              </p:cNvPr>
              <p:cNvSpPr>
                <a:spLocks noChangeArrowheads="1"/>
              </p:cNvSpPr>
              <p:nvPr/>
            </p:nvSpPr>
            <p:spPr bwMode="auto">
              <a:xfrm>
                <a:off x="25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0" name="Oval 2725">
                <a:extLst>
                  <a:ext uri="{FF2B5EF4-FFF2-40B4-BE49-F238E27FC236}">
                    <a16:creationId xmlns:a16="http://schemas.microsoft.com/office/drawing/2014/main" id="{A60C92F6-065D-4050-993A-BD657D1527F2}"/>
                  </a:ext>
                </a:extLst>
              </p:cNvPr>
              <p:cNvSpPr>
                <a:spLocks noChangeArrowheads="1"/>
              </p:cNvSpPr>
              <p:nvPr/>
            </p:nvSpPr>
            <p:spPr bwMode="auto">
              <a:xfrm>
                <a:off x="259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1" name="Oval 2726">
                <a:extLst>
                  <a:ext uri="{FF2B5EF4-FFF2-40B4-BE49-F238E27FC236}">
                    <a16:creationId xmlns:a16="http://schemas.microsoft.com/office/drawing/2014/main" id="{F728A849-948D-4F50-923B-D4CA9351C458}"/>
                  </a:ext>
                </a:extLst>
              </p:cNvPr>
              <p:cNvSpPr>
                <a:spLocks noChangeArrowheads="1"/>
              </p:cNvSpPr>
              <p:nvPr/>
            </p:nvSpPr>
            <p:spPr bwMode="auto">
              <a:xfrm>
                <a:off x="25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2" name="Oval 2727">
                <a:extLst>
                  <a:ext uri="{FF2B5EF4-FFF2-40B4-BE49-F238E27FC236}">
                    <a16:creationId xmlns:a16="http://schemas.microsoft.com/office/drawing/2014/main" id="{AD9EC2FD-D037-44B0-A692-3D4137EEE0D2}"/>
                  </a:ext>
                </a:extLst>
              </p:cNvPr>
              <p:cNvSpPr>
                <a:spLocks noChangeArrowheads="1"/>
              </p:cNvSpPr>
              <p:nvPr/>
            </p:nvSpPr>
            <p:spPr bwMode="auto">
              <a:xfrm>
                <a:off x="256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3" name="Oval 2728">
                <a:extLst>
                  <a:ext uri="{FF2B5EF4-FFF2-40B4-BE49-F238E27FC236}">
                    <a16:creationId xmlns:a16="http://schemas.microsoft.com/office/drawing/2014/main" id="{954EAFD2-B826-4A3F-B775-E567A6FA173F}"/>
                  </a:ext>
                </a:extLst>
              </p:cNvPr>
              <p:cNvSpPr>
                <a:spLocks noChangeArrowheads="1"/>
              </p:cNvSpPr>
              <p:nvPr/>
            </p:nvSpPr>
            <p:spPr bwMode="auto">
              <a:xfrm>
                <a:off x="247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4" name="Oval 2729">
                <a:extLst>
                  <a:ext uri="{FF2B5EF4-FFF2-40B4-BE49-F238E27FC236}">
                    <a16:creationId xmlns:a16="http://schemas.microsoft.com/office/drawing/2014/main" id="{9828000E-5C7E-404D-9411-D88BB353927B}"/>
                  </a:ext>
                </a:extLst>
              </p:cNvPr>
              <p:cNvSpPr>
                <a:spLocks noChangeArrowheads="1"/>
              </p:cNvSpPr>
              <p:nvPr/>
            </p:nvSpPr>
            <p:spPr bwMode="auto">
              <a:xfrm>
                <a:off x="235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5" name="Oval 2730">
                <a:extLst>
                  <a:ext uri="{FF2B5EF4-FFF2-40B4-BE49-F238E27FC236}">
                    <a16:creationId xmlns:a16="http://schemas.microsoft.com/office/drawing/2014/main" id="{36BF0F76-5C95-4610-AE3B-A0AC05E992BB}"/>
                  </a:ext>
                </a:extLst>
              </p:cNvPr>
              <p:cNvSpPr>
                <a:spLocks noChangeArrowheads="1"/>
              </p:cNvSpPr>
              <p:nvPr/>
            </p:nvSpPr>
            <p:spPr bwMode="auto">
              <a:xfrm>
                <a:off x="229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6" name="Oval 2731">
                <a:extLst>
                  <a:ext uri="{FF2B5EF4-FFF2-40B4-BE49-F238E27FC236}">
                    <a16:creationId xmlns:a16="http://schemas.microsoft.com/office/drawing/2014/main" id="{1EC027BD-1C6D-460C-B06E-0B30BF9AD125}"/>
                  </a:ext>
                </a:extLst>
              </p:cNvPr>
              <p:cNvSpPr>
                <a:spLocks noChangeArrowheads="1"/>
              </p:cNvSpPr>
              <p:nvPr/>
            </p:nvSpPr>
            <p:spPr bwMode="auto">
              <a:xfrm>
                <a:off x="226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7" name="Oval 2732">
                <a:extLst>
                  <a:ext uri="{FF2B5EF4-FFF2-40B4-BE49-F238E27FC236}">
                    <a16:creationId xmlns:a16="http://schemas.microsoft.com/office/drawing/2014/main" id="{010F24EB-1178-40A7-BD4A-E8ACB5FF42CE}"/>
                  </a:ext>
                </a:extLst>
              </p:cNvPr>
              <p:cNvSpPr>
                <a:spLocks noChangeArrowheads="1"/>
              </p:cNvSpPr>
              <p:nvPr/>
            </p:nvSpPr>
            <p:spPr bwMode="auto">
              <a:xfrm>
                <a:off x="229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8" name="Oval 2733">
                <a:extLst>
                  <a:ext uri="{FF2B5EF4-FFF2-40B4-BE49-F238E27FC236}">
                    <a16:creationId xmlns:a16="http://schemas.microsoft.com/office/drawing/2014/main" id="{B17FAEF0-7395-439C-90A8-29604E5FD75D}"/>
                  </a:ext>
                </a:extLst>
              </p:cNvPr>
              <p:cNvSpPr>
                <a:spLocks noChangeArrowheads="1"/>
              </p:cNvSpPr>
              <p:nvPr/>
            </p:nvSpPr>
            <p:spPr bwMode="auto">
              <a:xfrm>
                <a:off x="235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9" name="Oval 2734">
                <a:extLst>
                  <a:ext uri="{FF2B5EF4-FFF2-40B4-BE49-F238E27FC236}">
                    <a16:creationId xmlns:a16="http://schemas.microsoft.com/office/drawing/2014/main" id="{5CF382F2-D5EE-46F8-94A4-07F5D9225762}"/>
                  </a:ext>
                </a:extLst>
              </p:cNvPr>
              <p:cNvSpPr>
                <a:spLocks noChangeArrowheads="1"/>
              </p:cNvSpPr>
              <p:nvPr/>
            </p:nvSpPr>
            <p:spPr bwMode="auto">
              <a:xfrm>
                <a:off x="244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0" name="Oval 2735">
                <a:extLst>
                  <a:ext uri="{FF2B5EF4-FFF2-40B4-BE49-F238E27FC236}">
                    <a16:creationId xmlns:a16="http://schemas.microsoft.com/office/drawing/2014/main" id="{890353F3-BF9B-4948-A4FF-F16AA47A632A}"/>
                  </a:ext>
                </a:extLst>
              </p:cNvPr>
              <p:cNvSpPr>
                <a:spLocks noChangeArrowheads="1"/>
              </p:cNvSpPr>
              <p:nvPr/>
            </p:nvSpPr>
            <p:spPr bwMode="auto">
              <a:xfrm>
                <a:off x="268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1" name="Oval 2736">
                <a:extLst>
                  <a:ext uri="{FF2B5EF4-FFF2-40B4-BE49-F238E27FC236}">
                    <a16:creationId xmlns:a16="http://schemas.microsoft.com/office/drawing/2014/main" id="{A0BC3F26-6F78-4926-B559-1A94E41C9E82}"/>
                  </a:ext>
                </a:extLst>
              </p:cNvPr>
              <p:cNvSpPr>
                <a:spLocks noChangeArrowheads="1"/>
              </p:cNvSpPr>
              <p:nvPr/>
            </p:nvSpPr>
            <p:spPr bwMode="auto">
              <a:xfrm>
                <a:off x="253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2" name="Oval 2737">
                <a:extLst>
                  <a:ext uri="{FF2B5EF4-FFF2-40B4-BE49-F238E27FC236}">
                    <a16:creationId xmlns:a16="http://schemas.microsoft.com/office/drawing/2014/main" id="{46464D77-BB63-4A65-98DC-8A3EDFEB0D69}"/>
                  </a:ext>
                </a:extLst>
              </p:cNvPr>
              <p:cNvSpPr>
                <a:spLocks noChangeArrowheads="1"/>
              </p:cNvSpPr>
              <p:nvPr/>
            </p:nvSpPr>
            <p:spPr bwMode="auto">
              <a:xfrm>
                <a:off x="25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3" name="Oval 2738">
                <a:extLst>
                  <a:ext uri="{FF2B5EF4-FFF2-40B4-BE49-F238E27FC236}">
                    <a16:creationId xmlns:a16="http://schemas.microsoft.com/office/drawing/2014/main" id="{833768F9-49B4-406F-A2DC-DF871A04532A}"/>
                  </a:ext>
                </a:extLst>
              </p:cNvPr>
              <p:cNvSpPr>
                <a:spLocks noChangeArrowheads="1"/>
              </p:cNvSpPr>
              <p:nvPr/>
            </p:nvSpPr>
            <p:spPr bwMode="auto">
              <a:xfrm>
                <a:off x="247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4" name="Oval 2739">
                <a:extLst>
                  <a:ext uri="{FF2B5EF4-FFF2-40B4-BE49-F238E27FC236}">
                    <a16:creationId xmlns:a16="http://schemas.microsoft.com/office/drawing/2014/main" id="{8A3A707D-FA84-4D93-88BA-149F8B113DE9}"/>
                  </a:ext>
                </a:extLst>
              </p:cNvPr>
              <p:cNvSpPr>
                <a:spLocks noChangeArrowheads="1"/>
              </p:cNvSpPr>
              <p:nvPr/>
            </p:nvSpPr>
            <p:spPr bwMode="auto">
              <a:xfrm>
                <a:off x="250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5" name="Oval 2740">
                <a:extLst>
                  <a:ext uri="{FF2B5EF4-FFF2-40B4-BE49-F238E27FC236}">
                    <a16:creationId xmlns:a16="http://schemas.microsoft.com/office/drawing/2014/main" id="{AFBE576D-5ADD-485B-8DFE-536CA31DD055}"/>
                  </a:ext>
                </a:extLst>
              </p:cNvPr>
              <p:cNvSpPr>
                <a:spLocks noChangeArrowheads="1"/>
              </p:cNvSpPr>
              <p:nvPr/>
            </p:nvSpPr>
            <p:spPr bwMode="auto">
              <a:xfrm>
                <a:off x="232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6" name="Oval 2741">
                <a:extLst>
                  <a:ext uri="{FF2B5EF4-FFF2-40B4-BE49-F238E27FC236}">
                    <a16:creationId xmlns:a16="http://schemas.microsoft.com/office/drawing/2014/main" id="{31FC2691-5FE0-4486-A959-10213155760E}"/>
                  </a:ext>
                </a:extLst>
              </p:cNvPr>
              <p:cNvSpPr>
                <a:spLocks noChangeArrowheads="1"/>
              </p:cNvSpPr>
              <p:nvPr/>
            </p:nvSpPr>
            <p:spPr bwMode="auto">
              <a:xfrm>
                <a:off x="232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7" name="Oval 2742">
                <a:extLst>
                  <a:ext uri="{FF2B5EF4-FFF2-40B4-BE49-F238E27FC236}">
                    <a16:creationId xmlns:a16="http://schemas.microsoft.com/office/drawing/2014/main" id="{D4C1CC88-AD76-4E11-B25A-69D7C9C94E80}"/>
                  </a:ext>
                </a:extLst>
              </p:cNvPr>
              <p:cNvSpPr>
                <a:spLocks noChangeArrowheads="1"/>
              </p:cNvSpPr>
              <p:nvPr/>
            </p:nvSpPr>
            <p:spPr bwMode="auto">
              <a:xfrm>
                <a:off x="220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8" name="Oval 2743">
                <a:extLst>
                  <a:ext uri="{FF2B5EF4-FFF2-40B4-BE49-F238E27FC236}">
                    <a16:creationId xmlns:a16="http://schemas.microsoft.com/office/drawing/2014/main" id="{1038FFE9-10E4-4103-9410-8FF8F21AFB3E}"/>
                  </a:ext>
                </a:extLst>
              </p:cNvPr>
              <p:cNvSpPr>
                <a:spLocks noChangeArrowheads="1"/>
              </p:cNvSpPr>
              <p:nvPr/>
            </p:nvSpPr>
            <p:spPr bwMode="auto">
              <a:xfrm>
                <a:off x="220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9" name="Oval 2744">
                <a:extLst>
                  <a:ext uri="{FF2B5EF4-FFF2-40B4-BE49-F238E27FC236}">
                    <a16:creationId xmlns:a16="http://schemas.microsoft.com/office/drawing/2014/main" id="{93D6A1FA-E103-4241-82B1-9CDB50A3CE3A}"/>
                  </a:ext>
                </a:extLst>
              </p:cNvPr>
              <p:cNvSpPr>
                <a:spLocks noChangeArrowheads="1"/>
              </p:cNvSpPr>
              <p:nvPr/>
            </p:nvSpPr>
            <p:spPr bwMode="auto">
              <a:xfrm>
                <a:off x="20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0" name="Oval 2745">
                <a:extLst>
                  <a:ext uri="{FF2B5EF4-FFF2-40B4-BE49-F238E27FC236}">
                    <a16:creationId xmlns:a16="http://schemas.microsoft.com/office/drawing/2014/main" id="{C3FF04E7-895C-4D83-A8DA-F4AD49939D3D}"/>
                  </a:ext>
                </a:extLst>
              </p:cNvPr>
              <p:cNvSpPr>
                <a:spLocks noChangeArrowheads="1"/>
              </p:cNvSpPr>
              <p:nvPr/>
            </p:nvSpPr>
            <p:spPr bwMode="auto">
              <a:xfrm>
                <a:off x="2086" y="9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1" name="Oval 2746">
                <a:extLst>
                  <a:ext uri="{FF2B5EF4-FFF2-40B4-BE49-F238E27FC236}">
                    <a16:creationId xmlns:a16="http://schemas.microsoft.com/office/drawing/2014/main" id="{8DA6784A-1B9F-44B5-849F-DF7D8A39A384}"/>
                  </a:ext>
                </a:extLst>
              </p:cNvPr>
              <p:cNvSpPr>
                <a:spLocks noChangeArrowheads="1"/>
              </p:cNvSpPr>
              <p:nvPr/>
            </p:nvSpPr>
            <p:spPr bwMode="auto">
              <a:xfrm>
                <a:off x="1936"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2" name="Oval 2747">
                <a:extLst>
                  <a:ext uri="{FF2B5EF4-FFF2-40B4-BE49-F238E27FC236}">
                    <a16:creationId xmlns:a16="http://schemas.microsoft.com/office/drawing/2014/main" id="{7BA5D20C-BA16-4515-902B-729739807197}"/>
                  </a:ext>
                </a:extLst>
              </p:cNvPr>
              <p:cNvSpPr>
                <a:spLocks noChangeArrowheads="1"/>
              </p:cNvSpPr>
              <p:nvPr/>
            </p:nvSpPr>
            <p:spPr bwMode="auto">
              <a:xfrm>
                <a:off x="1936"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3" name="Oval 2748">
                <a:extLst>
                  <a:ext uri="{FF2B5EF4-FFF2-40B4-BE49-F238E27FC236}">
                    <a16:creationId xmlns:a16="http://schemas.microsoft.com/office/drawing/2014/main" id="{8293147D-F1C7-4859-8A2F-DBA2EAE8E210}"/>
                  </a:ext>
                </a:extLst>
              </p:cNvPr>
              <p:cNvSpPr>
                <a:spLocks noChangeArrowheads="1"/>
              </p:cNvSpPr>
              <p:nvPr/>
            </p:nvSpPr>
            <p:spPr bwMode="auto">
              <a:xfrm>
                <a:off x="193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4" name="Oval 2749">
                <a:extLst>
                  <a:ext uri="{FF2B5EF4-FFF2-40B4-BE49-F238E27FC236}">
                    <a16:creationId xmlns:a16="http://schemas.microsoft.com/office/drawing/2014/main" id="{5C6D0376-8E0B-4718-ABE2-F1869FA16517}"/>
                  </a:ext>
                </a:extLst>
              </p:cNvPr>
              <p:cNvSpPr>
                <a:spLocks noChangeArrowheads="1"/>
              </p:cNvSpPr>
              <p:nvPr/>
            </p:nvSpPr>
            <p:spPr bwMode="auto">
              <a:xfrm>
                <a:off x="1876"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5" name="Oval 2750">
                <a:extLst>
                  <a:ext uri="{FF2B5EF4-FFF2-40B4-BE49-F238E27FC236}">
                    <a16:creationId xmlns:a16="http://schemas.microsoft.com/office/drawing/2014/main" id="{5CEB5180-4AB0-4FD2-82FE-927D2901DCBE}"/>
                  </a:ext>
                </a:extLst>
              </p:cNvPr>
              <p:cNvSpPr>
                <a:spLocks noChangeArrowheads="1"/>
              </p:cNvSpPr>
              <p:nvPr/>
            </p:nvSpPr>
            <p:spPr bwMode="auto">
              <a:xfrm>
                <a:off x="2056" y="4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6" name="Oval 2751">
                <a:extLst>
                  <a:ext uri="{FF2B5EF4-FFF2-40B4-BE49-F238E27FC236}">
                    <a16:creationId xmlns:a16="http://schemas.microsoft.com/office/drawing/2014/main" id="{14C3B1C5-0F1C-4DCF-83DB-409345E318E1}"/>
                  </a:ext>
                </a:extLst>
              </p:cNvPr>
              <p:cNvSpPr>
                <a:spLocks noChangeArrowheads="1"/>
              </p:cNvSpPr>
              <p:nvPr/>
            </p:nvSpPr>
            <p:spPr bwMode="auto">
              <a:xfrm>
                <a:off x="2086" y="3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7" name="Oval 2752">
                <a:extLst>
                  <a:ext uri="{FF2B5EF4-FFF2-40B4-BE49-F238E27FC236}">
                    <a16:creationId xmlns:a16="http://schemas.microsoft.com/office/drawing/2014/main" id="{98E70E80-4082-46BF-A6FF-54E7CFDC5117}"/>
                  </a:ext>
                </a:extLst>
              </p:cNvPr>
              <p:cNvSpPr>
                <a:spLocks noChangeArrowheads="1"/>
              </p:cNvSpPr>
              <p:nvPr/>
            </p:nvSpPr>
            <p:spPr bwMode="auto">
              <a:xfrm>
                <a:off x="193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8" name="Oval 2753">
                <a:extLst>
                  <a:ext uri="{FF2B5EF4-FFF2-40B4-BE49-F238E27FC236}">
                    <a16:creationId xmlns:a16="http://schemas.microsoft.com/office/drawing/2014/main" id="{1523AC6C-4115-430E-A0C3-FF853CFABD5B}"/>
                  </a:ext>
                </a:extLst>
              </p:cNvPr>
              <p:cNvSpPr>
                <a:spLocks noChangeArrowheads="1"/>
              </p:cNvSpPr>
              <p:nvPr/>
            </p:nvSpPr>
            <p:spPr bwMode="auto">
              <a:xfrm>
                <a:off x="2026"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9" name="Oval 2754">
                <a:extLst>
                  <a:ext uri="{FF2B5EF4-FFF2-40B4-BE49-F238E27FC236}">
                    <a16:creationId xmlns:a16="http://schemas.microsoft.com/office/drawing/2014/main" id="{A6B7F569-8FE2-4ED4-ABFF-20C4CEE13069}"/>
                  </a:ext>
                </a:extLst>
              </p:cNvPr>
              <p:cNvSpPr>
                <a:spLocks noChangeArrowheads="1"/>
              </p:cNvSpPr>
              <p:nvPr/>
            </p:nvSpPr>
            <p:spPr bwMode="auto">
              <a:xfrm>
                <a:off x="2086" y="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0" name="Oval 2755">
                <a:extLst>
                  <a:ext uri="{FF2B5EF4-FFF2-40B4-BE49-F238E27FC236}">
                    <a16:creationId xmlns:a16="http://schemas.microsoft.com/office/drawing/2014/main" id="{5363C32F-8CD7-46F6-9EC5-C2FA1A6F4784}"/>
                  </a:ext>
                </a:extLst>
              </p:cNvPr>
              <p:cNvSpPr>
                <a:spLocks noChangeArrowheads="1"/>
              </p:cNvSpPr>
              <p:nvPr/>
            </p:nvSpPr>
            <p:spPr bwMode="auto">
              <a:xfrm>
                <a:off x="193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1" name="Oval 2756">
                <a:extLst>
                  <a:ext uri="{FF2B5EF4-FFF2-40B4-BE49-F238E27FC236}">
                    <a16:creationId xmlns:a16="http://schemas.microsoft.com/office/drawing/2014/main" id="{CE25E992-2762-4A87-9EBC-6E36A8E9CACD}"/>
                  </a:ext>
                </a:extLst>
              </p:cNvPr>
              <p:cNvSpPr>
                <a:spLocks noChangeArrowheads="1"/>
              </p:cNvSpPr>
              <p:nvPr/>
            </p:nvSpPr>
            <p:spPr bwMode="auto">
              <a:xfrm>
                <a:off x="172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2" name="Oval 2757">
                <a:extLst>
                  <a:ext uri="{FF2B5EF4-FFF2-40B4-BE49-F238E27FC236}">
                    <a16:creationId xmlns:a16="http://schemas.microsoft.com/office/drawing/2014/main" id="{51AD93B0-9A4C-46C5-A2F2-06D137B6474F}"/>
                  </a:ext>
                </a:extLst>
              </p:cNvPr>
              <p:cNvSpPr>
                <a:spLocks noChangeArrowheads="1"/>
              </p:cNvSpPr>
              <p:nvPr/>
            </p:nvSpPr>
            <p:spPr bwMode="auto">
              <a:xfrm>
                <a:off x="157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3" name="Oval 2758">
                <a:extLst>
                  <a:ext uri="{FF2B5EF4-FFF2-40B4-BE49-F238E27FC236}">
                    <a16:creationId xmlns:a16="http://schemas.microsoft.com/office/drawing/2014/main" id="{FEA99714-AF94-4800-AA63-88A555C8B5AF}"/>
                  </a:ext>
                </a:extLst>
              </p:cNvPr>
              <p:cNvSpPr>
                <a:spLocks noChangeArrowheads="1"/>
              </p:cNvSpPr>
              <p:nvPr/>
            </p:nvSpPr>
            <p:spPr bwMode="auto">
              <a:xfrm>
                <a:off x="154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4" name="Oval 2759">
                <a:extLst>
                  <a:ext uri="{FF2B5EF4-FFF2-40B4-BE49-F238E27FC236}">
                    <a16:creationId xmlns:a16="http://schemas.microsoft.com/office/drawing/2014/main" id="{B2ED09D3-4C20-45E7-A262-F68CC3C6F189}"/>
                  </a:ext>
                </a:extLst>
              </p:cNvPr>
              <p:cNvSpPr>
                <a:spLocks noChangeArrowheads="1"/>
              </p:cNvSpPr>
              <p:nvPr/>
            </p:nvSpPr>
            <p:spPr bwMode="auto">
              <a:xfrm>
                <a:off x="142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5" name="Oval 2760">
                <a:extLst>
                  <a:ext uri="{FF2B5EF4-FFF2-40B4-BE49-F238E27FC236}">
                    <a16:creationId xmlns:a16="http://schemas.microsoft.com/office/drawing/2014/main" id="{FE481DD5-D0D6-41DF-AB60-4578C0CDF264}"/>
                  </a:ext>
                </a:extLst>
              </p:cNvPr>
              <p:cNvSpPr>
                <a:spLocks noChangeArrowheads="1"/>
              </p:cNvSpPr>
              <p:nvPr/>
            </p:nvSpPr>
            <p:spPr bwMode="auto">
              <a:xfrm>
                <a:off x="130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6" name="Oval 2761">
                <a:extLst>
                  <a:ext uri="{FF2B5EF4-FFF2-40B4-BE49-F238E27FC236}">
                    <a16:creationId xmlns:a16="http://schemas.microsoft.com/office/drawing/2014/main" id="{9EDE4DD1-F98B-429A-80FE-E5BDD3AF9615}"/>
                  </a:ext>
                </a:extLst>
              </p:cNvPr>
              <p:cNvSpPr>
                <a:spLocks noChangeArrowheads="1"/>
              </p:cNvSpPr>
              <p:nvPr/>
            </p:nvSpPr>
            <p:spPr bwMode="auto">
              <a:xfrm>
                <a:off x="1246"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7" name="Oval 2762">
                <a:extLst>
                  <a:ext uri="{FF2B5EF4-FFF2-40B4-BE49-F238E27FC236}">
                    <a16:creationId xmlns:a16="http://schemas.microsoft.com/office/drawing/2014/main" id="{EA56BCE6-07EE-4C35-90B8-ABBCD85AD62B}"/>
                  </a:ext>
                </a:extLst>
              </p:cNvPr>
              <p:cNvSpPr>
                <a:spLocks noChangeArrowheads="1"/>
              </p:cNvSpPr>
              <p:nvPr/>
            </p:nvSpPr>
            <p:spPr bwMode="auto">
              <a:xfrm>
                <a:off x="139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8" name="Oval 2763">
                <a:extLst>
                  <a:ext uri="{FF2B5EF4-FFF2-40B4-BE49-F238E27FC236}">
                    <a16:creationId xmlns:a16="http://schemas.microsoft.com/office/drawing/2014/main" id="{A73147A1-E23F-4591-A4DE-54A344780DFE}"/>
                  </a:ext>
                </a:extLst>
              </p:cNvPr>
              <p:cNvSpPr>
                <a:spLocks noChangeArrowheads="1"/>
              </p:cNvSpPr>
              <p:nvPr/>
            </p:nvSpPr>
            <p:spPr bwMode="auto">
              <a:xfrm>
                <a:off x="172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9" name="Oval 2764">
                <a:extLst>
                  <a:ext uri="{FF2B5EF4-FFF2-40B4-BE49-F238E27FC236}">
                    <a16:creationId xmlns:a16="http://schemas.microsoft.com/office/drawing/2014/main" id="{81E7BD47-8C39-4B6E-939B-B600487AF576}"/>
                  </a:ext>
                </a:extLst>
              </p:cNvPr>
              <p:cNvSpPr>
                <a:spLocks noChangeArrowheads="1"/>
              </p:cNvSpPr>
              <p:nvPr/>
            </p:nvSpPr>
            <p:spPr bwMode="auto">
              <a:xfrm>
                <a:off x="169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0" name="Oval 2765">
                <a:extLst>
                  <a:ext uri="{FF2B5EF4-FFF2-40B4-BE49-F238E27FC236}">
                    <a16:creationId xmlns:a16="http://schemas.microsoft.com/office/drawing/2014/main" id="{7705667C-BF02-438E-9AA5-40F5C9E28FA4}"/>
                  </a:ext>
                </a:extLst>
              </p:cNvPr>
              <p:cNvSpPr>
                <a:spLocks noChangeArrowheads="1"/>
              </p:cNvSpPr>
              <p:nvPr/>
            </p:nvSpPr>
            <p:spPr bwMode="auto">
              <a:xfrm>
                <a:off x="1696"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1" name="Oval 2766">
                <a:extLst>
                  <a:ext uri="{FF2B5EF4-FFF2-40B4-BE49-F238E27FC236}">
                    <a16:creationId xmlns:a16="http://schemas.microsoft.com/office/drawing/2014/main" id="{91D19694-93BF-4248-9529-7CE9D4BCFA3B}"/>
                  </a:ext>
                </a:extLst>
              </p:cNvPr>
              <p:cNvSpPr>
                <a:spLocks noChangeArrowheads="1"/>
              </p:cNvSpPr>
              <p:nvPr/>
            </p:nvSpPr>
            <p:spPr bwMode="auto">
              <a:xfrm>
                <a:off x="151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2" name="Oval 2767">
                <a:extLst>
                  <a:ext uri="{FF2B5EF4-FFF2-40B4-BE49-F238E27FC236}">
                    <a16:creationId xmlns:a16="http://schemas.microsoft.com/office/drawing/2014/main" id="{17CD969D-FFA9-4660-B5D1-2EFE9E237168}"/>
                  </a:ext>
                </a:extLst>
              </p:cNvPr>
              <p:cNvSpPr>
                <a:spLocks noChangeArrowheads="1"/>
              </p:cNvSpPr>
              <p:nvPr/>
            </p:nvSpPr>
            <p:spPr bwMode="auto">
              <a:xfrm>
                <a:off x="1576"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3" name="Oval 2768">
                <a:extLst>
                  <a:ext uri="{FF2B5EF4-FFF2-40B4-BE49-F238E27FC236}">
                    <a16:creationId xmlns:a16="http://schemas.microsoft.com/office/drawing/2014/main" id="{A380F2F5-122E-4871-9483-75E541B1DC18}"/>
                  </a:ext>
                </a:extLst>
              </p:cNvPr>
              <p:cNvSpPr>
                <a:spLocks noChangeArrowheads="1"/>
              </p:cNvSpPr>
              <p:nvPr/>
            </p:nvSpPr>
            <p:spPr bwMode="auto">
              <a:xfrm>
                <a:off x="154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4" name="Oval 2769">
                <a:extLst>
                  <a:ext uri="{FF2B5EF4-FFF2-40B4-BE49-F238E27FC236}">
                    <a16:creationId xmlns:a16="http://schemas.microsoft.com/office/drawing/2014/main" id="{A07EC260-3827-4702-B726-8B0D39D0370D}"/>
                  </a:ext>
                </a:extLst>
              </p:cNvPr>
              <p:cNvSpPr>
                <a:spLocks noChangeArrowheads="1"/>
              </p:cNvSpPr>
              <p:nvPr/>
            </p:nvSpPr>
            <p:spPr bwMode="auto">
              <a:xfrm>
                <a:off x="163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5" name="Oval 2770">
                <a:extLst>
                  <a:ext uri="{FF2B5EF4-FFF2-40B4-BE49-F238E27FC236}">
                    <a16:creationId xmlns:a16="http://schemas.microsoft.com/office/drawing/2014/main" id="{29C024BF-583A-458D-9A33-CEB0EDC649F5}"/>
                  </a:ext>
                </a:extLst>
              </p:cNvPr>
              <p:cNvSpPr>
                <a:spLocks noChangeArrowheads="1"/>
              </p:cNvSpPr>
              <p:nvPr/>
            </p:nvSpPr>
            <p:spPr bwMode="auto">
              <a:xfrm>
                <a:off x="1546"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6" name="Oval 2771">
                <a:extLst>
                  <a:ext uri="{FF2B5EF4-FFF2-40B4-BE49-F238E27FC236}">
                    <a16:creationId xmlns:a16="http://schemas.microsoft.com/office/drawing/2014/main" id="{B7391D43-E831-461D-859A-F4335313E955}"/>
                  </a:ext>
                </a:extLst>
              </p:cNvPr>
              <p:cNvSpPr>
                <a:spLocks noChangeArrowheads="1"/>
              </p:cNvSpPr>
              <p:nvPr/>
            </p:nvSpPr>
            <p:spPr bwMode="auto">
              <a:xfrm>
                <a:off x="160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7" name="Oval 2772">
                <a:extLst>
                  <a:ext uri="{FF2B5EF4-FFF2-40B4-BE49-F238E27FC236}">
                    <a16:creationId xmlns:a16="http://schemas.microsoft.com/office/drawing/2014/main" id="{64953227-B4ED-43D2-B2B3-40ADC651B3A3}"/>
                  </a:ext>
                </a:extLst>
              </p:cNvPr>
              <p:cNvSpPr>
                <a:spLocks noChangeArrowheads="1"/>
              </p:cNvSpPr>
              <p:nvPr/>
            </p:nvSpPr>
            <p:spPr bwMode="auto">
              <a:xfrm>
                <a:off x="17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8" name="Oval 2773">
                <a:extLst>
                  <a:ext uri="{FF2B5EF4-FFF2-40B4-BE49-F238E27FC236}">
                    <a16:creationId xmlns:a16="http://schemas.microsoft.com/office/drawing/2014/main" id="{E873F00B-151B-4054-BAED-C01318DB66DE}"/>
                  </a:ext>
                </a:extLst>
              </p:cNvPr>
              <p:cNvSpPr>
                <a:spLocks noChangeArrowheads="1"/>
              </p:cNvSpPr>
              <p:nvPr/>
            </p:nvSpPr>
            <p:spPr bwMode="auto">
              <a:xfrm>
                <a:off x="1756"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9" name="Oval 2774">
                <a:extLst>
                  <a:ext uri="{FF2B5EF4-FFF2-40B4-BE49-F238E27FC236}">
                    <a16:creationId xmlns:a16="http://schemas.microsoft.com/office/drawing/2014/main" id="{8861899F-4B7B-434B-9B8A-3716E5F39776}"/>
                  </a:ext>
                </a:extLst>
              </p:cNvPr>
              <p:cNvSpPr>
                <a:spLocks noChangeArrowheads="1"/>
              </p:cNvSpPr>
              <p:nvPr/>
            </p:nvSpPr>
            <p:spPr bwMode="auto">
              <a:xfrm>
                <a:off x="1756"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0" name="Oval 2775">
                <a:extLst>
                  <a:ext uri="{FF2B5EF4-FFF2-40B4-BE49-F238E27FC236}">
                    <a16:creationId xmlns:a16="http://schemas.microsoft.com/office/drawing/2014/main" id="{FF194230-12EA-4A11-8D04-F63CC1488B22}"/>
                  </a:ext>
                </a:extLst>
              </p:cNvPr>
              <p:cNvSpPr>
                <a:spLocks noChangeArrowheads="1"/>
              </p:cNvSpPr>
              <p:nvPr/>
            </p:nvSpPr>
            <p:spPr bwMode="auto">
              <a:xfrm>
                <a:off x="184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1" name="Oval 2776">
                <a:extLst>
                  <a:ext uri="{FF2B5EF4-FFF2-40B4-BE49-F238E27FC236}">
                    <a16:creationId xmlns:a16="http://schemas.microsoft.com/office/drawing/2014/main" id="{915224DE-B30B-48B3-96D5-8B9DDCC8CC34}"/>
                  </a:ext>
                </a:extLst>
              </p:cNvPr>
              <p:cNvSpPr>
                <a:spLocks noChangeArrowheads="1"/>
              </p:cNvSpPr>
              <p:nvPr/>
            </p:nvSpPr>
            <p:spPr bwMode="auto">
              <a:xfrm>
                <a:off x="1726"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2" name="Oval 2777">
                <a:extLst>
                  <a:ext uri="{FF2B5EF4-FFF2-40B4-BE49-F238E27FC236}">
                    <a16:creationId xmlns:a16="http://schemas.microsoft.com/office/drawing/2014/main" id="{6D28164E-3304-4C3A-9FFD-459D22512319}"/>
                  </a:ext>
                </a:extLst>
              </p:cNvPr>
              <p:cNvSpPr>
                <a:spLocks noChangeArrowheads="1"/>
              </p:cNvSpPr>
              <p:nvPr/>
            </p:nvSpPr>
            <p:spPr bwMode="auto">
              <a:xfrm>
                <a:off x="163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3" name="Oval 2778">
                <a:extLst>
                  <a:ext uri="{FF2B5EF4-FFF2-40B4-BE49-F238E27FC236}">
                    <a16:creationId xmlns:a16="http://schemas.microsoft.com/office/drawing/2014/main" id="{9DA96DF2-6CB5-4465-A9B3-4EDDA11C10E0}"/>
                  </a:ext>
                </a:extLst>
              </p:cNvPr>
              <p:cNvSpPr>
                <a:spLocks noChangeArrowheads="1"/>
              </p:cNvSpPr>
              <p:nvPr/>
            </p:nvSpPr>
            <p:spPr bwMode="auto">
              <a:xfrm>
                <a:off x="148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4" name="Oval 2779">
                <a:extLst>
                  <a:ext uri="{FF2B5EF4-FFF2-40B4-BE49-F238E27FC236}">
                    <a16:creationId xmlns:a16="http://schemas.microsoft.com/office/drawing/2014/main" id="{1DFF1447-8635-45A9-8C52-1F640019EFDC}"/>
                  </a:ext>
                </a:extLst>
              </p:cNvPr>
              <p:cNvSpPr>
                <a:spLocks noChangeArrowheads="1"/>
              </p:cNvSpPr>
              <p:nvPr/>
            </p:nvSpPr>
            <p:spPr bwMode="auto">
              <a:xfrm>
                <a:off x="124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5" name="Oval 2780">
                <a:extLst>
                  <a:ext uri="{FF2B5EF4-FFF2-40B4-BE49-F238E27FC236}">
                    <a16:creationId xmlns:a16="http://schemas.microsoft.com/office/drawing/2014/main" id="{A443E614-E9CE-423F-8A6A-BEB579108D3D}"/>
                  </a:ext>
                </a:extLst>
              </p:cNvPr>
              <p:cNvSpPr>
                <a:spLocks noChangeArrowheads="1"/>
              </p:cNvSpPr>
              <p:nvPr/>
            </p:nvSpPr>
            <p:spPr bwMode="auto">
              <a:xfrm>
                <a:off x="1306"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6" name="Oval 2781">
                <a:extLst>
                  <a:ext uri="{FF2B5EF4-FFF2-40B4-BE49-F238E27FC236}">
                    <a16:creationId xmlns:a16="http://schemas.microsoft.com/office/drawing/2014/main" id="{DC26AAF9-AF45-4D06-9373-95B5C01D8F54}"/>
                  </a:ext>
                </a:extLst>
              </p:cNvPr>
              <p:cNvSpPr>
                <a:spLocks noChangeArrowheads="1"/>
              </p:cNvSpPr>
              <p:nvPr/>
            </p:nvSpPr>
            <p:spPr bwMode="auto">
              <a:xfrm>
                <a:off x="14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211" name="Group 2983">
              <a:extLst>
                <a:ext uri="{FF2B5EF4-FFF2-40B4-BE49-F238E27FC236}">
                  <a16:creationId xmlns:a16="http://schemas.microsoft.com/office/drawing/2014/main" id="{BAFFC4A6-65FE-4676-ADA4-FC567D1B88DF}"/>
                </a:ext>
              </a:extLst>
            </p:cNvPr>
            <p:cNvGrpSpPr>
              <a:grpSpLocks/>
            </p:cNvGrpSpPr>
            <p:nvPr/>
          </p:nvGrpSpPr>
          <p:grpSpPr bwMode="auto">
            <a:xfrm>
              <a:off x="1246" y="120"/>
              <a:ext cx="1979" cy="3120"/>
              <a:chOff x="1246" y="120"/>
              <a:chExt cx="1979" cy="3120"/>
            </a:xfrm>
          </p:grpSpPr>
          <p:sp>
            <p:nvSpPr>
              <p:cNvPr id="397" name="Oval 2783">
                <a:extLst>
                  <a:ext uri="{FF2B5EF4-FFF2-40B4-BE49-F238E27FC236}">
                    <a16:creationId xmlns:a16="http://schemas.microsoft.com/office/drawing/2014/main" id="{289AC520-78BC-4D28-90BE-95BA4E25A211}"/>
                  </a:ext>
                </a:extLst>
              </p:cNvPr>
              <p:cNvSpPr>
                <a:spLocks noChangeArrowheads="1"/>
              </p:cNvSpPr>
              <p:nvPr/>
            </p:nvSpPr>
            <p:spPr bwMode="auto">
              <a:xfrm>
                <a:off x="142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8" name="Oval 2784">
                <a:extLst>
                  <a:ext uri="{FF2B5EF4-FFF2-40B4-BE49-F238E27FC236}">
                    <a16:creationId xmlns:a16="http://schemas.microsoft.com/office/drawing/2014/main" id="{B22B33A2-135D-4032-B117-3B9FE11A7B6F}"/>
                  </a:ext>
                </a:extLst>
              </p:cNvPr>
              <p:cNvSpPr>
                <a:spLocks noChangeArrowheads="1"/>
              </p:cNvSpPr>
              <p:nvPr/>
            </p:nvSpPr>
            <p:spPr bwMode="auto">
              <a:xfrm>
                <a:off x="1396"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9" name="Oval 2785">
                <a:extLst>
                  <a:ext uri="{FF2B5EF4-FFF2-40B4-BE49-F238E27FC236}">
                    <a16:creationId xmlns:a16="http://schemas.microsoft.com/office/drawing/2014/main" id="{0E5E6EC1-6C63-43D8-9479-0C409CF65D64}"/>
                  </a:ext>
                </a:extLst>
              </p:cNvPr>
              <p:cNvSpPr>
                <a:spLocks noChangeArrowheads="1"/>
              </p:cNvSpPr>
              <p:nvPr/>
            </p:nvSpPr>
            <p:spPr bwMode="auto">
              <a:xfrm>
                <a:off x="145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0" name="Oval 2786">
                <a:extLst>
                  <a:ext uri="{FF2B5EF4-FFF2-40B4-BE49-F238E27FC236}">
                    <a16:creationId xmlns:a16="http://schemas.microsoft.com/office/drawing/2014/main" id="{F5B762BD-385C-4ADF-8CDD-8D461C6AAF9A}"/>
                  </a:ext>
                </a:extLst>
              </p:cNvPr>
              <p:cNvSpPr>
                <a:spLocks noChangeArrowheads="1"/>
              </p:cNvSpPr>
              <p:nvPr/>
            </p:nvSpPr>
            <p:spPr bwMode="auto">
              <a:xfrm>
                <a:off x="1366"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1" name="Oval 2787">
                <a:extLst>
                  <a:ext uri="{FF2B5EF4-FFF2-40B4-BE49-F238E27FC236}">
                    <a16:creationId xmlns:a16="http://schemas.microsoft.com/office/drawing/2014/main" id="{4014A0D2-2924-4ACD-AF8D-9D3E169BB2E1}"/>
                  </a:ext>
                </a:extLst>
              </p:cNvPr>
              <p:cNvSpPr>
                <a:spLocks noChangeArrowheads="1"/>
              </p:cNvSpPr>
              <p:nvPr/>
            </p:nvSpPr>
            <p:spPr bwMode="auto">
              <a:xfrm>
                <a:off x="127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2" name="Oval 2788">
                <a:extLst>
                  <a:ext uri="{FF2B5EF4-FFF2-40B4-BE49-F238E27FC236}">
                    <a16:creationId xmlns:a16="http://schemas.microsoft.com/office/drawing/2014/main" id="{E599132C-0DFB-4ACC-A3A2-51887E94C6A7}"/>
                  </a:ext>
                </a:extLst>
              </p:cNvPr>
              <p:cNvSpPr>
                <a:spLocks noChangeArrowheads="1"/>
              </p:cNvSpPr>
              <p:nvPr/>
            </p:nvSpPr>
            <p:spPr bwMode="auto">
              <a:xfrm>
                <a:off x="1306"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3" name="Oval 2789">
                <a:extLst>
                  <a:ext uri="{FF2B5EF4-FFF2-40B4-BE49-F238E27FC236}">
                    <a16:creationId xmlns:a16="http://schemas.microsoft.com/office/drawing/2014/main" id="{117DE790-BB39-4B16-80C7-EAF13F15F95E}"/>
                  </a:ext>
                </a:extLst>
              </p:cNvPr>
              <p:cNvSpPr>
                <a:spLocks noChangeArrowheads="1"/>
              </p:cNvSpPr>
              <p:nvPr/>
            </p:nvSpPr>
            <p:spPr bwMode="auto">
              <a:xfrm>
                <a:off x="1276"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4" name="Oval 2790">
                <a:extLst>
                  <a:ext uri="{FF2B5EF4-FFF2-40B4-BE49-F238E27FC236}">
                    <a16:creationId xmlns:a16="http://schemas.microsoft.com/office/drawing/2014/main" id="{76CCEDE8-5A77-4355-AD0E-5AE24FA3C429}"/>
                  </a:ext>
                </a:extLst>
              </p:cNvPr>
              <p:cNvSpPr>
                <a:spLocks noChangeArrowheads="1"/>
              </p:cNvSpPr>
              <p:nvPr/>
            </p:nvSpPr>
            <p:spPr bwMode="auto">
              <a:xfrm>
                <a:off x="124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5" name="Oval 2791">
                <a:extLst>
                  <a:ext uri="{FF2B5EF4-FFF2-40B4-BE49-F238E27FC236}">
                    <a16:creationId xmlns:a16="http://schemas.microsoft.com/office/drawing/2014/main" id="{907E2A79-D571-4018-8ED0-FFEF6B6D6120}"/>
                  </a:ext>
                </a:extLst>
              </p:cNvPr>
              <p:cNvSpPr>
                <a:spLocks noChangeArrowheads="1"/>
              </p:cNvSpPr>
              <p:nvPr/>
            </p:nvSpPr>
            <p:spPr bwMode="auto">
              <a:xfrm>
                <a:off x="1306"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6" name="Oval 2792">
                <a:extLst>
                  <a:ext uri="{FF2B5EF4-FFF2-40B4-BE49-F238E27FC236}">
                    <a16:creationId xmlns:a16="http://schemas.microsoft.com/office/drawing/2014/main" id="{4EF82D63-E746-453C-B752-64405EEA98D1}"/>
                  </a:ext>
                </a:extLst>
              </p:cNvPr>
              <p:cNvSpPr>
                <a:spLocks noChangeArrowheads="1"/>
              </p:cNvSpPr>
              <p:nvPr/>
            </p:nvSpPr>
            <p:spPr bwMode="auto">
              <a:xfrm>
                <a:off x="1576"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7" name="Oval 2793">
                <a:extLst>
                  <a:ext uri="{FF2B5EF4-FFF2-40B4-BE49-F238E27FC236}">
                    <a16:creationId xmlns:a16="http://schemas.microsoft.com/office/drawing/2014/main" id="{29CE0F93-CFA2-4642-971E-399108063955}"/>
                  </a:ext>
                </a:extLst>
              </p:cNvPr>
              <p:cNvSpPr>
                <a:spLocks noChangeArrowheads="1"/>
              </p:cNvSpPr>
              <p:nvPr/>
            </p:nvSpPr>
            <p:spPr bwMode="auto">
              <a:xfrm>
                <a:off x="16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8" name="Oval 2794">
                <a:extLst>
                  <a:ext uri="{FF2B5EF4-FFF2-40B4-BE49-F238E27FC236}">
                    <a16:creationId xmlns:a16="http://schemas.microsoft.com/office/drawing/2014/main" id="{030FFDC8-4835-4BC3-B821-AB3DF9130264}"/>
                  </a:ext>
                </a:extLst>
              </p:cNvPr>
              <p:cNvSpPr>
                <a:spLocks noChangeArrowheads="1"/>
              </p:cNvSpPr>
              <p:nvPr/>
            </p:nvSpPr>
            <p:spPr bwMode="auto">
              <a:xfrm>
                <a:off x="1756"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09" name="Oval 2795">
                <a:extLst>
                  <a:ext uri="{FF2B5EF4-FFF2-40B4-BE49-F238E27FC236}">
                    <a16:creationId xmlns:a16="http://schemas.microsoft.com/office/drawing/2014/main" id="{99977E44-DEF1-4868-BF50-D77E11CA2877}"/>
                  </a:ext>
                </a:extLst>
              </p:cNvPr>
              <p:cNvSpPr>
                <a:spLocks noChangeArrowheads="1"/>
              </p:cNvSpPr>
              <p:nvPr/>
            </p:nvSpPr>
            <p:spPr bwMode="auto">
              <a:xfrm>
                <a:off x="172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0" name="Oval 2796">
                <a:extLst>
                  <a:ext uri="{FF2B5EF4-FFF2-40B4-BE49-F238E27FC236}">
                    <a16:creationId xmlns:a16="http://schemas.microsoft.com/office/drawing/2014/main" id="{ED036673-8383-4710-B14A-80C8778B353F}"/>
                  </a:ext>
                </a:extLst>
              </p:cNvPr>
              <p:cNvSpPr>
                <a:spLocks noChangeArrowheads="1"/>
              </p:cNvSpPr>
              <p:nvPr/>
            </p:nvSpPr>
            <p:spPr bwMode="auto">
              <a:xfrm>
                <a:off x="1726"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1" name="Oval 2797">
                <a:extLst>
                  <a:ext uri="{FF2B5EF4-FFF2-40B4-BE49-F238E27FC236}">
                    <a16:creationId xmlns:a16="http://schemas.microsoft.com/office/drawing/2014/main" id="{B0207100-06C0-497D-BB2A-3296D94BFF5D}"/>
                  </a:ext>
                </a:extLst>
              </p:cNvPr>
              <p:cNvSpPr>
                <a:spLocks noChangeArrowheads="1"/>
              </p:cNvSpPr>
              <p:nvPr/>
            </p:nvSpPr>
            <p:spPr bwMode="auto">
              <a:xfrm>
                <a:off x="163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2" name="Oval 2798">
                <a:extLst>
                  <a:ext uri="{FF2B5EF4-FFF2-40B4-BE49-F238E27FC236}">
                    <a16:creationId xmlns:a16="http://schemas.microsoft.com/office/drawing/2014/main" id="{2A261B39-511C-4EA9-AB81-1D84C058526A}"/>
                  </a:ext>
                </a:extLst>
              </p:cNvPr>
              <p:cNvSpPr>
                <a:spLocks noChangeArrowheads="1"/>
              </p:cNvSpPr>
              <p:nvPr/>
            </p:nvSpPr>
            <p:spPr bwMode="auto">
              <a:xfrm>
                <a:off x="16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3" name="Oval 2799">
                <a:extLst>
                  <a:ext uri="{FF2B5EF4-FFF2-40B4-BE49-F238E27FC236}">
                    <a16:creationId xmlns:a16="http://schemas.microsoft.com/office/drawing/2014/main" id="{45A2CF0F-B49E-4776-A3EA-C78EE15AA405}"/>
                  </a:ext>
                </a:extLst>
              </p:cNvPr>
              <p:cNvSpPr>
                <a:spLocks noChangeArrowheads="1"/>
              </p:cNvSpPr>
              <p:nvPr/>
            </p:nvSpPr>
            <p:spPr bwMode="auto">
              <a:xfrm>
                <a:off x="175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4" name="Oval 2800">
                <a:extLst>
                  <a:ext uri="{FF2B5EF4-FFF2-40B4-BE49-F238E27FC236}">
                    <a16:creationId xmlns:a16="http://schemas.microsoft.com/office/drawing/2014/main" id="{F08BF03B-C59F-472E-9140-78917AB78914}"/>
                  </a:ext>
                </a:extLst>
              </p:cNvPr>
              <p:cNvSpPr>
                <a:spLocks noChangeArrowheads="1"/>
              </p:cNvSpPr>
              <p:nvPr/>
            </p:nvSpPr>
            <p:spPr bwMode="auto">
              <a:xfrm>
                <a:off x="154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5" name="Oval 2801">
                <a:extLst>
                  <a:ext uri="{FF2B5EF4-FFF2-40B4-BE49-F238E27FC236}">
                    <a16:creationId xmlns:a16="http://schemas.microsoft.com/office/drawing/2014/main" id="{3CA23F7B-DE9F-4870-84B4-32B1666A73C3}"/>
                  </a:ext>
                </a:extLst>
              </p:cNvPr>
              <p:cNvSpPr>
                <a:spLocks noChangeArrowheads="1"/>
              </p:cNvSpPr>
              <p:nvPr/>
            </p:nvSpPr>
            <p:spPr bwMode="auto">
              <a:xfrm>
                <a:off x="15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6" name="Oval 2802">
                <a:extLst>
                  <a:ext uri="{FF2B5EF4-FFF2-40B4-BE49-F238E27FC236}">
                    <a16:creationId xmlns:a16="http://schemas.microsoft.com/office/drawing/2014/main" id="{B60ECC86-91C7-4DC8-ACDA-82548CC980F6}"/>
                  </a:ext>
                </a:extLst>
              </p:cNvPr>
              <p:cNvSpPr>
                <a:spLocks noChangeArrowheads="1"/>
              </p:cNvSpPr>
              <p:nvPr/>
            </p:nvSpPr>
            <p:spPr bwMode="auto">
              <a:xfrm>
                <a:off x="160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7" name="Oval 2803">
                <a:extLst>
                  <a:ext uri="{FF2B5EF4-FFF2-40B4-BE49-F238E27FC236}">
                    <a16:creationId xmlns:a16="http://schemas.microsoft.com/office/drawing/2014/main" id="{36192464-B90B-4E9C-9DDD-4F73B0CFDC57}"/>
                  </a:ext>
                </a:extLst>
              </p:cNvPr>
              <p:cNvSpPr>
                <a:spLocks noChangeArrowheads="1"/>
              </p:cNvSpPr>
              <p:nvPr/>
            </p:nvSpPr>
            <p:spPr bwMode="auto">
              <a:xfrm>
                <a:off x="1666"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8" name="Oval 2804">
                <a:extLst>
                  <a:ext uri="{FF2B5EF4-FFF2-40B4-BE49-F238E27FC236}">
                    <a16:creationId xmlns:a16="http://schemas.microsoft.com/office/drawing/2014/main" id="{8B771D0E-C76D-4E29-B8E7-F44CA8442BF0}"/>
                  </a:ext>
                </a:extLst>
              </p:cNvPr>
              <p:cNvSpPr>
                <a:spLocks noChangeArrowheads="1"/>
              </p:cNvSpPr>
              <p:nvPr/>
            </p:nvSpPr>
            <p:spPr bwMode="auto">
              <a:xfrm>
                <a:off x="175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9" name="Oval 2805">
                <a:extLst>
                  <a:ext uri="{FF2B5EF4-FFF2-40B4-BE49-F238E27FC236}">
                    <a16:creationId xmlns:a16="http://schemas.microsoft.com/office/drawing/2014/main" id="{45B6ADF2-5061-4AA5-A04A-503A6B71544F}"/>
                  </a:ext>
                </a:extLst>
              </p:cNvPr>
              <p:cNvSpPr>
                <a:spLocks noChangeArrowheads="1"/>
              </p:cNvSpPr>
              <p:nvPr/>
            </p:nvSpPr>
            <p:spPr bwMode="auto">
              <a:xfrm>
                <a:off x="169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0" name="Oval 2806">
                <a:extLst>
                  <a:ext uri="{FF2B5EF4-FFF2-40B4-BE49-F238E27FC236}">
                    <a16:creationId xmlns:a16="http://schemas.microsoft.com/office/drawing/2014/main" id="{051BF1DF-1686-47F4-96F2-0DC8BB8A4C7B}"/>
                  </a:ext>
                </a:extLst>
              </p:cNvPr>
              <p:cNvSpPr>
                <a:spLocks noChangeArrowheads="1"/>
              </p:cNvSpPr>
              <p:nvPr/>
            </p:nvSpPr>
            <p:spPr bwMode="auto">
              <a:xfrm>
                <a:off x="1456"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1" name="Oval 2807">
                <a:extLst>
                  <a:ext uri="{FF2B5EF4-FFF2-40B4-BE49-F238E27FC236}">
                    <a16:creationId xmlns:a16="http://schemas.microsoft.com/office/drawing/2014/main" id="{4C08E084-38B6-4573-87B2-6E4B46EB55A4}"/>
                  </a:ext>
                </a:extLst>
              </p:cNvPr>
              <p:cNvSpPr>
                <a:spLocks noChangeArrowheads="1"/>
              </p:cNvSpPr>
              <p:nvPr/>
            </p:nvSpPr>
            <p:spPr bwMode="auto">
              <a:xfrm>
                <a:off x="142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2" name="Oval 2808">
                <a:extLst>
                  <a:ext uri="{FF2B5EF4-FFF2-40B4-BE49-F238E27FC236}">
                    <a16:creationId xmlns:a16="http://schemas.microsoft.com/office/drawing/2014/main" id="{91D37094-7649-416E-B22E-4D96248671B7}"/>
                  </a:ext>
                </a:extLst>
              </p:cNvPr>
              <p:cNvSpPr>
                <a:spLocks noChangeArrowheads="1"/>
              </p:cNvSpPr>
              <p:nvPr/>
            </p:nvSpPr>
            <p:spPr bwMode="auto">
              <a:xfrm>
                <a:off x="127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3" name="Oval 2809">
                <a:extLst>
                  <a:ext uri="{FF2B5EF4-FFF2-40B4-BE49-F238E27FC236}">
                    <a16:creationId xmlns:a16="http://schemas.microsoft.com/office/drawing/2014/main" id="{4B948617-2B85-4873-B0B9-F559A7AD492A}"/>
                  </a:ext>
                </a:extLst>
              </p:cNvPr>
              <p:cNvSpPr>
                <a:spLocks noChangeArrowheads="1"/>
              </p:cNvSpPr>
              <p:nvPr/>
            </p:nvSpPr>
            <p:spPr bwMode="auto">
              <a:xfrm>
                <a:off x="130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4" name="Oval 2810">
                <a:extLst>
                  <a:ext uri="{FF2B5EF4-FFF2-40B4-BE49-F238E27FC236}">
                    <a16:creationId xmlns:a16="http://schemas.microsoft.com/office/drawing/2014/main" id="{3B66BA04-AC20-421A-B94D-CB6F3669FD0E}"/>
                  </a:ext>
                </a:extLst>
              </p:cNvPr>
              <p:cNvSpPr>
                <a:spLocks noChangeArrowheads="1"/>
              </p:cNvSpPr>
              <p:nvPr/>
            </p:nvSpPr>
            <p:spPr bwMode="auto">
              <a:xfrm>
                <a:off x="127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5" name="Oval 2811">
                <a:extLst>
                  <a:ext uri="{FF2B5EF4-FFF2-40B4-BE49-F238E27FC236}">
                    <a16:creationId xmlns:a16="http://schemas.microsoft.com/office/drawing/2014/main" id="{6301B6BE-6989-42B8-9941-E61DB73C4DB0}"/>
                  </a:ext>
                </a:extLst>
              </p:cNvPr>
              <p:cNvSpPr>
                <a:spLocks noChangeArrowheads="1"/>
              </p:cNvSpPr>
              <p:nvPr/>
            </p:nvSpPr>
            <p:spPr bwMode="auto">
              <a:xfrm>
                <a:off x="127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6" name="Oval 2812">
                <a:extLst>
                  <a:ext uri="{FF2B5EF4-FFF2-40B4-BE49-F238E27FC236}">
                    <a16:creationId xmlns:a16="http://schemas.microsoft.com/office/drawing/2014/main" id="{AA7ACEC1-6C29-4F9F-9915-376639334FB4}"/>
                  </a:ext>
                </a:extLst>
              </p:cNvPr>
              <p:cNvSpPr>
                <a:spLocks noChangeArrowheads="1"/>
              </p:cNvSpPr>
              <p:nvPr/>
            </p:nvSpPr>
            <p:spPr bwMode="auto">
              <a:xfrm>
                <a:off x="1246"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7" name="Oval 2813">
                <a:extLst>
                  <a:ext uri="{FF2B5EF4-FFF2-40B4-BE49-F238E27FC236}">
                    <a16:creationId xmlns:a16="http://schemas.microsoft.com/office/drawing/2014/main" id="{C184C026-4EB9-4EFD-9109-095D160CC95D}"/>
                  </a:ext>
                </a:extLst>
              </p:cNvPr>
              <p:cNvSpPr>
                <a:spLocks noChangeArrowheads="1"/>
              </p:cNvSpPr>
              <p:nvPr/>
            </p:nvSpPr>
            <p:spPr bwMode="auto">
              <a:xfrm>
                <a:off x="12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8" name="Oval 2814">
                <a:extLst>
                  <a:ext uri="{FF2B5EF4-FFF2-40B4-BE49-F238E27FC236}">
                    <a16:creationId xmlns:a16="http://schemas.microsoft.com/office/drawing/2014/main" id="{7A290A8E-014B-415C-8876-6232F4838023}"/>
                  </a:ext>
                </a:extLst>
              </p:cNvPr>
              <p:cNvSpPr>
                <a:spLocks noChangeArrowheads="1"/>
              </p:cNvSpPr>
              <p:nvPr/>
            </p:nvSpPr>
            <p:spPr bwMode="auto">
              <a:xfrm>
                <a:off x="133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9" name="Oval 2815">
                <a:extLst>
                  <a:ext uri="{FF2B5EF4-FFF2-40B4-BE49-F238E27FC236}">
                    <a16:creationId xmlns:a16="http://schemas.microsoft.com/office/drawing/2014/main" id="{C178300B-6938-407F-8E68-5D31D75D32A5}"/>
                  </a:ext>
                </a:extLst>
              </p:cNvPr>
              <p:cNvSpPr>
                <a:spLocks noChangeArrowheads="1"/>
              </p:cNvSpPr>
              <p:nvPr/>
            </p:nvSpPr>
            <p:spPr bwMode="auto">
              <a:xfrm>
                <a:off x="130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0" name="Oval 2816">
                <a:extLst>
                  <a:ext uri="{FF2B5EF4-FFF2-40B4-BE49-F238E27FC236}">
                    <a16:creationId xmlns:a16="http://schemas.microsoft.com/office/drawing/2014/main" id="{5F7EC731-9B8C-4EBB-B349-343901618380}"/>
                  </a:ext>
                </a:extLst>
              </p:cNvPr>
              <p:cNvSpPr>
                <a:spLocks noChangeArrowheads="1"/>
              </p:cNvSpPr>
              <p:nvPr/>
            </p:nvSpPr>
            <p:spPr bwMode="auto">
              <a:xfrm>
                <a:off x="145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1" name="Oval 2817">
                <a:extLst>
                  <a:ext uri="{FF2B5EF4-FFF2-40B4-BE49-F238E27FC236}">
                    <a16:creationId xmlns:a16="http://schemas.microsoft.com/office/drawing/2014/main" id="{CD3F65EB-68A2-47A2-9502-E532C7614921}"/>
                  </a:ext>
                </a:extLst>
              </p:cNvPr>
              <p:cNvSpPr>
                <a:spLocks noChangeArrowheads="1"/>
              </p:cNvSpPr>
              <p:nvPr/>
            </p:nvSpPr>
            <p:spPr bwMode="auto">
              <a:xfrm>
                <a:off x="133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2" name="Oval 2818">
                <a:extLst>
                  <a:ext uri="{FF2B5EF4-FFF2-40B4-BE49-F238E27FC236}">
                    <a16:creationId xmlns:a16="http://schemas.microsoft.com/office/drawing/2014/main" id="{C693AEA7-9695-4DD8-9296-1A6DDDE527DF}"/>
                  </a:ext>
                </a:extLst>
              </p:cNvPr>
              <p:cNvSpPr>
                <a:spLocks noChangeArrowheads="1"/>
              </p:cNvSpPr>
              <p:nvPr/>
            </p:nvSpPr>
            <p:spPr bwMode="auto">
              <a:xfrm>
                <a:off x="1516"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3" name="Oval 2819">
                <a:extLst>
                  <a:ext uri="{FF2B5EF4-FFF2-40B4-BE49-F238E27FC236}">
                    <a16:creationId xmlns:a16="http://schemas.microsoft.com/office/drawing/2014/main" id="{CE96A400-AC5D-42BC-A5A6-A2C6D03788D6}"/>
                  </a:ext>
                </a:extLst>
              </p:cNvPr>
              <p:cNvSpPr>
                <a:spLocks noChangeArrowheads="1"/>
              </p:cNvSpPr>
              <p:nvPr/>
            </p:nvSpPr>
            <p:spPr bwMode="auto">
              <a:xfrm>
                <a:off x="178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4" name="Oval 2820">
                <a:extLst>
                  <a:ext uri="{FF2B5EF4-FFF2-40B4-BE49-F238E27FC236}">
                    <a16:creationId xmlns:a16="http://schemas.microsoft.com/office/drawing/2014/main" id="{BD6632D9-AF8F-4479-883D-D4D7FD816939}"/>
                  </a:ext>
                </a:extLst>
              </p:cNvPr>
              <p:cNvSpPr>
                <a:spLocks noChangeArrowheads="1"/>
              </p:cNvSpPr>
              <p:nvPr/>
            </p:nvSpPr>
            <p:spPr bwMode="auto">
              <a:xfrm>
                <a:off x="15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5" name="Oval 2821">
                <a:extLst>
                  <a:ext uri="{FF2B5EF4-FFF2-40B4-BE49-F238E27FC236}">
                    <a16:creationId xmlns:a16="http://schemas.microsoft.com/office/drawing/2014/main" id="{9F2CCCA3-37C6-49D4-94DA-DBA986D9C61D}"/>
                  </a:ext>
                </a:extLst>
              </p:cNvPr>
              <p:cNvSpPr>
                <a:spLocks noChangeArrowheads="1"/>
              </p:cNvSpPr>
              <p:nvPr/>
            </p:nvSpPr>
            <p:spPr bwMode="auto">
              <a:xfrm>
                <a:off x="154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6" name="Oval 2822">
                <a:extLst>
                  <a:ext uri="{FF2B5EF4-FFF2-40B4-BE49-F238E27FC236}">
                    <a16:creationId xmlns:a16="http://schemas.microsoft.com/office/drawing/2014/main" id="{A25E42B5-88BD-4D8E-82B0-F4B278A640FC}"/>
                  </a:ext>
                </a:extLst>
              </p:cNvPr>
              <p:cNvSpPr>
                <a:spLocks noChangeArrowheads="1"/>
              </p:cNvSpPr>
              <p:nvPr/>
            </p:nvSpPr>
            <p:spPr bwMode="auto">
              <a:xfrm>
                <a:off x="1666"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7" name="Oval 2823">
                <a:extLst>
                  <a:ext uri="{FF2B5EF4-FFF2-40B4-BE49-F238E27FC236}">
                    <a16:creationId xmlns:a16="http://schemas.microsoft.com/office/drawing/2014/main" id="{7A4409AD-FC01-4F10-AA21-BF68BF77517C}"/>
                  </a:ext>
                </a:extLst>
              </p:cNvPr>
              <p:cNvSpPr>
                <a:spLocks noChangeArrowheads="1"/>
              </p:cNvSpPr>
              <p:nvPr/>
            </p:nvSpPr>
            <p:spPr bwMode="auto">
              <a:xfrm>
                <a:off x="151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8" name="Oval 2824">
                <a:extLst>
                  <a:ext uri="{FF2B5EF4-FFF2-40B4-BE49-F238E27FC236}">
                    <a16:creationId xmlns:a16="http://schemas.microsoft.com/office/drawing/2014/main" id="{C07223F8-05CE-4EE7-964D-52E7B3979C64}"/>
                  </a:ext>
                </a:extLst>
              </p:cNvPr>
              <p:cNvSpPr>
                <a:spLocks noChangeArrowheads="1"/>
              </p:cNvSpPr>
              <p:nvPr/>
            </p:nvSpPr>
            <p:spPr bwMode="auto">
              <a:xfrm>
                <a:off x="145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9" name="Oval 2825">
                <a:extLst>
                  <a:ext uri="{FF2B5EF4-FFF2-40B4-BE49-F238E27FC236}">
                    <a16:creationId xmlns:a16="http://schemas.microsoft.com/office/drawing/2014/main" id="{FD9B334D-A3E9-4C5A-9900-39EBB45DD546}"/>
                  </a:ext>
                </a:extLst>
              </p:cNvPr>
              <p:cNvSpPr>
                <a:spLocks noChangeArrowheads="1"/>
              </p:cNvSpPr>
              <p:nvPr/>
            </p:nvSpPr>
            <p:spPr bwMode="auto">
              <a:xfrm>
                <a:off x="139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0" name="Oval 2826">
                <a:extLst>
                  <a:ext uri="{FF2B5EF4-FFF2-40B4-BE49-F238E27FC236}">
                    <a16:creationId xmlns:a16="http://schemas.microsoft.com/office/drawing/2014/main" id="{E2BF06AA-CA03-41AD-9ADE-0349EF7CB6E2}"/>
                  </a:ext>
                </a:extLst>
              </p:cNvPr>
              <p:cNvSpPr>
                <a:spLocks noChangeArrowheads="1"/>
              </p:cNvSpPr>
              <p:nvPr/>
            </p:nvSpPr>
            <p:spPr bwMode="auto">
              <a:xfrm>
                <a:off x="1456"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1" name="Oval 2827">
                <a:extLst>
                  <a:ext uri="{FF2B5EF4-FFF2-40B4-BE49-F238E27FC236}">
                    <a16:creationId xmlns:a16="http://schemas.microsoft.com/office/drawing/2014/main" id="{38F31B51-A1C3-4E15-B309-8F8CC49CF17E}"/>
                  </a:ext>
                </a:extLst>
              </p:cNvPr>
              <p:cNvSpPr>
                <a:spLocks noChangeArrowheads="1"/>
              </p:cNvSpPr>
              <p:nvPr/>
            </p:nvSpPr>
            <p:spPr bwMode="auto">
              <a:xfrm>
                <a:off x="151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2" name="Oval 2828">
                <a:extLst>
                  <a:ext uri="{FF2B5EF4-FFF2-40B4-BE49-F238E27FC236}">
                    <a16:creationId xmlns:a16="http://schemas.microsoft.com/office/drawing/2014/main" id="{3CB5D53B-0FFF-4B2B-92BF-AC2B6CCC02AF}"/>
                  </a:ext>
                </a:extLst>
              </p:cNvPr>
              <p:cNvSpPr>
                <a:spLocks noChangeArrowheads="1"/>
              </p:cNvSpPr>
              <p:nvPr/>
            </p:nvSpPr>
            <p:spPr bwMode="auto">
              <a:xfrm>
                <a:off x="145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3" name="Oval 2829">
                <a:extLst>
                  <a:ext uri="{FF2B5EF4-FFF2-40B4-BE49-F238E27FC236}">
                    <a16:creationId xmlns:a16="http://schemas.microsoft.com/office/drawing/2014/main" id="{462DFDFA-4BDC-4833-806C-AF6938C36701}"/>
                  </a:ext>
                </a:extLst>
              </p:cNvPr>
              <p:cNvSpPr>
                <a:spLocks noChangeArrowheads="1"/>
              </p:cNvSpPr>
              <p:nvPr/>
            </p:nvSpPr>
            <p:spPr bwMode="auto">
              <a:xfrm>
                <a:off x="1426"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4" name="Oval 2830">
                <a:extLst>
                  <a:ext uri="{FF2B5EF4-FFF2-40B4-BE49-F238E27FC236}">
                    <a16:creationId xmlns:a16="http://schemas.microsoft.com/office/drawing/2014/main" id="{283C5B01-916B-41A8-BD41-23338802F1F9}"/>
                  </a:ext>
                </a:extLst>
              </p:cNvPr>
              <p:cNvSpPr>
                <a:spLocks noChangeArrowheads="1"/>
              </p:cNvSpPr>
              <p:nvPr/>
            </p:nvSpPr>
            <p:spPr bwMode="auto">
              <a:xfrm>
                <a:off x="1336"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5" name="Oval 2831">
                <a:extLst>
                  <a:ext uri="{FF2B5EF4-FFF2-40B4-BE49-F238E27FC236}">
                    <a16:creationId xmlns:a16="http://schemas.microsoft.com/office/drawing/2014/main" id="{404A9CCB-9D07-4509-9ED7-60A5C32CBF51}"/>
                  </a:ext>
                </a:extLst>
              </p:cNvPr>
              <p:cNvSpPr>
                <a:spLocks noChangeArrowheads="1"/>
              </p:cNvSpPr>
              <p:nvPr/>
            </p:nvSpPr>
            <p:spPr bwMode="auto">
              <a:xfrm>
                <a:off x="130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6" name="Oval 2832">
                <a:extLst>
                  <a:ext uri="{FF2B5EF4-FFF2-40B4-BE49-F238E27FC236}">
                    <a16:creationId xmlns:a16="http://schemas.microsoft.com/office/drawing/2014/main" id="{4CCD9F94-6AE2-4590-8240-1A45ECCA002F}"/>
                  </a:ext>
                </a:extLst>
              </p:cNvPr>
              <p:cNvSpPr>
                <a:spLocks noChangeArrowheads="1"/>
              </p:cNvSpPr>
              <p:nvPr/>
            </p:nvSpPr>
            <p:spPr bwMode="auto">
              <a:xfrm>
                <a:off x="1366"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7" name="Oval 2833">
                <a:extLst>
                  <a:ext uri="{FF2B5EF4-FFF2-40B4-BE49-F238E27FC236}">
                    <a16:creationId xmlns:a16="http://schemas.microsoft.com/office/drawing/2014/main" id="{BEA307FD-7FF5-472B-9085-C4E23EF5EC1F}"/>
                  </a:ext>
                </a:extLst>
              </p:cNvPr>
              <p:cNvSpPr>
                <a:spLocks noChangeArrowheads="1"/>
              </p:cNvSpPr>
              <p:nvPr/>
            </p:nvSpPr>
            <p:spPr bwMode="auto">
              <a:xfrm>
                <a:off x="1246"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8" name="Oval 2834">
                <a:extLst>
                  <a:ext uri="{FF2B5EF4-FFF2-40B4-BE49-F238E27FC236}">
                    <a16:creationId xmlns:a16="http://schemas.microsoft.com/office/drawing/2014/main" id="{AABF807F-4000-48DF-8524-BEC1F2920E8F}"/>
                  </a:ext>
                </a:extLst>
              </p:cNvPr>
              <p:cNvSpPr>
                <a:spLocks noChangeArrowheads="1"/>
              </p:cNvSpPr>
              <p:nvPr/>
            </p:nvSpPr>
            <p:spPr bwMode="auto">
              <a:xfrm>
                <a:off x="142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9" name="Oval 2835">
                <a:extLst>
                  <a:ext uri="{FF2B5EF4-FFF2-40B4-BE49-F238E27FC236}">
                    <a16:creationId xmlns:a16="http://schemas.microsoft.com/office/drawing/2014/main" id="{5472B8BB-1FB4-4C58-A00F-050B8FB06729}"/>
                  </a:ext>
                </a:extLst>
              </p:cNvPr>
              <p:cNvSpPr>
                <a:spLocks noChangeArrowheads="1"/>
              </p:cNvSpPr>
              <p:nvPr/>
            </p:nvSpPr>
            <p:spPr bwMode="auto">
              <a:xfrm>
                <a:off x="1306"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0" name="Oval 2836">
                <a:extLst>
                  <a:ext uri="{FF2B5EF4-FFF2-40B4-BE49-F238E27FC236}">
                    <a16:creationId xmlns:a16="http://schemas.microsoft.com/office/drawing/2014/main" id="{A054A25E-D85C-4867-8D66-D5D4EFCAECA6}"/>
                  </a:ext>
                </a:extLst>
              </p:cNvPr>
              <p:cNvSpPr>
                <a:spLocks noChangeArrowheads="1"/>
              </p:cNvSpPr>
              <p:nvPr/>
            </p:nvSpPr>
            <p:spPr bwMode="auto">
              <a:xfrm>
                <a:off x="142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1" name="Oval 2837">
                <a:extLst>
                  <a:ext uri="{FF2B5EF4-FFF2-40B4-BE49-F238E27FC236}">
                    <a16:creationId xmlns:a16="http://schemas.microsoft.com/office/drawing/2014/main" id="{C14A97DB-2284-4AFB-A1B6-C81210E11DC7}"/>
                  </a:ext>
                </a:extLst>
              </p:cNvPr>
              <p:cNvSpPr>
                <a:spLocks noChangeArrowheads="1"/>
              </p:cNvSpPr>
              <p:nvPr/>
            </p:nvSpPr>
            <p:spPr bwMode="auto">
              <a:xfrm>
                <a:off x="12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2" name="Oval 2838">
                <a:extLst>
                  <a:ext uri="{FF2B5EF4-FFF2-40B4-BE49-F238E27FC236}">
                    <a16:creationId xmlns:a16="http://schemas.microsoft.com/office/drawing/2014/main" id="{989DB0CD-D270-4AA4-828E-EF7C362C882E}"/>
                  </a:ext>
                </a:extLst>
              </p:cNvPr>
              <p:cNvSpPr>
                <a:spLocks noChangeArrowheads="1"/>
              </p:cNvSpPr>
              <p:nvPr/>
            </p:nvSpPr>
            <p:spPr bwMode="auto">
              <a:xfrm>
                <a:off x="166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3" name="Oval 2839">
                <a:extLst>
                  <a:ext uri="{FF2B5EF4-FFF2-40B4-BE49-F238E27FC236}">
                    <a16:creationId xmlns:a16="http://schemas.microsoft.com/office/drawing/2014/main" id="{F4B91A98-9F7E-4E5B-A7C7-C48D5D8926E7}"/>
                  </a:ext>
                </a:extLst>
              </p:cNvPr>
              <p:cNvSpPr>
                <a:spLocks noChangeArrowheads="1"/>
              </p:cNvSpPr>
              <p:nvPr/>
            </p:nvSpPr>
            <p:spPr bwMode="auto">
              <a:xfrm>
                <a:off x="172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4" name="Oval 2840">
                <a:extLst>
                  <a:ext uri="{FF2B5EF4-FFF2-40B4-BE49-F238E27FC236}">
                    <a16:creationId xmlns:a16="http://schemas.microsoft.com/office/drawing/2014/main" id="{6A00C083-A8D0-4EAD-BC14-8080A18DC59F}"/>
                  </a:ext>
                </a:extLst>
              </p:cNvPr>
              <p:cNvSpPr>
                <a:spLocks noChangeArrowheads="1"/>
              </p:cNvSpPr>
              <p:nvPr/>
            </p:nvSpPr>
            <p:spPr bwMode="auto">
              <a:xfrm>
                <a:off x="1576"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5" name="Oval 2841">
                <a:extLst>
                  <a:ext uri="{FF2B5EF4-FFF2-40B4-BE49-F238E27FC236}">
                    <a16:creationId xmlns:a16="http://schemas.microsoft.com/office/drawing/2014/main" id="{AF8E0284-28B6-444E-B487-D827C727C055}"/>
                  </a:ext>
                </a:extLst>
              </p:cNvPr>
              <p:cNvSpPr>
                <a:spLocks noChangeArrowheads="1"/>
              </p:cNvSpPr>
              <p:nvPr/>
            </p:nvSpPr>
            <p:spPr bwMode="auto">
              <a:xfrm>
                <a:off x="184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6" name="Oval 2842">
                <a:extLst>
                  <a:ext uri="{FF2B5EF4-FFF2-40B4-BE49-F238E27FC236}">
                    <a16:creationId xmlns:a16="http://schemas.microsoft.com/office/drawing/2014/main" id="{03843751-1236-484B-A560-60B6B8A88AE1}"/>
                  </a:ext>
                </a:extLst>
              </p:cNvPr>
              <p:cNvSpPr>
                <a:spLocks noChangeArrowheads="1"/>
              </p:cNvSpPr>
              <p:nvPr/>
            </p:nvSpPr>
            <p:spPr bwMode="auto">
              <a:xfrm>
                <a:off x="181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7" name="Oval 2843">
                <a:extLst>
                  <a:ext uri="{FF2B5EF4-FFF2-40B4-BE49-F238E27FC236}">
                    <a16:creationId xmlns:a16="http://schemas.microsoft.com/office/drawing/2014/main" id="{5C534F9C-0AE1-4589-BDDE-9ED320FF60BC}"/>
                  </a:ext>
                </a:extLst>
              </p:cNvPr>
              <p:cNvSpPr>
                <a:spLocks noChangeArrowheads="1"/>
              </p:cNvSpPr>
              <p:nvPr/>
            </p:nvSpPr>
            <p:spPr bwMode="auto">
              <a:xfrm>
                <a:off x="1816"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8" name="Oval 2844">
                <a:extLst>
                  <a:ext uri="{FF2B5EF4-FFF2-40B4-BE49-F238E27FC236}">
                    <a16:creationId xmlns:a16="http://schemas.microsoft.com/office/drawing/2014/main" id="{328054AF-9112-4837-8017-E6C043761AAE}"/>
                  </a:ext>
                </a:extLst>
              </p:cNvPr>
              <p:cNvSpPr>
                <a:spLocks noChangeArrowheads="1"/>
              </p:cNvSpPr>
              <p:nvPr/>
            </p:nvSpPr>
            <p:spPr bwMode="auto">
              <a:xfrm>
                <a:off x="193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9" name="Oval 2845">
                <a:extLst>
                  <a:ext uri="{FF2B5EF4-FFF2-40B4-BE49-F238E27FC236}">
                    <a16:creationId xmlns:a16="http://schemas.microsoft.com/office/drawing/2014/main" id="{BCF743D8-91F8-41D8-B5CC-6E230984DD0D}"/>
                  </a:ext>
                </a:extLst>
              </p:cNvPr>
              <p:cNvSpPr>
                <a:spLocks noChangeArrowheads="1"/>
              </p:cNvSpPr>
              <p:nvPr/>
            </p:nvSpPr>
            <p:spPr bwMode="auto">
              <a:xfrm>
                <a:off x="2086" y="7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0" name="Oval 2846">
                <a:extLst>
                  <a:ext uri="{FF2B5EF4-FFF2-40B4-BE49-F238E27FC236}">
                    <a16:creationId xmlns:a16="http://schemas.microsoft.com/office/drawing/2014/main" id="{7EEC342D-A68B-4179-B809-0BCC02B273D1}"/>
                  </a:ext>
                </a:extLst>
              </p:cNvPr>
              <p:cNvSpPr>
                <a:spLocks noChangeArrowheads="1"/>
              </p:cNvSpPr>
              <p:nvPr/>
            </p:nvSpPr>
            <p:spPr bwMode="auto">
              <a:xfrm>
                <a:off x="211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1" name="Oval 2847">
                <a:extLst>
                  <a:ext uri="{FF2B5EF4-FFF2-40B4-BE49-F238E27FC236}">
                    <a16:creationId xmlns:a16="http://schemas.microsoft.com/office/drawing/2014/main" id="{07CA4B23-A6E6-4E46-A6FC-19703525F60B}"/>
                  </a:ext>
                </a:extLst>
              </p:cNvPr>
              <p:cNvSpPr>
                <a:spLocks noChangeArrowheads="1"/>
              </p:cNvSpPr>
              <p:nvPr/>
            </p:nvSpPr>
            <p:spPr bwMode="auto">
              <a:xfrm>
                <a:off x="199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2" name="Oval 2848">
                <a:extLst>
                  <a:ext uri="{FF2B5EF4-FFF2-40B4-BE49-F238E27FC236}">
                    <a16:creationId xmlns:a16="http://schemas.microsoft.com/office/drawing/2014/main" id="{1F2665D2-C5E9-4DA0-AECD-F077B39ED1CC}"/>
                  </a:ext>
                </a:extLst>
              </p:cNvPr>
              <p:cNvSpPr>
                <a:spLocks noChangeArrowheads="1"/>
              </p:cNvSpPr>
              <p:nvPr/>
            </p:nvSpPr>
            <p:spPr bwMode="auto">
              <a:xfrm>
                <a:off x="202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3" name="Oval 2849">
                <a:extLst>
                  <a:ext uri="{FF2B5EF4-FFF2-40B4-BE49-F238E27FC236}">
                    <a16:creationId xmlns:a16="http://schemas.microsoft.com/office/drawing/2014/main" id="{5D8C24F3-9CFF-48FE-89D9-2BC235364860}"/>
                  </a:ext>
                </a:extLst>
              </p:cNvPr>
              <p:cNvSpPr>
                <a:spLocks noChangeArrowheads="1"/>
              </p:cNvSpPr>
              <p:nvPr/>
            </p:nvSpPr>
            <p:spPr bwMode="auto">
              <a:xfrm>
                <a:off x="184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4" name="Oval 2850">
                <a:extLst>
                  <a:ext uri="{FF2B5EF4-FFF2-40B4-BE49-F238E27FC236}">
                    <a16:creationId xmlns:a16="http://schemas.microsoft.com/office/drawing/2014/main" id="{383C03AC-1836-4B73-9D44-1C6AF2E219A0}"/>
                  </a:ext>
                </a:extLst>
              </p:cNvPr>
              <p:cNvSpPr>
                <a:spLocks noChangeArrowheads="1"/>
              </p:cNvSpPr>
              <p:nvPr/>
            </p:nvSpPr>
            <p:spPr bwMode="auto">
              <a:xfrm>
                <a:off x="1846"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5" name="Oval 2851">
                <a:extLst>
                  <a:ext uri="{FF2B5EF4-FFF2-40B4-BE49-F238E27FC236}">
                    <a16:creationId xmlns:a16="http://schemas.microsoft.com/office/drawing/2014/main" id="{798BEFC6-2DAD-4917-A71C-5E3F49A8986B}"/>
                  </a:ext>
                </a:extLst>
              </p:cNvPr>
              <p:cNvSpPr>
                <a:spLocks noChangeArrowheads="1"/>
              </p:cNvSpPr>
              <p:nvPr/>
            </p:nvSpPr>
            <p:spPr bwMode="auto">
              <a:xfrm>
                <a:off x="241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6" name="Oval 2852">
                <a:extLst>
                  <a:ext uri="{FF2B5EF4-FFF2-40B4-BE49-F238E27FC236}">
                    <a16:creationId xmlns:a16="http://schemas.microsoft.com/office/drawing/2014/main" id="{74D2EC27-5C81-4D62-B143-F51D36FFE52A}"/>
                  </a:ext>
                </a:extLst>
              </p:cNvPr>
              <p:cNvSpPr>
                <a:spLocks noChangeArrowheads="1"/>
              </p:cNvSpPr>
              <p:nvPr/>
            </p:nvSpPr>
            <p:spPr bwMode="auto">
              <a:xfrm>
                <a:off x="259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7" name="Oval 2853">
                <a:extLst>
                  <a:ext uri="{FF2B5EF4-FFF2-40B4-BE49-F238E27FC236}">
                    <a16:creationId xmlns:a16="http://schemas.microsoft.com/office/drawing/2014/main" id="{D5D9D0D5-C726-4C3F-9146-4E31088754A7}"/>
                  </a:ext>
                </a:extLst>
              </p:cNvPr>
              <p:cNvSpPr>
                <a:spLocks noChangeArrowheads="1"/>
              </p:cNvSpPr>
              <p:nvPr/>
            </p:nvSpPr>
            <p:spPr bwMode="auto">
              <a:xfrm>
                <a:off x="220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8" name="Oval 2854">
                <a:extLst>
                  <a:ext uri="{FF2B5EF4-FFF2-40B4-BE49-F238E27FC236}">
                    <a16:creationId xmlns:a16="http://schemas.microsoft.com/office/drawing/2014/main" id="{0BFB7399-DBDA-4B88-9977-E46DEF577F72}"/>
                  </a:ext>
                </a:extLst>
              </p:cNvPr>
              <p:cNvSpPr>
                <a:spLocks noChangeArrowheads="1"/>
              </p:cNvSpPr>
              <p:nvPr/>
            </p:nvSpPr>
            <p:spPr bwMode="auto">
              <a:xfrm>
                <a:off x="253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9" name="Oval 2855">
                <a:extLst>
                  <a:ext uri="{FF2B5EF4-FFF2-40B4-BE49-F238E27FC236}">
                    <a16:creationId xmlns:a16="http://schemas.microsoft.com/office/drawing/2014/main" id="{3F37E24E-4579-4C88-8A6E-25E3D71F9C74}"/>
                  </a:ext>
                </a:extLst>
              </p:cNvPr>
              <p:cNvSpPr>
                <a:spLocks noChangeArrowheads="1"/>
              </p:cNvSpPr>
              <p:nvPr/>
            </p:nvSpPr>
            <p:spPr bwMode="auto">
              <a:xfrm>
                <a:off x="238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0" name="Oval 2856">
                <a:extLst>
                  <a:ext uri="{FF2B5EF4-FFF2-40B4-BE49-F238E27FC236}">
                    <a16:creationId xmlns:a16="http://schemas.microsoft.com/office/drawing/2014/main" id="{081E899D-1920-4907-B193-782D35623066}"/>
                  </a:ext>
                </a:extLst>
              </p:cNvPr>
              <p:cNvSpPr>
                <a:spLocks noChangeArrowheads="1"/>
              </p:cNvSpPr>
              <p:nvPr/>
            </p:nvSpPr>
            <p:spPr bwMode="auto">
              <a:xfrm>
                <a:off x="241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1" name="Oval 2857">
                <a:extLst>
                  <a:ext uri="{FF2B5EF4-FFF2-40B4-BE49-F238E27FC236}">
                    <a16:creationId xmlns:a16="http://schemas.microsoft.com/office/drawing/2014/main" id="{86BF8268-80F1-4E40-ACD5-7605C4F64B01}"/>
                  </a:ext>
                </a:extLst>
              </p:cNvPr>
              <p:cNvSpPr>
                <a:spLocks noChangeArrowheads="1"/>
              </p:cNvSpPr>
              <p:nvPr/>
            </p:nvSpPr>
            <p:spPr bwMode="auto">
              <a:xfrm>
                <a:off x="232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2" name="Oval 2858">
                <a:extLst>
                  <a:ext uri="{FF2B5EF4-FFF2-40B4-BE49-F238E27FC236}">
                    <a16:creationId xmlns:a16="http://schemas.microsoft.com/office/drawing/2014/main" id="{4002FBD3-E5D3-44EF-946A-DA10213575F4}"/>
                  </a:ext>
                </a:extLst>
              </p:cNvPr>
              <p:cNvSpPr>
                <a:spLocks noChangeArrowheads="1"/>
              </p:cNvSpPr>
              <p:nvPr/>
            </p:nvSpPr>
            <p:spPr bwMode="auto">
              <a:xfrm>
                <a:off x="229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3" name="Oval 2859">
                <a:extLst>
                  <a:ext uri="{FF2B5EF4-FFF2-40B4-BE49-F238E27FC236}">
                    <a16:creationId xmlns:a16="http://schemas.microsoft.com/office/drawing/2014/main" id="{B78124B2-2350-4779-80FC-1F1228720F80}"/>
                  </a:ext>
                </a:extLst>
              </p:cNvPr>
              <p:cNvSpPr>
                <a:spLocks noChangeArrowheads="1"/>
              </p:cNvSpPr>
              <p:nvPr/>
            </p:nvSpPr>
            <p:spPr bwMode="auto">
              <a:xfrm>
                <a:off x="220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4" name="Oval 2860">
                <a:extLst>
                  <a:ext uri="{FF2B5EF4-FFF2-40B4-BE49-F238E27FC236}">
                    <a16:creationId xmlns:a16="http://schemas.microsoft.com/office/drawing/2014/main" id="{16078E20-2C63-4C0A-91A1-547157A520A2}"/>
                  </a:ext>
                </a:extLst>
              </p:cNvPr>
              <p:cNvSpPr>
                <a:spLocks noChangeArrowheads="1"/>
              </p:cNvSpPr>
              <p:nvPr/>
            </p:nvSpPr>
            <p:spPr bwMode="auto">
              <a:xfrm>
                <a:off x="22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5" name="Oval 2861">
                <a:extLst>
                  <a:ext uri="{FF2B5EF4-FFF2-40B4-BE49-F238E27FC236}">
                    <a16:creationId xmlns:a16="http://schemas.microsoft.com/office/drawing/2014/main" id="{91F71AE1-F363-490E-8D96-08CC6A495F23}"/>
                  </a:ext>
                </a:extLst>
              </p:cNvPr>
              <p:cNvSpPr>
                <a:spLocks noChangeArrowheads="1"/>
              </p:cNvSpPr>
              <p:nvPr/>
            </p:nvSpPr>
            <p:spPr bwMode="auto">
              <a:xfrm>
                <a:off x="220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6" name="Oval 2862">
                <a:extLst>
                  <a:ext uri="{FF2B5EF4-FFF2-40B4-BE49-F238E27FC236}">
                    <a16:creationId xmlns:a16="http://schemas.microsoft.com/office/drawing/2014/main" id="{454A7E24-2487-43BD-86C3-5B95D1EFA0A7}"/>
                  </a:ext>
                </a:extLst>
              </p:cNvPr>
              <p:cNvSpPr>
                <a:spLocks noChangeArrowheads="1"/>
              </p:cNvSpPr>
              <p:nvPr/>
            </p:nvSpPr>
            <p:spPr bwMode="auto">
              <a:xfrm>
                <a:off x="220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7" name="Oval 2863">
                <a:extLst>
                  <a:ext uri="{FF2B5EF4-FFF2-40B4-BE49-F238E27FC236}">
                    <a16:creationId xmlns:a16="http://schemas.microsoft.com/office/drawing/2014/main" id="{F2A51487-E8D4-41CE-B742-710F113D7F8C}"/>
                  </a:ext>
                </a:extLst>
              </p:cNvPr>
              <p:cNvSpPr>
                <a:spLocks noChangeArrowheads="1"/>
              </p:cNvSpPr>
              <p:nvPr/>
            </p:nvSpPr>
            <p:spPr bwMode="auto">
              <a:xfrm>
                <a:off x="226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8" name="Oval 2864">
                <a:extLst>
                  <a:ext uri="{FF2B5EF4-FFF2-40B4-BE49-F238E27FC236}">
                    <a16:creationId xmlns:a16="http://schemas.microsoft.com/office/drawing/2014/main" id="{1EC11125-6EFC-4B86-9C76-A66057B31A59}"/>
                  </a:ext>
                </a:extLst>
              </p:cNvPr>
              <p:cNvSpPr>
                <a:spLocks noChangeArrowheads="1"/>
              </p:cNvSpPr>
              <p:nvPr/>
            </p:nvSpPr>
            <p:spPr bwMode="auto">
              <a:xfrm>
                <a:off x="271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9" name="Oval 2865">
                <a:extLst>
                  <a:ext uri="{FF2B5EF4-FFF2-40B4-BE49-F238E27FC236}">
                    <a16:creationId xmlns:a16="http://schemas.microsoft.com/office/drawing/2014/main" id="{E194B3D6-6D6F-4AB7-8D53-7B0EA0EC240D}"/>
                  </a:ext>
                </a:extLst>
              </p:cNvPr>
              <p:cNvSpPr>
                <a:spLocks noChangeArrowheads="1"/>
              </p:cNvSpPr>
              <p:nvPr/>
            </p:nvSpPr>
            <p:spPr bwMode="auto">
              <a:xfrm>
                <a:off x="274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0" name="Oval 2866">
                <a:extLst>
                  <a:ext uri="{FF2B5EF4-FFF2-40B4-BE49-F238E27FC236}">
                    <a16:creationId xmlns:a16="http://schemas.microsoft.com/office/drawing/2014/main" id="{561211E3-150A-4644-9B5F-72D7254AF31E}"/>
                  </a:ext>
                </a:extLst>
              </p:cNvPr>
              <p:cNvSpPr>
                <a:spLocks noChangeArrowheads="1"/>
              </p:cNvSpPr>
              <p:nvPr/>
            </p:nvSpPr>
            <p:spPr bwMode="auto">
              <a:xfrm>
                <a:off x="277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1" name="Oval 2867">
                <a:extLst>
                  <a:ext uri="{FF2B5EF4-FFF2-40B4-BE49-F238E27FC236}">
                    <a16:creationId xmlns:a16="http://schemas.microsoft.com/office/drawing/2014/main" id="{6C978169-5CE1-4749-A62E-AE257A10D0A2}"/>
                  </a:ext>
                </a:extLst>
              </p:cNvPr>
              <p:cNvSpPr>
                <a:spLocks noChangeArrowheads="1"/>
              </p:cNvSpPr>
              <p:nvPr/>
            </p:nvSpPr>
            <p:spPr bwMode="auto">
              <a:xfrm>
                <a:off x="271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2" name="Oval 2868">
                <a:extLst>
                  <a:ext uri="{FF2B5EF4-FFF2-40B4-BE49-F238E27FC236}">
                    <a16:creationId xmlns:a16="http://schemas.microsoft.com/office/drawing/2014/main" id="{C27D12AA-98A2-4599-9EBF-17D6789533F7}"/>
                  </a:ext>
                </a:extLst>
              </p:cNvPr>
              <p:cNvSpPr>
                <a:spLocks noChangeArrowheads="1"/>
              </p:cNvSpPr>
              <p:nvPr/>
            </p:nvSpPr>
            <p:spPr bwMode="auto">
              <a:xfrm>
                <a:off x="268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3" name="Oval 2869">
                <a:extLst>
                  <a:ext uri="{FF2B5EF4-FFF2-40B4-BE49-F238E27FC236}">
                    <a16:creationId xmlns:a16="http://schemas.microsoft.com/office/drawing/2014/main" id="{B0D2DA09-C3CC-4F43-B85D-76B05110B46B}"/>
                  </a:ext>
                </a:extLst>
              </p:cNvPr>
              <p:cNvSpPr>
                <a:spLocks noChangeArrowheads="1"/>
              </p:cNvSpPr>
              <p:nvPr/>
            </p:nvSpPr>
            <p:spPr bwMode="auto">
              <a:xfrm>
                <a:off x="271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4" name="Oval 2870">
                <a:extLst>
                  <a:ext uri="{FF2B5EF4-FFF2-40B4-BE49-F238E27FC236}">
                    <a16:creationId xmlns:a16="http://schemas.microsoft.com/office/drawing/2014/main" id="{51C7B506-D3E6-4A1E-B70D-9298011A1621}"/>
                  </a:ext>
                </a:extLst>
              </p:cNvPr>
              <p:cNvSpPr>
                <a:spLocks noChangeArrowheads="1"/>
              </p:cNvSpPr>
              <p:nvPr/>
            </p:nvSpPr>
            <p:spPr bwMode="auto">
              <a:xfrm>
                <a:off x="292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5" name="Oval 2871">
                <a:extLst>
                  <a:ext uri="{FF2B5EF4-FFF2-40B4-BE49-F238E27FC236}">
                    <a16:creationId xmlns:a16="http://schemas.microsoft.com/office/drawing/2014/main" id="{199A2D19-E725-4AEB-B5BE-5FF18BBDD33D}"/>
                  </a:ext>
                </a:extLst>
              </p:cNvPr>
              <p:cNvSpPr>
                <a:spLocks noChangeArrowheads="1"/>
              </p:cNvSpPr>
              <p:nvPr/>
            </p:nvSpPr>
            <p:spPr bwMode="auto">
              <a:xfrm>
                <a:off x="268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6" name="Oval 2872">
                <a:extLst>
                  <a:ext uri="{FF2B5EF4-FFF2-40B4-BE49-F238E27FC236}">
                    <a16:creationId xmlns:a16="http://schemas.microsoft.com/office/drawing/2014/main" id="{A44AD3DF-F391-4DD1-8E73-D1DCFDCC1D55}"/>
                  </a:ext>
                </a:extLst>
              </p:cNvPr>
              <p:cNvSpPr>
                <a:spLocks noChangeArrowheads="1"/>
              </p:cNvSpPr>
              <p:nvPr/>
            </p:nvSpPr>
            <p:spPr bwMode="auto">
              <a:xfrm>
                <a:off x="280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7" name="Oval 2873">
                <a:extLst>
                  <a:ext uri="{FF2B5EF4-FFF2-40B4-BE49-F238E27FC236}">
                    <a16:creationId xmlns:a16="http://schemas.microsoft.com/office/drawing/2014/main" id="{923E4303-F346-4184-85CA-6714A015F06A}"/>
                  </a:ext>
                </a:extLst>
              </p:cNvPr>
              <p:cNvSpPr>
                <a:spLocks noChangeArrowheads="1"/>
              </p:cNvSpPr>
              <p:nvPr/>
            </p:nvSpPr>
            <p:spPr bwMode="auto">
              <a:xfrm>
                <a:off x="301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8" name="Oval 2874">
                <a:extLst>
                  <a:ext uri="{FF2B5EF4-FFF2-40B4-BE49-F238E27FC236}">
                    <a16:creationId xmlns:a16="http://schemas.microsoft.com/office/drawing/2014/main" id="{12D156DB-4DED-4BFA-BD9A-267791B16802}"/>
                  </a:ext>
                </a:extLst>
              </p:cNvPr>
              <p:cNvSpPr>
                <a:spLocks noChangeArrowheads="1"/>
              </p:cNvSpPr>
              <p:nvPr/>
            </p:nvSpPr>
            <p:spPr bwMode="auto">
              <a:xfrm>
                <a:off x="316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9" name="Oval 2875">
                <a:extLst>
                  <a:ext uri="{FF2B5EF4-FFF2-40B4-BE49-F238E27FC236}">
                    <a16:creationId xmlns:a16="http://schemas.microsoft.com/office/drawing/2014/main" id="{D75DEA4C-43D9-43A0-A557-32492D99BBD0}"/>
                  </a:ext>
                </a:extLst>
              </p:cNvPr>
              <p:cNvSpPr>
                <a:spLocks noChangeArrowheads="1"/>
              </p:cNvSpPr>
              <p:nvPr/>
            </p:nvSpPr>
            <p:spPr bwMode="auto">
              <a:xfrm>
                <a:off x="307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0" name="Oval 2876">
                <a:extLst>
                  <a:ext uri="{FF2B5EF4-FFF2-40B4-BE49-F238E27FC236}">
                    <a16:creationId xmlns:a16="http://schemas.microsoft.com/office/drawing/2014/main" id="{818111AF-2551-4227-B845-C19AD1C282E3}"/>
                  </a:ext>
                </a:extLst>
              </p:cNvPr>
              <p:cNvSpPr>
                <a:spLocks noChangeArrowheads="1"/>
              </p:cNvSpPr>
              <p:nvPr/>
            </p:nvSpPr>
            <p:spPr bwMode="auto">
              <a:xfrm>
                <a:off x="295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1" name="Oval 2877">
                <a:extLst>
                  <a:ext uri="{FF2B5EF4-FFF2-40B4-BE49-F238E27FC236}">
                    <a16:creationId xmlns:a16="http://schemas.microsoft.com/office/drawing/2014/main" id="{E5A0C165-D4C9-40CF-BCF1-B4C83CCD246D}"/>
                  </a:ext>
                </a:extLst>
              </p:cNvPr>
              <p:cNvSpPr>
                <a:spLocks noChangeArrowheads="1"/>
              </p:cNvSpPr>
              <p:nvPr/>
            </p:nvSpPr>
            <p:spPr bwMode="auto">
              <a:xfrm>
                <a:off x="301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2" name="Oval 2878">
                <a:extLst>
                  <a:ext uri="{FF2B5EF4-FFF2-40B4-BE49-F238E27FC236}">
                    <a16:creationId xmlns:a16="http://schemas.microsoft.com/office/drawing/2014/main" id="{DFDB707B-99B2-40AC-9B93-B0A0F36A2808}"/>
                  </a:ext>
                </a:extLst>
              </p:cNvPr>
              <p:cNvSpPr>
                <a:spLocks noChangeArrowheads="1"/>
              </p:cNvSpPr>
              <p:nvPr/>
            </p:nvSpPr>
            <p:spPr bwMode="auto">
              <a:xfrm>
                <a:off x="298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3" name="Oval 2879">
                <a:extLst>
                  <a:ext uri="{FF2B5EF4-FFF2-40B4-BE49-F238E27FC236}">
                    <a16:creationId xmlns:a16="http://schemas.microsoft.com/office/drawing/2014/main" id="{C999F47C-B4D9-4314-B933-42F0585550ED}"/>
                  </a:ext>
                </a:extLst>
              </p:cNvPr>
              <p:cNvSpPr>
                <a:spLocks noChangeArrowheads="1"/>
              </p:cNvSpPr>
              <p:nvPr/>
            </p:nvSpPr>
            <p:spPr bwMode="auto">
              <a:xfrm>
                <a:off x="30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4" name="Oval 2880">
                <a:extLst>
                  <a:ext uri="{FF2B5EF4-FFF2-40B4-BE49-F238E27FC236}">
                    <a16:creationId xmlns:a16="http://schemas.microsoft.com/office/drawing/2014/main" id="{4D72B0A4-8A44-4B07-8194-E3668103B824}"/>
                  </a:ext>
                </a:extLst>
              </p:cNvPr>
              <p:cNvSpPr>
                <a:spLocks noChangeArrowheads="1"/>
              </p:cNvSpPr>
              <p:nvPr/>
            </p:nvSpPr>
            <p:spPr bwMode="auto">
              <a:xfrm>
                <a:off x="310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5" name="Oval 2881">
                <a:extLst>
                  <a:ext uri="{FF2B5EF4-FFF2-40B4-BE49-F238E27FC236}">
                    <a16:creationId xmlns:a16="http://schemas.microsoft.com/office/drawing/2014/main" id="{F32DE5A1-E3D9-42B0-9EFA-096C87C26C22}"/>
                  </a:ext>
                </a:extLst>
              </p:cNvPr>
              <p:cNvSpPr>
                <a:spLocks noChangeArrowheads="1"/>
              </p:cNvSpPr>
              <p:nvPr/>
            </p:nvSpPr>
            <p:spPr bwMode="auto">
              <a:xfrm>
                <a:off x="310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6" name="Oval 2882">
                <a:extLst>
                  <a:ext uri="{FF2B5EF4-FFF2-40B4-BE49-F238E27FC236}">
                    <a16:creationId xmlns:a16="http://schemas.microsoft.com/office/drawing/2014/main" id="{9DBD6735-BAA1-4EB8-AED8-B65A834C7587}"/>
                  </a:ext>
                </a:extLst>
              </p:cNvPr>
              <p:cNvSpPr>
                <a:spLocks noChangeArrowheads="1"/>
              </p:cNvSpPr>
              <p:nvPr/>
            </p:nvSpPr>
            <p:spPr bwMode="auto">
              <a:xfrm>
                <a:off x="29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7" name="Oval 2883">
                <a:extLst>
                  <a:ext uri="{FF2B5EF4-FFF2-40B4-BE49-F238E27FC236}">
                    <a16:creationId xmlns:a16="http://schemas.microsoft.com/office/drawing/2014/main" id="{97DB46D0-8C0F-467A-A3D9-C52A1DE30B60}"/>
                  </a:ext>
                </a:extLst>
              </p:cNvPr>
              <p:cNvSpPr>
                <a:spLocks noChangeArrowheads="1"/>
              </p:cNvSpPr>
              <p:nvPr/>
            </p:nvSpPr>
            <p:spPr bwMode="auto">
              <a:xfrm>
                <a:off x="280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8" name="Oval 2884">
                <a:extLst>
                  <a:ext uri="{FF2B5EF4-FFF2-40B4-BE49-F238E27FC236}">
                    <a16:creationId xmlns:a16="http://schemas.microsoft.com/office/drawing/2014/main" id="{95D6344C-D3DF-4EB6-B00F-D04D5CEE94F2}"/>
                  </a:ext>
                </a:extLst>
              </p:cNvPr>
              <p:cNvSpPr>
                <a:spLocks noChangeArrowheads="1"/>
              </p:cNvSpPr>
              <p:nvPr/>
            </p:nvSpPr>
            <p:spPr bwMode="auto">
              <a:xfrm>
                <a:off x="289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9" name="Oval 2885">
                <a:extLst>
                  <a:ext uri="{FF2B5EF4-FFF2-40B4-BE49-F238E27FC236}">
                    <a16:creationId xmlns:a16="http://schemas.microsoft.com/office/drawing/2014/main" id="{2933B009-E4F7-424D-902F-51760B992EAB}"/>
                  </a:ext>
                </a:extLst>
              </p:cNvPr>
              <p:cNvSpPr>
                <a:spLocks noChangeArrowheads="1"/>
              </p:cNvSpPr>
              <p:nvPr/>
            </p:nvSpPr>
            <p:spPr bwMode="auto">
              <a:xfrm>
                <a:off x="292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0" name="Oval 2886">
                <a:extLst>
                  <a:ext uri="{FF2B5EF4-FFF2-40B4-BE49-F238E27FC236}">
                    <a16:creationId xmlns:a16="http://schemas.microsoft.com/office/drawing/2014/main" id="{6E6ECEB9-6823-4D5B-8C3B-DF670ECFD8B0}"/>
                  </a:ext>
                </a:extLst>
              </p:cNvPr>
              <p:cNvSpPr>
                <a:spLocks noChangeArrowheads="1"/>
              </p:cNvSpPr>
              <p:nvPr/>
            </p:nvSpPr>
            <p:spPr bwMode="auto">
              <a:xfrm>
                <a:off x="283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1" name="Oval 2887">
                <a:extLst>
                  <a:ext uri="{FF2B5EF4-FFF2-40B4-BE49-F238E27FC236}">
                    <a16:creationId xmlns:a16="http://schemas.microsoft.com/office/drawing/2014/main" id="{3DD7A592-6BE7-453F-8DC1-8B49D2514AF8}"/>
                  </a:ext>
                </a:extLst>
              </p:cNvPr>
              <p:cNvSpPr>
                <a:spLocks noChangeArrowheads="1"/>
              </p:cNvSpPr>
              <p:nvPr/>
            </p:nvSpPr>
            <p:spPr bwMode="auto">
              <a:xfrm>
                <a:off x="286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2" name="Oval 2888">
                <a:extLst>
                  <a:ext uri="{FF2B5EF4-FFF2-40B4-BE49-F238E27FC236}">
                    <a16:creationId xmlns:a16="http://schemas.microsoft.com/office/drawing/2014/main" id="{51E7C7EE-10F3-485C-BD02-DF69C0D3D01B}"/>
                  </a:ext>
                </a:extLst>
              </p:cNvPr>
              <p:cNvSpPr>
                <a:spLocks noChangeArrowheads="1"/>
              </p:cNvSpPr>
              <p:nvPr/>
            </p:nvSpPr>
            <p:spPr bwMode="auto">
              <a:xfrm>
                <a:off x="30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3" name="Oval 2889">
                <a:extLst>
                  <a:ext uri="{FF2B5EF4-FFF2-40B4-BE49-F238E27FC236}">
                    <a16:creationId xmlns:a16="http://schemas.microsoft.com/office/drawing/2014/main" id="{34063C2B-60AC-455D-86FE-A780FFC75DF0}"/>
                  </a:ext>
                </a:extLst>
              </p:cNvPr>
              <p:cNvSpPr>
                <a:spLocks noChangeArrowheads="1"/>
              </p:cNvSpPr>
              <p:nvPr/>
            </p:nvSpPr>
            <p:spPr bwMode="auto">
              <a:xfrm>
                <a:off x="295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4" name="Oval 2890">
                <a:extLst>
                  <a:ext uri="{FF2B5EF4-FFF2-40B4-BE49-F238E27FC236}">
                    <a16:creationId xmlns:a16="http://schemas.microsoft.com/office/drawing/2014/main" id="{E86BCD5E-7DB0-4392-AAE2-E2A3D7C6D123}"/>
                  </a:ext>
                </a:extLst>
              </p:cNvPr>
              <p:cNvSpPr>
                <a:spLocks noChangeArrowheads="1"/>
              </p:cNvSpPr>
              <p:nvPr/>
            </p:nvSpPr>
            <p:spPr bwMode="auto">
              <a:xfrm>
                <a:off x="295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5" name="Oval 2891">
                <a:extLst>
                  <a:ext uri="{FF2B5EF4-FFF2-40B4-BE49-F238E27FC236}">
                    <a16:creationId xmlns:a16="http://schemas.microsoft.com/office/drawing/2014/main" id="{DAC26660-0B80-4562-9F4B-27A3540C4437}"/>
                  </a:ext>
                </a:extLst>
              </p:cNvPr>
              <p:cNvSpPr>
                <a:spLocks noChangeArrowheads="1"/>
              </p:cNvSpPr>
              <p:nvPr/>
            </p:nvSpPr>
            <p:spPr bwMode="auto">
              <a:xfrm>
                <a:off x="301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6" name="Oval 2892">
                <a:extLst>
                  <a:ext uri="{FF2B5EF4-FFF2-40B4-BE49-F238E27FC236}">
                    <a16:creationId xmlns:a16="http://schemas.microsoft.com/office/drawing/2014/main" id="{F60DC2CC-3898-4882-BABE-DC7DAEBCACD1}"/>
                  </a:ext>
                </a:extLst>
              </p:cNvPr>
              <p:cNvSpPr>
                <a:spLocks noChangeArrowheads="1"/>
              </p:cNvSpPr>
              <p:nvPr/>
            </p:nvSpPr>
            <p:spPr bwMode="auto">
              <a:xfrm>
                <a:off x="289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7" name="Oval 2893">
                <a:extLst>
                  <a:ext uri="{FF2B5EF4-FFF2-40B4-BE49-F238E27FC236}">
                    <a16:creationId xmlns:a16="http://schemas.microsoft.com/office/drawing/2014/main" id="{AB19B755-EAB3-46B0-969B-2324BF170338}"/>
                  </a:ext>
                </a:extLst>
              </p:cNvPr>
              <p:cNvSpPr>
                <a:spLocks noChangeArrowheads="1"/>
              </p:cNvSpPr>
              <p:nvPr/>
            </p:nvSpPr>
            <p:spPr bwMode="auto">
              <a:xfrm>
                <a:off x="307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8" name="Oval 2894">
                <a:extLst>
                  <a:ext uri="{FF2B5EF4-FFF2-40B4-BE49-F238E27FC236}">
                    <a16:creationId xmlns:a16="http://schemas.microsoft.com/office/drawing/2014/main" id="{1AD17B8F-B645-4C99-9389-9382D2E086B1}"/>
                  </a:ext>
                </a:extLst>
              </p:cNvPr>
              <p:cNvSpPr>
                <a:spLocks noChangeArrowheads="1"/>
              </p:cNvSpPr>
              <p:nvPr/>
            </p:nvSpPr>
            <p:spPr bwMode="auto">
              <a:xfrm>
                <a:off x="310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9" name="Oval 2895">
                <a:extLst>
                  <a:ext uri="{FF2B5EF4-FFF2-40B4-BE49-F238E27FC236}">
                    <a16:creationId xmlns:a16="http://schemas.microsoft.com/office/drawing/2014/main" id="{18251302-E0A3-4853-95BE-4B5759BC91B9}"/>
                  </a:ext>
                </a:extLst>
              </p:cNvPr>
              <p:cNvSpPr>
                <a:spLocks noChangeArrowheads="1"/>
              </p:cNvSpPr>
              <p:nvPr/>
            </p:nvSpPr>
            <p:spPr bwMode="auto">
              <a:xfrm>
                <a:off x="30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0" name="Oval 2896">
                <a:extLst>
                  <a:ext uri="{FF2B5EF4-FFF2-40B4-BE49-F238E27FC236}">
                    <a16:creationId xmlns:a16="http://schemas.microsoft.com/office/drawing/2014/main" id="{0D835CF8-DCC4-479B-9CEE-6A62DB63AC8C}"/>
                  </a:ext>
                </a:extLst>
              </p:cNvPr>
              <p:cNvSpPr>
                <a:spLocks noChangeArrowheads="1"/>
              </p:cNvSpPr>
              <p:nvPr/>
            </p:nvSpPr>
            <p:spPr bwMode="auto">
              <a:xfrm>
                <a:off x="295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1" name="Oval 2897">
                <a:extLst>
                  <a:ext uri="{FF2B5EF4-FFF2-40B4-BE49-F238E27FC236}">
                    <a16:creationId xmlns:a16="http://schemas.microsoft.com/office/drawing/2014/main" id="{AA4B9C44-4D5D-4F05-AC71-6C9A145A8BE2}"/>
                  </a:ext>
                </a:extLst>
              </p:cNvPr>
              <p:cNvSpPr>
                <a:spLocks noChangeArrowheads="1"/>
              </p:cNvSpPr>
              <p:nvPr/>
            </p:nvSpPr>
            <p:spPr bwMode="auto">
              <a:xfrm>
                <a:off x="292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2" name="Oval 2898">
                <a:extLst>
                  <a:ext uri="{FF2B5EF4-FFF2-40B4-BE49-F238E27FC236}">
                    <a16:creationId xmlns:a16="http://schemas.microsoft.com/office/drawing/2014/main" id="{57FFD288-1A76-475B-83A3-7516B927EA4F}"/>
                  </a:ext>
                </a:extLst>
              </p:cNvPr>
              <p:cNvSpPr>
                <a:spLocks noChangeArrowheads="1"/>
              </p:cNvSpPr>
              <p:nvPr/>
            </p:nvSpPr>
            <p:spPr bwMode="auto">
              <a:xfrm>
                <a:off x="2835"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3" name="Oval 2899">
                <a:extLst>
                  <a:ext uri="{FF2B5EF4-FFF2-40B4-BE49-F238E27FC236}">
                    <a16:creationId xmlns:a16="http://schemas.microsoft.com/office/drawing/2014/main" id="{C8151102-86B0-4DAC-81ED-57CF570302E6}"/>
                  </a:ext>
                </a:extLst>
              </p:cNvPr>
              <p:cNvSpPr>
                <a:spLocks noChangeArrowheads="1"/>
              </p:cNvSpPr>
              <p:nvPr/>
            </p:nvSpPr>
            <p:spPr bwMode="auto">
              <a:xfrm>
                <a:off x="277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4" name="Oval 2900">
                <a:extLst>
                  <a:ext uri="{FF2B5EF4-FFF2-40B4-BE49-F238E27FC236}">
                    <a16:creationId xmlns:a16="http://schemas.microsoft.com/office/drawing/2014/main" id="{B9236266-1CCB-476B-AA90-C4DD1C3CD8F5}"/>
                  </a:ext>
                </a:extLst>
              </p:cNvPr>
              <p:cNvSpPr>
                <a:spLocks noChangeArrowheads="1"/>
              </p:cNvSpPr>
              <p:nvPr/>
            </p:nvSpPr>
            <p:spPr bwMode="auto">
              <a:xfrm>
                <a:off x="271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5" name="Oval 2901">
                <a:extLst>
                  <a:ext uri="{FF2B5EF4-FFF2-40B4-BE49-F238E27FC236}">
                    <a16:creationId xmlns:a16="http://schemas.microsoft.com/office/drawing/2014/main" id="{AE9A6F66-169A-46B3-8F55-0141C244CD63}"/>
                  </a:ext>
                </a:extLst>
              </p:cNvPr>
              <p:cNvSpPr>
                <a:spLocks noChangeArrowheads="1"/>
              </p:cNvSpPr>
              <p:nvPr/>
            </p:nvSpPr>
            <p:spPr bwMode="auto">
              <a:xfrm>
                <a:off x="274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6" name="Oval 2902">
                <a:extLst>
                  <a:ext uri="{FF2B5EF4-FFF2-40B4-BE49-F238E27FC236}">
                    <a16:creationId xmlns:a16="http://schemas.microsoft.com/office/drawing/2014/main" id="{2CCB593B-4BF6-4F78-AA91-74FB212E94B8}"/>
                  </a:ext>
                </a:extLst>
              </p:cNvPr>
              <p:cNvSpPr>
                <a:spLocks noChangeArrowheads="1"/>
              </p:cNvSpPr>
              <p:nvPr/>
            </p:nvSpPr>
            <p:spPr bwMode="auto">
              <a:xfrm>
                <a:off x="2805"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7" name="Oval 2903">
                <a:extLst>
                  <a:ext uri="{FF2B5EF4-FFF2-40B4-BE49-F238E27FC236}">
                    <a16:creationId xmlns:a16="http://schemas.microsoft.com/office/drawing/2014/main" id="{886DA199-ACF5-47F0-9421-6199F9B45A30}"/>
                  </a:ext>
                </a:extLst>
              </p:cNvPr>
              <p:cNvSpPr>
                <a:spLocks noChangeArrowheads="1"/>
              </p:cNvSpPr>
              <p:nvPr/>
            </p:nvSpPr>
            <p:spPr bwMode="auto">
              <a:xfrm>
                <a:off x="27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8" name="Oval 2904">
                <a:extLst>
                  <a:ext uri="{FF2B5EF4-FFF2-40B4-BE49-F238E27FC236}">
                    <a16:creationId xmlns:a16="http://schemas.microsoft.com/office/drawing/2014/main" id="{65767610-ED4B-4D9F-BB9E-35380210D140}"/>
                  </a:ext>
                </a:extLst>
              </p:cNvPr>
              <p:cNvSpPr>
                <a:spLocks noChangeArrowheads="1"/>
              </p:cNvSpPr>
              <p:nvPr/>
            </p:nvSpPr>
            <p:spPr bwMode="auto">
              <a:xfrm>
                <a:off x="2745"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9" name="Oval 2905">
                <a:extLst>
                  <a:ext uri="{FF2B5EF4-FFF2-40B4-BE49-F238E27FC236}">
                    <a16:creationId xmlns:a16="http://schemas.microsoft.com/office/drawing/2014/main" id="{A5B976F6-DF6E-4530-9870-18CDFDBBFB78}"/>
                  </a:ext>
                </a:extLst>
              </p:cNvPr>
              <p:cNvSpPr>
                <a:spLocks noChangeArrowheads="1"/>
              </p:cNvSpPr>
              <p:nvPr/>
            </p:nvSpPr>
            <p:spPr bwMode="auto">
              <a:xfrm>
                <a:off x="25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0" name="Oval 2906">
                <a:extLst>
                  <a:ext uri="{FF2B5EF4-FFF2-40B4-BE49-F238E27FC236}">
                    <a16:creationId xmlns:a16="http://schemas.microsoft.com/office/drawing/2014/main" id="{E2953AA6-8E4B-4E77-82DF-AA9384D60A69}"/>
                  </a:ext>
                </a:extLst>
              </p:cNvPr>
              <p:cNvSpPr>
                <a:spLocks noChangeArrowheads="1"/>
              </p:cNvSpPr>
              <p:nvPr/>
            </p:nvSpPr>
            <p:spPr bwMode="auto">
              <a:xfrm>
                <a:off x="259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1" name="Oval 2907">
                <a:extLst>
                  <a:ext uri="{FF2B5EF4-FFF2-40B4-BE49-F238E27FC236}">
                    <a16:creationId xmlns:a16="http://schemas.microsoft.com/office/drawing/2014/main" id="{FA3072C8-24F1-4708-88F0-2F4ABAF95D34}"/>
                  </a:ext>
                </a:extLst>
              </p:cNvPr>
              <p:cNvSpPr>
                <a:spLocks noChangeArrowheads="1"/>
              </p:cNvSpPr>
              <p:nvPr/>
            </p:nvSpPr>
            <p:spPr bwMode="auto">
              <a:xfrm>
                <a:off x="262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2" name="Oval 2908">
                <a:extLst>
                  <a:ext uri="{FF2B5EF4-FFF2-40B4-BE49-F238E27FC236}">
                    <a16:creationId xmlns:a16="http://schemas.microsoft.com/office/drawing/2014/main" id="{587DCB3C-1906-48E4-B446-261B297A0C98}"/>
                  </a:ext>
                </a:extLst>
              </p:cNvPr>
              <p:cNvSpPr>
                <a:spLocks noChangeArrowheads="1"/>
              </p:cNvSpPr>
              <p:nvPr/>
            </p:nvSpPr>
            <p:spPr bwMode="auto">
              <a:xfrm>
                <a:off x="2655"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3" name="Oval 2909">
                <a:extLst>
                  <a:ext uri="{FF2B5EF4-FFF2-40B4-BE49-F238E27FC236}">
                    <a16:creationId xmlns:a16="http://schemas.microsoft.com/office/drawing/2014/main" id="{C2C83B6A-26F7-41CD-A1F8-EFE8255D3D74}"/>
                  </a:ext>
                </a:extLst>
              </p:cNvPr>
              <p:cNvSpPr>
                <a:spLocks noChangeArrowheads="1"/>
              </p:cNvSpPr>
              <p:nvPr/>
            </p:nvSpPr>
            <p:spPr bwMode="auto">
              <a:xfrm>
                <a:off x="271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4" name="Oval 2910">
                <a:extLst>
                  <a:ext uri="{FF2B5EF4-FFF2-40B4-BE49-F238E27FC236}">
                    <a16:creationId xmlns:a16="http://schemas.microsoft.com/office/drawing/2014/main" id="{0B1CDCD3-4BB7-453C-B470-FAFDCD665304}"/>
                  </a:ext>
                </a:extLst>
              </p:cNvPr>
              <p:cNvSpPr>
                <a:spLocks noChangeArrowheads="1"/>
              </p:cNvSpPr>
              <p:nvPr/>
            </p:nvSpPr>
            <p:spPr bwMode="auto">
              <a:xfrm>
                <a:off x="262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5" name="Oval 2911">
                <a:extLst>
                  <a:ext uri="{FF2B5EF4-FFF2-40B4-BE49-F238E27FC236}">
                    <a16:creationId xmlns:a16="http://schemas.microsoft.com/office/drawing/2014/main" id="{4008BE0A-4398-4B22-B698-1FB00589ACD8}"/>
                  </a:ext>
                </a:extLst>
              </p:cNvPr>
              <p:cNvSpPr>
                <a:spLocks noChangeArrowheads="1"/>
              </p:cNvSpPr>
              <p:nvPr/>
            </p:nvSpPr>
            <p:spPr bwMode="auto">
              <a:xfrm>
                <a:off x="256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6" name="Oval 2912">
                <a:extLst>
                  <a:ext uri="{FF2B5EF4-FFF2-40B4-BE49-F238E27FC236}">
                    <a16:creationId xmlns:a16="http://schemas.microsoft.com/office/drawing/2014/main" id="{453A5C7F-249C-430B-8C9E-83A24BA7A498}"/>
                  </a:ext>
                </a:extLst>
              </p:cNvPr>
              <p:cNvSpPr>
                <a:spLocks noChangeArrowheads="1"/>
              </p:cNvSpPr>
              <p:nvPr/>
            </p:nvSpPr>
            <p:spPr bwMode="auto">
              <a:xfrm>
                <a:off x="27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7" name="Oval 2913">
                <a:extLst>
                  <a:ext uri="{FF2B5EF4-FFF2-40B4-BE49-F238E27FC236}">
                    <a16:creationId xmlns:a16="http://schemas.microsoft.com/office/drawing/2014/main" id="{E3C16154-BD5C-4F41-B63E-BBE1EF877086}"/>
                  </a:ext>
                </a:extLst>
              </p:cNvPr>
              <p:cNvSpPr>
                <a:spLocks noChangeArrowheads="1"/>
              </p:cNvSpPr>
              <p:nvPr/>
            </p:nvSpPr>
            <p:spPr bwMode="auto">
              <a:xfrm>
                <a:off x="265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8" name="Oval 2914">
                <a:extLst>
                  <a:ext uri="{FF2B5EF4-FFF2-40B4-BE49-F238E27FC236}">
                    <a16:creationId xmlns:a16="http://schemas.microsoft.com/office/drawing/2014/main" id="{026FFFE0-AADB-4107-9F48-08CFE860A4BD}"/>
                  </a:ext>
                </a:extLst>
              </p:cNvPr>
              <p:cNvSpPr>
                <a:spLocks noChangeArrowheads="1"/>
              </p:cNvSpPr>
              <p:nvPr/>
            </p:nvSpPr>
            <p:spPr bwMode="auto">
              <a:xfrm>
                <a:off x="25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9" name="Oval 2915">
                <a:extLst>
                  <a:ext uri="{FF2B5EF4-FFF2-40B4-BE49-F238E27FC236}">
                    <a16:creationId xmlns:a16="http://schemas.microsoft.com/office/drawing/2014/main" id="{64748866-1743-4579-8F86-0BDC30560467}"/>
                  </a:ext>
                </a:extLst>
              </p:cNvPr>
              <p:cNvSpPr>
                <a:spLocks noChangeArrowheads="1"/>
              </p:cNvSpPr>
              <p:nvPr/>
            </p:nvSpPr>
            <p:spPr bwMode="auto">
              <a:xfrm>
                <a:off x="2805"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0" name="Oval 2916">
                <a:extLst>
                  <a:ext uri="{FF2B5EF4-FFF2-40B4-BE49-F238E27FC236}">
                    <a16:creationId xmlns:a16="http://schemas.microsoft.com/office/drawing/2014/main" id="{9FF90F0D-E4AF-4F60-8994-3D010A54EB99}"/>
                  </a:ext>
                </a:extLst>
              </p:cNvPr>
              <p:cNvSpPr>
                <a:spLocks noChangeArrowheads="1"/>
              </p:cNvSpPr>
              <p:nvPr/>
            </p:nvSpPr>
            <p:spPr bwMode="auto">
              <a:xfrm>
                <a:off x="307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1" name="Oval 2917">
                <a:extLst>
                  <a:ext uri="{FF2B5EF4-FFF2-40B4-BE49-F238E27FC236}">
                    <a16:creationId xmlns:a16="http://schemas.microsoft.com/office/drawing/2014/main" id="{C9C3F85F-CB76-4112-9CB1-A7F523C24BD4}"/>
                  </a:ext>
                </a:extLst>
              </p:cNvPr>
              <p:cNvSpPr>
                <a:spLocks noChangeArrowheads="1"/>
              </p:cNvSpPr>
              <p:nvPr/>
            </p:nvSpPr>
            <p:spPr bwMode="auto">
              <a:xfrm>
                <a:off x="301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2" name="Oval 2918">
                <a:extLst>
                  <a:ext uri="{FF2B5EF4-FFF2-40B4-BE49-F238E27FC236}">
                    <a16:creationId xmlns:a16="http://schemas.microsoft.com/office/drawing/2014/main" id="{908724CA-84A6-4290-85DD-23D80C173787}"/>
                  </a:ext>
                </a:extLst>
              </p:cNvPr>
              <p:cNvSpPr>
                <a:spLocks noChangeArrowheads="1"/>
              </p:cNvSpPr>
              <p:nvPr/>
            </p:nvSpPr>
            <p:spPr bwMode="auto">
              <a:xfrm>
                <a:off x="289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3" name="Oval 2919">
                <a:extLst>
                  <a:ext uri="{FF2B5EF4-FFF2-40B4-BE49-F238E27FC236}">
                    <a16:creationId xmlns:a16="http://schemas.microsoft.com/office/drawing/2014/main" id="{2EA84D94-FA83-442B-BD03-BAEDCE1EFD55}"/>
                  </a:ext>
                </a:extLst>
              </p:cNvPr>
              <p:cNvSpPr>
                <a:spLocks noChangeArrowheads="1"/>
              </p:cNvSpPr>
              <p:nvPr/>
            </p:nvSpPr>
            <p:spPr bwMode="auto">
              <a:xfrm>
                <a:off x="274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4" name="Oval 2920">
                <a:extLst>
                  <a:ext uri="{FF2B5EF4-FFF2-40B4-BE49-F238E27FC236}">
                    <a16:creationId xmlns:a16="http://schemas.microsoft.com/office/drawing/2014/main" id="{D7B55512-F9E4-4293-ACA3-891140F7953D}"/>
                  </a:ext>
                </a:extLst>
              </p:cNvPr>
              <p:cNvSpPr>
                <a:spLocks noChangeArrowheads="1"/>
              </p:cNvSpPr>
              <p:nvPr/>
            </p:nvSpPr>
            <p:spPr bwMode="auto">
              <a:xfrm>
                <a:off x="259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5" name="Oval 2921">
                <a:extLst>
                  <a:ext uri="{FF2B5EF4-FFF2-40B4-BE49-F238E27FC236}">
                    <a16:creationId xmlns:a16="http://schemas.microsoft.com/office/drawing/2014/main" id="{7EC16B57-C221-4D65-B94F-2DD510C961DF}"/>
                  </a:ext>
                </a:extLst>
              </p:cNvPr>
              <p:cNvSpPr>
                <a:spLocks noChangeArrowheads="1"/>
              </p:cNvSpPr>
              <p:nvPr/>
            </p:nvSpPr>
            <p:spPr bwMode="auto">
              <a:xfrm>
                <a:off x="262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6" name="Oval 2922">
                <a:extLst>
                  <a:ext uri="{FF2B5EF4-FFF2-40B4-BE49-F238E27FC236}">
                    <a16:creationId xmlns:a16="http://schemas.microsoft.com/office/drawing/2014/main" id="{B8397462-499B-4643-8317-20B8F702CF02}"/>
                  </a:ext>
                </a:extLst>
              </p:cNvPr>
              <p:cNvSpPr>
                <a:spLocks noChangeArrowheads="1"/>
              </p:cNvSpPr>
              <p:nvPr/>
            </p:nvSpPr>
            <p:spPr bwMode="auto">
              <a:xfrm>
                <a:off x="2955" y="3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7" name="Oval 2923">
                <a:extLst>
                  <a:ext uri="{FF2B5EF4-FFF2-40B4-BE49-F238E27FC236}">
                    <a16:creationId xmlns:a16="http://schemas.microsoft.com/office/drawing/2014/main" id="{91FE7E87-BA9B-49C1-BCD4-CB792203ABD2}"/>
                  </a:ext>
                </a:extLst>
              </p:cNvPr>
              <p:cNvSpPr>
                <a:spLocks noChangeArrowheads="1"/>
              </p:cNvSpPr>
              <p:nvPr/>
            </p:nvSpPr>
            <p:spPr bwMode="auto">
              <a:xfrm>
                <a:off x="304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8" name="Oval 2924">
                <a:extLst>
                  <a:ext uri="{FF2B5EF4-FFF2-40B4-BE49-F238E27FC236}">
                    <a16:creationId xmlns:a16="http://schemas.microsoft.com/office/drawing/2014/main" id="{8ADF4779-3394-42AD-837F-A1C959340453}"/>
                  </a:ext>
                </a:extLst>
              </p:cNvPr>
              <p:cNvSpPr>
                <a:spLocks noChangeArrowheads="1"/>
              </p:cNvSpPr>
              <p:nvPr/>
            </p:nvSpPr>
            <p:spPr bwMode="auto">
              <a:xfrm>
                <a:off x="286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9" name="Oval 2925">
                <a:extLst>
                  <a:ext uri="{FF2B5EF4-FFF2-40B4-BE49-F238E27FC236}">
                    <a16:creationId xmlns:a16="http://schemas.microsoft.com/office/drawing/2014/main" id="{0636DA1D-7D4F-4EB3-8B5C-B783E38871F0}"/>
                  </a:ext>
                </a:extLst>
              </p:cNvPr>
              <p:cNvSpPr>
                <a:spLocks noChangeArrowheads="1"/>
              </p:cNvSpPr>
              <p:nvPr/>
            </p:nvSpPr>
            <p:spPr bwMode="auto">
              <a:xfrm>
                <a:off x="274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0" name="Oval 2926">
                <a:extLst>
                  <a:ext uri="{FF2B5EF4-FFF2-40B4-BE49-F238E27FC236}">
                    <a16:creationId xmlns:a16="http://schemas.microsoft.com/office/drawing/2014/main" id="{F12B3DAB-0B89-4B7F-A21B-AB1A28473BF9}"/>
                  </a:ext>
                </a:extLst>
              </p:cNvPr>
              <p:cNvSpPr>
                <a:spLocks noChangeArrowheads="1"/>
              </p:cNvSpPr>
              <p:nvPr/>
            </p:nvSpPr>
            <p:spPr bwMode="auto">
              <a:xfrm>
                <a:off x="283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1" name="Oval 2927">
                <a:extLst>
                  <a:ext uri="{FF2B5EF4-FFF2-40B4-BE49-F238E27FC236}">
                    <a16:creationId xmlns:a16="http://schemas.microsoft.com/office/drawing/2014/main" id="{AC6FEE72-1291-4A00-B65C-3F937AA604DD}"/>
                  </a:ext>
                </a:extLst>
              </p:cNvPr>
              <p:cNvSpPr>
                <a:spLocks noChangeArrowheads="1"/>
              </p:cNvSpPr>
              <p:nvPr/>
            </p:nvSpPr>
            <p:spPr bwMode="auto">
              <a:xfrm>
                <a:off x="277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2" name="Oval 2928">
                <a:extLst>
                  <a:ext uri="{FF2B5EF4-FFF2-40B4-BE49-F238E27FC236}">
                    <a16:creationId xmlns:a16="http://schemas.microsoft.com/office/drawing/2014/main" id="{4217A617-C325-4785-937F-CFE1A34C4D2E}"/>
                  </a:ext>
                </a:extLst>
              </p:cNvPr>
              <p:cNvSpPr>
                <a:spLocks noChangeArrowheads="1"/>
              </p:cNvSpPr>
              <p:nvPr/>
            </p:nvSpPr>
            <p:spPr bwMode="auto">
              <a:xfrm>
                <a:off x="301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3" name="Oval 2929">
                <a:extLst>
                  <a:ext uri="{FF2B5EF4-FFF2-40B4-BE49-F238E27FC236}">
                    <a16:creationId xmlns:a16="http://schemas.microsoft.com/office/drawing/2014/main" id="{96C6409B-9E32-4A16-8A45-0228AA43CCF0}"/>
                  </a:ext>
                </a:extLst>
              </p:cNvPr>
              <p:cNvSpPr>
                <a:spLocks noChangeArrowheads="1"/>
              </p:cNvSpPr>
              <p:nvPr/>
            </p:nvSpPr>
            <p:spPr bwMode="auto">
              <a:xfrm>
                <a:off x="3015"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4" name="Oval 2930">
                <a:extLst>
                  <a:ext uri="{FF2B5EF4-FFF2-40B4-BE49-F238E27FC236}">
                    <a16:creationId xmlns:a16="http://schemas.microsoft.com/office/drawing/2014/main" id="{F5F9262E-5EA6-4A2B-B16E-58525680993E}"/>
                  </a:ext>
                </a:extLst>
              </p:cNvPr>
              <p:cNvSpPr>
                <a:spLocks noChangeArrowheads="1"/>
              </p:cNvSpPr>
              <p:nvPr/>
            </p:nvSpPr>
            <p:spPr bwMode="auto">
              <a:xfrm>
                <a:off x="283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5" name="Oval 2931">
                <a:extLst>
                  <a:ext uri="{FF2B5EF4-FFF2-40B4-BE49-F238E27FC236}">
                    <a16:creationId xmlns:a16="http://schemas.microsoft.com/office/drawing/2014/main" id="{CF6E7764-FC60-4AAB-BF66-39A1E03D6890}"/>
                  </a:ext>
                </a:extLst>
              </p:cNvPr>
              <p:cNvSpPr>
                <a:spLocks noChangeArrowheads="1"/>
              </p:cNvSpPr>
              <p:nvPr/>
            </p:nvSpPr>
            <p:spPr bwMode="auto">
              <a:xfrm>
                <a:off x="274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6" name="Oval 2932">
                <a:extLst>
                  <a:ext uri="{FF2B5EF4-FFF2-40B4-BE49-F238E27FC236}">
                    <a16:creationId xmlns:a16="http://schemas.microsoft.com/office/drawing/2014/main" id="{E9CA76B8-2FD1-4EC8-A35D-77918D38AE24}"/>
                  </a:ext>
                </a:extLst>
              </p:cNvPr>
              <p:cNvSpPr>
                <a:spLocks noChangeArrowheads="1"/>
              </p:cNvSpPr>
              <p:nvPr/>
            </p:nvSpPr>
            <p:spPr bwMode="auto">
              <a:xfrm>
                <a:off x="25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7" name="Oval 2933">
                <a:extLst>
                  <a:ext uri="{FF2B5EF4-FFF2-40B4-BE49-F238E27FC236}">
                    <a16:creationId xmlns:a16="http://schemas.microsoft.com/office/drawing/2014/main" id="{8074876F-7BAA-42A4-9B34-9EC4027C4CBD}"/>
                  </a:ext>
                </a:extLst>
              </p:cNvPr>
              <p:cNvSpPr>
                <a:spLocks noChangeArrowheads="1"/>
              </p:cNvSpPr>
              <p:nvPr/>
            </p:nvSpPr>
            <p:spPr bwMode="auto">
              <a:xfrm>
                <a:off x="24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8" name="Oval 2934">
                <a:extLst>
                  <a:ext uri="{FF2B5EF4-FFF2-40B4-BE49-F238E27FC236}">
                    <a16:creationId xmlns:a16="http://schemas.microsoft.com/office/drawing/2014/main" id="{01DF48D2-8029-4B28-9110-B35A4DFF1DC6}"/>
                  </a:ext>
                </a:extLst>
              </p:cNvPr>
              <p:cNvSpPr>
                <a:spLocks noChangeArrowheads="1"/>
              </p:cNvSpPr>
              <p:nvPr/>
            </p:nvSpPr>
            <p:spPr bwMode="auto">
              <a:xfrm>
                <a:off x="238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9" name="Oval 2935">
                <a:extLst>
                  <a:ext uri="{FF2B5EF4-FFF2-40B4-BE49-F238E27FC236}">
                    <a16:creationId xmlns:a16="http://schemas.microsoft.com/office/drawing/2014/main" id="{1D0DE32B-BCAF-4FB8-A0B6-A96EED085E6B}"/>
                  </a:ext>
                </a:extLst>
              </p:cNvPr>
              <p:cNvSpPr>
                <a:spLocks noChangeArrowheads="1"/>
              </p:cNvSpPr>
              <p:nvPr/>
            </p:nvSpPr>
            <p:spPr bwMode="auto">
              <a:xfrm>
                <a:off x="256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0" name="Oval 2936">
                <a:extLst>
                  <a:ext uri="{FF2B5EF4-FFF2-40B4-BE49-F238E27FC236}">
                    <a16:creationId xmlns:a16="http://schemas.microsoft.com/office/drawing/2014/main" id="{361BF1C7-3DF6-4C8C-9526-E1AD6856EF89}"/>
                  </a:ext>
                </a:extLst>
              </p:cNvPr>
              <p:cNvSpPr>
                <a:spLocks noChangeArrowheads="1"/>
              </p:cNvSpPr>
              <p:nvPr/>
            </p:nvSpPr>
            <p:spPr bwMode="auto">
              <a:xfrm>
                <a:off x="232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1" name="Oval 2937">
                <a:extLst>
                  <a:ext uri="{FF2B5EF4-FFF2-40B4-BE49-F238E27FC236}">
                    <a16:creationId xmlns:a16="http://schemas.microsoft.com/office/drawing/2014/main" id="{8F38EC81-7957-4FF3-8EC6-130D2652D67F}"/>
                  </a:ext>
                </a:extLst>
              </p:cNvPr>
              <p:cNvSpPr>
                <a:spLocks noChangeArrowheads="1"/>
              </p:cNvSpPr>
              <p:nvPr/>
            </p:nvSpPr>
            <p:spPr bwMode="auto">
              <a:xfrm>
                <a:off x="250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2" name="Oval 2938">
                <a:extLst>
                  <a:ext uri="{FF2B5EF4-FFF2-40B4-BE49-F238E27FC236}">
                    <a16:creationId xmlns:a16="http://schemas.microsoft.com/office/drawing/2014/main" id="{B4591CBE-B609-4236-AD47-E4B20FA055C8}"/>
                  </a:ext>
                </a:extLst>
              </p:cNvPr>
              <p:cNvSpPr>
                <a:spLocks noChangeArrowheads="1"/>
              </p:cNvSpPr>
              <p:nvPr/>
            </p:nvSpPr>
            <p:spPr bwMode="auto">
              <a:xfrm>
                <a:off x="238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3" name="Oval 2939">
                <a:extLst>
                  <a:ext uri="{FF2B5EF4-FFF2-40B4-BE49-F238E27FC236}">
                    <a16:creationId xmlns:a16="http://schemas.microsoft.com/office/drawing/2014/main" id="{8F3B5F3B-E6D4-4597-BB97-11147BEF2A99}"/>
                  </a:ext>
                </a:extLst>
              </p:cNvPr>
              <p:cNvSpPr>
                <a:spLocks noChangeArrowheads="1"/>
              </p:cNvSpPr>
              <p:nvPr/>
            </p:nvSpPr>
            <p:spPr bwMode="auto">
              <a:xfrm>
                <a:off x="244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4" name="Oval 2940">
                <a:extLst>
                  <a:ext uri="{FF2B5EF4-FFF2-40B4-BE49-F238E27FC236}">
                    <a16:creationId xmlns:a16="http://schemas.microsoft.com/office/drawing/2014/main" id="{0999CEA5-3DEC-4119-82F4-28A4FFB9C231}"/>
                  </a:ext>
                </a:extLst>
              </p:cNvPr>
              <p:cNvSpPr>
                <a:spLocks noChangeArrowheads="1"/>
              </p:cNvSpPr>
              <p:nvPr/>
            </p:nvSpPr>
            <p:spPr bwMode="auto">
              <a:xfrm>
                <a:off x="250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5" name="Oval 2941">
                <a:extLst>
                  <a:ext uri="{FF2B5EF4-FFF2-40B4-BE49-F238E27FC236}">
                    <a16:creationId xmlns:a16="http://schemas.microsoft.com/office/drawing/2014/main" id="{2726A2E0-414B-41CD-B4C5-B908DE06A64F}"/>
                  </a:ext>
                </a:extLst>
              </p:cNvPr>
              <p:cNvSpPr>
                <a:spLocks noChangeArrowheads="1"/>
              </p:cNvSpPr>
              <p:nvPr/>
            </p:nvSpPr>
            <p:spPr bwMode="auto">
              <a:xfrm>
                <a:off x="256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6" name="Oval 2942">
                <a:extLst>
                  <a:ext uri="{FF2B5EF4-FFF2-40B4-BE49-F238E27FC236}">
                    <a16:creationId xmlns:a16="http://schemas.microsoft.com/office/drawing/2014/main" id="{7C8C4AB7-EDE2-44B0-8F92-2EB102F2B9FE}"/>
                  </a:ext>
                </a:extLst>
              </p:cNvPr>
              <p:cNvSpPr>
                <a:spLocks noChangeArrowheads="1"/>
              </p:cNvSpPr>
              <p:nvPr/>
            </p:nvSpPr>
            <p:spPr bwMode="auto">
              <a:xfrm>
                <a:off x="244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7" name="Oval 2943">
                <a:extLst>
                  <a:ext uri="{FF2B5EF4-FFF2-40B4-BE49-F238E27FC236}">
                    <a16:creationId xmlns:a16="http://schemas.microsoft.com/office/drawing/2014/main" id="{8537B510-54FB-4197-87D9-C4339467843D}"/>
                  </a:ext>
                </a:extLst>
              </p:cNvPr>
              <p:cNvSpPr>
                <a:spLocks noChangeArrowheads="1"/>
              </p:cNvSpPr>
              <p:nvPr/>
            </p:nvSpPr>
            <p:spPr bwMode="auto">
              <a:xfrm>
                <a:off x="238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8" name="Oval 2944">
                <a:extLst>
                  <a:ext uri="{FF2B5EF4-FFF2-40B4-BE49-F238E27FC236}">
                    <a16:creationId xmlns:a16="http://schemas.microsoft.com/office/drawing/2014/main" id="{573939BF-759D-47C7-BCD6-02EEF37E027D}"/>
                  </a:ext>
                </a:extLst>
              </p:cNvPr>
              <p:cNvSpPr>
                <a:spLocks noChangeArrowheads="1"/>
              </p:cNvSpPr>
              <p:nvPr/>
            </p:nvSpPr>
            <p:spPr bwMode="auto">
              <a:xfrm>
                <a:off x="238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9" name="Oval 2945">
                <a:extLst>
                  <a:ext uri="{FF2B5EF4-FFF2-40B4-BE49-F238E27FC236}">
                    <a16:creationId xmlns:a16="http://schemas.microsoft.com/office/drawing/2014/main" id="{5FFEA49D-EB95-43D7-ADDB-0ACA2C287721}"/>
                  </a:ext>
                </a:extLst>
              </p:cNvPr>
              <p:cNvSpPr>
                <a:spLocks noChangeArrowheads="1"/>
              </p:cNvSpPr>
              <p:nvPr/>
            </p:nvSpPr>
            <p:spPr bwMode="auto">
              <a:xfrm>
                <a:off x="250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0" name="Oval 2946">
                <a:extLst>
                  <a:ext uri="{FF2B5EF4-FFF2-40B4-BE49-F238E27FC236}">
                    <a16:creationId xmlns:a16="http://schemas.microsoft.com/office/drawing/2014/main" id="{C47D2771-BEE5-4005-95C7-E64E8CE96B99}"/>
                  </a:ext>
                </a:extLst>
              </p:cNvPr>
              <p:cNvSpPr>
                <a:spLocks noChangeArrowheads="1"/>
              </p:cNvSpPr>
              <p:nvPr/>
            </p:nvSpPr>
            <p:spPr bwMode="auto">
              <a:xfrm>
                <a:off x="232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1" name="Oval 2947">
                <a:extLst>
                  <a:ext uri="{FF2B5EF4-FFF2-40B4-BE49-F238E27FC236}">
                    <a16:creationId xmlns:a16="http://schemas.microsoft.com/office/drawing/2014/main" id="{19E80DB3-8F8B-4FB7-9019-C8424C97EB8E}"/>
                  </a:ext>
                </a:extLst>
              </p:cNvPr>
              <p:cNvSpPr>
                <a:spLocks noChangeArrowheads="1"/>
              </p:cNvSpPr>
              <p:nvPr/>
            </p:nvSpPr>
            <p:spPr bwMode="auto">
              <a:xfrm>
                <a:off x="247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2" name="Oval 2948">
                <a:extLst>
                  <a:ext uri="{FF2B5EF4-FFF2-40B4-BE49-F238E27FC236}">
                    <a16:creationId xmlns:a16="http://schemas.microsoft.com/office/drawing/2014/main" id="{C55B2A3F-3605-43FD-AB1D-80AD90C35E9B}"/>
                  </a:ext>
                </a:extLst>
              </p:cNvPr>
              <p:cNvSpPr>
                <a:spLocks noChangeArrowheads="1"/>
              </p:cNvSpPr>
              <p:nvPr/>
            </p:nvSpPr>
            <p:spPr bwMode="auto">
              <a:xfrm>
                <a:off x="244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3" name="Oval 2949">
                <a:extLst>
                  <a:ext uri="{FF2B5EF4-FFF2-40B4-BE49-F238E27FC236}">
                    <a16:creationId xmlns:a16="http://schemas.microsoft.com/office/drawing/2014/main" id="{DC07E6C9-CB34-4FFF-AA21-84FBD6B71659}"/>
                  </a:ext>
                </a:extLst>
              </p:cNvPr>
              <p:cNvSpPr>
                <a:spLocks noChangeArrowheads="1"/>
              </p:cNvSpPr>
              <p:nvPr/>
            </p:nvSpPr>
            <p:spPr bwMode="auto">
              <a:xfrm>
                <a:off x="223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4" name="Oval 2950">
                <a:extLst>
                  <a:ext uri="{FF2B5EF4-FFF2-40B4-BE49-F238E27FC236}">
                    <a16:creationId xmlns:a16="http://schemas.microsoft.com/office/drawing/2014/main" id="{7A842459-BF92-4E66-9B2B-B2B93A45E6FF}"/>
                  </a:ext>
                </a:extLst>
              </p:cNvPr>
              <p:cNvSpPr>
                <a:spLocks noChangeArrowheads="1"/>
              </p:cNvSpPr>
              <p:nvPr/>
            </p:nvSpPr>
            <p:spPr bwMode="auto">
              <a:xfrm>
                <a:off x="223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5" name="Oval 2951">
                <a:extLst>
                  <a:ext uri="{FF2B5EF4-FFF2-40B4-BE49-F238E27FC236}">
                    <a16:creationId xmlns:a16="http://schemas.microsoft.com/office/drawing/2014/main" id="{F0637C33-59B0-40B8-A153-D8E7EAAC1F7E}"/>
                  </a:ext>
                </a:extLst>
              </p:cNvPr>
              <p:cNvSpPr>
                <a:spLocks noChangeArrowheads="1"/>
              </p:cNvSpPr>
              <p:nvPr/>
            </p:nvSpPr>
            <p:spPr bwMode="auto">
              <a:xfrm>
                <a:off x="235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6" name="Oval 2952">
                <a:extLst>
                  <a:ext uri="{FF2B5EF4-FFF2-40B4-BE49-F238E27FC236}">
                    <a16:creationId xmlns:a16="http://schemas.microsoft.com/office/drawing/2014/main" id="{F30AE80F-176D-49D2-B889-92C55ABB5EEC}"/>
                  </a:ext>
                </a:extLst>
              </p:cNvPr>
              <p:cNvSpPr>
                <a:spLocks noChangeArrowheads="1"/>
              </p:cNvSpPr>
              <p:nvPr/>
            </p:nvSpPr>
            <p:spPr bwMode="auto">
              <a:xfrm>
                <a:off x="244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7" name="Oval 2953">
                <a:extLst>
                  <a:ext uri="{FF2B5EF4-FFF2-40B4-BE49-F238E27FC236}">
                    <a16:creationId xmlns:a16="http://schemas.microsoft.com/office/drawing/2014/main" id="{269838AF-5ACC-43E2-8A94-F468E6ECED8F}"/>
                  </a:ext>
                </a:extLst>
              </p:cNvPr>
              <p:cNvSpPr>
                <a:spLocks noChangeArrowheads="1"/>
              </p:cNvSpPr>
              <p:nvPr/>
            </p:nvSpPr>
            <p:spPr bwMode="auto">
              <a:xfrm>
                <a:off x="250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8" name="Oval 2954">
                <a:extLst>
                  <a:ext uri="{FF2B5EF4-FFF2-40B4-BE49-F238E27FC236}">
                    <a16:creationId xmlns:a16="http://schemas.microsoft.com/office/drawing/2014/main" id="{5CE6BA44-7595-47AB-B2F1-802AE3326EF4}"/>
                  </a:ext>
                </a:extLst>
              </p:cNvPr>
              <p:cNvSpPr>
                <a:spLocks noChangeArrowheads="1"/>
              </p:cNvSpPr>
              <p:nvPr/>
            </p:nvSpPr>
            <p:spPr bwMode="auto">
              <a:xfrm>
                <a:off x="247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9" name="Oval 2955">
                <a:extLst>
                  <a:ext uri="{FF2B5EF4-FFF2-40B4-BE49-F238E27FC236}">
                    <a16:creationId xmlns:a16="http://schemas.microsoft.com/office/drawing/2014/main" id="{63DC0D39-BDA4-475F-8668-D36A707A9A34}"/>
                  </a:ext>
                </a:extLst>
              </p:cNvPr>
              <p:cNvSpPr>
                <a:spLocks noChangeArrowheads="1"/>
              </p:cNvSpPr>
              <p:nvPr/>
            </p:nvSpPr>
            <p:spPr bwMode="auto">
              <a:xfrm>
                <a:off x="235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0" name="Oval 2956">
                <a:extLst>
                  <a:ext uri="{FF2B5EF4-FFF2-40B4-BE49-F238E27FC236}">
                    <a16:creationId xmlns:a16="http://schemas.microsoft.com/office/drawing/2014/main" id="{837830B5-FF5E-4AE5-8BDC-819319672D72}"/>
                  </a:ext>
                </a:extLst>
              </p:cNvPr>
              <p:cNvSpPr>
                <a:spLocks noChangeArrowheads="1"/>
              </p:cNvSpPr>
              <p:nvPr/>
            </p:nvSpPr>
            <p:spPr bwMode="auto">
              <a:xfrm>
                <a:off x="229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1" name="Oval 2957">
                <a:extLst>
                  <a:ext uri="{FF2B5EF4-FFF2-40B4-BE49-F238E27FC236}">
                    <a16:creationId xmlns:a16="http://schemas.microsoft.com/office/drawing/2014/main" id="{85B7AC8C-BFE9-4500-A3C8-F24A400DE4B0}"/>
                  </a:ext>
                </a:extLst>
              </p:cNvPr>
              <p:cNvSpPr>
                <a:spLocks noChangeArrowheads="1"/>
              </p:cNvSpPr>
              <p:nvPr/>
            </p:nvSpPr>
            <p:spPr bwMode="auto">
              <a:xfrm>
                <a:off x="223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2" name="Oval 2958">
                <a:extLst>
                  <a:ext uri="{FF2B5EF4-FFF2-40B4-BE49-F238E27FC236}">
                    <a16:creationId xmlns:a16="http://schemas.microsoft.com/office/drawing/2014/main" id="{A08875DC-64AE-4FF0-AE98-85357DB56B32}"/>
                  </a:ext>
                </a:extLst>
              </p:cNvPr>
              <p:cNvSpPr>
                <a:spLocks noChangeArrowheads="1"/>
              </p:cNvSpPr>
              <p:nvPr/>
            </p:nvSpPr>
            <p:spPr bwMode="auto">
              <a:xfrm>
                <a:off x="223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3" name="Oval 2959">
                <a:extLst>
                  <a:ext uri="{FF2B5EF4-FFF2-40B4-BE49-F238E27FC236}">
                    <a16:creationId xmlns:a16="http://schemas.microsoft.com/office/drawing/2014/main" id="{BC09D18B-5C11-4525-A5A3-B3DD8EA531BC}"/>
                  </a:ext>
                </a:extLst>
              </p:cNvPr>
              <p:cNvSpPr>
                <a:spLocks noChangeArrowheads="1"/>
              </p:cNvSpPr>
              <p:nvPr/>
            </p:nvSpPr>
            <p:spPr bwMode="auto">
              <a:xfrm>
                <a:off x="211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4" name="Oval 2960">
                <a:extLst>
                  <a:ext uri="{FF2B5EF4-FFF2-40B4-BE49-F238E27FC236}">
                    <a16:creationId xmlns:a16="http://schemas.microsoft.com/office/drawing/2014/main" id="{B48A3108-B012-46CE-839D-08A12AE637AF}"/>
                  </a:ext>
                </a:extLst>
              </p:cNvPr>
              <p:cNvSpPr>
                <a:spLocks noChangeArrowheads="1"/>
              </p:cNvSpPr>
              <p:nvPr/>
            </p:nvSpPr>
            <p:spPr bwMode="auto">
              <a:xfrm>
                <a:off x="21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5" name="Oval 2961">
                <a:extLst>
                  <a:ext uri="{FF2B5EF4-FFF2-40B4-BE49-F238E27FC236}">
                    <a16:creationId xmlns:a16="http://schemas.microsoft.com/office/drawing/2014/main" id="{128F1BFF-9BB5-4788-9C36-BB2B0861C7FD}"/>
                  </a:ext>
                </a:extLst>
              </p:cNvPr>
              <p:cNvSpPr>
                <a:spLocks noChangeArrowheads="1"/>
              </p:cNvSpPr>
              <p:nvPr/>
            </p:nvSpPr>
            <p:spPr bwMode="auto">
              <a:xfrm>
                <a:off x="238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6" name="Oval 2962">
                <a:extLst>
                  <a:ext uri="{FF2B5EF4-FFF2-40B4-BE49-F238E27FC236}">
                    <a16:creationId xmlns:a16="http://schemas.microsoft.com/office/drawing/2014/main" id="{11D1E089-C5C8-4A96-A450-0C6C3A9333A5}"/>
                  </a:ext>
                </a:extLst>
              </p:cNvPr>
              <p:cNvSpPr>
                <a:spLocks noChangeArrowheads="1"/>
              </p:cNvSpPr>
              <p:nvPr/>
            </p:nvSpPr>
            <p:spPr bwMode="auto">
              <a:xfrm>
                <a:off x="238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7" name="Oval 2963">
                <a:extLst>
                  <a:ext uri="{FF2B5EF4-FFF2-40B4-BE49-F238E27FC236}">
                    <a16:creationId xmlns:a16="http://schemas.microsoft.com/office/drawing/2014/main" id="{A217A438-0F69-416E-A265-A68EAEB4AB78}"/>
                  </a:ext>
                </a:extLst>
              </p:cNvPr>
              <p:cNvSpPr>
                <a:spLocks noChangeArrowheads="1"/>
              </p:cNvSpPr>
              <p:nvPr/>
            </p:nvSpPr>
            <p:spPr bwMode="auto">
              <a:xfrm>
                <a:off x="226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8" name="Oval 2964">
                <a:extLst>
                  <a:ext uri="{FF2B5EF4-FFF2-40B4-BE49-F238E27FC236}">
                    <a16:creationId xmlns:a16="http://schemas.microsoft.com/office/drawing/2014/main" id="{11C877B1-8113-4193-9EC4-285BD802B654}"/>
                  </a:ext>
                </a:extLst>
              </p:cNvPr>
              <p:cNvSpPr>
                <a:spLocks noChangeArrowheads="1"/>
              </p:cNvSpPr>
              <p:nvPr/>
            </p:nvSpPr>
            <p:spPr bwMode="auto">
              <a:xfrm>
                <a:off x="2145"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9" name="Oval 2965">
                <a:extLst>
                  <a:ext uri="{FF2B5EF4-FFF2-40B4-BE49-F238E27FC236}">
                    <a16:creationId xmlns:a16="http://schemas.microsoft.com/office/drawing/2014/main" id="{0FBE681D-3AF5-48FC-8EF7-B2FD125ED282}"/>
                  </a:ext>
                </a:extLst>
              </p:cNvPr>
              <p:cNvSpPr>
                <a:spLocks noChangeArrowheads="1"/>
              </p:cNvSpPr>
              <p:nvPr/>
            </p:nvSpPr>
            <p:spPr bwMode="auto">
              <a:xfrm>
                <a:off x="2056" y="30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0" name="Oval 2966">
                <a:extLst>
                  <a:ext uri="{FF2B5EF4-FFF2-40B4-BE49-F238E27FC236}">
                    <a16:creationId xmlns:a16="http://schemas.microsoft.com/office/drawing/2014/main" id="{3C0C2FF7-505C-4217-8234-5295F9AF0E57}"/>
                  </a:ext>
                </a:extLst>
              </p:cNvPr>
              <p:cNvSpPr>
                <a:spLocks noChangeArrowheads="1"/>
              </p:cNvSpPr>
              <p:nvPr/>
            </p:nvSpPr>
            <p:spPr bwMode="auto">
              <a:xfrm>
                <a:off x="1966" y="28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1" name="Oval 2967">
                <a:extLst>
                  <a:ext uri="{FF2B5EF4-FFF2-40B4-BE49-F238E27FC236}">
                    <a16:creationId xmlns:a16="http://schemas.microsoft.com/office/drawing/2014/main" id="{BE82AAAC-E025-4D31-995E-9ECBE533D0EE}"/>
                  </a:ext>
                </a:extLst>
              </p:cNvPr>
              <p:cNvSpPr>
                <a:spLocks noChangeArrowheads="1"/>
              </p:cNvSpPr>
              <p:nvPr/>
            </p:nvSpPr>
            <p:spPr bwMode="auto">
              <a:xfrm>
                <a:off x="1966"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2" name="Oval 2968">
                <a:extLst>
                  <a:ext uri="{FF2B5EF4-FFF2-40B4-BE49-F238E27FC236}">
                    <a16:creationId xmlns:a16="http://schemas.microsoft.com/office/drawing/2014/main" id="{7E16E49B-30CE-4D09-8282-60922B2224E7}"/>
                  </a:ext>
                </a:extLst>
              </p:cNvPr>
              <p:cNvSpPr>
                <a:spLocks noChangeArrowheads="1"/>
              </p:cNvSpPr>
              <p:nvPr/>
            </p:nvSpPr>
            <p:spPr bwMode="auto">
              <a:xfrm>
                <a:off x="2056" y="264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3" name="Oval 2969">
                <a:extLst>
                  <a:ext uri="{FF2B5EF4-FFF2-40B4-BE49-F238E27FC236}">
                    <a16:creationId xmlns:a16="http://schemas.microsoft.com/office/drawing/2014/main" id="{35FFBC81-80B9-49AD-AF2C-99F8082BACE9}"/>
                  </a:ext>
                </a:extLst>
              </p:cNvPr>
              <p:cNvSpPr>
                <a:spLocks noChangeArrowheads="1"/>
              </p:cNvSpPr>
              <p:nvPr/>
            </p:nvSpPr>
            <p:spPr bwMode="auto">
              <a:xfrm>
                <a:off x="211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4" name="Oval 2970">
                <a:extLst>
                  <a:ext uri="{FF2B5EF4-FFF2-40B4-BE49-F238E27FC236}">
                    <a16:creationId xmlns:a16="http://schemas.microsoft.com/office/drawing/2014/main" id="{A87FEBED-32F9-469F-BD7D-D14EAF6BC752}"/>
                  </a:ext>
                </a:extLst>
              </p:cNvPr>
              <p:cNvSpPr>
                <a:spLocks noChangeArrowheads="1"/>
              </p:cNvSpPr>
              <p:nvPr/>
            </p:nvSpPr>
            <p:spPr bwMode="auto">
              <a:xfrm>
                <a:off x="196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5" name="Oval 2971">
                <a:extLst>
                  <a:ext uri="{FF2B5EF4-FFF2-40B4-BE49-F238E27FC236}">
                    <a16:creationId xmlns:a16="http://schemas.microsoft.com/office/drawing/2014/main" id="{1582D34C-1136-47BD-B195-66A1A3FE4B06}"/>
                  </a:ext>
                </a:extLst>
              </p:cNvPr>
              <p:cNvSpPr>
                <a:spLocks noChangeArrowheads="1"/>
              </p:cNvSpPr>
              <p:nvPr/>
            </p:nvSpPr>
            <p:spPr bwMode="auto">
              <a:xfrm>
                <a:off x="2056" y="24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6" name="Oval 2972">
                <a:extLst>
                  <a:ext uri="{FF2B5EF4-FFF2-40B4-BE49-F238E27FC236}">
                    <a16:creationId xmlns:a16="http://schemas.microsoft.com/office/drawing/2014/main" id="{A0480D43-A4CE-4DFB-AB7D-17BB27E55593}"/>
                  </a:ext>
                </a:extLst>
              </p:cNvPr>
              <p:cNvSpPr>
                <a:spLocks noChangeArrowheads="1"/>
              </p:cNvSpPr>
              <p:nvPr/>
            </p:nvSpPr>
            <p:spPr bwMode="auto">
              <a:xfrm>
                <a:off x="21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7" name="Oval 2973">
                <a:extLst>
                  <a:ext uri="{FF2B5EF4-FFF2-40B4-BE49-F238E27FC236}">
                    <a16:creationId xmlns:a16="http://schemas.microsoft.com/office/drawing/2014/main" id="{B39A6EA4-40F2-4B76-84AC-68A31B92FFA8}"/>
                  </a:ext>
                </a:extLst>
              </p:cNvPr>
              <p:cNvSpPr>
                <a:spLocks noChangeArrowheads="1"/>
              </p:cNvSpPr>
              <p:nvPr/>
            </p:nvSpPr>
            <p:spPr bwMode="auto">
              <a:xfrm>
                <a:off x="196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8" name="Oval 2974">
                <a:extLst>
                  <a:ext uri="{FF2B5EF4-FFF2-40B4-BE49-F238E27FC236}">
                    <a16:creationId xmlns:a16="http://schemas.microsoft.com/office/drawing/2014/main" id="{47F6A609-08FE-4507-AD2E-D9233F176150}"/>
                  </a:ext>
                </a:extLst>
              </p:cNvPr>
              <p:cNvSpPr>
                <a:spLocks noChangeArrowheads="1"/>
              </p:cNvSpPr>
              <p:nvPr/>
            </p:nvSpPr>
            <p:spPr bwMode="auto">
              <a:xfrm>
                <a:off x="187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9" name="Oval 2975">
                <a:extLst>
                  <a:ext uri="{FF2B5EF4-FFF2-40B4-BE49-F238E27FC236}">
                    <a16:creationId xmlns:a16="http://schemas.microsoft.com/office/drawing/2014/main" id="{F8294FFF-9737-489C-9A2B-5D6DDF6CAEE1}"/>
                  </a:ext>
                </a:extLst>
              </p:cNvPr>
              <p:cNvSpPr>
                <a:spLocks noChangeArrowheads="1"/>
              </p:cNvSpPr>
              <p:nvPr/>
            </p:nvSpPr>
            <p:spPr bwMode="auto">
              <a:xfrm>
                <a:off x="178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0" name="Oval 2976">
                <a:extLst>
                  <a:ext uri="{FF2B5EF4-FFF2-40B4-BE49-F238E27FC236}">
                    <a16:creationId xmlns:a16="http://schemas.microsoft.com/office/drawing/2014/main" id="{91FF5633-5651-4B9D-A35E-66F5D04CA9FB}"/>
                  </a:ext>
                </a:extLst>
              </p:cNvPr>
              <p:cNvSpPr>
                <a:spLocks noChangeArrowheads="1"/>
              </p:cNvSpPr>
              <p:nvPr/>
            </p:nvSpPr>
            <p:spPr bwMode="auto">
              <a:xfrm>
                <a:off x="1756"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1" name="Oval 2977">
                <a:extLst>
                  <a:ext uri="{FF2B5EF4-FFF2-40B4-BE49-F238E27FC236}">
                    <a16:creationId xmlns:a16="http://schemas.microsoft.com/office/drawing/2014/main" id="{CC853EAA-E294-402F-9E97-B7980BFA9B01}"/>
                  </a:ext>
                </a:extLst>
              </p:cNvPr>
              <p:cNvSpPr>
                <a:spLocks noChangeArrowheads="1"/>
              </p:cNvSpPr>
              <p:nvPr/>
            </p:nvSpPr>
            <p:spPr bwMode="auto">
              <a:xfrm>
                <a:off x="187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2" name="Oval 2978">
                <a:extLst>
                  <a:ext uri="{FF2B5EF4-FFF2-40B4-BE49-F238E27FC236}">
                    <a16:creationId xmlns:a16="http://schemas.microsoft.com/office/drawing/2014/main" id="{7E798C91-F7B0-47B2-9A2C-A3182D6B808A}"/>
                  </a:ext>
                </a:extLst>
              </p:cNvPr>
              <p:cNvSpPr>
                <a:spLocks noChangeArrowheads="1"/>
              </p:cNvSpPr>
              <p:nvPr/>
            </p:nvSpPr>
            <p:spPr bwMode="auto">
              <a:xfrm>
                <a:off x="1816"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3" name="Oval 2979">
                <a:extLst>
                  <a:ext uri="{FF2B5EF4-FFF2-40B4-BE49-F238E27FC236}">
                    <a16:creationId xmlns:a16="http://schemas.microsoft.com/office/drawing/2014/main" id="{7C076197-A1FC-40C8-A988-97739F034474}"/>
                  </a:ext>
                </a:extLst>
              </p:cNvPr>
              <p:cNvSpPr>
                <a:spLocks noChangeArrowheads="1"/>
              </p:cNvSpPr>
              <p:nvPr/>
            </p:nvSpPr>
            <p:spPr bwMode="auto">
              <a:xfrm>
                <a:off x="18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4" name="Oval 2980">
                <a:extLst>
                  <a:ext uri="{FF2B5EF4-FFF2-40B4-BE49-F238E27FC236}">
                    <a16:creationId xmlns:a16="http://schemas.microsoft.com/office/drawing/2014/main" id="{E1C7F0F9-EF1D-4B43-84C3-F9F114F86F6D}"/>
                  </a:ext>
                </a:extLst>
              </p:cNvPr>
              <p:cNvSpPr>
                <a:spLocks noChangeArrowheads="1"/>
              </p:cNvSpPr>
              <p:nvPr/>
            </p:nvSpPr>
            <p:spPr bwMode="auto">
              <a:xfrm>
                <a:off x="184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5" name="Oval 2981">
                <a:extLst>
                  <a:ext uri="{FF2B5EF4-FFF2-40B4-BE49-F238E27FC236}">
                    <a16:creationId xmlns:a16="http://schemas.microsoft.com/office/drawing/2014/main" id="{6E7246D1-20F2-4E2E-A019-3BB7CCF246BB}"/>
                  </a:ext>
                </a:extLst>
              </p:cNvPr>
              <p:cNvSpPr>
                <a:spLocks noChangeArrowheads="1"/>
              </p:cNvSpPr>
              <p:nvPr/>
            </p:nvSpPr>
            <p:spPr bwMode="auto">
              <a:xfrm>
                <a:off x="229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6" name="Oval 2982">
                <a:extLst>
                  <a:ext uri="{FF2B5EF4-FFF2-40B4-BE49-F238E27FC236}">
                    <a16:creationId xmlns:a16="http://schemas.microsoft.com/office/drawing/2014/main" id="{EE339C66-82F0-427A-BFEA-DB9FAA3DA527}"/>
                  </a:ext>
                </a:extLst>
              </p:cNvPr>
              <p:cNvSpPr>
                <a:spLocks noChangeArrowheads="1"/>
              </p:cNvSpPr>
              <p:nvPr/>
            </p:nvSpPr>
            <p:spPr bwMode="auto">
              <a:xfrm>
                <a:off x="232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sp>
          <p:nvSpPr>
            <p:cNvPr id="212" name="Oval 2984">
              <a:extLst>
                <a:ext uri="{FF2B5EF4-FFF2-40B4-BE49-F238E27FC236}">
                  <a16:creationId xmlns:a16="http://schemas.microsoft.com/office/drawing/2014/main" id="{B1B987B4-F063-4E92-A6A7-F592F3551418}"/>
                </a:ext>
              </a:extLst>
            </p:cNvPr>
            <p:cNvSpPr>
              <a:spLocks noChangeArrowheads="1"/>
            </p:cNvSpPr>
            <p:nvPr/>
          </p:nvSpPr>
          <p:spPr bwMode="auto">
            <a:xfrm>
              <a:off x="232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3" name="Oval 2985">
              <a:extLst>
                <a:ext uri="{FF2B5EF4-FFF2-40B4-BE49-F238E27FC236}">
                  <a16:creationId xmlns:a16="http://schemas.microsoft.com/office/drawing/2014/main" id="{C7891A11-B29C-4C43-8724-69C1888A5E73}"/>
                </a:ext>
              </a:extLst>
            </p:cNvPr>
            <p:cNvSpPr>
              <a:spLocks noChangeArrowheads="1"/>
            </p:cNvSpPr>
            <p:nvPr/>
          </p:nvSpPr>
          <p:spPr bwMode="auto">
            <a:xfrm>
              <a:off x="214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4" name="Oval 2986">
              <a:extLst>
                <a:ext uri="{FF2B5EF4-FFF2-40B4-BE49-F238E27FC236}">
                  <a16:creationId xmlns:a16="http://schemas.microsoft.com/office/drawing/2014/main" id="{F8287843-9312-493D-B526-DBE2A5CE5861}"/>
                </a:ext>
              </a:extLst>
            </p:cNvPr>
            <p:cNvSpPr>
              <a:spLocks noChangeArrowheads="1"/>
            </p:cNvSpPr>
            <p:nvPr/>
          </p:nvSpPr>
          <p:spPr bwMode="auto">
            <a:xfrm>
              <a:off x="2026"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5" name="Oval 2987">
              <a:extLst>
                <a:ext uri="{FF2B5EF4-FFF2-40B4-BE49-F238E27FC236}">
                  <a16:creationId xmlns:a16="http://schemas.microsoft.com/office/drawing/2014/main" id="{91F1C371-E3A9-4FBA-806D-DE71D4DF7404}"/>
                </a:ext>
              </a:extLst>
            </p:cNvPr>
            <p:cNvSpPr>
              <a:spLocks noChangeArrowheads="1"/>
            </p:cNvSpPr>
            <p:nvPr/>
          </p:nvSpPr>
          <p:spPr bwMode="auto">
            <a:xfrm>
              <a:off x="18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6" name="Oval 2988">
              <a:extLst>
                <a:ext uri="{FF2B5EF4-FFF2-40B4-BE49-F238E27FC236}">
                  <a16:creationId xmlns:a16="http://schemas.microsoft.com/office/drawing/2014/main" id="{2386F1CE-383B-44BE-A984-7B902D3BCD38}"/>
                </a:ext>
              </a:extLst>
            </p:cNvPr>
            <p:cNvSpPr>
              <a:spLocks noChangeArrowheads="1"/>
            </p:cNvSpPr>
            <p:nvPr/>
          </p:nvSpPr>
          <p:spPr bwMode="auto">
            <a:xfrm>
              <a:off x="2056" y="19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7" name="Oval 2989">
              <a:extLst>
                <a:ext uri="{FF2B5EF4-FFF2-40B4-BE49-F238E27FC236}">
                  <a16:creationId xmlns:a16="http://schemas.microsoft.com/office/drawing/2014/main" id="{8B2DD60A-552D-4188-A672-DCC09792E803}"/>
                </a:ext>
              </a:extLst>
            </p:cNvPr>
            <p:cNvSpPr>
              <a:spLocks noChangeArrowheads="1"/>
            </p:cNvSpPr>
            <p:nvPr/>
          </p:nvSpPr>
          <p:spPr bwMode="auto">
            <a:xfrm>
              <a:off x="199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8" name="Oval 2990">
              <a:extLst>
                <a:ext uri="{FF2B5EF4-FFF2-40B4-BE49-F238E27FC236}">
                  <a16:creationId xmlns:a16="http://schemas.microsoft.com/office/drawing/2014/main" id="{91100C83-E330-4A8E-8828-8442F5E23A64}"/>
                </a:ext>
              </a:extLst>
            </p:cNvPr>
            <p:cNvSpPr>
              <a:spLocks noChangeArrowheads="1"/>
            </p:cNvSpPr>
            <p:nvPr/>
          </p:nvSpPr>
          <p:spPr bwMode="auto">
            <a:xfrm>
              <a:off x="21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9" name="Oval 2991">
              <a:extLst>
                <a:ext uri="{FF2B5EF4-FFF2-40B4-BE49-F238E27FC236}">
                  <a16:creationId xmlns:a16="http://schemas.microsoft.com/office/drawing/2014/main" id="{8CEA602B-77E7-403D-99DB-97EB08A701BF}"/>
                </a:ext>
              </a:extLst>
            </p:cNvPr>
            <p:cNvSpPr>
              <a:spLocks noChangeArrowheads="1"/>
            </p:cNvSpPr>
            <p:nvPr/>
          </p:nvSpPr>
          <p:spPr bwMode="auto">
            <a:xfrm>
              <a:off x="2145"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0" name="Oval 2992">
              <a:extLst>
                <a:ext uri="{FF2B5EF4-FFF2-40B4-BE49-F238E27FC236}">
                  <a16:creationId xmlns:a16="http://schemas.microsoft.com/office/drawing/2014/main" id="{500398AB-6DEA-4112-8E6B-F9DBD2B03C65}"/>
                </a:ext>
              </a:extLst>
            </p:cNvPr>
            <p:cNvSpPr>
              <a:spLocks noChangeArrowheads="1"/>
            </p:cNvSpPr>
            <p:nvPr/>
          </p:nvSpPr>
          <p:spPr bwMode="auto">
            <a:xfrm>
              <a:off x="220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1" name="Oval 2993">
              <a:extLst>
                <a:ext uri="{FF2B5EF4-FFF2-40B4-BE49-F238E27FC236}">
                  <a16:creationId xmlns:a16="http://schemas.microsoft.com/office/drawing/2014/main" id="{4E229137-6B88-4583-996F-1DFFFCBFF83C}"/>
                </a:ext>
              </a:extLst>
            </p:cNvPr>
            <p:cNvSpPr>
              <a:spLocks noChangeArrowheads="1"/>
            </p:cNvSpPr>
            <p:nvPr/>
          </p:nvSpPr>
          <p:spPr bwMode="auto">
            <a:xfrm>
              <a:off x="2086"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2" name="Oval 2994">
              <a:extLst>
                <a:ext uri="{FF2B5EF4-FFF2-40B4-BE49-F238E27FC236}">
                  <a16:creationId xmlns:a16="http://schemas.microsoft.com/office/drawing/2014/main" id="{6192105D-9F0B-4831-B583-18DCDAB81A72}"/>
                </a:ext>
              </a:extLst>
            </p:cNvPr>
            <p:cNvSpPr>
              <a:spLocks noChangeArrowheads="1"/>
            </p:cNvSpPr>
            <p:nvPr/>
          </p:nvSpPr>
          <p:spPr bwMode="auto">
            <a:xfrm>
              <a:off x="2205"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3" name="Oval 2995">
              <a:extLst>
                <a:ext uri="{FF2B5EF4-FFF2-40B4-BE49-F238E27FC236}">
                  <a16:creationId xmlns:a16="http://schemas.microsoft.com/office/drawing/2014/main" id="{D223B4A6-9842-454B-BA59-DEA85DBE65A6}"/>
                </a:ext>
              </a:extLst>
            </p:cNvPr>
            <p:cNvSpPr>
              <a:spLocks noChangeArrowheads="1"/>
            </p:cNvSpPr>
            <p:nvPr/>
          </p:nvSpPr>
          <p:spPr bwMode="auto">
            <a:xfrm>
              <a:off x="21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4" name="Oval 2996">
              <a:extLst>
                <a:ext uri="{FF2B5EF4-FFF2-40B4-BE49-F238E27FC236}">
                  <a16:creationId xmlns:a16="http://schemas.microsoft.com/office/drawing/2014/main" id="{50A23FAA-5815-490C-8D1E-2648DFE68B01}"/>
                </a:ext>
              </a:extLst>
            </p:cNvPr>
            <p:cNvSpPr>
              <a:spLocks noChangeArrowheads="1"/>
            </p:cNvSpPr>
            <p:nvPr/>
          </p:nvSpPr>
          <p:spPr bwMode="auto">
            <a:xfrm>
              <a:off x="2026"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5" name="Oval 2997">
              <a:extLst>
                <a:ext uri="{FF2B5EF4-FFF2-40B4-BE49-F238E27FC236}">
                  <a16:creationId xmlns:a16="http://schemas.microsoft.com/office/drawing/2014/main" id="{C5C6FDD3-4CD6-414F-8FA0-1137618320E3}"/>
                </a:ext>
              </a:extLst>
            </p:cNvPr>
            <p:cNvSpPr>
              <a:spLocks noChangeArrowheads="1"/>
            </p:cNvSpPr>
            <p:nvPr/>
          </p:nvSpPr>
          <p:spPr bwMode="auto">
            <a:xfrm>
              <a:off x="199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6" name="Oval 2998">
              <a:extLst>
                <a:ext uri="{FF2B5EF4-FFF2-40B4-BE49-F238E27FC236}">
                  <a16:creationId xmlns:a16="http://schemas.microsoft.com/office/drawing/2014/main" id="{6BF3D617-8083-43D4-A2FB-4EF58B3A2BFB}"/>
                </a:ext>
              </a:extLst>
            </p:cNvPr>
            <p:cNvSpPr>
              <a:spLocks noChangeArrowheads="1"/>
            </p:cNvSpPr>
            <p:nvPr/>
          </p:nvSpPr>
          <p:spPr bwMode="auto">
            <a:xfrm>
              <a:off x="19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7" name="Oval 2999">
              <a:extLst>
                <a:ext uri="{FF2B5EF4-FFF2-40B4-BE49-F238E27FC236}">
                  <a16:creationId xmlns:a16="http://schemas.microsoft.com/office/drawing/2014/main" id="{2D9917F1-F987-42FB-BE95-16142DE1294E}"/>
                </a:ext>
              </a:extLst>
            </p:cNvPr>
            <p:cNvSpPr>
              <a:spLocks noChangeArrowheads="1"/>
            </p:cNvSpPr>
            <p:nvPr/>
          </p:nvSpPr>
          <p:spPr bwMode="auto">
            <a:xfrm>
              <a:off x="190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8" name="Oval 3000">
              <a:extLst>
                <a:ext uri="{FF2B5EF4-FFF2-40B4-BE49-F238E27FC236}">
                  <a16:creationId xmlns:a16="http://schemas.microsoft.com/office/drawing/2014/main" id="{A221E1F6-EE55-4A0E-8C8C-BD9E2CAA6CD0}"/>
                </a:ext>
              </a:extLst>
            </p:cNvPr>
            <p:cNvSpPr>
              <a:spLocks noChangeArrowheads="1"/>
            </p:cNvSpPr>
            <p:nvPr/>
          </p:nvSpPr>
          <p:spPr bwMode="auto">
            <a:xfrm>
              <a:off x="2026"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9" name="Oval 3001">
              <a:extLst>
                <a:ext uri="{FF2B5EF4-FFF2-40B4-BE49-F238E27FC236}">
                  <a16:creationId xmlns:a16="http://schemas.microsoft.com/office/drawing/2014/main" id="{251B1239-0173-4D7F-89C0-6B29313C79CF}"/>
                </a:ext>
              </a:extLst>
            </p:cNvPr>
            <p:cNvSpPr>
              <a:spLocks noChangeArrowheads="1"/>
            </p:cNvSpPr>
            <p:nvPr/>
          </p:nvSpPr>
          <p:spPr bwMode="auto">
            <a:xfrm>
              <a:off x="1846"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0" name="Oval 3002">
              <a:extLst>
                <a:ext uri="{FF2B5EF4-FFF2-40B4-BE49-F238E27FC236}">
                  <a16:creationId xmlns:a16="http://schemas.microsoft.com/office/drawing/2014/main" id="{98052036-83CD-455D-945D-06F45488E72C}"/>
                </a:ext>
              </a:extLst>
            </p:cNvPr>
            <p:cNvSpPr>
              <a:spLocks noChangeArrowheads="1"/>
            </p:cNvSpPr>
            <p:nvPr/>
          </p:nvSpPr>
          <p:spPr bwMode="auto">
            <a:xfrm>
              <a:off x="157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1" name="Oval 3003">
              <a:extLst>
                <a:ext uri="{FF2B5EF4-FFF2-40B4-BE49-F238E27FC236}">
                  <a16:creationId xmlns:a16="http://schemas.microsoft.com/office/drawing/2014/main" id="{0F7FEEFA-374D-4570-8F88-F157BB9EF68E}"/>
                </a:ext>
              </a:extLst>
            </p:cNvPr>
            <p:cNvSpPr>
              <a:spLocks noChangeArrowheads="1"/>
            </p:cNvSpPr>
            <p:nvPr/>
          </p:nvSpPr>
          <p:spPr bwMode="auto">
            <a:xfrm>
              <a:off x="154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2" name="Oval 3004">
              <a:extLst>
                <a:ext uri="{FF2B5EF4-FFF2-40B4-BE49-F238E27FC236}">
                  <a16:creationId xmlns:a16="http://schemas.microsoft.com/office/drawing/2014/main" id="{A05FAC18-1BF2-40E5-B35C-6614009D1110}"/>
                </a:ext>
              </a:extLst>
            </p:cNvPr>
            <p:cNvSpPr>
              <a:spLocks noChangeArrowheads="1"/>
            </p:cNvSpPr>
            <p:nvPr/>
          </p:nvSpPr>
          <p:spPr bwMode="auto">
            <a:xfrm>
              <a:off x="187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3" name="Oval 3005">
              <a:extLst>
                <a:ext uri="{FF2B5EF4-FFF2-40B4-BE49-F238E27FC236}">
                  <a16:creationId xmlns:a16="http://schemas.microsoft.com/office/drawing/2014/main" id="{19057F90-F007-404B-ABB9-737D829A5807}"/>
                </a:ext>
              </a:extLst>
            </p:cNvPr>
            <p:cNvSpPr>
              <a:spLocks noChangeArrowheads="1"/>
            </p:cNvSpPr>
            <p:nvPr/>
          </p:nvSpPr>
          <p:spPr bwMode="auto">
            <a:xfrm>
              <a:off x="19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4" name="Oval 3006">
              <a:extLst>
                <a:ext uri="{FF2B5EF4-FFF2-40B4-BE49-F238E27FC236}">
                  <a16:creationId xmlns:a16="http://schemas.microsoft.com/office/drawing/2014/main" id="{04389867-5184-408C-921F-CD2C518846B7}"/>
                </a:ext>
              </a:extLst>
            </p:cNvPr>
            <p:cNvSpPr>
              <a:spLocks noChangeArrowheads="1"/>
            </p:cNvSpPr>
            <p:nvPr/>
          </p:nvSpPr>
          <p:spPr bwMode="auto">
            <a:xfrm>
              <a:off x="226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5" name="Oval 3007">
              <a:extLst>
                <a:ext uri="{FF2B5EF4-FFF2-40B4-BE49-F238E27FC236}">
                  <a16:creationId xmlns:a16="http://schemas.microsoft.com/office/drawing/2014/main" id="{1E50AC69-3930-4349-9239-8C242188F21C}"/>
                </a:ext>
              </a:extLst>
            </p:cNvPr>
            <p:cNvSpPr>
              <a:spLocks noChangeArrowheads="1"/>
            </p:cNvSpPr>
            <p:nvPr/>
          </p:nvSpPr>
          <p:spPr bwMode="auto">
            <a:xfrm>
              <a:off x="223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6" name="Oval 3008">
              <a:extLst>
                <a:ext uri="{FF2B5EF4-FFF2-40B4-BE49-F238E27FC236}">
                  <a16:creationId xmlns:a16="http://schemas.microsoft.com/office/drawing/2014/main" id="{4C2DDCC7-7CBC-4149-B1E1-FC1D941BCE29}"/>
                </a:ext>
              </a:extLst>
            </p:cNvPr>
            <p:cNvSpPr>
              <a:spLocks noChangeArrowheads="1"/>
            </p:cNvSpPr>
            <p:nvPr/>
          </p:nvSpPr>
          <p:spPr bwMode="auto">
            <a:xfrm>
              <a:off x="223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7" name="Oval 3009">
              <a:extLst>
                <a:ext uri="{FF2B5EF4-FFF2-40B4-BE49-F238E27FC236}">
                  <a16:creationId xmlns:a16="http://schemas.microsoft.com/office/drawing/2014/main" id="{7F11EF02-99B8-48B8-A825-8C393A807124}"/>
                </a:ext>
              </a:extLst>
            </p:cNvPr>
            <p:cNvSpPr>
              <a:spLocks noChangeArrowheads="1"/>
            </p:cNvSpPr>
            <p:nvPr/>
          </p:nvSpPr>
          <p:spPr bwMode="auto">
            <a:xfrm>
              <a:off x="241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8" name="Oval 3010">
              <a:extLst>
                <a:ext uri="{FF2B5EF4-FFF2-40B4-BE49-F238E27FC236}">
                  <a16:creationId xmlns:a16="http://schemas.microsoft.com/office/drawing/2014/main" id="{B19647D8-216B-4C8F-846A-212C9E2BF946}"/>
                </a:ext>
              </a:extLst>
            </p:cNvPr>
            <p:cNvSpPr>
              <a:spLocks noChangeArrowheads="1"/>
            </p:cNvSpPr>
            <p:nvPr/>
          </p:nvSpPr>
          <p:spPr bwMode="auto">
            <a:xfrm>
              <a:off x="274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39" name="Oval 3011">
              <a:extLst>
                <a:ext uri="{FF2B5EF4-FFF2-40B4-BE49-F238E27FC236}">
                  <a16:creationId xmlns:a16="http://schemas.microsoft.com/office/drawing/2014/main" id="{39137D95-04E8-48DB-9AD5-F968BF594F3D}"/>
                </a:ext>
              </a:extLst>
            </p:cNvPr>
            <p:cNvSpPr>
              <a:spLocks noChangeArrowheads="1"/>
            </p:cNvSpPr>
            <p:nvPr/>
          </p:nvSpPr>
          <p:spPr bwMode="auto">
            <a:xfrm>
              <a:off x="265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0" name="Oval 3012">
              <a:extLst>
                <a:ext uri="{FF2B5EF4-FFF2-40B4-BE49-F238E27FC236}">
                  <a16:creationId xmlns:a16="http://schemas.microsoft.com/office/drawing/2014/main" id="{3E76B188-6CAF-4E9B-AB14-13AD5B08E36D}"/>
                </a:ext>
              </a:extLst>
            </p:cNvPr>
            <p:cNvSpPr>
              <a:spLocks noChangeArrowheads="1"/>
            </p:cNvSpPr>
            <p:nvPr/>
          </p:nvSpPr>
          <p:spPr bwMode="auto">
            <a:xfrm>
              <a:off x="268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1" name="Oval 3013">
              <a:extLst>
                <a:ext uri="{FF2B5EF4-FFF2-40B4-BE49-F238E27FC236}">
                  <a16:creationId xmlns:a16="http://schemas.microsoft.com/office/drawing/2014/main" id="{1B9FAE07-D062-4730-BB02-C5495F22F1B1}"/>
                </a:ext>
              </a:extLst>
            </p:cNvPr>
            <p:cNvSpPr>
              <a:spLocks noChangeArrowheads="1"/>
            </p:cNvSpPr>
            <p:nvPr/>
          </p:nvSpPr>
          <p:spPr bwMode="auto">
            <a:xfrm>
              <a:off x="262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2" name="Oval 3014">
              <a:extLst>
                <a:ext uri="{FF2B5EF4-FFF2-40B4-BE49-F238E27FC236}">
                  <a16:creationId xmlns:a16="http://schemas.microsoft.com/office/drawing/2014/main" id="{F210009A-155B-4F5E-8650-1C404578185A}"/>
                </a:ext>
              </a:extLst>
            </p:cNvPr>
            <p:cNvSpPr>
              <a:spLocks noChangeArrowheads="1"/>
            </p:cNvSpPr>
            <p:nvPr/>
          </p:nvSpPr>
          <p:spPr bwMode="auto">
            <a:xfrm>
              <a:off x="262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3" name="Oval 3015">
              <a:extLst>
                <a:ext uri="{FF2B5EF4-FFF2-40B4-BE49-F238E27FC236}">
                  <a16:creationId xmlns:a16="http://schemas.microsoft.com/office/drawing/2014/main" id="{ACFCF37C-056E-4354-A4A7-CF07A0CFCD17}"/>
                </a:ext>
              </a:extLst>
            </p:cNvPr>
            <p:cNvSpPr>
              <a:spLocks noChangeArrowheads="1"/>
            </p:cNvSpPr>
            <p:nvPr/>
          </p:nvSpPr>
          <p:spPr bwMode="auto">
            <a:xfrm>
              <a:off x="304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4" name="Oval 3016">
              <a:extLst>
                <a:ext uri="{FF2B5EF4-FFF2-40B4-BE49-F238E27FC236}">
                  <a16:creationId xmlns:a16="http://schemas.microsoft.com/office/drawing/2014/main" id="{5C4727DB-0CCD-4ED1-BED1-D0800770C1A3}"/>
                </a:ext>
              </a:extLst>
            </p:cNvPr>
            <p:cNvSpPr>
              <a:spLocks noChangeArrowheads="1"/>
            </p:cNvSpPr>
            <p:nvPr/>
          </p:nvSpPr>
          <p:spPr bwMode="auto">
            <a:xfrm>
              <a:off x="343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5" name="Oval 3017">
              <a:extLst>
                <a:ext uri="{FF2B5EF4-FFF2-40B4-BE49-F238E27FC236}">
                  <a16:creationId xmlns:a16="http://schemas.microsoft.com/office/drawing/2014/main" id="{978CD2E7-CB2E-4D44-9930-F563EB02C4C7}"/>
                </a:ext>
              </a:extLst>
            </p:cNvPr>
            <p:cNvSpPr>
              <a:spLocks noChangeArrowheads="1"/>
            </p:cNvSpPr>
            <p:nvPr/>
          </p:nvSpPr>
          <p:spPr bwMode="auto">
            <a:xfrm>
              <a:off x="352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6" name="Oval 3018">
              <a:extLst>
                <a:ext uri="{FF2B5EF4-FFF2-40B4-BE49-F238E27FC236}">
                  <a16:creationId xmlns:a16="http://schemas.microsoft.com/office/drawing/2014/main" id="{2660098F-B409-4ECD-BEB0-C5AC1C5DAF86}"/>
                </a:ext>
              </a:extLst>
            </p:cNvPr>
            <p:cNvSpPr>
              <a:spLocks noChangeArrowheads="1"/>
            </p:cNvSpPr>
            <p:nvPr/>
          </p:nvSpPr>
          <p:spPr bwMode="auto">
            <a:xfrm>
              <a:off x="352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7" name="Oval 3019">
              <a:extLst>
                <a:ext uri="{FF2B5EF4-FFF2-40B4-BE49-F238E27FC236}">
                  <a16:creationId xmlns:a16="http://schemas.microsoft.com/office/drawing/2014/main" id="{08D19C0C-0160-44DE-B8CB-0C6C031E7FC6}"/>
                </a:ext>
              </a:extLst>
            </p:cNvPr>
            <p:cNvSpPr>
              <a:spLocks noChangeArrowheads="1"/>
            </p:cNvSpPr>
            <p:nvPr/>
          </p:nvSpPr>
          <p:spPr bwMode="auto">
            <a:xfrm>
              <a:off x="331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8" name="Oval 3020">
              <a:extLst>
                <a:ext uri="{FF2B5EF4-FFF2-40B4-BE49-F238E27FC236}">
                  <a16:creationId xmlns:a16="http://schemas.microsoft.com/office/drawing/2014/main" id="{D5FD1307-3CD6-4D46-911A-FDB75FCA9BA6}"/>
                </a:ext>
              </a:extLst>
            </p:cNvPr>
            <p:cNvSpPr>
              <a:spLocks noChangeArrowheads="1"/>
            </p:cNvSpPr>
            <p:nvPr/>
          </p:nvSpPr>
          <p:spPr bwMode="auto">
            <a:xfrm>
              <a:off x="30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9" name="Oval 3021">
              <a:extLst>
                <a:ext uri="{FF2B5EF4-FFF2-40B4-BE49-F238E27FC236}">
                  <a16:creationId xmlns:a16="http://schemas.microsoft.com/office/drawing/2014/main" id="{C29630FF-E703-4455-98D8-65B53BBCCFBE}"/>
                </a:ext>
              </a:extLst>
            </p:cNvPr>
            <p:cNvSpPr>
              <a:spLocks noChangeArrowheads="1"/>
            </p:cNvSpPr>
            <p:nvPr/>
          </p:nvSpPr>
          <p:spPr bwMode="auto">
            <a:xfrm>
              <a:off x="292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0" name="Oval 3022">
              <a:extLst>
                <a:ext uri="{FF2B5EF4-FFF2-40B4-BE49-F238E27FC236}">
                  <a16:creationId xmlns:a16="http://schemas.microsoft.com/office/drawing/2014/main" id="{1ADEE0C0-FF70-47E3-999B-30D10AD9AD31}"/>
                </a:ext>
              </a:extLst>
            </p:cNvPr>
            <p:cNvSpPr>
              <a:spLocks noChangeArrowheads="1"/>
            </p:cNvSpPr>
            <p:nvPr/>
          </p:nvSpPr>
          <p:spPr bwMode="auto">
            <a:xfrm>
              <a:off x="298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1" name="Oval 3023">
              <a:extLst>
                <a:ext uri="{FF2B5EF4-FFF2-40B4-BE49-F238E27FC236}">
                  <a16:creationId xmlns:a16="http://schemas.microsoft.com/office/drawing/2014/main" id="{A677C800-FCE6-4C23-8AF6-5EBD18DF83C3}"/>
                </a:ext>
              </a:extLst>
            </p:cNvPr>
            <p:cNvSpPr>
              <a:spLocks noChangeArrowheads="1"/>
            </p:cNvSpPr>
            <p:nvPr/>
          </p:nvSpPr>
          <p:spPr bwMode="auto">
            <a:xfrm>
              <a:off x="292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2" name="Oval 3024">
              <a:extLst>
                <a:ext uri="{FF2B5EF4-FFF2-40B4-BE49-F238E27FC236}">
                  <a16:creationId xmlns:a16="http://schemas.microsoft.com/office/drawing/2014/main" id="{2D2242CD-5C72-49A1-A4E4-6797E3A3DDF4}"/>
                </a:ext>
              </a:extLst>
            </p:cNvPr>
            <p:cNvSpPr>
              <a:spLocks noChangeArrowheads="1"/>
            </p:cNvSpPr>
            <p:nvPr/>
          </p:nvSpPr>
          <p:spPr bwMode="auto">
            <a:xfrm>
              <a:off x="328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3" name="Oval 3025">
              <a:extLst>
                <a:ext uri="{FF2B5EF4-FFF2-40B4-BE49-F238E27FC236}">
                  <a16:creationId xmlns:a16="http://schemas.microsoft.com/office/drawing/2014/main" id="{19F8B51F-A981-44CF-BC7E-402579EE88CD}"/>
                </a:ext>
              </a:extLst>
            </p:cNvPr>
            <p:cNvSpPr>
              <a:spLocks noChangeArrowheads="1"/>
            </p:cNvSpPr>
            <p:nvPr/>
          </p:nvSpPr>
          <p:spPr bwMode="auto">
            <a:xfrm>
              <a:off x="3255"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4" name="Oval 3026">
              <a:extLst>
                <a:ext uri="{FF2B5EF4-FFF2-40B4-BE49-F238E27FC236}">
                  <a16:creationId xmlns:a16="http://schemas.microsoft.com/office/drawing/2014/main" id="{F7B5F15B-398D-4ED2-BD37-A22A4C2DD686}"/>
                </a:ext>
              </a:extLst>
            </p:cNvPr>
            <p:cNvSpPr>
              <a:spLocks noChangeArrowheads="1"/>
            </p:cNvSpPr>
            <p:nvPr/>
          </p:nvSpPr>
          <p:spPr bwMode="auto">
            <a:xfrm>
              <a:off x="340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5" name="Oval 3027">
              <a:extLst>
                <a:ext uri="{FF2B5EF4-FFF2-40B4-BE49-F238E27FC236}">
                  <a16:creationId xmlns:a16="http://schemas.microsoft.com/office/drawing/2014/main" id="{89B8B4F1-0AB7-4F95-AC9E-559BFB952A68}"/>
                </a:ext>
              </a:extLst>
            </p:cNvPr>
            <p:cNvSpPr>
              <a:spLocks noChangeArrowheads="1"/>
            </p:cNvSpPr>
            <p:nvPr/>
          </p:nvSpPr>
          <p:spPr bwMode="auto">
            <a:xfrm>
              <a:off x="322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6" name="Oval 3028">
              <a:extLst>
                <a:ext uri="{FF2B5EF4-FFF2-40B4-BE49-F238E27FC236}">
                  <a16:creationId xmlns:a16="http://schemas.microsoft.com/office/drawing/2014/main" id="{463B3310-E2DA-443F-8E24-95C13DD0D48D}"/>
                </a:ext>
              </a:extLst>
            </p:cNvPr>
            <p:cNvSpPr>
              <a:spLocks noChangeArrowheads="1"/>
            </p:cNvSpPr>
            <p:nvPr/>
          </p:nvSpPr>
          <p:spPr bwMode="auto">
            <a:xfrm>
              <a:off x="316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7" name="Oval 3029">
              <a:extLst>
                <a:ext uri="{FF2B5EF4-FFF2-40B4-BE49-F238E27FC236}">
                  <a16:creationId xmlns:a16="http://schemas.microsoft.com/office/drawing/2014/main" id="{2849B98F-74F2-44E8-96FF-46AA345209F0}"/>
                </a:ext>
              </a:extLst>
            </p:cNvPr>
            <p:cNvSpPr>
              <a:spLocks noChangeArrowheads="1"/>
            </p:cNvSpPr>
            <p:nvPr/>
          </p:nvSpPr>
          <p:spPr bwMode="auto">
            <a:xfrm>
              <a:off x="31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8" name="Oval 3030">
              <a:extLst>
                <a:ext uri="{FF2B5EF4-FFF2-40B4-BE49-F238E27FC236}">
                  <a16:creationId xmlns:a16="http://schemas.microsoft.com/office/drawing/2014/main" id="{D3A5A78D-E93B-4467-AE31-1E134A659C95}"/>
                </a:ext>
              </a:extLst>
            </p:cNvPr>
            <p:cNvSpPr>
              <a:spLocks noChangeArrowheads="1"/>
            </p:cNvSpPr>
            <p:nvPr/>
          </p:nvSpPr>
          <p:spPr bwMode="auto">
            <a:xfrm>
              <a:off x="394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9" name="Oval 3031">
              <a:extLst>
                <a:ext uri="{FF2B5EF4-FFF2-40B4-BE49-F238E27FC236}">
                  <a16:creationId xmlns:a16="http://schemas.microsoft.com/office/drawing/2014/main" id="{264CC809-FB71-4C8F-A2B5-A6B0BA683580}"/>
                </a:ext>
              </a:extLst>
            </p:cNvPr>
            <p:cNvSpPr>
              <a:spLocks noChangeArrowheads="1"/>
            </p:cNvSpPr>
            <p:nvPr/>
          </p:nvSpPr>
          <p:spPr bwMode="auto">
            <a:xfrm>
              <a:off x="3914"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0" name="Oval 3032">
              <a:extLst>
                <a:ext uri="{FF2B5EF4-FFF2-40B4-BE49-F238E27FC236}">
                  <a16:creationId xmlns:a16="http://schemas.microsoft.com/office/drawing/2014/main" id="{7DD90BD9-CC9B-4F3B-A6CD-F6A5BB4B56D1}"/>
                </a:ext>
              </a:extLst>
            </p:cNvPr>
            <p:cNvSpPr>
              <a:spLocks noChangeArrowheads="1"/>
            </p:cNvSpPr>
            <p:nvPr/>
          </p:nvSpPr>
          <p:spPr bwMode="auto">
            <a:xfrm>
              <a:off x="403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 name="Oval 3033">
              <a:extLst>
                <a:ext uri="{FF2B5EF4-FFF2-40B4-BE49-F238E27FC236}">
                  <a16:creationId xmlns:a16="http://schemas.microsoft.com/office/drawing/2014/main" id="{19A4FC17-B14C-4644-BCFC-71E805B9C5CA}"/>
                </a:ext>
              </a:extLst>
            </p:cNvPr>
            <p:cNvSpPr>
              <a:spLocks noChangeArrowheads="1"/>
            </p:cNvSpPr>
            <p:nvPr/>
          </p:nvSpPr>
          <p:spPr bwMode="auto">
            <a:xfrm>
              <a:off x="3914"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 name="Oval 3034">
              <a:extLst>
                <a:ext uri="{FF2B5EF4-FFF2-40B4-BE49-F238E27FC236}">
                  <a16:creationId xmlns:a16="http://schemas.microsoft.com/office/drawing/2014/main" id="{6A706618-0F55-4344-B92E-8EC28C27FD56}"/>
                </a:ext>
              </a:extLst>
            </p:cNvPr>
            <p:cNvSpPr>
              <a:spLocks noChangeArrowheads="1"/>
            </p:cNvSpPr>
            <p:nvPr/>
          </p:nvSpPr>
          <p:spPr bwMode="auto">
            <a:xfrm>
              <a:off x="400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 name="Oval 3035">
              <a:extLst>
                <a:ext uri="{FF2B5EF4-FFF2-40B4-BE49-F238E27FC236}">
                  <a16:creationId xmlns:a16="http://schemas.microsoft.com/office/drawing/2014/main" id="{8FC844BC-8E69-47FD-AF79-06AB13C398AB}"/>
                </a:ext>
              </a:extLst>
            </p:cNvPr>
            <p:cNvSpPr>
              <a:spLocks noChangeArrowheads="1"/>
            </p:cNvSpPr>
            <p:nvPr/>
          </p:nvSpPr>
          <p:spPr bwMode="auto">
            <a:xfrm>
              <a:off x="388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 name="Oval 3036">
              <a:extLst>
                <a:ext uri="{FF2B5EF4-FFF2-40B4-BE49-F238E27FC236}">
                  <a16:creationId xmlns:a16="http://schemas.microsoft.com/office/drawing/2014/main" id="{51F7FADD-C81E-4FEE-895B-A1CC4CB6F04B}"/>
                </a:ext>
              </a:extLst>
            </p:cNvPr>
            <p:cNvSpPr>
              <a:spLocks noChangeArrowheads="1"/>
            </p:cNvSpPr>
            <p:nvPr/>
          </p:nvSpPr>
          <p:spPr bwMode="auto">
            <a:xfrm>
              <a:off x="367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 name="Oval 3037">
              <a:extLst>
                <a:ext uri="{FF2B5EF4-FFF2-40B4-BE49-F238E27FC236}">
                  <a16:creationId xmlns:a16="http://schemas.microsoft.com/office/drawing/2014/main" id="{0416F78B-2A94-4633-8222-D8F68F59F8DF}"/>
                </a:ext>
              </a:extLst>
            </p:cNvPr>
            <p:cNvSpPr>
              <a:spLocks noChangeArrowheads="1"/>
            </p:cNvSpPr>
            <p:nvPr/>
          </p:nvSpPr>
          <p:spPr bwMode="auto">
            <a:xfrm>
              <a:off x="364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 name="Oval 3038">
              <a:extLst>
                <a:ext uri="{FF2B5EF4-FFF2-40B4-BE49-F238E27FC236}">
                  <a16:creationId xmlns:a16="http://schemas.microsoft.com/office/drawing/2014/main" id="{D63FF61A-FD04-46D4-898E-C9EBF4219464}"/>
                </a:ext>
              </a:extLst>
            </p:cNvPr>
            <p:cNvSpPr>
              <a:spLocks noChangeArrowheads="1"/>
            </p:cNvSpPr>
            <p:nvPr/>
          </p:nvSpPr>
          <p:spPr bwMode="auto">
            <a:xfrm>
              <a:off x="364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 name="Oval 3039">
              <a:extLst>
                <a:ext uri="{FF2B5EF4-FFF2-40B4-BE49-F238E27FC236}">
                  <a16:creationId xmlns:a16="http://schemas.microsoft.com/office/drawing/2014/main" id="{69E33844-9053-4F35-995D-0289C6A708CA}"/>
                </a:ext>
              </a:extLst>
            </p:cNvPr>
            <p:cNvSpPr>
              <a:spLocks noChangeArrowheads="1"/>
            </p:cNvSpPr>
            <p:nvPr/>
          </p:nvSpPr>
          <p:spPr bwMode="auto">
            <a:xfrm>
              <a:off x="394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 name="Oval 3040">
              <a:extLst>
                <a:ext uri="{FF2B5EF4-FFF2-40B4-BE49-F238E27FC236}">
                  <a16:creationId xmlns:a16="http://schemas.microsoft.com/office/drawing/2014/main" id="{05FAB464-4D56-4387-A8DB-C8939D164110}"/>
                </a:ext>
              </a:extLst>
            </p:cNvPr>
            <p:cNvSpPr>
              <a:spLocks noChangeArrowheads="1"/>
            </p:cNvSpPr>
            <p:nvPr/>
          </p:nvSpPr>
          <p:spPr bwMode="auto">
            <a:xfrm>
              <a:off x="3824"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 name="Oval 3041">
              <a:extLst>
                <a:ext uri="{FF2B5EF4-FFF2-40B4-BE49-F238E27FC236}">
                  <a16:creationId xmlns:a16="http://schemas.microsoft.com/office/drawing/2014/main" id="{91F70DCC-5373-4002-920F-39A041C4F8A1}"/>
                </a:ext>
              </a:extLst>
            </p:cNvPr>
            <p:cNvSpPr>
              <a:spLocks noChangeArrowheads="1"/>
            </p:cNvSpPr>
            <p:nvPr/>
          </p:nvSpPr>
          <p:spPr bwMode="auto">
            <a:xfrm>
              <a:off x="391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 name="Oval 3042">
              <a:extLst>
                <a:ext uri="{FF2B5EF4-FFF2-40B4-BE49-F238E27FC236}">
                  <a16:creationId xmlns:a16="http://schemas.microsoft.com/office/drawing/2014/main" id="{98BDCBF5-3CD7-4D75-9A0C-44829865073C}"/>
                </a:ext>
              </a:extLst>
            </p:cNvPr>
            <p:cNvSpPr>
              <a:spLocks noChangeArrowheads="1"/>
            </p:cNvSpPr>
            <p:nvPr/>
          </p:nvSpPr>
          <p:spPr bwMode="auto">
            <a:xfrm>
              <a:off x="376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 name="Oval 3043">
              <a:extLst>
                <a:ext uri="{FF2B5EF4-FFF2-40B4-BE49-F238E27FC236}">
                  <a16:creationId xmlns:a16="http://schemas.microsoft.com/office/drawing/2014/main" id="{10540169-FDDC-4F82-B2E4-43FCB5F06A79}"/>
                </a:ext>
              </a:extLst>
            </p:cNvPr>
            <p:cNvSpPr>
              <a:spLocks noChangeArrowheads="1"/>
            </p:cNvSpPr>
            <p:nvPr/>
          </p:nvSpPr>
          <p:spPr bwMode="auto">
            <a:xfrm>
              <a:off x="403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 name="Oval 3044">
              <a:extLst>
                <a:ext uri="{FF2B5EF4-FFF2-40B4-BE49-F238E27FC236}">
                  <a16:creationId xmlns:a16="http://schemas.microsoft.com/office/drawing/2014/main" id="{3A58133E-1903-430D-8DEE-BA79429717C9}"/>
                </a:ext>
              </a:extLst>
            </p:cNvPr>
            <p:cNvSpPr>
              <a:spLocks noChangeArrowheads="1"/>
            </p:cNvSpPr>
            <p:nvPr/>
          </p:nvSpPr>
          <p:spPr bwMode="auto">
            <a:xfrm>
              <a:off x="39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 name="Oval 3045">
              <a:extLst>
                <a:ext uri="{FF2B5EF4-FFF2-40B4-BE49-F238E27FC236}">
                  <a16:creationId xmlns:a16="http://schemas.microsoft.com/office/drawing/2014/main" id="{B7324C7D-34BA-4120-8E0E-8D952725CE55}"/>
                </a:ext>
              </a:extLst>
            </p:cNvPr>
            <p:cNvSpPr>
              <a:spLocks noChangeArrowheads="1"/>
            </p:cNvSpPr>
            <p:nvPr/>
          </p:nvSpPr>
          <p:spPr bwMode="auto">
            <a:xfrm>
              <a:off x="3794"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 name="Oval 3046">
              <a:extLst>
                <a:ext uri="{FF2B5EF4-FFF2-40B4-BE49-F238E27FC236}">
                  <a16:creationId xmlns:a16="http://schemas.microsoft.com/office/drawing/2014/main" id="{3D3A0CA1-DD42-44FB-A135-645D7A22D9DF}"/>
                </a:ext>
              </a:extLst>
            </p:cNvPr>
            <p:cNvSpPr>
              <a:spLocks noChangeArrowheads="1"/>
            </p:cNvSpPr>
            <p:nvPr/>
          </p:nvSpPr>
          <p:spPr bwMode="auto">
            <a:xfrm>
              <a:off x="376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 name="Oval 3047">
              <a:extLst>
                <a:ext uri="{FF2B5EF4-FFF2-40B4-BE49-F238E27FC236}">
                  <a16:creationId xmlns:a16="http://schemas.microsoft.com/office/drawing/2014/main" id="{793D19DE-BA79-49A4-B5EB-ADE73444D1B9}"/>
                </a:ext>
              </a:extLst>
            </p:cNvPr>
            <p:cNvSpPr>
              <a:spLocks noChangeArrowheads="1"/>
            </p:cNvSpPr>
            <p:nvPr/>
          </p:nvSpPr>
          <p:spPr bwMode="auto">
            <a:xfrm>
              <a:off x="367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 name="Oval 3048">
              <a:extLst>
                <a:ext uri="{FF2B5EF4-FFF2-40B4-BE49-F238E27FC236}">
                  <a16:creationId xmlns:a16="http://schemas.microsoft.com/office/drawing/2014/main" id="{BDD12867-1432-4A35-8E72-7AD2F26055D8}"/>
                </a:ext>
              </a:extLst>
            </p:cNvPr>
            <p:cNvSpPr>
              <a:spLocks noChangeArrowheads="1"/>
            </p:cNvSpPr>
            <p:nvPr/>
          </p:nvSpPr>
          <p:spPr bwMode="auto">
            <a:xfrm>
              <a:off x="355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 name="Oval 3049">
              <a:extLst>
                <a:ext uri="{FF2B5EF4-FFF2-40B4-BE49-F238E27FC236}">
                  <a16:creationId xmlns:a16="http://schemas.microsoft.com/office/drawing/2014/main" id="{9EC48895-38F0-47AA-9C97-61EA574A084A}"/>
                </a:ext>
              </a:extLst>
            </p:cNvPr>
            <p:cNvSpPr>
              <a:spLocks noChangeArrowheads="1"/>
            </p:cNvSpPr>
            <p:nvPr/>
          </p:nvSpPr>
          <p:spPr bwMode="auto">
            <a:xfrm>
              <a:off x="34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 name="Oval 3050">
              <a:extLst>
                <a:ext uri="{FF2B5EF4-FFF2-40B4-BE49-F238E27FC236}">
                  <a16:creationId xmlns:a16="http://schemas.microsoft.com/office/drawing/2014/main" id="{7B61F99C-C191-4C2B-836E-5643563443AB}"/>
                </a:ext>
              </a:extLst>
            </p:cNvPr>
            <p:cNvSpPr>
              <a:spLocks noChangeArrowheads="1"/>
            </p:cNvSpPr>
            <p:nvPr/>
          </p:nvSpPr>
          <p:spPr bwMode="auto">
            <a:xfrm>
              <a:off x="349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 name="Oval 3051">
              <a:extLst>
                <a:ext uri="{FF2B5EF4-FFF2-40B4-BE49-F238E27FC236}">
                  <a16:creationId xmlns:a16="http://schemas.microsoft.com/office/drawing/2014/main" id="{F2913A55-B6E0-4088-927F-36912C57E8E0}"/>
                </a:ext>
              </a:extLst>
            </p:cNvPr>
            <p:cNvSpPr>
              <a:spLocks noChangeArrowheads="1"/>
            </p:cNvSpPr>
            <p:nvPr/>
          </p:nvSpPr>
          <p:spPr bwMode="auto">
            <a:xfrm>
              <a:off x="3285" y="18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 name="Oval 3052">
              <a:extLst>
                <a:ext uri="{FF2B5EF4-FFF2-40B4-BE49-F238E27FC236}">
                  <a16:creationId xmlns:a16="http://schemas.microsoft.com/office/drawing/2014/main" id="{03FA6BAF-A949-4E5D-98EA-F4ED8A25C0E8}"/>
                </a:ext>
              </a:extLst>
            </p:cNvPr>
            <p:cNvSpPr>
              <a:spLocks noChangeArrowheads="1"/>
            </p:cNvSpPr>
            <p:nvPr/>
          </p:nvSpPr>
          <p:spPr bwMode="auto">
            <a:xfrm>
              <a:off x="331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 name="Oval 3053">
              <a:extLst>
                <a:ext uri="{FF2B5EF4-FFF2-40B4-BE49-F238E27FC236}">
                  <a16:creationId xmlns:a16="http://schemas.microsoft.com/office/drawing/2014/main" id="{0D7E39B3-4786-4AF5-8134-7BCCDAD2C1A5}"/>
                </a:ext>
              </a:extLst>
            </p:cNvPr>
            <p:cNvSpPr>
              <a:spLocks noChangeArrowheads="1"/>
            </p:cNvSpPr>
            <p:nvPr/>
          </p:nvSpPr>
          <p:spPr bwMode="auto">
            <a:xfrm>
              <a:off x="32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 name="Oval 3054">
              <a:extLst>
                <a:ext uri="{FF2B5EF4-FFF2-40B4-BE49-F238E27FC236}">
                  <a16:creationId xmlns:a16="http://schemas.microsoft.com/office/drawing/2014/main" id="{F6AC6E0A-5E77-43B8-AB91-5F7499DE9035}"/>
                </a:ext>
              </a:extLst>
            </p:cNvPr>
            <p:cNvSpPr>
              <a:spLocks noChangeArrowheads="1"/>
            </p:cNvSpPr>
            <p:nvPr/>
          </p:nvSpPr>
          <p:spPr bwMode="auto">
            <a:xfrm>
              <a:off x="325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 name="Oval 3055">
              <a:extLst>
                <a:ext uri="{FF2B5EF4-FFF2-40B4-BE49-F238E27FC236}">
                  <a16:creationId xmlns:a16="http://schemas.microsoft.com/office/drawing/2014/main" id="{CFBE25B4-869F-4CCD-921E-7D4C23EC0C6D}"/>
                </a:ext>
              </a:extLst>
            </p:cNvPr>
            <p:cNvSpPr>
              <a:spLocks noChangeArrowheads="1"/>
            </p:cNvSpPr>
            <p:nvPr/>
          </p:nvSpPr>
          <p:spPr bwMode="auto">
            <a:xfrm>
              <a:off x="337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 name="Oval 3056">
              <a:extLst>
                <a:ext uri="{FF2B5EF4-FFF2-40B4-BE49-F238E27FC236}">
                  <a16:creationId xmlns:a16="http://schemas.microsoft.com/office/drawing/2014/main" id="{5D03EFFD-C4BF-4D54-AAFC-001F6E11EB78}"/>
                </a:ext>
              </a:extLst>
            </p:cNvPr>
            <p:cNvSpPr>
              <a:spLocks noChangeArrowheads="1"/>
            </p:cNvSpPr>
            <p:nvPr/>
          </p:nvSpPr>
          <p:spPr bwMode="auto">
            <a:xfrm>
              <a:off x="340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 name="Oval 3057">
              <a:extLst>
                <a:ext uri="{FF2B5EF4-FFF2-40B4-BE49-F238E27FC236}">
                  <a16:creationId xmlns:a16="http://schemas.microsoft.com/office/drawing/2014/main" id="{4E303208-C809-4C67-8FEB-4D169C63259A}"/>
                </a:ext>
              </a:extLst>
            </p:cNvPr>
            <p:cNvSpPr>
              <a:spLocks noChangeArrowheads="1"/>
            </p:cNvSpPr>
            <p:nvPr/>
          </p:nvSpPr>
          <p:spPr bwMode="auto">
            <a:xfrm>
              <a:off x="337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 name="Oval 3058">
              <a:extLst>
                <a:ext uri="{FF2B5EF4-FFF2-40B4-BE49-F238E27FC236}">
                  <a16:creationId xmlns:a16="http://schemas.microsoft.com/office/drawing/2014/main" id="{BD5008B3-F6EF-418F-9782-C9E3DD795391}"/>
                </a:ext>
              </a:extLst>
            </p:cNvPr>
            <p:cNvSpPr>
              <a:spLocks noChangeArrowheads="1"/>
            </p:cNvSpPr>
            <p:nvPr/>
          </p:nvSpPr>
          <p:spPr bwMode="auto">
            <a:xfrm>
              <a:off x="34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 name="Oval 3059">
              <a:extLst>
                <a:ext uri="{FF2B5EF4-FFF2-40B4-BE49-F238E27FC236}">
                  <a16:creationId xmlns:a16="http://schemas.microsoft.com/office/drawing/2014/main" id="{0E9F3CE6-9444-4F67-93F6-2BF6CF2F9265}"/>
                </a:ext>
              </a:extLst>
            </p:cNvPr>
            <p:cNvSpPr>
              <a:spLocks noChangeArrowheads="1"/>
            </p:cNvSpPr>
            <p:nvPr/>
          </p:nvSpPr>
          <p:spPr bwMode="auto">
            <a:xfrm>
              <a:off x="313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 name="Oval 3060">
              <a:extLst>
                <a:ext uri="{FF2B5EF4-FFF2-40B4-BE49-F238E27FC236}">
                  <a16:creationId xmlns:a16="http://schemas.microsoft.com/office/drawing/2014/main" id="{0CBE111C-54A8-441E-9678-00C25A194B27}"/>
                </a:ext>
              </a:extLst>
            </p:cNvPr>
            <p:cNvSpPr>
              <a:spLocks noChangeArrowheads="1"/>
            </p:cNvSpPr>
            <p:nvPr/>
          </p:nvSpPr>
          <p:spPr bwMode="auto">
            <a:xfrm>
              <a:off x="313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 name="Oval 3061">
              <a:extLst>
                <a:ext uri="{FF2B5EF4-FFF2-40B4-BE49-F238E27FC236}">
                  <a16:creationId xmlns:a16="http://schemas.microsoft.com/office/drawing/2014/main" id="{08F37972-CBFB-438F-98FA-D3ADA4CA60FD}"/>
                </a:ext>
              </a:extLst>
            </p:cNvPr>
            <p:cNvSpPr>
              <a:spLocks noChangeArrowheads="1"/>
            </p:cNvSpPr>
            <p:nvPr/>
          </p:nvSpPr>
          <p:spPr bwMode="auto">
            <a:xfrm>
              <a:off x="307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 name="Oval 3062">
              <a:extLst>
                <a:ext uri="{FF2B5EF4-FFF2-40B4-BE49-F238E27FC236}">
                  <a16:creationId xmlns:a16="http://schemas.microsoft.com/office/drawing/2014/main" id="{3A5D45F4-E51B-4C49-A3F0-3D3BB96DC475}"/>
                </a:ext>
              </a:extLst>
            </p:cNvPr>
            <p:cNvSpPr>
              <a:spLocks noChangeArrowheads="1"/>
            </p:cNvSpPr>
            <p:nvPr/>
          </p:nvSpPr>
          <p:spPr bwMode="auto">
            <a:xfrm>
              <a:off x="328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 name="Oval 3063">
              <a:extLst>
                <a:ext uri="{FF2B5EF4-FFF2-40B4-BE49-F238E27FC236}">
                  <a16:creationId xmlns:a16="http://schemas.microsoft.com/office/drawing/2014/main" id="{6D466D12-7447-4ADC-B336-7AA2C11FA2B3}"/>
                </a:ext>
              </a:extLst>
            </p:cNvPr>
            <p:cNvSpPr>
              <a:spLocks noChangeArrowheads="1"/>
            </p:cNvSpPr>
            <p:nvPr/>
          </p:nvSpPr>
          <p:spPr bwMode="auto">
            <a:xfrm>
              <a:off x="337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 name="Oval 3064">
              <a:extLst>
                <a:ext uri="{FF2B5EF4-FFF2-40B4-BE49-F238E27FC236}">
                  <a16:creationId xmlns:a16="http://schemas.microsoft.com/office/drawing/2014/main" id="{4E155937-B122-41E8-A6A9-1543135983C2}"/>
                </a:ext>
              </a:extLst>
            </p:cNvPr>
            <p:cNvSpPr>
              <a:spLocks noChangeArrowheads="1"/>
            </p:cNvSpPr>
            <p:nvPr/>
          </p:nvSpPr>
          <p:spPr bwMode="auto">
            <a:xfrm>
              <a:off x="3735"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 name="Oval 3065">
              <a:extLst>
                <a:ext uri="{FF2B5EF4-FFF2-40B4-BE49-F238E27FC236}">
                  <a16:creationId xmlns:a16="http://schemas.microsoft.com/office/drawing/2014/main" id="{C0A098B1-0170-487F-867D-2E54C1B245E2}"/>
                </a:ext>
              </a:extLst>
            </p:cNvPr>
            <p:cNvSpPr>
              <a:spLocks noChangeArrowheads="1"/>
            </p:cNvSpPr>
            <p:nvPr/>
          </p:nvSpPr>
          <p:spPr bwMode="auto">
            <a:xfrm>
              <a:off x="358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 name="Oval 3066">
              <a:extLst>
                <a:ext uri="{FF2B5EF4-FFF2-40B4-BE49-F238E27FC236}">
                  <a16:creationId xmlns:a16="http://schemas.microsoft.com/office/drawing/2014/main" id="{33F7BE4B-6A57-4531-9AD2-1487B999102F}"/>
                </a:ext>
              </a:extLst>
            </p:cNvPr>
            <p:cNvSpPr>
              <a:spLocks noChangeArrowheads="1"/>
            </p:cNvSpPr>
            <p:nvPr/>
          </p:nvSpPr>
          <p:spPr bwMode="auto">
            <a:xfrm>
              <a:off x="355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 name="Oval 3067">
              <a:extLst>
                <a:ext uri="{FF2B5EF4-FFF2-40B4-BE49-F238E27FC236}">
                  <a16:creationId xmlns:a16="http://schemas.microsoft.com/office/drawing/2014/main" id="{214AC89A-FD0B-4C3F-8A5A-9883CA630DDB}"/>
                </a:ext>
              </a:extLst>
            </p:cNvPr>
            <p:cNvSpPr>
              <a:spLocks noChangeArrowheads="1"/>
            </p:cNvSpPr>
            <p:nvPr/>
          </p:nvSpPr>
          <p:spPr bwMode="auto">
            <a:xfrm>
              <a:off x="349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 name="Oval 3068">
              <a:extLst>
                <a:ext uri="{FF2B5EF4-FFF2-40B4-BE49-F238E27FC236}">
                  <a16:creationId xmlns:a16="http://schemas.microsoft.com/office/drawing/2014/main" id="{5A803656-EBD7-4362-8CC9-ACD14115EE6A}"/>
                </a:ext>
              </a:extLst>
            </p:cNvPr>
            <p:cNvSpPr>
              <a:spLocks noChangeArrowheads="1"/>
            </p:cNvSpPr>
            <p:nvPr/>
          </p:nvSpPr>
          <p:spPr bwMode="auto">
            <a:xfrm>
              <a:off x="337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 name="Oval 3069">
              <a:extLst>
                <a:ext uri="{FF2B5EF4-FFF2-40B4-BE49-F238E27FC236}">
                  <a16:creationId xmlns:a16="http://schemas.microsoft.com/office/drawing/2014/main" id="{24B54F38-295D-46E5-9551-0CD09394C3A8}"/>
                </a:ext>
              </a:extLst>
            </p:cNvPr>
            <p:cNvSpPr>
              <a:spLocks noChangeArrowheads="1"/>
            </p:cNvSpPr>
            <p:nvPr/>
          </p:nvSpPr>
          <p:spPr bwMode="auto">
            <a:xfrm>
              <a:off x="340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 name="Oval 3070">
              <a:extLst>
                <a:ext uri="{FF2B5EF4-FFF2-40B4-BE49-F238E27FC236}">
                  <a16:creationId xmlns:a16="http://schemas.microsoft.com/office/drawing/2014/main" id="{51F90C12-6B71-4B82-BAED-58A2E0B063B2}"/>
                </a:ext>
              </a:extLst>
            </p:cNvPr>
            <p:cNvSpPr>
              <a:spLocks noChangeArrowheads="1"/>
            </p:cNvSpPr>
            <p:nvPr/>
          </p:nvSpPr>
          <p:spPr bwMode="auto">
            <a:xfrm>
              <a:off x="325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 name="Oval 3071">
              <a:extLst>
                <a:ext uri="{FF2B5EF4-FFF2-40B4-BE49-F238E27FC236}">
                  <a16:creationId xmlns:a16="http://schemas.microsoft.com/office/drawing/2014/main" id="{52EA45D4-4968-481C-9217-916B9C8D139E}"/>
                </a:ext>
              </a:extLst>
            </p:cNvPr>
            <p:cNvSpPr>
              <a:spLocks noChangeArrowheads="1"/>
            </p:cNvSpPr>
            <p:nvPr/>
          </p:nvSpPr>
          <p:spPr bwMode="auto">
            <a:xfrm>
              <a:off x="322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 name="Oval 3072">
              <a:extLst>
                <a:ext uri="{FF2B5EF4-FFF2-40B4-BE49-F238E27FC236}">
                  <a16:creationId xmlns:a16="http://schemas.microsoft.com/office/drawing/2014/main" id="{0D514DB3-7CFB-40D8-8640-D1DBDB8314F3}"/>
                </a:ext>
              </a:extLst>
            </p:cNvPr>
            <p:cNvSpPr>
              <a:spLocks noChangeArrowheads="1"/>
            </p:cNvSpPr>
            <p:nvPr/>
          </p:nvSpPr>
          <p:spPr bwMode="auto">
            <a:xfrm>
              <a:off x="331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 name="Oval 3073">
              <a:extLst>
                <a:ext uri="{FF2B5EF4-FFF2-40B4-BE49-F238E27FC236}">
                  <a16:creationId xmlns:a16="http://schemas.microsoft.com/office/drawing/2014/main" id="{644BF291-BAAD-4DE6-87B8-3EF213143626}"/>
                </a:ext>
              </a:extLst>
            </p:cNvPr>
            <p:cNvSpPr>
              <a:spLocks noChangeArrowheads="1"/>
            </p:cNvSpPr>
            <p:nvPr/>
          </p:nvSpPr>
          <p:spPr bwMode="auto">
            <a:xfrm>
              <a:off x="352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 name="Oval 3074">
              <a:extLst>
                <a:ext uri="{FF2B5EF4-FFF2-40B4-BE49-F238E27FC236}">
                  <a16:creationId xmlns:a16="http://schemas.microsoft.com/office/drawing/2014/main" id="{0E81BA29-EF18-45F8-9946-115DF624355D}"/>
                </a:ext>
              </a:extLst>
            </p:cNvPr>
            <p:cNvSpPr>
              <a:spLocks noChangeArrowheads="1"/>
            </p:cNvSpPr>
            <p:nvPr/>
          </p:nvSpPr>
          <p:spPr bwMode="auto">
            <a:xfrm>
              <a:off x="3914"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 name="Oval 3075">
              <a:extLst>
                <a:ext uri="{FF2B5EF4-FFF2-40B4-BE49-F238E27FC236}">
                  <a16:creationId xmlns:a16="http://schemas.microsoft.com/office/drawing/2014/main" id="{1FD37922-F979-466F-A78B-54A0575A0383}"/>
                </a:ext>
              </a:extLst>
            </p:cNvPr>
            <p:cNvSpPr>
              <a:spLocks noChangeArrowheads="1"/>
            </p:cNvSpPr>
            <p:nvPr/>
          </p:nvSpPr>
          <p:spPr bwMode="auto">
            <a:xfrm>
              <a:off x="4274"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 name="Oval 3076">
              <a:extLst>
                <a:ext uri="{FF2B5EF4-FFF2-40B4-BE49-F238E27FC236}">
                  <a16:creationId xmlns:a16="http://schemas.microsoft.com/office/drawing/2014/main" id="{57C30728-6759-4ECA-BCC0-EC2DDFFB8A35}"/>
                </a:ext>
              </a:extLst>
            </p:cNvPr>
            <p:cNvSpPr>
              <a:spLocks noChangeArrowheads="1"/>
            </p:cNvSpPr>
            <p:nvPr/>
          </p:nvSpPr>
          <p:spPr bwMode="auto">
            <a:xfrm>
              <a:off x="4184"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 name="Oval 3077">
              <a:extLst>
                <a:ext uri="{FF2B5EF4-FFF2-40B4-BE49-F238E27FC236}">
                  <a16:creationId xmlns:a16="http://schemas.microsoft.com/office/drawing/2014/main" id="{D147BDCA-AAA8-46EE-B487-A7CB0C15C89D}"/>
                </a:ext>
              </a:extLst>
            </p:cNvPr>
            <p:cNvSpPr>
              <a:spLocks noChangeArrowheads="1"/>
            </p:cNvSpPr>
            <p:nvPr/>
          </p:nvSpPr>
          <p:spPr bwMode="auto">
            <a:xfrm>
              <a:off x="421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 name="Oval 3078">
              <a:extLst>
                <a:ext uri="{FF2B5EF4-FFF2-40B4-BE49-F238E27FC236}">
                  <a16:creationId xmlns:a16="http://schemas.microsoft.com/office/drawing/2014/main" id="{E50BA3A6-F18A-47A7-983D-89145363520D}"/>
                </a:ext>
              </a:extLst>
            </p:cNvPr>
            <p:cNvSpPr>
              <a:spLocks noChangeArrowheads="1"/>
            </p:cNvSpPr>
            <p:nvPr/>
          </p:nvSpPr>
          <p:spPr bwMode="auto">
            <a:xfrm>
              <a:off x="4244"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 name="Oval 3079">
              <a:extLst>
                <a:ext uri="{FF2B5EF4-FFF2-40B4-BE49-F238E27FC236}">
                  <a16:creationId xmlns:a16="http://schemas.microsoft.com/office/drawing/2014/main" id="{105D8A68-7611-4B10-A784-CD04C26BC832}"/>
                </a:ext>
              </a:extLst>
            </p:cNvPr>
            <p:cNvSpPr>
              <a:spLocks noChangeArrowheads="1"/>
            </p:cNvSpPr>
            <p:nvPr/>
          </p:nvSpPr>
          <p:spPr bwMode="auto">
            <a:xfrm>
              <a:off x="4094"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 name="Oval 3080">
              <a:extLst>
                <a:ext uri="{FF2B5EF4-FFF2-40B4-BE49-F238E27FC236}">
                  <a16:creationId xmlns:a16="http://schemas.microsoft.com/office/drawing/2014/main" id="{AA55966B-F318-4168-B5D4-AEC72496BA96}"/>
                </a:ext>
              </a:extLst>
            </p:cNvPr>
            <p:cNvSpPr>
              <a:spLocks noChangeArrowheads="1"/>
            </p:cNvSpPr>
            <p:nvPr/>
          </p:nvSpPr>
          <p:spPr bwMode="auto">
            <a:xfrm>
              <a:off x="406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 name="Oval 3081">
              <a:extLst>
                <a:ext uri="{FF2B5EF4-FFF2-40B4-BE49-F238E27FC236}">
                  <a16:creationId xmlns:a16="http://schemas.microsoft.com/office/drawing/2014/main" id="{C32DE5BB-B63F-4B80-9F3E-60A10CC873BB}"/>
                </a:ext>
              </a:extLst>
            </p:cNvPr>
            <p:cNvSpPr>
              <a:spLocks noChangeArrowheads="1"/>
            </p:cNvSpPr>
            <p:nvPr/>
          </p:nvSpPr>
          <p:spPr bwMode="auto">
            <a:xfrm>
              <a:off x="4004"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 name="Oval 3082">
              <a:extLst>
                <a:ext uri="{FF2B5EF4-FFF2-40B4-BE49-F238E27FC236}">
                  <a16:creationId xmlns:a16="http://schemas.microsoft.com/office/drawing/2014/main" id="{92DAEA1F-EA28-451C-A139-11C33E54F70E}"/>
                </a:ext>
              </a:extLst>
            </p:cNvPr>
            <p:cNvSpPr>
              <a:spLocks noChangeArrowheads="1"/>
            </p:cNvSpPr>
            <p:nvPr/>
          </p:nvSpPr>
          <p:spPr bwMode="auto">
            <a:xfrm>
              <a:off x="385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 name="Oval 3083">
              <a:extLst>
                <a:ext uri="{FF2B5EF4-FFF2-40B4-BE49-F238E27FC236}">
                  <a16:creationId xmlns:a16="http://schemas.microsoft.com/office/drawing/2014/main" id="{1B9DFF52-9429-4D49-B083-D937F5D4B3A5}"/>
                </a:ext>
              </a:extLst>
            </p:cNvPr>
            <p:cNvSpPr>
              <a:spLocks noChangeArrowheads="1"/>
            </p:cNvSpPr>
            <p:nvPr/>
          </p:nvSpPr>
          <p:spPr bwMode="auto">
            <a:xfrm>
              <a:off x="4184"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 name="Oval 3084">
              <a:extLst>
                <a:ext uri="{FF2B5EF4-FFF2-40B4-BE49-F238E27FC236}">
                  <a16:creationId xmlns:a16="http://schemas.microsoft.com/office/drawing/2014/main" id="{27232A49-346C-4BC3-B038-C539FF4B1BEE}"/>
                </a:ext>
              </a:extLst>
            </p:cNvPr>
            <p:cNvSpPr>
              <a:spLocks noChangeArrowheads="1"/>
            </p:cNvSpPr>
            <p:nvPr/>
          </p:nvSpPr>
          <p:spPr bwMode="auto">
            <a:xfrm>
              <a:off x="412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 name="Oval 3085">
              <a:extLst>
                <a:ext uri="{FF2B5EF4-FFF2-40B4-BE49-F238E27FC236}">
                  <a16:creationId xmlns:a16="http://schemas.microsoft.com/office/drawing/2014/main" id="{795463E3-68D2-4099-B57A-717EE661C2D4}"/>
                </a:ext>
              </a:extLst>
            </p:cNvPr>
            <p:cNvSpPr>
              <a:spLocks noChangeArrowheads="1"/>
            </p:cNvSpPr>
            <p:nvPr/>
          </p:nvSpPr>
          <p:spPr bwMode="auto">
            <a:xfrm>
              <a:off x="4064"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 name="Oval 3086">
              <a:extLst>
                <a:ext uri="{FF2B5EF4-FFF2-40B4-BE49-F238E27FC236}">
                  <a16:creationId xmlns:a16="http://schemas.microsoft.com/office/drawing/2014/main" id="{E0A3A397-1CA3-487B-9EE1-110CCA304BF4}"/>
                </a:ext>
              </a:extLst>
            </p:cNvPr>
            <p:cNvSpPr>
              <a:spLocks noChangeArrowheads="1"/>
            </p:cNvSpPr>
            <p:nvPr/>
          </p:nvSpPr>
          <p:spPr bwMode="auto">
            <a:xfrm>
              <a:off x="3974"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 name="Oval 3087">
              <a:extLst>
                <a:ext uri="{FF2B5EF4-FFF2-40B4-BE49-F238E27FC236}">
                  <a16:creationId xmlns:a16="http://schemas.microsoft.com/office/drawing/2014/main" id="{AA24191C-D1E6-4A29-909B-954E55C227BD}"/>
                </a:ext>
              </a:extLst>
            </p:cNvPr>
            <p:cNvSpPr>
              <a:spLocks noChangeArrowheads="1"/>
            </p:cNvSpPr>
            <p:nvPr/>
          </p:nvSpPr>
          <p:spPr bwMode="auto">
            <a:xfrm>
              <a:off x="385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 name="Oval 3088">
              <a:extLst>
                <a:ext uri="{FF2B5EF4-FFF2-40B4-BE49-F238E27FC236}">
                  <a16:creationId xmlns:a16="http://schemas.microsoft.com/office/drawing/2014/main" id="{BC600710-D1B4-44FD-A11B-3F96064B36A9}"/>
                </a:ext>
              </a:extLst>
            </p:cNvPr>
            <p:cNvSpPr>
              <a:spLocks noChangeArrowheads="1"/>
            </p:cNvSpPr>
            <p:nvPr/>
          </p:nvSpPr>
          <p:spPr bwMode="auto">
            <a:xfrm>
              <a:off x="367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 name="Oval 3089">
              <a:extLst>
                <a:ext uri="{FF2B5EF4-FFF2-40B4-BE49-F238E27FC236}">
                  <a16:creationId xmlns:a16="http://schemas.microsoft.com/office/drawing/2014/main" id="{74C7F277-7FE6-4A9C-A05F-805EF84A4676}"/>
                </a:ext>
              </a:extLst>
            </p:cNvPr>
            <p:cNvSpPr>
              <a:spLocks noChangeArrowheads="1"/>
            </p:cNvSpPr>
            <p:nvPr/>
          </p:nvSpPr>
          <p:spPr bwMode="auto">
            <a:xfrm>
              <a:off x="367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 name="Oval 3090">
              <a:extLst>
                <a:ext uri="{FF2B5EF4-FFF2-40B4-BE49-F238E27FC236}">
                  <a16:creationId xmlns:a16="http://schemas.microsoft.com/office/drawing/2014/main" id="{C72A397B-2726-4936-88C1-A05EC33F6A7E}"/>
                </a:ext>
              </a:extLst>
            </p:cNvPr>
            <p:cNvSpPr>
              <a:spLocks noChangeArrowheads="1"/>
            </p:cNvSpPr>
            <p:nvPr/>
          </p:nvSpPr>
          <p:spPr bwMode="auto">
            <a:xfrm>
              <a:off x="35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 name="Oval 3091">
              <a:extLst>
                <a:ext uri="{FF2B5EF4-FFF2-40B4-BE49-F238E27FC236}">
                  <a16:creationId xmlns:a16="http://schemas.microsoft.com/office/drawing/2014/main" id="{E569DFD6-520A-43BC-8F64-DF8862E1D92D}"/>
                </a:ext>
              </a:extLst>
            </p:cNvPr>
            <p:cNvSpPr>
              <a:spLocks noChangeArrowheads="1"/>
            </p:cNvSpPr>
            <p:nvPr/>
          </p:nvSpPr>
          <p:spPr bwMode="auto">
            <a:xfrm>
              <a:off x="355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 name="Oval 3092">
              <a:extLst>
                <a:ext uri="{FF2B5EF4-FFF2-40B4-BE49-F238E27FC236}">
                  <a16:creationId xmlns:a16="http://schemas.microsoft.com/office/drawing/2014/main" id="{63DD5DF9-1C37-47FD-AE92-DD08F5874EA0}"/>
                </a:ext>
              </a:extLst>
            </p:cNvPr>
            <p:cNvSpPr>
              <a:spLocks noChangeArrowheads="1"/>
            </p:cNvSpPr>
            <p:nvPr/>
          </p:nvSpPr>
          <p:spPr bwMode="auto">
            <a:xfrm>
              <a:off x="355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 name="Oval 3093">
              <a:extLst>
                <a:ext uri="{FF2B5EF4-FFF2-40B4-BE49-F238E27FC236}">
                  <a16:creationId xmlns:a16="http://schemas.microsoft.com/office/drawing/2014/main" id="{C8C4AA38-FD80-4626-8F7E-8836F5BCBD60}"/>
                </a:ext>
              </a:extLst>
            </p:cNvPr>
            <p:cNvSpPr>
              <a:spLocks noChangeArrowheads="1"/>
            </p:cNvSpPr>
            <p:nvPr/>
          </p:nvSpPr>
          <p:spPr bwMode="auto">
            <a:xfrm>
              <a:off x="358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 name="Oval 3094">
              <a:extLst>
                <a:ext uri="{FF2B5EF4-FFF2-40B4-BE49-F238E27FC236}">
                  <a16:creationId xmlns:a16="http://schemas.microsoft.com/office/drawing/2014/main" id="{64F5BA2D-D76E-496C-A1A6-CD702702720B}"/>
                </a:ext>
              </a:extLst>
            </p:cNvPr>
            <p:cNvSpPr>
              <a:spLocks noChangeArrowheads="1"/>
            </p:cNvSpPr>
            <p:nvPr/>
          </p:nvSpPr>
          <p:spPr bwMode="auto">
            <a:xfrm>
              <a:off x="343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 name="Oval 3095">
              <a:extLst>
                <a:ext uri="{FF2B5EF4-FFF2-40B4-BE49-F238E27FC236}">
                  <a16:creationId xmlns:a16="http://schemas.microsoft.com/office/drawing/2014/main" id="{80C042C7-D027-45C5-9264-3313938B54C4}"/>
                </a:ext>
              </a:extLst>
            </p:cNvPr>
            <p:cNvSpPr>
              <a:spLocks noChangeArrowheads="1"/>
            </p:cNvSpPr>
            <p:nvPr/>
          </p:nvSpPr>
          <p:spPr bwMode="auto">
            <a:xfrm>
              <a:off x="340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 name="Oval 3096">
              <a:extLst>
                <a:ext uri="{FF2B5EF4-FFF2-40B4-BE49-F238E27FC236}">
                  <a16:creationId xmlns:a16="http://schemas.microsoft.com/office/drawing/2014/main" id="{A88F97FE-48D9-4B59-9ABB-F0B458FF85E6}"/>
                </a:ext>
              </a:extLst>
            </p:cNvPr>
            <p:cNvSpPr>
              <a:spLocks noChangeArrowheads="1"/>
            </p:cNvSpPr>
            <p:nvPr/>
          </p:nvSpPr>
          <p:spPr bwMode="auto">
            <a:xfrm>
              <a:off x="331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 name="Oval 3097">
              <a:extLst>
                <a:ext uri="{FF2B5EF4-FFF2-40B4-BE49-F238E27FC236}">
                  <a16:creationId xmlns:a16="http://schemas.microsoft.com/office/drawing/2014/main" id="{D754017E-A25B-471D-BD77-581DD10C3370}"/>
                </a:ext>
              </a:extLst>
            </p:cNvPr>
            <p:cNvSpPr>
              <a:spLocks noChangeArrowheads="1"/>
            </p:cNvSpPr>
            <p:nvPr/>
          </p:nvSpPr>
          <p:spPr bwMode="auto">
            <a:xfrm>
              <a:off x="340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 name="Oval 3098">
              <a:extLst>
                <a:ext uri="{FF2B5EF4-FFF2-40B4-BE49-F238E27FC236}">
                  <a16:creationId xmlns:a16="http://schemas.microsoft.com/office/drawing/2014/main" id="{456BEF85-5C2D-49E9-A5EC-A99429D47AEE}"/>
                </a:ext>
              </a:extLst>
            </p:cNvPr>
            <p:cNvSpPr>
              <a:spLocks noChangeArrowheads="1"/>
            </p:cNvSpPr>
            <p:nvPr/>
          </p:nvSpPr>
          <p:spPr bwMode="auto">
            <a:xfrm>
              <a:off x="328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 name="Oval 3099">
              <a:extLst>
                <a:ext uri="{FF2B5EF4-FFF2-40B4-BE49-F238E27FC236}">
                  <a16:creationId xmlns:a16="http://schemas.microsoft.com/office/drawing/2014/main" id="{C2C28D54-ECE5-4368-8DBF-FC847EC9AD31}"/>
                </a:ext>
              </a:extLst>
            </p:cNvPr>
            <p:cNvSpPr>
              <a:spLocks noChangeArrowheads="1"/>
            </p:cNvSpPr>
            <p:nvPr/>
          </p:nvSpPr>
          <p:spPr bwMode="auto">
            <a:xfrm>
              <a:off x="334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 name="Oval 3100">
              <a:extLst>
                <a:ext uri="{FF2B5EF4-FFF2-40B4-BE49-F238E27FC236}">
                  <a16:creationId xmlns:a16="http://schemas.microsoft.com/office/drawing/2014/main" id="{3E0D7F88-52DD-4649-AA48-F2726BD1C7C1}"/>
                </a:ext>
              </a:extLst>
            </p:cNvPr>
            <p:cNvSpPr>
              <a:spLocks noChangeArrowheads="1"/>
            </p:cNvSpPr>
            <p:nvPr/>
          </p:nvSpPr>
          <p:spPr bwMode="auto">
            <a:xfrm>
              <a:off x="334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 name="Oval 3101">
              <a:extLst>
                <a:ext uri="{FF2B5EF4-FFF2-40B4-BE49-F238E27FC236}">
                  <a16:creationId xmlns:a16="http://schemas.microsoft.com/office/drawing/2014/main" id="{741568D8-EECF-4285-9E22-2563B9670EC5}"/>
                </a:ext>
              </a:extLst>
            </p:cNvPr>
            <p:cNvSpPr>
              <a:spLocks noChangeArrowheads="1"/>
            </p:cNvSpPr>
            <p:nvPr/>
          </p:nvSpPr>
          <p:spPr bwMode="auto">
            <a:xfrm>
              <a:off x="325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 name="Oval 3102">
              <a:extLst>
                <a:ext uri="{FF2B5EF4-FFF2-40B4-BE49-F238E27FC236}">
                  <a16:creationId xmlns:a16="http://schemas.microsoft.com/office/drawing/2014/main" id="{2C88DE22-466B-484B-83C3-EB80A7316A43}"/>
                </a:ext>
              </a:extLst>
            </p:cNvPr>
            <p:cNvSpPr>
              <a:spLocks noChangeArrowheads="1"/>
            </p:cNvSpPr>
            <p:nvPr/>
          </p:nvSpPr>
          <p:spPr bwMode="auto">
            <a:xfrm>
              <a:off x="319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 name="Oval 3103">
              <a:extLst>
                <a:ext uri="{FF2B5EF4-FFF2-40B4-BE49-F238E27FC236}">
                  <a16:creationId xmlns:a16="http://schemas.microsoft.com/office/drawing/2014/main" id="{632D6C77-B8F2-4DF7-908C-AA7C17C1D0D1}"/>
                </a:ext>
              </a:extLst>
            </p:cNvPr>
            <p:cNvSpPr>
              <a:spLocks noChangeArrowheads="1"/>
            </p:cNvSpPr>
            <p:nvPr/>
          </p:nvSpPr>
          <p:spPr bwMode="auto">
            <a:xfrm>
              <a:off x="31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 name="Oval 3104">
              <a:extLst>
                <a:ext uri="{FF2B5EF4-FFF2-40B4-BE49-F238E27FC236}">
                  <a16:creationId xmlns:a16="http://schemas.microsoft.com/office/drawing/2014/main" id="{6FA30C1E-2832-469B-A848-A51E2035CA6C}"/>
                </a:ext>
              </a:extLst>
            </p:cNvPr>
            <p:cNvSpPr>
              <a:spLocks noChangeArrowheads="1"/>
            </p:cNvSpPr>
            <p:nvPr/>
          </p:nvSpPr>
          <p:spPr bwMode="auto">
            <a:xfrm>
              <a:off x="319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 name="Oval 3105">
              <a:extLst>
                <a:ext uri="{FF2B5EF4-FFF2-40B4-BE49-F238E27FC236}">
                  <a16:creationId xmlns:a16="http://schemas.microsoft.com/office/drawing/2014/main" id="{F4FF75EE-B23E-43A5-BC8E-DB2C883E4D64}"/>
                </a:ext>
              </a:extLst>
            </p:cNvPr>
            <p:cNvSpPr>
              <a:spLocks noChangeArrowheads="1"/>
            </p:cNvSpPr>
            <p:nvPr/>
          </p:nvSpPr>
          <p:spPr bwMode="auto">
            <a:xfrm>
              <a:off x="319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 name="Oval 3106">
              <a:extLst>
                <a:ext uri="{FF2B5EF4-FFF2-40B4-BE49-F238E27FC236}">
                  <a16:creationId xmlns:a16="http://schemas.microsoft.com/office/drawing/2014/main" id="{480D5B41-6AF1-4804-A5C4-DF2C193074BB}"/>
                </a:ext>
              </a:extLst>
            </p:cNvPr>
            <p:cNvSpPr>
              <a:spLocks noChangeArrowheads="1"/>
            </p:cNvSpPr>
            <p:nvPr/>
          </p:nvSpPr>
          <p:spPr bwMode="auto">
            <a:xfrm>
              <a:off x="319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 name="Oval 3107">
              <a:extLst>
                <a:ext uri="{FF2B5EF4-FFF2-40B4-BE49-F238E27FC236}">
                  <a16:creationId xmlns:a16="http://schemas.microsoft.com/office/drawing/2014/main" id="{9E56211D-C50F-4F50-BACA-9C363F515CE2}"/>
                </a:ext>
              </a:extLst>
            </p:cNvPr>
            <p:cNvSpPr>
              <a:spLocks noChangeArrowheads="1"/>
            </p:cNvSpPr>
            <p:nvPr/>
          </p:nvSpPr>
          <p:spPr bwMode="auto">
            <a:xfrm>
              <a:off x="31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 name="Oval 3108">
              <a:extLst>
                <a:ext uri="{FF2B5EF4-FFF2-40B4-BE49-F238E27FC236}">
                  <a16:creationId xmlns:a16="http://schemas.microsoft.com/office/drawing/2014/main" id="{DCB71AEE-5061-4BAA-ACB5-A43DCEFC061E}"/>
                </a:ext>
              </a:extLst>
            </p:cNvPr>
            <p:cNvSpPr>
              <a:spLocks noChangeArrowheads="1"/>
            </p:cNvSpPr>
            <p:nvPr/>
          </p:nvSpPr>
          <p:spPr bwMode="auto">
            <a:xfrm>
              <a:off x="319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 name="Oval 3109">
              <a:extLst>
                <a:ext uri="{FF2B5EF4-FFF2-40B4-BE49-F238E27FC236}">
                  <a16:creationId xmlns:a16="http://schemas.microsoft.com/office/drawing/2014/main" id="{23408F82-DFF9-4482-BB77-BE36210B7EC7}"/>
                </a:ext>
              </a:extLst>
            </p:cNvPr>
            <p:cNvSpPr>
              <a:spLocks noChangeArrowheads="1"/>
            </p:cNvSpPr>
            <p:nvPr/>
          </p:nvSpPr>
          <p:spPr bwMode="auto">
            <a:xfrm>
              <a:off x="319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 name="Oval 3110">
              <a:extLst>
                <a:ext uri="{FF2B5EF4-FFF2-40B4-BE49-F238E27FC236}">
                  <a16:creationId xmlns:a16="http://schemas.microsoft.com/office/drawing/2014/main" id="{40FD7439-2733-4E9C-9E6C-BAC076285940}"/>
                </a:ext>
              </a:extLst>
            </p:cNvPr>
            <p:cNvSpPr>
              <a:spLocks noChangeArrowheads="1"/>
            </p:cNvSpPr>
            <p:nvPr/>
          </p:nvSpPr>
          <p:spPr bwMode="auto">
            <a:xfrm>
              <a:off x="316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9" name="Oval 3111">
              <a:extLst>
                <a:ext uri="{FF2B5EF4-FFF2-40B4-BE49-F238E27FC236}">
                  <a16:creationId xmlns:a16="http://schemas.microsoft.com/office/drawing/2014/main" id="{97076070-03DD-4395-BCF7-1462970E71E6}"/>
                </a:ext>
              </a:extLst>
            </p:cNvPr>
            <p:cNvSpPr>
              <a:spLocks noChangeArrowheads="1"/>
            </p:cNvSpPr>
            <p:nvPr/>
          </p:nvSpPr>
          <p:spPr bwMode="auto">
            <a:xfrm>
              <a:off x="328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0" name="Oval 3112">
              <a:extLst>
                <a:ext uri="{FF2B5EF4-FFF2-40B4-BE49-F238E27FC236}">
                  <a16:creationId xmlns:a16="http://schemas.microsoft.com/office/drawing/2014/main" id="{24342CC4-D136-40C4-8BB9-E00A5AEB88B4}"/>
                </a:ext>
              </a:extLst>
            </p:cNvPr>
            <p:cNvSpPr>
              <a:spLocks noChangeArrowheads="1"/>
            </p:cNvSpPr>
            <p:nvPr/>
          </p:nvSpPr>
          <p:spPr bwMode="auto">
            <a:xfrm>
              <a:off x="325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1" name="Oval 3113">
              <a:extLst>
                <a:ext uri="{FF2B5EF4-FFF2-40B4-BE49-F238E27FC236}">
                  <a16:creationId xmlns:a16="http://schemas.microsoft.com/office/drawing/2014/main" id="{76B186A1-D52D-4BF6-855F-254A47108EF3}"/>
                </a:ext>
              </a:extLst>
            </p:cNvPr>
            <p:cNvSpPr>
              <a:spLocks noChangeArrowheads="1"/>
            </p:cNvSpPr>
            <p:nvPr/>
          </p:nvSpPr>
          <p:spPr bwMode="auto">
            <a:xfrm>
              <a:off x="328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2" name="Oval 3114">
              <a:extLst>
                <a:ext uri="{FF2B5EF4-FFF2-40B4-BE49-F238E27FC236}">
                  <a16:creationId xmlns:a16="http://schemas.microsoft.com/office/drawing/2014/main" id="{631EA2AD-E1AD-428B-831C-8350CFB42722}"/>
                </a:ext>
              </a:extLst>
            </p:cNvPr>
            <p:cNvSpPr>
              <a:spLocks noChangeArrowheads="1"/>
            </p:cNvSpPr>
            <p:nvPr/>
          </p:nvSpPr>
          <p:spPr bwMode="auto">
            <a:xfrm>
              <a:off x="352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3" name="Oval 3115">
              <a:extLst>
                <a:ext uri="{FF2B5EF4-FFF2-40B4-BE49-F238E27FC236}">
                  <a16:creationId xmlns:a16="http://schemas.microsoft.com/office/drawing/2014/main" id="{AFB13CDD-CB16-4E94-AE72-CD768C73C36B}"/>
                </a:ext>
              </a:extLst>
            </p:cNvPr>
            <p:cNvSpPr>
              <a:spLocks noChangeArrowheads="1"/>
            </p:cNvSpPr>
            <p:nvPr/>
          </p:nvSpPr>
          <p:spPr bwMode="auto">
            <a:xfrm>
              <a:off x="352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4" name="Oval 3116">
              <a:extLst>
                <a:ext uri="{FF2B5EF4-FFF2-40B4-BE49-F238E27FC236}">
                  <a16:creationId xmlns:a16="http://schemas.microsoft.com/office/drawing/2014/main" id="{6FE7DDF3-FDC8-41BD-8EAD-6585B03FDEC1}"/>
                </a:ext>
              </a:extLst>
            </p:cNvPr>
            <p:cNvSpPr>
              <a:spLocks noChangeArrowheads="1"/>
            </p:cNvSpPr>
            <p:nvPr/>
          </p:nvSpPr>
          <p:spPr bwMode="auto">
            <a:xfrm>
              <a:off x="346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5" name="Oval 3117">
              <a:extLst>
                <a:ext uri="{FF2B5EF4-FFF2-40B4-BE49-F238E27FC236}">
                  <a16:creationId xmlns:a16="http://schemas.microsoft.com/office/drawing/2014/main" id="{AC6EB1B9-BB4D-441E-B08B-3C51A4271884}"/>
                </a:ext>
              </a:extLst>
            </p:cNvPr>
            <p:cNvSpPr>
              <a:spLocks noChangeArrowheads="1"/>
            </p:cNvSpPr>
            <p:nvPr/>
          </p:nvSpPr>
          <p:spPr bwMode="auto">
            <a:xfrm>
              <a:off x="346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6" name="Oval 3118">
              <a:extLst>
                <a:ext uri="{FF2B5EF4-FFF2-40B4-BE49-F238E27FC236}">
                  <a16:creationId xmlns:a16="http://schemas.microsoft.com/office/drawing/2014/main" id="{DF388774-65AD-46CB-B091-FEB64BB274BA}"/>
                </a:ext>
              </a:extLst>
            </p:cNvPr>
            <p:cNvSpPr>
              <a:spLocks noChangeArrowheads="1"/>
            </p:cNvSpPr>
            <p:nvPr/>
          </p:nvSpPr>
          <p:spPr bwMode="auto">
            <a:xfrm>
              <a:off x="334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7" name="Oval 3119">
              <a:extLst>
                <a:ext uri="{FF2B5EF4-FFF2-40B4-BE49-F238E27FC236}">
                  <a16:creationId xmlns:a16="http://schemas.microsoft.com/office/drawing/2014/main" id="{9F141512-EB57-42B5-A6D8-6D64A17C6878}"/>
                </a:ext>
              </a:extLst>
            </p:cNvPr>
            <p:cNvSpPr>
              <a:spLocks noChangeArrowheads="1"/>
            </p:cNvSpPr>
            <p:nvPr/>
          </p:nvSpPr>
          <p:spPr bwMode="auto">
            <a:xfrm>
              <a:off x="334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8" name="Oval 3120">
              <a:extLst>
                <a:ext uri="{FF2B5EF4-FFF2-40B4-BE49-F238E27FC236}">
                  <a16:creationId xmlns:a16="http://schemas.microsoft.com/office/drawing/2014/main" id="{8BF4BBA0-F57A-40D7-AAA2-A578869CA913}"/>
                </a:ext>
              </a:extLst>
            </p:cNvPr>
            <p:cNvSpPr>
              <a:spLocks noChangeArrowheads="1"/>
            </p:cNvSpPr>
            <p:nvPr/>
          </p:nvSpPr>
          <p:spPr bwMode="auto">
            <a:xfrm>
              <a:off x="328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49" name="Oval 3121">
              <a:extLst>
                <a:ext uri="{FF2B5EF4-FFF2-40B4-BE49-F238E27FC236}">
                  <a16:creationId xmlns:a16="http://schemas.microsoft.com/office/drawing/2014/main" id="{ABCF3096-E94C-4CA9-B214-F04F5F20E29B}"/>
                </a:ext>
              </a:extLst>
            </p:cNvPr>
            <p:cNvSpPr>
              <a:spLocks noChangeArrowheads="1"/>
            </p:cNvSpPr>
            <p:nvPr/>
          </p:nvSpPr>
          <p:spPr bwMode="auto">
            <a:xfrm>
              <a:off x="337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0" name="Oval 3122">
              <a:extLst>
                <a:ext uri="{FF2B5EF4-FFF2-40B4-BE49-F238E27FC236}">
                  <a16:creationId xmlns:a16="http://schemas.microsoft.com/office/drawing/2014/main" id="{956F11D4-590A-435C-B6FE-56576D2FFC99}"/>
                </a:ext>
              </a:extLst>
            </p:cNvPr>
            <p:cNvSpPr>
              <a:spLocks noChangeArrowheads="1"/>
            </p:cNvSpPr>
            <p:nvPr/>
          </p:nvSpPr>
          <p:spPr bwMode="auto">
            <a:xfrm>
              <a:off x="340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1" name="Oval 3123">
              <a:extLst>
                <a:ext uri="{FF2B5EF4-FFF2-40B4-BE49-F238E27FC236}">
                  <a16:creationId xmlns:a16="http://schemas.microsoft.com/office/drawing/2014/main" id="{39482BD4-30AF-4D14-ADD8-0302F2B35B7C}"/>
                </a:ext>
              </a:extLst>
            </p:cNvPr>
            <p:cNvSpPr>
              <a:spLocks noChangeArrowheads="1"/>
            </p:cNvSpPr>
            <p:nvPr/>
          </p:nvSpPr>
          <p:spPr bwMode="auto">
            <a:xfrm>
              <a:off x="36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2" name="Oval 3124">
              <a:extLst>
                <a:ext uri="{FF2B5EF4-FFF2-40B4-BE49-F238E27FC236}">
                  <a16:creationId xmlns:a16="http://schemas.microsoft.com/office/drawing/2014/main" id="{78C10F15-3A31-440C-9E6C-3009F2E892B7}"/>
                </a:ext>
              </a:extLst>
            </p:cNvPr>
            <p:cNvSpPr>
              <a:spLocks noChangeArrowheads="1"/>
            </p:cNvSpPr>
            <p:nvPr/>
          </p:nvSpPr>
          <p:spPr bwMode="auto">
            <a:xfrm>
              <a:off x="355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3" name="Oval 3125">
              <a:extLst>
                <a:ext uri="{FF2B5EF4-FFF2-40B4-BE49-F238E27FC236}">
                  <a16:creationId xmlns:a16="http://schemas.microsoft.com/office/drawing/2014/main" id="{14BDBD56-7B9E-4BBF-B7DF-42521A4CD58E}"/>
                </a:ext>
              </a:extLst>
            </p:cNvPr>
            <p:cNvSpPr>
              <a:spLocks noChangeArrowheads="1"/>
            </p:cNvSpPr>
            <p:nvPr/>
          </p:nvSpPr>
          <p:spPr bwMode="auto">
            <a:xfrm>
              <a:off x="397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4" name="Oval 3126">
              <a:extLst>
                <a:ext uri="{FF2B5EF4-FFF2-40B4-BE49-F238E27FC236}">
                  <a16:creationId xmlns:a16="http://schemas.microsoft.com/office/drawing/2014/main" id="{33EFEB66-8C1B-4437-9B7B-40130081B1C5}"/>
                </a:ext>
              </a:extLst>
            </p:cNvPr>
            <p:cNvSpPr>
              <a:spLocks noChangeArrowheads="1"/>
            </p:cNvSpPr>
            <p:nvPr/>
          </p:nvSpPr>
          <p:spPr bwMode="auto">
            <a:xfrm>
              <a:off x="379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5" name="Oval 3127">
              <a:extLst>
                <a:ext uri="{FF2B5EF4-FFF2-40B4-BE49-F238E27FC236}">
                  <a16:creationId xmlns:a16="http://schemas.microsoft.com/office/drawing/2014/main" id="{1439DFDF-E3F5-4157-A198-B3B9BEBB2939}"/>
                </a:ext>
              </a:extLst>
            </p:cNvPr>
            <p:cNvSpPr>
              <a:spLocks noChangeArrowheads="1"/>
            </p:cNvSpPr>
            <p:nvPr/>
          </p:nvSpPr>
          <p:spPr bwMode="auto">
            <a:xfrm>
              <a:off x="3914"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6" name="Oval 3128">
              <a:extLst>
                <a:ext uri="{FF2B5EF4-FFF2-40B4-BE49-F238E27FC236}">
                  <a16:creationId xmlns:a16="http://schemas.microsoft.com/office/drawing/2014/main" id="{73AFE84B-7BCB-4B4B-A24B-33CD6D9AC040}"/>
                </a:ext>
              </a:extLst>
            </p:cNvPr>
            <p:cNvSpPr>
              <a:spLocks noChangeArrowheads="1"/>
            </p:cNvSpPr>
            <p:nvPr/>
          </p:nvSpPr>
          <p:spPr bwMode="auto">
            <a:xfrm>
              <a:off x="391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7" name="Oval 3129">
              <a:extLst>
                <a:ext uri="{FF2B5EF4-FFF2-40B4-BE49-F238E27FC236}">
                  <a16:creationId xmlns:a16="http://schemas.microsoft.com/office/drawing/2014/main" id="{03DDBF90-06C2-495B-8C66-59C2EE2F601C}"/>
                </a:ext>
              </a:extLst>
            </p:cNvPr>
            <p:cNvSpPr>
              <a:spLocks noChangeArrowheads="1"/>
            </p:cNvSpPr>
            <p:nvPr/>
          </p:nvSpPr>
          <p:spPr bwMode="auto">
            <a:xfrm>
              <a:off x="379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8" name="Oval 3130">
              <a:extLst>
                <a:ext uri="{FF2B5EF4-FFF2-40B4-BE49-F238E27FC236}">
                  <a16:creationId xmlns:a16="http://schemas.microsoft.com/office/drawing/2014/main" id="{ABAA219A-6A20-4B54-A32A-66685085CE9F}"/>
                </a:ext>
              </a:extLst>
            </p:cNvPr>
            <p:cNvSpPr>
              <a:spLocks noChangeArrowheads="1"/>
            </p:cNvSpPr>
            <p:nvPr/>
          </p:nvSpPr>
          <p:spPr bwMode="auto">
            <a:xfrm>
              <a:off x="3794"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59" name="Oval 3131">
              <a:extLst>
                <a:ext uri="{FF2B5EF4-FFF2-40B4-BE49-F238E27FC236}">
                  <a16:creationId xmlns:a16="http://schemas.microsoft.com/office/drawing/2014/main" id="{1208CD22-45CD-415E-A60E-D42E9A50840E}"/>
                </a:ext>
              </a:extLst>
            </p:cNvPr>
            <p:cNvSpPr>
              <a:spLocks noChangeArrowheads="1"/>
            </p:cNvSpPr>
            <p:nvPr/>
          </p:nvSpPr>
          <p:spPr bwMode="auto">
            <a:xfrm>
              <a:off x="415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0" name="Oval 3132">
              <a:extLst>
                <a:ext uri="{FF2B5EF4-FFF2-40B4-BE49-F238E27FC236}">
                  <a16:creationId xmlns:a16="http://schemas.microsoft.com/office/drawing/2014/main" id="{E32BD1FC-DFE2-4F04-9970-16C41846F2B2}"/>
                </a:ext>
              </a:extLst>
            </p:cNvPr>
            <p:cNvSpPr>
              <a:spLocks noChangeArrowheads="1"/>
            </p:cNvSpPr>
            <p:nvPr/>
          </p:nvSpPr>
          <p:spPr bwMode="auto">
            <a:xfrm>
              <a:off x="406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1" name="Oval 3133">
              <a:extLst>
                <a:ext uri="{FF2B5EF4-FFF2-40B4-BE49-F238E27FC236}">
                  <a16:creationId xmlns:a16="http://schemas.microsoft.com/office/drawing/2014/main" id="{4DEAF68F-C1A0-40F3-B81C-29C456636CEC}"/>
                </a:ext>
              </a:extLst>
            </p:cNvPr>
            <p:cNvSpPr>
              <a:spLocks noChangeArrowheads="1"/>
            </p:cNvSpPr>
            <p:nvPr/>
          </p:nvSpPr>
          <p:spPr bwMode="auto">
            <a:xfrm>
              <a:off x="4034"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2" name="Oval 3134">
              <a:extLst>
                <a:ext uri="{FF2B5EF4-FFF2-40B4-BE49-F238E27FC236}">
                  <a16:creationId xmlns:a16="http://schemas.microsoft.com/office/drawing/2014/main" id="{2E8D36A8-1492-4779-880F-5F3E55E6504F}"/>
                </a:ext>
              </a:extLst>
            </p:cNvPr>
            <p:cNvSpPr>
              <a:spLocks noChangeArrowheads="1"/>
            </p:cNvSpPr>
            <p:nvPr/>
          </p:nvSpPr>
          <p:spPr bwMode="auto">
            <a:xfrm>
              <a:off x="3974"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3" name="Oval 3135">
              <a:extLst>
                <a:ext uri="{FF2B5EF4-FFF2-40B4-BE49-F238E27FC236}">
                  <a16:creationId xmlns:a16="http://schemas.microsoft.com/office/drawing/2014/main" id="{6037B8F9-B5C5-4BE5-AC2E-42C16F8E1463}"/>
                </a:ext>
              </a:extLst>
            </p:cNvPr>
            <p:cNvSpPr>
              <a:spLocks noChangeArrowheads="1"/>
            </p:cNvSpPr>
            <p:nvPr/>
          </p:nvSpPr>
          <p:spPr bwMode="auto">
            <a:xfrm>
              <a:off x="394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4" name="Oval 3136">
              <a:extLst>
                <a:ext uri="{FF2B5EF4-FFF2-40B4-BE49-F238E27FC236}">
                  <a16:creationId xmlns:a16="http://schemas.microsoft.com/office/drawing/2014/main" id="{27869D9F-B777-4865-ACC8-A1E7C9E8A561}"/>
                </a:ext>
              </a:extLst>
            </p:cNvPr>
            <p:cNvSpPr>
              <a:spLocks noChangeArrowheads="1"/>
            </p:cNvSpPr>
            <p:nvPr/>
          </p:nvSpPr>
          <p:spPr bwMode="auto">
            <a:xfrm>
              <a:off x="379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5" name="Oval 3137">
              <a:extLst>
                <a:ext uri="{FF2B5EF4-FFF2-40B4-BE49-F238E27FC236}">
                  <a16:creationId xmlns:a16="http://schemas.microsoft.com/office/drawing/2014/main" id="{747473D0-1C1D-45D6-88C2-35E4881538C6}"/>
                </a:ext>
              </a:extLst>
            </p:cNvPr>
            <p:cNvSpPr>
              <a:spLocks noChangeArrowheads="1"/>
            </p:cNvSpPr>
            <p:nvPr/>
          </p:nvSpPr>
          <p:spPr bwMode="auto">
            <a:xfrm>
              <a:off x="385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6" name="Oval 3138">
              <a:extLst>
                <a:ext uri="{FF2B5EF4-FFF2-40B4-BE49-F238E27FC236}">
                  <a16:creationId xmlns:a16="http://schemas.microsoft.com/office/drawing/2014/main" id="{408CF557-BF71-47C2-8A29-DCFB92ED8884}"/>
                </a:ext>
              </a:extLst>
            </p:cNvPr>
            <p:cNvSpPr>
              <a:spLocks noChangeArrowheads="1"/>
            </p:cNvSpPr>
            <p:nvPr/>
          </p:nvSpPr>
          <p:spPr bwMode="auto">
            <a:xfrm>
              <a:off x="3764"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7" name="Oval 3139">
              <a:extLst>
                <a:ext uri="{FF2B5EF4-FFF2-40B4-BE49-F238E27FC236}">
                  <a16:creationId xmlns:a16="http://schemas.microsoft.com/office/drawing/2014/main" id="{548F849D-72FB-41BC-A40C-A3F3128F783E}"/>
                </a:ext>
              </a:extLst>
            </p:cNvPr>
            <p:cNvSpPr>
              <a:spLocks noChangeArrowheads="1"/>
            </p:cNvSpPr>
            <p:nvPr/>
          </p:nvSpPr>
          <p:spPr bwMode="auto">
            <a:xfrm>
              <a:off x="3705" y="24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8" name="Oval 3140">
              <a:extLst>
                <a:ext uri="{FF2B5EF4-FFF2-40B4-BE49-F238E27FC236}">
                  <a16:creationId xmlns:a16="http://schemas.microsoft.com/office/drawing/2014/main" id="{AFB0A7FD-CB7D-4870-A7D8-6647E0BF6A65}"/>
                </a:ext>
              </a:extLst>
            </p:cNvPr>
            <p:cNvSpPr>
              <a:spLocks noChangeArrowheads="1"/>
            </p:cNvSpPr>
            <p:nvPr/>
          </p:nvSpPr>
          <p:spPr bwMode="auto">
            <a:xfrm>
              <a:off x="367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69" name="Oval 3141">
              <a:extLst>
                <a:ext uri="{FF2B5EF4-FFF2-40B4-BE49-F238E27FC236}">
                  <a16:creationId xmlns:a16="http://schemas.microsoft.com/office/drawing/2014/main" id="{9F014254-CF72-459E-8A14-F8CAF4891A73}"/>
                </a:ext>
              </a:extLst>
            </p:cNvPr>
            <p:cNvSpPr>
              <a:spLocks noChangeArrowheads="1"/>
            </p:cNvSpPr>
            <p:nvPr/>
          </p:nvSpPr>
          <p:spPr bwMode="auto">
            <a:xfrm>
              <a:off x="361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0" name="Oval 3142">
              <a:extLst>
                <a:ext uri="{FF2B5EF4-FFF2-40B4-BE49-F238E27FC236}">
                  <a16:creationId xmlns:a16="http://schemas.microsoft.com/office/drawing/2014/main" id="{EA16A2CB-03D7-4627-B051-9EBBA8FA87D4}"/>
                </a:ext>
              </a:extLst>
            </p:cNvPr>
            <p:cNvSpPr>
              <a:spLocks noChangeArrowheads="1"/>
            </p:cNvSpPr>
            <p:nvPr/>
          </p:nvSpPr>
          <p:spPr bwMode="auto">
            <a:xfrm>
              <a:off x="355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1" name="Oval 3143">
              <a:extLst>
                <a:ext uri="{FF2B5EF4-FFF2-40B4-BE49-F238E27FC236}">
                  <a16:creationId xmlns:a16="http://schemas.microsoft.com/office/drawing/2014/main" id="{6B9566A2-1829-4BF2-B99D-E7A8FA187ACE}"/>
                </a:ext>
              </a:extLst>
            </p:cNvPr>
            <p:cNvSpPr>
              <a:spLocks noChangeArrowheads="1"/>
            </p:cNvSpPr>
            <p:nvPr/>
          </p:nvSpPr>
          <p:spPr bwMode="auto">
            <a:xfrm>
              <a:off x="346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2" name="Oval 3144">
              <a:extLst>
                <a:ext uri="{FF2B5EF4-FFF2-40B4-BE49-F238E27FC236}">
                  <a16:creationId xmlns:a16="http://schemas.microsoft.com/office/drawing/2014/main" id="{C796ABDD-52BC-45B9-A861-46663161B22B}"/>
                </a:ext>
              </a:extLst>
            </p:cNvPr>
            <p:cNvSpPr>
              <a:spLocks noChangeArrowheads="1"/>
            </p:cNvSpPr>
            <p:nvPr/>
          </p:nvSpPr>
          <p:spPr bwMode="auto">
            <a:xfrm>
              <a:off x="343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3" name="Oval 3145">
              <a:extLst>
                <a:ext uri="{FF2B5EF4-FFF2-40B4-BE49-F238E27FC236}">
                  <a16:creationId xmlns:a16="http://schemas.microsoft.com/office/drawing/2014/main" id="{DDB2CB2A-A8AE-4ACF-A60C-6798B236E204}"/>
                </a:ext>
              </a:extLst>
            </p:cNvPr>
            <p:cNvSpPr>
              <a:spLocks noChangeArrowheads="1"/>
            </p:cNvSpPr>
            <p:nvPr/>
          </p:nvSpPr>
          <p:spPr bwMode="auto">
            <a:xfrm>
              <a:off x="39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4" name="Oval 3146">
              <a:extLst>
                <a:ext uri="{FF2B5EF4-FFF2-40B4-BE49-F238E27FC236}">
                  <a16:creationId xmlns:a16="http://schemas.microsoft.com/office/drawing/2014/main" id="{64B06CCF-D385-4A3A-93B4-EACEF6A9B636}"/>
                </a:ext>
              </a:extLst>
            </p:cNvPr>
            <p:cNvSpPr>
              <a:spLocks noChangeArrowheads="1"/>
            </p:cNvSpPr>
            <p:nvPr/>
          </p:nvSpPr>
          <p:spPr bwMode="auto">
            <a:xfrm>
              <a:off x="382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5" name="Oval 3147">
              <a:extLst>
                <a:ext uri="{FF2B5EF4-FFF2-40B4-BE49-F238E27FC236}">
                  <a16:creationId xmlns:a16="http://schemas.microsoft.com/office/drawing/2014/main" id="{41C7706B-9709-4325-84F1-9342A3587728}"/>
                </a:ext>
              </a:extLst>
            </p:cNvPr>
            <p:cNvSpPr>
              <a:spLocks noChangeArrowheads="1"/>
            </p:cNvSpPr>
            <p:nvPr/>
          </p:nvSpPr>
          <p:spPr bwMode="auto">
            <a:xfrm>
              <a:off x="3705" y="21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6" name="Oval 3148">
              <a:extLst>
                <a:ext uri="{FF2B5EF4-FFF2-40B4-BE49-F238E27FC236}">
                  <a16:creationId xmlns:a16="http://schemas.microsoft.com/office/drawing/2014/main" id="{C46B6DED-A5F4-4661-862F-C116A847456F}"/>
                </a:ext>
              </a:extLst>
            </p:cNvPr>
            <p:cNvSpPr>
              <a:spLocks noChangeArrowheads="1"/>
            </p:cNvSpPr>
            <p:nvPr/>
          </p:nvSpPr>
          <p:spPr bwMode="auto">
            <a:xfrm>
              <a:off x="36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7" name="Oval 3149">
              <a:extLst>
                <a:ext uri="{FF2B5EF4-FFF2-40B4-BE49-F238E27FC236}">
                  <a16:creationId xmlns:a16="http://schemas.microsoft.com/office/drawing/2014/main" id="{DBD97C2D-49B5-4319-94B3-5C225B2C8577}"/>
                </a:ext>
              </a:extLst>
            </p:cNvPr>
            <p:cNvSpPr>
              <a:spLocks noChangeArrowheads="1"/>
            </p:cNvSpPr>
            <p:nvPr/>
          </p:nvSpPr>
          <p:spPr bwMode="auto">
            <a:xfrm>
              <a:off x="4154"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8" name="Oval 3150">
              <a:extLst>
                <a:ext uri="{FF2B5EF4-FFF2-40B4-BE49-F238E27FC236}">
                  <a16:creationId xmlns:a16="http://schemas.microsoft.com/office/drawing/2014/main" id="{2D592E64-3FC0-4CC5-B469-F6309688C028}"/>
                </a:ext>
              </a:extLst>
            </p:cNvPr>
            <p:cNvSpPr>
              <a:spLocks noChangeArrowheads="1"/>
            </p:cNvSpPr>
            <p:nvPr/>
          </p:nvSpPr>
          <p:spPr bwMode="auto">
            <a:xfrm>
              <a:off x="4274"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79" name="Oval 3151">
              <a:extLst>
                <a:ext uri="{FF2B5EF4-FFF2-40B4-BE49-F238E27FC236}">
                  <a16:creationId xmlns:a16="http://schemas.microsoft.com/office/drawing/2014/main" id="{D0C42C0E-52F0-4B4C-BC56-EE66BF5F1B00}"/>
                </a:ext>
              </a:extLst>
            </p:cNvPr>
            <p:cNvSpPr>
              <a:spLocks noChangeArrowheads="1"/>
            </p:cNvSpPr>
            <p:nvPr/>
          </p:nvSpPr>
          <p:spPr bwMode="auto">
            <a:xfrm>
              <a:off x="409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0" name="Oval 3152">
              <a:extLst>
                <a:ext uri="{FF2B5EF4-FFF2-40B4-BE49-F238E27FC236}">
                  <a16:creationId xmlns:a16="http://schemas.microsoft.com/office/drawing/2014/main" id="{17C83D7F-03C3-4476-BA3C-0F080273188F}"/>
                </a:ext>
              </a:extLst>
            </p:cNvPr>
            <p:cNvSpPr>
              <a:spLocks noChangeArrowheads="1"/>
            </p:cNvSpPr>
            <p:nvPr/>
          </p:nvSpPr>
          <p:spPr bwMode="auto">
            <a:xfrm>
              <a:off x="397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1" name="Oval 3153">
              <a:extLst>
                <a:ext uri="{FF2B5EF4-FFF2-40B4-BE49-F238E27FC236}">
                  <a16:creationId xmlns:a16="http://schemas.microsoft.com/office/drawing/2014/main" id="{1F474DF2-9991-4D5C-9001-DD4B8A1E6269}"/>
                </a:ext>
              </a:extLst>
            </p:cNvPr>
            <p:cNvSpPr>
              <a:spLocks noChangeArrowheads="1"/>
            </p:cNvSpPr>
            <p:nvPr/>
          </p:nvSpPr>
          <p:spPr bwMode="auto">
            <a:xfrm>
              <a:off x="385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2" name="Oval 3154">
              <a:extLst>
                <a:ext uri="{FF2B5EF4-FFF2-40B4-BE49-F238E27FC236}">
                  <a16:creationId xmlns:a16="http://schemas.microsoft.com/office/drawing/2014/main" id="{6525495E-7377-42AF-9A4D-21FFF5F9922C}"/>
                </a:ext>
              </a:extLst>
            </p:cNvPr>
            <p:cNvSpPr>
              <a:spLocks noChangeArrowheads="1"/>
            </p:cNvSpPr>
            <p:nvPr/>
          </p:nvSpPr>
          <p:spPr bwMode="auto">
            <a:xfrm>
              <a:off x="3794"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3" name="Oval 3155">
              <a:extLst>
                <a:ext uri="{FF2B5EF4-FFF2-40B4-BE49-F238E27FC236}">
                  <a16:creationId xmlns:a16="http://schemas.microsoft.com/office/drawing/2014/main" id="{F15CEBEA-69F1-4FDC-9566-428B98F8C106}"/>
                </a:ext>
              </a:extLst>
            </p:cNvPr>
            <p:cNvSpPr>
              <a:spLocks noChangeArrowheads="1"/>
            </p:cNvSpPr>
            <p:nvPr/>
          </p:nvSpPr>
          <p:spPr bwMode="auto">
            <a:xfrm>
              <a:off x="36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4" name="Oval 3156">
              <a:extLst>
                <a:ext uri="{FF2B5EF4-FFF2-40B4-BE49-F238E27FC236}">
                  <a16:creationId xmlns:a16="http://schemas.microsoft.com/office/drawing/2014/main" id="{CD233AA1-42FB-4EDA-8C33-41BA28A9EA17}"/>
                </a:ext>
              </a:extLst>
            </p:cNvPr>
            <p:cNvSpPr>
              <a:spLocks noChangeArrowheads="1"/>
            </p:cNvSpPr>
            <p:nvPr/>
          </p:nvSpPr>
          <p:spPr bwMode="auto">
            <a:xfrm>
              <a:off x="409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5" name="Oval 3157">
              <a:extLst>
                <a:ext uri="{FF2B5EF4-FFF2-40B4-BE49-F238E27FC236}">
                  <a16:creationId xmlns:a16="http://schemas.microsoft.com/office/drawing/2014/main" id="{9B543C88-9439-4561-B8CE-F07E2B549667}"/>
                </a:ext>
              </a:extLst>
            </p:cNvPr>
            <p:cNvSpPr>
              <a:spLocks noChangeArrowheads="1"/>
            </p:cNvSpPr>
            <p:nvPr/>
          </p:nvSpPr>
          <p:spPr bwMode="auto">
            <a:xfrm>
              <a:off x="400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6" name="Oval 3158">
              <a:extLst>
                <a:ext uri="{FF2B5EF4-FFF2-40B4-BE49-F238E27FC236}">
                  <a16:creationId xmlns:a16="http://schemas.microsoft.com/office/drawing/2014/main" id="{4196B4CC-26C7-4ADE-AED1-7979B4F1455A}"/>
                </a:ext>
              </a:extLst>
            </p:cNvPr>
            <p:cNvSpPr>
              <a:spLocks noChangeArrowheads="1"/>
            </p:cNvSpPr>
            <p:nvPr/>
          </p:nvSpPr>
          <p:spPr bwMode="auto">
            <a:xfrm>
              <a:off x="415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7" name="Oval 3159">
              <a:extLst>
                <a:ext uri="{FF2B5EF4-FFF2-40B4-BE49-F238E27FC236}">
                  <a16:creationId xmlns:a16="http://schemas.microsoft.com/office/drawing/2014/main" id="{BEBDCC3E-40C4-4B6E-B6FA-B8B385C86226}"/>
                </a:ext>
              </a:extLst>
            </p:cNvPr>
            <p:cNvSpPr>
              <a:spLocks noChangeArrowheads="1"/>
            </p:cNvSpPr>
            <p:nvPr/>
          </p:nvSpPr>
          <p:spPr bwMode="auto">
            <a:xfrm>
              <a:off x="424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8" name="Oval 3160">
              <a:extLst>
                <a:ext uri="{FF2B5EF4-FFF2-40B4-BE49-F238E27FC236}">
                  <a16:creationId xmlns:a16="http://schemas.microsoft.com/office/drawing/2014/main" id="{2F7765C7-AAA7-4F24-A661-6A509629FD5D}"/>
                </a:ext>
              </a:extLst>
            </p:cNvPr>
            <p:cNvSpPr>
              <a:spLocks noChangeArrowheads="1"/>
            </p:cNvSpPr>
            <p:nvPr/>
          </p:nvSpPr>
          <p:spPr bwMode="auto">
            <a:xfrm>
              <a:off x="427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89" name="Oval 3161">
              <a:extLst>
                <a:ext uri="{FF2B5EF4-FFF2-40B4-BE49-F238E27FC236}">
                  <a16:creationId xmlns:a16="http://schemas.microsoft.com/office/drawing/2014/main" id="{A4184BEE-7F68-4A89-9D05-21114C1EA977}"/>
                </a:ext>
              </a:extLst>
            </p:cNvPr>
            <p:cNvSpPr>
              <a:spLocks noChangeArrowheads="1"/>
            </p:cNvSpPr>
            <p:nvPr/>
          </p:nvSpPr>
          <p:spPr bwMode="auto">
            <a:xfrm>
              <a:off x="4124"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0" name="Oval 3162">
              <a:extLst>
                <a:ext uri="{FF2B5EF4-FFF2-40B4-BE49-F238E27FC236}">
                  <a16:creationId xmlns:a16="http://schemas.microsoft.com/office/drawing/2014/main" id="{0F9AE5ED-D763-4852-B39A-A370A2362C80}"/>
                </a:ext>
              </a:extLst>
            </p:cNvPr>
            <p:cNvSpPr>
              <a:spLocks noChangeArrowheads="1"/>
            </p:cNvSpPr>
            <p:nvPr/>
          </p:nvSpPr>
          <p:spPr bwMode="auto">
            <a:xfrm>
              <a:off x="394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1" name="Oval 3163">
              <a:extLst>
                <a:ext uri="{FF2B5EF4-FFF2-40B4-BE49-F238E27FC236}">
                  <a16:creationId xmlns:a16="http://schemas.microsoft.com/office/drawing/2014/main" id="{4F511F07-1C44-4B4E-91AC-4DD2B96BBEAA}"/>
                </a:ext>
              </a:extLst>
            </p:cNvPr>
            <p:cNvSpPr>
              <a:spLocks noChangeArrowheads="1"/>
            </p:cNvSpPr>
            <p:nvPr/>
          </p:nvSpPr>
          <p:spPr bwMode="auto">
            <a:xfrm>
              <a:off x="3884"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2" name="Oval 3164">
              <a:extLst>
                <a:ext uri="{FF2B5EF4-FFF2-40B4-BE49-F238E27FC236}">
                  <a16:creationId xmlns:a16="http://schemas.microsoft.com/office/drawing/2014/main" id="{82EC87E2-8ABB-443D-9475-28FF7D6708E8}"/>
                </a:ext>
              </a:extLst>
            </p:cNvPr>
            <p:cNvSpPr>
              <a:spLocks noChangeArrowheads="1"/>
            </p:cNvSpPr>
            <p:nvPr/>
          </p:nvSpPr>
          <p:spPr bwMode="auto">
            <a:xfrm>
              <a:off x="376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3" name="Oval 3165">
              <a:extLst>
                <a:ext uri="{FF2B5EF4-FFF2-40B4-BE49-F238E27FC236}">
                  <a16:creationId xmlns:a16="http://schemas.microsoft.com/office/drawing/2014/main" id="{B26017C5-8AFB-473E-BD8F-475F43EC5AC7}"/>
                </a:ext>
              </a:extLst>
            </p:cNvPr>
            <p:cNvSpPr>
              <a:spLocks noChangeArrowheads="1"/>
            </p:cNvSpPr>
            <p:nvPr/>
          </p:nvSpPr>
          <p:spPr bwMode="auto">
            <a:xfrm>
              <a:off x="3705" y="30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4" name="Oval 3166">
              <a:extLst>
                <a:ext uri="{FF2B5EF4-FFF2-40B4-BE49-F238E27FC236}">
                  <a16:creationId xmlns:a16="http://schemas.microsoft.com/office/drawing/2014/main" id="{4CB15A29-5280-4776-BE83-C9D6251AA14C}"/>
                </a:ext>
              </a:extLst>
            </p:cNvPr>
            <p:cNvSpPr>
              <a:spLocks noChangeArrowheads="1"/>
            </p:cNvSpPr>
            <p:nvPr/>
          </p:nvSpPr>
          <p:spPr bwMode="auto">
            <a:xfrm>
              <a:off x="349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5" name="Oval 3167">
              <a:extLst>
                <a:ext uri="{FF2B5EF4-FFF2-40B4-BE49-F238E27FC236}">
                  <a16:creationId xmlns:a16="http://schemas.microsoft.com/office/drawing/2014/main" id="{CF0CF265-CE24-4D3F-A5D0-56D2D5605A3B}"/>
                </a:ext>
              </a:extLst>
            </p:cNvPr>
            <p:cNvSpPr>
              <a:spLocks noChangeArrowheads="1"/>
            </p:cNvSpPr>
            <p:nvPr/>
          </p:nvSpPr>
          <p:spPr bwMode="auto">
            <a:xfrm>
              <a:off x="358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96" name="Oval 3168">
              <a:extLst>
                <a:ext uri="{FF2B5EF4-FFF2-40B4-BE49-F238E27FC236}">
                  <a16:creationId xmlns:a16="http://schemas.microsoft.com/office/drawing/2014/main" id="{0ECD6513-C38E-4C37-B86F-E7EF73929BD2}"/>
                </a:ext>
              </a:extLst>
            </p:cNvPr>
            <p:cNvSpPr>
              <a:spLocks noChangeArrowheads="1"/>
            </p:cNvSpPr>
            <p:nvPr/>
          </p:nvSpPr>
          <p:spPr bwMode="auto">
            <a:xfrm>
              <a:off x="355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sp>
        <p:nvSpPr>
          <p:cNvPr id="208" name="Rectangle 207">
            <a:extLst>
              <a:ext uri="{FF2B5EF4-FFF2-40B4-BE49-F238E27FC236}">
                <a16:creationId xmlns:a16="http://schemas.microsoft.com/office/drawing/2014/main" id="{7F4EFE43-4D40-4D02-BED2-D8C031A9C0F9}"/>
              </a:ext>
            </a:extLst>
          </p:cNvPr>
          <p:cNvSpPr/>
          <p:nvPr/>
        </p:nvSpPr>
        <p:spPr>
          <a:xfrm>
            <a:off x="-1409" y="0"/>
            <a:ext cx="3048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3" name="TextBox 22">
            <a:extLst>
              <a:ext uri="{FF2B5EF4-FFF2-40B4-BE49-F238E27FC236}">
                <a16:creationId xmlns:a16="http://schemas.microsoft.com/office/drawing/2014/main" id="{CF3393CF-03E8-4CF0-A5FC-11D4DD9F6333}"/>
              </a:ext>
            </a:extLst>
          </p:cNvPr>
          <p:cNvSpPr txBox="1"/>
          <p:nvPr/>
        </p:nvSpPr>
        <p:spPr>
          <a:xfrm>
            <a:off x="386201" y="1228846"/>
            <a:ext cx="3087776" cy="1477328"/>
          </a:xfrm>
          <a:prstGeom prst="rect">
            <a:avLst/>
          </a:prstGeom>
          <a:noFill/>
        </p:spPr>
        <p:txBody>
          <a:bodyPr wrap="square" rtlCol="0" anchor="ctr">
            <a:spAutoFit/>
          </a:bodyPr>
          <a:lstStyle/>
          <a:p>
            <a:pPr marL="0" marR="0" lvl="0" indent="0" algn="l" defTabSz="685783" rtl="0" eaLnBrk="1" fontAlgn="base" latinLnBrk="0" hangingPunct="1">
              <a:lnSpc>
                <a:spcPct val="90000"/>
              </a:lnSpc>
              <a:spcBef>
                <a:spcPts val="600"/>
              </a:spcBef>
              <a:spcAft>
                <a:spcPct val="0"/>
              </a:spcAft>
              <a:buClrTx/>
              <a:buSzTx/>
              <a:buFontTx/>
              <a:buNone/>
              <a:tabLst/>
              <a:defRPr/>
            </a:pPr>
            <a:r>
              <a:rPr kumimoji="0" lang="en-US" sz="2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Visibility: </a:t>
            </a:r>
            <a:br>
              <a:rPr kumimoji="0" lang="en-US" sz="2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br>
            <a:r>
              <a:rPr kumimoji="0" lang="en-US" sz="2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See Across </a:t>
            </a:r>
            <a:br>
              <a:rPr kumimoji="0" lang="en-US" sz="2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br>
            <a:r>
              <a:rPr kumimoji="0" lang="en-US" sz="2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the Enterprise </a:t>
            </a:r>
            <a:br>
              <a:rPr kumimoji="0" lang="en-US" sz="2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br>
            <a:r>
              <a:rPr kumimoji="0" lang="en-US" sz="2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Network</a:t>
            </a:r>
          </a:p>
        </p:txBody>
      </p:sp>
      <p:sp>
        <p:nvSpPr>
          <p:cNvPr id="36" name="TextBox 35">
            <a:extLst>
              <a:ext uri="{FF2B5EF4-FFF2-40B4-BE49-F238E27FC236}">
                <a16:creationId xmlns:a16="http://schemas.microsoft.com/office/drawing/2014/main" id="{FCC2024E-4C1C-491C-89B0-E218DD07924A}"/>
              </a:ext>
            </a:extLst>
          </p:cNvPr>
          <p:cNvSpPr txBox="1"/>
          <p:nvPr/>
        </p:nvSpPr>
        <p:spPr>
          <a:xfrm>
            <a:off x="470129"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01</a:t>
            </a:r>
          </a:p>
        </p:txBody>
      </p:sp>
      <p:sp>
        <p:nvSpPr>
          <p:cNvPr id="37" name="TextBox 36">
            <a:extLst>
              <a:ext uri="{FF2B5EF4-FFF2-40B4-BE49-F238E27FC236}">
                <a16:creationId xmlns:a16="http://schemas.microsoft.com/office/drawing/2014/main" id="{66B1CDC2-09F5-46B2-8C85-49C88B6107BE}"/>
              </a:ext>
            </a:extLst>
          </p:cNvPr>
          <p:cNvSpPr txBox="1"/>
          <p:nvPr/>
        </p:nvSpPr>
        <p:spPr>
          <a:xfrm>
            <a:off x="1624281"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00BCEB">
                    <a:lumMod val="75000"/>
                  </a:srgbClr>
                </a:solidFill>
                <a:effectLst/>
                <a:uLnTx/>
                <a:uFillTx/>
                <a:latin typeface="CiscoSans ExtraLight" charset="0"/>
                <a:ea typeface="CiscoSans ExtraLight" charset="0"/>
                <a:cs typeface="CiscoSans ExtraLight" charset="0"/>
              </a:rPr>
              <a:t>03</a:t>
            </a:r>
          </a:p>
        </p:txBody>
      </p:sp>
      <p:sp>
        <p:nvSpPr>
          <p:cNvPr id="38" name="TextBox 37">
            <a:extLst>
              <a:ext uri="{FF2B5EF4-FFF2-40B4-BE49-F238E27FC236}">
                <a16:creationId xmlns:a16="http://schemas.microsoft.com/office/drawing/2014/main" id="{973EDB0B-5B05-4D71-ABD7-10D5C483FEC6}"/>
              </a:ext>
            </a:extLst>
          </p:cNvPr>
          <p:cNvSpPr txBox="1"/>
          <p:nvPr/>
        </p:nvSpPr>
        <p:spPr>
          <a:xfrm>
            <a:off x="1047205"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00BCEB">
                    <a:lumMod val="75000"/>
                  </a:srgbClr>
                </a:solidFill>
                <a:effectLst/>
                <a:uLnTx/>
                <a:uFillTx/>
                <a:latin typeface="CiscoSans ExtraLight" charset="0"/>
                <a:ea typeface="CiscoSans ExtraLight" charset="0"/>
                <a:cs typeface="CiscoSans ExtraLight" charset="0"/>
              </a:rPr>
              <a:t>02</a:t>
            </a:r>
          </a:p>
        </p:txBody>
      </p:sp>
      <p:grpSp>
        <p:nvGrpSpPr>
          <p:cNvPr id="29" name="Group 28">
            <a:extLst>
              <a:ext uri="{FF2B5EF4-FFF2-40B4-BE49-F238E27FC236}">
                <a16:creationId xmlns:a16="http://schemas.microsoft.com/office/drawing/2014/main" id="{87E70065-45E0-4FA6-AA09-27E3B9D1C080}"/>
              </a:ext>
            </a:extLst>
          </p:cNvPr>
          <p:cNvGrpSpPr/>
          <p:nvPr/>
        </p:nvGrpSpPr>
        <p:grpSpPr>
          <a:xfrm>
            <a:off x="1064458" y="710972"/>
            <a:ext cx="457390" cy="457390"/>
            <a:chOff x="1176043" y="485585"/>
            <a:chExt cx="457390" cy="457390"/>
          </a:xfrm>
        </p:grpSpPr>
        <p:sp>
          <p:nvSpPr>
            <p:cNvPr id="145" name="Oval 144">
              <a:extLst>
                <a:ext uri="{FF2B5EF4-FFF2-40B4-BE49-F238E27FC236}">
                  <a16:creationId xmlns:a16="http://schemas.microsoft.com/office/drawing/2014/main" id="{0E7507E6-D844-4F56-92A0-3B2CEB3CBC0D}"/>
                </a:ext>
              </a:extLst>
            </p:cNvPr>
            <p:cNvSpPr/>
            <p:nvPr/>
          </p:nvSpPr>
          <p:spPr>
            <a:xfrm>
              <a:off x="1176043"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65" name="Group 64"/>
            <p:cNvGrpSpPr/>
            <p:nvPr/>
          </p:nvGrpSpPr>
          <p:grpSpPr>
            <a:xfrm>
              <a:off x="1230721" y="544915"/>
              <a:ext cx="349271" cy="349271"/>
              <a:chOff x="2581275" y="2152858"/>
              <a:chExt cx="933450" cy="933450"/>
            </a:xfrm>
          </p:grpSpPr>
          <p:sp>
            <p:nvSpPr>
              <p:cNvPr id="7" name="Freeform 5"/>
              <p:cNvSpPr>
                <a:spLocks/>
              </p:cNvSpPr>
              <p:nvPr/>
            </p:nvSpPr>
            <p:spPr bwMode="auto">
              <a:xfrm>
                <a:off x="2581275" y="2152858"/>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nvGrpSpPr>
              <p:cNvPr id="26" name="Group 25"/>
              <p:cNvGrpSpPr/>
              <p:nvPr/>
            </p:nvGrpSpPr>
            <p:grpSpPr>
              <a:xfrm>
                <a:off x="2728913" y="2324308"/>
                <a:ext cx="638175" cy="590551"/>
                <a:chOff x="2728913" y="2324100"/>
                <a:chExt cx="638175" cy="590551"/>
              </a:xfrm>
              <a:solidFill>
                <a:schemeClr val="accent1">
                  <a:lumMod val="75000"/>
                  <a:alpha val="40000"/>
                </a:schemeClr>
              </a:solidFill>
            </p:grpSpPr>
            <p:sp>
              <p:nvSpPr>
                <p:cNvPr id="8" name="Freeform 6"/>
                <p:cNvSpPr>
                  <a:spLocks noEditPoints="1"/>
                </p:cNvSpPr>
                <p:nvPr/>
              </p:nvSpPr>
              <p:spPr bwMode="auto">
                <a:xfrm>
                  <a:off x="2728913" y="2324100"/>
                  <a:ext cx="638175" cy="333375"/>
                </a:xfrm>
                <a:custGeom>
                  <a:avLst/>
                  <a:gdLst>
                    <a:gd name="T0" fmla="*/ 237 w 864"/>
                    <a:gd name="T1" fmla="*/ 452 h 452"/>
                    <a:gd name="T2" fmla="*/ 628 w 864"/>
                    <a:gd name="T3" fmla="*/ 452 h 452"/>
                    <a:gd name="T4" fmla="*/ 835 w 864"/>
                    <a:gd name="T5" fmla="*/ 452 h 452"/>
                    <a:gd name="T6" fmla="*/ 864 w 864"/>
                    <a:gd name="T7" fmla="*/ 412 h 452"/>
                    <a:gd name="T8" fmla="*/ 788 w 864"/>
                    <a:gd name="T9" fmla="*/ 188 h 452"/>
                    <a:gd name="T10" fmla="*/ 749 w 864"/>
                    <a:gd name="T11" fmla="*/ 139 h 452"/>
                    <a:gd name="T12" fmla="*/ 721 w 864"/>
                    <a:gd name="T13" fmla="*/ 111 h 452"/>
                    <a:gd name="T14" fmla="*/ 701 w 864"/>
                    <a:gd name="T15" fmla="*/ 94 h 452"/>
                    <a:gd name="T16" fmla="*/ 680 w 864"/>
                    <a:gd name="T17" fmla="*/ 79 h 452"/>
                    <a:gd name="T18" fmla="*/ 660 w 864"/>
                    <a:gd name="T19" fmla="*/ 65 h 452"/>
                    <a:gd name="T20" fmla="*/ 636 w 864"/>
                    <a:gd name="T21" fmla="*/ 51 h 452"/>
                    <a:gd name="T22" fmla="*/ 615 w 864"/>
                    <a:gd name="T23" fmla="*/ 41 h 452"/>
                    <a:gd name="T24" fmla="*/ 601 w 864"/>
                    <a:gd name="T25" fmla="*/ 35 h 452"/>
                    <a:gd name="T26" fmla="*/ 578 w 864"/>
                    <a:gd name="T27" fmla="*/ 26 h 452"/>
                    <a:gd name="T28" fmla="*/ 563 w 864"/>
                    <a:gd name="T29" fmla="*/ 21 h 452"/>
                    <a:gd name="T30" fmla="*/ 540 w 864"/>
                    <a:gd name="T31" fmla="*/ 14 h 452"/>
                    <a:gd name="T32" fmla="*/ 524 w 864"/>
                    <a:gd name="T33" fmla="*/ 10 h 452"/>
                    <a:gd name="T34" fmla="*/ 503 w 864"/>
                    <a:gd name="T35" fmla="*/ 6 h 452"/>
                    <a:gd name="T36" fmla="*/ 486 w 864"/>
                    <a:gd name="T37" fmla="*/ 4 h 452"/>
                    <a:gd name="T38" fmla="*/ 462 w 864"/>
                    <a:gd name="T39" fmla="*/ 1 h 452"/>
                    <a:gd name="T40" fmla="*/ 452 w 864"/>
                    <a:gd name="T41" fmla="*/ 0 h 452"/>
                    <a:gd name="T42" fmla="*/ 407 w 864"/>
                    <a:gd name="T43" fmla="*/ 1 h 452"/>
                    <a:gd name="T44" fmla="*/ 390 w 864"/>
                    <a:gd name="T45" fmla="*/ 2 h 452"/>
                    <a:gd name="T46" fmla="*/ 365 w 864"/>
                    <a:gd name="T47" fmla="*/ 5 h 452"/>
                    <a:gd name="T48" fmla="*/ 349 w 864"/>
                    <a:gd name="T49" fmla="*/ 8 h 452"/>
                    <a:gd name="T50" fmla="*/ 327 w 864"/>
                    <a:gd name="T51" fmla="*/ 13 h 452"/>
                    <a:gd name="T52" fmla="*/ 311 w 864"/>
                    <a:gd name="T53" fmla="*/ 18 h 452"/>
                    <a:gd name="T54" fmla="*/ 289 w 864"/>
                    <a:gd name="T55" fmla="*/ 25 h 452"/>
                    <a:gd name="T56" fmla="*/ 275 w 864"/>
                    <a:gd name="T57" fmla="*/ 30 h 452"/>
                    <a:gd name="T58" fmla="*/ 252 w 864"/>
                    <a:gd name="T59" fmla="*/ 40 h 452"/>
                    <a:gd name="T60" fmla="*/ 238 w 864"/>
                    <a:gd name="T61" fmla="*/ 46 h 452"/>
                    <a:gd name="T62" fmla="*/ 206 w 864"/>
                    <a:gd name="T63" fmla="*/ 64 h 452"/>
                    <a:gd name="T64" fmla="*/ 194 w 864"/>
                    <a:gd name="T65" fmla="*/ 72 h 452"/>
                    <a:gd name="T66" fmla="*/ 164 w 864"/>
                    <a:gd name="T67" fmla="*/ 94 h 452"/>
                    <a:gd name="T68" fmla="*/ 153 w 864"/>
                    <a:gd name="T69" fmla="*/ 103 h 452"/>
                    <a:gd name="T70" fmla="*/ 117 w 864"/>
                    <a:gd name="T71" fmla="*/ 138 h 452"/>
                    <a:gd name="T72" fmla="*/ 83 w 864"/>
                    <a:gd name="T73" fmla="*/ 178 h 452"/>
                    <a:gd name="T74" fmla="*/ 76 w 864"/>
                    <a:gd name="T75" fmla="*/ 188 h 452"/>
                    <a:gd name="T76" fmla="*/ 0 w 864"/>
                    <a:gd name="T77" fmla="*/ 423 h 452"/>
                    <a:gd name="T78" fmla="*/ 757 w 864"/>
                    <a:gd name="T79" fmla="*/ 214 h 452"/>
                    <a:gd name="T80" fmla="*/ 648 w 864"/>
                    <a:gd name="T81" fmla="*/ 258 h 452"/>
                    <a:gd name="T82" fmla="*/ 580 w 864"/>
                    <a:gd name="T83" fmla="*/ 69 h 452"/>
                    <a:gd name="T84" fmla="*/ 597 w 864"/>
                    <a:gd name="T85" fmla="*/ 77 h 452"/>
                    <a:gd name="T86" fmla="*/ 610 w 864"/>
                    <a:gd name="T87" fmla="*/ 83 h 452"/>
                    <a:gd name="T88" fmla="*/ 638 w 864"/>
                    <a:gd name="T89" fmla="*/ 220 h 452"/>
                    <a:gd name="T90" fmla="*/ 452 w 864"/>
                    <a:gd name="T91" fmla="*/ 43 h 452"/>
                    <a:gd name="T92" fmla="*/ 452 w 864"/>
                    <a:gd name="T93" fmla="*/ 244 h 452"/>
                    <a:gd name="T94" fmla="*/ 609 w 864"/>
                    <a:gd name="T95" fmla="*/ 267 h 452"/>
                    <a:gd name="T96" fmla="*/ 452 w 864"/>
                    <a:gd name="T97" fmla="*/ 284 h 452"/>
                    <a:gd name="T98" fmla="*/ 255 w 864"/>
                    <a:gd name="T99" fmla="*/ 267 h 452"/>
                    <a:gd name="T100" fmla="*/ 412 w 864"/>
                    <a:gd name="T101" fmla="*/ 43 h 452"/>
                    <a:gd name="T102" fmla="*/ 300 w 864"/>
                    <a:gd name="T103" fmla="*/ 146 h 452"/>
                    <a:gd name="T104" fmla="*/ 254 w 864"/>
                    <a:gd name="T105" fmla="*/ 83 h 452"/>
                    <a:gd name="T106" fmla="*/ 268 w 864"/>
                    <a:gd name="T107" fmla="*/ 77 h 452"/>
                    <a:gd name="T108" fmla="*/ 285 w 864"/>
                    <a:gd name="T109" fmla="*/ 69 h 452"/>
                    <a:gd name="T110" fmla="*/ 227 w 864"/>
                    <a:gd name="T111" fmla="*/ 220 h 452"/>
                    <a:gd name="T112" fmla="*/ 107 w 864"/>
                    <a:gd name="T113" fmla="*/ 214 h 452"/>
                    <a:gd name="T114" fmla="*/ 41 w 864"/>
                    <a:gd name="T115" fmla="*/ 41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4" h="452">
                      <a:moveTo>
                        <a:pt x="41" y="452"/>
                      </a:moveTo>
                      <a:cubicBezTo>
                        <a:pt x="197" y="452"/>
                        <a:pt x="197" y="452"/>
                        <a:pt x="197" y="452"/>
                      </a:cubicBezTo>
                      <a:cubicBezTo>
                        <a:pt x="237" y="452"/>
                        <a:pt x="237" y="452"/>
                        <a:pt x="237" y="452"/>
                      </a:cubicBezTo>
                      <a:cubicBezTo>
                        <a:pt x="412" y="452"/>
                        <a:pt x="412" y="452"/>
                        <a:pt x="412" y="452"/>
                      </a:cubicBezTo>
                      <a:cubicBezTo>
                        <a:pt x="452" y="452"/>
                        <a:pt x="452" y="452"/>
                        <a:pt x="452" y="452"/>
                      </a:cubicBezTo>
                      <a:cubicBezTo>
                        <a:pt x="628" y="452"/>
                        <a:pt x="628" y="452"/>
                        <a:pt x="628" y="452"/>
                      </a:cubicBezTo>
                      <a:cubicBezTo>
                        <a:pt x="668" y="452"/>
                        <a:pt x="668" y="452"/>
                        <a:pt x="668" y="452"/>
                      </a:cubicBezTo>
                      <a:cubicBezTo>
                        <a:pt x="823" y="452"/>
                        <a:pt x="823" y="452"/>
                        <a:pt x="823" y="452"/>
                      </a:cubicBezTo>
                      <a:cubicBezTo>
                        <a:pt x="835" y="452"/>
                        <a:pt x="835" y="452"/>
                        <a:pt x="835" y="452"/>
                      </a:cubicBezTo>
                      <a:cubicBezTo>
                        <a:pt x="851" y="452"/>
                        <a:pt x="864" y="439"/>
                        <a:pt x="864" y="423"/>
                      </a:cubicBezTo>
                      <a:cubicBezTo>
                        <a:pt x="864" y="412"/>
                        <a:pt x="864" y="412"/>
                        <a:pt x="864" y="412"/>
                      </a:cubicBezTo>
                      <a:cubicBezTo>
                        <a:pt x="864" y="412"/>
                        <a:pt x="864" y="412"/>
                        <a:pt x="864" y="412"/>
                      </a:cubicBezTo>
                      <a:cubicBezTo>
                        <a:pt x="860" y="329"/>
                        <a:pt x="833" y="252"/>
                        <a:pt x="788" y="188"/>
                      </a:cubicBezTo>
                      <a:cubicBezTo>
                        <a:pt x="788" y="188"/>
                        <a:pt x="788" y="188"/>
                        <a:pt x="788" y="188"/>
                      </a:cubicBezTo>
                      <a:cubicBezTo>
                        <a:pt x="788" y="188"/>
                        <a:pt x="788" y="188"/>
                        <a:pt x="788" y="188"/>
                      </a:cubicBezTo>
                      <a:cubicBezTo>
                        <a:pt x="786" y="184"/>
                        <a:pt x="783" y="181"/>
                        <a:pt x="781" y="178"/>
                      </a:cubicBezTo>
                      <a:cubicBezTo>
                        <a:pt x="778" y="173"/>
                        <a:pt x="778" y="173"/>
                        <a:pt x="778" y="173"/>
                      </a:cubicBezTo>
                      <a:cubicBezTo>
                        <a:pt x="769" y="161"/>
                        <a:pt x="759" y="150"/>
                        <a:pt x="749" y="139"/>
                      </a:cubicBezTo>
                      <a:cubicBezTo>
                        <a:pt x="749" y="138"/>
                        <a:pt x="748" y="138"/>
                        <a:pt x="748" y="138"/>
                      </a:cubicBezTo>
                      <a:cubicBezTo>
                        <a:pt x="739" y="128"/>
                        <a:pt x="730" y="119"/>
                        <a:pt x="721" y="111"/>
                      </a:cubicBezTo>
                      <a:cubicBezTo>
                        <a:pt x="721" y="111"/>
                        <a:pt x="721" y="111"/>
                        <a:pt x="721" y="111"/>
                      </a:cubicBezTo>
                      <a:cubicBezTo>
                        <a:pt x="718" y="108"/>
                        <a:pt x="715" y="105"/>
                        <a:pt x="711" y="103"/>
                      </a:cubicBezTo>
                      <a:cubicBezTo>
                        <a:pt x="711" y="102"/>
                        <a:pt x="711" y="102"/>
                        <a:pt x="710" y="102"/>
                      </a:cubicBezTo>
                      <a:cubicBezTo>
                        <a:pt x="707" y="99"/>
                        <a:pt x="704" y="97"/>
                        <a:pt x="701" y="94"/>
                      </a:cubicBezTo>
                      <a:cubicBezTo>
                        <a:pt x="701" y="94"/>
                        <a:pt x="701" y="94"/>
                        <a:pt x="701" y="94"/>
                      </a:cubicBezTo>
                      <a:cubicBezTo>
                        <a:pt x="694" y="89"/>
                        <a:pt x="687" y="84"/>
                        <a:pt x="681" y="79"/>
                      </a:cubicBezTo>
                      <a:cubicBezTo>
                        <a:pt x="680" y="79"/>
                        <a:pt x="680" y="79"/>
                        <a:pt x="680" y="79"/>
                      </a:cubicBezTo>
                      <a:cubicBezTo>
                        <a:pt x="677" y="76"/>
                        <a:pt x="674" y="74"/>
                        <a:pt x="671" y="72"/>
                      </a:cubicBezTo>
                      <a:cubicBezTo>
                        <a:pt x="669" y="71"/>
                        <a:pt x="668" y="71"/>
                        <a:pt x="667" y="70"/>
                      </a:cubicBezTo>
                      <a:cubicBezTo>
                        <a:pt x="665" y="68"/>
                        <a:pt x="663" y="67"/>
                        <a:pt x="660" y="65"/>
                      </a:cubicBezTo>
                      <a:cubicBezTo>
                        <a:pt x="659" y="65"/>
                        <a:pt x="659" y="65"/>
                        <a:pt x="658" y="64"/>
                      </a:cubicBezTo>
                      <a:cubicBezTo>
                        <a:pt x="651" y="60"/>
                        <a:pt x="644" y="56"/>
                        <a:pt x="637" y="52"/>
                      </a:cubicBezTo>
                      <a:cubicBezTo>
                        <a:pt x="636" y="52"/>
                        <a:pt x="636" y="51"/>
                        <a:pt x="636" y="51"/>
                      </a:cubicBezTo>
                      <a:cubicBezTo>
                        <a:pt x="633" y="50"/>
                        <a:pt x="629" y="48"/>
                        <a:pt x="626" y="46"/>
                      </a:cubicBezTo>
                      <a:cubicBezTo>
                        <a:pt x="625" y="46"/>
                        <a:pt x="624" y="45"/>
                        <a:pt x="624" y="45"/>
                      </a:cubicBezTo>
                      <a:cubicBezTo>
                        <a:pt x="621" y="44"/>
                        <a:pt x="618" y="42"/>
                        <a:pt x="615" y="41"/>
                      </a:cubicBezTo>
                      <a:cubicBezTo>
                        <a:pt x="614" y="40"/>
                        <a:pt x="613" y="40"/>
                        <a:pt x="612" y="40"/>
                      </a:cubicBezTo>
                      <a:cubicBezTo>
                        <a:pt x="609" y="38"/>
                        <a:pt x="606" y="36"/>
                        <a:pt x="602" y="35"/>
                      </a:cubicBezTo>
                      <a:cubicBezTo>
                        <a:pt x="602" y="35"/>
                        <a:pt x="602" y="35"/>
                        <a:pt x="601" y="35"/>
                      </a:cubicBezTo>
                      <a:cubicBezTo>
                        <a:pt x="597" y="33"/>
                        <a:pt x="594" y="31"/>
                        <a:pt x="590" y="30"/>
                      </a:cubicBezTo>
                      <a:cubicBezTo>
                        <a:pt x="589" y="30"/>
                        <a:pt x="589" y="30"/>
                        <a:pt x="588" y="29"/>
                      </a:cubicBezTo>
                      <a:cubicBezTo>
                        <a:pt x="585" y="28"/>
                        <a:pt x="582" y="27"/>
                        <a:pt x="578" y="26"/>
                      </a:cubicBezTo>
                      <a:cubicBezTo>
                        <a:pt x="577" y="25"/>
                        <a:pt x="576" y="25"/>
                        <a:pt x="575" y="25"/>
                      </a:cubicBezTo>
                      <a:cubicBezTo>
                        <a:pt x="572" y="24"/>
                        <a:pt x="569" y="23"/>
                        <a:pt x="567" y="22"/>
                      </a:cubicBezTo>
                      <a:cubicBezTo>
                        <a:pt x="565" y="21"/>
                        <a:pt x="564" y="21"/>
                        <a:pt x="563" y="21"/>
                      </a:cubicBezTo>
                      <a:cubicBezTo>
                        <a:pt x="560" y="20"/>
                        <a:pt x="557" y="19"/>
                        <a:pt x="554" y="18"/>
                      </a:cubicBezTo>
                      <a:cubicBezTo>
                        <a:pt x="553" y="17"/>
                        <a:pt x="552" y="17"/>
                        <a:pt x="552" y="17"/>
                      </a:cubicBezTo>
                      <a:cubicBezTo>
                        <a:pt x="548" y="16"/>
                        <a:pt x="544" y="15"/>
                        <a:pt x="540" y="14"/>
                      </a:cubicBezTo>
                      <a:cubicBezTo>
                        <a:pt x="539" y="14"/>
                        <a:pt x="538" y="13"/>
                        <a:pt x="538" y="13"/>
                      </a:cubicBezTo>
                      <a:cubicBezTo>
                        <a:pt x="535" y="12"/>
                        <a:pt x="531" y="12"/>
                        <a:pt x="528" y="11"/>
                      </a:cubicBezTo>
                      <a:cubicBezTo>
                        <a:pt x="526" y="11"/>
                        <a:pt x="525" y="10"/>
                        <a:pt x="524" y="10"/>
                      </a:cubicBezTo>
                      <a:cubicBezTo>
                        <a:pt x="521" y="9"/>
                        <a:pt x="518" y="9"/>
                        <a:pt x="516" y="8"/>
                      </a:cubicBezTo>
                      <a:cubicBezTo>
                        <a:pt x="514" y="8"/>
                        <a:pt x="513" y="8"/>
                        <a:pt x="511" y="8"/>
                      </a:cubicBezTo>
                      <a:cubicBezTo>
                        <a:pt x="509" y="7"/>
                        <a:pt x="506" y="7"/>
                        <a:pt x="503" y="6"/>
                      </a:cubicBezTo>
                      <a:cubicBezTo>
                        <a:pt x="502" y="6"/>
                        <a:pt x="500" y="6"/>
                        <a:pt x="499" y="5"/>
                      </a:cubicBezTo>
                      <a:cubicBezTo>
                        <a:pt x="495" y="5"/>
                        <a:pt x="491" y="4"/>
                        <a:pt x="487" y="4"/>
                      </a:cubicBezTo>
                      <a:cubicBezTo>
                        <a:pt x="487" y="4"/>
                        <a:pt x="486" y="4"/>
                        <a:pt x="486" y="4"/>
                      </a:cubicBezTo>
                      <a:cubicBezTo>
                        <a:pt x="482" y="3"/>
                        <a:pt x="478" y="3"/>
                        <a:pt x="475" y="2"/>
                      </a:cubicBezTo>
                      <a:cubicBezTo>
                        <a:pt x="473" y="2"/>
                        <a:pt x="472" y="2"/>
                        <a:pt x="471" y="2"/>
                      </a:cubicBezTo>
                      <a:cubicBezTo>
                        <a:pt x="468" y="2"/>
                        <a:pt x="465" y="2"/>
                        <a:pt x="462" y="1"/>
                      </a:cubicBezTo>
                      <a:cubicBezTo>
                        <a:pt x="461" y="1"/>
                        <a:pt x="459" y="1"/>
                        <a:pt x="458" y="1"/>
                      </a:cubicBezTo>
                      <a:cubicBezTo>
                        <a:pt x="456" y="1"/>
                        <a:pt x="454" y="1"/>
                        <a:pt x="452" y="1"/>
                      </a:cubicBezTo>
                      <a:cubicBezTo>
                        <a:pt x="452" y="0"/>
                        <a:pt x="452" y="0"/>
                        <a:pt x="452" y="0"/>
                      </a:cubicBezTo>
                      <a:cubicBezTo>
                        <a:pt x="412" y="0"/>
                        <a:pt x="412" y="0"/>
                        <a:pt x="412" y="0"/>
                      </a:cubicBezTo>
                      <a:cubicBezTo>
                        <a:pt x="412" y="1"/>
                        <a:pt x="412" y="1"/>
                        <a:pt x="412" y="1"/>
                      </a:cubicBezTo>
                      <a:cubicBezTo>
                        <a:pt x="410" y="1"/>
                        <a:pt x="409" y="1"/>
                        <a:pt x="407" y="1"/>
                      </a:cubicBezTo>
                      <a:cubicBezTo>
                        <a:pt x="405" y="1"/>
                        <a:pt x="404" y="1"/>
                        <a:pt x="402" y="1"/>
                      </a:cubicBezTo>
                      <a:cubicBezTo>
                        <a:pt x="400" y="2"/>
                        <a:pt x="397" y="2"/>
                        <a:pt x="394" y="2"/>
                      </a:cubicBezTo>
                      <a:cubicBezTo>
                        <a:pt x="393" y="2"/>
                        <a:pt x="391" y="2"/>
                        <a:pt x="390" y="2"/>
                      </a:cubicBezTo>
                      <a:cubicBezTo>
                        <a:pt x="386" y="3"/>
                        <a:pt x="383" y="3"/>
                        <a:pt x="379" y="4"/>
                      </a:cubicBezTo>
                      <a:cubicBezTo>
                        <a:pt x="378" y="4"/>
                        <a:pt x="378" y="4"/>
                        <a:pt x="378" y="4"/>
                      </a:cubicBezTo>
                      <a:cubicBezTo>
                        <a:pt x="373" y="4"/>
                        <a:pt x="369" y="5"/>
                        <a:pt x="365" y="5"/>
                      </a:cubicBezTo>
                      <a:cubicBezTo>
                        <a:pt x="364" y="6"/>
                        <a:pt x="363" y="6"/>
                        <a:pt x="362" y="6"/>
                      </a:cubicBezTo>
                      <a:cubicBezTo>
                        <a:pt x="359" y="7"/>
                        <a:pt x="356" y="7"/>
                        <a:pt x="353" y="8"/>
                      </a:cubicBezTo>
                      <a:cubicBezTo>
                        <a:pt x="352" y="8"/>
                        <a:pt x="350" y="8"/>
                        <a:pt x="349" y="8"/>
                      </a:cubicBezTo>
                      <a:cubicBezTo>
                        <a:pt x="346" y="9"/>
                        <a:pt x="343" y="9"/>
                        <a:pt x="340" y="10"/>
                      </a:cubicBezTo>
                      <a:cubicBezTo>
                        <a:pt x="339" y="10"/>
                        <a:pt x="338" y="11"/>
                        <a:pt x="337" y="11"/>
                      </a:cubicBezTo>
                      <a:cubicBezTo>
                        <a:pt x="333" y="12"/>
                        <a:pt x="330" y="12"/>
                        <a:pt x="327" y="13"/>
                      </a:cubicBezTo>
                      <a:cubicBezTo>
                        <a:pt x="326" y="13"/>
                        <a:pt x="325" y="14"/>
                        <a:pt x="325" y="14"/>
                      </a:cubicBezTo>
                      <a:cubicBezTo>
                        <a:pt x="321" y="15"/>
                        <a:pt x="317" y="16"/>
                        <a:pt x="313" y="17"/>
                      </a:cubicBezTo>
                      <a:cubicBezTo>
                        <a:pt x="312" y="17"/>
                        <a:pt x="311" y="17"/>
                        <a:pt x="311" y="18"/>
                      </a:cubicBezTo>
                      <a:cubicBezTo>
                        <a:pt x="307" y="19"/>
                        <a:pt x="304" y="20"/>
                        <a:pt x="301" y="21"/>
                      </a:cubicBezTo>
                      <a:cubicBezTo>
                        <a:pt x="300" y="21"/>
                        <a:pt x="299" y="21"/>
                        <a:pt x="298" y="22"/>
                      </a:cubicBezTo>
                      <a:cubicBezTo>
                        <a:pt x="295" y="23"/>
                        <a:pt x="292" y="24"/>
                        <a:pt x="289" y="25"/>
                      </a:cubicBezTo>
                      <a:cubicBezTo>
                        <a:pt x="288" y="25"/>
                        <a:pt x="287" y="25"/>
                        <a:pt x="286" y="26"/>
                      </a:cubicBezTo>
                      <a:cubicBezTo>
                        <a:pt x="283" y="27"/>
                        <a:pt x="280" y="28"/>
                        <a:pt x="276" y="29"/>
                      </a:cubicBezTo>
                      <a:cubicBezTo>
                        <a:pt x="276" y="30"/>
                        <a:pt x="275" y="30"/>
                        <a:pt x="275" y="30"/>
                      </a:cubicBezTo>
                      <a:cubicBezTo>
                        <a:pt x="271" y="31"/>
                        <a:pt x="267" y="33"/>
                        <a:pt x="263" y="35"/>
                      </a:cubicBezTo>
                      <a:cubicBezTo>
                        <a:pt x="263" y="35"/>
                        <a:pt x="263" y="35"/>
                        <a:pt x="262" y="35"/>
                      </a:cubicBezTo>
                      <a:cubicBezTo>
                        <a:pt x="259" y="36"/>
                        <a:pt x="256" y="38"/>
                        <a:pt x="252" y="40"/>
                      </a:cubicBezTo>
                      <a:cubicBezTo>
                        <a:pt x="251" y="40"/>
                        <a:pt x="251" y="40"/>
                        <a:pt x="250" y="41"/>
                      </a:cubicBezTo>
                      <a:cubicBezTo>
                        <a:pt x="247" y="42"/>
                        <a:pt x="243" y="44"/>
                        <a:pt x="240" y="45"/>
                      </a:cubicBezTo>
                      <a:cubicBezTo>
                        <a:pt x="240" y="46"/>
                        <a:pt x="239" y="46"/>
                        <a:pt x="238" y="46"/>
                      </a:cubicBezTo>
                      <a:cubicBezTo>
                        <a:pt x="235" y="48"/>
                        <a:pt x="232" y="50"/>
                        <a:pt x="229" y="51"/>
                      </a:cubicBezTo>
                      <a:cubicBezTo>
                        <a:pt x="228" y="51"/>
                        <a:pt x="228" y="52"/>
                        <a:pt x="228" y="52"/>
                      </a:cubicBezTo>
                      <a:cubicBezTo>
                        <a:pt x="220" y="56"/>
                        <a:pt x="213" y="60"/>
                        <a:pt x="206" y="64"/>
                      </a:cubicBezTo>
                      <a:cubicBezTo>
                        <a:pt x="206" y="65"/>
                        <a:pt x="205" y="65"/>
                        <a:pt x="205" y="65"/>
                      </a:cubicBezTo>
                      <a:cubicBezTo>
                        <a:pt x="202" y="67"/>
                        <a:pt x="200" y="68"/>
                        <a:pt x="197" y="70"/>
                      </a:cubicBezTo>
                      <a:cubicBezTo>
                        <a:pt x="196" y="70"/>
                        <a:pt x="195" y="71"/>
                        <a:pt x="194" y="72"/>
                      </a:cubicBezTo>
                      <a:cubicBezTo>
                        <a:pt x="191" y="74"/>
                        <a:pt x="188" y="76"/>
                        <a:pt x="184" y="79"/>
                      </a:cubicBezTo>
                      <a:cubicBezTo>
                        <a:pt x="184" y="79"/>
                        <a:pt x="184" y="79"/>
                        <a:pt x="184" y="79"/>
                      </a:cubicBezTo>
                      <a:cubicBezTo>
                        <a:pt x="177" y="84"/>
                        <a:pt x="170" y="89"/>
                        <a:pt x="164" y="94"/>
                      </a:cubicBezTo>
                      <a:cubicBezTo>
                        <a:pt x="163" y="94"/>
                        <a:pt x="163" y="94"/>
                        <a:pt x="163" y="94"/>
                      </a:cubicBezTo>
                      <a:cubicBezTo>
                        <a:pt x="160" y="97"/>
                        <a:pt x="157" y="99"/>
                        <a:pt x="154" y="102"/>
                      </a:cubicBezTo>
                      <a:cubicBezTo>
                        <a:pt x="154" y="102"/>
                        <a:pt x="153" y="102"/>
                        <a:pt x="153" y="103"/>
                      </a:cubicBezTo>
                      <a:cubicBezTo>
                        <a:pt x="150" y="105"/>
                        <a:pt x="147" y="108"/>
                        <a:pt x="144" y="111"/>
                      </a:cubicBezTo>
                      <a:cubicBezTo>
                        <a:pt x="144" y="111"/>
                        <a:pt x="144" y="111"/>
                        <a:pt x="144" y="111"/>
                      </a:cubicBezTo>
                      <a:cubicBezTo>
                        <a:pt x="134" y="119"/>
                        <a:pt x="125" y="128"/>
                        <a:pt x="117" y="138"/>
                      </a:cubicBezTo>
                      <a:cubicBezTo>
                        <a:pt x="116" y="138"/>
                        <a:pt x="116" y="138"/>
                        <a:pt x="116" y="139"/>
                      </a:cubicBezTo>
                      <a:cubicBezTo>
                        <a:pt x="104" y="151"/>
                        <a:pt x="94" y="164"/>
                        <a:pt x="84" y="177"/>
                      </a:cubicBezTo>
                      <a:cubicBezTo>
                        <a:pt x="83" y="178"/>
                        <a:pt x="83" y="178"/>
                        <a:pt x="83" y="178"/>
                      </a:cubicBezTo>
                      <a:cubicBezTo>
                        <a:pt x="81" y="181"/>
                        <a:pt x="79" y="184"/>
                        <a:pt x="76" y="188"/>
                      </a:cubicBezTo>
                      <a:cubicBezTo>
                        <a:pt x="76" y="188"/>
                        <a:pt x="76" y="188"/>
                        <a:pt x="76" y="188"/>
                      </a:cubicBezTo>
                      <a:cubicBezTo>
                        <a:pt x="76" y="188"/>
                        <a:pt x="76" y="188"/>
                        <a:pt x="76" y="188"/>
                      </a:cubicBezTo>
                      <a:cubicBezTo>
                        <a:pt x="32" y="252"/>
                        <a:pt x="5" y="329"/>
                        <a:pt x="1" y="412"/>
                      </a:cubicBezTo>
                      <a:cubicBezTo>
                        <a:pt x="0" y="412"/>
                        <a:pt x="0" y="412"/>
                        <a:pt x="0" y="412"/>
                      </a:cubicBezTo>
                      <a:cubicBezTo>
                        <a:pt x="0" y="423"/>
                        <a:pt x="0" y="423"/>
                        <a:pt x="0" y="423"/>
                      </a:cubicBezTo>
                      <a:cubicBezTo>
                        <a:pt x="0" y="439"/>
                        <a:pt x="13" y="452"/>
                        <a:pt x="29" y="452"/>
                      </a:cubicBezTo>
                      <a:lnTo>
                        <a:pt x="41" y="452"/>
                      </a:lnTo>
                      <a:close/>
                      <a:moveTo>
                        <a:pt x="757" y="214"/>
                      </a:moveTo>
                      <a:cubicBezTo>
                        <a:pt x="796" y="271"/>
                        <a:pt x="820" y="339"/>
                        <a:pt x="823" y="412"/>
                      </a:cubicBezTo>
                      <a:cubicBezTo>
                        <a:pt x="668" y="412"/>
                        <a:pt x="668" y="412"/>
                        <a:pt x="668" y="412"/>
                      </a:cubicBezTo>
                      <a:cubicBezTo>
                        <a:pt x="667" y="358"/>
                        <a:pt x="660" y="306"/>
                        <a:pt x="648" y="258"/>
                      </a:cubicBezTo>
                      <a:cubicBezTo>
                        <a:pt x="693" y="247"/>
                        <a:pt x="730" y="231"/>
                        <a:pt x="757" y="214"/>
                      </a:cubicBezTo>
                      <a:close/>
                      <a:moveTo>
                        <a:pt x="579" y="69"/>
                      </a:moveTo>
                      <a:cubicBezTo>
                        <a:pt x="579" y="69"/>
                        <a:pt x="579" y="69"/>
                        <a:pt x="580" y="69"/>
                      </a:cubicBezTo>
                      <a:cubicBezTo>
                        <a:pt x="582" y="70"/>
                        <a:pt x="585" y="71"/>
                        <a:pt x="588" y="73"/>
                      </a:cubicBezTo>
                      <a:cubicBezTo>
                        <a:pt x="589" y="73"/>
                        <a:pt x="589" y="73"/>
                        <a:pt x="590" y="74"/>
                      </a:cubicBezTo>
                      <a:cubicBezTo>
                        <a:pt x="592" y="75"/>
                        <a:pt x="595" y="76"/>
                        <a:pt x="597" y="77"/>
                      </a:cubicBezTo>
                      <a:cubicBezTo>
                        <a:pt x="598" y="77"/>
                        <a:pt x="599" y="78"/>
                        <a:pt x="600" y="78"/>
                      </a:cubicBezTo>
                      <a:cubicBezTo>
                        <a:pt x="602" y="79"/>
                        <a:pt x="603" y="80"/>
                        <a:pt x="605" y="80"/>
                      </a:cubicBezTo>
                      <a:cubicBezTo>
                        <a:pt x="607" y="81"/>
                        <a:pt x="608" y="82"/>
                        <a:pt x="610" y="83"/>
                      </a:cubicBezTo>
                      <a:cubicBezTo>
                        <a:pt x="611" y="83"/>
                        <a:pt x="611" y="84"/>
                        <a:pt x="612" y="84"/>
                      </a:cubicBezTo>
                      <a:cubicBezTo>
                        <a:pt x="658" y="108"/>
                        <a:pt x="700" y="141"/>
                        <a:pt x="733" y="181"/>
                      </a:cubicBezTo>
                      <a:cubicBezTo>
                        <a:pt x="710" y="196"/>
                        <a:pt x="678" y="209"/>
                        <a:pt x="638" y="220"/>
                      </a:cubicBezTo>
                      <a:cubicBezTo>
                        <a:pt x="617" y="153"/>
                        <a:pt x="587" y="97"/>
                        <a:pt x="551" y="59"/>
                      </a:cubicBezTo>
                      <a:cubicBezTo>
                        <a:pt x="560" y="62"/>
                        <a:pt x="570" y="65"/>
                        <a:pt x="579" y="69"/>
                      </a:cubicBezTo>
                      <a:close/>
                      <a:moveTo>
                        <a:pt x="452" y="43"/>
                      </a:moveTo>
                      <a:cubicBezTo>
                        <a:pt x="493" y="52"/>
                        <a:pt x="533" y="88"/>
                        <a:pt x="564" y="146"/>
                      </a:cubicBezTo>
                      <a:cubicBezTo>
                        <a:pt x="578" y="171"/>
                        <a:pt x="589" y="199"/>
                        <a:pt x="599" y="229"/>
                      </a:cubicBezTo>
                      <a:cubicBezTo>
                        <a:pt x="556" y="237"/>
                        <a:pt x="506" y="243"/>
                        <a:pt x="452" y="244"/>
                      </a:cubicBezTo>
                      <a:lnTo>
                        <a:pt x="452" y="43"/>
                      </a:lnTo>
                      <a:close/>
                      <a:moveTo>
                        <a:pt x="452" y="284"/>
                      </a:moveTo>
                      <a:cubicBezTo>
                        <a:pt x="509" y="283"/>
                        <a:pt x="562" y="277"/>
                        <a:pt x="609" y="267"/>
                      </a:cubicBezTo>
                      <a:cubicBezTo>
                        <a:pt x="620" y="312"/>
                        <a:pt x="627" y="361"/>
                        <a:pt x="628" y="412"/>
                      </a:cubicBezTo>
                      <a:cubicBezTo>
                        <a:pt x="452" y="412"/>
                        <a:pt x="452" y="412"/>
                        <a:pt x="452" y="412"/>
                      </a:cubicBezTo>
                      <a:lnTo>
                        <a:pt x="452" y="284"/>
                      </a:lnTo>
                      <a:close/>
                      <a:moveTo>
                        <a:pt x="412" y="412"/>
                      </a:moveTo>
                      <a:cubicBezTo>
                        <a:pt x="237" y="412"/>
                        <a:pt x="237" y="412"/>
                        <a:pt x="237" y="412"/>
                      </a:cubicBezTo>
                      <a:cubicBezTo>
                        <a:pt x="238" y="361"/>
                        <a:pt x="244" y="312"/>
                        <a:pt x="255" y="267"/>
                      </a:cubicBezTo>
                      <a:cubicBezTo>
                        <a:pt x="302" y="277"/>
                        <a:pt x="356" y="283"/>
                        <a:pt x="412" y="284"/>
                      </a:cubicBezTo>
                      <a:lnTo>
                        <a:pt x="412" y="412"/>
                      </a:lnTo>
                      <a:close/>
                      <a:moveTo>
                        <a:pt x="412" y="43"/>
                      </a:moveTo>
                      <a:cubicBezTo>
                        <a:pt x="412" y="244"/>
                        <a:pt x="412" y="244"/>
                        <a:pt x="412" y="244"/>
                      </a:cubicBezTo>
                      <a:cubicBezTo>
                        <a:pt x="358" y="243"/>
                        <a:pt x="309" y="237"/>
                        <a:pt x="266" y="229"/>
                      </a:cubicBezTo>
                      <a:cubicBezTo>
                        <a:pt x="275" y="199"/>
                        <a:pt x="287" y="171"/>
                        <a:pt x="300" y="146"/>
                      </a:cubicBezTo>
                      <a:cubicBezTo>
                        <a:pt x="332" y="88"/>
                        <a:pt x="372" y="52"/>
                        <a:pt x="412" y="43"/>
                      </a:cubicBezTo>
                      <a:close/>
                      <a:moveTo>
                        <a:pt x="253" y="84"/>
                      </a:moveTo>
                      <a:cubicBezTo>
                        <a:pt x="253" y="84"/>
                        <a:pt x="254" y="83"/>
                        <a:pt x="254" y="83"/>
                      </a:cubicBezTo>
                      <a:cubicBezTo>
                        <a:pt x="256" y="82"/>
                        <a:pt x="258" y="81"/>
                        <a:pt x="260" y="80"/>
                      </a:cubicBezTo>
                      <a:cubicBezTo>
                        <a:pt x="261" y="80"/>
                        <a:pt x="263" y="79"/>
                        <a:pt x="264" y="78"/>
                      </a:cubicBezTo>
                      <a:cubicBezTo>
                        <a:pt x="265" y="78"/>
                        <a:pt x="267" y="77"/>
                        <a:pt x="268" y="77"/>
                      </a:cubicBezTo>
                      <a:cubicBezTo>
                        <a:pt x="270" y="76"/>
                        <a:pt x="272" y="75"/>
                        <a:pt x="274" y="74"/>
                      </a:cubicBezTo>
                      <a:cubicBezTo>
                        <a:pt x="275" y="73"/>
                        <a:pt x="276" y="73"/>
                        <a:pt x="276" y="73"/>
                      </a:cubicBezTo>
                      <a:cubicBezTo>
                        <a:pt x="279" y="71"/>
                        <a:pt x="282" y="70"/>
                        <a:pt x="285" y="69"/>
                      </a:cubicBezTo>
                      <a:cubicBezTo>
                        <a:pt x="285" y="69"/>
                        <a:pt x="285" y="69"/>
                        <a:pt x="285" y="69"/>
                      </a:cubicBezTo>
                      <a:cubicBezTo>
                        <a:pt x="295" y="65"/>
                        <a:pt x="304" y="62"/>
                        <a:pt x="314" y="59"/>
                      </a:cubicBezTo>
                      <a:cubicBezTo>
                        <a:pt x="277" y="97"/>
                        <a:pt x="247" y="153"/>
                        <a:pt x="227" y="220"/>
                      </a:cubicBezTo>
                      <a:cubicBezTo>
                        <a:pt x="187" y="209"/>
                        <a:pt x="154" y="196"/>
                        <a:pt x="131" y="181"/>
                      </a:cubicBezTo>
                      <a:cubicBezTo>
                        <a:pt x="165" y="141"/>
                        <a:pt x="206" y="108"/>
                        <a:pt x="253" y="84"/>
                      </a:cubicBezTo>
                      <a:close/>
                      <a:moveTo>
                        <a:pt x="107" y="214"/>
                      </a:moveTo>
                      <a:cubicBezTo>
                        <a:pt x="135" y="231"/>
                        <a:pt x="172" y="247"/>
                        <a:pt x="216" y="258"/>
                      </a:cubicBezTo>
                      <a:cubicBezTo>
                        <a:pt x="205" y="306"/>
                        <a:pt x="198" y="358"/>
                        <a:pt x="197" y="412"/>
                      </a:cubicBezTo>
                      <a:cubicBezTo>
                        <a:pt x="41" y="412"/>
                        <a:pt x="41" y="412"/>
                        <a:pt x="41" y="412"/>
                      </a:cubicBezTo>
                      <a:cubicBezTo>
                        <a:pt x="45" y="339"/>
                        <a:pt x="69" y="271"/>
                        <a:pt x="107" y="2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 name="Freeform 7"/>
                <p:cNvSpPr>
                  <a:spLocks/>
                </p:cNvSpPr>
                <p:nvPr/>
              </p:nvSpPr>
              <p:spPr bwMode="auto">
                <a:xfrm>
                  <a:off x="273843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 name="Freeform 8"/>
                <p:cNvSpPr>
                  <a:spLocks/>
                </p:cNvSpPr>
                <p:nvPr/>
              </p:nvSpPr>
              <p:spPr bwMode="auto">
                <a:xfrm>
                  <a:off x="2846388" y="2674938"/>
                  <a:ext cx="77788" cy="77788"/>
                </a:xfrm>
                <a:custGeom>
                  <a:avLst/>
                  <a:gdLst>
                    <a:gd name="T0" fmla="*/ 75 w 104"/>
                    <a:gd name="T1" fmla="*/ 105 h 105"/>
                    <a:gd name="T2" fmla="*/ 28 w 104"/>
                    <a:gd name="T3" fmla="*/ 105 h 105"/>
                    <a:gd name="T4" fmla="*/ 0 w 104"/>
                    <a:gd name="T5" fmla="*/ 76 h 105"/>
                    <a:gd name="T6" fmla="*/ 0 w 104"/>
                    <a:gd name="T7" fmla="*/ 29 h 105"/>
                    <a:gd name="T8" fmla="*/ 28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8" y="105"/>
                        <a:pt x="28" y="105"/>
                        <a:pt x="28" y="105"/>
                      </a:cubicBezTo>
                      <a:cubicBezTo>
                        <a:pt x="12" y="105"/>
                        <a:pt x="0" y="92"/>
                        <a:pt x="0" y="76"/>
                      </a:cubicBezTo>
                      <a:cubicBezTo>
                        <a:pt x="0" y="29"/>
                        <a:pt x="0" y="29"/>
                        <a:pt x="0" y="29"/>
                      </a:cubicBezTo>
                      <a:cubicBezTo>
                        <a:pt x="0" y="13"/>
                        <a:pt x="12" y="0"/>
                        <a:pt x="28"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 name="Freeform 9"/>
                <p:cNvSpPr>
                  <a:spLocks/>
                </p:cNvSpPr>
                <p:nvPr/>
              </p:nvSpPr>
              <p:spPr bwMode="auto">
                <a:xfrm>
                  <a:off x="295433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 name="Freeform 10"/>
                <p:cNvSpPr>
                  <a:spLocks/>
                </p:cNvSpPr>
                <p:nvPr/>
              </p:nvSpPr>
              <p:spPr bwMode="auto">
                <a:xfrm>
                  <a:off x="306228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 name="Freeform 11"/>
                <p:cNvSpPr>
                  <a:spLocks/>
                </p:cNvSpPr>
                <p:nvPr/>
              </p:nvSpPr>
              <p:spPr bwMode="auto">
                <a:xfrm>
                  <a:off x="3170238" y="2674938"/>
                  <a:ext cx="77788" cy="77788"/>
                </a:xfrm>
                <a:custGeom>
                  <a:avLst/>
                  <a:gdLst>
                    <a:gd name="T0" fmla="*/ 76 w 104"/>
                    <a:gd name="T1" fmla="*/ 105 h 105"/>
                    <a:gd name="T2" fmla="*/ 29 w 104"/>
                    <a:gd name="T3" fmla="*/ 105 h 105"/>
                    <a:gd name="T4" fmla="*/ 0 w 104"/>
                    <a:gd name="T5" fmla="*/ 76 h 105"/>
                    <a:gd name="T6" fmla="*/ 0 w 104"/>
                    <a:gd name="T7" fmla="*/ 29 h 105"/>
                    <a:gd name="T8" fmla="*/ 29 w 104"/>
                    <a:gd name="T9" fmla="*/ 0 h 105"/>
                    <a:gd name="T10" fmla="*/ 76 w 104"/>
                    <a:gd name="T11" fmla="*/ 0 h 105"/>
                    <a:gd name="T12" fmla="*/ 104 w 104"/>
                    <a:gd name="T13" fmla="*/ 29 h 105"/>
                    <a:gd name="T14" fmla="*/ 104 w 104"/>
                    <a:gd name="T15" fmla="*/ 76 h 105"/>
                    <a:gd name="T16" fmla="*/ 76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4" y="13"/>
                        <a:pt x="104" y="29"/>
                      </a:cubicBezTo>
                      <a:cubicBezTo>
                        <a:pt x="104" y="76"/>
                        <a:pt x="104" y="76"/>
                        <a:pt x="104" y="76"/>
                      </a:cubicBezTo>
                      <a:cubicBezTo>
                        <a:pt x="104"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 name="Freeform 12"/>
                <p:cNvSpPr>
                  <a:spLocks/>
                </p:cNvSpPr>
                <p:nvPr/>
              </p:nvSpPr>
              <p:spPr bwMode="auto">
                <a:xfrm>
                  <a:off x="327818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6" name="Freeform 13"/>
                <p:cNvSpPr>
                  <a:spLocks/>
                </p:cNvSpPr>
                <p:nvPr/>
              </p:nvSpPr>
              <p:spPr bwMode="auto">
                <a:xfrm>
                  <a:off x="2789238" y="2776538"/>
                  <a:ext cx="65088" cy="65088"/>
                </a:xfrm>
                <a:custGeom>
                  <a:avLst/>
                  <a:gdLst>
                    <a:gd name="T0" fmla="*/ 58 w 87"/>
                    <a:gd name="T1" fmla="*/ 87 h 87"/>
                    <a:gd name="T2" fmla="*/ 28 w 87"/>
                    <a:gd name="T3" fmla="*/ 87 h 87"/>
                    <a:gd name="T4" fmla="*/ 0 w 87"/>
                    <a:gd name="T5" fmla="*/ 58 h 87"/>
                    <a:gd name="T6" fmla="*/ 0 w 87"/>
                    <a:gd name="T7" fmla="*/ 29 h 87"/>
                    <a:gd name="T8" fmla="*/ 28 w 87"/>
                    <a:gd name="T9" fmla="*/ 0 h 87"/>
                    <a:gd name="T10" fmla="*/ 58 w 87"/>
                    <a:gd name="T11" fmla="*/ 0 h 87"/>
                    <a:gd name="T12" fmla="*/ 87 w 87"/>
                    <a:gd name="T13" fmla="*/ 29 h 87"/>
                    <a:gd name="T14" fmla="*/ 87 w 87"/>
                    <a:gd name="T15" fmla="*/ 58 h 87"/>
                    <a:gd name="T16" fmla="*/ 58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8" y="87"/>
                      </a:moveTo>
                      <a:cubicBezTo>
                        <a:pt x="28" y="87"/>
                        <a:pt x="28" y="87"/>
                        <a:pt x="28" y="87"/>
                      </a:cubicBezTo>
                      <a:cubicBezTo>
                        <a:pt x="12" y="87"/>
                        <a:pt x="0" y="74"/>
                        <a:pt x="0" y="58"/>
                      </a:cubicBezTo>
                      <a:cubicBezTo>
                        <a:pt x="0" y="29"/>
                        <a:pt x="0" y="29"/>
                        <a:pt x="0" y="29"/>
                      </a:cubicBezTo>
                      <a:cubicBezTo>
                        <a:pt x="0" y="13"/>
                        <a:pt x="12" y="0"/>
                        <a:pt x="28" y="0"/>
                      </a:cubicBezTo>
                      <a:cubicBezTo>
                        <a:pt x="58" y="0"/>
                        <a:pt x="58" y="0"/>
                        <a:pt x="58" y="0"/>
                      </a:cubicBezTo>
                      <a:cubicBezTo>
                        <a:pt x="74" y="0"/>
                        <a:pt x="87" y="13"/>
                        <a:pt x="87" y="29"/>
                      </a:cubicBezTo>
                      <a:cubicBezTo>
                        <a:pt x="87" y="58"/>
                        <a:pt x="87" y="58"/>
                        <a:pt x="87" y="58"/>
                      </a:cubicBezTo>
                      <a:cubicBezTo>
                        <a:pt x="87" y="74"/>
                        <a:pt x="74" y="87"/>
                        <a:pt x="58"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7" name="Freeform 14"/>
                <p:cNvSpPr>
                  <a:spLocks/>
                </p:cNvSpPr>
                <p:nvPr/>
              </p:nvSpPr>
              <p:spPr bwMode="auto">
                <a:xfrm>
                  <a:off x="2901950" y="2776538"/>
                  <a:ext cx="65088" cy="65088"/>
                </a:xfrm>
                <a:custGeom>
                  <a:avLst/>
                  <a:gdLst>
                    <a:gd name="T0" fmla="*/ 59 w 88"/>
                    <a:gd name="T1" fmla="*/ 87 h 87"/>
                    <a:gd name="T2" fmla="*/ 29 w 88"/>
                    <a:gd name="T3" fmla="*/ 87 h 87"/>
                    <a:gd name="T4" fmla="*/ 0 w 88"/>
                    <a:gd name="T5" fmla="*/ 58 h 87"/>
                    <a:gd name="T6" fmla="*/ 0 w 88"/>
                    <a:gd name="T7" fmla="*/ 29 h 87"/>
                    <a:gd name="T8" fmla="*/ 29 w 88"/>
                    <a:gd name="T9" fmla="*/ 0 h 87"/>
                    <a:gd name="T10" fmla="*/ 59 w 88"/>
                    <a:gd name="T11" fmla="*/ 0 h 87"/>
                    <a:gd name="T12" fmla="*/ 88 w 88"/>
                    <a:gd name="T13" fmla="*/ 29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9"/>
                        <a:pt x="0" y="29"/>
                        <a:pt x="0" y="29"/>
                      </a:cubicBezTo>
                      <a:cubicBezTo>
                        <a:pt x="0" y="13"/>
                        <a:pt x="13" y="0"/>
                        <a:pt x="29" y="0"/>
                      </a:cubicBezTo>
                      <a:cubicBezTo>
                        <a:pt x="59" y="0"/>
                        <a:pt x="59" y="0"/>
                        <a:pt x="59" y="0"/>
                      </a:cubicBezTo>
                      <a:cubicBezTo>
                        <a:pt x="75" y="0"/>
                        <a:pt x="88" y="13"/>
                        <a:pt x="88" y="29"/>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8" name="Freeform 15"/>
                <p:cNvSpPr>
                  <a:spLocks/>
                </p:cNvSpPr>
                <p:nvPr/>
              </p:nvSpPr>
              <p:spPr bwMode="auto">
                <a:xfrm>
                  <a:off x="3014663"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9" name="Freeform 16"/>
                <p:cNvSpPr>
                  <a:spLocks/>
                </p:cNvSpPr>
                <p:nvPr/>
              </p:nvSpPr>
              <p:spPr bwMode="auto">
                <a:xfrm>
                  <a:off x="3127375"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0" name="Freeform 17"/>
                <p:cNvSpPr>
                  <a:spLocks/>
                </p:cNvSpPr>
                <p:nvPr/>
              </p:nvSpPr>
              <p:spPr bwMode="auto">
                <a:xfrm>
                  <a:off x="3240088" y="2778125"/>
                  <a:ext cx="65088" cy="63500"/>
                </a:xfrm>
                <a:custGeom>
                  <a:avLst/>
                  <a:gdLst>
                    <a:gd name="T0" fmla="*/ 59 w 87"/>
                    <a:gd name="T1" fmla="*/ 87 h 87"/>
                    <a:gd name="T2" fmla="*/ 29 w 87"/>
                    <a:gd name="T3" fmla="*/ 87 h 87"/>
                    <a:gd name="T4" fmla="*/ 0 w 87"/>
                    <a:gd name="T5" fmla="*/ 58 h 87"/>
                    <a:gd name="T6" fmla="*/ 0 w 87"/>
                    <a:gd name="T7" fmla="*/ 28 h 87"/>
                    <a:gd name="T8" fmla="*/ 29 w 87"/>
                    <a:gd name="T9" fmla="*/ 0 h 87"/>
                    <a:gd name="T10" fmla="*/ 59 w 87"/>
                    <a:gd name="T11" fmla="*/ 0 h 87"/>
                    <a:gd name="T12" fmla="*/ 87 w 87"/>
                    <a:gd name="T13" fmla="*/ 28 h 87"/>
                    <a:gd name="T14" fmla="*/ 87 w 87"/>
                    <a:gd name="T15" fmla="*/ 58 h 87"/>
                    <a:gd name="T16" fmla="*/ 59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7" y="13"/>
                        <a:pt x="87" y="28"/>
                      </a:cubicBezTo>
                      <a:cubicBezTo>
                        <a:pt x="87" y="58"/>
                        <a:pt x="87" y="58"/>
                        <a:pt x="87" y="58"/>
                      </a:cubicBezTo>
                      <a:cubicBezTo>
                        <a:pt x="87"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1" name="Freeform 18"/>
                <p:cNvSpPr>
                  <a:spLocks/>
                </p:cNvSpPr>
                <p:nvPr/>
              </p:nvSpPr>
              <p:spPr bwMode="auto">
                <a:xfrm>
                  <a:off x="2841625" y="2862263"/>
                  <a:ext cx="50800" cy="52388"/>
                </a:xfrm>
                <a:custGeom>
                  <a:avLst/>
                  <a:gdLst>
                    <a:gd name="T0" fmla="*/ 41 w 70"/>
                    <a:gd name="T1" fmla="*/ 70 h 70"/>
                    <a:gd name="T2" fmla="*/ 28 w 70"/>
                    <a:gd name="T3" fmla="*/ 70 h 70"/>
                    <a:gd name="T4" fmla="*/ 0 w 70"/>
                    <a:gd name="T5" fmla="*/ 41 h 70"/>
                    <a:gd name="T6" fmla="*/ 0 w 70"/>
                    <a:gd name="T7" fmla="*/ 29 h 70"/>
                    <a:gd name="T8" fmla="*/ 28 w 70"/>
                    <a:gd name="T9" fmla="*/ 0 h 70"/>
                    <a:gd name="T10" fmla="*/ 41 w 70"/>
                    <a:gd name="T11" fmla="*/ 0 h 70"/>
                    <a:gd name="T12" fmla="*/ 70 w 70"/>
                    <a:gd name="T13" fmla="*/ 29 h 70"/>
                    <a:gd name="T14" fmla="*/ 70 w 70"/>
                    <a:gd name="T15" fmla="*/ 41 h 70"/>
                    <a:gd name="T16" fmla="*/ 41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70" y="13"/>
                        <a:pt x="70" y="29"/>
                      </a:cubicBezTo>
                      <a:cubicBezTo>
                        <a:pt x="70" y="41"/>
                        <a:pt x="70" y="41"/>
                        <a:pt x="70" y="41"/>
                      </a:cubicBezTo>
                      <a:cubicBezTo>
                        <a:pt x="70" y="57"/>
                        <a:pt x="57"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2" name="Freeform 19"/>
                <p:cNvSpPr>
                  <a:spLocks/>
                </p:cNvSpPr>
                <p:nvPr/>
              </p:nvSpPr>
              <p:spPr bwMode="auto">
                <a:xfrm>
                  <a:off x="2962275" y="2862263"/>
                  <a:ext cx="50800" cy="52388"/>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69" y="13"/>
                        <a:pt x="69" y="29"/>
                      </a:cubicBezTo>
                      <a:cubicBezTo>
                        <a:pt x="69" y="41"/>
                        <a:pt x="69" y="41"/>
                        <a:pt x="69" y="41"/>
                      </a:cubicBezTo>
                      <a:cubicBezTo>
                        <a:pt x="69" y="57"/>
                        <a:pt x="57"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4" name="Freeform 20"/>
                <p:cNvSpPr>
                  <a:spLocks/>
                </p:cNvSpPr>
                <p:nvPr/>
              </p:nvSpPr>
              <p:spPr bwMode="auto">
                <a:xfrm>
                  <a:off x="3081338" y="2863850"/>
                  <a:ext cx="52388" cy="50800"/>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2" y="70"/>
                        <a:pt x="0" y="57"/>
                        <a:pt x="0" y="41"/>
                      </a:cubicBezTo>
                      <a:cubicBezTo>
                        <a:pt x="0" y="29"/>
                        <a:pt x="0" y="29"/>
                        <a:pt x="0" y="29"/>
                      </a:cubicBezTo>
                      <a:cubicBezTo>
                        <a:pt x="0" y="13"/>
                        <a:pt x="12" y="0"/>
                        <a:pt x="28" y="0"/>
                      </a:cubicBezTo>
                      <a:cubicBezTo>
                        <a:pt x="41" y="0"/>
                        <a:pt x="41" y="0"/>
                        <a:pt x="41" y="0"/>
                      </a:cubicBezTo>
                      <a:cubicBezTo>
                        <a:pt x="56" y="0"/>
                        <a:pt x="69" y="13"/>
                        <a:pt x="69" y="29"/>
                      </a:cubicBezTo>
                      <a:cubicBezTo>
                        <a:pt x="69" y="41"/>
                        <a:pt x="69" y="41"/>
                        <a:pt x="69" y="41"/>
                      </a:cubicBezTo>
                      <a:cubicBezTo>
                        <a:pt x="69" y="57"/>
                        <a:pt x="56"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5" name="Freeform 21"/>
                <p:cNvSpPr>
                  <a:spLocks/>
                </p:cNvSpPr>
                <p:nvPr/>
              </p:nvSpPr>
              <p:spPr bwMode="auto">
                <a:xfrm>
                  <a:off x="3201988" y="2863850"/>
                  <a:ext cx="50800" cy="50800"/>
                </a:xfrm>
                <a:custGeom>
                  <a:avLst/>
                  <a:gdLst>
                    <a:gd name="T0" fmla="*/ 42 w 70"/>
                    <a:gd name="T1" fmla="*/ 70 h 70"/>
                    <a:gd name="T2" fmla="*/ 29 w 70"/>
                    <a:gd name="T3" fmla="*/ 70 h 70"/>
                    <a:gd name="T4" fmla="*/ 0 w 70"/>
                    <a:gd name="T5" fmla="*/ 41 h 70"/>
                    <a:gd name="T6" fmla="*/ 0 w 70"/>
                    <a:gd name="T7" fmla="*/ 29 h 70"/>
                    <a:gd name="T8" fmla="*/ 29 w 70"/>
                    <a:gd name="T9" fmla="*/ 0 h 70"/>
                    <a:gd name="T10" fmla="*/ 42 w 70"/>
                    <a:gd name="T11" fmla="*/ 0 h 70"/>
                    <a:gd name="T12" fmla="*/ 70 w 70"/>
                    <a:gd name="T13" fmla="*/ 29 h 70"/>
                    <a:gd name="T14" fmla="*/ 70 w 70"/>
                    <a:gd name="T15" fmla="*/ 41 h 70"/>
                    <a:gd name="T16" fmla="*/ 42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2" y="70"/>
                      </a:moveTo>
                      <a:cubicBezTo>
                        <a:pt x="29" y="70"/>
                        <a:pt x="29" y="70"/>
                        <a:pt x="29" y="70"/>
                      </a:cubicBezTo>
                      <a:cubicBezTo>
                        <a:pt x="13" y="70"/>
                        <a:pt x="0" y="57"/>
                        <a:pt x="0" y="41"/>
                      </a:cubicBezTo>
                      <a:cubicBezTo>
                        <a:pt x="0" y="29"/>
                        <a:pt x="0" y="29"/>
                        <a:pt x="0" y="29"/>
                      </a:cubicBezTo>
                      <a:cubicBezTo>
                        <a:pt x="0" y="13"/>
                        <a:pt x="13" y="0"/>
                        <a:pt x="29" y="0"/>
                      </a:cubicBezTo>
                      <a:cubicBezTo>
                        <a:pt x="42" y="0"/>
                        <a:pt x="42" y="0"/>
                        <a:pt x="42" y="0"/>
                      </a:cubicBezTo>
                      <a:cubicBezTo>
                        <a:pt x="57" y="0"/>
                        <a:pt x="70" y="13"/>
                        <a:pt x="70" y="29"/>
                      </a:cubicBezTo>
                      <a:cubicBezTo>
                        <a:pt x="70" y="41"/>
                        <a:pt x="70" y="41"/>
                        <a:pt x="70" y="41"/>
                      </a:cubicBezTo>
                      <a:cubicBezTo>
                        <a:pt x="70" y="57"/>
                        <a:pt x="57" y="70"/>
                        <a:pt x="4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grpSp>
        <p:nvGrpSpPr>
          <p:cNvPr id="28" name="Group 27">
            <a:extLst>
              <a:ext uri="{FF2B5EF4-FFF2-40B4-BE49-F238E27FC236}">
                <a16:creationId xmlns:a16="http://schemas.microsoft.com/office/drawing/2014/main" id="{D509A774-3AF6-49E0-B164-3495FD8AB9F8}"/>
              </a:ext>
            </a:extLst>
          </p:cNvPr>
          <p:cNvGrpSpPr/>
          <p:nvPr/>
        </p:nvGrpSpPr>
        <p:grpSpPr>
          <a:xfrm>
            <a:off x="485585" y="710972"/>
            <a:ext cx="457390" cy="457390"/>
            <a:chOff x="485585" y="485585"/>
            <a:chExt cx="457390" cy="457390"/>
          </a:xfrm>
        </p:grpSpPr>
        <p:sp>
          <p:nvSpPr>
            <p:cNvPr id="5" name="Oval 4">
              <a:extLst>
                <a:ext uri="{FF2B5EF4-FFF2-40B4-BE49-F238E27FC236}">
                  <a16:creationId xmlns:a16="http://schemas.microsoft.com/office/drawing/2014/main" id="{61C01907-C391-464F-908A-D62C0216549E}"/>
                </a:ext>
              </a:extLst>
            </p:cNvPr>
            <p:cNvSpPr/>
            <p:nvPr/>
          </p:nvSpPr>
          <p:spPr>
            <a:xfrm>
              <a:off x="485585" y="485585"/>
              <a:ext cx="457390" cy="4573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56" name="Group 55"/>
            <p:cNvGrpSpPr>
              <a:grpSpLocks noChangeAspect="1"/>
            </p:cNvGrpSpPr>
            <p:nvPr/>
          </p:nvGrpSpPr>
          <p:grpSpPr>
            <a:xfrm>
              <a:off x="553520" y="556200"/>
              <a:ext cx="318407" cy="318194"/>
              <a:chOff x="2471561" y="-1833386"/>
              <a:chExt cx="2363788" cy="2362200"/>
            </a:xfrm>
          </p:grpSpPr>
          <p:sp>
            <p:nvSpPr>
              <p:cNvPr id="52" name="Oval 36"/>
              <p:cNvSpPr>
                <a:spLocks noChangeArrowheads="1"/>
              </p:cNvSpPr>
              <p:nvPr/>
            </p:nvSpPr>
            <p:spPr bwMode="auto">
              <a:xfrm>
                <a:off x="2471561" y="-1833386"/>
                <a:ext cx="2363788" cy="2362200"/>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51" name="Freeform 35"/>
              <p:cNvSpPr>
                <a:spLocks/>
              </p:cNvSpPr>
              <p:nvPr/>
            </p:nvSpPr>
            <p:spPr bwMode="auto">
              <a:xfrm>
                <a:off x="2655708" y="-1011062"/>
                <a:ext cx="2163761" cy="1539876"/>
              </a:xfrm>
              <a:custGeom>
                <a:avLst/>
                <a:gdLst>
                  <a:gd name="T0" fmla="*/ 574 w 574"/>
                  <a:gd name="T1" fmla="*/ 141 h 409"/>
                  <a:gd name="T2" fmla="*/ 527 w 574"/>
                  <a:gd name="T3" fmla="*/ 94 h 409"/>
                  <a:gd name="T4" fmla="*/ 507 w 574"/>
                  <a:gd name="T5" fmla="*/ 66 h 409"/>
                  <a:gd name="T6" fmla="*/ 505 w 574"/>
                  <a:gd name="T7" fmla="*/ 63 h 409"/>
                  <a:gd name="T8" fmla="*/ 501 w 574"/>
                  <a:gd name="T9" fmla="*/ 61 h 409"/>
                  <a:gd name="T10" fmla="*/ 499 w 574"/>
                  <a:gd name="T11" fmla="*/ 59 h 409"/>
                  <a:gd name="T12" fmla="*/ 494 w 574"/>
                  <a:gd name="T13" fmla="*/ 57 h 409"/>
                  <a:gd name="T14" fmla="*/ 493 w 574"/>
                  <a:gd name="T15" fmla="*/ 56 h 409"/>
                  <a:gd name="T16" fmla="*/ 487 w 574"/>
                  <a:gd name="T17" fmla="*/ 54 h 409"/>
                  <a:gd name="T18" fmla="*/ 485 w 574"/>
                  <a:gd name="T19" fmla="*/ 53 h 409"/>
                  <a:gd name="T20" fmla="*/ 482 w 574"/>
                  <a:gd name="T21" fmla="*/ 49 h 409"/>
                  <a:gd name="T22" fmla="*/ 479 w 574"/>
                  <a:gd name="T23" fmla="*/ 45 h 409"/>
                  <a:gd name="T24" fmla="*/ 479 w 574"/>
                  <a:gd name="T25" fmla="*/ 45 h 409"/>
                  <a:gd name="T26" fmla="*/ 475 w 574"/>
                  <a:gd name="T27" fmla="*/ 41 h 409"/>
                  <a:gd name="T28" fmla="*/ 475 w 574"/>
                  <a:gd name="T29" fmla="*/ 41 h 409"/>
                  <a:gd name="T30" fmla="*/ 471 w 574"/>
                  <a:gd name="T31" fmla="*/ 37 h 409"/>
                  <a:gd name="T32" fmla="*/ 471 w 574"/>
                  <a:gd name="T33" fmla="*/ 37 h 409"/>
                  <a:gd name="T34" fmla="*/ 466 w 574"/>
                  <a:gd name="T35" fmla="*/ 33 h 409"/>
                  <a:gd name="T36" fmla="*/ 399 w 574"/>
                  <a:gd name="T37" fmla="*/ 10 h 409"/>
                  <a:gd name="T38" fmla="*/ 327 w 574"/>
                  <a:gd name="T39" fmla="*/ 38 h 409"/>
                  <a:gd name="T40" fmla="*/ 265 w 574"/>
                  <a:gd name="T41" fmla="*/ 0 h 409"/>
                  <a:gd name="T42" fmla="*/ 256 w 574"/>
                  <a:gd name="T43" fmla="*/ 1 h 409"/>
                  <a:gd name="T44" fmla="*/ 253 w 574"/>
                  <a:gd name="T45" fmla="*/ 1 h 409"/>
                  <a:gd name="T46" fmla="*/ 251 w 574"/>
                  <a:gd name="T47" fmla="*/ 1 h 409"/>
                  <a:gd name="T48" fmla="*/ 249 w 574"/>
                  <a:gd name="T49" fmla="*/ 2 h 409"/>
                  <a:gd name="T50" fmla="*/ 247 w 574"/>
                  <a:gd name="T51" fmla="*/ 3 h 409"/>
                  <a:gd name="T52" fmla="*/ 244 w 574"/>
                  <a:gd name="T53" fmla="*/ 3 h 409"/>
                  <a:gd name="T54" fmla="*/ 242 w 574"/>
                  <a:gd name="T55" fmla="*/ 4 h 409"/>
                  <a:gd name="T56" fmla="*/ 240 w 574"/>
                  <a:gd name="T57" fmla="*/ 5 h 409"/>
                  <a:gd name="T58" fmla="*/ 238 w 574"/>
                  <a:gd name="T59" fmla="*/ 5 h 409"/>
                  <a:gd name="T60" fmla="*/ 236 w 574"/>
                  <a:gd name="T61" fmla="*/ 6 h 409"/>
                  <a:gd name="T62" fmla="*/ 234 w 574"/>
                  <a:gd name="T63" fmla="*/ 7 h 409"/>
                  <a:gd name="T64" fmla="*/ 232 w 574"/>
                  <a:gd name="T65" fmla="*/ 8 h 409"/>
                  <a:gd name="T66" fmla="*/ 230 w 574"/>
                  <a:gd name="T67" fmla="*/ 10 h 409"/>
                  <a:gd name="T68" fmla="*/ 228 w 574"/>
                  <a:gd name="T69" fmla="*/ 11 h 409"/>
                  <a:gd name="T70" fmla="*/ 225 w 574"/>
                  <a:gd name="T71" fmla="*/ 13 h 409"/>
                  <a:gd name="T72" fmla="*/ 223 w 574"/>
                  <a:gd name="T73" fmla="*/ 14 h 409"/>
                  <a:gd name="T74" fmla="*/ 221 w 574"/>
                  <a:gd name="T75" fmla="*/ 16 h 409"/>
                  <a:gd name="T76" fmla="*/ 220 w 574"/>
                  <a:gd name="T77" fmla="*/ 17 h 409"/>
                  <a:gd name="T78" fmla="*/ 218 w 574"/>
                  <a:gd name="T79" fmla="*/ 19 h 409"/>
                  <a:gd name="T80" fmla="*/ 216 w 574"/>
                  <a:gd name="T81" fmla="*/ 20 h 409"/>
                  <a:gd name="T82" fmla="*/ 215 w 574"/>
                  <a:gd name="T83" fmla="*/ 22 h 409"/>
                  <a:gd name="T84" fmla="*/ 213 w 574"/>
                  <a:gd name="T85" fmla="*/ 23 h 409"/>
                  <a:gd name="T86" fmla="*/ 212 w 574"/>
                  <a:gd name="T87" fmla="*/ 25 h 409"/>
                  <a:gd name="T88" fmla="*/ 210 w 574"/>
                  <a:gd name="T89" fmla="*/ 26 h 409"/>
                  <a:gd name="T90" fmla="*/ 209 w 574"/>
                  <a:gd name="T91" fmla="*/ 29 h 409"/>
                  <a:gd name="T92" fmla="*/ 208 w 574"/>
                  <a:gd name="T93" fmla="*/ 30 h 409"/>
                  <a:gd name="T94" fmla="*/ 206 w 574"/>
                  <a:gd name="T95" fmla="*/ 33 h 409"/>
                  <a:gd name="T96" fmla="*/ 205 w 574"/>
                  <a:gd name="T97" fmla="*/ 34 h 409"/>
                  <a:gd name="T98" fmla="*/ 203 w 574"/>
                  <a:gd name="T99" fmla="*/ 38 h 409"/>
                  <a:gd name="T100" fmla="*/ 131 w 574"/>
                  <a:gd name="T101" fmla="*/ 10 h 409"/>
                  <a:gd name="T102" fmla="*/ 45 w 574"/>
                  <a:gd name="T103" fmla="*/ 53 h 409"/>
                  <a:gd name="T104" fmla="*/ 39 w 574"/>
                  <a:gd name="T105" fmla="*/ 55 h 409"/>
                  <a:gd name="T106" fmla="*/ 38 w 574"/>
                  <a:gd name="T107" fmla="*/ 56 h 409"/>
                  <a:gd name="T108" fmla="*/ 33 w 574"/>
                  <a:gd name="T109" fmla="*/ 58 h 409"/>
                  <a:gd name="T110" fmla="*/ 32 w 574"/>
                  <a:gd name="T111" fmla="*/ 59 h 409"/>
                  <a:gd name="T112" fmla="*/ 21 w 574"/>
                  <a:gd name="T113" fmla="*/ 67 h 409"/>
                  <a:gd name="T114" fmla="*/ 0 w 574"/>
                  <a:gd name="T115" fmla="*/ 116 h 409"/>
                  <a:gd name="T116" fmla="*/ 45 w 574"/>
                  <a:gd name="T117" fmla="*/ 180 h 409"/>
                  <a:gd name="T118" fmla="*/ 75 w 574"/>
                  <a:gd name="T119" fmla="*/ 207 h 409"/>
                  <a:gd name="T120" fmla="*/ 277 w 574"/>
                  <a:gd name="T121" fmla="*/ 409 h 409"/>
                  <a:gd name="T122" fmla="*/ 574 w 574"/>
                  <a:gd name="T123" fmla="*/ 14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4" h="409">
                    <a:moveTo>
                      <a:pt x="574" y="141"/>
                    </a:moveTo>
                    <a:cubicBezTo>
                      <a:pt x="527" y="94"/>
                      <a:pt x="527" y="94"/>
                      <a:pt x="527" y="94"/>
                    </a:cubicBezTo>
                    <a:cubicBezTo>
                      <a:pt x="523" y="83"/>
                      <a:pt x="516" y="73"/>
                      <a:pt x="507" y="66"/>
                    </a:cubicBezTo>
                    <a:cubicBezTo>
                      <a:pt x="506" y="65"/>
                      <a:pt x="505" y="64"/>
                      <a:pt x="505" y="63"/>
                    </a:cubicBezTo>
                    <a:cubicBezTo>
                      <a:pt x="504" y="63"/>
                      <a:pt x="502" y="62"/>
                      <a:pt x="501" y="61"/>
                    </a:cubicBezTo>
                    <a:cubicBezTo>
                      <a:pt x="500" y="60"/>
                      <a:pt x="500" y="60"/>
                      <a:pt x="499" y="59"/>
                    </a:cubicBezTo>
                    <a:cubicBezTo>
                      <a:pt x="497" y="58"/>
                      <a:pt x="496" y="58"/>
                      <a:pt x="494" y="57"/>
                    </a:cubicBezTo>
                    <a:cubicBezTo>
                      <a:pt x="494" y="57"/>
                      <a:pt x="493" y="56"/>
                      <a:pt x="493" y="56"/>
                    </a:cubicBezTo>
                    <a:cubicBezTo>
                      <a:pt x="491" y="55"/>
                      <a:pt x="489" y="54"/>
                      <a:pt x="487" y="54"/>
                    </a:cubicBezTo>
                    <a:cubicBezTo>
                      <a:pt x="486" y="53"/>
                      <a:pt x="486" y="53"/>
                      <a:pt x="485" y="53"/>
                    </a:cubicBezTo>
                    <a:cubicBezTo>
                      <a:pt x="484" y="52"/>
                      <a:pt x="483" y="51"/>
                      <a:pt x="482" y="49"/>
                    </a:cubicBezTo>
                    <a:cubicBezTo>
                      <a:pt x="481" y="48"/>
                      <a:pt x="480" y="47"/>
                      <a:pt x="479" y="45"/>
                    </a:cubicBezTo>
                    <a:cubicBezTo>
                      <a:pt x="479" y="45"/>
                      <a:pt x="479" y="45"/>
                      <a:pt x="479" y="45"/>
                    </a:cubicBezTo>
                    <a:cubicBezTo>
                      <a:pt x="477" y="44"/>
                      <a:pt x="476" y="42"/>
                      <a:pt x="475" y="41"/>
                    </a:cubicBezTo>
                    <a:cubicBezTo>
                      <a:pt x="475" y="41"/>
                      <a:pt x="475" y="41"/>
                      <a:pt x="475" y="41"/>
                    </a:cubicBezTo>
                    <a:cubicBezTo>
                      <a:pt x="473" y="39"/>
                      <a:pt x="472" y="38"/>
                      <a:pt x="471" y="37"/>
                    </a:cubicBezTo>
                    <a:cubicBezTo>
                      <a:pt x="471" y="37"/>
                      <a:pt x="471" y="37"/>
                      <a:pt x="471" y="37"/>
                    </a:cubicBezTo>
                    <a:cubicBezTo>
                      <a:pt x="469" y="36"/>
                      <a:pt x="468" y="34"/>
                      <a:pt x="466" y="33"/>
                    </a:cubicBezTo>
                    <a:cubicBezTo>
                      <a:pt x="448" y="18"/>
                      <a:pt x="425" y="10"/>
                      <a:pt x="399" y="10"/>
                    </a:cubicBezTo>
                    <a:cubicBezTo>
                      <a:pt x="372" y="10"/>
                      <a:pt x="346" y="20"/>
                      <a:pt x="327" y="38"/>
                    </a:cubicBezTo>
                    <a:cubicBezTo>
                      <a:pt x="316" y="15"/>
                      <a:pt x="292" y="0"/>
                      <a:pt x="265" y="0"/>
                    </a:cubicBezTo>
                    <a:cubicBezTo>
                      <a:pt x="262" y="0"/>
                      <a:pt x="259" y="0"/>
                      <a:pt x="256" y="1"/>
                    </a:cubicBezTo>
                    <a:cubicBezTo>
                      <a:pt x="255" y="1"/>
                      <a:pt x="254" y="1"/>
                      <a:pt x="253" y="1"/>
                    </a:cubicBezTo>
                    <a:cubicBezTo>
                      <a:pt x="252" y="1"/>
                      <a:pt x="252" y="1"/>
                      <a:pt x="251" y="1"/>
                    </a:cubicBezTo>
                    <a:cubicBezTo>
                      <a:pt x="250" y="2"/>
                      <a:pt x="249" y="2"/>
                      <a:pt x="249" y="2"/>
                    </a:cubicBezTo>
                    <a:cubicBezTo>
                      <a:pt x="248" y="2"/>
                      <a:pt x="247" y="2"/>
                      <a:pt x="247" y="3"/>
                    </a:cubicBezTo>
                    <a:cubicBezTo>
                      <a:pt x="246" y="3"/>
                      <a:pt x="245" y="3"/>
                      <a:pt x="244" y="3"/>
                    </a:cubicBezTo>
                    <a:cubicBezTo>
                      <a:pt x="244" y="3"/>
                      <a:pt x="243" y="4"/>
                      <a:pt x="242" y="4"/>
                    </a:cubicBezTo>
                    <a:cubicBezTo>
                      <a:pt x="242" y="4"/>
                      <a:pt x="241" y="4"/>
                      <a:pt x="240" y="5"/>
                    </a:cubicBezTo>
                    <a:cubicBezTo>
                      <a:pt x="239" y="5"/>
                      <a:pt x="239" y="5"/>
                      <a:pt x="238" y="5"/>
                    </a:cubicBezTo>
                    <a:cubicBezTo>
                      <a:pt x="237" y="6"/>
                      <a:pt x="237" y="6"/>
                      <a:pt x="236" y="6"/>
                    </a:cubicBezTo>
                    <a:cubicBezTo>
                      <a:pt x="235" y="7"/>
                      <a:pt x="235" y="7"/>
                      <a:pt x="234" y="7"/>
                    </a:cubicBezTo>
                    <a:cubicBezTo>
                      <a:pt x="233" y="8"/>
                      <a:pt x="233" y="8"/>
                      <a:pt x="232" y="8"/>
                    </a:cubicBezTo>
                    <a:cubicBezTo>
                      <a:pt x="231" y="9"/>
                      <a:pt x="231" y="9"/>
                      <a:pt x="230" y="10"/>
                    </a:cubicBezTo>
                    <a:cubicBezTo>
                      <a:pt x="229" y="10"/>
                      <a:pt x="229" y="10"/>
                      <a:pt x="228" y="11"/>
                    </a:cubicBezTo>
                    <a:cubicBezTo>
                      <a:pt x="227" y="11"/>
                      <a:pt x="226" y="12"/>
                      <a:pt x="225" y="13"/>
                    </a:cubicBezTo>
                    <a:cubicBezTo>
                      <a:pt x="224" y="13"/>
                      <a:pt x="224" y="14"/>
                      <a:pt x="223" y="14"/>
                    </a:cubicBezTo>
                    <a:cubicBezTo>
                      <a:pt x="223" y="15"/>
                      <a:pt x="222" y="15"/>
                      <a:pt x="221" y="16"/>
                    </a:cubicBezTo>
                    <a:cubicBezTo>
                      <a:pt x="221" y="16"/>
                      <a:pt x="220" y="16"/>
                      <a:pt x="220" y="17"/>
                    </a:cubicBezTo>
                    <a:cubicBezTo>
                      <a:pt x="219" y="17"/>
                      <a:pt x="218" y="18"/>
                      <a:pt x="218" y="19"/>
                    </a:cubicBezTo>
                    <a:cubicBezTo>
                      <a:pt x="217" y="19"/>
                      <a:pt x="217" y="19"/>
                      <a:pt x="216" y="20"/>
                    </a:cubicBezTo>
                    <a:cubicBezTo>
                      <a:pt x="216" y="21"/>
                      <a:pt x="215" y="21"/>
                      <a:pt x="215" y="22"/>
                    </a:cubicBezTo>
                    <a:cubicBezTo>
                      <a:pt x="214" y="22"/>
                      <a:pt x="214" y="23"/>
                      <a:pt x="213" y="23"/>
                    </a:cubicBezTo>
                    <a:cubicBezTo>
                      <a:pt x="213" y="24"/>
                      <a:pt x="212" y="24"/>
                      <a:pt x="212" y="25"/>
                    </a:cubicBezTo>
                    <a:cubicBezTo>
                      <a:pt x="211" y="26"/>
                      <a:pt x="211" y="26"/>
                      <a:pt x="210" y="26"/>
                    </a:cubicBezTo>
                    <a:cubicBezTo>
                      <a:pt x="210" y="27"/>
                      <a:pt x="209" y="28"/>
                      <a:pt x="209" y="29"/>
                    </a:cubicBezTo>
                    <a:cubicBezTo>
                      <a:pt x="208" y="29"/>
                      <a:pt x="208" y="30"/>
                      <a:pt x="208" y="30"/>
                    </a:cubicBezTo>
                    <a:cubicBezTo>
                      <a:pt x="207" y="31"/>
                      <a:pt x="207" y="32"/>
                      <a:pt x="206" y="33"/>
                    </a:cubicBezTo>
                    <a:cubicBezTo>
                      <a:pt x="206" y="33"/>
                      <a:pt x="206" y="33"/>
                      <a:pt x="205" y="34"/>
                    </a:cubicBezTo>
                    <a:cubicBezTo>
                      <a:pt x="205" y="35"/>
                      <a:pt x="204" y="36"/>
                      <a:pt x="203" y="38"/>
                    </a:cubicBezTo>
                    <a:cubicBezTo>
                      <a:pt x="184" y="20"/>
                      <a:pt x="159" y="10"/>
                      <a:pt x="131" y="10"/>
                    </a:cubicBezTo>
                    <a:cubicBezTo>
                      <a:pt x="96" y="10"/>
                      <a:pt x="65" y="27"/>
                      <a:pt x="45" y="53"/>
                    </a:cubicBezTo>
                    <a:cubicBezTo>
                      <a:pt x="43" y="53"/>
                      <a:pt x="41" y="54"/>
                      <a:pt x="39" y="55"/>
                    </a:cubicBezTo>
                    <a:cubicBezTo>
                      <a:pt x="39" y="55"/>
                      <a:pt x="38" y="56"/>
                      <a:pt x="38" y="56"/>
                    </a:cubicBezTo>
                    <a:cubicBezTo>
                      <a:pt x="36" y="57"/>
                      <a:pt x="35" y="57"/>
                      <a:pt x="33" y="58"/>
                    </a:cubicBezTo>
                    <a:cubicBezTo>
                      <a:pt x="33" y="59"/>
                      <a:pt x="33" y="59"/>
                      <a:pt x="32" y="59"/>
                    </a:cubicBezTo>
                    <a:cubicBezTo>
                      <a:pt x="28" y="61"/>
                      <a:pt x="25" y="64"/>
                      <a:pt x="21" y="67"/>
                    </a:cubicBezTo>
                    <a:cubicBezTo>
                      <a:pt x="8" y="79"/>
                      <a:pt x="0" y="97"/>
                      <a:pt x="0" y="116"/>
                    </a:cubicBezTo>
                    <a:cubicBezTo>
                      <a:pt x="0" y="146"/>
                      <a:pt x="19" y="171"/>
                      <a:pt x="45" y="180"/>
                    </a:cubicBezTo>
                    <a:cubicBezTo>
                      <a:pt x="53" y="191"/>
                      <a:pt x="63" y="200"/>
                      <a:pt x="75" y="207"/>
                    </a:cubicBezTo>
                    <a:cubicBezTo>
                      <a:pt x="277" y="409"/>
                      <a:pt x="277" y="409"/>
                      <a:pt x="277" y="409"/>
                    </a:cubicBezTo>
                    <a:cubicBezTo>
                      <a:pt x="429" y="403"/>
                      <a:pt x="553" y="289"/>
                      <a:pt x="574" y="141"/>
                    </a:cubicBezTo>
                    <a:close/>
                  </a:path>
                </a:pathLst>
              </a:custGeom>
              <a:solidFill>
                <a:srgbClr val="00A2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53" name="Freeform 34"/>
              <p:cNvSpPr>
                <a:spLocks/>
              </p:cNvSpPr>
              <p:nvPr/>
            </p:nvSpPr>
            <p:spPr bwMode="auto">
              <a:xfrm>
                <a:off x="2624138" y="-979488"/>
                <a:ext cx="2001838" cy="839788"/>
              </a:xfrm>
              <a:custGeom>
                <a:avLst/>
                <a:gdLst>
                  <a:gd name="T0" fmla="*/ 485 w 531"/>
                  <a:gd name="T1" fmla="*/ 53 h 223"/>
                  <a:gd name="T2" fmla="*/ 399 w 531"/>
                  <a:gd name="T3" fmla="*/ 10 h 223"/>
                  <a:gd name="T4" fmla="*/ 327 w 531"/>
                  <a:gd name="T5" fmla="*/ 38 h 223"/>
                  <a:gd name="T6" fmla="*/ 265 w 531"/>
                  <a:gd name="T7" fmla="*/ 0 h 223"/>
                  <a:gd name="T8" fmla="*/ 203 w 531"/>
                  <a:gd name="T9" fmla="*/ 38 h 223"/>
                  <a:gd name="T10" fmla="*/ 131 w 531"/>
                  <a:gd name="T11" fmla="*/ 10 h 223"/>
                  <a:gd name="T12" fmla="*/ 45 w 531"/>
                  <a:gd name="T13" fmla="*/ 53 h 223"/>
                  <a:gd name="T14" fmla="*/ 0 w 531"/>
                  <a:gd name="T15" fmla="*/ 116 h 223"/>
                  <a:gd name="T16" fmla="*/ 45 w 531"/>
                  <a:gd name="T17" fmla="*/ 180 h 223"/>
                  <a:gd name="T18" fmla="*/ 131 w 531"/>
                  <a:gd name="T19" fmla="*/ 223 h 223"/>
                  <a:gd name="T20" fmla="*/ 236 w 531"/>
                  <a:gd name="T21" fmla="*/ 134 h 223"/>
                  <a:gd name="T22" fmla="*/ 265 w 531"/>
                  <a:gd name="T23" fmla="*/ 140 h 223"/>
                  <a:gd name="T24" fmla="*/ 294 w 531"/>
                  <a:gd name="T25" fmla="*/ 134 h 223"/>
                  <a:gd name="T26" fmla="*/ 399 w 531"/>
                  <a:gd name="T27" fmla="*/ 223 h 223"/>
                  <a:gd name="T28" fmla="*/ 485 w 531"/>
                  <a:gd name="T29" fmla="*/ 180 h 223"/>
                  <a:gd name="T30" fmla="*/ 531 w 531"/>
                  <a:gd name="T31" fmla="*/ 116 h 223"/>
                  <a:gd name="T32" fmla="*/ 485 w 531"/>
                  <a:gd name="T33" fmla="*/ 5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1" h="223">
                    <a:moveTo>
                      <a:pt x="485" y="53"/>
                    </a:moveTo>
                    <a:cubicBezTo>
                      <a:pt x="466" y="27"/>
                      <a:pt x="434" y="10"/>
                      <a:pt x="399" y="10"/>
                    </a:cubicBezTo>
                    <a:cubicBezTo>
                      <a:pt x="372" y="10"/>
                      <a:pt x="346" y="20"/>
                      <a:pt x="327" y="38"/>
                    </a:cubicBezTo>
                    <a:cubicBezTo>
                      <a:pt x="316" y="15"/>
                      <a:pt x="292" y="0"/>
                      <a:pt x="265" y="0"/>
                    </a:cubicBezTo>
                    <a:cubicBezTo>
                      <a:pt x="238" y="0"/>
                      <a:pt x="215" y="15"/>
                      <a:pt x="203" y="38"/>
                    </a:cubicBezTo>
                    <a:cubicBezTo>
                      <a:pt x="184" y="20"/>
                      <a:pt x="159" y="10"/>
                      <a:pt x="131" y="10"/>
                    </a:cubicBezTo>
                    <a:cubicBezTo>
                      <a:pt x="96" y="10"/>
                      <a:pt x="65" y="27"/>
                      <a:pt x="45" y="53"/>
                    </a:cubicBezTo>
                    <a:cubicBezTo>
                      <a:pt x="19" y="62"/>
                      <a:pt x="0" y="87"/>
                      <a:pt x="0" y="116"/>
                    </a:cubicBezTo>
                    <a:cubicBezTo>
                      <a:pt x="0" y="146"/>
                      <a:pt x="19" y="171"/>
                      <a:pt x="45" y="180"/>
                    </a:cubicBezTo>
                    <a:cubicBezTo>
                      <a:pt x="65" y="206"/>
                      <a:pt x="96" y="223"/>
                      <a:pt x="131" y="223"/>
                    </a:cubicBezTo>
                    <a:cubicBezTo>
                      <a:pt x="184" y="223"/>
                      <a:pt x="228" y="184"/>
                      <a:pt x="236" y="134"/>
                    </a:cubicBezTo>
                    <a:cubicBezTo>
                      <a:pt x="245" y="138"/>
                      <a:pt x="255" y="140"/>
                      <a:pt x="265" y="140"/>
                    </a:cubicBezTo>
                    <a:cubicBezTo>
                      <a:pt x="276" y="140"/>
                      <a:pt x="285" y="138"/>
                      <a:pt x="294" y="134"/>
                    </a:cubicBezTo>
                    <a:cubicBezTo>
                      <a:pt x="302" y="184"/>
                      <a:pt x="346" y="223"/>
                      <a:pt x="399" y="223"/>
                    </a:cubicBezTo>
                    <a:cubicBezTo>
                      <a:pt x="434" y="223"/>
                      <a:pt x="466" y="206"/>
                      <a:pt x="485" y="180"/>
                    </a:cubicBezTo>
                    <a:cubicBezTo>
                      <a:pt x="512" y="171"/>
                      <a:pt x="531" y="146"/>
                      <a:pt x="531" y="116"/>
                    </a:cubicBezTo>
                    <a:cubicBezTo>
                      <a:pt x="531" y="87"/>
                      <a:pt x="512" y="62"/>
                      <a:pt x="485" y="53"/>
                    </a:cubicBezTo>
                    <a:close/>
                  </a:path>
                </a:pathLst>
              </a:custGeom>
              <a:solidFill>
                <a:schemeClr val="accent3"/>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54" name="Oval 32"/>
              <p:cNvSpPr>
                <a:spLocks noChangeArrowheads="1"/>
              </p:cNvSpPr>
              <p:nvPr/>
            </p:nvSpPr>
            <p:spPr bwMode="auto">
              <a:xfrm>
                <a:off x="2851151" y="-806451"/>
                <a:ext cx="534988" cy="530225"/>
              </a:xfrm>
              <a:prstGeom prst="ellipse">
                <a:avLst/>
              </a:prstGeom>
              <a:solidFill>
                <a:srgbClr val="BFEEF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55" name="Oval 33"/>
              <p:cNvSpPr>
                <a:spLocks noChangeArrowheads="1"/>
              </p:cNvSpPr>
              <p:nvPr/>
            </p:nvSpPr>
            <p:spPr bwMode="auto">
              <a:xfrm>
                <a:off x="3863976" y="-806451"/>
                <a:ext cx="531813" cy="530225"/>
              </a:xfrm>
              <a:prstGeom prst="ellipse">
                <a:avLst/>
              </a:prstGeom>
              <a:solidFill>
                <a:srgbClr val="BFEEF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nvGrpSpPr>
          <p:cNvPr id="12" name="Group 11">
            <a:extLst>
              <a:ext uri="{FF2B5EF4-FFF2-40B4-BE49-F238E27FC236}">
                <a16:creationId xmlns:a16="http://schemas.microsoft.com/office/drawing/2014/main" id="{00C164E4-AA47-44D6-A4CF-A840F3257CAD}"/>
              </a:ext>
            </a:extLst>
          </p:cNvPr>
          <p:cNvGrpSpPr/>
          <p:nvPr/>
        </p:nvGrpSpPr>
        <p:grpSpPr>
          <a:xfrm>
            <a:off x="1643331" y="710972"/>
            <a:ext cx="457390" cy="457390"/>
            <a:chOff x="1866501" y="485585"/>
            <a:chExt cx="457390" cy="457390"/>
          </a:xfrm>
        </p:grpSpPr>
        <p:sp>
          <p:nvSpPr>
            <p:cNvPr id="146" name="Oval 145">
              <a:extLst>
                <a:ext uri="{FF2B5EF4-FFF2-40B4-BE49-F238E27FC236}">
                  <a16:creationId xmlns:a16="http://schemas.microsoft.com/office/drawing/2014/main" id="{E7BA089C-A271-4556-8CB7-A3D326590ACE}"/>
                </a:ext>
              </a:extLst>
            </p:cNvPr>
            <p:cNvSpPr/>
            <p:nvPr/>
          </p:nvSpPr>
          <p:spPr>
            <a:xfrm>
              <a:off x="1866501"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64" name="Group 63"/>
            <p:cNvGrpSpPr/>
            <p:nvPr/>
          </p:nvGrpSpPr>
          <p:grpSpPr>
            <a:xfrm>
              <a:off x="1921512" y="540662"/>
              <a:ext cx="349271" cy="349271"/>
              <a:chOff x="2569909" y="3137748"/>
              <a:chExt cx="933450" cy="933450"/>
            </a:xfrm>
          </p:grpSpPr>
          <p:sp>
            <p:nvSpPr>
              <p:cNvPr id="30" name="Freeform 25"/>
              <p:cNvSpPr>
                <a:spLocks/>
              </p:cNvSpPr>
              <p:nvPr/>
            </p:nvSpPr>
            <p:spPr bwMode="auto">
              <a:xfrm>
                <a:off x="2569909" y="3137748"/>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60" name="Freeform 59"/>
              <p:cNvSpPr>
                <a:spLocks/>
              </p:cNvSpPr>
              <p:nvPr/>
            </p:nvSpPr>
            <p:spPr bwMode="auto">
              <a:xfrm>
                <a:off x="2912865" y="3411052"/>
                <a:ext cx="560585" cy="619125"/>
              </a:xfrm>
              <a:custGeom>
                <a:avLst/>
                <a:gdLst>
                  <a:gd name="connsiteX0" fmla="*/ 343475 w 560585"/>
                  <a:gd name="connsiteY0" fmla="*/ 0 h 619125"/>
                  <a:gd name="connsiteX1" fmla="*/ 560585 w 560585"/>
                  <a:gd name="connsiteY1" fmla="*/ 219427 h 619125"/>
                  <a:gd name="connsiteX2" fmla="*/ 435784 w 560585"/>
                  <a:gd name="connsiteY2" fmla="*/ 506087 h 619125"/>
                  <a:gd name="connsiteX3" fmla="*/ 236397 w 560585"/>
                  <a:gd name="connsiteY3" fmla="*/ 619125 h 619125"/>
                  <a:gd name="connsiteX4" fmla="*/ 87 w 560585"/>
                  <a:gd name="connsiteY4" fmla="*/ 393048 h 619125"/>
                  <a:gd name="connsiteX5" fmla="*/ 64 w 560585"/>
                  <a:gd name="connsiteY5" fmla="*/ 391571 h 619125"/>
                  <a:gd name="connsiteX6" fmla="*/ 0 w 560585"/>
                  <a:gd name="connsiteY6" fmla="*/ 387488 h 619125"/>
                  <a:gd name="connsiteX7" fmla="*/ 49858 w 560585"/>
                  <a:gd name="connsiteY7" fmla="*/ 430601 h 619125"/>
                  <a:gd name="connsiteX8" fmla="*/ 135135 w 560585"/>
                  <a:gd name="connsiteY8" fmla="*/ 463550 h 619125"/>
                  <a:gd name="connsiteX9" fmla="*/ 347860 w 560585"/>
                  <a:gd name="connsiteY9" fmla="*/ 204928 h 619125"/>
                  <a:gd name="connsiteX10" fmla="*/ 347860 w 560585"/>
                  <a:gd name="connsiteY10" fmla="*/ 14093 h 619125"/>
                  <a:gd name="connsiteX11" fmla="*/ 342392 w 560585"/>
                  <a:gd name="connsiteY11" fmla="*/ 938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0585" h="619125">
                    <a:moveTo>
                      <a:pt x="343475" y="0"/>
                    </a:moveTo>
                    <a:cubicBezTo>
                      <a:pt x="343475" y="0"/>
                      <a:pt x="343475" y="0"/>
                      <a:pt x="560585" y="219427"/>
                    </a:cubicBezTo>
                    <a:cubicBezTo>
                      <a:pt x="556893" y="323600"/>
                      <a:pt x="515539" y="427034"/>
                      <a:pt x="435784" y="506087"/>
                    </a:cubicBezTo>
                    <a:cubicBezTo>
                      <a:pt x="378922" y="563714"/>
                      <a:pt x="309506" y="601394"/>
                      <a:pt x="236397" y="619125"/>
                    </a:cubicBezTo>
                    <a:cubicBezTo>
                      <a:pt x="236397" y="619125"/>
                      <a:pt x="236397" y="619125"/>
                      <a:pt x="87" y="393048"/>
                    </a:cubicBezTo>
                    <a:cubicBezTo>
                      <a:pt x="87" y="393048"/>
                      <a:pt x="87" y="393048"/>
                      <a:pt x="64" y="391571"/>
                    </a:cubicBezTo>
                    <a:lnTo>
                      <a:pt x="0" y="387488"/>
                    </a:lnTo>
                    <a:lnTo>
                      <a:pt x="49858" y="430601"/>
                    </a:lnTo>
                    <a:cubicBezTo>
                      <a:pt x="75583" y="446143"/>
                      <a:pt x="104297" y="457471"/>
                      <a:pt x="135135" y="463550"/>
                    </a:cubicBezTo>
                    <a:cubicBezTo>
                      <a:pt x="258486" y="439235"/>
                      <a:pt x="347860" y="330924"/>
                      <a:pt x="347860" y="204928"/>
                    </a:cubicBezTo>
                    <a:cubicBezTo>
                      <a:pt x="347860" y="14093"/>
                      <a:pt x="347860" y="14093"/>
                      <a:pt x="347860" y="14093"/>
                    </a:cubicBezTo>
                    <a:lnTo>
                      <a:pt x="342392" y="938"/>
                    </a:lnTo>
                    <a:close/>
                  </a:path>
                </a:pathLst>
              </a:custGeom>
              <a:solidFill>
                <a:srgbClr val="00A2E1">
                  <a:alpha val="23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nvGrpSpPr>
              <p:cNvPr id="63" name="Group 62"/>
              <p:cNvGrpSpPr/>
              <p:nvPr/>
            </p:nvGrpSpPr>
            <p:grpSpPr>
              <a:xfrm>
                <a:off x="2823909" y="3339361"/>
                <a:ext cx="436816" cy="535241"/>
                <a:chOff x="2823909" y="3339361"/>
                <a:chExt cx="436816" cy="535241"/>
              </a:xfrm>
              <a:solidFill>
                <a:schemeClr val="accent1">
                  <a:lumMod val="75000"/>
                  <a:alpha val="40000"/>
                </a:schemeClr>
              </a:solidFill>
            </p:grpSpPr>
            <p:sp>
              <p:nvSpPr>
                <p:cNvPr id="61" name="Freeform 27"/>
                <p:cNvSpPr>
                  <a:spLocks/>
                </p:cNvSpPr>
                <p:nvPr/>
              </p:nvSpPr>
              <p:spPr bwMode="auto">
                <a:xfrm>
                  <a:off x="2823909" y="3339361"/>
                  <a:ext cx="425450" cy="523875"/>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58" name="Freeform 28"/>
                <p:cNvSpPr>
                  <a:spLocks/>
                </p:cNvSpPr>
                <p:nvPr/>
              </p:nvSpPr>
              <p:spPr bwMode="auto">
                <a:xfrm>
                  <a:off x="3048000" y="3350727"/>
                  <a:ext cx="212725" cy="523875"/>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1">
                    <a:lumMod val="75000"/>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grpSp>
        <p:nvGrpSpPr>
          <p:cNvPr id="1029" name="Group 1028">
            <a:extLst>
              <a:ext uri="{FF2B5EF4-FFF2-40B4-BE49-F238E27FC236}">
                <a16:creationId xmlns:a16="http://schemas.microsoft.com/office/drawing/2014/main" id="{5FF859B6-5641-4B6B-A988-1B4156602BBD}"/>
              </a:ext>
            </a:extLst>
          </p:cNvPr>
          <p:cNvGrpSpPr/>
          <p:nvPr/>
        </p:nvGrpSpPr>
        <p:grpSpPr>
          <a:xfrm>
            <a:off x="3317603" y="3421866"/>
            <a:ext cx="5835920" cy="1721634"/>
            <a:chOff x="4489072" y="3342359"/>
            <a:chExt cx="2388985" cy="1721634"/>
          </a:xfrm>
        </p:grpSpPr>
        <p:sp>
          <p:nvSpPr>
            <p:cNvPr id="1030" name="Rectangle: Rounded Corners 1196">
              <a:extLst>
                <a:ext uri="{FF2B5EF4-FFF2-40B4-BE49-F238E27FC236}">
                  <a16:creationId xmlns:a16="http://schemas.microsoft.com/office/drawing/2014/main" id="{5B2D18F0-C1DA-4193-8C6F-E0973D497BAB}"/>
                </a:ext>
              </a:extLst>
            </p:cNvPr>
            <p:cNvSpPr/>
            <p:nvPr/>
          </p:nvSpPr>
          <p:spPr>
            <a:xfrm>
              <a:off x="4489072" y="3342359"/>
              <a:ext cx="2388985" cy="1721634"/>
            </a:xfrm>
            <a:prstGeom prst="roundRect">
              <a:avLst>
                <a:gd name="adj" fmla="val 0"/>
              </a:avLst>
            </a:prstGeom>
            <a:solidFill>
              <a:schemeClr val="tx1">
                <a:lumMod val="10000"/>
                <a:lumOff val="9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32" name="Rectangle 1031">
              <a:extLst>
                <a:ext uri="{FF2B5EF4-FFF2-40B4-BE49-F238E27FC236}">
                  <a16:creationId xmlns:a16="http://schemas.microsoft.com/office/drawing/2014/main" id="{F7DE3585-1A42-4528-9933-8B3058453F69}"/>
                </a:ext>
              </a:extLst>
            </p:cNvPr>
            <p:cNvSpPr/>
            <p:nvPr/>
          </p:nvSpPr>
          <p:spPr>
            <a:xfrm>
              <a:off x="4533379" y="3391414"/>
              <a:ext cx="2138024" cy="1508105"/>
            </a:xfrm>
            <a:prstGeom prst="rect">
              <a:avLst/>
            </a:prstGeom>
          </p:spPr>
          <p:txBody>
            <a:bodyPr wrap="square" anchor="ctr">
              <a:spAutoFit/>
            </a:bodyPr>
            <a:lstStyle/>
            <a:p>
              <a:pPr marL="171450" marR="0" lvl="0" indent="-1714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Enterprise-wide network visibility across users, hosts, networks, and infrastructure (switches, routers, firewalls, servers)</a:t>
              </a:r>
            </a:p>
            <a:p>
              <a:pPr marL="171450" marR="0" lvl="0" indent="-1714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Collects network flow and other data to provide network visibility for understanding network wide traffic and discover threats</a:t>
              </a:r>
            </a:p>
            <a:p>
              <a:pPr marL="171450" marR="0" lvl="0" indent="-1714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Real-time situational awareness of users, devices, and applications</a:t>
              </a:r>
            </a:p>
            <a:p>
              <a:pPr marL="171450" marR="0" lvl="0" indent="-1714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Network flow monitoring of policy violations validates enterprise-wide network access to facilitate compliance and segmentation requirements</a:t>
              </a:r>
            </a:p>
          </p:txBody>
        </p:sp>
      </p:grpSp>
      <p:grpSp>
        <p:nvGrpSpPr>
          <p:cNvPr id="34" name="Group 33">
            <a:extLst>
              <a:ext uri="{FF2B5EF4-FFF2-40B4-BE49-F238E27FC236}">
                <a16:creationId xmlns:a16="http://schemas.microsoft.com/office/drawing/2014/main" id="{2F8B71B4-E133-43A1-8B21-ED932F429864}"/>
              </a:ext>
            </a:extLst>
          </p:cNvPr>
          <p:cNvGrpSpPr/>
          <p:nvPr/>
        </p:nvGrpSpPr>
        <p:grpSpPr>
          <a:xfrm>
            <a:off x="-22640" y="2774515"/>
            <a:ext cx="3062110" cy="2059044"/>
            <a:chOff x="-22640" y="2774515"/>
            <a:chExt cx="3062110" cy="2059044"/>
          </a:xfrm>
        </p:grpSpPr>
        <p:grpSp>
          <p:nvGrpSpPr>
            <p:cNvPr id="910" name="Group 909">
              <a:extLst>
                <a:ext uri="{FF2B5EF4-FFF2-40B4-BE49-F238E27FC236}">
                  <a16:creationId xmlns:a16="http://schemas.microsoft.com/office/drawing/2014/main" id="{D7806739-9BAD-4E8E-8F5D-7A4454E903DA}"/>
                </a:ext>
              </a:extLst>
            </p:cNvPr>
            <p:cNvGrpSpPr/>
            <p:nvPr/>
          </p:nvGrpSpPr>
          <p:grpSpPr>
            <a:xfrm>
              <a:off x="-22640" y="2774515"/>
              <a:ext cx="3062110" cy="2059044"/>
              <a:chOff x="-22640" y="2774515"/>
              <a:chExt cx="3062110" cy="2059044"/>
            </a:xfrm>
          </p:grpSpPr>
          <p:sp>
            <p:nvSpPr>
              <p:cNvPr id="911" name="Oval 910">
                <a:extLst>
                  <a:ext uri="{FF2B5EF4-FFF2-40B4-BE49-F238E27FC236}">
                    <a16:creationId xmlns:a16="http://schemas.microsoft.com/office/drawing/2014/main" id="{35B61CC7-B1CF-4116-9D20-C02DA196B053}"/>
                  </a:ext>
                </a:extLst>
              </p:cNvPr>
              <p:cNvSpPr/>
              <p:nvPr/>
            </p:nvSpPr>
            <p:spPr>
              <a:xfrm>
                <a:off x="-22640" y="4474271"/>
                <a:ext cx="3062110" cy="359288"/>
              </a:xfrm>
              <a:prstGeom prst="ellipse">
                <a:avLst/>
              </a:prstGeom>
              <a:gradFill flip="none" rotWithShape="1">
                <a:gsLst>
                  <a:gs pos="0">
                    <a:schemeClr val="accent1">
                      <a:lumMod val="50000"/>
                    </a:schemeClr>
                  </a:gs>
                  <a:gs pos="32000">
                    <a:schemeClr val="accent1">
                      <a:lumMod val="75000"/>
                    </a:schemeClr>
                  </a:gs>
                  <a:gs pos="100000">
                    <a:schemeClr val="accent1">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pic>
            <p:nvPicPr>
              <p:cNvPr id="912" name="Picture 911">
                <a:extLst>
                  <a:ext uri="{FF2B5EF4-FFF2-40B4-BE49-F238E27FC236}">
                    <a16:creationId xmlns:a16="http://schemas.microsoft.com/office/drawing/2014/main" id="{3E35ECAC-B477-4A0C-A9A1-F5A4F4AA8E7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18175" y="3190876"/>
                <a:ext cx="2575848" cy="1551890"/>
              </a:xfrm>
              <a:prstGeom prst="rect">
                <a:avLst/>
              </a:prstGeom>
            </p:spPr>
          </p:pic>
          <p:sp>
            <p:nvSpPr>
              <p:cNvPr id="913" name="Rectangle: Rounded Corners 912">
                <a:extLst>
                  <a:ext uri="{FF2B5EF4-FFF2-40B4-BE49-F238E27FC236}">
                    <a16:creationId xmlns:a16="http://schemas.microsoft.com/office/drawing/2014/main" id="{AE6C715F-588B-4C09-ABAD-8406252F2D4E}"/>
                  </a:ext>
                </a:extLst>
              </p:cNvPr>
              <p:cNvSpPr/>
              <p:nvPr/>
            </p:nvSpPr>
            <p:spPr>
              <a:xfrm>
                <a:off x="480060" y="2780127"/>
                <a:ext cx="1480133" cy="269045"/>
              </a:xfrm>
              <a:prstGeom prst="roundRect">
                <a:avLst>
                  <a:gd name="adj" fmla="val 5000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14" name="Isosceles Triangle 913">
                <a:extLst>
                  <a:ext uri="{FF2B5EF4-FFF2-40B4-BE49-F238E27FC236}">
                    <a16:creationId xmlns:a16="http://schemas.microsoft.com/office/drawing/2014/main" id="{DD9CD013-ABA4-48CC-A9F3-FDE466E72B74}"/>
                  </a:ext>
                </a:extLst>
              </p:cNvPr>
              <p:cNvSpPr/>
              <p:nvPr/>
            </p:nvSpPr>
            <p:spPr>
              <a:xfrm rot="10800000">
                <a:off x="604651" y="3034884"/>
                <a:ext cx="152313" cy="131304"/>
              </a:xfrm>
              <a:prstGeom prst="triangl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15" name="Rectangle 914">
                <a:extLst>
                  <a:ext uri="{FF2B5EF4-FFF2-40B4-BE49-F238E27FC236}">
                    <a16:creationId xmlns:a16="http://schemas.microsoft.com/office/drawing/2014/main" id="{1CFD76B8-EC37-467C-ABBA-0B1D3EF4DAF8}"/>
                  </a:ext>
                </a:extLst>
              </p:cNvPr>
              <p:cNvSpPr/>
              <p:nvPr/>
            </p:nvSpPr>
            <p:spPr>
              <a:xfrm>
                <a:off x="510757" y="2774515"/>
                <a:ext cx="1449436" cy="261610"/>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Cisco </a:t>
                </a:r>
                <a:r>
                  <a:rPr kumimoji="0" lang="en-US" sz="1100" b="0" i="0" u="none" strike="noStrike" kern="1200" cap="none" spc="0" normalizeH="0" baseline="0" noProof="0" dirty="0" err="1">
                    <a:ln>
                      <a:noFill/>
                    </a:ln>
                    <a:solidFill>
                      <a:srgbClr val="005073"/>
                    </a:solidFill>
                    <a:effectLst/>
                    <a:uLnTx/>
                    <a:uFillTx/>
                    <a:latin typeface="CiscoSans ExtraLight" charset="0"/>
                    <a:ea typeface="CiscoSans ExtraLight" charset="0"/>
                    <a:cs typeface="CiscoSans ExtraLight" charset="0"/>
                  </a:rPr>
                  <a:t>Stealthwatch</a:t>
                </a:r>
                <a:r>
                  <a:rPr kumimoji="0" lang="en-US" sz="11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 </a:t>
                </a:r>
                <a:endParaRPr kumimoji="0" lang="en-US" sz="14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grpSp>
          <p:nvGrpSpPr>
            <p:cNvPr id="916" name="Group 915">
              <a:extLst>
                <a:ext uri="{FF2B5EF4-FFF2-40B4-BE49-F238E27FC236}">
                  <a16:creationId xmlns:a16="http://schemas.microsoft.com/office/drawing/2014/main" id="{C34B2137-60E0-4B76-AE93-B6D0079DCE9C}"/>
                </a:ext>
              </a:extLst>
            </p:cNvPr>
            <p:cNvGrpSpPr/>
            <p:nvPr/>
          </p:nvGrpSpPr>
          <p:grpSpPr>
            <a:xfrm>
              <a:off x="553898" y="3296871"/>
              <a:ext cx="1898617" cy="1184438"/>
              <a:chOff x="5265510" y="2309856"/>
              <a:chExt cx="1892913" cy="1184438"/>
            </a:xfrm>
          </p:grpSpPr>
          <p:sp>
            <p:nvSpPr>
              <p:cNvPr id="917" name="Rectangle 916">
                <a:extLst>
                  <a:ext uri="{FF2B5EF4-FFF2-40B4-BE49-F238E27FC236}">
                    <a16:creationId xmlns:a16="http://schemas.microsoft.com/office/drawing/2014/main" id="{B367E232-6363-4F11-98E7-F36B5781A575}"/>
                  </a:ext>
                </a:extLst>
              </p:cNvPr>
              <p:cNvSpPr/>
              <p:nvPr/>
            </p:nvSpPr>
            <p:spPr>
              <a:xfrm>
                <a:off x="5265510" y="3317230"/>
                <a:ext cx="1892913" cy="177064"/>
              </a:xfrm>
              <a:prstGeom prst="rect">
                <a:avLst/>
              </a:prstGeom>
              <a:solidFill>
                <a:srgbClr val="EEEF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pic>
            <p:nvPicPr>
              <p:cNvPr id="918" name="Picture 917">
                <a:extLst>
                  <a:ext uri="{FF2B5EF4-FFF2-40B4-BE49-F238E27FC236}">
                    <a16:creationId xmlns:a16="http://schemas.microsoft.com/office/drawing/2014/main" id="{686F920D-1982-42F3-852F-28067CAD136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265510" y="2309856"/>
                <a:ext cx="1892913" cy="1086184"/>
              </a:xfrm>
              <a:prstGeom prst="rect">
                <a:avLst/>
              </a:prstGeom>
              <a:ln>
                <a:noFill/>
              </a:ln>
            </p:spPr>
          </p:pic>
        </p:grpSp>
      </p:grpSp>
      <p:sp>
        <p:nvSpPr>
          <p:cNvPr id="1073" name="Oval 1072">
            <a:extLst>
              <a:ext uri="{FF2B5EF4-FFF2-40B4-BE49-F238E27FC236}">
                <a16:creationId xmlns:a16="http://schemas.microsoft.com/office/drawing/2014/main" id="{A593A50F-7C87-4EF5-953D-D2EE67ACDAF5}"/>
              </a:ext>
            </a:extLst>
          </p:cNvPr>
          <p:cNvSpPr/>
          <p:nvPr/>
        </p:nvSpPr>
        <p:spPr>
          <a:xfrm>
            <a:off x="4340245" y="1917163"/>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74" name="Oval 1073">
            <a:extLst>
              <a:ext uri="{FF2B5EF4-FFF2-40B4-BE49-F238E27FC236}">
                <a16:creationId xmlns:a16="http://schemas.microsoft.com/office/drawing/2014/main" id="{E5A91053-F2E6-4DF8-91A0-EA458C5DA184}"/>
              </a:ext>
            </a:extLst>
          </p:cNvPr>
          <p:cNvSpPr/>
          <p:nvPr/>
        </p:nvSpPr>
        <p:spPr>
          <a:xfrm>
            <a:off x="4400087" y="232155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75" name="Oval 1074">
            <a:extLst>
              <a:ext uri="{FF2B5EF4-FFF2-40B4-BE49-F238E27FC236}">
                <a16:creationId xmlns:a16="http://schemas.microsoft.com/office/drawing/2014/main" id="{7219C730-4DCD-477C-960B-81D23A84577E}"/>
              </a:ext>
            </a:extLst>
          </p:cNvPr>
          <p:cNvSpPr/>
          <p:nvPr/>
        </p:nvSpPr>
        <p:spPr>
          <a:xfrm>
            <a:off x="6227164" y="2578889"/>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76" name="Oval 1075">
            <a:extLst>
              <a:ext uri="{FF2B5EF4-FFF2-40B4-BE49-F238E27FC236}">
                <a16:creationId xmlns:a16="http://schemas.microsoft.com/office/drawing/2014/main" id="{13312801-B6BF-43DA-9024-E12F160C22D3}"/>
              </a:ext>
            </a:extLst>
          </p:cNvPr>
          <p:cNvSpPr/>
          <p:nvPr/>
        </p:nvSpPr>
        <p:spPr>
          <a:xfrm>
            <a:off x="8116843" y="2248527"/>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77" name="Oval 1076">
            <a:extLst>
              <a:ext uri="{FF2B5EF4-FFF2-40B4-BE49-F238E27FC236}">
                <a16:creationId xmlns:a16="http://schemas.microsoft.com/office/drawing/2014/main" id="{808DC864-B1AF-48C3-B124-4FD2EDD14C7C}"/>
              </a:ext>
            </a:extLst>
          </p:cNvPr>
          <p:cNvSpPr/>
          <p:nvPr/>
        </p:nvSpPr>
        <p:spPr>
          <a:xfrm>
            <a:off x="7682935" y="1164071"/>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78" name="Oval 1077">
            <a:extLst>
              <a:ext uri="{FF2B5EF4-FFF2-40B4-BE49-F238E27FC236}">
                <a16:creationId xmlns:a16="http://schemas.microsoft.com/office/drawing/2014/main" id="{C329CDD9-1081-4608-AFF4-5CC87E93B956}"/>
              </a:ext>
            </a:extLst>
          </p:cNvPr>
          <p:cNvSpPr/>
          <p:nvPr/>
        </p:nvSpPr>
        <p:spPr>
          <a:xfrm>
            <a:off x="5913701" y="590596"/>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79" name="Oval 1078">
            <a:extLst>
              <a:ext uri="{FF2B5EF4-FFF2-40B4-BE49-F238E27FC236}">
                <a16:creationId xmlns:a16="http://schemas.microsoft.com/office/drawing/2014/main" id="{6ED4D467-6E53-485E-AE42-0AC25A4172F9}"/>
              </a:ext>
            </a:extLst>
          </p:cNvPr>
          <p:cNvSpPr/>
          <p:nvPr/>
        </p:nvSpPr>
        <p:spPr>
          <a:xfrm>
            <a:off x="4399890" y="2009173"/>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80" name="Oval 1079">
            <a:extLst>
              <a:ext uri="{FF2B5EF4-FFF2-40B4-BE49-F238E27FC236}">
                <a16:creationId xmlns:a16="http://schemas.microsoft.com/office/drawing/2014/main" id="{71F2D65C-B141-4269-98C6-59C28B3334BF}"/>
              </a:ext>
            </a:extLst>
          </p:cNvPr>
          <p:cNvSpPr/>
          <p:nvPr/>
        </p:nvSpPr>
        <p:spPr>
          <a:xfrm>
            <a:off x="6151194" y="2504452"/>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81" name="Oval 1080">
            <a:extLst>
              <a:ext uri="{FF2B5EF4-FFF2-40B4-BE49-F238E27FC236}">
                <a16:creationId xmlns:a16="http://schemas.microsoft.com/office/drawing/2014/main" id="{C0A716A5-A1C8-41EB-9FB5-3340321A433A}"/>
              </a:ext>
            </a:extLst>
          </p:cNvPr>
          <p:cNvSpPr/>
          <p:nvPr/>
        </p:nvSpPr>
        <p:spPr>
          <a:xfrm>
            <a:off x="7772816" y="225813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82" name="Oval 1081">
            <a:extLst>
              <a:ext uri="{FF2B5EF4-FFF2-40B4-BE49-F238E27FC236}">
                <a16:creationId xmlns:a16="http://schemas.microsoft.com/office/drawing/2014/main" id="{3E239285-16BE-4A13-A506-F97126542B5C}"/>
              </a:ext>
            </a:extLst>
          </p:cNvPr>
          <p:cNvSpPr/>
          <p:nvPr/>
        </p:nvSpPr>
        <p:spPr>
          <a:xfrm>
            <a:off x="5832490" y="899372"/>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83" name="Oval 1082">
            <a:extLst>
              <a:ext uri="{FF2B5EF4-FFF2-40B4-BE49-F238E27FC236}">
                <a16:creationId xmlns:a16="http://schemas.microsoft.com/office/drawing/2014/main" id="{B41B69C0-1FC7-4653-BB82-05A13E59D3B1}"/>
              </a:ext>
            </a:extLst>
          </p:cNvPr>
          <p:cNvSpPr/>
          <p:nvPr/>
        </p:nvSpPr>
        <p:spPr>
          <a:xfrm>
            <a:off x="4838583" y="1132382"/>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84" name="Oval 1083">
            <a:extLst>
              <a:ext uri="{FF2B5EF4-FFF2-40B4-BE49-F238E27FC236}">
                <a16:creationId xmlns:a16="http://schemas.microsoft.com/office/drawing/2014/main" id="{032A2CFC-04A6-46E9-A619-93A036502ECC}"/>
              </a:ext>
            </a:extLst>
          </p:cNvPr>
          <p:cNvSpPr/>
          <p:nvPr/>
        </p:nvSpPr>
        <p:spPr>
          <a:xfrm>
            <a:off x="6151194" y="2516209"/>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85" name="Oval 1084">
            <a:extLst>
              <a:ext uri="{FF2B5EF4-FFF2-40B4-BE49-F238E27FC236}">
                <a16:creationId xmlns:a16="http://schemas.microsoft.com/office/drawing/2014/main" id="{FA92EA5C-B4D0-4849-A72A-417861DDBB1D}"/>
              </a:ext>
            </a:extLst>
          </p:cNvPr>
          <p:cNvSpPr/>
          <p:nvPr/>
        </p:nvSpPr>
        <p:spPr>
          <a:xfrm>
            <a:off x="7693846" y="1235785"/>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39" name="Group 38">
            <a:extLst>
              <a:ext uri="{FF2B5EF4-FFF2-40B4-BE49-F238E27FC236}">
                <a16:creationId xmlns:a16="http://schemas.microsoft.com/office/drawing/2014/main" id="{B95C1893-6B94-4061-AE02-0F6263CE4C04}"/>
              </a:ext>
            </a:extLst>
          </p:cNvPr>
          <p:cNvGrpSpPr/>
          <p:nvPr>
            <p:custDataLst>
              <p:tags r:id="rId1"/>
            </p:custDataLst>
          </p:nvPr>
        </p:nvGrpSpPr>
        <p:grpSpPr>
          <a:xfrm>
            <a:off x="7435516" y="1779881"/>
            <a:ext cx="834480" cy="834480"/>
            <a:chOff x="7435516" y="1779881"/>
            <a:chExt cx="834480" cy="834480"/>
          </a:xfrm>
        </p:grpSpPr>
        <p:sp>
          <p:nvSpPr>
            <p:cNvPr id="936" name="Oval 935">
              <a:extLst>
                <a:ext uri="{FF2B5EF4-FFF2-40B4-BE49-F238E27FC236}">
                  <a16:creationId xmlns:a16="http://schemas.microsoft.com/office/drawing/2014/main" id="{36965AAE-D500-46E0-8BD3-86E3F8F253B9}"/>
                </a:ext>
              </a:extLst>
            </p:cNvPr>
            <p:cNvSpPr/>
            <p:nvPr/>
          </p:nvSpPr>
          <p:spPr>
            <a:xfrm>
              <a:off x="7435516" y="1779881"/>
              <a:ext cx="834480" cy="834480"/>
            </a:xfrm>
            <a:prstGeom prst="ellipse">
              <a:avLst/>
            </a:prstGeom>
            <a:solidFill>
              <a:schemeClr val="bg2"/>
            </a:solidFill>
            <a:ln>
              <a:solidFill>
                <a:schemeClr val="tx1">
                  <a:lumMod val="25000"/>
                  <a:lumOff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969" name="Group 968">
              <a:extLst>
                <a:ext uri="{FF2B5EF4-FFF2-40B4-BE49-F238E27FC236}">
                  <a16:creationId xmlns:a16="http://schemas.microsoft.com/office/drawing/2014/main" id="{2E6F0547-1494-428C-ACFF-4A7AA67BA4BC}"/>
                </a:ext>
              </a:extLst>
            </p:cNvPr>
            <p:cNvGrpSpPr>
              <a:grpSpLocks noChangeAspect="1"/>
            </p:cNvGrpSpPr>
            <p:nvPr/>
          </p:nvGrpSpPr>
          <p:grpSpPr>
            <a:xfrm>
              <a:off x="7675249" y="2011087"/>
              <a:ext cx="379051" cy="379090"/>
              <a:chOff x="542940" y="1857375"/>
              <a:chExt cx="914400" cy="914494"/>
            </a:xfrm>
          </p:grpSpPr>
          <p:sp>
            <p:nvSpPr>
              <p:cNvPr id="970" name="Oval 969">
                <a:extLst>
                  <a:ext uri="{FF2B5EF4-FFF2-40B4-BE49-F238E27FC236}">
                    <a16:creationId xmlns:a16="http://schemas.microsoft.com/office/drawing/2014/main" id="{AA851016-DC65-4EDE-A84E-0ABAD3414082}"/>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971" name="Group 4">
                <a:extLst>
                  <a:ext uri="{FF2B5EF4-FFF2-40B4-BE49-F238E27FC236}">
                    <a16:creationId xmlns:a16="http://schemas.microsoft.com/office/drawing/2014/main" id="{9D5CC35B-9692-4517-86A0-FA9B40E0CB9F}"/>
                  </a:ext>
                </a:extLst>
              </p:cNvPr>
              <p:cNvGrpSpPr>
                <a:grpSpLocks noChangeAspect="1"/>
              </p:cNvGrpSpPr>
              <p:nvPr/>
            </p:nvGrpSpPr>
            <p:grpSpPr bwMode="auto">
              <a:xfrm>
                <a:off x="543174" y="1857375"/>
                <a:ext cx="913932" cy="914494"/>
                <a:chOff x="1261" y="0"/>
                <a:chExt cx="3238" cy="3240"/>
              </a:xfrm>
              <a:solidFill>
                <a:schemeClr val="tx2"/>
              </a:solidFill>
            </p:grpSpPr>
            <p:sp>
              <p:nvSpPr>
                <p:cNvPr id="972" name="Freeform 5">
                  <a:extLst>
                    <a:ext uri="{FF2B5EF4-FFF2-40B4-BE49-F238E27FC236}">
                      <a16:creationId xmlns:a16="http://schemas.microsoft.com/office/drawing/2014/main" id="{EA594048-64FD-48FC-B6F1-CBBC12C8726A}"/>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73" name="Freeform 6">
                  <a:extLst>
                    <a:ext uri="{FF2B5EF4-FFF2-40B4-BE49-F238E27FC236}">
                      <a16:creationId xmlns:a16="http://schemas.microsoft.com/office/drawing/2014/main" id="{320A7DFB-7ACE-4D7E-89E8-169B1D918A25}"/>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74" name="Freeform 7">
                  <a:extLst>
                    <a:ext uri="{FF2B5EF4-FFF2-40B4-BE49-F238E27FC236}">
                      <a16:creationId xmlns:a16="http://schemas.microsoft.com/office/drawing/2014/main" id="{42460FB7-3F8E-48EC-BC6F-7E4E2EBADF31}"/>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75" name="Freeform 8">
                  <a:extLst>
                    <a:ext uri="{FF2B5EF4-FFF2-40B4-BE49-F238E27FC236}">
                      <a16:creationId xmlns:a16="http://schemas.microsoft.com/office/drawing/2014/main" id="{BF57869A-E74A-44DC-9405-DA4737562B2F}"/>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76" name="Freeform 9">
                  <a:extLst>
                    <a:ext uri="{FF2B5EF4-FFF2-40B4-BE49-F238E27FC236}">
                      <a16:creationId xmlns:a16="http://schemas.microsoft.com/office/drawing/2014/main" id="{DE1B94F5-1B1E-4F0B-9A16-53AEFDCCD980}"/>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77" name="Freeform 10">
                  <a:extLst>
                    <a:ext uri="{FF2B5EF4-FFF2-40B4-BE49-F238E27FC236}">
                      <a16:creationId xmlns:a16="http://schemas.microsoft.com/office/drawing/2014/main" id="{BAA8DA64-4D66-49A6-B38B-CC742B7A4C3D}"/>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78" name="Freeform 11">
                  <a:extLst>
                    <a:ext uri="{FF2B5EF4-FFF2-40B4-BE49-F238E27FC236}">
                      <a16:creationId xmlns:a16="http://schemas.microsoft.com/office/drawing/2014/main" id="{1AA5BB45-F27F-4B4B-AF22-78BAB2418CFA}"/>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79" name="Freeform 12">
                  <a:extLst>
                    <a:ext uri="{FF2B5EF4-FFF2-40B4-BE49-F238E27FC236}">
                      <a16:creationId xmlns:a16="http://schemas.microsoft.com/office/drawing/2014/main" id="{92D64FCE-7964-484D-A3DC-D16335B8777B}"/>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80" name="Freeform 13">
                  <a:extLst>
                    <a:ext uri="{FF2B5EF4-FFF2-40B4-BE49-F238E27FC236}">
                      <a16:creationId xmlns:a16="http://schemas.microsoft.com/office/drawing/2014/main" id="{700829CD-58BD-4D38-962B-0EB050C4B644}"/>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81" name="Freeform 14">
                  <a:extLst>
                    <a:ext uri="{FF2B5EF4-FFF2-40B4-BE49-F238E27FC236}">
                      <a16:creationId xmlns:a16="http://schemas.microsoft.com/office/drawing/2014/main" id="{72C486EB-2A53-4F7E-B58D-4A0ECDDA5737}"/>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82" name="Freeform 15">
                  <a:extLst>
                    <a:ext uri="{FF2B5EF4-FFF2-40B4-BE49-F238E27FC236}">
                      <a16:creationId xmlns:a16="http://schemas.microsoft.com/office/drawing/2014/main" id="{1B87C050-79D3-4DB0-8130-8B436D2B060E}"/>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83" name="Freeform 16">
                  <a:extLst>
                    <a:ext uri="{FF2B5EF4-FFF2-40B4-BE49-F238E27FC236}">
                      <a16:creationId xmlns:a16="http://schemas.microsoft.com/office/drawing/2014/main" id="{8A330534-1108-4E35-AA04-B4FC86D3B17C}"/>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84" name="Freeform 17">
                  <a:extLst>
                    <a:ext uri="{FF2B5EF4-FFF2-40B4-BE49-F238E27FC236}">
                      <a16:creationId xmlns:a16="http://schemas.microsoft.com/office/drawing/2014/main" id="{5A49733B-AF72-498C-A3D7-5241DD309C8B}"/>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85" name="Freeform 18">
                  <a:extLst>
                    <a:ext uri="{FF2B5EF4-FFF2-40B4-BE49-F238E27FC236}">
                      <a16:creationId xmlns:a16="http://schemas.microsoft.com/office/drawing/2014/main" id="{FADA5A04-7864-415C-8640-8093557994AD}"/>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86" name="Freeform 19">
                  <a:extLst>
                    <a:ext uri="{FF2B5EF4-FFF2-40B4-BE49-F238E27FC236}">
                      <a16:creationId xmlns:a16="http://schemas.microsoft.com/office/drawing/2014/main" id="{71632C8B-7B59-4AE6-8904-F4FA74BC1B02}"/>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87" name="Freeform 20">
                  <a:extLst>
                    <a:ext uri="{FF2B5EF4-FFF2-40B4-BE49-F238E27FC236}">
                      <a16:creationId xmlns:a16="http://schemas.microsoft.com/office/drawing/2014/main" id="{3B00012A-17D5-4F4D-9115-10FAC6021022}"/>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88" name="Freeform 21">
                  <a:extLst>
                    <a:ext uri="{FF2B5EF4-FFF2-40B4-BE49-F238E27FC236}">
                      <a16:creationId xmlns:a16="http://schemas.microsoft.com/office/drawing/2014/main" id="{C301A743-C55A-43E5-8F78-9BA9D8EB42CC}"/>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89" name="Freeform 22">
                  <a:extLst>
                    <a:ext uri="{FF2B5EF4-FFF2-40B4-BE49-F238E27FC236}">
                      <a16:creationId xmlns:a16="http://schemas.microsoft.com/office/drawing/2014/main" id="{7333FDE8-02CD-4CFA-8B7A-10D760DFE618}"/>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90" name="Freeform 23">
                  <a:extLst>
                    <a:ext uri="{FF2B5EF4-FFF2-40B4-BE49-F238E27FC236}">
                      <a16:creationId xmlns:a16="http://schemas.microsoft.com/office/drawing/2014/main" id="{04A7EF04-5CFD-4190-9016-841E454B46D1}"/>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91" name="Freeform 24">
                  <a:extLst>
                    <a:ext uri="{FF2B5EF4-FFF2-40B4-BE49-F238E27FC236}">
                      <a16:creationId xmlns:a16="http://schemas.microsoft.com/office/drawing/2014/main" id="{4094962E-D676-4E23-8063-79759135D3ED}"/>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grpSp>
        <p:nvGrpSpPr>
          <p:cNvPr id="42" name="Group 41">
            <a:extLst>
              <a:ext uri="{FF2B5EF4-FFF2-40B4-BE49-F238E27FC236}">
                <a16:creationId xmlns:a16="http://schemas.microsoft.com/office/drawing/2014/main" id="{A62F6EE6-4A4F-456D-A598-05D1EAFB9137}"/>
              </a:ext>
            </a:extLst>
          </p:cNvPr>
          <p:cNvGrpSpPr/>
          <p:nvPr>
            <p:custDataLst>
              <p:tags r:id="rId2"/>
            </p:custDataLst>
          </p:nvPr>
        </p:nvGrpSpPr>
        <p:grpSpPr>
          <a:xfrm>
            <a:off x="4217387" y="638182"/>
            <a:ext cx="834480" cy="834480"/>
            <a:chOff x="4217387" y="638182"/>
            <a:chExt cx="834480" cy="834480"/>
          </a:xfrm>
        </p:grpSpPr>
        <p:sp>
          <p:nvSpPr>
            <p:cNvPr id="938" name="Oval 937">
              <a:extLst>
                <a:ext uri="{FF2B5EF4-FFF2-40B4-BE49-F238E27FC236}">
                  <a16:creationId xmlns:a16="http://schemas.microsoft.com/office/drawing/2014/main" id="{805AAA1D-387E-451C-8F6D-8CD5A945DC0F}"/>
                </a:ext>
              </a:extLst>
            </p:cNvPr>
            <p:cNvSpPr/>
            <p:nvPr/>
          </p:nvSpPr>
          <p:spPr>
            <a:xfrm>
              <a:off x="4217387" y="638182"/>
              <a:ext cx="834480" cy="834480"/>
            </a:xfrm>
            <a:prstGeom prst="ellipse">
              <a:avLst/>
            </a:prstGeom>
            <a:solidFill>
              <a:schemeClr val="bg2"/>
            </a:solidFill>
            <a:ln>
              <a:solidFill>
                <a:schemeClr val="tx1">
                  <a:lumMod val="25000"/>
                  <a:lumOff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992" name="Group 991">
              <a:extLst>
                <a:ext uri="{FF2B5EF4-FFF2-40B4-BE49-F238E27FC236}">
                  <a16:creationId xmlns:a16="http://schemas.microsoft.com/office/drawing/2014/main" id="{02FB242B-8D25-4B40-B663-46C39D33941A}"/>
                </a:ext>
              </a:extLst>
            </p:cNvPr>
            <p:cNvGrpSpPr>
              <a:grpSpLocks noChangeAspect="1"/>
            </p:cNvGrpSpPr>
            <p:nvPr/>
          </p:nvGrpSpPr>
          <p:grpSpPr>
            <a:xfrm>
              <a:off x="4464341" y="882716"/>
              <a:ext cx="375308" cy="375308"/>
              <a:chOff x="1358899" y="2193925"/>
              <a:chExt cx="390525" cy="390525"/>
            </a:xfrm>
          </p:grpSpPr>
          <p:sp>
            <p:nvSpPr>
              <p:cNvPr id="993" name="Rectangle: Rounded Corners 992">
                <a:extLst>
                  <a:ext uri="{FF2B5EF4-FFF2-40B4-BE49-F238E27FC236}">
                    <a16:creationId xmlns:a16="http://schemas.microsoft.com/office/drawing/2014/main" id="{8FDB5364-998E-49D7-A3D7-45AAC8593541}"/>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994" name="Group 993">
                <a:extLst>
                  <a:ext uri="{FF2B5EF4-FFF2-40B4-BE49-F238E27FC236}">
                    <a16:creationId xmlns:a16="http://schemas.microsoft.com/office/drawing/2014/main" id="{B7832D58-FEAC-41FB-8C06-11F3270A16AC}"/>
                  </a:ext>
                </a:extLst>
              </p:cNvPr>
              <p:cNvGrpSpPr/>
              <p:nvPr/>
            </p:nvGrpSpPr>
            <p:grpSpPr>
              <a:xfrm>
                <a:off x="1420588" y="2248963"/>
                <a:ext cx="267146" cy="280448"/>
                <a:chOff x="1401763" y="2228851"/>
                <a:chExt cx="307974" cy="323308"/>
              </a:xfrm>
            </p:grpSpPr>
            <p:grpSp>
              <p:nvGrpSpPr>
                <p:cNvPr id="995" name="Group 994">
                  <a:extLst>
                    <a:ext uri="{FF2B5EF4-FFF2-40B4-BE49-F238E27FC236}">
                      <a16:creationId xmlns:a16="http://schemas.microsoft.com/office/drawing/2014/main" id="{3ED0D9C4-F594-43EC-B247-B65A00666113}"/>
                    </a:ext>
                  </a:extLst>
                </p:cNvPr>
                <p:cNvGrpSpPr/>
                <p:nvPr/>
              </p:nvGrpSpPr>
              <p:grpSpPr>
                <a:xfrm>
                  <a:off x="1482725" y="2295526"/>
                  <a:ext cx="227012" cy="256633"/>
                  <a:chOff x="1482725" y="2276476"/>
                  <a:chExt cx="227012" cy="256633"/>
                </a:xfrm>
                <a:solidFill>
                  <a:schemeClr val="bg2"/>
                </a:solidFill>
              </p:grpSpPr>
              <p:sp>
                <p:nvSpPr>
                  <p:cNvPr id="999" name="Freeform 33">
                    <a:extLst>
                      <a:ext uri="{FF2B5EF4-FFF2-40B4-BE49-F238E27FC236}">
                        <a16:creationId xmlns:a16="http://schemas.microsoft.com/office/drawing/2014/main" id="{9C347DE7-4DFF-4177-B802-25262C76A895}"/>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00" name="Freeform 33">
                    <a:extLst>
                      <a:ext uri="{FF2B5EF4-FFF2-40B4-BE49-F238E27FC236}">
                        <a16:creationId xmlns:a16="http://schemas.microsoft.com/office/drawing/2014/main" id="{7FD4C2E3-04DA-4A9C-ABBB-002C5E33A2A2}"/>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996" name="Group 995">
                  <a:extLst>
                    <a:ext uri="{FF2B5EF4-FFF2-40B4-BE49-F238E27FC236}">
                      <a16:creationId xmlns:a16="http://schemas.microsoft.com/office/drawing/2014/main" id="{9E97E8B6-82C5-4AA2-9480-378C01257A4E}"/>
                    </a:ext>
                  </a:extLst>
                </p:cNvPr>
                <p:cNvGrpSpPr/>
                <p:nvPr/>
              </p:nvGrpSpPr>
              <p:grpSpPr>
                <a:xfrm flipH="1">
                  <a:off x="1401763" y="2228851"/>
                  <a:ext cx="227012" cy="256633"/>
                  <a:chOff x="1482725" y="2276476"/>
                  <a:chExt cx="227012" cy="256633"/>
                </a:xfrm>
              </p:grpSpPr>
              <p:sp>
                <p:nvSpPr>
                  <p:cNvPr id="997" name="Freeform 33">
                    <a:extLst>
                      <a:ext uri="{FF2B5EF4-FFF2-40B4-BE49-F238E27FC236}">
                        <a16:creationId xmlns:a16="http://schemas.microsoft.com/office/drawing/2014/main" id="{67CC0616-88AE-4C4C-8CD7-0D08DD62F101}"/>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98" name="Freeform 33">
                    <a:extLst>
                      <a:ext uri="{FF2B5EF4-FFF2-40B4-BE49-F238E27FC236}">
                        <a16:creationId xmlns:a16="http://schemas.microsoft.com/office/drawing/2014/main" id="{702C2F75-D947-4686-828F-E758C76F2387}"/>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grpSp>
      <p:grpSp>
        <p:nvGrpSpPr>
          <p:cNvPr id="35" name="Group 34">
            <a:extLst>
              <a:ext uri="{FF2B5EF4-FFF2-40B4-BE49-F238E27FC236}">
                <a16:creationId xmlns:a16="http://schemas.microsoft.com/office/drawing/2014/main" id="{AD6EEB41-A772-45B3-B1DC-817A0FA6DA62}"/>
              </a:ext>
            </a:extLst>
          </p:cNvPr>
          <p:cNvGrpSpPr/>
          <p:nvPr>
            <p:custDataLst>
              <p:tags r:id="rId3"/>
            </p:custDataLst>
          </p:nvPr>
        </p:nvGrpSpPr>
        <p:grpSpPr>
          <a:xfrm>
            <a:off x="7455959" y="638182"/>
            <a:ext cx="834480" cy="834480"/>
            <a:chOff x="7455959" y="638182"/>
            <a:chExt cx="834480" cy="834480"/>
          </a:xfrm>
        </p:grpSpPr>
        <p:sp>
          <p:nvSpPr>
            <p:cNvPr id="939" name="Oval 938">
              <a:extLst>
                <a:ext uri="{FF2B5EF4-FFF2-40B4-BE49-F238E27FC236}">
                  <a16:creationId xmlns:a16="http://schemas.microsoft.com/office/drawing/2014/main" id="{24997AFF-E0F7-44EE-A2AD-2BA26BAF4974}"/>
                </a:ext>
              </a:extLst>
            </p:cNvPr>
            <p:cNvSpPr/>
            <p:nvPr/>
          </p:nvSpPr>
          <p:spPr>
            <a:xfrm>
              <a:off x="7455959" y="638182"/>
              <a:ext cx="834480" cy="834480"/>
            </a:xfrm>
            <a:prstGeom prst="ellipse">
              <a:avLst/>
            </a:prstGeom>
            <a:solidFill>
              <a:schemeClr val="bg2"/>
            </a:solidFill>
            <a:ln>
              <a:solidFill>
                <a:schemeClr val="tx1">
                  <a:lumMod val="25000"/>
                  <a:lumOff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001" name="Group 1000">
              <a:extLst>
                <a:ext uri="{FF2B5EF4-FFF2-40B4-BE49-F238E27FC236}">
                  <a16:creationId xmlns:a16="http://schemas.microsoft.com/office/drawing/2014/main" id="{4B9B13FB-469D-4D7C-BFA0-0408125A022A}"/>
                </a:ext>
              </a:extLst>
            </p:cNvPr>
            <p:cNvGrpSpPr>
              <a:grpSpLocks noChangeAspect="1"/>
            </p:cNvGrpSpPr>
            <p:nvPr/>
          </p:nvGrpSpPr>
          <p:grpSpPr>
            <a:xfrm>
              <a:off x="7646205" y="896609"/>
              <a:ext cx="475528" cy="344676"/>
              <a:chOff x="4207537" y="2273730"/>
              <a:chExt cx="598923" cy="434116"/>
            </a:xfrm>
          </p:grpSpPr>
          <p:grpSp>
            <p:nvGrpSpPr>
              <p:cNvPr id="1002" name="Group 1001">
                <a:extLst>
                  <a:ext uri="{FF2B5EF4-FFF2-40B4-BE49-F238E27FC236}">
                    <a16:creationId xmlns:a16="http://schemas.microsoft.com/office/drawing/2014/main" id="{2080B95E-9273-4671-A4E0-EDC1966DCEEF}"/>
                  </a:ext>
                </a:extLst>
              </p:cNvPr>
              <p:cNvGrpSpPr/>
              <p:nvPr/>
            </p:nvGrpSpPr>
            <p:grpSpPr>
              <a:xfrm>
                <a:off x="4207537" y="2273730"/>
                <a:ext cx="179387" cy="434116"/>
                <a:chOff x="2330274" y="3840316"/>
                <a:chExt cx="238125" cy="576262"/>
              </a:xfrm>
            </p:grpSpPr>
            <p:sp>
              <p:nvSpPr>
                <p:cNvPr id="1017" name="Freeform 201">
                  <a:extLst>
                    <a:ext uri="{FF2B5EF4-FFF2-40B4-BE49-F238E27FC236}">
                      <a16:creationId xmlns:a16="http://schemas.microsoft.com/office/drawing/2014/main" id="{79E17B40-CD75-4F23-91D9-03D024F49E79}"/>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18" name="Line 202">
                  <a:extLst>
                    <a:ext uri="{FF2B5EF4-FFF2-40B4-BE49-F238E27FC236}">
                      <a16:creationId xmlns:a16="http://schemas.microsoft.com/office/drawing/2014/main" id="{8543E6E8-CEB0-4CFE-8517-44341E941264}"/>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19" name="Line 203">
                  <a:extLst>
                    <a:ext uri="{FF2B5EF4-FFF2-40B4-BE49-F238E27FC236}">
                      <a16:creationId xmlns:a16="http://schemas.microsoft.com/office/drawing/2014/main" id="{A19130E3-4B07-4013-9D7C-710B9EC380A0}"/>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20" name="Line 204">
                  <a:extLst>
                    <a:ext uri="{FF2B5EF4-FFF2-40B4-BE49-F238E27FC236}">
                      <a16:creationId xmlns:a16="http://schemas.microsoft.com/office/drawing/2014/main" id="{EA0FE66E-DC66-4A53-975F-741B242DAACC}"/>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21" name="Line 205">
                  <a:extLst>
                    <a:ext uri="{FF2B5EF4-FFF2-40B4-BE49-F238E27FC236}">
                      <a16:creationId xmlns:a16="http://schemas.microsoft.com/office/drawing/2014/main" id="{92622006-44AA-448F-9D42-0E0D4C807505}"/>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22" name="Line 206">
                  <a:extLst>
                    <a:ext uri="{FF2B5EF4-FFF2-40B4-BE49-F238E27FC236}">
                      <a16:creationId xmlns:a16="http://schemas.microsoft.com/office/drawing/2014/main" id="{4A82B445-792A-4EFC-A9B8-516AFE6A3E10}"/>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003" name="Group 1002">
                <a:extLst>
                  <a:ext uri="{FF2B5EF4-FFF2-40B4-BE49-F238E27FC236}">
                    <a16:creationId xmlns:a16="http://schemas.microsoft.com/office/drawing/2014/main" id="{E0EE7F73-1F0F-49A2-8F21-143379F04869}"/>
                  </a:ext>
                </a:extLst>
              </p:cNvPr>
              <p:cNvGrpSpPr/>
              <p:nvPr/>
            </p:nvGrpSpPr>
            <p:grpSpPr>
              <a:xfrm>
                <a:off x="4417305" y="2273730"/>
                <a:ext cx="179387" cy="434116"/>
                <a:chOff x="2330274" y="3840316"/>
                <a:chExt cx="238125" cy="576262"/>
              </a:xfrm>
            </p:grpSpPr>
            <p:sp>
              <p:nvSpPr>
                <p:cNvPr id="1011" name="Freeform 201">
                  <a:extLst>
                    <a:ext uri="{FF2B5EF4-FFF2-40B4-BE49-F238E27FC236}">
                      <a16:creationId xmlns:a16="http://schemas.microsoft.com/office/drawing/2014/main" id="{5C260912-0000-47C6-961D-CAA706F735F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12" name="Line 202">
                  <a:extLst>
                    <a:ext uri="{FF2B5EF4-FFF2-40B4-BE49-F238E27FC236}">
                      <a16:creationId xmlns:a16="http://schemas.microsoft.com/office/drawing/2014/main" id="{20D1C914-92C8-402B-9EA1-64ECF1B3C715}"/>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13" name="Line 203">
                  <a:extLst>
                    <a:ext uri="{FF2B5EF4-FFF2-40B4-BE49-F238E27FC236}">
                      <a16:creationId xmlns:a16="http://schemas.microsoft.com/office/drawing/2014/main" id="{1775BCE7-D413-48DD-B3D6-02344549AAE1}"/>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14" name="Line 204">
                  <a:extLst>
                    <a:ext uri="{FF2B5EF4-FFF2-40B4-BE49-F238E27FC236}">
                      <a16:creationId xmlns:a16="http://schemas.microsoft.com/office/drawing/2014/main" id="{34A443DB-57E8-4888-A493-67F17B003D70}"/>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15" name="Line 205">
                  <a:extLst>
                    <a:ext uri="{FF2B5EF4-FFF2-40B4-BE49-F238E27FC236}">
                      <a16:creationId xmlns:a16="http://schemas.microsoft.com/office/drawing/2014/main" id="{3B6D30A0-0719-4532-B956-DA3419D293CE}"/>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16" name="Line 206">
                  <a:extLst>
                    <a:ext uri="{FF2B5EF4-FFF2-40B4-BE49-F238E27FC236}">
                      <a16:creationId xmlns:a16="http://schemas.microsoft.com/office/drawing/2014/main" id="{2B84EDD1-253D-455F-A8E1-131D11618C4B}"/>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004" name="Group 1003">
                <a:extLst>
                  <a:ext uri="{FF2B5EF4-FFF2-40B4-BE49-F238E27FC236}">
                    <a16:creationId xmlns:a16="http://schemas.microsoft.com/office/drawing/2014/main" id="{B493653E-D750-4FDE-8145-12D3D570F8FF}"/>
                  </a:ext>
                </a:extLst>
              </p:cNvPr>
              <p:cNvGrpSpPr/>
              <p:nvPr/>
            </p:nvGrpSpPr>
            <p:grpSpPr>
              <a:xfrm>
                <a:off x="4627073" y="2273730"/>
                <a:ext cx="179387" cy="434116"/>
                <a:chOff x="2330274" y="3840316"/>
                <a:chExt cx="238125" cy="576262"/>
              </a:xfrm>
            </p:grpSpPr>
            <p:sp>
              <p:nvSpPr>
                <p:cNvPr id="1005" name="Freeform 201">
                  <a:extLst>
                    <a:ext uri="{FF2B5EF4-FFF2-40B4-BE49-F238E27FC236}">
                      <a16:creationId xmlns:a16="http://schemas.microsoft.com/office/drawing/2014/main" id="{34AEE5D9-4260-4009-95C4-EFD70EA9FEF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06" name="Line 202">
                  <a:extLst>
                    <a:ext uri="{FF2B5EF4-FFF2-40B4-BE49-F238E27FC236}">
                      <a16:creationId xmlns:a16="http://schemas.microsoft.com/office/drawing/2014/main" id="{7871212B-EFFE-4257-9E7D-2D038D81E6AF}"/>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07" name="Line 203">
                  <a:extLst>
                    <a:ext uri="{FF2B5EF4-FFF2-40B4-BE49-F238E27FC236}">
                      <a16:creationId xmlns:a16="http://schemas.microsoft.com/office/drawing/2014/main" id="{BC1D2B39-C8FB-4C10-9C4C-A4D3074C43CA}"/>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08" name="Line 204">
                  <a:extLst>
                    <a:ext uri="{FF2B5EF4-FFF2-40B4-BE49-F238E27FC236}">
                      <a16:creationId xmlns:a16="http://schemas.microsoft.com/office/drawing/2014/main" id="{3EF2084F-D36F-43A6-94E1-4E1708AF463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09" name="Line 205">
                  <a:extLst>
                    <a:ext uri="{FF2B5EF4-FFF2-40B4-BE49-F238E27FC236}">
                      <a16:creationId xmlns:a16="http://schemas.microsoft.com/office/drawing/2014/main" id="{CEDEE9B8-F855-4258-9C62-8D4DC85EC1F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10" name="Line 206">
                  <a:extLst>
                    <a:ext uri="{FF2B5EF4-FFF2-40B4-BE49-F238E27FC236}">
                      <a16:creationId xmlns:a16="http://schemas.microsoft.com/office/drawing/2014/main" id="{64A86DEA-64FE-4494-A6F9-383CBF5F478A}"/>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grpSp>
        <p:nvGrpSpPr>
          <p:cNvPr id="33" name="Group 32">
            <a:extLst>
              <a:ext uri="{FF2B5EF4-FFF2-40B4-BE49-F238E27FC236}">
                <a16:creationId xmlns:a16="http://schemas.microsoft.com/office/drawing/2014/main" id="{D06966B3-5A70-4110-AF18-6CB95A55BAC2}"/>
              </a:ext>
            </a:extLst>
          </p:cNvPr>
          <p:cNvGrpSpPr/>
          <p:nvPr>
            <p:custDataLst>
              <p:tags r:id="rId4"/>
            </p:custDataLst>
          </p:nvPr>
        </p:nvGrpSpPr>
        <p:grpSpPr>
          <a:xfrm>
            <a:off x="5734768" y="303257"/>
            <a:ext cx="834480" cy="834480"/>
            <a:chOff x="5734768" y="303257"/>
            <a:chExt cx="834480" cy="834480"/>
          </a:xfrm>
        </p:grpSpPr>
        <p:sp>
          <p:nvSpPr>
            <p:cNvPr id="31" name="Oval 30">
              <a:extLst>
                <a:ext uri="{FF2B5EF4-FFF2-40B4-BE49-F238E27FC236}">
                  <a16:creationId xmlns:a16="http://schemas.microsoft.com/office/drawing/2014/main" id="{FD589151-F33A-4930-851A-FFAE0EBF8129}"/>
                </a:ext>
              </a:extLst>
            </p:cNvPr>
            <p:cNvSpPr/>
            <p:nvPr/>
          </p:nvSpPr>
          <p:spPr>
            <a:xfrm>
              <a:off x="5734768" y="303257"/>
              <a:ext cx="834480" cy="834480"/>
            </a:xfrm>
            <a:prstGeom prst="ellipse">
              <a:avLst/>
            </a:prstGeom>
            <a:solidFill>
              <a:schemeClr val="bg2"/>
            </a:solidFill>
            <a:ln>
              <a:solidFill>
                <a:schemeClr val="tx1">
                  <a:lumMod val="25000"/>
                  <a:lumOff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023" name="Group 1022">
              <a:extLst>
                <a:ext uri="{FF2B5EF4-FFF2-40B4-BE49-F238E27FC236}">
                  <a16:creationId xmlns:a16="http://schemas.microsoft.com/office/drawing/2014/main" id="{7823252E-8439-46B9-8A66-6A324D52DF74}"/>
                </a:ext>
              </a:extLst>
            </p:cNvPr>
            <p:cNvGrpSpPr>
              <a:grpSpLocks noChangeAspect="1"/>
            </p:cNvGrpSpPr>
            <p:nvPr/>
          </p:nvGrpSpPr>
          <p:grpSpPr>
            <a:xfrm>
              <a:off x="5897203" y="559947"/>
              <a:ext cx="535398" cy="295156"/>
              <a:chOff x="572756" y="4356495"/>
              <a:chExt cx="701979" cy="386989"/>
            </a:xfrm>
          </p:grpSpPr>
          <p:sp>
            <p:nvSpPr>
              <p:cNvPr id="1024" name="Freeform 294">
                <a:extLst>
                  <a:ext uri="{FF2B5EF4-FFF2-40B4-BE49-F238E27FC236}">
                    <a16:creationId xmlns:a16="http://schemas.microsoft.com/office/drawing/2014/main" id="{6217F948-5C74-4B4F-83C3-22DB0297778D}"/>
                  </a:ext>
                </a:extLst>
              </p:cNvPr>
              <p:cNvSpPr>
                <a:spLocks noChangeAspect="1"/>
              </p:cNvSpPr>
              <p:nvPr/>
            </p:nvSpPr>
            <p:spPr bwMode="auto">
              <a:xfrm>
                <a:off x="572756" y="4701485"/>
                <a:ext cx="701979" cy="41999"/>
              </a:xfrm>
              <a:custGeom>
                <a:avLst/>
                <a:gdLst>
                  <a:gd name="T0" fmla="*/ 288 w 297"/>
                  <a:gd name="T1" fmla="*/ 18 h 18"/>
                  <a:gd name="T2" fmla="*/ 10 w 297"/>
                  <a:gd name="T3" fmla="*/ 18 h 18"/>
                  <a:gd name="T4" fmla="*/ 0 w 297"/>
                  <a:gd name="T5" fmla="*/ 9 h 18"/>
                  <a:gd name="T6" fmla="*/ 10 w 297"/>
                  <a:gd name="T7" fmla="*/ 0 h 18"/>
                  <a:gd name="T8" fmla="*/ 288 w 297"/>
                  <a:gd name="T9" fmla="*/ 0 h 18"/>
                  <a:gd name="T10" fmla="*/ 297 w 297"/>
                  <a:gd name="T11" fmla="*/ 9 h 18"/>
                  <a:gd name="T12" fmla="*/ 288 w 29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297" h="18">
                    <a:moveTo>
                      <a:pt x="288" y="18"/>
                    </a:moveTo>
                    <a:cubicBezTo>
                      <a:pt x="10" y="18"/>
                      <a:pt x="10" y="18"/>
                      <a:pt x="10" y="18"/>
                    </a:cubicBezTo>
                    <a:cubicBezTo>
                      <a:pt x="4" y="18"/>
                      <a:pt x="0" y="14"/>
                      <a:pt x="0" y="9"/>
                    </a:cubicBezTo>
                    <a:cubicBezTo>
                      <a:pt x="0" y="4"/>
                      <a:pt x="4" y="0"/>
                      <a:pt x="10" y="0"/>
                    </a:cubicBezTo>
                    <a:cubicBezTo>
                      <a:pt x="288" y="0"/>
                      <a:pt x="288" y="0"/>
                      <a:pt x="288" y="0"/>
                    </a:cubicBezTo>
                    <a:cubicBezTo>
                      <a:pt x="293" y="0"/>
                      <a:pt x="297" y="4"/>
                      <a:pt x="297" y="9"/>
                    </a:cubicBezTo>
                    <a:cubicBezTo>
                      <a:pt x="297" y="14"/>
                      <a:pt x="293" y="18"/>
                      <a:pt x="288"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25" name="Freeform 295">
                <a:extLst>
                  <a:ext uri="{FF2B5EF4-FFF2-40B4-BE49-F238E27FC236}">
                    <a16:creationId xmlns:a16="http://schemas.microsoft.com/office/drawing/2014/main" id="{89BD8498-122E-4DFE-AB35-864F1E20D1BB}"/>
                  </a:ext>
                </a:extLst>
              </p:cNvPr>
              <p:cNvSpPr>
                <a:spLocks noChangeAspect="1" noEditPoints="1"/>
              </p:cNvSpPr>
              <p:nvPr/>
            </p:nvSpPr>
            <p:spPr bwMode="auto">
              <a:xfrm>
                <a:off x="650754" y="4356495"/>
                <a:ext cx="545983" cy="306991"/>
              </a:xfrm>
              <a:custGeom>
                <a:avLst/>
                <a:gdLst>
                  <a:gd name="T0" fmla="*/ 216 w 231"/>
                  <a:gd name="T1" fmla="*/ 11 h 130"/>
                  <a:gd name="T2" fmla="*/ 221 w 231"/>
                  <a:gd name="T3" fmla="*/ 16 h 130"/>
                  <a:gd name="T4" fmla="*/ 221 w 231"/>
                  <a:gd name="T5" fmla="*/ 115 h 130"/>
                  <a:gd name="T6" fmla="*/ 216 w 231"/>
                  <a:gd name="T7" fmla="*/ 120 h 130"/>
                  <a:gd name="T8" fmla="*/ 15 w 231"/>
                  <a:gd name="T9" fmla="*/ 120 h 130"/>
                  <a:gd name="T10" fmla="*/ 10 w 231"/>
                  <a:gd name="T11" fmla="*/ 115 h 130"/>
                  <a:gd name="T12" fmla="*/ 10 w 231"/>
                  <a:gd name="T13" fmla="*/ 16 h 130"/>
                  <a:gd name="T14" fmla="*/ 15 w 231"/>
                  <a:gd name="T15" fmla="*/ 11 h 130"/>
                  <a:gd name="T16" fmla="*/ 216 w 231"/>
                  <a:gd name="T17" fmla="*/ 11 h 130"/>
                  <a:gd name="T18" fmla="*/ 216 w 231"/>
                  <a:gd name="T19" fmla="*/ 0 h 130"/>
                  <a:gd name="T20" fmla="*/ 15 w 231"/>
                  <a:gd name="T21" fmla="*/ 0 h 130"/>
                  <a:gd name="T22" fmla="*/ 0 w 231"/>
                  <a:gd name="T23" fmla="*/ 16 h 130"/>
                  <a:gd name="T24" fmla="*/ 0 w 231"/>
                  <a:gd name="T25" fmla="*/ 115 h 130"/>
                  <a:gd name="T26" fmla="*/ 15 w 231"/>
                  <a:gd name="T27" fmla="*/ 130 h 130"/>
                  <a:gd name="T28" fmla="*/ 216 w 231"/>
                  <a:gd name="T29" fmla="*/ 130 h 130"/>
                  <a:gd name="T30" fmla="*/ 231 w 231"/>
                  <a:gd name="T31" fmla="*/ 115 h 130"/>
                  <a:gd name="T32" fmla="*/ 231 w 231"/>
                  <a:gd name="T33" fmla="*/ 16 h 130"/>
                  <a:gd name="T34" fmla="*/ 216 w 231"/>
                  <a:gd name="T3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1" h="130">
                    <a:moveTo>
                      <a:pt x="216" y="11"/>
                    </a:moveTo>
                    <a:cubicBezTo>
                      <a:pt x="219" y="11"/>
                      <a:pt x="221" y="13"/>
                      <a:pt x="221" y="16"/>
                    </a:cubicBezTo>
                    <a:cubicBezTo>
                      <a:pt x="221" y="115"/>
                      <a:pt x="221" y="115"/>
                      <a:pt x="221" y="115"/>
                    </a:cubicBezTo>
                    <a:cubicBezTo>
                      <a:pt x="221" y="118"/>
                      <a:pt x="219" y="120"/>
                      <a:pt x="216" y="120"/>
                    </a:cubicBezTo>
                    <a:cubicBezTo>
                      <a:pt x="15" y="120"/>
                      <a:pt x="15" y="120"/>
                      <a:pt x="15" y="120"/>
                    </a:cubicBezTo>
                    <a:cubicBezTo>
                      <a:pt x="12" y="120"/>
                      <a:pt x="10" y="118"/>
                      <a:pt x="10" y="115"/>
                    </a:cubicBezTo>
                    <a:cubicBezTo>
                      <a:pt x="10" y="16"/>
                      <a:pt x="10" y="16"/>
                      <a:pt x="10" y="16"/>
                    </a:cubicBezTo>
                    <a:cubicBezTo>
                      <a:pt x="10" y="13"/>
                      <a:pt x="12" y="11"/>
                      <a:pt x="15" y="11"/>
                    </a:cubicBezTo>
                    <a:cubicBezTo>
                      <a:pt x="216" y="11"/>
                      <a:pt x="216" y="11"/>
                      <a:pt x="216" y="11"/>
                    </a:cubicBezTo>
                    <a:moveTo>
                      <a:pt x="216" y="0"/>
                    </a:moveTo>
                    <a:cubicBezTo>
                      <a:pt x="15" y="0"/>
                      <a:pt x="15" y="0"/>
                      <a:pt x="15" y="0"/>
                    </a:cubicBezTo>
                    <a:cubicBezTo>
                      <a:pt x="7" y="0"/>
                      <a:pt x="0" y="7"/>
                      <a:pt x="0" y="16"/>
                    </a:cubicBezTo>
                    <a:cubicBezTo>
                      <a:pt x="0" y="115"/>
                      <a:pt x="0" y="115"/>
                      <a:pt x="0" y="115"/>
                    </a:cubicBezTo>
                    <a:cubicBezTo>
                      <a:pt x="0" y="123"/>
                      <a:pt x="7" y="130"/>
                      <a:pt x="15" y="130"/>
                    </a:cubicBezTo>
                    <a:cubicBezTo>
                      <a:pt x="216" y="130"/>
                      <a:pt x="216" y="130"/>
                      <a:pt x="216" y="130"/>
                    </a:cubicBezTo>
                    <a:cubicBezTo>
                      <a:pt x="224" y="130"/>
                      <a:pt x="231" y="123"/>
                      <a:pt x="231" y="115"/>
                    </a:cubicBezTo>
                    <a:cubicBezTo>
                      <a:pt x="231" y="16"/>
                      <a:pt x="231" y="16"/>
                      <a:pt x="231" y="16"/>
                    </a:cubicBezTo>
                    <a:cubicBezTo>
                      <a:pt x="231" y="7"/>
                      <a:pt x="224" y="0"/>
                      <a:pt x="2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nvGrpSpPr>
          <p:cNvPr id="41" name="Group 40">
            <a:extLst>
              <a:ext uri="{FF2B5EF4-FFF2-40B4-BE49-F238E27FC236}">
                <a16:creationId xmlns:a16="http://schemas.microsoft.com/office/drawing/2014/main" id="{4D32D8DD-C5FB-48CE-9D1A-0E6CF4D6B0F9}"/>
              </a:ext>
            </a:extLst>
          </p:cNvPr>
          <p:cNvGrpSpPr/>
          <p:nvPr>
            <p:custDataLst>
              <p:tags r:id="rId5"/>
            </p:custDataLst>
          </p:nvPr>
        </p:nvGrpSpPr>
        <p:grpSpPr>
          <a:xfrm>
            <a:off x="3910404" y="1779881"/>
            <a:ext cx="834480" cy="834480"/>
            <a:chOff x="3910404" y="1779881"/>
            <a:chExt cx="834480" cy="834480"/>
          </a:xfrm>
        </p:grpSpPr>
        <p:sp>
          <p:nvSpPr>
            <p:cNvPr id="937" name="Oval 936">
              <a:extLst>
                <a:ext uri="{FF2B5EF4-FFF2-40B4-BE49-F238E27FC236}">
                  <a16:creationId xmlns:a16="http://schemas.microsoft.com/office/drawing/2014/main" id="{C6C8B9E3-D857-4F3B-AFED-04BABF2B4321}"/>
                </a:ext>
              </a:extLst>
            </p:cNvPr>
            <p:cNvSpPr/>
            <p:nvPr/>
          </p:nvSpPr>
          <p:spPr>
            <a:xfrm>
              <a:off x="3910404" y="1779881"/>
              <a:ext cx="834480" cy="834480"/>
            </a:xfrm>
            <a:prstGeom prst="ellipse">
              <a:avLst/>
            </a:prstGeom>
            <a:solidFill>
              <a:schemeClr val="bg2"/>
            </a:solidFill>
            <a:ln>
              <a:solidFill>
                <a:schemeClr val="tx1">
                  <a:lumMod val="25000"/>
                  <a:lumOff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026" name="Group 1025">
              <a:extLst>
                <a:ext uri="{FF2B5EF4-FFF2-40B4-BE49-F238E27FC236}">
                  <a16:creationId xmlns:a16="http://schemas.microsoft.com/office/drawing/2014/main" id="{56495E04-9EFB-47BA-91C7-56F98347A7DB}"/>
                </a:ext>
              </a:extLst>
            </p:cNvPr>
            <p:cNvGrpSpPr>
              <a:grpSpLocks noChangeAspect="1"/>
            </p:cNvGrpSpPr>
            <p:nvPr/>
          </p:nvGrpSpPr>
          <p:grpSpPr>
            <a:xfrm>
              <a:off x="4242631" y="2010436"/>
              <a:ext cx="193079" cy="334285"/>
              <a:chOff x="856747" y="3909509"/>
              <a:chExt cx="133996" cy="231993"/>
            </a:xfrm>
          </p:grpSpPr>
          <p:sp>
            <p:nvSpPr>
              <p:cNvPr id="1033" name="Freeform 309">
                <a:extLst>
                  <a:ext uri="{FF2B5EF4-FFF2-40B4-BE49-F238E27FC236}">
                    <a16:creationId xmlns:a16="http://schemas.microsoft.com/office/drawing/2014/main" id="{64A11FBC-7EE1-42DA-8113-C3780507CFD2}"/>
                  </a:ext>
                </a:extLst>
              </p:cNvPr>
              <p:cNvSpPr>
                <a:spLocks/>
              </p:cNvSpPr>
              <p:nvPr/>
            </p:nvSpPr>
            <p:spPr bwMode="auto">
              <a:xfrm>
                <a:off x="905746" y="3909509"/>
                <a:ext cx="35999" cy="2000"/>
              </a:xfrm>
              <a:custGeom>
                <a:avLst/>
                <a:gdLst>
                  <a:gd name="T0" fmla="*/ 15 w 15"/>
                  <a:gd name="T1" fmla="*/ 1 h 1"/>
                  <a:gd name="T2" fmla="*/ 0 w 15"/>
                  <a:gd name="T3" fmla="*/ 1 h 1"/>
                  <a:gd name="T4" fmla="*/ 0 w 15"/>
                  <a:gd name="T5" fmla="*/ 1 h 1"/>
                  <a:gd name="T6" fmla="*/ 0 w 15"/>
                  <a:gd name="T7" fmla="*/ 0 h 1"/>
                  <a:gd name="T8" fmla="*/ 15 w 15"/>
                  <a:gd name="T9" fmla="*/ 0 h 1"/>
                  <a:gd name="T10" fmla="*/ 15 w 15"/>
                  <a:gd name="T11" fmla="*/ 1 h 1"/>
                  <a:gd name="T12" fmla="*/ 15 w 1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5" h="1">
                    <a:moveTo>
                      <a:pt x="15" y="1"/>
                    </a:moveTo>
                    <a:cubicBezTo>
                      <a:pt x="0" y="1"/>
                      <a:pt x="0" y="1"/>
                      <a:pt x="0" y="1"/>
                    </a:cubicBezTo>
                    <a:cubicBezTo>
                      <a:pt x="0" y="1"/>
                      <a:pt x="0" y="1"/>
                      <a:pt x="0" y="1"/>
                    </a:cubicBezTo>
                    <a:cubicBezTo>
                      <a:pt x="0" y="0"/>
                      <a:pt x="0" y="0"/>
                      <a:pt x="0" y="0"/>
                    </a:cubicBezTo>
                    <a:cubicBezTo>
                      <a:pt x="15" y="0"/>
                      <a:pt x="15" y="0"/>
                      <a:pt x="15" y="0"/>
                    </a:cubicBezTo>
                    <a:cubicBezTo>
                      <a:pt x="15" y="0"/>
                      <a:pt x="15" y="0"/>
                      <a:pt x="15" y="1"/>
                    </a:cubicBezTo>
                    <a:cubicBezTo>
                      <a:pt x="15" y="1"/>
                      <a:pt x="15" y="1"/>
                      <a:pt x="15"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35" name="Rectangle 311">
                <a:extLst>
                  <a:ext uri="{FF2B5EF4-FFF2-40B4-BE49-F238E27FC236}">
                    <a16:creationId xmlns:a16="http://schemas.microsoft.com/office/drawing/2014/main" id="{54462EBD-47E3-42F1-8455-455518748C69}"/>
                  </a:ext>
                </a:extLst>
              </p:cNvPr>
              <p:cNvSpPr>
                <a:spLocks noChangeArrowheads="1"/>
              </p:cNvSpPr>
              <p:nvPr/>
            </p:nvSpPr>
            <p:spPr bwMode="auto">
              <a:xfrm>
                <a:off x="856747" y="3935508"/>
                <a:ext cx="133996" cy="205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nvGrpSpPr>
          <p:cNvPr id="40" name="Group 39">
            <a:extLst>
              <a:ext uri="{FF2B5EF4-FFF2-40B4-BE49-F238E27FC236}">
                <a16:creationId xmlns:a16="http://schemas.microsoft.com/office/drawing/2014/main" id="{87398061-CAB9-414C-93F4-87512BFEFC23}"/>
              </a:ext>
            </a:extLst>
          </p:cNvPr>
          <p:cNvGrpSpPr/>
          <p:nvPr>
            <p:custDataLst>
              <p:tags r:id="rId6"/>
            </p:custDataLst>
          </p:nvPr>
        </p:nvGrpSpPr>
        <p:grpSpPr>
          <a:xfrm>
            <a:off x="5734768" y="2322728"/>
            <a:ext cx="834480" cy="834480"/>
            <a:chOff x="5734768" y="2322728"/>
            <a:chExt cx="834480" cy="834480"/>
          </a:xfrm>
        </p:grpSpPr>
        <p:sp>
          <p:nvSpPr>
            <p:cNvPr id="935" name="Oval 934">
              <a:extLst>
                <a:ext uri="{FF2B5EF4-FFF2-40B4-BE49-F238E27FC236}">
                  <a16:creationId xmlns:a16="http://schemas.microsoft.com/office/drawing/2014/main" id="{F55EF74D-1C21-4BDF-AC47-99ECB64001E4}"/>
                </a:ext>
              </a:extLst>
            </p:cNvPr>
            <p:cNvSpPr/>
            <p:nvPr/>
          </p:nvSpPr>
          <p:spPr>
            <a:xfrm>
              <a:off x="5734768" y="2322728"/>
              <a:ext cx="834480" cy="834480"/>
            </a:xfrm>
            <a:prstGeom prst="ellipse">
              <a:avLst/>
            </a:prstGeom>
            <a:solidFill>
              <a:schemeClr val="bg2"/>
            </a:solidFill>
            <a:ln>
              <a:solidFill>
                <a:schemeClr val="tx1">
                  <a:lumMod val="25000"/>
                  <a:lumOff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39" name="Freeform 314">
              <a:extLst>
                <a:ext uri="{FF2B5EF4-FFF2-40B4-BE49-F238E27FC236}">
                  <a16:creationId xmlns:a16="http://schemas.microsoft.com/office/drawing/2014/main" id="{1DF81737-36E2-481F-A609-57ECA3CF73B1}"/>
                </a:ext>
              </a:extLst>
            </p:cNvPr>
            <p:cNvSpPr>
              <a:spLocks/>
            </p:cNvSpPr>
            <p:nvPr/>
          </p:nvSpPr>
          <p:spPr bwMode="auto">
            <a:xfrm>
              <a:off x="6145617" y="2738248"/>
              <a:ext cx="57310" cy="4022"/>
            </a:xfrm>
            <a:custGeom>
              <a:avLst/>
              <a:gdLst>
                <a:gd name="T0" fmla="*/ 23 w 24"/>
                <a:gd name="T1" fmla="*/ 2 h 2"/>
                <a:gd name="T2" fmla="*/ 1 w 24"/>
                <a:gd name="T3" fmla="*/ 2 h 2"/>
                <a:gd name="T4" fmla="*/ 0 w 24"/>
                <a:gd name="T5" fmla="*/ 1 h 2"/>
                <a:gd name="T6" fmla="*/ 1 w 24"/>
                <a:gd name="T7" fmla="*/ 0 h 2"/>
                <a:gd name="T8" fmla="*/ 23 w 24"/>
                <a:gd name="T9" fmla="*/ 0 h 2"/>
                <a:gd name="T10" fmla="*/ 24 w 24"/>
                <a:gd name="T11" fmla="*/ 1 h 2"/>
                <a:gd name="T12" fmla="*/ 23 w 2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4" h="2">
                  <a:moveTo>
                    <a:pt x="23" y="2"/>
                  </a:moveTo>
                  <a:cubicBezTo>
                    <a:pt x="1" y="2"/>
                    <a:pt x="1" y="2"/>
                    <a:pt x="1" y="2"/>
                  </a:cubicBezTo>
                  <a:cubicBezTo>
                    <a:pt x="0" y="2"/>
                    <a:pt x="0" y="2"/>
                    <a:pt x="0" y="1"/>
                  </a:cubicBezTo>
                  <a:cubicBezTo>
                    <a:pt x="0" y="0"/>
                    <a:pt x="0" y="0"/>
                    <a:pt x="1" y="0"/>
                  </a:cubicBezTo>
                  <a:cubicBezTo>
                    <a:pt x="23" y="0"/>
                    <a:pt x="23" y="0"/>
                    <a:pt x="23" y="0"/>
                  </a:cubicBezTo>
                  <a:cubicBezTo>
                    <a:pt x="23" y="0"/>
                    <a:pt x="24" y="0"/>
                    <a:pt x="24" y="1"/>
                  </a:cubicBezTo>
                  <a:cubicBezTo>
                    <a:pt x="24" y="2"/>
                    <a:pt x="23" y="2"/>
                    <a:pt x="2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sp>
        <p:nvSpPr>
          <p:cNvPr id="4" name="Oval 3">
            <a:extLst>
              <a:ext uri="{FF2B5EF4-FFF2-40B4-BE49-F238E27FC236}">
                <a16:creationId xmlns:a16="http://schemas.microsoft.com/office/drawing/2014/main" id="{2CAE03AC-733C-4E13-8BD4-97B5EFE8E4E6}"/>
              </a:ext>
            </a:extLst>
          </p:cNvPr>
          <p:cNvSpPr/>
          <p:nvPr/>
        </p:nvSpPr>
        <p:spPr>
          <a:xfrm>
            <a:off x="4998272" y="1317775"/>
            <a:ext cx="2260182" cy="973378"/>
          </a:xfrm>
          <a:prstGeom prst="ellipse">
            <a:avLst/>
          </a:prstGeom>
          <a:gradFill flip="none" rotWithShape="1">
            <a:gsLst>
              <a:gs pos="0">
                <a:schemeClr val="bg2"/>
              </a:gs>
              <a:gs pos="74000">
                <a:schemeClr val="bg2">
                  <a:alpha val="59000"/>
                </a:schemeClr>
              </a:gs>
              <a:gs pos="100000">
                <a:schemeClr val="bg2">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 name="Rectangle 2">
            <a:extLst>
              <a:ext uri="{FF2B5EF4-FFF2-40B4-BE49-F238E27FC236}">
                <a16:creationId xmlns:a16="http://schemas.microsoft.com/office/drawing/2014/main" id="{E35BABFB-2ED5-42F3-8740-E9C25D266901}"/>
              </a:ext>
            </a:extLst>
          </p:cNvPr>
          <p:cNvSpPr/>
          <p:nvPr/>
        </p:nvSpPr>
        <p:spPr>
          <a:xfrm>
            <a:off x="5068205" y="1612206"/>
            <a:ext cx="2165978" cy="369332"/>
          </a:xfrm>
          <a:prstGeom prst="rect">
            <a:avLst/>
          </a:prstGeom>
        </p:spPr>
        <p:txBody>
          <a:bodyPr wrap="non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Enterprise Network</a:t>
            </a:r>
            <a:endParaRPr kumimoji="0" lang="en-US" sz="18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endParaRPr>
          </a:p>
        </p:txBody>
      </p:sp>
      <p:grpSp>
        <p:nvGrpSpPr>
          <p:cNvPr id="48" name="Group 47">
            <a:extLst>
              <a:ext uri="{FF2B5EF4-FFF2-40B4-BE49-F238E27FC236}">
                <a16:creationId xmlns:a16="http://schemas.microsoft.com/office/drawing/2014/main" id="{A0146816-C1D1-4696-9B1A-BC415E092385}"/>
              </a:ext>
            </a:extLst>
          </p:cNvPr>
          <p:cNvGrpSpPr/>
          <p:nvPr/>
        </p:nvGrpSpPr>
        <p:grpSpPr>
          <a:xfrm>
            <a:off x="4043764" y="326983"/>
            <a:ext cx="531191" cy="465927"/>
            <a:chOff x="3719147" y="303257"/>
            <a:chExt cx="531191" cy="465927"/>
          </a:xfrm>
        </p:grpSpPr>
        <p:grpSp>
          <p:nvGrpSpPr>
            <p:cNvPr id="45" name="Group 44">
              <a:extLst>
                <a:ext uri="{FF2B5EF4-FFF2-40B4-BE49-F238E27FC236}">
                  <a16:creationId xmlns:a16="http://schemas.microsoft.com/office/drawing/2014/main" id="{277208A6-991E-4C62-9B54-BAD84BEA2602}"/>
                </a:ext>
              </a:extLst>
            </p:cNvPr>
            <p:cNvGrpSpPr/>
            <p:nvPr/>
          </p:nvGrpSpPr>
          <p:grpSpPr>
            <a:xfrm>
              <a:off x="3719147" y="303257"/>
              <a:ext cx="531191" cy="465927"/>
              <a:chOff x="3719147" y="303257"/>
              <a:chExt cx="531191" cy="465927"/>
            </a:xfrm>
          </p:grpSpPr>
          <p:sp>
            <p:nvSpPr>
              <p:cNvPr id="43" name="Rectangle: Rounded Corners 42">
                <a:extLst>
                  <a:ext uri="{FF2B5EF4-FFF2-40B4-BE49-F238E27FC236}">
                    <a16:creationId xmlns:a16="http://schemas.microsoft.com/office/drawing/2014/main" id="{79BBB845-0DC9-4E42-8AA2-4DFAB9EBDA58}"/>
                  </a:ext>
                </a:extLst>
              </p:cNvPr>
              <p:cNvSpPr/>
              <p:nvPr/>
            </p:nvSpPr>
            <p:spPr>
              <a:xfrm>
                <a:off x="3719147" y="303257"/>
                <a:ext cx="531191" cy="37981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44" name="Isosceles Triangle 43">
                <a:extLst>
                  <a:ext uri="{FF2B5EF4-FFF2-40B4-BE49-F238E27FC236}">
                    <a16:creationId xmlns:a16="http://schemas.microsoft.com/office/drawing/2014/main" id="{8E74BD98-E086-4E72-A309-716CC903AECD}"/>
                  </a:ext>
                </a:extLst>
              </p:cNvPr>
              <p:cNvSpPr/>
              <p:nvPr/>
            </p:nvSpPr>
            <p:spPr>
              <a:xfrm flipV="1">
                <a:off x="3995204" y="600121"/>
                <a:ext cx="196113" cy="169063"/>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grpSp>
          <p:nvGrpSpPr>
            <p:cNvPr id="47" name="Group 46">
              <a:extLst>
                <a:ext uri="{FF2B5EF4-FFF2-40B4-BE49-F238E27FC236}">
                  <a16:creationId xmlns:a16="http://schemas.microsoft.com/office/drawing/2014/main" id="{4B7C8573-F3C4-4FDE-8D63-134D4054E6CB}"/>
                </a:ext>
              </a:extLst>
            </p:cNvPr>
            <p:cNvGrpSpPr/>
            <p:nvPr/>
          </p:nvGrpSpPr>
          <p:grpSpPr>
            <a:xfrm>
              <a:off x="3778170" y="365111"/>
              <a:ext cx="400244" cy="254564"/>
              <a:chOff x="3778170" y="379575"/>
              <a:chExt cx="400244" cy="254564"/>
            </a:xfrm>
            <a:solidFill>
              <a:schemeClr val="bg2"/>
            </a:solidFill>
          </p:grpSpPr>
          <p:sp>
            <p:nvSpPr>
              <p:cNvPr id="46" name="Rectangle: Rounded Corners 45">
                <a:extLst>
                  <a:ext uri="{FF2B5EF4-FFF2-40B4-BE49-F238E27FC236}">
                    <a16:creationId xmlns:a16="http://schemas.microsoft.com/office/drawing/2014/main" id="{9EF6A23F-99CA-4C8F-9D12-9483B2E5423C}"/>
                  </a:ext>
                </a:extLst>
              </p:cNvPr>
              <p:cNvSpPr/>
              <p:nvPr/>
            </p:nvSpPr>
            <p:spPr>
              <a:xfrm>
                <a:off x="3778170" y="379575"/>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51" name="Rectangle: Rounded Corners 950">
                <a:extLst>
                  <a:ext uri="{FF2B5EF4-FFF2-40B4-BE49-F238E27FC236}">
                    <a16:creationId xmlns:a16="http://schemas.microsoft.com/office/drawing/2014/main" id="{DF4CF3CE-6285-4724-B9A5-8DE7CEB465B1}"/>
                  </a:ext>
                </a:extLst>
              </p:cNvPr>
              <p:cNvSpPr/>
              <p:nvPr/>
            </p:nvSpPr>
            <p:spPr>
              <a:xfrm>
                <a:off x="3778170" y="449190"/>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52" name="Rectangle: Rounded Corners 951">
                <a:extLst>
                  <a:ext uri="{FF2B5EF4-FFF2-40B4-BE49-F238E27FC236}">
                    <a16:creationId xmlns:a16="http://schemas.microsoft.com/office/drawing/2014/main" id="{BE9C7B56-3EE8-478D-84B9-47ED1001F34F}"/>
                  </a:ext>
                </a:extLst>
              </p:cNvPr>
              <p:cNvSpPr/>
              <p:nvPr/>
            </p:nvSpPr>
            <p:spPr>
              <a:xfrm>
                <a:off x="3778170" y="518805"/>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53" name="Rectangle: Rounded Corners 952">
                <a:extLst>
                  <a:ext uri="{FF2B5EF4-FFF2-40B4-BE49-F238E27FC236}">
                    <a16:creationId xmlns:a16="http://schemas.microsoft.com/office/drawing/2014/main" id="{D1BB8F0B-C0BA-468E-84C4-48350EDB9EB7}"/>
                  </a:ext>
                </a:extLst>
              </p:cNvPr>
              <p:cNvSpPr/>
              <p:nvPr/>
            </p:nvSpPr>
            <p:spPr>
              <a:xfrm>
                <a:off x="3778170" y="588420"/>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grpSp>
      <p:grpSp>
        <p:nvGrpSpPr>
          <p:cNvPr id="956" name="Group 955">
            <a:extLst>
              <a:ext uri="{FF2B5EF4-FFF2-40B4-BE49-F238E27FC236}">
                <a16:creationId xmlns:a16="http://schemas.microsoft.com/office/drawing/2014/main" id="{5CE7BE9D-673D-4CF6-9516-7AB31B72A3C3}"/>
              </a:ext>
            </a:extLst>
          </p:cNvPr>
          <p:cNvGrpSpPr/>
          <p:nvPr/>
        </p:nvGrpSpPr>
        <p:grpSpPr>
          <a:xfrm>
            <a:off x="3604789" y="1578587"/>
            <a:ext cx="531191" cy="465927"/>
            <a:chOff x="3719147" y="303257"/>
            <a:chExt cx="531191" cy="465927"/>
          </a:xfrm>
        </p:grpSpPr>
        <p:grpSp>
          <p:nvGrpSpPr>
            <p:cNvPr id="957" name="Group 956">
              <a:extLst>
                <a:ext uri="{FF2B5EF4-FFF2-40B4-BE49-F238E27FC236}">
                  <a16:creationId xmlns:a16="http://schemas.microsoft.com/office/drawing/2014/main" id="{61C4A5C4-D36B-443F-9E18-45321B3E61A2}"/>
                </a:ext>
              </a:extLst>
            </p:cNvPr>
            <p:cNvGrpSpPr/>
            <p:nvPr/>
          </p:nvGrpSpPr>
          <p:grpSpPr>
            <a:xfrm>
              <a:off x="3719147" y="303257"/>
              <a:ext cx="531191" cy="465927"/>
              <a:chOff x="3719147" y="303257"/>
              <a:chExt cx="531191" cy="465927"/>
            </a:xfrm>
          </p:grpSpPr>
          <p:sp>
            <p:nvSpPr>
              <p:cNvPr id="963" name="Rectangle: Rounded Corners 962">
                <a:extLst>
                  <a:ext uri="{FF2B5EF4-FFF2-40B4-BE49-F238E27FC236}">
                    <a16:creationId xmlns:a16="http://schemas.microsoft.com/office/drawing/2014/main" id="{8F2232D9-A270-446F-B342-DD5AEFEF2070}"/>
                  </a:ext>
                </a:extLst>
              </p:cNvPr>
              <p:cNvSpPr/>
              <p:nvPr/>
            </p:nvSpPr>
            <p:spPr>
              <a:xfrm>
                <a:off x="3719147" y="303257"/>
                <a:ext cx="531191" cy="37981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64" name="Isosceles Triangle 963">
                <a:extLst>
                  <a:ext uri="{FF2B5EF4-FFF2-40B4-BE49-F238E27FC236}">
                    <a16:creationId xmlns:a16="http://schemas.microsoft.com/office/drawing/2014/main" id="{C37C75DF-F3BD-4EC5-89F8-4A5EBD402D10}"/>
                  </a:ext>
                </a:extLst>
              </p:cNvPr>
              <p:cNvSpPr/>
              <p:nvPr/>
            </p:nvSpPr>
            <p:spPr>
              <a:xfrm flipV="1">
                <a:off x="3995204" y="600121"/>
                <a:ext cx="196113" cy="169063"/>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grpSp>
          <p:nvGrpSpPr>
            <p:cNvPr id="958" name="Group 957">
              <a:extLst>
                <a:ext uri="{FF2B5EF4-FFF2-40B4-BE49-F238E27FC236}">
                  <a16:creationId xmlns:a16="http://schemas.microsoft.com/office/drawing/2014/main" id="{16A2CE70-C526-4ADB-9B14-B9B7FE37AB10}"/>
                </a:ext>
              </a:extLst>
            </p:cNvPr>
            <p:cNvGrpSpPr/>
            <p:nvPr/>
          </p:nvGrpSpPr>
          <p:grpSpPr>
            <a:xfrm>
              <a:off x="3778170" y="365111"/>
              <a:ext cx="400244" cy="254564"/>
              <a:chOff x="3778170" y="379575"/>
              <a:chExt cx="400244" cy="254564"/>
            </a:xfrm>
            <a:solidFill>
              <a:schemeClr val="bg2"/>
            </a:solidFill>
          </p:grpSpPr>
          <p:sp>
            <p:nvSpPr>
              <p:cNvPr id="959" name="Rectangle: Rounded Corners 958">
                <a:extLst>
                  <a:ext uri="{FF2B5EF4-FFF2-40B4-BE49-F238E27FC236}">
                    <a16:creationId xmlns:a16="http://schemas.microsoft.com/office/drawing/2014/main" id="{6203D058-24BC-4FDB-9453-3A3D378E6C6D}"/>
                  </a:ext>
                </a:extLst>
              </p:cNvPr>
              <p:cNvSpPr/>
              <p:nvPr/>
            </p:nvSpPr>
            <p:spPr>
              <a:xfrm>
                <a:off x="3778170" y="379575"/>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60" name="Rectangle: Rounded Corners 959">
                <a:extLst>
                  <a:ext uri="{FF2B5EF4-FFF2-40B4-BE49-F238E27FC236}">
                    <a16:creationId xmlns:a16="http://schemas.microsoft.com/office/drawing/2014/main" id="{FB37E872-165B-4105-B48A-B4275BC364A2}"/>
                  </a:ext>
                </a:extLst>
              </p:cNvPr>
              <p:cNvSpPr/>
              <p:nvPr/>
            </p:nvSpPr>
            <p:spPr>
              <a:xfrm>
                <a:off x="3778170" y="449190"/>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61" name="Rectangle: Rounded Corners 960">
                <a:extLst>
                  <a:ext uri="{FF2B5EF4-FFF2-40B4-BE49-F238E27FC236}">
                    <a16:creationId xmlns:a16="http://schemas.microsoft.com/office/drawing/2014/main" id="{744472AC-628C-4BE8-8C4A-5C1F88800554}"/>
                  </a:ext>
                </a:extLst>
              </p:cNvPr>
              <p:cNvSpPr/>
              <p:nvPr/>
            </p:nvSpPr>
            <p:spPr>
              <a:xfrm>
                <a:off x="3778170" y="518805"/>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62" name="Rectangle: Rounded Corners 961">
                <a:extLst>
                  <a:ext uri="{FF2B5EF4-FFF2-40B4-BE49-F238E27FC236}">
                    <a16:creationId xmlns:a16="http://schemas.microsoft.com/office/drawing/2014/main" id="{83E68022-46D7-4A4A-BBDA-B1B08C5AEBAB}"/>
                  </a:ext>
                </a:extLst>
              </p:cNvPr>
              <p:cNvSpPr/>
              <p:nvPr/>
            </p:nvSpPr>
            <p:spPr>
              <a:xfrm>
                <a:off x="3778170" y="588420"/>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grpSp>
      <p:grpSp>
        <p:nvGrpSpPr>
          <p:cNvPr id="965" name="Group 964">
            <a:extLst>
              <a:ext uri="{FF2B5EF4-FFF2-40B4-BE49-F238E27FC236}">
                <a16:creationId xmlns:a16="http://schemas.microsoft.com/office/drawing/2014/main" id="{5ED5E944-0F8B-4573-943B-EB6D5D533C4F}"/>
              </a:ext>
            </a:extLst>
          </p:cNvPr>
          <p:cNvGrpSpPr/>
          <p:nvPr/>
        </p:nvGrpSpPr>
        <p:grpSpPr>
          <a:xfrm>
            <a:off x="8014437" y="1547387"/>
            <a:ext cx="531191" cy="465927"/>
            <a:chOff x="3719147" y="303257"/>
            <a:chExt cx="531191" cy="465927"/>
          </a:xfrm>
        </p:grpSpPr>
        <p:grpSp>
          <p:nvGrpSpPr>
            <p:cNvPr id="966" name="Group 965">
              <a:extLst>
                <a:ext uri="{FF2B5EF4-FFF2-40B4-BE49-F238E27FC236}">
                  <a16:creationId xmlns:a16="http://schemas.microsoft.com/office/drawing/2014/main" id="{E1734F19-9A9C-4E80-A626-33584A19804D}"/>
                </a:ext>
              </a:extLst>
            </p:cNvPr>
            <p:cNvGrpSpPr/>
            <p:nvPr/>
          </p:nvGrpSpPr>
          <p:grpSpPr>
            <a:xfrm>
              <a:off x="3719147" y="303257"/>
              <a:ext cx="531191" cy="465927"/>
              <a:chOff x="3719147" y="303257"/>
              <a:chExt cx="531191" cy="465927"/>
            </a:xfrm>
          </p:grpSpPr>
          <p:sp>
            <p:nvSpPr>
              <p:cNvPr id="1043" name="Rectangle: Rounded Corners 1042">
                <a:extLst>
                  <a:ext uri="{FF2B5EF4-FFF2-40B4-BE49-F238E27FC236}">
                    <a16:creationId xmlns:a16="http://schemas.microsoft.com/office/drawing/2014/main" id="{A2DD48A0-7648-4D7F-A0F3-5F1DBAEC2AF3}"/>
                  </a:ext>
                </a:extLst>
              </p:cNvPr>
              <p:cNvSpPr/>
              <p:nvPr/>
            </p:nvSpPr>
            <p:spPr>
              <a:xfrm>
                <a:off x="3719147" y="303257"/>
                <a:ext cx="531191" cy="37981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44" name="Isosceles Triangle 1043">
                <a:extLst>
                  <a:ext uri="{FF2B5EF4-FFF2-40B4-BE49-F238E27FC236}">
                    <a16:creationId xmlns:a16="http://schemas.microsoft.com/office/drawing/2014/main" id="{80E1CFCE-6FA0-435E-BC34-FBBE2A3032AE}"/>
                  </a:ext>
                </a:extLst>
              </p:cNvPr>
              <p:cNvSpPr/>
              <p:nvPr/>
            </p:nvSpPr>
            <p:spPr>
              <a:xfrm flipV="1">
                <a:off x="3790805" y="600121"/>
                <a:ext cx="196113" cy="169063"/>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grpSp>
          <p:nvGrpSpPr>
            <p:cNvPr id="967" name="Group 966">
              <a:extLst>
                <a:ext uri="{FF2B5EF4-FFF2-40B4-BE49-F238E27FC236}">
                  <a16:creationId xmlns:a16="http://schemas.microsoft.com/office/drawing/2014/main" id="{B7B0D2F1-7850-481F-BF3D-65D0E5CDFEB0}"/>
                </a:ext>
              </a:extLst>
            </p:cNvPr>
            <p:cNvGrpSpPr/>
            <p:nvPr/>
          </p:nvGrpSpPr>
          <p:grpSpPr>
            <a:xfrm>
              <a:off x="3778170" y="365111"/>
              <a:ext cx="400244" cy="254564"/>
              <a:chOff x="3778170" y="379575"/>
              <a:chExt cx="400244" cy="254564"/>
            </a:xfrm>
            <a:solidFill>
              <a:schemeClr val="bg2"/>
            </a:solidFill>
          </p:grpSpPr>
          <p:sp>
            <p:nvSpPr>
              <p:cNvPr id="968" name="Rectangle: Rounded Corners 967">
                <a:extLst>
                  <a:ext uri="{FF2B5EF4-FFF2-40B4-BE49-F238E27FC236}">
                    <a16:creationId xmlns:a16="http://schemas.microsoft.com/office/drawing/2014/main" id="{659219FD-89BC-4C7D-9D33-D3850682EE5D}"/>
                  </a:ext>
                </a:extLst>
              </p:cNvPr>
              <p:cNvSpPr/>
              <p:nvPr/>
            </p:nvSpPr>
            <p:spPr>
              <a:xfrm>
                <a:off x="3778170" y="379575"/>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31" name="Rectangle: Rounded Corners 1030">
                <a:extLst>
                  <a:ext uri="{FF2B5EF4-FFF2-40B4-BE49-F238E27FC236}">
                    <a16:creationId xmlns:a16="http://schemas.microsoft.com/office/drawing/2014/main" id="{47DEC1B8-16BE-459F-8272-980A3ADA6D48}"/>
                  </a:ext>
                </a:extLst>
              </p:cNvPr>
              <p:cNvSpPr/>
              <p:nvPr/>
            </p:nvSpPr>
            <p:spPr>
              <a:xfrm>
                <a:off x="3778170" y="449190"/>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41" name="Rectangle: Rounded Corners 1040">
                <a:extLst>
                  <a:ext uri="{FF2B5EF4-FFF2-40B4-BE49-F238E27FC236}">
                    <a16:creationId xmlns:a16="http://schemas.microsoft.com/office/drawing/2014/main" id="{4B4B876D-BE84-4DDA-8EF6-CA5675EA7B6E}"/>
                  </a:ext>
                </a:extLst>
              </p:cNvPr>
              <p:cNvSpPr/>
              <p:nvPr/>
            </p:nvSpPr>
            <p:spPr>
              <a:xfrm>
                <a:off x="3778170" y="518805"/>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42" name="Rectangle: Rounded Corners 1041">
                <a:extLst>
                  <a:ext uri="{FF2B5EF4-FFF2-40B4-BE49-F238E27FC236}">
                    <a16:creationId xmlns:a16="http://schemas.microsoft.com/office/drawing/2014/main" id="{FC9D8557-661E-4471-8CCA-CE5AFF710A44}"/>
                  </a:ext>
                </a:extLst>
              </p:cNvPr>
              <p:cNvSpPr/>
              <p:nvPr/>
            </p:nvSpPr>
            <p:spPr>
              <a:xfrm>
                <a:off x="3778170" y="588420"/>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grpSp>
      <p:grpSp>
        <p:nvGrpSpPr>
          <p:cNvPr id="1045" name="Group 1044">
            <a:extLst>
              <a:ext uri="{FF2B5EF4-FFF2-40B4-BE49-F238E27FC236}">
                <a16:creationId xmlns:a16="http://schemas.microsoft.com/office/drawing/2014/main" id="{E54FBF43-C93C-4666-BFBE-8E5243D065F9}"/>
              </a:ext>
            </a:extLst>
          </p:cNvPr>
          <p:cNvGrpSpPr/>
          <p:nvPr/>
        </p:nvGrpSpPr>
        <p:grpSpPr>
          <a:xfrm>
            <a:off x="7964739" y="316503"/>
            <a:ext cx="531191" cy="465927"/>
            <a:chOff x="3719147" y="303257"/>
            <a:chExt cx="531191" cy="465927"/>
          </a:xfrm>
        </p:grpSpPr>
        <p:grpSp>
          <p:nvGrpSpPr>
            <p:cNvPr id="1046" name="Group 1045">
              <a:extLst>
                <a:ext uri="{FF2B5EF4-FFF2-40B4-BE49-F238E27FC236}">
                  <a16:creationId xmlns:a16="http://schemas.microsoft.com/office/drawing/2014/main" id="{9AC33014-69C7-43C9-8620-66B0D94B65FF}"/>
                </a:ext>
              </a:extLst>
            </p:cNvPr>
            <p:cNvGrpSpPr/>
            <p:nvPr/>
          </p:nvGrpSpPr>
          <p:grpSpPr>
            <a:xfrm>
              <a:off x="3719147" y="303257"/>
              <a:ext cx="531191" cy="465927"/>
              <a:chOff x="3719147" y="303257"/>
              <a:chExt cx="531191" cy="465927"/>
            </a:xfrm>
          </p:grpSpPr>
          <p:sp>
            <p:nvSpPr>
              <p:cNvPr id="1052" name="Rectangle: Rounded Corners 1051">
                <a:extLst>
                  <a:ext uri="{FF2B5EF4-FFF2-40B4-BE49-F238E27FC236}">
                    <a16:creationId xmlns:a16="http://schemas.microsoft.com/office/drawing/2014/main" id="{588824DF-CCA4-486F-989B-EA16B173756D}"/>
                  </a:ext>
                </a:extLst>
              </p:cNvPr>
              <p:cNvSpPr/>
              <p:nvPr/>
            </p:nvSpPr>
            <p:spPr>
              <a:xfrm>
                <a:off x="3719147" y="303257"/>
                <a:ext cx="531191" cy="37981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53" name="Isosceles Triangle 1052">
                <a:extLst>
                  <a:ext uri="{FF2B5EF4-FFF2-40B4-BE49-F238E27FC236}">
                    <a16:creationId xmlns:a16="http://schemas.microsoft.com/office/drawing/2014/main" id="{52C701D7-06C5-4118-89C4-CF6713154699}"/>
                  </a:ext>
                </a:extLst>
              </p:cNvPr>
              <p:cNvSpPr/>
              <p:nvPr/>
            </p:nvSpPr>
            <p:spPr>
              <a:xfrm flipV="1">
                <a:off x="3790805" y="600121"/>
                <a:ext cx="196113" cy="169063"/>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grpSp>
          <p:nvGrpSpPr>
            <p:cNvPr id="1047" name="Group 1046">
              <a:extLst>
                <a:ext uri="{FF2B5EF4-FFF2-40B4-BE49-F238E27FC236}">
                  <a16:creationId xmlns:a16="http://schemas.microsoft.com/office/drawing/2014/main" id="{E081DCDD-AF7F-4AF1-A07E-209FE5AB5A96}"/>
                </a:ext>
              </a:extLst>
            </p:cNvPr>
            <p:cNvGrpSpPr/>
            <p:nvPr/>
          </p:nvGrpSpPr>
          <p:grpSpPr>
            <a:xfrm>
              <a:off x="3778170" y="365111"/>
              <a:ext cx="400244" cy="254564"/>
              <a:chOff x="3778170" y="379575"/>
              <a:chExt cx="400244" cy="254564"/>
            </a:xfrm>
            <a:solidFill>
              <a:schemeClr val="bg2"/>
            </a:solidFill>
          </p:grpSpPr>
          <p:sp>
            <p:nvSpPr>
              <p:cNvPr id="1048" name="Rectangle: Rounded Corners 1047">
                <a:extLst>
                  <a:ext uri="{FF2B5EF4-FFF2-40B4-BE49-F238E27FC236}">
                    <a16:creationId xmlns:a16="http://schemas.microsoft.com/office/drawing/2014/main" id="{F26F556D-E6FC-47DA-AD2C-7EF4E5298DE2}"/>
                  </a:ext>
                </a:extLst>
              </p:cNvPr>
              <p:cNvSpPr/>
              <p:nvPr/>
            </p:nvSpPr>
            <p:spPr>
              <a:xfrm>
                <a:off x="3778170" y="379575"/>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49" name="Rectangle: Rounded Corners 1048">
                <a:extLst>
                  <a:ext uri="{FF2B5EF4-FFF2-40B4-BE49-F238E27FC236}">
                    <a16:creationId xmlns:a16="http://schemas.microsoft.com/office/drawing/2014/main" id="{F5E769DD-46CE-4DF6-B2C6-9FAAB69ACC15}"/>
                  </a:ext>
                </a:extLst>
              </p:cNvPr>
              <p:cNvSpPr/>
              <p:nvPr/>
            </p:nvSpPr>
            <p:spPr>
              <a:xfrm>
                <a:off x="3778170" y="449190"/>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50" name="Rectangle: Rounded Corners 1049">
                <a:extLst>
                  <a:ext uri="{FF2B5EF4-FFF2-40B4-BE49-F238E27FC236}">
                    <a16:creationId xmlns:a16="http://schemas.microsoft.com/office/drawing/2014/main" id="{BEFAA287-58FB-4288-9309-E030C8147339}"/>
                  </a:ext>
                </a:extLst>
              </p:cNvPr>
              <p:cNvSpPr/>
              <p:nvPr/>
            </p:nvSpPr>
            <p:spPr>
              <a:xfrm>
                <a:off x="3778170" y="518805"/>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51" name="Rectangle: Rounded Corners 1050">
                <a:extLst>
                  <a:ext uri="{FF2B5EF4-FFF2-40B4-BE49-F238E27FC236}">
                    <a16:creationId xmlns:a16="http://schemas.microsoft.com/office/drawing/2014/main" id="{4FE9B0D6-CBC2-44B6-9F80-C1527D196426}"/>
                  </a:ext>
                </a:extLst>
              </p:cNvPr>
              <p:cNvSpPr/>
              <p:nvPr/>
            </p:nvSpPr>
            <p:spPr>
              <a:xfrm>
                <a:off x="3778170" y="588420"/>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grpSp>
      <p:grpSp>
        <p:nvGrpSpPr>
          <p:cNvPr id="1054" name="Group 1053">
            <a:extLst>
              <a:ext uri="{FF2B5EF4-FFF2-40B4-BE49-F238E27FC236}">
                <a16:creationId xmlns:a16="http://schemas.microsoft.com/office/drawing/2014/main" id="{3F93A14E-F400-46F3-A2EB-94FD5DC66811}"/>
              </a:ext>
            </a:extLst>
          </p:cNvPr>
          <p:cNvGrpSpPr/>
          <p:nvPr/>
        </p:nvGrpSpPr>
        <p:grpSpPr>
          <a:xfrm>
            <a:off x="6519029" y="225488"/>
            <a:ext cx="621381" cy="379815"/>
            <a:chOff x="3628957" y="303257"/>
            <a:chExt cx="621381" cy="379815"/>
          </a:xfrm>
        </p:grpSpPr>
        <p:grpSp>
          <p:nvGrpSpPr>
            <p:cNvPr id="1055" name="Group 1054">
              <a:extLst>
                <a:ext uri="{FF2B5EF4-FFF2-40B4-BE49-F238E27FC236}">
                  <a16:creationId xmlns:a16="http://schemas.microsoft.com/office/drawing/2014/main" id="{5B6A0BA6-6B76-4259-A30A-940D4FC8251B}"/>
                </a:ext>
              </a:extLst>
            </p:cNvPr>
            <p:cNvGrpSpPr/>
            <p:nvPr/>
          </p:nvGrpSpPr>
          <p:grpSpPr>
            <a:xfrm>
              <a:off x="3628957" y="303257"/>
              <a:ext cx="621381" cy="379815"/>
              <a:chOff x="3628957" y="303257"/>
              <a:chExt cx="621381" cy="379815"/>
            </a:xfrm>
          </p:grpSpPr>
          <p:sp>
            <p:nvSpPr>
              <p:cNvPr id="1061" name="Rectangle: Rounded Corners 1060">
                <a:extLst>
                  <a:ext uri="{FF2B5EF4-FFF2-40B4-BE49-F238E27FC236}">
                    <a16:creationId xmlns:a16="http://schemas.microsoft.com/office/drawing/2014/main" id="{DA71FC44-68F8-4646-8E14-BB83ADB46570}"/>
                  </a:ext>
                </a:extLst>
              </p:cNvPr>
              <p:cNvSpPr/>
              <p:nvPr/>
            </p:nvSpPr>
            <p:spPr>
              <a:xfrm>
                <a:off x="3719147" y="303257"/>
                <a:ext cx="531191" cy="37981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62" name="Isosceles Triangle 1061">
                <a:extLst>
                  <a:ext uri="{FF2B5EF4-FFF2-40B4-BE49-F238E27FC236}">
                    <a16:creationId xmlns:a16="http://schemas.microsoft.com/office/drawing/2014/main" id="{E934C966-4527-40F3-927D-BCA4D3C46962}"/>
                  </a:ext>
                </a:extLst>
              </p:cNvPr>
              <p:cNvSpPr/>
              <p:nvPr/>
            </p:nvSpPr>
            <p:spPr>
              <a:xfrm rot="5400000" flipV="1">
                <a:off x="3615432" y="452825"/>
                <a:ext cx="196113" cy="169063"/>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grpSp>
          <p:nvGrpSpPr>
            <p:cNvPr id="1056" name="Group 1055">
              <a:extLst>
                <a:ext uri="{FF2B5EF4-FFF2-40B4-BE49-F238E27FC236}">
                  <a16:creationId xmlns:a16="http://schemas.microsoft.com/office/drawing/2014/main" id="{B76F9D93-3E25-4422-9B1F-1D817F317CC0}"/>
                </a:ext>
              </a:extLst>
            </p:cNvPr>
            <p:cNvGrpSpPr/>
            <p:nvPr/>
          </p:nvGrpSpPr>
          <p:grpSpPr>
            <a:xfrm>
              <a:off x="3778170" y="365111"/>
              <a:ext cx="400244" cy="254564"/>
              <a:chOff x="3778170" y="379575"/>
              <a:chExt cx="400244" cy="254564"/>
            </a:xfrm>
            <a:solidFill>
              <a:schemeClr val="bg2"/>
            </a:solidFill>
          </p:grpSpPr>
          <p:sp>
            <p:nvSpPr>
              <p:cNvPr id="1057" name="Rectangle: Rounded Corners 1056">
                <a:extLst>
                  <a:ext uri="{FF2B5EF4-FFF2-40B4-BE49-F238E27FC236}">
                    <a16:creationId xmlns:a16="http://schemas.microsoft.com/office/drawing/2014/main" id="{F1E3538F-C8BC-4E83-B960-5BC4992B3983}"/>
                  </a:ext>
                </a:extLst>
              </p:cNvPr>
              <p:cNvSpPr/>
              <p:nvPr/>
            </p:nvSpPr>
            <p:spPr>
              <a:xfrm>
                <a:off x="3778170" y="379575"/>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58" name="Rectangle: Rounded Corners 1057">
                <a:extLst>
                  <a:ext uri="{FF2B5EF4-FFF2-40B4-BE49-F238E27FC236}">
                    <a16:creationId xmlns:a16="http://schemas.microsoft.com/office/drawing/2014/main" id="{5651D685-745D-4D64-A0A4-B237C6E39333}"/>
                  </a:ext>
                </a:extLst>
              </p:cNvPr>
              <p:cNvSpPr/>
              <p:nvPr/>
            </p:nvSpPr>
            <p:spPr>
              <a:xfrm>
                <a:off x="3778170" y="449190"/>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59" name="Rectangle: Rounded Corners 1058">
                <a:extLst>
                  <a:ext uri="{FF2B5EF4-FFF2-40B4-BE49-F238E27FC236}">
                    <a16:creationId xmlns:a16="http://schemas.microsoft.com/office/drawing/2014/main" id="{F5D89AC1-0C26-4A96-953A-2BC7926C61A5}"/>
                  </a:ext>
                </a:extLst>
              </p:cNvPr>
              <p:cNvSpPr/>
              <p:nvPr/>
            </p:nvSpPr>
            <p:spPr>
              <a:xfrm>
                <a:off x="3778170" y="518805"/>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60" name="Rectangle: Rounded Corners 1059">
                <a:extLst>
                  <a:ext uri="{FF2B5EF4-FFF2-40B4-BE49-F238E27FC236}">
                    <a16:creationId xmlns:a16="http://schemas.microsoft.com/office/drawing/2014/main" id="{2F102BCA-326F-4004-948A-B1BC757BF748}"/>
                  </a:ext>
                </a:extLst>
              </p:cNvPr>
              <p:cNvSpPr/>
              <p:nvPr/>
            </p:nvSpPr>
            <p:spPr>
              <a:xfrm>
                <a:off x="3778170" y="588420"/>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grpSp>
      <p:grpSp>
        <p:nvGrpSpPr>
          <p:cNvPr id="1063" name="Group 1062">
            <a:extLst>
              <a:ext uri="{FF2B5EF4-FFF2-40B4-BE49-F238E27FC236}">
                <a16:creationId xmlns:a16="http://schemas.microsoft.com/office/drawing/2014/main" id="{4F3AF672-CAD8-4B1B-9D9C-DB4E76DA36D1}"/>
              </a:ext>
            </a:extLst>
          </p:cNvPr>
          <p:cNvGrpSpPr/>
          <p:nvPr/>
        </p:nvGrpSpPr>
        <p:grpSpPr>
          <a:xfrm>
            <a:off x="5158462" y="2664687"/>
            <a:ext cx="614343" cy="379815"/>
            <a:chOff x="3719147" y="303257"/>
            <a:chExt cx="614343" cy="379815"/>
          </a:xfrm>
        </p:grpSpPr>
        <p:grpSp>
          <p:nvGrpSpPr>
            <p:cNvPr id="1064" name="Group 1063">
              <a:extLst>
                <a:ext uri="{FF2B5EF4-FFF2-40B4-BE49-F238E27FC236}">
                  <a16:creationId xmlns:a16="http://schemas.microsoft.com/office/drawing/2014/main" id="{D837BF86-6B42-458C-A3AE-88528EDFEBC2}"/>
                </a:ext>
              </a:extLst>
            </p:cNvPr>
            <p:cNvGrpSpPr/>
            <p:nvPr/>
          </p:nvGrpSpPr>
          <p:grpSpPr>
            <a:xfrm>
              <a:off x="3719147" y="303257"/>
              <a:ext cx="614343" cy="379815"/>
              <a:chOff x="3719147" y="303257"/>
              <a:chExt cx="614343" cy="379815"/>
            </a:xfrm>
          </p:grpSpPr>
          <p:sp>
            <p:nvSpPr>
              <p:cNvPr id="1070" name="Rectangle: Rounded Corners 1069">
                <a:extLst>
                  <a:ext uri="{FF2B5EF4-FFF2-40B4-BE49-F238E27FC236}">
                    <a16:creationId xmlns:a16="http://schemas.microsoft.com/office/drawing/2014/main" id="{DFFA90A7-6C77-4781-8C9C-6B4FDE15146F}"/>
                  </a:ext>
                </a:extLst>
              </p:cNvPr>
              <p:cNvSpPr/>
              <p:nvPr/>
            </p:nvSpPr>
            <p:spPr>
              <a:xfrm>
                <a:off x="3719147" y="303257"/>
                <a:ext cx="531191" cy="37981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71" name="Isosceles Triangle 1070">
                <a:extLst>
                  <a:ext uri="{FF2B5EF4-FFF2-40B4-BE49-F238E27FC236}">
                    <a16:creationId xmlns:a16="http://schemas.microsoft.com/office/drawing/2014/main" id="{1A9AD615-9D42-4C4B-BF60-5AE4989A4D64}"/>
                  </a:ext>
                </a:extLst>
              </p:cNvPr>
              <p:cNvSpPr/>
              <p:nvPr/>
            </p:nvSpPr>
            <p:spPr>
              <a:xfrm rot="16200000" flipH="1" flipV="1">
                <a:off x="4150902" y="452825"/>
                <a:ext cx="196113" cy="169063"/>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grpSp>
          <p:nvGrpSpPr>
            <p:cNvPr id="1065" name="Group 1064">
              <a:extLst>
                <a:ext uri="{FF2B5EF4-FFF2-40B4-BE49-F238E27FC236}">
                  <a16:creationId xmlns:a16="http://schemas.microsoft.com/office/drawing/2014/main" id="{9134CD75-D8DD-4C29-A293-BD7094A4219B}"/>
                </a:ext>
              </a:extLst>
            </p:cNvPr>
            <p:cNvGrpSpPr/>
            <p:nvPr/>
          </p:nvGrpSpPr>
          <p:grpSpPr>
            <a:xfrm>
              <a:off x="3778170" y="365111"/>
              <a:ext cx="400244" cy="254564"/>
              <a:chOff x="3778170" y="379575"/>
              <a:chExt cx="400244" cy="254564"/>
            </a:xfrm>
            <a:solidFill>
              <a:schemeClr val="bg2"/>
            </a:solidFill>
          </p:grpSpPr>
          <p:sp>
            <p:nvSpPr>
              <p:cNvPr id="1066" name="Rectangle: Rounded Corners 1065">
                <a:extLst>
                  <a:ext uri="{FF2B5EF4-FFF2-40B4-BE49-F238E27FC236}">
                    <a16:creationId xmlns:a16="http://schemas.microsoft.com/office/drawing/2014/main" id="{9452827F-F47B-41B9-AE03-2043E45D09D6}"/>
                  </a:ext>
                </a:extLst>
              </p:cNvPr>
              <p:cNvSpPr/>
              <p:nvPr/>
            </p:nvSpPr>
            <p:spPr>
              <a:xfrm>
                <a:off x="3778170" y="379575"/>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67" name="Rectangle: Rounded Corners 1066">
                <a:extLst>
                  <a:ext uri="{FF2B5EF4-FFF2-40B4-BE49-F238E27FC236}">
                    <a16:creationId xmlns:a16="http://schemas.microsoft.com/office/drawing/2014/main" id="{7F3C99B0-831A-4C3B-8F05-CC77D4023DD0}"/>
                  </a:ext>
                </a:extLst>
              </p:cNvPr>
              <p:cNvSpPr/>
              <p:nvPr/>
            </p:nvSpPr>
            <p:spPr>
              <a:xfrm>
                <a:off x="3778170" y="449190"/>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68" name="Rectangle: Rounded Corners 1067">
                <a:extLst>
                  <a:ext uri="{FF2B5EF4-FFF2-40B4-BE49-F238E27FC236}">
                    <a16:creationId xmlns:a16="http://schemas.microsoft.com/office/drawing/2014/main" id="{F7A543CD-DC5E-47BE-BE1B-6D52BEBE306C}"/>
                  </a:ext>
                </a:extLst>
              </p:cNvPr>
              <p:cNvSpPr/>
              <p:nvPr/>
            </p:nvSpPr>
            <p:spPr>
              <a:xfrm>
                <a:off x="3778170" y="518805"/>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69" name="Rectangle: Rounded Corners 1068">
                <a:extLst>
                  <a:ext uri="{FF2B5EF4-FFF2-40B4-BE49-F238E27FC236}">
                    <a16:creationId xmlns:a16="http://schemas.microsoft.com/office/drawing/2014/main" id="{84AA082B-C713-4FBB-8B23-87727D40DE27}"/>
                  </a:ext>
                </a:extLst>
              </p:cNvPr>
              <p:cNvSpPr/>
              <p:nvPr/>
            </p:nvSpPr>
            <p:spPr>
              <a:xfrm>
                <a:off x="3778170" y="588420"/>
                <a:ext cx="400244" cy="4571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grpSp>
      <p:sp>
        <p:nvSpPr>
          <p:cNvPr id="1072" name="Oval 17">
            <a:extLst>
              <a:ext uri="{FF2B5EF4-FFF2-40B4-BE49-F238E27FC236}">
                <a16:creationId xmlns:a16="http://schemas.microsoft.com/office/drawing/2014/main" id="{EA81DF65-6676-432F-A972-71FD0E8E43A1}"/>
              </a:ext>
            </a:extLst>
          </p:cNvPr>
          <p:cNvSpPr/>
          <p:nvPr/>
        </p:nvSpPr>
        <p:spPr>
          <a:xfrm>
            <a:off x="5942814" y="2543803"/>
            <a:ext cx="426966" cy="426943"/>
          </a:xfrm>
          <a:custGeom>
            <a:avLst/>
            <a:gdLst/>
            <a:ahLst/>
            <a:cxnLst/>
            <a:rect l="l" t="t" r="r" b="b"/>
            <a:pathLst>
              <a:path w="1373008" h="1373008">
                <a:moveTo>
                  <a:pt x="686539" y="740055"/>
                </a:moveTo>
                <a:cubicBezTo>
                  <a:pt x="666786" y="740214"/>
                  <a:pt x="650903" y="756358"/>
                  <a:pt x="651063" y="776110"/>
                </a:cubicBezTo>
                <a:lnTo>
                  <a:pt x="652775" y="987279"/>
                </a:lnTo>
                <a:lnTo>
                  <a:pt x="631372" y="966559"/>
                </a:lnTo>
                <a:cubicBezTo>
                  <a:pt x="617179" y="952819"/>
                  <a:pt x="594535" y="953187"/>
                  <a:pt x="580796" y="967379"/>
                </a:cubicBezTo>
                <a:cubicBezTo>
                  <a:pt x="567056" y="981571"/>
                  <a:pt x="567424" y="1004215"/>
                  <a:pt x="581616" y="1017955"/>
                </a:cubicBezTo>
                <a:lnTo>
                  <a:pt x="663890" y="1097602"/>
                </a:lnTo>
                <a:lnTo>
                  <a:pt x="671552" y="1102513"/>
                </a:lnTo>
                <a:lnTo>
                  <a:pt x="675578" y="1105180"/>
                </a:lnTo>
                <a:lnTo>
                  <a:pt x="675833" y="1105257"/>
                </a:lnTo>
                <a:lnTo>
                  <a:pt x="675848" y="1105266"/>
                </a:lnTo>
                <a:lnTo>
                  <a:pt x="675887" y="1105273"/>
                </a:lnTo>
                <a:lnTo>
                  <a:pt x="682308" y="1107210"/>
                </a:lnTo>
                <a:cubicBezTo>
                  <a:pt x="684640" y="1107667"/>
                  <a:pt x="687053" y="1107897"/>
                  <a:pt x="689522" y="1107878"/>
                </a:cubicBezTo>
                <a:cubicBezTo>
                  <a:pt x="691991" y="1107858"/>
                  <a:pt x="694400" y="1107588"/>
                  <a:pt x="696724" y="1107093"/>
                </a:cubicBezTo>
                <a:lnTo>
                  <a:pt x="703113" y="1105053"/>
                </a:lnTo>
                <a:lnTo>
                  <a:pt x="703152" y="1105045"/>
                </a:lnTo>
                <a:lnTo>
                  <a:pt x="703167" y="1105035"/>
                </a:lnTo>
                <a:lnTo>
                  <a:pt x="703421" y="1104954"/>
                </a:lnTo>
                <a:lnTo>
                  <a:pt x="707387" y="1102233"/>
                </a:lnTo>
                <a:lnTo>
                  <a:pt x="714984" y="1097188"/>
                </a:lnTo>
                <a:lnTo>
                  <a:pt x="795956" y="1016217"/>
                </a:lnTo>
                <a:cubicBezTo>
                  <a:pt x="809924" y="1002249"/>
                  <a:pt x="809924" y="979603"/>
                  <a:pt x="795956" y="965635"/>
                </a:cubicBezTo>
                <a:cubicBezTo>
                  <a:pt x="781988" y="951667"/>
                  <a:pt x="759342" y="951667"/>
                  <a:pt x="745374" y="965635"/>
                </a:cubicBezTo>
                <a:lnTo>
                  <a:pt x="724307" y="986700"/>
                </a:lnTo>
                <a:lnTo>
                  <a:pt x="722595" y="775531"/>
                </a:lnTo>
                <a:cubicBezTo>
                  <a:pt x="722435" y="755778"/>
                  <a:pt x="706292" y="739895"/>
                  <a:pt x="686539" y="740055"/>
                </a:cubicBezTo>
                <a:close/>
                <a:moveTo>
                  <a:pt x="866904" y="568650"/>
                </a:moveTo>
                <a:cubicBezTo>
                  <a:pt x="857750" y="568724"/>
                  <a:pt x="848626" y="572291"/>
                  <a:pt x="841699" y="579331"/>
                </a:cubicBezTo>
                <a:lnTo>
                  <a:pt x="761387" y="660956"/>
                </a:lnTo>
                <a:lnTo>
                  <a:pt x="756414" y="668578"/>
                </a:lnTo>
                <a:lnTo>
                  <a:pt x="753714" y="672582"/>
                </a:lnTo>
                <a:lnTo>
                  <a:pt x="753636" y="672837"/>
                </a:lnTo>
                <a:lnTo>
                  <a:pt x="753626" y="672851"/>
                </a:lnTo>
                <a:lnTo>
                  <a:pt x="753619" y="672891"/>
                </a:lnTo>
                <a:lnTo>
                  <a:pt x="751631" y="679296"/>
                </a:lnTo>
                <a:cubicBezTo>
                  <a:pt x="751154" y="681625"/>
                  <a:pt x="750903" y="684035"/>
                  <a:pt x="750904" y="686505"/>
                </a:cubicBezTo>
                <a:cubicBezTo>
                  <a:pt x="750904" y="688973"/>
                  <a:pt x="751154" y="691384"/>
                  <a:pt x="751631" y="693713"/>
                </a:cubicBezTo>
                <a:lnTo>
                  <a:pt x="753618" y="700117"/>
                </a:lnTo>
                <a:lnTo>
                  <a:pt x="753626" y="700157"/>
                </a:lnTo>
                <a:lnTo>
                  <a:pt x="753636" y="700171"/>
                </a:lnTo>
                <a:lnTo>
                  <a:pt x="753715" y="700426"/>
                </a:lnTo>
                <a:lnTo>
                  <a:pt x="756403" y="704414"/>
                </a:lnTo>
                <a:lnTo>
                  <a:pt x="761386" y="712053"/>
                </a:lnTo>
                <a:lnTo>
                  <a:pt x="841699" y="793678"/>
                </a:lnTo>
                <a:cubicBezTo>
                  <a:pt x="855552" y="807758"/>
                  <a:pt x="878199" y="807942"/>
                  <a:pt x="892279" y="794088"/>
                </a:cubicBezTo>
                <a:cubicBezTo>
                  <a:pt x="906360" y="780234"/>
                  <a:pt x="906543" y="757588"/>
                  <a:pt x="892690" y="743507"/>
                </a:cubicBezTo>
                <a:lnTo>
                  <a:pt x="871795" y="722271"/>
                </a:lnTo>
                <a:lnTo>
                  <a:pt x="1082972" y="722271"/>
                </a:lnTo>
                <a:cubicBezTo>
                  <a:pt x="1092849" y="722271"/>
                  <a:pt x="1101790" y="718267"/>
                  <a:pt x="1108263" y="711795"/>
                </a:cubicBezTo>
                <a:lnTo>
                  <a:pt x="1118739" y="686504"/>
                </a:lnTo>
                <a:lnTo>
                  <a:pt x="1108263" y="661213"/>
                </a:lnTo>
                <a:cubicBezTo>
                  <a:pt x="1101790" y="654740"/>
                  <a:pt x="1092849" y="650737"/>
                  <a:pt x="1082972" y="650736"/>
                </a:cubicBezTo>
                <a:lnTo>
                  <a:pt x="871796" y="650737"/>
                </a:lnTo>
                <a:lnTo>
                  <a:pt x="892690" y="629501"/>
                </a:lnTo>
                <a:cubicBezTo>
                  <a:pt x="906543" y="615421"/>
                  <a:pt x="906360" y="592775"/>
                  <a:pt x="892279" y="578920"/>
                </a:cubicBezTo>
                <a:cubicBezTo>
                  <a:pt x="885240" y="571994"/>
                  <a:pt x="876058" y="568576"/>
                  <a:pt x="866904" y="568650"/>
                </a:cubicBezTo>
                <a:close/>
                <a:moveTo>
                  <a:pt x="506104" y="568650"/>
                </a:moveTo>
                <a:lnTo>
                  <a:pt x="480729" y="578921"/>
                </a:lnTo>
                <a:lnTo>
                  <a:pt x="480729" y="578920"/>
                </a:lnTo>
                <a:lnTo>
                  <a:pt x="480729" y="578921"/>
                </a:lnTo>
                <a:lnTo>
                  <a:pt x="480729" y="578921"/>
                </a:lnTo>
                <a:lnTo>
                  <a:pt x="470049" y="604126"/>
                </a:lnTo>
                <a:cubicBezTo>
                  <a:pt x="469974" y="613279"/>
                  <a:pt x="473392" y="622461"/>
                  <a:pt x="480318" y="629502"/>
                </a:cubicBezTo>
                <a:lnTo>
                  <a:pt x="501213" y="650736"/>
                </a:lnTo>
                <a:lnTo>
                  <a:pt x="290036" y="650737"/>
                </a:lnTo>
                <a:cubicBezTo>
                  <a:pt x="270283" y="650737"/>
                  <a:pt x="254269" y="666750"/>
                  <a:pt x="254270" y="686504"/>
                </a:cubicBezTo>
                <a:cubicBezTo>
                  <a:pt x="254270" y="706258"/>
                  <a:pt x="270283" y="722270"/>
                  <a:pt x="290037" y="722271"/>
                </a:cubicBezTo>
                <a:lnTo>
                  <a:pt x="501214" y="722272"/>
                </a:lnTo>
                <a:lnTo>
                  <a:pt x="480319" y="743506"/>
                </a:lnTo>
                <a:cubicBezTo>
                  <a:pt x="466465" y="757588"/>
                  <a:pt x="466649" y="780234"/>
                  <a:pt x="480729" y="794088"/>
                </a:cubicBezTo>
                <a:cubicBezTo>
                  <a:pt x="494810" y="807942"/>
                  <a:pt x="517456" y="807758"/>
                  <a:pt x="531310" y="793677"/>
                </a:cubicBezTo>
                <a:lnTo>
                  <a:pt x="611622" y="712053"/>
                </a:lnTo>
                <a:lnTo>
                  <a:pt x="616606" y="704414"/>
                </a:lnTo>
                <a:lnTo>
                  <a:pt x="619294" y="700426"/>
                </a:lnTo>
                <a:lnTo>
                  <a:pt x="619373" y="700172"/>
                </a:lnTo>
                <a:lnTo>
                  <a:pt x="619382" y="700157"/>
                </a:lnTo>
                <a:lnTo>
                  <a:pt x="619390" y="700117"/>
                </a:lnTo>
                <a:lnTo>
                  <a:pt x="621378" y="693713"/>
                </a:lnTo>
                <a:cubicBezTo>
                  <a:pt x="621854" y="691384"/>
                  <a:pt x="622104" y="688973"/>
                  <a:pt x="622104" y="686504"/>
                </a:cubicBezTo>
                <a:cubicBezTo>
                  <a:pt x="622105" y="684035"/>
                  <a:pt x="621854" y="681624"/>
                  <a:pt x="621377" y="679296"/>
                </a:cubicBezTo>
                <a:lnTo>
                  <a:pt x="619390" y="672890"/>
                </a:lnTo>
                <a:lnTo>
                  <a:pt x="619382" y="672851"/>
                </a:lnTo>
                <a:lnTo>
                  <a:pt x="619373" y="672837"/>
                </a:lnTo>
                <a:lnTo>
                  <a:pt x="619294" y="672582"/>
                </a:lnTo>
                <a:lnTo>
                  <a:pt x="616594" y="668579"/>
                </a:lnTo>
                <a:lnTo>
                  <a:pt x="611621" y="660957"/>
                </a:lnTo>
                <a:lnTo>
                  <a:pt x="531311" y="579331"/>
                </a:lnTo>
                <a:cubicBezTo>
                  <a:pt x="524383" y="572291"/>
                  <a:pt x="515258" y="568725"/>
                  <a:pt x="506104" y="568650"/>
                </a:cubicBezTo>
                <a:close/>
                <a:moveTo>
                  <a:pt x="689522" y="278119"/>
                </a:moveTo>
                <a:cubicBezTo>
                  <a:pt x="687053" y="278099"/>
                  <a:pt x="684640" y="278330"/>
                  <a:pt x="682308" y="278788"/>
                </a:cubicBezTo>
                <a:lnTo>
                  <a:pt x="675887" y="280725"/>
                </a:lnTo>
                <a:lnTo>
                  <a:pt x="675848" y="280731"/>
                </a:lnTo>
                <a:lnTo>
                  <a:pt x="675833" y="280741"/>
                </a:lnTo>
                <a:lnTo>
                  <a:pt x="675578" y="280817"/>
                </a:lnTo>
                <a:lnTo>
                  <a:pt x="671552" y="283484"/>
                </a:lnTo>
                <a:lnTo>
                  <a:pt x="663890" y="288395"/>
                </a:lnTo>
                <a:lnTo>
                  <a:pt x="581616" y="368043"/>
                </a:lnTo>
                <a:cubicBezTo>
                  <a:pt x="567424" y="381782"/>
                  <a:pt x="567056" y="404426"/>
                  <a:pt x="580796" y="418619"/>
                </a:cubicBezTo>
                <a:cubicBezTo>
                  <a:pt x="594536" y="432811"/>
                  <a:pt x="617179" y="433178"/>
                  <a:pt x="631372" y="419439"/>
                </a:cubicBezTo>
                <a:lnTo>
                  <a:pt x="652775" y="398717"/>
                </a:lnTo>
                <a:lnTo>
                  <a:pt x="651063" y="609886"/>
                </a:lnTo>
                <a:cubicBezTo>
                  <a:pt x="650903" y="629639"/>
                  <a:pt x="666786" y="645783"/>
                  <a:pt x="686540" y="645943"/>
                </a:cubicBezTo>
                <a:cubicBezTo>
                  <a:pt x="706293" y="646103"/>
                  <a:pt x="722434" y="630220"/>
                  <a:pt x="722595" y="610466"/>
                </a:cubicBezTo>
                <a:lnTo>
                  <a:pt x="724308" y="399297"/>
                </a:lnTo>
                <a:lnTo>
                  <a:pt x="745373" y="420363"/>
                </a:lnTo>
                <a:cubicBezTo>
                  <a:pt x="759341" y="434331"/>
                  <a:pt x="781988" y="434331"/>
                  <a:pt x="795956" y="420363"/>
                </a:cubicBezTo>
                <a:cubicBezTo>
                  <a:pt x="809924" y="406395"/>
                  <a:pt x="809924" y="383749"/>
                  <a:pt x="795956" y="369781"/>
                </a:cubicBezTo>
                <a:lnTo>
                  <a:pt x="714985" y="288809"/>
                </a:lnTo>
                <a:lnTo>
                  <a:pt x="707387" y="283764"/>
                </a:lnTo>
                <a:lnTo>
                  <a:pt x="703420" y="281044"/>
                </a:lnTo>
                <a:lnTo>
                  <a:pt x="703167" y="280962"/>
                </a:lnTo>
                <a:lnTo>
                  <a:pt x="703152" y="280952"/>
                </a:lnTo>
                <a:lnTo>
                  <a:pt x="703113" y="280945"/>
                </a:lnTo>
                <a:lnTo>
                  <a:pt x="696724" y="278905"/>
                </a:lnTo>
                <a:cubicBezTo>
                  <a:pt x="694400" y="278410"/>
                  <a:pt x="691991" y="278139"/>
                  <a:pt x="689522" y="278119"/>
                </a:cubicBezTo>
                <a:close/>
                <a:moveTo>
                  <a:pt x="686504" y="0"/>
                </a:moveTo>
                <a:cubicBezTo>
                  <a:pt x="1065650" y="0"/>
                  <a:pt x="1373008" y="307358"/>
                  <a:pt x="1373008" y="686504"/>
                </a:cubicBezTo>
                <a:cubicBezTo>
                  <a:pt x="1373008" y="1065650"/>
                  <a:pt x="1065650" y="1373008"/>
                  <a:pt x="686504" y="1373008"/>
                </a:cubicBezTo>
                <a:cubicBezTo>
                  <a:pt x="307358" y="1373008"/>
                  <a:pt x="0" y="1065650"/>
                  <a:pt x="0" y="686504"/>
                </a:cubicBezTo>
                <a:cubicBezTo>
                  <a:pt x="0" y="307358"/>
                  <a:pt x="307358" y="0"/>
                  <a:pt x="686504" y="0"/>
                </a:cubicBezTo>
                <a:close/>
              </a:path>
            </a:pathLst>
          </a:custGeom>
          <a:solidFill>
            <a:schemeClr val="accent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875" name="Group 1874"/>
          <p:cNvGrpSpPr/>
          <p:nvPr/>
        </p:nvGrpSpPr>
        <p:grpSpPr>
          <a:xfrm>
            <a:off x="4045891" y="1968002"/>
            <a:ext cx="577435" cy="489378"/>
            <a:chOff x="6462713" y="4906772"/>
            <a:chExt cx="509587" cy="412750"/>
          </a:xfrm>
          <a:solidFill>
            <a:schemeClr val="accent1"/>
          </a:solidFill>
        </p:grpSpPr>
        <p:sp>
          <p:nvSpPr>
            <p:cNvPr id="1876" name="Freeform 1875"/>
            <p:cNvSpPr>
              <a:spLocks/>
            </p:cNvSpPr>
            <p:nvPr/>
          </p:nvSpPr>
          <p:spPr bwMode="auto">
            <a:xfrm>
              <a:off x="6724650" y="4960747"/>
              <a:ext cx="247650" cy="325438"/>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CiscoSans ExtraLight" charset="0"/>
                <a:ea typeface="CiscoSans ExtraLight" charset="0"/>
                <a:cs typeface="CiscoSans ExtraLight" charset="0"/>
              </a:endParaRPr>
            </a:p>
          </p:txBody>
        </p:sp>
        <p:sp>
          <p:nvSpPr>
            <p:cNvPr id="1877" name="Freeform 1876"/>
            <p:cNvSpPr>
              <a:spLocks/>
            </p:cNvSpPr>
            <p:nvPr/>
          </p:nvSpPr>
          <p:spPr bwMode="auto">
            <a:xfrm>
              <a:off x="6462713" y="4906772"/>
              <a:ext cx="355600" cy="412750"/>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CiscoSans ExtraLight" charset="0"/>
                <a:ea typeface="CiscoSans ExtraLight" charset="0"/>
                <a:cs typeface="CiscoSans ExtraLight" charset="0"/>
              </a:endParaRPr>
            </a:p>
          </p:txBody>
        </p:sp>
      </p:grpSp>
      <p:sp>
        <p:nvSpPr>
          <p:cNvPr id="1878" name="TextBox 1877">
            <a:extLst>
              <a:ext uri="{FF2B5EF4-FFF2-40B4-BE49-F238E27FC236}">
                <a16:creationId xmlns:a16="http://schemas.microsoft.com/office/drawing/2014/main" id="{4D02394A-3901-4070-8F9A-F4812968A3C8}"/>
              </a:ext>
            </a:extLst>
          </p:cNvPr>
          <p:cNvSpPr txBox="1"/>
          <p:nvPr/>
        </p:nvSpPr>
        <p:spPr>
          <a:xfrm>
            <a:off x="5233563" y="1417169"/>
            <a:ext cx="693706" cy="220445"/>
          </a:xfrm>
          <a:prstGeom prst="rect">
            <a:avLst/>
          </a:prstGeom>
          <a:noFill/>
        </p:spPr>
        <p:txBody>
          <a:bodyPr wrap="square" rtlCol="0">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9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Branch</a:t>
            </a:r>
          </a:p>
        </p:txBody>
      </p:sp>
      <p:sp>
        <p:nvSpPr>
          <p:cNvPr id="1879" name="TextBox 1878">
            <a:extLst>
              <a:ext uri="{FF2B5EF4-FFF2-40B4-BE49-F238E27FC236}">
                <a16:creationId xmlns:a16="http://schemas.microsoft.com/office/drawing/2014/main" id="{4D02394A-3901-4070-8F9A-F4812968A3C8}"/>
              </a:ext>
            </a:extLst>
          </p:cNvPr>
          <p:cNvSpPr txBox="1"/>
          <p:nvPr/>
        </p:nvSpPr>
        <p:spPr>
          <a:xfrm>
            <a:off x="5198257" y="1932776"/>
            <a:ext cx="693706" cy="220445"/>
          </a:xfrm>
          <a:prstGeom prst="rect">
            <a:avLst/>
          </a:prstGeom>
          <a:noFill/>
        </p:spPr>
        <p:txBody>
          <a:bodyPr wrap="square" rtlCol="0">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9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Campus</a:t>
            </a:r>
          </a:p>
        </p:txBody>
      </p:sp>
      <p:sp>
        <p:nvSpPr>
          <p:cNvPr id="1880" name="TextBox 1879">
            <a:extLst>
              <a:ext uri="{FF2B5EF4-FFF2-40B4-BE49-F238E27FC236}">
                <a16:creationId xmlns:a16="http://schemas.microsoft.com/office/drawing/2014/main" id="{4D02394A-3901-4070-8F9A-F4812968A3C8}"/>
              </a:ext>
            </a:extLst>
          </p:cNvPr>
          <p:cNvSpPr txBox="1"/>
          <p:nvPr/>
        </p:nvSpPr>
        <p:spPr>
          <a:xfrm>
            <a:off x="5956698" y="1418900"/>
            <a:ext cx="839812" cy="220445"/>
          </a:xfrm>
          <a:prstGeom prst="rect">
            <a:avLst/>
          </a:prstGeom>
          <a:noFill/>
        </p:spPr>
        <p:txBody>
          <a:bodyPr wrap="square" rtlCol="0">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9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Data Center</a:t>
            </a:r>
          </a:p>
        </p:txBody>
      </p:sp>
      <p:sp>
        <p:nvSpPr>
          <p:cNvPr id="2671" name="TextBox 2670">
            <a:extLst>
              <a:ext uri="{FF2B5EF4-FFF2-40B4-BE49-F238E27FC236}">
                <a16:creationId xmlns:a16="http://schemas.microsoft.com/office/drawing/2014/main" id="{4D02394A-3901-4070-8F9A-F4812968A3C8}"/>
              </a:ext>
            </a:extLst>
          </p:cNvPr>
          <p:cNvSpPr txBox="1"/>
          <p:nvPr/>
        </p:nvSpPr>
        <p:spPr>
          <a:xfrm>
            <a:off x="6013598" y="1932776"/>
            <a:ext cx="890264" cy="220445"/>
          </a:xfrm>
          <a:prstGeom prst="rect">
            <a:avLst/>
          </a:prstGeom>
          <a:noFill/>
        </p:spPr>
        <p:txBody>
          <a:bodyPr wrap="square" rtlCol="0">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9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Cloud</a:t>
            </a:r>
          </a:p>
        </p:txBody>
      </p:sp>
    </p:spTree>
    <p:extLst>
      <p:ext uri="{BB962C8B-B14F-4D97-AF65-F5344CB8AC3E}">
        <p14:creationId xmlns:p14="http://schemas.microsoft.com/office/powerpoint/2010/main" val="565915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250"/>
                                        <p:tgtEl>
                                          <p:spTgt spid="42"/>
                                        </p:tgtEl>
                                      </p:cBhvr>
                                    </p:animEffect>
                                  </p:childTnLst>
                                </p:cTn>
                              </p:par>
                              <p:par>
                                <p:cTn id="8" presetID="6" presetClass="emph" presetSubtype="0" fill="hold" nodeType="withEffect">
                                  <p:stCondLst>
                                    <p:cond delay="0"/>
                                  </p:stCondLst>
                                  <p:childTnLst>
                                    <p:animScale>
                                      <p:cBhvr>
                                        <p:cTn id="9" dur="10" fill="hold"/>
                                        <p:tgtEl>
                                          <p:spTgt spid="42"/>
                                        </p:tgtEl>
                                      </p:cBhvr>
                                      <p:by x="1000" y="1000"/>
                                    </p:animScale>
                                  </p:childTnLst>
                                </p:cTn>
                              </p:par>
                              <p:par>
                                <p:cTn id="10" presetID="6" presetClass="emph" presetSubtype="0" decel="100000" fill="hold" nodeType="withEffect">
                                  <p:stCondLst>
                                    <p:cond delay="0"/>
                                  </p:stCondLst>
                                  <p:childTnLst>
                                    <p:animScale>
                                      <p:cBhvr>
                                        <p:cTn id="11" dur="990" fill="hold"/>
                                        <p:tgtEl>
                                          <p:spTgt spid="42"/>
                                        </p:tgtEl>
                                      </p:cBhvr>
                                      <p:by x="9999000" y="9999000"/>
                                    </p:animScale>
                                  </p:childTnLst>
                                </p:cTn>
                              </p:par>
                              <p:par>
                                <p:cTn id="12" presetID="10" presetClass="entr" presetSubtype="0" fill="hold" nodeType="withEffect">
                                  <p:stCondLst>
                                    <p:cond delay="0"/>
                                  </p:stCondLst>
                                  <p:childTnLst>
                                    <p:set>
                                      <p:cBhvr>
                                        <p:cTn id="13" dur="1" fill="hold">
                                          <p:stCondLst>
                                            <p:cond delay="0"/>
                                          </p:stCondLst>
                                        </p:cTn>
                                        <p:tgtEl>
                                          <p:spTgt spid="48"/>
                                        </p:tgtEl>
                                        <p:attrNameLst>
                                          <p:attrName>style.visibility</p:attrName>
                                        </p:attrNameLst>
                                      </p:cBhvr>
                                      <p:to>
                                        <p:strVal val="visible"/>
                                      </p:to>
                                    </p:set>
                                    <p:animEffect transition="in" filter="fade">
                                      <p:cBhvr>
                                        <p:cTn id="14" dur="500"/>
                                        <p:tgtEl>
                                          <p:spTgt spid="48"/>
                                        </p:tgtEl>
                                      </p:cBhvr>
                                    </p:animEffect>
                                  </p:childTnLst>
                                </p:cTn>
                              </p:par>
                              <p:par>
                                <p:cTn id="15" presetID="10" presetClass="entr" presetSubtype="0" fill="hold" nodeType="withEffect">
                                  <p:stCondLst>
                                    <p:cond delay="15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250"/>
                                        <p:tgtEl>
                                          <p:spTgt spid="33"/>
                                        </p:tgtEl>
                                      </p:cBhvr>
                                    </p:animEffect>
                                  </p:childTnLst>
                                </p:cTn>
                              </p:par>
                              <p:par>
                                <p:cTn id="18" presetID="10" presetClass="entr" presetSubtype="0" fill="hold" nodeType="withEffect">
                                  <p:stCondLst>
                                    <p:cond delay="150"/>
                                  </p:stCondLst>
                                  <p:childTnLst>
                                    <p:set>
                                      <p:cBhvr>
                                        <p:cTn id="19" dur="1" fill="hold">
                                          <p:stCondLst>
                                            <p:cond delay="0"/>
                                          </p:stCondLst>
                                        </p:cTn>
                                        <p:tgtEl>
                                          <p:spTgt spid="1045"/>
                                        </p:tgtEl>
                                        <p:attrNameLst>
                                          <p:attrName>style.visibility</p:attrName>
                                        </p:attrNameLst>
                                      </p:cBhvr>
                                      <p:to>
                                        <p:strVal val="visible"/>
                                      </p:to>
                                    </p:set>
                                    <p:animEffect transition="in" filter="fade">
                                      <p:cBhvr>
                                        <p:cTn id="20" dur="500"/>
                                        <p:tgtEl>
                                          <p:spTgt spid="1045"/>
                                        </p:tgtEl>
                                      </p:cBhvr>
                                    </p:animEffect>
                                  </p:childTnLst>
                                </p:cTn>
                              </p:par>
                              <p:par>
                                <p:cTn id="21" presetID="6" presetClass="emph" presetSubtype="0" fill="hold" nodeType="withEffect">
                                  <p:stCondLst>
                                    <p:cond delay="0"/>
                                  </p:stCondLst>
                                  <p:childTnLst>
                                    <p:animScale>
                                      <p:cBhvr>
                                        <p:cTn id="22" dur="10" fill="hold"/>
                                        <p:tgtEl>
                                          <p:spTgt spid="33"/>
                                        </p:tgtEl>
                                      </p:cBhvr>
                                      <p:by x="1000" y="1000"/>
                                    </p:animScale>
                                  </p:childTnLst>
                                </p:cTn>
                              </p:par>
                              <p:par>
                                <p:cTn id="23" presetID="6" presetClass="emph" presetSubtype="0" decel="100000" fill="hold" nodeType="withEffect">
                                  <p:stCondLst>
                                    <p:cond delay="150"/>
                                  </p:stCondLst>
                                  <p:childTnLst>
                                    <p:animScale>
                                      <p:cBhvr>
                                        <p:cTn id="24" dur="990" fill="hold"/>
                                        <p:tgtEl>
                                          <p:spTgt spid="33"/>
                                        </p:tgtEl>
                                      </p:cBhvr>
                                      <p:by x="9999000" y="9999000"/>
                                    </p:animScale>
                                  </p:childTnLst>
                                </p:cTn>
                              </p:par>
                              <p:par>
                                <p:cTn id="25" presetID="10" presetClass="entr" presetSubtype="0" fill="hold" nodeType="withEffect">
                                  <p:stCondLst>
                                    <p:cond delay="150"/>
                                  </p:stCondLst>
                                  <p:childTnLst>
                                    <p:set>
                                      <p:cBhvr>
                                        <p:cTn id="26" dur="1" fill="hold">
                                          <p:stCondLst>
                                            <p:cond delay="0"/>
                                          </p:stCondLst>
                                        </p:cTn>
                                        <p:tgtEl>
                                          <p:spTgt spid="1054"/>
                                        </p:tgtEl>
                                        <p:attrNameLst>
                                          <p:attrName>style.visibility</p:attrName>
                                        </p:attrNameLst>
                                      </p:cBhvr>
                                      <p:to>
                                        <p:strVal val="visible"/>
                                      </p:to>
                                    </p:set>
                                    <p:animEffect transition="in" filter="fade">
                                      <p:cBhvr>
                                        <p:cTn id="27" dur="500"/>
                                        <p:tgtEl>
                                          <p:spTgt spid="1054"/>
                                        </p:tgtEl>
                                      </p:cBhvr>
                                    </p:animEffect>
                                  </p:childTnLst>
                                </p:cTn>
                              </p:par>
                              <p:par>
                                <p:cTn id="28" presetID="10" presetClass="entr" presetSubtype="0" fill="hold" nodeType="withEffect">
                                  <p:stCondLst>
                                    <p:cond delay="300"/>
                                  </p:stCondLst>
                                  <p:childTnLst>
                                    <p:set>
                                      <p:cBhvr>
                                        <p:cTn id="29" dur="1" fill="hold">
                                          <p:stCondLst>
                                            <p:cond delay="0"/>
                                          </p:stCondLst>
                                        </p:cTn>
                                        <p:tgtEl>
                                          <p:spTgt spid="35"/>
                                        </p:tgtEl>
                                        <p:attrNameLst>
                                          <p:attrName>style.visibility</p:attrName>
                                        </p:attrNameLst>
                                      </p:cBhvr>
                                      <p:to>
                                        <p:strVal val="visible"/>
                                      </p:to>
                                    </p:set>
                                    <p:animEffect transition="in" filter="fade">
                                      <p:cBhvr>
                                        <p:cTn id="30" dur="250"/>
                                        <p:tgtEl>
                                          <p:spTgt spid="35"/>
                                        </p:tgtEl>
                                      </p:cBhvr>
                                    </p:animEffect>
                                  </p:childTnLst>
                                </p:cTn>
                              </p:par>
                              <p:par>
                                <p:cTn id="31" presetID="6" presetClass="emph" presetSubtype="0" fill="hold" nodeType="withEffect">
                                  <p:stCondLst>
                                    <p:cond delay="0"/>
                                  </p:stCondLst>
                                  <p:childTnLst>
                                    <p:animScale>
                                      <p:cBhvr>
                                        <p:cTn id="32" dur="10" fill="hold"/>
                                        <p:tgtEl>
                                          <p:spTgt spid="35"/>
                                        </p:tgtEl>
                                      </p:cBhvr>
                                      <p:by x="1000" y="1000"/>
                                    </p:animScale>
                                  </p:childTnLst>
                                </p:cTn>
                              </p:par>
                              <p:par>
                                <p:cTn id="33" presetID="6" presetClass="emph" presetSubtype="0" decel="100000" fill="hold" nodeType="withEffect">
                                  <p:stCondLst>
                                    <p:cond delay="300"/>
                                  </p:stCondLst>
                                  <p:childTnLst>
                                    <p:animScale>
                                      <p:cBhvr>
                                        <p:cTn id="34" dur="990" fill="hold"/>
                                        <p:tgtEl>
                                          <p:spTgt spid="35"/>
                                        </p:tgtEl>
                                      </p:cBhvr>
                                      <p:by x="9999000" y="9999000"/>
                                    </p:animScale>
                                  </p:childTnLst>
                                </p:cTn>
                              </p:par>
                              <p:par>
                                <p:cTn id="35" presetID="10" presetClass="entr" presetSubtype="0" fill="hold" nodeType="withEffect">
                                  <p:stCondLst>
                                    <p:cond delay="300"/>
                                  </p:stCondLst>
                                  <p:childTnLst>
                                    <p:set>
                                      <p:cBhvr>
                                        <p:cTn id="36" dur="1" fill="hold">
                                          <p:stCondLst>
                                            <p:cond delay="0"/>
                                          </p:stCondLst>
                                        </p:cTn>
                                        <p:tgtEl>
                                          <p:spTgt spid="1875"/>
                                        </p:tgtEl>
                                        <p:attrNameLst>
                                          <p:attrName>style.visibility</p:attrName>
                                        </p:attrNameLst>
                                      </p:cBhvr>
                                      <p:to>
                                        <p:strVal val="visible"/>
                                      </p:to>
                                    </p:set>
                                    <p:animEffect transition="in" filter="fade">
                                      <p:cBhvr>
                                        <p:cTn id="37" dur="500"/>
                                        <p:tgtEl>
                                          <p:spTgt spid="1875"/>
                                        </p:tgtEl>
                                      </p:cBhvr>
                                    </p:animEffect>
                                  </p:childTnLst>
                                </p:cTn>
                              </p:par>
                              <p:par>
                                <p:cTn id="38" presetID="10" presetClass="entr" presetSubtype="0" fill="hold" nodeType="withEffect">
                                  <p:stCondLst>
                                    <p:cond delay="45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250"/>
                                        <p:tgtEl>
                                          <p:spTgt spid="39"/>
                                        </p:tgtEl>
                                      </p:cBhvr>
                                    </p:animEffect>
                                  </p:childTnLst>
                                </p:cTn>
                              </p:par>
                              <p:par>
                                <p:cTn id="41" presetID="6" presetClass="emph" presetSubtype="0" fill="hold" nodeType="withEffect">
                                  <p:stCondLst>
                                    <p:cond delay="0"/>
                                  </p:stCondLst>
                                  <p:childTnLst>
                                    <p:animScale>
                                      <p:cBhvr>
                                        <p:cTn id="42" dur="10" fill="hold"/>
                                        <p:tgtEl>
                                          <p:spTgt spid="39"/>
                                        </p:tgtEl>
                                      </p:cBhvr>
                                      <p:by x="1000" y="1000"/>
                                    </p:animScale>
                                  </p:childTnLst>
                                </p:cTn>
                              </p:par>
                              <p:par>
                                <p:cTn id="43" presetID="6" presetClass="emph" presetSubtype="0" decel="100000" fill="hold" nodeType="withEffect">
                                  <p:stCondLst>
                                    <p:cond delay="450"/>
                                  </p:stCondLst>
                                  <p:childTnLst>
                                    <p:animScale>
                                      <p:cBhvr>
                                        <p:cTn id="44" dur="990" fill="hold"/>
                                        <p:tgtEl>
                                          <p:spTgt spid="39"/>
                                        </p:tgtEl>
                                      </p:cBhvr>
                                      <p:by x="9999000" y="9999000"/>
                                    </p:animScale>
                                  </p:childTnLst>
                                </p:cTn>
                              </p:par>
                              <p:par>
                                <p:cTn id="45" presetID="10" presetClass="entr" presetSubtype="0" fill="hold" nodeType="withEffect">
                                  <p:stCondLst>
                                    <p:cond delay="450"/>
                                  </p:stCondLst>
                                  <p:childTnLst>
                                    <p:set>
                                      <p:cBhvr>
                                        <p:cTn id="46" dur="1" fill="hold">
                                          <p:stCondLst>
                                            <p:cond delay="0"/>
                                          </p:stCondLst>
                                        </p:cTn>
                                        <p:tgtEl>
                                          <p:spTgt spid="965"/>
                                        </p:tgtEl>
                                        <p:attrNameLst>
                                          <p:attrName>style.visibility</p:attrName>
                                        </p:attrNameLst>
                                      </p:cBhvr>
                                      <p:to>
                                        <p:strVal val="visible"/>
                                      </p:to>
                                    </p:set>
                                    <p:animEffect transition="in" filter="fade">
                                      <p:cBhvr>
                                        <p:cTn id="47" dur="500"/>
                                        <p:tgtEl>
                                          <p:spTgt spid="965"/>
                                        </p:tgtEl>
                                      </p:cBhvr>
                                    </p:animEffect>
                                  </p:childTnLst>
                                </p:cTn>
                              </p:par>
                              <p:par>
                                <p:cTn id="48" presetID="10" presetClass="entr" presetSubtype="0" fill="hold" nodeType="withEffect">
                                  <p:stCondLst>
                                    <p:cond delay="600"/>
                                  </p:stCondLst>
                                  <p:childTnLst>
                                    <p:set>
                                      <p:cBhvr>
                                        <p:cTn id="49" dur="1" fill="hold">
                                          <p:stCondLst>
                                            <p:cond delay="0"/>
                                          </p:stCondLst>
                                        </p:cTn>
                                        <p:tgtEl>
                                          <p:spTgt spid="40"/>
                                        </p:tgtEl>
                                        <p:attrNameLst>
                                          <p:attrName>style.visibility</p:attrName>
                                        </p:attrNameLst>
                                      </p:cBhvr>
                                      <p:to>
                                        <p:strVal val="visible"/>
                                      </p:to>
                                    </p:set>
                                    <p:animEffect transition="in" filter="fade">
                                      <p:cBhvr>
                                        <p:cTn id="50" dur="250"/>
                                        <p:tgtEl>
                                          <p:spTgt spid="40"/>
                                        </p:tgtEl>
                                      </p:cBhvr>
                                    </p:animEffect>
                                  </p:childTnLst>
                                </p:cTn>
                              </p:par>
                              <p:par>
                                <p:cTn id="51" presetID="6" presetClass="emph" presetSubtype="0" fill="hold" nodeType="withEffect">
                                  <p:stCondLst>
                                    <p:cond delay="0"/>
                                  </p:stCondLst>
                                  <p:childTnLst>
                                    <p:animScale>
                                      <p:cBhvr>
                                        <p:cTn id="52" dur="10" fill="hold"/>
                                        <p:tgtEl>
                                          <p:spTgt spid="40"/>
                                        </p:tgtEl>
                                      </p:cBhvr>
                                      <p:by x="1000" y="1000"/>
                                    </p:animScale>
                                  </p:childTnLst>
                                </p:cTn>
                              </p:par>
                              <p:par>
                                <p:cTn id="53" presetID="6" presetClass="emph" presetSubtype="0" decel="100000" fill="hold" nodeType="withEffect">
                                  <p:stCondLst>
                                    <p:cond delay="600"/>
                                  </p:stCondLst>
                                  <p:childTnLst>
                                    <p:animScale>
                                      <p:cBhvr>
                                        <p:cTn id="54" dur="990" fill="hold"/>
                                        <p:tgtEl>
                                          <p:spTgt spid="40"/>
                                        </p:tgtEl>
                                      </p:cBhvr>
                                      <p:by x="9999000" y="9999000"/>
                                    </p:animScale>
                                  </p:childTnLst>
                                </p:cTn>
                              </p:par>
                              <p:par>
                                <p:cTn id="55" presetID="10" presetClass="entr" presetSubtype="0" fill="hold" nodeType="withEffect">
                                  <p:stCondLst>
                                    <p:cond delay="600"/>
                                  </p:stCondLst>
                                  <p:childTnLst>
                                    <p:set>
                                      <p:cBhvr>
                                        <p:cTn id="56" dur="1" fill="hold">
                                          <p:stCondLst>
                                            <p:cond delay="0"/>
                                          </p:stCondLst>
                                        </p:cTn>
                                        <p:tgtEl>
                                          <p:spTgt spid="1063"/>
                                        </p:tgtEl>
                                        <p:attrNameLst>
                                          <p:attrName>style.visibility</p:attrName>
                                        </p:attrNameLst>
                                      </p:cBhvr>
                                      <p:to>
                                        <p:strVal val="visible"/>
                                      </p:to>
                                    </p:set>
                                    <p:animEffect transition="in" filter="fade">
                                      <p:cBhvr>
                                        <p:cTn id="57" dur="500"/>
                                        <p:tgtEl>
                                          <p:spTgt spid="1063"/>
                                        </p:tgtEl>
                                      </p:cBhvr>
                                    </p:animEffect>
                                  </p:childTnLst>
                                </p:cTn>
                              </p:par>
                              <p:par>
                                <p:cTn id="58" presetID="10" presetClass="entr" presetSubtype="0" fill="hold" nodeType="withEffect">
                                  <p:stCondLst>
                                    <p:cond delay="750"/>
                                  </p:stCondLst>
                                  <p:childTnLst>
                                    <p:set>
                                      <p:cBhvr>
                                        <p:cTn id="59" dur="1" fill="hold">
                                          <p:stCondLst>
                                            <p:cond delay="0"/>
                                          </p:stCondLst>
                                        </p:cTn>
                                        <p:tgtEl>
                                          <p:spTgt spid="41"/>
                                        </p:tgtEl>
                                        <p:attrNameLst>
                                          <p:attrName>style.visibility</p:attrName>
                                        </p:attrNameLst>
                                      </p:cBhvr>
                                      <p:to>
                                        <p:strVal val="visible"/>
                                      </p:to>
                                    </p:set>
                                    <p:animEffect transition="in" filter="fade">
                                      <p:cBhvr>
                                        <p:cTn id="60" dur="250"/>
                                        <p:tgtEl>
                                          <p:spTgt spid="41"/>
                                        </p:tgtEl>
                                      </p:cBhvr>
                                    </p:animEffect>
                                  </p:childTnLst>
                                </p:cTn>
                              </p:par>
                              <p:par>
                                <p:cTn id="61" presetID="6" presetClass="emph" presetSubtype="0" fill="hold" nodeType="withEffect">
                                  <p:stCondLst>
                                    <p:cond delay="0"/>
                                  </p:stCondLst>
                                  <p:childTnLst>
                                    <p:animScale>
                                      <p:cBhvr>
                                        <p:cTn id="62" dur="10" fill="hold"/>
                                        <p:tgtEl>
                                          <p:spTgt spid="41"/>
                                        </p:tgtEl>
                                      </p:cBhvr>
                                      <p:by x="1000" y="1000"/>
                                    </p:animScale>
                                  </p:childTnLst>
                                </p:cTn>
                              </p:par>
                              <p:par>
                                <p:cTn id="63" presetID="6" presetClass="emph" presetSubtype="0" decel="100000" fill="hold" nodeType="withEffect">
                                  <p:stCondLst>
                                    <p:cond delay="750"/>
                                  </p:stCondLst>
                                  <p:childTnLst>
                                    <p:animScale>
                                      <p:cBhvr>
                                        <p:cTn id="64" dur="990" fill="hold"/>
                                        <p:tgtEl>
                                          <p:spTgt spid="41"/>
                                        </p:tgtEl>
                                      </p:cBhvr>
                                      <p:by x="9999000" y="9999000"/>
                                    </p:animScale>
                                  </p:childTnLst>
                                </p:cTn>
                              </p:par>
                              <p:par>
                                <p:cTn id="65" presetID="10" presetClass="entr" presetSubtype="0" fill="hold" grpId="0" nodeType="withEffect">
                                  <p:stCondLst>
                                    <p:cond delay="750"/>
                                  </p:stCondLst>
                                  <p:childTnLst>
                                    <p:set>
                                      <p:cBhvr>
                                        <p:cTn id="66" dur="1" fill="hold">
                                          <p:stCondLst>
                                            <p:cond delay="0"/>
                                          </p:stCondLst>
                                        </p:cTn>
                                        <p:tgtEl>
                                          <p:spTgt spid="1072"/>
                                        </p:tgtEl>
                                        <p:attrNameLst>
                                          <p:attrName>style.visibility</p:attrName>
                                        </p:attrNameLst>
                                      </p:cBhvr>
                                      <p:to>
                                        <p:strVal val="visible"/>
                                      </p:to>
                                    </p:set>
                                    <p:animEffect transition="in" filter="fade">
                                      <p:cBhvr>
                                        <p:cTn id="67" dur="500"/>
                                        <p:tgtEl>
                                          <p:spTgt spid="1072"/>
                                        </p:tgtEl>
                                      </p:cBhvr>
                                    </p:animEffect>
                                  </p:childTnLst>
                                </p:cTn>
                              </p:par>
                              <p:par>
                                <p:cTn id="68" presetID="10" presetClass="entr" presetSubtype="0" fill="hold" nodeType="withEffect">
                                  <p:stCondLst>
                                    <p:cond delay="750"/>
                                  </p:stCondLst>
                                  <p:childTnLst>
                                    <p:set>
                                      <p:cBhvr>
                                        <p:cTn id="69" dur="1" fill="hold">
                                          <p:stCondLst>
                                            <p:cond delay="0"/>
                                          </p:stCondLst>
                                        </p:cTn>
                                        <p:tgtEl>
                                          <p:spTgt spid="956"/>
                                        </p:tgtEl>
                                        <p:attrNameLst>
                                          <p:attrName>style.visibility</p:attrName>
                                        </p:attrNameLst>
                                      </p:cBhvr>
                                      <p:to>
                                        <p:strVal val="visible"/>
                                      </p:to>
                                    </p:set>
                                    <p:animEffect transition="in" filter="fade">
                                      <p:cBhvr>
                                        <p:cTn id="70" dur="500"/>
                                        <p:tgtEl>
                                          <p:spTgt spid="956"/>
                                        </p:tgtEl>
                                      </p:cBhvr>
                                    </p:animEffect>
                                  </p:childTnLst>
                                </p:cTn>
                              </p:par>
                            </p:childTnLst>
                          </p:cTn>
                        </p:par>
                        <p:par>
                          <p:cTn id="71" fill="hold">
                            <p:stCondLst>
                              <p:cond delay="1740"/>
                            </p:stCondLst>
                            <p:childTnLst>
                              <p:par>
                                <p:cTn id="72" presetID="1" presetClass="entr" presetSubtype="0" fill="hold" grpId="1" nodeType="afterEffect">
                                  <p:stCondLst>
                                    <p:cond delay="0"/>
                                  </p:stCondLst>
                                  <p:childTnLst>
                                    <p:set>
                                      <p:cBhvr>
                                        <p:cTn id="73" dur="1" fill="hold">
                                          <p:stCondLst>
                                            <p:cond delay="0"/>
                                          </p:stCondLst>
                                        </p:cTn>
                                        <p:tgtEl>
                                          <p:spTgt spid="1073"/>
                                        </p:tgtEl>
                                        <p:attrNameLst>
                                          <p:attrName>style.visibility</p:attrName>
                                        </p:attrNameLst>
                                      </p:cBhvr>
                                      <p:to>
                                        <p:strVal val="visible"/>
                                      </p:to>
                                    </p:set>
                                  </p:childTnLst>
                                </p:cTn>
                              </p:par>
                              <p:par>
                                <p:cTn id="74" presetID="1" presetClass="entr" presetSubtype="0" fill="hold" grpId="1" nodeType="withEffect">
                                  <p:stCondLst>
                                    <p:cond delay="0"/>
                                  </p:stCondLst>
                                  <p:childTnLst>
                                    <p:set>
                                      <p:cBhvr>
                                        <p:cTn id="75" dur="1" fill="hold">
                                          <p:stCondLst>
                                            <p:cond delay="0"/>
                                          </p:stCondLst>
                                        </p:cTn>
                                        <p:tgtEl>
                                          <p:spTgt spid="1074"/>
                                        </p:tgtEl>
                                        <p:attrNameLst>
                                          <p:attrName>style.visibility</p:attrName>
                                        </p:attrNameLst>
                                      </p:cBhvr>
                                      <p:to>
                                        <p:strVal val="visible"/>
                                      </p:to>
                                    </p:set>
                                  </p:childTnLst>
                                </p:cTn>
                              </p:par>
                              <p:par>
                                <p:cTn id="76" presetID="1" presetClass="entr" presetSubtype="0" fill="hold" grpId="1" nodeType="withEffect">
                                  <p:stCondLst>
                                    <p:cond delay="0"/>
                                  </p:stCondLst>
                                  <p:childTnLst>
                                    <p:set>
                                      <p:cBhvr>
                                        <p:cTn id="77" dur="1" fill="hold">
                                          <p:stCondLst>
                                            <p:cond delay="0"/>
                                          </p:stCondLst>
                                        </p:cTn>
                                        <p:tgtEl>
                                          <p:spTgt spid="1075"/>
                                        </p:tgtEl>
                                        <p:attrNameLst>
                                          <p:attrName>style.visibility</p:attrName>
                                        </p:attrNameLst>
                                      </p:cBhvr>
                                      <p:to>
                                        <p:strVal val="visible"/>
                                      </p:to>
                                    </p:set>
                                  </p:childTnLst>
                                </p:cTn>
                              </p:par>
                              <p:par>
                                <p:cTn id="78" presetID="1" presetClass="entr" presetSubtype="0" fill="hold" grpId="1" nodeType="withEffect">
                                  <p:stCondLst>
                                    <p:cond delay="0"/>
                                  </p:stCondLst>
                                  <p:childTnLst>
                                    <p:set>
                                      <p:cBhvr>
                                        <p:cTn id="79" dur="1" fill="hold">
                                          <p:stCondLst>
                                            <p:cond delay="0"/>
                                          </p:stCondLst>
                                        </p:cTn>
                                        <p:tgtEl>
                                          <p:spTgt spid="1076"/>
                                        </p:tgtEl>
                                        <p:attrNameLst>
                                          <p:attrName>style.visibility</p:attrName>
                                        </p:attrNameLst>
                                      </p:cBhvr>
                                      <p:to>
                                        <p:strVal val="visible"/>
                                      </p:to>
                                    </p:set>
                                  </p:childTnLst>
                                </p:cTn>
                              </p:par>
                              <p:par>
                                <p:cTn id="80" presetID="1" presetClass="entr" presetSubtype="0" fill="hold" grpId="1" nodeType="withEffect">
                                  <p:stCondLst>
                                    <p:cond delay="0"/>
                                  </p:stCondLst>
                                  <p:childTnLst>
                                    <p:set>
                                      <p:cBhvr>
                                        <p:cTn id="81" dur="1" fill="hold">
                                          <p:stCondLst>
                                            <p:cond delay="0"/>
                                          </p:stCondLst>
                                        </p:cTn>
                                        <p:tgtEl>
                                          <p:spTgt spid="1077"/>
                                        </p:tgtEl>
                                        <p:attrNameLst>
                                          <p:attrName>style.visibility</p:attrName>
                                        </p:attrNameLst>
                                      </p:cBhvr>
                                      <p:to>
                                        <p:strVal val="visible"/>
                                      </p:to>
                                    </p:set>
                                  </p:childTnLst>
                                </p:cTn>
                              </p:par>
                              <p:par>
                                <p:cTn id="82" presetID="1" presetClass="entr" presetSubtype="0" fill="hold" grpId="1" nodeType="withEffect">
                                  <p:stCondLst>
                                    <p:cond delay="0"/>
                                  </p:stCondLst>
                                  <p:childTnLst>
                                    <p:set>
                                      <p:cBhvr>
                                        <p:cTn id="83" dur="1" fill="hold">
                                          <p:stCondLst>
                                            <p:cond delay="0"/>
                                          </p:stCondLst>
                                        </p:cTn>
                                        <p:tgtEl>
                                          <p:spTgt spid="1078"/>
                                        </p:tgtEl>
                                        <p:attrNameLst>
                                          <p:attrName>style.visibility</p:attrName>
                                        </p:attrNameLst>
                                      </p:cBhvr>
                                      <p:to>
                                        <p:strVal val="visible"/>
                                      </p:to>
                                    </p:set>
                                  </p:childTnLst>
                                </p:cTn>
                              </p:par>
                              <p:par>
                                <p:cTn id="84" presetID="1" presetClass="entr" presetSubtype="0" fill="hold" grpId="1" nodeType="withEffect">
                                  <p:stCondLst>
                                    <p:cond delay="0"/>
                                  </p:stCondLst>
                                  <p:childTnLst>
                                    <p:set>
                                      <p:cBhvr>
                                        <p:cTn id="85" dur="1" fill="hold">
                                          <p:stCondLst>
                                            <p:cond delay="0"/>
                                          </p:stCondLst>
                                        </p:cTn>
                                        <p:tgtEl>
                                          <p:spTgt spid="1079"/>
                                        </p:tgtEl>
                                        <p:attrNameLst>
                                          <p:attrName>style.visibility</p:attrName>
                                        </p:attrNameLst>
                                      </p:cBhvr>
                                      <p:to>
                                        <p:strVal val="visible"/>
                                      </p:to>
                                    </p:set>
                                  </p:childTnLst>
                                </p:cTn>
                              </p:par>
                              <p:par>
                                <p:cTn id="86" presetID="1" presetClass="entr" presetSubtype="0" fill="hold" grpId="1" nodeType="withEffect">
                                  <p:stCondLst>
                                    <p:cond delay="0"/>
                                  </p:stCondLst>
                                  <p:childTnLst>
                                    <p:set>
                                      <p:cBhvr>
                                        <p:cTn id="87" dur="1" fill="hold">
                                          <p:stCondLst>
                                            <p:cond delay="0"/>
                                          </p:stCondLst>
                                        </p:cTn>
                                        <p:tgtEl>
                                          <p:spTgt spid="1080"/>
                                        </p:tgtEl>
                                        <p:attrNameLst>
                                          <p:attrName>style.visibility</p:attrName>
                                        </p:attrNameLst>
                                      </p:cBhvr>
                                      <p:to>
                                        <p:strVal val="visible"/>
                                      </p:to>
                                    </p:set>
                                  </p:childTnLst>
                                </p:cTn>
                              </p:par>
                              <p:par>
                                <p:cTn id="88" presetID="1" presetClass="entr" presetSubtype="0" fill="hold" grpId="1" nodeType="withEffect">
                                  <p:stCondLst>
                                    <p:cond delay="0"/>
                                  </p:stCondLst>
                                  <p:childTnLst>
                                    <p:set>
                                      <p:cBhvr>
                                        <p:cTn id="89" dur="1" fill="hold">
                                          <p:stCondLst>
                                            <p:cond delay="0"/>
                                          </p:stCondLst>
                                        </p:cTn>
                                        <p:tgtEl>
                                          <p:spTgt spid="1081"/>
                                        </p:tgtEl>
                                        <p:attrNameLst>
                                          <p:attrName>style.visibility</p:attrName>
                                        </p:attrNameLst>
                                      </p:cBhvr>
                                      <p:to>
                                        <p:strVal val="visible"/>
                                      </p:to>
                                    </p:set>
                                  </p:childTnLst>
                                </p:cTn>
                              </p:par>
                              <p:par>
                                <p:cTn id="90" presetID="1" presetClass="entr" presetSubtype="0" fill="hold" grpId="1" nodeType="withEffect">
                                  <p:stCondLst>
                                    <p:cond delay="0"/>
                                  </p:stCondLst>
                                  <p:childTnLst>
                                    <p:set>
                                      <p:cBhvr>
                                        <p:cTn id="91" dur="1" fill="hold">
                                          <p:stCondLst>
                                            <p:cond delay="0"/>
                                          </p:stCondLst>
                                        </p:cTn>
                                        <p:tgtEl>
                                          <p:spTgt spid="1082"/>
                                        </p:tgtEl>
                                        <p:attrNameLst>
                                          <p:attrName>style.visibility</p:attrName>
                                        </p:attrNameLst>
                                      </p:cBhvr>
                                      <p:to>
                                        <p:strVal val="visible"/>
                                      </p:to>
                                    </p:set>
                                  </p:childTnLst>
                                </p:cTn>
                              </p:par>
                              <p:par>
                                <p:cTn id="92" presetID="1" presetClass="entr" presetSubtype="0" fill="hold" grpId="1" nodeType="withEffect">
                                  <p:stCondLst>
                                    <p:cond delay="0"/>
                                  </p:stCondLst>
                                  <p:childTnLst>
                                    <p:set>
                                      <p:cBhvr>
                                        <p:cTn id="93" dur="1" fill="hold">
                                          <p:stCondLst>
                                            <p:cond delay="0"/>
                                          </p:stCondLst>
                                        </p:cTn>
                                        <p:tgtEl>
                                          <p:spTgt spid="1083"/>
                                        </p:tgtEl>
                                        <p:attrNameLst>
                                          <p:attrName>style.visibility</p:attrName>
                                        </p:attrNameLst>
                                      </p:cBhvr>
                                      <p:to>
                                        <p:strVal val="visible"/>
                                      </p:to>
                                    </p:set>
                                  </p:childTnLst>
                                </p:cTn>
                              </p:par>
                              <p:par>
                                <p:cTn id="94" presetID="1" presetClass="entr" presetSubtype="0" fill="hold" grpId="1" nodeType="withEffect">
                                  <p:stCondLst>
                                    <p:cond delay="0"/>
                                  </p:stCondLst>
                                  <p:childTnLst>
                                    <p:set>
                                      <p:cBhvr>
                                        <p:cTn id="95" dur="1" fill="hold">
                                          <p:stCondLst>
                                            <p:cond delay="0"/>
                                          </p:stCondLst>
                                        </p:cTn>
                                        <p:tgtEl>
                                          <p:spTgt spid="1084"/>
                                        </p:tgtEl>
                                        <p:attrNameLst>
                                          <p:attrName>style.visibility</p:attrName>
                                        </p:attrNameLst>
                                      </p:cBhvr>
                                      <p:to>
                                        <p:strVal val="visible"/>
                                      </p:to>
                                    </p:set>
                                  </p:childTnLst>
                                </p:cTn>
                              </p:par>
                              <p:par>
                                <p:cTn id="96" presetID="1" presetClass="entr" presetSubtype="0" fill="hold" grpId="1" nodeType="withEffect">
                                  <p:stCondLst>
                                    <p:cond delay="0"/>
                                  </p:stCondLst>
                                  <p:childTnLst>
                                    <p:set>
                                      <p:cBhvr>
                                        <p:cTn id="97" dur="1" fill="hold">
                                          <p:stCondLst>
                                            <p:cond delay="0"/>
                                          </p:stCondLst>
                                        </p:cTn>
                                        <p:tgtEl>
                                          <p:spTgt spid="1085"/>
                                        </p:tgtEl>
                                        <p:attrNameLst>
                                          <p:attrName>style.visibility</p:attrName>
                                        </p:attrNameLst>
                                      </p:cBhvr>
                                      <p:to>
                                        <p:strVal val="visible"/>
                                      </p:to>
                                    </p:set>
                                  </p:childTnLst>
                                </p:cTn>
                              </p:par>
                              <p:par>
                                <p:cTn id="98" presetID="0" presetClass="path" presetSubtype="0" repeatCount="indefinite" fill="hold" grpId="0" nodeType="withEffect">
                                  <p:stCondLst>
                                    <p:cond delay="0"/>
                                  </p:stCondLst>
                                  <p:childTnLst>
                                    <p:animMotion origin="layout" path="M -0.00086 -4.93827E-7 C -0.00086 -0.00833 0.00087 -0.02531 0.00035 -0.02654 C -0.00555 -0.04167 -0.01736 -0.06759 -0.0184 -0.07191 C -0.01805 -0.07284 -0.00468 -0.10586 0.00035 -0.11821 C 0.00556 -0.1287 0.0132 -0.14167 0.0191 -0.15123 " pathEditMode="relative" rAng="0" ptsTypes="AAAAA">
                                      <p:cBhvr>
                                        <p:cTn id="99" dur="2500" fill="hold"/>
                                        <p:tgtEl>
                                          <p:spTgt spid="1073"/>
                                        </p:tgtEl>
                                        <p:attrNameLst>
                                          <p:attrName>ppt_x</p:attrName>
                                          <p:attrName>ppt_y</p:attrName>
                                        </p:attrNameLst>
                                      </p:cBhvr>
                                      <p:rCtr x="122" y="-7562"/>
                                    </p:animMotion>
                                  </p:childTnLst>
                                </p:cTn>
                              </p:par>
                              <p:par>
                                <p:cTn id="100" presetID="0" presetClass="path" presetSubtype="0" repeatCount="indefinite" fill="hold" grpId="0" nodeType="withEffect">
                                  <p:stCondLst>
                                    <p:cond delay="100"/>
                                  </p:stCondLst>
                                  <p:childTnLst>
                                    <p:animMotion origin="layout" path="M -5.55556E-7 -0.00031 C -0.00017 -0.00247 0.0132 -0.01297 0.0132 -0.01235 C 0.01441 -0.01204 0.03976 0.00216 0.05191 0.01018 C 0.05278 0.01111 0.0901 -0.00278 0.09132 -0.00216 C 0.09063 -0.00155 0.07778 0.04197 0.07795 0.04413 C 0.07813 0.04382 0.12257 0.1003 0.14184 0.125 C 0.14983 0.12345 0.15313 0.12098 0.16649 0.11543 " pathEditMode="relative" rAng="0" ptsTypes="AAAAAAA">
                                      <p:cBhvr>
                                        <p:cTn id="101" dur="2250" fill="hold"/>
                                        <p:tgtEl>
                                          <p:spTgt spid="1074"/>
                                        </p:tgtEl>
                                        <p:attrNameLst>
                                          <p:attrName>ppt_x</p:attrName>
                                          <p:attrName>ppt_y</p:attrName>
                                        </p:attrNameLst>
                                      </p:cBhvr>
                                      <p:rCtr x="8316" y="5648"/>
                                    </p:animMotion>
                                  </p:childTnLst>
                                </p:cTn>
                              </p:par>
                              <p:par>
                                <p:cTn id="102" presetID="0" presetClass="path" presetSubtype="0" repeatCount="indefinite" fill="hold" grpId="0" nodeType="withEffect">
                                  <p:stCondLst>
                                    <p:cond delay="100"/>
                                  </p:stCondLst>
                                  <p:childTnLst>
                                    <p:animMotion origin="layout" path="M 3.05556E-6 -0.00124 C 0.00156 0.0003 0.00729 0.00216 0.01319 0.00493 C 0.01493 0.00586 0.03316 0.02284 0.03906 0.02685 C 0.0408 0.02746 0.05781 0.00833 0.05972 0.00432 C 0.05972 0.0037 0.08125 -0.02531 0.08402 -0.03025 C 0.08802 -0.03396 0.10139 -0.07037 0.10382 -0.07346 C 0.10677 -0.07315 0.14305 -0.03889 0.14218 -0.04013 C 0.14218 -0.03858 0.16041 -0.05649 0.16319 -0.05865 " pathEditMode="relative" rAng="0" ptsTypes="AAAAAAAA">
                                      <p:cBhvr>
                                        <p:cTn id="103" dur="3250" fill="hold"/>
                                        <p:tgtEl>
                                          <p:spTgt spid="1075"/>
                                        </p:tgtEl>
                                        <p:attrNameLst>
                                          <p:attrName>ppt_x</p:attrName>
                                          <p:attrName>ppt_y</p:attrName>
                                        </p:attrNameLst>
                                      </p:cBhvr>
                                      <p:rCtr x="8160" y="-2191"/>
                                    </p:animMotion>
                                  </p:childTnLst>
                                </p:cTn>
                              </p:par>
                              <p:par>
                                <p:cTn id="104" presetID="0" presetClass="path" presetSubtype="0" repeatCount="indefinite" fill="hold" grpId="0" nodeType="withEffect">
                                  <p:stCondLst>
                                    <p:cond delay="100"/>
                                  </p:stCondLst>
                                  <p:childTnLst>
                                    <p:animMotion origin="layout" path="M -0.00017 -0.00031 C -0.00104 0.00185 0.00018 -0.02562 0.0007 -0.03179 C 0.00382 -0.05247 0.01962 -0.12161 0.01928 -0.125 C 0.02014 -0.12469 0.01303 -0.16667 0.01285 -0.17099 C 0.01285 -0.17192 0.01042 -0.20309 0.00851 -0.22531 " pathEditMode="relative" rAng="0" ptsTypes="AAAAA">
                                      <p:cBhvr>
                                        <p:cTn id="105" dur="2250" fill="hold"/>
                                        <p:tgtEl>
                                          <p:spTgt spid="1076"/>
                                        </p:tgtEl>
                                        <p:attrNameLst>
                                          <p:attrName>ppt_x</p:attrName>
                                          <p:attrName>ppt_y</p:attrName>
                                        </p:attrNameLst>
                                      </p:cBhvr>
                                      <p:rCtr x="972" y="-11235"/>
                                    </p:animMotion>
                                  </p:childTnLst>
                                </p:cTn>
                              </p:par>
                              <p:par>
                                <p:cTn id="106" presetID="0" presetClass="path" presetSubtype="0" repeatCount="indefinite" fill="hold" grpId="0" nodeType="withEffect">
                                  <p:stCondLst>
                                    <p:cond delay="100"/>
                                  </p:stCondLst>
                                  <p:childTnLst>
                                    <p:animMotion origin="layout" path="M -0.0007 -0.00093 C -0.00799 -0.00803 -0.01736 -0.0142 -0.02379 -0.01883 C -0.02292 -0.02655 -0.02379 -0.05618 -0.02361 -0.075 C -0.0375 -0.0676 -0.0691 -0.05186 -0.06979 -0.0534 C -0.06979 -0.05155 -0.12327 -0.08889 -0.12049 -0.08889 " pathEditMode="relative" rAng="0" ptsTypes="AAAAA">
                                      <p:cBhvr>
                                        <p:cTn id="107" dur="3000" fill="hold"/>
                                        <p:tgtEl>
                                          <p:spTgt spid="1077"/>
                                        </p:tgtEl>
                                        <p:attrNameLst>
                                          <p:attrName>ppt_x</p:attrName>
                                          <p:attrName>ppt_y</p:attrName>
                                        </p:attrNameLst>
                                      </p:cBhvr>
                                      <p:rCtr x="-5990" y="-4414"/>
                                    </p:animMotion>
                                  </p:childTnLst>
                                </p:cTn>
                              </p:par>
                              <p:par>
                                <p:cTn id="108" presetID="0" presetClass="path" presetSubtype="0" repeatCount="indefinite" fill="hold" grpId="0" nodeType="withEffect">
                                  <p:stCondLst>
                                    <p:cond delay="100"/>
                                  </p:stCondLst>
                                  <p:childTnLst>
                                    <p:animMotion origin="layout" path="M -1.94444E-6 -0.00093 C -0.00903 0.00617 -0.03073 0.03055 -0.03698 0.03642 C -0.04097 0.04691 -0.0526 0.07376 -0.05607 0.08302 C -0.06788 0.07037 -0.0809 0.05956 -0.0816 0.0574 C -0.0816 0.05987 -0.11788 0.03426 -0.11528 0.03426 " pathEditMode="relative" rAng="0" ptsTypes="AAAAA">
                                      <p:cBhvr>
                                        <p:cTn id="109" dur="2250" fill="hold"/>
                                        <p:tgtEl>
                                          <p:spTgt spid="1078"/>
                                        </p:tgtEl>
                                        <p:attrNameLst>
                                          <p:attrName>ppt_x</p:attrName>
                                          <p:attrName>ppt_y</p:attrName>
                                        </p:attrNameLst>
                                      </p:cBhvr>
                                      <p:rCtr x="-5764" y="4198"/>
                                    </p:animMotion>
                                  </p:childTnLst>
                                </p:cTn>
                              </p:par>
                              <p:par>
                                <p:cTn id="110" presetID="0" presetClass="path" presetSubtype="0" repeatCount="indefinite" fill="hold" grpId="0" nodeType="withEffect">
                                  <p:stCondLst>
                                    <p:cond delay="100"/>
                                  </p:stCondLst>
                                  <p:childTnLst>
                                    <p:animMotion origin="layout" path="M -5.55556E-7 -1.7284E-6 C 0.00469 -0.00586 0.05278 -0.09105 0.05191 -0.09321 C 0.06458 -0.11296 0.06615 -0.11759 0.07066 -0.12346 C 0.0717 -0.12531 0.09271 -0.10463 0.0974 -0.10092 C 0.09705 -0.10741 0.1033 -0.14722 0.10295 -0.14784 C 0.10295 -0.14753 0.1599 -0.15926 0.16042 -0.15926 C 0.17153 -0.17346 0.19549 -0.20339 0.20434 -0.21265 " pathEditMode="relative" rAng="0" ptsTypes="AAAAAAA">
                                      <p:cBhvr>
                                        <p:cTn id="111" dur="2250" fill="hold"/>
                                        <p:tgtEl>
                                          <p:spTgt spid="1079"/>
                                        </p:tgtEl>
                                        <p:attrNameLst>
                                          <p:attrName>ppt_x</p:attrName>
                                          <p:attrName>ppt_y</p:attrName>
                                        </p:attrNameLst>
                                      </p:cBhvr>
                                      <p:rCtr x="10208" y="-10648"/>
                                    </p:animMotion>
                                  </p:childTnLst>
                                </p:cTn>
                              </p:par>
                              <p:par>
                                <p:cTn id="112" presetID="0" presetClass="path" presetSubtype="0" repeatCount="indefinite" fill="hold" grpId="0" nodeType="withEffect">
                                  <p:stCondLst>
                                    <p:cond delay="100"/>
                                  </p:stCondLst>
                                  <p:childTnLst>
                                    <p:animMotion origin="layout" path="M -3.61111E-6 1.97531E-6 C -0.00069 -0.00648 0.0099 -0.02377 0.00868 -0.02624 C 0.01198 -0.02871 0.02552 -0.04105 0.03421 -0.04846 C 0.03507 -0.05093 0.03438 -0.09043 0.03525 -0.09383 C 0.03525 -0.0963 0.06042 -0.11698 0.06007 -0.11698 C 0.06007 -0.11698 0.0665 -0.15155 0.06806 -0.15278 C 0.06893 -0.15247 0.09236 -0.1642 0.09289 -0.1642 C 0.10313 -0.17006 0.13681 -0.18488 0.13855 -0.1858 C 0.13403 -0.18735 0.11493 -0.19722 0.11233 -0.19877 C 0.11302 -0.20463 0.11858 -0.24074 0.11875 -0.24352 C 0.12118 -0.24321 0.14775 -0.23334 0.15035 -0.23334 C 0.15452 -0.23673 0.1625 -0.24259 0.16459 -0.24445 " pathEditMode="relative" rAng="0" ptsTypes="AAAAAAAAAAAA">
                                      <p:cBhvr>
                                        <p:cTn id="113" dur="3000" fill="hold"/>
                                        <p:tgtEl>
                                          <p:spTgt spid="1080"/>
                                        </p:tgtEl>
                                        <p:attrNameLst>
                                          <p:attrName>ppt_x</p:attrName>
                                          <p:attrName>ppt_y</p:attrName>
                                        </p:attrNameLst>
                                      </p:cBhvr>
                                      <p:rCtr x="8229" y="-12222"/>
                                    </p:animMotion>
                                  </p:childTnLst>
                                </p:cTn>
                              </p:par>
                              <p:par>
                                <p:cTn id="114" presetID="0" presetClass="path" presetSubtype="0" repeatCount="indefinite" fill="hold" grpId="0" nodeType="withEffect">
                                  <p:stCondLst>
                                    <p:cond delay="100"/>
                                  </p:stCondLst>
                                  <p:childTnLst>
                                    <p:animMotion origin="layout" path="M -5.55556E-7 1.23457E-7 C -0.00087 -0.00278 -0.00746 -0.05648 -0.00746 -0.05648 C -0.00903 -0.05648 -0.03837 -0.02253 -0.03993 -0.02407 C -0.04149 -0.0284 -0.05833 -0.06698 -0.0592 -0.07037 C -0.05833 -0.07037 -0.09792 -0.09784 -0.11198 -0.1037 C -0.11545 -0.1037 -0.14132 -0.10278 -0.14132 -0.10216 C -0.14323 -0.10617 -0.16007 -0.13704 -0.16215 -0.13858 C -0.16493 -0.13889 -0.20885 -0.13765 -0.21389 -0.13858 C -0.21424 -0.13889 -0.26927 -0.20031 -0.2842 -0.21728 C -0.2993 -0.23457 -0.30226 -0.24136 -0.30417 -0.24136 C -0.30573 -0.24228 -0.3158 -0.24661 -0.31892 -0.24969 " pathEditMode="relative" rAng="0" ptsTypes="AAAAAAAAAAA">
                                      <p:cBhvr>
                                        <p:cTn id="115" dur="2250" fill="hold"/>
                                        <p:tgtEl>
                                          <p:spTgt spid="1081"/>
                                        </p:tgtEl>
                                        <p:attrNameLst>
                                          <p:attrName>ppt_x</p:attrName>
                                          <p:attrName>ppt_y</p:attrName>
                                        </p:attrNameLst>
                                      </p:cBhvr>
                                      <p:rCtr x="-15955" y="-12500"/>
                                    </p:animMotion>
                                  </p:childTnLst>
                                </p:cTn>
                              </p:par>
                              <p:par>
                                <p:cTn id="116" presetID="0" presetClass="path" presetSubtype="0" repeatCount="indefinite" fill="hold" grpId="0" nodeType="withEffect">
                                  <p:stCondLst>
                                    <p:cond delay="100"/>
                                  </p:stCondLst>
                                  <p:childTnLst>
                                    <p:animMotion origin="layout" path="M 2.22222E-6 -9.87654E-7 C -0.00347 0.00463 -0.02309 0.02562 -0.02656 0.03426 C -0.02691 0.03611 -0.02136 0.07624 -0.02084 0.07716 C -0.02066 0.07747 -0.00052 0.19722 -0.00122 0.1963 C -0.00087 0.19074 -0.00816 0.27531 -0.00781 0.27531 C -0.00643 0.27593 0.01059 0.29568 0.01059 0.29691 C 0.01146 0.29846 0.01423 0.30432 0.0158 0.30957 " pathEditMode="relative" rAng="0" ptsTypes="AAAAAAA">
                                      <p:cBhvr>
                                        <p:cTn id="117" dur="2250" fill="hold"/>
                                        <p:tgtEl>
                                          <p:spTgt spid="1082"/>
                                        </p:tgtEl>
                                        <p:attrNameLst>
                                          <p:attrName>ppt_x</p:attrName>
                                          <p:attrName>ppt_y</p:attrName>
                                        </p:attrNameLst>
                                      </p:cBhvr>
                                      <p:rCtr x="-538" y="15463"/>
                                    </p:animMotion>
                                  </p:childTnLst>
                                </p:cTn>
                              </p:par>
                              <p:par>
                                <p:cTn id="118" presetID="0" presetClass="path" presetSubtype="0" repeatCount="indefinite" fill="hold" grpId="0" nodeType="withEffect">
                                  <p:stCondLst>
                                    <p:cond delay="100"/>
                                  </p:stCondLst>
                                  <p:childTnLst>
                                    <p:animMotion origin="layout" path="M -0.00018 -2.71605E-6 C 0.00052 0.00371 0.01962 0.04013 0.02309 0.04476 C 0.02187 0.04506 0.04982 0.0679 0.04826 0.0679 C 0.05139 0.0713 0.10087 0.14074 0.10729 0.14846 C 0.11041 0.14969 0.13767 0.15864 0.13889 0.15957 C 0.14218 0.16327 0.17812 0.21605 0.17812 0.21667 C 0.1783 0.21482 0.17656 0.17253 0.17899 0.17253 C 0.18576 0.16605 0.20243 0.15093 0.20399 0.14939 C 0.20486 0.14352 0.20885 0.12037 0.20989 0.11667 C 0.21041 0.1142 0.25833 0.14476 0.2618 0.14969 C 0.26302 0.15093 0.27812 0.18889 0.28125 0.19383 C 0.28732 0.19877 0.31389 0.21389 0.31909 0.21636 " pathEditMode="relative" rAng="0" ptsTypes="AAAAAAAAAAAA">
                                      <p:cBhvr>
                                        <p:cTn id="119" dur="2000" fill="hold"/>
                                        <p:tgtEl>
                                          <p:spTgt spid="1083"/>
                                        </p:tgtEl>
                                        <p:attrNameLst>
                                          <p:attrName>ppt_x</p:attrName>
                                          <p:attrName>ppt_y</p:attrName>
                                        </p:attrNameLst>
                                      </p:cBhvr>
                                      <p:rCtr x="15955" y="10833"/>
                                    </p:animMotion>
                                  </p:childTnLst>
                                </p:cTn>
                              </p:par>
                              <p:par>
                                <p:cTn id="120" presetID="0" presetClass="path" presetSubtype="0" repeatCount="indefinite" fill="hold" grpId="0" nodeType="withEffect">
                                  <p:stCondLst>
                                    <p:cond delay="100"/>
                                  </p:stCondLst>
                                  <p:childTnLst>
                                    <p:animMotion origin="layout" path="M -0.00104 1.48148E-6 C -0.00451 0.00463 0.02448 -0.01266 0.02865 -0.01729 C 0.02952 -0.02315 0.03334 -0.04445 0.03403 -0.05401 C 0.0349 -0.06358 0.03334 -0.09321 0.03455 -0.0963 C 0.03733 -0.10062 0.06007 -0.11605 0.06146 -0.11945 C 0.06146 -0.11914 0.03507 -0.15278 0.03438 -0.1534 C 0.03473 -0.15895 0.01389 -0.18889 0.01424 -0.18889 C 0.01563 -0.18858 0.02761 -0.27346 0.02761 -0.27068 C 0.02848 -0.27006 0.03855 -0.31142 0.04028 -0.31142 " pathEditMode="relative" rAng="0" ptsTypes="AAAAAAAAA">
                                      <p:cBhvr>
                                        <p:cTn id="121" dur="2250" fill="hold"/>
                                        <p:tgtEl>
                                          <p:spTgt spid="1084"/>
                                        </p:tgtEl>
                                        <p:attrNameLst>
                                          <p:attrName>ppt_x</p:attrName>
                                          <p:attrName>ppt_y</p:attrName>
                                        </p:attrNameLst>
                                      </p:cBhvr>
                                      <p:rCtr x="3108" y="-15525"/>
                                    </p:animMotion>
                                  </p:childTnLst>
                                </p:cTn>
                              </p:par>
                              <p:par>
                                <p:cTn id="122" presetID="0" presetClass="path" presetSubtype="0" repeatCount="indefinite" fill="hold" grpId="0" nodeType="withEffect">
                                  <p:stCondLst>
                                    <p:cond delay="100"/>
                                  </p:stCondLst>
                                  <p:childTnLst>
                                    <p:animMotion origin="layout" path="M -3.61111E-6 -0.0003 C -0.00538 -0.0003 -0.01701 0.0142 -0.01788 0.0142 C -0.02378 0.01081 -0.04757 0.0034 -0.05052 0.0034 C -0.04948 0.00618 -0.05555 0.03982 -0.05659 0.04537 C -0.05816 0.04877 -0.0717 0.07562 -0.07656 0.07902 C -0.07743 0.08241 -0.09288 0.09136 -0.10243 0.09414 C -0.11215 0.09414 -0.12934 0.09075 -0.13333 0.09229 C -0.13715 0.09414 -0.15902 0.1176 -0.16093 0.11636 C -0.16389 0.1176 -0.18402 0.10587 -0.18507 0.10463 C -0.18698 0.10402 -0.20034 0.12531 -0.20347 0.12809 C -0.20711 0.12655 -0.24757 0.09352 -0.25034 0.09352 C -0.25451 0.09784 -0.28003 0.12747 -0.28211 0.13087 C -0.28489 0.12809 -0.30607 0.10679 -0.30798 0.10587 C -0.31093 0.11142 -0.34444 0.19414 -0.34583 0.19815 C -0.35139 0.19754 -0.35989 0.18303 -0.36024 0.18396 " pathEditMode="relative" rAng="0" ptsTypes="AAAAAAAAAAAAAAA">
                                      <p:cBhvr>
                                        <p:cTn id="123" dur="2750" fill="hold"/>
                                        <p:tgtEl>
                                          <p:spTgt spid="1085"/>
                                        </p:tgtEl>
                                        <p:attrNameLst>
                                          <p:attrName>ppt_x</p:attrName>
                                          <p:attrName>ppt_y</p:attrName>
                                        </p:attrNameLst>
                                      </p:cBhvr>
                                      <p:rCtr x="-18021" y="9907"/>
                                    </p:animMotion>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34"/>
                                        </p:tgtEl>
                                        <p:attrNameLst>
                                          <p:attrName>style.visibility</p:attrName>
                                        </p:attrNameLst>
                                      </p:cBhvr>
                                      <p:to>
                                        <p:strVal val="visible"/>
                                      </p:to>
                                    </p:set>
                                    <p:animEffect transition="in" filter="fade">
                                      <p:cBhvr>
                                        <p:cTn id="128"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3" grpId="0" animBg="1"/>
      <p:bldP spid="1073" grpId="1" animBg="1"/>
      <p:bldP spid="1074" grpId="0" animBg="1"/>
      <p:bldP spid="1074" grpId="1" animBg="1"/>
      <p:bldP spid="1075" grpId="0" animBg="1"/>
      <p:bldP spid="1075" grpId="1" animBg="1"/>
      <p:bldP spid="1076" grpId="0" animBg="1"/>
      <p:bldP spid="1076" grpId="1" animBg="1"/>
      <p:bldP spid="1077" grpId="0" animBg="1"/>
      <p:bldP spid="1077" grpId="1" animBg="1"/>
      <p:bldP spid="1078" grpId="0" animBg="1"/>
      <p:bldP spid="1078" grpId="1" animBg="1"/>
      <p:bldP spid="1079" grpId="0" animBg="1"/>
      <p:bldP spid="1079" grpId="1" animBg="1"/>
      <p:bldP spid="1080" grpId="0" animBg="1"/>
      <p:bldP spid="1080" grpId="1" animBg="1"/>
      <p:bldP spid="1081" grpId="0" animBg="1"/>
      <p:bldP spid="1081" grpId="1" animBg="1"/>
      <p:bldP spid="1082" grpId="0" animBg="1"/>
      <p:bldP spid="1082" grpId="1" animBg="1"/>
      <p:bldP spid="1083" grpId="0" animBg="1"/>
      <p:bldP spid="1083" grpId="1" animBg="1"/>
      <p:bldP spid="1084" grpId="0" animBg="1"/>
      <p:bldP spid="1084" grpId="1" animBg="1"/>
      <p:bldP spid="1085" grpId="0" animBg="1"/>
      <p:bldP spid="1085" grpId="1" animBg="1"/>
      <p:bldP spid="107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7" name="Group 2380">
            <a:extLst>
              <a:ext uri="{FF2B5EF4-FFF2-40B4-BE49-F238E27FC236}">
                <a16:creationId xmlns:a16="http://schemas.microsoft.com/office/drawing/2014/main" id="{95EDE741-F8BF-4B0B-A650-CF1C8CF64D42}"/>
              </a:ext>
            </a:extLst>
          </p:cNvPr>
          <p:cNvGrpSpPr>
            <a:grpSpLocks noChangeAspect="1"/>
          </p:cNvGrpSpPr>
          <p:nvPr/>
        </p:nvGrpSpPr>
        <p:grpSpPr bwMode="auto">
          <a:xfrm>
            <a:off x="2951873" y="-615394"/>
            <a:ext cx="6429375" cy="6374289"/>
            <a:chOff x="1246" y="0"/>
            <a:chExt cx="3268" cy="3240"/>
          </a:xfrm>
        </p:grpSpPr>
        <p:grpSp>
          <p:nvGrpSpPr>
            <p:cNvPr id="439" name="Group 2581">
              <a:extLst>
                <a:ext uri="{FF2B5EF4-FFF2-40B4-BE49-F238E27FC236}">
                  <a16:creationId xmlns:a16="http://schemas.microsoft.com/office/drawing/2014/main" id="{E9403998-D1E8-4875-ADBE-CF72A9862238}"/>
                </a:ext>
              </a:extLst>
            </p:cNvPr>
            <p:cNvGrpSpPr>
              <a:grpSpLocks/>
            </p:cNvGrpSpPr>
            <p:nvPr/>
          </p:nvGrpSpPr>
          <p:grpSpPr bwMode="auto">
            <a:xfrm>
              <a:off x="1276" y="30"/>
              <a:ext cx="3178" cy="3180"/>
              <a:chOff x="1276" y="30"/>
              <a:chExt cx="3178" cy="3180"/>
            </a:xfrm>
          </p:grpSpPr>
          <p:sp>
            <p:nvSpPr>
              <p:cNvPr id="1027" name="Line 2381">
                <a:extLst>
                  <a:ext uri="{FF2B5EF4-FFF2-40B4-BE49-F238E27FC236}">
                    <a16:creationId xmlns:a16="http://schemas.microsoft.com/office/drawing/2014/main" id="{0DC288AD-64A6-416F-8966-256F4EC4A722}"/>
                  </a:ext>
                </a:extLst>
              </p:cNvPr>
              <p:cNvSpPr>
                <a:spLocks noChangeShapeType="1"/>
              </p:cNvSpPr>
              <p:nvPr/>
            </p:nvSpPr>
            <p:spPr bwMode="auto">
              <a:xfrm>
                <a:off x="3045" y="147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8" name="Freeform 2382">
                <a:extLst>
                  <a:ext uri="{FF2B5EF4-FFF2-40B4-BE49-F238E27FC236}">
                    <a16:creationId xmlns:a16="http://schemas.microsoft.com/office/drawing/2014/main" id="{0F801C16-F75D-4F4A-8C62-22A427F90834}"/>
                  </a:ext>
                </a:extLst>
              </p:cNvPr>
              <p:cNvSpPr>
                <a:spLocks/>
              </p:cNvSpPr>
              <p:nvPr/>
            </p:nvSpPr>
            <p:spPr bwMode="auto">
              <a:xfrm>
                <a:off x="2625" y="1410"/>
                <a:ext cx="300" cy="210"/>
              </a:xfrm>
              <a:custGeom>
                <a:avLst/>
                <a:gdLst>
                  <a:gd name="T0" fmla="*/ 210 w 300"/>
                  <a:gd name="T1" fmla="*/ 90 h 210"/>
                  <a:gd name="T2" fmla="*/ 300 w 300"/>
                  <a:gd name="T3" fmla="*/ 30 h 210"/>
                  <a:gd name="T4" fmla="*/ 300 w 300"/>
                  <a:gd name="T5" fmla="*/ 120 h 210"/>
                  <a:gd name="T6" fmla="*/ 240 w 300"/>
                  <a:gd name="T7" fmla="*/ 210 h 210"/>
                  <a:gd name="T8" fmla="*/ 150 w 300"/>
                  <a:gd name="T9" fmla="*/ 150 h 210"/>
                  <a:gd name="T10" fmla="*/ 60 w 300"/>
                  <a:gd name="T11" fmla="*/ 90 h 210"/>
                  <a:gd name="T12" fmla="*/ 0 w 30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210" y="90"/>
                    </a:moveTo>
                    <a:lnTo>
                      <a:pt x="300" y="30"/>
                    </a:lnTo>
                    <a:lnTo>
                      <a:pt x="300" y="120"/>
                    </a:lnTo>
                    <a:lnTo>
                      <a:pt x="240" y="210"/>
                    </a:lnTo>
                    <a:lnTo>
                      <a:pt x="150" y="150"/>
                    </a:lnTo>
                    <a:lnTo>
                      <a:pt x="60" y="9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9" name="Freeform 2383">
                <a:extLst>
                  <a:ext uri="{FF2B5EF4-FFF2-40B4-BE49-F238E27FC236}">
                    <a16:creationId xmlns:a16="http://schemas.microsoft.com/office/drawing/2014/main" id="{264A6D94-0D4D-4679-8161-D11C50DECE79}"/>
                  </a:ext>
                </a:extLst>
              </p:cNvPr>
              <p:cNvSpPr>
                <a:spLocks/>
              </p:cNvSpPr>
              <p:nvPr/>
            </p:nvSpPr>
            <p:spPr bwMode="auto">
              <a:xfrm>
                <a:off x="2535" y="1292"/>
                <a:ext cx="180" cy="208"/>
              </a:xfrm>
              <a:custGeom>
                <a:avLst/>
                <a:gdLst>
                  <a:gd name="T0" fmla="*/ 0 w 180"/>
                  <a:gd name="T1" fmla="*/ 149 h 208"/>
                  <a:gd name="T2" fmla="*/ 150 w 180"/>
                  <a:gd name="T3" fmla="*/ 208 h 208"/>
                  <a:gd name="T4" fmla="*/ 180 w 180"/>
                  <a:gd name="T5" fmla="*/ 0 h 208"/>
                </a:gdLst>
                <a:ahLst/>
                <a:cxnLst>
                  <a:cxn ang="0">
                    <a:pos x="T0" y="T1"/>
                  </a:cxn>
                  <a:cxn ang="0">
                    <a:pos x="T2" y="T3"/>
                  </a:cxn>
                  <a:cxn ang="0">
                    <a:pos x="T4" y="T5"/>
                  </a:cxn>
                </a:cxnLst>
                <a:rect l="0" t="0" r="r" b="b"/>
                <a:pathLst>
                  <a:path w="180" h="208">
                    <a:moveTo>
                      <a:pt x="0" y="149"/>
                    </a:moveTo>
                    <a:lnTo>
                      <a:pt x="150" y="208"/>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0" name="Line 2384">
                <a:extLst>
                  <a:ext uri="{FF2B5EF4-FFF2-40B4-BE49-F238E27FC236}">
                    <a16:creationId xmlns:a16="http://schemas.microsoft.com/office/drawing/2014/main" id="{3F230270-A953-47A2-832E-C2DA10509E95}"/>
                  </a:ext>
                </a:extLst>
              </p:cNvPr>
              <p:cNvSpPr>
                <a:spLocks noChangeShapeType="1"/>
              </p:cNvSpPr>
              <p:nvPr/>
            </p:nvSpPr>
            <p:spPr bwMode="auto">
              <a:xfrm flipH="1">
                <a:off x="2535" y="1620"/>
                <a:ext cx="18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1" name="Line 2385">
                <a:extLst>
                  <a:ext uri="{FF2B5EF4-FFF2-40B4-BE49-F238E27FC236}">
                    <a16:creationId xmlns:a16="http://schemas.microsoft.com/office/drawing/2014/main" id="{E2D5E176-F20B-49BE-901F-5B5F5BCEAEB4}"/>
                  </a:ext>
                </a:extLst>
              </p:cNvPr>
              <p:cNvSpPr>
                <a:spLocks noChangeShapeType="1"/>
              </p:cNvSpPr>
              <p:nvPr/>
            </p:nvSpPr>
            <p:spPr bwMode="auto">
              <a:xfrm>
                <a:off x="2595" y="156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2" name="Freeform 2386">
                <a:extLst>
                  <a:ext uri="{FF2B5EF4-FFF2-40B4-BE49-F238E27FC236}">
                    <a16:creationId xmlns:a16="http://schemas.microsoft.com/office/drawing/2014/main" id="{C714510F-B4B0-4337-B9D3-CE0059AA4EB7}"/>
                  </a:ext>
                </a:extLst>
              </p:cNvPr>
              <p:cNvSpPr>
                <a:spLocks/>
              </p:cNvSpPr>
              <p:nvPr/>
            </p:nvSpPr>
            <p:spPr bwMode="auto">
              <a:xfrm>
                <a:off x="2535" y="1650"/>
                <a:ext cx="210" cy="330"/>
              </a:xfrm>
              <a:custGeom>
                <a:avLst/>
                <a:gdLst>
                  <a:gd name="T0" fmla="*/ 120 w 210"/>
                  <a:gd name="T1" fmla="*/ 60 h 330"/>
                  <a:gd name="T2" fmla="*/ 0 w 210"/>
                  <a:gd name="T3" fmla="*/ 0 h 330"/>
                  <a:gd name="T4" fmla="*/ 0 w 210"/>
                  <a:gd name="T5" fmla="*/ 330 h 330"/>
                  <a:gd name="T6" fmla="*/ 210 w 210"/>
                  <a:gd name="T7" fmla="*/ 270 h 330"/>
                  <a:gd name="T8" fmla="*/ 119 w 210"/>
                  <a:gd name="T9" fmla="*/ 182 h 330"/>
                </a:gdLst>
                <a:ahLst/>
                <a:cxnLst>
                  <a:cxn ang="0">
                    <a:pos x="T0" y="T1"/>
                  </a:cxn>
                  <a:cxn ang="0">
                    <a:pos x="T2" y="T3"/>
                  </a:cxn>
                  <a:cxn ang="0">
                    <a:pos x="T4" y="T5"/>
                  </a:cxn>
                  <a:cxn ang="0">
                    <a:pos x="T6" y="T7"/>
                  </a:cxn>
                  <a:cxn ang="0">
                    <a:pos x="T8" y="T9"/>
                  </a:cxn>
                </a:cxnLst>
                <a:rect l="0" t="0" r="r" b="b"/>
                <a:pathLst>
                  <a:path w="210" h="330">
                    <a:moveTo>
                      <a:pt x="120" y="60"/>
                    </a:moveTo>
                    <a:lnTo>
                      <a:pt x="0" y="0"/>
                    </a:lnTo>
                    <a:lnTo>
                      <a:pt x="0" y="330"/>
                    </a:lnTo>
                    <a:lnTo>
                      <a:pt x="210" y="270"/>
                    </a:lnTo>
                    <a:lnTo>
                      <a:pt x="119" y="18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3" name="Freeform 2387">
                <a:extLst>
                  <a:ext uri="{FF2B5EF4-FFF2-40B4-BE49-F238E27FC236}">
                    <a16:creationId xmlns:a16="http://schemas.microsoft.com/office/drawing/2014/main" id="{7FE811CF-3F4F-4543-BB8D-96C7CA8772C7}"/>
                  </a:ext>
                </a:extLst>
              </p:cNvPr>
              <p:cNvSpPr>
                <a:spLocks/>
              </p:cNvSpPr>
              <p:nvPr/>
            </p:nvSpPr>
            <p:spPr bwMode="auto">
              <a:xfrm>
                <a:off x="2654" y="1680"/>
                <a:ext cx="151" cy="152"/>
              </a:xfrm>
              <a:custGeom>
                <a:avLst/>
                <a:gdLst>
                  <a:gd name="T0" fmla="*/ 121 w 151"/>
                  <a:gd name="T1" fmla="*/ 0 h 152"/>
                  <a:gd name="T2" fmla="*/ 151 w 151"/>
                  <a:gd name="T3" fmla="*/ 120 h 152"/>
                  <a:gd name="T4" fmla="*/ 0 w 151"/>
                  <a:gd name="T5" fmla="*/ 152 h 152"/>
                  <a:gd name="T6" fmla="*/ 1 w 151"/>
                  <a:gd name="T7" fmla="*/ 30 h 152"/>
                  <a:gd name="T8" fmla="*/ 121 w 151"/>
                  <a:gd name="T9" fmla="*/ 0 h 152"/>
                </a:gdLst>
                <a:ahLst/>
                <a:cxnLst>
                  <a:cxn ang="0">
                    <a:pos x="T0" y="T1"/>
                  </a:cxn>
                  <a:cxn ang="0">
                    <a:pos x="T2" y="T3"/>
                  </a:cxn>
                  <a:cxn ang="0">
                    <a:pos x="T4" y="T5"/>
                  </a:cxn>
                  <a:cxn ang="0">
                    <a:pos x="T6" y="T7"/>
                  </a:cxn>
                  <a:cxn ang="0">
                    <a:pos x="T8" y="T9"/>
                  </a:cxn>
                </a:cxnLst>
                <a:rect l="0" t="0" r="r" b="b"/>
                <a:pathLst>
                  <a:path w="151" h="152">
                    <a:moveTo>
                      <a:pt x="121" y="0"/>
                    </a:moveTo>
                    <a:lnTo>
                      <a:pt x="151" y="120"/>
                    </a:lnTo>
                    <a:lnTo>
                      <a:pt x="0" y="152"/>
                    </a:lnTo>
                    <a:lnTo>
                      <a:pt x="1" y="30"/>
                    </a:lnTo>
                    <a:lnTo>
                      <a:pt x="121"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4" name="Freeform 2388">
                <a:extLst>
                  <a:ext uri="{FF2B5EF4-FFF2-40B4-BE49-F238E27FC236}">
                    <a16:creationId xmlns:a16="http://schemas.microsoft.com/office/drawing/2014/main" id="{2D2F0C6F-A518-46B8-9B70-D19B7FB3E8A4}"/>
                  </a:ext>
                </a:extLst>
              </p:cNvPr>
              <p:cNvSpPr>
                <a:spLocks/>
              </p:cNvSpPr>
              <p:nvPr/>
            </p:nvSpPr>
            <p:spPr bwMode="auto">
              <a:xfrm>
                <a:off x="2805" y="1620"/>
                <a:ext cx="240" cy="270"/>
              </a:xfrm>
              <a:custGeom>
                <a:avLst/>
                <a:gdLst>
                  <a:gd name="T0" fmla="*/ 0 w 240"/>
                  <a:gd name="T1" fmla="*/ 180 h 270"/>
                  <a:gd name="T2" fmla="*/ 60 w 240"/>
                  <a:gd name="T3" fmla="*/ 0 h 270"/>
                  <a:gd name="T4" fmla="*/ 90 w 240"/>
                  <a:gd name="T5" fmla="*/ 90 h 270"/>
                  <a:gd name="T6" fmla="*/ 120 w 240"/>
                  <a:gd name="T7" fmla="*/ 180 h 270"/>
                  <a:gd name="T8" fmla="*/ 150 w 240"/>
                  <a:gd name="T9" fmla="*/ 270 h 270"/>
                  <a:gd name="T10" fmla="*/ 240 w 240"/>
                  <a:gd name="T11" fmla="*/ 150 h 270"/>
                </a:gdLst>
                <a:ahLst/>
                <a:cxnLst>
                  <a:cxn ang="0">
                    <a:pos x="T0" y="T1"/>
                  </a:cxn>
                  <a:cxn ang="0">
                    <a:pos x="T2" y="T3"/>
                  </a:cxn>
                  <a:cxn ang="0">
                    <a:pos x="T4" y="T5"/>
                  </a:cxn>
                  <a:cxn ang="0">
                    <a:pos x="T6" y="T7"/>
                  </a:cxn>
                  <a:cxn ang="0">
                    <a:pos x="T8" y="T9"/>
                  </a:cxn>
                  <a:cxn ang="0">
                    <a:pos x="T10" y="T11"/>
                  </a:cxn>
                </a:cxnLst>
                <a:rect l="0" t="0" r="r" b="b"/>
                <a:pathLst>
                  <a:path w="240" h="270">
                    <a:moveTo>
                      <a:pt x="0" y="180"/>
                    </a:moveTo>
                    <a:lnTo>
                      <a:pt x="60" y="0"/>
                    </a:lnTo>
                    <a:lnTo>
                      <a:pt x="90" y="90"/>
                    </a:lnTo>
                    <a:lnTo>
                      <a:pt x="120" y="180"/>
                    </a:lnTo>
                    <a:lnTo>
                      <a:pt x="150" y="270"/>
                    </a:lnTo>
                    <a:lnTo>
                      <a:pt x="24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5" name="Freeform 2389">
                <a:extLst>
                  <a:ext uri="{FF2B5EF4-FFF2-40B4-BE49-F238E27FC236}">
                    <a16:creationId xmlns:a16="http://schemas.microsoft.com/office/drawing/2014/main" id="{45F26DDB-165D-4B45-B540-239C42A39E98}"/>
                  </a:ext>
                </a:extLst>
              </p:cNvPr>
              <p:cNvSpPr>
                <a:spLocks/>
              </p:cNvSpPr>
              <p:nvPr/>
            </p:nvSpPr>
            <p:spPr bwMode="auto">
              <a:xfrm>
                <a:off x="2688" y="1800"/>
                <a:ext cx="237" cy="270"/>
              </a:xfrm>
              <a:custGeom>
                <a:avLst/>
                <a:gdLst>
                  <a:gd name="T0" fmla="*/ 237 w 237"/>
                  <a:gd name="T1" fmla="*/ 0 h 270"/>
                  <a:gd name="T2" fmla="*/ 177 w 237"/>
                  <a:gd name="T3" fmla="*/ 122 h 270"/>
                  <a:gd name="T4" fmla="*/ 117 w 237"/>
                  <a:gd name="T5" fmla="*/ 0 h 270"/>
                  <a:gd name="T6" fmla="*/ 57 w 237"/>
                  <a:gd name="T7" fmla="*/ 120 h 270"/>
                  <a:gd name="T8" fmla="*/ 147 w 237"/>
                  <a:gd name="T9" fmla="*/ 270 h 270"/>
                  <a:gd name="T10" fmla="*/ 0 w 237"/>
                  <a:gd name="T11" fmla="*/ 213 h 270"/>
                </a:gdLst>
                <a:ahLst/>
                <a:cxnLst>
                  <a:cxn ang="0">
                    <a:pos x="T0" y="T1"/>
                  </a:cxn>
                  <a:cxn ang="0">
                    <a:pos x="T2" y="T3"/>
                  </a:cxn>
                  <a:cxn ang="0">
                    <a:pos x="T4" y="T5"/>
                  </a:cxn>
                  <a:cxn ang="0">
                    <a:pos x="T6" y="T7"/>
                  </a:cxn>
                  <a:cxn ang="0">
                    <a:pos x="T8" y="T9"/>
                  </a:cxn>
                  <a:cxn ang="0">
                    <a:pos x="T10" y="T11"/>
                  </a:cxn>
                </a:cxnLst>
                <a:rect l="0" t="0" r="r" b="b"/>
                <a:pathLst>
                  <a:path w="237" h="270">
                    <a:moveTo>
                      <a:pt x="237" y="0"/>
                    </a:moveTo>
                    <a:lnTo>
                      <a:pt x="177" y="122"/>
                    </a:lnTo>
                    <a:lnTo>
                      <a:pt x="117" y="0"/>
                    </a:lnTo>
                    <a:lnTo>
                      <a:pt x="57" y="120"/>
                    </a:lnTo>
                    <a:lnTo>
                      <a:pt x="147" y="270"/>
                    </a:lnTo>
                    <a:lnTo>
                      <a:pt x="0" y="21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6" name="Freeform 2390">
                <a:extLst>
                  <a:ext uri="{FF2B5EF4-FFF2-40B4-BE49-F238E27FC236}">
                    <a16:creationId xmlns:a16="http://schemas.microsoft.com/office/drawing/2014/main" id="{6185FE48-5118-47BE-906A-C156217FBE30}"/>
                  </a:ext>
                </a:extLst>
              </p:cNvPr>
              <p:cNvSpPr>
                <a:spLocks/>
              </p:cNvSpPr>
              <p:nvPr/>
            </p:nvSpPr>
            <p:spPr bwMode="auto">
              <a:xfrm>
                <a:off x="2355" y="1440"/>
                <a:ext cx="390" cy="570"/>
              </a:xfrm>
              <a:custGeom>
                <a:avLst/>
                <a:gdLst>
                  <a:gd name="T0" fmla="*/ 390 w 390"/>
                  <a:gd name="T1" fmla="*/ 480 h 570"/>
                  <a:gd name="T2" fmla="*/ 330 w 390"/>
                  <a:gd name="T3" fmla="*/ 570 h 570"/>
                  <a:gd name="T4" fmla="*/ 180 w 390"/>
                  <a:gd name="T5" fmla="*/ 540 h 570"/>
                  <a:gd name="T6" fmla="*/ 300 w 390"/>
                  <a:gd name="T7" fmla="*/ 390 h 570"/>
                  <a:gd name="T8" fmla="*/ 120 w 390"/>
                  <a:gd name="T9" fmla="*/ 390 h 570"/>
                  <a:gd name="T10" fmla="*/ 180 w 390"/>
                  <a:gd name="T11" fmla="*/ 210 h 570"/>
                  <a:gd name="T12" fmla="*/ 60 w 390"/>
                  <a:gd name="T13" fmla="*/ 330 h 570"/>
                  <a:gd name="T14" fmla="*/ 0 w 390"/>
                  <a:gd name="T15" fmla="*/ 180 h 570"/>
                  <a:gd name="T16" fmla="*/ 60 w 390"/>
                  <a:gd name="T17" fmla="*/ 60 h 570"/>
                  <a:gd name="T18" fmla="*/ 240 w 390"/>
                  <a:gd name="T19" fmla="*/ 120 h 570"/>
                  <a:gd name="T20" fmla="*/ 180 w 39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570">
                    <a:moveTo>
                      <a:pt x="390" y="480"/>
                    </a:moveTo>
                    <a:lnTo>
                      <a:pt x="330" y="570"/>
                    </a:lnTo>
                    <a:lnTo>
                      <a:pt x="180" y="540"/>
                    </a:lnTo>
                    <a:lnTo>
                      <a:pt x="300" y="390"/>
                    </a:lnTo>
                    <a:lnTo>
                      <a:pt x="120" y="390"/>
                    </a:lnTo>
                    <a:lnTo>
                      <a:pt x="180" y="210"/>
                    </a:lnTo>
                    <a:lnTo>
                      <a:pt x="60" y="330"/>
                    </a:lnTo>
                    <a:lnTo>
                      <a:pt x="0" y="180"/>
                    </a:lnTo>
                    <a:lnTo>
                      <a:pt x="60" y="60"/>
                    </a:lnTo>
                    <a:lnTo>
                      <a:pt x="240" y="120"/>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7" name="Freeform 2391">
                <a:extLst>
                  <a:ext uri="{FF2B5EF4-FFF2-40B4-BE49-F238E27FC236}">
                    <a16:creationId xmlns:a16="http://schemas.microsoft.com/office/drawing/2014/main" id="{05A0DC87-D74A-4F92-8BEF-8E463DB86B2A}"/>
                  </a:ext>
                </a:extLst>
              </p:cNvPr>
              <p:cNvSpPr>
                <a:spLocks/>
              </p:cNvSpPr>
              <p:nvPr/>
            </p:nvSpPr>
            <p:spPr bwMode="auto">
              <a:xfrm>
                <a:off x="2355" y="1410"/>
                <a:ext cx="480" cy="420"/>
              </a:xfrm>
              <a:custGeom>
                <a:avLst/>
                <a:gdLst>
                  <a:gd name="T0" fmla="*/ 300 w 480"/>
                  <a:gd name="T1" fmla="*/ 420 h 420"/>
                  <a:gd name="T2" fmla="*/ 0 w 480"/>
                  <a:gd name="T3" fmla="*/ 210 h 420"/>
                  <a:gd name="T4" fmla="*/ 180 w 480"/>
                  <a:gd name="T5" fmla="*/ 240 h 420"/>
                  <a:gd name="T6" fmla="*/ 90 w 480"/>
                  <a:gd name="T7" fmla="*/ 0 h 420"/>
                  <a:gd name="T8" fmla="*/ 240 w 480"/>
                  <a:gd name="T9" fmla="*/ 150 h 420"/>
                  <a:gd name="T10" fmla="*/ 270 w 480"/>
                  <a:gd name="T11" fmla="*/ 0 h 420"/>
                  <a:gd name="T12" fmla="*/ 420 w 480"/>
                  <a:gd name="T13" fmla="*/ 0 h 420"/>
                  <a:gd name="T14" fmla="*/ 480 w 480"/>
                  <a:gd name="T15" fmla="*/ 9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0" h="420">
                    <a:moveTo>
                      <a:pt x="300" y="420"/>
                    </a:moveTo>
                    <a:lnTo>
                      <a:pt x="0" y="210"/>
                    </a:lnTo>
                    <a:lnTo>
                      <a:pt x="180" y="240"/>
                    </a:lnTo>
                    <a:lnTo>
                      <a:pt x="90" y="0"/>
                    </a:lnTo>
                    <a:lnTo>
                      <a:pt x="240" y="150"/>
                    </a:lnTo>
                    <a:lnTo>
                      <a:pt x="270" y="0"/>
                    </a:lnTo>
                    <a:lnTo>
                      <a:pt x="420" y="0"/>
                    </a:lnTo>
                    <a:lnTo>
                      <a:pt x="4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8" name="Freeform 2392">
                <a:extLst>
                  <a:ext uri="{FF2B5EF4-FFF2-40B4-BE49-F238E27FC236}">
                    <a16:creationId xmlns:a16="http://schemas.microsoft.com/office/drawing/2014/main" id="{C314B95C-DCCF-4D6C-9D87-899677AB591B}"/>
                  </a:ext>
                </a:extLst>
              </p:cNvPr>
              <p:cNvSpPr>
                <a:spLocks/>
              </p:cNvSpPr>
              <p:nvPr/>
            </p:nvSpPr>
            <p:spPr bwMode="auto">
              <a:xfrm>
                <a:off x="2925" y="1260"/>
                <a:ext cx="120" cy="300"/>
              </a:xfrm>
              <a:custGeom>
                <a:avLst/>
                <a:gdLst>
                  <a:gd name="T0" fmla="*/ 0 w 120"/>
                  <a:gd name="T1" fmla="*/ 0 h 300"/>
                  <a:gd name="T2" fmla="*/ 0 w 120"/>
                  <a:gd name="T3" fmla="*/ 180 h 300"/>
                  <a:gd name="T4" fmla="*/ 120 w 120"/>
                  <a:gd name="T5" fmla="*/ 90 h 300"/>
                  <a:gd name="T6" fmla="*/ 120 w 120"/>
                  <a:gd name="T7" fmla="*/ 210 h 300"/>
                  <a:gd name="T8" fmla="*/ 90 w 120"/>
                  <a:gd name="T9" fmla="*/ 300 h 300"/>
                </a:gdLst>
                <a:ahLst/>
                <a:cxnLst>
                  <a:cxn ang="0">
                    <a:pos x="T0" y="T1"/>
                  </a:cxn>
                  <a:cxn ang="0">
                    <a:pos x="T2" y="T3"/>
                  </a:cxn>
                  <a:cxn ang="0">
                    <a:pos x="T4" y="T5"/>
                  </a:cxn>
                  <a:cxn ang="0">
                    <a:pos x="T6" y="T7"/>
                  </a:cxn>
                  <a:cxn ang="0">
                    <a:pos x="T8" y="T9"/>
                  </a:cxn>
                </a:cxnLst>
                <a:rect l="0" t="0" r="r" b="b"/>
                <a:pathLst>
                  <a:path w="120" h="300">
                    <a:moveTo>
                      <a:pt x="0" y="0"/>
                    </a:moveTo>
                    <a:lnTo>
                      <a:pt x="0" y="180"/>
                    </a:lnTo>
                    <a:lnTo>
                      <a:pt x="120" y="90"/>
                    </a:lnTo>
                    <a:lnTo>
                      <a:pt x="120" y="210"/>
                    </a:lnTo>
                    <a:lnTo>
                      <a:pt x="9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9" name="Freeform 2393">
                <a:extLst>
                  <a:ext uri="{FF2B5EF4-FFF2-40B4-BE49-F238E27FC236}">
                    <a16:creationId xmlns:a16="http://schemas.microsoft.com/office/drawing/2014/main" id="{B215A062-1901-45B5-9382-5081AA716CB4}"/>
                  </a:ext>
                </a:extLst>
              </p:cNvPr>
              <p:cNvSpPr>
                <a:spLocks/>
              </p:cNvSpPr>
              <p:nvPr/>
            </p:nvSpPr>
            <p:spPr bwMode="auto">
              <a:xfrm>
                <a:off x="2715" y="1292"/>
                <a:ext cx="330" cy="178"/>
              </a:xfrm>
              <a:custGeom>
                <a:avLst/>
                <a:gdLst>
                  <a:gd name="T0" fmla="*/ 0 w 330"/>
                  <a:gd name="T1" fmla="*/ 0 h 178"/>
                  <a:gd name="T2" fmla="*/ 60 w 330"/>
                  <a:gd name="T3" fmla="*/ 118 h 178"/>
                  <a:gd name="T4" fmla="*/ 150 w 330"/>
                  <a:gd name="T5" fmla="*/ 28 h 178"/>
                  <a:gd name="T6" fmla="*/ 330 w 330"/>
                  <a:gd name="T7" fmla="*/ 178 h 178"/>
                </a:gdLst>
                <a:ahLst/>
                <a:cxnLst>
                  <a:cxn ang="0">
                    <a:pos x="T0" y="T1"/>
                  </a:cxn>
                  <a:cxn ang="0">
                    <a:pos x="T2" y="T3"/>
                  </a:cxn>
                  <a:cxn ang="0">
                    <a:pos x="T4" y="T5"/>
                  </a:cxn>
                  <a:cxn ang="0">
                    <a:pos x="T6" y="T7"/>
                  </a:cxn>
                </a:cxnLst>
                <a:rect l="0" t="0" r="r" b="b"/>
                <a:pathLst>
                  <a:path w="330" h="178">
                    <a:moveTo>
                      <a:pt x="0" y="0"/>
                    </a:moveTo>
                    <a:lnTo>
                      <a:pt x="60" y="118"/>
                    </a:lnTo>
                    <a:lnTo>
                      <a:pt x="150" y="28"/>
                    </a:lnTo>
                    <a:lnTo>
                      <a:pt x="330" y="17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0" name="Line 2394">
                <a:extLst>
                  <a:ext uri="{FF2B5EF4-FFF2-40B4-BE49-F238E27FC236}">
                    <a16:creationId xmlns:a16="http://schemas.microsoft.com/office/drawing/2014/main" id="{DBB49F7D-2B0D-4BBD-B54A-2AA028C3C1D5}"/>
                  </a:ext>
                </a:extLst>
              </p:cNvPr>
              <p:cNvSpPr>
                <a:spLocks noChangeShapeType="1"/>
              </p:cNvSpPr>
              <p:nvPr/>
            </p:nvSpPr>
            <p:spPr bwMode="auto">
              <a:xfrm flipH="1">
                <a:off x="2925" y="1410"/>
                <a:ext cx="24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1" name="Freeform 2395">
                <a:extLst>
                  <a:ext uri="{FF2B5EF4-FFF2-40B4-BE49-F238E27FC236}">
                    <a16:creationId xmlns:a16="http://schemas.microsoft.com/office/drawing/2014/main" id="{B9A4FAB7-5075-4292-99DC-710C67D17F1A}"/>
                  </a:ext>
                </a:extLst>
              </p:cNvPr>
              <p:cNvSpPr>
                <a:spLocks/>
              </p:cNvSpPr>
              <p:nvPr/>
            </p:nvSpPr>
            <p:spPr bwMode="auto">
              <a:xfrm>
                <a:off x="2086" y="2070"/>
                <a:ext cx="899" cy="720"/>
              </a:xfrm>
              <a:custGeom>
                <a:avLst/>
                <a:gdLst>
                  <a:gd name="T0" fmla="*/ 59 w 899"/>
                  <a:gd name="T1" fmla="*/ 240 h 720"/>
                  <a:gd name="T2" fmla="*/ 179 w 899"/>
                  <a:gd name="T3" fmla="*/ 390 h 720"/>
                  <a:gd name="T4" fmla="*/ 239 w 899"/>
                  <a:gd name="T5" fmla="*/ 300 h 720"/>
                  <a:gd name="T6" fmla="*/ 329 w 899"/>
                  <a:gd name="T7" fmla="*/ 360 h 720"/>
                  <a:gd name="T8" fmla="*/ 329 w 899"/>
                  <a:gd name="T9" fmla="*/ 240 h 720"/>
                  <a:gd name="T10" fmla="*/ 179 w 899"/>
                  <a:gd name="T11" fmla="*/ 181 h 720"/>
                  <a:gd name="T12" fmla="*/ 269 w 899"/>
                  <a:gd name="T13" fmla="*/ 150 h 720"/>
                  <a:gd name="T14" fmla="*/ 389 w 899"/>
                  <a:gd name="T15" fmla="*/ 120 h 720"/>
                  <a:gd name="T16" fmla="*/ 449 w 899"/>
                  <a:gd name="T17" fmla="*/ 300 h 720"/>
                  <a:gd name="T18" fmla="*/ 539 w 899"/>
                  <a:gd name="T19" fmla="*/ 180 h 720"/>
                  <a:gd name="T20" fmla="*/ 509 w 899"/>
                  <a:gd name="T21" fmla="*/ 60 h 720"/>
                  <a:gd name="T22" fmla="*/ 359 w 899"/>
                  <a:gd name="T23" fmla="*/ 30 h 720"/>
                  <a:gd name="T24" fmla="*/ 569 w 899"/>
                  <a:gd name="T25" fmla="*/ 0 h 720"/>
                  <a:gd name="T26" fmla="*/ 689 w 899"/>
                  <a:gd name="T27" fmla="*/ 90 h 720"/>
                  <a:gd name="T28" fmla="*/ 659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89 w 899"/>
                  <a:gd name="T41" fmla="*/ 390 h 720"/>
                  <a:gd name="T42" fmla="*/ 539 w 899"/>
                  <a:gd name="T43" fmla="*/ 330 h 720"/>
                  <a:gd name="T44" fmla="*/ 569 w 899"/>
                  <a:gd name="T45" fmla="*/ 450 h 720"/>
                  <a:gd name="T46" fmla="*/ 419 w 899"/>
                  <a:gd name="T47" fmla="*/ 420 h 720"/>
                  <a:gd name="T48" fmla="*/ 389 w 899"/>
                  <a:gd name="T49" fmla="*/ 540 h 720"/>
                  <a:gd name="T50" fmla="*/ 509 w 899"/>
                  <a:gd name="T51" fmla="*/ 570 h 720"/>
                  <a:gd name="T52" fmla="*/ 659 w 899"/>
                  <a:gd name="T53" fmla="*/ 570 h 720"/>
                  <a:gd name="T54" fmla="*/ 599 w 899"/>
                  <a:gd name="T55" fmla="*/ 720 h 720"/>
                  <a:gd name="T56" fmla="*/ 299 w 899"/>
                  <a:gd name="T57" fmla="*/ 630 h 720"/>
                  <a:gd name="T58" fmla="*/ 268 w 899"/>
                  <a:gd name="T59" fmla="*/ 482 h 720"/>
                  <a:gd name="T60" fmla="*/ 179 w 899"/>
                  <a:gd name="T61" fmla="*/ 570 h 720"/>
                  <a:gd name="T62" fmla="*/ 59 w 899"/>
                  <a:gd name="T63" fmla="*/ 480 h 720"/>
                  <a:gd name="T64" fmla="*/ 0 w 899"/>
                  <a:gd name="T65" fmla="*/ 360 h 720"/>
                  <a:gd name="T66" fmla="*/ 59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59" y="240"/>
                    </a:move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599" y="720"/>
                    </a:lnTo>
                    <a:lnTo>
                      <a:pt x="299" y="630"/>
                    </a:lnTo>
                    <a:lnTo>
                      <a:pt x="268" y="482"/>
                    </a:lnTo>
                    <a:lnTo>
                      <a:pt x="179" y="570"/>
                    </a:lnTo>
                    <a:lnTo>
                      <a:pt x="59" y="480"/>
                    </a:lnTo>
                    <a:lnTo>
                      <a:pt x="0" y="360"/>
                    </a:lnTo>
                    <a:lnTo>
                      <a:pt x="59"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2" name="Line 2396">
                <a:extLst>
                  <a:ext uri="{FF2B5EF4-FFF2-40B4-BE49-F238E27FC236}">
                    <a16:creationId xmlns:a16="http://schemas.microsoft.com/office/drawing/2014/main" id="{9FA53B0E-482A-4046-8D65-BCE5AA904ED9}"/>
                  </a:ext>
                </a:extLst>
              </p:cNvPr>
              <p:cNvSpPr>
                <a:spLocks noChangeShapeType="1"/>
              </p:cNvSpPr>
              <p:nvPr/>
            </p:nvSpPr>
            <p:spPr bwMode="auto">
              <a:xfrm flipH="1">
                <a:off x="2145" y="225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3" name="Freeform 2397">
                <a:extLst>
                  <a:ext uri="{FF2B5EF4-FFF2-40B4-BE49-F238E27FC236}">
                    <a16:creationId xmlns:a16="http://schemas.microsoft.com/office/drawing/2014/main" id="{80DE0025-C85E-4B2F-A4F7-BB715F8C38FD}"/>
                  </a:ext>
                </a:extLst>
              </p:cNvPr>
              <p:cNvSpPr>
                <a:spLocks/>
              </p:cNvSpPr>
              <p:nvPr/>
            </p:nvSpPr>
            <p:spPr bwMode="auto">
              <a:xfrm>
                <a:off x="2354" y="243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4" name="Freeform 2398">
                <a:extLst>
                  <a:ext uri="{FF2B5EF4-FFF2-40B4-BE49-F238E27FC236}">
                    <a16:creationId xmlns:a16="http://schemas.microsoft.com/office/drawing/2014/main" id="{B6AF9F03-F5AB-4113-845F-7DDF73C9E998}"/>
                  </a:ext>
                </a:extLst>
              </p:cNvPr>
              <p:cNvSpPr>
                <a:spLocks/>
              </p:cNvSpPr>
              <p:nvPr/>
            </p:nvSpPr>
            <p:spPr bwMode="auto">
              <a:xfrm>
                <a:off x="2415" y="1980"/>
                <a:ext cx="240" cy="330"/>
              </a:xfrm>
              <a:custGeom>
                <a:avLst/>
                <a:gdLst>
                  <a:gd name="T0" fmla="*/ 180 w 240"/>
                  <a:gd name="T1" fmla="*/ 150 h 330"/>
                  <a:gd name="T2" fmla="*/ 120 w 240"/>
                  <a:gd name="T3" fmla="*/ 0 h 330"/>
                  <a:gd name="T4" fmla="*/ 240 w 240"/>
                  <a:gd name="T5" fmla="*/ 90 h 330"/>
                  <a:gd name="T6" fmla="*/ 210 w 240"/>
                  <a:gd name="T7" fmla="*/ 270 h 330"/>
                  <a:gd name="T8" fmla="*/ 0 w 240"/>
                  <a:gd name="T9" fmla="*/ 330 h 330"/>
                </a:gdLst>
                <a:ahLst/>
                <a:cxnLst>
                  <a:cxn ang="0">
                    <a:pos x="T0" y="T1"/>
                  </a:cxn>
                  <a:cxn ang="0">
                    <a:pos x="T2" y="T3"/>
                  </a:cxn>
                  <a:cxn ang="0">
                    <a:pos x="T4" y="T5"/>
                  </a:cxn>
                  <a:cxn ang="0">
                    <a:pos x="T6" y="T7"/>
                  </a:cxn>
                  <a:cxn ang="0">
                    <a:pos x="T8" y="T9"/>
                  </a:cxn>
                </a:cxnLst>
                <a:rect l="0" t="0" r="r" b="b"/>
                <a:pathLst>
                  <a:path w="240" h="330">
                    <a:moveTo>
                      <a:pt x="180" y="150"/>
                    </a:moveTo>
                    <a:lnTo>
                      <a:pt x="120" y="0"/>
                    </a:lnTo>
                    <a:lnTo>
                      <a:pt x="240" y="90"/>
                    </a:lnTo>
                    <a:lnTo>
                      <a:pt x="21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5" name="Line 2399">
                <a:extLst>
                  <a:ext uri="{FF2B5EF4-FFF2-40B4-BE49-F238E27FC236}">
                    <a16:creationId xmlns:a16="http://schemas.microsoft.com/office/drawing/2014/main" id="{5F016F74-7C93-4A9E-886F-CD3297B8FC76}"/>
                  </a:ext>
                </a:extLst>
              </p:cNvPr>
              <p:cNvSpPr>
                <a:spLocks noChangeShapeType="1"/>
              </p:cNvSpPr>
              <p:nvPr/>
            </p:nvSpPr>
            <p:spPr bwMode="auto">
              <a:xfrm>
                <a:off x="247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6" name="Freeform 2400">
                <a:extLst>
                  <a:ext uri="{FF2B5EF4-FFF2-40B4-BE49-F238E27FC236}">
                    <a16:creationId xmlns:a16="http://schemas.microsoft.com/office/drawing/2014/main" id="{509653F1-0A88-4890-B73C-72392E9A2E21}"/>
                  </a:ext>
                </a:extLst>
              </p:cNvPr>
              <p:cNvSpPr>
                <a:spLocks/>
              </p:cNvSpPr>
              <p:nvPr/>
            </p:nvSpPr>
            <p:spPr bwMode="auto">
              <a:xfrm>
                <a:off x="3045" y="207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7" name="Freeform 2401">
                <a:extLst>
                  <a:ext uri="{FF2B5EF4-FFF2-40B4-BE49-F238E27FC236}">
                    <a16:creationId xmlns:a16="http://schemas.microsoft.com/office/drawing/2014/main" id="{AC46AC8B-9B95-426A-AAEF-6A1FE33FC499}"/>
                  </a:ext>
                </a:extLst>
              </p:cNvPr>
              <p:cNvSpPr>
                <a:spLocks/>
              </p:cNvSpPr>
              <p:nvPr/>
            </p:nvSpPr>
            <p:spPr bwMode="auto">
              <a:xfrm>
                <a:off x="3105" y="222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8" name="Freeform 2402">
                <a:extLst>
                  <a:ext uri="{FF2B5EF4-FFF2-40B4-BE49-F238E27FC236}">
                    <a16:creationId xmlns:a16="http://schemas.microsoft.com/office/drawing/2014/main" id="{B161E0A4-C297-46FA-9DAE-F484D48A920B}"/>
                  </a:ext>
                </a:extLst>
              </p:cNvPr>
              <p:cNvSpPr>
                <a:spLocks/>
              </p:cNvSpPr>
              <p:nvPr/>
            </p:nvSpPr>
            <p:spPr bwMode="auto">
              <a:xfrm>
                <a:off x="2985" y="225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9" name="Freeform 2403">
                <a:extLst>
                  <a:ext uri="{FF2B5EF4-FFF2-40B4-BE49-F238E27FC236}">
                    <a16:creationId xmlns:a16="http://schemas.microsoft.com/office/drawing/2014/main" id="{01ED1A46-99A2-4231-9260-38138DE8E7DA}"/>
                  </a:ext>
                </a:extLst>
              </p:cNvPr>
              <p:cNvSpPr>
                <a:spLocks/>
              </p:cNvSpPr>
              <p:nvPr/>
            </p:nvSpPr>
            <p:spPr bwMode="auto">
              <a:xfrm>
                <a:off x="3313" y="243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0" name="Freeform 2404">
                <a:extLst>
                  <a:ext uri="{FF2B5EF4-FFF2-40B4-BE49-F238E27FC236}">
                    <a16:creationId xmlns:a16="http://schemas.microsoft.com/office/drawing/2014/main" id="{2301E3BF-1979-4844-96DB-6D7E1B4C439C}"/>
                  </a:ext>
                </a:extLst>
              </p:cNvPr>
              <p:cNvSpPr>
                <a:spLocks/>
              </p:cNvSpPr>
              <p:nvPr/>
            </p:nvSpPr>
            <p:spPr bwMode="auto">
              <a:xfrm>
                <a:off x="3375" y="204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1" name="Line 2405">
                <a:extLst>
                  <a:ext uri="{FF2B5EF4-FFF2-40B4-BE49-F238E27FC236}">
                    <a16:creationId xmlns:a16="http://schemas.microsoft.com/office/drawing/2014/main" id="{375D3735-663A-42B4-8947-C987A3E52888}"/>
                  </a:ext>
                </a:extLst>
              </p:cNvPr>
              <p:cNvSpPr>
                <a:spLocks noChangeShapeType="1"/>
              </p:cNvSpPr>
              <p:nvPr/>
            </p:nvSpPr>
            <p:spPr bwMode="auto">
              <a:xfrm>
                <a:off x="343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2" name="Line 2406">
                <a:extLst>
                  <a:ext uri="{FF2B5EF4-FFF2-40B4-BE49-F238E27FC236}">
                    <a16:creationId xmlns:a16="http://schemas.microsoft.com/office/drawing/2014/main" id="{33B9F7F6-2E87-459F-B346-D65904592E7A}"/>
                  </a:ext>
                </a:extLst>
              </p:cNvPr>
              <p:cNvSpPr>
                <a:spLocks noChangeShapeType="1"/>
              </p:cNvSpPr>
              <p:nvPr/>
            </p:nvSpPr>
            <p:spPr bwMode="auto">
              <a:xfrm>
                <a:off x="2955" y="18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3" name="Line 2407">
                <a:extLst>
                  <a:ext uri="{FF2B5EF4-FFF2-40B4-BE49-F238E27FC236}">
                    <a16:creationId xmlns:a16="http://schemas.microsoft.com/office/drawing/2014/main" id="{3DDAD4AB-C4CC-4F4E-B391-B58ED8BBD6C7}"/>
                  </a:ext>
                </a:extLst>
              </p:cNvPr>
              <p:cNvSpPr>
                <a:spLocks noChangeShapeType="1"/>
              </p:cNvSpPr>
              <p:nvPr/>
            </p:nvSpPr>
            <p:spPr bwMode="auto">
              <a:xfrm>
                <a:off x="2655" y="18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4" name="Line 2408">
                <a:extLst>
                  <a:ext uri="{FF2B5EF4-FFF2-40B4-BE49-F238E27FC236}">
                    <a16:creationId xmlns:a16="http://schemas.microsoft.com/office/drawing/2014/main" id="{144BFC1D-C48A-4B69-B0A4-2ADFF2AFD0B1}"/>
                  </a:ext>
                </a:extLst>
              </p:cNvPr>
              <p:cNvSpPr>
                <a:spLocks noChangeShapeType="1"/>
              </p:cNvSpPr>
              <p:nvPr/>
            </p:nvSpPr>
            <p:spPr bwMode="auto">
              <a:xfrm>
                <a:off x="3045" y="17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5" name="Line 2409">
                <a:extLst>
                  <a:ext uri="{FF2B5EF4-FFF2-40B4-BE49-F238E27FC236}">
                    <a16:creationId xmlns:a16="http://schemas.microsoft.com/office/drawing/2014/main" id="{A29B9B6F-D0E8-4C5A-A4E0-6BB3A7777A88}"/>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6" name="Line 2410">
                <a:extLst>
                  <a:ext uri="{FF2B5EF4-FFF2-40B4-BE49-F238E27FC236}">
                    <a16:creationId xmlns:a16="http://schemas.microsoft.com/office/drawing/2014/main" id="{A99B18F5-284E-4335-9261-C520EE22151C}"/>
                  </a:ext>
                </a:extLst>
              </p:cNvPr>
              <p:cNvSpPr>
                <a:spLocks noChangeShapeType="1"/>
              </p:cNvSpPr>
              <p:nvPr/>
            </p:nvSpPr>
            <p:spPr bwMode="auto">
              <a:xfrm flipH="1" flipV="1">
                <a:off x="2415" y="1770"/>
                <a:ext cx="6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7" name="Line 2411">
                <a:extLst>
                  <a:ext uri="{FF2B5EF4-FFF2-40B4-BE49-F238E27FC236}">
                    <a16:creationId xmlns:a16="http://schemas.microsoft.com/office/drawing/2014/main" id="{6E1BB5FF-9371-499C-A5F7-FA0CC336B60B}"/>
                  </a:ext>
                </a:extLst>
              </p:cNvPr>
              <p:cNvSpPr>
                <a:spLocks noChangeShapeType="1"/>
              </p:cNvSpPr>
              <p:nvPr/>
            </p:nvSpPr>
            <p:spPr bwMode="auto">
              <a:xfrm>
                <a:off x="2475" y="1830"/>
                <a:ext cx="21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8" name="Line 2412">
                <a:extLst>
                  <a:ext uri="{FF2B5EF4-FFF2-40B4-BE49-F238E27FC236}">
                    <a16:creationId xmlns:a16="http://schemas.microsoft.com/office/drawing/2014/main" id="{AD90890E-FA65-4049-B1FB-BDAD62387E9F}"/>
                  </a:ext>
                </a:extLst>
              </p:cNvPr>
              <p:cNvSpPr>
                <a:spLocks noChangeShapeType="1"/>
              </p:cNvSpPr>
              <p:nvPr/>
            </p:nvSpPr>
            <p:spPr bwMode="auto">
              <a:xfrm>
                <a:off x="2535" y="16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9" name="Line 2413">
                <a:extLst>
                  <a:ext uri="{FF2B5EF4-FFF2-40B4-BE49-F238E27FC236}">
                    <a16:creationId xmlns:a16="http://schemas.microsoft.com/office/drawing/2014/main" id="{61E149C3-1A3D-4A3D-ACBF-2591D96B5F38}"/>
                  </a:ext>
                </a:extLst>
              </p:cNvPr>
              <p:cNvSpPr>
                <a:spLocks noChangeShapeType="1"/>
              </p:cNvSpPr>
              <p:nvPr/>
            </p:nvSpPr>
            <p:spPr bwMode="auto">
              <a:xfrm>
                <a:off x="3045" y="13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0" name="Line 2414">
                <a:extLst>
                  <a:ext uri="{FF2B5EF4-FFF2-40B4-BE49-F238E27FC236}">
                    <a16:creationId xmlns:a16="http://schemas.microsoft.com/office/drawing/2014/main" id="{DAE16A04-1EB0-45CD-8774-41653B5B5654}"/>
                  </a:ext>
                </a:extLst>
              </p:cNvPr>
              <p:cNvSpPr>
                <a:spLocks noChangeShapeType="1"/>
              </p:cNvSpPr>
              <p:nvPr/>
            </p:nvSpPr>
            <p:spPr bwMode="auto">
              <a:xfrm>
                <a:off x="2925" y="12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1" name="Freeform 2415">
                <a:extLst>
                  <a:ext uri="{FF2B5EF4-FFF2-40B4-BE49-F238E27FC236}">
                    <a16:creationId xmlns:a16="http://schemas.microsoft.com/office/drawing/2014/main" id="{C03A3286-CFA0-46D5-A291-5A078D27011E}"/>
                  </a:ext>
                </a:extLst>
              </p:cNvPr>
              <p:cNvSpPr>
                <a:spLocks/>
              </p:cNvSpPr>
              <p:nvPr/>
            </p:nvSpPr>
            <p:spPr bwMode="auto">
              <a:xfrm>
                <a:off x="2865" y="1710"/>
                <a:ext cx="240" cy="240"/>
              </a:xfrm>
              <a:custGeom>
                <a:avLst/>
                <a:gdLst>
                  <a:gd name="T0" fmla="*/ 240 w 240"/>
                  <a:gd name="T1" fmla="*/ 0 h 240"/>
                  <a:gd name="T2" fmla="*/ 210 w 240"/>
                  <a:gd name="T3" fmla="*/ 180 h 240"/>
                  <a:gd name="T4" fmla="*/ 180 w 240"/>
                  <a:gd name="T5" fmla="*/ 60 h 240"/>
                  <a:gd name="T6" fmla="*/ 150 w 240"/>
                  <a:gd name="T7" fmla="*/ 240 h 240"/>
                  <a:gd name="T8" fmla="*/ 90 w 240"/>
                  <a:gd name="T9" fmla="*/ 180 h 240"/>
                  <a:gd name="T10" fmla="*/ 0 w 240"/>
                  <a:gd name="T11" fmla="*/ 210 h 240"/>
                </a:gdLst>
                <a:ahLst/>
                <a:cxnLst>
                  <a:cxn ang="0">
                    <a:pos x="T0" y="T1"/>
                  </a:cxn>
                  <a:cxn ang="0">
                    <a:pos x="T2" y="T3"/>
                  </a:cxn>
                  <a:cxn ang="0">
                    <a:pos x="T4" y="T5"/>
                  </a:cxn>
                  <a:cxn ang="0">
                    <a:pos x="T6" y="T7"/>
                  </a:cxn>
                  <a:cxn ang="0">
                    <a:pos x="T8" y="T9"/>
                  </a:cxn>
                  <a:cxn ang="0">
                    <a:pos x="T10" y="T11"/>
                  </a:cxn>
                </a:cxnLst>
                <a:rect l="0" t="0" r="r" b="b"/>
                <a:pathLst>
                  <a:path w="240" h="240">
                    <a:moveTo>
                      <a:pt x="240" y="0"/>
                    </a:moveTo>
                    <a:lnTo>
                      <a:pt x="210" y="180"/>
                    </a:lnTo>
                    <a:lnTo>
                      <a:pt x="180" y="60"/>
                    </a:lnTo>
                    <a:lnTo>
                      <a:pt x="150" y="240"/>
                    </a:lnTo>
                    <a:lnTo>
                      <a:pt x="90" y="18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2" name="Line 2416">
                <a:extLst>
                  <a:ext uri="{FF2B5EF4-FFF2-40B4-BE49-F238E27FC236}">
                    <a16:creationId xmlns:a16="http://schemas.microsoft.com/office/drawing/2014/main" id="{4DC20404-A380-439D-BB86-FD52EE2079B4}"/>
                  </a:ext>
                </a:extLst>
              </p:cNvPr>
              <p:cNvSpPr>
                <a:spLocks noChangeShapeType="1"/>
              </p:cNvSpPr>
              <p:nvPr/>
            </p:nvSpPr>
            <p:spPr bwMode="auto">
              <a:xfrm>
                <a:off x="2865" y="19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3" name="Freeform 2417">
                <a:extLst>
                  <a:ext uri="{FF2B5EF4-FFF2-40B4-BE49-F238E27FC236}">
                    <a16:creationId xmlns:a16="http://schemas.microsoft.com/office/drawing/2014/main" id="{A7D7AED9-1D55-41D2-AE54-352677E6EAB8}"/>
                  </a:ext>
                </a:extLst>
              </p:cNvPr>
              <p:cNvSpPr>
                <a:spLocks/>
              </p:cNvSpPr>
              <p:nvPr/>
            </p:nvSpPr>
            <p:spPr bwMode="auto">
              <a:xfrm>
                <a:off x="3045" y="1770"/>
                <a:ext cx="180" cy="120"/>
              </a:xfrm>
              <a:custGeom>
                <a:avLst/>
                <a:gdLst>
                  <a:gd name="T0" fmla="*/ 150 w 180"/>
                  <a:gd name="T1" fmla="*/ 120 h 120"/>
                  <a:gd name="T2" fmla="*/ 180 w 180"/>
                  <a:gd name="T3" fmla="*/ 0 h 120"/>
                  <a:gd name="T4" fmla="*/ 30 w 180"/>
                  <a:gd name="T5" fmla="*/ 120 h 120"/>
                  <a:gd name="T6" fmla="*/ 150 w 180"/>
                  <a:gd name="T7" fmla="*/ 120 h 120"/>
                  <a:gd name="T8" fmla="*/ 0 w 180"/>
                  <a:gd name="T9" fmla="*/ 0 h 120"/>
                </a:gdLst>
                <a:ahLst/>
                <a:cxnLst>
                  <a:cxn ang="0">
                    <a:pos x="T0" y="T1"/>
                  </a:cxn>
                  <a:cxn ang="0">
                    <a:pos x="T2" y="T3"/>
                  </a:cxn>
                  <a:cxn ang="0">
                    <a:pos x="T4" y="T5"/>
                  </a:cxn>
                  <a:cxn ang="0">
                    <a:pos x="T6" y="T7"/>
                  </a:cxn>
                  <a:cxn ang="0">
                    <a:pos x="T8" y="T9"/>
                  </a:cxn>
                </a:cxnLst>
                <a:rect l="0" t="0" r="r" b="b"/>
                <a:pathLst>
                  <a:path w="180" h="120">
                    <a:moveTo>
                      <a:pt x="150" y="120"/>
                    </a:moveTo>
                    <a:lnTo>
                      <a:pt x="180" y="0"/>
                    </a:lnTo>
                    <a:lnTo>
                      <a:pt x="30" y="120"/>
                    </a:lnTo>
                    <a:lnTo>
                      <a:pt x="15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4" name="Freeform 2418">
                <a:extLst>
                  <a:ext uri="{FF2B5EF4-FFF2-40B4-BE49-F238E27FC236}">
                    <a16:creationId xmlns:a16="http://schemas.microsoft.com/office/drawing/2014/main" id="{AD6A486E-67E6-4C88-B4D3-B4A7F3EF74D4}"/>
                  </a:ext>
                </a:extLst>
              </p:cNvPr>
              <p:cNvSpPr>
                <a:spLocks/>
              </p:cNvSpPr>
              <p:nvPr/>
            </p:nvSpPr>
            <p:spPr bwMode="auto">
              <a:xfrm>
                <a:off x="3105" y="1530"/>
                <a:ext cx="240" cy="360"/>
              </a:xfrm>
              <a:custGeom>
                <a:avLst/>
                <a:gdLst>
                  <a:gd name="T0" fmla="*/ 120 w 240"/>
                  <a:gd name="T1" fmla="*/ 240 h 360"/>
                  <a:gd name="T2" fmla="*/ 90 w 240"/>
                  <a:gd name="T3" fmla="*/ 120 h 360"/>
                  <a:gd name="T4" fmla="*/ 90 w 240"/>
                  <a:gd name="T5" fmla="*/ 0 h 360"/>
                  <a:gd name="T6" fmla="*/ 210 w 240"/>
                  <a:gd name="T7" fmla="*/ 30 h 360"/>
                  <a:gd name="T8" fmla="*/ 240 w 240"/>
                  <a:gd name="T9" fmla="*/ 180 h 360"/>
                  <a:gd name="T10" fmla="*/ 120 w 240"/>
                  <a:gd name="T11" fmla="*/ 240 h 360"/>
                  <a:gd name="T12" fmla="*/ 210 w 240"/>
                  <a:gd name="T13" fmla="*/ 330 h 360"/>
                  <a:gd name="T14" fmla="*/ 90 w 240"/>
                  <a:gd name="T15" fmla="*/ 360 h 360"/>
                  <a:gd name="T16" fmla="*/ 0 w 240"/>
                  <a:gd name="T17"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360">
                    <a:moveTo>
                      <a:pt x="120" y="240"/>
                    </a:moveTo>
                    <a:lnTo>
                      <a:pt x="90" y="120"/>
                    </a:lnTo>
                    <a:lnTo>
                      <a:pt x="90" y="0"/>
                    </a:lnTo>
                    <a:lnTo>
                      <a:pt x="210" y="30"/>
                    </a:lnTo>
                    <a:lnTo>
                      <a:pt x="240" y="180"/>
                    </a:lnTo>
                    <a:lnTo>
                      <a:pt x="120" y="240"/>
                    </a:lnTo>
                    <a:lnTo>
                      <a:pt x="210" y="330"/>
                    </a:lnTo>
                    <a:lnTo>
                      <a:pt x="90" y="36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5" name="Freeform 2419">
                <a:extLst>
                  <a:ext uri="{FF2B5EF4-FFF2-40B4-BE49-F238E27FC236}">
                    <a16:creationId xmlns:a16="http://schemas.microsoft.com/office/drawing/2014/main" id="{EEAFC0D9-704B-45B5-BB11-C3E675A77452}"/>
                  </a:ext>
                </a:extLst>
              </p:cNvPr>
              <p:cNvSpPr>
                <a:spLocks/>
              </p:cNvSpPr>
              <p:nvPr/>
            </p:nvSpPr>
            <p:spPr bwMode="auto">
              <a:xfrm>
                <a:off x="3105" y="1590"/>
                <a:ext cx="90" cy="120"/>
              </a:xfrm>
              <a:custGeom>
                <a:avLst/>
                <a:gdLst>
                  <a:gd name="T0" fmla="*/ 0 w 90"/>
                  <a:gd name="T1" fmla="*/ 120 h 120"/>
                  <a:gd name="T2" fmla="*/ 90 w 90"/>
                  <a:gd name="T3" fmla="*/ 60 h 120"/>
                  <a:gd name="T4" fmla="*/ 0 w 90"/>
                  <a:gd name="T5" fmla="*/ 0 h 120"/>
                </a:gdLst>
                <a:ahLst/>
                <a:cxnLst>
                  <a:cxn ang="0">
                    <a:pos x="T0" y="T1"/>
                  </a:cxn>
                  <a:cxn ang="0">
                    <a:pos x="T2" y="T3"/>
                  </a:cxn>
                  <a:cxn ang="0">
                    <a:pos x="T4" y="T5"/>
                  </a:cxn>
                </a:cxnLst>
                <a:rect l="0" t="0" r="r" b="b"/>
                <a:pathLst>
                  <a:path w="90" h="120">
                    <a:moveTo>
                      <a:pt x="0" y="120"/>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6" name="Line 2420">
                <a:extLst>
                  <a:ext uri="{FF2B5EF4-FFF2-40B4-BE49-F238E27FC236}">
                    <a16:creationId xmlns:a16="http://schemas.microsoft.com/office/drawing/2014/main" id="{E810DC09-9CDF-43CC-BEBC-38868820C71E}"/>
                  </a:ext>
                </a:extLst>
              </p:cNvPr>
              <p:cNvSpPr>
                <a:spLocks noChangeShapeType="1"/>
              </p:cNvSpPr>
              <p:nvPr/>
            </p:nvSpPr>
            <p:spPr bwMode="auto">
              <a:xfrm>
                <a:off x="2595" y="15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7" name="Freeform 2421">
                <a:extLst>
                  <a:ext uri="{FF2B5EF4-FFF2-40B4-BE49-F238E27FC236}">
                    <a16:creationId xmlns:a16="http://schemas.microsoft.com/office/drawing/2014/main" id="{ACF7E8A0-7EF3-466E-B6E2-A99C2E3993C4}"/>
                  </a:ext>
                </a:extLst>
              </p:cNvPr>
              <p:cNvSpPr>
                <a:spLocks/>
              </p:cNvSpPr>
              <p:nvPr/>
            </p:nvSpPr>
            <p:spPr bwMode="auto">
              <a:xfrm>
                <a:off x="2715" y="1230"/>
                <a:ext cx="450" cy="180"/>
              </a:xfrm>
              <a:custGeom>
                <a:avLst/>
                <a:gdLst>
                  <a:gd name="T0" fmla="*/ 450 w 450"/>
                  <a:gd name="T1" fmla="*/ 180 h 180"/>
                  <a:gd name="T2" fmla="*/ 450 w 450"/>
                  <a:gd name="T3" fmla="*/ 60 h 180"/>
                  <a:gd name="T4" fmla="*/ 330 w 450"/>
                  <a:gd name="T5" fmla="*/ 120 h 180"/>
                  <a:gd name="T6" fmla="*/ 210 w 450"/>
                  <a:gd name="T7" fmla="*/ 30 h 180"/>
                  <a:gd name="T8" fmla="*/ 90 w 450"/>
                  <a:gd name="T9" fmla="*/ 0 h 180"/>
                  <a:gd name="T10" fmla="*/ 150 w 450"/>
                  <a:gd name="T11" fmla="*/ 90 h 180"/>
                  <a:gd name="T12" fmla="*/ 0 w 450"/>
                  <a:gd name="T13" fmla="*/ 60 h 180"/>
                </a:gdLst>
                <a:ahLst/>
                <a:cxnLst>
                  <a:cxn ang="0">
                    <a:pos x="T0" y="T1"/>
                  </a:cxn>
                  <a:cxn ang="0">
                    <a:pos x="T2" y="T3"/>
                  </a:cxn>
                  <a:cxn ang="0">
                    <a:pos x="T4" y="T5"/>
                  </a:cxn>
                  <a:cxn ang="0">
                    <a:pos x="T6" y="T7"/>
                  </a:cxn>
                  <a:cxn ang="0">
                    <a:pos x="T8" y="T9"/>
                  </a:cxn>
                  <a:cxn ang="0">
                    <a:pos x="T10" y="T11"/>
                  </a:cxn>
                  <a:cxn ang="0">
                    <a:pos x="T12" y="T13"/>
                  </a:cxn>
                </a:cxnLst>
                <a:rect l="0" t="0" r="r" b="b"/>
                <a:pathLst>
                  <a:path w="450" h="180">
                    <a:moveTo>
                      <a:pt x="450" y="180"/>
                    </a:moveTo>
                    <a:lnTo>
                      <a:pt x="450" y="60"/>
                    </a:lnTo>
                    <a:lnTo>
                      <a:pt x="330" y="120"/>
                    </a:lnTo>
                    <a:lnTo>
                      <a:pt x="210" y="30"/>
                    </a:lnTo>
                    <a:lnTo>
                      <a:pt x="90" y="0"/>
                    </a:lnTo>
                    <a:lnTo>
                      <a:pt x="150" y="9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8" name="Freeform 2422">
                <a:extLst>
                  <a:ext uri="{FF2B5EF4-FFF2-40B4-BE49-F238E27FC236}">
                    <a16:creationId xmlns:a16="http://schemas.microsoft.com/office/drawing/2014/main" id="{13F3BF51-2E8D-4488-B7C3-293160041AC8}"/>
                  </a:ext>
                </a:extLst>
              </p:cNvPr>
              <p:cNvSpPr>
                <a:spLocks/>
              </p:cNvSpPr>
              <p:nvPr/>
            </p:nvSpPr>
            <p:spPr bwMode="auto">
              <a:xfrm>
                <a:off x="3105" y="1440"/>
                <a:ext cx="180" cy="150"/>
              </a:xfrm>
              <a:custGeom>
                <a:avLst/>
                <a:gdLst>
                  <a:gd name="T0" fmla="*/ 180 w 180"/>
                  <a:gd name="T1" fmla="*/ 0 h 150"/>
                  <a:gd name="T2" fmla="*/ 90 w 180"/>
                  <a:gd name="T3" fmla="*/ 90 h 150"/>
                  <a:gd name="T4" fmla="*/ 0 w 180"/>
                  <a:gd name="T5" fmla="*/ 150 h 150"/>
                </a:gdLst>
                <a:ahLst/>
                <a:cxnLst>
                  <a:cxn ang="0">
                    <a:pos x="T0" y="T1"/>
                  </a:cxn>
                  <a:cxn ang="0">
                    <a:pos x="T2" y="T3"/>
                  </a:cxn>
                  <a:cxn ang="0">
                    <a:pos x="T4" y="T5"/>
                  </a:cxn>
                </a:cxnLst>
                <a:rect l="0" t="0" r="r" b="b"/>
                <a:pathLst>
                  <a:path w="180" h="150">
                    <a:moveTo>
                      <a:pt x="180" y="0"/>
                    </a:moveTo>
                    <a:lnTo>
                      <a:pt x="90" y="9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9" name="Freeform 2423">
                <a:extLst>
                  <a:ext uri="{FF2B5EF4-FFF2-40B4-BE49-F238E27FC236}">
                    <a16:creationId xmlns:a16="http://schemas.microsoft.com/office/drawing/2014/main" id="{E450B362-E73F-4C64-9F04-CA5E4B3BBCB1}"/>
                  </a:ext>
                </a:extLst>
              </p:cNvPr>
              <p:cNvSpPr>
                <a:spLocks/>
              </p:cNvSpPr>
              <p:nvPr/>
            </p:nvSpPr>
            <p:spPr bwMode="auto">
              <a:xfrm>
                <a:off x="2925" y="1260"/>
                <a:ext cx="390" cy="390"/>
              </a:xfrm>
              <a:custGeom>
                <a:avLst/>
                <a:gdLst>
                  <a:gd name="T0" fmla="*/ 270 w 390"/>
                  <a:gd name="T1" fmla="*/ 390 h 390"/>
                  <a:gd name="T2" fmla="*/ 390 w 390"/>
                  <a:gd name="T3" fmla="*/ 300 h 390"/>
                  <a:gd name="T4" fmla="*/ 360 w 390"/>
                  <a:gd name="T5" fmla="*/ 180 h 390"/>
                  <a:gd name="T6" fmla="*/ 240 w 390"/>
                  <a:gd name="T7" fmla="*/ 30 h 390"/>
                  <a:gd name="T8" fmla="*/ 0 w 390"/>
                  <a:gd name="T9" fmla="*/ 0 h 390"/>
                </a:gdLst>
                <a:ahLst/>
                <a:cxnLst>
                  <a:cxn ang="0">
                    <a:pos x="T0" y="T1"/>
                  </a:cxn>
                  <a:cxn ang="0">
                    <a:pos x="T2" y="T3"/>
                  </a:cxn>
                  <a:cxn ang="0">
                    <a:pos x="T4" y="T5"/>
                  </a:cxn>
                  <a:cxn ang="0">
                    <a:pos x="T6" y="T7"/>
                  </a:cxn>
                  <a:cxn ang="0">
                    <a:pos x="T8" y="T9"/>
                  </a:cxn>
                </a:cxnLst>
                <a:rect l="0" t="0" r="r" b="b"/>
                <a:pathLst>
                  <a:path w="390" h="390">
                    <a:moveTo>
                      <a:pt x="270" y="390"/>
                    </a:moveTo>
                    <a:lnTo>
                      <a:pt x="390" y="300"/>
                    </a:lnTo>
                    <a:lnTo>
                      <a:pt x="360" y="180"/>
                    </a:lnTo>
                    <a:lnTo>
                      <a:pt x="24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0" name="Freeform 2424">
                <a:extLst>
                  <a:ext uri="{FF2B5EF4-FFF2-40B4-BE49-F238E27FC236}">
                    <a16:creationId xmlns:a16="http://schemas.microsoft.com/office/drawing/2014/main" id="{CB40D657-CAF3-45AB-91F7-828CA82C1521}"/>
                  </a:ext>
                </a:extLst>
              </p:cNvPr>
              <p:cNvSpPr>
                <a:spLocks/>
              </p:cNvSpPr>
              <p:nvPr/>
            </p:nvSpPr>
            <p:spPr bwMode="auto">
              <a:xfrm>
                <a:off x="2445" y="1230"/>
                <a:ext cx="360" cy="210"/>
              </a:xfrm>
              <a:custGeom>
                <a:avLst/>
                <a:gdLst>
                  <a:gd name="T0" fmla="*/ 90 w 360"/>
                  <a:gd name="T1" fmla="*/ 60 h 210"/>
                  <a:gd name="T2" fmla="*/ 0 w 360"/>
                  <a:gd name="T3" fmla="*/ 180 h 210"/>
                  <a:gd name="T4" fmla="*/ 90 w 360"/>
                  <a:gd name="T5" fmla="*/ 210 h 210"/>
                  <a:gd name="T6" fmla="*/ 180 w 360"/>
                  <a:gd name="T7" fmla="*/ 180 h 210"/>
                  <a:gd name="T8" fmla="*/ 90 w 360"/>
                  <a:gd name="T9" fmla="*/ 60 h 210"/>
                  <a:gd name="T10" fmla="*/ 270 w 360"/>
                  <a:gd name="T11" fmla="*/ 60 h 210"/>
                  <a:gd name="T12" fmla="*/ 360 w 36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60" h="210">
                    <a:moveTo>
                      <a:pt x="90" y="60"/>
                    </a:moveTo>
                    <a:lnTo>
                      <a:pt x="0" y="180"/>
                    </a:lnTo>
                    <a:lnTo>
                      <a:pt x="90" y="210"/>
                    </a:lnTo>
                    <a:lnTo>
                      <a:pt x="180" y="180"/>
                    </a:lnTo>
                    <a:lnTo>
                      <a:pt x="90" y="60"/>
                    </a:lnTo>
                    <a:lnTo>
                      <a:pt x="270" y="60"/>
                    </a:lnTo>
                    <a:lnTo>
                      <a:pt x="3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1" name="Line 2425">
                <a:extLst>
                  <a:ext uri="{FF2B5EF4-FFF2-40B4-BE49-F238E27FC236}">
                    <a16:creationId xmlns:a16="http://schemas.microsoft.com/office/drawing/2014/main" id="{7B3EC879-D77B-4D86-A9FF-BB65D3502C18}"/>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2" name="Line 2426">
                <a:extLst>
                  <a:ext uri="{FF2B5EF4-FFF2-40B4-BE49-F238E27FC236}">
                    <a16:creationId xmlns:a16="http://schemas.microsoft.com/office/drawing/2014/main" id="{7FB58E15-B27C-47EE-80FF-A753B843602C}"/>
                  </a:ext>
                </a:extLst>
              </p:cNvPr>
              <p:cNvSpPr>
                <a:spLocks noChangeShapeType="1"/>
              </p:cNvSpPr>
              <p:nvPr/>
            </p:nvSpPr>
            <p:spPr bwMode="auto">
              <a:xfrm flipH="1">
                <a:off x="3105" y="141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3" name="Freeform 2427">
                <a:extLst>
                  <a:ext uri="{FF2B5EF4-FFF2-40B4-BE49-F238E27FC236}">
                    <a16:creationId xmlns:a16="http://schemas.microsoft.com/office/drawing/2014/main" id="{AE06F533-1A83-475E-849D-A437C2DB5D09}"/>
                  </a:ext>
                </a:extLst>
              </p:cNvPr>
              <p:cNvSpPr>
                <a:spLocks/>
              </p:cNvSpPr>
              <p:nvPr/>
            </p:nvSpPr>
            <p:spPr bwMode="auto">
              <a:xfrm>
                <a:off x="2505" y="2490"/>
                <a:ext cx="450" cy="300"/>
              </a:xfrm>
              <a:custGeom>
                <a:avLst/>
                <a:gdLst>
                  <a:gd name="T0" fmla="*/ 180 w 450"/>
                  <a:gd name="T1" fmla="*/ 300 h 300"/>
                  <a:gd name="T2" fmla="*/ 300 w 450"/>
                  <a:gd name="T3" fmla="*/ 240 h 300"/>
                  <a:gd name="T4" fmla="*/ 450 w 450"/>
                  <a:gd name="T5" fmla="*/ 300 h 300"/>
                  <a:gd name="T6" fmla="*/ 360 w 450"/>
                  <a:gd name="T7" fmla="*/ 90 h 300"/>
                  <a:gd name="T8" fmla="*/ 240 w 450"/>
                  <a:gd name="T9" fmla="*/ 150 h 300"/>
                  <a:gd name="T10" fmla="*/ 0 w 450"/>
                  <a:gd name="T11" fmla="*/ 0 h 300"/>
                </a:gdLst>
                <a:ahLst/>
                <a:cxnLst>
                  <a:cxn ang="0">
                    <a:pos x="T0" y="T1"/>
                  </a:cxn>
                  <a:cxn ang="0">
                    <a:pos x="T2" y="T3"/>
                  </a:cxn>
                  <a:cxn ang="0">
                    <a:pos x="T4" y="T5"/>
                  </a:cxn>
                  <a:cxn ang="0">
                    <a:pos x="T6" y="T7"/>
                  </a:cxn>
                  <a:cxn ang="0">
                    <a:pos x="T8" y="T9"/>
                  </a:cxn>
                  <a:cxn ang="0">
                    <a:pos x="T10" y="T11"/>
                  </a:cxn>
                </a:cxnLst>
                <a:rect l="0" t="0" r="r" b="b"/>
                <a:pathLst>
                  <a:path w="450" h="300">
                    <a:moveTo>
                      <a:pt x="180" y="300"/>
                    </a:moveTo>
                    <a:lnTo>
                      <a:pt x="300" y="240"/>
                    </a:lnTo>
                    <a:lnTo>
                      <a:pt x="450" y="300"/>
                    </a:lnTo>
                    <a:lnTo>
                      <a:pt x="360" y="9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4" name="Line 2428">
                <a:extLst>
                  <a:ext uri="{FF2B5EF4-FFF2-40B4-BE49-F238E27FC236}">
                    <a16:creationId xmlns:a16="http://schemas.microsoft.com/office/drawing/2014/main" id="{F97C8BE3-1072-4A5A-838B-FD5ED2CA4518}"/>
                  </a:ext>
                </a:extLst>
              </p:cNvPr>
              <p:cNvSpPr>
                <a:spLocks noChangeShapeType="1"/>
              </p:cNvSpPr>
              <p:nvPr/>
            </p:nvSpPr>
            <p:spPr bwMode="auto">
              <a:xfrm flipV="1">
                <a:off x="2925" y="243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6" name="Freeform 2429">
                <a:extLst>
                  <a:ext uri="{FF2B5EF4-FFF2-40B4-BE49-F238E27FC236}">
                    <a16:creationId xmlns:a16="http://schemas.microsoft.com/office/drawing/2014/main" id="{D4DF034A-E6E8-4711-8D8C-94EB705C23A5}"/>
                  </a:ext>
                </a:extLst>
              </p:cNvPr>
              <p:cNvSpPr>
                <a:spLocks/>
              </p:cNvSpPr>
              <p:nvPr/>
            </p:nvSpPr>
            <p:spPr bwMode="auto">
              <a:xfrm>
                <a:off x="2835" y="2070"/>
                <a:ext cx="300" cy="240"/>
              </a:xfrm>
              <a:custGeom>
                <a:avLst/>
                <a:gdLst>
                  <a:gd name="T0" fmla="*/ 180 w 300"/>
                  <a:gd name="T1" fmla="*/ 0 h 240"/>
                  <a:gd name="T2" fmla="*/ 0 w 300"/>
                  <a:gd name="T3" fmla="*/ 0 h 240"/>
                  <a:gd name="T4" fmla="*/ 60 w 300"/>
                  <a:gd name="T5" fmla="*/ 120 h 240"/>
                  <a:gd name="T6" fmla="*/ 180 w 300"/>
                  <a:gd name="T7" fmla="*/ 0 h 240"/>
                  <a:gd name="T8" fmla="*/ 300 w 300"/>
                  <a:gd name="T9" fmla="*/ 150 h 240"/>
                  <a:gd name="T10" fmla="*/ 150 w 300"/>
                  <a:gd name="T11" fmla="*/ 240 h 240"/>
                </a:gdLst>
                <a:ahLst/>
                <a:cxnLst>
                  <a:cxn ang="0">
                    <a:pos x="T0" y="T1"/>
                  </a:cxn>
                  <a:cxn ang="0">
                    <a:pos x="T2" y="T3"/>
                  </a:cxn>
                  <a:cxn ang="0">
                    <a:pos x="T4" y="T5"/>
                  </a:cxn>
                  <a:cxn ang="0">
                    <a:pos x="T6" y="T7"/>
                  </a:cxn>
                  <a:cxn ang="0">
                    <a:pos x="T8" y="T9"/>
                  </a:cxn>
                  <a:cxn ang="0">
                    <a:pos x="T10" y="T11"/>
                  </a:cxn>
                </a:cxnLst>
                <a:rect l="0" t="0" r="r" b="b"/>
                <a:pathLst>
                  <a:path w="300" h="240">
                    <a:moveTo>
                      <a:pt x="180" y="0"/>
                    </a:moveTo>
                    <a:lnTo>
                      <a:pt x="0" y="0"/>
                    </a:lnTo>
                    <a:lnTo>
                      <a:pt x="60" y="120"/>
                    </a:lnTo>
                    <a:lnTo>
                      <a:pt x="180" y="0"/>
                    </a:lnTo>
                    <a:lnTo>
                      <a:pt x="300" y="15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7" name="Line 2430">
                <a:extLst>
                  <a:ext uri="{FF2B5EF4-FFF2-40B4-BE49-F238E27FC236}">
                    <a16:creationId xmlns:a16="http://schemas.microsoft.com/office/drawing/2014/main" id="{62D1C712-8DD4-4780-838B-5E36354F8C36}"/>
                  </a:ext>
                </a:extLst>
              </p:cNvPr>
              <p:cNvSpPr>
                <a:spLocks noChangeShapeType="1"/>
              </p:cNvSpPr>
              <p:nvPr/>
            </p:nvSpPr>
            <p:spPr bwMode="auto">
              <a:xfrm>
                <a:off x="3135" y="204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8" name="Freeform 2431">
                <a:extLst>
                  <a:ext uri="{FF2B5EF4-FFF2-40B4-BE49-F238E27FC236}">
                    <a16:creationId xmlns:a16="http://schemas.microsoft.com/office/drawing/2014/main" id="{DFE126FD-3B87-4B6B-A5E4-0DDD25467317}"/>
                  </a:ext>
                </a:extLst>
              </p:cNvPr>
              <p:cNvSpPr>
                <a:spLocks/>
              </p:cNvSpPr>
              <p:nvPr/>
            </p:nvSpPr>
            <p:spPr bwMode="auto">
              <a:xfrm>
                <a:off x="2655" y="2310"/>
                <a:ext cx="690" cy="420"/>
              </a:xfrm>
              <a:custGeom>
                <a:avLst/>
                <a:gdLst>
                  <a:gd name="T0" fmla="*/ 120 w 690"/>
                  <a:gd name="T1" fmla="*/ 150 h 420"/>
                  <a:gd name="T2" fmla="*/ 330 w 690"/>
                  <a:gd name="T3" fmla="*/ 0 h 420"/>
                  <a:gd name="T4" fmla="*/ 180 w 690"/>
                  <a:gd name="T5" fmla="*/ 30 h 420"/>
                  <a:gd name="T6" fmla="*/ 270 w 690"/>
                  <a:gd name="T7" fmla="*/ 180 h 420"/>
                  <a:gd name="T8" fmla="*/ 0 w 690"/>
                  <a:gd name="T9" fmla="*/ 210 h 420"/>
                  <a:gd name="T10" fmla="*/ 210 w 690"/>
                  <a:gd name="T11" fmla="*/ 270 h 420"/>
                  <a:gd name="T12" fmla="*/ 330 w 690"/>
                  <a:gd name="T13" fmla="*/ 330 h 420"/>
                  <a:gd name="T14" fmla="*/ 420 w 690"/>
                  <a:gd name="T15" fmla="*/ 420 h 420"/>
                  <a:gd name="T16" fmla="*/ 450 w 690"/>
                  <a:gd name="T17" fmla="*/ 240 h 420"/>
                  <a:gd name="T18" fmla="*/ 570 w 690"/>
                  <a:gd name="T19" fmla="*/ 420 h 420"/>
                  <a:gd name="T20" fmla="*/ 690 w 690"/>
                  <a:gd name="T21" fmla="*/ 39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420">
                    <a:moveTo>
                      <a:pt x="120" y="150"/>
                    </a:moveTo>
                    <a:lnTo>
                      <a:pt x="330" y="0"/>
                    </a:lnTo>
                    <a:lnTo>
                      <a:pt x="180" y="30"/>
                    </a:lnTo>
                    <a:lnTo>
                      <a:pt x="270" y="180"/>
                    </a:lnTo>
                    <a:lnTo>
                      <a:pt x="0" y="210"/>
                    </a:lnTo>
                    <a:lnTo>
                      <a:pt x="210" y="270"/>
                    </a:lnTo>
                    <a:lnTo>
                      <a:pt x="330" y="330"/>
                    </a:lnTo>
                    <a:lnTo>
                      <a:pt x="420" y="420"/>
                    </a:lnTo>
                    <a:lnTo>
                      <a:pt x="450" y="240"/>
                    </a:lnTo>
                    <a:lnTo>
                      <a:pt x="570" y="420"/>
                    </a:lnTo>
                    <a:lnTo>
                      <a:pt x="690" y="3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9" name="Freeform 2432">
                <a:extLst>
                  <a:ext uri="{FF2B5EF4-FFF2-40B4-BE49-F238E27FC236}">
                    <a16:creationId xmlns:a16="http://schemas.microsoft.com/office/drawing/2014/main" id="{467F0D87-F54F-48B7-BB9E-CD59F868831A}"/>
                  </a:ext>
                </a:extLst>
              </p:cNvPr>
              <p:cNvSpPr>
                <a:spLocks/>
              </p:cNvSpPr>
              <p:nvPr/>
            </p:nvSpPr>
            <p:spPr bwMode="auto">
              <a:xfrm>
                <a:off x="3465" y="249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0" name="Freeform 2433">
                <a:extLst>
                  <a:ext uri="{FF2B5EF4-FFF2-40B4-BE49-F238E27FC236}">
                    <a16:creationId xmlns:a16="http://schemas.microsoft.com/office/drawing/2014/main" id="{FDC2D30B-C1E0-44D2-8F83-8D5719F6BE35}"/>
                  </a:ext>
                </a:extLst>
              </p:cNvPr>
              <p:cNvSpPr>
                <a:spLocks/>
              </p:cNvSpPr>
              <p:nvPr/>
            </p:nvSpPr>
            <p:spPr bwMode="auto">
              <a:xfrm>
                <a:off x="3615" y="231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1" name="Line 2434">
                <a:extLst>
                  <a:ext uri="{FF2B5EF4-FFF2-40B4-BE49-F238E27FC236}">
                    <a16:creationId xmlns:a16="http://schemas.microsoft.com/office/drawing/2014/main" id="{2EC4ADD0-83D1-42B2-90E0-DD262FF5B2AC}"/>
                  </a:ext>
                </a:extLst>
              </p:cNvPr>
              <p:cNvSpPr>
                <a:spLocks noChangeShapeType="1"/>
              </p:cNvSpPr>
              <p:nvPr/>
            </p:nvSpPr>
            <p:spPr bwMode="auto">
              <a:xfrm>
                <a:off x="3944" y="231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2" name="Freeform 2435">
                <a:extLst>
                  <a:ext uri="{FF2B5EF4-FFF2-40B4-BE49-F238E27FC236}">
                    <a16:creationId xmlns:a16="http://schemas.microsoft.com/office/drawing/2014/main" id="{A38E4ECA-BD72-4F31-8310-1BF33742F65D}"/>
                  </a:ext>
                </a:extLst>
              </p:cNvPr>
              <p:cNvSpPr>
                <a:spLocks/>
              </p:cNvSpPr>
              <p:nvPr/>
            </p:nvSpPr>
            <p:spPr bwMode="auto">
              <a:xfrm>
                <a:off x="3735" y="216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3" name="Freeform 2436">
                <a:extLst>
                  <a:ext uri="{FF2B5EF4-FFF2-40B4-BE49-F238E27FC236}">
                    <a16:creationId xmlns:a16="http://schemas.microsoft.com/office/drawing/2014/main" id="{09FF2086-9CF5-432B-803B-328428CBA893}"/>
                  </a:ext>
                </a:extLst>
              </p:cNvPr>
              <p:cNvSpPr>
                <a:spLocks/>
              </p:cNvSpPr>
              <p:nvPr/>
            </p:nvSpPr>
            <p:spPr bwMode="auto">
              <a:xfrm>
                <a:off x="1786" y="216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4" name="Freeform 2437">
                <a:extLst>
                  <a:ext uri="{FF2B5EF4-FFF2-40B4-BE49-F238E27FC236}">
                    <a16:creationId xmlns:a16="http://schemas.microsoft.com/office/drawing/2014/main" id="{A33E6FC8-670D-46EE-B794-C86837DE6D16}"/>
                  </a:ext>
                </a:extLst>
              </p:cNvPr>
              <p:cNvSpPr>
                <a:spLocks/>
              </p:cNvSpPr>
              <p:nvPr/>
            </p:nvSpPr>
            <p:spPr bwMode="auto">
              <a:xfrm>
                <a:off x="2056" y="2100"/>
                <a:ext cx="719" cy="690"/>
              </a:xfrm>
              <a:custGeom>
                <a:avLst/>
                <a:gdLst>
                  <a:gd name="T0" fmla="*/ 119 w 719"/>
                  <a:gd name="T1" fmla="*/ 120 h 690"/>
                  <a:gd name="T2" fmla="*/ 0 w 719"/>
                  <a:gd name="T3" fmla="*/ 30 h 690"/>
                  <a:gd name="T4" fmla="*/ 209 w 719"/>
                  <a:gd name="T5" fmla="*/ 0 h 690"/>
                  <a:gd name="T6" fmla="*/ 299 w 719"/>
                  <a:gd name="T7" fmla="*/ 120 h 690"/>
                  <a:gd name="T8" fmla="*/ 389 w 719"/>
                  <a:gd name="T9" fmla="*/ 0 h 690"/>
                  <a:gd name="T10" fmla="*/ 209 w 719"/>
                  <a:gd name="T11" fmla="*/ 0 h 690"/>
                  <a:gd name="T12" fmla="*/ 209 w 719"/>
                  <a:gd name="T13" fmla="*/ 151 h 690"/>
                  <a:gd name="T14" fmla="*/ 119 w 719"/>
                  <a:gd name="T15" fmla="*/ 120 h 690"/>
                  <a:gd name="T16" fmla="*/ 89 w 719"/>
                  <a:gd name="T17" fmla="*/ 210 h 690"/>
                  <a:gd name="T18" fmla="*/ 89 w 719"/>
                  <a:gd name="T19" fmla="*/ 450 h 690"/>
                  <a:gd name="T20" fmla="*/ 209 w 719"/>
                  <a:gd name="T21" fmla="*/ 360 h 690"/>
                  <a:gd name="T22" fmla="*/ 298 w 719"/>
                  <a:gd name="T23" fmla="*/ 452 h 690"/>
                  <a:gd name="T24" fmla="*/ 269 w 719"/>
                  <a:gd name="T25" fmla="*/ 270 h 690"/>
                  <a:gd name="T26" fmla="*/ 359 w 719"/>
                  <a:gd name="T27" fmla="*/ 210 h 690"/>
                  <a:gd name="T28" fmla="*/ 479 w 719"/>
                  <a:gd name="T29" fmla="*/ 270 h 690"/>
                  <a:gd name="T30" fmla="*/ 359 w 719"/>
                  <a:gd name="T31" fmla="*/ 330 h 690"/>
                  <a:gd name="T32" fmla="*/ 449 w 719"/>
                  <a:gd name="T33" fmla="*/ 390 h 690"/>
                  <a:gd name="T34" fmla="*/ 719 w 719"/>
                  <a:gd name="T35" fmla="*/ 360 h 690"/>
                  <a:gd name="T36" fmla="*/ 599 w 719"/>
                  <a:gd name="T37" fmla="*/ 420 h 690"/>
                  <a:gd name="T38" fmla="*/ 629 w 719"/>
                  <a:gd name="T39" fmla="*/ 690 h 690"/>
                  <a:gd name="T40" fmla="*/ 419 w 719"/>
                  <a:gd name="T41" fmla="*/ 51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69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29" y="69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5" name="Freeform 2438">
                <a:extLst>
                  <a:ext uri="{FF2B5EF4-FFF2-40B4-BE49-F238E27FC236}">
                    <a16:creationId xmlns:a16="http://schemas.microsoft.com/office/drawing/2014/main" id="{657F4392-DC66-418B-AEB3-2C06C5CDEF8A}"/>
                  </a:ext>
                </a:extLst>
              </p:cNvPr>
              <p:cNvSpPr>
                <a:spLocks/>
              </p:cNvSpPr>
              <p:nvPr/>
            </p:nvSpPr>
            <p:spPr bwMode="auto">
              <a:xfrm>
                <a:off x="1786" y="219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6" name="Freeform 2439">
                <a:extLst>
                  <a:ext uri="{FF2B5EF4-FFF2-40B4-BE49-F238E27FC236}">
                    <a16:creationId xmlns:a16="http://schemas.microsoft.com/office/drawing/2014/main" id="{ABC3AC9E-4A0E-4036-80AA-3B966293C1CA}"/>
                  </a:ext>
                </a:extLst>
              </p:cNvPr>
              <p:cNvSpPr>
                <a:spLocks/>
              </p:cNvSpPr>
              <p:nvPr/>
            </p:nvSpPr>
            <p:spPr bwMode="auto">
              <a:xfrm>
                <a:off x="1906" y="252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91" name="Freeform 2440">
                <a:extLst>
                  <a:ext uri="{FF2B5EF4-FFF2-40B4-BE49-F238E27FC236}">
                    <a16:creationId xmlns:a16="http://schemas.microsoft.com/office/drawing/2014/main" id="{F71D865E-EC56-43F0-868E-3BD9CAB57D35}"/>
                  </a:ext>
                </a:extLst>
              </p:cNvPr>
              <p:cNvSpPr>
                <a:spLocks/>
              </p:cNvSpPr>
              <p:nvPr/>
            </p:nvSpPr>
            <p:spPr bwMode="auto">
              <a:xfrm>
                <a:off x="2056" y="540"/>
                <a:ext cx="899" cy="750"/>
              </a:xfrm>
              <a:custGeom>
                <a:avLst/>
                <a:gdLst>
                  <a:gd name="T0" fmla="*/ 299 w 899"/>
                  <a:gd name="T1" fmla="*/ 630 h 750"/>
                  <a:gd name="T2" fmla="*/ 268 w 899"/>
                  <a:gd name="T3" fmla="*/ 482 h 750"/>
                  <a:gd name="T4" fmla="*/ 179 w 899"/>
                  <a:gd name="T5" fmla="*/ 570 h 750"/>
                  <a:gd name="T6" fmla="*/ 59 w 899"/>
                  <a:gd name="T7" fmla="*/ 480 h 750"/>
                  <a:gd name="T8" fmla="*/ 0 w 899"/>
                  <a:gd name="T9" fmla="*/ 360 h 750"/>
                  <a:gd name="T10" fmla="*/ 59 w 899"/>
                  <a:gd name="T11" fmla="*/ 240 h 750"/>
                  <a:gd name="T12" fmla="*/ 179 w 899"/>
                  <a:gd name="T13" fmla="*/ 390 h 750"/>
                  <a:gd name="T14" fmla="*/ 239 w 899"/>
                  <a:gd name="T15" fmla="*/ 300 h 750"/>
                  <a:gd name="T16" fmla="*/ 329 w 899"/>
                  <a:gd name="T17" fmla="*/ 360 h 750"/>
                  <a:gd name="T18" fmla="*/ 329 w 899"/>
                  <a:gd name="T19" fmla="*/ 240 h 750"/>
                  <a:gd name="T20" fmla="*/ 179 w 899"/>
                  <a:gd name="T21" fmla="*/ 181 h 750"/>
                  <a:gd name="T22" fmla="*/ 269 w 899"/>
                  <a:gd name="T23" fmla="*/ 150 h 750"/>
                  <a:gd name="T24" fmla="*/ 389 w 899"/>
                  <a:gd name="T25" fmla="*/ 120 h 750"/>
                  <a:gd name="T26" fmla="*/ 449 w 899"/>
                  <a:gd name="T27" fmla="*/ 300 h 750"/>
                  <a:gd name="T28" fmla="*/ 539 w 899"/>
                  <a:gd name="T29" fmla="*/ 180 h 750"/>
                  <a:gd name="T30" fmla="*/ 509 w 899"/>
                  <a:gd name="T31" fmla="*/ 60 h 750"/>
                  <a:gd name="T32" fmla="*/ 359 w 899"/>
                  <a:gd name="T33" fmla="*/ 30 h 750"/>
                  <a:gd name="T34" fmla="*/ 569 w 899"/>
                  <a:gd name="T35" fmla="*/ 0 h 750"/>
                  <a:gd name="T36" fmla="*/ 689 w 899"/>
                  <a:gd name="T37" fmla="*/ 90 h 750"/>
                  <a:gd name="T38" fmla="*/ 659 w 899"/>
                  <a:gd name="T39" fmla="*/ 240 h 750"/>
                  <a:gd name="T40" fmla="*/ 749 w 899"/>
                  <a:gd name="T41" fmla="*/ 270 h 750"/>
                  <a:gd name="T42" fmla="*/ 809 w 899"/>
                  <a:gd name="T43" fmla="*/ 120 h 750"/>
                  <a:gd name="T44" fmla="*/ 899 w 899"/>
                  <a:gd name="T45" fmla="*/ 240 h 750"/>
                  <a:gd name="T46" fmla="*/ 839 w 899"/>
                  <a:gd name="T47" fmla="*/ 420 h 750"/>
                  <a:gd name="T48" fmla="*/ 779 w 899"/>
                  <a:gd name="T49" fmla="*/ 510 h 750"/>
                  <a:gd name="T50" fmla="*/ 689 w 899"/>
                  <a:gd name="T51" fmla="*/ 390 h 750"/>
                  <a:gd name="T52" fmla="*/ 539 w 899"/>
                  <a:gd name="T53" fmla="*/ 330 h 750"/>
                  <a:gd name="T54" fmla="*/ 569 w 899"/>
                  <a:gd name="T55" fmla="*/ 450 h 750"/>
                  <a:gd name="T56" fmla="*/ 419 w 899"/>
                  <a:gd name="T57" fmla="*/ 420 h 750"/>
                  <a:gd name="T58" fmla="*/ 389 w 899"/>
                  <a:gd name="T59" fmla="*/ 540 h 750"/>
                  <a:gd name="T60" fmla="*/ 509 w 899"/>
                  <a:gd name="T61" fmla="*/ 570 h 750"/>
                  <a:gd name="T62" fmla="*/ 659 w 899"/>
                  <a:gd name="T63" fmla="*/ 570 h 750"/>
                  <a:gd name="T64" fmla="*/ 659 w 899"/>
                  <a:gd name="T65"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9" h="750">
                    <a:moveTo>
                      <a:pt x="299" y="630"/>
                    </a:moveTo>
                    <a:lnTo>
                      <a:pt x="268" y="482"/>
                    </a:lnTo>
                    <a:lnTo>
                      <a:pt x="179" y="570"/>
                    </a:lnTo>
                    <a:lnTo>
                      <a:pt x="59" y="480"/>
                    </a:lnTo>
                    <a:lnTo>
                      <a:pt x="0" y="360"/>
                    </a:lnTo>
                    <a:lnTo>
                      <a:pt x="59" y="240"/>
                    </a:ln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659" y="7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93" name="Line 2441">
                <a:extLst>
                  <a:ext uri="{FF2B5EF4-FFF2-40B4-BE49-F238E27FC236}">
                    <a16:creationId xmlns:a16="http://schemas.microsoft.com/office/drawing/2014/main" id="{FB0E3D03-E553-4C8B-8529-3892B6E7D6FE}"/>
                  </a:ext>
                </a:extLst>
              </p:cNvPr>
              <p:cNvSpPr>
                <a:spLocks noChangeShapeType="1"/>
              </p:cNvSpPr>
              <p:nvPr/>
            </p:nvSpPr>
            <p:spPr bwMode="auto">
              <a:xfrm flipH="1">
                <a:off x="2115" y="72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05" name="Freeform 2442">
                <a:extLst>
                  <a:ext uri="{FF2B5EF4-FFF2-40B4-BE49-F238E27FC236}">
                    <a16:creationId xmlns:a16="http://schemas.microsoft.com/office/drawing/2014/main" id="{1F20802A-D798-47AF-85A3-1D2A1EA0A25A}"/>
                  </a:ext>
                </a:extLst>
              </p:cNvPr>
              <p:cNvSpPr>
                <a:spLocks/>
              </p:cNvSpPr>
              <p:nvPr/>
            </p:nvSpPr>
            <p:spPr bwMode="auto">
              <a:xfrm>
                <a:off x="2324" y="90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06" name="Freeform 2443">
                <a:extLst>
                  <a:ext uri="{FF2B5EF4-FFF2-40B4-BE49-F238E27FC236}">
                    <a16:creationId xmlns:a16="http://schemas.microsoft.com/office/drawing/2014/main" id="{7DB7D115-57C6-4989-8D02-043C21987062}"/>
                  </a:ext>
                </a:extLst>
              </p:cNvPr>
              <p:cNvSpPr>
                <a:spLocks/>
              </p:cNvSpPr>
              <p:nvPr/>
            </p:nvSpPr>
            <p:spPr bwMode="auto">
              <a:xfrm>
                <a:off x="238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07" name="Line 2444">
                <a:extLst>
                  <a:ext uri="{FF2B5EF4-FFF2-40B4-BE49-F238E27FC236}">
                    <a16:creationId xmlns:a16="http://schemas.microsoft.com/office/drawing/2014/main" id="{F4533F9E-729C-4306-816D-13D3B1F6BF1F}"/>
                  </a:ext>
                </a:extLst>
              </p:cNvPr>
              <p:cNvSpPr>
                <a:spLocks noChangeShapeType="1"/>
              </p:cNvSpPr>
              <p:nvPr/>
            </p:nvSpPr>
            <p:spPr bwMode="auto">
              <a:xfrm>
                <a:off x="244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08" name="Freeform 2445">
                <a:extLst>
                  <a:ext uri="{FF2B5EF4-FFF2-40B4-BE49-F238E27FC236}">
                    <a16:creationId xmlns:a16="http://schemas.microsoft.com/office/drawing/2014/main" id="{4A05071F-3038-4447-91E0-470CCE01EA00}"/>
                  </a:ext>
                </a:extLst>
              </p:cNvPr>
              <p:cNvSpPr>
                <a:spLocks/>
              </p:cNvSpPr>
              <p:nvPr/>
            </p:nvSpPr>
            <p:spPr bwMode="auto">
              <a:xfrm>
                <a:off x="1966" y="600"/>
                <a:ext cx="599" cy="630"/>
              </a:xfrm>
              <a:custGeom>
                <a:avLst/>
                <a:gdLst>
                  <a:gd name="T0" fmla="*/ 599 w 599"/>
                  <a:gd name="T1" fmla="*/ 510 h 630"/>
                  <a:gd name="T2" fmla="*/ 389 w 599"/>
                  <a:gd name="T3" fmla="*/ 570 h 630"/>
                  <a:gd name="T4" fmla="*/ 269 w 599"/>
                  <a:gd name="T5" fmla="*/ 510 h 630"/>
                  <a:gd name="T6" fmla="*/ 90 w 599"/>
                  <a:gd name="T7" fmla="*/ 540 h 630"/>
                  <a:gd name="T8" fmla="*/ 0 w 599"/>
                  <a:gd name="T9" fmla="*/ 390 h 630"/>
                  <a:gd name="T10" fmla="*/ 0 w 599"/>
                  <a:gd name="T11" fmla="*/ 630 h 630"/>
                  <a:gd name="T12" fmla="*/ 90 w 599"/>
                  <a:gd name="T13" fmla="*/ 300 h 630"/>
                  <a:gd name="T14" fmla="*/ 0 w 599"/>
                  <a:gd name="T15" fmla="*/ 210 h 630"/>
                  <a:gd name="T16" fmla="*/ 0 w 599"/>
                  <a:gd name="T17" fmla="*/ 60 h 630"/>
                  <a:gd name="T18" fmla="*/ 60 w 599"/>
                  <a:gd name="T19" fmla="*/ 0 h 630"/>
                  <a:gd name="T20" fmla="*/ 149 w 599"/>
                  <a:gd name="T21" fmla="*/ 180 h 630"/>
                  <a:gd name="T22" fmla="*/ 329 w 599"/>
                  <a:gd name="T23" fmla="*/ 240 h 630"/>
                  <a:gd name="T24" fmla="*/ 359 w 599"/>
                  <a:gd name="T25" fmla="*/ 9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9" h="630">
                    <a:moveTo>
                      <a:pt x="599" y="510"/>
                    </a:move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0" name="Freeform 2446">
                <a:extLst>
                  <a:ext uri="{FF2B5EF4-FFF2-40B4-BE49-F238E27FC236}">
                    <a16:creationId xmlns:a16="http://schemas.microsoft.com/office/drawing/2014/main" id="{B3716D93-928F-408F-A25A-E2D106A8BC9D}"/>
                  </a:ext>
                </a:extLst>
              </p:cNvPr>
              <p:cNvSpPr>
                <a:spLocks/>
              </p:cNvSpPr>
              <p:nvPr/>
            </p:nvSpPr>
            <p:spPr bwMode="auto">
              <a:xfrm>
                <a:off x="3015" y="54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2" name="Freeform 2447">
                <a:extLst>
                  <a:ext uri="{FF2B5EF4-FFF2-40B4-BE49-F238E27FC236}">
                    <a16:creationId xmlns:a16="http://schemas.microsoft.com/office/drawing/2014/main" id="{D5AD59BB-B775-4050-A559-302AF605E703}"/>
                  </a:ext>
                </a:extLst>
              </p:cNvPr>
              <p:cNvSpPr>
                <a:spLocks/>
              </p:cNvSpPr>
              <p:nvPr/>
            </p:nvSpPr>
            <p:spPr bwMode="auto">
              <a:xfrm>
                <a:off x="3075" y="69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3" name="Freeform 2448">
                <a:extLst>
                  <a:ext uri="{FF2B5EF4-FFF2-40B4-BE49-F238E27FC236}">
                    <a16:creationId xmlns:a16="http://schemas.microsoft.com/office/drawing/2014/main" id="{6945461E-23C1-46D4-88CF-9C86926D5DA6}"/>
                  </a:ext>
                </a:extLst>
              </p:cNvPr>
              <p:cNvSpPr>
                <a:spLocks/>
              </p:cNvSpPr>
              <p:nvPr/>
            </p:nvSpPr>
            <p:spPr bwMode="auto">
              <a:xfrm>
                <a:off x="2955" y="72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4" name="Freeform 2449">
                <a:extLst>
                  <a:ext uri="{FF2B5EF4-FFF2-40B4-BE49-F238E27FC236}">
                    <a16:creationId xmlns:a16="http://schemas.microsoft.com/office/drawing/2014/main" id="{4A1834B0-82B2-4151-8E6C-DBAB49DA4A25}"/>
                  </a:ext>
                </a:extLst>
              </p:cNvPr>
              <p:cNvSpPr>
                <a:spLocks/>
              </p:cNvSpPr>
              <p:nvPr/>
            </p:nvSpPr>
            <p:spPr bwMode="auto">
              <a:xfrm>
                <a:off x="3283" y="90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5" name="Freeform 2450">
                <a:extLst>
                  <a:ext uri="{FF2B5EF4-FFF2-40B4-BE49-F238E27FC236}">
                    <a16:creationId xmlns:a16="http://schemas.microsoft.com/office/drawing/2014/main" id="{77A46965-DF16-43D3-8DEC-C7C8ED9F34A6}"/>
                  </a:ext>
                </a:extLst>
              </p:cNvPr>
              <p:cNvSpPr>
                <a:spLocks/>
              </p:cNvSpPr>
              <p:nvPr/>
            </p:nvSpPr>
            <p:spPr bwMode="auto">
              <a:xfrm>
                <a:off x="334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6" name="Line 2451">
                <a:extLst>
                  <a:ext uri="{FF2B5EF4-FFF2-40B4-BE49-F238E27FC236}">
                    <a16:creationId xmlns:a16="http://schemas.microsoft.com/office/drawing/2014/main" id="{F2C28875-7A9F-4475-A83F-322D2E94FC40}"/>
                  </a:ext>
                </a:extLst>
              </p:cNvPr>
              <p:cNvSpPr>
                <a:spLocks noChangeShapeType="1"/>
              </p:cNvSpPr>
              <p:nvPr/>
            </p:nvSpPr>
            <p:spPr bwMode="auto">
              <a:xfrm>
                <a:off x="340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7" name="Freeform 2452">
                <a:extLst>
                  <a:ext uri="{FF2B5EF4-FFF2-40B4-BE49-F238E27FC236}">
                    <a16:creationId xmlns:a16="http://schemas.microsoft.com/office/drawing/2014/main" id="{120D7E25-C111-4E9C-A510-619949940156}"/>
                  </a:ext>
                </a:extLst>
              </p:cNvPr>
              <p:cNvSpPr>
                <a:spLocks/>
              </p:cNvSpPr>
              <p:nvPr/>
            </p:nvSpPr>
            <p:spPr bwMode="auto">
              <a:xfrm>
                <a:off x="3075" y="780"/>
                <a:ext cx="450" cy="390"/>
              </a:xfrm>
              <a:custGeom>
                <a:avLst/>
                <a:gdLst>
                  <a:gd name="T0" fmla="*/ 450 w 450"/>
                  <a:gd name="T1" fmla="*/ 330 h 390"/>
                  <a:gd name="T2" fmla="*/ 240 w 450"/>
                  <a:gd name="T3" fmla="*/ 390 h 390"/>
                  <a:gd name="T4" fmla="*/ 120 w 450"/>
                  <a:gd name="T5" fmla="*/ 330 h 390"/>
                  <a:gd name="T6" fmla="*/ 0 w 450"/>
                  <a:gd name="T7" fmla="*/ 0 h 390"/>
                </a:gdLst>
                <a:ahLst/>
                <a:cxnLst>
                  <a:cxn ang="0">
                    <a:pos x="T0" y="T1"/>
                  </a:cxn>
                  <a:cxn ang="0">
                    <a:pos x="T2" y="T3"/>
                  </a:cxn>
                  <a:cxn ang="0">
                    <a:pos x="T4" y="T5"/>
                  </a:cxn>
                  <a:cxn ang="0">
                    <a:pos x="T6" y="T7"/>
                  </a:cxn>
                </a:cxnLst>
                <a:rect l="0" t="0" r="r" b="b"/>
                <a:pathLst>
                  <a:path w="450" h="390">
                    <a:moveTo>
                      <a:pt x="450" y="330"/>
                    </a:moveTo>
                    <a:lnTo>
                      <a:pt x="240" y="390"/>
                    </a:lnTo>
                    <a:lnTo>
                      <a:pt x="12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9" name="Freeform 2453">
                <a:extLst>
                  <a:ext uri="{FF2B5EF4-FFF2-40B4-BE49-F238E27FC236}">
                    <a16:creationId xmlns:a16="http://schemas.microsoft.com/office/drawing/2014/main" id="{31D51D0F-C85D-4B38-A64A-BEF75FD8CA57}"/>
                  </a:ext>
                </a:extLst>
              </p:cNvPr>
              <p:cNvSpPr>
                <a:spLocks/>
              </p:cNvSpPr>
              <p:nvPr/>
            </p:nvSpPr>
            <p:spPr bwMode="auto">
              <a:xfrm>
                <a:off x="2475" y="960"/>
                <a:ext cx="570" cy="300"/>
              </a:xfrm>
              <a:custGeom>
                <a:avLst/>
                <a:gdLst>
                  <a:gd name="T0" fmla="*/ 0 w 570"/>
                  <a:gd name="T1" fmla="*/ 0 h 300"/>
                  <a:gd name="T2" fmla="*/ 240 w 570"/>
                  <a:gd name="T3" fmla="*/ 150 h 300"/>
                  <a:gd name="T4" fmla="*/ 360 w 570"/>
                  <a:gd name="T5" fmla="*/ 90 h 300"/>
                  <a:gd name="T6" fmla="*/ 450 w 570"/>
                  <a:gd name="T7" fmla="*/ 300 h 300"/>
                  <a:gd name="T8" fmla="*/ 570 w 570"/>
                  <a:gd name="T9" fmla="*/ 240 h 300"/>
                </a:gdLst>
                <a:ahLst/>
                <a:cxnLst>
                  <a:cxn ang="0">
                    <a:pos x="T0" y="T1"/>
                  </a:cxn>
                  <a:cxn ang="0">
                    <a:pos x="T2" y="T3"/>
                  </a:cxn>
                  <a:cxn ang="0">
                    <a:pos x="T4" y="T5"/>
                  </a:cxn>
                  <a:cxn ang="0">
                    <a:pos x="T6" y="T7"/>
                  </a:cxn>
                  <a:cxn ang="0">
                    <a:pos x="T8" y="T9"/>
                  </a:cxn>
                </a:cxnLst>
                <a:rect l="0" t="0" r="r" b="b"/>
                <a:pathLst>
                  <a:path w="570" h="300">
                    <a:moveTo>
                      <a:pt x="0" y="0"/>
                    </a:moveTo>
                    <a:lnTo>
                      <a:pt x="240" y="150"/>
                    </a:lnTo>
                    <a:lnTo>
                      <a:pt x="360" y="90"/>
                    </a:lnTo>
                    <a:lnTo>
                      <a:pt x="450" y="300"/>
                    </a:lnTo>
                    <a:lnTo>
                      <a:pt x="57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0" name="Line 2454">
                <a:extLst>
                  <a:ext uri="{FF2B5EF4-FFF2-40B4-BE49-F238E27FC236}">
                    <a16:creationId xmlns:a16="http://schemas.microsoft.com/office/drawing/2014/main" id="{995224CE-CD4F-40C6-8548-A7AB78E791CD}"/>
                  </a:ext>
                </a:extLst>
              </p:cNvPr>
              <p:cNvSpPr>
                <a:spLocks noChangeShapeType="1"/>
              </p:cNvSpPr>
              <p:nvPr/>
            </p:nvSpPr>
            <p:spPr bwMode="auto">
              <a:xfrm flipV="1">
                <a:off x="2895" y="90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1" name="Line 2455">
                <a:extLst>
                  <a:ext uri="{FF2B5EF4-FFF2-40B4-BE49-F238E27FC236}">
                    <a16:creationId xmlns:a16="http://schemas.microsoft.com/office/drawing/2014/main" id="{13555726-0D3C-4336-8EF9-5BCA02322077}"/>
                  </a:ext>
                </a:extLst>
              </p:cNvPr>
              <p:cNvSpPr>
                <a:spLocks noChangeShapeType="1"/>
              </p:cNvSpPr>
              <p:nvPr/>
            </p:nvSpPr>
            <p:spPr bwMode="auto">
              <a:xfrm>
                <a:off x="3105" y="51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2" name="Freeform 2456">
                <a:extLst>
                  <a:ext uri="{FF2B5EF4-FFF2-40B4-BE49-F238E27FC236}">
                    <a16:creationId xmlns:a16="http://schemas.microsoft.com/office/drawing/2014/main" id="{3AB2D459-F766-4B4C-89CE-022C73B16E66}"/>
                  </a:ext>
                </a:extLst>
              </p:cNvPr>
              <p:cNvSpPr>
                <a:spLocks/>
              </p:cNvSpPr>
              <p:nvPr/>
            </p:nvSpPr>
            <p:spPr bwMode="auto">
              <a:xfrm>
                <a:off x="3435" y="96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3" name="Freeform 2457">
                <a:extLst>
                  <a:ext uri="{FF2B5EF4-FFF2-40B4-BE49-F238E27FC236}">
                    <a16:creationId xmlns:a16="http://schemas.microsoft.com/office/drawing/2014/main" id="{AA313C1C-9F51-4C39-8A45-671D68B1DAE0}"/>
                  </a:ext>
                </a:extLst>
              </p:cNvPr>
              <p:cNvSpPr>
                <a:spLocks/>
              </p:cNvSpPr>
              <p:nvPr/>
            </p:nvSpPr>
            <p:spPr bwMode="auto">
              <a:xfrm>
                <a:off x="3585" y="78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4" name="Line 2458">
                <a:extLst>
                  <a:ext uri="{FF2B5EF4-FFF2-40B4-BE49-F238E27FC236}">
                    <a16:creationId xmlns:a16="http://schemas.microsoft.com/office/drawing/2014/main" id="{477DB971-BFE5-4E7B-8059-DA40BE70BEF7}"/>
                  </a:ext>
                </a:extLst>
              </p:cNvPr>
              <p:cNvSpPr>
                <a:spLocks noChangeShapeType="1"/>
              </p:cNvSpPr>
              <p:nvPr/>
            </p:nvSpPr>
            <p:spPr bwMode="auto">
              <a:xfrm>
                <a:off x="3914" y="78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5" name="Freeform 2459">
                <a:extLst>
                  <a:ext uri="{FF2B5EF4-FFF2-40B4-BE49-F238E27FC236}">
                    <a16:creationId xmlns:a16="http://schemas.microsoft.com/office/drawing/2014/main" id="{3561C296-7B4A-4660-8132-88034598ECF3}"/>
                  </a:ext>
                </a:extLst>
              </p:cNvPr>
              <p:cNvSpPr>
                <a:spLocks/>
              </p:cNvSpPr>
              <p:nvPr/>
            </p:nvSpPr>
            <p:spPr bwMode="auto">
              <a:xfrm>
                <a:off x="3705" y="63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6" name="Freeform 2460">
                <a:extLst>
                  <a:ext uri="{FF2B5EF4-FFF2-40B4-BE49-F238E27FC236}">
                    <a16:creationId xmlns:a16="http://schemas.microsoft.com/office/drawing/2014/main" id="{4AB3B5F6-565B-4770-80D6-094AD5FC2CC3}"/>
                  </a:ext>
                </a:extLst>
              </p:cNvPr>
              <p:cNvSpPr>
                <a:spLocks/>
              </p:cNvSpPr>
              <p:nvPr/>
            </p:nvSpPr>
            <p:spPr bwMode="auto">
              <a:xfrm>
                <a:off x="1756" y="63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7" name="Freeform 2461">
                <a:extLst>
                  <a:ext uri="{FF2B5EF4-FFF2-40B4-BE49-F238E27FC236}">
                    <a16:creationId xmlns:a16="http://schemas.microsoft.com/office/drawing/2014/main" id="{9061C80C-12B2-4E2B-9ED4-45A52BED43B1}"/>
                  </a:ext>
                </a:extLst>
              </p:cNvPr>
              <p:cNvSpPr>
                <a:spLocks/>
              </p:cNvSpPr>
              <p:nvPr/>
            </p:nvSpPr>
            <p:spPr bwMode="auto">
              <a:xfrm>
                <a:off x="2026" y="570"/>
                <a:ext cx="719" cy="720"/>
              </a:xfrm>
              <a:custGeom>
                <a:avLst/>
                <a:gdLst>
                  <a:gd name="T0" fmla="*/ 119 w 719"/>
                  <a:gd name="T1" fmla="*/ 120 h 720"/>
                  <a:gd name="T2" fmla="*/ 0 w 719"/>
                  <a:gd name="T3" fmla="*/ 30 h 720"/>
                  <a:gd name="T4" fmla="*/ 209 w 719"/>
                  <a:gd name="T5" fmla="*/ 0 h 720"/>
                  <a:gd name="T6" fmla="*/ 299 w 719"/>
                  <a:gd name="T7" fmla="*/ 120 h 720"/>
                  <a:gd name="T8" fmla="*/ 389 w 719"/>
                  <a:gd name="T9" fmla="*/ 0 h 720"/>
                  <a:gd name="T10" fmla="*/ 209 w 719"/>
                  <a:gd name="T11" fmla="*/ 0 h 720"/>
                  <a:gd name="T12" fmla="*/ 209 w 719"/>
                  <a:gd name="T13" fmla="*/ 151 h 720"/>
                  <a:gd name="T14" fmla="*/ 119 w 719"/>
                  <a:gd name="T15" fmla="*/ 120 h 720"/>
                  <a:gd name="T16" fmla="*/ 89 w 719"/>
                  <a:gd name="T17" fmla="*/ 210 h 720"/>
                  <a:gd name="T18" fmla="*/ 89 w 719"/>
                  <a:gd name="T19" fmla="*/ 450 h 720"/>
                  <a:gd name="T20" fmla="*/ 209 w 719"/>
                  <a:gd name="T21" fmla="*/ 360 h 720"/>
                  <a:gd name="T22" fmla="*/ 298 w 719"/>
                  <a:gd name="T23" fmla="*/ 452 h 720"/>
                  <a:gd name="T24" fmla="*/ 269 w 719"/>
                  <a:gd name="T25" fmla="*/ 270 h 720"/>
                  <a:gd name="T26" fmla="*/ 359 w 719"/>
                  <a:gd name="T27" fmla="*/ 210 h 720"/>
                  <a:gd name="T28" fmla="*/ 479 w 719"/>
                  <a:gd name="T29" fmla="*/ 270 h 720"/>
                  <a:gd name="T30" fmla="*/ 359 w 719"/>
                  <a:gd name="T31" fmla="*/ 330 h 720"/>
                  <a:gd name="T32" fmla="*/ 449 w 719"/>
                  <a:gd name="T33" fmla="*/ 390 h 720"/>
                  <a:gd name="T34" fmla="*/ 719 w 719"/>
                  <a:gd name="T35" fmla="*/ 360 h 720"/>
                  <a:gd name="T36" fmla="*/ 599 w 719"/>
                  <a:gd name="T37" fmla="*/ 420 h 720"/>
                  <a:gd name="T38" fmla="*/ 689 w 719"/>
                  <a:gd name="T39" fmla="*/ 720 h 720"/>
                  <a:gd name="T40" fmla="*/ 419 w 719"/>
                  <a:gd name="T41" fmla="*/ 51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72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89" y="72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8" name="Freeform 2462">
                <a:extLst>
                  <a:ext uri="{FF2B5EF4-FFF2-40B4-BE49-F238E27FC236}">
                    <a16:creationId xmlns:a16="http://schemas.microsoft.com/office/drawing/2014/main" id="{C01C14EA-30F5-40C8-ACC2-70FE192065AC}"/>
                  </a:ext>
                </a:extLst>
              </p:cNvPr>
              <p:cNvSpPr>
                <a:spLocks/>
              </p:cNvSpPr>
              <p:nvPr/>
            </p:nvSpPr>
            <p:spPr bwMode="auto">
              <a:xfrm>
                <a:off x="1756" y="66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9" name="Freeform 2463">
                <a:extLst>
                  <a:ext uri="{FF2B5EF4-FFF2-40B4-BE49-F238E27FC236}">
                    <a16:creationId xmlns:a16="http://schemas.microsoft.com/office/drawing/2014/main" id="{0D84593D-2B1E-466D-A7A8-B3CE9CB6A979}"/>
                  </a:ext>
                </a:extLst>
              </p:cNvPr>
              <p:cNvSpPr>
                <a:spLocks/>
              </p:cNvSpPr>
              <p:nvPr/>
            </p:nvSpPr>
            <p:spPr bwMode="auto">
              <a:xfrm>
                <a:off x="1876" y="99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0" name="Freeform 2464">
                <a:extLst>
                  <a:ext uri="{FF2B5EF4-FFF2-40B4-BE49-F238E27FC236}">
                    <a16:creationId xmlns:a16="http://schemas.microsoft.com/office/drawing/2014/main" id="{4544CA08-82E9-4ED6-89FB-DAEFA17CC5DD}"/>
                  </a:ext>
                </a:extLst>
              </p:cNvPr>
              <p:cNvSpPr>
                <a:spLocks/>
              </p:cNvSpPr>
              <p:nvPr/>
            </p:nvSpPr>
            <p:spPr bwMode="auto">
              <a:xfrm>
                <a:off x="2355" y="1170"/>
                <a:ext cx="360" cy="120"/>
              </a:xfrm>
              <a:custGeom>
                <a:avLst/>
                <a:gdLst>
                  <a:gd name="T0" fmla="*/ 360 w 360"/>
                  <a:gd name="T1" fmla="*/ 120 h 120"/>
                  <a:gd name="T2" fmla="*/ 150 w 360"/>
                  <a:gd name="T3" fmla="*/ 30 h 120"/>
                  <a:gd name="T4" fmla="*/ 0 w 360"/>
                  <a:gd name="T5" fmla="*/ 0 h 120"/>
                </a:gdLst>
                <a:ahLst/>
                <a:cxnLst>
                  <a:cxn ang="0">
                    <a:pos x="T0" y="T1"/>
                  </a:cxn>
                  <a:cxn ang="0">
                    <a:pos x="T2" y="T3"/>
                  </a:cxn>
                  <a:cxn ang="0">
                    <a:pos x="T4" y="T5"/>
                  </a:cxn>
                </a:cxnLst>
                <a:rect l="0" t="0" r="r" b="b"/>
                <a:pathLst>
                  <a:path w="360" h="120">
                    <a:moveTo>
                      <a:pt x="360" y="120"/>
                    </a:moveTo>
                    <a:lnTo>
                      <a:pt x="15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1" name="Freeform 2465">
                <a:extLst>
                  <a:ext uri="{FF2B5EF4-FFF2-40B4-BE49-F238E27FC236}">
                    <a16:creationId xmlns:a16="http://schemas.microsoft.com/office/drawing/2014/main" id="{027537D7-7B24-4488-A4F2-4C0D855DBEED}"/>
                  </a:ext>
                </a:extLst>
              </p:cNvPr>
              <p:cNvSpPr>
                <a:spLocks/>
              </p:cNvSpPr>
              <p:nvPr/>
            </p:nvSpPr>
            <p:spPr bwMode="auto">
              <a:xfrm>
                <a:off x="2235" y="930"/>
                <a:ext cx="720" cy="360"/>
              </a:xfrm>
              <a:custGeom>
                <a:avLst/>
                <a:gdLst>
                  <a:gd name="T0" fmla="*/ 510 w 720"/>
                  <a:gd name="T1" fmla="*/ 0 h 360"/>
                  <a:gd name="T2" fmla="*/ 570 w 720"/>
                  <a:gd name="T3" fmla="*/ 300 h 360"/>
                  <a:gd name="T4" fmla="*/ 720 w 720"/>
                  <a:gd name="T5" fmla="*/ 180 h 360"/>
                  <a:gd name="T6" fmla="*/ 480 w 720"/>
                  <a:gd name="T7" fmla="*/ 180 h 360"/>
                  <a:gd name="T8" fmla="*/ 300 w 720"/>
                  <a:gd name="T9" fmla="*/ 360 h 360"/>
                  <a:gd name="T10" fmla="*/ 270 w 720"/>
                  <a:gd name="T11" fmla="*/ 270 h 360"/>
                  <a:gd name="T12" fmla="*/ 120 w 720"/>
                  <a:gd name="T13" fmla="*/ 360 h 360"/>
                  <a:gd name="T14" fmla="*/ 0 w 720"/>
                  <a:gd name="T15" fmla="*/ 301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0" h="360">
                    <a:moveTo>
                      <a:pt x="510" y="0"/>
                    </a:moveTo>
                    <a:lnTo>
                      <a:pt x="570" y="300"/>
                    </a:lnTo>
                    <a:lnTo>
                      <a:pt x="720" y="180"/>
                    </a:lnTo>
                    <a:lnTo>
                      <a:pt x="480" y="180"/>
                    </a:lnTo>
                    <a:lnTo>
                      <a:pt x="300" y="360"/>
                    </a:lnTo>
                    <a:lnTo>
                      <a:pt x="270" y="270"/>
                    </a:lnTo>
                    <a:lnTo>
                      <a:pt x="120" y="360"/>
                    </a:lnTo>
                    <a:lnTo>
                      <a:pt x="0" y="301"/>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2" name="Freeform 2466">
                <a:extLst>
                  <a:ext uri="{FF2B5EF4-FFF2-40B4-BE49-F238E27FC236}">
                    <a16:creationId xmlns:a16="http://schemas.microsoft.com/office/drawing/2014/main" id="{5DD13B70-C8CB-4E0D-A113-CE2ECAE77EFC}"/>
                  </a:ext>
                </a:extLst>
              </p:cNvPr>
              <p:cNvSpPr>
                <a:spLocks/>
              </p:cNvSpPr>
              <p:nvPr/>
            </p:nvSpPr>
            <p:spPr bwMode="auto">
              <a:xfrm>
                <a:off x="3045" y="1200"/>
                <a:ext cx="150" cy="90"/>
              </a:xfrm>
              <a:custGeom>
                <a:avLst/>
                <a:gdLst>
                  <a:gd name="T0" fmla="*/ 150 w 150"/>
                  <a:gd name="T1" fmla="*/ 0 h 90"/>
                  <a:gd name="T2" fmla="*/ 0 w 150"/>
                  <a:gd name="T3" fmla="*/ 0 h 90"/>
                  <a:gd name="T4" fmla="*/ 120 w 150"/>
                  <a:gd name="T5" fmla="*/ 90 h 90"/>
                  <a:gd name="T6" fmla="*/ 150 w 150"/>
                  <a:gd name="T7" fmla="*/ 0 h 90"/>
                </a:gdLst>
                <a:ahLst/>
                <a:cxnLst>
                  <a:cxn ang="0">
                    <a:pos x="T0" y="T1"/>
                  </a:cxn>
                  <a:cxn ang="0">
                    <a:pos x="T2" y="T3"/>
                  </a:cxn>
                  <a:cxn ang="0">
                    <a:pos x="T4" y="T5"/>
                  </a:cxn>
                  <a:cxn ang="0">
                    <a:pos x="T6" y="T7"/>
                  </a:cxn>
                </a:cxnLst>
                <a:rect l="0" t="0" r="r" b="b"/>
                <a:pathLst>
                  <a:path w="150" h="90">
                    <a:moveTo>
                      <a:pt x="150" y="0"/>
                    </a:moveTo>
                    <a:lnTo>
                      <a:pt x="0" y="0"/>
                    </a:lnTo>
                    <a:lnTo>
                      <a:pt x="120" y="90"/>
                    </a:lnTo>
                    <a:lnTo>
                      <a:pt x="15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3" name="Freeform 2467">
                <a:extLst>
                  <a:ext uri="{FF2B5EF4-FFF2-40B4-BE49-F238E27FC236}">
                    <a16:creationId xmlns:a16="http://schemas.microsoft.com/office/drawing/2014/main" id="{CF8B30B7-E1C6-49FA-A3F3-EF75A2DB422C}"/>
                  </a:ext>
                </a:extLst>
              </p:cNvPr>
              <p:cNvSpPr>
                <a:spLocks/>
              </p:cNvSpPr>
              <p:nvPr/>
            </p:nvSpPr>
            <p:spPr bwMode="auto">
              <a:xfrm>
                <a:off x="1696" y="480"/>
                <a:ext cx="390" cy="360"/>
              </a:xfrm>
              <a:custGeom>
                <a:avLst/>
                <a:gdLst>
                  <a:gd name="T0" fmla="*/ 180 w 390"/>
                  <a:gd name="T1" fmla="*/ 360 h 360"/>
                  <a:gd name="T2" fmla="*/ 150 w 390"/>
                  <a:gd name="T3" fmla="*/ 150 h 360"/>
                  <a:gd name="T4" fmla="*/ 30 w 390"/>
                  <a:gd name="T5" fmla="*/ 0 h 360"/>
                  <a:gd name="T6" fmla="*/ 330 w 390"/>
                  <a:gd name="T7" fmla="*/ 120 h 360"/>
                  <a:gd name="T8" fmla="*/ 390 w 390"/>
                  <a:gd name="T9" fmla="*/ 0 h 360"/>
                  <a:gd name="T10" fmla="*/ 210 w 390"/>
                  <a:gd name="T11" fmla="*/ 30 h 360"/>
                  <a:gd name="T12" fmla="*/ 0 w 390"/>
                  <a:gd name="T13" fmla="*/ 180 h 360"/>
                  <a:gd name="T14" fmla="*/ 270 w 390"/>
                  <a:gd name="T15" fmla="*/ 33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360">
                    <a:moveTo>
                      <a:pt x="180" y="360"/>
                    </a:moveTo>
                    <a:lnTo>
                      <a:pt x="150" y="150"/>
                    </a:lnTo>
                    <a:lnTo>
                      <a:pt x="30" y="0"/>
                    </a:lnTo>
                    <a:lnTo>
                      <a:pt x="330" y="120"/>
                    </a:lnTo>
                    <a:lnTo>
                      <a:pt x="390" y="0"/>
                    </a:lnTo>
                    <a:lnTo>
                      <a:pt x="210" y="30"/>
                    </a:lnTo>
                    <a:lnTo>
                      <a:pt x="0" y="180"/>
                    </a:lnTo>
                    <a:lnTo>
                      <a:pt x="27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4" name="Line 2468">
                <a:extLst>
                  <a:ext uri="{FF2B5EF4-FFF2-40B4-BE49-F238E27FC236}">
                    <a16:creationId xmlns:a16="http://schemas.microsoft.com/office/drawing/2014/main" id="{3275B0D6-1A1A-4762-87E3-B32CDD773719}"/>
                  </a:ext>
                </a:extLst>
              </p:cNvPr>
              <p:cNvSpPr>
                <a:spLocks noChangeShapeType="1"/>
              </p:cNvSpPr>
              <p:nvPr/>
            </p:nvSpPr>
            <p:spPr bwMode="auto">
              <a:xfrm flipV="1">
                <a:off x="1846" y="510"/>
                <a:ext cx="6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5" name="Freeform 2469">
                <a:extLst>
                  <a:ext uri="{FF2B5EF4-FFF2-40B4-BE49-F238E27FC236}">
                    <a16:creationId xmlns:a16="http://schemas.microsoft.com/office/drawing/2014/main" id="{664C98CE-A6C2-455C-B7B7-1974992374F3}"/>
                  </a:ext>
                </a:extLst>
              </p:cNvPr>
              <p:cNvSpPr>
                <a:spLocks/>
              </p:cNvSpPr>
              <p:nvPr/>
            </p:nvSpPr>
            <p:spPr bwMode="auto">
              <a:xfrm>
                <a:off x="2086" y="450"/>
                <a:ext cx="239" cy="120"/>
              </a:xfrm>
              <a:custGeom>
                <a:avLst/>
                <a:gdLst>
                  <a:gd name="T0" fmla="*/ 239 w 239"/>
                  <a:gd name="T1" fmla="*/ 0 h 120"/>
                  <a:gd name="T2" fmla="*/ 0 w 239"/>
                  <a:gd name="T3" fmla="*/ 30 h 120"/>
                  <a:gd name="T4" fmla="*/ 149 w 239"/>
                  <a:gd name="T5" fmla="*/ 120 h 120"/>
                  <a:gd name="T6" fmla="*/ 239 w 239"/>
                  <a:gd name="T7" fmla="*/ 0 h 120"/>
                </a:gdLst>
                <a:ahLst/>
                <a:cxnLst>
                  <a:cxn ang="0">
                    <a:pos x="T0" y="T1"/>
                  </a:cxn>
                  <a:cxn ang="0">
                    <a:pos x="T2" y="T3"/>
                  </a:cxn>
                  <a:cxn ang="0">
                    <a:pos x="T4" y="T5"/>
                  </a:cxn>
                  <a:cxn ang="0">
                    <a:pos x="T6" y="T7"/>
                  </a:cxn>
                </a:cxnLst>
                <a:rect l="0" t="0" r="r" b="b"/>
                <a:pathLst>
                  <a:path w="239" h="120">
                    <a:moveTo>
                      <a:pt x="239" y="0"/>
                    </a:moveTo>
                    <a:lnTo>
                      <a:pt x="0" y="30"/>
                    </a:lnTo>
                    <a:lnTo>
                      <a:pt x="149" y="120"/>
                    </a:lnTo>
                    <a:lnTo>
                      <a:pt x="239"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6" name="Line 2470">
                <a:extLst>
                  <a:ext uri="{FF2B5EF4-FFF2-40B4-BE49-F238E27FC236}">
                    <a16:creationId xmlns:a16="http://schemas.microsoft.com/office/drawing/2014/main" id="{FC8C64E2-D36F-4A2D-8581-2663F94EFD19}"/>
                  </a:ext>
                </a:extLst>
              </p:cNvPr>
              <p:cNvSpPr>
                <a:spLocks noChangeShapeType="1"/>
              </p:cNvSpPr>
              <p:nvPr/>
            </p:nvSpPr>
            <p:spPr bwMode="auto">
              <a:xfrm>
                <a:off x="2625" y="540"/>
                <a:ext cx="18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7" name="Freeform 2471">
                <a:extLst>
                  <a:ext uri="{FF2B5EF4-FFF2-40B4-BE49-F238E27FC236}">
                    <a16:creationId xmlns:a16="http://schemas.microsoft.com/office/drawing/2014/main" id="{6A0EEFF0-2428-4260-B886-F346010B6AC7}"/>
                  </a:ext>
                </a:extLst>
              </p:cNvPr>
              <p:cNvSpPr>
                <a:spLocks/>
              </p:cNvSpPr>
              <p:nvPr/>
            </p:nvSpPr>
            <p:spPr bwMode="auto">
              <a:xfrm>
                <a:off x="2805" y="450"/>
                <a:ext cx="300" cy="330"/>
              </a:xfrm>
              <a:custGeom>
                <a:avLst/>
                <a:gdLst>
                  <a:gd name="T0" fmla="*/ 90 w 300"/>
                  <a:gd name="T1" fmla="*/ 0 h 330"/>
                  <a:gd name="T2" fmla="*/ 180 w 300"/>
                  <a:gd name="T3" fmla="*/ 90 h 330"/>
                  <a:gd name="T4" fmla="*/ 0 w 300"/>
                  <a:gd name="T5" fmla="*/ 90 h 330"/>
                  <a:gd name="T6" fmla="*/ 60 w 300"/>
                  <a:gd name="T7" fmla="*/ 210 h 330"/>
                  <a:gd name="T8" fmla="*/ 180 w 300"/>
                  <a:gd name="T9" fmla="*/ 90 h 330"/>
                  <a:gd name="T10" fmla="*/ 300 w 300"/>
                  <a:gd name="T11" fmla="*/ 240 h 330"/>
                  <a:gd name="T12" fmla="*/ 150 w 300"/>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300" h="330">
                    <a:moveTo>
                      <a:pt x="90" y="0"/>
                    </a:moveTo>
                    <a:lnTo>
                      <a:pt x="180" y="90"/>
                    </a:lnTo>
                    <a:lnTo>
                      <a:pt x="0" y="90"/>
                    </a:lnTo>
                    <a:lnTo>
                      <a:pt x="60" y="210"/>
                    </a:lnTo>
                    <a:lnTo>
                      <a:pt x="180" y="90"/>
                    </a:lnTo>
                    <a:lnTo>
                      <a:pt x="300" y="240"/>
                    </a:lnTo>
                    <a:lnTo>
                      <a:pt x="15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8" name="Freeform 2472">
                <a:extLst>
                  <a:ext uri="{FF2B5EF4-FFF2-40B4-BE49-F238E27FC236}">
                    <a16:creationId xmlns:a16="http://schemas.microsoft.com/office/drawing/2014/main" id="{E1C018D8-F09F-4751-BBE1-EC784EA30C81}"/>
                  </a:ext>
                </a:extLst>
              </p:cNvPr>
              <p:cNvSpPr>
                <a:spLocks/>
              </p:cNvSpPr>
              <p:nvPr/>
            </p:nvSpPr>
            <p:spPr bwMode="auto">
              <a:xfrm>
                <a:off x="3195" y="480"/>
                <a:ext cx="180" cy="90"/>
              </a:xfrm>
              <a:custGeom>
                <a:avLst/>
                <a:gdLst>
                  <a:gd name="T0" fmla="*/ 0 w 180"/>
                  <a:gd name="T1" fmla="*/ 90 h 90"/>
                  <a:gd name="T2" fmla="*/ 90 w 180"/>
                  <a:gd name="T3" fmla="*/ 0 h 90"/>
                  <a:gd name="T4" fmla="*/ 180 w 180"/>
                  <a:gd name="T5" fmla="*/ 90 h 90"/>
                </a:gdLst>
                <a:ahLst/>
                <a:cxnLst>
                  <a:cxn ang="0">
                    <a:pos x="T0" y="T1"/>
                  </a:cxn>
                  <a:cxn ang="0">
                    <a:pos x="T2" y="T3"/>
                  </a:cxn>
                  <a:cxn ang="0">
                    <a:pos x="T4" y="T5"/>
                  </a:cxn>
                </a:cxnLst>
                <a:rect l="0" t="0" r="r" b="b"/>
                <a:pathLst>
                  <a:path w="180" h="90">
                    <a:moveTo>
                      <a:pt x="0" y="90"/>
                    </a:moveTo>
                    <a:lnTo>
                      <a:pt x="9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9" name="Freeform 2473">
                <a:extLst>
                  <a:ext uri="{FF2B5EF4-FFF2-40B4-BE49-F238E27FC236}">
                    <a16:creationId xmlns:a16="http://schemas.microsoft.com/office/drawing/2014/main" id="{3E72AE47-F5BF-43E4-860F-0B575D4BAF51}"/>
                  </a:ext>
                </a:extLst>
              </p:cNvPr>
              <p:cNvSpPr>
                <a:spLocks/>
              </p:cNvSpPr>
              <p:nvPr/>
            </p:nvSpPr>
            <p:spPr bwMode="auto">
              <a:xfrm>
                <a:off x="3675" y="450"/>
                <a:ext cx="269" cy="210"/>
              </a:xfrm>
              <a:custGeom>
                <a:avLst/>
                <a:gdLst>
                  <a:gd name="T0" fmla="*/ 119 w 269"/>
                  <a:gd name="T1" fmla="*/ 60 h 210"/>
                  <a:gd name="T2" fmla="*/ 269 w 269"/>
                  <a:gd name="T3" fmla="*/ 30 h 210"/>
                  <a:gd name="T4" fmla="*/ 149 w 269"/>
                  <a:gd name="T5" fmla="*/ 210 h 210"/>
                  <a:gd name="T6" fmla="*/ 0 w 269"/>
                  <a:gd name="T7" fmla="*/ 0 h 210"/>
                  <a:gd name="T8" fmla="*/ 30 w 269"/>
                  <a:gd name="T9" fmla="*/ 180 h 210"/>
                </a:gdLst>
                <a:ahLst/>
                <a:cxnLst>
                  <a:cxn ang="0">
                    <a:pos x="T0" y="T1"/>
                  </a:cxn>
                  <a:cxn ang="0">
                    <a:pos x="T2" y="T3"/>
                  </a:cxn>
                  <a:cxn ang="0">
                    <a:pos x="T4" y="T5"/>
                  </a:cxn>
                  <a:cxn ang="0">
                    <a:pos x="T6" y="T7"/>
                  </a:cxn>
                  <a:cxn ang="0">
                    <a:pos x="T8" y="T9"/>
                  </a:cxn>
                </a:cxnLst>
                <a:rect l="0" t="0" r="r" b="b"/>
                <a:pathLst>
                  <a:path w="269" h="210">
                    <a:moveTo>
                      <a:pt x="119" y="60"/>
                    </a:moveTo>
                    <a:lnTo>
                      <a:pt x="269" y="30"/>
                    </a:lnTo>
                    <a:lnTo>
                      <a:pt x="149" y="210"/>
                    </a:lnTo>
                    <a:lnTo>
                      <a:pt x="0" y="0"/>
                    </a:lnTo>
                    <a:lnTo>
                      <a:pt x="3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0" name="Freeform 2474">
                <a:extLst>
                  <a:ext uri="{FF2B5EF4-FFF2-40B4-BE49-F238E27FC236}">
                    <a16:creationId xmlns:a16="http://schemas.microsoft.com/office/drawing/2014/main" id="{85EBE8E4-A15E-4BA0-B67A-1055C7E10C6B}"/>
                  </a:ext>
                </a:extLst>
              </p:cNvPr>
              <p:cNvSpPr>
                <a:spLocks/>
              </p:cNvSpPr>
              <p:nvPr/>
            </p:nvSpPr>
            <p:spPr bwMode="auto">
              <a:xfrm>
                <a:off x="1756"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1" name="Freeform 2475">
                <a:extLst>
                  <a:ext uri="{FF2B5EF4-FFF2-40B4-BE49-F238E27FC236}">
                    <a16:creationId xmlns:a16="http://schemas.microsoft.com/office/drawing/2014/main" id="{24A9B525-E05B-410A-807B-4A0B5D29147F}"/>
                  </a:ext>
                </a:extLst>
              </p:cNvPr>
              <p:cNvSpPr>
                <a:spLocks/>
              </p:cNvSpPr>
              <p:nvPr/>
            </p:nvSpPr>
            <p:spPr bwMode="auto">
              <a:xfrm>
                <a:off x="1936"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2" name="Freeform 2476">
                <a:extLst>
                  <a:ext uri="{FF2B5EF4-FFF2-40B4-BE49-F238E27FC236}">
                    <a16:creationId xmlns:a16="http://schemas.microsoft.com/office/drawing/2014/main" id="{994088EF-462C-4EF6-A2C2-3765D9BC680A}"/>
                  </a:ext>
                </a:extLst>
              </p:cNvPr>
              <p:cNvSpPr>
                <a:spLocks/>
              </p:cNvSpPr>
              <p:nvPr/>
            </p:nvSpPr>
            <p:spPr bwMode="auto">
              <a:xfrm>
                <a:off x="1876" y="1740"/>
                <a:ext cx="479" cy="270"/>
              </a:xfrm>
              <a:custGeom>
                <a:avLst/>
                <a:gdLst>
                  <a:gd name="T0" fmla="*/ 0 w 479"/>
                  <a:gd name="T1" fmla="*/ 90 h 270"/>
                  <a:gd name="T2" fmla="*/ 180 w 479"/>
                  <a:gd name="T3" fmla="*/ 30 h 270"/>
                  <a:gd name="T4" fmla="*/ 299 w 479"/>
                  <a:gd name="T5" fmla="*/ 150 h 270"/>
                  <a:gd name="T6" fmla="*/ 210 w 479"/>
                  <a:gd name="T7" fmla="*/ 270 h 270"/>
                  <a:gd name="T8" fmla="*/ 30 w 479"/>
                  <a:gd name="T9" fmla="*/ 270 h 270"/>
                  <a:gd name="T10" fmla="*/ 0 w 479"/>
                  <a:gd name="T11" fmla="*/ 90 h 270"/>
                  <a:gd name="T12" fmla="*/ 150 w 479"/>
                  <a:gd name="T13" fmla="*/ 150 h 270"/>
                  <a:gd name="T14" fmla="*/ 299 w 479"/>
                  <a:gd name="T15" fmla="*/ 0 h 270"/>
                  <a:gd name="T16" fmla="*/ 479 w 479"/>
                  <a:gd name="T17" fmla="*/ 210 h 270"/>
                  <a:gd name="T18" fmla="*/ 419 w 479"/>
                  <a:gd name="T19" fmla="*/ 6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70">
                    <a:moveTo>
                      <a:pt x="0" y="90"/>
                    </a:moveTo>
                    <a:lnTo>
                      <a:pt x="180" y="30"/>
                    </a:lnTo>
                    <a:lnTo>
                      <a:pt x="299" y="150"/>
                    </a:lnTo>
                    <a:lnTo>
                      <a:pt x="210" y="270"/>
                    </a:lnTo>
                    <a:lnTo>
                      <a:pt x="30" y="270"/>
                    </a:lnTo>
                    <a:lnTo>
                      <a:pt x="0" y="90"/>
                    </a:lnTo>
                    <a:lnTo>
                      <a:pt x="150" y="150"/>
                    </a:lnTo>
                    <a:lnTo>
                      <a:pt x="299" y="0"/>
                    </a:lnTo>
                    <a:lnTo>
                      <a:pt x="479" y="210"/>
                    </a:lnTo>
                    <a:lnTo>
                      <a:pt x="41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3" name="Freeform 2477">
                <a:extLst>
                  <a:ext uri="{FF2B5EF4-FFF2-40B4-BE49-F238E27FC236}">
                    <a16:creationId xmlns:a16="http://schemas.microsoft.com/office/drawing/2014/main" id="{B0AD23BB-B95F-44B8-A80D-7E347AB4B767}"/>
                  </a:ext>
                </a:extLst>
              </p:cNvPr>
              <p:cNvSpPr>
                <a:spLocks/>
              </p:cNvSpPr>
              <p:nvPr/>
            </p:nvSpPr>
            <p:spPr bwMode="auto">
              <a:xfrm>
                <a:off x="2026"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4" name="Freeform 2478">
                <a:extLst>
                  <a:ext uri="{FF2B5EF4-FFF2-40B4-BE49-F238E27FC236}">
                    <a16:creationId xmlns:a16="http://schemas.microsoft.com/office/drawing/2014/main" id="{E7858F8D-E7C1-48ED-B3D2-423041036004}"/>
                  </a:ext>
                </a:extLst>
              </p:cNvPr>
              <p:cNvSpPr>
                <a:spLocks/>
              </p:cNvSpPr>
              <p:nvPr/>
            </p:nvSpPr>
            <p:spPr bwMode="auto">
              <a:xfrm>
                <a:off x="3405"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5" name="Freeform 2479">
                <a:extLst>
                  <a:ext uri="{FF2B5EF4-FFF2-40B4-BE49-F238E27FC236}">
                    <a16:creationId xmlns:a16="http://schemas.microsoft.com/office/drawing/2014/main" id="{F3555849-1073-4903-A3D6-97EA25402C68}"/>
                  </a:ext>
                </a:extLst>
              </p:cNvPr>
              <p:cNvSpPr>
                <a:spLocks/>
              </p:cNvSpPr>
              <p:nvPr/>
            </p:nvSpPr>
            <p:spPr bwMode="auto">
              <a:xfrm>
                <a:off x="3405" y="1290"/>
                <a:ext cx="300" cy="540"/>
              </a:xfrm>
              <a:custGeom>
                <a:avLst/>
                <a:gdLst>
                  <a:gd name="T0" fmla="*/ 0 w 300"/>
                  <a:gd name="T1" fmla="*/ 390 h 540"/>
                  <a:gd name="T2" fmla="*/ 180 w 300"/>
                  <a:gd name="T3" fmla="*/ 240 h 540"/>
                  <a:gd name="T4" fmla="*/ 0 w 300"/>
                  <a:gd name="T5" fmla="*/ 150 h 540"/>
                  <a:gd name="T6" fmla="*/ 120 w 300"/>
                  <a:gd name="T7" fmla="*/ 120 h 540"/>
                  <a:gd name="T8" fmla="*/ 300 w 300"/>
                  <a:gd name="T9" fmla="*/ 180 h 540"/>
                  <a:gd name="T10" fmla="*/ 270 w 300"/>
                  <a:gd name="T11" fmla="*/ 30 h 540"/>
                  <a:gd name="T12" fmla="*/ 120 w 300"/>
                  <a:gd name="T13" fmla="*/ 120 h 540"/>
                  <a:gd name="T14" fmla="*/ 30 w 300"/>
                  <a:gd name="T15" fmla="*/ 0 h 540"/>
                  <a:gd name="T16" fmla="*/ 0 w 300"/>
                  <a:gd name="T17" fmla="*/ 150 h 540"/>
                  <a:gd name="T18" fmla="*/ 30 w 300"/>
                  <a:gd name="T19" fmla="*/ 300 h 540"/>
                  <a:gd name="T20" fmla="*/ 0 w 300"/>
                  <a:gd name="T21" fmla="*/ 390 h 540"/>
                  <a:gd name="T22" fmla="*/ 120 w 300"/>
                  <a:gd name="T23"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0" h="540">
                    <a:moveTo>
                      <a:pt x="0" y="390"/>
                    </a:moveTo>
                    <a:lnTo>
                      <a:pt x="180" y="240"/>
                    </a:lnTo>
                    <a:lnTo>
                      <a:pt x="0" y="150"/>
                    </a:lnTo>
                    <a:lnTo>
                      <a:pt x="120" y="120"/>
                    </a:lnTo>
                    <a:lnTo>
                      <a:pt x="300" y="180"/>
                    </a:lnTo>
                    <a:lnTo>
                      <a:pt x="270" y="30"/>
                    </a:lnTo>
                    <a:lnTo>
                      <a:pt x="120" y="120"/>
                    </a:lnTo>
                    <a:lnTo>
                      <a:pt x="30" y="0"/>
                    </a:lnTo>
                    <a:lnTo>
                      <a:pt x="0" y="150"/>
                    </a:lnTo>
                    <a:lnTo>
                      <a:pt x="30" y="300"/>
                    </a:lnTo>
                    <a:lnTo>
                      <a:pt x="0" y="390"/>
                    </a:lnTo>
                    <a:lnTo>
                      <a:pt x="12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6" name="Freeform 2480">
                <a:extLst>
                  <a:ext uri="{FF2B5EF4-FFF2-40B4-BE49-F238E27FC236}">
                    <a16:creationId xmlns:a16="http://schemas.microsoft.com/office/drawing/2014/main" id="{0256D687-B121-424F-BCB3-38FFBF4EBBDE}"/>
                  </a:ext>
                </a:extLst>
              </p:cNvPr>
              <p:cNvSpPr>
                <a:spLocks/>
              </p:cNvSpPr>
              <p:nvPr/>
            </p:nvSpPr>
            <p:spPr bwMode="auto">
              <a:xfrm>
                <a:off x="3585"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7" name="Freeform 2481">
                <a:extLst>
                  <a:ext uri="{FF2B5EF4-FFF2-40B4-BE49-F238E27FC236}">
                    <a16:creationId xmlns:a16="http://schemas.microsoft.com/office/drawing/2014/main" id="{742F052E-B266-4F4A-AC57-D6CEB8D7ACA0}"/>
                  </a:ext>
                </a:extLst>
              </p:cNvPr>
              <p:cNvSpPr>
                <a:spLocks/>
              </p:cNvSpPr>
              <p:nvPr/>
            </p:nvSpPr>
            <p:spPr bwMode="auto">
              <a:xfrm>
                <a:off x="3405" y="1320"/>
                <a:ext cx="599" cy="750"/>
              </a:xfrm>
              <a:custGeom>
                <a:avLst/>
                <a:gdLst>
                  <a:gd name="T0" fmla="*/ 300 w 599"/>
                  <a:gd name="T1" fmla="*/ 150 h 750"/>
                  <a:gd name="T2" fmla="*/ 479 w 599"/>
                  <a:gd name="T3" fmla="*/ 210 h 750"/>
                  <a:gd name="T4" fmla="*/ 479 w 599"/>
                  <a:gd name="T5" fmla="*/ 60 h 750"/>
                  <a:gd name="T6" fmla="*/ 359 w 599"/>
                  <a:gd name="T7" fmla="*/ 300 h 750"/>
                  <a:gd name="T8" fmla="*/ 419 w 599"/>
                  <a:gd name="T9" fmla="*/ 420 h 750"/>
                  <a:gd name="T10" fmla="*/ 539 w 599"/>
                  <a:gd name="T11" fmla="*/ 480 h 750"/>
                  <a:gd name="T12" fmla="*/ 479 w 599"/>
                  <a:gd name="T13" fmla="*/ 210 h 750"/>
                  <a:gd name="T14" fmla="*/ 419 w 599"/>
                  <a:gd name="T15" fmla="*/ 420 h 750"/>
                  <a:gd name="T16" fmla="*/ 419 w 599"/>
                  <a:gd name="T17" fmla="*/ 570 h 750"/>
                  <a:gd name="T18" fmla="*/ 599 w 599"/>
                  <a:gd name="T19" fmla="*/ 630 h 750"/>
                  <a:gd name="T20" fmla="*/ 300 w 599"/>
                  <a:gd name="T21" fmla="*/ 660 h 750"/>
                  <a:gd name="T22" fmla="*/ 270 w 599"/>
                  <a:gd name="T23" fmla="*/ 570 h 750"/>
                  <a:gd name="T24" fmla="*/ 210 w 599"/>
                  <a:gd name="T25" fmla="*/ 750 h 750"/>
                  <a:gd name="T26" fmla="*/ 0 w 599"/>
                  <a:gd name="T27" fmla="*/ 600 h 750"/>
                  <a:gd name="T28" fmla="*/ 120 w 599"/>
                  <a:gd name="T29" fmla="*/ 510 h 750"/>
                  <a:gd name="T30" fmla="*/ 180 w 599"/>
                  <a:gd name="T31" fmla="*/ 360 h 750"/>
                  <a:gd name="T32" fmla="*/ 300 w 599"/>
                  <a:gd name="T33" fmla="*/ 450 h 750"/>
                  <a:gd name="T34" fmla="*/ 359 w 599"/>
                  <a:gd name="T35" fmla="*/ 300 h 750"/>
                  <a:gd name="T36" fmla="*/ 180 w 599"/>
                  <a:gd name="T37" fmla="*/ 210 h 750"/>
                  <a:gd name="T38" fmla="*/ 300 w 599"/>
                  <a:gd name="T39" fmla="*/ 150 h 750"/>
                  <a:gd name="T40" fmla="*/ 389 w 599"/>
                  <a:gd name="T41" fmla="*/ 90 h 750"/>
                  <a:gd name="T42" fmla="*/ 270 w 599"/>
                  <a:gd name="T43" fmla="*/ 0 h 750"/>
                  <a:gd name="T44" fmla="*/ 479 w 599"/>
                  <a:gd name="T45" fmla="*/ 6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9" h="750">
                    <a:moveTo>
                      <a:pt x="300" y="150"/>
                    </a:moveTo>
                    <a:lnTo>
                      <a:pt x="479" y="210"/>
                    </a:lnTo>
                    <a:lnTo>
                      <a:pt x="479" y="60"/>
                    </a:lnTo>
                    <a:lnTo>
                      <a:pt x="359" y="300"/>
                    </a:lnTo>
                    <a:lnTo>
                      <a:pt x="419" y="420"/>
                    </a:lnTo>
                    <a:lnTo>
                      <a:pt x="539" y="480"/>
                    </a:lnTo>
                    <a:lnTo>
                      <a:pt x="479" y="210"/>
                    </a:lnTo>
                    <a:lnTo>
                      <a:pt x="419" y="420"/>
                    </a:lnTo>
                    <a:lnTo>
                      <a:pt x="419" y="570"/>
                    </a:lnTo>
                    <a:lnTo>
                      <a:pt x="599" y="630"/>
                    </a:lnTo>
                    <a:lnTo>
                      <a:pt x="300" y="660"/>
                    </a:lnTo>
                    <a:lnTo>
                      <a:pt x="270" y="570"/>
                    </a:lnTo>
                    <a:lnTo>
                      <a:pt x="210" y="750"/>
                    </a:lnTo>
                    <a:lnTo>
                      <a:pt x="0" y="600"/>
                    </a:lnTo>
                    <a:lnTo>
                      <a:pt x="120" y="510"/>
                    </a:lnTo>
                    <a:lnTo>
                      <a:pt x="180" y="360"/>
                    </a:lnTo>
                    <a:lnTo>
                      <a:pt x="300" y="450"/>
                    </a:lnTo>
                    <a:lnTo>
                      <a:pt x="359" y="300"/>
                    </a:lnTo>
                    <a:lnTo>
                      <a:pt x="180" y="210"/>
                    </a:lnTo>
                    <a:lnTo>
                      <a:pt x="300" y="150"/>
                    </a:lnTo>
                    <a:lnTo>
                      <a:pt x="389" y="90"/>
                    </a:lnTo>
                    <a:lnTo>
                      <a:pt x="270" y="0"/>
                    </a:lnTo>
                    <a:lnTo>
                      <a:pt x="47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8" name="Freeform 2482">
                <a:extLst>
                  <a:ext uri="{FF2B5EF4-FFF2-40B4-BE49-F238E27FC236}">
                    <a16:creationId xmlns:a16="http://schemas.microsoft.com/office/drawing/2014/main" id="{6D25A418-C0ED-4C6D-BD2E-205F9A96E7D2}"/>
                  </a:ext>
                </a:extLst>
              </p:cNvPr>
              <p:cNvSpPr>
                <a:spLocks/>
              </p:cNvSpPr>
              <p:nvPr/>
            </p:nvSpPr>
            <p:spPr bwMode="auto">
              <a:xfrm>
                <a:off x="3525" y="1770"/>
                <a:ext cx="299" cy="210"/>
              </a:xfrm>
              <a:custGeom>
                <a:avLst/>
                <a:gdLst>
                  <a:gd name="T0" fmla="*/ 0 w 299"/>
                  <a:gd name="T1" fmla="*/ 60 h 210"/>
                  <a:gd name="T2" fmla="*/ 180 w 299"/>
                  <a:gd name="T3" fmla="*/ 0 h 210"/>
                  <a:gd name="T4" fmla="*/ 299 w 299"/>
                  <a:gd name="T5" fmla="*/ 120 h 210"/>
                  <a:gd name="T6" fmla="*/ 180 w 299"/>
                  <a:gd name="T7" fmla="*/ 210 h 210"/>
                </a:gdLst>
                <a:ahLst/>
                <a:cxnLst>
                  <a:cxn ang="0">
                    <a:pos x="T0" y="T1"/>
                  </a:cxn>
                  <a:cxn ang="0">
                    <a:pos x="T2" y="T3"/>
                  </a:cxn>
                  <a:cxn ang="0">
                    <a:pos x="T4" y="T5"/>
                  </a:cxn>
                  <a:cxn ang="0">
                    <a:pos x="T6" y="T7"/>
                  </a:cxn>
                </a:cxnLst>
                <a:rect l="0" t="0" r="r" b="b"/>
                <a:pathLst>
                  <a:path w="299" h="210">
                    <a:moveTo>
                      <a:pt x="0" y="60"/>
                    </a:moveTo>
                    <a:lnTo>
                      <a:pt x="180" y="0"/>
                    </a:lnTo>
                    <a:lnTo>
                      <a:pt x="299" y="120"/>
                    </a:lnTo>
                    <a:lnTo>
                      <a:pt x="18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9" name="Freeform 2483">
                <a:extLst>
                  <a:ext uri="{FF2B5EF4-FFF2-40B4-BE49-F238E27FC236}">
                    <a16:creationId xmlns:a16="http://schemas.microsoft.com/office/drawing/2014/main" id="{C79C61E6-135E-4C41-8CE9-09CF67FBAC42}"/>
                  </a:ext>
                </a:extLst>
              </p:cNvPr>
              <p:cNvSpPr>
                <a:spLocks/>
              </p:cNvSpPr>
              <p:nvPr/>
            </p:nvSpPr>
            <p:spPr bwMode="auto">
              <a:xfrm>
                <a:off x="3675"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0" name="Line 2484">
                <a:extLst>
                  <a:ext uri="{FF2B5EF4-FFF2-40B4-BE49-F238E27FC236}">
                    <a16:creationId xmlns:a16="http://schemas.microsoft.com/office/drawing/2014/main" id="{4F2AEC96-F39A-4321-82B1-F7CCB446B8AC}"/>
                  </a:ext>
                </a:extLst>
              </p:cNvPr>
              <p:cNvSpPr>
                <a:spLocks noChangeShapeType="1"/>
              </p:cNvSpPr>
              <p:nvPr/>
            </p:nvSpPr>
            <p:spPr bwMode="auto">
              <a:xfrm flipV="1">
                <a:off x="1786" y="1233"/>
                <a:ext cx="181" cy="5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1" name="Line 2485">
                <a:extLst>
                  <a:ext uri="{FF2B5EF4-FFF2-40B4-BE49-F238E27FC236}">
                    <a16:creationId xmlns:a16="http://schemas.microsoft.com/office/drawing/2014/main" id="{17275555-D635-4D49-BD24-2EED38E40043}"/>
                  </a:ext>
                </a:extLst>
              </p:cNvPr>
              <p:cNvSpPr>
                <a:spLocks noChangeShapeType="1"/>
              </p:cNvSpPr>
              <p:nvPr/>
            </p:nvSpPr>
            <p:spPr bwMode="auto">
              <a:xfrm flipH="1">
                <a:off x="1936" y="1233"/>
                <a:ext cx="31"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2" name="Freeform 2486">
                <a:extLst>
                  <a:ext uri="{FF2B5EF4-FFF2-40B4-BE49-F238E27FC236}">
                    <a16:creationId xmlns:a16="http://schemas.microsoft.com/office/drawing/2014/main" id="{CDED5F51-3694-4840-9CDC-D1C64C34B0F0}"/>
                  </a:ext>
                </a:extLst>
              </p:cNvPr>
              <p:cNvSpPr>
                <a:spLocks/>
              </p:cNvSpPr>
              <p:nvPr/>
            </p:nvSpPr>
            <p:spPr bwMode="auto">
              <a:xfrm>
                <a:off x="2235" y="1231"/>
                <a:ext cx="210" cy="302"/>
              </a:xfrm>
              <a:custGeom>
                <a:avLst/>
                <a:gdLst>
                  <a:gd name="T0" fmla="*/ 0 w 210"/>
                  <a:gd name="T1" fmla="*/ 0 h 302"/>
                  <a:gd name="T2" fmla="*/ 180 w 210"/>
                  <a:gd name="T3" fmla="*/ 269 h 302"/>
                  <a:gd name="T4" fmla="*/ 2 w 210"/>
                  <a:gd name="T5" fmla="*/ 302 h 302"/>
                  <a:gd name="T6" fmla="*/ 210 w 210"/>
                  <a:gd name="T7" fmla="*/ 179 h 302"/>
                </a:gdLst>
                <a:ahLst/>
                <a:cxnLst>
                  <a:cxn ang="0">
                    <a:pos x="T0" y="T1"/>
                  </a:cxn>
                  <a:cxn ang="0">
                    <a:pos x="T2" y="T3"/>
                  </a:cxn>
                  <a:cxn ang="0">
                    <a:pos x="T4" y="T5"/>
                  </a:cxn>
                  <a:cxn ang="0">
                    <a:pos x="T6" y="T7"/>
                  </a:cxn>
                </a:cxnLst>
                <a:rect l="0" t="0" r="r" b="b"/>
                <a:pathLst>
                  <a:path w="210" h="302">
                    <a:moveTo>
                      <a:pt x="0" y="0"/>
                    </a:moveTo>
                    <a:lnTo>
                      <a:pt x="180" y="269"/>
                    </a:lnTo>
                    <a:lnTo>
                      <a:pt x="2" y="302"/>
                    </a:lnTo>
                    <a:lnTo>
                      <a:pt x="210" y="17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3" name="Line 2487">
                <a:extLst>
                  <a:ext uri="{FF2B5EF4-FFF2-40B4-BE49-F238E27FC236}">
                    <a16:creationId xmlns:a16="http://schemas.microsoft.com/office/drawing/2014/main" id="{CC018B37-5AD0-475C-9A68-D8A4D08C8082}"/>
                  </a:ext>
                </a:extLst>
              </p:cNvPr>
              <p:cNvSpPr>
                <a:spLocks noChangeShapeType="1"/>
              </p:cNvSpPr>
              <p:nvPr/>
            </p:nvSpPr>
            <p:spPr bwMode="auto">
              <a:xfrm>
                <a:off x="2235" y="1380"/>
                <a:ext cx="21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4" name="Freeform 2488">
                <a:extLst>
                  <a:ext uri="{FF2B5EF4-FFF2-40B4-BE49-F238E27FC236}">
                    <a16:creationId xmlns:a16="http://schemas.microsoft.com/office/drawing/2014/main" id="{265AB79F-221F-4A46-A625-22B6D6A05934}"/>
                  </a:ext>
                </a:extLst>
              </p:cNvPr>
              <p:cNvSpPr>
                <a:spLocks/>
              </p:cNvSpPr>
              <p:nvPr/>
            </p:nvSpPr>
            <p:spPr bwMode="auto">
              <a:xfrm>
                <a:off x="1756" y="1140"/>
                <a:ext cx="599" cy="870"/>
              </a:xfrm>
              <a:custGeom>
                <a:avLst/>
                <a:gdLst>
                  <a:gd name="T0" fmla="*/ 300 w 599"/>
                  <a:gd name="T1" fmla="*/ 0 h 870"/>
                  <a:gd name="T2" fmla="*/ 479 w 599"/>
                  <a:gd name="T3" fmla="*/ 91 h 870"/>
                  <a:gd name="T4" fmla="*/ 300 w 599"/>
                  <a:gd name="T5" fmla="*/ 330 h 870"/>
                  <a:gd name="T6" fmla="*/ 479 w 599"/>
                  <a:gd name="T7" fmla="*/ 390 h 870"/>
                  <a:gd name="T8" fmla="*/ 479 w 599"/>
                  <a:gd name="T9" fmla="*/ 240 h 870"/>
                  <a:gd name="T10" fmla="*/ 359 w 599"/>
                  <a:gd name="T11" fmla="*/ 480 h 870"/>
                  <a:gd name="T12" fmla="*/ 419 w 599"/>
                  <a:gd name="T13" fmla="*/ 600 h 870"/>
                  <a:gd name="T14" fmla="*/ 539 w 599"/>
                  <a:gd name="T15" fmla="*/ 660 h 870"/>
                  <a:gd name="T16" fmla="*/ 479 w 599"/>
                  <a:gd name="T17" fmla="*/ 390 h 870"/>
                  <a:gd name="T18" fmla="*/ 419 w 599"/>
                  <a:gd name="T19" fmla="*/ 600 h 870"/>
                  <a:gd name="T20" fmla="*/ 419 w 599"/>
                  <a:gd name="T21" fmla="*/ 750 h 870"/>
                  <a:gd name="T22" fmla="*/ 599 w 599"/>
                  <a:gd name="T23" fmla="*/ 810 h 870"/>
                  <a:gd name="T24" fmla="*/ 330 w 599"/>
                  <a:gd name="T25" fmla="*/ 870 h 870"/>
                  <a:gd name="T26" fmla="*/ 270 w 599"/>
                  <a:gd name="T27" fmla="*/ 750 h 870"/>
                  <a:gd name="T28" fmla="*/ 150 w 599"/>
                  <a:gd name="T29" fmla="*/ 870 h 870"/>
                  <a:gd name="T30" fmla="*/ 0 w 599"/>
                  <a:gd name="T31" fmla="*/ 780 h 870"/>
                  <a:gd name="T32" fmla="*/ 120 w 599"/>
                  <a:gd name="T33" fmla="*/ 690 h 870"/>
                  <a:gd name="T34" fmla="*/ 180 w 599"/>
                  <a:gd name="T35" fmla="*/ 540 h 870"/>
                  <a:gd name="T36" fmla="*/ 300 w 599"/>
                  <a:gd name="T37" fmla="*/ 630 h 870"/>
                  <a:gd name="T38" fmla="*/ 359 w 599"/>
                  <a:gd name="T39" fmla="*/ 480 h 870"/>
                  <a:gd name="T40" fmla="*/ 180 w 599"/>
                  <a:gd name="T41" fmla="*/ 390 h 870"/>
                  <a:gd name="T42" fmla="*/ 300 w 599"/>
                  <a:gd name="T43" fmla="*/ 330 h 870"/>
                  <a:gd name="T44" fmla="*/ 389 w 599"/>
                  <a:gd name="T45" fmla="*/ 270 h 870"/>
                  <a:gd name="T46" fmla="*/ 270 w 599"/>
                  <a:gd name="T47" fmla="*/ 180 h 870"/>
                  <a:gd name="T48" fmla="*/ 479 w 599"/>
                  <a:gd name="T49" fmla="*/ 240 h 870"/>
                  <a:gd name="T50" fmla="*/ 479 w 599"/>
                  <a:gd name="T51" fmla="*/ 90 h 870"/>
                  <a:gd name="T52" fmla="*/ 210 w 599"/>
                  <a:gd name="T53" fmla="*/ 9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9" h="870">
                    <a:moveTo>
                      <a:pt x="300" y="0"/>
                    </a:moveTo>
                    <a:lnTo>
                      <a:pt x="479" y="91"/>
                    </a:lnTo>
                    <a:lnTo>
                      <a:pt x="300" y="330"/>
                    </a:lnTo>
                    <a:lnTo>
                      <a:pt x="479" y="390"/>
                    </a:lnTo>
                    <a:lnTo>
                      <a:pt x="479" y="240"/>
                    </a:lnTo>
                    <a:lnTo>
                      <a:pt x="359" y="480"/>
                    </a:lnTo>
                    <a:lnTo>
                      <a:pt x="419" y="600"/>
                    </a:lnTo>
                    <a:lnTo>
                      <a:pt x="539" y="660"/>
                    </a:lnTo>
                    <a:lnTo>
                      <a:pt x="479" y="390"/>
                    </a:lnTo>
                    <a:lnTo>
                      <a:pt x="419" y="600"/>
                    </a:lnTo>
                    <a:lnTo>
                      <a:pt x="419" y="750"/>
                    </a:lnTo>
                    <a:lnTo>
                      <a:pt x="599" y="810"/>
                    </a:lnTo>
                    <a:lnTo>
                      <a:pt x="330" y="870"/>
                    </a:lnTo>
                    <a:lnTo>
                      <a:pt x="270" y="750"/>
                    </a:lnTo>
                    <a:lnTo>
                      <a:pt x="150" y="870"/>
                    </a:lnTo>
                    <a:lnTo>
                      <a:pt x="0" y="780"/>
                    </a:lnTo>
                    <a:lnTo>
                      <a:pt x="120" y="690"/>
                    </a:lnTo>
                    <a:lnTo>
                      <a:pt x="180" y="540"/>
                    </a:lnTo>
                    <a:lnTo>
                      <a:pt x="300" y="630"/>
                    </a:lnTo>
                    <a:lnTo>
                      <a:pt x="359" y="480"/>
                    </a:lnTo>
                    <a:lnTo>
                      <a:pt x="180" y="390"/>
                    </a:lnTo>
                    <a:lnTo>
                      <a:pt x="300" y="330"/>
                    </a:lnTo>
                    <a:lnTo>
                      <a:pt x="389" y="270"/>
                    </a:lnTo>
                    <a:lnTo>
                      <a:pt x="270" y="180"/>
                    </a:lnTo>
                    <a:lnTo>
                      <a:pt x="479" y="240"/>
                    </a:lnTo>
                    <a:lnTo>
                      <a:pt x="479" y="9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5" name="Line 2489">
                <a:extLst>
                  <a:ext uri="{FF2B5EF4-FFF2-40B4-BE49-F238E27FC236}">
                    <a16:creationId xmlns:a16="http://schemas.microsoft.com/office/drawing/2014/main" id="{0A87B316-06C5-41F1-8551-D6B4F9A380DC}"/>
                  </a:ext>
                </a:extLst>
              </p:cNvPr>
              <p:cNvSpPr>
                <a:spLocks noChangeShapeType="1"/>
              </p:cNvSpPr>
              <p:nvPr/>
            </p:nvSpPr>
            <p:spPr bwMode="auto">
              <a:xfrm flipV="1">
                <a:off x="2026" y="1110"/>
                <a:ext cx="209"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6" name="Freeform 2490">
                <a:extLst>
                  <a:ext uri="{FF2B5EF4-FFF2-40B4-BE49-F238E27FC236}">
                    <a16:creationId xmlns:a16="http://schemas.microsoft.com/office/drawing/2014/main" id="{D4934BB5-802B-4EB8-B18D-CDA6D2728620}"/>
                  </a:ext>
                </a:extLst>
              </p:cNvPr>
              <p:cNvSpPr>
                <a:spLocks/>
              </p:cNvSpPr>
              <p:nvPr/>
            </p:nvSpPr>
            <p:spPr bwMode="auto">
              <a:xfrm>
                <a:off x="1276" y="1290"/>
                <a:ext cx="780" cy="1080"/>
              </a:xfrm>
              <a:custGeom>
                <a:avLst/>
                <a:gdLst>
                  <a:gd name="T0" fmla="*/ 630 w 780"/>
                  <a:gd name="T1" fmla="*/ 1080 h 1080"/>
                  <a:gd name="T2" fmla="*/ 600 w 780"/>
                  <a:gd name="T3" fmla="*/ 870 h 1080"/>
                  <a:gd name="T4" fmla="*/ 480 w 780"/>
                  <a:gd name="T5" fmla="*/ 630 h 1080"/>
                  <a:gd name="T6" fmla="*/ 390 w 780"/>
                  <a:gd name="T7" fmla="*/ 720 h 1080"/>
                  <a:gd name="T8" fmla="*/ 270 w 780"/>
                  <a:gd name="T9" fmla="*/ 870 h 1080"/>
                  <a:gd name="T10" fmla="*/ 180 w 780"/>
                  <a:gd name="T11" fmla="*/ 750 h 1080"/>
                  <a:gd name="T12" fmla="*/ 210 w 780"/>
                  <a:gd name="T13" fmla="*/ 600 h 1080"/>
                  <a:gd name="T14" fmla="*/ 90 w 780"/>
                  <a:gd name="T15" fmla="*/ 660 h 1080"/>
                  <a:gd name="T16" fmla="*/ 0 w 780"/>
                  <a:gd name="T17" fmla="*/ 870 h 1080"/>
                  <a:gd name="T18" fmla="*/ 60 w 780"/>
                  <a:gd name="T19" fmla="*/ 510 h 1080"/>
                  <a:gd name="T20" fmla="*/ 0 w 780"/>
                  <a:gd name="T21" fmla="*/ 420 h 1080"/>
                  <a:gd name="T22" fmla="*/ 120 w 780"/>
                  <a:gd name="T23" fmla="*/ 330 h 1080"/>
                  <a:gd name="T24" fmla="*/ 300 w 780"/>
                  <a:gd name="T25" fmla="*/ 390 h 1080"/>
                  <a:gd name="T26" fmla="*/ 330 w 780"/>
                  <a:gd name="T27" fmla="*/ 510 h 1080"/>
                  <a:gd name="T28" fmla="*/ 480 w 780"/>
                  <a:gd name="T29" fmla="*/ 390 h 1080"/>
                  <a:gd name="T30" fmla="*/ 660 w 780"/>
                  <a:gd name="T31" fmla="*/ 240 h 1080"/>
                  <a:gd name="T32" fmla="*/ 480 w 780"/>
                  <a:gd name="T33" fmla="*/ 150 h 1080"/>
                  <a:gd name="T34" fmla="*/ 600 w 780"/>
                  <a:gd name="T35" fmla="*/ 120 h 1080"/>
                  <a:gd name="T36" fmla="*/ 780 w 780"/>
                  <a:gd name="T37" fmla="*/ 180 h 1080"/>
                  <a:gd name="T38" fmla="*/ 750 w 780"/>
                  <a:gd name="T39" fmla="*/ 30 h 1080"/>
                  <a:gd name="T40" fmla="*/ 600 w 780"/>
                  <a:gd name="T41" fmla="*/ 120 h 1080"/>
                  <a:gd name="T42" fmla="*/ 510 w 780"/>
                  <a:gd name="T43" fmla="*/ 0 h 1080"/>
                  <a:gd name="T44" fmla="*/ 480 w 780"/>
                  <a:gd name="T45" fmla="*/ 150 h 1080"/>
                  <a:gd name="T46" fmla="*/ 510 w 780"/>
                  <a:gd name="T47" fmla="*/ 300 h 1080"/>
                  <a:gd name="T48" fmla="*/ 480 w 780"/>
                  <a:gd name="T49" fmla="*/ 390 h 1080"/>
                  <a:gd name="T50" fmla="*/ 600 w 780"/>
                  <a:gd name="T51" fmla="*/ 54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1080">
                    <a:moveTo>
                      <a:pt x="630" y="1080"/>
                    </a:moveTo>
                    <a:lnTo>
                      <a:pt x="600" y="870"/>
                    </a:lnTo>
                    <a:lnTo>
                      <a:pt x="480" y="630"/>
                    </a:lnTo>
                    <a:lnTo>
                      <a:pt x="390" y="720"/>
                    </a:lnTo>
                    <a:lnTo>
                      <a:pt x="270" y="870"/>
                    </a:lnTo>
                    <a:lnTo>
                      <a:pt x="180" y="750"/>
                    </a:lnTo>
                    <a:lnTo>
                      <a:pt x="210" y="600"/>
                    </a:lnTo>
                    <a:lnTo>
                      <a:pt x="90" y="660"/>
                    </a:lnTo>
                    <a:lnTo>
                      <a:pt x="0" y="870"/>
                    </a:lnTo>
                    <a:lnTo>
                      <a:pt x="60" y="510"/>
                    </a:lnTo>
                    <a:lnTo>
                      <a:pt x="0" y="420"/>
                    </a:lnTo>
                    <a:lnTo>
                      <a:pt x="120" y="330"/>
                    </a:lnTo>
                    <a:lnTo>
                      <a:pt x="300" y="390"/>
                    </a:lnTo>
                    <a:lnTo>
                      <a:pt x="330" y="510"/>
                    </a:lnTo>
                    <a:lnTo>
                      <a:pt x="480" y="390"/>
                    </a:lnTo>
                    <a:lnTo>
                      <a:pt x="660" y="240"/>
                    </a:lnTo>
                    <a:lnTo>
                      <a:pt x="480" y="150"/>
                    </a:lnTo>
                    <a:lnTo>
                      <a:pt x="600" y="120"/>
                    </a:lnTo>
                    <a:lnTo>
                      <a:pt x="780" y="180"/>
                    </a:lnTo>
                    <a:lnTo>
                      <a:pt x="750" y="30"/>
                    </a:lnTo>
                    <a:lnTo>
                      <a:pt x="600" y="120"/>
                    </a:lnTo>
                    <a:lnTo>
                      <a:pt x="510" y="0"/>
                    </a:lnTo>
                    <a:lnTo>
                      <a:pt x="480" y="150"/>
                    </a:lnTo>
                    <a:lnTo>
                      <a:pt x="510" y="300"/>
                    </a:lnTo>
                    <a:lnTo>
                      <a:pt x="480" y="390"/>
                    </a:lnTo>
                    <a:lnTo>
                      <a:pt x="60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7" name="Line 2491">
                <a:extLst>
                  <a:ext uri="{FF2B5EF4-FFF2-40B4-BE49-F238E27FC236}">
                    <a16:creationId xmlns:a16="http://schemas.microsoft.com/office/drawing/2014/main" id="{9D76A1CD-7827-4C1B-9E43-14F233D2FBC3}"/>
                  </a:ext>
                </a:extLst>
              </p:cNvPr>
              <p:cNvSpPr>
                <a:spLocks noChangeShapeType="1"/>
              </p:cNvSpPr>
              <p:nvPr/>
            </p:nvSpPr>
            <p:spPr bwMode="auto">
              <a:xfrm>
                <a:off x="1909" y="2013"/>
                <a:ext cx="87" cy="17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8" name="Freeform 2492">
                <a:extLst>
                  <a:ext uri="{FF2B5EF4-FFF2-40B4-BE49-F238E27FC236}">
                    <a16:creationId xmlns:a16="http://schemas.microsoft.com/office/drawing/2014/main" id="{CA2FA443-5A66-4AF0-A32C-DD7CEA993369}"/>
                  </a:ext>
                </a:extLst>
              </p:cNvPr>
              <p:cNvSpPr>
                <a:spLocks/>
              </p:cNvSpPr>
              <p:nvPr/>
            </p:nvSpPr>
            <p:spPr bwMode="auto">
              <a:xfrm>
                <a:off x="1876" y="1890"/>
                <a:ext cx="210" cy="270"/>
              </a:xfrm>
              <a:custGeom>
                <a:avLst/>
                <a:gdLst>
                  <a:gd name="T0" fmla="*/ 210 w 210"/>
                  <a:gd name="T1" fmla="*/ 120 h 270"/>
                  <a:gd name="T2" fmla="*/ 0 w 210"/>
                  <a:gd name="T3" fmla="*/ 270 h 270"/>
                  <a:gd name="T4" fmla="*/ 150 w 210"/>
                  <a:gd name="T5" fmla="*/ 0 h 270"/>
                </a:gdLst>
                <a:ahLst/>
                <a:cxnLst>
                  <a:cxn ang="0">
                    <a:pos x="T0" y="T1"/>
                  </a:cxn>
                  <a:cxn ang="0">
                    <a:pos x="T2" y="T3"/>
                  </a:cxn>
                  <a:cxn ang="0">
                    <a:pos x="T4" y="T5"/>
                  </a:cxn>
                </a:cxnLst>
                <a:rect l="0" t="0" r="r" b="b"/>
                <a:pathLst>
                  <a:path w="210" h="270">
                    <a:moveTo>
                      <a:pt x="210" y="120"/>
                    </a:moveTo>
                    <a:lnTo>
                      <a:pt x="0" y="27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9" name="Freeform 2493">
                <a:extLst>
                  <a:ext uri="{FF2B5EF4-FFF2-40B4-BE49-F238E27FC236}">
                    <a16:creationId xmlns:a16="http://schemas.microsoft.com/office/drawing/2014/main" id="{BF1D89F4-3EC6-4FB8-8846-5E6E3304248F}"/>
                  </a:ext>
                </a:extLst>
              </p:cNvPr>
              <p:cNvSpPr>
                <a:spLocks/>
              </p:cNvSpPr>
              <p:nvPr/>
            </p:nvSpPr>
            <p:spPr bwMode="auto">
              <a:xfrm>
                <a:off x="2175" y="1620"/>
                <a:ext cx="360" cy="483"/>
              </a:xfrm>
              <a:custGeom>
                <a:avLst/>
                <a:gdLst>
                  <a:gd name="T0" fmla="*/ 0 w 432"/>
                  <a:gd name="T1" fmla="*/ 146 h 579"/>
                  <a:gd name="T2" fmla="*/ 216 w 432"/>
                  <a:gd name="T3" fmla="*/ 0 h 579"/>
                  <a:gd name="T4" fmla="*/ 144 w 432"/>
                  <a:gd name="T5" fmla="*/ 216 h 579"/>
                  <a:gd name="T6" fmla="*/ 360 w 432"/>
                  <a:gd name="T7" fmla="*/ 252 h 579"/>
                  <a:gd name="T8" fmla="*/ 324 w 432"/>
                  <a:gd name="T9" fmla="*/ 578 h 579"/>
                  <a:gd name="T10" fmla="*/ 432 w 432"/>
                  <a:gd name="T11" fmla="*/ 432 h 579"/>
                  <a:gd name="T12" fmla="*/ 220 w 432"/>
                  <a:gd name="T13" fmla="*/ 399 h 579"/>
                  <a:gd name="T14" fmla="*/ 112 w 432"/>
                  <a:gd name="T15" fmla="*/ 579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579">
                    <a:moveTo>
                      <a:pt x="0" y="146"/>
                    </a:moveTo>
                    <a:cubicBezTo>
                      <a:pt x="216" y="0"/>
                      <a:pt x="216" y="0"/>
                      <a:pt x="216" y="0"/>
                    </a:cubicBezTo>
                    <a:cubicBezTo>
                      <a:pt x="144" y="216"/>
                      <a:pt x="144" y="216"/>
                      <a:pt x="144" y="216"/>
                    </a:cubicBezTo>
                    <a:cubicBezTo>
                      <a:pt x="360" y="252"/>
                      <a:pt x="360" y="252"/>
                      <a:pt x="360" y="252"/>
                    </a:cubicBezTo>
                    <a:cubicBezTo>
                      <a:pt x="324" y="578"/>
                      <a:pt x="324" y="578"/>
                      <a:pt x="324" y="578"/>
                    </a:cubicBezTo>
                    <a:cubicBezTo>
                      <a:pt x="432" y="432"/>
                      <a:pt x="432" y="432"/>
                      <a:pt x="432" y="432"/>
                    </a:cubicBezTo>
                    <a:cubicBezTo>
                      <a:pt x="220" y="399"/>
                      <a:pt x="220" y="399"/>
                      <a:pt x="220" y="399"/>
                    </a:cubicBezTo>
                    <a:cubicBezTo>
                      <a:pt x="220" y="399"/>
                      <a:pt x="108" y="576"/>
                      <a:pt x="112" y="579"/>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0" name="Freeform 2494">
                <a:extLst>
                  <a:ext uri="{FF2B5EF4-FFF2-40B4-BE49-F238E27FC236}">
                    <a16:creationId xmlns:a16="http://schemas.microsoft.com/office/drawing/2014/main" id="{C461E0AE-854F-4D50-9100-20574BA7DF15}"/>
                  </a:ext>
                </a:extLst>
              </p:cNvPr>
              <p:cNvSpPr>
                <a:spLocks/>
              </p:cNvSpPr>
              <p:nvPr/>
            </p:nvSpPr>
            <p:spPr bwMode="auto">
              <a:xfrm>
                <a:off x="2175" y="1800"/>
                <a:ext cx="120" cy="303"/>
              </a:xfrm>
              <a:custGeom>
                <a:avLst/>
                <a:gdLst>
                  <a:gd name="T0" fmla="*/ 0 w 120"/>
                  <a:gd name="T1" fmla="*/ 90 h 303"/>
                  <a:gd name="T2" fmla="*/ 120 w 120"/>
                  <a:gd name="T3" fmla="*/ 0 h 303"/>
                  <a:gd name="T4" fmla="*/ 94 w 120"/>
                  <a:gd name="T5" fmla="*/ 303 h 303"/>
                </a:gdLst>
                <a:ahLst/>
                <a:cxnLst>
                  <a:cxn ang="0">
                    <a:pos x="T0" y="T1"/>
                  </a:cxn>
                  <a:cxn ang="0">
                    <a:pos x="T2" y="T3"/>
                  </a:cxn>
                  <a:cxn ang="0">
                    <a:pos x="T4" y="T5"/>
                  </a:cxn>
                </a:cxnLst>
                <a:rect l="0" t="0" r="r" b="b"/>
                <a:pathLst>
                  <a:path w="120" h="303">
                    <a:moveTo>
                      <a:pt x="0" y="90"/>
                    </a:moveTo>
                    <a:lnTo>
                      <a:pt x="120" y="0"/>
                    </a:lnTo>
                    <a:lnTo>
                      <a:pt x="94" y="30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1" name="Freeform 2495">
                <a:extLst>
                  <a:ext uri="{FF2B5EF4-FFF2-40B4-BE49-F238E27FC236}">
                    <a16:creationId xmlns:a16="http://schemas.microsoft.com/office/drawing/2014/main" id="{B32F55D1-4870-4354-830E-2ECCF6C270A9}"/>
                  </a:ext>
                </a:extLst>
              </p:cNvPr>
              <p:cNvSpPr>
                <a:spLocks/>
              </p:cNvSpPr>
              <p:nvPr/>
            </p:nvSpPr>
            <p:spPr bwMode="auto">
              <a:xfrm>
                <a:off x="2625" y="1922"/>
                <a:ext cx="1110" cy="868"/>
              </a:xfrm>
              <a:custGeom>
                <a:avLst/>
                <a:gdLst>
                  <a:gd name="T0" fmla="*/ 240 w 1110"/>
                  <a:gd name="T1" fmla="*/ 0 h 868"/>
                  <a:gd name="T2" fmla="*/ 210 w 1110"/>
                  <a:gd name="T3" fmla="*/ 148 h 868"/>
                  <a:gd name="T4" fmla="*/ 150 w 1110"/>
                  <a:gd name="T5" fmla="*/ 238 h 868"/>
                  <a:gd name="T6" fmla="*/ 0 w 1110"/>
                  <a:gd name="T7" fmla="*/ 328 h 868"/>
                  <a:gd name="T8" fmla="*/ 0 w 1110"/>
                  <a:gd name="T9" fmla="*/ 478 h 868"/>
                  <a:gd name="T10" fmla="*/ 120 w 1110"/>
                  <a:gd name="T11" fmla="*/ 388 h 868"/>
                  <a:gd name="T12" fmla="*/ 270 w 1110"/>
                  <a:gd name="T13" fmla="*/ 268 h 868"/>
                  <a:gd name="T14" fmla="*/ 510 w 1110"/>
                  <a:gd name="T15" fmla="*/ 118 h 868"/>
                  <a:gd name="T16" fmla="*/ 600 w 1110"/>
                  <a:gd name="T17" fmla="*/ 178 h 868"/>
                  <a:gd name="T18" fmla="*/ 690 w 1110"/>
                  <a:gd name="T19" fmla="*/ 298 h 868"/>
                  <a:gd name="T20" fmla="*/ 780 w 1110"/>
                  <a:gd name="T21" fmla="*/ 178 h 868"/>
                  <a:gd name="T22" fmla="*/ 600 w 1110"/>
                  <a:gd name="T23" fmla="*/ 178 h 868"/>
                  <a:gd name="T24" fmla="*/ 600 w 1110"/>
                  <a:gd name="T25" fmla="*/ 329 h 868"/>
                  <a:gd name="T26" fmla="*/ 510 w 1110"/>
                  <a:gd name="T27" fmla="*/ 298 h 868"/>
                  <a:gd name="T28" fmla="*/ 480 w 1110"/>
                  <a:gd name="T29" fmla="*/ 388 h 868"/>
                  <a:gd name="T30" fmla="*/ 480 w 1110"/>
                  <a:gd name="T31" fmla="*/ 628 h 868"/>
                  <a:gd name="T32" fmla="*/ 600 w 1110"/>
                  <a:gd name="T33" fmla="*/ 538 h 868"/>
                  <a:gd name="T34" fmla="*/ 688 w 1110"/>
                  <a:gd name="T35" fmla="*/ 630 h 868"/>
                  <a:gd name="T36" fmla="*/ 660 w 1110"/>
                  <a:gd name="T37" fmla="*/ 448 h 868"/>
                  <a:gd name="T38" fmla="*/ 750 w 1110"/>
                  <a:gd name="T39" fmla="*/ 388 h 868"/>
                  <a:gd name="T40" fmla="*/ 870 w 1110"/>
                  <a:gd name="T41" fmla="*/ 448 h 868"/>
                  <a:gd name="T42" fmla="*/ 750 w 1110"/>
                  <a:gd name="T43" fmla="*/ 508 h 868"/>
                  <a:gd name="T44" fmla="*/ 840 w 1110"/>
                  <a:gd name="T45" fmla="*/ 568 h 868"/>
                  <a:gd name="T46" fmla="*/ 1110 w 1110"/>
                  <a:gd name="T47" fmla="*/ 538 h 868"/>
                  <a:gd name="T48" fmla="*/ 990 w 1110"/>
                  <a:gd name="T49" fmla="*/ 598 h 868"/>
                  <a:gd name="T50" fmla="*/ 1020 w 1110"/>
                  <a:gd name="T51" fmla="*/ 868 h 868"/>
                  <a:gd name="T52" fmla="*/ 810 w 1110"/>
                  <a:gd name="T53" fmla="*/ 68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0" h="868">
                    <a:moveTo>
                      <a:pt x="240" y="0"/>
                    </a:moveTo>
                    <a:lnTo>
                      <a:pt x="210" y="148"/>
                    </a:lnTo>
                    <a:lnTo>
                      <a:pt x="150" y="238"/>
                    </a:lnTo>
                    <a:lnTo>
                      <a:pt x="0" y="328"/>
                    </a:lnTo>
                    <a:lnTo>
                      <a:pt x="0" y="478"/>
                    </a:lnTo>
                    <a:lnTo>
                      <a:pt x="120" y="388"/>
                    </a:lnTo>
                    <a:lnTo>
                      <a:pt x="270" y="268"/>
                    </a:lnTo>
                    <a:lnTo>
                      <a:pt x="510" y="118"/>
                    </a:lnTo>
                    <a:lnTo>
                      <a:pt x="600" y="178"/>
                    </a:lnTo>
                    <a:lnTo>
                      <a:pt x="690" y="298"/>
                    </a:lnTo>
                    <a:lnTo>
                      <a:pt x="780" y="178"/>
                    </a:lnTo>
                    <a:lnTo>
                      <a:pt x="600" y="178"/>
                    </a:lnTo>
                    <a:lnTo>
                      <a:pt x="600" y="329"/>
                    </a:lnTo>
                    <a:lnTo>
                      <a:pt x="510" y="298"/>
                    </a:lnTo>
                    <a:lnTo>
                      <a:pt x="480" y="388"/>
                    </a:lnTo>
                    <a:lnTo>
                      <a:pt x="480" y="628"/>
                    </a:lnTo>
                    <a:lnTo>
                      <a:pt x="600" y="538"/>
                    </a:lnTo>
                    <a:lnTo>
                      <a:pt x="688" y="630"/>
                    </a:lnTo>
                    <a:lnTo>
                      <a:pt x="660" y="448"/>
                    </a:lnTo>
                    <a:lnTo>
                      <a:pt x="750" y="388"/>
                    </a:lnTo>
                    <a:lnTo>
                      <a:pt x="870" y="448"/>
                    </a:lnTo>
                    <a:lnTo>
                      <a:pt x="750" y="508"/>
                    </a:lnTo>
                    <a:lnTo>
                      <a:pt x="840" y="568"/>
                    </a:lnTo>
                    <a:lnTo>
                      <a:pt x="1110" y="538"/>
                    </a:lnTo>
                    <a:lnTo>
                      <a:pt x="990" y="598"/>
                    </a:lnTo>
                    <a:lnTo>
                      <a:pt x="1020" y="868"/>
                    </a:lnTo>
                    <a:lnTo>
                      <a:pt x="810" y="6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2" name="Line 2496">
                <a:extLst>
                  <a:ext uri="{FF2B5EF4-FFF2-40B4-BE49-F238E27FC236}">
                    <a16:creationId xmlns:a16="http://schemas.microsoft.com/office/drawing/2014/main" id="{47E9CF75-502B-418D-B7FD-099F2B884CB5}"/>
                  </a:ext>
                </a:extLst>
              </p:cNvPr>
              <p:cNvSpPr>
                <a:spLocks noChangeShapeType="1"/>
              </p:cNvSpPr>
              <p:nvPr/>
            </p:nvSpPr>
            <p:spPr bwMode="auto">
              <a:xfrm flipV="1">
                <a:off x="2835" y="195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3" name="Line 2497">
                <a:extLst>
                  <a:ext uri="{FF2B5EF4-FFF2-40B4-BE49-F238E27FC236}">
                    <a16:creationId xmlns:a16="http://schemas.microsoft.com/office/drawing/2014/main" id="{2E7C82E8-E4BE-4E1F-B90D-4C29DA821EBB}"/>
                  </a:ext>
                </a:extLst>
              </p:cNvPr>
              <p:cNvSpPr>
                <a:spLocks noChangeShapeType="1"/>
              </p:cNvSpPr>
              <p:nvPr/>
            </p:nvSpPr>
            <p:spPr bwMode="auto">
              <a:xfrm flipH="1" flipV="1">
                <a:off x="2865" y="1922"/>
                <a:ext cx="152" cy="15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4" name="Freeform 2498">
                <a:extLst>
                  <a:ext uri="{FF2B5EF4-FFF2-40B4-BE49-F238E27FC236}">
                    <a16:creationId xmlns:a16="http://schemas.microsoft.com/office/drawing/2014/main" id="{F30B68B2-46FF-48BE-BA6D-CD620095A2DE}"/>
                  </a:ext>
                </a:extLst>
              </p:cNvPr>
              <p:cNvSpPr>
                <a:spLocks/>
              </p:cNvSpPr>
              <p:nvPr/>
            </p:nvSpPr>
            <p:spPr bwMode="auto">
              <a:xfrm>
                <a:off x="3077" y="1713"/>
                <a:ext cx="328" cy="390"/>
              </a:xfrm>
              <a:custGeom>
                <a:avLst/>
                <a:gdLst>
                  <a:gd name="T0" fmla="*/ 271 w 328"/>
                  <a:gd name="T1" fmla="*/ 0 h 390"/>
                  <a:gd name="T2" fmla="*/ 238 w 328"/>
                  <a:gd name="T3" fmla="*/ 147 h 390"/>
                  <a:gd name="T4" fmla="*/ 151 w 328"/>
                  <a:gd name="T5" fmla="*/ 390 h 390"/>
                  <a:gd name="T6" fmla="*/ 328 w 328"/>
                  <a:gd name="T7" fmla="*/ 207 h 390"/>
                  <a:gd name="T8" fmla="*/ 328 w 328"/>
                  <a:gd name="T9" fmla="*/ 389 h 390"/>
                  <a:gd name="T10" fmla="*/ 118 w 328"/>
                  <a:gd name="T11" fmla="*/ 177 h 390"/>
                  <a:gd name="T12" fmla="*/ 58 w 328"/>
                  <a:gd name="T13" fmla="*/ 327 h 390"/>
                  <a:gd name="T14" fmla="*/ 0 w 328"/>
                  <a:gd name="T15" fmla="*/ 180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90">
                    <a:moveTo>
                      <a:pt x="271" y="0"/>
                    </a:moveTo>
                    <a:lnTo>
                      <a:pt x="238" y="147"/>
                    </a:lnTo>
                    <a:lnTo>
                      <a:pt x="151" y="390"/>
                    </a:lnTo>
                    <a:lnTo>
                      <a:pt x="328" y="207"/>
                    </a:lnTo>
                    <a:lnTo>
                      <a:pt x="328" y="389"/>
                    </a:lnTo>
                    <a:lnTo>
                      <a:pt x="118" y="177"/>
                    </a:lnTo>
                    <a:lnTo>
                      <a:pt x="58" y="327"/>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5" name="Line 2499">
                <a:extLst>
                  <a:ext uri="{FF2B5EF4-FFF2-40B4-BE49-F238E27FC236}">
                    <a16:creationId xmlns:a16="http://schemas.microsoft.com/office/drawing/2014/main" id="{C6C8E514-8B17-49F0-8808-4EB72ED6C2AF}"/>
                  </a:ext>
                </a:extLst>
              </p:cNvPr>
              <p:cNvSpPr>
                <a:spLocks noChangeShapeType="1"/>
              </p:cNvSpPr>
              <p:nvPr/>
            </p:nvSpPr>
            <p:spPr bwMode="auto">
              <a:xfrm flipH="1" flipV="1">
                <a:off x="3348" y="1713"/>
                <a:ext cx="177" cy="11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6" name="Line 2500">
                <a:extLst>
                  <a:ext uri="{FF2B5EF4-FFF2-40B4-BE49-F238E27FC236}">
                    <a16:creationId xmlns:a16="http://schemas.microsoft.com/office/drawing/2014/main" id="{D0C3E7A0-55D7-40A2-AEE2-ED694B06C281}"/>
                  </a:ext>
                </a:extLst>
              </p:cNvPr>
              <p:cNvSpPr>
                <a:spLocks noChangeShapeType="1"/>
              </p:cNvSpPr>
              <p:nvPr/>
            </p:nvSpPr>
            <p:spPr bwMode="auto">
              <a:xfrm flipV="1">
                <a:off x="3315" y="1442"/>
                <a:ext cx="88" cy="118"/>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7" name="Freeform 2501">
                <a:extLst>
                  <a:ext uri="{FF2B5EF4-FFF2-40B4-BE49-F238E27FC236}">
                    <a16:creationId xmlns:a16="http://schemas.microsoft.com/office/drawing/2014/main" id="{97450543-F7FE-4239-B7AE-7CE2DAE92616}"/>
                  </a:ext>
                </a:extLst>
              </p:cNvPr>
              <p:cNvSpPr>
                <a:spLocks/>
              </p:cNvSpPr>
              <p:nvPr/>
            </p:nvSpPr>
            <p:spPr bwMode="auto">
              <a:xfrm>
                <a:off x="2625" y="780"/>
                <a:ext cx="690" cy="630"/>
              </a:xfrm>
              <a:custGeom>
                <a:avLst/>
                <a:gdLst>
                  <a:gd name="T0" fmla="*/ 660 w 690"/>
                  <a:gd name="T1" fmla="*/ 630 h 630"/>
                  <a:gd name="T2" fmla="*/ 690 w 690"/>
                  <a:gd name="T3" fmla="*/ 390 h 630"/>
                  <a:gd name="T4" fmla="*/ 570 w 690"/>
                  <a:gd name="T5" fmla="*/ 420 h 630"/>
                  <a:gd name="T6" fmla="*/ 450 w 690"/>
                  <a:gd name="T7" fmla="*/ 240 h 630"/>
                  <a:gd name="T8" fmla="*/ 420 w 690"/>
                  <a:gd name="T9" fmla="*/ 420 h 630"/>
                  <a:gd name="T10" fmla="*/ 330 w 690"/>
                  <a:gd name="T11" fmla="*/ 330 h 630"/>
                  <a:gd name="T12" fmla="*/ 210 w 690"/>
                  <a:gd name="T13" fmla="*/ 270 h 630"/>
                  <a:gd name="T14" fmla="*/ 0 w 690"/>
                  <a:gd name="T15" fmla="*/ 210 h 630"/>
                  <a:gd name="T16" fmla="*/ 270 w 690"/>
                  <a:gd name="T17" fmla="*/ 180 h 630"/>
                  <a:gd name="T18" fmla="*/ 180 w 690"/>
                  <a:gd name="T19" fmla="*/ 30 h 630"/>
                  <a:gd name="T20" fmla="*/ 330 w 690"/>
                  <a:gd name="T21" fmla="*/ 0 h 630"/>
                  <a:gd name="T22" fmla="*/ 120 w 690"/>
                  <a:gd name="T23" fmla="*/ 15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0" h="630">
                    <a:moveTo>
                      <a:pt x="660" y="630"/>
                    </a:moveTo>
                    <a:lnTo>
                      <a:pt x="690" y="390"/>
                    </a:lnTo>
                    <a:lnTo>
                      <a:pt x="570" y="420"/>
                    </a:lnTo>
                    <a:lnTo>
                      <a:pt x="450" y="240"/>
                    </a:lnTo>
                    <a:lnTo>
                      <a:pt x="420" y="420"/>
                    </a:lnTo>
                    <a:lnTo>
                      <a:pt x="330" y="330"/>
                    </a:lnTo>
                    <a:lnTo>
                      <a:pt x="210" y="270"/>
                    </a:lnTo>
                    <a:lnTo>
                      <a:pt x="0" y="210"/>
                    </a:lnTo>
                    <a:lnTo>
                      <a:pt x="270" y="180"/>
                    </a:lnTo>
                    <a:lnTo>
                      <a:pt x="180" y="30"/>
                    </a:lnTo>
                    <a:lnTo>
                      <a:pt x="330"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8" name="Line 2502">
                <a:extLst>
                  <a:ext uri="{FF2B5EF4-FFF2-40B4-BE49-F238E27FC236}">
                    <a16:creationId xmlns:a16="http://schemas.microsoft.com/office/drawing/2014/main" id="{B92874B6-D45C-4846-8031-F71C6C516475}"/>
                  </a:ext>
                </a:extLst>
              </p:cNvPr>
              <p:cNvSpPr>
                <a:spLocks noChangeShapeType="1"/>
              </p:cNvSpPr>
              <p:nvPr/>
            </p:nvSpPr>
            <p:spPr bwMode="auto">
              <a:xfrm flipH="1">
                <a:off x="3285" y="1290"/>
                <a:ext cx="15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9" name="Freeform 2503">
                <a:extLst>
                  <a:ext uri="{FF2B5EF4-FFF2-40B4-BE49-F238E27FC236}">
                    <a16:creationId xmlns:a16="http://schemas.microsoft.com/office/drawing/2014/main" id="{F4E81DFB-073A-4D26-8745-5056979C70B4}"/>
                  </a:ext>
                </a:extLst>
              </p:cNvPr>
              <p:cNvSpPr>
                <a:spLocks/>
              </p:cNvSpPr>
              <p:nvPr/>
            </p:nvSpPr>
            <p:spPr bwMode="auto">
              <a:xfrm>
                <a:off x="3315" y="1082"/>
                <a:ext cx="120" cy="208"/>
              </a:xfrm>
              <a:custGeom>
                <a:avLst/>
                <a:gdLst>
                  <a:gd name="T0" fmla="*/ 120 w 120"/>
                  <a:gd name="T1" fmla="*/ 208 h 208"/>
                  <a:gd name="T2" fmla="*/ 90 w 120"/>
                  <a:gd name="T3" fmla="*/ 0 h 208"/>
                  <a:gd name="T4" fmla="*/ 0 w 120"/>
                  <a:gd name="T5" fmla="*/ 88 h 208"/>
                </a:gdLst>
                <a:ahLst/>
                <a:cxnLst>
                  <a:cxn ang="0">
                    <a:pos x="T0" y="T1"/>
                  </a:cxn>
                  <a:cxn ang="0">
                    <a:pos x="T2" y="T3"/>
                  </a:cxn>
                  <a:cxn ang="0">
                    <a:pos x="T4" y="T5"/>
                  </a:cxn>
                </a:cxnLst>
                <a:rect l="0" t="0" r="r" b="b"/>
                <a:pathLst>
                  <a:path w="120" h="208">
                    <a:moveTo>
                      <a:pt x="120" y="208"/>
                    </a:moveTo>
                    <a:lnTo>
                      <a:pt x="90" y="0"/>
                    </a:lnTo>
                    <a:lnTo>
                      <a:pt x="0" y="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0" name="Freeform 2504">
                <a:extLst>
                  <a:ext uri="{FF2B5EF4-FFF2-40B4-BE49-F238E27FC236}">
                    <a16:creationId xmlns:a16="http://schemas.microsoft.com/office/drawing/2014/main" id="{B0C11A1A-840C-4A08-A831-BFC87D28939E}"/>
                  </a:ext>
                </a:extLst>
              </p:cNvPr>
              <p:cNvSpPr>
                <a:spLocks/>
              </p:cNvSpPr>
              <p:nvPr/>
            </p:nvSpPr>
            <p:spPr bwMode="auto">
              <a:xfrm>
                <a:off x="3195" y="1200"/>
                <a:ext cx="240" cy="242"/>
              </a:xfrm>
              <a:custGeom>
                <a:avLst/>
                <a:gdLst>
                  <a:gd name="T0" fmla="*/ 240 w 240"/>
                  <a:gd name="T1" fmla="*/ 90 h 242"/>
                  <a:gd name="T2" fmla="*/ 0 w 240"/>
                  <a:gd name="T3" fmla="*/ 0 h 242"/>
                  <a:gd name="T4" fmla="*/ 208 w 240"/>
                  <a:gd name="T5" fmla="*/ 242 h 242"/>
                </a:gdLst>
                <a:ahLst/>
                <a:cxnLst>
                  <a:cxn ang="0">
                    <a:pos x="T0" y="T1"/>
                  </a:cxn>
                  <a:cxn ang="0">
                    <a:pos x="T2" y="T3"/>
                  </a:cxn>
                  <a:cxn ang="0">
                    <a:pos x="T4" y="T5"/>
                  </a:cxn>
                </a:cxnLst>
                <a:rect l="0" t="0" r="r" b="b"/>
                <a:pathLst>
                  <a:path w="240" h="242">
                    <a:moveTo>
                      <a:pt x="240" y="90"/>
                    </a:moveTo>
                    <a:lnTo>
                      <a:pt x="0" y="0"/>
                    </a:lnTo>
                    <a:lnTo>
                      <a:pt x="208" y="24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1" name="Line 2505">
                <a:extLst>
                  <a:ext uri="{FF2B5EF4-FFF2-40B4-BE49-F238E27FC236}">
                    <a16:creationId xmlns:a16="http://schemas.microsoft.com/office/drawing/2014/main" id="{A68D7FA7-8204-4053-919B-44A1CFDA5330}"/>
                  </a:ext>
                </a:extLst>
              </p:cNvPr>
              <p:cNvSpPr>
                <a:spLocks noChangeShapeType="1"/>
              </p:cNvSpPr>
              <p:nvPr/>
            </p:nvSpPr>
            <p:spPr bwMode="auto">
              <a:xfrm flipH="1">
                <a:off x="3585" y="1260"/>
                <a:ext cx="30" cy="272"/>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2" name="Freeform 2506">
                <a:extLst>
                  <a:ext uri="{FF2B5EF4-FFF2-40B4-BE49-F238E27FC236}">
                    <a16:creationId xmlns:a16="http://schemas.microsoft.com/office/drawing/2014/main" id="{AA978C50-018D-4652-B0F9-E1A9EE0902A1}"/>
                  </a:ext>
                </a:extLst>
              </p:cNvPr>
              <p:cNvSpPr>
                <a:spLocks/>
              </p:cNvSpPr>
              <p:nvPr/>
            </p:nvSpPr>
            <p:spPr bwMode="auto">
              <a:xfrm>
                <a:off x="3555" y="450"/>
                <a:ext cx="449" cy="1140"/>
              </a:xfrm>
              <a:custGeom>
                <a:avLst/>
                <a:gdLst>
                  <a:gd name="T0" fmla="*/ 449 w 449"/>
                  <a:gd name="T1" fmla="*/ 1140 h 1140"/>
                  <a:gd name="T2" fmla="*/ 329 w 449"/>
                  <a:gd name="T3" fmla="*/ 930 h 1140"/>
                  <a:gd name="T4" fmla="*/ 419 w 449"/>
                  <a:gd name="T5" fmla="*/ 690 h 1140"/>
                  <a:gd name="T6" fmla="*/ 239 w 449"/>
                  <a:gd name="T7" fmla="*/ 600 h 1140"/>
                  <a:gd name="T8" fmla="*/ 269 w 449"/>
                  <a:gd name="T9" fmla="*/ 780 h 1140"/>
                  <a:gd name="T10" fmla="*/ 389 w 449"/>
                  <a:gd name="T11" fmla="*/ 570 h 1140"/>
                  <a:gd name="T12" fmla="*/ 419 w 449"/>
                  <a:gd name="T13" fmla="*/ 450 h 1140"/>
                  <a:gd name="T14" fmla="*/ 359 w 449"/>
                  <a:gd name="T15" fmla="*/ 330 h 1140"/>
                  <a:gd name="T16" fmla="*/ 389 w 449"/>
                  <a:gd name="T17" fmla="*/ 180 h 1140"/>
                  <a:gd name="T18" fmla="*/ 239 w 449"/>
                  <a:gd name="T19" fmla="*/ 60 h 1140"/>
                  <a:gd name="T20" fmla="*/ 150 w 449"/>
                  <a:gd name="T21" fmla="*/ 180 h 1140"/>
                  <a:gd name="T22" fmla="*/ 0 w 449"/>
                  <a:gd name="T23" fmla="*/ 270 h 1140"/>
                  <a:gd name="T24" fmla="*/ 0 w 449"/>
                  <a:gd name="T25" fmla="*/ 420 h 1140"/>
                  <a:gd name="T26" fmla="*/ 120 w 449"/>
                  <a:gd name="T27" fmla="*/ 330 h 1140"/>
                  <a:gd name="T28" fmla="*/ 269 w 449"/>
                  <a:gd name="T29" fmla="*/ 210 h 1140"/>
                  <a:gd name="T30" fmla="*/ 239 w 449"/>
                  <a:gd name="T31" fmla="*/ 60 h 1140"/>
                  <a:gd name="T32" fmla="*/ 120 w 449"/>
                  <a:gd name="T33" fmla="*/ 0 h 1140"/>
                  <a:gd name="T34" fmla="*/ 30 w 449"/>
                  <a:gd name="T35" fmla="*/ 9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1140">
                    <a:moveTo>
                      <a:pt x="449" y="1140"/>
                    </a:moveTo>
                    <a:lnTo>
                      <a:pt x="329" y="930"/>
                    </a:lnTo>
                    <a:lnTo>
                      <a:pt x="419" y="690"/>
                    </a:lnTo>
                    <a:lnTo>
                      <a:pt x="239" y="600"/>
                    </a:lnTo>
                    <a:lnTo>
                      <a:pt x="269" y="780"/>
                    </a:lnTo>
                    <a:lnTo>
                      <a:pt x="389" y="570"/>
                    </a:lnTo>
                    <a:lnTo>
                      <a:pt x="419" y="450"/>
                    </a:lnTo>
                    <a:lnTo>
                      <a:pt x="359" y="330"/>
                    </a:lnTo>
                    <a:lnTo>
                      <a:pt x="389" y="180"/>
                    </a:lnTo>
                    <a:lnTo>
                      <a:pt x="239" y="60"/>
                    </a:lnTo>
                    <a:lnTo>
                      <a:pt x="150" y="180"/>
                    </a:lnTo>
                    <a:lnTo>
                      <a:pt x="0" y="270"/>
                    </a:lnTo>
                    <a:lnTo>
                      <a:pt x="0" y="420"/>
                    </a:lnTo>
                    <a:lnTo>
                      <a:pt x="120" y="330"/>
                    </a:lnTo>
                    <a:lnTo>
                      <a:pt x="269" y="210"/>
                    </a:lnTo>
                    <a:lnTo>
                      <a:pt x="239" y="60"/>
                    </a:lnTo>
                    <a:lnTo>
                      <a:pt x="120" y="0"/>
                    </a:lnTo>
                    <a:lnTo>
                      <a:pt x="3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3" name="Line 2507">
                <a:extLst>
                  <a:ext uri="{FF2B5EF4-FFF2-40B4-BE49-F238E27FC236}">
                    <a16:creationId xmlns:a16="http://schemas.microsoft.com/office/drawing/2014/main" id="{0FB7AB30-E8EB-4E75-8295-69F868C119B9}"/>
                  </a:ext>
                </a:extLst>
              </p:cNvPr>
              <p:cNvSpPr>
                <a:spLocks noChangeShapeType="1"/>
              </p:cNvSpPr>
              <p:nvPr/>
            </p:nvSpPr>
            <p:spPr bwMode="auto">
              <a:xfrm>
                <a:off x="4004"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4" name="Freeform 2508">
                <a:extLst>
                  <a:ext uri="{FF2B5EF4-FFF2-40B4-BE49-F238E27FC236}">
                    <a16:creationId xmlns:a16="http://schemas.microsoft.com/office/drawing/2014/main" id="{CC0B7C34-FE55-4F03-82D9-E8197139237C}"/>
                  </a:ext>
                </a:extLst>
              </p:cNvPr>
              <p:cNvSpPr>
                <a:spLocks/>
              </p:cNvSpPr>
              <p:nvPr/>
            </p:nvSpPr>
            <p:spPr bwMode="auto">
              <a:xfrm>
                <a:off x="3525" y="1740"/>
                <a:ext cx="659" cy="423"/>
              </a:xfrm>
              <a:custGeom>
                <a:avLst/>
                <a:gdLst>
                  <a:gd name="T0" fmla="*/ 300 w 659"/>
                  <a:gd name="T1" fmla="*/ 303 h 423"/>
                  <a:gd name="T2" fmla="*/ 299 w 659"/>
                  <a:gd name="T3" fmla="*/ 150 h 423"/>
                  <a:gd name="T4" fmla="*/ 451 w 659"/>
                  <a:gd name="T5" fmla="*/ 423 h 423"/>
                  <a:gd name="T6" fmla="*/ 483 w 659"/>
                  <a:gd name="T7" fmla="*/ 213 h 423"/>
                  <a:gd name="T8" fmla="*/ 659 w 659"/>
                  <a:gd name="T9" fmla="*/ 300 h 423"/>
                  <a:gd name="T10" fmla="*/ 419 w 659"/>
                  <a:gd name="T11" fmla="*/ 60 h 423"/>
                  <a:gd name="T12" fmla="*/ 479 w 659"/>
                  <a:gd name="T13" fmla="*/ 210 h 423"/>
                  <a:gd name="T14" fmla="*/ 299 w 659"/>
                  <a:gd name="T15" fmla="*/ 0 h 423"/>
                  <a:gd name="T16" fmla="*/ 150 w 659"/>
                  <a:gd name="T17" fmla="*/ 150 h 423"/>
                  <a:gd name="T18" fmla="*/ 0 w 659"/>
                  <a:gd name="T19" fmla="*/ 9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9" h="423">
                    <a:moveTo>
                      <a:pt x="300" y="303"/>
                    </a:moveTo>
                    <a:lnTo>
                      <a:pt x="299" y="150"/>
                    </a:lnTo>
                    <a:lnTo>
                      <a:pt x="451" y="423"/>
                    </a:lnTo>
                    <a:lnTo>
                      <a:pt x="483" y="213"/>
                    </a:lnTo>
                    <a:lnTo>
                      <a:pt x="659" y="300"/>
                    </a:lnTo>
                    <a:lnTo>
                      <a:pt x="419" y="60"/>
                    </a:lnTo>
                    <a:lnTo>
                      <a:pt x="479" y="210"/>
                    </a:lnTo>
                    <a:lnTo>
                      <a:pt x="299" y="0"/>
                    </a:lnTo>
                    <a:lnTo>
                      <a:pt x="150" y="15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5" name="Freeform 2509">
                <a:extLst>
                  <a:ext uri="{FF2B5EF4-FFF2-40B4-BE49-F238E27FC236}">
                    <a16:creationId xmlns:a16="http://schemas.microsoft.com/office/drawing/2014/main" id="{76411EEF-1CA8-44C7-B545-213629A4423A}"/>
                  </a:ext>
                </a:extLst>
              </p:cNvPr>
              <p:cNvSpPr>
                <a:spLocks/>
              </p:cNvSpPr>
              <p:nvPr/>
            </p:nvSpPr>
            <p:spPr bwMode="auto">
              <a:xfrm>
                <a:off x="3315" y="1860"/>
                <a:ext cx="393" cy="123"/>
              </a:xfrm>
              <a:custGeom>
                <a:avLst/>
                <a:gdLst>
                  <a:gd name="T0" fmla="*/ 393 w 393"/>
                  <a:gd name="T1" fmla="*/ 123 h 123"/>
                  <a:gd name="T2" fmla="*/ 90 w 393"/>
                  <a:gd name="T3" fmla="*/ 60 h 123"/>
                  <a:gd name="T4" fmla="*/ 0 w 393"/>
                  <a:gd name="T5" fmla="*/ 0 h 123"/>
                </a:gdLst>
                <a:ahLst/>
                <a:cxnLst>
                  <a:cxn ang="0">
                    <a:pos x="T0" y="T1"/>
                  </a:cxn>
                  <a:cxn ang="0">
                    <a:pos x="T2" y="T3"/>
                  </a:cxn>
                  <a:cxn ang="0">
                    <a:pos x="T4" y="T5"/>
                  </a:cxn>
                </a:cxnLst>
                <a:rect l="0" t="0" r="r" b="b"/>
                <a:pathLst>
                  <a:path w="393" h="123">
                    <a:moveTo>
                      <a:pt x="393" y="123"/>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6" name="Freeform 2510">
                <a:extLst>
                  <a:ext uri="{FF2B5EF4-FFF2-40B4-BE49-F238E27FC236}">
                    <a16:creationId xmlns:a16="http://schemas.microsoft.com/office/drawing/2014/main" id="{D94200DB-F1AA-4955-BA9B-E6A13758EA03}"/>
                  </a:ext>
                </a:extLst>
              </p:cNvPr>
              <p:cNvSpPr>
                <a:spLocks/>
              </p:cNvSpPr>
              <p:nvPr/>
            </p:nvSpPr>
            <p:spPr bwMode="auto">
              <a:xfrm>
                <a:off x="1276" y="60"/>
                <a:ext cx="690" cy="600"/>
              </a:xfrm>
              <a:custGeom>
                <a:avLst/>
                <a:gdLst>
                  <a:gd name="T0" fmla="*/ 690 w 690"/>
                  <a:gd name="T1" fmla="*/ 600 h 600"/>
                  <a:gd name="T2" fmla="*/ 630 w 690"/>
                  <a:gd name="T3" fmla="*/ 450 h 600"/>
                  <a:gd name="T4" fmla="*/ 480 w 690"/>
                  <a:gd name="T5" fmla="*/ 210 h 600"/>
                  <a:gd name="T6" fmla="*/ 330 w 690"/>
                  <a:gd name="T7" fmla="*/ 0 h 600"/>
                  <a:gd name="T8" fmla="*/ 150 w 690"/>
                  <a:gd name="T9" fmla="*/ 90 h 600"/>
                  <a:gd name="T10" fmla="*/ 60 w 690"/>
                  <a:gd name="T11" fmla="*/ 210 h 600"/>
                  <a:gd name="T12" fmla="*/ 300 w 690"/>
                  <a:gd name="T13" fmla="*/ 210 h 600"/>
                  <a:gd name="T14" fmla="*/ 330 w 690"/>
                  <a:gd name="T15" fmla="*/ 0 h 600"/>
                  <a:gd name="T16" fmla="*/ 0 w 690"/>
                  <a:gd name="T17" fmla="*/ 60 h 600"/>
                  <a:gd name="T18" fmla="*/ 150 w 690"/>
                  <a:gd name="T19" fmla="*/ 90 h 600"/>
                  <a:gd name="T20" fmla="*/ 180 w 690"/>
                  <a:gd name="T21" fmla="*/ 240 h 600"/>
                  <a:gd name="T22" fmla="*/ 60 w 690"/>
                  <a:gd name="T23" fmla="*/ 210 h 600"/>
                  <a:gd name="T24" fmla="*/ 30 w 690"/>
                  <a:gd name="T25" fmla="*/ 360 h 600"/>
                  <a:gd name="T26" fmla="*/ 60 w 690"/>
                  <a:gd name="T27" fmla="*/ 51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0" h="600">
                    <a:moveTo>
                      <a:pt x="690" y="600"/>
                    </a:moveTo>
                    <a:lnTo>
                      <a:pt x="630" y="450"/>
                    </a:lnTo>
                    <a:lnTo>
                      <a:pt x="480" y="210"/>
                    </a:lnTo>
                    <a:lnTo>
                      <a:pt x="330" y="0"/>
                    </a:lnTo>
                    <a:lnTo>
                      <a:pt x="150" y="90"/>
                    </a:lnTo>
                    <a:lnTo>
                      <a:pt x="60" y="210"/>
                    </a:lnTo>
                    <a:lnTo>
                      <a:pt x="300" y="210"/>
                    </a:lnTo>
                    <a:lnTo>
                      <a:pt x="330" y="0"/>
                    </a:lnTo>
                    <a:lnTo>
                      <a:pt x="0" y="60"/>
                    </a:lnTo>
                    <a:lnTo>
                      <a:pt x="150" y="90"/>
                    </a:lnTo>
                    <a:lnTo>
                      <a:pt x="180" y="240"/>
                    </a:lnTo>
                    <a:lnTo>
                      <a:pt x="60" y="210"/>
                    </a:lnTo>
                    <a:lnTo>
                      <a:pt x="30" y="360"/>
                    </a:lnTo>
                    <a:lnTo>
                      <a:pt x="60"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7" name="Freeform 2511">
                <a:extLst>
                  <a:ext uri="{FF2B5EF4-FFF2-40B4-BE49-F238E27FC236}">
                    <a16:creationId xmlns:a16="http://schemas.microsoft.com/office/drawing/2014/main" id="{D0C9E573-3A7A-494F-AF25-0B82962F6842}"/>
                  </a:ext>
                </a:extLst>
              </p:cNvPr>
              <p:cNvSpPr>
                <a:spLocks/>
              </p:cNvSpPr>
              <p:nvPr/>
            </p:nvSpPr>
            <p:spPr bwMode="auto">
              <a:xfrm>
                <a:off x="1306" y="2700"/>
                <a:ext cx="600" cy="510"/>
              </a:xfrm>
              <a:custGeom>
                <a:avLst/>
                <a:gdLst>
                  <a:gd name="T0" fmla="*/ 540 w 600"/>
                  <a:gd name="T1" fmla="*/ 90 h 510"/>
                  <a:gd name="T2" fmla="*/ 600 w 600"/>
                  <a:gd name="T3" fmla="*/ 270 h 510"/>
                  <a:gd name="T4" fmla="*/ 480 w 600"/>
                  <a:gd name="T5" fmla="*/ 270 h 510"/>
                  <a:gd name="T6" fmla="*/ 570 w 600"/>
                  <a:gd name="T7" fmla="*/ 420 h 510"/>
                  <a:gd name="T8" fmla="*/ 510 w 600"/>
                  <a:gd name="T9" fmla="*/ 510 h 510"/>
                  <a:gd name="T10" fmla="*/ 420 w 600"/>
                  <a:gd name="T11" fmla="*/ 360 h 510"/>
                  <a:gd name="T12" fmla="*/ 240 w 600"/>
                  <a:gd name="T13" fmla="*/ 450 h 510"/>
                  <a:gd name="T14" fmla="*/ 300 w 600"/>
                  <a:gd name="T15" fmla="*/ 270 h 510"/>
                  <a:gd name="T16" fmla="*/ 150 w 600"/>
                  <a:gd name="T17" fmla="*/ 420 h 510"/>
                  <a:gd name="T18" fmla="*/ 180 w 600"/>
                  <a:gd name="T19" fmla="*/ 300 h 510"/>
                  <a:gd name="T20" fmla="*/ 30 w 600"/>
                  <a:gd name="T21" fmla="*/ 360 h 510"/>
                  <a:gd name="T22" fmla="*/ 0 w 600"/>
                  <a:gd name="T23" fmla="*/ 510 h 510"/>
                  <a:gd name="T24" fmla="*/ 180 w 600"/>
                  <a:gd name="T25" fmla="*/ 210 h 510"/>
                  <a:gd name="T26" fmla="*/ 60 w 600"/>
                  <a:gd name="T27" fmla="*/ 120 h 510"/>
                  <a:gd name="T28" fmla="*/ 0 w 600"/>
                  <a:gd name="T29" fmla="*/ 210 h 510"/>
                  <a:gd name="T30" fmla="*/ 0 w 600"/>
                  <a:gd name="T31" fmla="*/ 0 h 510"/>
                  <a:gd name="T32" fmla="*/ 180 w 600"/>
                  <a:gd name="T33" fmla="*/ 30 h 510"/>
                  <a:gd name="T34" fmla="*/ 270 w 600"/>
                  <a:gd name="T35" fmla="*/ 120 h 510"/>
                  <a:gd name="T36" fmla="*/ 390 w 600"/>
                  <a:gd name="T37" fmla="*/ 150 h 510"/>
                  <a:gd name="T38" fmla="*/ 540 w 600"/>
                  <a:gd name="T39" fmla="*/ 9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0" h="510">
                    <a:moveTo>
                      <a:pt x="540" y="90"/>
                    </a:moveTo>
                    <a:lnTo>
                      <a:pt x="600" y="270"/>
                    </a:lnTo>
                    <a:lnTo>
                      <a:pt x="480" y="270"/>
                    </a:lnTo>
                    <a:lnTo>
                      <a:pt x="570" y="420"/>
                    </a:lnTo>
                    <a:lnTo>
                      <a:pt x="510" y="510"/>
                    </a:lnTo>
                    <a:lnTo>
                      <a:pt x="420" y="360"/>
                    </a:lnTo>
                    <a:lnTo>
                      <a:pt x="240" y="450"/>
                    </a:lnTo>
                    <a:lnTo>
                      <a:pt x="300" y="270"/>
                    </a:lnTo>
                    <a:lnTo>
                      <a:pt x="150" y="420"/>
                    </a:lnTo>
                    <a:lnTo>
                      <a:pt x="180" y="300"/>
                    </a:lnTo>
                    <a:lnTo>
                      <a:pt x="30" y="360"/>
                    </a:lnTo>
                    <a:lnTo>
                      <a:pt x="0" y="510"/>
                    </a:lnTo>
                    <a:lnTo>
                      <a:pt x="180" y="210"/>
                    </a:lnTo>
                    <a:lnTo>
                      <a:pt x="60" y="120"/>
                    </a:lnTo>
                    <a:lnTo>
                      <a:pt x="0" y="210"/>
                    </a:lnTo>
                    <a:lnTo>
                      <a:pt x="0" y="0"/>
                    </a:lnTo>
                    <a:lnTo>
                      <a:pt x="180" y="30"/>
                    </a:lnTo>
                    <a:lnTo>
                      <a:pt x="270" y="120"/>
                    </a:lnTo>
                    <a:lnTo>
                      <a:pt x="390" y="150"/>
                    </a:lnTo>
                    <a:lnTo>
                      <a:pt x="54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8" name="Freeform 2512">
                <a:extLst>
                  <a:ext uri="{FF2B5EF4-FFF2-40B4-BE49-F238E27FC236}">
                    <a16:creationId xmlns:a16="http://schemas.microsoft.com/office/drawing/2014/main" id="{47ED8398-4D54-47B2-AC75-D8574EBF4090}"/>
                  </a:ext>
                </a:extLst>
              </p:cNvPr>
              <p:cNvSpPr>
                <a:spLocks/>
              </p:cNvSpPr>
              <p:nvPr/>
            </p:nvSpPr>
            <p:spPr bwMode="auto">
              <a:xfrm>
                <a:off x="1636" y="2700"/>
                <a:ext cx="539" cy="360"/>
              </a:xfrm>
              <a:custGeom>
                <a:avLst/>
                <a:gdLst>
                  <a:gd name="T0" fmla="*/ 90 w 539"/>
                  <a:gd name="T1" fmla="*/ 360 h 360"/>
                  <a:gd name="T2" fmla="*/ 60 w 539"/>
                  <a:gd name="T3" fmla="*/ 150 h 360"/>
                  <a:gd name="T4" fmla="*/ 0 w 539"/>
                  <a:gd name="T5" fmla="*/ 0 h 360"/>
                  <a:gd name="T6" fmla="*/ 210 w 539"/>
                  <a:gd name="T7" fmla="*/ 90 h 360"/>
                  <a:gd name="T8" fmla="*/ 360 w 539"/>
                  <a:gd name="T9" fmla="*/ 180 h 360"/>
                  <a:gd name="T10" fmla="*/ 270 w 539"/>
                  <a:gd name="T11" fmla="*/ 270 h 360"/>
                  <a:gd name="T12" fmla="*/ 450 w 539"/>
                  <a:gd name="T13" fmla="*/ 330 h 360"/>
                  <a:gd name="T14" fmla="*/ 509 w 539"/>
                  <a:gd name="T15" fmla="*/ 210 h 360"/>
                  <a:gd name="T16" fmla="*/ 360 w 539"/>
                  <a:gd name="T17" fmla="*/ 60 h 360"/>
                  <a:gd name="T18" fmla="*/ 539 w 539"/>
                  <a:gd name="T1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360">
                    <a:moveTo>
                      <a:pt x="90" y="360"/>
                    </a:moveTo>
                    <a:lnTo>
                      <a:pt x="60" y="150"/>
                    </a:lnTo>
                    <a:lnTo>
                      <a:pt x="0" y="0"/>
                    </a:lnTo>
                    <a:lnTo>
                      <a:pt x="210" y="90"/>
                    </a:lnTo>
                    <a:lnTo>
                      <a:pt x="360" y="180"/>
                    </a:lnTo>
                    <a:lnTo>
                      <a:pt x="270" y="270"/>
                    </a:lnTo>
                    <a:lnTo>
                      <a:pt x="450" y="330"/>
                    </a:lnTo>
                    <a:lnTo>
                      <a:pt x="509" y="210"/>
                    </a:lnTo>
                    <a:lnTo>
                      <a:pt x="360" y="60"/>
                    </a:lnTo>
                    <a:lnTo>
                      <a:pt x="53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9" name="Freeform 2513">
                <a:extLst>
                  <a:ext uri="{FF2B5EF4-FFF2-40B4-BE49-F238E27FC236}">
                    <a16:creationId xmlns:a16="http://schemas.microsoft.com/office/drawing/2014/main" id="{B4278338-29F9-4EBE-B8E5-658B80E758CA}"/>
                  </a:ext>
                </a:extLst>
              </p:cNvPr>
              <p:cNvSpPr>
                <a:spLocks/>
              </p:cNvSpPr>
              <p:nvPr/>
            </p:nvSpPr>
            <p:spPr bwMode="auto">
              <a:xfrm>
                <a:off x="1456" y="3120"/>
                <a:ext cx="360" cy="90"/>
              </a:xfrm>
              <a:custGeom>
                <a:avLst/>
                <a:gdLst>
                  <a:gd name="T0" fmla="*/ 360 w 360"/>
                  <a:gd name="T1" fmla="*/ 90 h 90"/>
                  <a:gd name="T2" fmla="*/ 90 w 360"/>
                  <a:gd name="T3" fmla="*/ 30 h 90"/>
                  <a:gd name="T4" fmla="*/ 0 w 360"/>
                  <a:gd name="T5" fmla="*/ 0 h 90"/>
                </a:gdLst>
                <a:ahLst/>
                <a:cxnLst>
                  <a:cxn ang="0">
                    <a:pos x="T0" y="T1"/>
                  </a:cxn>
                  <a:cxn ang="0">
                    <a:pos x="T2" y="T3"/>
                  </a:cxn>
                  <a:cxn ang="0">
                    <a:pos x="T4" y="T5"/>
                  </a:cxn>
                </a:cxnLst>
                <a:rect l="0" t="0" r="r" b="b"/>
                <a:pathLst>
                  <a:path w="360" h="90">
                    <a:moveTo>
                      <a:pt x="360" y="90"/>
                    </a:moveTo>
                    <a:lnTo>
                      <a:pt x="9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0" name="Freeform 2514">
                <a:extLst>
                  <a:ext uri="{FF2B5EF4-FFF2-40B4-BE49-F238E27FC236}">
                    <a16:creationId xmlns:a16="http://schemas.microsoft.com/office/drawing/2014/main" id="{F3C84646-CF51-4F02-8FA3-87F95BC9D4EC}"/>
                  </a:ext>
                </a:extLst>
              </p:cNvPr>
              <p:cNvSpPr>
                <a:spLocks/>
              </p:cNvSpPr>
              <p:nvPr/>
            </p:nvSpPr>
            <p:spPr bwMode="auto">
              <a:xfrm>
                <a:off x="1306" y="2820"/>
                <a:ext cx="270" cy="240"/>
              </a:xfrm>
              <a:custGeom>
                <a:avLst/>
                <a:gdLst>
                  <a:gd name="T0" fmla="*/ 30 w 270"/>
                  <a:gd name="T1" fmla="*/ 240 h 240"/>
                  <a:gd name="T2" fmla="*/ 0 w 270"/>
                  <a:gd name="T3" fmla="*/ 90 h 240"/>
                  <a:gd name="T4" fmla="*/ 270 w 270"/>
                  <a:gd name="T5" fmla="*/ 0 h 240"/>
                </a:gdLst>
                <a:ahLst/>
                <a:cxnLst>
                  <a:cxn ang="0">
                    <a:pos x="T0" y="T1"/>
                  </a:cxn>
                  <a:cxn ang="0">
                    <a:pos x="T2" y="T3"/>
                  </a:cxn>
                  <a:cxn ang="0">
                    <a:pos x="T4" y="T5"/>
                  </a:cxn>
                </a:cxnLst>
                <a:rect l="0" t="0" r="r" b="b"/>
                <a:pathLst>
                  <a:path w="270" h="240">
                    <a:moveTo>
                      <a:pt x="30" y="240"/>
                    </a:moveTo>
                    <a:lnTo>
                      <a:pt x="0" y="90"/>
                    </a:lnTo>
                    <a:lnTo>
                      <a:pt x="27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1" name="Freeform 2515">
                <a:extLst>
                  <a:ext uri="{FF2B5EF4-FFF2-40B4-BE49-F238E27FC236}">
                    <a16:creationId xmlns:a16="http://schemas.microsoft.com/office/drawing/2014/main" id="{49E687CC-EF76-48B9-9A62-5AA0C72DA3FE}"/>
                  </a:ext>
                </a:extLst>
              </p:cNvPr>
              <p:cNvSpPr>
                <a:spLocks/>
              </p:cNvSpPr>
              <p:nvPr/>
            </p:nvSpPr>
            <p:spPr bwMode="auto">
              <a:xfrm>
                <a:off x="1486" y="2490"/>
                <a:ext cx="210" cy="240"/>
              </a:xfrm>
              <a:custGeom>
                <a:avLst/>
                <a:gdLst>
                  <a:gd name="T0" fmla="*/ 0 w 210"/>
                  <a:gd name="T1" fmla="*/ 240 h 240"/>
                  <a:gd name="T2" fmla="*/ 150 w 210"/>
                  <a:gd name="T3" fmla="*/ 210 h 240"/>
                  <a:gd name="T4" fmla="*/ 120 w 210"/>
                  <a:gd name="T5" fmla="*/ 0 h 240"/>
                  <a:gd name="T6" fmla="*/ 210 w 210"/>
                  <a:gd name="T7" fmla="*/ 60 h 240"/>
                </a:gdLst>
                <a:ahLst/>
                <a:cxnLst>
                  <a:cxn ang="0">
                    <a:pos x="T0" y="T1"/>
                  </a:cxn>
                  <a:cxn ang="0">
                    <a:pos x="T2" y="T3"/>
                  </a:cxn>
                  <a:cxn ang="0">
                    <a:pos x="T4" y="T5"/>
                  </a:cxn>
                  <a:cxn ang="0">
                    <a:pos x="T6" y="T7"/>
                  </a:cxn>
                </a:cxnLst>
                <a:rect l="0" t="0" r="r" b="b"/>
                <a:pathLst>
                  <a:path w="210" h="240">
                    <a:moveTo>
                      <a:pt x="0" y="240"/>
                    </a:moveTo>
                    <a:lnTo>
                      <a:pt x="150" y="210"/>
                    </a:lnTo>
                    <a:lnTo>
                      <a:pt x="120" y="0"/>
                    </a:lnTo>
                    <a:lnTo>
                      <a:pt x="21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2" name="Freeform 2516">
                <a:extLst>
                  <a:ext uri="{FF2B5EF4-FFF2-40B4-BE49-F238E27FC236}">
                    <a16:creationId xmlns:a16="http://schemas.microsoft.com/office/drawing/2014/main" id="{4ECA07BB-FCD7-47DA-8816-7A6601B3B862}"/>
                  </a:ext>
                </a:extLst>
              </p:cNvPr>
              <p:cNvSpPr>
                <a:spLocks/>
              </p:cNvSpPr>
              <p:nvPr/>
            </p:nvSpPr>
            <p:spPr bwMode="auto">
              <a:xfrm>
                <a:off x="1276" y="2190"/>
                <a:ext cx="510" cy="630"/>
              </a:xfrm>
              <a:custGeom>
                <a:avLst/>
                <a:gdLst>
                  <a:gd name="T0" fmla="*/ 270 w 510"/>
                  <a:gd name="T1" fmla="*/ 450 h 630"/>
                  <a:gd name="T2" fmla="*/ 0 w 510"/>
                  <a:gd name="T3" fmla="*/ 390 h 630"/>
                  <a:gd name="T4" fmla="*/ 30 w 510"/>
                  <a:gd name="T5" fmla="*/ 300 h 630"/>
                  <a:gd name="T6" fmla="*/ 210 w 510"/>
                  <a:gd name="T7" fmla="*/ 330 h 630"/>
                  <a:gd name="T8" fmla="*/ 150 w 510"/>
                  <a:gd name="T9" fmla="*/ 120 h 630"/>
                  <a:gd name="T10" fmla="*/ 90 w 510"/>
                  <a:gd name="T11" fmla="*/ 210 h 630"/>
                  <a:gd name="T12" fmla="*/ 60 w 510"/>
                  <a:gd name="T13" fmla="*/ 120 h 630"/>
                  <a:gd name="T14" fmla="*/ 180 w 510"/>
                  <a:gd name="T15" fmla="*/ 0 h 630"/>
                  <a:gd name="T16" fmla="*/ 300 w 510"/>
                  <a:gd name="T17" fmla="*/ 120 h 630"/>
                  <a:gd name="T18" fmla="*/ 510 w 510"/>
                  <a:gd name="T19" fmla="*/ 150 h 630"/>
                  <a:gd name="T20" fmla="*/ 330 w 510"/>
                  <a:gd name="T21" fmla="*/ 300 h 630"/>
                  <a:gd name="T22" fmla="*/ 270 w 510"/>
                  <a:gd name="T23" fmla="*/ 450 h 630"/>
                  <a:gd name="T24" fmla="*/ 30 w 510"/>
                  <a:gd name="T25" fmla="*/ 510 h 630"/>
                  <a:gd name="T26" fmla="*/ 300 w 510"/>
                  <a:gd name="T27" fmla="*/ 120 h 630"/>
                  <a:gd name="T28" fmla="*/ 30 w 510"/>
                  <a:gd name="T29" fmla="*/ 300 h 630"/>
                  <a:gd name="T30" fmla="*/ 90 w 510"/>
                  <a:gd name="T31" fmla="*/ 210 h 630"/>
                  <a:gd name="T32" fmla="*/ 330 w 510"/>
                  <a:gd name="T33" fmla="*/ 300 h 630"/>
                  <a:gd name="T34" fmla="*/ 210 w 510"/>
                  <a:gd name="T35" fmla="*/ 330 h 630"/>
                  <a:gd name="T36" fmla="*/ 270 w 510"/>
                  <a:gd name="T37" fmla="*/ 450 h 630"/>
                  <a:gd name="T38" fmla="*/ 210 w 510"/>
                  <a:gd name="T39" fmla="*/ 540 h 630"/>
                  <a:gd name="T40" fmla="*/ 90 w 510"/>
                  <a:gd name="T41"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0" h="630">
                    <a:moveTo>
                      <a:pt x="270" y="450"/>
                    </a:moveTo>
                    <a:lnTo>
                      <a:pt x="0" y="390"/>
                    </a:lnTo>
                    <a:lnTo>
                      <a:pt x="30" y="300"/>
                    </a:lnTo>
                    <a:lnTo>
                      <a:pt x="210" y="330"/>
                    </a:lnTo>
                    <a:lnTo>
                      <a:pt x="150" y="120"/>
                    </a:lnTo>
                    <a:lnTo>
                      <a:pt x="90" y="210"/>
                    </a:lnTo>
                    <a:lnTo>
                      <a:pt x="60" y="120"/>
                    </a:lnTo>
                    <a:lnTo>
                      <a:pt x="180" y="0"/>
                    </a:lnTo>
                    <a:lnTo>
                      <a:pt x="300" y="120"/>
                    </a:lnTo>
                    <a:lnTo>
                      <a:pt x="510" y="150"/>
                    </a:lnTo>
                    <a:lnTo>
                      <a:pt x="330" y="300"/>
                    </a:lnTo>
                    <a:lnTo>
                      <a:pt x="270" y="450"/>
                    </a:lnTo>
                    <a:lnTo>
                      <a:pt x="30" y="510"/>
                    </a:lnTo>
                    <a:lnTo>
                      <a:pt x="300" y="120"/>
                    </a:lnTo>
                    <a:lnTo>
                      <a:pt x="30" y="300"/>
                    </a:lnTo>
                    <a:lnTo>
                      <a:pt x="90" y="210"/>
                    </a:lnTo>
                    <a:lnTo>
                      <a:pt x="330" y="300"/>
                    </a:lnTo>
                    <a:lnTo>
                      <a:pt x="210" y="330"/>
                    </a:lnTo>
                    <a:lnTo>
                      <a:pt x="270" y="450"/>
                    </a:lnTo>
                    <a:lnTo>
                      <a:pt x="210" y="540"/>
                    </a:lnTo>
                    <a:lnTo>
                      <a:pt x="90" y="6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3" name="Freeform 2517">
                <a:extLst>
                  <a:ext uri="{FF2B5EF4-FFF2-40B4-BE49-F238E27FC236}">
                    <a16:creationId xmlns:a16="http://schemas.microsoft.com/office/drawing/2014/main" id="{03C3DD9A-61BE-4916-BF8C-595D523D623E}"/>
                  </a:ext>
                </a:extLst>
              </p:cNvPr>
              <p:cNvSpPr>
                <a:spLocks/>
              </p:cNvSpPr>
              <p:nvPr/>
            </p:nvSpPr>
            <p:spPr bwMode="auto">
              <a:xfrm>
                <a:off x="1576" y="2190"/>
                <a:ext cx="420" cy="480"/>
              </a:xfrm>
              <a:custGeom>
                <a:avLst/>
                <a:gdLst>
                  <a:gd name="T0" fmla="*/ 420 w 420"/>
                  <a:gd name="T1" fmla="*/ 150 h 480"/>
                  <a:gd name="T2" fmla="*/ 120 w 420"/>
                  <a:gd name="T3" fmla="*/ 0 h 480"/>
                  <a:gd name="T4" fmla="*/ 0 w 420"/>
                  <a:gd name="T5" fmla="*/ 120 h 480"/>
                  <a:gd name="T6" fmla="*/ 240 w 420"/>
                  <a:gd name="T7" fmla="*/ 300 h 480"/>
                  <a:gd name="T8" fmla="*/ 120 w 420"/>
                  <a:gd name="T9" fmla="*/ 360 h 480"/>
                  <a:gd name="T10" fmla="*/ 210 w 420"/>
                  <a:gd name="T11" fmla="*/ 480 h 480"/>
                </a:gdLst>
                <a:ahLst/>
                <a:cxnLst>
                  <a:cxn ang="0">
                    <a:pos x="T0" y="T1"/>
                  </a:cxn>
                  <a:cxn ang="0">
                    <a:pos x="T2" y="T3"/>
                  </a:cxn>
                  <a:cxn ang="0">
                    <a:pos x="T4" y="T5"/>
                  </a:cxn>
                  <a:cxn ang="0">
                    <a:pos x="T6" y="T7"/>
                  </a:cxn>
                  <a:cxn ang="0">
                    <a:pos x="T8" y="T9"/>
                  </a:cxn>
                  <a:cxn ang="0">
                    <a:pos x="T10" y="T11"/>
                  </a:cxn>
                </a:cxnLst>
                <a:rect l="0" t="0" r="r" b="b"/>
                <a:pathLst>
                  <a:path w="420" h="480">
                    <a:moveTo>
                      <a:pt x="420" y="150"/>
                    </a:moveTo>
                    <a:lnTo>
                      <a:pt x="120" y="0"/>
                    </a:lnTo>
                    <a:lnTo>
                      <a:pt x="0" y="120"/>
                    </a:lnTo>
                    <a:lnTo>
                      <a:pt x="240" y="300"/>
                    </a:lnTo>
                    <a:lnTo>
                      <a:pt x="120" y="360"/>
                    </a:lnTo>
                    <a:lnTo>
                      <a:pt x="210" y="4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4" name="Freeform 2518">
                <a:extLst>
                  <a:ext uri="{FF2B5EF4-FFF2-40B4-BE49-F238E27FC236}">
                    <a16:creationId xmlns:a16="http://schemas.microsoft.com/office/drawing/2014/main" id="{E76D496C-7680-49A3-A433-02ADC6547B0B}"/>
                  </a:ext>
                </a:extLst>
              </p:cNvPr>
              <p:cNvSpPr>
                <a:spLocks/>
              </p:cNvSpPr>
              <p:nvPr/>
            </p:nvSpPr>
            <p:spPr bwMode="auto">
              <a:xfrm>
                <a:off x="1336" y="1620"/>
                <a:ext cx="420" cy="690"/>
              </a:xfrm>
              <a:custGeom>
                <a:avLst/>
                <a:gdLst>
                  <a:gd name="T0" fmla="*/ 240 w 420"/>
                  <a:gd name="T1" fmla="*/ 690 h 690"/>
                  <a:gd name="T2" fmla="*/ 210 w 420"/>
                  <a:gd name="T3" fmla="*/ 540 h 690"/>
                  <a:gd name="T4" fmla="*/ 150 w 420"/>
                  <a:gd name="T5" fmla="*/ 270 h 690"/>
                  <a:gd name="T6" fmla="*/ 60 w 420"/>
                  <a:gd name="T7" fmla="*/ 0 h 690"/>
                  <a:gd name="T8" fmla="*/ 0 w 420"/>
                  <a:gd name="T9" fmla="*/ 180 h 690"/>
                  <a:gd name="T10" fmla="*/ 150 w 420"/>
                  <a:gd name="T11" fmla="*/ 270 h 690"/>
                  <a:gd name="T12" fmla="*/ 330 w 420"/>
                  <a:gd name="T13" fmla="*/ 390 h 690"/>
                  <a:gd name="T14" fmla="*/ 270 w 420"/>
                  <a:gd name="T15" fmla="*/ 180 h 690"/>
                  <a:gd name="T16" fmla="*/ 420 w 420"/>
                  <a:gd name="T17" fmla="*/ 30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690">
                    <a:moveTo>
                      <a:pt x="240" y="690"/>
                    </a:moveTo>
                    <a:lnTo>
                      <a:pt x="210" y="540"/>
                    </a:lnTo>
                    <a:lnTo>
                      <a:pt x="150" y="270"/>
                    </a:lnTo>
                    <a:lnTo>
                      <a:pt x="60" y="0"/>
                    </a:lnTo>
                    <a:lnTo>
                      <a:pt x="0" y="180"/>
                    </a:lnTo>
                    <a:lnTo>
                      <a:pt x="150" y="270"/>
                    </a:lnTo>
                    <a:lnTo>
                      <a:pt x="330" y="390"/>
                    </a:lnTo>
                    <a:lnTo>
                      <a:pt x="270" y="180"/>
                    </a:lnTo>
                    <a:lnTo>
                      <a:pt x="42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5" name="Freeform 2519">
                <a:extLst>
                  <a:ext uri="{FF2B5EF4-FFF2-40B4-BE49-F238E27FC236}">
                    <a16:creationId xmlns:a16="http://schemas.microsoft.com/office/drawing/2014/main" id="{9EAD28DE-8F0C-47A4-A732-5884D93CB9A1}"/>
                  </a:ext>
                </a:extLst>
              </p:cNvPr>
              <p:cNvSpPr>
                <a:spLocks/>
              </p:cNvSpPr>
              <p:nvPr/>
            </p:nvSpPr>
            <p:spPr bwMode="auto">
              <a:xfrm>
                <a:off x="1666" y="2010"/>
                <a:ext cx="420" cy="180"/>
              </a:xfrm>
              <a:custGeom>
                <a:avLst/>
                <a:gdLst>
                  <a:gd name="T0" fmla="*/ 210 w 420"/>
                  <a:gd name="T1" fmla="*/ 150 h 180"/>
                  <a:gd name="T2" fmla="*/ 0 w 420"/>
                  <a:gd name="T3" fmla="*/ 0 h 180"/>
                  <a:gd name="T4" fmla="*/ 30 w 420"/>
                  <a:gd name="T5" fmla="*/ 180 h 180"/>
                  <a:gd name="T6" fmla="*/ 243 w 420"/>
                  <a:gd name="T7" fmla="*/ 3 h 180"/>
                  <a:gd name="T8" fmla="*/ 390 w 420"/>
                  <a:gd name="T9" fmla="*/ 120 h 180"/>
                  <a:gd name="T10" fmla="*/ 420 w 420"/>
                  <a:gd name="T11" fmla="*/ 0 h 180"/>
                </a:gdLst>
                <a:ahLst/>
                <a:cxnLst>
                  <a:cxn ang="0">
                    <a:pos x="T0" y="T1"/>
                  </a:cxn>
                  <a:cxn ang="0">
                    <a:pos x="T2" y="T3"/>
                  </a:cxn>
                  <a:cxn ang="0">
                    <a:pos x="T4" y="T5"/>
                  </a:cxn>
                  <a:cxn ang="0">
                    <a:pos x="T6" y="T7"/>
                  </a:cxn>
                  <a:cxn ang="0">
                    <a:pos x="T8" y="T9"/>
                  </a:cxn>
                  <a:cxn ang="0">
                    <a:pos x="T10" y="T11"/>
                  </a:cxn>
                </a:cxnLst>
                <a:rect l="0" t="0" r="r" b="b"/>
                <a:pathLst>
                  <a:path w="420" h="180">
                    <a:moveTo>
                      <a:pt x="210" y="150"/>
                    </a:moveTo>
                    <a:lnTo>
                      <a:pt x="0" y="0"/>
                    </a:lnTo>
                    <a:lnTo>
                      <a:pt x="30" y="180"/>
                    </a:lnTo>
                    <a:lnTo>
                      <a:pt x="243" y="3"/>
                    </a:lnTo>
                    <a:lnTo>
                      <a:pt x="390" y="12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6" name="Line 2520">
                <a:extLst>
                  <a:ext uri="{FF2B5EF4-FFF2-40B4-BE49-F238E27FC236}">
                    <a16:creationId xmlns:a16="http://schemas.microsoft.com/office/drawing/2014/main" id="{46ABC8CB-2E38-4D92-96DE-D9042C595775}"/>
                  </a:ext>
                </a:extLst>
              </p:cNvPr>
              <p:cNvSpPr>
                <a:spLocks noChangeShapeType="1"/>
              </p:cNvSpPr>
              <p:nvPr/>
            </p:nvSpPr>
            <p:spPr bwMode="auto">
              <a:xfrm>
                <a:off x="1696" y="2190"/>
                <a:ext cx="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7" name="Line 2521">
                <a:extLst>
                  <a:ext uri="{FF2B5EF4-FFF2-40B4-BE49-F238E27FC236}">
                    <a16:creationId xmlns:a16="http://schemas.microsoft.com/office/drawing/2014/main" id="{69A2617E-4A32-4113-B828-EE6AF53A8CD8}"/>
                  </a:ext>
                </a:extLst>
              </p:cNvPr>
              <p:cNvSpPr>
                <a:spLocks noChangeShapeType="1"/>
              </p:cNvSpPr>
              <p:nvPr/>
            </p:nvSpPr>
            <p:spPr bwMode="auto">
              <a:xfrm flipH="1" flipV="1">
                <a:off x="1426" y="2310"/>
                <a:ext cx="39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8" name="Freeform 2522">
                <a:extLst>
                  <a:ext uri="{FF2B5EF4-FFF2-40B4-BE49-F238E27FC236}">
                    <a16:creationId xmlns:a16="http://schemas.microsoft.com/office/drawing/2014/main" id="{F7A49C42-B1A6-4B79-82BE-79A7F31F1C23}"/>
                  </a:ext>
                </a:extLst>
              </p:cNvPr>
              <p:cNvSpPr>
                <a:spLocks/>
              </p:cNvSpPr>
              <p:nvPr/>
            </p:nvSpPr>
            <p:spPr bwMode="auto">
              <a:xfrm>
                <a:off x="1276" y="1950"/>
                <a:ext cx="180" cy="360"/>
              </a:xfrm>
              <a:custGeom>
                <a:avLst/>
                <a:gdLst>
                  <a:gd name="T0" fmla="*/ 180 w 180"/>
                  <a:gd name="T1" fmla="*/ 240 h 360"/>
                  <a:gd name="T2" fmla="*/ 0 w 180"/>
                  <a:gd name="T3" fmla="*/ 210 h 360"/>
                  <a:gd name="T4" fmla="*/ 60 w 180"/>
                  <a:gd name="T5" fmla="*/ 360 h 360"/>
                  <a:gd name="T6" fmla="*/ 180 w 180"/>
                  <a:gd name="T7" fmla="*/ 90 h 360"/>
                  <a:gd name="T8" fmla="*/ 90 w 180"/>
                  <a:gd name="T9" fmla="*/ 0 h 360"/>
                </a:gdLst>
                <a:ahLst/>
                <a:cxnLst>
                  <a:cxn ang="0">
                    <a:pos x="T0" y="T1"/>
                  </a:cxn>
                  <a:cxn ang="0">
                    <a:pos x="T2" y="T3"/>
                  </a:cxn>
                  <a:cxn ang="0">
                    <a:pos x="T4" y="T5"/>
                  </a:cxn>
                  <a:cxn ang="0">
                    <a:pos x="T6" y="T7"/>
                  </a:cxn>
                  <a:cxn ang="0">
                    <a:pos x="T8" y="T9"/>
                  </a:cxn>
                </a:cxnLst>
                <a:rect l="0" t="0" r="r" b="b"/>
                <a:pathLst>
                  <a:path w="180" h="360">
                    <a:moveTo>
                      <a:pt x="180" y="240"/>
                    </a:moveTo>
                    <a:lnTo>
                      <a:pt x="0" y="210"/>
                    </a:lnTo>
                    <a:lnTo>
                      <a:pt x="60" y="360"/>
                    </a:lnTo>
                    <a:lnTo>
                      <a:pt x="180" y="90"/>
                    </a:lnTo>
                    <a:lnTo>
                      <a:pt x="9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9" name="Line 2523">
                <a:extLst>
                  <a:ext uri="{FF2B5EF4-FFF2-40B4-BE49-F238E27FC236}">
                    <a16:creationId xmlns:a16="http://schemas.microsoft.com/office/drawing/2014/main" id="{64389BBE-2C7C-4562-8D2B-779FEAB8DBB0}"/>
                  </a:ext>
                </a:extLst>
              </p:cNvPr>
              <p:cNvSpPr>
                <a:spLocks noChangeShapeType="1"/>
              </p:cNvSpPr>
              <p:nvPr/>
            </p:nvSpPr>
            <p:spPr bwMode="auto">
              <a:xfrm flipV="1">
                <a:off x="1276" y="204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0" name="Freeform 2524">
                <a:extLst>
                  <a:ext uri="{FF2B5EF4-FFF2-40B4-BE49-F238E27FC236}">
                    <a16:creationId xmlns:a16="http://schemas.microsoft.com/office/drawing/2014/main" id="{9DA1CD9F-D9D0-4F71-B4F2-1B2AE3AC8B48}"/>
                  </a:ext>
                </a:extLst>
              </p:cNvPr>
              <p:cNvSpPr>
                <a:spLocks/>
              </p:cNvSpPr>
              <p:nvPr/>
            </p:nvSpPr>
            <p:spPr bwMode="auto">
              <a:xfrm>
                <a:off x="1606" y="1260"/>
                <a:ext cx="180" cy="330"/>
              </a:xfrm>
              <a:custGeom>
                <a:avLst/>
                <a:gdLst>
                  <a:gd name="T0" fmla="*/ 60 w 180"/>
                  <a:gd name="T1" fmla="*/ 0 h 330"/>
                  <a:gd name="T2" fmla="*/ 180 w 180"/>
                  <a:gd name="T3" fmla="*/ 30 h 330"/>
                  <a:gd name="T4" fmla="*/ 0 w 180"/>
                  <a:gd name="T5" fmla="*/ 120 h 330"/>
                  <a:gd name="T6" fmla="*/ 180 w 180"/>
                  <a:gd name="T7" fmla="*/ 330 h 330"/>
                </a:gdLst>
                <a:ahLst/>
                <a:cxnLst>
                  <a:cxn ang="0">
                    <a:pos x="T0" y="T1"/>
                  </a:cxn>
                  <a:cxn ang="0">
                    <a:pos x="T2" y="T3"/>
                  </a:cxn>
                  <a:cxn ang="0">
                    <a:pos x="T4" y="T5"/>
                  </a:cxn>
                  <a:cxn ang="0">
                    <a:pos x="T6" y="T7"/>
                  </a:cxn>
                </a:cxnLst>
                <a:rect l="0" t="0" r="r" b="b"/>
                <a:pathLst>
                  <a:path w="180" h="330">
                    <a:moveTo>
                      <a:pt x="60" y="0"/>
                    </a:moveTo>
                    <a:lnTo>
                      <a:pt x="180" y="30"/>
                    </a:lnTo>
                    <a:lnTo>
                      <a:pt x="0" y="120"/>
                    </a:lnTo>
                    <a:lnTo>
                      <a:pt x="18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1" name="Freeform 2525">
                <a:extLst>
                  <a:ext uri="{FF2B5EF4-FFF2-40B4-BE49-F238E27FC236}">
                    <a16:creationId xmlns:a16="http://schemas.microsoft.com/office/drawing/2014/main" id="{8B6F344F-0EFD-4CF2-A28A-A1D9A9BBCADF}"/>
                  </a:ext>
                </a:extLst>
              </p:cNvPr>
              <p:cNvSpPr>
                <a:spLocks/>
              </p:cNvSpPr>
              <p:nvPr/>
            </p:nvSpPr>
            <p:spPr bwMode="auto">
              <a:xfrm>
                <a:off x="1576" y="1530"/>
                <a:ext cx="180" cy="150"/>
              </a:xfrm>
              <a:custGeom>
                <a:avLst/>
                <a:gdLst>
                  <a:gd name="T0" fmla="*/ 60 w 180"/>
                  <a:gd name="T1" fmla="*/ 0 h 150"/>
                  <a:gd name="T2" fmla="*/ 180 w 180"/>
                  <a:gd name="T3" fmla="*/ 150 h 150"/>
                  <a:gd name="T4" fmla="*/ 0 w 180"/>
                  <a:gd name="T5" fmla="*/ 150 h 150"/>
                </a:gdLst>
                <a:ahLst/>
                <a:cxnLst>
                  <a:cxn ang="0">
                    <a:pos x="T0" y="T1"/>
                  </a:cxn>
                  <a:cxn ang="0">
                    <a:pos x="T2" y="T3"/>
                  </a:cxn>
                  <a:cxn ang="0">
                    <a:pos x="T4" y="T5"/>
                  </a:cxn>
                </a:cxnLst>
                <a:rect l="0" t="0" r="r" b="b"/>
                <a:pathLst>
                  <a:path w="180" h="150">
                    <a:moveTo>
                      <a:pt x="60" y="0"/>
                    </a:moveTo>
                    <a:lnTo>
                      <a:pt x="180" y="15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2" name="Freeform 2526">
                <a:extLst>
                  <a:ext uri="{FF2B5EF4-FFF2-40B4-BE49-F238E27FC236}">
                    <a16:creationId xmlns:a16="http://schemas.microsoft.com/office/drawing/2014/main" id="{3AAA8415-48C2-4503-A9F6-1FF92E3D6C0A}"/>
                  </a:ext>
                </a:extLst>
              </p:cNvPr>
              <p:cNvSpPr>
                <a:spLocks/>
              </p:cNvSpPr>
              <p:nvPr/>
            </p:nvSpPr>
            <p:spPr bwMode="auto">
              <a:xfrm>
                <a:off x="1276" y="1110"/>
                <a:ext cx="690" cy="300"/>
              </a:xfrm>
              <a:custGeom>
                <a:avLst/>
                <a:gdLst>
                  <a:gd name="T0" fmla="*/ 330 w 690"/>
                  <a:gd name="T1" fmla="*/ 270 h 300"/>
                  <a:gd name="T2" fmla="*/ 240 w 690"/>
                  <a:gd name="T3" fmla="*/ 150 h 300"/>
                  <a:gd name="T4" fmla="*/ 180 w 690"/>
                  <a:gd name="T5" fmla="*/ 300 h 300"/>
                  <a:gd name="T6" fmla="*/ 0 w 690"/>
                  <a:gd name="T7" fmla="*/ 210 h 300"/>
                  <a:gd name="T8" fmla="*/ 60 w 690"/>
                  <a:gd name="T9" fmla="*/ 90 h 300"/>
                  <a:gd name="T10" fmla="*/ 240 w 690"/>
                  <a:gd name="T11" fmla="*/ 150 h 300"/>
                  <a:gd name="T12" fmla="*/ 360 w 690"/>
                  <a:gd name="T13" fmla="*/ 30 h 300"/>
                  <a:gd name="T14" fmla="*/ 390 w 690"/>
                  <a:gd name="T15" fmla="*/ 150 h 300"/>
                  <a:gd name="T16" fmla="*/ 480 w 690"/>
                  <a:gd name="T17" fmla="*/ 30 h 300"/>
                  <a:gd name="T18" fmla="*/ 690 w 690"/>
                  <a:gd name="T19" fmla="*/ 120 h 300"/>
                  <a:gd name="T20" fmla="*/ 600 w 690"/>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300">
                    <a:moveTo>
                      <a:pt x="330" y="270"/>
                    </a:moveTo>
                    <a:lnTo>
                      <a:pt x="240" y="150"/>
                    </a:lnTo>
                    <a:lnTo>
                      <a:pt x="180" y="300"/>
                    </a:lnTo>
                    <a:lnTo>
                      <a:pt x="0" y="210"/>
                    </a:lnTo>
                    <a:lnTo>
                      <a:pt x="60" y="90"/>
                    </a:lnTo>
                    <a:lnTo>
                      <a:pt x="240" y="150"/>
                    </a:lnTo>
                    <a:lnTo>
                      <a:pt x="360" y="30"/>
                    </a:lnTo>
                    <a:lnTo>
                      <a:pt x="390" y="150"/>
                    </a:lnTo>
                    <a:lnTo>
                      <a:pt x="480" y="30"/>
                    </a:lnTo>
                    <a:lnTo>
                      <a:pt x="690" y="120"/>
                    </a:lnTo>
                    <a:lnTo>
                      <a:pt x="60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3" name="Freeform 2527">
                <a:extLst>
                  <a:ext uri="{FF2B5EF4-FFF2-40B4-BE49-F238E27FC236}">
                    <a16:creationId xmlns:a16="http://schemas.microsoft.com/office/drawing/2014/main" id="{675AB51D-6FA2-4AB0-8CD2-177BF383B004}"/>
                  </a:ext>
                </a:extLst>
              </p:cNvPr>
              <p:cNvSpPr>
                <a:spLocks/>
              </p:cNvSpPr>
              <p:nvPr/>
            </p:nvSpPr>
            <p:spPr bwMode="auto">
              <a:xfrm>
                <a:off x="1276" y="600"/>
                <a:ext cx="480" cy="600"/>
              </a:xfrm>
              <a:custGeom>
                <a:avLst/>
                <a:gdLst>
                  <a:gd name="T0" fmla="*/ 60 w 480"/>
                  <a:gd name="T1" fmla="*/ 480 h 600"/>
                  <a:gd name="T2" fmla="*/ 180 w 480"/>
                  <a:gd name="T3" fmla="*/ 540 h 600"/>
                  <a:gd name="T4" fmla="*/ 300 w 480"/>
                  <a:gd name="T5" fmla="*/ 420 h 600"/>
                  <a:gd name="T6" fmla="*/ 330 w 480"/>
                  <a:gd name="T7" fmla="*/ 180 h 600"/>
                  <a:gd name="T8" fmla="*/ 390 w 480"/>
                  <a:gd name="T9" fmla="*/ 300 h 600"/>
                  <a:gd name="T10" fmla="*/ 480 w 480"/>
                  <a:gd name="T11" fmla="*/ 210 h 600"/>
                  <a:gd name="T12" fmla="*/ 420 w 480"/>
                  <a:gd name="T13" fmla="*/ 60 h 600"/>
                  <a:gd name="T14" fmla="*/ 300 w 480"/>
                  <a:gd name="T15" fmla="*/ 60 h 600"/>
                  <a:gd name="T16" fmla="*/ 210 w 480"/>
                  <a:gd name="T17" fmla="*/ 0 h 600"/>
                  <a:gd name="T18" fmla="*/ 150 w 480"/>
                  <a:gd name="T19" fmla="*/ 90 h 600"/>
                  <a:gd name="T20" fmla="*/ 180 w 480"/>
                  <a:gd name="T21" fmla="*/ 270 h 600"/>
                  <a:gd name="T22" fmla="*/ 30 w 480"/>
                  <a:gd name="T23" fmla="*/ 150 h 600"/>
                  <a:gd name="T24" fmla="*/ 0 w 480"/>
                  <a:gd name="T25" fmla="*/ 300 h 600"/>
                  <a:gd name="T26" fmla="*/ 120 w 480"/>
                  <a:gd name="T27" fmla="*/ 390 h 600"/>
                  <a:gd name="T28" fmla="*/ 60 w 480"/>
                  <a:gd name="T29" fmla="*/ 480 h 600"/>
                  <a:gd name="T30" fmla="*/ 60 w 480"/>
                  <a:gd name="T3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0" h="600">
                    <a:moveTo>
                      <a:pt x="60" y="480"/>
                    </a:moveTo>
                    <a:lnTo>
                      <a:pt x="180" y="540"/>
                    </a:lnTo>
                    <a:lnTo>
                      <a:pt x="300" y="420"/>
                    </a:lnTo>
                    <a:lnTo>
                      <a:pt x="330" y="180"/>
                    </a:lnTo>
                    <a:lnTo>
                      <a:pt x="390" y="300"/>
                    </a:lnTo>
                    <a:lnTo>
                      <a:pt x="480" y="210"/>
                    </a:lnTo>
                    <a:lnTo>
                      <a:pt x="420" y="60"/>
                    </a:lnTo>
                    <a:lnTo>
                      <a:pt x="300" y="60"/>
                    </a:lnTo>
                    <a:lnTo>
                      <a:pt x="210" y="0"/>
                    </a:lnTo>
                    <a:lnTo>
                      <a:pt x="150" y="90"/>
                    </a:lnTo>
                    <a:lnTo>
                      <a:pt x="180" y="270"/>
                    </a:lnTo>
                    <a:lnTo>
                      <a:pt x="30" y="150"/>
                    </a:lnTo>
                    <a:lnTo>
                      <a:pt x="0" y="300"/>
                    </a:lnTo>
                    <a:lnTo>
                      <a:pt x="120" y="390"/>
                    </a:lnTo>
                    <a:lnTo>
                      <a:pt x="60" y="480"/>
                    </a:lnTo>
                    <a:lnTo>
                      <a:pt x="60" y="6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4" name="Freeform 2528">
                <a:extLst>
                  <a:ext uri="{FF2B5EF4-FFF2-40B4-BE49-F238E27FC236}">
                    <a16:creationId xmlns:a16="http://schemas.microsoft.com/office/drawing/2014/main" id="{6EA64F97-8720-4B60-8C3F-D5E9336DF9AA}"/>
                  </a:ext>
                </a:extLst>
              </p:cNvPr>
              <p:cNvSpPr>
                <a:spLocks/>
              </p:cNvSpPr>
              <p:nvPr/>
            </p:nvSpPr>
            <p:spPr bwMode="auto">
              <a:xfrm>
                <a:off x="1336" y="450"/>
                <a:ext cx="90" cy="240"/>
              </a:xfrm>
              <a:custGeom>
                <a:avLst/>
                <a:gdLst>
                  <a:gd name="T0" fmla="*/ 0 w 90"/>
                  <a:gd name="T1" fmla="*/ 120 h 240"/>
                  <a:gd name="T2" fmla="*/ 90 w 90"/>
                  <a:gd name="T3" fmla="*/ 240 h 240"/>
                  <a:gd name="T4" fmla="*/ 60 w 90"/>
                  <a:gd name="T5" fmla="*/ 0 h 240"/>
                </a:gdLst>
                <a:ahLst/>
                <a:cxnLst>
                  <a:cxn ang="0">
                    <a:pos x="T0" y="T1"/>
                  </a:cxn>
                  <a:cxn ang="0">
                    <a:pos x="T2" y="T3"/>
                  </a:cxn>
                  <a:cxn ang="0">
                    <a:pos x="T4" y="T5"/>
                  </a:cxn>
                </a:cxnLst>
                <a:rect l="0" t="0" r="r" b="b"/>
                <a:pathLst>
                  <a:path w="90" h="240">
                    <a:moveTo>
                      <a:pt x="0" y="120"/>
                    </a:moveTo>
                    <a:lnTo>
                      <a:pt x="90" y="24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5" name="Freeform 2529">
                <a:extLst>
                  <a:ext uri="{FF2B5EF4-FFF2-40B4-BE49-F238E27FC236}">
                    <a16:creationId xmlns:a16="http://schemas.microsoft.com/office/drawing/2014/main" id="{DC9E9D4F-47FA-43DD-801A-ABDB5EA6BC08}"/>
                  </a:ext>
                </a:extLst>
              </p:cNvPr>
              <p:cNvSpPr>
                <a:spLocks/>
              </p:cNvSpPr>
              <p:nvPr/>
            </p:nvSpPr>
            <p:spPr bwMode="auto">
              <a:xfrm>
                <a:off x="1426" y="690"/>
                <a:ext cx="180" cy="330"/>
              </a:xfrm>
              <a:custGeom>
                <a:avLst/>
                <a:gdLst>
                  <a:gd name="T0" fmla="*/ 180 w 180"/>
                  <a:gd name="T1" fmla="*/ 90 h 330"/>
                  <a:gd name="T2" fmla="*/ 30 w 180"/>
                  <a:gd name="T3" fmla="*/ 180 h 330"/>
                  <a:gd name="T4" fmla="*/ 150 w 180"/>
                  <a:gd name="T5" fmla="*/ 330 h 330"/>
                  <a:gd name="T6" fmla="*/ 0 w 180"/>
                  <a:gd name="T7" fmla="*/ 0 h 330"/>
                </a:gdLst>
                <a:ahLst/>
                <a:cxnLst>
                  <a:cxn ang="0">
                    <a:pos x="T0" y="T1"/>
                  </a:cxn>
                  <a:cxn ang="0">
                    <a:pos x="T2" y="T3"/>
                  </a:cxn>
                  <a:cxn ang="0">
                    <a:pos x="T4" y="T5"/>
                  </a:cxn>
                  <a:cxn ang="0">
                    <a:pos x="T6" y="T7"/>
                  </a:cxn>
                </a:cxnLst>
                <a:rect l="0" t="0" r="r" b="b"/>
                <a:pathLst>
                  <a:path w="180" h="330">
                    <a:moveTo>
                      <a:pt x="180" y="90"/>
                    </a:moveTo>
                    <a:lnTo>
                      <a:pt x="30" y="180"/>
                    </a:lnTo>
                    <a:lnTo>
                      <a:pt x="15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6" name="Freeform 2530">
                <a:extLst>
                  <a:ext uri="{FF2B5EF4-FFF2-40B4-BE49-F238E27FC236}">
                    <a16:creationId xmlns:a16="http://schemas.microsoft.com/office/drawing/2014/main" id="{20DD6A01-517B-4014-8A18-EB73612506AC}"/>
                  </a:ext>
                </a:extLst>
              </p:cNvPr>
              <p:cNvSpPr>
                <a:spLocks/>
              </p:cNvSpPr>
              <p:nvPr/>
            </p:nvSpPr>
            <p:spPr bwMode="auto">
              <a:xfrm>
                <a:off x="1576" y="900"/>
                <a:ext cx="210" cy="240"/>
              </a:xfrm>
              <a:custGeom>
                <a:avLst/>
                <a:gdLst>
                  <a:gd name="T0" fmla="*/ 90 w 210"/>
                  <a:gd name="T1" fmla="*/ 0 h 240"/>
                  <a:gd name="T2" fmla="*/ 60 w 210"/>
                  <a:gd name="T3" fmla="*/ 240 h 240"/>
                  <a:gd name="T4" fmla="*/ 0 w 210"/>
                  <a:gd name="T5" fmla="*/ 120 h 240"/>
                  <a:gd name="T6" fmla="*/ 180 w 210"/>
                  <a:gd name="T7" fmla="*/ 240 h 240"/>
                  <a:gd name="T8" fmla="*/ 210 w 210"/>
                  <a:gd name="T9" fmla="*/ 60 h 240"/>
                  <a:gd name="T10" fmla="*/ 90 w 210"/>
                  <a:gd name="T11" fmla="*/ 0 h 240"/>
                </a:gdLst>
                <a:ahLst/>
                <a:cxnLst>
                  <a:cxn ang="0">
                    <a:pos x="T0" y="T1"/>
                  </a:cxn>
                  <a:cxn ang="0">
                    <a:pos x="T2" y="T3"/>
                  </a:cxn>
                  <a:cxn ang="0">
                    <a:pos x="T4" y="T5"/>
                  </a:cxn>
                  <a:cxn ang="0">
                    <a:pos x="T6" y="T7"/>
                  </a:cxn>
                  <a:cxn ang="0">
                    <a:pos x="T8" y="T9"/>
                  </a:cxn>
                  <a:cxn ang="0">
                    <a:pos x="T10" y="T11"/>
                  </a:cxn>
                </a:cxnLst>
                <a:rect l="0" t="0" r="r" b="b"/>
                <a:pathLst>
                  <a:path w="210" h="240">
                    <a:moveTo>
                      <a:pt x="90" y="0"/>
                    </a:moveTo>
                    <a:lnTo>
                      <a:pt x="60" y="240"/>
                    </a:lnTo>
                    <a:lnTo>
                      <a:pt x="0" y="120"/>
                    </a:lnTo>
                    <a:lnTo>
                      <a:pt x="180" y="240"/>
                    </a:lnTo>
                    <a:lnTo>
                      <a:pt x="210" y="6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7" name="Line 2531">
                <a:extLst>
                  <a:ext uri="{FF2B5EF4-FFF2-40B4-BE49-F238E27FC236}">
                    <a16:creationId xmlns:a16="http://schemas.microsoft.com/office/drawing/2014/main" id="{5DE949B2-D2A9-40B0-BC0B-90A591723AFF}"/>
                  </a:ext>
                </a:extLst>
              </p:cNvPr>
              <p:cNvSpPr>
                <a:spLocks noChangeShapeType="1"/>
              </p:cNvSpPr>
              <p:nvPr/>
            </p:nvSpPr>
            <p:spPr bwMode="auto">
              <a:xfrm flipV="1">
                <a:off x="1576" y="960"/>
                <a:ext cx="21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8" name="Freeform 2532">
                <a:extLst>
                  <a:ext uri="{FF2B5EF4-FFF2-40B4-BE49-F238E27FC236}">
                    <a16:creationId xmlns:a16="http://schemas.microsoft.com/office/drawing/2014/main" id="{539374EE-0208-4F07-AC01-E5A32FD69741}"/>
                  </a:ext>
                </a:extLst>
              </p:cNvPr>
              <p:cNvSpPr>
                <a:spLocks/>
              </p:cNvSpPr>
              <p:nvPr/>
            </p:nvSpPr>
            <p:spPr bwMode="auto">
              <a:xfrm>
                <a:off x="1276" y="990"/>
                <a:ext cx="360" cy="330"/>
              </a:xfrm>
              <a:custGeom>
                <a:avLst/>
                <a:gdLst>
                  <a:gd name="T0" fmla="*/ 120 w 360"/>
                  <a:gd name="T1" fmla="*/ 0 h 330"/>
                  <a:gd name="T2" fmla="*/ 360 w 360"/>
                  <a:gd name="T3" fmla="*/ 150 h 330"/>
                  <a:gd name="T4" fmla="*/ 180 w 360"/>
                  <a:gd name="T5" fmla="*/ 150 h 330"/>
                  <a:gd name="T6" fmla="*/ 240 w 360"/>
                  <a:gd name="T7" fmla="*/ 270 h 330"/>
                  <a:gd name="T8" fmla="*/ 0 w 360"/>
                  <a:gd name="T9" fmla="*/ 330 h 330"/>
                </a:gdLst>
                <a:ahLst/>
                <a:cxnLst>
                  <a:cxn ang="0">
                    <a:pos x="T0" y="T1"/>
                  </a:cxn>
                  <a:cxn ang="0">
                    <a:pos x="T2" y="T3"/>
                  </a:cxn>
                  <a:cxn ang="0">
                    <a:pos x="T4" y="T5"/>
                  </a:cxn>
                  <a:cxn ang="0">
                    <a:pos x="T6" y="T7"/>
                  </a:cxn>
                  <a:cxn ang="0">
                    <a:pos x="T8" y="T9"/>
                  </a:cxn>
                </a:cxnLst>
                <a:rect l="0" t="0" r="r" b="b"/>
                <a:pathLst>
                  <a:path w="360" h="330">
                    <a:moveTo>
                      <a:pt x="120" y="0"/>
                    </a:moveTo>
                    <a:lnTo>
                      <a:pt x="360" y="150"/>
                    </a:lnTo>
                    <a:lnTo>
                      <a:pt x="180" y="150"/>
                    </a:lnTo>
                    <a:lnTo>
                      <a:pt x="24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9" name="Line 2533">
                <a:extLst>
                  <a:ext uri="{FF2B5EF4-FFF2-40B4-BE49-F238E27FC236}">
                    <a16:creationId xmlns:a16="http://schemas.microsoft.com/office/drawing/2014/main" id="{A09DF8D3-C64E-444B-8662-DA7962EAB404}"/>
                  </a:ext>
                </a:extLst>
              </p:cNvPr>
              <p:cNvSpPr>
                <a:spLocks noChangeShapeType="1"/>
              </p:cNvSpPr>
              <p:nvPr/>
            </p:nvSpPr>
            <p:spPr bwMode="auto">
              <a:xfrm flipV="1">
                <a:off x="1336" y="1140"/>
                <a:ext cx="12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0" name="Freeform 2534">
                <a:extLst>
                  <a:ext uri="{FF2B5EF4-FFF2-40B4-BE49-F238E27FC236}">
                    <a16:creationId xmlns:a16="http://schemas.microsoft.com/office/drawing/2014/main" id="{F0E164B4-8D60-45ED-B3AD-C50833DF0949}"/>
                  </a:ext>
                </a:extLst>
              </p:cNvPr>
              <p:cNvSpPr>
                <a:spLocks/>
              </p:cNvSpPr>
              <p:nvPr/>
            </p:nvSpPr>
            <p:spPr bwMode="auto">
              <a:xfrm>
                <a:off x="1336" y="1290"/>
                <a:ext cx="450" cy="600"/>
              </a:xfrm>
              <a:custGeom>
                <a:avLst/>
                <a:gdLst>
                  <a:gd name="T0" fmla="*/ 270 w 450"/>
                  <a:gd name="T1" fmla="*/ 510 h 600"/>
                  <a:gd name="T2" fmla="*/ 150 w 450"/>
                  <a:gd name="T3" fmla="*/ 600 h 600"/>
                  <a:gd name="T4" fmla="*/ 270 w 450"/>
                  <a:gd name="T5" fmla="*/ 90 h 600"/>
                  <a:gd name="T6" fmla="*/ 60 w 450"/>
                  <a:gd name="T7" fmla="*/ 330 h 600"/>
                  <a:gd name="T8" fmla="*/ 0 w 450"/>
                  <a:gd name="T9" fmla="*/ 210 h 600"/>
                  <a:gd name="T10" fmla="*/ 120 w 450"/>
                  <a:gd name="T11" fmla="*/ 120 h 600"/>
                  <a:gd name="T12" fmla="*/ 240 w 450"/>
                  <a:gd name="T13" fmla="*/ 390 h 600"/>
                  <a:gd name="T14" fmla="*/ 300 w 450"/>
                  <a:gd name="T15" fmla="*/ 240 h 600"/>
                  <a:gd name="T16" fmla="*/ 450 w 45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 h="600">
                    <a:moveTo>
                      <a:pt x="270" y="510"/>
                    </a:moveTo>
                    <a:lnTo>
                      <a:pt x="150" y="600"/>
                    </a:lnTo>
                    <a:lnTo>
                      <a:pt x="270" y="90"/>
                    </a:lnTo>
                    <a:lnTo>
                      <a:pt x="60" y="330"/>
                    </a:lnTo>
                    <a:lnTo>
                      <a:pt x="0" y="210"/>
                    </a:lnTo>
                    <a:lnTo>
                      <a:pt x="120" y="120"/>
                    </a:lnTo>
                    <a:lnTo>
                      <a:pt x="240" y="390"/>
                    </a:lnTo>
                    <a:lnTo>
                      <a:pt x="300" y="24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1" name="Freeform 2535">
                <a:extLst>
                  <a:ext uri="{FF2B5EF4-FFF2-40B4-BE49-F238E27FC236}">
                    <a16:creationId xmlns:a16="http://schemas.microsoft.com/office/drawing/2014/main" id="{10C66A1E-8728-4784-8CF1-9F55DCC0C0C5}"/>
                  </a:ext>
                </a:extLst>
              </p:cNvPr>
              <p:cNvSpPr>
                <a:spLocks/>
              </p:cNvSpPr>
              <p:nvPr/>
            </p:nvSpPr>
            <p:spPr bwMode="auto">
              <a:xfrm>
                <a:off x="1486" y="60"/>
                <a:ext cx="390" cy="540"/>
              </a:xfrm>
              <a:custGeom>
                <a:avLst/>
                <a:gdLst>
                  <a:gd name="T0" fmla="*/ 90 w 390"/>
                  <a:gd name="T1" fmla="*/ 210 h 540"/>
                  <a:gd name="T2" fmla="*/ 270 w 390"/>
                  <a:gd name="T3" fmla="*/ 0 h 540"/>
                  <a:gd name="T4" fmla="*/ 390 w 390"/>
                  <a:gd name="T5" fmla="*/ 90 h 540"/>
                  <a:gd name="T6" fmla="*/ 360 w 390"/>
                  <a:gd name="T7" fmla="*/ 240 h 540"/>
                  <a:gd name="T8" fmla="*/ 270 w 390"/>
                  <a:gd name="T9" fmla="*/ 210 h 540"/>
                  <a:gd name="T10" fmla="*/ 60 w 390"/>
                  <a:gd name="T11" fmla="*/ 360 h 540"/>
                  <a:gd name="T12" fmla="*/ 90 w 390"/>
                  <a:gd name="T13" fmla="*/ 210 h 540"/>
                  <a:gd name="T14" fmla="*/ 240 w 390"/>
                  <a:gd name="T15" fmla="*/ 300 h 540"/>
                  <a:gd name="T16" fmla="*/ 0 w 390"/>
                  <a:gd name="T1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40">
                    <a:moveTo>
                      <a:pt x="90" y="210"/>
                    </a:moveTo>
                    <a:lnTo>
                      <a:pt x="270" y="0"/>
                    </a:lnTo>
                    <a:lnTo>
                      <a:pt x="390" y="90"/>
                    </a:lnTo>
                    <a:lnTo>
                      <a:pt x="360" y="240"/>
                    </a:lnTo>
                    <a:lnTo>
                      <a:pt x="270" y="210"/>
                    </a:lnTo>
                    <a:lnTo>
                      <a:pt x="60" y="360"/>
                    </a:lnTo>
                    <a:lnTo>
                      <a:pt x="90" y="210"/>
                    </a:lnTo>
                    <a:lnTo>
                      <a:pt x="240" y="300"/>
                    </a:lnTo>
                    <a:lnTo>
                      <a:pt x="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2" name="Line 2536">
                <a:extLst>
                  <a:ext uri="{FF2B5EF4-FFF2-40B4-BE49-F238E27FC236}">
                    <a16:creationId xmlns:a16="http://schemas.microsoft.com/office/drawing/2014/main" id="{D37A3844-7D9A-4F62-9721-A2E74A1F5C3C}"/>
                  </a:ext>
                </a:extLst>
              </p:cNvPr>
              <p:cNvSpPr>
                <a:spLocks noChangeShapeType="1"/>
              </p:cNvSpPr>
              <p:nvPr/>
            </p:nvSpPr>
            <p:spPr bwMode="auto">
              <a:xfrm>
                <a:off x="1276" y="12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3" name="Freeform 2537">
                <a:extLst>
                  <a:ext uri="{FF2B5EF4-FFF2-40B4-BE49-F238E27FC236}">
                    <a16:creationId xmlns:a16="http://schemas.microsoft.com/office/drawing/2014/main" id="{72FD7C95-C40A-4F53-888A-20DC1FD21514}"/>
                  </a:ext>
                </a:extLst>
              </p:cNvPr>
              <p:cNvSpPr>
                <a:spLocks/>
              </p:cNvSpPr>
              <p:nvPr/>
            </p:nvSpPr>
            <p:spPr bwMode="auto">
              <a:xfrm>
                <a:off x="1306" y="420"/>
                <a:ext cx="300" cy="570"/>
              </a:xfrm>
              <a:custGeom>
                <a:avLst/>
                <a:gdLst>
                  <a:gd name="T0" fmla="*/ 90 w 300"/>
                  <a:gd name="T1" fmla="*/ 30 h 570"/>
                  <a:gd name="T2" fmla="*/ 240 w 300"/>
                  <a:gd name="T3" fmla="*/ 0 h 570"/>
                  <a:gd name="T4" fmla="*/ 180 w 300"/>
                  <a:gd name="T5" fmla="*/ 180 h 570"/>
                  <a:gd name="T6" fmla="*/ 90 w 300"/>
                  <a:gd name="T7" fmla="*/ 30 h 570"/>
                  <a:gd name="T8" fmla="*/ 30 w 300"/>
                  <a:gd name="T9" fmla="*/ 150 h 570"/>
                  <a:gd name="T10" fmla="*/ 0 w 300"/>
                  <a:gd name="T11" fmla="*/ 330 h 570"/>
                  <a:gd name="T12" fmla="*/ 90 w 300"/>
                  <a:gd name="T13" fmla="*/ 570 h 570"/>
                  <a:gd name="T14" fmla="*/ 150 w 300"/>
                  <a:gd name="T15" fmla="*/ 450 h 570"/>
                  <a:gd name="T16" fmla="*/ 270 w 300"/>
                  <a:gd name="T17" fmla="*/ 240 h 570"/>
                  <a:gd name="T18" fmla="*/ 300 w 300"/>
                  <a:gd name="T19" fmla="*/ 120 h 570"/>
                  <a:gd name="T20" fmla="*/ 240 w 30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570">
                    <a:moveTo>
                      <a:pt x="90" y="30"/>
                    </a:moveTo>
                    <a:lnTo>
                      <a:pt x="240" y="0"/>
                    </a:lnTo>
                    <a:lnTo>
                      <a:pt x="180" y="180"/>
                    </a:lnTo>
                    <a:lnTo>
                      <a:pt x="90" y="30"/>
                    </a:lnTo>
                    <a:lnTo>
                      <a:pt x="30" y="150"/>
                    </a:lnTo>
                    <a:lnTo>
                      <a:pt x="0" y="330"/>
                    </a:lnTo>
                    <a:lnTo>
                      <a:pt x="90" y="570"/>
                    </a:lnTo>
                    <a:lnTo>
                      <a:pt x="150" y="450"/>
                    </a:lnTo>
                    <a:lnTo>
                      <a:pt x="270" y="240"/>
                    </a:lnTo>
                    <a:lnTo>
                      <a:pt x="300" y="12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4" name="Freeform 2538">
                <a:extLst>
                  <a:ext uri="{FF2B5EF4-FFF2-40B4-BE49-F238E27FC236}">
                    <a16:creationId xmlns:a16="http://schemas.microsoft.com/office/drawing/2014/main" id="{FF0650A7-79A7-4AB9-984C-7DA55D1E9D38}"/>
                  </a:ext>
                </a:extLst>
              </p:cNvPr>
              <p:cNvSpPr>
                <a:spLocks/>
              </p:cNvSpPr>
              <p:nvPr/>
            </p:nvSpPr>
            <p:spPr bwMode="auto">
              <a:xfrm>
                <a:off x="1696" y="300"/>
                <a:ext cx="150" cy="360"/>
              </a:xfrm>
              <a:custGeom>
                <a:avLst/>
                <a:gdLst>
                  <a:gd name="T0" fmla="*/ 0 w 150"/>
                  <a:gd name="T1" fmla="*/ 360 h 360"/>
                  <a:gd name="T2" fmla="*/ 30 w 150"/>
                  <a:gd name="T3" fmla="*/ 180 h 360"/>
                  <a:gd name="T4" fmla="*/ 150 w 150"/>
                  <a:gd name="T5" fmla="*/ 0 h 360"/>
                  <a:gd name="T6" fmla="*/ 30 w 150"/>
                  <a:gd name="T7" fmla="*/ 60 h 360"/>
                </a:gdLst>
                <a:ahLst/>
                <a:cxnLst>
                  <a:cxn ang="0">
                    <a:pos x="T0" y="T1"/>
                  </a:cxn>
                  <a:cxn ang="0">
                    <a:pos x="T2" y="T3"/>
                  </a:cxn>
                  <a:cxn ang="0">
                    <a:pos x="T4" y="T5"/>
                  </a:cxn>
                  <a:cxn ang="0">
                    <a:pos x="T6" y="T7"/>
                  </a:cxn>
                </a:cxnLst>
                <a:rect l="0" t="0" r="r" b="b"/>
                <a:pathLst>
                  <a:path w="150" h="360">
                    <a:moveTo>
                      <a:pt x="0" y="360"/>
                    </a:moveTo>
                    <a:lnTo>
                      <a:pt x="30" y="180"/>
                    </a:lnTo>
                    <a:lnTo>
                      <a:pt x="150" y="0"/>
                    </a:lnTo>
                    <a:lnTo>
                      <a:pt x="3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5" name="Freeform 2539">
                <a:extLst>
                  <a:ext uri="{FF2B5EF4-FFF2-40B4-BE49-F238E27FC236}">
                    <a16:creationId xmlns:a16="http://schemas.microsoft.com/office/drawing/2014/main" id="{3CEC080A-E7B8-43C2-9749-B52DC6068EE3}"/>
                  </a:ext>
                </a:extLst>
              </p:cNvPr>
              <p:cNvSpPr>
                <a:spLocks/>
              </p:cNvSpPr>
              <p:nvPr/>
            </p:nvSpPr>
            <p:spPr bwMode="auto">
              <a:xfrm>
                <a:off x="1456" y="60"/>
                <a:ext cx="390" cy="240"/>
              </a:xfrm>
              <a:custGeom>
                <a:avLst/>
                <a:gdLst>
                  <a:gd name="T0" fmla="*/ 390 w 390"/>
                  <a:gd name="T1" fmla="*/ 210 h 240"/>
                  <a:gd name="T2" fmla="*/ 300 w 390"/>
                  <a:gd name="T3" fmla="*/ 0 h 240"/>
                  <a:gd name="T4" fmla="*/ 0 w 390"/>
                  <a:gd name="T5" fmla="*/ 240 h 240"/>
                </a:gdLst>
                <a:ahLst/>
                <a:cxnLst>
                  <a:cxn ang="0">
                    <a:pos x="T0" y="T1"/>
                  </a:cxn>
                  <a:cxn ang="0">
                    <a:pos x="T2" y="T3"/>
                  </a:cxn>
                  <a:cxn ang="0">
                    <a:pos x="T4" y="T5"/>
                  </a:cxn>
                </a:cxnLst>
                <a:rect l="0" t="0" r="r" b="b"/>
                <a:pathLst>
                  <a:path w="390" h="240">
                    <a:moveTo>
                      <a:pt x="390" y="210"/>
                    </a:moveTo>
                    <a:lnTo>
                      <a:pt x="300" y="0"/>
                    </a:lnTo>
                    <a:lnTo>
                      <a:pt x="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6" name="Freeform 2540">
                <a:extLst>
                  <a:ext uri="{FF2B5EF4-FFF2-40B4-BE49-F238E27FC236}">
                    <a16:creationId xmlns:a16="http://schemas.microsoft.com/office/drawing/2014/main" id="{C8B08150-0FBE-4DE5-BB0B-95FC7145C698}"/>
                  </a:ext>
                </a:extLst>
              </p:cNvPr>
              <p:cNvSpPr>
                <a:spLocks/>
              </p:cNvSpPr>
              <p:nvPr/>
            </p:nvSpPr>
            <p:spPr bwMode="auto">
              <a:xfrm>
                <a:off x="3974" y="2700"/>
                <a:ext cx="480" cy="360"/>
              </a:xfrm>
              <a:custGeom>
                <a:avLst/>
                <a:gdLst>
                  <a:gd name="T0" fmla="*/ 0 w 480"/>
                  <a:gd name="T1" fmla="*/ 300 h 360"/>
                  <a:gd name="T2" fmla="*/ 30 w 480"/>
                  <a:gd name="T3" fmla="*/ 150 h 360"/>
                  <a:gd name="T4" fmla="*/ 180 w 480"/>
                  <a:gd name="T5" fmla="*/ 360 h 360"/>
                  <a:gd name="T6" fmla="*/ 330 w 480"/>
                  <a:gd name="T7" fmla="*/ 300 h 360"/>
                  <a:gd name="T8" fmla="*/ 330 w 480"/>
                  <a:gd name="T9" fmla="*/ 210 h 360"/>
                  <a:gd name="T10" fmla="*/ 150 w 480"/>
                  <a:gd name="T11" fmla="*/ 210 h 360"/>
                  <a:gd name="T12" fmla="*/ 420 w 480"/>
                  <a:gd name="T13" fmla="*/ 120 h 360"/>
                  <a:gd name="T14" fmla="*/ 450 w 480"/>
                  <a:gd name="T15" fmla="*/ 270 h 360"/>
                  <a:gd name="T16" fmla="*/ 480 w 480"/>
                  <a:gd name="T1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360">
                    <a:moveTo>
                      <a:pt x="0" y="300"/>
                    </a:moveTo>
                    <a:lnTo>
                      <a:pt x="30" y="150"/>
                    </a:lnTo>
                    <a:lnTo>
                      <a:pt x="180" y="360"/>
                    </a:lnTo>
                    <a:lnTo>
                      <a:pt x="330" y="300"/>
                    </a:lnTo>
                    <a:lnTo>
                      <a:pt x="330" y="210"/>
                    </a:lnTo>
                    <a:lnTo>
                      <a:pt x="150" y="210"/>
                    </a:lnTo>
                    <a:lnTo>
                      <a:pt x="420" y="120"/>
                    </a:lnTo>
                    <a:lnTo>
                      <a:pt x="450" y="270"/>
                    </a:lnTo>
                    <a:lnTo>
                      <a:pt x="4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7" name="Freeform 2541">
                <a:extLst>
                  <a:ext uri="{FF2B5EF4-FFF2-40B4-BE49-F238E27FC236}">
                    <a16:creationId xmlns:a16="http://schemas.microsoft.com/office/drawing/2014/main" id="{D7AF7C46-E71B-48E9-8732-C9897316108C}"/>
                  </a:ext>
                </a:extLst>
              </p:cNvPr>
              <p:cNvSpPr>
                <a:spLocks/>
              </p:cNvSpPr>
              <p:nvPr/>
            </p:nvSpPr>
            <p:spPr bwMode="auto">
              <a:xfrm>
                <a:off x="3824" y="1950"/>
                <a:ext cx="570" cy="1260"/>
              </a:xfrm>
              <a:custGeom>
                <a:avLst/>
                <a:gdLst>
                  <a:gd name="T0" fmla="*/ 540 w 570"/>
                  <a:gd name="T1" fmla="*/ 1200 h 1260"/>
                  <a:gd name="T2" fmla="*/ 300 w 570"/>
                  <a:gd name="T3" fmla="*/ 1260 h 1260"/>
                  <a:gd name="T4" fmla="*/ 210 w 570"/>
                  <a:gd name="T5" fmla="*/ 1170 h 1260"/>
                  <a:gd name="T6" fmla="*/ 90 w 570"/>
                  <a:gd name="T7" fmla="*/ 1140 h 1260"/>
                  <a:gd name="T8" fmla="*/ 0 w 570"/>
                  <a:gd name="T9" fmla="*/ 990 h 1260"/>
                  <a:gd name="T10" fmla="*/ 180 w 570"/>
                  <a:gd name="T11" fmla="*/ 900 h 1260"/>
                  <a:gd name="T12" fmla="*/ 180 w 570"/>
                  <a:gd name="T13" fmla="*/ 720 h 1260"/>
                  <a:gd name="T14" fmla="*/ 300 w 570"/>
                  <a:gd name="T15" fmla="*/ 960 h 1260"/>
                  <a:gd name="T16" fmla="*/ 300 w 570"/>
                  <a:gd name="T17" fmla="*/ 750 h 1260"/>
                  <a:gd name="T18" fmla="*/ 480 w 570"/>
                  <a:gd name="T19" fmla="*/ 570 h 1260"/>
                  <a:gd name="T20" fmla="*/ 270 w 570"/>
                  <a:gd name="T21" fmla="*/ 630 h 1260"/>
                  <a:gd name="T22" fmla="*/ 150 w 570"/>
                  <a:gd name="T23" fmla="*/ 600 h 1260"/>
                  <a:gd name="T24" fmla="*/ 360 w 570"/>
                  <a:gd name="T25" fmla="*/ 450 h 1260"/>
                  <a:gd name="T26" fmla="*/ 240 w 570"/>
                  <a:gd name="T27" fmla="*/ 300 h 1260"/>
                  <a:gd name="T28" fmla="*/ 120 w 570"/>
                  <a:gd name="T29" fmla="*/ 360 h 1260"/>
                  <a:gd name="T30" fmla="*/ 360 w 570"/>
                  <a:gd name="T31" fmla="*/ 0 h 1260"/>
                  <a:gd name="T32" fmla="*/ 450 w 570"/>
                  <a:gd name="T33" fmla="*/ 210 h 1260"/>
                  <a:gd name="T34" fmla="*/ 570 w 570"/>
                  <a:gd name="T35" fmla="*/ 60 h 1260"/>
                  <a:gd name="T36" fmla="*/ 540 w 570"/>
                  <a:gd name="T37" fmla="*/ 420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1260">
                    <a:moveTo>
                      <a:pt x="540" y="1200"/>
                    </a:moveTo>
                    <a:lnTo>
                      <a:pt x="300" y="1260"/>
                    </a:lnTo>
                    <a:lnTo>
                      <a:pt x="210" y="1170"/>
                    </a:lnTo>
                    <a:lnTo>
                      <a:pt x="90" y="1140"/>
                    </a:lnTo>
                    <a:lnTo>
                      <a:pt x="0" y="990"/>
                    </a:lnTo>
                    <a:lnTo>
                      <a:pt x="180" y="900"/>
                    </a:lnTo>
                    <a:lnTo>
                      <a:pt x="180" y="720"/>
                    </a:lnTo>
                    <a:lnTo>
                      <a:pt x="300" y="960"/>
                    </a:lnTo>
                    <a:lnTo>
                      <a:pt x="300" y="750"/>
                    </a:lnTo>
                    <a:lnTo>
                      <a:pt x="480" y="570"/>
                    </a:lnTo>
                    <a:lnTo>
                      <a:pt x="270" y="630"/>
                    </a:lnTo>
                    <a:lnTo>
                      <a:pt x="150" y="600"/>
                    </a:lnTo>
                    <a:lnTo>
                      <a:pt x="360" y="450"/>
                    </a:lnTo>
                    <a:lnTo>
                      <a:pt x="240" y="300"/>
                    </a:lnTo>
                    <a:lnTo>
                      <a:pt x="120" y="360"/>
                    </a:lnTo>
                    <a:lnTo>
                      <a:pt x="360" y="0"/>
                    </a:lnTo>
                    <a:lnTo>
                      <a:pt x="450" y="210"/>
                    </a:lnTo>
                    <a:lnTo>
                      <a:pt x="570" y="60"/>
                    </a:lnTo>
                    <a:lnTo>
                      <a:pt x="540"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8" name="Freeform 2542">
                <a:extLst>
                  <a:ext uri="{FF2B5EF4-FFF2-40B4-BE49-F238E27FC236}">
                    <a16:creationId xmlns:a16="http://schemas.microsoft.com/office/drawing/2014/main" id="{F27E1930-5F7B-4992-8374-DC6DA8A19057}"/>
                  </a:ext>
                </a:extLst>
              </p:cNvPr>
              <p:cNvSpPr>
                <a:spLocks/>
              </p:cNvSpPr>
              <p:nvPr/>
            </p:nvSpPr>
            <p:spPr bwMode="auto">
              <a:xfrm>
                <a:off x="3585" y="1890"/>
                <a:ext cx="869" cy="1320"/>
              </a:xfrm>
              <a:custGeom>
                <a:avLst/>
                <a:gdLst>
                  <a:gd name="T0" fmla="*/ 869 w 869"/>
                  <a:gd name="T1" fmla="*/ 660 h 1320"/>
                  <a:gd name="T2" fmla="*/ 839 w 869"/>
                  <a:gd name="T3" fmla="*/ 300 h 1320"/>
                  <a:gd name="T4" fmla="*/ 809 w 869"/>
                  <a:gd name="T5" fmla="*/ 120 h 1320"/>
                  <a:gd name="T6" fmla="*/ 719 w 869"/>
                  <a:gd name="T7" fmla="*/ 0 h 1320"/>
                  <a:gd name="T8" fmla="*/ 599 w 869"/>
                  <a:gd name="T9" fmla="*/ 60 h 1320"/>
                  <a:gd name="T10" fmla="*/ 599 w 869"/>
                  <a:gd name="T11" fmla="*/ 150 h 1320"/>
                  <a:gd name="T12" fmla="*/ 509 w 869"/>
                  <a:gd name="T13" fmla="*/ 270 h 1320"/>
                  <a:gd name="T14" fmla="*/ 479 w 869"/>
                  <a:gd name="T15" fmla="*/ 360 h 1320"/>
                  <a:gd name="T16" fmla="*/ 599 w 869"/>
                  <a:gd name="T17" fmla="*/ 300 h 1320"/>
                  <a:gd name="T18" fmla="*/ 689 w 869"/>
                  <a:gd name="T19" fmla="*/ 270 h 1320"/>
                  <a:gd name="T20" fmla="*/ 659 w 869"/>
                  <a:gd name="T21" fmla="*/ 420 h 1320"/>
                  <a:gd name="T22" fmla="*/ 779 w 869"/>
                  <a:gd name="T23" fmla="*/ 480 h 1320"/>
                  <a:gd name="T24" fmla="*/ 869 w 869"/>
                  <a:gd name="T25" fmla="*/ 660 h 1320"/>
                  <a:gd name="T26" fmla="*/ 719 w 869"/>
                  <a:gd name="T27" fmla="*/ 630 h 1320"/>
                  <a:gd name="T28" fmla="*/ 599 w 869"/>
                  <a:gd name="T29" fmla="*/ 510 h 1320"/>
                  <a:gd name="T30" fmla="*/ 539 w 869"/>
                  <a:gd name="T31" fmla="*/ 600 h 1320"/>
                  <a:gd name="T32" fmla="*/ 509 w 869"/>
                  <a:gd name="T33" fmla="*/ 690 h 1320"/>
                  <a:gd name="T34" fmla="*/ 539 w 869"/>
                  <a:gd name="T35" fmla="*/ 810 h 1320"/>
                  <a:gd name="T36" fmla="*/ 269 w 869"/>
                  <a:gd name="T37" fmla="*/ 870 h 1320"/>
                  <a:gd name="T38" fmla="*/ 419 w 869"/>
                  <a:gd name="T39" fmla="*/ 960 h 1320"/>
                  <a:gd name="T40" fmla="*/ 539 w 869"/>
                  <a:gd name="T41" fmla="*/ 1020 h 1320"/>
                  <a:gd name="T42" fmla="*/ 599 w 869"/>
                  <a:gd name="T43" fmla="*/ 930 h 1320"/>
                  <a:gd name="T44" fmla="*/ 719 w 869"/>
                  <a:gd name="T45" fmla="*/ 840 h 1320"/>
                  <a:gd name="T46" fmla="*/ 779 w 869"/>
                  <a:gd name="T47" fmla="*/ 750 h 1320"/>
                  <a:gd name="T48" fmla="*/ 869 w 869"/>
                  <a:gd name="T49" fmla="*/ 810 h 1320"/>
                  <a:gd name="T50" fmla="*/ 809 w 869"/>
                  <a:gd name="T51" fmla="*/ 930 h 1320"/>
                  <a:gd name="T52" fmla="*/ 719 w 869"/>
                  <a:gd name="T53" fmla="*/ 1020 h 1320"/>
                  <a:gd name="T54" fmla="*/ 839 w 869"/>
                  <a:gd name="T55" fmla="*/ 1080 h 1320"/>
                  <a:gd name="T56" fmla="*/ 719 w 869"/>
                  <a:gd name="T57" fmla="*/ 1110 h 1320"/>
                  <a:gd name="T58" fmla="*/ 779 w 869"/>
                  <a:gd name="T59" fmla="*/ 1260 h 1320"/>
                  <a:gd name="T60" fmla="*/ 689 w 869"/>
                  <a:gd name="T61" fmla="*/ 1230 h 1320"/>
                  <a:gd name="T62" fmla="*/ 539 w 869"/>
                  <a:gd name="T63" fmla="*/ 1320 h 1320"/>
                  <a:gd name="T64" fmla="*/ 569 w 869"/>
                  <a:gd name="T65" fmla="*/ 1170 h 1320"/>
                  <a:gd name="T66" fmla="*/ 449 w 869"/>
                  <a:gd name="T67" fmla="*/ 1230 h 1320"/>
                  <a:gd name="T68" fmla="*/ 389 w 869"/>
                  <a:gd name="T69" fmla="*/ 1110 h 1320"/>
                  <a:gd name="T70" fmla="*/ 329 w 869"/>
                  <a:gd name="T71" fmla="*/ 1200 h 1320"/>
                  <a:gd name="T72" fmla="*/ 299 w 869"/>
                  <a:gd name="T73" fmla="*/ 960 h 1320"/>
                  <a:gd name="T74" fmla="*/ 239 w 869"/>
                  <a:gd name="T75" fmla="*/ 1050 h 1320"/>
                  <a:gd name="T76" fmla="*/ 269 w 869"/>
                  <a:gd name="T77" fmla="*/ 870 h 1320"/>
                  <a:gd name="T78" fmla="*/ 419 w 869"/>
                  <a:gd name="T79" fmla="*/ 780 h 1320"/>
                  <a:gd name="T80" fmla="*/ 239 w 869"/>
                  <a:gd name="T81" fmla="*/ 690 h 1320"/>
                  <a:gd name="T82" fmla="*/ 269 w 869"/>
                  <a:gd name="T83" fmla="*/ 870 h 1320"/>
                  <a:gd name="T84" fmla="*/ 389 w 869"/>
                  <a:gd name="T85" fmla="*/ 660 h 1320"/>
                  <a:gd name="T86" fmla="*/ 419 w 869"/>
                  <a:gd name="T87" fmla="*/ 540 h 1320"/>
                  <a:gd name="T88" fmla="*/ 359 w 869"/>
                  <a:gd name="T89" fmla="*/ 420 h 1320"/>
                  <a:gd name="T90" fmla="*/ 389 w 869"/>
                  <a:gd name="T91" fmla="*/ 270 h 1320"/>
                  <a:gd name="T92" fmla="*/ 239 w 869"/>
                  <a:gd name="T93" fmla="*/ 150 h 1320"/>
                  <a:gd name="T94" fmla="*/ 150 w 869"/>
                  <a:gd name="T95" fmla="*/ 270 h 1320"/>
                  <a:gd name="T96" fmla="*/ 0 w 869"/>
                  <a:gd name="T97" fmla="*/ 360 h 1320"/>
                  <a:gd name="T98" fmla="*/ 0 w 869"/>
                  <a:gd name="T99" fmla="*/ 510 h 1320"/>
                  <a:gd name="T100" fmla="*/ 120 w 869"/>
                  <a:gd name="T101" fmla="*/ 420 h 1320"/>
                  <a:gd name="T102" fmla="*/ 269 w 869"/>
                  <a:gd name="T103" fmla="*/ 300 h 1320"/>
                  <a:gd name="T104" fmla="*/ 239 w 869"/>
                  <a:gd name="T105" fmla="*/ 15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9" h="1320">
                    <a:moveTo>
                      <a:pt x="869" y="660"/>
                    </a:moveTo>
                    <a:lnTo>
                      <a:pt x="839" y="300"/>
                    </a:lnTo>
                    <a:lnTo>
                      <a:pt x="809" y="120"/>
                    </a:lnTo>
                    <a:lnTo>
                      <a:pt x="719" y="0"/>
                    </a:lnTo>
                    <a:lnTo>
                      <a:pt x="599" y="60"/>
                    </a:lnTo>
                    <a:lnTo>
                      <a:pt x="599" y="150"/>
                    </a:lnTo>
                    <a:lnTo>
                      <a:pt x="509" y="270"/>
                    </a:lnTo>
                    <a:lnTo>
                      <a:pt x="479" y="360"/>
                    </a:lnTo>
                    <a:lnTo>
                      <a:pt x="599" y="300"/>
                    </a:lnTo>
                    <a:lnTo>
                      <a:pt x="689" y="270"/>
                    </a:lnTo>
                    <a:lnTo>
                      <a:pt x="659" y="420"/>
                    </a:lnTo>
                    <a:lnTo>
                      <a:pt x="779" y="480"/>
                    </a:lnTo>
                    <a:lnTo>
                      <a:pt x="869" y="660"/>
                    </a:lnTo>
                    <a:lnTo>
                      <a:pt x="719" y="630"/>
                    </a:lnTo>
                    <a:lnTo>
                      <a:pt x="599" y="510"/>
                    </a:lnTo>
                    <a:lnTo>
                      <a:pt x="539" y="600"/>
                    </a:lnTo>
                    <a:lnTo>
                      <a:pt x="509" y="690"/>
                    </a:lnTo>
                    <a:lnTo>
                      <a:pt x="539" y="810"/>
                    </a:lnTo>
                    <a:lnTo>
                      <a:pt x="269" y="870"/>
                    </a:lnTo>
                    <a:lnTo>
                      <a:pt x="419" y="960"/>
                    </a:lnTo>
                    <a:lnTo>
                      <a:pt x="539" y="1020"/>
                    </a:lnTo>
                    <a:lnTo>
                      <a:pt x="599" y="930"/>
                    </a:lnTo>
                    <a:lnTo>
                      <a:pt x="719" y="840"/>
                    </a:lnTo>
                    <a:lnTo>
                      <a:pt x="779" y="750"/>
                    </a:lnTo>
                    <a:lnTo>
                      <a:pt x="869" y="810"/>
                    </a:lnTo>
                    <a:lnTo>
                      <a:pt x="809" y="930"/>
                    </a:lnTo>
                    <a:lnTo>
                      <a:pt x="719" y="1020"/>
                    </a:lnTo>
                    <a:lnTo>
                      <a:pt x="839" y="1080"/>
                    </a:lnTo>
                    <a:lnTo>
                      <a:pt x="719" y="1110"/>
                    </a:lnTo>
                    <a:lnTo>
                      <a:pt x="779" y="1260"/>
                    </a:lnTo>
                    <a:lnTo>
                      <a:pt x="689" y="1230"/>
                    </a:lnTo>
                    <a:lnTo>
                      <a:pt x="539" y="1320"/>
                    </a:lnTo>
                    <a:lnTo>
                      <a:pt x="569" y="1170"/>
                    </a:lnTo>
                    <a:lnTo>
                      <a:pt x="449" y="1230"/>
                    </a:lnTo>
                    <a:lnTo>
                      <a:pt x="389" y="1110"/>
                    </a:lnTo>
                    <a:lnTo>
                      <a:pt x="329" y="1200"/>
                    </a:lnTo>
                    <a:lnTo>
                      <a:pt x="299" y="960"/>
                    </a:lnTo>
                    <a:lnTo>
                      <a:pt x="239" y="1050"/>
                    </a:lnTo>
                    <a:lnTo>
                      <a:pt x="269" y="870"/>
                    </a:lnTo>
                    <a:lnTo>
                      <a:pt x="419" y="780"/>
                    </a:lnTo>
                    <a:lnTo>
                      <a:pt x="239" y="690"/>
                    </a:lnTo>
                    <a:lnTo>
                      <a:pt x="269" y="870"/>
                    </a:lnTo>
                    <a:lnTo>
                      <a:pt x="389" y="660"/>
                    </a:lnTo>
                    <a:lnTo>
                      <a:pt x="419" y="540"/>
                    </a:lnTo>
                    <a:lnTo>
                      <a:pt x="359" y="420"/>
                    </a:lnTo>
                    <a:lnTo>
                      <a:pt x="389" y="270"/>
                    </a:lnTo>
                    <a:lnTo>
                      <a:pt x="239" y="150"/>
                    </a:lnTo>
                    <a:lnTo>
                      <a:pt x="150" y="270"/>
                    </a:lnTo>
                    <a:lnTo>
                      <a:pt x="0" y="360"/>
                    </a:lnTo>
                    <a:lnTo>
                      <a:pt x="0" y="510"/>
                    </a:lnTo>
                    <a:lnTo>
                      <a:pt x="120" y="420"/>
                    </a:lnTo>
                    <a:lnTo>
                      <a:pt x="269" y="300"/>
                    </a:lnTo>
                    <a:lnTo>
                      <a:pt x="239"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9" name="Freeform 2543">
                <a:extLst>
                  <a:ext uri="{FF2B5EF4-FFF2-40B4-BE49-F238E27FC236}">
                    <a16:creationId xmlns:a16="http://schemas.microsoft.com/office/drawing/2014/main" id="{1200478D-1F0B-4D07-AA9F-4E7030D03FE1}"/>
                  </a:ext>
                </a:extLst>
              </p:cNvPr>
              <p:cNvSpPr>
                <a:spLocks/>
              </p:cNvSpPr>
              <p:nvPr/>
            </p:nvSpPr>
            <p:spPr bwMode="auto">
              <a:xfrm>
                <a:off x="4004" y="2250"/>
                <a:ext cx="390" cy="570"/>
              </a:xfrm>
              <a:custGeom>
                <a:avLst/>
                <a:gdLst>
                  <a:gd name="T0" fmla="*/ 120 w 390"/>
                  <a:gd name="T1" fmla="*/ 450 h 570"/>
                  <a:gd name="T2" fmla="*/ 300 w 390"/>
                  <a:gd name="T3" fmla="*/ 480 h 570"/>
                  <a:gd name="T4" fmla="*/ 390 w 390"/>
                  <a:gd name="T5" fmla="*/ 570 h 570"/>
                  <a:gd name="T6" fmla="*/ 180 w 390"/>
                  <a:gd name="T7" fmla="*/ 570 h 570"/>
                  <a:gd name="T8" fmla="*/ 300 w 390"/>
                  <a:gd name="T9" fmla="*/ 270 h 570"/>
                  <a:gd name="T10" fmla="*/ 300 w 390"/>
                  <a:gd name="T11" fmla="*/ 480 h 570"/>
                  <a:gd name="T12" fmla="*/ 120 w 390"/>
                  <a:gd name="T13" fmla="*/ 240 h 570"/>
                  <a:gd name="T14" fmla="*/ 60 w 390"/>
                  <a:gd name="T15" fmla="*/ 0 h 570"/>
                  <a:gd name="T16" fmla="*/ 0 w 390"/>
                  <a:gd name="T17" fmla="*/ 18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70">
                    <a:moveTo>
                      <a:pt x="120" y="450"/>
                    </a:moveTo>
                    <a:lnTo>
                      <a:pt x="300" y="480"/>
                    </a:lnTo>
                    <a:lnTo>
                      <a:pt x="390" y="570"/>
                    </a:lnTo>
                    <a:lnTo>
                      <a:pt x="180" y="570"/>
                    </a:lnTo>
                    <a:lnTo>
                      <a:pt x="300" y="270"/>
                    </a:lnTo>
                    <a:lnTo>
                      <a:pt x="300" y="480"/>
                    </a:lnTo>
                    <a:lnTo>
                      <a:pt x="120" y="240"/>
                    </a:lnTo>
                    <a:lnTo>
                      <a:pt x="60" y="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0" name="Freeform 2544">
                <a:extLst>
                  <a:ext uri="{FF2B5EF4-FFF2-40B4-BE49-F238E27FC236}">
                    <a16:creationId xmlns:a16="http://schemas.microsoft.com/office/drawing/2014/main" id="{96867473-DA61-449F-9A02-57CA4A31A01B}"/>
                  </a:ext>
                </a:extLst>
              </p:cNvPr>
              <p:cNvSpPr>
                <a:spLocks/>
              </p:cNvSpPr>
              <p:nvPr/>
            </p:nvSpPr>
            <p:spPr bwMode="auto">
              <a:xfrm>
                <a:off x="3884" y="2850"/>
                <a:ext cx="420" cy="210"/>
              </a:xfrm>
              <a:custGeom>
                <a:avLst/>
                <a:gdLst>
                  <a:gd name="T0" fmla="*/ 0 w 420"/>
                  <a:gd name="T1" fmla="*/ 0 h 210"/>
                  <a:gd name="T2" fmla="*/ 90 w 420"/>
                  <a:gd name="T3" fmla="*/ 150 h 210"/>
                  <a:gd name="T4" fmla="*/ 270 w 420"/>
                  <a:gd name="T5" fmla="*/ 210 h 210"/>
                  <a:gd name="T6" fmla="*/ 420 w 420"/>
                  <a:gd name="T7" fmla="*/ 60 h 210"/>
                </a:gdLst>
                <a:ahLst/>
                <a:cxnLst>
                  <a:cxn ang="0">
                    <a:pos x="T0" y="T1"/>
                  </a:cxn>
                  <a:cxn ang="0">
                    <a:pos x="T2" y="T3"/>
                  </a:cxn>
                  <a:cxn ang="0">
                    <a:pos x="T4" y="T5"/>
                  </a:cxn>
                  <a:cxn ang="0">
                    <a:pos x="T6" y="T7"/>
                  </a:cxn>
                </a:cxnLst>
                <a:rect l="0" t="0" r="r" b="b"/>
                <a:pathLst>
                  <a:path w="420" h="210">
                    <a:moveTo>
                      <a:pt x="0" y="0"/>
                    </a:moveTo>
                    <a:lnTo>
                      <a:pt x="90" y="150"/>
                    </a:lnTo>
                    <a:lnTo>
                      <a:pt x="270" y="210"/>
                    </a:lnTo>
                    <a:lnTo>
                      <a:pt x="4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1" name="Freeform 2545">
                <a:extLst>
                  <a:ext uri="{FF2B5EF4-FFF2-40B4-BE49-F238E27FC236}">
                    <a16:creationId xmlns:a16="http://schemas.microsoft.com/office/drawing/2014/main" id="{EA30FEA3-5F0C-4E9A-B3AE-BB7E1B38A17D}"/>
                  </a:ext>
                </a:extLst>
              </p:cNvPr>
              <p:cNvSpPr>
                <a:spLocks/>
              </p:cNvSpPr>
              <p:nvPr/>
            </p:nvSpPr>
            <p:spPr bwMode="auto">
              <a:xfrm>
                <a:off x="4124" y="2910"/>
                <a:ext cx="180" cy="210"/>
              </a:xfrm>
              <a:custGeom>
                <a:avLst/>
                <a:gdLst>
                  <a:gd name="T0" fmla="*/ 150 w 180"/>
                  <a:gd name="T1" fmla="*/ 210 h 210"/>
                  <a:gd name="T2" fmla="*/ 30 w 180"/>
                  <a:gd name="T3" fmla="*/ 150 h 210"/>
                  <a:gd name="T4" fmla="*/ 0 w 180"/>
                  <a:gd name="T5" fmla="*/ 0 h 210"/>
                  <a:gd name="T6" fmla="*/ 180 w 180"/>
                  <a:gd name="T7" fmla="*/ 90 h 210"/>
                </a:gdLst>
                <a:ahLst/>
                <a:cxnLst>
                  <a:cxn ang="0">
                    <a:pos x="T0" y="T1"/>
                  </a:cxn>
                  <a:cxn ang="0">
                    <a:pos x="T2" y="T3"/>
                  </a:cxn>
                  <a:cxn ang="0">
                    <a:pos x="T4" y="T5"/>
                  </a:cxn>
                  <a:cxn ang="0">
                    <a:pos x="T6" y="T7"/>
                  </a:cxn>
                </a:cxnLst>
                <a:rect l="0" t="0" r="r" b="b"/>
                <a:pathLst>
                  <a:path w="180" h="210">
                    <a:moveTo>
                      <a:pt x="150" y="210"/>
                    </a:moveTo>
                    <a:lnTo>
                      <a:pt x="30" y="150"/>
                    </a:lnTo>
                    <a:lnTo>
                      <a:pt x="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2" name="Line 2546">
                <a:extLst>
                  <a:ext uri="{FF2B5EF4-FFF2-40B4-BE49-F238E27FC236}">
                    <a16:creationId xmlns:a16="http://schemas.microsoft.com/office/drawing/2014/main" id="{6CDA0E53-0226-4D86-B0A9-3C257F93D087}"/>
                  </a:ext>
                </a:extLst>
              </p:cNvPr>
              <p:cNvSpPr>
                <a:spLocks noChangeShapeType="1"/>
              </p:cNvSpPr>
              <p:nvPr/>
            </p:nvSpPr>
            <p:spPr bwMode="auto">
              <a:xfrm flipV="1">
                <a:off x="4364"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3" name="Freeform 2547">
                <a:extLst>
                  <a:ext uri="{FF2B5EF4-FFF2-40B4-BE49-F238E27FC236}">
                    <a16:creationId xmlns:a16="http://schemas.microsoft.com/office/drawing/2014/main" id="{C62185DA-F81C-4469-81D2-8AFFAB1700A3}"/>
                  </a:ext>
                </a:extLst>
              </p:cNvPr>
              <p:cNvSpPr>
                <a:spLocks/>
              </p:cNvSpPr>
              <p:nvPr/>
            </p:nvSpPr>
            <p:spPr bwMode="auto">
              <a:xfrm>
                <a:off x="3944" y="2160"/>
                <a:ext cx="300" cy="150"/>
              </a:xfrm>
              <a:custGeom>
                <a:avLst/>
                <a:gdLst>
                  <a:gd name="T0" fmla="*/ 0 w 300"/>
                  <a:gd name="T1" fmla="*/ 150 h 150"/>
                  <a:gd name="T2" fmla="*/ 300 w 300"/>
                  <a:gd name="T3" fmla="*/ 150 h 150"/>
                  <a:gd name="T4" fmla="*/ 240 w 300"/>
                  <a:gd name="T5" fmla="*/ 30 h 150"/>
                  <a:gd name="T6" fmla="*/ 150 w 300"/>
                  <a:gd name="T7" fmla="*/ 0 h 150"/>
                  <a:gd name="T8" fmla="*/ 30 w 300"/>
                  <a:gd name="T9" fmla="*/ 0 h 150"/>
                </a:gdLst>
                <a:ahLst/>
                <a:cxnLst>
                  <a:cxn ang="0">
                    <a:pos x="T0" y="T1"/>
                  </a:cxn>
                  <a:cxn ang="0">
                    <a:pos x="T2" y="T3"/>
                  </a:cxn>
                  <a:cxn ang="0">
                    <a:pos x="T4" y="T5"/>
                  </a:cxn>
                  <a:cxn ang="0">
                    <a:pos x="T6" y="T7"/>
                  </a:cxn>
                  <a:cxn ang="0">
                    <a:pos x="T8" y="T9"/>
                  </a:cxn>
                </a:cxnLst>
                <a:rect l="0" t="0" r="r" b="b"/>
                <a:pathLst>
                  <a:path w="300" h="150">
                    <a:moveTo>
                      <a:pt x="0" y="150"/>
                    </a:moveTo>
                    <a:lnTo>
                      <a:pt x="300" y="150"/>
                    </a:lnTo>
                    <a:lnTo>
                      <a:pt x="240" y="30"/>
                    </a:lnTo>
                    <a:lnTo>
                      <a:pt x="150" y="0"/>
                    </a:lnTo>
                    <a:lnTo>
                      <a:pt x="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4" name="Freeform 2548">
                <a:extLst>
                  <a:ext uri="{FF2B5EF4-FFF2-40B4-BE49-F238E27FC236}">
                    <a16:creationId xmlns:a16="http://schemas.microsoft.com/office/drawing/2014/main" id="{1ED3132A-E071-45A4-A3DD-13BF1FB4AD77}"/>
                  </a:ext>
                </a:extLst>
              </p:cNvPr>
              <p:cNvSpPr>
                <a:spLocks/>
              </p:cNvSpPr>
              <p:nvPr/>
            </p:nvSpPr>
            <p:spPr bwMode="auto">
              <a:xfrm>
                <a:off x="3914" y="510"/>
                <a:ext cx="180" cy="390"/>
              </a:xfrm>
              <a:custGeom>
                <a:avLst/>
                <a:gdLst>
                  <a:gd name="T0" fmla="*/ 0 w 180"/>
                  <a:gd name="T1" fmla="*/ 270 h 390"/>
                  <a:gd name="T2" fmla="*/ 180 w 180"/>
                  <a:gd name="T3" fmla="*/ 390 h 390"/>
                  <a:gd name="T4" fmla="*/ 30 w 180"/>
                  <a:gd name="T5" fmla="*/ 120 h 390"/>
                  <a:gd name="T6" fmla="*/ 150 w 180"/>
                  <a:gd name="T7" fmla="*/ 0 h 390"/>
                </a:gdLst>
                <a:ahLst/>
                <a:cxnLst>
                  <a:cxn ang="0">
                    <a:pos x="T0" y="T1"/>
                  </a:cxn>
                  <a:cxn ang="0">
                    <a:pos x="T2" y="T3"/>
                  </a:cxn>
                  <a:cxn ang="0">
                    <a:pos x="T4" y="T5"/>
                  </a:cxn>
                  <a:cxn ang="0">
                    <a:pos x="T6" y="T7"/>
                  </a:cxn>
                </a:cxnLst>
                <a:rect l="0" t="0" r="r" b="b"/>
                <a:pathLst>
                  <a:path w="180" h="390">
                    <a:moveTo>
                      <a:pt x="0" y="270"/>
                    </a:moveTo>
                    <a:lnTo>
                      <a:pt x="180" y="390"/>
                    </a:lnTo>
                    <a:lnTo>
                      <a:pt x="30" y="12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5" name="Freeform 2549">
                <a:extLst>
                  <a:ext uri="{FF2B5EF4-FFF2-40B4-BE49-F238E27FC236}">
                    <a16:creationId xmlns:a16="http://schemas.microsoft.com/office/drawing/2014/main" id="{4C2E826C-115E-4063-9546-010A77A99537}"/>
                  </a:ext>
                </a:extLst>
              </p:cNvPr>
              <p:cNvSpPr>
                <a:spLocks/>
              </p:cNvSpPr>
              <p:nvPr/>
            </p:nvSpPr>
            <p:spPr bwMode="auto">
              <a:xfrm>
                <a:off x="3974" y="870"/>
                <a:ext cx="300" cy="330"/>
              </a:xfrm>
              <a:custGeom>
                <a:avLst/>
                <a:gdLst>
                  <a:gd name="T0" fmla="*/ 300 w 300"/>
                  <a:gd name="T1" fmla="*/ 0 h 330"/>
                  <a:gd name="T2" fmla="*/ 240 w 300"/>
                  <a:gd name="T3" fmla="*/ 120 h 330"/>
                  <a:gd name="T4" fmla="*/ 180 w 300"/>
                  <a:gd name="T5" fmla="*/ 330 h 330"/>
                  <a:gd name="T6" fmla="*/ 0 w 300"/>
                  <a:gd name="T7" fmla="*/ 270 h 330"/>
                </a:gdLst>
                <a:ahLst/>
                <a:cxnLst>
                  <a:cxn ang="0">
                    <a:pos x="T0" y="T1"/>
                  </a:cxn>
                  <a:cxn ang="0">
                    <a:pos x="T2" y="T3"/>
                  </a:cxn>
                  <a:cxn ang="0">
                    <a:pos x="T4" y="T5"/>
                  </a:cxn>
                  <a:cxn ang="0">
                    <a:pos x="T6" y="T7"/>
                  </a:cxn>
                </a:cxnLst>
                <a:rect l="0" t="0" r="r" b="b"/>
                <a:pathLst>
                  <a:path w="300" h="330">
                    <a:moveTo>
                      <a:pt x="300" y="0"/>
                    </a:moveTo>
                    <a:lnTo>
                      <a:pt x="240" y="120"/>
                    </a:lnTo>
                    <a:lnTo>
                      <a:pt x="180" y="33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6" name="Freeform 2550">
                <a:extLst>
                  <a:ext uri="{FF2B5EF4-FFF2-40B4-BE49-F238E27FC236}">
                    <a16:creationId xmlns:a16="http://schemas.microsoft.com/office/drawing/2014/main" id="{01EB6D61-7B84-4FCD-AE71-74C95D3D66F4}"/>
                  </a:ext>
                </a:extLst>
              </p:cNvPr>
              <p:cNvSpPr>
                <a:spLocks/>
              </p:cNvSpPr>
              <p:nvPr/>
            </p:nvSpPr>
            <p:spPr bwMode="auto">
              <a:xfrm>
                <a:off x="3824" y="1050"/>
                <a:ext cx="600" cy="750"/>
              </a:xfrm>
              <a:custGeom>
                <a:avLst/>
                <a:gdLst>
                  <a:gd name="T0" fmla="*/ 600 w 600"/>
                  <a:gd name="T1" fmla="*/ 750 h 750"/>
                  <a:gd name="T2" fmla="*/ 570 w 600"/>
                  <a:gd name="T3" fmla="*/ 630 h 750"/>
                  <a:gd name="T4" fmla="*/ 330 w 600"/>
                  <a:gd name="T5" fmla="*/ 750 h 750"/>
                  <a:gd name="T6" fmla="*/ 270 w 600"/>
                  <a:gd name="T7" fmla="*/ 660 h 750"/>
                  <a:gd name="T8" fmla="*/ 180 w 600"/>
                  <a:gd name="T9" fmla="*/ 540 h 750"/>
                  <a:gd name="T10" fmla="*/ 150 w 600"/>
                  <a:gd name="T11" fmla="*/ 90 h 750"/>
                  <a:gd name="T12" fmla="*/ 0 w 600"/>
                  <a:gd name="T13" fmla="*/ 180 h 750"/>
                  <a:gd name="T14" fmla="*/ 210 w 600"/>
                  <a:gd name="T15" fmla="*/ 300 h 750"/>
                  <a:gd name="T16" fmla="*/ 240 w 600"/>
                  <a:gd name="T17"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0" h="750">
                    <a:moveTo>
                      <a:pt x="600" y="750"/>
                    </a:moveTo>
                    <a:lnTo>
                      <a:pt x="570" y="630"/>
                    </a:lnTo>
                    <a:lnTo>
                      <a:pt x="330" y="750"/>
                    </a:lnTo>
                    <a:lnTo>
                      <a:pt x="270" y="660"/>
                    </a:lnTo>
                    <a:lnTo>
                      <a:pt x="180" y="540"/>
                    </a:lnTo>
                    <a:lnTo>
                      <a:pt x="150" y="90"/>
                    </a:lnTo>
                    <a:lnTo>
                      <a:pt x="0" y="180"/>
                    </a:lnTo>
                    <a:lnTo>
                      <a:pt x="210" y="30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7" name="Freeform 2551">
                <a:extLst>
                  <a:ext uri="{FF2B5EF4-FFF2-40B4-BE49-F238E27FC236}">
                    <a16:creationId xmlns:a16="http://schemas.microsoft.com/office/drawing/2014/main" id="{7A961D7B-EDFE-490D-A0C9-165024F99884}"/>
                  </a:ext>
                </a:extLst>
              </p:cNvPr>
              <p:cNvSpPr>
                <a:spLocks/>
              </p:cNvSpPr>
              <p:nvPr/>
            </p:nvSpPr>
            <p:spPr bwMode="auto">
              <a:xfrm>
                <a:off x="3884" y="1530"/>
                <a:ext cx="450" cy="420"/>
              </a:xfrm>
              <a:custGeom>
                <a:avLst/>
                <a:gdLst>
                  <a:gd name="T0" fmla="*/ 270 w 450"/>
                  <a:gd name="T1" fmla="*/ 270 h 420"/>
                  <a:gd name="T2" fmla="*/ 60 w 450"/>
                  <a:gd name="T3" fmla="*/ 270 h 420"/>
                  <a:gd name="T4" fmla="*/ 120 w 450"/>
                  <a:gd name="T5" fmla="*/ 60 h 420"/>
                  <a:gd name="T6" fmla="*/ 0 w 450"/>
                  <a:gd name="T7" fmla="*/ 0 h 420"/>
                  <a:gd name="T8" fmla="*/ 300 w 450"/>
                  <a:gd name="T9" fmla="*/ 420 h 420"/>
                  <a:gd name="T10" fmla="*/ 450 w 450"/>
                  <a:gd name="T11" fmla="*/ 0 h 420"/>
                </a:gdLst>
                <a:ahLst/>
                <a:cxnLst>
                  <a:cxn ang="0">
                    <a:pos x="T0" y="T1"/>
                  </a:cxn>
                  <a:cxn ang="0">
                    <a:pos x="T2" y="T3"/>
                  </a:cxn>
                  <a:cxn ang="0">
                    <a:pos x="T4" y="T5"/>
                  </a:cxn>
                  <a:cxn ang="0">
                    <a:pos x="T6" y="T7"/>
                  </a:cxn>
                  <a:cxn ang="0">
                    <a:pos x="T8" y="T9"/>
                  </a:cxn>
                  <a:cxn ang="0">
                    <a:pos x="T10" y="T11"/>
                  </a:cxn>
                </a:cxnLst>
                <a:rect l="0" t="0" r="r" b="b"/>
                <a:pathLst>
                  <a:path w="450" h="420">
                    <a:moveTo>
                      <a:pt x="270" y="270"/>
                    </a:moveTo>
                    <a:lnTo>
                      <a:pt x="60" y="270"/>
                    </a:lnTo>
                    <a:lnTo>
                      <a:pt x="120" y="60"/>
                    </a:lnTo>
                    <a:lnTo>
                      <a:pt x="0" y="0"/>
                    </a:lnTo>
                    <a:lnTo>
                      <a:pt x="300" y="42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8" name="Freeform 2552">
                <a:extLst>
                  <a:ext uri="{FF2B5EF4-FFF2-40B4-BE49-F238E27FC236}">
                    <a16:creationId xmlns:a16="http://schemas.microsoft.com/office/drawing/2014/main" id="{C1A02BE9-1C95-4C38-8B9B-D703EB28B6CE}"/>
                  </a:ext>
                </a:extLst>
              </p:cNvPr>
              <p:cNvSpPr>
                <a:spLocks/>
              </p:cNvSpPr>
              <p:nvPr/>
            </p:nvSpPr>
            <p:spPr bwMode="auto">
              <a:xfrm>
                <a:off x="4004" y="1410"/>
                <a:ext cx="210" cy="210"/>
              </a:xfrm>
              <a:custGeom>
                <a:avLst/>
                <a:gdLst>
                  <a:gd name="T0" fmla="*/ 0 w 210"/>
                  <a:gd name="T1" fmla="*/ 180 h 210"/>
                  <a:gd name="T2" fmla="*/ 150 w 210"/>
                  <a:gd name="T3" fmla="*/ 0 h 210"/>
                  <a:gd name="T4" fmla="*/ 210 w 210"/>
                  <a:gd name="T5" fmla="*/ 210 h 210"/>
                </a:gdLst>
                <a:ahLst/>
                <a:cxnLst>
                  <a:cxn ang="0">
                    <a:pos x="T0" y="T1"/>
                  </a:cxn>
                  <a:cxn ang="0">
                    <a:pos x="T2" y="T3"/>
                  </a:cxn>
                  <a:cxn ang="0">
                    <a:pos x="T4" y="T5"/>
                  </a:cxn>
                </a:cxnLst>
                <a:rect l="0" t="0" r="r" b="b"/>
                <a:pathLst>
                  <a:path w="210" h="210">
                    <a:moveTo>
                      <a:pt x="0" y="180"/>
                    </a:moveTo>
                    <a:lnTo>
                      <a:pt x="150" y="0"/>
                    </a:lnTo>
                    <a:lnTo>
                      <a:pt x="21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9" name="Freeform 2553">
                <a:extLst>
                  <a:ext uri="{FF2B5EF4-FFF2-40B4-BE49-F238E27FC236}">
                    <a16:creationId xmlns:a16="http://schemas.microsoft.com/office/drawing/2014/main" id="{08F1686B-38B0-42B6-AE5A-D1024295A0AA}"/>
                  </a:ext>
                </a:extLst>
              </p:cNvPr>
              <p:cNvSpPr>
                <a:spLocks/>
              </p:cNvSpPr>
              <p:nvPr/>
            </p:nvSpPr>
            <p:spPr bwMode="auto">
              <a:xfrm>
                <a:off x="4004" y="1710"/>
                <a:ext cx="90" cy="450"/>
              </a:xfrm>
              <a:custGeom>
                <a:avLst/>
                <a:gdLst>
                  <a:gd name="T0" fmla="*/ 90 w 90"/>
                  <a:gd name="T1" fmla="*/ 0 h 450"/>
                  <a:gd name="T2" fmla="*/ 0 w 90"/>
                  <a:gd name="T3" fmla="*/ 240 h 450"/>
                  <a:gd name="T4" fmla="*/ 90 w 90"/>
                  <a:gd name="T5" fmla="*/ 450 h 450"/>
                </a:gdLst>
                <a:ahLst/>
                <a:cxnLst>
                  <a:cxn ang="0">
                    <a:pos x="T0" y="T1"/>
                  </a:cxn>
                  <a:cxn ang="0">
                    <a:pos x="T2" y="T3"/>
                  </a:cxn>
                  <a:cxn ang="0">
                    <a:pos x="T4" y="T5"/>
                  </a:cxn>
                </a:cxnLst>
                <a:rect l="0" t="0" r="r" b="b"/>
                <a:pathLst>
                  <a:path w="90" h="450">
                    <a:moveTo>
                      <a:pt x="90" y="0"/>
                    </a:moveTo>
                    <a:lnTo>
                      <a:pt x="0" y="240"/>
                    </a:lnTo>
                    <a:lnTo>
                      <a:pt x="90" y="4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0" name="Freeform 2554">
                <a:extLst>
                  <a:ext uri="{FF2B5EF4-FFF2-40B4-BE49-F238E27FC236}">
                    <a16:creationId xmlns:a16="http://schemas.microsoft.com/office/drawing/2014/main" id="{88CFBF77-7A26-489F-8265-8D9A3695DFDE}"/>
                  </a:ext>
                </a:extLst>
              </p:cNvPr>
              <p:cNvSpPr>
                <a:spLocks/>
              </p:cNvSpPr>
              <p:nvPr/>
            </p:nvSpPr>
            <p:spPr bwMode="auto">
              <a:xfrm>
                <a:off x="4184" y="2190"/>
                <a:ext cx="180" cy="330"/>
              </a:xfrm>
              <a:custGeom>
                <a:avLst/>
                <a:gdLst>
                  <a:gd name="T0" fmla="*/ 120 w 180"/>
                  <a:gd name="T1" fmla="*/ 330 h 330"/>
                  <a:gd name="T2" fmla="*/ 180 w 180"/>
                  <a:gd name="T3" fmla="*/ 180 h 330"/>
                  <a:gd name="T4" fmla="*/ 0 w 180"/>
                  <a:gd name="T5" fmla="*/ 210 h 330"/>
                  <a:gd name="T6" fmla="*/ 0 w 180"/>
                  <a:gd name="T7" fmla="*/ 0 h 330"/>
                </a:gdLst>
                <a:ahLst/>
                <a:cxnLst>
                  <a:cxn ang="0">
                    <a:pos x="T0" y="T1"/>
                  </a:cxn>
                  <a:cxn ang="0">
                    <a:pos x="T2" y="T3"/>
                  </a:cxn>
                  <a:cxn ang="0">
                    <a:pos x="T4" y="T5"/>
                  </a:cxn>
                  <a:cxn ang="0">
                    <a:pos x="T6" y="T7"/>
                  </a:cxn>
                </a:cxnLst>
                <a:rect l="0" t="0" r="r" b="b"/>
                <a:pathLst>
                  <a:path w="180" h="330">
                    <a:moveTo>
                      <a:pt x="120" y="330"/>
                    </a:moveTo>
                    <a:lnTo>
                      <a:pt x="180" y="180"/>
                    </a:lnTo>
                    <a:lnTo>
                      <a:pt x="0" y="21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1" name="Line 2555">
                <a:extLst>
                  <a:ext uri="{FF2B5EF4-FFF2-40B4-BE49-F238E27FC236}">
                    <a16:creationId xmlns:a16="http://schemas.microsoft.com/office/drawing/2014/main" id="{1A167EDB-A98C-4FE2-A5FD-DBA57BEA29BD}"/>
                  </a:ext>
                </a:extLst>
              </p:cNvPr>
              <p:cNvSpPr>
                <a:spLocks noChangeShapeType="1"/>
              </p:cNvSpPr>
              <p:nvPr/>
            </p:nvSpPr>
            <p:spPr bwMode="auto">
              <a:xfrm>
                <a:off x="4004" y="2670"/>
                <a:ext cx="18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2" name="Freeform 2556">
                <a:extLst>
                  <a:ext uri="{FF2B5EF4-FFF2-40B4-BE49-F238E27FC236}">
                    <a16:creationId xmlns:a16="http://schemas.microsoft.com/office/drawing/2014/main" id="{0C03F6CC-12CD-47AF-93CC-57FB2B49AEFC}"/>
                  </a:ext>
                </a:extLst>
              </p:cNvPr>
              <p:cNvSpPr>
                <a:spLocks/>
              </p:cNvSpPr>
              <p:nvPr/>
            </p:nvSpPr>
            <p:spPr bwMode="auto">
              <a:xfrm>
                <a:off x="4244" y="2010"/>
                <a:ext cx="180" cy="300"/>
              </a:xfrm>
              <a:custGeom>
                <a:avLst/>
                <a:gdLst>
                  <a:gd name="T0" fmla="*/ 180 w 180"/>
                  <a:gd name="T1" fmla="*/ 180 h 300"/>
                  <a:gd name="T2" fmla="*/ 0 w 180"/>
                  <a:gd name="T3" fmla="*/ 300 h 300"/>
                  <a:gd name="T4" fmla="*/ 150 w 180"/>
                  <a:gd name="T5" fmla="*/ 0 h 300"/>
                </a:gdLst>
                <a:ahLst/>
                <a:cxnLst>
                  <a:cxn ang="0">
                    <a:pos x="T0" y="T1"/>
                  </a:cxn>
                  <a:cxn ang="0">
                    <a:pos x="T2" y="T3"/>
                  </a:cxn>
                  <a:cxn ang="0">
                    <a:pos x="T4" y="T5"/>
                  </a:cxn>
                </a:cxnLst>
                <a:rect l="0" t="0" r="r" b="b"/>
                <a:pathLst>
                  <a:path w="180" h="300">
                    <a:moveTo>
                      <a:pt x="180" y="180"/>
                    </a:moveTo>
                    <a:lnTo>
                      <a:pt x="0" y="30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3" name="Freeform 2557">
                <a:extLst>
                  <a:ext uri="{FF2B5EF4-FFF2-40B4-BE49-F238E27FC236}">
                    <a16:creationId xmlns:a16="http://schemas.microsoft.com/office/drawing/2014/main" id="{D99FEC9E-178C-4FF7-BD96-513AFA04BDA1}"/>
                  </a:ext>
                </a:extLst>
              </p:cNvPr>
              <p:cNvSpPr>
                <a:spLocks/>
              </p:cNvSpPr>
              <p:nvPr/>
            </p:nvSpPr>
            <p:spPr bwMode="auto">
              <a:xfrm>
                <a:off x="3974" y="1140"/>
                <a:ext cx="180" cy="270"/>
              </a:xfrm>
              <a:custGeom>
                <a:avLst/>
                <a:gdLst>
                  <a:gd name="T0" fmla="*/ 0 w 180"/>
                  <a:gd name="T1" fmla="*/ 0 h 270"/>
                  <a:gd name="T2" fmla="*/ 180 w 180"/>
                  <a:gd name="T3" fmla="*/ 270 h 270"/>
                  <a:gd name="T4" fmla="*/ 180 w 180"/>
                  <a:gd name="T5" fmla="*/ 60 h 270"/>
                </a:gdLst>
                <a:ahLst/>
                <a:cxnLst>
                  <a:cxn ang="0">
                    <a:pos x="T0" y="T1"/>
                  </a:cxn>
                  <a:cxn ang="0">
                    <a:pos x="T2" y="T3"/>
                  </a:cxn>
                  <a:cxn ang="0">
                    <a:pos x="T4" y="T5"/>
                  </a:cxn>
                </a:cxnLst>
                <a:rect l="0" t="0" r="r" b="b"/>
                <a:pathLst>
                  <a:path w="180" h="270">
                    <a:moveTo>
                      <a:pt x="0" y="0"/>
                    </a:moveTo>
                    <a:lnTo>
                      <a:pt x="180" y="270"/>
                    </a:lnTo>
                    <a:lnTo>
                      <a:pt x="18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4" name="Freeform 2558">
                <a:extLst>
                  <a:ext uri="{FF2B5EF4-FFF2-40B4-BE49-F238E27FC236}">
                    <a16:creationId xmlns:a16="http://schemas.microsoft.com/office/drawing/2014/main" id="{92633BBC-E0C1-4D5B-AAD9-FA4429307D86}"/>
                  </a:ext>
                </a:extLst>
              </p:cNvPr>
              <p:cNvSpPr>
                <a:spLocks/>
              </p:cNvSpPr>
              <p:nvPr/>
            </p:nvSpPr>
            <p:spPr bwMode="auto">
              <a:xfrm>
                <a:off x="3884" y="60"/>
                <a:ext cx="540" cy="1830"/>
              </a:xfrm>
              <a:custGeom>
                <a:avLst/>
                <a:gdLst>
                  <a:gd name="T0" fmla="*/ 180 w 540"/>
                  <a:gd name="T1" fmla="*/ 990 h 1830"/>
                  <a:gd name="T2" fmla="*/ 330 w 540"/>
                  <a:gd name="T3" fmla="*/ 930 h 1830"/>
                  <a:gd name="T4" fmla="*/ 330 w 540"/>
                  <a:gd name="T5" fmla="*/ 1560 h 1830"/>
                  <a:gd name="T6" fmla="*/ 270 w 540"/>
                  <a:gd name="T7" fmla="*/ 1350 h 1830"/>
                  <a:gd name="T8" fmla="*/ 540 w 540"/>
                  <a:gd name="T9" fmla="*/ 1740 h 1830"/>
                  <a:gd name="T10" fmla="*/ 330 w 540"/>
                  <a:gd name="T11" fmla="*/ 1560 h 1830"/>
                  <a:gd name="T12" fmla="*/ 450 w 540"/>
                  <a:gd name="T13" fmla="*/ 1470 h 1830"/>
                  <a:gd name="T14" fmla="*/ 480 w 540"/>
                  <a:gd name="T15" fmla="*/ 1200 h 1830"/>
                  <a:gd name="T16" fmla="*/ 150 w 540"/>
                  <a:gd name="T17" fmla="*/ 1290 h 1830"/>
                  <a:gd name="T18" fmla="*/ 270 w 540"/>
                  <a:gd name="T19" fmla="*/ 1140 h 1830"/>
                  <a:gd name="T20" fmla="*/ 510 w 540"/>
                  <a:gd name="T21" fmla="*/ 960 h 1830"/>
                  <a:gd name="T22" fmla="*/ 180 w 540"/>
                  <a:gd name="T23" fmla="*/ 990 h 1830"/>
                  <a:gd name="T24" fmla="*/ 390 w 540"/>
                  <a:gd name="T25" fmla="*/ 810 h 1830"/>
                  <a:gd name="T26" fmla="*/ 360 w 540"/>
                  <a:gd name="T27" fmla="*/ 630 h 1830"/>
                  <a:gd name="T28" fmla="*/ 150 w 540"/>
                  <a:gd name="T29" fmla="*/ 630 h 1830"/>
                  <a:gd name="T30" fmla="*/ 270 w 540"/>
                  <a:gd name="T31" fmla="*/ 510 h 1830"/>
                  <a:gd name="T32" fmla="*/ 510 w 540"/>
                  <a:gd name="T33" fmla="*/ 600 h 1830"/>
                  <a:gd name="T34" fmla="*/ 480 w 540"/>
                  <a:gd name="T35" fmla="*/ 360 h 1830"/>
                  <a:gd name="T36" fmla="*/ 240 w 540"/>
                  <a:gd name="T37" fmla="*/ 360 h 1830"/>
                  <a:gd name="T38" fmla="*/ 60 w 540"/>
                  <a:gd name="T39" fmla="*/ 300 h 1830"/>
                  <a:gd name="T40" fmla="*/ 270 w 540"/>
                  <a:gd name="T41" fmla="*/ 210 h 1830"/>
                  <a:gd name="T42" fmla="*/ 90 w 540"/>
                  <a:gd name="T43" fmla="*/ 0 h 1830"/>
                  <a:gd name="T44" fmla="*/ 210 w 540"/>
                  <a:gd name="T45" fmla="*/ 60 h 1830"/>
                  <a:gd name="T46" fmla="*/ 510 w 540"/>
                  <a:gd name="T47" fmla="*/ 210 h 1830"/>
                  <a:gd name="T48" fmla="*/ 390 w 540"/>
                  <a:gd name="T49" fmla="*/ 240 h 1830"/>
                  <a:gd name="T50" fmla="*/ 270 w 540"/>
                  <a:gd name="T51" fmla="*/ 210 h 1830"/>
                  <a:gd name="T52" fmla="*/ 180 w 540"/>
                  <a:gd name="T53" fmla="*/ 240 h 1830"/>
                  <a:gd name="T54" fmla="*/ 60 w 540"/>
                  <a:gd name="T55" fmla="*/ 300 h 1830"/>
                  <a:gd name="T56" fmla="*/ 330 w 540"/>
                  <a:gd name="T57" fmla="*/ 390 h 1830"/>
                  <a:gd name="T58" fmla="*/ 480 w 540"/>
                  <a:gd name="T59" fmla="*/ 360 h 1830"/>
                  <a:gd name="T60" fmla="*/ 360 w 540"/>
                  <a:gd name="T61" fmla="*/ 630 h 1830"/>
                  <a:gd name="T62" fmla="*/ 90 w 540"/>
                  <a:gd name="T63" fmla="*/ 84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1830">
                    <a:moveTo>
                      <a:pt x="60" y="960"/>
                    </a:moveTo>
                    <a:lnTo>
                      <a:pt x="180" y="990"/>
                    </a:lnTo>
                    <a:lnTo>
                      <a:pt x="390" y="1080"/>
                    </a:lnTo>
                    <a:lnTo>
                      <a:pt x="330" y="930"/>
                    </a:lnTo>
                    <a:lnTo>
                      <a:pt x="0" y="1320"/>
                    </a:lnTo>
                    <a:lnTo>
                      <a:pt x="330" y="1560"/>
                    </a:lnTo>
                    <a:lnTo>
                      <a:pt x="450" y="1470"/>
                    </a:lnTo>
                    <a:lnTo>
                      <a:pt x="270" y="1350"/>
                    </a:lnTo>
                    <a:lnTo>
                      <a:pt x="210" y="1650"/>
                    </a:lnTo>
                    <a:lnTo>
                      <a:pt x="540" y="1740"/>
                    </a:lnTo>
                    <a:lnTo>
                      <a:pt x="420" y="1830"/>
                    </a:lnTo>
                    <a:lnTo>
                      <a:pt x="330" y="1560"/>
                    </a:lnTo>
                    <a:lnTo>
                      <a:pt x="510" y="1620"/>
                    </a:lnTo>
                    <a:lnTo>
                      <a:pt x="450" y="1470"/>
                    </a:lnTo>
                    <a:lnTo>
                      <a:pt x="420" y="1320"/>
                    </a:lnTo>
                    <a:lnTo>
                      <a:pt x="480" y="1200"/>
                    </a:lnTo>
                    <a:lnTo>
                      <a:pt x="270" y="1350"/>
                    </a:lnTo>
                    <a:lnTo>
                      <a:pt x="150" y="1290"/>
                    </a:lnTo>
                    <a:lnTo>
                      <a:pt x="330" y="1200"/>
                    </a:lnTo>
                    <a:lnTo>
                      <a:pt x="270" y="1140"/>
                    </a:lnTo>
                    <a:lnTo>
                      <a:pt x="390" y="1080"/>
                    </a:lnTo>
                    <a:lnTo>
                      <a:pt x="510" y="960"/>
                    </a:lnTo>
                    <a:lnTo>
                      <a:pt x="330" y="930"/>
                    </a:lnTo>
                    <a:lnTo>
                      <a:pt x="180" y="990"/>
                    </a:lnTo>
                    <a:lnTo>
                      <a:pt x="210" y="840"/>
                    </a:lnTo>
                    <a:lnTo>
                      <a:pt x="390" y="810"/>
                    </a:lnTo>
                    <a:lnTo>
                      <a:pt x="540" y="720"/>
                    </a:lnTo>
                    <a:lnTo>
                      <a:pt x="360" y="630"/>
                    </a:lnTo>
                    <a:lnTo>
                      <a:pt x="240" y="690"/>
                    </a:lnTo>
                    <a:lnTo>
                      <a:pt x="150" y="630"/>
                    </a:lnTo>
                    <a:lnTo>
                      <a:pt x="180" y="450"/>
                    </a:lnTo>
                    <a:lnTo>
                      <a:pt x="270" y="510"/>
                    </a:lnTo>
                    <a:lnTo>
                      <a:pt x="420" y="540"/>
                    </a:lnTo>
                    <a:lnTo>
                      <a:pt x="510" y="600"/>
                    </a:lnTo>
                    <a:lnTo>
                      <a:pt x="540" y="480"/>
                    </a:lnTo>
                    <a:lnTo>
                      <a:pt x="480" y="360"/>
                    </a:lnTo>
                    <a:lnTo>
                      <a:pt x="330" y="390"/>
                    </a:lnTo>
                    <a:lnTo>
                      <a:pt x="240" y="360"/>
                    </a:lnTo>
                    <a:lnTo>
                      <a:pt x="60" y="420"/>
                    </a:lnTo>
                    <a:lnTo>
                      <a:pt x="60" y="300"/>
                    </a:lnTo>
                    <a:lnTo>
                      <a:pt x="180" y="240"/>
                    </a:lnTo>
                    <a:lnTo>
                      <a:pt x="270" y="210"/>
                    </a:lnTo>
                    <a:lnTo>
                      <a:pt x="210" y="60"/>
                    </a:lnTo>
                    <a:lnTo>
                      <a:pt x="90" y="0"/>
                    </a:lnTo>
                    <a:lnTo>
                      <a:pt x="540" y="0"/>
                    </a:lnTo>
                    <a:lnTo>
                      <a:pt x="210" y="60"/>
                    </a:lnTo>
                    <a:lnTo>
                      <a:pt x="360" y="90"/>
                    </a:lnTo>
                    <a:lnTo>
                      <a:pt x="510" y="210"/>
                    </a:lnTo>
                    <a:lnTo>
                      <a:pt x="480" y="360"/>
                    </a:lnTo>
                    <a:lnTo>
                      <a:pt x="390" y="240"/>
                    </a:lnTo>
                    <a:lnTo>
                      <a:pt x="330" y="390"/>
                    </a:lnTo>
                    <a:lnTo>
                      <a:pt x="270" y="210"/>
                    </a:lnTo>
                    <a:lnTo>
                      <a:pt x="240" y="360"/>
                    </a:lnTo>
                    <a:lnTo>
                      <a:pt x="180" y="240"/>
                    </a:lnTo>
                    <a:lnTo>
                      <a:pt x="90" y="210"/>
                    </a:lnTo>
                    <a:lnTo>
                      <a:pt x="60" y="300"/>
                    </a:lnTo>
                    <a:lnTo>
                      <a:pt x="180" y="450"/>
                    </a:lnTo>
                    <a:lnTo>
                      <a:pt x="330" y="390"/>
                    </a:lnTo>
                    <a:lnTo>
                      <a:pt x="420" y="540"/>
                    </a:lnTo>
                    <a:lnTo>
                      <a:pt x="480" y="360"/>
                    </a:lnTo>
                    <a:lnTo>
                      <a:pt x="270" y="510"/>
                    </a:lnTo>
                    <a:lnTo>
                      <a:pt x="360" y="630"/>
                    </a:lnTo>
                    <a:lnTo>
                      <a:pt x="150" y="630"/>
                    </a:lnTo>
                    <a:lnTo>
                      <a:pt x="90" y="840"/>
                    </a:lnTo>
                    <a:lnTo>
                      <a:pt x="330" y="9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5" name="Freeform 2559">
                <a:extLst>
                  <a:ext uri="{FF2B5EF4-FFF2-40B4-BE49-F238E27FC236}">
                    <a16:creationId xmlns:a16="http://schemas.microsoft.com/office/drawing/2014/main" id="{EF604164-F99A-4112-8D65-08D863175DFD}"/>
                  </a:ext>
                </a:extLst>
              </p:cNvPr>
              <p:cNvSpPr>
                <a:spLocks/>
              </p:cNvSpPr>
              <p:nvPr/>
            </p:nvSpPr>
            <p:spPr bwMode="auto">
              <a:xfrm>
                <a:off x="4244" y="600"/>
                <a:ext cx="150" cy="420"/>
              </a:xfrm>
              <a:custGeom>
                <a:avLst/>
                <a:gdLst>
                  <a:gd name="T0" fmla="*/ 30 w 150"/>
                  <a:gd name="T1" fmla="*/ 270 h 420"/>
                  <a:gd name="T2" fmla="*/ 150 w 150"/>
                  <a:gd name="T3" fmla="*/ 420 h 420"/>
                  <a:gd name="T4" fmla="*/ 60 w 150"/>
                  <a:gd name="T5" fmla="*/ 0 h 420"/>
                  <a:gd name="T6" fmla="*/ 0 w 150"/>
                  <a:gd name="T7" fmla="*/ 90 h 420"/>
                  <a:gd name="T8" fmla="*/ 30 w 150"/>
                  <a:gd name="T9" fmla="*/ 270 h 420"/>
                </a:gdLst>
                <a:ahLst/>
                <a:cxnLst>
                  <a:cxn ang="0">
                    <a:pos x="T0" y="T1"/>
                  </a:cxn>
                  <a:cxn ang="0">
                    <a:pos x="T2" y="T3"/>
                  </a:cxn>
                  <a:cxn ang="0">
                    <a:pos x="T4" y="T5"/>
                  </a:cxn>
                  <a:cxn ang="0">
                    <a:pos x="T6" y="T7"/>
                  </a:cxn>
                  <a:cxn ang="0">
                    <a:pos x="T8" y="T9"/>
                  </a:cxn>
                </a:cxnLst>
                <a:rect l="0" t="0" r="r" b="b"/>
                <a:pathLst>
                  <a:path w="150" h="420">
                    <a:moveTo>
                      <a:pt x="30" y="270"/>
                    </a:moveTo>
                    <a:lnTo>
                      <a:pt x="150" y="420"/>
                    </a:lnTo>
                    <a:lnTo>
                      <a:pt x="60" y="0"/>
                    </a:lnTo>
                    <a:lnTo>
                      <a:pt x="0" y="90"/>
                    </a:lnTo>
                    <a:lnTo>
                      <a:pt x="30" y="27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6" name="Freeform 2560">
                <a:extLst>
                  <a:ext uri="{FF2B5EF4-FFF2-40B4-BE49-F238E27FC236}">
                    <a16:creationId xmlns:a16="http://schemas.microsoft.com/office/drawing/2014/main" id="{199A64E5-1F1E-4FA3-A6E9-8599FC11CE69}"/>
                  </a:ext>
                </a:extLst>
              </p:cNvPr>
              <p:cNvSpPr>
                <a:spLocks/>
              </p:cNvSpPr>
              <p:nvPr/>
            </p:nvSpPr>
            <p:spPr bwMode="auto">
              <a:xfrm>
                <a:off x="4094" y="570"/>
                <a:ext cx="180" cy="420"/>
              </a:xfrm>
              <a:custGeom>
                <a:avLst/>
                <a:gdLst>
                  <a:gd name="T0" fmla="*/ 180 w 180"/>
                  <a:gd name="T1" fmla="*/ 300 h 420"/>
                  <a:gd name="T2" fmla="*/ 30 w 180"/>
                  <a:gd name="T3" fmla="*/ 180 h 420"/>
                  <a:gd name="T4" fmla="*/ 0 w 180"/>
                  <a:gd name="T5" fmla="*/ 330 h 420"/>
                  <a:gd name="T6" fmla="*/ 120 w 180"/>
                  <a:gd name="T7" fmla="*/ 420 h 420"/>
                  <a:gd name="T8" fmla="*/ 60 w 180"/>
                  <a:gd name="T9" fmla="*/ 0 h 420"/>
                </a:gdLst>
                <a:ahLst/>
                <a:cxnLst>
                  <a:cxn ang="0">
                    <a:pos x="T0" y="T1"/>
                  </a:cxn>
                  <a:cxn ang="0">
                    <a:pos x="T2" y="T3"/>
                  </a:cxn>
                  <a:cxn ang="0">
                    <a:pos x="T4" y="T5"/>
                  </a:cxn>
                  <a:cxn ang="0">
                    <a:pos x="T6" y="T7"/>
                  </a:cxn>
                  <a:cxn ang="0">
                    <a:pos x="T8" y="T9"/>
                  </a:cxn>
                </a:cxnLst>
                <a:rect l="0" t="0" r="r" b="b"/>
                <a:pathLst>
                  <a:path w="180" h="420">
                    <a:moveTo>
                      <a:pt x="180" y="300"/>
                    </a:moveTo>
                    <a:lnTo>
                      <a:pt x="30" y="180"/>
                    </a:lnTo>
                    <a:lnTo>
                      <a:pt x="0" y="330"/>
                    </a:lnTo>
                    <a:lnTo>
                      <a:pt x="120" y="42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7" name="Freeform 2561">
                <a:extLst>
                  <a:ext uri="{FF2B5EF4-FFF2-40B4-BE49-F238E27FC236}">
                    <a16:creationId xmlns:a16="http://schemas.microsoft.com/office/drawing/2014/main" id="{C06F1EF1-8776-4DE5-9291-801841221609}"/>
                  </a:ext>
                </a:extLst>
              </p:cNvPr>
              <p:cNvSpPr>
                <a:spLocks/>
              </p:cNvSpPr>
              <p:nvPr/>
            </p:nvSpPr>
            <p:spPr bwMode="auto">
              <a:xfrm>
                <a:off x="4244" y="60"/>
                <a:ext cx="180" cy="240"/>
              </a:xfrm>
              <a:custGeom>
                <a:avLst/>
                <a:gdLst>
                  <a:gd name="T0" fmla="*/ 30 w 180"/>
                  <a:gd name="T1" fmla="*/ 240 h 240"/>
                  <a:gd name="T2" fmla="*/ 0 w 180"/>
                  <a:gd name="T3" fmla="*/ 90 h 240"/>
                  <a:gd name="T4" fmla="*/ 180 w 180"/>
                  <a:gd name="T5" fmla="*/ 0 h 240"/>
                  <a:gd name="T6" fmla="*/ 150 w 180"/>
                  <a:gd name="T7" fmla="*/ 210 h 240"/>
                  <a:gd name="T8" fmla="*/ 30 w 180"/>
                  <a:gd name="T9" fmla="*/ 240 h 240"/>
                </a:gdLst>
                <a:ahLst/>
                <a:cxnLst>
                  <a:cxn ang="0">
                    <a:pos x="T0" y="T1"/>
                  </a:cxn>
                  <a:cxn ang="0">
                    <a:pos x="T2" y="T3"/>
                  </a:cxn>
                  <a:cxn ang="0">
                    <a:pos x="T4" y="T5"/>
                  </a:cxn>
                  <a:cxn ang="0">
                    <a:pos x="T6" y="T7"/>
                  </a:cxn>
                  <a:cxn ang="0">
                    <a:pos x="T8" y="T9"/>
                  </a:cxn>
                </a:cxnLst>
                <a:rect l="0" t="0" r="r" b="b"/>
                <a:pathLst>
                  <a:path w="180" h="240">
                    <a:moveTo>
                      <a:pt x="30" y="240"/>
                    </a:moveTo>
                    <a:lnTo>
                      <a:pt x="0" y="90"/>
                    </a:lnTo>
                    <a:lnTo>
                      <a:pt x="180" y="0"/>
                    </a:lnTo>
                    <a:lnTo>
                      <a:pt x="150" y="210"/>
                    </a:lnTo>
                    <a:lnTo>
                      <a:pt x="3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8" name="Line 2562">
                <a:extLst>
                  <a:ext uri="{FF2B5EF4-FFF2-40B4-BE49-F238E27FC236}">
                    <a16:creationId xmlns:a16="http://schemas.microsoft.com/office/drawing/2014/main" id="{902BC64D-D90F-4AF2-81D2-8C6BDA374B25}"/>
                  </a:ext>
                </a:extLst>
              </p:cNvPr>
              <p:cNvSpPr>
                <a:spLocks noChangeShapeType="1"/>
              </p:cNvSpPr>
              <p:nvPr/>
            </p:nvSpPr>
            <p:spPr bwMode="auto">
              <a:xfrm flipH="1">
                <a:off x="4304" y="54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9" name="Freeform 2563">
                <a:extLst>
                  <a:ext uri="{FF2B5EF4-FFF2-40B4-BE49-F238E27FC236}">
                    <a16:creationId xmlns:a16="http://schemas.microsoft.com/office/drawing/2014/main" id="{F091BE02-B2ED-40E8-AA87-341B2C8B286D}"/>
                  </a:ext>
                </a:extLst>
              </p:cNvPr>
              <p:cNvSpPr>
                <a:spLocks/>
              </p:cNvSpPr>
              <p:nvPr/>
            </p:nvSpPr>
            <p:spPr bwMode="auto">
              <a:xfrm>
                <a:off x="2985" y="330"/>
                <a:ext cx="120" cy="210"/>
              </a:xfrm>
              <a:custGeom>
                <a:avLst/>
                <a:gdLst>
                  <a:gd name="T0" fmla="*/ 90 w 120"/>
                  <a:gd name="T1" fmla="*/ 0 h 210"/>
                  <a:gd name="T2" fmla="*/ 0 w 120"/>
                  <a:gd name="T3" fmla="*/ 210 h 210"/>
                  <a:gd name="T4" fmla="*/ 120 w 120"/>
                  <a:gd name="T5" fmla="*/ 180 h 210"/>
                  <a:gd name="T6" fmla="*/ 90 w 120"/>
                  <a:gd name="T7" fmla="*/ 0 h 210"/>
                </a:gdLst>
                <a:ahLst/>
                <a:cxnLst>
                  <a:cxn ang="0">
                    <a:pos x="T0" y="T1"/>
                  </a:cxn>
                  <a:cxn ang="0">
                    <a:pos x="T2" y="T3"/>
                  </a:cxn>
                  <a:cxn ang="0">
                    <a:pos x="T4" y="T5"/>
                  </a:cxn>
                  <a:cxn ang="0">
                    <a:pos x="T6" y="T7"/>
                  </a:cxn>
                </a:cxnLst>
                <a:rect l="0" t="0" r="r" b="b"/>
                <a:pathLst>
                  <a:path w="120" h="210">
                    <a:moveTo>
                      <a:pt x="90" y="0"/>
                    </a:moveTo>
                    <a:lnTo>
                      <a:pt x="0" y="210"/>
                    </a:lnTo>
                    <a:lnTo>
                      <a:pt x="120" y="18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60" name="Freeform 2564">
                <a:extLst>
                  <a:ext uri="{FF2B5EF4-FFF2-40B4-BE49-F238E27FC236}">
                    <a16:creationId xmlns:a16="http://schemas.microsoft.com/office/drawing/2014/main" id="{541920AE-61B1-4920-8D89-6403DFBCCE7E}"/>
                  </a:ext>
                </a:extLst>
              </p:cNvPr>
              <p:cNvSpPr>
                <a:spLocks/>
              </p:cNvSpPr>
              <p:nvPr/>
            </p:nvSpPr>
            <p:spPr bwMode="auto">
              <a:xfrm>
                <a:off x="3195" y="240"/>
                <a:ext cx="480" cy="270"/>
              </a:xfrm>
              <a:custGeom>
                <a:avLst/>
                <a:gdLst>
                  <a:gd name="T0" fmla="*/ 0 w 480"/>
                  <a:gd name="T1" fmla="*/ 0 h 270"/>
                  <a:gd name="T2" fmla="*/ 90 w 480"/>
                  <a:gd name="T3" fmla="*/ 240 h 270"/>
                  <a:gd name="T4" fmla="*/ 300 w 480"/>
                  <a:gd name="T5" fmla="*/ 150 h 270"/>
                  <a:gd name="T6" fmla="*/ 480 w 480"/>
                  <a:gd name="T7" fmla="*/ 210 h 270"/>
                  <a:gd name="T8" fmla="*/ 270 w 480"/>
                  <a:gd name="T9" fmla="*/ 270 h 270"/>
                  <a:gd name="T10" fmla="*/ 120 w 480"/>
                  <a:gd name="T11" fmla="*/ 60 h 270"/>
                </a:gdLst>
                <a:ahLst/>
                <a:cxnLst>
                  <a:cxn ang="0">
                    <a:pos x="T0" y="T1"/>
                  </a:cxn>
                  <a:cxn ang="0">
                    <a:pos x="T2" y="T3"/>
                  </a:cxn>
                  <a:cxn ang="0">
                    <a:pos x="T4" y="T5"/>
                  </a:cxn>
                  <a:cxn ang="0">
                    <a:pos x="T6" y="T7"/>
                  </a:cxn>
                  <a:cxn ang="0">
                    <a:pos x="T8" y="T9"/>
                  </a:cxn>
                  <a:cxn ang="0">
                    <a:pos x="T10" y="T11"/>
                  </a:cxn>
                </a:cxnLst>
                <a:rect l="0" t="0" r="r" b="b"/>
                <a:pathLst>
                  <a:path w="480" h="270">
                    <a:moveTo>
                      <a:pt x="0" y="0"/>
                    </a:moveTo>
                    <a:lnTo>
                      <a:pt x="90" y="240"/>
                    </a:lnTo>
                    <a:lnTo>
                      <a:pt x="300" y="150"/>
                    </a:lnTo>
                    <a:lnTo>
                      <a:pt x="480" y="210"/>
                    </a:lnTo>
                    <a:lnTo>
                      <a:pt x="270" y="270"/>
                    </a:lnTo>
                    <a:lnTo>
                      <a:pt x="1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61" name="Freeform 2565">
                <a:extLst>
                  <a:ext uri="{FF2B5EF4-FFF2-40B4-BE49-F238E27FC236}">
                    <a16:creationId xmlns:a16="http://schemas.microsoft.com/office/drawing/2014/main" id="{FB995F90-7954-47DE-A702-7ABFA40D403F}"/>
                  </a:ext>
                </a:extLst>
              </p:cNvPr>
              <p:cNvSpPr>
                <a:spLocks/>
              </p:cNvSpPr>
              <p:nvPr/>
            </p:nvSpPr>
            <p:spPr bwMode="auto">
              <a:xfrm>
                <a:off x="2805" y="60"/>
                <a:ext cx="1289" cy="300"/>
              </a:xfrm>
              <a:custGeom>
                <a:avLst/>
                <a:gdLst>
                  <a:gd name="T0" fmla="*/ 1169 w 1289"/>
                  <a:gd name="T1" fmla="*/ 210 h 300"/>
                  <a:gd name="T2" fmla="*/ 1169 w 1289"/>
                  <a:gd name="T3" fmla="*/ 0 h 300"/>
                  <a:gd name="T4" fmla="*/ 1049 w 1289"/>
                  <a:gd name="T5" fmla="*/ 90 h 300"/>
                  <a:gd name="T6" fmla="*/ 1169 w 1289"/>
                  <a:gd name="T7" fmla="*/ 210 h 300"/>
                  <a:gd name="T8" fmla="*/ 1289 w 1289"/>
                  <a:gd name="T9" fmla="*/ 60 h 300"/>
                  <a:gd name="T10" fmla="*/ 1259 w 1289"/>
                  <a:gd name="T11" fmla="*/ 240 h 300"/>
                  <a:gd name="T12" fmla="*/ 1169 w 1289"/>
                  <a:gd name="T13" fmla="*/ 0 h 300"/>
                  <a:gd name="T14" fmla="*/ 870 w 1289"/>
                  <a:gd name="T15" fmla="*/ 30 h 300"/>
                  <a:gd name="T16" fmla="*/ 780 w 1289"/>
                  <a:gd name="T17" fmla="*/ 240 h 300"/>
                  <a:gd name="T18" fmla="*/ 660 w 1289"/>
                  <a:gd name="T19" fmla="*/ 90 h 300"/>
                  <a:gd name="T20" fmla="*/ 450 w 1289"/>
                  <a:gd name="T21" fmla="*/ 90 h 300"/>
                  <a:gd name="T22" fmla="*/ 630 w 1289"/>
                  <a:gd name="T23" fmla="*/ 210 h 300"/>
                  <a:gd name="T24" fmla="*/ 390 w 1289"/>
                  <a:gd name="T25" fmla="*/ 180 h 300"/>
                  <a:gd name="T26" fmla="*/ 270 w 1289"/>
                  <a:gd name="T27" fmla="*/ 30 h 300"/>
                  <a:gd name="T28" fmla="*/ 210 w 1289"/>
                  <a:gd name="T29" fmla="*/ 150 h 300"/>
                  <a:gd name="T30" fmla="*/ 90 w 1289"/>
                  <a:gd name="T31" fmla="*/ 210 h 300"/>
                  <a:gd name="T32" fmla="*/ 0 w 1289"/>
                  <a:gd name="T33" fmla="*/ 60 h 300"/>
                  <a:gd name="T34" fmla="*/ 150 w 1289"/>
                  <a:gd name="T35" fmla="*/ 30 h 300"/>
                  <a:gd name="T36" fmla="*/ 150 w 1289"/>
                  <a:gd name="T3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9" h="300">
                    <a:moveTo>
                      <a:pt x="1169" y="210"/>
                    </a:moveTo>
                    <a:lnTo>
                      <a:pt x="1169" y="0"/>
                    </a:lnTo>
                    <a:lnTo>
                      <a:pt x="1049" y="90"/>
                    </a:lnTo>
                    <a:lnTo>
                      <a:pt x="1169" y="210"/>
                    </a:lnTo>
                    <a:lnTo>
                      <a:pt x="1289" y="60"/>
                    </a:lnTo>
                    <a:lnTo>
                      <a:pt x="1259" y="240"/>
                    </a:lnTo>
                    <a:lnTo>
                      <a:pt x="1169" y="0"/>
                    </a:lnTo>
                    <a:lnTo>
                      <a:pt x="870" y="30"/>
                    </a:lnTo>
                    <a:lnTo>
                      <a:pt x="780" y="240"/>
                    </a:lnTo>
                    <a:lnTo>
                      <a:pt x="660" y="90"/>
                    </a:lnTo>
                    <a:lnTo>
                      <a:pt x="450" y="90"/>
                    </a:lnTo>
                    <a:lnTo>
                      <a:pt x="630" y="210"/>
                    </a:lnTo>
                    <a:lnTo>
                      <a:pt x="390" y="180"/>
                    </a:lnTo>
                    <a:lnTo>
                      <a:pt x="270" y="30"/>
                    </a:lnTo>
                    <a:lnTo>
                      <a:pt x="210" y="150"/>
                    </a:lnTo>
                    <a:lnTo>
                      <a:pt x="90" y="210"/>
                    </a:lnTo>
                    <a:lnTo>
                      <a:pt x="0" y="60"/>
                    </a:lnTo>
                    <a:lnTo>
                      <a:pt x="150" y="3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62" name="Freeform 2566">
                <a:extLst>
                  <a:ext uri="{FF2B5EF4-FFF2-40B4-BE49-F238E27FC236}">
                    <a16:creationId xmlns:a16="http://schemas.microsoft.com/office/drawing/2014/main" id="{A3770C58-C8D2-47F5-8FB8-6A4C5D43172B}"/>
                  </a:ext>
                </a:extLst>
              </p:cNvPr>
              <p:cNvSpPr>
                <a:spLocks/>
              </p:cNvSpPr>
              <p:nvPr/>
            </p:nvSpPr>
            <p:spPr bwMode="auto">
              <a:xfrm>
                <a:off x="3675" y="90"/>
                <a:ext cx="269" cy="270"/>
              </a:xfrm>
              <a:custGeom>
                <a:avLst/>
                <a:gdLst>
                  <a:gd name="T0" fmla="*/ 0 w 269"/>
                  <a:gd name="T1" fmla="*/ 0 h 270"/>
                  <a:gd name="T2" fmla="*/ 179 w 269"/>
                  <a:gd name="T3" fmla="*/ 60 h 270"/>
                  <a:gd name="T4" fmla="*/ 269 w 269"/>
                  <a:gd name="T5" fmla="*/ 270 h 270"/>
                </a:gdLst>
                <a:ahLst/>
                <a:cxnLst>
                  <a:cxn ang="0">
                    <a:pos x="T0" y="T1"/>
                  </a:cxn>
                  <a:cxn ang="0">
                    <a:pos x="T2" y="T3"/>
                  </a:cxn>
                  <a:cxn ang="0">
                    <a:pos x="T4" y="T5"/>
                  </a:cxn>
                </a:cxnLst>
                <a:rect l="0" t="0" r="r" b="b"/>
                <a:pathLst>
                  <a:path w="269" h="270">
                    <a:moveTo>
                      <a:pt x="0" y="0"/>
                    </a:moveTo>
                    <a:lnTo>
                      <a:pt x="179" y="60"/>
                    </a:lnTo>
                    <a:lnTo>
                      <a:pt x="26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63" name="Freeform 2567">
                <a:extLst>
                  <a:ext uri="{FF2B5EF4-FFF2-40B4-BE49-F238E27FC236}">
                    <a16:creationId xmlns:a16="http://schemas.microsoft.com/office/drawing/2014/main" id="{C70A40C6-1447-4513-B79F-31F6CEAB5FD8}"/>
                  </a:ext>
                </a:extLst>
              </p:cNvPr>
              <p:cNvSpPr>
                <a:spLocks/>
              </p:cNvSpPr>
              <p:nvPr/>
            </p:nvSpPr>
            <p:spPr bwMode="auto">
              <a:xfrm>
                <a:off x="3195" y="30"/>
                <a:ext cx="360" cy="60"/>
              </a:xfrm>
              <a:custGeom>
                <a:avLst/>
                <a:gdLst>
                  <a:gd name="T0" fmla="*/ 360 w 360"/>
                  <a:gd name="T1" fmla="*/ 0 h 60"/>
                  <a:gd name="T2" fmla="*/ 150 w 360"/>
                  <a:gd name="T3" fmla="*/ 60 h 60"/>
                  <a:gd name="T4" fmla="*/ 0 w 360"/>
                  <a:gd name="T5" fmla="*/ 0 h 60"/>
                </a:gdLst>
                <a:ahLst/>
                <a:cxnLst>
                  <a:cxn ang="0">
                    <a:pos x="T0" y="T1"/>
                  </a:cxn>
                  <a:cxn ang="0">
                    <a:pos x="T2" y="T3"/>
                  </a:cxn>
                  <a:cxn ang="0">
                    <a:pos x="T4" y="T5"/>
                  </a:cxn>
                </a:cxnLst>
                <a:rect l="0" t="0" r="r" b="b"/>
                <a:pathLst>
                  <a:path w="360" h="60">
                    <a:moveTo>
                      <a:pt x="360" y="0"/>
                    </a:moveTo>
                    <a:lnTo>
                      <a:pt x="15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64" name="Freeform 2568">
                <a:extLst>
                  <a:ext uri="{FF2B5EF4-FFF2-40B4-BE49-F238E27FC236}">
                    <a16:creationId xmlns:a16="http://schemas.microsoft.com/office/drawing/2014/main" id="{B7D2B326-9B30-4FB0-AB26-835A628F2FA9}"/>
                  </a:ext>
                </a:extLst>
              </p:cNvPr>
              <p:cNvSpPr>
                <a:spLocks/>
              </p:cNvSpPr>
              <p:nvPr/>
            </p:nvSpPr>
            <p:spPr bwMode="auto">
              <a:xfrm>
                <a:off x="1846" y="210"/>
                <a:ext cx="389" cy="300"/>
              </a:xfrm>
              <a:custGeom>
                <a:avLst/>
                <a:gdLst>
                  <a:gd name="T0" fmla="*/ 120 w 389"/>
                  <a:gd name="T1" fmla="*/ 150 h 300"/>
                  <a:gd name="T2" fmla="*/ 0 w 389"/>
                  <a:gd name="T3" fmla="*/ 90 h 300"/>
                  <a:gd name="T4" fmla="*/ 60 w 389"/>
                  <a:gd name="T5" fmla="*/ 300 h 300"/>
                  <a:gd name="T6" fmla="*/ 269 w 389"/>
                  <a:gd name="T7" fmla="*/ 120 h 300"/>
                  <a:gd name="T8" fmla="*/ 389 w 389"/>
                  <a:gd name="T9" fmla="*/ 180 h 300"/>
                  <a:gd name="T10" fmla="*/ 210 w 389"/>
                  <a:gd name="T11" fmla="*/ 0 h 300"/>
                  <a:gd name="T12" fmla="*/ 0 w 389"/>
                  <a:gd name="T13" fmla="*/ 90 h 300"/>
                </a:gdLst>
                <a:ahLst/>
                <a:cxnLst>
                  <a:cxn ang="0">
                    <a:pos x="T0" y="T1"/>
                  </a:cxn>
                  <a:cxn ang="0">
                    <a:pos x="T2" y="T3"/>
                  </a:cxn>
                  <a:cxn ang="0">
                    <a:pos x="T4" y="T5"/>
                  </a:cxn>
                  <a:cxn ang="0">
                    <a:pos x="T6" y="T7"/>
                  </a:cxn>
                  <a:cxn ang="0">
                    <a:pos x="T8" y="T9"/>
                  </a:cxn>
                  <a:cxn ang="0">
                    <a:pos x="T10" y="T11"/>
                  </a:cxn>
                  <a:cxn ang="0">
                    <a:pos x="T12" y="T13"/>
                  </a:cxn>
                </a:cxnLst>
                <a:rect l="0" t="0" r="r" b="b"/>
                <a:pathLst>
                  <a:path w="389" h="300">
                    <a:moveTo>
                      <a:pt x="120" y="150"/>
                    </a:moveTo>
                    <a:lnTo>
                      <a:pt x="0" y="90"/>
                    </a:lnTo>
                    <a:lnTo>
                      <a:pt x="60" y="300"/>
                    </a:lnTo>
                    <a:lnTo>
                      <a:pt x="269" y="120"/>
                    </a:lnTo>
                    <a:lnTo>
                      <a:pt x="389" y="180"/>
                    </a:lnTo>
                    <a:lnTo>
                      <a:pt x="210" y="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65" name="Freeform 2569">
                <a:extLst>
                  <a:ext uri="{FF2B5EF4-FFF2-40B4-BE49-F238E27FC236}">
                    <a16:creationId xmlns:a16="http://schemas.microsoft.com/office/drawing/2014/main" id="{4D91A8E7-9EF7-4BF0-9B7C-34DF3C375691}"/>
                  </a:ext>
                </a:extLst>
              </p:cNvPr>
              <p:cNvSpPr>
                <a:spLocks/>
              </p:cNvSpPr>
              <p:nvPr/>
            </p:nvSpPr>
            <p:spPr bwMode="auto">
              <a:xfrm>
                <a:off x="1966" y="60"/>
                <a:ext cx="149" cy="150"/>
              </a:xfrm>
              <a:custGeom>
                <a:avLst/>
                <a:gdLst>
                  <a:gd name="T0" fmla="*/ 0 w 149"/>
                  <a:gd name="T1" fmla="*/ 0 h 150"/>
                  <a:gd name="T2" fmla="*/ 90 w 149"/>
                  <a:gd name="T3" fmla="*/ 150 h 150"/>
                  <a:gd name="T4" fmla="*/ 149 w 149"/>
                  <a:gd name="T5" fmla="*/ 30 h 150"/>
                </a:gdLst>
                <a:ahLst/>
                <a:cxnLst>
                  <a:cxn ang="0">
                    <a:pos x="T0" y="T1"/>
                  </a:cxn>
                  <a:cxn ang="0">
                    <a:pos x="T2" y="T3"/>
                  </a:cxn>
                  <a:cxn ang="0">
                    <a:pos x="T4" y="T5"/>
                  </a:cxn>
                </a:cxnLst>
                <a:rect l="0" t="0" r="r" b="b"/>
                <a:pathLst>
                  <a:path w="149" h="150">
                    <a:moveTo>
                      <a:pt x="0" y="0"/>
                    </a:moveTo>
                    <a:lnTo>
                      <a:pt x="90" y="150"/>
                    </a:lnTo>
                    <a:lnTo>
                      <a:pt x="14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66" name="Freeform 2570">
                <a:extLst>
                  <a:ext uri="{FF2B5EF4-FFF2-40B4-BE49-F238E27FC236}">
                    <a16:creationId xmlns:a16="http://schemas.microsoft.com/office/drawing/2014/main" id="{C75C2C77-5F44-49CA-BF99-710EAE05DFF2}"/>
                  </a:ext>
                </a:extLst>
              </p:cNvPr>
              <p:cNvSpPr>
                <a:spLocks/>
              </p:cNvSpPr>
              <p:nvPr/>
            </p:nvSpPr>
            <p:spPr bwMode="auto">
              <a:xfrm>
                <a:off x="2056" y="210"/>
                <a:ext cx="1649" cy="1050"/>
              </a:xfrm>
              <a:custGeom>
                <a:avLst/>
                <a:gdLst>
                  <a:gd name="T0" fmla="*/ 0 w 1649"/>
                  <a:gd name="T1" fmla="*/ 0 h 1050"/>
                  <a:gd name="T2" fmla="*/ 179 w 1649"/>
                  <a:gd name="T3" fmla="*/ 30 h 1050"/>
                  <a:gd name="T4" fmla="*/ 299 w 1649"/>
                  <a:gd name="T5" fmla="*/ 120 h 1050"/>
                  <a:gd name="T6" fmla="*/ 269 w 1649"/>
                  <a:gd name="T7" fmla="*/ 240 h 1050"/>
                  <a:gd name="T8" fmla="*/ 479 w 1649"/>
                  <a:gd name="T9" fmla="*/ 180 h 1050"/>
                  <a:gd name="T10" fmla="*/ 449 w 1649"/>
                  <a:gd name="T11" fmla="*/ 300 h 1050"/>
                  <a:gd name="T12" fmla="*/ 269 w 1649"/>
                  <a:gd name="T13" fmla="*/ 240 h 1050"/>
                  <a:gd name="T14" fmla="*/ 359 w 1649"/>
                  <a:gd name="T15" fmla="*/ 360 h 1050"/>
                  <a:gd name="T16" fmla="*/ 449 w 1649"/>
                  <a:gd name="T17" fmla="*/ 300 h 1050"/>
                  <a:gd name="T18" fmla="*/ 839 w 1649"/>
                  <a:gd name="T19" fmla="*/ 240 h 1050"/>
                  <a:gd name="T20" fmla="*/ 749 w 1649"/>
                  <a:gd name="T21" fmla="*/ 330 h 1050"/>
                  <a:gd name="T22" fmla="*/ 689 w 1649"/>
                  <a:gd name="T23" fmla="*/ 420 h 1050"/>
                  <a:gd name="T24" fmla="*/ 539 w 1649"/>
                  <a:gd name="T25" fmla="*/ 510 h 1050"/>
                  <a:gd name="T26" fmla="*/ 539 w 1649"/>
                  <a:gd name="T27" fmla="*/ 660 h 1050"/>
                  <a:gd name="T28" fmla="*/ 659 w 1649"/>
                  <a:gd name="T29" fmla="*/ 570 h 1050"/>
                  <a:gd name="T30" fmla="*/ 809 w 1649"/>
                  <a:gd name="T31" fmla="*/ 450 h 1050"/>
                  <a:gd name="T32" fmla="*/ 1049 w 1649"/>
                  <a:gd name="T33" fmla="*/ 300 h 1050"/>
                  <a:gd name="T34" fmla="*/ 1139 w 1649"/>
                  <a:gd name="T35" fmla="*/ 360 h 1050"/>
                  <a:gd name="T36" fmla="*/ 1229 w 1649"/>
                  <a:gd name="T37" fmla="*/ 480 h 1050"/>
                  <a:gd name="T38" fmla="*/ 1319 w 1649"/>
                  <a:gd name="T39" fmla="*/ 360 h 1050"/>
                  <a:gd name="T40" fmla="*/ 1139 w 1649"/>
                  <a:gd name="T41" fmla="*/ 360 h 1050"/>
                  <a:gd name="T42" fmla="*/ 1139 w 1649"/>
                  <a:gd name="T43" fmla="*/ 511 h 1050"/>
                  <a:gd name="T44" fmla="*/ 1049 w 1649"/>
                  <a:gd name="T45" fmla="*/ 480 h 1050"/>
                  <a:gd name="T46" fmla="*/ 1019 w 1649"/>
                  <a:gd name="T47" fmla="*/ 570 h 1050"/>
                  <a:gd name="T48" fmla="*/ 1019 w 1649"/>
                  <a:gd name="T49" fmla="*/ 810 h 1050"/>
                  <a:gd name="T50" fmla="*/ 1139 w 1649"/>
                  <a:gd name="T51" fmla="*/ 720 h 1050"/>
                  <a:gd name="T52" fmla="*/ 1227 w 1649"/>
                  <a:gd name="T53" fmla="*/ 812 h 1050"/>
                  <a:gd name="T54" fmla="*/ 1199 w 1649"/>
                  <a:gd name="T55" fmla="*/ 630 h 1050"/>
                  <a:gd name="T56" fmla="*/ 1289 w 1649"/>
                  <a:gd name="T57" fmla="*/ 570 h 1050"/>
                  <a:gd name="T58" fmla="*/ 1409 w 1649"/>
                  <a:gd name="T59" fmla="*/ 630 h 1050"/>
                  <a:gd name="T60" fmla="*/ 1289 w 1649"/>
                  <a:gd name="T61" fmla="*/ 690 h 1050"/>
                  <a:gd name="T62" fmla="*/ 1379 w 1649"/>
                  <a:gd name="T63" fmla="*/ 750 h 1050"/>
                  <a:gd name="T64" fmla="*/ 1649 w 1649"/>
                  <a:gd name="T65" fmla="*/ 720 h 1050"/>
                  <a:gd name="T66" fmla="*/ 1529 w 1649"/>
                  <a:gd name="T67" fmla="*/ 780 h 1050"/>
                  <a:gd name="T68" fmla="*/ 1559 w 1649"/>
                  <a:gd name="T69" fmla="*/ 1050 h 1050"/>
                  <a:gd name="T70" fmla="*/ 1349 w 1649"/>
                  <a:gd name="T71" fmla="*/ 87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1050">
                    <a:moveTo>
                      <a:pt x="0" y="0"/>
                    </a:moveTo>
                    <a:lnTo>
                      <a:pt x="179" y="30"/>
                    </a:lnTo>
                    <a:lnTo>
                      <a:pt x="299" y="120"/>
                    </a:lnTo>
                    <a:lnTo>
                      <a:pt x="269" y="240"/>
                    </a:lnTo>
                    <a:lnTo>
                      <a:pt x="479" y="180"/>
                    </a:lnTo>
                    <a:lnTo>
                      <a:pt x="449" y="300"/>
                    </a:lnTo>
                    <a:lnTo>
                      <a:pt x="269" y="240"/>
                    </a:lnTo>
                    <a:lnTo>
                      <a:pt x="359" y="360"/>
                    </a:lnTo>
                    <a:lnTo>
                      <a:pt x="449" y="300"/>
                    </a:lnTo>
                    <a:lnTo>
                      <a:pt x="839" y="240"/>
                    </a:lnTo>
                    <a:lnTo>
                      <a:pt x="749" y="330"/>
                    </a:lnTo>
                    <a:lnTo>
                      <a:pt x="689" y="420"/>
                    </a:lnTo>
                    <a:lnTo>
                      <a:pt x="539" y="510"/>
                    </a:lnTo>
                    <a:lnTo>
                      <a:pt x="539" y="660"/>
                    </a:lnTo>
                    <a:lnTo>
                      <a:pt x="659" y="570"/>
                    </a:lnTo>
                    <a:lnTo>
                      <a:pt x="809" y="450"/>
                    </a:lnTo>
                    <a:lnTo>
                      <a:pt x="1049" y="300"/>
                    </a:lnTo>
                    <a:lnTo>
                      <a:pt x="1139" y="360"/>
                    </a:lnTo>
                    <a:lnTo>
                      <a:pt x="1229" y="480"/>
                    </a:lnTo>
                    <a:lnTo>
                      <a:pt x="1319" y="360"/>
                    </a:lnTo>
                    <a:lnTo>
                      <a:pt x="1139" y="360"/>
                    </a:lnTo>
                    <a:lnTo>
                      <a:pt x="1139" y="511"/>
                    </a:lnTo>
                    <a:lnTo>
                      <a:pt x="1049" y="480"/>
                    </a:lnTo>
                    <a:lnTo>
                      <a:pt x="1019" y="570"/>
                    </a:lnTo>
                    <a:lnTo>
                      <a:pt x="1019" y="810"/>
                    </a:lnTo>
                    <a:lnTo>
                      <a:pt x="1139" y="720"/>
                    </a:lnTo>
                    <a:lnTo>
                      <a:pt x="1227" y="812"/>
                    </a:lnTo>
                    <a:lnTo>
                      <a:pt x="1199" y="630"/>
                    </a:lnTo>
                    <a:lnTo>
                      <a:pt x="1289" y="570"/>
                    </a:lnTo>
                    <a:lnTo>
                      <a:pt x="1409" y="630"/>
                    </a:lnTo>
                    <a:lnTo>
                      <a:pt x="1289" y="690"/>
                    </a:lnTo>
                    <a:lnTo>
                      <a:pt x="1379" y="750"/>
                    </a:lnTo>
                    <a:lnTo>
                      <a:pt x="1649" y="720"/>
                    </a:lnTo>
                    <a:lnTo>
                      <a:pt x="1529" y="780"/>
                    </a:lnTo>
                    <a:lnTo>
                      <a:pt x="1559" y="1050"/>
                    </a:lnTo>
                    <a:lnTo>
                      <a:pt x="1349" y="8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67" name="Freeform 2571">
                <a:extLst>
                  <a:ext uri="{FF2B5EF4-FFF2-40B4-BE49-F238E27FC236}">
                    <a16:creationId xmlns:a16="http://schemas.microsoft.com/office/drawing/2014/main" id="{11F7278F-C3DA-413D-9D60-1EDAE004CCA0}"/>
                  </a:ext>
                </a:extLst>
              </p:cNvPr>
              <p:cNvSpPr>
                <a:spLocks/>
              </p:cNvSpPr>
              <p:nvPr/>
            </p:nvSpPr>
            <p:spPr bwMode="auto">
              <a:xfrm>
                <a:off x="2505" y="300"/>
                <a:ext cx="270" cy="210"/>
              </a:xfrm>
              <a:custGeom>
                <a:avLst/>
                <a:gdLst>
                  <a:gd name="T0" fmla="*/ 120 w 270"/>
                  <a:gd name="T1" fmla="*/ 0 h 210"/>
                  <a:gd name="T2" fmla="*/ 270 w 270"/>
                  <a:gd name="T3" fmla="*/ 60 h 210"/>
                  <a:gd name="T4" fmla="*/ 0 w 270"/>
                  <a:gd name="T5" fmla="*/ 210 h 210"/>
                </a:gdLst>
                <a:ahLst/>
                <a:cxnLst>
                  <a:cxn ang="0">
                    <a:pos x="T0" y="T1"/>
                  </a:cxn>
                  <a:cxn ang="0">
                    <a:pos x="T2" y="T3"/>
                  </a:cxn>
                  <a:cxn ang="0">
                    <a:pos x="T4" y="T5"/>
                  </a:cxn>
                </a:cxnLst>
                <a:rect l="0" t="0" r="r" b="b"/>
                <a:pathLst>
                  <a:path w="270" h="210">
                    <a:moveTo>
                      <a:pt x="120" y="0"/>
                    </a:move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68" name="Freeform 2572">
                <a:extLst>
                  <a:ext uri="{FF2B5EF4-FFF2-40B4-BE49-F238E27FC236}">
                    <a16:creationId xmlns:a16="http://schemas.microsoft.com/office/drawing/2014/main" id="{EB905937-DF25-4D63-9A5A-7C406D304F0F}"/>
                  </a:ext>
                </a:extLst>
              </p:cNvPr>
              <p:cNvSpPr>
                <a:spLocks/>
              </p:cNvSpPr>
              <p:nvPr/>
            </p:nvSpPr>
            <p:spPr bwMode="auto">
              <a:xfrm>
                <a:off x="2775" y="360"/>
                <a:ext cx="180" cy="90"/>
              </a:xfrm>
              <a:custGeom>
                <a:avLst/>
                <a:gdLst>
                  <a:gd name="T0" fmla="*/ 120 w 180"/>
                  <a:gd name="T1" fmla="*/ 90 h 90"/>
                  <a:gd name="T2" fmla="*/ 0 w 180"/>
                  <a:gd name="T3" fmla="*/ 0 h 90"/>
                  <a:gd name="T4" fmla="*/ 180 w 180"/>
                  <a:gd name="T5" fmla="*/ 0 h 90"/>
                  <a:gd name="T6" fmla="*/ 120 w 180"/>
                  <a:gd name="T7" fmla="*/ 90 h 90"/>
                </a:gdLst>
                <a:ahLst/>
                <a:cxnLst>
                  <a:cxn ang="0">
                    <a:pos x="T0" y="T1"/>
                  </a:cxn>
                  <a:cxn ang="0">
                    <a:pos x="T2" y="T3"/>
                  </a:cxn>
                  <a:cxn ang="0">
                    <a:pos x="T4" y="T5"/>
                  </a:cxn>
                  <a:cxn ang="0">
                    <a:pos x="T6" y="T7"/>
                  </a:cxn>
                </a:cxnLst>
                <a:rect l="0" t="0" r="r" b="b"/>
                <a:pathLst>
                  <a:path w="180" h="90">
                    <a:moveTo>
                      <a:pt x="120" y="90"/>
                    </a:moveTo>
                    <a:lnTo>
                      <a:pt x="0" y="0"/>
                    </a:lnTo>
                    <a:lnTo>
                      <a:pt x="180" y="0"/>
                    </a:lnTo>
                    <a:lnTo>
                      <a:pt x="12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69" name="Freeform 2573">
                <a:extLst>
                  <a:ext uri="{FF2B5EF4-FFF2-40B4-BE49-F238E27FC236}">
                    <a16:creationId xmlns:a16="http://schemas.microsoft.com/office/drawing/2014/main" id="{B20FD7B0-21EE-4E43-94CA-A6B8A4345655}"/>
                  </a:ext>
                </a:extLst>
              </p:cNvPr>
              <p:cNvSpPr>
                <a:spLocks/>
              </p:cNvSpPr>
              <p:nvPr/>
            </p:nvSpPr>
            <p:spPr bwMode="auto">
              <a:xfrm>
                <a:off x="2595" y="30"/>
                <a:ext cx="210" cy="150"/>
              </a:xfrm>
              <a:custGeom>
                <a:avLst/>
                <a:gdLst>
                  <a:gd name="T0" fmla="*/ 120 w 210"/>
                  <a:gd name="T1" fmla="*/ 60 h 150"/>
                  <a:gd name="T2" fmla="*/ 210 w 210"/>
                  <a:gd name="T3" fmla="*/ 90 h 150"/>
                  <a:gd name="T4" fmla="*/ 0 w 210"/>
                  <a:gd name="T5" fmla="*/ 150 h 150"/>
                  <a:gd name="T6" fmla="*/ 0 w 210"/>
                  <a:gd name="T7" fmla="*/ 0 h 150"/>
                  <a:gd name="T8" fmla="*/ 120 w 210"/>
                  <a:gd name="T9" fmla="*/ 60 h 150"/>
                </a:gdLst>
                <a:ahLst/>
                <a:cxnLst>
                  <a:cxn ang="0">
                    <a:pos x="T0" y="T1"/>
                  </a:cxn>
                  <a:cxn ang="0">
                    <a:pos x="T2" y="T3"/>
                  </a:cxn>
                  <a:cxn ang="0">
                    <a:pos x="T4" y="T5"/>
                  </a:cxn>
                  <a:cxn ang="0">
                    <a:pos x="T6" y="T7"/>
                  </a:cxn>
                  <a:cxn ang="0">
                    <a:pos x="T8" y="T9"/>
                  </a:cxn>
                </a:cxnLst>
                <a:rect l="0" t="0" r="r" b="b"/>
                <a:pathLst>
                  <a:path w="210" h="150">
                    <a:moveTo>
                      <a:pt x="120" y="60"/>
                    </a:moveTo>
                    <a:lnTo>
                      <a:pt x="210" y="90"/>
                    </a:lnTo>
                    <a:lnTo>
                      <a:pt x="0" y="150"/>
                    </a:lnTo>
                    <a:lnTo>
                      <a:pt x="0" y="0"/>
                    </a:lnTo>
                    <a:lnTo>
                      <a:pt x="120" y="6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70" name="Line 2574">
                <a:extLst>
                  <a:ext uri="{FF2B5EF4-FFF2-40B4-BE49-F238E27FC236}">
                    <a16:creationId xmlns:a16="http://schemas.microsoft.com/office/drawing/2014/main" id="{8C1AE269-CA64-48CC-BB4B-6E5B7EA48218}"/>
                  </a:ext>
                </a:extLst>
              </p:cNvPr>
              <p:cNvSpPr>
                <a:spLocks noChangeShapeType="1"/>
              </p:cNvSpPr>
              <p:nvPr/>
            </p:nvSpPr>
            <p:spPr bwMode="auto">
              <a:xfrm flipH="1">
                <a:off x="2385" y="1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71" name="Freeform 2575">
                <a:extLst>
                  <a:ext uri="{FF2B5EF4-FFF2-40B4-BE49-F238E27FC236}">
                    <a16:creationId xmlns:a16="http://schemas.microsoft.com/office/drawing/2014/main" id="{90753FEC-880D-4D53-B184-EBEB922DDCC3}"/>
                  </a:ext>
                </a:extLst>
              </p:cNvPr>
              <p:cNvSpPr>
                <a:spLocks/>
              </p:cNvSpPr>
              <p:nvPr/>
            </p:nvSpPr>
            <p:spPr bwMode="auto">
              <a:xfrm>
                <a:off x="1876" y="30"/>
                <a:ext cx="2398" cy="390"/>
              </a:xfrm>
              <a:custGeom>
                <a:avLst/>
                <a:gdLst>
                  <a:gd name="T0" fmla="*/ 509 w 2398"/>
                  <a:gd name="T1" fmla="*/ 60 h 390"/>
                  <a:gd name="T2" fmla="*/ 419 w 2398"/>
                  <a:gd name="T3" fmla="*/ 120 h 390"/>
                  <a:gd name="T4" fmla="*/ 239 w 2398"/>
                  <a:gd name="T5" fmla="*/ 60 h 390"/>
                  <a:gd name="T6" fmla="*/ 90 w 2398"/>
                  <a:gd name="T7" fmla="*/ 30 h 390"/>
                  <a:gd name="T8" fmla="*/ 0 w 2398"/>
                  <a:gd name="T9" fmla="*/ 120 h 390"/>
                  <a:gd name="T10" fmla="*/ 180 w 2398"/>
                  <a:gd name="T11" fmla="*/ 180 h 390"/>
                  <a:gd name="T12" fmla="*/ 90 w 2398"/>
                  <a:gd name="T13" fmla="*/ 330 h 390"/>
                  <a:gd name="T14" fmla="*/ 239 w 2398"/>
                  <a:gd name="T15" fmla="*/ 300 h 390"/>
                  <a:gd name="T16" fmla="*/ 239 w 2398"/>
                  <a:gd name="T17" fmla="*/ 60 h 390"/>
                  <a:gd name="T18" fmla="*/ 359 w 2398"/>
                  <a:gd name="T19" fmla="*/ 210 h 390"/>
                  <a:gd name="T20" fmla="*/ 359 w 2398"/>
                  <a:gd name="T21" fmla="*/ 360 h 390"/>
                  <a:gd name="T22" fmla="*/ 479 w 2398"/>
                  <a:gd name="T23" fmla="*/ 300 h 390"/>
                  <a:gd name="T24" fmla="*/ 419 w 2398"/>
                  <a:gd name="T25" fmla="*/ 120 h 390"/>
                  <a:gd name="T26" fmla="*/ 509 w 2398"/>
                  <a:gd name="T27" fmla="*/ 180 h 390"/>
                  <a:gd name="T28" fmla="*/ 509 w 2398"/>
                  <a:gd name="T29" fmla="*/ 60 h 390"/>
                  <a:gd name="T30" fmla="*/ 629 w 2398"/>
                  <a:gd name="T31" fmla="*/ 30 h 390"/>
                  <a:gd name="T32" fmla="*/ 719 w 2398"/>
                  <a:gd name="T33" fmla="*/ 0 h 390"/>
                  <a:gd name="T34" fmla="*/ 629 w 2398"/>
                  <a:gd name="T35" fmla="*/ 120 h 390"/>
                  <a:gd name="T36" fmla="*/ 719 w 2398"/>
                  <a:gd name="T37" fmla="*/ 150 h 390"/>
                  <a:gd name="T38" fmla="*/ 599 w 2398"/>
                  <a:gd name="T39" fmla="*/ 240 h 390"/>
                  <a:gd name="T40" fmla="*/ 659 w 2398"/>
                  <a:gd name="T41" fmla="*/ 360 h 390"/>
                  <a:gd name="T42" fmla="*/ 749 w 2398"/>
                  <a:gd name="T43" fmla="*/ 270 h 390"/>
                  <a:gd name="T44" fmla="*/ 839 w 2398"/>
                  <a:gd name="T45" fmla="*/ 60 h 390"/>
                  <a:gd name="T46" fmla="*/ 869 w 2398"/>
                  <a:gd name="T47" fmla="*/ 210 h 390"/>
                  <a:gd name="T48" fmla="*/ 929 w 2398"/>
                  <a:gd name="T49" fmla="*/ 90 h 390"/>
                  <a:gd name="T50" fmla="*/ 899 w 2398"/>
                  <a:gd name="T51" fmla="*/ 330 h 390"/>
                  <a:gd name="T52" fmla="*/ 1019 w 2398"/>
                  <a:gd name="T53" fmla="*/ 240 h 390"/>
                  <a:gd name="T54" fmla="*/ 1079 w 2398"/>
                  <a:gd name="T55" fmla="*/ 330 h 390"/>
                  <a:gd name="T56" fmla="*/ 1139 w 2398"/>
                  <a:gd name="T57" fmla="*/ 180 h 390"/>
                  <a:gd name="T58" fmla="*/ 1079 w 2398"/>
                  <a:gd name="T59" fmla="*/ 60 h 390"/>
                  <a:gd name="T60" fmla="*/ 1199 w 2398"/>
                  <a:gd name="T61" fmla="*/ 60 h 390"/>
                  <a:gd name="T62" fmla="*/ 1319 w 2398"/>
                  <a:gd name="T63" fmla="*/ 0 h 390"/>
                  <a:gd name="T64" fmla="*/ 1319 w 2398"/>
                  <a:gd name="T65" fmla="*/ 210 h 390"/>
                  <a:gd name="T66" fmla="*/ 1199 w 2398"/>
                  <a:gd name="T67" fmla="*/ 300 h 390"/>
                  <a:gd name="T68" fmla="*/ 1319 w 2398"/>
                  <a:gd name="T69" fmla="*/ 360 h 390"/>
                  <a:gd name="T70" fmla="*/ 1439 w 2398"/>
                  <a:gd name="T71" fmla="*/ 270 h 390"/>
                  <a:gd name="T72" fmla="*/ 1379 w 2398"/>
                  <a:gd name="T73" fmla="*/ 120 h 390"/>
                  <a:gd name="T74" fmla="*/ 1469 w 2398"/>
                  <a:gd name="T75" fmla="*/ 60 h 390"/>
                  <a:gd name="T76" fmla="*/ 1589 w 2398"/>
                  <a:gd name="T77" fmla="*/ 120 h 390"/>
                  <a:gd name="T78" fmla="*/ 1559 w 2398"/>
                  <a:gd name="T79" fmla="*/ 240 h 390"/>
                  <a:gd name="T80" fmla="*/ 1619 w 2398"/>
                  <a:gd name="T81" fmla="*/ 360 h 390"/>
                  <a:gd name="T82" fmla="*/ 1709 w 2398"/>
                  <a:gd name="T83" fmla="*/ 270 h 390"/>
                  <a:gd name="T84" fmla="*/ 1679 w 2398"/>
                  <a:gd name="T85" fmla="*/ 150 h 390"/>
                  <a:gd name="T86" fmla="*/ 1679 w 2398"/>
                  <a:gd name="T87" fmla="*/ 0 h 390"/>
                  <a:gd name="T88" fmla="*/ 1799 w 2398"/>
                  <a:gd name="T89" fmla="*/ 60 h 390"/>
                  <a:gd name="T90" fmla="*/ 1829 w 2398"/>
                  <a:gd name="T91" fmla="*/ 210 h 390"/>
                  <a:gd name="T92" fmla="*/ 1978 w 2398"/>
                  <a:gd name="T93" fmla="*/ 120 h 390"/>
                  <a:gd name="T94" fmla="*/ 1948 w 2398"/>
                  <a:gd name="T95" fmla="*/ 240 h 390"/>
                  <a:gd name="T96" fmla="*/ 1888 w 2398"/>
                  <a:gd name="T97" fmla="*/ 360 h 390"/>
                  <a:gd name="T98" fmla="*/ 2068 w 2398"/>
                  <a:gd name="T99" fmla="*/ 330 h 390"/>
                  <a:gd name="T100" fmla="*/ 2248 w 2398"/>
                  <a:gd name="T101" fmla="*/ 390 h 390"/>
                  <a:gd name="T102" fmla="*/ 2398 w 2398"/>
                  <a:gd name="T103" fmla="*/ 270 h 390"/>
                  <a:gd name="T104" fmla="*/ 2278 w 2398"/>
                  <a:gd name="T105" fmla="*/ 240 h 390"/>
                  <a:gd name="T106" fmla="*/ 2368 w 2398"/>
                  <a:gd name="T107" fmla="*/ 12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8" h="390">
                    <a:moveTo>
                      <a:pt x="509" y="60"/>
                    </a:moveTo>
                    <a:lnTo>
                      <a:pt x="419" y="120"/>
                    </a:lnTo>
                    <a:lnTo>
                      <a:pt x="239" y="60"/>
                    </a:lnTo>
                    <a:lnTo>
                      <a:pt x="90" y="30"/>
                    </a:lnTo>
                    <a:lnTo>
                      <a:pt x="0" y="120"/>
                    </a:lnTo>
                    <a:lnTo>
                      <a:pt x="180" y="180"/>
                    </a:lnTo>
                    <a:lnTo>
                      <a:pt x="90" y="330"/>
                    </a:lnTo>
                    <a:lnTo>
                      <a:pt x="239" y="300"/>
                    </a:lnTo>
                    <a:lnTo>
                      <a:pt x="239" y="60"/>
                    </a:lnTo>
                    <a:lnTo>
                      <a:pt x="359" y="210"/>
                    </a:lnTo>
                    <a:lnTo>
                      <a:pt x="359" y="360"/>
                    </a:lnTo>
                    <a:lnTo>
                      <a:pt x="479" y="300"/>
                    </a:lnTo>
                    <a:lnTo>
                      <a:pt x="419" y="120"/>
                    </a:lnTo>
                    <a:lnTo>
                      <a:pt x="509" y="180"/>
                    </a:lnTo>
                    <a:lnTo>
                      <a:pt x="509" y="60"/>
                    </a:lnTo>
                    <a:lnTo>
                      <a:pt x="629" y="30"/>
                    </a:lnTo>
                    <a:lnTo>
                      <a:pt x="719" y="0"/>
                    </a:lnTo>
                    <a:lnTo>
                      <a:pt x="629" y="120"/>
                    </a:lnTo>
                    <a:lnTo>
                      <a:pt x="719" y="150"/>
                    </a:lnTo>
                    <a:lnTo>
                      <a:pt x="599" y="240"/>
                    </a:lnTo>
                    <a:lnTo>
                      <a:pt x="659" y="360"/>
                    </a:lnTo>
                    <a:lnTo>
                      <a:pt x="749" y="270"/>
                    </a:lnTo>
                    <a:lnTo>
                      <a:pt x="839" y="60"/>
                    </a:lnTo>
                    <a:lnTo>
                      <a:pt x="869" y="210"/>
                    </a:lnTo>
                    <a:lnTo>
                      <a:pt x="929" y="90"/>
                    </a:lnTo>
                    <a:lnTo>
                      <a:pt x="899" y="330"/>
                    </a:lnTo>
                    <a:lnTo>
                      <a:pt x="1019" y="240"/>
                    </a:lnTo>
                    <a:lnTo>
                      <a:pt x="1079" y="330"/>
                    </a:lnTo>
                    <a:lnTo>
                      <a:pt x="1139" y="180"/>
                    </a:lnTo>
                    <a:lnTo>
                      <a:pt x="1079" y="60"/>
                    </a:lnTo>
                    <a:lnTo>
                      <a:pt x="1199" y="60"/>
                    </a:lnTo>
                    <a:lnTo>
                      <a:pt x="1319" y="0"/>
                    </a:lnTo>
                    <a:lnTo>
                      <a:pt x="1319" y="210"/>
                    </a:lnTo>
                    <a:lnTo>
                      <a:pt x="1199" y="300"/>
                    </a:lnTo>
                    <a:lnTo>
                      <a:pt x="1319" y="360"/>
                    </a:lnTo>
                    <a:lnTo>
                      <a:pt x="1439" y="270"/>
                    </a:lnTo>
                    <a:lnTo>
                      <a:pt x="1379" y="120"/>
                    </a:lnTo>
                    <a:lnTo>
                      <a:pt x="1469" y="60"/>
                    </a:lnTo>
                    <a:lnTo>
                      <a:pt x="1589" y="120"/>
                    </a:lnTo>
                    <a:lnTo>
                      <a:pt x="1559" y="240"/>
                    </a:lnTo>
                    <a:lnTo>
                      <a:pt x="1619" y="360"/>
                    </a:lnTo>
                    <a:lnTo>
                      <a:pt x="1709" y="270"/>
                    </a:lnTo>
                    <a:lnTo>
                      <a:pt x="1679" y="150"/>
                    </a:lnTo>
                    <a:lnTo>
                      <a:pt x="1679" y="0"/>
                    </a:lnTo>
                    <a:lnTo>
                      <a:pt x="1799" y="60"/>
                    </a:lnTo>
                    <a:lnTo>
                      <a:pt x="1829" y="210"/>
                    </a:lnTo>
                    <a:lnTo>
                      <a:pt x="1978" y="120"/>
                    </a:lnTo>
                    <a:lnTo>
                      <a:pt x="1948" y="240"/>
                    </a:lnTo>
                    <a:lnTo>
                      <a:pt x="1888" y="360"/>
                    </a:lnTo>
                    <a:lnTo>
                      <a:pt x="2068" y="330"/>
                    </a:lnTo>
                    <a:lnTo>
                      <a:pt x="2248" y="390"/>
                    </a:lnTo>
                    <a:lnTo>
                      <a:pt x="2398" y="270"/>
                    </a:lnTo>
                    <a:lnTo>
                      <a:pt x="2278" y="240"/>
                    </a:lnTo>
                    <a:lnTo>
                      <a:pt x="2368"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72" name="Line 2576">
                <a:extLst>
                  <a:ext uri="{FF2B5EF4-FFF2-40B4-BE49-F238E27FC236}">
                    <a16:creationId xmlns:a16="http://schemas.microsoft.com/office/drawing/2014/main" id="{9B4BC9CB-4243-42E3-9F05-78118F5E9003}"/>
                  </a:ext>
                </a:extLst>
              </p:cNvPr>
              <p:cNvSpPr>
                <a:spLocks noChangeShapeType="1"/>
              </p:cNvSpPr>
              <p:nvPr/>
            </p:nvSpPr>
            <p:spPr bwMode="auto">
              <a:xfrm flipV="1">
                <a:off x="2235" y="15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73" name="Freeform 2577">
                <a:extLst>
                  <a:ext uri="{FF2B5EF4-FFF2-40B4-BE49-F238E27FC236}">
                    <a16:creationId xmlns:a16="http://schemas.microsoft.com/office/drawing/2014/main" id="{AB5F72EE-EC04-480E-B0AE-2E0B9BA1B613}"/>
                  </a:ext>
                </a:extLst>
              </p:cNvPr>
              <p:cNvSpPr>
                <a:spLocks/>
              </p:cNvSpPr>
              <p:nvPr/>
            </p:nvSpPr>
            <p:spPr bwMode="auto">
              <a:xfrm>
                <a:off x="2355" y="210"/>
                <a:ext cx="180" cy="360"/>
              </a:xfrm>
              <a:custGeom>
                <a:avLst/>
                <a:gdLst>
                  <a:gd name="T0" fmla="*/ 180 w 180"/>
                  <a:gd name="T1" fmla="*/ 180 h 360"/>
                  <a:gd name="T2" fmla="*/ 0 w 180"/>
                  <a:gd name="T3" fmla="*/ 120 h 360"/>
                  <a:gd name="T4" fmla="*/ 30 w 180"/>
                  <a:gd name="T5" fmla="*/ 0 h 360"/>
                  <a:gd name="T6" fmla="*/ 120 w 180"/>
                  <a:gd name="T7" fmla="*/ 60 h 360"/>
                  <a:gd name="T8" fmla="*/ 60 w 180"/>
                  <a:gd name="T9" fmla="*/ 360 h 360"/>
                </a:gdLst>
                <a:ahLst/>
                <a:cxnLst>
                  <a:cxn ang="0">
                    <a:pos x="T0" y="T1"/>
                  </a:cxn>
                  <a:cxn ang="0">
                    <a:pos x="T2" y="T3"/>
                  </a:cxn>
                  <a:cxn ang="0">
                    <a:pos x="T4" y="T5"/>
                  </a:cxn>
                  <a:cxn ang="0">
                    <a:pos x="T6" y="T7"/>
                  </a:cxn>
                  <a:cxn ang="0">
                    <a:pos x="T8" y="T9"/>
                  </a:cxn>
                </a:cxnLst>
                <a:rect l="0" t="0" r="r" b="b"/>
                <a:pathLst>
                  <a:path w="180" h="360">
                    <a:moveTo>
                      <a:pt x="180" y="180"/>
                    </a:moveTo>
                    <a:lnTo>
                      <a:pt x="0" y="120"/>
                    </a:lnTo>
                    <a:lnTo>
                      <a:pt x="30" y="0"/>
                    </a:lnTo>
                    <a:lnTo>
                      <a:pt x="120" y="60"/>
                    </a:lnTo>
                    <a:lnTo>
                      <a:pt x="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74" name="Line 2578">
                <a:extLst>
                  <a:ext uri="{FF2B5EF4-FFF2-40B4-BE49-F238E27FC236}">
                    <a16:creationId xmlns:a16="http://schemas.microsoft.com/office/drawing/2014/main" id="{D40A0C86-28E4-4CC9-92B3-EF8F2582B6BC}"/>
                  </a:ext>
                </a:extLst>
              </p:cNvPr>
              <p:cNvSpPr>
                <a:spLocks noChangeShapeType="1"/>
              </p:cNvSpPr>
              <p:nvPr/>
            </p:nvSpPr>
            <p:spPr bwMode="auto">
              <a:xfrm>
                <a:off x="2235" y="390"/>
                <a:ext cx="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75" name="Freeform 2579">
                <a:extLst>
                  <a:ext uri="{FF2B5EF4-FFF2-40B4-BE49-F238E27FC236}">
                    <a16:creationId xmlns:a16="http://schemas.microsoft.com/office/drawing/2014/main" id="{8160037E-5A64-411A-A79D-547A522C4FAB}"/>
                  </a:ext>
                </a:extLst>
              </p:cNvPr>
              <p:cNvSpPr>
                <a:spLocks/>
              </p:cNvSpPr>
              <p:nvPr/>
            </p:nvSpPr>
            <p:spPr bwMode="auto">
              <a:xfrm>
                <a:off x="2625" y="300"/>
                <a:ext cx="180" cy="330"/>
              </a:xfrm>
              <a:custGeom>
                <a:avLst/>
                <a:gdLst>
                  <a:gd name="T0" fmla="*/ 180 w 180"/>
                  <a:gd name="T1" fmla="*/ 240 h 330"/>
                  <a:gd name="T2" fmla="*/ 0 w 180"/>
                  <a:gd name="T3" fmla="*/ 0 h 330"/>
                  <a:gd name="T4" fmla="*/ 120 w 180"/>
                  <a:gd name="T5" fmla="*/ 330 h 330"/>
                </a:gdLst>
                <a:ahLst/>
                <a:cxnLst>
                  <a:cxn ang="0">
                    <a:pos x="T0" y="T1"/>
                  </a:cxn>
                  <a:cxn ang="0">
                    <a:pos x="T2" y="T3"/>
                  </a:cxn>
                  <a:cxn ang="0">
                    <a:pos x="T4" y="T5"/>
                  </a:cxn>
                </a:cxnLst>
                <a:rect l="0" t="0" r="r" b="b"/>
                <a:pathLst>
                  <a:path w="180" h="330">
                    <a:moveTo>
                      <a:pt x="180" y="240"/>
                    </a:moveTo>
                    <a:lnTo>
                      <a:pt x="0" y="0"/>
                    </a:lnTo>
                    <a:lnTo>
                      <a:pt x="12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76" name="Line 2580">
                <a:extLst>
                  <a:ext uri="{FF2B5EF4-FFF2-40B4-BE49-F238E27FC236}">
                    <a16:creationId xmlns:a16="http://schemas.microsoft.com/office/drawing/2014/main" id="{FB3BE0ED-A67C-4BAD-B81D-266C053CDA99}"/>
                  </a:ext>
                </a:extLst>
              </p:cNvPr>
              <p:cNvSpPr>
                <a:spLocks noChangeShapeType="1"/>
              </p:cNvSpPr>
              <p:nvPr/>
            </p:nvSpPr>
            <p:spPr bwMode="auto">
              <a:xfrm>
                <a:off x="2595" y="18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440" name="Group 2782">
              <a:extLst>
                <a:ext uri="{FF2B5EF4-FFF2-40B4-BE49-F238E27FC236}">
                  <a16:creationId xmlns:a16="http://schemas.microsoft.com/office/drawing/2014/main" id="{6A3D7192-97AF-4707-95FB-82F826033BE6}"/>
                </a:ext>
              </a:extLst>
            </p:cNvPr>
            <p:cNvGrpSpPr>
              <a:grpSpLocks/>
            </p:cNvGrpSpPr>
            <p:nvPr/>
          </p:nvGrpSpPr>
          <p:grpSpPr bwMode="auto">
            <a:xfrm>
              <a:off x="1246" y="0"/>
              <a:ext cx="3268" cy="3210"/>
              <a:chOff x="1246" y="0"/>
              <a:chExt cx="3268" cy="3210"/>
            </a:xfrm>
          </p:grpSpPr>
          <p:sp>
            <p:nvSpPr>
              <p:cNvPr id="827" name="Freeform 2582">
                <a:extLst>
                  <a:ext uri="{FF2B5EF4-FFF2-40B4-BE49-F238E27FC236}">
                    <a16:creationId xmlns:a16="http://schemas.microsoft.com/office/drawing/2014/main" id="{E62E90F6-84F7-437A-A6BE-4F77093EE7AF}"/>
                  </a:ext>
                </a:extLst>
              </p:cNvPr>
              <p:cNvSpPr>
                <a:spLocks/>
              </p:cNvSpPr>
              <p:nvPr/>
            </p:nvSpPr>
            <p:spPr bwMode="auto">
              <a:xfrm>
                <a:off x="2895" y="90"/>
                <a:ext cx="180" cy="240"/>
              </a:xfrm>
              <a:custGeom>
                <a:avLst/>
                <a:gdLst>
                  <a:gd name="T0" fmla="*/ 180 w 180"/>
                  <a:gd name="T1" fmla="*/ 0 h 240"/>
                  <a:gd name="T2" fmla="*/ 180 w 180"/>
                  <a:gd name="T3" fmla="*/ 240 h 240"/>
                  <a:gd name="T4" fmla="*/ 0 w 180"/>
                  <a:gd name="T5" fmla="*/ 180 h 240"/>
                </a:gdLst>
                <a:ahLst/>
                <a:cxnLst>
                  <a:cxn ang="0">
                    <a:pos x="T0" y="T1"/>
                  </a:cxn>
                  <a:cxn ang="0">
                    <a:pos x="T2" y="T3"/>
                  </a:cxn>
                  <a:cxn ang="0">
                    <a:pos x="T4" y="T5"/>
                  </a:cxn>
                </a:cxnLst>
                <a:rect l="0" t="0" r="r" b="b"/>
                <a:pathLst>
                  <a:path w="180" h="240">
                    <a:moveTo>
                      <a:pt x="180" y="0"/>
                    </a:moveTo>
                    <a:lnTo>
                      <a:pt x="180" y="24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8" name="Freeform 2583">
                <a:extLst>
                  <a:ext uri="{FF2B5EF4-FFF2-40B4-BE49-F238E27FC236}">
                    <a16:creationId xmlns:a16="http://schemas.microsoft.com/office/drawing/2014/main" id="{D572371B-CD47-4547-A4AC-4F2ABBF57E98}"/>
                  </a:ext>
                </a:extLst>
              </p:cNvPr>
              <p:cNvSpPr>
                <a:spLocks/>
              </p:cNvSpPr>
              <p:nvPr/>
            </p:nvSpPr>
            <p:spPr bwMode="auto">
              <a:xfrm>
                <a:off x="2805" y="120"/>
                <a:ext cx="450" cy="90"/>
              </a:xfrm>
              <a:custGeom>
                <a:avLst/>
                <a:gdLst>
                  <a:gd name="T0" fmla="*/ 0 w 450"/>
                  <a:gd name="T1" fmla="*/ 0 h 90"/>
                  <a:gd name="T2" fmla="*/ 210 w 450"/>
                  <a:gd name="T3" fmla="*/ 90 h 90"/>
                  <a:gd name="T4" fmla="*/ 450 w 450"/>
                  <a:gd name="T5" fmla="*/ 30 h 90"/>
                </a:gdLst>
                <a:ahLst/>
                <a:cxnLst>
                  <a:cxn ang="0">
                    <a:pos x="T0" y="T1"/>
                  </a:cxn>
                  <a:cxn ang="0">
                    <a:pos x="T2" y="T3"/>
                  </a:cxn>
                  <a:cxn ang="0">
                    <a:pos x="T4" y="T5"/>
                  </a:cxn>
                </a:cxnLst>
                <a:rect l="0" t="0" r="r" b="b"/>
                <a:pathLst>
                  <a:path w="450" h="90">
                    <a:moveTo>
                      <a:pt x="0" y="0"/>
                    </a:moveTo>
                    <a:lnTo>
                      <a:pt x="210" y="90"/>
                    </a:lnTo>
                    <a:lnTo>
                      <a:pt x="45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9" name="Freeform 2584">
                <a:extLst>
                  <a:ext uri="{FF2B5EF4-FFF2-40B4-BE49-F238E27FC236}">
                    <a16:creationId xmlns:a16="http://schemas.microsoft.com/office/drawing/2014/main" id="{99119F80-D53E-4487-8E08-3B38AC58EDEF}"/>
                  </a:ext>
                </a:extLst>
              </p:cNvPr>
              <p:cNvSpPr>
                <a:spLocks/>
              </p:cNvSpPr>
              <p:nvPr/>
            </p:nvSpPr>
            <p:spPr bwMode="auto">
              <a:xfrm>
                <a:off x="2955" y="270"/>
                <a:ext cx="480" cy="240"/>
              </a:xfrm>
              <a:custGeom>
                <a:avLst/>
                <a:gdLst>
                  <a:gd name="T0" fmla="*/ 480 w 480"/>
                  <a:gd name="T1" fmla="*/ 0 h 240"/>
                  <a:gd name="T2" fmla="*/ 330 w 480"/>
                  <a:gd name="T3" fmla="*/ 210 h 240"/>
                  <a:gd name="T4" fmla="*/ 0 w 480"/>
                  <a:gd name="T5" fmla="*/ 90 h 240"/>
                  <a:gd name="T6" fmla="*/ 150 w 480"/>
                  <a:gd name="T7" fmla="*/ 240 h 240"/>
                </a:gdLst>
                <a:ahLst/>
                <a:cxnLst>
                  <a:cxn ang="0">
                    <a:pos x="T0" y="T1"/>
                  </a:cxn>
                  <a:cxn ang="0">
                    <a:pos x="T2" y="T3"/>
                  </a:cxn>
                  <a:cxn ang="0">
                    <a:pos x="T4" y="T5"/>
                  </a:cxn>
                  <a:cxn ang="0">
                    <a:pos x="T6" y="T7"/>
                  </a:cxn>
                </a:cxnLst>
                <a:rect l="0" t="0" r="r" b="b"/>
                <a:pathLst>
                  <a:path w="480" h="240">
                    <a:moveTo>
                      <a:pt x="480" y="0"/>
                    </a:moveTo>
                    <a:lnTo>
                      <a:pt x="330" y="210"/>
                    </a:lnTo>
                    <a:lnTo>
                      <a:pt x="0" y="9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0" name="Line 2585">
                <a:extLst>
                  <a:ext uri="{FF2B5EF4-FFF2-40B4-BE49-F238E27FC236}">
                    <a16:creationId xmlns:a16="http://schemas.microsoft.com/office/drawing/2014/main" id="{9AF71FC2-EF6C-43B8-A394-9638C98B84B3}"/>
                  </a:ext>
                </a:extLst>
              </p:cNvPr>
              <p:cNvSpPr>
                <a:spLocks noChangeShapeType="1"/>
              </p:cNvSpPr>
              <p:nvPr/>
            </p:nvSpPr>
            <p:spPr bwMode="auto">
              <a:xfrm flipV="1">
                <a:off x="3465" y="39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1" name="Freeform 2586">
                <a:extLst>
                  <a:ext uri="{FF2B5EF4-FFF2-40B4-BE49-F238E27FC236}">
                    <a16:creationId xmlns:a16="http://schemas.microsoft.com/office/drawing/2014/main" id="{8D57AA5B-DE4A-4B59-ABCE-058364177520}"/>
                  </a:ext>
                </a:extLst>
              </p:cNvPr>
              <p:cNvSpPr>
                <a:spLocks/>
              </p:cNvSpPr>
              <p:nvPr/>
            </p:nvSpPr>
            <p:spPr bwMode="auto">
              <a:xfrm>
                <a:off x="3585" y="240"/>
                <a:ext cx="209" cy="270"/>
              </a:xfrm>
              <a:custGeom>
                <a:avLst/>
                <a:gdLst>
                  <a:gd name="T0" fmla="*/ 0 w 209"/>
                  <a:gd name="T1" fmla="*/ 60 h 270"/>
                  <a:gd name="T2" fmla="*/ 90 w 209"/>
                  <a:gd name="T3" fmla="*/ 210 h 270"/>
                  <a:gd name="T4" fmla="*/ 120 w 209"/>
                  <a:gd name="T5" fmla="*/ 0 h 270"/>
                  <a:gd name="T6" fmla="*/ 179 w 209"/>
                  <a:gd name="T7" fmla="*/ 150 h 270"/>
                  <a:gd name="T8" fmla="*/ 209 w 209"/>
                  <a:gd name="T9" fmla="*/ 270 h 270"/>
                </a:gdLst>
                <a:ahLst/>
                <a:cxnLst>
                  <a:cxn ang="0">
                    <a:pos x="T0" y="T1"/>
                  </a:cxn>
                  <a:cxn ang="0">
                    <a:pos x="T2" y="T3"/>
                  </a:cxn>
                  <a:cxn ang="0">
                    <a:pos x="T4" y="T5"/>
                  </a:cxn>
                  <a:cxn ang="0">
                    <a:pos x="T6" y="T7"/>
                  </a:cxn>
                  <a:cxn ang="0">
                    <a:pos x="T8" y="T9"/>
                  </a:cxn>
                </a:cxnLst>
                <a:rect l="0" t="0" r="r" b="b"/>
                <a:pathLst>
                  <a:path w="209" h="270">
                    <a:moveTo>
                      <a:pt x="0" y="60"/>
                    </a:moveTo>
                    <a:lnTo>
                      <a:pt x="90" y="210"/>
                    </a:lnTo>
                    <a:lnTo>
                      <a:pt x="120" y="0"/>
                    </a:lnTo>
                    <a:lnTo>
                      <a:pt x="179" y="150"/>
                    </a:lnTo>
                    <a:lnTo>
                      <a:pt x="20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2" name="Freeform 2587">
                <a:extLst>
                  <a:ext uri="{FF2B5EF4-FFF2-40B4-BE49-F238E27FC236}">
                    <a16:creationId xmlns:a16="http://schemas.microsoft.com/office/drawing/2014/main" id="{67369DA5-FCD3-4C32-849A-EB5D57DB3C94}"/>
                  </a:ext>
                </a:extLst>
              </p:cNvPr>
              <p:cNvSpPr>
                <a:spLocks/>
              </p:cNvSpPr>
              <p:nvPr/>
            </p:nvSpPr>
            <p:spPr bwMode="auto">
              <a:xfrm>
                <a:off x="3555" y="90"/>
                <a:ext cx="389" cy="270"/>
              </a:xfrm>
              <a:custGeom>
                <a:avLst/>
                <a:gdLst>
                  <a:gd name="T0" fmla="*/ 150 w 389"/>
                  <a:gd name="T1" fmla="*/ 150 h 270"/>
                  <a:gd name="T2" fmla="*/ 0 w 389"/>
                  <a:gd name="T3" fmla="*/ 90 h 270"/>
                  <a:gd name="T4" fmla="*/ 120 w 389"/>
                  <a:gd name="T5" fmla="*/ 0 h 270"/>
                  <a:gd name="T6" fmla="*/ 269 w 389"/>
                  <a:gd name="T7" fmla="*/ 180 h 270"/>
                  <a:gd name="T8" fmla="*/ 389 w 389"/>
                  <a:gd name="T9" fmla="*/ 270 h 270"/>
                </a:gdLst>
                <a:ahLst/>
                <a:cxnLst>
                  <a:cxn ang="0">
                    <a:pos x="T0" y="T1"/>
                  </a:cxn>
                  <a:cxn ang="0">
                    <a:pos x="T2" y="T3"/>
                  </a:cxn>
                  <a:cxn ang="0">
                    <a:pos x="T4" y="T5"/>
                  </a:cxn>
                  <a:cxn ang="0">
                    <a:pos x="T6" y="T7"/>
                  </a:cxn>
                  <a:cxn ang="0">
                    <a:pos x="T8" y="T9"/>
                  </a:cxn>
                </a:cxnLst>
                <a:rect l="0" t="0" r="r" b="b"/>
                <a:pathLst>
                  <a:path w="389" h="270">
                    <a:moveTo>
                      <a:pt x="150" y="150"/>
                    </a:moveTo>
                    <a:lnTo>
                      <a:pt x="0" y="90"/>
                    </a:lnTo>
                    <a:lnTo>
                      <a:pt x="120" y="0"/>
                    </a:lnTo>
                    <a:lnTo>
                      <a:pt x="269" y="180"/>
                    </a:lnTo>
                    <a:lnTo>
                      <a:pt x="38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3" name="Freeform 2588">
                <a:extLst>
                  <a:ext uri="{FF2B5EF4-FFF2-40B4-BE49-F238E27FC236}">
                    <a16:creationId xmlns:a16="http://schemas.microsoft.com/office/drawing/2014/main" id="{7813AFD7-DD10-487F-8F69-74CAED4FFC48}"/>
                  </a:ext>
                </a:extLst>
              </p:cNvPr>
              <p:cNvSpPr>
                <a:spLocks/>
              </p:cNvSpPr>
              <p:nvPr/>
            </p:nvSpPr>
            <p:spPr bwMode="auto">
              <a:xfrm>
                <a:off x="3764" y="390"/>
                <a:ext cx="360" cy="360"/>
              </a:xfrm>
              <a:custGeom>
                <a:avLst/>
                <a:gdLst>
                  <a:gd name="T0" fmla="*/ 0 w 360"/>
                  <a:gd name="T1" fmla="*/ 0 h 360"/>
                  <a:gd name="T2" fmla="*/ 180 w 360"/>
                  <a:gd name="T3" fmla="*/ 90 h 360"/>
                  <a:gd name="T4" fmla="*/ 360 w 360"/>
                  <a:gd name="T5" fmla="*/ 360 h 360"/>
                </a:gdLst>
                <a:ahLst/>
                <a:cxnLst>
                  <a:cxn ang="0">
                    <a:pos x="T0" y="T1"/>
                  </a:cxn>
                  <a:cxn ang="0">
                    <a:pos x="T2" y="T3"/>
                  </a:cxn>
                  <a:cxn ang="0">
                    <a:pos x="T4" y="T5"/>
                  </a:cxn>
                </a:cxnLst>
                <a:rect l="0" t="0" r="r" b="b"/>
                <a:pathLst>
                  <a:path w="360" h="360">
                    <a:moveTo>
                      <a:pt x="0" y="0"/>
                    </a:moveTo>
                    <a:lnTo>
                      <a:pt x="180" y="90"/>
                    </a:lnTo>
                    <a:lnTo>
                      <a:pt x="3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4" name="Freeform 2589">
                <a:extLst>
                  <a:ext uri="{FF2B5EF4-FFF2-40B4-BE49-F238E27FC236}">
                    <a16:creationId xmlns:a16="http://schemas.microsoft.com/office/drawing/2014/main" id="{7EAAB277-9025-49B5-981D-28452EF51E0C}"/>
                  </a:ext>
                </a:extLst>
              </p:cNvPr>
              <p:cNvSpPr>
                <a:spLocks/>
              </p:cNvSpPr>
              <p:nvPr/>
            </p:nvSpPr>
            <p:spPr bwMode="auto">
              <a:xfrm>
                <a:off x="3824" y="60"/>
                <a:ext cx="600" cy="240"/>
              </a:xfrm>
              <a:custGeom>
                <a:avLst/>
                <a:gdLst>
                  <a:gd name="T0" fmla="*/ 600 w 600"/>
                  <a:gd name="T1" fmla="*/ 0 h 240"/>
                  <a:gd name="T2" fmla="*/ 450 w 600"/>
                  <a:gd name="T3" fmla="*/ 240 h 240"/>
                  <a:gd name="T4" fmla="*/ 270 w 600"/>
                  <a:gd name="T5" fmla="*/ 60 h 240"/>
                  <a:gd name="T6" fmla="*/ 0 w 600"/>
                  <a:gd name="T7" fmla="*/ 210 h 240"/>
                </a:gdLst>
                <a:ahLst/>
                <a:cxnLst>
                  <a:cxn ang="0">
                    <a:pos x="T0" y="T1"/>
                  </a:cxn>
                  <a:cxn ang="0">
                    <a:pos x="T2" y="T3"/>
                  </a:cxn>
                  <a:cxn ang="0">
                    <a:pos x="T4" y="T5"/>
                  </a:cxn>
                  <a:cxn ang="0">
                    <a:pos x="T6" y="T7"/>
                  </a:cxn>
                </a:cxnLst>
                <a:rect l="0" t="0" r="r" b="b"/>
                <a:pathLst>
                  <a:path w="600" h="240">
                    <a:moveTo>
                      <a:pt x="600" y="0"/>
                    </a:moveTo>
                    <a:lnTo>
                      <a:pt x="450" y="240"/>
                    </a:ln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5" name="Freeform 2590">
                <a:extLst>
                  <a:ext uri="{FF2B5EF4-FFF2-40B4-BE49-F238E27FC236}">
                    <a16:creationId xmlns:a16="http://schemas.microsoft.com/office/drawing/2014/main" id="{5F8630A7-0D9C-4E99-ADA5-1C7F08CADB4F}"/>
                  </a:ext>
                </a:extLst>
              </p:cNvPr>
              <p:cNvSpPr>
                <a:spLocks/>
              </p:cNvSpPr>
              <p:nvPr/>
            </p:nvSpPr>
            <p:spPr bwMode="auto">
              <a:xfrm>
                <a:off x="1576" y="2550"/>
                <a:ext cx="2338" cy="660"/>
              </a:xfrm>
              <a:custGeom>
                <a:avLst/>
                <a:gdLst>
                  <a:gd name="T0" fmla="*/ 30 w 2338"/>
                  <a:gd name="T1" fmla="*/ 420 h 660"/>
                  <a:gd name="T2" fmla="*/ 0 w 2338"/>
                  <a:gd name="T3" fmla="*/ 270 h 660"/>
                  <a:gd name="T4" fmla="*/ 150 w 2338"/>
                  <a:gd name="T5" fmla="*/ 510 h 660"/>
                  <a:gd name="T6" fmla="*/ 210 w 2338"/>
                  <a:gd name="T7" fmla="*/ 420 h 660"/>
                  <a:gd name="T8" fmla="*/ 210 w 2338"/>
                  <a:gd name="T9" fmla="*/ 120 h 660"/>
                  <a:gd name="T10" fmla="*/ 60 w 2338"/>
                  <a:gd name="T11" fmla="*/ 150 h 660"/>
                  <a:gd name="T12" fmla="*/ 120 w 2338"/>
                  <a:gd name="T13" fmla="*/ 0 h 660"/>
                  <a:gd name="T14" fmla="*/ 330 w 2338"/>
                  <a:gd name="T15" fmla="*/ 90 h 660"/>
                  <a:gd name="T16" fmla="*/ 420 w 2338"/>
                  <a:gd name="T17" fmla="*/ 210 h 660"/>
                  <a:gd name="T18" fmla="*/ 210 w 2338"/>
                  <a:gd name="T19" fmla="*/ 120 h 660"/>
                  <a:gd name="T20" fmla="*/ 270 w 2338"/>
                  <a:gd name="T21" fmla="*/ 240 h 660"/>
                  <a:gd name="T22" fmla="*/ 420 w 2338"/>
                  <a:gd name="T23" fmla="*/ 210 h 660"/>
                  <a:gd name="T24" fmla="*/ 510 w 2338"/>
                  <a:gd name="T25" fmla="*/ 120 h 660"/>
                  <a:gd name="T26" fmla="*/ 599 w 2338"/>
                  <a:gd name="T27" fmla="*/ 210 h 660"/>
                  <a:gd name="T28" fmla="*/ 809 w 2338"/>
                  <a:gd name="T29" fmla="*/ 150 h 660"/>
                  <a:gd name="T30" fmla="*/ 719 w 2338"/>
                  <a:gd name="T31" fmla="*/ 240 h 660"/>
                  <a:gd name="T32" fmla="*/ 510 w 2338"/>
                  <a:gd name="T33" fmla="*/ 480 h 660"/>
                  <a:gd name="T34" fmla="*/ 689 w 2338"/>
                  <a:gd name="T35" fmla="*/ 510 h 660"/>
                  <a:gd name="T36" fmla="*/ 689 w 2338"/>
                  <a:gd name="T37" fmla="*/ 660 h 660"/>
                  <a:gd name="T38" fmla="*/ 569 w 2338"/>
                  <a:gd name="T39" fmla="*/ 600 h 660"/>
                  <a:gd name="T40" fmla="*/ 300 w 2338"/>
                  <a:gd name="T41" fmla="*/ 570 h 660"/>
                  <a:gd name="T42" fmla="*/ 420 w 2338"/>
                  <a:gd name="T43" fmla="*/ 330 h 660"/>
                  <a:gd name="T44" fmla="*/ 569 w 2338"/>
                  <a:gd name="T45" fmla="*/ 360 h 660"/>
                  <a:gd name="T46" fmla="*/ 599 w 2338"/>
                  <a:gd name="T47" fmla="*/ 210 h 660"/>
                  <a:gd name="T48" fmla="*/ 749 w 2338"/>
                  <a:gd name="T49" fmla="*/ 420 h 660"/>
                  <a:gd name="T50" fmla="*/ 689 w 2338"/>
                  <a:gd name="T51" fmla="*/ 510 h 660"/>
                  <a:gd name="T52" fmla="*/ 809 w 2338"/>
                  <a:gd name="T53" fmla="*/ 600 h 660"/>
                  <a:gd name="T54" fmla="*/ 929 w 2338"/>
                  <a:gd name="T55" fmla="*/ 540 h 660"/>
                  <a:gd name="T56" fmla="*/ 1079 w 2338"/>
                  <a:gd name="T57" fmla="*/ 570 h 660"/>
                  <a:gd name="T58" fmla="*/ 1049 w 2338"/>
                  <a:gd name="T59" fmla="*/ 450 h 660"/>
                  <a:gd name="T60" fmla="*/ 959 w 2338"/>
                  <a:gd name="T61" fmla="*/ 420 h 660"/>
                  <a:gd name="T62" fmla="*/ 1049 w 2338"/>
                  <a:gd name="T63" fmla="*/ 300 h 660"/>
                  <a:gd name="T64" fmla="*/ 1169 w 2338"/>
                  <a:gd name="T65" fmla="*/ 360 h 660"/>
                  <a:gd name="T66" fmla="*/ 1259 w 2338"/>
                  <a:gd name="T67" fmla="*/ 390 h 660"/>
                  <a:gd name="T68" fmla="*/ 1199 w 2338"/>
                  <a:gd name="T69" fmla="*/ 510 h 660"/>
                  <a:gd name="T70" fmla="*/ 1349 w 2338"/>
                  <a:gd name="T71" fmla="*/ 540 h 660"/>
                  <a:gd name="T72" fmla="*/ 1409 w 2338"/>
                  <a:gd name="T73" fmla="*/ 360 h 660"/>
                  <a:gd name="T74" fmla="*/ 1469 w 2338"/>
                  <a:gd name="T75" fmla="*/ 480 h 660"/>
                  <a:gd name="T76" fmla="*/ 1529 w 2338"/>
                  <a:gd name="T77" fmla="*/ 360 h 660"/>
                  <a:gd name="T78" fmla="*/ 1529 w 2338"/>
                  <a:gd name="T79" fmla="*/ 600 h 660"/>
                  <a:gd name="T80" fmla="*/ 1409 w 2338"/>
                  <a:gd name="T81" fmla="*/ 630 h 660"/>
                  <a:gd name="T82" fmla="*/ 1649 w 2338"/>
                  <a:gd name="T83" fmla="*/ 300 h 660"/>
                  <a:gd name="T84" fmla="*/ 1649 w 2338"/>
                  <a:gd name="T85" fmla="*/ 510 h 660"/>
                  <a:gd name="T86" fmla="*/ 1709 w 2338"/>
                  <a:gd name="T87" fmla="*/ 420 h 660"/>
                  <a:gd name="T88" fmla="*/ 1799 w 2338"/>
                  <a:gd name="T89" fmla="*/ 360 h 660"/>
                  <a:gd name="T90" fmla="*/ 1799 w 2338"/>
                  <a:gd name="T91" fmla="*/ 480 h 660"/>
                  <a:gd name="T92" fmla="*/ 1739 w 2338"/>
                  <a:gd name="T93" fmla="*/ 600 h 660"/>
                  <a:gd name="T94" fmla="*/ 1889 w 2338"/>
                  <a:gd name="T95" fmla="*/ 540 h 660"/>
                  <a:gd name="T96" fmla="*/ 1949 w 2338"/>
                  <a:gd name="T97" fmla="*/ 660 h 660"/>
                  <a:gd name="T98" fmla="*/ 2039 w 2338"/>
                  <a:gd name="T99" fmla="*/ 570 h 660"/>
                  <a:gd name="T100" fmla="*/ 2009 w 2338"/>
                  <a:gd name="T101" fmla="*/ 450 h 660"/>
                  <a:gd name="T102" fmla="*/ 1919 w 2338"/>
                  <a:gd name="T103" fmla="*/ 420 h 660"/>
                  <a:gd name="T104" fmla="*/ 2009 w 2338"/>
                  <a:gd name="T105" fmla="*/ 300 h 660"/>
                  <a:gd name="T106" fmla="*/ 2129 w 2338"/>
                  <a:gd name="T107" fmla="*/ 360 h 660"/>
                  <a:gd name="T108" fmla="*/ 2159 w 2338"/>
                  <a:gd name="T109" fmla="*/ 510 h 660"/>
                  <a:gd name="T110" fmla="*/ 2338 w 2338"/>
                  <a:gd name="T111" fmla="*/ 540 h 660"/>
                  <a:gd name="T112" fmla="*/ 2218 w 2338"/>
                  <a:gd name="T113" fmla="*/ 660 h 660"/>
                  <a:gd name="T114" fmla="*/ 2248 w 2338"/>
                  <a:gd name="T115" fmla="*/ 390 h 660"/>
                  <a:gd name="T116" fmla="*/ 2069 w 2338"/>
                  <a:gd name="T117" fmla="*/ 24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8" h="660">
                    <a:moveTo>
                      <a:pt x="30" y="420"/>
                    </a:moveTo>
                    <a:lnTo>
                      <a:pt x="0" y="270"/>
                    </a:lnTo>
                    <a:lnTo>
                      <a:pt x="150" y="510"/>
                    </a:lnTo>
                    <a:lnTo>
                      <a:pt x="210" y="420"/>
                    </a:lnTo>
                    <a:lnTo>
                      <a:pt x="210" y="120"/>
                    </a:lnTo>
                    <a:lnTo>
                      <a:pt x="60" y="150"/>
                    </a:lnTo>
                    <a:lnTo>
                      <a:pt x="120" y="0"/>
                    </a:lnTo>
                    <a:lnTo>
                      <a:pt x="330" y="90"/>
                    </a:lnTo>
                    <a:lnTo>
                      <a:pt x="420" y="210"/>
                    </a:lnTo>
                    <a:lnTo>
                      <a:pt x="210" y="120"/>
                    </a:lnTo>
                    <a:lnTo>
                      <a:pt x="270" y="240"/>
                    </a:lnTo>
                    <a:lnTo>
                      <a:pt x="420" y="210"/>
                    </a:lnTo>
                    <a:lnTo>
                      <a:pt x="510" y="120"/>
                    </a:lnTo>
                    <a:lnTo>
                      <a:pt x="599" y="210"/>
                    </a:lnTo>
                    <a:lnTo>
                      <a:pt x="809" y="150"/>
                    </a:lnTo>
                    <a:lnTo>
                      <a:pt x="719" y="240"/>
                    </a:lnTo>
                    <a:lnTo>
                      <a:pt x="510" y="480"/>
                    </a:lnTo>
                    <a:lnTo>
                      <a:pt x="689" y="510"/>
                    </a:lnTo>
                    <a:lnTo>
                      <a:pt x="689" y="660"/>
                    </a:lnTo>
                    <a:lnTo>
                      <a:pt x="569" y="600"/>
                    </a:lnTo>
                    <a:lnTo>
                      <a:pt x="300" y="570"/>
                    </a:lnTo>
                    <a:lnTo>
                      <a:pt x="420" y="330"/>
                    </a:lnTo>
                    <a:lnTo>
                      <a:pt x="569" y="360"/>
                    </a:lnTo>
                    <a:lnTo>
                      <a:pt x="599" y="210"/>
                    </a:lnTo>
                    <a:lnTo>
                      <a:pt x="749" y="420"/>
                    </a:lnTo>
                    <a:lnTo>
                      <a:pt x="689" y="510"/>
                    </a:lnTo>
                    <a:lnTo>
                      <a:pt x="809" y="600"/>
                    </a:lnTo>
                    <a:lnTo>
                      <a:pt x="929" y="540"/>
                    </a:lnTo>
                    <a:lnTo>
                      <a:pt x="1079" y="570"/>
                    </a:lnTo>
                    <a:lnTo>
                      <a:pt x="1049" y="450"/>
                    </a:lnTo>
                    <a:lnTo>
                      <a:pt x="959" y="420"/>
                    </a:lnTo>
                    <a:lnTo>
                      <a:pt x="1049" y="300"/>
                    </a:lnTo>
                    <a:lnTo>
                      <a:pt x="1169" y="360"/>
                    </a:lnTo>
                    <a:lnTo>
                      <a:pt x="1259" y="390"/>
                    </a:lnTo>
                    <a:lnTo>
                      <a:pt x="1199" y="510"/>
                    </a:lnTo>
                    <a:lnTo>
                      <a:pt x="1349" y="540"/>
                    </a:lnTo>
                    <a:lnTo>
                      <a:pt x="1409" y="360"/>
                    </a:lnTo>
                    <a:lnTo>
                      <a:pt x="1469" y="480"/>
                    </a:lnTo>
                    <a:lnTo>
                      <a:pt x="1529" y="360"/>
                    </a:lnTo>
                    <a:lnTo>
                      <a:pt x="1529" y="600"/>
                    </a:lnTo>
                    <a:lnTo>
                      <a:pt x="1409" y="630"/>
                    </a:lnTo>
                    <a:lnTo>
                      <a:pt x="1649" y="300"/>
                    </a:lnTo>
                    <a:lnTo>
                      <a:pt x="1649" y="510"/>
                    </a:lnTo>
                    <a:lnTo>
                      <a:pt x="1709" y="420"/>
                    </a:lnTo>
                    <a:lnTo>
                      <a:pt x="1799" y="360"/>
                    </a:lnTo>
                    <a:lnTo>
                      <a:pt x="1799" y="480"/>
                    </a:lnTo>
                    <a:lnTo>
                      <a:pt x="1739" y="600"/>
                    </a:lnTo>
                    <a:lnTo>
                      <a:pt x="1889" y="540"/>
                    </a:lnTo>
                    <a:lnTo>
                      <a:pt x="1949" y="660"/>
                    </a:lnTo>
                    <a:lnTo>
                      <a:pt x="2039" y="570"/>
                    </a:lnTo>
                    <a:lnTo>
                      <a:pt x="2009" y="450"/>
                    </a:lnTo>
                    <a:lnTo>
                      <a:pt x="1919" y="420"/>
                    </a:lnTo>
                    <a:lnTo>
                      <a:pt x="2009" y="300"/>
                    </a:lnTo>
                    <a:lnTo>
                      <a:pt x="2129" y="360"/>
                    </a:lnTo>
                    <a:lnTo>
                      <a:pt x="2159" y="510"/>
                    </a:lnTo>
                    <a:lnTo>
                      <a:pt x="2338" y="540"/>
                    </a:lnTo>
                    <a:lnTo>
                      <a:pt x="2218" y="660"/>
                    </a:lnTo>
                    <a:lnTo>
                      <a:pt x="2248" y="390"/>
                    </a:lnTo>
                    <a:lnTo>
                      <a:pt x="2069"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6" name="Freeform 2591">
                <a:extLst>
                  <a:ext uri="{FF2B5EF4-FFF2-40B4-BE49-F238E27FC236}">
                    <a16:creationId xmlns:a16="http://schemas.microsoft.com/office/drawing/2014/main" id="{5FD7976F-019F-45EE-A6F9-B10CFC9D5A93}"/>
                  </a:ext>
                </a:extLst>
              </p:cNvPr>
              <p:cNvSpPr>
                <a:spLocks/>
              </p:cNvSpPr>
              <p:nvPr/>
            </p:nvSpPr>
            <p:spPr bwMode="auto">
              <a:xfrm>
                <a:off x="3585" y="2760"/>
                <a:ext cx="269" cy="300"/>
              </a:xfrm>
              <a:custGeom>
                <a:avLst/>
                <a:gdLst>
                  <a:gd name="T0" fmla="*/ 269 w 269"/>
                  <a:gd name="T1" fmla="*/ 0 h 300"/>
                  <a:gd name="T2" fmla="*/ 120 w 269"/>
                  <a:gd name="T3" fmla="*/ 150 h 300"/>
                  <a:gd name="T4" fmla="*/ 0 w 269"/>
                  <a:gd name="T5" fmla="*/ 240 h 300"/>
                  <a:gd name="T6" fmla="*/ 150 w 269"/>
                  <a:gd name="T7" fmla="*/ 300 h 300"/>
                </a:gdLst>
                <a:ahLst/>
                <a:cxnLst>
                  <a:cxn ang="0">
                    <a:pos x="T0" y="T1"/>
                  </a:cxn>
                  <a:cxn ang="0">
                    <a:pos x="T2" y="T3"/>
                  </a:cxn>
                  <a:cxn ang="0">
                    <a:pos x="T4" y="T5"/>
                  </a:cxn>
                  <a:cxn ang="0">
                    <a:pos x="T6" y="T7"/>
                  </a:cxn>
                </a:cxnLst>
                <a:rect l="0" t="0" r="r" b="b"/>
                <a:pathLst>
                  <a:path w="269" h="300">
                    <a:moveTo>
                      <a:pt x="269" y="0"/>
                    </a:moveTo>
                    <a:lnTo>
                      <a:pt x="120" y="150"/>
                    </a:lnTo>
                    <a:lnTo>
                      <a:pt x="0" y="24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7" name="Freeform 2592">
                <a:extLst>
                  <a:ext uri="{FF2B5EF4-FFF2-40B4-BE49-F238E27FC236}">
                    <a16:creationId xmlns:a16="http://schemas.microsoft.com/office/drawing/2014/main" id="{236A3ED6-BF37-4C3E-A6F9-3EBEE8DDCA51}"/>
                  </a:ext>
                </a:extLst>
              </p:cNvPr>
              <p:cNvSpPr>
                <a:spLocks/>
              </p:cNvSpPr>
              <p:nvPr/>
            </p:nvSpPr>
            <p:spPr bwMode="auto">
              <a:xfrm>
                <a:off x="2835" y="2790"/>
                <a:ext cx="1289" cy="420"/>
              </a:xfrm>
              <a:custGeom>
                <a:avLst/>
                <a:gdLst>
                  <a:gd name="T0" fmla="*/ 210 w 1289"/>
                  <a:gd name="T1" fmla="*/ 240 h 420"/>
                  <a:gd name="T2" fmla="*/ 150 w 1289"/>
                  <a:gd name="T3" fmla="*/ 390 h 420"/>
                  <a:gd name="T4" fmla="*/ 90 w 1289"/>
                  <a:gd name="T5" fmla="*/ 300 h 420"/>
                  <a:gd name="T6" fmla="*/ 0 w 1289"/>
                  <a:gd name="T7" fmla="*/ 150 h 420"/>
                  <a:gd name="T8" fmla="*/ 150 w 1289"/>
                  <a:gd name="T9" fmla="*/ 120 h 420"/>
                  <a:gd name="T10" fmla="*/ 300 w 1289"/>
                  <a:gd name="T11" fmla="*/ 30 h 420"/>
                  <a:gd name="T12" fmla="*/ 390 w 1289"/>
                  <a:gd name="T13" fmla="*/ 60 h 420"/>
                  <a:gd name="T14" fmla="*/ 450 w 1289"/>
                  <a:gd name="T15" fmla="*/ 180 h 420"/>
                  <a:gd name="T16" fmla="*/ 480 w 1289"/>
                  <a:gd name="T17" fmla="*/ 30 h 420"/>
                  <a:gd name="T18" fmla="*/ 600 w 1289"/>
                  <a:gd name="T19" fmla="*/ 0 h 420"/>
                  <a:gd name="T20" fmla="*/ 540 w 1289"/>
                  <a:gd name="T21" fmla="*/ 120 h 420"/>
                  <a:gd name="T22" fmla="*/ 660 w 1289"/>
                  <a:gd name="T23" fmla="*/ 180 h 420"/>
                  <a:gd name="T24" fmla="*/ 630 w 1289"/>
                  <a:gd name="T25" fmla="*/ 300 h 420"/>
                  <a:gd name="T26" fmla="*/ 780 w 1289"/>
                  <a:gd name="T27" fmla="*/ 330 h 420"/>
                  <a:gd name="T28" fmla="*/ 959 w 1289"/>
                  <a:gd name="T29" fmla="*/ 420 h 420"/>
                  <a:gd name="T30" fmla="*/ 1289 w 1289"/>
                  <a:gd name="T3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9" h="420">
                    <a:moveTo>
                      <a:pt x="210" y="240"/>
                    </a:moveTo>
                    <a:lnTo>
                      <a:pt x="150" y="390"/>
                    </a:lnTo>
                    <a:lnTo>
                      <a:pt x="90" y="300"/>
                    </a:lnTo>
                    <a:lnTo>
                      <a:pt x="0" y="150"/>
                    </a:lnTo>
                    <a:lnTo>
                      <a:pt x="150" y="120"/>
                    </a:lnTo>
                    <a:lnTo>
                      <a:pt x="300" y="30"/>
                    </a:lnTo>
                    <a:lnTo>
                      <a:pt x="390" y="60"/>
                    </a:lnTo>
                    <a:lnTo>
                      <a:pt x="450" y="180"/>
                    </a:lnTo>
                    <a:lnTo>
                      <a:pt x="480" y="30"/>
                    </a:lnTo>
                    <a:lnTo>
                      <a:pt x="600" y="0"/>
                    </a:lnTo>
                    <a:lnTo>
                      <a:pt x="540" y="120"/>
                    </a:lnTo>
                    <a:lnTo>
                      <a:pt x="660" y="180"/>
                    </a:lnTo>
                    <a:lnTo>
                      <a:pt x="630" y="300"/>
                    </a:lnTo>
                    <a:lnTo>
                      <a:pt x="780" y="330"/>
                    </a:lnTo>
                    <a:lnTo>
                      <a:pt x="959" y="420"/>
                    </a:lnTo>
                    <a:lnTo>
                      <a:pt x="1289"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8" name="Freeform 2593">
                <a:extLst>
                  <a:ext uri="{FF2B5EF4-FFF2-40B4-BE49-F238E27FC236}">
                    <a16:creationId xmlns:a16="http://schemas.microsoft.com/office/drawing/2014/main" id="{D1E39535-360B-4422-BC71-0A65B933B0A9}"/>
                  </a:ext>
                </a:extLst>
              </p:cNvPr>
              <p:cNvSpPr>
                <a:spLocks/>
              </p:cNvSpPr>
              <p:nvPr/>
            </p:nvSpPr>
            <p:spPr bwMode="auto">
              <a:xfrm>
                <a:off x="1996" y="2130"/>
                <a:ext cx="629" cy="720"/>
              </a:xfrm>
              <a:custGeom>
                <a:avLst/>
                <a:gdLst>
                  <a:gd name="T0" fmla="*/ 629 w 629"/>
                  <a:gd name="T1" fmla="*/ 720 h 720"/>
                  <a:gd name="T2" fmla="*/ 479 w 629"/>
                  <a:gd name="T3" fmla="*/ 690 h 720"/>
                  <a:gd name="T4" fmla="*/ 599 w 629"/>
                  <a:gd name="T5" fmla="*/ 510 h 720"/>
                  <a:gd name="T6" fmla="*/ 389 w 629"/>
                  <a:gd name="T7" fmla="*/ 570 h 720"/>
                  <a:gd name="T8" fmla="*/ 269 w 629"/>
                  <a:gd name="T9" fmla="*/ 510 h 720"/>
                  <a:gd name="T10" fmla="*/ 90 w 629"/>
                  <a:gd name="T11" fmla="*/ 540 h 720"/>
                  <a:gd name="T12" fmla="*/ 0 w 629"/>
                  <a:gd name="T13" fmla="*/ 390 h 720"/>
                  <a:gd name="T14" fmla="*/ 0 w 629"/>
                  <a:gd name="T15" fmla="*/ 630 h 720"/>
                  <a:gd name="T16" fmla="*/ 90 w 629"/>
                  <a:gd name="T17" fmla="*/ 300 h 720"/>
                  <a:gd name="T18" fmla="*/ 0 w 629"/>
                  <a:gd name="T19" fmla="*/ 210 h 720"/>
                  <a:gd name="T20" fmla="*/ 0 w 629"/>
                  <a:gd name="T21" fmla="*/ 60 h 720"/>
                  <a:gd name="T22" fmla="*/ 60 w 629"/>
                  <a:gd name="T23" fmla="*/ 0 h 720"/>
                  <a:gd name="T24" fmla="*/ 149 w 629"/>
                  <a:gd name="T25" fmla="*/ 180 h 720"/>
                  <a:gd name="T26" fmla="*/ 329 w 629"/>
                  <a:gd name="T27" fmla="*/ 240 h 720"/>
                  <a:gd name="T28" fmla="*/ 359 w 629"/>
                  <a:gd name="T29" fmla="*/ 9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9" h="720">
                    <a:moveTo>
                      <a:pt x="629" y="720"/>
                    </a:moveTo>
                    <a:lnTo>
                      <a:pt x="479" y="690"/>
                    </a:lnTo>
                    <a:lnTo>
                      <a:pt x="599" y="510"/>
                    </a:ln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9" name="Freeform 2594">
                <a:extLst>
                  <a:ext uri="{FF2B5EF4-FFF2-40B4-BE49-F238E27FC236}">
                    <a16:creationId xmlns:a16="http://schemas.microsoft.com/office/drawing/2014/main" id="{1F7D5248-EFA7-4874-BBDA-89C068355910}"/>
                  </a:ext>
                </a:extLst>
              </p:cNvPr>
              <p:cNvSpPr>
                <a:spLocks/>
              </p:cNvSpPr>
              <p:nvPr/>
            </p:nvSpPr>
            <p:spPr bwMode="auto">
              <a:xfrm>
                <a:off x="2295" y="2640"/>
                <a:ext cx="780" cy="480"/>
              </a:xfrm>
              <a:custGeom>
                <a:avLst/>
                <a:gdLst>
                  <a:gd name="T0" fmla="*/ 330 w 780"/>
                  <a:gd name="T1" fmla="*/ 360 h 480"/>
                  <a:gd name="T2" fmla="*/ 210 w 780"/>
                  <a:gd name="T3" fmla="*/ 450 h 480"/>
                  <a:gd name="T4" fmla="*/ 120 w 780"/>
                  <a:gd name="T5" fmla="*/ 390 h 480"/>
                  <a:gd name="T6" fmla="*/ 120 w 780"/>
                  <a:gd name="T7" fmla="*/ 270 h 480"/>
                  <a:gd name="T8" fmla="*/ 180 w 780"/>
                  <a:gd name="T9" fmla="*/ 180 h 480"/>
                  <a:gd name="T10" fmla="*/ 0 w 780"/>
                  <a:gd name="T11" fmla="*/ 150 h 480"/>
                  <a:gd name="T12" fmla="*/ 30 w 780"/>
                  <a:gd name="T13" fmla="*/ 330 h 480"/>
                  <a:gd name="T14" fmla="*/ 120 w 780"/>
                  <a:gd name="T15" fmla="*/ 270 h 480"/>
                  <a:gd name="T16" fmla="*/ 240 w 780"/>
                  <a:gd name="T17" fmla="*/ 330 h 480"/>
                  <a:gd name="T18" fmla="*/ 360 w 780"/>
                  <a:gd name="T19" fmla="*/ 480 h 480"/>
                  <a:gd name="T20" fmla="*/ 480 w 780"/>
                  <a:gd name="T21" fmla="*/ 420 h 480"/>
                  <a:gd name="T22" fmla="*/ 330 w 780"/>
                  <a:gd name="T23" fmla="*/ 360 h 480"/>
                  <a:gd name="T24" fmla="*/ 450 w 780"/>
                  <a:gd name="T25" fmla="*/ 270 h 480"/>
                  <a:gd name="T26" fmla="*/ 510 w 780"/>
                  <a:gd name="T27" fmla="*/ 90 h 480"/>
                  <a:gd name="T28" fmla="*/ 690 w 780"/>
                  <a:gd name="T29" fmla="*/ 0 h 480"/>
                  <a:gd name="T30" fmla="*/ 450 w 780"/>
                  <a:gd name="T31" fmla="*/ 0 h 480"/>
                  <a:gd name="T32" fmla="*/ 780 w 780"/>
                  <a:gd name="T33" fmla="*/ 9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80">
                    <a:moveTo>
                      <a:pt x="330" y="360"/>
                    </a:moveTo>
                    <a:lnTo>
                      <a:pt x="210" y="450"/>
                    </a:lnTo>
                    <a:lnTo>
                      <a:pt x="120" y="390"/>
                    </a:lnTo>
                    <a:lnTo>
                      <a:pt x="120" y="270"/>
                    </a:lnTo>
                    <a:lnTo>
                      <a:pt x="180" y="180"/>
                    </a:lnTo>
                    <a:lnTo>
                      <a:pt x="0" y="150"/>
                    </a:lnTo>
                    <a:lnTo>
                      <a:pt x="30" y="330"/>
                    </a:lnTo>
                    <a:lnTo>
                      <a:pt x="120" y="270"/>
                    </a:lnTo>
                    <a:lnTo>
                      <a:pt x="240" y="330"/>
                    </a:lnTo>
                    <a:lnTo>
                      <a:pt x="360" y="480"/>
                    </a:lnTo>
                    <a:lnTo>
                      <a:pt x="480" y="420"/>
                    </a:lnTo>
                    <a:lnTo>
                      <a:pt x="330" y="360"/>
                    </a:lnTo>
                    <a:lnTo>
                      <a:pt x="450" y="270"/>
                    </a:lnTo>
                    <a:lnTo>
                      <a:pt x="510" y="90"/>
                    </a:lnTo>
                    <a:lnTo>
                      <a:pt x="690" y="0"/>
                    </a:lnTo>
                    <a:lnTo>
                      <a:pt x="450" y="0"/>
                    </a:lnTo>
                    <a:lnTo>
                      <a:pt x="7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0" name="Line 2595">
                <a:extLst>
                  <a:ext uri="{FF2B5EF4-FFF2-40B4-BE49-F238E27FC236}">
                    <a16:creationId xmlns:a16="http://schemas.microsoft.com/office/drawing/2014/main" id="{33C70885-FE1D-4876-BAB6-8EB57CACC26D}"/>
                  </a:ext>
                </a:extLst>
              </p:cNvPr>
              <p:cNvSpPr>
                <a:spLocks noChangeShapeType="1"/>
              </p:cNvSpPr>
              <p:nvPr/>
            </p:nvSpPr>
            <p:spPr bwMode="auto">
              <a:xfrm flipH="1" flipV="1">
                <a:off x="2325"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1" name="Freeform 2596">
                <a:extLst>
                  <a:ext uri="{FF2B5EF4-FFF2-40B4-BE49-F238E27FC236}">
                    <a16:creationId xmlns:a16="http://schemas.microsoft.com/office/drawing/2014/main" id="{69FC913B-4C41-4826-BC77-8023D31D3190}"/>
                  </a:ext>
                </a:extLst>
              </p:cNvPr>
              <p:cNvSpPr>
                <a:spLocks/>
              </p:cNvSpPr>
              <p:nvPr/>
            </p:nvSpPr>
            <p:spPr bwMode="auto">
              <a:xfrm>
                <a:off x="2086" y="2820"/>
                <a:ext cx="449" cy="390"/>
              </a:xfrm>
              <a:custGeom>
                <a:avLst/>
                <a:gdLst>
                  <a:gd name="T0" fmla="*/ 179 w 449"/>
                  <a:gd name="T1" fmla="*/ 390 h 390"/>
                  <a:gd name="T2" fmla="*/ 329 w 449"/>
                  <a:gd name="T3" fmla="*/ 210 h 390"/>
                  <a:gd name="T4" fmla="*/ 449 w 449"/>
                  <a:gd name="T5" fmla="*/ 150 h 390"/>
                  <a:gd name="T6" fmla="*/ 389 w 449"/>
                  <a:gd name="T7" fmla="*/ 0 h 390"/>
                  <a:gd name="T8" fmla="*/ 0 w 449"/>
                  <a:gd name="T9" fmla="*/ 210 h 390"/>
                </a:gdLst>
                <a:ahLst/>
                <a:cxnLst>
                  <a:cxn ang="0">
                    <a:pos x="T0" y="T1"/>
                  </a:cxn>
                  <a:cxn ang="0">
                    <a:pos x="T2" y="T3"/>
                  </a:cxn>
                  <a:cxn ang="0">
                    <a:pos x="T4" y="T5"/>
                  </a:cxn>
                  <a:cxn ang="0">
                    <a:pos x="T6" y="T7"/>
                  </a:cxn>
                  <a:cxn ang="0">
                    <a:pos x="T8" y="T9"/>
                  </a:cxn>
                </a:cxnLst>
                <a:rect l="0" t="0" r="r" b="b"/>
                <a:pathLst>
                  <a:path w="449" h="390">
                    <a:moveTo>
                      <a:pt x="179" y="390"/>
                    </a:moveTo>
                    <a:lnTo>
                      <a:pt x="329" y="210"/>
                    </a:lnTo>
                    <a:lnTo>
                      <a:pt x="449" y="150"/>
                    </a:lnTo>
                    <a:lnTo>
                      <a:pt x="389" y="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2" name="Freeform 2597">
                <a:extLst>
                  <a:ext uri="{FF2B5EF4-FFF2-40B4-BE49-F238E27FC236}">
                    <a16:creationId xmlns:a16="http://schemas.microsoft.com/office/drawing/2014/main" id="{932A07AE-7318-4C02-8E17-BF2A5EE2EF0B}"/>
                  </a:ext>
                </a:extLst>
              </p:cNvPr>
              <p:cNvSpPr>
                <a:spLocks/>
              </p:cNvSpPr>
              <p:nvPr/>
            </p:nvSpPr>
            <p:spPr bwMode="auto">
              <a:xfrm>
                <a:off x="2685" y="2310"/>
                <a:ext cx="870" cy="600"/>
              </a:xfrm>
              <a:custGeom>
                <a:avLst/>
                <a:gdLst>
                  <a:gd name="T0" fmla="*/ 0 w 870"/>
                  <a:gd name="T1" fmla="*/ 480 h 600"/>
                  <a:gd name="T2" fmla="*/ 60 w 870"/>
                  <a:gd name="T3" fmla="*/ 600 h 600"/>
                  <a:gd name="T4" fmla="*/ 270 w 870"/>
                  <a:gd name="T5" fmla="*/ 480 h 600"/>
                  <a:gd name="T6" fmla="*/ 390 w 870"/>
                  <a:gd name="T7" fmla="*/ 420 h 600"/>
                  <a:gd name="T8" fmla="*/ 540 w 870"/>
                  <a:gd name="T9" fmla="*/ 420 h 600"/>
                  <a:gd name="T10" fmla="*/ 750 w 870"/>
                  <a:gd name="T11" fmla="*/ 480 h 600"/>
                  <a:gd name="T12" fmla="*/ 870 w 870"/>
                  <a:gd name="T13" fmla="*/ 330 h 600"/>
                  <a:gd name="T14" fmla="*/ 660 w 870"/>
                  <a:gd name="T15" fmla="*/ 390 h 600"/>
                  <a:gd name="T16" fmla="*/ 540 w 870"/>
                  <a:gd name="T17" fmla="*/ 330 h 600"/>
                  <a:gd name="T18" fmla="*/ 420 w 870"/>
                  <a:gd name="T1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600">
                    <a:moveTo>
                      <a:pt x="0" y="480"/>
                    </a:moveTo>
                    <a:lnTo>
                      <a:pt x="60" y="600"/>
                    </a:lnTo>
                    <a:lnTo>
                      <a:pt x="270" y="480"/>
                    </a:lnTo>
                    <a:lnTo>
                      <a:pt x="390" y="420"/>
                    </a:lnTo>
                    <a:lnTo>
                      <a:pt x="540" y="420"/>
                    </a:lnTo>
                    <a:lnTo>
                      <a:pt x="750" y="480"/>
                    </a:lnTo>
                    <a:lnTo>
                      <a:pt x="870" y="330"/>
                    </a:lnTo>
                    <a:lnTo>
                      <a:pt x="660" y="390"/>
                    </a:lnTo>
                    <a:lnTo>
                      <a:pt x="540" y="33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3" name="Line 2598">
                <a:extLst>
                  <a:ext uri="{FF2B5EF4-FFF2-40B4-BE49-F238E27FC236}">
                    <a16:creationId xmlns:a16="http://schemas.microsoft.com/office/drawing/2014/main" id="{557E87C2-1E87-4230-BEE1-FAD438CBE999}"/>
                  </a:ext>
                </a:extLst>
              </p:cNvPr>
              <p:cNvSpPr>
                <a:spLocks noChangeShapeType="1"/>
              </p:cNvSpPr>
              <p:nvPr/>
            </p:nvSpPr>
            <p:spPr bwMode="auto">
              <a:xfrm flipH="1" flipV="1">
                <a:off x="2745" y="2910"/>
                <a:ext cx="3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4" name="Freeform 2599">
                <a:extLst>
                  <a:ext uri="{FF2B5EF4-FFF2-40B4-BE49-F238E27FC236}">
                    <a16:creationId xmlns:a16="http://schemas.microsoft.com/office/drawing/2014/main" id="{4DD22A2F-9A0F-4428-BE55-1020EB4C2D8A}"/>
                  </a:ext>
                </a:extLst>
              </p:cNvPr>
              <p:cNvSpPr>
                <a:spLocks/>
              </p:cNvSpPr>
              <p:nvPr/>
            </p:nvSpPr>
            <p:spPr bwMode="auto">
              <a:xfrm>
                <a:off x="3105" y="3060"/>
                <a:ext cx="210" cy="90"/>
              </a:xfrm>
              <a:custGeom>
                <a:avLst/>
                <a:gdLst>
                  <a:gd name="T0" fmla="*/ 0 w 210"/>
                  <a:gd name="T1" fmla="*/ 90 h 90"/>
                  <a:gd name="T2" fmla="*/ 120 w 210"/>
                  <a:gd name="T3" fmla="*/ 0 h 90"/>
                  <a:gd name="T4" fmla="*/ 210 w 210"/>
                  <a:gd name="T5" fmla="*/ 90 h 90"/>
                </a:gdLst>
                <a:ahLst/>
                <a:cxnLst>
                  <a:cxn ang="0">
                    <a:pos x="T0" y="T1"/>
                  </a:cxn>
                  <a:cxn ang="0">
                    <a:pos x="T2" y="T3"/>
                  </a:cxn>
                  <a:cxn ang="0">
                    <a:pos x="T4" y="T5"/>
                  </a:cxn>
                </a:cxnLst>
                <a:rect l="0" t="0" r="r" b="b"/>
                <a:pathLst>
                  <a:path w="210" h="90">
                    <a:moveTo>
                      <a:pt x="0" y="90"/>
                    </a:moveTo>
                    <a:lnTo>
                      <a:pt x="120" y="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5" name="Line 2600">
                <a:extLst>
                  <a:ext uri="{FF2B5EF4-FFF2-40B4-BE49-F238E27FC236}">
                    <a16:creationId xmlns:a16="http://schemas.microsoft.com/office/drawing/2014/main" id="{4A70F73C-2720-425A-9410-D457D74CCE68}"/>
                  </a:ext>
                </a:extLst>
              </p:cNvPr>
              <p:cNvSpPr>
                <a:spLocks noChangeShapeType="1"/>
              </p:cNvSpPr>
              <p:nvPr/>
            </p:nvSpPr>
            <p:spPr bwMode="auto">
              <a:xfrm flipH="1" flipV="1">
                <a:off x="2805" y="2730"/>
                <a:ext cx="30"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6" name="Freeform 2601">
                <a:extLst>
                  <a:ext uri="{FF2B5EF4-FFF2-40B4-BE49-F238E27FC236}">
                    <a16:creationId xmlns:a16="http://schemas.microsoft.com/office/drawing/2014/main" id="{B1006F89-2D0C-4992-A916-2D7019D24B87}"/>
                  </a:ext>
                </a:extLst>
              </p:cNvPr>
              <p:cNvSpPr>
                <a:spLocks/>
              </p:cNvSpPr>
              <p:nvPr/>
            </p:nvSpPr>
            <p:spPr bwMode="auto">
              <a:xfrm>
                <a:off x="3225" y="2730"/>
                <a:ext cx="90" cy="120"/>
              </a:xfrm>
              <a:custGeom>
                <a:avLst/>
                <a:gdLst>
                  <a:gd name="T0" fmla="*/ 0 w 90"/>
                  <a:gd name="T1" fmla="*/ 0 h 120"/>
                  <a:gd name="T2" fmla="*/ 90 w 90"/>
                  <a:gd name="T3" fmla="*/ 90 h 120"/>
                  <a:gd name="T4" fmla="*/ 0 w 90"/>
                  <a:gd name="T5" fmla="*/ 120 h 120"/>
                  <a:gd name="T6" fmla="*/ 0 w 90"/>
                  <a:gd name="T7" fmla="*/ 0 h 120"/>
                </a:gdLst>
                <a:ahLst/>
                <a:cxnLst>
                  <a:cxn ang="0">
                    <a:pos x="T0" y="T1"/>
                  </a:cxn>
                  <a:cxn ang="0">
                    <a:pos x="T2" y="T3"/>
                  </a:cxn>
                  <a:cxn ang="0">
                    <a:pos x="T4" y="T5"/>
                  </a:cxn>
                  <a:cxn ang="0">
                    <a:pos x="T6" y="T7"/>
                  </a:cxn>
                </a:cxnLst>
                <a:rect l="0" t="0" r="r" b="b"/>
                <a:pathLst>
                  <a:path w="90" h="120">
                    <a:moveTo>
                      <a:pt x="0" y="0"/>
                    </a:moveTo>
                    <a:lnTo>
                      <a:pt x="90" y="90"/>
                    </a:lnTo>
                    <a:lnTo>
                      <a:pt x="0" y="120"/>
                    </a:lnTo>
                    <a:lnTo>
                      <a:pt x="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7" name="Freeform 2602">
                <a:extLst>
                  <a:ext uri="{FF2B5EF4-FFF2-40B4-BE49-F238E27FC236}">
                    <a16:creationId xmlns:a16="http://schemas.microsoft.com/office/drawing/2014/main" id="{A2B24248-926E-4DFE-94F4-D5348C247F8B}"/>
                  </a:ext>
                </a:extLst>
              </p:cNvPr>
              <p:cNvSpPr>
                <a:spLocks/>
              </p:cNvSpPr>
              <p:nvPr/>
            </p:nvSpPr>
            <p:spPr bwMode="auto">
              <a:xfrm>
                <a:off x="3315" y="2820"/>
                <a:ext cx="270" cy="90"/>
              </a:xfrm>
              <a:custGeom>
                <a:avLst/>
                <a:gdLst>
                  <a:gd name="T0" fmla="*/ 60 w 270"/>
                  <a:gd name="T1" fmla="*/ 90 h 90"/>
                  <a:gd name="T2" fmla="*/ 0 w 270"/>
                  <a:gd name="T3" fmla="*/ 0 h 90"/>
                  <a:gd name="T4" fmla="*/ 270 w 270"/>
                  <a:gd name="T5" fmla="*/ 30 h 90"/>
                </a:gdLst>
                <a:ahLst/>
                <a:cxnLst>
                  <a:cxn ang="0">
                    <a:pos x="T0" y="T1"/>
                  </a:cxn>
                  <a:cxn ang="0">
                    <a:pos x="T2" y="T3"/>
                  </a:cxn>
                  <a:cxn ang="0">
                    <a:pos x="T4" y="T5"/>
                  </a:cxn>
                </a:cxnLst>
                <a:rect l="0" t="0" r="r" b="b"/>
                <a:pathLst>
                  <a:path w="270" h="90">
                    <a:moveTo>
                      <a:pt x="60" y="90"/>
                    </a:moveTo>
                    <a:lnTo>
                      <a:pt x="0" y="0"/>
                    </a:lnTo>
                    <a:lnTo>
                      <a:pt x="27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8" name="Freeform 2603">
                <a:extLst>
                  <a:ext uri="{FF2B5EF4-FFF2-40B4-BE49-F238E27FC236}">
                    <a16:creationId xmlns:a16="http://schemas.microsoft.com/office/drawing/2014/main" id="{0D537055-E880-4B52-9296-FC980184E594}"/>
                  </a:ext>
                </a:extLst>
              </p:cNvPr>
              <p:cNvSpPr>
                <a:spLocks/>
              </p:cNvSpPr>
              <p:nvPr/>
            </p:nvSpPr>
            <p:spPr bwMode="auto">
              <a:xfrm>
                <a:off x="2955" y="2730"/>
                <a:ext cx="540" cy="330"/>
              </a:xfrm>
              <a:custGeom>
                <a:avLst/>
                <a:gdLst>
                  <a:gd name="T0" fmla="*/ 540 w 540"/>
                  <a:gd name="T1" fmla="*/ 240 h 330"/>
                  <a:gd name="T2" fmla="*/ 420 w 540"/>
                  <a:gd name="T3" fmla="*/ 300 h 330"/>
                  <a:gd name="T4" fmla="*/ 270 w 540"/>
                  <a:gd name="T5" fmla="*/ 330 h 330"/>
                  <a:gd name="T6" fmla="*/ 150 w 540"/>
                  <a:gd name="T7" fmla="*/ 180 h 330"/>
                  <a:gd name="T8" fmla="*/ 180 w 540"/>
                  <a:gd name="T9" fmla="*/ 90 h 330"/>
                  <a:gd name="T10" fmla="*/ 120 w 540"/>
                  <a:gd name="T11" fmla="*/ 0 h 330"/>
                  <a:gd name="T12" fmla="*/ 30 w 540"/>
                  <a:gd name="T13" fmla="*/ 180 h 330"/>
                  <a:gd name="T14" fmla="*/ 0 w 540"/>
                  <a:gd name="T15" fmla="*/ 60 h 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330">
                    <a:moveTo>
                      <a:pt x="540" y="240"/>
                    </a:moveTo>
                    <a:lnTo>
                      <a:pt x="420" y="300"/>
                    </a:lnTo>
                    <a:lnTo>
                      <a:pt x="270" y="330"/>
                    </a:lnTo>
                    <a:lnTo>
                      <a:pt x="150" y="180"/>
                    </a:lnTo>
                    <a:lnTo>
                      <a:pt x="180" y="90"/>
                    </a:lnTo>
                    <a:lnTo>
                      <a:pt x="120" y="0"/>
                    </a:lnTo>
                    <a:lnTo>
                      <a:pt x="30" y="18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9" name="Line 2604">
                <a:extLst>
                  <a:ext uri="{FF2B5EF4-FFF2-40B4-BE49-F238E27FC236}">
                    <a16:creationId xmlns:a16="http://schemas.microsoft.com/office/drawing/2014/main" id="{BE116115-BAC3-4EAC-BBBD-D633D275E74E}"/>
                  </a:ext>
                </a:extLst>
              </p:cNvPr>
              <p:cNvSpPr>
                <a:spLocks noChangeShapeType="1"/>
              </p:cNvSpPr>
              <p:nvPr/>
            </p:nvSpPr>
            <p:spPr bwMode="auto">
              <a:xfrm>
                <a:off x="3195" y="15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0" name="Freeform 2605">
                <a:extLst>
                  <a:ext uri="{FF2B5EF4-FFF2-40B4-BE49-F238E27FC236}">
                    <a16:creationId xmlns:a16="http://schemas.microsoft.com/office/drawing/2014/main" id="{AD6E2058-AF63-4B36-9122-517EF552F6B9}"/>
                  </a:ext>
                </a:extLst>
              </p:cNvPr>
              <p:cNvSpPr>
                <a:spLocks/>
              </p:cNvSpPr>
              <p:nvPr/>
            </p:nvSpPr>
            <p:spPr bwMode="auto">
              <a:xfrm>
                <a:off x="2865" y="1620"/>
                <a:ext cx="180" cy="150"/>
              </a:xfrm>
              <a:custGeom>
                <a:avLst/>
                <a:gdLst>
                  <a:gd name="T0" fmla="*/ 0 w 180"/>
                  <a:gd name="T1" fmla="*/ 0 h 150"/>
                  <a:gd name="T2" fmla="*/ 180 w 180"/>
                  <a:gd name="T3" fmla="*/ 150 h 150"/>
                  <a:gd name="T4" fmla="*/ 120 w 180"/>
                  <a:gd name="T5" fmla="*/ 30 h 150"/>
                </a:gdLst>
                <a:ahLst/>
                <a:cxnLst>
                  <a:cxn ang="0">
                    <a:pos x="T0" y="T1"/>
                  </a:cxn>
                  <a:cxn ang="0">
                    <a:pos x="T2" y="T3"/>
                  </a:cxn>
                  <a:cxn ang="0">
                    <a:pos x="T4" y="T5"/>
                  </a:cxn>
                </a:cxnLst>
                <a:rect l="0" t="0" r="r" b="b"/>
                <a:pathLst>
                  <a:path w="180" h="150">
                    <a:moveTo>
                      <a:pt x="0" y="0"/>
                    </a:moveTo>
                    <a:lnTo>
                      <a:pt x="180" y="150"/>
                    </a:lnTo>
                    <a:lnTo>
                      <a:pt x="12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1" name="Line 2606">
                <a:extLst>
                  <a:ext uri="{FF2B5EF4-FFF2-40B4-BE49-F238E27FC236}">
                    <a16:creationId xmlns:a16="http://schemas.microsoft.com/office/drawing/2014/main" id="{196AC3F5-CC02-47FE-8988-33A5EBD10735}"/>
                  </a:ext>
                </a:extLst>
              </p:cNvPr>
              <p:cNvSpPr>
                <a:spLocks noChangeShapeType="1"/>
              </p:cNvSpPr>
              <p:nvPr/>
            </p:nvSpPr>
            <p:spPr bwMode="auto">
              <a:xfrm flipH="1" flipV="1">
                <a:off x="2985" y="16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2" name="Line 2607">
                <a:extLst>
                  <a:ext uri="{FF2B5EF4-FFF2-40B4-BE49-F238E27FC236}">
                    <a16:creationId xmlns:a16="http://schemas.microsoft.com/office/drawing/2014/main" id="{BE810E0D-C087-4D9D-B72C-886645159B9E}"/>
                  </a:ext>
                </a:extLst>
              </p:cNvPr>
              <p:cNvSpPr>
                <a:spLocks noChangeShapeType="1"/>
              </p:cNvSpPr>
              <p:nvPr/>
            </p:nvSpPr>
            <p:spPr bwMode="auto">
              <a:xfrm>
                <a:off x="2715"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3" name="Line 2608">
                <a:extLst>
                  <a:ext uri="{FF2B5EF4-FFF2-40B4-BE49-F238E27FC236}">
                    <a16:creationId xmlns:a16="http://schemas.microsoft.com/office/drawing/2014/main" id="{9CF1699B-8B1C-40D9-BCF4-D68777FFEFAF}"/>
                  </a:ext>
                </a:extLst>
              </p:cNvPr>
              <p:cNvSpPr>
                <a:spLocks noChangeShapeType="1"/>
              </p:cNvSpPr>
              <p:nvPr/>
            </p:nvSpPr>
            <p:spPr bwMode="auto">
              <a:xfrm>
                <a:off x="2685" y="150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4" name="Freeform 2609">
                <a:extLst>
                  <a:ext uri="{FF2B5EF4-FFF2-40B4-BE49-F238E27FC236}">
                    <a16:creationId xmlns:a16="http://schemas.microsoft.com/office/drawing/2014/main" id="{95B6C87C-F50C-4C2F-87D9-5FF3307D3555}"/>
                  </a:ext>
                </a:extLst>
              </p:cNvPr>
              <p:cNvSpPr>
                <a:spLocks/>
              </p:cNvSpPr>
              <p:nvPr/>
            </p:nvSpPr>
            <p:spPr bwMode="auto">
              <a:xfrm>
                <a:off x="2715" y="1470"/>
                <a:ext cx="330" cy="210"/>
              </a:xfrm>
              <a:custGeom>
                <a:avLst/>
                <a:gdLst>
                  <a:gd name="T0" fmla="*/ 0 w 330"/>
                  <a:gd name="T1" fmla="*/ 150 h 210"/>
                  <a:gd name="T2" fmla="*/ 60 w 330"/>
                  <a:gd name="T3" fmla="*/ 210 h 210"/>
                  <a:gd name="T4" fmla="*/ 150 w 330"/>
                  <a:gd name="T5" fmla="*/ 150 h 210"/>
                  <a:gd name="T6" fmla="*/ 210 w 330"/>
                  <a:gd name="T7" fmla="*/ 60 h 210"/>
                  <a:gd name="T8" fmla="*/ 330 w 330"/>
                  <a:gd name="T9" fmla="*/ 0 h 210"/>
                </a:gdLst>
                <a:ahLst/>
                <a:cxnLst>
                  <a:cxn ang="0">
                    <a:pos x="T0" y="T1"/>
                  </a:cxn>
                  <a:cxn ang="0">
                    <a:pos x="T2" y="T3"/>
                  </a:cxn>
                  <a:cxn ang="0">
                    <a:pos x="T4" y="T5"/>
                  </a:cxn>
                  <a:cxn ang="0">
                    <a:pos x="T6" y="T7"/>
                  </a:cxn>
                  <a:cxn ang="0">
                    <a:pos x="T8" y="T9"/>
                  </a:cxn>
                </a:cxnLst>
                <a:rect l="0" t="0" r="r" b="b"/>
                <a:pathLst>
                  <a:path w="330" h="210">
                    <a:moveTo>
                      <a:pt x="0" y="150"/>
                    </a:moveTo>
                    <a:lnTo>
                      <a:pt x="60" y="210"/>
                    </a:lnTo>
                    <a:lnTo>
                      <a:pt x="150" y="150"/>
                    </a:lnTo>
                    <a:lnTo>
                      <a:pt x="210" y="60"/>
                    </a:lnTo>
                    <a:lnTo>
                      <a:pt x="3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5" name="Freeform 2610">
                <a:extLst>
                  <a:ext uri="{FF2B5EF4-FFF2-40B4-BE49-F238E27FC236}">
                    <a16:creationId xmlns:a16="http://schemas.microsoft.com/office/drawing/2014/main" id="{3CA918BE-B6DB-4971-B150-9BA266B6CE5B}"/>
                  </a:ext>
                </a:extLst>
              </p:cNvPr>
              <p:cNvSpPr>
                <a:spLocks/>
              </p:cNvSpPr>
              <p:nvPr/>
            </p:nvSpPr>
            <p:spPr bwMode="auto">
              <a:xfrm>
                <a:off x="2835" y="1500"/>
                <a:ext cx="270" cy="150"/>
              </a:xfrm>
              <a:custGeom>
                <a:avLst/>
                <a:gdLst>
                  <a:gd name="T0" fmla="*/ 270 w 270"/>
                  <a:gd name="T1" fmla="*/ 90 h 150"/>
                  <a:gd name="T2" fmla="*/ 150 w 270"/>
                  <a:gd name="T3" fmla="*/ 150 h 150"/>
                  <a:gd name="T4" fmla="*/ 30 w 270"/>
                  <a:gd name="T5" fmla="*/ 120 h 150"/>
                  <a:gd name="T6" fmla="*/ 0 w 270"/>
                  <a:gd name="T7" fmla="*/ 0 h 150"/>
                </a:gdLst>
                <a:ahLst/>
                <a:cxnLst>
                  <a:cxn ang="0">
                    <a:pos x="T0" y="T1"/>
                  </a:cxn>
                  <a:cxn ang="0">
                    <a:pos x="T2" y="T3"/>
                  </a:cxn>
                  <a:cxn ang="0">
                    <a:pos x="T4" y="T5"/>
                  </a:cxn>
                  <a:cxn ang="0">
                    <a:pos x="T6" y="T7"/>
                  </a:cxn>
                </a:cxnLst>
                <a:rect l="0" t="0" r="r" b="b"/>
                <a:pathLst>
                  <a:path w="270" h="150">
                    <a:moveTo>
                      <a:pt x="270" y="90"/>
                    </a:moveTo>
                    <a:lnTo>
                      <a:pt x="150" y="150"/>
                    </a:lnTo>
                    <a:lnTo>
                      <a:pt x="3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6" name="Line 2611">
                <a:extLst>
                  <a:ext uri="{FF2B5EF4-FFF2-40B4-BE49-F238E27FC236}">
                    <a16:creationId xmlns:a16="http://schemas.microsoft.com/office/drawing/2014/main" id="{4CD484CE-FBE7-4734-B960-DBB46EA29919}"/>
                  </a:ext>
                </a:extLst>
              </p:cNvPr>
              <p:cNvSpPr>
                <a:spLocks noChangeShapeType="1"/>
              </p:cNvSpPr>
              <p:nvPr/>
            </p:nvSpPr>
            <p:spPr bwMode="auto">
              <a:xfrm>
                <a:off x="3045" y="14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7" name="Line 2612">
                <a:extLst>
                  <a:ext uri="{FF2B5EF4-FFF2-40B4-BE49-F238E27FC236}">
                    <a16:creationId xmlns:a16="http://schemas.microsoft.com/office/drawing/2014/main" id="{F83286DA-E322-4B5C-8B47-5064588BFE92}"/>
                  </a:ext>
                </a:extLst>
              </p:cNvPr>
              <p:cNvSpPr>
                <a:spLocks noChangeShapeType="1"/>
              </p:cNvSpPr>
              <p:nvPr/>
            </p:nvSpPr>
            <p:spPr bwMode="auto">
              <a:xfrm>
                <a:off x="2775" y="141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8" name="Line 2613">
                <a:extLst>
                  <a:ext uri="{FF2B5EF4-FFF2-40B4-BE49-F238E27FC236}">
                    <a16:creationId xmlns:a16="http://schemas.microsoft.com/office/drawing/2014/main" id="{7DE318EA-FFE7-481F-9696-899D876B173B}"/>
                  </a:ext>
                </a:extLst>
              </p:cNvPr>
              <p:cNvSpPr>
                <a:spLocks noChangeShapeType="1"/>
              </p:cNvSpPr>
              <p:nvPr/>
            </p:nvSpPr>
            <p:spPr bwMode="auto">
              <a:xfrm flipV="1">
                <a:off x="2865" y="15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9" name="Freeform 2614">
                <a:extLst>
                  <a:ext uri="{FF2B5EF4-FFF2-40B4-BE49-F238E27FC236}">
                    <a16:creationId xmlns:a16="http://schemas.microsoft.com/office/drawing/2014/main" id="{9A3D91CF-8198-4BBD-AD9F-11085F2E247C}"/>
                  </a:ext>
                </a:extLst>
              </p:cNvPr>
              <p:cNvSpPr>
                <a:spLocks/>
              </p:cNvSpPr>
              <p:nvPr/>
            </p:nvSpPr>
            <p:spPr bwMode="auto">
              <a:xfrm>
                <a:off x="2685" y="1500"/>
                <a:ext cx="180" cy="120"/>
              </a:xfrm>
              <a:custGeom>
                <a:avLst/>
                <a:gdLst>
                  <a:gd name="T0" fmla="*/ 150 w 180"/>
                  <a:gd name="T1" fmla="*/ 0 h 120"/>
                  <a:gd name="T2" fmla="*/ 0 w 180"/>
                  <a:gd name="T3" fmla="*/ 0 h 120"/>
                  <a:gd name="T4" fmla="*/ 30 w 180"/>
                  <a:gd name="T5" fmla="*/ 120 h 120"/>
                  <a:gd name="T6" fmla="*/ 180 w 180"/>
                  <a:gd name="T7" fmla="*/ 120 h 120"/>
                </a:gdLst>
                <a:ahLst/>
                <a:cxnLst>
                  <a:cxn ang="0">
                    <a:pos x="T0" y="T1"/>
                  </a:cxn>
                  <a:cxn ang="0">
                    <a:pos x="T2" y="T3"/>
                  </a:cxn>
                  <a:cxn ang="0">
                    <a:pos x="T4" y="T5"/>
                  </a:cxn>
                  <a:cxn ang="0">
                    <a:pos x="T6" y="T7"/>
                  </a:cxn>
                </a:cxnLst>
                <a:rect l="0" t="0" r="r" b="b"/>
                <a:pathLst>
                  <a:path w="180" h="120">
                    <a:moveTo>
                      <a:pt x="150" y="0"/>
                    </a:moveTo>
                    <a:lnTo>
                      <a:pt x="0" y="0"/>
                    </a:lnTo>
                    <a:lnTo>
                      <a:pt x="30" y="120"/>
                    </a:lnTo>
                    <a:lnTo>
                      <a:pt x="180"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0" name="Freeform 2615">
                <a:extLst>
                  <a:ext uri="{FF2B5EF4-FFF2-40B4-BE49-F238E27FC236}">
                    <a16:creationId xmlns:a16="http://schemas.microsoft.com/office/drawing/2014/main" id="{C1EF3D1F-B76C-481D-96E4-1C9D9C2AABE9}"/>
                  </a:ext>
                </a:extLst>
              </p:cNvPr>
              <p:cNvSpPr>
                <a:spLocks/>
              </p:cNvSpPr>
              <p:nvPr/>
            </p:nvSpPr>
            <p:spPr bwMode="auto">
              <a:xfrm>
                <a:off x="2554" y="125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1" name="Freeform 2616">
                <a:extLst>
                  <a:ext uri="{FF2B5EF4-FFF2-40B4-BE49-F238E27FC236}">
                    <a16:creationId xmlns:a16="http://schemas.microsoft.com/office/drawing/2014/main" id="{45D54A47-5F5B-48BF-9C15-40E90E3A7637}"/>
                  </a:ext>
                </a:extLst>
              </p:cNvPr>
              <p:cNvSpPr>
                <a:spLocks/>
              </p:cNvSpPr>
              <p:nvPr/>
            </p:nvSpPr>
            <p:spPr bwMode="auto">
              <a:xfrm>
                <a:off x="2284"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2" name="Freeform 2617">
                <a:extLst>
                  <a:ext uri="{FF2B5EF4-FFF2-40B4-BE49-F238E27FC236}">
                    <a16:creationId xmlns:a16="http://schemas.microsoft.com/office/drawing/2014/main" id="{8F3AC6BB-656A-49B7-82EF-9521FA40C4FA}"/>
                  </a:ext>
                </a:extLst>
              </p:cNvPr>
              <p:cNvSpPr>
                <a:spLocks/>
              </p:cNvSpPr>
              <p:nvPr/>
            </p:nvSpPr>
            <p:spPr bwMode="auto">
              <a:xfrm>
                <a:off x="3243"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3" name="Freeform 2618">
                <a:extLst>
                  <a:ext uri="{FF2B5EF4-FFF2-40B4-BE49-F238E27FC236}">
                    <a16:creationId xmlns:a16="http://schemas.microsoft.com/office/drawing/2014/main" id="{53BB35FC-47E2-4FC0-A8DA-A330C1FD3443}"/>
                  </a:ext>
                </a:extLst>
              </p:cNvPr>
              <p:cNvSpPr>
                <a:spLocks/>
              </p:cNvSpPr>
              <p:nvPr/>
            </p:nvSpPr>
            <p:spPr bwMode="auto">
              <a:xfrm>
                <a:off x="2254"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4" name="Freeform 2619">
                <a:extLst>
                  <a:ext uri="{FF2B5EF4-FFF2-40B4-BE49-F238E27FC236}">
                    <a16:creationId xmlns:a16="http://schemas.microsoft.com/office/drawing/2014/main" id="{5AA78F61-37F2-4075-A3C6-0172AA149B15}"/>
                  </a:ext>
                </a:extLst>
              </p:cNvPr>
              <p:cNvSpPr>
                <a:spLocks/>
              </p:cNvSpPr>
              <p:nvPr/>
            </p:nvSpPr>
            <p:spPr bwMode="auto">
              <a:xfrm>
                <a:off x="3213"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5" name="Oval 2620">
                <a:extLst>
                  <a:ext uri="{FF2B5EF4-FFF2-40B4-BE49-F238E27FC236}">
                    <a16:creationId xmlns:a16="http://schemas.microsoft.com/office/drawing/2014/main" id="{84490575-1AED-4146-A882-D7BA453BB6A4}"/>
                  </a:ext>
                </a:extLst>
              </p:cNvPr>
              <p:cNvSpPr>
                <a:spLocks noChangeArrowheads="1"/>
              </p:cNvSpPr>
              <p:nvPr/>
            </p:nvSpPr>
            <p:spPr bwMode="auto">
              <a:xfrm>
                <a:off x="4334"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6" name="Oval 2621">
                <a:extLst>
                  <a:ext uri="{FF2B5EF4-FFF2-40B4-BE49-F238E27FC236}">
                    <a16:creationId xmlns:a16="http://schemas.microsoft.com/office/drawing/2014/main" id="{3DB606C7-E1FA-49BA-9800-A13A3B1FBEC8}"/>
                  </a:ext>
                </a:extLst>
              </p:cNvPr>
              <p:cNvSpPr>
                <a:spLocks noChangeArrowheads="1"/>
              </p:cNvSpPr>
              <p:nvPr/>
            </p:nvSpPr>
            <p:spPr bwMode="auto">
              <a:xfrm>
                <a:off x="427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7" name="Oval 2622">
                <a:extLst>
                  <a:ext uri="{FF2B5EF4-FFF2-40B4-BE49-F238E27FC236}">
                    <a16:creationId xmlns:a16="http://schemas.microsoft.com/office/drawing/2014/main" id="{BEFD212D-17A9-44DF-8E66-75E4748F13B3}"/>
                  </a:ext>
                </a:extLst>
              </p:cNvPr>
              <p:cNvSpPr>
                <a:spLocks noChangeArrowheads="1"/>
              </p:cNvSpPr>
              <p:nvPr/>
            </p:nvSpPr>
            <p:spPr bwMode="auto">
              <a:xfrm>
                <a:off x="4394"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8" name="Oval 2623">
                <a:extLst>
                  <a:ext uri="{FF2B5EF4-FFF2-40B4-BE49-F238E27FC236}">
                    <a16:creationId xmlns:a16="http://schemas.microsoft.com/office/drawing/2014/main" id="{AF5D40DC-68A6-4012-BAA2-1838782B02DB}"/>
                  </a:ext>
                </a:extLst>
              </p:cNvPr>
              <p:cNvSpPr>
                <a:spLocks noChangeArrowheads="1"/>
              </p:cNvSpPr>
              <p:nvPr/>
            </p:nvSpPr>
            <p:spPr bwMode="auto">
              <a:xfrm>
                <a:off x="436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9" name="Oval 2624">
                <a:extLst>
                  <a:ext uri="{FF2B5EF4-FFF2-40B4-BE49-F238E27FC236}">
                    <a16:creationId xmlns:a16="http://schemas.microsoft.com/office/drawing/2014/main" id="{9066AB39-4595-444A-9C91-76A9DD920A2D}"/>
                  </a:ext>
                </a:extLst>
              </p:cNvPr>
              <p:cNvSpPr>
                <a:spLocks noChangeArrowheads="1"/>
              </p:cNvSpPr>
              <p:nvPr/>
            </p:nvSpPr>
            <p:spPr bwMode="auto">
              <a:xfrm>
                <a:off x="445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0" name="Oval 2625">
                <a:extLst>
                  <a:ext uri="{FF2B5EF4-FFF2-40B4-BE49-F238E27FC236}">
                    <a16:creationId xmlns:a16="http://schemas.microsoft.com/office/drawing/2014/main" id="{BFE67F73-E252-4681-A2CE-30CBCF6801BB}"/>
                  </a:ext>
                </a:extLst>
              </p:cNvPr>
              <p:cNvSpPr>
                <a:spLocks noChangeArrowheads="1"/>
              </p:cNvSpPr>
              <p:nvPr/>
            </p:nvSpPr>
            <p:spPr bwMode="auto">
              <a:xfrm>
                <a:off x="442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1" name="Oval 2626">
                <a:extLst>
                  <a:ext uri="{FF2B5EF4-FFF2-40B4-BE49-F238E27FC236}">
                    <a16:creationId xmlns:a16="http://schemas.microsoft.com/office/drawing/2014/main" id="{19E9AE40-6CF5-4ECB-A575-FA14794758E0}"/>
                  </a:ext>
                </a:extLst>
              </p:cNvPr>
              <p:cNvSpPr>
                <a:spLocks noChangeArrowheads="1"/>
              </p:cNvSpPr>
              <p:nvPr/>
            </p:nvSpPr>
            <p:spPr bwMode="auto">
              <a:xfrm>
                <a:off x="442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2" name="Oval 2627">
                <a:extLst>
                  <a:ext uri="{FF2B5EF4-FFF2-40B4-BE49-F238E27FC236}">
                    <a16:creationId xmlns:a16="http://schemas.microsoft.com/office/drawing/2014/main" id="{821C6F55-83CF-49CC-BAEE-DF868C0E3E80}"/>
                  </a:ext>
                </a:extLst>
              </p:cNvPr>
              <p:cNvSpPr>
                <a:spLocks noChangeArrowheads="1"/>
              </p:cNvSpPr>
              <p:nvPr/>
            </p:nvSpPr>
            <p:spPr bwMode="auto">
              <a:xfrm>
                <a:off x="433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3" name="Oval 2628">
                <a:extLst>
                  <a:ext uri="{FF2B5EF4-FFF2-40B4-BE49-F238E27FC236}">
                    <a16:creationId xmlns:a16="http://schemas.microsoft.com/office/drawing/2014/main" id="{874736C0-A8F7-4F1D-909D-736561610092}"/>
                  </a:ext>
                </a:extLst>
              </p:cNvPr>
              <p:cNvSpPr>
                <a:spLocks noChangeArrowheads="1"/>
              </p:cNvSpPr>
              <p:nvPr/>
            </p:nvSpPr>
            <p:spPr bwMode="auto">
              <a:xfrm>
                <a:off x="4274"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4" name="Oval 2629">
                <a:extLst>
                  <a:ext uri="{FF2B5EF4-FFF2-40B4-BE49-F238E27FC236}">
                    <a16:creationId xmlns:a16="http://schemas.microsoft.com/office/drawing/2014/main" id="{99FA816F-6D4C-490D-838D-F69C2E2FE251}"/>
                  </a:ext>
                </a:extLst>
              </p:cNvPr>
              <p:cNvSpPr>
                <a:spLocks noChangeArrowheads="1"/>
              </p:cNvSpPr>
              <p:nvPr/>
            </p:nvSpPr>
            <p:spPr bwMode="auto">
              <a:xfrm>
                <a:off x="406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5" name="Oval 2630">
                <a:extLst>
                  <a:ext uri="{FF2B5EF4-FFF2-40B4-BE49-F238E27FC236}">
                    <a16:creationId xmlns:a16="http://schemas.microsoft.com/office/drawing/2014/main" id="{F53811A0-2BA8-41B2-90B9-418C28D0A337}"/>
                  </a:ext>
                </a:extLst>
              </p:cNvPr>
              <p:cNvSpPr>
                <a:spLocks noChangeArrowheads="1"/>
              </p:cNvSpPr>
              <p:nvPr/>
            </p:nvSpPr>
            <p:spPr bwMode="auto">
              <a:xfrm>
                <a:off x="409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6" name="Oval 2631">
                <a:extLst>
                  <a:ext uri="{FF2B5EF4-FFF2-40B4-BE49-F238E27FC236}">
                    <a16:creationId xmlns:a16="http://schemas.microsoft.com/office/drawing/2014/main" id="{25EC0D58-4E4C-4D31-9356-8816879B746B}"/>
                  </a:ext>
                </a:extLst>
              </p:cNvPr>
              <p:cNvSpPr>
                <a:spLocks noChangeArrowheads="1"/>
              </p:cNvSpPr>
              <p:nvPr/>
            </p:nvSpPr>
            <p:spPr bwMode="auto">
              <a:xfrm>
                <a:off x="3974"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7" name="Oval 2632">
                <a:extLst>
                  <a:ext uri="{FF2B5EF4-FFF2-40B4-BE49-F238E27FC236}">
                    <a16:creationId xmlns:a16="http://schemas.microsoft.com/office/drawing/2014/main" id="{B72E55EA-91A9-45C5-853B-1706FD6A5F8D}"/>
                  </a:ext>
                </a:extLst>
              </p:cNvPr>
              <p:cNvSpPr>
                <a:spLocks noChangeArrowheads="1"/>
              </p:cNvSpPr>
              <p:nvPr/>
            </p:nvSpPr>
            <p:spPr bwMode="auto">
              <a:xfrm>
                <a:off x="3824"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8" name="Oval 2633">
                <a:extLst>
                  <a:ext uri="{FF2B5EF4-FFF2-40B4-BE49-F238E27FC236}">
                    <a16:creationId xmlns:a16="http://schemas.microsoft.com/office/drawing/2014/main" id="{64D467F0-C01C-4D6E-B45A-537919A37019}"/>
                  </a:ext>
                </a:extLst>
              </p:cNvPr>
              <p:cNvSpPr>
                <a:spLocks noChangeArrowheads="1"/>
              </p:cNvSpPr>
              <p:nvPr/>
            </p:nvSpPr>
            <p:spPr bwMode="auto">
              <a:xfrm>
                <a:off x="409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9" name="Oval 2634">
                <a:extLst>
                  <a:ext uri="{FF2B5EF4-FFF2-40B4-BE49-F238E27FC236}">
                    <a16:creationId xmlns:a16="http://schemas.microsoft.com/office/drawing/2014/main" id="{C7984586-8444-4993-AE6E-5B4C97A38DEF}"/>
                  </a:ext>
                </a:extLst>
              </p:cNvPr>
              <p:cNvSpPr>
                <a:spLocks noChangeArrowheads="1"/>
              </p:cNvSpPr>
              <p:nvPr/>
            </p:nvSpPr>
            <p:spPr bwMode="auto">
              <a:xfrm>
                <a:off x="4334"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0" name="Oval 2635">
                <a:extLst>
                  <a:ext uri="{FF2B5EF4-FFF2-40B4-BE49-F238E27FC236}">
                    <a16:creationId xmlns:a16="http://schemas.microsoft.com/office/drawing/2014/main" id="{287D30BD-630E-4EEF-9402-58A72D4E4145}"/>
                  </a:ext>
                </a:extLst>
              </p:cNvPr>
              <p:cNvSpPr>
                <a:spLocks noChangeArrowheads="1"/>
              </p:cNvSpPr>
              <p:nvPr/>
            </p:nvSpPr>
            <p:spPr bwMode="auto">
              <a:xfrm>
                <a:off x="439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1" name="Oval 2636">
                <a:extLst>
                  <a:ext uri="{FF2B5EF4-FFF2-40B4-BE49-F238E27FC236}">
                    <a16:creationId xmlns:a16="http://schemas.microsoft.com/office/drawing/2014/main" id="{685F0521-A0B4-48DB-BF0F-1ECC007B607C}"/>
                  </a:ext>
                </a:extLst>
              </p:cNvPr>
              <p:cNvSpPr>
                <a:spLocks noChangeArrowheads="1"/>
              </p:cNvSpPr>
              <p:nvPr/>
            </p:nvSpPr>
            <p:spPr bwMode="auto">
              <a:xfrm>
                <a:off x="42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2" name="Oval 2637">
                <a:extLst>
                  <a:ext uri="{FF2B5EF4-FFF2-40B4-BE49-F238E27FC236}">
                    <a16:creationId xmlns:a16="http://schemas.microsoft.com/office/drawing/2014/main" id="{3226A355-5AE1-4821-AEB0-B6334F59B77D}"/>
                  </a:ext>
                </a:extLst>
              </p:cNvPr>
              <p:cNvSpPr>
                <a:spLocks noChangeArrowheads="1"/>
              </p:cNvSpPr>
              <p:nvPr/>
            </p:nvSpPr>
            <p:spPr bwMode="auto">
              <a:xfrm>
                <a:off x="415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3" name="Oval 2638">
                <a:extLst>
                  <a:ext uri="{FF2B5EF4-FFF2-40B4-BE49-F238E27FC236}">
                    <a16:creationId xmlns:a16="http://schemas.microsoft.com/office/drawing/2014/main" id="{53ECB7F4-8AFC-429D-808C-BEC9954EAE14}"/>
                  </a:ext>
                </a:extLst>
              </p:cNvPr>
              <p:cNvSpPr>
                <a:spLocks noChangeArrowheads="1"/>
              </p:cNvSpPr>
              <p:nvPr/>
            </p:nvSpPr>
            <p:spPr bwMode="auto">
              <a:xfrm>
                <a:off x="4364"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4" name="Oval 2639">
                <a:extLst>
                  <a:ext uri="{FF2B5EF4-FFF2-40B4-BE49-F238E27FC236}">
                    <a16:creationId xmlns:a16="http://schemas.microsoft.com/office/drawing/2014/main" id="{EED94861-6B3C-4B58-A871-AD1562916607}"/>
                  </a:ext>
                </a:extLst>
              </p:cNvPr>
              <p:cNvSpPr>
                <a:spLocks noChangeArrowheads="1"/>
              </p:cNvSpPr>
              <p:nvPr/>
            </p:nvSpPr>
            <p:spPr bwMode="auto">
              <a:xfrm>
                <a:off x="439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5" name="Oval 2640">
                <a:extLst>
                  <a:ext uri="{FF2B5EF4-FFF2-40B4-BE49-F238E27FC236}">
                    <a16:creationId xmlns:a16="http://schemas.microsoft.com/office/drawing/2014/main" id="{29B5D877-DAE3-4BBF-B52C-F338C4C93820}"/>
                  </a:ext>
                </a:extLst>
              </p:cNvPr>
              <p:cNvSpPr>
                <a:spLocks noChangeArrowheads="1"/>
              </p:cNvSpPr>
              <p:nvPr/>
            </p:nvSpPr>
            <p:spPr bwMode="auto">
              <a:xfrm>
                <a:off x="427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6" name="Oval 2641">
                <a:extLst>
                  <a:ext uri="{FF2B5EF4-FFF2-40B4-BE49-F238E27FC236}">
                    <a16:creationId xmlns:a16="http://schemas.microsoft.com/office/drawing/2014/main" id="{F321F67D-D2B0-4127-BB79-EE0A5A2F33CF}"/>
                  </a:ext>
                </a:extLst>
              </p:cNvPr>
              <p:cNvSpPr>
                <a:spLocks noChangeArrowheads="1"/>
              </p:cNvSpPr>
              <p:nvPr/>
            </p:nvSpPr>
            <p:spPr bwMode="auto">
              <a:xfrm>
                <a:off x="415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7" name="Oval 2642">
                <a:extLst>
                  <a:ext uri="{FF2B5EF4-FFF2-40B4-BE49-F238E27FC236}">
                    <a16:creationId xmlns:a16="http://schemas.microsoft.com/office/drawing/2014/main" id="{B73C1E99-BA45-4C09-9AD6-00BCA8DEFECF}"/>
                  </a:ext>
                </a:extLst>
              </p:cNvPr>
              <p:cNvSpPr>
                <a:spLocks noChangeArrowheads="1"/>
              </p:cNvSpPr>
              <p:nvPr/>
            </p:nvSpPr>
            <p:spPr bwMode="auto">
              <a:xfrm>
                <a:off x="412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8" name="Oval 2643">
                <a:extLst>
                  <a:ext uri="{FF2B5EF4-FFF2-40B4-BE49-F238E27FC236}">
                    <a16:creationId xmlns:a16="http://schemas.microsoft.com/office/drawing/2014/main" id="{16EE357F-72B7-4218-BC2B-9E9866BCAFFC}"/>
                  </a:ext>
                </a:extLst>
              </p:cNvPr>
              <p:cNvSpPr>
                <a:spLocks noChangeArrowheads="1"/>
              </p:cNvSpPr>
              <p:nvPr/>
            </p:nvSpPr>
            <p:spPr bwMode="auto">
              <a:xfrm>
                <a:off x="4364"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9" name="Oval 2644">
                <a:extLst>
                  <a:ext uri="{FF2B5EF4-FFF2-40B4-BE49-F238E27FC236}">
                    <a16:creationId xmlns:a16="http://schemas.microsoft.com/office/drawing/2014/main" id="{F00BA830-6F83-465E-941D-BF9575132B77}"/>
                  </a:ext>
                </a:extLst>
              </p:cNvPr>
              <p:cNvSpPr>
                <a:spLocks noChangeArrowheads="1"/>
              </p:cNvSpPr>
              <p:nvPr/>
            </p:nvSpPr>
            <p:spPr bwMode="auto">
              <a:xfrm>
                <a:off x="430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0" name="Oval 2645">
                <a:extLst>
                  <a:ext uri="{FF2B5EF4-FFF2-40B4-BE49-F238E27FC236}">
                    <a16:creationId xmlns:a16="http://schemas.microsoft.com/office/drawing/2014/main" id="{B5C0FB93-9D95-4AFA-BE15-1923ABA195B4}"/>
                  </a:ext>
                </a:extLst>
              </p:cNvPr>
              <p:cNvSpPr>
                <a:spLocks noChangeArrowheads="1"/>
              </p:cNvSpPr>
              <p:nvPr/>
            </p:nvSpPr>
            <p:spPr bwMode="auto">
              <a:xfrm>
                <a:off x="427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1" name="Oval 2646">
                <a:extLst>
                  <a:ext uri="{FF2B5EF4-FFF2-40B4-BE49-F238E27FC236}">
                    <a16:creationId xmlns:a16="http://schemas.microsoft.com/office/drawing/2014/main" id="{51409D94-9C67-4059-8206-285861074861}"/>
                  </a:ext>
                </a:extLst>
              </p:cNvPr>
              <p:cNvSpPr>
                <a:spLocks noChangeArrowheads="1"/>
              </p:cNvSpPr>
              <p:nvPr/>
            </p:nvSpPr>
            <p:spPr bwMode="auto">
              <a:xfrm>
                <a:off x="433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2" name="Oval 2647">
                <a:extLst>
                  <a:ext uri="{FF2B5EF4-FFF2-40B4-BE49-F238E27FC236}">
                    <a16:creationId xmlns:a16="http://schemas.microsoft.com/office/drawing/2014/main" id="{4DA7EE96-525A-45B4-800E-4376B6E02BDB}"/>
                  </a:ext>
                </a:extLst>
              </p:cNvPr>
              <p:cNvSpPr>
                <a:spLocks noChangeArrowheads="1"/>
              </p:cNvSpPr>
              <p:nvPr/>
            </p:nvSpPr>
            <p:spPr bwMode="auto">
              <a:xfrm>
                <a:off x="418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3" name="Oval 2648">
                <a:extLst>
                  <a:ext uri="{FF2B5EF4-FFF2-40B4-BE49-F238E27FC236}">
                    <a16:creationId xmlns:a16="http://schemas.microsoft.com/office/drawing/2014/main" id="{7FBF562A-F251-4662-A1C9-2AFC0D95DDAA}"/>
                  </a:ext>
                </a:extLst>
              </p:cNvPr>
              <p:cNvSpPr>
                <a:spLocks noChangeArrowheads="1"/>
              </p:cNvSpPr>
              <p:nvPr/>
            </p:nvSpPr>
            <p:spPr bwMode="auto">
              <a:xfrm>
                <a:off x="4124"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4" name="Oval 2649">
                <a:extLst>
                  <a:ext uri="{FF2B5EF4-FFF2-40B4-BE49-F238E27FC236}">
                    <a16:creationId xmlns:a16="http://schemas.microsoft.com/office/drawing/2014/main" id="{4F5F3E09-AF08-44D0-820F-E2323DE08BAB}"/>
                  </a:ext>
                </a:extLst>
              </p:cNvPr>
              <p:cNvSpPr>
                <a:spLocks noChangeArrowheads="1"/>
              </p:cNvSpPr>
              <p:nvPr/>
            </p:nvSpPr>
            <p:spPr bwMode="auto">
              <a:xfrm>
                <a:off x="42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5" name="Oval 2650">
                <a:extLst>
                  <a:ext uri="{FF2B5EF4-FFF2-40B4-BE49-F238E27FC236}">
                    <a16:creationId xmlns:a16="http://schemas.microsoft.com/office/drawing/2014/main" id="{A8E95096-636E-4BEF-80BC-48B77BB87F6E}"/>
                  </a:ext>
                </a:extLst>
              </p:cNvPr>
              <p:cNvSpPr>
                <a:spLocks noChangeArrowheads="1"/>
              </p:cNvSpPr>
              <p:nvPr/>
            </p:nvSpPr>
            <p:spPr bwMode="auto">
              <a:xfrm>
                <a:off x="4184"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6" name="Oval 2651">
                <a:extLst>
                  <a:ext uri="{FF2B5EF4-FFF2-40B4-BE49-F238E27FC236}">
                    <a16:creationId xmlns:a16="http://schemas.microsoft.com/office/drawing/2014/main" id="{6C789699-54FA-4664-A4D9-85618E9428A9}"/>
                  </a:ext>
                </a:extLst>
              </p:cNvPr>
              <p:cNvSpPr>
                <a:spLocks noChangeArrowheads="1"/>
              </p:cNvSpPr>
              <p:nvPr/>
            </p:nvSpPr>
            <p:spPr bwMode="auto">
              <a:xfrm>
                <a:off x="436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7" name="Oval 2652">
                <a:extLst>
                  <a:ext uri="{FF2B5EF4-FFF2-40B4-BE49-F238E27FC236}">
                    <a16:creationId xmlns:a16="http://schemas.microsoft.com/office/drawing/2014/main" id="{0CEEA0F1-0AA9-458A-89E4-5C0D710D7089}"/>
                  </a:ext>
                </a:extLst>
              </p:cNvPr>
              <p:cNvSpPr>
                <a:spLocks noChangeArrowheads="1"/>
              </p:cNvSpPr>
              <p:nvPr/>
            </p:nvSpPr>
            <p:spPr bwMode="auto">
              <a:xfrm>
                <a:off x="439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8" name="Oval 2653">
                <a:extLst>
                  <a:ext uri="{FF2B5EF4-FFF2-40B4-BE49-F238E27FC236}">
                    <a16:creationId xmlns:a16="http://schemas.microsoft.com/office/drawing/2014/main" id="{311AF4FF-2586-4EFF-8EF5-85BD283DD7E3}"/>
                  </a:ext>
                </a:extLst>
              </p:cNvPr>
              <p:cNvSpPr>
                <a:spLocks noChangeArrowheads="1"/>
              </p:cNvSpPr>
              <p:nvPr/>
            </p:nvSpPr>
            <p:spPr bwMode="auto">
              <a:xfrm>
                <a:off x="436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9" name="Oval 2654">
                <a:extLst>
                  <a:ext uri="{FF2B5EF4-FFF2-40B4-BE49-F238E27FC236}">
                    <a16:creationId xmlns:a16="http://schemas.microsoft.com/office/drawing/2014/main" id="{41A53906-A90C-410E-B517-8C5428C56647}"/>
                  </a:ext>
                </a:extLst>
              </p:cNvPr>
              <p:cNvSpPr>
                <a:spLocks noChangeArrowheads="1"/>
              </p:cNvSpPr>
              <p:nvPr/>
            </p:nvSpPr>
            <p:spPr bwMode="auto">
              <a:xfrm>
                <a:off x="4394"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0" name="Oval 2655">
                <a:extLst>
                  <a:ext uri="{FF2B5EF4-FFF2-40B4-BE49-F238E27FC236}">
                    <a16:creationId xmlns:a16="http://schemas.microsoft.com/office/drawing/2014/main" id="{639E2C73-631C-4C07-AB75-18194DD87A13}"/>
                  </a:ext>
                </a:extLst>
              </p:cNvPr>
              <p:cNvSpPr>
                <a:spLocks noChangeArrowheads="1"/>
              </p:cNvSpPr>
              <p:nvPr/>
            </p:nvSpPr>
            <p:spPr bwMode="auto">
              <a:xfrm>
                <a:off x="433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1" name="Oval 2656">
                <a:extLst>
                  <a:ext uri="{FF2B5EF4-FFF2-40B4-BE49-F238E27FC236}">
                    <a16:creationId xmlns:a16="http://schemas.microsoft.com/office/drawing/2014/main" id="{061A0460-1909-4D22-A241-D058FD44DC34}"/>
                  </a:ext>
                </a:extLst>
              </p:cNvPr>
              <p:cNvSpPr>
                <a:spLocks noChangeArrowheads="1"/>
              </p:cNvSpPr>
              <p:nvPr/>
            </p:nvSpPr>
            <p:spPr bwMode="auto">
              <a:xfrm>
                <a:off x="436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2" name="Oval 2657">
                <a:extLst>
                  <a:ext uri="{FF2B5EF4-FFF2-40B4-BE49-F238E27FC236}">
                    <a16:creationId xmlns:a16="http://schemas.microsoft.com/office/drawing/2014/main" id="{EA421672-4C62-491C-9F03-A4A751E5690D}"/>
                  </a:ext>
                </a:extLst>
              </p:cNvPr>
              <p:cNvSpPr>
                <a:spLocks noChangeArrowheads="1"/>
              </p:cNvSpPr>
              <p:nvPr/>
            </p:nvSpPr>
            <p:spPr bwMode="auto">
              <a:xfrm>
                <a:off x="439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3" name="Oval 2658">
                <a:extLst>
                  <a:ext uri="{FF2B5EF4-FFF2-40B4-BE49-F238E27FC236}">
                    <a16:creationId xmlns:a16="http://schemas.microsoft.com/office/drawing/2014/main" id="{BCDCC24D-FB6F-42FE-8D28-3D5F2F2B4F02}"/>
                  </a:ext>
                </a:extLst>
              </p:cNvPr>
              <p:cNvSpPr>
                <a:spLocks noChangeArrowheads="1"/>
              </p:cNvSpPr>
              <p:nvPr/>
            </p:nvSpPr>
            <p:spPr bwMode="auto">
              <a:xfrm>
                <a:off x="421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4" name="Oval 2659">
                <a:extLst>
                  <a:ext uri="{FF2B5EF4-FFF2-40B4-BE49-F238E27FC236}">
                    <a16:creationId xmlns:a16="http://schemas.microsoft.com/office/drawing/2014/main" id="{50330AB3-12F4-4216-A401-BD4D9839F5BE}"/>
                  </a:ext>
                </a:extLst>
              </p:cNvPr>
              <p:cNvSpPr>
                <a:spLocks noChangeArrowheads="1"/>
              </p:cNvSpPr>
              <p:nvPr/>
            </p:nvSpPr>
            <p:spPr bwMode="auto">
              <a:xfrm>
                <a:off x="424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5" name="Oval 2660">
                <a:extLst>
                  <a:ext uri="{FF2B5EF4-FFF2-40B4-BE49-F238E27FC236}">
                    <a16:creationId xmlns:a16="http://schemas.microsoft.com/office/drawing/2014/main" id="{AB282000-0CF8-45ED-93BD-AEB5855D31FB}"/>
                  </a:ext>
                </a:extLst>
              </p:cNvPr>
              <p:cNvSpPr>
                <a:spLocks noChangeArrowheads="1"/>
              </p:cNvSpPr>
              <p:nvPr/>
            </p:nvSpPr>
            <p:spPr bwMode="auto">
              <a:xfrm>
                <a:off x="412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6" name="Oval 2661">
                <a:extLst>
                  <a:ext uri="{FF2B5EF4-FFF2-40B4-BE49-F238E27FC236}">
                    <a16:creationId xmlns:a16="http://schemas.microsoft.com/office/drawing/2014/main" id="{9B0B75C8-D751-4098-9147-2215458BAF9F}"/>
                  </a:ext>
                </a:extLst>
              </p:cNvPr>
              <p:cNvSpPr>
                <a:spLocks noChangeArrowheads="1"/>
              </p:cNvSpPr>
              <p:nvPr/>
            </p:nvSpPr>
            <p:spPr bwMode="auto">
              <a:xfrm>
                <a:off x="409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7" name="Oval 2662">
                <a:extLst>
                  <a:ext uri="{FF2B5EF4-FFF2-40B4-BE49-F238E27FC236}">
                    <a16:creationId xmlns:a16="http://schemas.microsoft.com/office/drawing/2014/main" id="{39F194D4-4C9A-4F74-B4E1-422F66C817E2}"/>
                  </a:ext>
                </a:extLst>
              </p:cNvPr>
              <p:cNvSpPr>
                <a:spLocks noChangeArrowheads="1"/>
              </p:cNvSpPr>
              <p:nvPr/>
            </p:nvSpPr>
            <p:spPr bwMode="auto">
              <a:xfrm>
                <a:off x="4124"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8" name="Oval 2663">
                <a:extLst>
                  <a:ext uri="{FF2B5EF4-FFF2-40B4-BE49-F238E27FC236}">
                    <a16:creationId xmlns:a16="http://schemas.microsoft.com/office/drawing/2014/main" id="{8A910F63-5651-4FFA-A759-A539F2D68DDA}"/>
                  </a:ext>
                </a:extLst>
              </p:cNvPr>
              <p:cNvSpPr>
                <a:spLocks noChangeArrowheads="1"/>
              </p:cNvSpPr>
              <p:nvPr/>
            </p:nvSpPr>
            <p:spPr bwMode="auto">
              <a:xfrm>
                <a:off x="403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9" name="Oval 2664">
                <a:extLst>
                  <a:ext uri="{FF2B5EF4-FFF2-40B4-BE49-F238E27FC236}">
                    <a16:creationId xmlns:a16="http://schemas.microsoft.com/office/drawing/2014/main" id="{574CC1F8-1CE6-4C87-914C-B94F417A5B1E}"/>
                  </a:ext>
                </a:extLst>
              </p:cNvPr>
              <p:cNvSpPr>
                <a:spLocks noChangeArrowheads="1"/>
              </p:cNvSpPr>
              <p:nvPr/>
            </p:nvSpPr>
            <p:spPr bwMode="auto">
              <a:xfrm>
                <a:off x="4064"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0" name="Oval 2665">
                <a:extLst>
                  <a:ext uri="{FF2B5EF4-FFF2-40B4-BE49-F238E27FC236}">
                    <a16:creationId xmlns:a16="http://schemas.microsoft.com/office/drawing/2014/main" id="{019512C0-4235-47C6-8ABF-1E28DC69CA08}"/>
                  </a:ext>
                </a:extLst>
              </p:cNvPr>
              <p:cNvSpPr>
                <a:spLocks noChangeArrowheads="1"/>
              </p:cNvSpPr>
              <p:nvPr/>
            </p:nvSpPr>
            <p:spPr bwMode="auto">
              <a:xfrm>
                <a:off x="394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1" name="Oval 2666">
                <a:extLst>
                  <a:ext uri="{FF2B5EF4-FFF2-40B4-BE49-F238E27FC236}">
                    <a16:creationId xmlns:a16="http://schemas.microsoft.com/office/drawing/2014/main" id="{A0FA8798-538B-48D6-AD8F-89BD01BB63B3}"/>
                  </a:ext>
                </a:extLst>
              </p:cNvPr>
              <p:cNvSpPr>
                <a:spLocks noChangeArrowheads="1"/>
              </p:cNvSpPr>
              <p:nvPr/>
            </p:nvSpPr>
            <p:spPr bwMode="auto">
              <a:xfrm>
                <a:off x="382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2" name="Oval 2667">
                <a:extLst>
                  <a:ext uri="{FF2B5EF4-FFF2-40B4-BE49-F238E27FC236}">
                    <a16:creationId xmlns:a16="http://schemas.microsoft.com/office/drawing/2014/main" id="{F69D6741-7F3C-4A2D-96F0-711E991B8C75}"/>
                  </a:ext>
                </a:extLst>
              </p:cNvPr>
              <p:cNvSpPr>
                <a:spLocks noChangeArrowheads="1"/>
              </p:cNvSpPr>
              <p:nvPr/>
            </p:nvSpPr>
            <p:spPr bwMode="auto">
              <a:xfrm>
                <a:off x="36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3" name="Oval 2668">
                <a:extLst>
                  <a:ext uri="{FF2B5EF4-FFF2-40B4-BE49-F238E27FC236}">
                    <a16:creationId xmlns:a16="http://schemas.microsoft.com/office/drawing/2014/main" id="{6E14DAD6-6DED-4A07-BFAD-AF3146081B2E}"/>
                  </a:ext>
                </a:extLst>
              </p:cNvPr>
              <p:cNvSpPr>
                <a:spLocks noChangeArrowheads="1"/>
              </p:cNvSpPr>
              <p:nvPr/>
            </p:nvSpPr>
            <p:spPr bwMode="auto">
              <a:xfrm>
                <a:off x="367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4" name="Oval 2669">
                <a:extLst>
                  <a:ext uri="{FF2B5EF4-FFF2-40B4-BE49-F238E27FC236}">
                    <a16:creationId xmlns:a16="http://schemas.microsoft.com/office/drawing/2014/main" id="{A653B2C4-0658-460C-8989-6360D4318C6A}"/>
                  </a:ext>
                </a:extLst>
              </p:cNvPr>
              <p:cNvSpPr>
                <a:spLocks noChangeArrowheads="1"/>
              </p:cNvSpPr>
              <p:nvPr/>
            </p:nvSpPr>
            <p:spPr bwMode="auto">
              <a:xfrm>
                <a:off x="379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5" name="Oval 2670">
                <a:extLst>
                  <a:ext uri="{FF2B5EF4-FFF2-40B4-BE49-F238E27FC236}">
                    <a16:creationId xmlns:a16="http://schemas.microsoft.com/office/drawing/2014/main" id="{3B72E3ED-4591-46A1-AAEE-3D84B03B8FB9}"/>
                  </a:ext>
                </a:extLst>
              </p:cNvPr>
              <p:cNvSpPr>
                <a:spLocks noChangeArrowheads="1"/>
              </p:cNvSpPr>
              <p:nvPr/>
            </p:nvSpPr>
            <p:spPr bwMode="auto">
              <a:xfrm>
                <a:off x="3735" y="3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6" name="Oval 2671">
                <a:extLst>
                  <a:ext uri="{FF2B5EF4-FFF2-40B4-BE49-F238E27FC236}">
                    <a16:creationId xmlns:a16="http://schemas.microsoft.com/office/drawing/2014/main" id="{FCE806D8-D613-4CDB-962D-76EB256C5F46}"/>
                  </a:ext>
                </a:extLst>
              </p:cNvPr>
              <p:cNvSpPr>
                <a:spLocks noChangeArrowheads="1"/>
              </p:cNvSpPr>
              <p:nvPr/>
            </p:nvSpPr>
            <p:spPr bwMode="auto">
              <a:xfrm>
                <a:off x="376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7" name="Oval 2672">
                <a:extLst>
                  <a:ext uri="{FF2B5EF4-FFF2-40B4-BE49-F238E27FC236}">
                    <a16:creationId xmlns:a16="http://schemas.microsoft.com/office/drawing/2014/main" id="{EB3A8936-F8B4-430A-A88D-E30C691B5D7C}"/>
                  </a:ext>
                </a:extLst>
              </p:cNvPr>
              <p:cNvSpPr>
                <a:spLocks noChangeArrowheads="1"/>
              </p:cNvSpPr>
              <p:nvPr/>
            </p:nvSpPr>
            <p:spPr bwMode="auto">
              <a:xfrm>
                <a:off x="379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8" name="Oval 2673">
                <a:extLst>
                  <a:ext uri="{FF2B5EF4-FFF2-40B4-BE49-F238E27FC236}">
                    <a16:creationId xmlns:a16="http://schemas.microsoft.com/office/drawing/2014/main" id="{E153CB38-9464-4053-AF72-72A6D1961FE6}"/>
                  </a:ext>
                </a:extLst>
              </p:cNvPr>
              <p:cNvSpPr>
                <a:spLocks noChangeArrowheads="1"/>
              </p:cNvSpPr>
              <p:nvPr/>
            </p:nvSpPr>
            <p:spPr bwMode="auto">
              <a:xfrm>
                <a:off x="3735" y="7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9" name="Oval 2674">
                <a:extLst>
                  <a:ext uri="{FF2B5EF4-FFF2-40B4-BE49-F238E27FC236}">
                    <a16:creationId xmlns:a16="http://schemas.microsoft.com/office/drawing/2014/main" id="{7BA0D1CF-D740-4945-AFE3-20741FAD35D1}"/>
                  </a:ext>
                </a:extLst>
              </p:cNvPr>
              <p:cNvSpPr>
                <a:spLocks noChangeArrowheads="1"/>
              </p:cNvSpPr>
              <p:nvPr/>
            </p:nvSpPr>
            <p:spPr bwMode="auto">
              <a:xfrm>
                <a:off x="36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0" name="Oval 2675">
                <a:extLst>
                  <a:ext uri="{FF2B5EF4-FFF2-40B4-BE49-F238E27FC236}">
                    <a16:creationId xmlns:a16="http://schemas.microsoft.com/office/drawing/2014/main" id="{D8691E6C-96D9-4FB7-A377-561FC4851751}"/>
                  </a:ext>
                </a:extLst>
              </p:cNvPr>
              <p:cNvSpPr>
                <a:spLocks noChangeArrowheads="1"/>
              </p:cNvSpPr>
              <p:nvPr/>
            </p:nvSpPr>
            <p:spPr bwMode="auto">
              <a:xfrm>
                <a:off x="352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1" name="Oval 2676">
                <a:extLst>
                  <a:ext uri="{FF2B5EF4-FFF2-40B4-BE49-F238E27FC236}">
                    <a16:creationId xmlns:a16="http://schemas.microsoft.com/office/drawing/2014/main" id="{8F20FD0D-4955-4A2F-8B61-F6E0ADB37F55}"/>
                  </a:ext>
                </a:extLst>
              </p:cNvPr>
              <p:cNvSpPr>
                <a:spLocks noChangeArrowheads="1"/>
              </p:cNvSpPr>
              <p:nvPr/>
            </p:nvSpPr>
            <p:spPr bwMode="auto">
              <a:xfrm>
                <a:off x="343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2" name="Oval 2677">
                <a:extLst>
                  <a:ext uri="{FF2B5EF4-FFF2-40B4-BE49-F238E27FC236}">
                    <a16:creationId xmlns:a16="http://schemas.microsoft.com/office/drawing/2014/main" id="{987D3A49-CD2E-43FB-8FBD-0992B4AFC1EE}"/>
                  </a:ext>
                </a:extLst>
              </p:cNvPr>
              <p:cNvSpPr>
                <a:spLocks noChangeArrowheads="1"/>
              </p:cNvSpPr>
              <p:nvPr/>
            </p:nvSpPr>
            <p:spPr bwMode="auto">
              <a:xfrm>
                <a:off x="331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3" name="Oval 2678">
                <a:extLst>
                  <a:ext uri="{FF2B5EF4-FFF2-40B4-BE49-F238E27FC236}">
                    <a16:creationId xmlns:a16="http://schemas.microsoft.com/office/drawing/2014/main" id="{DDE380F1-D1A6-4951-AB0F-51E57F8DBD67}"/>
                  </a:ext>
                </a:extLst>
              </p:cNvPr>
              <p:cNvSpPr>
                <a:spLocks noChangeArrowheads="1"/>
              </p:cNvSpPr>
              <p:nvPr/>
            </p:nvSpPr>
            <p:spPr bwMode="auto">
              <a:xfrm>
                <a:off x="325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4" name="Oval 2679">
                <a:extLst>
                  <a:ext uri="{FF2B5EF4-FFF2-40B4-BE49-F238E27FC236}">
                    <a16:creationId xmlns:a16="http://schemas.microsoft.com/office/drawing/2014/main" id="{5112CE3B-9F6C-44F2-A615-AADF4E15DCF5}"/>
                  </a:ext>
                </a:extLst>
              </p:cNvPr>
              <p:cNvSpPr>
                <a:spLocks noChangeArrowheads="1"/>
              </p:cNvSpPr>
              <p:nvPr/>
            </p:nvSpPr>
            <p:spPr bwMode="auto">
              <a:xfrm>
                <a:off x="337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5" name="Oval 2680">
                <a:extLst>
                  <a:ext uri="{FF2B5EF4-FFF2-40B4-BE49-F238E27FC236}">
                    <a16:creationId xmlns:a16="http://schemas.microsoft.com/office/drawing/2014/main" id="{1A4F84FE-F058-4332-8EB1-77E09013C85B}"/>
                  </a:ext>
                </a:extLst>
              </p:cNvPr>
              <p:cNvSpPr>
                <a:spLocks noChangeArrowheads="1"/>
              </p:cNvSpPr>
              <p:nvPr/>
            </p:nvSpPr>
            <p:spPr bwMode="auto">
              <a:xfrm>
                <a:off x="367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6" name="Oval 2681">
                <a:extLst>
                  <a:ext uri="{FF2B5EF4-FFF2-40B4-BE49-F238E27FC236}">
                    <a16:creationId xmlns:a16="http://schemas.microsoft.com/office/drawing/2014/main" id="{01AB9E7D-318A-4CFC-BC94-FAEF0BCB46DD}"/>
                  </a:ext>
                </a:extLst>
              </p:cNvPr>
              <p:cNvSpPr>
                <a:spLocks noChangeArrowheads="1"/>
              </p:cNvSpPr>
              <p:nvPr/>
            </p:nvSpPr>
            <p:spPr bwMode="auto">
              <a:xfrm>
                <a:off x="349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7" name="Oval 2682">
                <a:extLst>
                  <a:ext uri="{FF2B5EF4-FFF2-40B4-BE49-F238E27FC236}">
                    <a16:creationId xmlns:a16="http://schemas.microsoft.com/office/drawing/2014/main" id="{BB13C0F0-D76F-454C-8961-A153468B7112}"/>
                  </a:ext>
                </a:extLst>
              </p:cNvPr>
              <p:cNvSpPr>
                <a:spLocks noChangeArrowheads="1"/>
              </p:cNvSpPr>
              <p:nvPr/>
            </p:nvSpPr>
            <p:spPr bwMode="auto">
              <a:xfrm>
                <a:off x="35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8" name="Oval 2683">
                <a:extLst>
                  <a:ext uri="{FF2B5EF4-FFF2-40B4-BE49-F238E27FC236}">
                    <a16:creationId xmlns:a16="http://schemas.microsoft.com/office/drawing/2014/main" id="{E45FD6D5-8C88-4A1B-947F-49A1A31BC2F0}"/>
                  </a:ext>
                </a:extLst>
              </p:cNvPr>
              <p:cNvSpPr>
                <a:spLocks noChangeArrowheads="1"/>
              </p:cNvSpPr>
              <p:nvPr/>
            </p:nvSpPr>
            <p:spPr bwMode="auto">
              <a:xfrm>
                <a:off x="343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9" name="Oval 2684">
                <a:extLst>
                  <a:ext uri="{FF2B5EF4-FFF2-40B4-BE49-F238E27FC236}">
                    <a16:creationId xmlns:a16="http://schemas.microsoft.com/office/drawing/2014/main" id="{717E94D2-962E-4C62-BDFB-B171320D3737}"/>
                  </a:ext>
                </a:extLst>
              </p:cNvPr>
              <p:cNvSpPr>
                <a:spLocks noChangeArrowheads="1"/>
              </p:cNvSpPr>
              <p:nvPr/>
            </p:nvSpPr>
            <p:spPr bwMode="auto">
              <a:xfrm>
                <a:off x="364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0" name="Oval 2685">
                <a:extLst>
                  <a:ext uri="{FF2B5EF4-FFF2-40B4-BE49-F238E27FC236}">
                    <a16:creationId xmlns:a16="http://schemas.microsoft.com/office/drawing/2014/main" id="{A52280A7-F85D-421C-B9C4-75638A83A030}"/>
                  </a:ext>
                </a:extLst>
              </p:cNvPr>
              <p:cNvSpPr>
                <a:spLocks noChangeArrowheads="1"/>
              </p:cNvSpPr>
              <p:nvPr/>
            </p:nvSpPr>
            <p:spPr bwMode="auto">
              <a:xfrm>
                <a:off x="355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1" name="Oval 2686">
                <a:extLst>
                  <a:ext uri="{FF2B5EF4-FFF2-40B4-BE49-F238E27FC236}">
                    <a16:creationId xmlns:a16="http://schemas.microsoft.com/office/drawing/2014/main" id="{9358474B-EE24-4F0D-BA83-DCB4F2229DF4}"/>
                  </a:ext>
                </a:extLst>
              </p:cNvPr>
              <p:cNvSpPr>
                <a:spLocks noChangeArrowheads="1"/>
              </p:cNvSpPr>
              <p:nvPr/>
            </p:nvSpPr>
            <p:spPr bwMode="auto">
              <a:xfrm>
                <a:off x="34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2" name="Oval 2687">
                <a:extLst>
                  <a:ext uri="{FF2B5EF4-FFF2-40B4-BE49-F238E27FC236}">
                    <a16:creationId xmlns:a16="http://schemas.microsoft.com/office/drawing/2014/main" id="{6651FB5E-A222-4F1A-B0BF-B76D285C2CD9}"/>
                  </a:ext>
                </a:extLst>
              </p:cNvPr>
              <p:cNvSpPr>
                <a:spLocks noChangeArrowheads="1"/>
              </p:cNvSpPr>
              <p:nvPr/>
            </p:nvSpPr>
            <p:spPr bwMode="auto">
              <a:xfrm>
                <a:off x="31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3" name="Oval 2688">
                <a:extLst>
                  <a:ext uri="{FF2B5EF4-FFF2-40B4-BE49-F238E27FC236}">
                    <a16:creationId xmlns:a16="http://schemas.microsoft.com/office/drawing/2014/main" id="{FD8BD547-5D31-4913-8EFD-A5158FD62AD0}"/>
                  </a:ext>
                </a:extLst>
              </p:cNvPr>
              <p:cNvSpPr>
                <a:spLocks noChangeArrowheads="1"/>
              </p:cNvSpPr>
              <p:nvPr/>
            </p:nvSpPr>
            <p:spPr bwMode="auto">
              <a:xfrm>
                <a:off x="304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4" name="Oval 2689">
                <a:extLst>
                  <a:ext uri="{FF2B5EF4-FFF2-40B4-BE49-F238E27FC236}">
                    <a16:creationId xmlns:a16="http://schemas.microsoft.com/office/drawing/2014/main" id="{E937C35F-7CAA-49AA-9F94-5350AD8A26B8}"/>
                  </a:ext>
                </a:extLst>
              </p:cNvPr>
              <p:cNvSpPr>
                <a:spLocks noChangeArrowheads="1"/>
              </p:cNvSpPr>
              <p:nvPr/>
            </p:nvSpPr>
            <p:spPr bwMode="auto">
              <a:xfrm>
                <a:off x="29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5" name="Oval 2690">
                <a:extLst>
                  <a:ext uri="{FF2B5EF4-FFF2-40B4-BE49-F238E27FC236}">
                    <a16:creationId xmlns:a16="http://schemas.microsoft.com/office/drawing/2014/main" id="{B458B13B-BB54-4BAC-B824-25E878E96BD1}"/>
                  </a:ext>
                </a:extLst>
              </p:cNvPr>
              <p:cNvSpPr>
                <a:spLocks noChangeArrowheads="1"/>
              </p:cNvSpPr>
              <p:nvPr/>
            </p:nvSpPr>
            <p:spPr bwMode="auto">
              <a:xfrm>
                <a:off x="30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6" name="Oval 2691">
                <a:extLst>
                  <a:ext uri="{FF2B5EF4-FFF2-40B4-BE49-F238E27FC236}">
                    <a16:creationId xmlns:a16="http://schemas.microsoft.com/office/drawing/2014/main" id="{8196CDC8-5A70-41C3-9FC7-743FCDADC699}"/>
                  </a:ext>
                </a:extLst>
              </p:cNvPr>
              <p:cNvSpPr>
                <a:spLocks noChangeArrowheads="1"/>
              </p:cNvSpPr>
              <p:nvPr/>
            </p:nvSpPr>
            <p:spPr bwMode="auto">
              <a:xfrm>
                <a:off x="316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7" name="Oval 2692">
                <a:extLst>
                  <a:ext uri="{FF2B5EF4-FFF2-40B4-BE49-F238E27FC236}">
                    <a16:creationId xmlns:a16="http://schemas.microsoft.com/office/drawing/2014/main" id="{3FEF15CF-6EB8-45C4-87A6-FDA600078C22}"/>
                  </a:ext>
                </a:extLst>
              </p:cNvPr>
              <p:cNvSpPr>
                <a:spLocks noChangeArrowheads="1"/>
              </p:cNvSpPr>
              <p:nvPr/>
            </p:nvSpPr>
            <p:spPr bwMode="auto">
              <a:xfrm>
                <a:off x="334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8" name="Oval 2693">
                <a:extLst>
                  <a:ext uri="{FF2B5EF4-FFF2-40B4-BE49-F238E27FC236}">
                    <a16:creationId xmlns:a16="http://schemas.microsoft.com/office/drawing/2014/main" id="{30E26AE7-C51B-42BD-AB2E-5B8813CE3745}"/>
                  </a:ext>
                </a:extLst>
              </p:cNvPr>
              <p:cNvSpPr>
                <a:spLocks noChangeArrowheads="1"/>
              </p:cNvSpPr>
              <p:nvPr/>
            </p:nvSpPr>
            <p:spPr bwMode="auto">
              <a:xfrm>
                <a:off x="31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9" name="Oval 2694">
                <a:extLst>
                  <a:ext uri="{FF2B5EF4-FFF2-40B4-BE49-F238E27FC236}">
                    <a16:creationId xmlns:a16="http://schemas.microsoft.com/office/drawing/2014/main" id="{0EBCEDF8-9B65-4D00-8DAE-44B1CEB65F76}"/>
                  </a:ext>
                </a:extLst>
              </p:cNvPr>
              <p:cNvSpPr>
                <a:spLocks noChangeArrowheads="1"/>
              </p:cNvSpPr>
              <p:nvPr/>
            </p:nvSpPr>
            <p:spPr bwMode="auto">
              <a:xfrm>
                <a:off x="307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0" name="Oval 2695">
                <a:extLst>
                  <a:ext uri="{FF2B5EF4-FFF2-40B4-BE49-F238E27FC236}">
                    <a16:creationId xmlns:a16="http://schemas.microsoft.com/office/drawing/2014/main" id="{FE30E599-E14E-42E5-9BA7-B75B7FCCEE0A}"/>
                  </a:ext>
                </a:extLst>
              </p:cNvPr>
              <p:cNvSpPr>
                <a:spLocks noChangeArrowheads="1"/>
              </p:cNvSpPr>
              <p:nvPr/>
            </p:nvSpPr>
            <p:spPr bwMode="auto">
              <a:xfrm>
                <a:off x="30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1" name="Oval 2696">
                <a:extLst>
                  <a:ext uri="{FF2B5EF4-FFF2-40B4-BE49-F238E27FC236}">
                    <a16:creationId xmlns:a16="http://schemas.microsoft.com/office/drawing/2014/main" id="{C63E0E6D-DDF2-4E30-8EEA-34E00EFEF944}"/>
                  </a:ext>
                </a:extLst>
              </p:cNvPr>
              <p:cNvSpPr>
                <a:spLocks noChangeArrowheads="1"/>
              </p:cNvSpPr>
              <p:nvPr/>
            </p:nvSpPr>
            <p:spPr bwMode="auto">
              <a:xfrm>
                <a:off x="292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2" name="Oval 2697">
                <a:extLst>
                  <a:ext uri="{FF2B5EF4-FFF2-40B4-BE49-F238E27FC236}">
                    <a16:creationId xmlns:a16="http://schemas.microsoft.com/office/drawing/2014/main" id="{BCC31689-E557-4A9F-8221-B98FE0F92ECA}"/>
                  </a:ext>
                </a:extLst>
              </p:cNvPr>
              <p:cNvSpPr>
                <a:spLocks noChangeArrowheads="1"/>
              </p:cNvSpPr>
              <p:nvPr/>
            </p:nvSpPr>
            <p:spPr bwMode="auto">
              <a:xfrm>
                <a:off x="298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3" name="Oval 2698">
                <a:extLst>
                  <a:ext uri="{FF2B5EF4-FFF2-40B4-BE49-F238E27FC236}">
                    <a16:creationId xmlns:a16="http://schemas.microsoft.com/office/drawing/2014/main" id="{97309423-4DA3-4B23-91E6-56A887262CA2}"/>
                  </a:ext>
                </a:extLst>
              </p:cNvPr>
              <p:cNvSpPr>
                <a:spLocks noChangeArrowheads="1"/>
              </p:cNvSpPr>
              <p:nvPr/>
            </p:nvSpPr>
            <p:spPr bwMode="auto">
              <a:xfrm>
                <a:off x="316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4" name="Oval 2699">
                <a:extLst>
                  <a:ext uri="{FF2B5EF4-FFF2-40B4-BE49-F238E27FC236}">
                    <a16:creationId xmlns:a16="http://schemas.microsoft.com/office/drawing/2014/main" id="{417AF82A-1D58-4B8C-9D88-DFA74B0BC0FD}"/>
                  </a:ext>
                </a:extLst>
              </p:cNvPr>
              <p:cNvSpPr>
                <a:spLocks noChangeArrowheads="1"/>
              </p:cNvSpPr>
              <p:nvPr/>
            </p:nvSpPr>
            <p:spPr bwMode="auto">
              <a:xfrm>
                <a:off x="316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5" name="Oval 2700">
                <a:extLst>
                  <a:ext uri="{FF2B5EF4-FFF2-40B4-BE49-F238E27FC236}">
                    <a16:creationId xmlns:a16="http://schemas.microsoft.com/office/drawing/2014/main" id="{D6FF9C1D-02FC-4815-BED5-9F967AC105E9}"/>
                  </a:ext>
                </a:extLst>
              </p:cNvPr>
              <p:cNvSpPr>
                <a:spLocks noChangeArrowheads="1"/>
              </p:cNvSpPr>
              <p:nvPr/>
            </p:nvSpPr>
            <p:spPr bwMode="auto">
              <a:xfrm>
                <a:off x="316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6" name="Oval 2701">
                <a:extLst>
                  <a:ext uri="{FF2B5EF4-FFF2-40B4-BE49-F238E27FC236}">
                    <a16:creationId xmlns:a16="http://schemas.microsoft.com/office/drawing/2014/main" id="{12BC3632-30AE-4354-967B-09189404E1D2}"/>
                  </a:ext>
                </a:extLst>
              </p:cNvPr>
              <p:cNvSpPr>
                <a:spLocks noChangeArrowheads="1"/>
              </p:cNvSpPr>
              <p:nvPr/>
            </p:nvSpPr>
            <p:spPr bwMode="auto">
              <a:xfrm>
                <a:off x="316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7" name="Oval 2702">
                <a:extLst>
                  <a:ext uri="{FF2B5EF4-FFF2-40B4-BE49-F238E27FC236}">
                    <a16:creationId xmlns:a16="http://schemas.microsoft.com/office/drawing/2014/main" id="{51E98545-CE2D-48CF-8ADE-EFC7C6AE2DDE}"/>
                  </a:ext>
                </a:extLst>
              </p:cNvPr>
              <p:cNvSpPr>
                <a:spLocks noChangeArrowheads="1"/>
              </p:cNvSpPr>
              <p:nvPr/>
            </p:nvSpPr>
            <p:spPr bwMode="auto">
              <a:xfrm>
                <a:off x="29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8" name="Oval 2703">
                <a:extLst>
                  <a:ext uri="{FF2B5EF4-FFF2-40B4-BE49-F238E27FC236}">
                    <a16:creationId xmlns:a16="http://schemas.microsoft.com/office/drawing/2014/main" id="{2112472E-CA58-4480-99CD-869799CF9A59}"/>
                  </a:ext>
                </a:extLst>
              </p:cNvPr>
              <p:cNvSpPr>
                <a:spLocks noChangeArrowheads="1"/>
              </p:cNvSpPr>
              <p:nvPr/>
            </p:nvSpPr>
            <p:spPr bwMode="auto">
              <a:xfrm>
                <a:off x="289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9" name="Oval 2704">
                <a:extLst>
                  <a:ext uri="{FF2B5EF4-FFF2-40B4-BE49-F238E27FC236}">
                    <a16:creationId xmlns:a16="http://schemas.microsoft.com/office/drawing/2014/main" id="{EFF0CD97-4A88-4545-9A47-A1D4FF73A753}"/>
                  </a:ext>
                </a:extLst>
              </p:cNvPr>
              <p:cNvSpPr>
                <a:spLocks noChangeArrowheads="1"/>
              </p:cNvSpPr>
              <p:nvPr/>
            </p:nvSpPr>
            <p:spPr bwMode="auto">
              <a:xfrm>
                <a:off x="289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0" name="Oval 2705">
                <a:extLst>
                  <a:ext uri="{FF2B5EF4-FFF2-40B4-BE49-F238E27FC236}">
                    <a16:creationId xmlns:a16="http://schemas.microsoft.com/office/drawing/2014/main" id="{1B836635-F7A7-4886-A472-C107A5B23E72}"/>
                  </a:ext>
                </a:extLst>
              </p:cNvPr>
              <p:cNvSpPr>
                <a:spLocks noChangeArrowheads="1"/>
              </p:cNvSpPr>
              <p:nvPr/>
            </p:nvSpPr>
            <p:spPr bwMode="auto">
              <a:xfrm>
                <a:off x="289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1" name="Oval 2706">
                <a:extLst>
                  <a:ext uri="{FF2B5EF4-FFF2-40B4-BE49-F238E27FC236}">
                    <a16:creationId xmlns:a16="http://schemas.microsoft.com/office/drawing/2014/main" id="{63752DD2-01DD-4DE8-ABB3-FB5F602717D0}"/>
                  </a:ext>
                </a:extLst>
              </p:cNvPr>
              <p:cNvSpPr>
                <a:spLocks noChangeArrowheads="1"/>
              </p:cNvSpPr>
              <p:nvPr/>
            </p:nvSpPr>
            <p:spPr bwMode="auto">
              <a:xfrm>
                <a:off x="277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2" name="Oval 2707">
                <a:extLst>
                  <a:ext uri="{FF2B5EF4-FFF2-40B4-BE49-F238E27FC236}">
                    <a16:creationId xmlns:a16="http://schemas.microsoft.com/office/drawing/2014/main" id="{8682ECC5-0E70-4B18-81CE-5DADEBB5F8B9}"/>
                  </a:ext>
                </a:extLst>
              </p:cNvPr>
              <p:cNvSpPr>
                <a:spLocks noChangeArrowheads="1"/>
              </p:cNvSpPr>
              <p:nvPr/>
            </p:nvSpPr>
            <p:spPr bwMode="auto">
              <a:xfrm>
                <a:off x="2805"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3" name="Oval 2708">
                <a:extLst>
                  <a:ext uri="{FF2B5EF4-FFF2-40B4-BE49-F238E27FC236}">
                    <a16:creationId xmlns:a16="http://schemas.microsoft.com/office/drawing/2014/main" id="{BE50BF00-770D-4251-A895-13FB8CE7EB1F}"/>
                  </a:ext>
                </a:extLst>
              </p:cNvPr>
              <p:cNvSpPr>
                <a:spLocks noChangeArrowheads="1"/>
              </p:cNvSpPr>
              <p:nvPr/>
            </p:nvSpPr>
            <p:spPr bwMode="auto">
              <a:xfrm>
                <a:off x="286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4" name="Oval 2709">
                <a:extLst>
                  <a:ext uri="{FF2B5EF4-FFF2-40B4-BE49-F238E27FC236}">
                    <a16:creationId xmlns:a16="http://schemas.microsoft.com/office/drawing/2014/main" id="{240D4FAB-821C-4D73-A16F-05FDBB6E17AD}"/>
                  </a:ext>
                </a:extLst>
              </p:cNvPr>
              <p:cNvSpPr>
                <a:spLocks noChangeArrowheads="1"/>
              </p:cNvSpPr>
              <p:nvPr/>
            </p:nvSpPr>
            <p:spPr bwMode="auto">
              <a:xfrm>
                <a:off x="2775"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5" name="Oval 2710">
                <a:extLst>
                  <a:ext uri="{FF2B5EF4-FFF2-40B4-BE49-F238E27FC236}">
                    <a16:creationId xmlns:a16="http://schemas.microsoft.com/office/drawing/2014/main" id="{B4409028-D653-4422-9AD3-610405D766A1}"/>
                  </a:ext>
                </a:extLst>
              </p:cNvPr>
              <p:cNvSpPr>
                <a:spLocks noChangeArrowheads="1"/>
              </p:cNvSpPr>
              <p:nvPr/>
            </p:nvSpPr>
            <p:spPr bwMode="auto">
              <a:xfrm>
                <a:off x="283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6" name="Oval 2711">
                <a:extLst>
                  <a:ext uri="{FF2B5EF4-FFF2-40B4-BE49-F238E27FC236}">
                    <a16:creationId xmlns:a16="http://schemas.microsoft.com/office/drawing/2014/main" id="{B48CE1D0-5808-4B58-9A64-6969FBD71519}"/>
                  </a:ext>
                </a:extLst>
              </p:cNvPr>
              <p:cNvSpPr>
                <a:spLocks noChangeArrowheads="1"/>
              </p:cNvSpPr>
              <p:nvPr/>
            </p:nvSpPr>
            <p:spPr bwMode="auto">
              <a:xfrm>
                <a:off x="286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7" name="Oval 2712">
                <a:extLst>
                  <a:ext uri="{FF2B5EF4-FFF2-40B4-BE49-F238E27FC236}">
                    <a16:creationId xmlns:a16="http://schemas.microsoft.com/office/drawing/2014/main" id="{000DDD10-40ED-430F-9E68-339C89E68B54}"/>
                  </a:ext>
                </a:extLst>
              </p:cNvPr>
              <p:cNvSpPr>
                <a:spLocks noChangeArrowheads="1"/>
              </p:cNvSpPr>
              <p:nvPr/>
            </p:nvSpPr>
            <p:spPr bwMode="auto">
              <a:xfrm>
                <a:off x="2775"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8" name="Oval 2713">
                <a:extLst>
                  <a:ext uri="{FF2B5EF4-FFF2-40B4-BE49-F238E27FC236}">
                    <a16:creationId xmlns:a16="http://schemas.microsoft.com/office/drawing/2014/main" id="{5BD3353C-DE0F-4296-B197-EB54D35B17B2}"/>
                  </a:ext>
                </a:extLst>
              </p:cNvPr>
              <p:cNvSpPr>
                <a:spLocks noChangeArrowheads="1"/>
              </p:cNvSpPr>
              <p:nvPr/>
            </p:nvSpPr>
            <p:spPr bwMode="auto">
              <a:xfrm>
                <a:off x="25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9" name="Oval 2714">
                <a:extLst>
                  <a:ext uri="{FF2B5EF4-FFF2-40B4-BE49-F238E27FC236}">
                    <a16:creationId xmlns:a16="http://schemas.microsoft.com/office/drawing/2014/main" id="{EDE6FCA1-09A6-408F-BA9A-DD81B506F7E0}"/>
                  </a:ext>
                </a:extLst>
              </p:cNvPr>
              <p:cNvSpPr>
                <a:spLocks noChangeArrowheads="1"/>
              </p:cNvSpPr>
              <p:nvPr/>
            </p:nvSpPr>
            <p:spPr bwMode="auto">
              <a:xfrm>
                <a:off x="256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0" name="Oval 2715">
                <a:extLst>
                  <a:ext uri="{FF2B5EF4-FFF2-40B4-BE49-F238E27FC236}">
                    <a16:creationId xmlns:a16="http://schemas.microsoft.com/office/drawing/2014/main" id="{60B7B311-98EC-43D6-8754-96D64B5CAF6C}"/>
                  </a:ext>
                </a:extLst>
              </p:cNvPr>
              <p:cNvSpPr>
                <a:spLocks noChangeArrowheads="1"/>
              </p:cNvSpPr>
              <p:nvPr/>
            </p:nvSpPr>
            <p:spPr bwMode="auto">
              <a:xfrm>
                <a:off x="259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1" name="Oval 2716">
                <a:extLst>
                  <a:ext uri="{FF2B5EF4-FFF2-40B4-BE49-F238E27FC236}">
                    <a16:creationId xmlns:a16="http://schemas.microsoft.com/office/drawing/2014/main" id="{BC960197-2A23-4717-BA45-23875235AE73}"/>
                  </a:ext>
                </a:extLst>
              </p:cNvPr>
              <p:cNvSpPr>
                <a:spLocks noChangeArrowheads="1"/>
              </p:cNvSpPr>
              <p:nvPr/>
            </p:nvSpPr>
            <p:spPr bwMode="auto">
              <a:xfrm>
                <a:off x="244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2" name="Oval 2717">
                <a:extLst>
                  <a:ext uri="{FF2B5EF4-FFF2-40B4-BE49-F238E27FC236}">
                    <a16:creationId xmlns:a16="http://schemas.microsoft.com/office/drawing/2014/main" id="{77C1F3C6-A1EB-4C11-ACFC-70144989081A}"/>
                  </a:ext>
                </a:extLst>
              </p:cNvPr>
              <p:cNvSpPr>
                <a:spLocks noChangeArrowheads="1"/>
              </p:cNvSpPr>
              <p:nvPr/>
            </p:nvSpPr>
            <p:spPr bwMode="auto">
              <a:xfrm>
                <a:off x="24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3" name="Oval 2718">
                <a:extLst>
                  <a:ext uri="{FF2B5EF4-FFF2-40B4-BE49-F238E27FC236}">
                    <a16:creationId xmlns:a16="http://schemas.microsoft.com/office/drawing/2014/main" id="{ACD968FC-6294-4C7B-A7A0-2F8222D170C6}"/>
                  </a:ext>
                </a:extLst>
              </p:cNvPr>
              <p:cNvSpPr>
                <a:spLocks noChangeArrowheads="1"/>
              </p:cNvSpPr>
              <p:nvPr/>
            </p:nvSpPr>
            <p:spPr bwMode="auto">
              <a:xfrm>
                <a:off x="247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4" name="Oval 2719">
                <a:extLst>
                  <a:ext uri="{FF2B5EF4-FFF2-40B4-BE49-F238E27FC236}">
                    <a16:creationId xmlns:a16="http://schemas.microsoft.com/office/drawing/2014/main" id="{EBF1DA61-43D9-418F-86FA-F0688C8EE902}"/>
                  </a:ext>
                </a:extLst>
              </p:cNvPr>
              <p:cNvSpPr>
                <a:spLocks noChangeArrowheads="1"/>
              </p:cNvSpPr>
              <p:nvPr/>
            </p:nvSpPr>
            <p:spPr bwMode="auto">
              <a:xfrm>
                <a:off x="2475"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5" name="Oval 2720">
                <a:extLst>
                  <a:ext uri="{FF2B5EF4-FFF2-40B4-BE49-F238E27FC236}">
                    <a16:creationId xmlns:a16="http://schemas.microsoft.com/office/drawing/2014/main" id="{D041A86A-EBBB-45C7-B116-176AB9D3388D}"/>
                  </a:ext>
                </a:extLst>
              </p:cNvPr>
              <p:cNvSpPr>
                <a:spLocks noChangeArrowheads="1"/>
              </p:cNvSpPr>
              <p:nvPr/>
            </p:nvSpPr>
            <p:spPr bwMode="auto">
              <a:xfrm>
                <a:off x="286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6" name="Oval 2721">
                <a:extLst>
                  <a:ext uri="{FF2B5EF4-FFF2-40B4-BE49-F238E27FC236}">
                    <a16:creationId xmlns:a16="http://schemas.microsoft.com/office/drawing/2014/main" id="{5E563B2E-7D9F-476F-97D3-ABE19BFC76DB}"/>
                  </a:ext>
                </a:extLst>
              </p:cNvPr>
              <p:cNvSpPr>
                <a:spLocks noChangeArrowheads="1"/>
              </p:cNvSpPr>
              <p:nvPr/>
            </p:nvSpPr>
            <p:spPr bwMode="auto">
              <a:xfrm>
                <a:off x="268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7" name="Oval 2722">
                <a:extLst>
                  <a:ext uri="{FF2B5EF4-FFF2-40B4-BE49-F238E27FC236}">
                    <a16:creationId xmlns:a16="http://schemas.microsoft.com/office/drawing/2014/main" id="{581D15F2-A93D-4AB9-B812-408523BFFAE9}"/>
                  </a:ext>
                </a:extLst>
              </p:cNvPr>
              <p:cNvSpPr>
                <a:spLocks noChangeArrowheads="1"/>
              </p:cNvSpPr>
              <p:nvPr/>
            </p:nvSpPr>
            <p:spPr bwMode="auto">
              <a:xfrm>
                <a:off x="235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8" name="Oval 2723">
                <a:extLst>
                  <a:ext uri="{FF2B5EF4-FFF2-40B4-BE49-F238E27FC236}">
                    <a16:creationId xmlns:a16="http://schemas.microsoft.com/office/drawing/2014/main" id="{3889BDD0-5BD5-43A6-87B4-D8DE741E4A78}"/>
                  </a:ext>
                </a:extLst>
              </p:cNvPr>
              <p:cNvSpPr>
                <a:spLocks noChangeArrowheads="1"/>
              </p:cNvSpPr>
              <p:nvPr/>
            </p:nvSpPr>
            <p:spPr bwMode="auto">
              <a:xfrm>
                <a:off x="235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9" name="Oval 2724">
                <a:extLst>
                  <a:ext uri="{FF2B5EF4-FFF2-40B4-BE49-F238E27FC236}">
                    <a16:creationId xmlns:a16="http://schemas.microsoft.com/office/drawing/2014/main" id="{2427C80C-F4D5-4B02-8337-59D8881593AB}"/>
                  </a:ext>
                </a:extLst>
              </p:cNvPr>
              <p:cNvSpPr>
                <a:spLocks noChangeArrowheads="1"/>
              </p:cNvSpPr>
              <p:nvPr/>
            </p:nvSpPr>
            <p:spPr bwMode="auto">
              <a:xfrm>
                <a:off x="25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0" name="Oval 2725">
                <a:extLst>
                  <a:ext uri="{FF2B5EF4-FFF2-40B4-BE49-F238E27FC236}">
                    <a16:creationId xmlns:a16="http://schemas.microsoft.com/office/drawing/2014/main" id="{1DA71631-795A-4640-AE8C-E877F3A15BE4}"/>
                  </a:ext>
                </a:extLst>
              </p:cNvPr>
              <p:cNvSpPr>
                <a:spLocks noChangeArrowheads="1"/>
              </p:cNvSpPr>
              <p:nvPr/>
            </p:nvSpPr>
            <p:spPr bwMode="auto">
              <a:xfrm>
                <a:off x="259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1" name="Oval 2726">
                <a:extLst>
                  <a:ext uri="{FF2B5EF4-FFF2-40B4-BE49-F238E27FC236}">
                    <a16:creationId xmlns:a16="http://schemas.microsoft.com/office/drawing/2014/main" id="{FE09A548-14CF-477A-AF55-51AE5E4FF32B}"/>
                  </a:ext>
                </a:extLst>
              </p:cNvPr>
              <p:cNvSpPr>
                <a:spLocks noChangeArrowheads="1"/>
              </p:cNvSpPr>
              <p:nvPr/>
            </p:nvSpPr>
            <p:spPr bwMode="auto">
              <a:xfrm>
                <a:off x="25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2" name="Oval 2727">
                <a:extLst>
                  <a:ext uri="{FF2B5EF4-FFF2-40B4-BE49-F238E27FC236}">
                    <a16:creationId xmlns:a16="http://schemas.microsoft.com/office/drawing/2014/main" id="{E17B3F9E-2ADD-4C30-A6EE-B86DB0A57820}"/>
                  </a:ext>
                </a:extLst>
              </p:cNvPr>
              <p:cNvSpPr>
                <a:spLocks noChangeArrowheads="1"/>
              </p:cNvSpPr>
              <p:nvPr/>
            </p:nvSpPr>
            <p:spPr bwMode="auto">
              <a:xfrm>
                <a:off x="256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3" name="Oval 2728">
                <a:extLst>
                  <a:ext uri="{FF2B5EF4-FFF2-40B4-BE49-F238E27FC236}">
                    <a16:creationId xmlns:a16="http://schemas.microsoft.com/office/drawing/2014/main" id="{0FCA71D8-8985-495D-89DB-1129363ABFCC}"/>
                  </a:ext>
                </a:extLst>
              </p:cNvPr>
              <p:cNvSpPr>
                <a:spLocks noChangeArrowheads="1"/>
              </p:cNvSpPr>
              <p:nvPr/>
            </p:nvSpPr>
            <p:spPr bwMode="auto">
              <a:xfrm>
                <a:off x="247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4" name="Oval 2729">
                <a:extLst>
                  <a:ext uri="{FF2B5EF4-FFF2-40B4-BE49-F238E27FC236}">
                    <a16:creationId xmlns:a16="http://schemas.microsoft.com/office/drawing/2014/main" id="{804639F2-6CF8-4FFE-92C0-A9BB1EEE5927}"/>
                  </a:ext>
                </a:extLst>
              </p:cNvPr>
              <p:cNvSpPr>
                <a:spLocks noChangeArrowheads="1"/>
              </p:cNvSpPr>
              <p:nvPr/>
            </p:nvSpPr>
            <p:spPr bwMode="auto">
              <a:xfrm>
                <a:off x="235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5" name="Oval 2730">
                <a:extLst>
                  <a:ext uri="{FF2B5EF4-FFF2-40B4-BE49-F238E27FC236}">
                    <a16:creationId xmlns:a16="http://schemas.microsoft.com/office/drawing/2014/main" id="{61217B2D-BBF5-43B1-87B3-BBF0D7AB5B22}"/>
                  </a:ext>
                </a:extLst>
              </p:cNvPr>
              <p:cNvSpPr>
                <a:spLocks noChangeArrowheads="1"/>
              </p:cNvSpPr>
              <p:nvPr/>
            </p:nvSpPr>
            <p:spPr bwMode="auto">
              <a:xfrm>
                <a:off x="229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6" name="Oval 2731">
                <a:extLst>
                  <a:ext uri="{FF2B5EF4-FFF2-40B4-BE49-F238E27FC236}">
                    <a16:creationId xmlns:a16="http://schemas.microsoft.com/office/drawing/2014/main" id="{C858CEDC-331F-4598-830E-EDAB9AA2902F}"/>
                  </a:ext>
                </a:extLst>
              </p:cNvPr>
              <p:cNvSpPr>
                <a:spLocks noChangeArrowheads="1"/>
              </p:cNvSpPr>
              <p:nvPr/>
            </p:nvSpPr>
            <p:spPr bwMode="auto">
              <a:xfrm>
                <a:off x="226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7" name="Oval 2732">
                <a:extLst>
                  <a:ext uri="{FF2B5EF4-FFF2-40B4-BE49-F238E27FC236}">
                    <a16:creationId xmlns:a16="http://schemas.microsoft.com/office/drawing/2014/main" id="{A6985D70-2451-469B-9CCF-F153D17222E8}"/>
                  </a:ext>
                </a:extLst>
              </p:cNvPr>
              <p:cNvSpPr>
                <a:spLocks noChangeArrowheads="1"/>
              </p:cNvSpPr>
              <p:nvPr/>
            </p:nvSpPr>
            <p:spPr bwMode="auto">
              <a:xfrm>
                <a:off x="229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8" name="Oval 2733">
                <a:extLst>
                  <a:ext uri="{FF2B5EF4-FFF2-40B4-BE49-F238E27FC236}">
                    <a16:creationId xmlns:a16="http://schemas.microsoft.com/office/drawing/2014/main" id="{4AA5E222-1D0B-46BF-AA77-5391FEDD7B25}"/>
                  </a:ext>
                </a:extLst>
              </p:cNvPr>
              <p:cNvSpPr>
                <a:spLocks noChangeArrowheads="1"/>
              </p:cNvSpPr>
              <p:nvPr/>
            </p:nvSpPr>
            <p:spPr bwMode="auto">
              <a:xfrm>
                <a:off x="235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9" name="Oval 2734">
                <a:extLst>
                  <a:ext uri="{FF2B5EF4-FFF2-40B4-BE49-F238E27FC236}">
                    <a16:creationId xmlns:a16="http://schemas.microsoft.com/office/drawing/2014/main" id="{E079FACE-A75E-4466-92D4-9358FC3FC9B5}"/>
                  </a:ext>
                </a:extLst>
              </p:cNvPr>
              <p:cNvSpPr>
                <a:spLocks noChangeArrowheads="1"/>
              </p:cNvSpPr>
              <p:nvPr/>
            </p:nvSpPr>
            <p:spPr bwMode="auto">
              <a:xfrm>
                <a:off x="244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0" name="Oval 2735">
                <a:extLst>
                  <a:ext uri="{FF2B5EF4-FFF2-40B4-BE49-F238E27FC236}">
                    <a16:creationId xmlns:a16="http://schemas.microsoft.com/office/drawing/2014/main" id="{C24D62E6-F23D-491F-AD4A-3F738F7A21D7}"/>
                  </a:ext>
                </a:extLst>
              </p:cNvPr>
              <p:cNvSpPr>
                <a:spLocks noChangeArrowheads="1"/>
              </p:cNvSpPr>
              <p:nvPr/>
            </p:nvSpPr>
            <p:spPr bwMode="auto">
              <a:xfrm>
                <a:off x="268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1" name="Oval 2736">
                <a:extLst>
                  <a:ext uri="{FF2B5EF4-FFF2-40B4-BE49-F238E27FC236}">
                    <a16:creationId xmlns:a16="http://schemas.microsoft.com/office/drawing/2014/main" id="{37035A1A-8502-401C-AD82-52B126F4A58B}"/>
                  </a:ext>
                </a:extLst>
              </p:cNvPr>
              <p:cNvSpPr>
                <a:spLocks noChangeArrowheads="1"/>
              </p:cNvSpPr>
              <p:nvPr/>
            </p:nvSpPr>
            <p:spPr bwMode="auto">
              <a:xfrm>
                <a:off x="253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2" name="Oval 2737">
                <a:extLst>
                  <a:ext uri="{FF2B5EF4-FFF2-40B4-BE49-F238E27FC236}">
                    <a16:creationId xmlns:a16="http://schemas.microsoft.com/office/drawing/2014/main" id="{AD6C36D0-596D-4EB4-8B99-9251527F8802}"/>
                  </a:ext>
                </a:extLst>
              </p:cNvPr>
              <p:cNvSpPr>
                <a:spLocks noChangeArrowheads="1"/>
              </p:cNvSpPr>
              <p:nvPr/>
            </p:nvSpPr>
            <p:spPr bwMode="auto">
              <a:xfrm>
                <a:off x="25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3" name="Oval 2738">
                <a:extLst>
                  <a:ext uri="{FF2B5EF4-FFF2-40B4-BE49-F238E27FC236}">
                    <a16:creationId xmlns:a16="http://schemas.microsoft.com/office/drawing/2014/main" id="{00C2AC09-37AF-40A1-ADFD-0DC9427E73D3}"/>
                  </a:ext>
                </a:extLst>
              </p:cNvPr>
              <p:cNvSpPr>
                <a:spLocks noChangeArrowheads="1"/>
              </p:cNvSpPr>
              <p:nvPr/>
            </p:nvSpPr>
            <p:spPr bwMode="auto">
              <a:xfrm>
                <a:off x="247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4" name="Oval 2739">
                <a:extLst>
                  <a:ext uri="{FF2B5EF4-FFF2-40B4-BE49-F238E27FC236}">
                    <a16:creationId xmlns:a16="http://schemas.microsoft.com/office/drawing/2014/main" id="{D943E6C6-C17C-4E63-AF13-0ABFE8D15B16}"/>
                  </a:ext>
                </a:extLst>
              </p:cNvPr>
              <p:cNvSpPr>
                <a:spLocks noChangeArrowheads="1"/>
              </p:cNvSpPr>
              <p:nvPr/>
            </p:nvSpPr>
            <p:spPr bwMode="auto">
              <a:xfrm>
                <a:off x="250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5" name="Oval 2740">
                <a:extLst>
                  <a:ext uri="{FF2B5EF4-FFF2-40B4-BE49-F238E27FC236}">
                    <a16:creationId xmlns:a16="http://schemas.microsoft.com/office/drawing/2014/main" id="{D87561BE-6513-4BC4-865E-B5FE5E551383}"/>
                  </a:ext>
                </a:extLst>
              </p:cNvPr>
              <p:cNvSpPr>
                <a:spLocks noChangeArrowheads="1"/>
              </p:cNvSpPr>
              <p:nvPr/>
            </p:nvSpPr>
            <p:spPr bwMode="auto">
              <a:xfrm>
                <a:off x="232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6" name="Oval 2741">
                <a:extLst>
                  <a:ext uri="{FF2B5EF4-FFF2-40B4-BE49-F238E27FC236}">
                    <a16:creationId xmlns:a16="http://schemas.microsoft.com/office/drawing/2014/main" id="{236D7F8E-701E-4EA0-B11F-74411225CB88}"/>
                  </a:ext>
                </a:extLst>
              </p:cNvPr>
              <p:cNvSpPr>
                <a:spLocks noChangeArrowheads="1"/>
              </p:cNvSpPr>
              <p:nvPr/>
            </p:nvSpPr>
            <p:spPr bwMode="auto">
              <a:xfrm>
                <a:off x="232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7" name="Oval 2742">
                <a:extLst>
                  <a:ext uri="{FF2B5EF4-FFF2-40B4-BE49-F238E27FC236}">
                    <a16:creationId xmlns:a16="http://schemas.microsoft.com/office/drawing/2014/main" id="{26D87615-B52C-4BB3-B953-1048F6B8401A}"/>
                  </a:ext>
                </a:extLst>
              </p:cNvPr>
              <p:cNvSpPr>
                <a:spLocks noChangeArrowheads="1"/>
              </p:cNvSpPr>
              <p:nvPr/>
            </p:nvSpPr>
            <p:spPr bwMode="auto">
              <a:xfrm>
                <a:off x="220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8" name="Oval 2743">
                <a:extLst>
                  <a:ext uri="{FF2B5EF4-FFF2-40B4-BE49-F238E27FC236}">
                    <a16:creationId xmlns:a16="http://schemas.microsoft.com/office/drawing/2014/main" id="{28762DCD-D09C-4E7D-A5EC-91CE561DE6F9}"/>
                  </a:ext>
                </a:extLst>
              </p:cNvPr>
              <p:cNvSpPr>
                <a:spLocks noChangeArrowheads="1"/>
              </p:cNvSpPr>
              <p:nvPr/>
            </p:nvSpPr>
            <p:spPr bwMode="auto">
              <a:xfrm>
                <a:off x="220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9" name="Oval 2744">
                <a:extLst>
                  <a:ext uri="{FF2B5EF4-FFF2-40B4-BE49-F238E27FC236}">
                    <a16:creationId xmlns:a16="http://schemas.microsoft.com/office/drawing/2014/main" id="{CC810095-FCCA-461A-A666-8D9B853D0C12}"/>
                  </a:ext>
                </a:extLst>
              </p:cNvPr>
              <p:cNvSpPr>
                <a:spLocks noChangeArrowheads="1"/>
              </p:cNvSpPr>
              <p:nvPr/>
            </p:nvSpPr>
            <p:spPr bwMode="auto">
              <a:xfrm>
                <a:off x="20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0" name="Oval 2745">
                <a:extLst>
                  <a:ext uri="{FF2B5EF4-FFF2-40B4-BE49-F238E27FC236}">
                    <a16:creationId xmlns:a16="http://schemas.microsoft.com/office/drawing/2014/main" id="{C12236F9-32B7-44B5-9CD0-34A4BA4532E4}"/>
                  </a:ext>
                </a:extLst>
              </p:cNvPr>
              <p:cNvSpPr>
                <a:spLocks noChangeArrowheads="1"/>
              </p:cNvSpPr>
              <p:nvPr/>
            </p:nvSpPr>
            <p:spPr bwMode="auto">
              <a:xfrm>
                <a:off x="2086" y="9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1" name="Oval 2746">
                <a:extLst>
                  <a:ext uri="{FF2B5EF4-FFF2-40B4-BE49-F238E27FC236}">
                    <a16:creationId xmlns:a16="http://schemas.microsoft.com/office/drawing/2014/main" id="{C3E7AE27-7A14-48E0-8C21-20AEB10F7D1F}"/>
                  </a:ext>
                </a:extLst>
              </p:cNvPr>
              <p:cNvSpPr>
                <a:spLocks noChangeArrowheads="1"/>
              </p:cNvSpPr>
              <p:nvPr/>
            </p:nvSpPr>
            <p:spPr bwMode="auto">
              <a:xfrm>
                <a:off x="1936"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2" name="Oval 2747">
                <a:extLst>
                  <a:ext uri="{FF2B5EF4-FFF2-40B4-BE49-F238E27FC236}">
                    <a16:creationId xmlns:a16="http://schemas.microsoft.com/office/drawing/2014/main" id="{95AFDEBC-342B-48DA-BA74-0DFD3A7EBF2C}"/>
                  </a:ext>
                </a:extLst>
              </p:cNvPr>
              <p:cNvSpPr>
                <a:spLocks noChangeArrowheads="1"/>
              </p:cNvSpPr>
              <p:nvPr/>
            </p:nvSpPr>
            <p:spPr bwMode="auto">
              <a:xfrm>
                <a:off x="1936"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3" name="Oval 2748">
                <a:extLst>
                  <a:ext uri="{FF2B5EF4-FFF2-40B4-BE49-F238E27FC236}">
                    <a16:creationId xmlns:a16="http://schemas.microsoft.com/office/drawing/2014/main" id="{C5AC9D17-46DC-457C-B8B3-4F9D124D3534}"/>
                  </a:ext>
                </a:extLst>
              </p:cNvPr>
              <p:cNvSpPr>
                <a:spLocks noChangeArrowheads="1"/>
              </p:cNvSpPr>
              <p:nvPr/>
            </p:nvSpPr>
            <p:spPr bwMode="auto">
              <a:xfrm>
                <a:off x="193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4" name="Oval 2749">
                <a:extLst>
                  <a:ext uri="{FF2B5EF4-FFF2-40B4-BE49-F238E27FC236}">
                    <a16:creationId xmlns:a16="http://schemas.microsoft.com/office/drawing/2014/main" id="{85F493CB-8FA7-4435-9EE3-8D1085AAA331}"/>
                  </a:ext>
                </a:extLst>
              </p:cNvPr>
              <p:cNvSpPr>
                <a:spLocks noChangeArrowheads="1"/>
              </p:cNvSpPr>
              <p:nvPr/>
            </p:nvSpPr>
            <p:spPr bwMode="auto">
              <a:xfrm>
                <a:off x="1876"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5" name="Oval 2750">
                <a:extLst>
                  <a:ext uri="{FF2B5EF4-FFF2-40B4-BE49-F238E27FC236}">
                    <a16:creationId xmlns:a16="http://schemas.microsoft.com/office/drawing/2014/main" id="{89DFC7B5-05F0-469C-B058-D60F29ED704F}"/>
                  </a:ext>
                </a:extLst>
              </p:cNvPr>
              <p:cNvSpPr>
                <a:spLocks noChangeArrowheads="1"/>
              </p:cNvSpPr>
              <p:nvPr/>
            </p:nvSpPr>
            <p:spPr bwMode="auto">
              <a:xfrm>
                <a:off x="2056" y="4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6" name="Oval 2751">
                <a:extLst>
                  <a:ext uri="{FF2B5EF4-FFF2-40B4-BE49-F238E27FC236}">
                    <a16:creationId xmlns:a16="http://schemas.microsoft.com/office/drawing/2014/main" id="{E4A09F3E-C772-45EB-AB3E-2C8C7A7C4261}"/>
                  </a:ext>
                </a:extLst>
              </p:cNvPr>
              <p:cNvSpPr>
                <a:spLocks noChangeArrowheads="1"/>
              </p:cNvSpPr>
              <p:nvPr/>
            </p:nvSpPr>
            <p:spPr bwMode="auto">
              <a:xfrm>
                <a:off x="2086" y="3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7" name="Oval 2752">
                <a:extLst>
                  <a:ext uri="{FF2B5EF4-FFF2-40B4-BE49-F238E27FC236}">
                    <a16:creationId xmlns:a16="http://schemas.microsoft.com/office/drawing/2014/main" id="{28A9C015-D11F-4CF3-9A4C-F987F62A9BC8}"/>
                  </a:ext>
                </a:extLst>
              </p:cNvPr>
              <p:cNvSpPr>
                <a:spLocks noChangeArrowheads="1"/>
              </p:cNvSpPr>
              <p:nvPr/>
            </p:nvSpPr>
            <p:spPr bwMode="auto">
              <a:xfrm>
                <a:off x="193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8" name="Oval 2753">
                <a:extLst>
                  <a:ext uri="{FF2B5EF4-FFF2-40B4-BE49-F238E27FC236}">
                    <a16:creationId xmlns:a16="http://schemas.microsoft.com/office/drawing/2014/main" id="{561F6D57-9E9E-41B5-9901-D425AF6B4B76}"/>
                  </a:ext>
                </a:extLst>
              </p:cNvPr>
              <p:cNvSpPr>
                <a:spLocks noChangeArrowheads="1"/>
              </p:cNvSpPr>
              <p:nvPr/>
            </p:nvSpPr>
            <p:spPr bwMode="auto">
              <a:xfrm>
                <a:off x="2026"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9" name="Oval 2754">
                <a:extLst>
                  <a:ext uri="{FF2B5EF4-FFF2-40B4-BE49-F238E27FC236}">
                    <a16:creationId xmlns:a16="http://schemas.microsoft.com/office/drawing/2014/main" id="{D8D7D87B-C1C6-40F4-8703-886E5ADAFD6F}"/>
                  </a:ext>
                </a:extLst>
              </p:cNvPr>
              <p:cNvSpPr>
                <a:spLocks noChangeArrowheads="1"/>
              </p:cNvSpPr>
              <p:nvPr/>
            </p:nvSpPr>
            <p:spPr bwMode="auto">
              <a:xfrm>
                <a:off x="2086" y="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0" name="Oval 2755">
                <a:extLst>
                  <a:ext uri="{FF2B5EF4-FFF2-40B4-BE49-F238E27FC236}">
                    <a16:creationId xmlns:a16="http://schemas.microsoft.com/office/drawing/2014/main" id="{8B8811BE-2091-4BE6-A8A8-D2076DA92FFE}"/>
                  </a:ext>
                </a:extLst>
              </p:cNvPr>
              <p:cNvSpPr>
                <a:spLocks noChangeArrowheads="1"/>
              </p:cNvSpPr>
              <p:nvPr/>
            </p:nvSpPr>
            <p:spPr bwMode="auto">
              <a:xfrm>
                <a:off x="193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1" name="Oval 2756">
                <a:extLst>
                  <a:ext uri="{FF2B5EF4-FFF2-40B4-BE49-F238E27FC236}">
                    <a16:creationId xmlns:a16="http://schemas.microsoft.com/office/drawing/2014/main" id="{7D3F80D4-343E-49B5-8B55-E664252C384F}"/>
                  </a:ext>
                </a:extLst>
              </p:cNvPr>
              <p:cNvSpPr>
                <a:spLocks noChangeArrowheads="1"/>
              </p:cNvSpPr>
              <p:nvPr/>
            </p:nvSpPr>
            <p:spPr bwMode="auto">
              <a:xfrm>
                <a:off x="172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2" name="Oval 2757">
                <a:extLst>
                  <a:ext uri="{FF2B5EF4-FFF2-40B4-BE49-F238E27FC236}">
                    <a16:creationId xmlns:a16="http://schemas.microsoft.com/office/drawing/2014/main" id="{867FBB8E-1142-42D7-96E7-94CBFC745E8D}"/>
                  </a:ext>
                </a:extLst>
              </p:cNvPr>
              <p:cNvSpPr>
                <a:spLocks noChangeArrowheads="1"/>
              </p:cNvSpPr>
              <p:nvPr/>
            </p:nvSpPr>
            <p:spPr bwMode="auto">
              <a:xfrm>
                <a:off x="157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3" name="Oval 2758">
                <a:extLst>
                  <a:ext uri="{FF2B5EF4-FFF2-40B4-BE49-F238E27FC236}">
                    <a16:creationId xmlns:a16="http://schemas.microsoft.com/office/drawing/2014/main" id="{BEEE37AC-0122-4913-B006-A8D53F652937}"/>
                  </a:ext>
                </a:extLst>
              </p:cNvPr>
              <p:cNvSpPr>
                <a:spLocks noChangeArrowheads="1"/>
              </p:cNvSpPr>
              <p:nvPr/>
            </p:nvSpPr>
            <p:spPr bwMode="auto">
              <a:xfrm>
                <a:off x="154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4" name="Oval 2759">
                <a:extLst>
                  <a:ext uri="{FF2B5EF4-FFF2-40B4-BE49-F238E27FC236}">
                    <a16:creationId xmlns:a16="http://schemas.microsoft.com/office/drawing/2014/main" id="{204B28E5-906E-4831-AC96-84F8EB51D31F}"/>
                  </a:ext>
                </a:extLst>
              </p:cNvPr>
              <p:cNvSpPr>
                <a:spLocks noChangeArrowheads="1"/>
              </p:cNvSpPr>
              <p:nvPr/>
            </p:nvSpPr>
            <p:spPr bwMode="auto">
              <a:xfrm>
                <a:off x="142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5" name="Oval 2760">
                <a:extLst>
                  <a:ext uri="{FF2B5EF4-FFF2-40B4-BE49-F238E27FC236}">
                    <a16:creationId xmlns:a16="http://schemas.microsoft.com/office/drawing/2014/main" id="{086A0994-D8D5-41AA-8A23-9D9E6353F39A}"/>
                  </a:ext>
                </a:extLst>
              </p:cNvPr>
              <p:cNvSpPr>
                <a:spLocks noChangeArrowheads="1"/>
              </p:cNvSpPr>
              <p:nvPr/>
            </p:nvSpPr>
            <p:spPr bwMode="auto">
              <a:xfrm>
                <a:off x="130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6" name="Oval 2761">
                <a:extLst>
                  <a:ext uri="{FF2B5EF4-FFF2-40B4-BE49-F238E27FC236}">
                    <a16:creationId xmlns:a16="http://schemas.microsoft.com/office/drawing/2014/main" id="{8F5B0C78-A2CB-4CD6-9348-E54BAE4A3D27}"/>
                  </a:ext>
                </a:extLst>
              </p:cNvPr>
              <p:cNvSpPr>
                <a:spLocks noChangeArrowheads="1"/>
              </p:cNvSpPr>
              <p:nvPr/>
            </p:nvSpPr>
            <p:spPr bwMode="auto">
              <a:xfrm>
                <a:off x="1246"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7" name="Oval 2762">
                <a:extLst>
                  <a:ext uri="{FF2B5EF4-FFF2-40B4-BE49-F238E27FC236}">
                    <a16:creationId xmlns:a16="http://schemas.microsoft.com/office/drawing/2014/main" id="{9F1A25B0-C651-4E64-9770-3C67CBCAD8B0}"/>
                  </a:ext>
                </a:extLst>
              </p:cNvPr>
              <p:cNvSpPr>
                <a:spLocks noChangeArrowheads="1"/>
              </p:cNvSpPr>
              <p:nvPr/>
            </p:nvSpPr>
            <p:spPr bwMode="auto">
              <a:xfrm>
                <a:off x="139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8" name="Oval 2763">
                <a:extLst>
                  <a:ext uri="{FF2B5EF4-FFF2-40B4-BE49-F238E27FC236}">
                    <a16:creationId xmlns:a16="http://schemas.microsoft.com/office/drawing/2014/main" id="{08B3580C-1377-45E5-9B55-57410BA13971}"/>
                  </a:ext>
                </a:extLst>
              </p:cNvPr>
              <p:cNvSpPr>
                <a:spLocks noChangeArrowheads="1"/>
              </p:cNvSpPr>
              <p:nvPr/>
            </p:nvSpPr>
            <p:spPr bwMode="auto">
              <a:xfrm>
                <a:off x="172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9" name="Oval 2764">
                <a:extLst>
                  <a:ext uri="{FF2B5EF4-FFF2-40B4-BE49-F238E27FC236}">
                    <a16:creationId xmlns:a16="http://schemas.microsoft.com/office/drawing/2014/main" id="{AB3DE166-07EF-4338-8FC5-625AFE97EEF9}"/>
                  </a:ext>
                </a:extLst>
              </p:cNvPr>
              <p:cNvSpPr>
                <a:spLocks noChangeArrowheads="1"/>
              </p:cNvSpPr>
              <p:nvPr/>
            </p:nvSpPr>
            <p:spPr bwMode="auto">
              <a:xfrm>
                <a:off x="169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0" name="Oval 2765">
                <a:extLst>
                  <a:ext uri="{FF2B5EF4-FFF2-40B4-BE49-F238E27FC236}">
                    <a16:creationId xmlns:a16="http://schemas.microsoft.com/office/drawing/2014/main" id="{8F21FEA4-86AA-4903-99CB-56C74EA358F5}"/>
                  </a:ext>
                </a:extLst>
              </p:cNvPr>
              <p:cNvSpPr>
                <a:spLocks noChangeArrowheads="1"/>
              </p:cNvSpPr>
              <p:nvPr/>
            </p:nvSpPr>
            <p:spPr bwMode="auto">
              <a:xfrm>
                <a:off x="1696"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1" name="Oval 2766">
                <a:extLst>
                  <a:ext uri="{FF2B5EF4-FFF2-40B4-BE49-F238E27FC236}">
                    <a16:creationId xmlns:a16="http://schemas.microsoft.com/office/drawing/2014/main" id="{1F40EF0C-2D27-4887-9A96-6107556093DF}"/>
                  </a:ext>
                </a:extLst>
              </p:cNvPr>
              <p:cNvSpPr>
                <a:spLocks noChangeArrowheads="1"/>
              </p:cNvSpPr>
              <p:nvPr/>
            </p:nvSpPr>
            <p:spPr bwMode="auto">
              <a:xfrm>
                <a:off x="151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2" name="Oval 2767">
                <a:extLst>
                  <a:ext uri="{FF2B5EF4-FFF2-40B4-BE49-F238E27FC236}">
                    <a16:creationId xmlns:a16="http://schemas.microsoft.com/office/drawing/2014/main" id="{178B6CEA-B34F-414D-B061-B1D5CBB1FF60}"/>
                  </a:ext>
                </a:extLst>
              </p:cNvPr>
              <p:cNvSpPr>
                <a:spLocks noChangeArrowheads="1"/>
              </p:cNvSpPr>
              <p:nvPr/>
            </p:nvSpPr>
            <p:spPr bwMode="auto">
              <a:xfrm>
                <a:off x="1576"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3" name="Oval 2768">
                <a:extLst>
                  <a:ext uri="{FF2B5EF4-FFF2-40B4-BE49-F238E27FC236}">
                    <a16:creationId xmlns:a16="http://schemas.microsoft.com/office/drawing/2014/main" id="{1FB03F10-3357-4B98-8F7F-A856A9DA6E55}"/>
                  </a:ext>
                </a:extLst>
              </p:cNvPr>
              <p:cNvSpPr>
                <a:spLocks noChangeArrowheads="1"/>
              </p:cNvSpPr>
              <p:nvPr/>
            </p:nvSpPr>
            <p:spPr bwMode="auto">
              <a:xfrm>
                <a:off x="154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4" name="Oval 2769">
                <a:extLst>
                  <a:ext uri="{FF2B5EF4-FFF2-40B4-BE49-F238E27FC236}">
                    <a16:creationId xmlns:a16="http://schemas.microsoft.com/office/drawing/2014/main" id="{2E4D4C21-B9A6-4B25-8D60-E7321BEBF27A}"/>
                  </a:ext>
                </a:extLst>
              </p:cNvPr>
              <p:cNvSpPr>
                <a:spLocks noChangeArrowheads="1"/>
              </p:cNvSpPr>
              <p:nvPr/>
            </p:nvSpPr>
            <p:spPr bwMode="auto">
              <a:xfrm>
                <a:off x="163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5" name="Oval 2770">
                <a:extLst>
                  <a:ext uri="{FF2B5EF4-FFF2-40B4-BE49-F238E27FC236}">
                    <a16:creationId xmlns:a16="http://schemas.microsoft.com/office/drawing/2014/main" id="{74E35FF6-5AE6-4B50-9825-D25F17FCDB9D}"/>
                  </a:ext>
                </a:extLst>
              </p:cNvPr>
              <p:cNvSpPr>
                <a:spLocks noChangeArrowheads="1"/>
              </p:cNvSpPr>
              <p:nvPr/>
            </p:nvSpPr>
            <p:spPr bwMode="auto">
              <a:xfrm>
                <a:off x="1546"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6" name="Oval 2771">
                <a:extLst>
                  <a:ext uri="{FF2B5EF4-FFF2-40B4-BE49-F238E27FC236}">
                    <a16:creationId xmlns:a16="http://schemas.microsoft.com/office/drawing/2014/main" id="{DCB90542-F2DF-42D3-B658-7DBAEA173289}"/>
                  </a:ext>
                </a:extLst>
              </p:cNvPr>
              <p:cNvSpPr>
                <a:spLocks noChangeArrowheads="1"/>
              </p:cNvSpPr>
              <p:nvPr/>
            </p:nvSpPr>
            <p:spPr bwMode="auto">
              <a:xfrm>
                <a:off x="160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7" name="Oval 2772">
                <a:extLst>
                  <a:ext uri="{FF2B5EF4-FFF2-40B4-BE49-F238E27FC236}">
                    <a16:creationId xmlns:a16="http://schemas.microsoft.com/office/drawing/2014/main" id="{62C1ED9E-7C3E-43CD-9BD3-71B3773CFF19}"/>
                  </a:ext>
                </a:extLst>
              </p:cNvPr>
              <p:cNvSpPr>
                <a:spLocks noChangeArrowheads="1"/>
              </p:cNvSpPr>
              <p:nvPr/>
            </p:nvSpPr>
            <p:spPr bwMode="auto">
              <a:xfrm>
                <a:off x="17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8" name="Oval 2773">
                <a:extLst>
                  <a:ext uri="{FF2B5EF4-FFF2-40B4-BE49-F238E27FC236}">
                    <a16:creationId xmlns:a16="http://schemas.microsoft.com/office/drawing/2014/main" id="{2C932C24-8D74-41A6-99BD-4568037CD129}"/>
                  </a:ext>
                </a:extLst>
              </p:cNvPr>
              <p:cNvSpPr>
                <a:spLocks noChangeArrowheads="1"/>
              </p:cNvSpPr>
              <p:nvPr/>
            </p:nvSpPr>
            <p:spPr bwMode="auto">
              <a:xfrm>
                <a:off x="1756"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9" name="Oval 2774">
                <a:extLst>
                  <a:ext uri="{FF2B5EF4-FFF2-40B4-BE49-F238E27FC236}">
                    <a16:creationId xmlns:a16="http://schemas.microsoft.com/office/drawing/2014/main" id="{2F999412-414A-4E39-9900-674D7C92275F}"/>
                  </a:ext>
                </a:extLst>
              </p:cNvPr>
              <p:cNvSpPr>
                <a:spLocks noChangeArrowheads="1"/>
              </p:cNvSpPr>
              <p:nvPr/>
            </p:nvSpPr>
            <p:spPr bwMode="auto">
              <a:xfrm>
                <a:off x="1756"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0" name="Oval 2775">
                <a:extLst>
                  <a:ext uri="{FF2B5EF4-FFF2-40B4-BE49-F238E27FC236}">
                    <a16:creationId xmlns:a16="http://schemas.microsoft.com/office/drawing/2014/main" id="{B7511314-71F1-49FF-909E-48DB1739C408}"/>
                  </a:ext>
                </a:extLst>
              </p:cNvPr>
              <p:cNvSpPr>
                <a:spLocks noChangeArrowheads="1"/>
              </p:cNvSpPr>
              <p:nvPr/>
            </p:nvSpPr>
            <p:spPr bwMode="auto">
              <a:xfrm>
                <a:off x="184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1" name="Oval 2776">
                <a:extLst>
                  <a:ext uri="{FF2B5EF4-FFF2-40B4-BE49-F238E27FC236}">
                    <a16:creationId xmlns:a16="http://schemas.microsoft.com/office/drawing/2014/main" id="{22A33686-8320-4A52-9762-154EF5F33871}"/>
                  </a:ext>
                </a:extLst>
              </p:cNvPr>
              <p:cNvSpPr>
                <a:spLocks noChangeArrowheads="1"/>
              </p:cNvSpPr>
              <p:nvPr/>
            </p:nvSpPr>
            <p:spPr bwMode="auto">
              <a:xfrm>
                <a:off x="1726"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2" name="Oval 2777">
                <a:extLst>
                  <a:ext uri="{FF2B5EF4-FFF2-40B4-BE49-F238E27FC236}">
                    <a16:creationId xmlns:a16="http://schemas.microsoft.com/office/drawing/2014/main" id="{653CBC48-4EC8-488C-943B-CB0EFDE69875}"/>
                  </a:ext>
                </a:extLst>
              </p:cNvPr>
              <p:cNvSpPr>
                <a:spLocks noChangeArrowheads="1"/>
              </p:cNvSpPr>
              <p:nvPr/>
            </p:nvSpPr>
            <p:spPr bwMode="auto">
              <a:xfrm>
                <a:off x="163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3" name="Oval 2778">
                <a:extLst>
                  <a:ext uri="{FF2B5EF4-FFF2-40B4-BE49-F238E27FC236}">
                    <a16:creationId xmlns:a16="http://schemas.microsoft.com/office/drawing/2014/main" id="{91CC5361-35D9-42FF-81A3-2C70110D216E}"/>
                  </a:ext>
                </a:extLst>
              </p:cNvPr>
              <p:cNvSpPr>
                <a:spLocks noChangeArrowheads="1"/>
              </p:cNvSpPr>
              <p:nvPr/>
            </p:nvSpPr>
            <p:spPr bwMode="auto">
              <a:xfrm>
                <a:off x="148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4" name="Oval 2779">
                <a:extLst>
                  <a:ext uri="{FF2B5EF4-FFF2-40B4-BE49-F238E27FC236}">
                    <a16:creationId xmlns:a16="http://schemas.microsoft.com/office/drawing/2014/main" id="{9024EA4D-C62C-4AC8-B455-62ECFA1F1A0E}"/>
                  </a:ext>
                </a:extLst>
              </p:cNvPr>
              <p:cNvSpPr>
                <a:spLocks noChangeArrowheads="1"/>
              </p:cNvSpPr>
              <p:nvPr/>
            </p:nvSpPr>
            <p:spPr bwMode="auto">
              <a:xfrm>
                <a:off x="124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5" name="Oval 2780">
                <a:extLst>
                  <a:ext uri="{FF2B5EF4-FFF2-40B4-BE49-F238E27FC236}">
                    <a16:creationId xmlns:a16="http://schemas.microsoft.com/office/drawing/2014/main" id="{4DF58077-B87A-4AAB-946C-6601E600ABF0}"/>
                  </a:ext>
                </a:extLst>
              </p:cNvPr>
              <p:cNvSpPr>
                <a:spLocks noChangeArrowheads="1"/>
              </p:cNvSpPr>
              <p:nvPr/>
            </p:nvSpPr>
            <p:spPr bwMode="auto">
              <a:xfrm>
                <a:off x="1306"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6" name="Oval 2781">
                <a:extLst>
                  <a:ext uri="{FF2B5EF4-FFF2-40B4-BE49-F238E27FC236}">
                    <a16:creationId xmlns:a16="http://schemas.microsoft.com/office/drawing/2014/main" id="{41A50037-03E3-4B67-A514-F52E5A6AE923}"/>
                  </a:ext>
                </a:extLst>
              </p:cNvPr>
              <p:cNvSpPr>
                <a:spLocks noChangeArrowheads="1"/>
              </p:cNvSpPr>
              <p:nvPr/>
            </p:nvSpPr>
            <p:spPr bwMode="auto">
              <a:xfrm>
                <a:off x="14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441" name="Group 2983">
              <a:extLst>
                <a:ext uri="{FF2B5EF4-FFF2-40B4-BE49-F238E27FC236}">
                  <a16:creationId xmlns:a16="http://schemas.microsoft.com/office/drawing/2014/main" id="{0A3A8122-B0A5-4CBE-BE0C-4EEAC3BAC1CD}"/>
                </a:ext>
              </a:extLst>
            </p:cNvPr>
            <p:cNvGrpSpPr>
              <a:grpSpLocks/>
            </p:cNvGrpSpPr>
            <p:nvPr/>
          </p:nvGrpSpPr>
          <p:grpSpPr bwMode="auto">
            <a:xfrm>
              <a:off x="1246" y="120"/>
              <a:ext cx="1979" cy="3120"/>
              <a:chOff x="1246" y="120"/>
              <a:chExt cx="1979" cy="3120"/>
            </a:xfrm>
          </p:grpSpPr>
          <p:sp>
            <p:nvSpPr>
              <p:cNvPr id="627" name="Oval 2783">
                <a:extLst>
                  <a:ext uri="{FF2B5EF4-FFF2-40B4-BE49-F238E27FC236}">
                    <a16:creationId xmlns:a16="http://schemas.microsoft.com/office/drawing/2014/main" id="{DE049FBF-3B1B-4636-8B0C-232152CC5950}"/>
                  </a:ext>
                </a:extLst>
              </p:cNvPr>
              <p:cNvSpPr>
                <a:spLocks noChangeArrowheads="1"/>
              </p:cNvSpPr>
              <p:nvPr/>
            </p:nvSpPr>
            <p:spPr bwMode="auto">
              <a:xfrm>
                <a:off x="142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8" name="Oval 2784">
                <a:extLst>
                  <a:ext uri="{FF2B5EF4-FFF2-40B4-BE49-F238E27FC236}">
                    <a16:creationId xmlns:a16="http://schemas.microsoft.com/office/drawing/2014/main" id="{8C751D85-F782-4003-91EC-37380D1A9E27}"/>
                  </a:ext>
                </a:extLst>
              </p:cNvPr>
              <p:cNvSpPr>
                <a:spLocks noChangeArrowheads="1"/>
              </p:cNvSpPr>
              <p:nvPr/>
            </p:nvSpPr>
            <p:spPr bwMode="auto">
              <a:xfrm>
                <a:off x="1396"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9" name="Oval 2785">
                <a:extLst>
                  <a:ext uri="{FF2B5EF4-FFF2-40B4-BE49-F238E27FC236}">
                    <a16:creationId xmlns:a16="http://schemas.microsoft.com/office/drawing/2014/main" id="{48B70101-D4C7-43F9-BC63-94E5148398AC}"/>
                  </a:ext>
                </a:extLst>
              </p:cNvPr>
              <p:cNvSpPr>
                <a:spLocks noChangeArrowheads="1"/>
              </p:cNvSpPr>
              <p:nvPr/>
            </p:nvSpPr>
            <p:spPr bwMode="auto">
              <a:xfrm>
                <a:off x="145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0" name="Oval 2786">
                <a:extLst>
                  <a:ext uri="{FF2B5EF4-FFF2-40B4-BE49-F238E27FC236}">
                    <a16:creationId xmlns:a16="http://schemas.microsoft.com/office/drawing/2014/main" id="{22734C86-9844-476C-885B-7DC47D384376}"/>
                  </a:ext>
                </a:extLst>
              </p:cNvPr>
              <p:cNvSpPr>
                <a:spLocks noChangeArrowheads="1"/>
              </p:cNvSpPr>
              <p:nvPr/>
            </p:nvSpPr>
            <p:spPr bwMode="auto">
              <a:xfrm>
                <a:off x="1366"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1" name="Oval 2787">
                <a:extLst>
                  <a:ext uri="{FF2B5EF4-FFF2-40B4-BE49-F238E27FC236}">
                    <a16:creationId xmlns:a16="http://schemas.microsoft.com/office/drawing/2014/main" id="{0DBACCA5-9D06-4A31-9D34-E63BCF696EDC}"/>
                  </a:ext>
                </a:extLst>
              </p:cNvPr>
              <p:cNvSpPr>
                <a:spLocks noChangeArrowheads="1"/>
              </p:cNvSpPr>
              <p:nvPr/>
            </p:nvSpPr>
            <p:spPr bwMode="auto">
              <a:xfrm>
                <a:off x="127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2" name="Oval 2788">
                <a:extLst>
                  <a:ext uri="{FF2B5EF4-FFF2-40B4-BE49-F238E27FC236}">
                    <a16:creationId xmlns:a16="http://schemas.microsoft.com/office/drawing/2014/main" id="{2E51FDC8-111D-4394-8436-2984B95B009E}"/>
                  </a:ext>
                </a:extLst>
              </p:cNvPr>
              <p:cNvSpPr>
                <a:spLocks noChangeArrowheads="1"/>
              </p:cNvSpPr>
              <p:nvPr/>
            </p:nvSpPr>
            <p:spPr bwMode="auto">
              <a:xfrm>
                <a:off x="1306"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3" name="Oval 2789">
                <a:extLst>
                  <a:ext uri="{FF2B5EF4-FFF2-40B4-BE49-F238E27FC236}">
                    <a16:creationId xmlns:a16="http://schemas.microsoft.com/office/drawing/2014/main" id="{796910B3-347C-4CFF-B4BE-3CAF0A586FAD}"/>
                  </a:ext>
                </a:extLst>
              </p:cNvPr>
              <p:cNvSpPr>
                <a:spLocks noChangeArrowheads="1"/>
              </p:cNvSpPr>
              <p:nvPr/>
            </p:nvSpPr>
            <p:spPr bwMode="auto">
              <a:xfrm>
                <a:off x="1276"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4" name="Oval 2790">
                <a:extLst>
                  <a:ext uri="{FF2B5EF4-FFF2-40B4-BE49-F238E27FC236}">
                    <a16:creationId xmlns:a16="http://schemas.microsoft.com/office/drawing/2014/main" id="{5C7C2C56-1BDA-416F-BD58-E79464B21DE4}"/>
                  </a:ext>
                </a:extLst>
              </p:cNvPr>
              <p:cNvSpPr>
                <a:spLocks noChangeArrowheads="1"/>
              </p:cNvSpPr>
              <p:nvPr/>
            </p:nvSpPr>
            <p:spPr bwMode="auto">
              <a:xfrm>
                <a:off x="124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5" name="Oval 2791">
                <a:extLst>
                  <a:ext uri="{FF2B5EF4-FFF2-40B4-BE49-F238E27FC236}">
                    <a16:creationId xmlns:a16="http://schemas.microsoft.com/office/drawing/2014/main" id="{7FCE4FC6-C981-4A09-A09A-28688B8A6EDD}"/>
                  </a:ext>
                </a:extLst>
              </p:cNvPr>
              <p:cNvSpPr>
                <a:spLocks noChangeArrowheads="1"/>
              </p:cNvSpPr>
              <p:nvPr/>
            </p:nvSpPr>
            <p:spPr bwMode="auto">
              <a:xfrm>
                <a:off x="1306"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6" name="Oval 2792">
                <a:extLst>
                  <a:ext uri="{FF2B5EF4-FFF2-40B4-BE49-F238E27FC236}">
                    <a16:creationId xmlns:a16="http://schemas.microsoft.com/office/drawing/2014/main" id="{4E1F16C2-ECEB-4B44-94CB-DF6A4BBE6C77}"/>
                  </a:ext>
                </a:extLst>
              </p:cNvPr>
              <p:cNvSpPr>
                <a:spLocks noChangeArrowheads="1"/>
              </p:cNvSpPr>
              <p:nvPr/>
            </p:nvSpPr>
            <p:spPr bwMode="auto">
              <a:xfrm>
                <a:off x="1576"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7" name="Oval 2793">
                <a:extLst>
                  <a:ext uri="{FF2B5EF4-FFF2-40B4-BE49-F238E27FC236}">
                    <a16:creationId xmlns:a16="http://schemas.microsoft.com/office/drawing/2014/main" id="{4532886D-A939-413E-9D14-FC9A52EC2B38}"/>
                  </a:ext>
                </a:extLst>
              </p:cNvPr>
              <p:cNvSpPr>
                <a:spLocks noChangeArrowheads="1"/>
              </p:cNvSpPr>
              <p:nvPr/>
            </p:nvSpPr>
            <p:spPr bwMode="auto">
              <a:xfrm>
                <a:off x="16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8" name="Oval 2794">
                <a:extLst>
                  <a:ext uri="{FF2B5EF4-FFF2-40B4-BE49-F238E27FC236}">
                    <a16:creationId xmlns:a16="http://schemas.microsoft.com/office/drawing/2014/main" id="{2A3FFCEE-CB7C-45F1-9B35-90F670E7BE33}"/>
                  </a:ext>
                </a:extLst>
              </p:cNvPr>
              <p:cNvSpPr>
                <a:spLocks noChangeArrowheads="1"/>
              </p:cNvSpPr>
              <p:nvPr/>
            </p:nvSpPr>
            <p:spPr bwMode="auto">
              <a:xfrm>
                <a:off x="1756"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9" name="Oval 2795">
                <a:extLst>
                  <a:ext uri="{FF2B5EF4-FFF2-40B4-BE49-F238E27FC236}">
                    <a16:creationId xmlns:a16="http://schemas.microsoft.com/office/drawing/2014/main" id="{6EDEC1B1-CB2D-47F8-8E2A-702EAAEAFCE4}"/>
                  </a:ext>
                </a:extLst>
              </p:cNvPr>
              <p:cNvSpPr>
                <a:spLocks noChangeArrowheads="1"/>
              </p:cNvSpPr>
              <p:nvPr/>
            </p:nvSpPr>
            <p:spPr bwMode="auto">
              <a:xfrm>
                <a:off x="172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0" name="Oval 2796">
                <a:extLst>
                  <a:ext uri="{FF2B5EF4-FFF2-40B4-BE49-F238E27FC236}">
                    <a16:creationId xmlns:a16="http://schemas.microsoft.com/office/drawing/2014/main" id="{2E8AB180-780E-40D1-907F-99686D3AA797}"/>
                  </a:ext>
                </a:extLst>
              </p:cNvPr>
              <p:cNvSpPr>
                <a:spLocks noChangeArrowheads="1"/>
              </p:cNvSpPr>
              <p:nvPr/>
            </p:nvSpPr>
            <p:spPr bwMode="auto">
              <a:xfrm>
                <a:off x="1726"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1" name="Oval 2797">
                <a:extLst>
                  <a:ext uri="{FF2B5EF4-FFF2-40B4-BE49-F238E27FC236}">
                    <a16:creationId xmlns:a16="http://schemas.microsoft.com/office/drawing/2014/main" id="{AFD0F4F0-203A-4CC6-B15A-2D3EADE99DC7}"/>
                  </a:ext>
                </a:extLst>
              </p:cNvPr>
              <p:cNvSpPr>
                <a:spLocks noChangeArrowheads="1"/>
              </p:cNvSpPr>
              <p:nvPr/>
            </p:nvSpPr>
            <p:spPr bwMode="auto">
              <a:xfrm>
                <a:off x="163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2" name="Oval 2798">
                <a:extLst>
                  <a:ext uri="{FF2B5EF4-FFF2-40B4-BE49-F238E27FC236}">
                    <a16:creationId xmlns:a16="http://schemas.microsoft.com/office/drawing/2014/main" id="{55E36F5C-9F95-45D1-B383-0A8452FCFF3E}"/>
                  </a:ext>
                </a:extLst>
              </p:cNvPr>
              <p:cNvSpPr>
                <a:spLocks noChangeArrowheads="1"/>
              </p:cNvSpPr>
              <p:nvPr/>
            </p:nvSpPr>
            <p:spPr bwMode="auto">
              <a:xfrm>
                <a:off x="16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3" name="Oval 2799">
                <a:extLst>
                  <a:ext uri="{FF2B5EF4-FFF2-40B4-BE49-F238E27FC236}">
                    <a16:creationId xmlns:a16="http://schemas.microsoft.com/office/drawing/2014/main" id="{51D3EF33-573F-4E8E-91F2-2128BFC5D9C4}"/>
                  </a:ext>
                </a:extLst>
              </p:cNvPr>
              <p:cNvSpPr>
                <a:spLocks noChangeArrowheads="1"/>
              </p:cNvSpPr>
              <p:nvPr/>
            </p:nvSpPr>
            <p:spPr bwMode="auto">
              <a:xfrm>
                <a:off x="175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4" name="Oval 2800">
                <a:extLst>
                  <a:ext uri="{FF2B5EF4-FFF2-40B4-BE49-F238E27FC236}">
                    <a16:creationId xmlns:a16="http://schemas.microsoft.com/office/drawing/2014/main" id="{3F55A6DE-925A-4FC7-9508-19DC7758673D}"/>
                  </a:ext>
                </a:extLst>
              </p:cNvPr>
              <p:cNvSpPr>
                <a:spLocks noChangeArrowheads="1"/>
              </p:cNvSpPr>
              <p:nvPr/>
            </p:nvSpPr>
            <p:spPr bwMode="auto">
              <a:xfrm>
                <a:off x="154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5" name="Oval 2801">
                <a:extLst>
                  <a:ext uri="{FF2B5EF4-FFF2-40B4-BE49-F238E27FC236}">
                    <a16:creationId xmlns:a16="http://schemas.microsoft.com/office/drawing/2014/main" id="{68F6509D-8B36-4863-9D4F-B900239E00B7}"/>
                  </a:ext>
                </a:extLst>
              </p:cNvPr>
              <p:cNvSpPr>
                <a:spLocks noChangeArrowheads="1"/>
              </p:cNvSpPr>
              <p:nvPr/>
            </p:nvSpPr>
            <p:spPr bwMode="auto">
              <a:xfrm>
                <a:off x="15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6" name="Oval 2802">
                <a:extLst>
                  <a:ext uri="{FF2B5EF4-FFF2-40B4-BE49-F238E27FC236}">
                    <a16:creationId xmlns:a16="http://schemas.microsoft.com/office/drawing/2014/main" id="{FF368243-A7D1-42FA-8F51-B65015014C73}"/>
                  </a:ext>
                </a:extLst>
              </p:cNvPr>
              <p:cNvSpPr>
                <a:spLocks noChangeArrowheads="1"/>
              </p:cNvSpPr>
              <p:nvPr/>
            </p:nvSpPr>
            <p:spPr bwMode="auto">
              <a:xfrm>
                <a:off x="160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7" name="Oval 2803">
                <a:extLst>
                  <a:ext uri="{FF2B5EF4-FFF2-40B4-BE49-F238E27FC236}">
                    <a16:creationId xmlns:a16="http://schemas.microsoft.com/office/drawing/2014/main" id="{5B1A7955-BCEC-4B84-A139-7423B827A8D9}"/>
                  </a:ext>
                </a:extLst>
              </p:cNvPr>
              <p:cNvSpPr>
                <a:spLocks noChangeArrowheads="1"/>
              </p:cNvSpPr>
              <p:nvPr/>
            </p:nvSpPr>
            <p:spPr bwMode="auto">
              <a:xfrm>
                <a:off x="1666"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8" name="Oval 2804">
                <a:extLst>
                  <a:ext uri="{FF2B5EF4-FFF2-40B4-BE49-F238E27FC236}">
                    <a16:creationId xmlns:a16="http://schemas.microsoft.com/office/drawing/2014/main" id="{5A634B10-7A55-4875-BFD7-6CD1296EC61B}"/>
                  </a:ext>
                </a:extLst>
              </p:cNvPr>
              <p:cNvSpPr>
                <a:spLocks noChangeArrowheads="1"/>
              </p:cNvSpPr>
              <p:nvPr/>
            </p:nvSpPr>
            <p:spPr bwMode="auto">
              <a:xfrm>
                <a:off x="175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9" name="Oval 2805">
                <a:extLst>
                  <a:ext uri="{FF2B5EF4-FFF2-40B4-BE49-F238E27FC236}">
                    <a16:creationId xmlns:a16="http://schemas.microsoft.com/office/drawing/2014/main" id="{DF9FD560-B393-4DB3-B342-F2A578A8F878}"/>
                  </a:ext>
                </a:extLst>
              </p:cNvPr>
              <p:cNvSpPr>
                <a:spLocks noChangeArrowheads="1"/>
              </p:cNvSpPr>
              <p:nvPr/>
            </p:nvSpPr>
            <p:spPr bwMode="auto">
              <a:xfrm>
                <a:off x="169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0" name="Oval 2806">
                <a:extLst>
                  <a:ext uri="{FF2B5EF4-FFF2-40B4-BE49-F238E27FC236}">
                    <a16:creationId xmlns:a16="http://schemas.microsoft.com/office/drawing/2014/main" id="{4762981E-7C33-49CC-A921-E85F8DA1C91B}"/>
                  </a:ext>
                </a:extLst>
              </p:cNvPr>
              <p:cNvSpPr>
                <a:spLocks noChangeArrowheads="1"/>
              </p:cNvSpPr>
              <p:nvPr/>
            </p:nvSpPr>
            <p:spPr bwMode="auto">
              <a:xfrm>
                <a:off x="1456"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1" name="Oval 2807">
                <a:extLst>
                  <a:ext uri="{FF2B5EF4-FFF2-40B4-BE49-F238E27FC236}">
                    <a16:creationId xmlns:a16="http://schemas.microsoft.com/office/drawing/2014/main" id="{CFA55203-EDE3-4ACE-B979-C398812A3C0F}"/>
                  </a:ext>
                </a:extLst>
              </p:cNvPr>
              <p:cNvSpPr>
                <a:spLocks noChangeArrowheads="1"/>
              </p:cNvSpPr>
              <p:nvPr/>
            </p:nvSpPr>
            <p:spPr bwMode="auto">
              <a:xfrm>
                <a:off x="142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2" name="Oval 2808">
                <a:extLst>
                  <a:ext uri="{FF2B5EF4-FFF2-40B4-BE49-F238E27FC236}">
                    <a16:creationId xmlns:a16="http://schemas.microsoft.com/office/drawing/2014/main" id="{6519F83F-0A87-4CE0-830E-CF88E863561A}"/>
                  </a:ext>
                </a:extLst>
              </p:cNvPr>
              <p:cNvSpPr>
                <a:spLocks noChangeArrowheads="1"/>
              </p:cNvSpPr>
              <p:nvPr/>
            </p:nvSpPr>
            <p:spPr bwMode="auto">
              <a:xfrm>
                <a:off x="127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3" name="Oval 2809">
                <a:extLst>
                  <a:ext uri="{FF2B5EF4-FFF2-40B4-BE49-F238E27FC236}">
                    <a16:creationId xmlns:a16="http://schemas.microsoft.com/office/drawing/2014/main" id="{412D3B8B-7540-405F-8977-16B7EF824134}"/>
                  </a:ext>
                </a:extLst>
              </p:cNvPr>
              <p:cNvSpPr>
                <a:spLocks noChangeArrowheads="1"/>
              </p:cNvSpPr>
              <p:nvPr/>
            </p:nvSpPr>
            <p:spPr bwMode="auto">
              <a:xfrm>
                <a:off x="130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4" name="Oval 2810">
                <a:extLst>
                  <a:ext uri="{FF2B5EF4-FFF2-40B4-BE49-F238E27FC236}">
                    <a16:creationId xmlns:a16="http://schemas.microsoft.com/office/drawing/2014/main" id="{E1857CB6-FBAA-4E2D-86A2-81BADB8F000B}"/>
                  </a:ext>
                </a:extLst>
              </p:cNvPr>
              <p:cNvSpPr>
                <a:spLocks noChangeArrowheads="1"/>
              </p:cNvSpPr>
              <p:nvPr/>
            </p:nvSpPr>
            <p:spPr bwMode="auto">
              <a:xfrm>
                <a:off x="127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5" name="Oval 2811">
                <a:extLst>
                  <a:ext uri="{FF2B5EF4-FFF2-40B4-BE49-F238E27FC236}">
                    <a16:creationId xmlns:a16="http://schemas.microsoft.com/office/drawing/2014/main" id="{B20222A9-1C6D-4420-8A2A-3079FF9443D5}"/>
                  </a:ext>
                </a:extLst>
              </p:cNvPr>
              <p:cNvSpPr>
                <a:spLocks noChangeArrowheads="1"/>
              </p:cNvSpPr>
              <p:nvPr/>
            </p:nvSpPr>
            <p:spPr bwMode="auto">
              <a:xfrm>
                <a:off x="127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6" name="Oval 2812">
                <a:extLst>
                  <a:ext uri="{FF2B5EF4-FFF2-40B4-BE49-F238E27FC236}">
                    <a16:creationId xmlns:a16="http://schemas.microsoft.com/office/drawing/2014/main" id="{0E035538-A29E-4D9F-A13A-223F9A19951B}"/>
                  </a:ext>
                </a:extLst>
              </p:cNvPr>
              <p:cNvSpPr>
                <a:spLocks noChangeArrowheads="1"/>
              </p:cNvSpPr>
              <p:nvPr/>
            </p:nvSpPr>
            <p:spPr bwMode="auto">
              <a:xfrm>
                <a:off x="1246"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7" name="Oval 2813">
                <a:extLst>
                  <a:ext uri="{FF2B5EF4-FFF2-40B4-BE49-F238E27FC236}">
                    <a16:creationId xmlns:a16="http://schemas.microsoft.com/office/drawing/2014/main" id="{907DEBFC-C154-49E0-BF87-F4092DE4E2A1}"/>
                  </a:ext>
                </a:extLst>
              </p:cNvPr>
              <p:cNvSpPr>
                <a:spLocks noChangeArrowheads="1"/>
              </p:cNvSpPr>
              <p:nvPr/>
            </p:nvSpPr>
            <p:spPr bwMode="auto">
              <a:xfrm>
                <a:off x="12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8" name="Oval 2814">
                <a:extLst>
                  <a:ext uri="{FF2B5EF4-FFF2-40B4-BE49-F238E27FC236}">
                    <a16:creationId xmlns:a16="http://schemas.microsoft.com/office/drawing/2014/main" id="{5EC51000-1380-4F6E-B658-E14FADB39ECC}"/>
                  </a:ext>
                </a:extLst>
              </p:cNvPr>
              <p:cNvSpPr>
                <a:spLocks noChangeArrowheads="1"/>
              </p:cNvSpPr>
              <p:nvPr/>
            </p:nvSpPr>
            <p:spPr bwMode="auto">
              <a:xfrm>
                <a:off x="133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9" name="Oval 2815">
                <a:extLst>
                  <a:ext uri="{FF2B5EF4-FFF2-40B4-BE49-F238E27FC236}">
                    <a16:creationId xmlns:a16="http://schemas.microsoft.com/office/drawing/2014/main" id="{4C32D8C9-04F7-48C1-BCD9-340B3D4C0FE6}"/>
                  </a:ext>
                </a:extLst>
              </p:cNvPr>
              <p:cNvSpPr>
                <a:spLocks noChangeArrowheads="1"/>
              </p:cNvSpPr>
              <p:nvPr/>
            </p:nvSpPr>
            <p:spPr bwMode="auto">
              <a:xfrm>
                <a:off x="130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0" name="Oval 2816">
                <a:extLst>
                  <a:ext uri="{FF2B5EF4-FFF2-40B4-BE49-F238E27FC236}">
                    <a16:creationId xmlns:a16="http://schemas.microsoft.com/office/drawing/2014/main" id="{B5F46E90-23A9-478D-8C7E-62608DBEFB5B}"/>
                  </a:ext>
                </a:extLst>
              </p:cNvPr>
              <p:cNvSpPr>
                <a:spLocks noChangeArrowheads="1"/>
              </p:cNvSpPr>
              <p:nvPr/>
            </p:nvSpPr>
            <p:spPr bwMode="auto">
              <a:xfrm>
                <a:off x="145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1" name="Oval 2817">
                <a:extLst>
                  <a:ext uri="{FF2B5EF4-FFF2-40B4-BE49-F238E27FC236}">
                    <a16:creationId xmlns:a16="http://schemas.microsoft.com/office/drawing/2014/main" id="{0E056384-216B-421D-B21B-65550D28870E}"/>
                  </a:ext>
                </a:extLst>
              </p:cNvPr>
              <p:cNvSpPr>
                <a:spLocks noChangeArrowheads="1"/>
              </p:cNvSpPr>
              <p:nvPr/>
            </p:nvSpPr>
            <p:spPr bwMode="auto">
              <a:xfrm>
                <a:off x="133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2" name="Oval 2818">
                <a:extLst>
                  <a:ext uri="{FF2B5EF4-FFF2-40B4-BE49-F238E27FC236}">
                    <a16:creationId xmlns:a16="http://schemas.microsoft.com/office/drawing/2014/main" id="{C1CF3872-E4E0-4690-9BA5-52898C553B7A}"/>
                  </a:ext>
                </a:extLst>
              </p:cNvPr>
              <p:cNvSpPr>
                <a:spLocks noChangeArrowheads="1"/>
              </p:cNvSpPr>
              <p:nvPr/>
            </p:nvSpPr>
            <p:spPr bwMode="auto">
              <a:xfrm>
                <a:off x="1516"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3" name="Oval 2819">
                <a:extLst>
                  <a:ext uri="{FF2B5EF4-FFF2-40B4-BE49-F238E27FC236}">
                    <a16:creationId xmlns:a16="http://schemas.microsoft.com/office/drawing/2014/main" id="{A7E5493B-6B0E-4A13-BD6E-94CECF428930}"/>
                  </a:ext>
                </a:extLst>
              </p:cNvPr>
              <p:cNvSpPr>
                <a:spLocks noChangeArrowheads="1"/>
              </p:cNvSpPr>
              <p:nvPr/>
            </p:nvSpPr>
            <p:spPr bwMode="auto">
              <a:xfrm>
                <a:off x="178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4" name="Oval 2820">
                <a:extLst>
                  <a:ext uri="{FF2B5EF4-FFF2-40B4-BE49-F238E27FC236}">
                    <a16:creationId xmlns:a16="http://schemas.microsoft.com/office/drawing/2014/main" id="{35DFA854-5FF8-4D7B-B243-C4CD75C02552}"/>
                  </a:ext>
                </a:extLst>
              </p:cNvPr>
              <p:cNvSpPr>
                <a:spLocks noChangeArrowheads="1"/>
              </p:cNvSpPr>
              <p:nvPr/>
            </p:nvSpPr>
            <p:spPr bwMode="auto">
              <a:xfrm>
                <a:off x="15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5" name="Oval 2821">
                <a:extLst>
                  <a:ext uri="{FF2B5EF4-FFF2-40B4-BE49-F238E27FC236}">
                    <a16:creationId xmlns:a16="http://schemas.microsoft.com/office/drawing/2014/main" id="{22213577-67C0-45F3-BD02-B3B9EBD8A98C}"/>
                  </a:ext>
                </a:extLst>
              </p:cNvPr>
              <p:cNvSpPr>
                <a:spLocks noChangeArrowheads="1"/>
              </p:cNvSpPr>
              <p:nvPr/>
            </p:nvSpPr>
            <p:spPr bwMode="auto">
              <a:xfrm>
                <a:off x="154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6" name="Oval 2822">
                <a:extLst>
                  <a:ext uri="{FF2B5EF4-FFF2-40B4-BE49-F238E27FC236}">
                    <a16:creationId xmlns:a16="http://schemas.microsoft.com/office/drawing/2014/main" id="{8410BFB8-AC94-42E1-A7AF-145B63913AEA}"/>
                  </a:ext>
                </a:extLst>
              </p:cNvPr>
              <p:cNvSpPr>
                <a:spLocks noChangeArrowheads="1"/>
              </p:cNvSpPr>
              <p:nvPr/>
            </p:nvSpPr>
            <p:spPr bwMode="auto">
              <a:xfrm>
                <a:off x="1666"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7" name="Oval 2823">
                <a:extLst>
                  <a:ext uri="{FF2B5EF4-FFF2-40B4-BE49-F238E27FC236}">
                    <a16:creationId xmlns:a16="http://schemas.microsoft.com/office/drawing/2014/main" id="{DC124395-4A8D-4601-9786-7D676A15B39E}"/>
                  </a:ext>
                </a:extLst>
              </p:cNvPr>
              <p:cNvSpPr>
                <a:spLocks noChangeArrowheads="1"/>
              </p:cNvSpPr>
              <p:nvPr/>
            </p:nvSpPr>
            <p:spPr bwMode="auto">
              <a:xfrm>
                <a:off x="151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8" name="Oval 2824">
                <a:extLst>
                  <a:ext uri="{FF2B5EF4-FFF2-40B4-BE49-F238E27FC236}">
                    <a16:creationId xmlns:a16="http://schemas.microsoft.com/office/drawing/2014/main" id="{A6DA796E-063C-4A9E-B0E4-6FB966BDC672}"/>
                  </a:ext>
                </a:extLst>
              </p:cNvPr>
              <p:cNvSpPr>
                <a:spLocks noChangeArrowheads="1"/>
              </p:cNvSpPr>
              <p:nvPr/>
            </p:nvSpPr>
            <p:spPr bwMode="auto">
              <a:xfrm>
                <a:off x="145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9" name="Oval 2825">
                <a:extLst>
                  <a:ext uri="{FF2B5EF4-FFF2-40B4-BE49-F238E27FC236}">
                    <a16:creationId xmlns:a16="http://schemas.microsoft.com/office/drawing/2014/main" id="{C81A0EC2-4C70-4ACE-A69C-EAE626384C7F}"/>
                  </a:ext>
                </a:extLst>
              </p:cNvPr>
              <p:cNvSpPr>
                <a:spLocks noChangeArrowheads="1"/>
              </p:cNvSpPr>
              <p:nvPr/>
            </p:nvSpPr>
            <p:spPr bwMode="auto">
              <a:xfrm>
                <a:off x="139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0" name="Oval 2826">
                <a:extLst>
                  <a:ext uri="{FF2B5EF4-FFF2-40B4-BE49-F238E27FC236}">
                    <a16:creationId xmlns:a16="http://schemas.microsoft.com/office/drawing/2014/main" id="{05C053A5-C4F5-432C-9CA3-369C8EAB1F39}"/>
                  </a:ext>
                </a:extLst>
              </p:cNvPr>
              <p:cNvSpPr>
                <a:spLocks noChangeArrowheads="1"/>
              </p:cNvSpPr>
              <p:nvPr/>
            </p:nvSpPr>
            <p:spPr bwMode="auto">
              <a:xfrm>
                <a:off x="1456"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1" name="Oval 2827">
                <a:extLst>
                  <a:ext uri="{FF2B5EF4-FFF2-40B4-BE49-F238E27FC236}">
                    <a16:creationId xmlns:a16="http://schemas.microsoft.com/office/drawing/2014/main" id="{D45B5D3A-171A-42B7-880D-0B94E1D1D88E}"/>
                  </a:ext>
                </a:extLst>
              </p:cNvPr>
              <p:cNvSpPr>
                <a:spLocks noChangeArrowheads="1"/>
              </p:cNvSpPr>
              <p:nvPr/>
            </p:nvSpPr>
            <p:spPr bwMode="auto">
              <a:xfrm>
                <a:off x="151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2" name="Oval 2828">
                <a:extLst>
                  <a:ext uri="{FF2B5EF4-FFF2-40B4-BE49-F238E27FC236}">
                    <a16:creationId xmlns:a16="http://schemas.microsoft.com/office/drawing/2014/main" id="{E09B7BFE-0338-46C1-8141-5696A64CAAB4}"/>
                  </a:ext>
                </a:extLst>
              </p:cNvPr>
              <p:cNvSpPr>
                <a:spLocks noChangeArrowheads="1"/>
              </p:cNvSpPr>
              <p:nvPr/>
            </p:nvSpPr>
            <p:spPr bwMode="auto">
              <a:xfrm>
                <a:off x="145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3" name="Oval 2829">
                <a:extLst>
                  <a:ext uri="{FF2B5EF4-FFF2-40B4-BE49-F238E27FC236}">
                    <a16:creationId xmlns:a16="http://schemas.microsoft.com/office/drawing/2014/main" id="{6C58CC55-DFDF-499F-ACCA-156DC6EF3CD9}"/>
                  </a:ext>
                </a:extLst>
              </p:cNvPr>
              <p:cNvSpPr>
                <a:spLocks noChangeArrowheads="1"/>
              </p:cNvSpPr>
              <p:nvPr/>
            </p:nvSpPr>
            <p:spPr bwMode="auto">
              <a:xfrm>
                <a:off x="1426"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4" name="Oval 2830">
                <a:extLst>
                  <a:ext uri="{FF2B5EF4-FFF2-40B4-BE49-F238E27FC236}">
                    <a16:creationId xmlns:a16="http://schemas.microsoft.com/office/drawing/2014/main" id="{3183E482-C56C-4730-8F7F-9421FDA65175}"/>
                  </a:ext>
                </a:extLst>
              </p:cNvPr>
              <p:cNvSpPr>
                <a:spLocks noChangeArrowheads="1"/>
              </p:cNvSpPr>
              <p:nvPr/>
            </p:nvSpPr>
            <p:spPr bwMode="auto">
              <a:xfrm>
                <a:off x="1336"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5" name="Oval 2831">
                <a:extLst>
                  <a:ext uri="{FF2B5EF4-FFF2-40B4-BE49-F238E27FC236}">
                    <a16:creationId xmlns:a16="http://schemas.microsoft.com/office/drawing/2014/main" id="{FB20AB6A-65BE-478B-9DBC-B6C4BCC89679}"/>
                  </a:ext>
                </a:extLst>
              </p:cNvPr>
              <p:cNvSpPr>
                <a:spLocks noChangeArrowheads="1"/>
              </p:cNvSpPr>
              <p:nvPr/>
            </p:nvSpPr>
            <p:spPr bwMode="auto">
              <a:xfrm>
                <a:off x="130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6" name="Oval 2832">
                <a:extLst>
                  <a:ext uri="{FF2B5EF4-FFF2-40B4-BE49-F238E27FC236}">
                    <a16:creationId xmlns:a16="http://schemas.microsoft.com/office/drawing/2014/main" id="{7FC87C93-BE1A-40EB-992F-255FE457508F}"/>
                  </a:ext>
                </a:extLst>
              </p:cNvPr>
              <p:cNvSpPr>
                <a:spLocks noChangeArrowheads="1"/>
              </p:cNvSpPr>
              <p:nvPr/>
            </p:nvSpPr>
            <p:spPr bwMode="auto">
              <a:xfrm>
                <a:off x="1366"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7" name="Oval 2833">
                <a:extLst>
                  <a:ext uri="{FF2B5EF4-FFF2-40B4-BE49-F238E27FC236}">
                    <a16:creationId xmlns:a16="http://schemas.microsoft.com/office/drawing/2014/main" id="{61E34CD1-28E7-4D05-861B-6C84DFECF3BF}"/>
                  </a:ext>
                </a:extLst>
              </p:cNvPr>
              <p:cNvSpPr>
                <a:spLocks noChangeArrowheads="1"/>
              </p:cNvSpPr>
              <p:nvPr/>
            </p:nvSpPr>
            <p:spPr bwMode="auto">
              <a:xfrm>
                <a:off x="1246"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8" name="Oval 2834">
                <a:extLst>
                  <a:ext uri="{FF2B5EF4-FFF2-40B4-BE49-F238E27FC236}">
                    <a16:creationId xmlns:a16="http://schemas.microsoft.com/office/drawing/2014/main" id="{36D80D2A-E4A4-4C86-AD62-C4731385BEFB}"/>
                  </a:ext>
                </a:extLst>
              </p:cNvPr>
              <p:cNvSpPr>
                <a:spLocks noChangeArrowheads="1"/>
              </p:cNvSpPr>
              <p:nvPr/>
            </p:nvSpPr>
            <p:spPr bwMode="auto">
              <a:xfrm>
                <a:off x="142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9" name="Oval 2835">
                <a:extLst>
                  <a:ext uri="{FF2B5EF4-FFF2-40B4-BE49-F238E27FC236}">
                    <a16:creationId xmlns:a16="http://schemas.microsoft.com/office/drawing/2014/main" id="{D4028B04-D067-42D8-B992-D1A95C2D6EED}"/>
                  </a:ext>
                </a:extLst>
              </p:cNvPr>
              <p:cNvSpPr>
                <a:spLocks noChangeArrowheads="1"/>
              </p:cNvSpPr>
              <p:nvPr/>
            </p:nvSpPr>
            <p:spPr bwMode="auto">
              <a:xfrm>
                <a:off x="1306"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0" name="Oval 2836">
                <a:extLst>
                  <a:ext uri="{FF2B5EF4-FFF2-40B4-BE49-F238E27FC236}">
                    <a16:creationId xmlns:a16="http://schemas.microsoft.com/office/drawing/2014/main" id="{D0AEC1D2-C64B-403C-947F-02E69490A593}"/>
                  </a:ext>
                </a:extLst>
              </p:cNvPr>
              <p:cNvSpPr>
                <a:spLocks noChangeArrowheads="1"/>
              </p:cNvSpPr>
              <p:nvPr/>
            </p:nvSpPr>
            <p:spPr bwMode="auto">
              <a:xfrm>
                <a:off x="142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1" name="Oval 2837">
                <a:extLst>
                  <a:ext uri="{FF2B5EF4-FFF2-40B4-BE49-F238E27FC236}">
                    <a16:creationId xmlns:a16="http://schemas.microsoft.com/office/drawing/2014/main" id="{73B14F17-3937-4901-960F-34228F7EDE53}"/>
                  </a:ext>
                </a:extLst>
              </p:cNvPr>
              <p:cNvSpPr>
                <a:spLocks noChangeArrowheads="1"/>
              </p:cNvSpPr>
              <p:nvPr/>
            </p:nvSpPr>
            <p:spPr bwMode="auto">
              <a:xfrm>
                <a:off x="12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2" name="Oval 2838">
                <a:extLst>
                  <a:ext uri="{FF2B5EF4-FFF2-40B4-BE49-F238E27FC236}">
                    <a16:creationId xmlns:a16="http://schemas.microsoft.com/office/drawing/2014/main" id="{BA9DBBE6-9DC4-42A2-BE37-E43973F0CD20}"/>
                  </a:ext>
                </a:extLst>
              </p:cNvPr>
              <p:cNvSpPr>
                <a:spLocks noChangeArrowheads="1"/>
              </p:cNvSpPr>
              <p:nvPr/>
            </p:nvSpPr>
            <p:spPr bwMode="auto">
              <a:xfrm>
                <a:off x="166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3" name="Oval 2839">
                <a:extLst>
                  <a:ext uri="{FF2B5EF4-FFF2-40B4-BE49-F238E27FC236}">
                    <a16:creationId xmlns:a16="http://schemas.microsoft.com/office/drawing/2014/main" id="{85C5DEDB-6BA1-4C34-9790-76A76A9D09C8}"/>
                  </a:ext>
                </a:extLst>
              </p:cNvPr>
              <p:cNvSpPr>
                <a:spLocks noChangeArrowheads="1"/>
              </p:cNvSpPr>
              <p:nvPr/>
            </p:nvSpPr>
            <p:spPr bwMode="auto">
              <a:xfrm>
                <a:off x="172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4" name="Oval 2840">
                <a:extLst>
                  <a:ext uri="{FF2B5EF4-FFF2-40B4-BE49-F238E27FC236}">
                    <a16:creationId xmlns:a16="http://schemas.microsoft.com/office/drawing/2014/main" id="{0EB962FD-6E05-4F50-8968-9420A0E26617}"/>
                  </a:ext>
                </a:extLst>
              </p:cNvPr>
              <p:cNvSpPr>
                <a:spLocks noChangeArrowheads="1"/>
              </p:cNvSpPr>
              <p:nvPr/>
            </p:nvSpPr>
            <p:spPr bwMode="auto">
              <a:xfrm>
                <a:off x="1576"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5" name="Oval 2841">
                <a:extLst>
                  <a:ext uri="{FF2B5EF4-FFF2-40B4-BE49-F238E27FC236}">
                    <a16:creationId xmlns:a16="http://schemas.microsoft.com/office/drawing/2014/main" id="{44157745-0110-4CD1-B18C-9206A39BD4DC}"/>
                  </a:ext>
                </a:extLst>
              </p:cNvPr>
              <p:cNvSpPr>
                <a:spLocks noChangeArrowheads="1"/>
              </p:cNvSpPr>
              <p:nvPr/>
            </p:nvSpPr>
            <p:spPr bwMode="auto">
              <a:xfrm>
                <a:off x="184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6" name="Oval 2842">
                <a:extLst>
                  <a:ext uri="{FF2B5EF4-FFF2-40B4-BE49-F238E27FC236}">
                    <a16:creationId xmlns:a16="http://schemas.microsoft.com/office/drawing/2014/main" id="{609D8185-EC76-4AEE-973F-1494FDF3D59F}"/>
                  </a:ext>
                </a:extLst>
              </p:cNvPr>
              <p:cNvSpPr>
                <a:spLocks noChangeArrowheads="1"/>
              </p:cNvSpPr>
              <p:nvPr/>
            </p:nvSpPr>
            <p:spPr bwMode="auto">
              <a:xfrm>
                <a:off x="181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7" name="Oval 2843">
                <a:extLst>
                  <a:ext uri="{FF2B5EF4-FFF2-40B4-BE49-F238E27FC236}">
                    <a16:creationId xmlns:a16="http://schemas.microsoft.com/office/drawing/2014/main" id="{263A61B2-57BD-41E7-A06A-9FEBD92D1185}"/>
                  </a:ext>
                </a:extLst>
              </p:cNvPr>
              <p:cNvSpPr>
                <a:spLocks noChangeArrowheads="1"/>
              </p:cNvSpPr>
              <p:nvPr/>
            </p:nvSpPr>
            <p:spPr bwMode="auto">
              <a:xfrm>
                <a:off x="1816"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8" name="Oval 2844">
                <a:extLst>
                  <a:ext uri="{FF2B5EF4-FFF2-40B4-BE49-F238E27FC236}">
                    <a16:creationId xmlns:a16="http://schemas.microsoft.com/office/drawing/2014/main" id="{DC8E47BF-D9C2-44A9-A24F-B499A017ABBA}"/>
                  </a:ext>
                </a:extLst>
              </p:cNvPr>
              <p:cNvSpPr>
                <a:spLocks noChangeArrowheads="1"/>
              </p:cNvSpPr>
              <p:nvPr/>
            </p:nvSpPr>
            <p:spPr bwMode="auto">
              <a:xfrm>
                <a:off x="193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9" name="Oval 2845">
                <a:extLst>
                  <a:ext uri="{FF2B5EF4-FFF2-40B4-BE49-F238E27FC236}">
                    <a16:creationId xmlns:a16="http://schemas.microsoft.com/office/drawing/2014/main" id="{667E337D-8293-4ACB-AE80-B087BA826777}"/>
                  </a:ext>
                </a:extLst>
              </p:cNvPr>
              <p:cNvSpPr>
                <a:spLocks noChangeArrowheads="1"/>
              </p:cNvSpPr>
              <p:nvPr/>
            </p:nvSpPr>
            <p:spPr bwMode="auto">
              <a:xfrm>
                <a:off x="2086" y="7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0" name="Oval 2846">
                <a:extLst>
                  <a:ext uri="{FF2B5EF4-FFF2-40B4-BE49-F238E27FC236}">
                    <a16:creationId xmlns:a16="http://schemas.microsoft.com/office/drawing/2014/main" id="{C5609078-946A-4E60-B9DC-BAA61432A527}"/>
                  </a:ext>
                </a:extLst>
              </p:cNvPr>
              <p:cNvSpPr>
                <a:spLocks noChangeArrowheads="1"/>
              </p:cNvSpPr>
              <p:nvPr/>
            </p:nvSpPr>
            <p:spPr bwMode="auto">
              <a:xfrm>
                <a:off x="211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1" name="Oval 2847">
                <a:extLst>
                  <a:ext uri="{FF2B5EF4-FFF2-40B4-BE49-F238E27FC236}">
                    <a16:creationId xmlns:a16="http://schemas.microsoft.com/office/drawing/2014/main" id="{8D336BE1-36ED-49C3-8047-D98A356ED247}"/>
                  </a:ext>
                </a:extLst>
              </p:cNvPr>
              <p:cNvSpPr>
                <a:spLocks noChangeArrowheads="1"/>
              </p:cNvSpPr>
              <p:nvPr/>
            </p:nvSpPr>
            <p:spPr bwMode="auto">
              <a:xfrm>
                <a:off x="199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2" name="Oval 2848">
                <a:extLst>
                  <a:ext uri="{FF2B5EF4-FFF2-40B4-BE49-F238E27FC236}">
                    <a16:creationId xmlns:a16="http://schemas.microsoft.com/office/drawing/2014/main" id="{2756E54A-6610-442D-9B72-A77E55569E3D}"/>
                  </a:ext>
                </a:extLst>
              </p:cNvPr>
              <p:cNvSpPr>
                <a:spLocks noChangeArrowheads="1"/>
              </p:cNvSpPr>
              <p:nvPr/>
            </p:nvSpPr>
            <p:spPr bwMode="auto">
              <a:xfrm>
                <a:off x="202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3" name="Oval 2849">
                <a:extLst>
                  <a:ext uri="{FF2B5EF4-FFF2-40B4-BE49-F238E27FC236}">
                    <a16:creationId xmlns:a16="http://schemas.microsoft.com/office/drawing/2014/main" id="{CB632F3D-5C94-40C1-B05A-8A0570B4AEA4}"/>
                  </a:ext>
                </a:extLst>
              </p:cNvPr>
              <p:cNvSpPr>
                <a:spLocks noChangeArrowheads="1"/>
              </p:cNvSpPr>
              <p:nvPr/>
            </p:nvSpPr>
            <p:spPr bwMode="auto">
              <a:xfrm>
                <a:off x="184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4" name="Oval 2850">
                <a:extLst>
                  <a:ext uri="{FF2B5EF4-FFF2-40B4-BE49-F238E27FC236}">
                    <a16:creationId xmlns:a16="http://schemas.microsoft.com/office/drawing/2014/main" id="{6F12528A-0556-414B-906D-C733956E4BEA}"/>
                  </a:ext>
                </a:extLst>
              </p:cNvPr>
              <p:cNvSpPr>
                <a:spLocks noChangeArrowheads="1"/>
              </p:cNvSpPr>
              <p:nvPr/>
            </p:nvSpPr>
            <p:spPr bwMode="auto">
              <a:xfrm>
                <a:off x="1846"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5" name="Oval 2851">
                <a:extLst>
                  <a:ext uri="{FF2B5EF4-FFF2-40B4-BE49-F238E27FC236}">
                    <a16:creationId xmlns:a16="http://schemas.microsoft.com/office/drawing/2014/main" id="{A4F1DED8-EEE1-47BF-BF57-A3C4EC5EDDB9}"/>
                  </a:ext>
                </a:extLst>
              </p:cNvPr>
              <p:cNvSpPr>
                <a:spLocks noChangeArrowheads="1"/>
              </p:cNvSpPr>
              <p:nvPr/>
            </p:nvSpPr>
            <p:spPr bwMode="auto">
              <a:xfrm>
                <a:off x="241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6" name="Oval 2852">
                <a:extLst>
                  <a:ext uri="{FF2B5EF4-FFF2-40B4-BE49-F238E27FC236}">
                    <a16:creationId xmlns:a16="http://schemas.microsoft.com/office/drawing/2014/main" id="{95F9C548-2157-4CF6-82E1-07731DAA2B09}"/>
                  </a:ext>
                </a:extLst>
              </p:cNvPr>
              <p:cNvSpPr>
                <a:spLocks noChangeArrowheads="1"/>
              </p:cNvSpPr>
              <p:nvPr/>
            </p:nvSpPr>
            <p:spPr bwMode="auto">
              <a:xfrm>
                <a:off x="259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7" name="Oval 2853">
                <a:extLst>
                  <a:ext uri="{FF2B5EF4-FFF2-40B4-BE49-F238E27FC236}">
                    <a16:creationId xmlns:a16="http://schemas.microsoft.com/office/drawing/2014/main" id="{8DBF8E6B-1D1A-40E7-A066-DF89E970F3C8}"/>
                  </a:ext>
                </a:extLst>
              </p:cNvPr>
              <p:cNvSpPr>
                <a:spLocks noChangeArrowheads="1"/>
              </p:cNvSpPr>
              <p:nvPr/>
            </p:nvSpPr>
            <p:spPr bwMode="auto">
              <a:xfrm>
                <a:off x="220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8" name="Oval 2854">
                <a:extLst>
                  <a:ext uri="{FF2B5EF4-FFF2-40B4-BE49-F238E27FC236}">
                    <a16:creationId xmlns:a16="http://schemas.microsoft.com/office/drawing/2014/main" id="{EC64BD18-A296-4564-B905-807EBB8D938D}"/>
                  </a:ext>
                </a:extLst>
              </p:cNvPr>
              <p:cNvSpPr>
                <a:spLocks noChangeArrowheads="1"/>
              </p:cNvSpPr>
              <p:nvPr/>
            </p:nvSpPr>
            <p:spPr bwMode="auto">
              <a:xfrm>
                <a:off x="253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9" name="Oval 2855">
                <a:extLst>
                  <a:ext uri="{FF2B5EF4-FFF2-40B4-BE49-F238E27FC236}">
                    <a16:creationId xmlns:a16="http://schemas.microsoft.com/office/drawing/2014/main" id="{B02F7328-C23D-466E-B826-99190DBD5C9D}"/>
                  </a:ext>
                </a:extLst>
              </p:cNvPr>
              <p:cNvSpPr>
                <a:spLocks noChangeArrowheads="1"/>
              </p:cNvSpPr>
              <p:nvPr/>
            </p:nvSpPr>
            <p:spPr bwMode="auto">
              <a:xfrm>
                <a:off x="238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0" name="Oval 2856">
                <a:extLst>
                  <a:ext uri="{FF2B5EF4-FFF2-40B4-BE49-F238E27FC236}">
                    <a16:creationId xmlns:a16="http://schemas.microsoft.com/office/drawing/2014/main" id="{492BF0D6-7D77-4858-88B4-C4862C89DE03}"/>
                  </a:ext>
                </a:extLst>
              </p:cNvPr>
              <p:cNvSpPr>
                <a:spLocks noChangeArrowheads="1"/>
              </p:cNvSpPr>
              <p:nvPr/>
            </p:nvSpPr>
            <p:spPr bwMode="auto">
              <a:xfrm>
                <a:off x="241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1" name="Oval 2857">
                <a:extLst>
                  <a:ext uri="{FF2B5EF4-FFF2-40B4-BE49-F238E27FC236}">
                    <a16:creationId xmlns:a16="http://schemas.microsoft.com/office/drawing/2014/main" id="{3E7EF5A2-70E7-473F-B4FF-BAD9AF111FAB}"/>
                  </a:ext>
                </a:extLst>
              </p:cNvPr>
              <p:cNvSpPr>
                <a:spLocks noChangeArrowheads="1"/>
              </p:cNvSpPr>
              <p:nvPr/>
            </p:nvSpPr>
            <p:spPr bwMode="auto">
              <a:xfrm>
                <a:off x="232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2" name="Oval 2858">
                <a:extLst>
                  <a:ext uri="{FF2B5EF4-FFF2-40B4-BE49-F238E27FC236}">
                    <a16:creationId xmlns:a16="http://schemas.microsoft.com/office/drawing/2014/main" id="{6A365A0B-D418-4BDA-B412-55E3A283CF35}"/>
                  </a:ext>
                </a:extLst>
              </p:cNvPr>
              <p:cNvSpPr>
                <a:spLocks noChangeArrowheads="1"/>
              </p:cNvSpPr>
              <p:nvPr/>
            </p:nvSpPr>
            <p:spPr bwMode="auto">
              <a:xfrm>
                <a:off x="229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3" name="Oval 2859">
                <a:extLst>
                  <a:ext uri="{FF2B5EF4-FFF2-40B4-BE49-F238E27FC236}">
                    <a16:creationId xmlns:a16="http://schemas.microsoft.com/office/drawing/2014/main" id="{23E21264-9C52-4E08-89B3-936FF5E0AE59}"/>
                  </a:ext>
                </a:extLst>
              </p:cNvPr>
              <p:cNvSpPr>
                <a:spLocks noChangeArrowheads="1"/>
              </p:cNvSpPr>
              <p:nvPr/>
            </p:nvSpPr>
            <p:spPr bwMode="auto">
              <a:xfrm>
                <a:off x="220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4" name="Oval 2860">
                <a:extLst>
                  <a:ext uri="{FF2B5EF4-FFF2-40B4-BE49-F238E27FC236}">
                    <a16:creationId xmlns:a16="http://schemas.microsoft.com/office/drawing/2014/main" id="{5792B9A0-866E-4620-B3CD-5AC1115E3413}"/>
                  </a:ext>
                </a:extLst>
              </p:cNvPr>
              <p:cNvSpPr>
                <a:spLocks noChangeArrowheads="1"/>
              </p:cNvSpPr>
              <p:nvPr/>
            </p:nvSpPr>
            <p:spPr bwMode="auto">
              <a:xfrm>
                <a:off x="22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5" name="Oval 2861">
                <a:extLst>
                  <a:ext uri="{FF2B5EF4-FFF2-40B4-BE49-F238E27FC236}">
                    <a16:creationId xmlns:a16="http://schemas.microsoft.com/office/drawing/2014/main" id="{5A82429F-9C8E-4DBE-AF7F-3B7FA0909572}"/>
                  </a:ext>
                </a:extLst>
              </p:cNvPr>
              <p:cNvSpPr>
                <a:spLocks noChangeArrowheads="1"/>
              </p:cNvSpPr>
              <p:nvPr/>
            </p:nvSpPr>
            <p:spPr bwMode="auto">
              <a:xfrm>
                <a:off x="220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6" name="Oval 2862">
                <a:extLst>
                  <a:ext uri="{FF2B5EF4-FFF2-40B4-BE49-F238E27FC236}">
                    <a16:creationId xmlns:a16="http://schemas.microsoft.com/office/drawing/2014/main" id="{521D92C9-CD8C-49F6-A184-292A0047986A}"/>
                  </a:ext>
                </a:extLst>
              </p:cNvPr>
              <p:cNvSpPr>
                <a:spLocks noChangeArrowheads="1"/>
              </p:cNvSpPr>
              <p:nvPr/>
            </p:nvSpPr>
            <p:spPr bwMode="auto">
              <a:xfrm>
                <a:off x="220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7" name="Oval 2863">
                <a:extLst>
                  <a:ext uri="{FF2B5EF4-FFF2-40B4-BE49-F238E27FC236}">
                    <a16:creationId xmlns:a16="http://schemas.microsoft.com/office/drawing/2014/main" id="{6326304C-7CA8-4130-A483-260AE6248DF9}"/>
                  </a:ext>
                </a:extLst>
              </p:cNvPr>
              <p:cNvSpPr>
                <a:spLocks noChangeArrowheads="1"/>
              </p:cNvSpPr>
              <p:nvPr/>
            </p:nvSpPr>
            <p:spPr bwMode="auto">
              <a:xfrm>
                <a:off x="226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8" name="Oval 2864">
                <a:extLst>
                  <a:ext uri="{FF2B5EF4-FFF2-40B4-BE49-F238E27FC236}">
                    <a16:creationId xmlns:a16="http://schemas.microsoft.com/office/drawing/2014/main" id="{025BE4F5-A147-439E-A290-3E1CE158A883}"/>
                  </a:ext>
                </a:extLst>
              </p:cNvPr>
              <p:cNvSpPr>
                <a:spLocks noChangeArrowheads="1"/>
              </p:cNvSpPr>
              <p:nvPr/>
            </p:nvSpPr>
            <p:spPr bwMode="auto">
              <a:xfrm>
                <a:off x="271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9" name="Oval 2865">
                <a:extLst>
                  <a:ext uri="{FF2B5EF4-FFF2-40B4-BE49-F238E27FC236}">
                    <a16:creationId xmlns:a16="http://schemas.microsoft.com/office/drawing/2014/main" id="{AA5734E0-D141-447D-A8AF-989D70890479}"/>
                  </a:ext>
                </a:extLst>
              </p:cNvPr>
              <p:cNvSpPr>
                <a:spLocks noChangeArrowheads="1"/>
              </p:cNvSpPr>
              <p:nvPr/>
            </p:nvSpPr>
            <p:spPr bwMode="auto">
              <a:xfrm>
                <a:off x="274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0" name="Oval 2866">
                <a:extLst>
                  <a:ext uri="{FF2B5EF4-FFF2-40B4-BE49-F238E27FC236}">
                    <a16:creationId xmlns:a16="http://schemas.microsoft.com/office/drawing/2014/main" id="{062EA038-C381-4CFD-B9FF-4D8E10FC018C}"/>
                  </a:ext>
                </a:extLst>
              </p:cNvPr>
              <p:cNvSpPr>
                <a:spLocks noChangeArrowheads="1"/>
              </p:cNvSpPr>
              <p:nvPr/>
            </p:nvSpPr>
            <p:spPr bwMode="auto">
              <a:xfrm>
                <a:off x="277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1" name="Oval 2867">
                <a:extLst>
                  <a:ext uri="{FF2B5EF4-FFF2-40B4-BE49-F238E27FC236}">
                    <a16:creationId xmlns:a16="http://schemas.microsoft.com/office/drawing/2014/main" id="{12DC590B-3886-44BD-8379-8D3978D0A1D2}"/>
                  </a:ext>
                </a:extLst>
              </p:cNvPr>
              <p:cNvSpPr>
                <a:spLocks noChangeArrowheads="1"/>
              </p:cNvSpPr>
              <p:nvPr/>
            </p:nvSpPr>
            <p:spPr bwMode="auto">
              <a:xfrm>
                <a:off x="271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2" name="Oval 2868">
                <a:extLst>
                  <a:ext uri="{FF2B5EF4-FFF2-40B4-BE49-F238E27FC236}">
                    <a16:creationId xmlns:a16="http://schemas.microsoft.com/office/drawing/2014/main" id="{8C670BD7-E9C1-46C8-9C7A-00B57174CA8B}"/>
                  </a:ext>
                </a:extLst>
              </p:cNvPr>
              <p:cNvSpPr>
                <a:spLocks noChangeArrowheads="1"/>
              </p:cNvSpPr>
              <p:nvPr/>
            </p:nvSpPr>
            <p:spPr bwMode="auto">
              <a:xfrm>
                <a:off x="268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3" name="Oval 2869">
                <a:extLst>
                  <a:ext uri="{FF2B5EF4-FFF2-40B4-BE49-F238E27FC236}">
                    <a16:creationId xmlns:a16="http://schemas.microsoft.com/office/drawing/2014/main" id="{9926F7FE-49D5-4DA5-82B2-DE2A129F6CAB}"/>
                  </a:ext>
                </a:extLst>
              </p:cNvPr>
              <p:cNvSpPr>
                <a:spLocks noChangeArrowheads="1"/>
              </p:cNvSpPr>
              <p:nvPr/>
            </p:nvSpPr>
            <p:spPr bwMode="auto">
              <a:xfrm>
                <a:off x="271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4" name="Oval 2870">
                <a:extLst>
                  <a:ext uri="{FF2B5EF4-FFF2-40B4-BE49-F238E27FC236}">
                    <a16:creationId xmlns:a16="http://schemas.microsoft.com/office/drawing/2014/main" id="{B66B0AD3-EFD7-4BBD-B4D3-34C48C4B34E9}"/>
                  </a:ext>
                </a:extLst>
              </p:cNvPr>
              <p:cNvSpPr>
                <a:spLocks noChangeArrowheads="1"/>
              </p:cNvSpPr>
              <p:nvPr/>
            </p:nvSpPr>
            <p:spPr bwMode="auto">
              <a:xfrm>
                <a:off x="292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5" name="Oval 2871">
                <a:extLst>
                  <a:ext uri="{FF2B5EF4-FFF2-40B4-BE49-F238E27FC236}">
                    <a16:creationId xmlns:a16="http://schemas.microsoft.com/office/drawing/2014/main" id="{1E75BC8A-C55D-42DB-98FD-278B4E90B82E}"/>
                  </a:ext>
                </a:extLst>
              </p:cNvPr>
              <p:cNvSpPr>
                <a:spLocks noChangeArrowheads="1"/>
              </p:cNvSpPr>
              <p:nvPr/>
            </p:nvSpPr>
            <p:spPr bwMode="auto">
              <a:xfrm>
                <a:off x="268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6" name="Oval 2872">
                <a:extLst>
                  <a:ext uri="{FF2B5EF4-FFF2-40B4-BE49-F238E27FC236}">
                    <a16:creationId xmlns:a16="http://schemas.microsoft.com/office/drawing/2014/main" id="{5CDF0715-1AAF-4530-88DF-494406C513D6}"/>
                  </a:ext>
                </a:extLst>
              </p:cNvPr>
              <p:cNvSpPr>
                <a:spLocks noChangeArrowheads="1"/>
              </p:cNvSpPr>
              <p:nvPr/>
            </p:nvSpPr>
            <p:spPr bwMode="auto">
              <a:xfrm>
                <a:off x="280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7" name="Oval 2873">
                <a:extLst>
                  <a:ext uri="{FF2B5EF4-FFF2-40B4-BE49-F238E27FC236}">
                    <a16:creationId xmlns:a16="http://schemas.microsoft.com/office/drawing/2014/main" id="{024B7720-4849-489B-9FE7-3A1EF35A0520}"/>
                  </a:ext>
                </a:extLst>
              </p:cNvPr>
              <p:cNvSpPr>
                <a:spLocks noChangeArrowheads="1"/>
              </p:cNvSpPr>
              <p:nvPr/>
            </p:nvSpPr>
            <p:spPr bwMode="auto">
              <a:xfrm>
                <a:off x="301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8" name="Oval 2874">
                <a:extLst>
                  <a:ext uri="{FF2B5EF4-FFF2-40B4-BE49-F238E27FC236}">
                    <a16:creationId xmlns:a16="http://schemas.microsoft.com/office/drawing/2014/main" id="{20E25EA9-6D14-40FF-B658-870D201F2C76}"/>
                  </a:ext>
                </a:extLst>
              </p:cNvPr>
              <p:cNvSpPr>
                <a:spLocks noChangeArrowheads="1"/>
              </p:cNvSpPr>
              <p:nvPr/>
            </p:nvSpPr>
            <p:spPr bwMode="auto">
              <a:xfrm>
                <a:off x="316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9" name="Oval 2875">
                <a:extLst>
                  <a:ext uri="{FF2B5EF4-FFF2-40B4-BE49-F238E27FC236}">
                    <a16:creationId xmlns:a16="http://schemas.microsoft.com/office/drawing/2014/main" id="{87BCD087-D821-4430-ADE1-12E4740D8981}"/>
                  </a:ext>
                </a:extLst>
              </p:cNvPr>
              <p:cNvSpPr>
                <a:spLocks noChangeArrowheads="1"/>
              </p:cNvSpPr>
              <p:nvPr/>
            </p:nvSpPr>
            <p:spPr bwMode="auto">
              <a:xfrm>
                <a:off x="307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0" name="Oval 2876">
                <a:extLst>
                  <a:ext uri="{FF2B5EF4-FFF2-40B4-BE49-F238E27FC236}">
                    <a16:creationId xmlns:a16="http://schemas.microsoft.com/office/drawing/2014/main" id="{022433F5-DF39-44C2-9801-398529B7F02C}"/>
                  </a:ext>
                </a:extLst>
              </p:cNvPr>
              <p:cNvSpPr>
                <a:spLocks noChangeArrowheads="1"/>
              </p:cNvSpPr>
              <p:nvPr/>
            </p:nvSpPr>
            <p:spPr bwMode="auto">
              <a:xfrm>
                <a:off x="295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1" name="Oval 2877">
                <a:extLst>
                  <a:ext uri="{FF2B5EF4-FFF2-40B4-BE49-F238E27FC236}">
                    <a16:creationId xmlns:a16="http://schemas.microsoft.com/office/drawing/2014/main" id="{3F35783E-02F9-4663-A138-500D5772DBEC}"/>
                  </a:ext>
                </a:extLst>
              </p:cNvPr>
              <p:cNvSpPr>
                <a:spLocks noChangeArrowheads="1"/>
              </p:cNvSpPr>
              <p:nvPr/>
            </p:nvSpPr>
            <p:spPr bwMode="auto">
              <a:xfrm>
                <a:off x="301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2" name="Oval 2878">
                <a:extLst>
                  <a:ext uri="{FF2B5EF4-FFF2-40B4-BE49-F238E27FC236}">
                    <a16:creationId xmlns:a16="http://schemas.microsoft.com/office/drawing/2014/main" id="{11FD865D-5D46-48A2-A4A4-22BDE78702E5}"/>
                  </a:ext>
                </a:extLst>
              </p:cNvPr>
              <p:cNvSpPr>
                <a:spLocks noChangeArrowheads="1"/>
              </p:cNvSpPr>
              <p:nvPr/>
            </p:nvSpPr>
            <p:spPr bwMode="auto">
              <a:xfrm>
                <a:off x="298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3" name="Oval 2879">
                <a:extLst>
                  <a:ext uri="{FF2B5EF4-FFF2-40B4-BE49-F238E27FC236}">
                    <a16:creationId xmlns:a16="http://schemas.microsoft.com/office/drawing/2014/main" id="{21A455D3-5D7D-4D1C-9825-F13B6E7FF804}"/>
                  </a:ext>
                </a:extLst>
              </p:cNvPr>
              <p:cNvSpPr>
                <a:spLocks noChangeArrowheads="1"/>
              </p:cNvSpPr>
              <p:nvPr/>
            </p:nvSpPr>
            <p:spPr bwMode="auto">
              <a:xfrm>
                <a:off x="30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4" name="Oval 2880">
                <a:extLst>
                  <a:ext uri="{FF2B5EF4-FFF2-40B4-BE49-F238E27FC236}">
                    <a16:creationId xmlns:a16="http://schemas.microsoft.com/office/drawing/2014/main" id="{7D637C54-0A6A-461C-95B2-FEBBBC8BB9CE}"/>
                  </a:ext>
                </a:extLst>
              </p:cNvPr>
              <p:cNvSpPr>
                <a:spLocks noChangeArrowheads="1"/>
              </p:cNvSpPr>
              <p:nvPr/>
            </p:nvSpPr>
            <p:spPr bwMode="auto">
              <a:xfrm>
                <a:off x="310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5" name="Oval 2881">
                <a:extLst>
                  <a:ext uri="{FF2B5EF4-FFF2-40B4-BE49-F238E27FC236}">
                    <a16:creationId xmlns:a16="http://schemas.microsoft.com/office/drawing/2014/main" id="{41DB8602-F787-4678-AC73-A5161BACA1A7}"/>
                  </a:ext>
                </a:extLst>
              </p:cNvPr>
              <p:cNvSpPr>
                <a:spLocks noChangeArrowheads="1"/>
              </p:cNvSpPr>
              <p:nvPr/>
            </p:nvSpPr>
            <p:spPr bwMode="auto">
              <a:xfrm>
                <a:off x="310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6" name="Oval 2882">
                <a:extLst>
                  <a:ext uri="{FF2B5EF4-FFF2-40B4-BE49-F238E27FC236}">
                    <a16:creationId xmlns:a16="http://schemas.microsoft.com/office/drawing/2014/main" id="{C63E1716-EFA2-4287-B7D1-F97770D456B7}"/>
                  </a:ext>
                </a:extLst>
              </p:cNvPr>
              <p:cNvSpPr>
                <a:spLocks noChangeArrowheads="1"/>
              </p:cNvSpPr>
              <p:nvPr/>
            </p:nvSpPr>
            <p:spPr bwMode="auto">
              <a:xfrm>
                <a:off x="29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7" name="Oval 2883">
                <a:extLst>
                  <a:ext uri="{FF2B5EF4-FFF2-40B4-BE49-F238E27FC236}">
                    <a16:creationId xmlns:a16="http://schemas.microsoft.com/office/drawing/2014/main" id="{A15E57D1-D309-4161-B95E-540BE9F47273}"/>
                  </a:ext>
                </a:extLst>
              </p:cNvPr>
              <p:cNvSpPr>
                <a:spLocks noChangeArrowheads="1"/>
              </p:cNvSpPr>
              <p:nvPr/>
            </p:nvSpPr>
            <p:spPr bwMode="auto">
              <a:xfrm>
                <a:off x="280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8" name="Oval 2884">
                <a:extLst>
                  <a:ext uri="{FF2B5EF4-FFF2-40B4-BE49-F238E27FC236}">
                    <a16:creationId xmlns:a16="http://schemas.microsoft.com/office/drawing/2014/main" id="{0FC18EEE-2926-47CD-A33D-07B7F37001C8}"/>
                  </a:ext>
                </a:extLst>
              </p:cNvPr>
              <p:cNvSpPr>
                <a:spLocks noChangeArrowheads="1"/>
              </p:cNvSpPr>
              <p:nvPr/>
            </p:nvSpPr>
            <p:spPr bwMode="auto">
              <a:xfrm>
                <a:off x="289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9" name="Oval 2885">
                <a:extLst>
                  <a:ext uri="{FF2B5EF4-FFF2-40B4-BE49-F238E27FC236}">
                    <a16:creationId xmlns:a16="http://schemas.microsoft.com/office/drawing/2014/main" id="{60434BE8-3CF4-42EC-B8AE-662FFF957281}"/>
                  </a:ext>
                </a:extLst>
              </p:cNvPr>
              <p:cNvSpPr>
                <a:spLocks noChangeArrowheads="1"/>
              </p:cNvSpPr>
              <p:nvPr/>
            </p:nvSpPr>
            <p:spPr bwMode="auto">
              <a:xfrm>
                <a:off x="292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0" name="Oval 2886">
                <a:extLst>
                  <a:ext uri="{FF2B5EF4-FFF2-40B4-BE49-F238E27FC236}">
                    <a16:creationId xmlns:a16="http://schemas.microsoft.com/office/drawing/2014/main" id="{2B33C8F9-98ED-4983-B2F0-9CE8501FCBD0}"/>
                  </a:ext>
                </a:extLst>
              </p:cNvPr>
              <p:cNvSpPr>
                <a:spLocks noChangeArrowheads="1"/>
              </p:cNvSpPr>
              <p:nvPr/>
            </p:nvSpPr>
            <p:spPr bwMode="auto">
              <a:xfrm>
                <a:off x="283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1" name="Oval 2887">
                <a:extLst>
                  <a:ext uri="{FF2B5EF4-FFF2-40B4-BE49-F238E27FC236}">
                    <a16:creationId xmlns:a16="http://schemas.microsoft.com/office/drawing/2014/main" id="{A48932CC-626C-4477-A908-6D09950B7A41}"/>
                  </a:ext>
                </a:extLst>
              </p:cNvPr>
              <p:cNvSpPr>
                <a:spLocks noChangeArrowheads="1"/>
              </p:cNvSpPr>
              <p:nvPr/>
            </p:nvSpPr>
            <p:spPr bwMode="auto">
              <a:xfrm>
                <a:off x="286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2" name="Oval 2888">
                <a:extLst>
                  <a:ext uri="{FF2B5EF4-FFF2-40B4-BE49-F238E27FC236}">
                    <a16:creationId xmlns:a16="http://schemas.microsoft.com/office/drawing/2014/main" id="{8F28D8C9-459A-4E89-9181-05DE71337631}"/>
                  </a:ext>
                </a:extLst>
              </p:cNvPr>
              <p:cNvSpPr>
                <a:spLocks noChangeArrowheads="1"/>
              </p:cNvSpPr>
              <p:nvPr/>
            </p:nvSpPr>
            <p:spPr bwMode="auto">
              <a:xfrm>
                <a:off x="30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3" name="Oval 2889">
                <a:extLst>
                  <a:ext uri="{FF2B5EF4-FFF2-40B4-BE49-F238E27FC236}">
                    <a16:creationId xmlns:a16="http://schemas.microsoft.com/office/drawing/2014/main" id="{4D71F956-1592-4E2A-8042-8C1B9CF2BF98}"/>
                  </a:ext>
                </a:extLst>
              </p:cNvPr>
              <p:cNvSpPr>
                <a:spLocks noChangeArrowheads="1"/>
              </p:cNvSpPr>
              <p:nvPr/>
            </p:nvSpPr>
            <p:spPr bwMode="auto">
              <a:xfrm>
                <a:off x="295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4" name="Oval 2890">
                <a:extLst>
                  <a:ext uri="{FF2B5EF4-FFF2-40B4-BE49-F238E27FC236}">
                    <a16:creationId xmlns:a16="http://schemas.microsoft.com/office/drawing/2014/main" id="{7C907712-10C3-4695-BE6D-2FABEDFE69DB}"/>
                  </a:ext>
                </a:extLst>
              </p:cNvPr>
              <p:cNvSpPr>
                <a:spLocks noChangeArrowheads="1"/>
              </p:cNvSpPr>
              <p:nvPr/>
            </p:nvSpPr>
            <p:spPr bwMode="auto">
              <a:xfrm>
                <a:off x="295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5" name="Oval 2891">
                <a:extLst>
                  <a:ext uri="{FF2B5EF4-FFF2-40B4-BE49-F238E27FC236}">
                    <a16:creationId xmlns:a16="http://schemas.microsoft.com/office/drawing/2014/main" id="{8E391000-4619-4FE3-A797-B4BC57D263A1}"/>
                  </a:ext>
                </a:extLst>
              </p:cNvPr>
              <p:cNvSpPr>
                <a:spLocks noChangeArrowheads="1"/>
              </p:cNvSpPr>
              <p:nvPr/>
            </p:nvSpPr>
            <p:spPr bwMode="auto">
              <a:xfrm>
                <a:off x="301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6" name="Oval 2892">
                <a:extLst>
                  <a:ext uri="{FF2B5EF4-FFF2-40B4-BE49-F238E27FC236}">
                    <a16:creationId xmlns:a16="http://schemas.microsoft.com/office/drawing/2014/main" id="{F733224E-C69D-40B7-B56B-23DD1709EA08}"/>
                  </a:ext>
                </a:extLst>
              </p:cNvPr>
              <p:cNvSpPr>
                <a:spLocks noChangeArrowheads="1"/>
              </p:cNvSpPr>
              <p:nvPr/>
            </p:nvSpPr>
            <p:spPr bwMode="auto">
              <a:xfrm>
                <a:off x="289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7" name="Oval 2893">
                <a:extLst>
                  <a:ext uri="{FF2B5EF4-FFF2-40B4-BE49-F238E27FC236}">
                    <a16:creationId xmlns:a16="http://schemas.microsoft.com/office/drawing/2014/main" id="{03AF7587-FE5A-4C1B-83E7-2432B69F59B8}"/>
                  </a:ext>
                </a:extLst>
              </p:cNvPr>
              <p:cNvSpPr>
                <a:spLocks noChangeArrowheads="1"/>
              </p:cNvSpPr>
              <p:nvPr/>
            </p:nvSpPr>
            <p:spPr bwMode="auto">
              <a:xfrm>
                <a:off x="307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8" name="Oval 2894">
                <a:extLst>
                  <a:ext uri="{FF2B5EF4-FFF2-40B4-BE49-F238E27FC236}">
                    <a16:creationId xmlns:a16="http://schemas.microsoft.com/office/drawing/2014/main" id="{26358087-F380-40CA-9B3B-4CC691EBC753}"/>
                  </a:ext>
                </a:extLst>
              </p:cNvPr>
              <p:cNvSpPr>
                <a:spLocks noChangeArrowheads="1"/>
              </p:cNvSpPr>
              <p:nvPr/>
            </p:nvSpPr>
            <p:spPr bwMode="auto">
              <a:xfrm>
                <a:off x="310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9" name="Oval 2895">
                <a:extLst>
                  <a:ext uri="{FF2B5EF4-FFF2-40B4-BE49-F238E27FC236}">
                    <a16:creationId xmlns:a16="http://schemas.microsoft.com/office/drawing/2014/main" id="{2AAF7D11-F01C-4980-9AFD-9AFB70F865B3}"/>
                  </a:ext>
                </a:extLst>
              </p:cNvPr>
              <p:cNvSpPr>
                <a:spLocks noChangeArrowheads="1"/>
              </p:cNvSpPr>
              <p:nvPr/>
            </p:nvSpPr>
            <p:spPr bwMode="auto">
              <a:xfrm>
                <a:off x="30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0" name="Oval 2896">
                <a:extLst>
                  <a:ext uri="{FF2B5EF4-FFF2-40B4-BE49-F238E27FC236}">
                    <a16:creationId xmlns:a16="http://schemas.microsoft.com/office/drawing/2014/main" id="{B8BC8202-579C-427E-92FC-FB93820B5EB8}"/>
                  </a:ext>
                </a:extLst>
              </p:cNvPr>
              <p:cNvSpPr>
                <a:spLocks noChangeArrowheads="1"/>
              </p:cNvSpPr>
              <p:nvPr/>
            </p:nvSpPr>
            <p:spPr bwMode="auto">
              <a:xfrm>
                <a:off x="295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1" name="Oval 2897">
                <a:extLst>
                  <a:ext uri="{FF2B5EF4-FFF2-40B4-BE49-F238E27FC236}">
                    <a16:creationId xmlns:a16="http://schemas.microsoft.com/office/drawing/2014/main" id="{8DEED6BC-64FC-4C86-88C2-CFA31A5BE204}"/>
                  </a:ext>
                </a:extLst>
              </p:cNvPr>
              <p:cNvSpPr>
                <a:spLocks noChangeArrowheads="1"/>
              </p:cNvSpPr>
              <p:nvPr/>
            </p:nvSpPr>
            <p:spPr bwMode="auto">
              <a:xfrm>
                <a:off x="292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2" name="Oval 2898">
                <a:extLst>
                  <a:ext uri="{FF2B5EF4-FFF2-40B4-BE49-F238E27FC236}">
                    <a16:creationId xmlns:a16="http://schemas.microsoft.com/office/drawing/2014/main" id="{243B0487-ABFF-4B14-826F-388FA4849F21}"/>
                  </a:ext>
                </a:extLst>
              </p:cNvPr>
              <p:cNvSpPr>
                <a:spLocks noChangeArrowheads="1"/>
              </p:cNvSpPr>
              <p:nvPr/>
            </p:nvSpPr>
            <p:spPr bwMode="auto">
              <a:xfrm>
                <a:off x="2835"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3" name="Oval 2899">
                <a:extLst>
                  <a:ext uri="{FF2B5EF4-FFF2-40B4-BE49-F238E27FC236}">
                    <a16:creationId xmlns:a16="http://schemas.microsoft.com/office/drawing/2014/main" id="{FDD8E74C-E662-4032-91E4-8157493923DC}"/>
                  </a:ext>
                </a:extLst>
              </p:cNvPr>
              <p:cNvSpPr>
                <a:spLocks noChangeArrowheads="1"/>
              </p:cNvSpPr>
              <p:nvPr/>
            </p:nvSpPr>
            <p:spPr bwMode="auto">
              <a:xfrm>
                <a:off x="277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4" name="Oval 2900">
                <a:extLst>
                  <a:ext uri="{FF2B5EF4-FFF2-40B4-BE49-F238E27FC236}">
                    <a16:creationId xmlns:a16="http://schemas.microsoft.com/office/drawing/2014/main" id="{0AFB5FEA-CC85-4799-B28D-3D67D0818B32}"/>
                  </a:ext>
                </a:extLst>
              </p:cNvPr>
              <p:cNvSpPr>
                <a:spLocks noChangeArrowheads="1"/>
              </p:cNvSpPr>
              <p:nvPr/>
            </p:nvSpPr>
            <p:spPr bwMode="auto">
              <a:xfrm>
                <a:off x="271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5" name="Oval 2901">
                <a:extLst>
                  <a:ext uri="{FF2B5EF4-FFF2-40B4-BE49-F238E27FC236}">
                    <a16:creationId xmlns:a16="http://schemas.microsoft.com/office/drawing/2014/main" id="{B6949350-9F7D-480F-A9CC-C9B30FE34C91}"/>
                  </a:ext>
                </a:extLst>
              </p:cNvPr>
              <p:cNvSpPr>
                <a:spLocks noChangeArrowheads="1"/>
              </p:cNvSpPr>
              <p:nvPr/>
            </p:nvSpPr>
            <p:spPr bwMode="auto">
              <a:xfrm>
                <a:off x="274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6" name="Oval 2902">
                <a:extLst>
                  <a:ext uri="{FF2B5EF4-FFF2-40B4-BE49-F238E27FC236}">
                    <a16:creationId xmlns:a16="http://schemas.microsoft.com/office/drawing/2014/main" id="{93F377E0-FC30-422B-89FC-0DC1715E8ECC}"/>
                  </a:ext>
                </a:extLst>
              </p:cNvPr>
              <p:cNvSpPr>
                <a:spLocks noChangeArrowheads="1"/>
              </p:cNvSpPr>
              <p:nvPr/>
            </p:nvSpPr>
            <p:spPr bwMode="auto">
              <a:xfrm>
                <a:off x="2805"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7" name="Oval 2903">
                <a:extLst>
                  <a:ext uri="{FF2B5EF4-FFF2-40B4-BE49-F238E27FC236}">
                    <a16:creationId xmlns:a16="http://schemas.microsoft.com/office/drawing/2014/main" id="{D02248F4-4D29-4282-BB13-0F8357AF132B}"/>
                  </a:ext>
                </a:extLst>
              </p:cNvPr>
              <p:cNvSpPr>
                <a:spLocks noChangeArrowheads="1"/>
              </p:cNvSpPr>
              <p:nvPr/>
            </p:nvSpPr>
            <p:spPr bwMode="auto">
              <a:xfrm>
                <a:off x="27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8" name="Oval 2904">
                <a:extLst>
                  <a:ext uri="{FF2B5EF4-FFF2-40B4-BE49-F238E27FC236}">
                    <a16:creationId xmlns:a16="http://schemas.microsoft.com/office/drawing/2014/main" id="{DD4931EC-A642-40BB-9AC7-BE9627387219}"/>
                  </a:ext>
                </a:extLst>
              </p:cNvPr>
              <p:cNvSpPr>
                <a:spLocks noChangeArrowheads="1"/>
              </p:cNvSpPr>
              <p:nvPr/>
            </p:nvSpPr>
            <p:spPr bwMode="auto">
              <a:xfrm>
                <a:off x="2745"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9" name="Oval 2905">
                <a:extLst>
                  <a:ext uri="{FF2B5EF4-FFF2-40B4-BE49-F238E27FC236}">
                    <a16:creationId xmlns:a16="http://schemas.microsoft.com/office/drawing/2014/main" id="{7C427F7B-88F0-49C1-8335-963EE29E18F8}"/>
                  </a:ext>
                </a:extLst>
              </p:cNvPr>
              <p:cNvSpPr>
                <a:spLocks noChangeArrowheads="1"/>
              </p:cNvSpPr>
              <p:nvPr/>
            </p:nvSpPr>
            <p:spPr bwMode="auto">
              <a:xfrm>
                <a:off x="25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0" name="Oval 2906">
                <a:extLst>
                  <a:ext uri="{FF2B5EF4-FFF2-40B4-BE49-F238E27FC236}">
                    <a16:creationId xmlns:a16="http://schemas.microsoft.com/office/drawing/2014/main" id="{3E88898E-09E4-4EB8-9F98-AF8DE56522E8}"/>
                  </a:ext>
                </a:extLst>
              </p:cNvPr>
              <p:cNvSpPr>
                <a:spLocks noChangeArrowheads="1"/>
              </p:cNvSpPr>
              <p:nvPr/>
            </p:nvSpPr>
            <p:spPr bwMode="auto">
              <a:xfrm>
                <a:off x="259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1" name="Oval 2907">
                <a:extLst>
                  <a:ext uri="{FF2B5EF4-FFF2-40B4-BE49-F238E27FC236}">
                    <a16:creationId xmlns:a16="http://schemas.microsoft.com/office/drawing/2014/main" id="{949FCF4E-8E51-4C17-A2FF-A61A7B5B3CCB}"/>
                  </a:ext>
                </a:extLst>
              </p:cNvPr>
              <p:cNvSpPr>
                <a:spLocks noChangeArrowheads="1"/>
              </p:cNvSpPr>
              <p:nvPr/>
            </p:nvSpPr>
            <p:spPr bwMode="auto">
              <a:xfrm>
                <a:off x="262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2" name="Oval 2908">
                <a:extLst>
                  <a:ext uri="{FF2B5EF4-FFF2-40B4-BE49-F238E27FC236}">
                    <a16:creationId xmlns:a16="http://schemas.microsoft.com/office/drawing/2014/main" id="{DFEF25F9-2660-4998-A4BF-5BEAA6E4D3E8}"/>
                  </a:ext>
                </a:extLst>
              </p:cNvPr>
              <p:cNvSpPr>
                <a:spLocks noChangeArrowheads="1"/>
              </p:cNvSpPr>
              <p:nvPr/>
            </p:nvSpPr>
            <p:spPr bwMode="auto">
              <a:xfrm>
                <a:off x="2655"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3" name="Oval 2909">
                <a:extLst>
                  <a:ext uri="{FF2B5EF4-FFF2-40B4-BE49-F238E27FC236}">
                    <a16:creationId xmlns:a16="http://schemas.microsoft.com/office/drawing/2014/main" id="{89BD8CEE-AAEF-40CB-B89F-CC1D06B81582}"/>
                  </a:ext>
                </a:extLst>
              </p:cNvPr>
              <p:cNvSpPr>
                <a:spLocks noChangeArrowheads="1"/>
              </p:cNvSpPr>
              <p:nvPr/>
            </p:nvSpPr>
            <p:spPr bwMode="auto">
              <a:xfrm>
                <a:off x="271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4" name="Oval 2910">
                <a:extLst>
                  <a:ext uri="{FF2B5EF4-FFF2-40B4-BE49-F238E27FC236}">
                    <a16:creationId xmlns:a16="http://schemas.microsoft.com/office/drawing/2014/main" id="{481EA393-9075-4CF1-91FB-01C8BE196D19}"/>
                  </a:ext>
                </a:extLst>
              </p:cNvPr>
              <p:cNvSpPr>
                <a:spLocks noChangeArrowheads="1"/>
              </p:cNvSpPr>
              <p:nvPr/>
            </p:nvSpPr>
            <p:spPr bwMode="auto">
              <a:xfrm>
                <a:off x="262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5" name="Oval 2911">
                <a:extLst>
                  <a:ext uri="{FF2B5EF4-FFF2-40B4-BE49-F238E27FC236}">
                    <a16:creationId xmlns:a16="http://schemas.microsoft.com/office/drawing/2014/main" id="{BFD759DC-13E7-44B8-BA10-AA4B689AC02A}"/>
                  </a:ext>
                </a:extLst>
              </p:cNvPr>
              <p:cNvSpPr>
                <a:spLocks noChangeArrowheads="1"/>
              </p:cNvSpPr>
              <p:nvPr/>
            </p:nvSpPr>
            <p:spPr bwMode="auto">
              <a:xfrm>
                <a:off x="256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6" name="Oval 2912">
                <a:extLst>
                  <a:ext uri="{FF2B5EF4-FFF2-40B4-BE49-F238E27FC236}">
                    <a16:creationId xmlns:a16="http://schemas.microsoft.com/office/drawing/2014/main" id="{E7BC5954-9036-455C-8FAB-66DF98003DDA}"/>
                  </a:ext>
                </a:extLst>
              </p:cNvPr>
              <p:cNvSpPr>
                <a:spLocks noChangeArrowheads="1"/>
              </p:cNvSpPr>
              <p:nvPr/>
            </p:nvSpPr>
            <p:spPr bwMode="auto">
              <a:xfrm>
                <a:off x="27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7" name="Oval 2913">
                <a:extLst>
                  <a:ext uri="{FF2B5EF4-FFF2-40B4-BE49-F238E27FC236}">
                    <a16:creationId xmlns:a16="http://schemas.microsoft.com/office/drawing/2014/main" id="{8A1AD686-1DD9-471B-B166-5626FC498D22}"/>
                  </a:ext>
                </a:extLst>
              </p:cNvPr>
              <p:cNvSpPr>
                <a:spLocks noChangeArrowheads="1"/>
              </p:cNvSpPr>
              <p:nvPr/>
            </p:nvSpPr>
            <p:spPr bwMode="auto">
              <a:xfrm>
                <a:off x="265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8" name="Oval 2914">
                <a:extLst>
                  <a:ext uri="{FF2B5EF4-FFF2-40B4-BE49-F238E27FC236}">
                    <a16:creationId xmlns:a16="http://schemas.microsoft.com/office/drawing/2014/main" id="{56F259D0-0AA8-4BD2-9C47-DCE499BB9FCF}"/>
                  </a:ext>
                </a:extLst>
              </p:cNvPr>
              <p:cNvSpPr>
                <a:spLocks noChangeArrowheads="1"/>
              </p:cNvSpPr>
              <p:nvPr/>
            </p:nvSpPr>
            <p:spPr bwMode="auto">
              <a:xfrm>
                <a:off x="25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9" name="Oval 2915">
                <a:extLst>
                  <a:ext uri="{FF2B5EF4-FFF2-40B4-BE49-F238E27FC236}">
                    <a16:creationId xmlns:a16="http://schemas.microsoft.com/office/drawing/2014/main" id="{BCA5C722-7FF0-4974-86E1-B3C23B239BAA}"/>
                  </a:ext>
                </a:extLst>
              </p:cNvPr>
              <p:cNvSpPr>
                <a:spLocks noChangeArrowheads="1"/>
              </p:cNvSpPr>
              <p:nvPr/>
            </p:nvSpPr>
            <p:spPr bwMode="auto">
              <a:xfrm>
                <a:off x="2805"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0" name="Oval 2916">
                <a:extLst>
                  <a:ext uri="{FF2B5EF4-FFF2-40B4-BE49-F238E27FC236}">
                    <a16:creationId xmlns:a16="http://schemas.microsoft.com/office/drawing/2014/main" id="{47F2207F-ED78-4B41-802F-30139B9038D3}"/>
                  </a:ext>
                </a:extLst>
              </p:cNvPr>
              <p:cNvSpPr>
                <a:spLocks noChangeArrowheads="1"/>
              </p:cNvSpPr>
              <p:nvPr/>
            </p:nvSpPr>
            <p:spPr bwMode="auto">
              <a:xfrm>
                <a:off x="307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1" name="Oval 2917">
                <a:extLst>
                  <a:ext uri="{FF2B5EF4-FFF2-40B4-BE49-F238E27FC236}">
                    <a16:creationId xmlns:a16="http://schemas.microsoft.com/office/drawing/2014/main" id="{A9562D1C-7972-4B84-B00C-F8F6C6C502F5}"/>
                  </a:ext>
                </a:extLst>
              </p:cNvPr>
              <p:cNvSpPr>
                <a:spLocks noChangeArrowheads="1"/>
              </p:cNvSpPr>
              <p:nvPr/>
            </p:nvSpPr>
            <p:spPr bwMode="auto">
              <a:xfrm>
                <a:off x="301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2" name="Oval 2918">
                <a:extLst>
                  <a:ext uri="{FF2B5EF4-FFF2-40B4-BE49-F238E27FC236}">
                    <a16:creationId xmlns:a16="http://schemas.microsoft.com/office/drawing/2014/main" id="{1BCB6BAE-60F9-404C-98D1-76564D90E00D}"/>
                  </a:ext>
                </a:extLst>
              </p:cNvPr>
              <p:cNvSpPr>
                <a:spLocks noChangeArrowheads="1"/>
              </p:cNvSpPr>
              <p:nvPr/>
            </p:nvSpPr>
            <p:spPr bwMode="auto">
              <a:xfrm>
                <a:off x="289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3" name="Oval 2919">
                <a:extLst>
                  <a:ext uri="{FF2B5EF4-FFF2-40B4-BE49-F238E27FC236}">
                    <a16:creationId xmlns:a16="http://schemas.microsoft.com/office/drawing/2014/main" id="{B412B735-96BB-48A3-868C-25EAEAD8C24E}"/>
                  </a:ext>
                </a:extLst>
              </p:cNvPr>
              <p:cNvSpPr>
                <a:spLocks noChangeArrowheads="1"/>
              </p:cNvSpPr>
              <p:nvPr/>
            </p:nvSpPr>
            <p:spPr bwMode="auto">
              <a:xfrm>
                <a:off x="274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4" name="Oval 2920">
                <a:extLst>
                  <a:ext uri="{FF2B5EF4-FFF2-40B4-BE49-F238E27FC236}">
                    <a16:creationId xmlns:a16="http://schemas.microsoft.com/office/drawing/2014/main" id="{885AA94F-11B5-49F3-8332-F359DA95B113}"/>
                  </a:ext>
                </a:extLst>
              </p:cNvPr>
              <p:cNvSpPr>
                <a:spLocks noChangeArrowheads="1"/>
              </p:cNvSpPr>
              <p:nvPr/>
            </p:nvSpPr>
            <p:spPr bwMode="auto">
              <a:xfrm>
                <a:off x="259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5" name="Oval 2921">
                <a:extLst>
                  <a:ext uri="{FF2B5EF4-FFF2-40B4-BE49-F238E27FC236}">
                    <a16:creationId xmlns:a16="http://schemas.microsoft.com/office/drawing/2014/main" id="{D22F0306-1319-42A5-B9A7-D590D876A954}"/>
                  </a:ext>
                </a:extLst>
              </p:cNvPr>
              <p:cNvSpPr>
                <a:spLocks noChangeArrowheads="1"/>
              </p:cNvSpPr>
              <p:nvPr/>
            </p:nvSpPr>
            <p:spPr bwMode="auto">
              <a:xfrm>
                <a:off x="262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6" name="Oval 2922">
                <a:extLst>
                  <a:ext uri="{FF2B5EF4-FFF2-40B4-BE49-F238E27FC236}">
                    <a16:creationId xmlns:a16="http://schemas.microsoft.com/office/drawing/2014/main" id="{AEA42E75-606D-4E1B-B5E1-3F04C8CBB4CE}"/>
                  </a:ext>
                </a:extLst>
              </p:cNvPr>
              <p:cNvSpPr>
                <a:spLocks noChangeArrowheads="1"/>
              </p:cNvSpPr>
              <p:nvPr/>
            </p:nvSpPr>
            <p:spPr bwMode="auto">
              <a:xfrm>
                <a:off x="2955" y="3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7" name="Oval 2923">
                <a:extLst>
                  <a:ext uri="{FF2B5EF4-FFF2-40B4-BE49-F238E27FC236}">
                    <a16:creationId xmlns:a16="http://schemas.microsoft.com/office/drawing/2014/main" id="{037C1698-DF84-4FDE-B2A8-D9FD21C87421}"/>
                  </a:ext>
                </a:extLst>
              </p:cNvPr>
              <p:cNvSpPr>
                <a:spLocks noChangeArrowheads="1"/>
              </p:cNvSpPr>
              <p:nvPr/>
            </p:nvSpPr>
            <p:spPr bwMode="auto">
              <a:xfrm>
                <a:off x="304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8" name="Oval 2924">
                <a:extLst>
                  <a:ext uri="{FF2B5EF4-FFF2-40B4-BE49-F238E27FC236}">
                    <a16:creationId xmlns:a16="http://schemas.microsoft.com/office/drawing/2014/main" id="{84D5E288-DB4B-4352-A08F-6C3B144264DB}"/>
                  </a:ext>
                </a:extLst>
              </p:cNvPr>
              <p:cNvSpPr>
                <a:spLocks noChangeArrowheads="1"/>
              </p:cNvSpPr>
              <p:nvPr/>
            </p:nvSpPr>
            <p:spPr bwMode="auto">
              <a:xfrm>
                <a:off x="286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9" name="Oval 2925">
                <a:extLst>
                  <a:ext uri="{FF2B5EF4-FFF2-40B4-BE49-F238E27FC236}">
                    <a16:creationId xmlns:a16="http://schemas.microsoft.com/office/drawing/2014/main" id="{253B0040-109D-47E0-AC97-429A32A778A1}"/>
                  </a:ext>
                </a:extLst>
              </p:cNvPr>
              <p:cNvSpPr>
                <a:spLocks noChangeArrowheads="1"/>
              </p:cNvSpPr>
              <p:nvPr/>
            </p:nvSpPr>
            <p:spPr bwMode="auto">
              <a:xfrm>
                <a:off x="274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0" name="Oval 2926">
                <a:extLst>
                  <a:ext uri="{FF2B5EF4-FFF2-40B4-BE49-F238E27FC236}">
                    <a16:creationId xmlns:a16="http://schemas.microsoft.com/office/drawing/2014/main" id="{321E137C-DB24-4C0D-98D0-14CBAED02BA3}"/>
                  </a:ext>
                </a:extLst>
              </p:cNvPr>
              <p:cNvSpPr>
                <a:spLocks noChangeArrowheads="1"/>
              </p:cNvSpPr>
              <p:nvPr/>
            </p:nvSpPr>
            <p:spPr bwMode="auto">
              <a:xfrm>
                <a:off x="283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1" name="Oval 2927">
                <a:extLst>
                  <a:ext uri="{FF2B5EF4-FFF2-40B4-BE49-F238E27FC236}">
                    <a16:creationId xmlns:a16="http://schemas.microsoft.com/office/drawing/2014/main" id="{507683B1-9669-4410-A55D-77A13157A342}"/>
                  </a:ext>
                </a:extLst>
              </p:cNvPr>
              <p:cNvSpPr>
                <a:spLocks noChangeArrowheads="1"/>
              </p:cNvSpPr>
              <p:nvPr/>
            </p:nvSpPr>
            <p:spPr bwMode="auto">
              <a:xfrm>
                <a:off x="277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2" name="Oval 2928">
                <a:extLst>
                  <a:ext uri="{FF2B5EF4-FFF2-40B4-BE49-F238E27FC236}">
                    <a16:creationId xmlns:a16="http://schemas.microsoft.com/office/drawing/2014/main" id="{7A87282F-F9FA-4063-B5EE-4751AA103E19}"/>
                  </a:ext>
                </a:extLst>
              </p:cNvPr>
              <p:cNvSpPr>
                <a:spLocks noChangeArrowheads="1"/>
              </p:cNvSpPr>
              <p:nvPr/>
            </p:nvSpPr>
            <p:spPr bwMode="auto">
              <a:xfrm>
                <a:off x="301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3" name="Oval 2929">
                <a:extLst>
                  <a:ext uri="{FF2B5EF4-FFF2-40B4-BE49-F238E27FC236}">
                    <a16:creationId xmlns:a16="http://schemas.microsoft.com/office/drawing/2014/main" id="{47D21B42-FF25-4074-B36D-904C0795CA07}"/>
                  </a:ext>
                </a:extLst>
              </p:cNvPr>
              <p:cNvSpPr>
                <a:spLocks noChangeArrowheads="1"/>
              </p:cNvSpPr>
              <p:nvPr/>
            </p:nvSpPr>
            <p:spPr bwMode="auto">
              <a:xfrm>
                <a:off x="3015"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4" name="Oval 2930">
                <a:extLst>
                  <a:ext uri="{FF2B5EF4-FFF2-40B4-BE49-F238E27FC236}">
                    <a16:creationId xmlns:a16="http://schemas.microsoft.com/office/drawing/2014/main" id="{E81D4015-CDB6-452F-A1B2-3DE23F876A4C}"/>
                  </a:ext>
                </a:extLst>
              </p:cNvPr>
              <p:cNvSpPr>
                <a:spLocks noChangeArrowheads="1"/>
              </p:cNvSpPr>
              <p:nvPr/>
            </p:nvSpPr>
            <p:spPr bwMode="auto">
              <a:xfrm>
                <a:off x="283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5" name="Oval 2931">
                <a:extLst>
                  <a:ext uri="{FF2B5EF4-FFF2-40B4-BE49-F238E27FC236}">
                    <a16:creationId xmlns:a16="http://schemas.microsoft.com/office/drawing/2014/main" id="{CB0DD7DF-DB1D-4FD0-BCE3-3F460565E567}"/>
                  </a:ext>
                </a:extLst>
              </p:cNvPr>
              <p:cNvSpPr>
                <a:spLocks noChangeArrowheads="1"/>
              </p:cNvSpPr>
              <p:nvPr/>
            </p:nvSpPr>
            <p:spPr bwMode="auto">
              <a:xfrm>
                <a:off x="274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6" name="Oval 2932">
                <a:extLst>
                  <a:ext uri="{FF2B5EF4-FFF2-40B4-BE49-F238E27FC236}">
                    <a16:creationId xmlns:a16="http://schemas.microsoft.com/office/drawing/2014/main" id="{12113ECB-7228-4989-93AB-6B23BF045196}"/>
                  </a:ext>
                </a:extLst>
              </p:cNvPr>
              <p:cNvSpPr>
                <a:spLocks noChangeArrowheads="1"/>
              </p:cNvSpPr>
              <p:nvPr/>
            </p:nvSpPr>
            <p:spPr bwMode="auto">
              <a:xfrm>
                <a:off x="25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7" name="Oval 2933">
                <a:extLst>
                  <a:ext uri="{FF2B5EF4-FFF2-40B4-BE49-F238E27FC236}">
                    <a16:creationId xmlns:a16="http://schemas.microsoft.com/office/drawing/2014/main" id="{DE3045DF-8942-4650-B2A4-71E889A2E942}"/>
                  </a:ext>
                </a:extLst>
              </p:cNvPr>
              <p:cNvSpPr>
                <a:spLocks noChangeArrowheads="1"/>
              </p:cNvSpPr>
              <p:nvPr/>
            </p:nvSpPr>
            <p:spPr bwMode="auto">
              <a:xfrm>
                <a:off x="24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8" name="Oval 2934">
                <a:extLst>
                  <a:ext uri="{FF2B5EF4-FFF2-40B4-BE49-F238E27FC236}">
                    <a16:creationId xmlns:a16="http://schemas.microsoft.com/office/drawing/2014/main" id="{24903CDB-8C5D-4721-8D31-62BBA876CD15}"/>
                  </a:ext>
                </a:extLst>
              </p:cNvPr>
              <p:cNvSpPr>
                <a:spLocks noChangeArrowheads="1"/>
              </p:cNvSpPr>
              <p:nvPr/>
            </p:nvSpPr>
            <p:spPr bwMode="auto">
              <a:xfrm>
                <a:off x="238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9" name="Oval 2935">
                <a:extLst>
                  <a:ext uri="{FF2B5EF4-FFF2-40B4-BE49-F238E27FC236}">
                    <a16:creationId xmlns:a16="http://schemas.microsoft.com/office/drawing/2014/main" id="{BD5981D5-C524-41B7-85F9-D28282750267}"/>
                  </a:ext>
                </a:extLst>
              </p:cNvPr>
              <p:cNvSpPr>
                <a:spLocks noChangeArrowheads="1"/>
              </p:cNvSpPr>
              <p:nvPr/>
            </p:nvSpPr>
            <p:spPr bwMode="auto">
              <a:xfrm>
                <a:off x="256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0" name="Oval 2936">
                <a:extLst>
                  <a:ext uri="{FF2B5EF4-FFF2-40B4-BE49-F238E27FC236}">
                    <a16:creationId xmlns:a16="http://schemas.microsoft.com/office/drawing/2014/main" id="{3D9FA9EC-4538-4D30-A456-9BF5E71841F4}"/>
                  </a:ext>
                </a:extLst>
              </p:cNvPr>
              <p:cNvSpPr>
                <a:spLocks noChangeArrowheads="1"/>
              </p:cNvSpPr>
              <p:nvPr/>
            </p:nvSpPr>
            <p:spPr bwMode="auto">
              <a:xfrm>
                <a:off x="232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1" name="Oval 2937">
                <a:extLst>
                  <a:ext uri="{FF2B5EF4-FFF2-40B4-BE49-F238E27FC236}">
                    <a16:creationId xmlns:a16="http://schemas.microsoft.com/office/drawing/2014/main" id="{65BBA46E-6B14-4609-988C-66384A65F7A6}"/>
                  </a:ext>
                </a:extLst>
              </p:cNvPr>
              <p:cNvSpPr>
                <a:spLocks noChangeArrowheads="1"/>
              </p:cNvSpPr>
              <p:nvPr/>
            </p:nvSpPr>
            <p:spPr bwMode="auto">
              <a:xfrm>
                <a:off x="250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2" name="Oval 2938">
                <a:extLst>
                  <a:ext uri="{FF2B5EF4-FFF2-40B4-BE49-F238E27FC236}">
                    <a16:creationId xmlns:a16="http://schemas.microsoft.com/office/drawing/2014/main" id="{A55D279B-C875-4400-A957-D01CCFEBBD5D}"/>
                  </a:ext>
                </a:extLst>
              </p:cNvPr>
              <p:cNvSpPr>
                <a:spLocks noChangeArrowheads="1"/>
              </p:cNvSpPr>
              <p:nvPr/>
            </p:nvSpPr>
            <p:spPr bwMode="auto">
              <a:xfrm>
                <a:off x="238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3" name="Oval 2939">
                <a:extLst>
                  <a:ext uri="{FF2B5EF4-FFF2-40B4-BE49-F238E27FC236}">
                    <a16:creationId xmlns:a16="http://schemas.microsoft.com/office/drawing/2014/main" id="{3B757870-B58E-40F8-BF50-9B0C69213371}"/>
                  </a:ext>
                </a:extLst>
              </p:cNvPr>
              <p:cNvSpPr>
                <a:spLocks noChangeArrowheads="1"/>
              </p:cNvSpPr>
              <p:nvPr/>
            </p:nvSpPr>
            <p:spPr bwMode="auto">
              <a:xfrm>
                <a:off x="244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4" name="Oval 2940">
                <a:extLst>
                  <a:ext uri="{FF2B5EF4-FFF2-40B4-BE49-F238E27FC236}">
                    <a16:creationId xmlns:a16="http://schemas.microsoft.com/office/drawing/2014/main" id="{1E469F65-D3E4-4D43-AE7A-3765F98D57A9}"/>
                  </a:ext>
                </a:extLst>
              </p:cNvPr>
              <p:cNvSpPr>
                <a:spLocks noChangeArrowheads="1"/>
              </p:cNvSpPr>
              <p:nvPr/>
            </p:nvSpPr>
            <p:spPr bwMode="auto">
              <a:xfrm>
                <a:off x="250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5" name="Oval 2941">
                <a:extLst>
                  <a:ext uri="{FF2B5EF4-FFF2-40B4-BE49-F238E27FC236}">
                    <a16:creationId xmlns:a16="http://schemas.microsoft.com/office/drawing/2014/main" id="{6BA7CA42-EA9E-411F-A192-7CA75AA184C5}"/>
                  </a:ext>
                </a:extLst>
              </p:cNvPr>
              <p:cNvSpPr>
                <a:spLocks noChangeArrowheads="1"/>
              </p:cNvSpPr>
              <p:nvPr/>
            </p:nvSpPr>
            <p:spPr bwMode="auto">
              <a:xfrm>
                <a:off x="256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6" name="Oval 2942">
                <a:extLst>
                  <a:ext uri="{FF2B5EF4-FFF2-40B4-BE49-F238E27FC236}">
                    <a16:creationId xmlns:a16="http://schemas.microsoft.com/office/drawing/2014/main" id="{DEF77122-BFD8-4989-8EB0-9965176F87D8}"/>
                  </a:ext>
                </a:extLst>
              </p:cNvPr>
              <p:cNvSpPr>
                <a:spLocks noChangeArrowheads="1"/>
              </p:cNvSpPr>
              <p:nvPr/>
            </p:nvSpPr>
            <p:spPr bwMode="auto">
              <a:xfrm>
                <a:off x="244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7" name="Oval 2943">
                <a:extLst>
                  <a:ext uri="{FF2B5EF4-FFF2-40B4-BE49-F238E27FC236}">
                    <a16:creationId xmlns:a16="http://schemas.microsoft.com/office/drawing/2014/main" id="{3C254F1C-C958-417E-8149-800EFCBC89A7}"/>
                  </a:ext>
                </a:extLst>
              </p:cNvPr>
              <p:cNvSpPr>
                <a:spLocks noChangeArrowheads="1"/>
              </p:cNvSpPr>
              <p:nvPr/>
            </p:nvSpPr>
            <p:spPr bwMode="auto">
              <a:xfrm>
                <a:off x="238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8" name="Oval 2944">
                <a:extLst>
                  <a:ext uri="{FF2B5EF4-FFF2-40B4-BE49-F238E27FC236}">
                    <a16:creationId xmlns:a16="http://schemas.microsoft.com/office/drawing/2014/main" id="{E8D84D30-2C59-4514-BD72-4D8CB1A5F70E}"/>
                  </a:ext>
                </a:extLst>
              </p:cNvPr>
              <p:cNvSpPr>
                <a:spLocks noChangeArrowheads="1"/>
              </p:cNvSpPr>
              <p:nvPr/>
            </p:nvSpPr>
            <p:spPr bwMode="auto">
              <a:xfrm>
                <a:off x="238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9" name="Oval 2945">
                <a:extLst>
                  <a:ext uri="{FF2B5EF4-FFF2-40B4-BE49-F238E27FC236}">
                    <a16:creationId xmlns:a16="http://schemas.microsoft.com/office/drawing/2014/main" id="{6C2B8FB7-394D-458F-88CA-D0789BB449F5}"/>
                  </a:ext>
                </a:extLst>
              </p:cNvPr>
              <p:cNvSpPr>
                <a:spLocks noChangeArrowheads="1"/>
              </p:cNvSpPr>
              <p:nvPr/>
            </p:nvSpPr>
            <p:spPr bwMode="auto">
              <a:xfrm>
                <a:off x="250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0" name="Oval 2946">
                <a:extLst>
                  <a:ext uri="{FF2B5EF4-FFF2-40B4-BE49-F238E27FC236}">
                    <a16:creationId xmlns:a16="http://schemas.microsoft.com/office/drawing/2014/main" id="{0F5278E6-3195-474F-8C48-1BE6BFB7FC00}"/>
                  </a:ext>
                </a:extLst>
              </p:cNvPr>
              <p:cNvSpPr>
                <a:spLocks noChangeArrowheads="1"/>
              </p:cNvSpPr>
              <p:nvPr/>
            </p:nvSpPr>
            <p:spPr bwMode="auto">
              <a:xfrm>
                <a:off x="232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1" name="Oval 2947">
                <a:extLst>
                  <a:ext uri="{FF2B5EF4-FFF2-40B4-BE49-F238E27FC236}">
                    <a16:creationId xmlns:a16="http://schemas.microsoft.com/office/drawing/2014/main" id="{15FB06A8-8A54-4C4F-9F40-4A523B7B5A65}"/>
                  </a:ext>
                </a:extLst>
              </p:cNvPr>
              <p:cNvSpPr>
                <a:spLocks noChangeArrowheads="1"/>
              </p:cNvSpPr>
              <p:nvPr/>
            </p:nvSpPr>
            <p:spPr bwMode="auto">
              <a:xfrm>
                <a:off x="247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2" name="Oval 2948">
                <a:extLst>
                  <a:ext uri="{FF2B5EF4-FFF2-40B4-BE49-F238E27FC236}">
                    <a16:creationId xmlns:a16="http://schemas.microsoft.com/office/drawing/2014/main" id="{25EC58EE-62E8-498A-9FB9-981C279499B8}"/>
                  </a:ext>
                </a:extLst>
              </p:cNvPr>
              <p:cNvSpPr>
                <a:spLocks noChangeArrowheads="1"/>
              </p:cNvSpPr>
              <p:nvPr/>
            </p:nvSpPr>
            <p:spPr bwMode="auto">
              <a:xfrm>
                <a:off x="244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3" name="Oval 2949">
                <a:extLst>
                  <a:ext uri="{FF2B5EF4-FFF2-40B4-BE49-F238E27FC236}">
                    <a16:creationId xmlns:a16="http://schemas.microsoft.com/office/drawing/2014/main" id="{85345D85-7E93-4A5F-915C-308FE5E0C978}"/>
                  </a:ext>
                </a:extLst>
              </p:cNvPr>
              <p:cNvSpPr>
                <a:spLocks noChangeArrowheads="1"/>
              </p:cNvSpPr>
              <p:nvPr/>
            </p:nvSpPr>
            <p:spPr bwMode="auto">
              <a:xfrm>
                <a:off x="223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4" name="Oval 2950">
                <a:extLst>
                  <a:ext uri="{FF2B5EF4-FFF2-40B4-BE49-F238E27FC236}">
                    <a16:creationId xmlns:a16="http://schemas.microsoft.com/office/drawing/2014/main" id="{1E4711C4-6A9C-4D6E-9B53-337E6F30DC62}"/>
                  </a:ext>
                </a:extLst>
              </p:cNvPr>
              <p:cNvSpPr>
                <a:spLocks noChangeArrowheads="1"/>
              </p:cNvSpPr>
              <p:nvPr/>
            </p:nvSpPr>
            <p:spPr bwMode="auto">
              <a:xfrm>
                <a:off x="223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5" name="Oval 2951">
                <a:extLst>
                  <a:ext uri="{FF2B5EF4-FFF2-40B4-BE49-F238E27FC236}">
                    <a16:creationId xmlns:a16="http://schemas.microsoft.com/office/drawing/2014/main" id="{4C62F47C-1176-49A3-B1CE-0BB1F6711167}"/>
                  </a:ext>
                </a:extLst>
              </p:cNvPr>
              <p:cNvSpPr>
                <a:spLocks noChangeArrowheads="1"/>
              </p:cNvSpPr>
              <p:nvPr/>
            </p:nvSpPr>
            <p:spPr bwMode="auto">
              <a:xfrm>
                <a:off x="235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6" name="Oval 2952">
                <a:extLst>
                  <a:ext uri="{FF2B5EF4-FFF2-40B4-BE49-F238E27FC236}">
                    <a16:creationId xmlns:a16="http://schemas.microsoft.com/office/drawing/2014/main" id="{8B401918-014C-48DC-AB40-F357DFF2EF65}"/>
                  </a:ext>
                </a:extLst>
              </p:cNvPr>
              <p:cNvSpPr>
                <a:spLocks noChangeArrowheads="1"/>
              </p:cNvSpPr>
              <p:nvPr/>
            </p:nvSpPr>
            <p:spPr bwMode="auto">
              <a:xfrm>
                <a:off x="244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7" name="Oval 2953">
                <a:extLst>
                  <a:ext uri="{FF2B5EF4-FFF2-40B4-BE49-F238E27FC236}">
                    <a16:creationId xmlns:a16="http://schemas.microsoft.com/office/drawing/2014/main" id="{5C18D5E3-624A-49E0-9A04-5E53CDFCDCD3}"/>
                  </a:ext>
                </a:extLst>
              </p:cNvPr>
              <p:cNvSpPr>
                <a:spLocks noChangeArrowheads="1"/>
              </p:cNvSpPr>
              <p:nvPr/>
            </p:nvSpPr>
            <p:spPr bwMode="auto">
              <a:xfrm>
                <a:off x="250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8" name="Oval 2954">
                <a:extLst>
                  <a:ext uri="{FF2B5EF4-FFF2-40B4-BE49-F238E27FC236}">
                    <a16:creationId xmlns:a16="http://schemas.microsoft.com/office/drawing/2014/main" id="{4F8F0EED-5D39-4059-B551-4833AB3C7AAF}"/>
                  </a:ext>
                </a:extLst>
              </p:cNvPr>
              <p:cNvSpPr>
                <a:spLocks noChangeArrowheads="1"/>
              </p:cNvSpPr>
              <p:nvPr/>
            </p:nvSpPr>
            <p:spPr bwMode="auto">
              <a:xfrm>
                <a:off x="247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9" name="Oval 2955">
                <a:extLst>
                  <a:ext uri="{FF2B5EF4-FFF2-40B4-BE49-F238E27FC236}">
                    <a16:creationId xmlns:a16="http://schemas.microsoft.com/office/drawing/2014/main" id="{DCA82CD2-60DF-47F4-813A-E819A7572A92}"/>
                  </a:ext>
                </a:extLst>
              </p:cNvPr>
              <p:cNvSpPr>
                <a:spLocks noChangeArrowheads="1"/>
              </p:cNvSpPr>
              <p:nvPr/>
            </p:nvSpPr>
            <p:spPr bwMode="auto">
              <a:xfrm>
                <a:off x="235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0" name="Oval 2956">
                <a:extLst>
                  <a:ext uri="{FF2B5EF4-FFF2-40B4-BE49-F238E27FC236}">
                    <a16:creationId xmlns:a16="http://schemas.microsoft.com/office/drawing/2014/main" id="{0976CB30-6CBF-42ED-8E34-D556DABE6479}"/>
                  </a:ext>
                </a:extLst>
              </p:cNvPr>
              <p:cNvSpPr>
                <a:spLocks noChangeArrowheads="1"/>
              </p:cNvSpPr>
              <p:nvPr/>
            </p:nvSpPr>
            <p:spPr bwMode="auto">
              <a:xfrm>
                <a:off x="229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1" name="Oval 2957">
                <a:extLst>
                  <a:ext uri="{FF2B5EF4-FFF2-40B4-BE49-F238E27FC236}">
                    <a16:creationId xmlns:a16="http://schemas.microsoft.com/office/drawing/2014/main" id="{E5BAC027-47A0-456C-8D2E-342239EFE09D}"/>
                  </a:ext>
                </a:extLst>
              </p:cNvPr>
              <p:cNvSpPr>
                <a:spLocks noChangeArrowheads="1"/>
              </p:cNvSpPr>
              <p:nvPr/>
            </p:nvSpPr>
            <p:spPr bwMode="auto">
              <a:xfrm>
                <a:off x="223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2" name="Oval 2958">
                <a:extLst>
                  <a:ext uri="{FF2B5EF4-FFF2-40B4-BE49-F238E27FC236}">
                    <a16:creationId xmlns:a16="http://schemas.microsoft.com/office/drawing/2014/main" id="{1FEF4252-8A63-4B7F-8A67-26CD54AA82BD}"/>
                  </a:ext>
                </a:extLst>
              </p:cNvPr>
              <p:cNvSpPr>
                <a:spLocks noChangeArrowheads="1"/>
              </p:cNvSpPr>
              <p:nvPr/>
            </p:nvSpPr>
            <p:spPr bwMode="auto">
              <a:xfrm>
                <a:off x="223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3" name="Oval 2959">
                <a:extLst>
                  <a:ext uri="{FF2B5EF4-FFF2-40B4-BE49-F238E27FC236}">
                    <a16:creationId xmlns:a16="http://schemas.microsoft.com/office/drawing/2014/main" id="{7BD4AF48-3603-43B2-808D-A919D7A1CB53}"/>
                  </a:ext>
                </a:extLst>
              </p:cNvPr>
              <p:cNvSpPr>
                <a:spLocks noChangeArrowheads="1"/>
              </p:cNvSpPr>
              <p:nvPr/>
            </p:nvSpPr>
            <p:spPr bwMode="auto">
              <a:xfrm>
                <a:off x="211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4" name="Oval 2960">
                <a:extLst>
                  <a:ext uri="{FF2B5EF4-FFF2-40B4-BE49-F238E27FC236}">
                    <a16:creationId xmlns:a16="http://schemas.microsoft.com/office/drawing/2014/main" id="{37F5F5D6-BAEB-4A02-844F-B844FE5A1ED2}"/>
                  </a:ext>
                </a:extLst>
              </p:cNvPr>
              <p:cNvSpPr>
                <a:spLocks noChangeArrowheads="1"/>
              </p:cNvSpPr>
              <p:nvPr/>
            </p:nvSpPr>
            <p:spPr bwMode="auto">
              <a:xfrm>
                <a:off x="21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5" name="Oval 2961">
                <a:extLst>
                  <a:ext uri="{FF2B5EF4-FFF2-40B4-BE49-F238E27FC236}">
                    <a16:creationId xmlns:a16="http://schemas.microsoft.com/office/drawing/2014/main" id="{7A4980EF-1813-4919-A238-085E343DEACF}"/>
                  </a:ext>
                </a:extLst>
              </p:cNvPr>
              <p:cNvSpPr>
                <a:spLocks noChangeArrowheads="1"/>
              </p:cNvSpPr>
              <p:nvPr/>
            </p:nvSpPr>
            <p:spPr bwMode="auto">
              <a:xfrm>
                <a:off x="238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6" name="Oval 2962">
                <a:extLst>
                  <a:ext uri="{FF2B5EF4-FFF2-40B4-BE49-F238E27FC236}">
                    <a16:creationId xmlns:a16="http://schemas.microsoft.com/office/drawing/2014/main" id="{8678AEF0-76A8-4B74-9D5F-997C53BE631F}"/>
                  </a:ext>
                </a:extLst>
              </p:cNvPr>
              <p:cNvSpPr>
                <a:spLocks noChangeArrowheads="1"/>
              </p:cNvSpPr>
              <p:nvPr/>
            </p:nvSpPr>
            <p:spPr bwMode="auto">
              <a:xfrm>
                <a:off x="238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7" name="Oval 2963">
                <a:extLst>
                  <a:ext uri="{FF2B5EF4-FFF2-40B4-BE49-F238E27FC236}">
                    <a16:creationId xmlns:a16="http://schemas.microsoft.com/office/drawing/2014/main" id="{D02E171D-D96F-4CA4-8703-3105654CD0D8}"/>
                  </a:ext>
                </a:extLst>
              </p:cNvPr>
              <p:cNvSpPr>
                <a:spLocks noChangeArrowheads="1"/>
              </p:cNvSpPr>
              <p:nvPr/>
            </p:nvSpPr>
            <p:spPr bwMode="auto">
              <a:xfrm>
                <a:off x="226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8" name="Oval 2964">
                <a:extLst>
                  <a:ext uri="{FF2B5EF4-FFF2-40B4-BE49-F238E27FC236}">
                    <a16:creationId xmlns:a16="http://schemas.microsoft.com/office/drawing/2014/main" id="{1950F694-F67C-4BF5-A43E-7CE50A7D3D85}"/>
                  </a:ext>
                </a:extLst>
              </p:cNvPr>
              <p:cNvSpPr>
                <a:spLocks noChangeArrowheads="1"/>
              </p:cNvSpPr>
              <p:nvPr/>
            </p:nvSpPr>
            <p:spPr bwMode="auto">
              <a:xfrm>
                <a:off x="2145"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9" name="Oval 2965">
                <a:extLst>
                  <a:ext uri="{FF2B5EF4-FFF2-40B4-BE49-F238E27FC236}">
                    <a16:creationId xmlns:a16="http://schemas.microsoft.com/office/drawing/2014/main" id="{35E826A0-8DDA-4F91-BFAC-0BF76C7261AC}"/>
                  </a:ext>
                </a:extLst>
              </p:cNvPr>
              <p:cNvSpPr>
                <a:spLocks noChangeArrowheads="1"/>
              </p:cNvSpPr>
              <p:nvPr/>
            </p:nvSpPr>
            <p:spPr bwMode="auto">
              <a:xfrm>
                <a:off x="2056" y="30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0" name="Oval 2966">
                <a:extLst>
                  <a:ext uri="{FF2B5EF4-FFF2-40B4-BE49-F238E27FC236}">
                    <a16:creationId xmlns:a16="http://schemas.microsoft.com/office/drawing/2014/main" id="{6DED3B7D-6399-400B-B674-E045D7D39431}"/>
                  </a:ext>
                </a:extLst>
              </p:cNvPr>
              <p:cNvSpPr>
                <a:spLocks noChangeArrowheads="1"/>
              </p:cNvSpPr>
              <p:nvPr/>
            </p:nvSpPr>
            <p:spPr bwMode="auto">
              <a:xfrm>
                <a:off x="1966" y="28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1" name="Oval 2967">
                <a:extLst>
                  <a:ext uri="{FF2B5EF4-FFF2-40B4-BE49-F238E27FC236}">
                    <a16:creationId xmlns:a16="http://schemas.microsoft.com/office/drawing/2014/main" id="{873F7CA1-0F6A-4DCE-9FF4-3F6535A01210}"/>
                  </a:ext>
                </a:extLst>
              </p:cNvPr>
              <p:cNvSpPr>
                <a:spLocks noChangeArrowheads="1"/>
              </p:cNvSpPr>
              <p:nvPr/>
            </p:nvSpPr>
            <p:spPr bwMode="auto">
              <a:xfrm>
                <a:off x="1966"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2" name="Oval 2968">
                <a:extLst>
                  <a:ext uri="{FF2B5EF4-FFF2-40B4-BE49-F238E27FC236}">
                    <a16:creationId xmlns:a16="http://schemas.microsoft.com/office/drawing/2014/main" id="{71073CBA-0603-4D7F-8BB1-26A9CE0D8DC8}"/>
                  </a:ext>
                </a:extLst>
              </p:cNvPr>
              <p:cNvSpPr>
                <a:spLocks noChangeArrowheads="1"/>
              </p:cNvSpPr>
              <p:nvPr/>
            </p:nvSpPr>
            <p:spPr bwMode="auto">
              <a:xfrm>
                <a:off x="2056" y="264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3" name="Oval 2969">
                <a:extLst>
                  <a:ext uri="{FF2B5EF4-FFF2-40B4-BE49-F238E27FC236}">
                    <a16:creationId xmlns:a16="http://schemas.microsoft.com/office/drawing/2014/main" id="{87C26CD5-74F0-4820-9F25-5CDEEC2C277B}"/>
                  </a:ext>
                </a:extLst>
              </p:cNvPr>
              <p:cNvSpPr>
                <a:spLocks noChangeArrowheads="1"/>
              </p:cNvSpPr>
              <p:nvPr/>
            </p:nvSpPr>
            <p:spPr bwMode="auto">
              <a:xfrm>
                <a:off x="211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4" name="Oval 2970">
                <a:extLst>
                  <a:ext uri="{FF2B5EF4-FFF2-40B4-BE49-F238E27FC236}">
                    <a16:creationId xmlns:a16="http://schemas.microsoft.com/office/drawing/2014/main" id="{0A44E4AC-2D16-4DCC-8DBC-12F8D455BCA1}"/>
                  </a:ext>
                </a:extLst>
              </p:cNvPr>
              <p:cNvSpPr>
                <a:spLocks noChangeArrowheads="1"/>
              </p:cNvSpPr>
              <p:nvPr/>
            </p:nvSpPr>
            <p:spPr bwMode="auto">
              <a:xfrm>
                <a:off x="196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5" name="Oval 2971">
                <a:extLst>
                  <a:ext uri="{FF2B5EF4-FFF2-40B4-BE49-F238E27FC236}">
                    <a16:creationId xmlns:a16="http://schemas.microsoft.com/office/drawing/2014/main" id="{4D774510-1FF3-4CD0-8B73-E1F1576DD2BC}"/>
                  </a:ext>
                </a:extLst>
              </p:cNvPr>
              <p:cNvSpPr>
                <a:spLocks noChangeArrowheads="1"/>
              </p:cNvSpPr>
              <p:nvPr/>
            </p:nvSpPr>
            <p:spPr bwMode="auto">
              <a:xfrm>
                <a:off x="2056" y="24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6" name="Oval 2972">
                <a:extLst>
                  <a:ext uri="{FF2B5EF4-FFF2-40B4-BE49-F238E27FC236}">
                    <a16:creationId xmlns:a16="http://schemas.microsoft.com/office/drawing/2014/main" id="{6990F1AA-B384-48A9-A48B-4C3671D5EABD}"/>
                  </a:ext>
                </a:extLst>
              </p:cNvPr>
              <p:cNvSpPr>
                <a:spLocks noChangeArrowheads="1"/>
              </p:cNvSpPr>
              <p:nvPr/>
            </p:nvSpPr>
            <p:spPr bwMode="auto">
              <a:xfrm>
                <a:off x="21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7" name="Oval 2973">
                <a:extLst>
                  <a:ext uri="{FF2B5EF4-FFF2-40B4-BE49-F238E27FC236}">
                    <a16:creationId xmlns:a16="http://schemas.microsoft.com/office/drawing/2014/main" id="{75E41DFA-6CB6-4CAE-800D-8453601C12DC}"/>
                  </a:ext>
                </a:extLst>
              </p:cNvPr>
              <p:cNvSpPr>
                <a:spLocks noChangeArrowheads="1"/>
              </p:cNvSpPr>
              <p:nvPr/>
            </p:nvSpPr>
            <p:spPr bwMode="auto">
              <a:xfrm>
                <a:off x="196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8" name="Oval 2974">
                <a:extLst>
                  <a:ext uri="{FF2B5EF4-FFF2-40B4-BE49-F238E27FC236}">
                    <a16:creationId xmlns:a16="http://schemas.microsoft.com/office/drawing/2014/main" id="{A58FA163-408C-4A28-A03B-74B2B9405B6D}"/>
                  </a:ext>
                </a:extLst>
              </p:cNvPr>
              <p:cNvSpPr>
                <a:spLocks noChangeArrowheads="1"/>
              </p:cNvSpPr>
              <p:nvPr/>
            </p:nvSpPr>
            <p:spPr bwMode="auto">
              <a:xfrm>
                <a:off x="187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9" name="Oval 2975">
                <a:extLst>
                  <a:ext uri="{FF2B5EF4-FFF2-40B4-BE49-F238E27FC236}">
                    <a16:creationId xmlns:a16="http://schemas.microsoft.com/office/drawing/2014/main" id="{89A7A55A-B780-413F-AAF0-C9042DB242FC}"/>
                  </a:ext>
                </a:extLst>
              </p:cNvPr>
              <p:cNvSpPr>
                <a:spLocks noChangeArrowheads="1"/>
              </p:cNvSpPr>
              <p:nvPr/>
            </p:nvSpPr>
            <p:spPr bwMode="auto">
              <a:xfrm>
                <a:off x="178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0" name="Oval 2976">
                <a:extLst>
                  <a:ext uri="{FF2B5EF4-FFF2-40B4-BE49-F238E27FC236}">
                    <a16:creationId xmlns:a16="http://schemas.microsoft.com/office/drawing/2014/main" id="{F545BFC6-B687-4CFD-B148-28895EA375D2}"/>
                  </a:ext>
                </a:extLst>
              </p:cNvPr>
              <p:cNvSpPr>
                <a:spLocks noChangeArrowheads="1"/>
              </p:cNvSpPr>
              <p:nvPr/>
            </p:nvSpPr>
            <p:spPr bwMode="auto">
              <a:xfrm>
                <a:off x="1756"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1" name="Oval 2977">
                <a:extLst>
                  <a:ext uri="{FF2B5EF4-FFF2-40B4-BE49-F238E27FC236}">
                    <a16:creationId xmlns:a16="http://schemas.microsoft.com/office/drawing/2014/main" id="{4D3A950D-E52A-42D9-9B10-B01B9BE7EFE3}"/>
                  </a:ext>
                </a:extLst>
              </p:cNvPr>
              <p:cNvSpPr>
                <a:spLocks noChangeArrowheads="1"/>
              </p:cNvSpPr>
              <p:nvPr/>
            </p:nvSpPr>
            <p:spPr bwMode="auto">
              <a:xfrm>
                <a:off x="187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2" name="Oval 2978">
                <a:extLst>
                  <a:ext uri="{FF2B5EF4-FFF2-40B4-BE49-F238E27FC236}">
                    <a16:creationId xmlns:a16="http://schemas.microsoft.com/office/drawing/2014/main" id="{D72E174B-46F3-4C3E-8941-9B0D8D3DBF51}"/>
                  </a:ext>
                </a:extLst>
              </p:cNvPr>
              <p:cNvSpPr>
                <a:spLocks noChangeArrowheads="1"/>
              </p:cNvSpPr>
              <p:nvPr/>
            </p:nvSpPr>
            <p:spPr bwMode="auto">
              <a:xfrm>
                <a:off x="1816"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3" name="Oval 2979">
                <a:extLst>
                  <a:ext uri="{FF2B5EF4-FFF2-40B4-BE49-F238E27FC236}">
                    <a16:creationId xmlns:a16="http://schemas.microsoft.com/office/drawing/2014/main" id="{956612C6-C6BE-407D-84D5-04651743F463}"/>
                  </a:ext>
                </a:extLst>
              </p:cNvPr>
              <p:cNvSpPr>
                <a:spLocks noChangeArrowheads="1"/>
              </p:cNvSpPr>
              <p:nvPr/>
            </p:nvSpPr>
            <p:spPr bwMode="auto">
              <a:xfrm>
                <a:off x="18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4" name="Oval 2980">
                <a:extLst>
                  <a:ext uri="{FF2B5EF4-FFF2-40B4-BE49-F238E27FC236}">
                    <a16:creationId xmlns:a16="http://schemas.microsoft.com/office/drawing/2014/main" id="{F3B8EA49-9C48-4A02-BC3C-0EC5D1F8102D}"/>
                  </a:ext>
                </a:extLst>
              </p:cNvPr>
              <p:cNvSpPr>
                <a:spLocks noChangeArrowheads="1"/>
              </p:cNvSpPr>
              <p:nvPr/>
            </p:nvSpPr>
            <p:spPr bwMode="auto">
              <a:xfrm>
                <a:off x="184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5" name="Oval 2981">
                <a:extLst>
                  <a:ext uri="{FF2B5EF4-FFF2-40B4-BE49-F238E27FC236}">
                    <a16:creationId xmlns:a16="http://schemas.microsoft.com/office/drawing/2014/main" id="{18CEB99A-DAEF-4679-9C07-186B29AFA308}"/>
                  </a:ext>
                </a:extLst>
              </p:cNvPr>
              <p:cNvSpPr>
                <a:spLocks noChangeArrowheads="1"/>
              </p:cNvSpPr>
              <p:nvPr/>
            </p:nvSpPr>
            <p:spPr bwMode="auto">
              <a:xfrm>
                <a:off x="229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6" name="Oval 2982">
                <a:extLst>
                  <a:ext uri="{FF2B5EF4-FFF2-40B4-BE49-F238E27FC236}">
                    <a16:creationId xmlns:a16="http://schemas.microsoft.com/office/drawing/2014/main" id="{F0E912C3-19C2-4DAA-9A08-B462E69324A8}"/>
                  </a:ext>
                </a:extLst>
              </p:cNvPr>
              <p:cNvSpPr>
                <a:spLocks noChangeArrowheads="1"/>
              </p:cNvSpPr>
              <p:nvPr/>
            </p:nvSpPr>
            <p:spPr bwMode="auto">
              <a:xfrm>
                <a:off x="232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sp>
          <p:nvSpPr>
            <p:cNvPr id="442" name="Oval 2984">
              <a:extLst>
                <a:ext uri="{FF2B5EF4-FFF2-40B4-BE49-F238E27FC236}">
                  <a16:creationId xmlns:a16="http://schemas.microsoft.com/office/drawing/2014/main" id="{E0E14BB9-578B-4EDE-A4CF-F625D754B239}"/>
                </a:ext>
              </a:extLst>
            </p:cNvPr>
            <p:cNvSpPr>
              <a:spLocks noChangeArrowheads="1"/>
            </p:cNvSpPr>
            <p:nvPr/>
          </p:nvSpPr>
          <p:spPr bwMode="auto">
            <a:xfrm>
              <a:off x="232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3" name="Oval 2985">
              <a:extLst>
                <a:ext uri="{FF2B5EF4-FFF2-40B4-BE49-F238E27FC236}">
                  <a16:creationId xmlns:a16="http://schemas.microsoft.com/office/drawing/2014/main" id="{DBF4A90C-4097-4DCB-AB0D-E62F22CDF89E}"/>
                </a:ext>
              </a:extLst>
            </p:cNvPr>
            <p:cNvSpPr>
              <a:spLocks noChangeArrowheads="1"/>
            </p:cNvSpPr>
            <p:nvPr/>
          </p:nvSpPr>
          <p:spPr bwMode="auto">
            <a:xfrm>
              <a:off x="214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4" name="Oval 2986">
              <a:extLst>
                <a:ext uri="{FF2B5EF4-FFF2-40B4-BE49-F238E27FC236}">
                  <a16:creationId xmlns:a16="http://schemas.microsoft.com/office/drawing/2014/main" id="{AA17F44D-A56A-4769-9E80-ACD15F47DBE9}"/>
                </a:ext>
              </a:extLst>
            </p:cNvPr>
            <p:cNvSpPr>
              <a:spLocks noChangeArrowheads="1"/>
            </p:cNvSpPr>
            <p:nvPr/>
          </p:nvSpPr>
          <p:spPr bwMode="auto">
            <a:xfrm>
              <a:off x="2026"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5" name="Oval 2987">
              <a:extLst>
                <a:ext uri="{FF2B5EF4-FFF2-40B4-BE49-F238E27FC236}">
                  <a16:creationId xmlns:a16="http://schemas.microsoft.com/office/drawing/2014/main" id="{C7A7C51F-6E21-41A6-AC8F-0C9317A38D49}"/>
                </a:ext>
              </a:extLst>
            </p:cNvPr>
            <p:cNvSpPr>
              <a:spLocks noChangeArrowheads="1"/>
            </p:cNvSpPr>
            <p:nvPr/>
          </p:nvSpPr>
          <p:spPr bwMode="auto">
            <a:xfrm>
              <a:off x="18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6" name="Oval 2988">
              <a:extLst>
                <a:ext uri="{FF2B5EF4-FFF2-40B4-BE49-F238E27FC236}">
                  <a16:creationId xmlns:a16="http://schemas.microsoft.com/office/drawing/2014/main" id="{D8F04ABD-8496-4FAE-988D-A4339F4EB167}"/>
                </a:ext>
              </a:extLst>
            </p:cNvPr>
            <p:cNvSpPr>
              <a:spLocks noChangeArrowheads="1"/>
            </p:cNvSpPr>
            <p:nvPr/>
          </p:nvSpPr>
          <p:spPr bwMode="auto">
            <a:xfrm>
              <a:off x="2056" y="19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7" name="Oval 2989">
              <a:extLst>
                <a:ext uri="{FF2B5EF4-FFF2-40B4-BE49-F238E27FC236}">
                  <a16:creationId xmlns:a16="http://schemas.microsoft.com/office/drawing/2014/main" id="{588E744E-FC9C-4D04-81CC-86E44A5FF1DD}"/>
                </a:ext>
              </a:extLst>
            </p:cNvPr>
            <p:cNvSpPr>
              <a:spLocks noChangeArrowheads="1"/>
            </p:cNvSpPr>
            <p:nvPr/>
          </p:nvSpPr>
          <p:spPr bwMode="auto">
            <a:xfrm>
              <a:off x="199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8" name="Oval 2990">
              <a:extLst>
                <a:ext uri="{FF2B5EF4-FFF2-40B4-BE49-F238E27FC236}">
                  <a16:creationId xmlns:a16="http://schemas.microsoft.com/office/drawing/2014/main" id="{92B1D7ED-23BA-4659-B653-0ED409D776F1}"/>
                </a:ext>
              </a:extLst>
            </p:cNvPr>
            <p:cNvSpPr>
              <a:spLocks noChangeArrowheads="1"/>
            </p:cNvSpPr>
            <p:nvPr/>
          </p:nvSpPr>
          <p:spPr bwMode="auto">
            <a:xfrm>
              <a:off x="21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9" name="Oval 2991">
              <a:extLst>
                <a:ext uri="{FF2B5EF4-FFF2-40B4-BE49-F238E27FC236}">
                  <a16:creationId xmlns:a16="http://schemas.microsoft.com/office/drawing/2014/main" id="{BBCB7E68-3BC7-49CC-AB5B-0B36A367FFE4}"/>
                </a:ext>
              </a:extLst>
            </p:cNvPr>
            <p:cNvSpPr>
              <a:spLocks noChangeArrowheads="1"/>
            </p:cNvSpPr>
            <p:nvPr/>
          </p:nvSpPr>
          <p:spPr bwMode="auto">
            <a:xfrm>
              <a:off x="2145"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0" name="Oval 2992">
              <a:extLst>
                <a:ext uri="{FF2B5EF4-FFF2-40B4-BE49-F238E27FC236}">
                  <a16:creationId xmlns:a16="http://schemas.microsoft.com/office/drawing/2014/main" id="{0F450C9A-9B7C-415F-B942-9637D1B566AA}"/>
                </a:ext>
              </a:extLst>
            </p:cNvPr>
            <p:cNvSpPr>
              <a:spLocks noChangeArrowheads="1"/>
            </p:cNvSpPr>
            <p:nvPr/>
          </p:nvSpPr>
          <p:spPr bwMode="auto">
            <a:xfrm>
              <a:off x="220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1" name="Oval 2993">
              <a:extLst>
                <a:ext uri="{FF2B5EF4-FFF2-40B4-BE49-F238E27FC236}">
                  <a16:creationId xmlns:a16="http://schemas.microsoft.com/office/drawing/2014/main" id="{44AFDCD1-D6B4-4460-8ECF-5A7EF2AD8598}"/>
                </a:ext>
              </a:extLst>
            </p:cNvPr>
            <p:cNvSpPr>
              <a:spLocks noChangeArrowheads="1"/>
            </p:cNvSpPr>
            <p:nvPr/>
          </p:nvSpPr>
          <p:spPr bwMode="auto">
            <a:xfrm>
              <a:off x="2086"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2" name="Oval 2994">
              <a:extLst>
                <a:ext uri="{FF2B5EF4-FFF2-40B4-BE49-F238E27FC236}">
                  <a16:creationId xmlns:a16="http://schemas.microsoft.com/office/drawing/2014/main" id="{113B1B64-F0B5-452A-9861-17B1B91C231D}"/>
                </a:ext>
              </a:extLst>
            </p:cNvPr>
            <p:cNvSpPr>
              <a:spLocks noChangeArrowheads="1"/>
            </p:cNvSpPr>
            <p:nvPr/>
          </p:nvSpPr>
          <p:spPr bwMode="auto">
            <a:xfrm>
              <a:off x="2205"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3" name="Oval 2995">
              <a:extLst>
                <a:ext uri="{FF2B5EF4-FFF2-40B4-BE49-F238E27FC236}">
                  <a16:creationId xmlns:a16="http://schemas.microsoft.com/office/drawing/2014/main" id="{410DC6F4-8E91-4CBA-B839-4C65F7950001}"/>
                </a:ext>
              </a:extLst>
            </p:cNvPr>
            <p:cNvSpPr>
              <a:spLocks noChangeArrowheads="1"/>
            </p:cNvSpPr>
            <p:nvPr/>
          </p:nvSpPr>
          <p:spPr bwMode="auto">
            <a:xfrm>
              <a:off x="21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4" name="Oval 2996">
              <a:extLst>
                <a:ext uri="{FF2B5EF4-FFF2-40B4-BE49-F238E27FC236}">
                  <a16:creationId xmlns:a16="http://schemas.microsoft.com/office/drawing/2014/main" id="{344EBFF9-A4DF-49DF-A596-B283D2B3EA40}"/>
                </a:ext>
              </a:extLst>
            </p:cNvPr>
            <p:cNvSpPr>
              <a:spLocks noChangeArrowheads="1"/>
            </p:cNvSpPr>
            <p:nvPr/>
          </p:nvSpPr>
          <p:spPr bwMode="auto">
            <a:xfrm>
              <a:off x="2026"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5" name="Oval 2997">
              <a:extLst>
                <a:ext uri="{FF2B5EF4-FFF2-40B4-BE49-F238E27FC236}">
                  <a16:creationId xmlns:a16="http://schemas.microsoft.com/office/drawing/2014/main" id="{4772B2E9-BB7A-476F-BE61-A38634B78D7F}"/>
                </a:ext>
              </a:extLst>
            </p:cNvPr>
            <p:cNvSpPr>
              <a:spLocks noChangeArrowheads="1"/>
            </p:cNvSpPr>
            <p:nvPr/>
          </p:nvSpPr>
          <p:spPr bwMode="auto">
            <a:xfrm>
              <a:off x="199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6" name="Oval 2998">
              <a:extLst>
                <a:ext uri="{FF2B5EF4-FFF2-40B4-BE49-F238E27FC236}">
                  <a16:creationId xmlns:a16="http://schemas.microsoft.com/office/drawing/2014/main" id="{F50FA706-4A33-42C3-8317-86BCDE96D13E}"/>
                </a:ext>
              </a:extLst>
            </p:cNvPr>
            <p:cNvSpPr>
              <a:spLocks noChangeArrowheads="1"/>
            </p:cNvSpPr>
            <p:nvPr/>
          </p:nvSpPr>
          <p:spPr bwMode="auto">
            <a:xfrm>
              <a:off x="19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7" name="Oval 2999">
              <a:extLst>
                <a:ext uri="{FF2B5EF4-FFF2-40B4-BE49-F238E27FC236}">
                  <a16:creationId xmlns:a16="http://schemas.microsoft.com/office/drawing/2014/main" id="{754F283B-A63C-4BA8-BB16-30998EC6C3D0}"/>
                </a:ext>
              </a:extLst>
            </p:cNvPr>
            <p:cNvSpPr>
              <a:spLocks noChangeArrowheads="1"/>
            </p:cNvSpPr>
            <p:nvPr/>
          </p:nvSpPr>
          <p:spPr bwMode="auto">
            <a:xfrm>
              <a:off x="190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8" name="Oval 3000">
              <a:extLst>
                <a:ext uri="{FF2B5EF4-FFF2-40B4-BE49-F238E27FC236}">
                  <a16:creationId xmlns:a16="http://schemas.microsoft.com/office/drawing/2014/main" id="{31583041-639D-4B9F-A8B2-4B48370D19D8}"/>
                </a:ext>
              </a:extLst>
            </p:cNvPr>
            <p:cNvSpPr>
              <a:spLocks noChangeArrowheads="1"/>
            </p:cNvSpPr>
            <p:nvPr/>
          </p:nvSpPr>
          <p:spPr bwMode="auto">
            <a:xfrm>
              <a:off x="2026"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9" name="Oval 3001">
              <a:extLst>
                <a:ext uri="{FF2B5EF4-FFF2-40B4-BE49-F238E27FC236}">
                  <a16:creationId xmlns:a16="http://schemas.microsoft.com/office/drawing/2014/main" id="{E759374B-1C35-46B0-96D7-FB23C6C2FCD4}"/>
                </a:ext>
              </a:extLst>
            </p:cNvPr>
            <p:cNvSpPr>
              <a:spLocks noChangeArrowheads="1"/>
            </p:cNvSpPr>
            <p:nvPr/>
          </p:nvSpPr>
          <p:spPr bwMode="auto">
            <a:xfrm>
              <a:off x="1846"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0" name="Oval 3002">
              <a:extLst>
                <a:ext uri="{FF2B5EF4-FFF2-40B4-BE49-F238E27FC236}">
                  <a16:creationId xmlns:a16="http://schemas.microsoft.com/office/drawing/2014/main" id="{FA15B98C-53EF-47F4-A257-E7C41329DBC3}"/>
                </a:ext>
              </a:extLst>
            </p:cNvPr>
            <p:cNvSpPr>
              <a:spLocks noChangeArrowheads="1"/>
            </p:cNvSpPr>
            <p:nvPr/>
          </p:nvSpPr>
          <p:spPr bwMode="auto">
            <a:xfrm>
              <a:off x="157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1" name="Oval 3003">
              <a:extLst>
                <a:ext uri="{FF2B5EF4-FFF2-40B4-BE49-F238E27FC236}">
                  <a16:creationId xmlns:a16="http://schemas.microsoft.com/office/drawing/2014/main" id="{0F100D8A-B0C3-4F54-B48D-1DD09A7665D4}"/>
                </a:ext>
              </a:extLst>
            </p:cNvPr>
            <p:cNvSpPr>
              <a:spLocks noChangeArrowheads="1"/>
            </p:cNvSpPr>
            <p:nvPr/>
          </p:nvSpPr>
          <p:spPr bwMode="auto">
            <a:xfrm>
              <a:off x="154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2" name="Oval 3004">
              <a:extLst>
                <a:ext uri="{FF2B5EF4-FFF2-40B4-BE49-F238E27FC236}">
                  <a16:creationId xmlns:a16="http://schemas.microsoft.com/office/drawing/2014/main" id="{5D3C6FF8-E4DF-4ABE-9655-C07683032542}"/>
                </a:ext>
              </a:extLst>
            </p:cNvPr>
            <p:cNvSpPr>
              <a:spLocks noChangeArrowheads="1"/>
            </p:cNvSpPr>
            <p:nvPr/>
          </p:nvSpPr>
          <p:spPr bwMode="auto">
            <a:xfrm>
              <a:off x="187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3" name="Oval 3005">
              <a:extLst>
                <a:ext uri="{FF2B5EF4-FFF2-40B4-BE49-F238E27FC236}">
                  <a16:creationId xmlns:a16="http://schemas.microsoft.com/office/drawing/2014/main" id="{460E7311-FD7C-4323-80FD-2D091D60E36F}"/>
                </a:ext>
              </a:extLst>
            </p:cNvPr>
            <p:cNvSpPr>
              <a:spLocks noChangeArrowheads="1"/>
            </p:cNvSpPr>
            <p:nvPr/>
          </p:nvSpPr>
          <p:spPr bwMode="auto">
            <a:xfrm>
              <a:off x="19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4" name="Oval 3006">
              <a:extLst>
                <a:ext uri="{FF2B5EF4-FFF2-40B4-BE49-F238E27FC236}">
                  <a16:creationId xmlns:a16="http://schemas.microsoft.com/office/drawing/2014/main" id="{F7AC2FB4-B29F-4DBF-A321-1F182F35A6C0}"/>
                </a:ext>
              </a:extLst>
            </p:cNvPr>
            <p:cNvSpPr>
              <a:spLocks noChangeArrowheads="1"/>
            </p:cNvSpPr>
            <p:nvPr/>
          </p:nvSpPr>
          <p:spPr bwMode="auto">
            <a:xfrm>
              <a:off x="226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5" name="Oval 3007">
              <a:extLst>
                <a:ext uri="{FF2B5EF4-FFF2-40B4-BE49-F238E27FC236}">
                  <a16:creationId xmlns:a16="http://schemas.microsoft.com/office/drawing/2014/main" id="{DD6BF96B-D654-4870-9002-EBD010A6535B}"/>
                </a:ext>
              </a:extLst>
            </p:cNvPr>
            <p:cNvSpPr>
              <a:spLocks noChangeArrowheads="1"/>
            </p:cNvSpPr>
            <p:nvPr/>
          </p:nvSpPr>
          <p:spPr bwMode="auto">
            <a:xfrm>
              <a:off x="223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6" name="Oval 3008">
              <a:extLst>
                <a:ext uri="{FF2B5EF4-FFF2-40B4-BE49-F238E27FC236}">
                  <a16:creationId xmlns:a16="http://schemas.microsoft.com/office/drawing/2014/main" id="{3E3B0874-71E0-41B5-BADF-A790716B1618}"/>
                </a:ext>
              </a:extLst>
            </p:cNvPr>
            <p:cNvSpPr>
              <a:spLocks noChangeArrowheads="1"/>
            </p:cNvSpPr>
            <p:nvPr/>
          </p:nvSpPr>
          <p:spPr bwMode="auto">
            <a:xfrm>
              <a:off x="223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7" name="Oval 3009">
              <a:extLst>
                <a:ext uri="{FF2B5EF4-FFF2-40B4-BE49-F238E27FC236}">
                  <a16:creationId xmlns:a16="http://schemas.microsoft.com/office/drawing/2014/main" id="{A917C48E-2A9B-49B2-A360-BCD5548ED740}"/>
                </a:ext>
              </a:extLst>
            </p:cNvPr>
            <p:cNvSpPr>
              <a:spLocks noChangeArrowheads="1"/>
            </p:cNvSpPr>
            <p:nvPr/>
          </p:nvSpPr>
          <p:spPr bwMode="auto">
            <a:xfrm>
              <a:off x="241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8" name="Oval 3010">
              <a:extLst>
                <a:ext uri="{FF2B5EF4-FFF2-40B4-BE49-F238E27FC236}">
                  <a16:creationId xmlns:a16="http://schemas.microsoft.com/office/drawing/2014/main" id="{A437695C-B7E0-40BC-AC20-A0981AE0E3F0}"/>
                </a:ext>
              </a:extLst>
            </p:cNvPr>
            <p:cNvSpPr>
              <a:spLocks noChangeArrowheads="1"/>
            </p:cNvSpPr>
            <p:nvPr/>
          </p:nvSpPr>
          <p:spPr bwMode="auto">
            <a:xfrm>
              <a:off x="274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9" name="Oval 3011">
              <a:extLst>
                <a:ext uri="{FF2B5EF4-FFF2-40B4-BE49-F238E27FC236}">
                  <a16:creationId xmlns:a16="http://schemas.microsoft.com/office/drawing/2014/main" id="{E0D2DC33-2788-480E-ADE1-69535E3BBF91}"/>
                </a:ext>
              </a:extLst>
            </p:cNvPr>
            <p:cNvSpPr>
              <a:spLocks noChangeArrowheads="1"/>
            </p:cNvSpPr>
            <p:nvPr/>
          </p:nvSpPr>
          <p:spPr bwMode="auto">
            <a:xfrm>
              <a:off x="265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0" name="Oval 3012">
              <a:extLst>
                <a:ext uri="{FF2B5EF4-FFF2-40B4-BE49-F238E27FC236}">
                  <a16:creationId xmlns:a16="http://schemas.microsoft.com/office/drawing/2014/main" id="{E93EA967-C039-45B1-8E28-6770D5C14C9B}"/>
                </a:ext>
              </a:extLst>
            </p:cNvPr>
            <p:cNvSpPr>
              <a:spLocks noChangeArrowheads="1"/>
            </p:cNvSpPr>
            <p:nvPr/>
          </p:nvSpPr>
          <p:spPr bwMode="auto">
            <a:xfrm>
              <a:off x="268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1" name="Oval 3013">
              <a:extLst>
                <a:ext uri="{FF2B5EF4-FFF2-40B4-BE49-F238E27FC236}">
                  <a16:creationId xmlns:a16="http://schemas.microsoft.com/office/drawing/2014/main" id="{C06A79CD-A195-4F48-A27A-8015FF5B4585}"/>
                </a:ext>
              </a:extLst>
            </p:cNvPr>
            <p:cNvSpPr>
              <a:spLocks noChangeArrowheads="1"/>
            </p:cNvSpPr>
            <p:nvPr/>
          </p:nvSpPr>
          <p:spPr bwMode="auto">
            <a:xfrm>
              <a:off x="262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2" name="Oval 3014">
              <a:extLst>
                <a:ext uri="{FF2B5EF4-FFF2-40B4-BE49-F238E27FC236}">
                  <a16:creationId xmlns:a16="http://schemas.microsoft.com/office/drawing/2014/main" id="{71E940C8-71D5-4F9F-8F90-18C37C3189EB}"/>
                </a:ext>
              </a:extLst>
            </p:cNvPr>
            <p:cNvSpPr>
              <a:spLocks noChangeArrowheads="1"/>
            </p:cNvSpPr>
            <p:nvPr/>
          </p:nvSpPr>
          <p:spPr bwMode="auto">
            <a:xfrm>
              <a:off x="262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3" name="Oval 3015">
              <a:extLst>
                <a:ext uri="{FF2B5EF4-FFF2-40B4-BE49-F238E27FC236}">
                  <a16:creationId xmlns:a16="http://schemas.microsoft.com/office/drawing/2014/main" id="{4BF59E47-41D7-49B5-9003-D4A57ABFB41D}"/>
                </a:ext>
              </a:extLst>
            </p:cNvPr>
            <p:cNvSpPr>
              <a:spLocks noChangeArrowheads="1"/>
            </p:cNvSpPr>
            <p:nvPr/>
          </p:nvSpPr>
          <p:spPr bwMode="auto">
            <a:xfrm>
              <a:off x="304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4" name="Oval 3016">
              <a:extLst>
                <a:ext uri="{FF2B5EF4-FFF2-40B4-BE49-F238E27FC236}">
                  <a16:creationId xmlns:a16="http://schemas.microsoft.com/office/drawing/2014/main" id="{93C51B0F-0C58-4DEF-82D7-0E31C2D549C9}"/>
                </a:ext>
              </a:extLst>
            </p:cNvPr>
            <p:cNvSpPr>
              <a:spLocks noChangeArrowheads="1"/>
            </p:cNvSpPr>
            <p:nvPr/>
          </p:nvSpPr>
          <p:spPr bwMode="auto">
            <a:xfrm>
              <a:off x="343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5" name="Oval 3017">
              <a:extLst>
                <a:ext uri="{FF2B5EF4-FFF2-40B4-BE49-F238E27FC236}">
                  <a16:creationId xmlns:a16="http://schemas.microsoft.com/office/drawing/2014/main" id="{22FA96FF-60B0-42F0-AD3D-34EA26255EEB}"/>
                </a:ext>
              </a:extLst>
            </p:cNvPr>
            <p:cNvSpPr>
              <a:spLocks noChangeArrowheads="1"/>
            </p:cNvSpPr>
            <p:nvPr/>
          </p:nvSpPr>
          <p:spPr bwMode="auto">
            <a:xfrm>
              <a:off x="352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6" name="Oval 3018">
              <a:extLst>
                <a:ext uri="{FF2B5EF4-FFF2-40B4-BE49-F238E27FC236}">
                  <a16:creationId xmlns:a16="http://schemas.microsoft.com/office/drawing/2014/main" id="{E561214A-C781-4B51-9809-306AFE45346F}"/>
                </a:ext>
              </a:extLst>
            </p:cNvPr>
            <p:cNvSpPr>
              <a:spLocks noChangeArrowheads="1"/>
            </p:cNvSpPr>
            <p:nvPr/>
          </p:nvSpPr>
          <p:spPr bwMode="auto">
            <a:xfrm>
              <a:off x="352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7" name="Oval 3019">
              <a:extLst>
                <a:ext uri="{FF2B5EF4-FFF2-40B4-BE49-F238E27FC236}">
                  <a16:creationId xmlns:a16="http://schemas.microsoft.com/office/drawing/2014/main" id="{8E9D9ABB-47F2-4C7B-A777-AABC36622E23}"/>
                </a:ext>
              </a:extLst>
            </p:cNvPr>
            <p:cNvSpPr>
              <a:spLocks noChangeArrowheads="1"/>
            </p:cNvSpPr>
            <p:nvPr/>
          </p:nvSpPr>
          <p:spPr bwMode="auto">
            <a:xfrm>
              <a:off x="331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8" name="Oval 3020">
              <a:extLst>
                <a:ext uri="{FF2B5EF4-FFF2-40B4-BE49-F238E27FC236}">
                  <a16:creationId xmlns:a16="http://schemas.microsoft.com/office/drawing/2014/main" id="{298224AC-B845-4D6C-B095-CB3E6D9EE53E}"/>
                </a:ext>
              </a:extLst>
            </p:cNvPr>
            <p:cNvSpPr>
              <a:spLocks noChangeArrowheads="1"/>
            </p:cNvSpPr>
            <p:nvPr/>
          </p:nvSpPr>
          <p:spPr bwMode="auto">
            <a:xfrm>
              <a:off x="30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9" name="Oval 3021">
              <a:extLst>
                <a:ext uri="{FF2B5EF4-FFF2-40B4-BE49-F238E27FC236}">
                  <a16:creationId xmlns:a16="http://schemas.microsoft.com/office/drawing/2014/main" id="{07FB66D2-1D34-46E8-A4CF-B88E7D10512D}"/>
                </a:ext>
              </a:extLst>
            </p:cNvPr>
            <p:cNvSpPr>
              <a:spLocks noChangeArrowheads="1"/>
            </p:cNvSpPr>
            <p:nvPr/>
          </p:nvSpPr>
          <p:spPr bwMode="auto">
            <a:xfrm>
              <a:off x="292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0" name="Oval 3022">
              <a:extLst>
                <a:ext uri="{FF2B5EF4-FFF2-40B4-BE49-F238E27FC236}">
                  <a16:creationId xmlns:a16="http://schemas.microsoft.com/office/drawing/2014/main" id="{16E008A0-2475-4D34-8B14-65824FA2B211}"/>
                </a:ext>
              </a:extLst>
            </p:cNvPr>
            <p:cNvSpPr>
              <a:spLocks noChangeArrowheads="1"/>
            </p:cNvSpPr>
            <p:nvPr/>
          </p:nvSpPr>
          <p:spPr bwMode="auto">
            <a:xfrm>
              <a:off x="298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1" name="Oval 3023">
              <a:extLst>
                <a:ext uri="{FF2B5EF4-FFF2-40B4-BE49-F238E27FC236}">
                  <a16:creationId xmlns:a16="http://schemas.microsoft.com/office/drawing/2014/main" id="{0152C94C-F346-4582-8DDC-B522731C58CE}"/>
                </a:ext>
              </a:extLst>
            </p:cNvPr>
            <p:cNvSpPr>
              <a:spLocks noChangeArrowheads="1"/>
            </p:cNvSpPr>
            <p:nvPr/>
          </p:nvSpPr>
          <p:spPr bwMode="auto">
            <a:xfrm>
              <a:off x="292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2" name="Oval 3024">
              <a:extLst>
                <a:ext uri="{FF2B5EF4-FFF2-40B4-BE49-F238E27FC236}">
                  <a16:creationId xmlns:a16="http://schemas.microsoft.com/office/drawing/2014/main" id="{C9B7DC33-E141-4957-9C3F-D2C0DBC6EDAE}"/>
                </a:ext>
              </a:extLst>
            </p:cNvPr>
            <p:cNvSpPr>
              <a:spLocks noChangeArrowheads="1"/>
            </p:cNvSpPr>
            <p:nvPr/>
          </p:nvSpPr>
          <p:spPr bwMode="auto">
            <a:xfrm>
              <a:off x="328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3" name="Oval 3025">
              <a:extLst>
                <a:ext uri="{FF2B5EF4-FFF2-40B4-BE49-F238E27FC236}">
                  <a16:creationId xmlns:a16="http://schemas.microsoft.com/office/drawing/2014/main" id="{E3E7EAC6-E414-4466-B57D-FA16D170C556}"/>
                </a:ext>
              </a:extLst>
            </p:cNvPr>
            <p:cNvSpPr>
              <a:spLocks noChangeArrowheads="1"/>
            </p:cNvSpPr>
            <p:nvPr/>
          </p:nvSpPr>
          <p:spPr bwMode="auto">
            <a:xfrm>
              <a:off x="3255"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4" name="Oval 3026">
              <a:extLst>
                <a:ext uri="{FF2B5EF4-FFF2-40B4-BE49-F238E27FC236}">
                  <a16:creationId xmlns:a16="http://schemas.microsoft.com/office/drawing/2014/main" id="{2D347DF5-0DC2-47CB-8433-19B7F0A02926}"/>
                </a:ext>
              </a:extLst>
            </p:cNvPr>
            <p:cNvSpPr>
              <a:spLocks noChangeArrowheads="1"/>
            </p:cNvSpPr>
            <p:nvPr/>
          </p:nvSpPr>
          <p:spPr bwMode="auto">
            <a:xfrm>
              <a:off x="340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5" name="Oval 3027">
              <a:extLst>
                <a:ext uri="{FF2B5EF4-FFF2-40B4-BE49-F238E27FC236}">
                  <a16:creationId xmlns:a16="http://schemas.microsoft.com/office/drawing/2014/main" id="{DCB1E6B6-2DB3-4C5B-B3AA-59F09EF5908C}"/>
                </a:ext>
              </a:extLst>
            </p:cNvPr>
            <p:cNvSpPr>
              <a:spLocks noChangeArrowheads="1"/>
            </p:cNvSpPr>
            <p:nvPr/>
          </p:nvSpPr>
          <p:spPr bwMode="auto">
            <a:xfrm>
              <a:off x="322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6" name="Oval 3028">
              <a:extLst>
                <a:ext uri="{FF2B5EF4-FFF2-40B4-BE49-F238E27FC236}">
                  <a16:creationId xmlns:a16="http://schemas.microsoft.com/office/drawing/2014/main" id="{F1C1A30D-04EE-4391-91CD-1BA5FA9E83B7}"/>
                </a:ext>
              </a:extLst>
            </p:cNvPr>
            <p:cNvSpPr>
              <a:spLocks noChangeArrowheads="1"/>
            </p:cNvSpPr>
            <p:nvPr/>
          </p:nvSpPr>
          <p:spPr bwMode="auto">
            <a:xfrm>
              <a:off x="316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7" name="Oval 3029">
              <a:extLst>
                <a:ext uri="{FF2B5EF4-FFF2-40B4-BE49-F238E27FC236}">
                  <a16:creationId xmlns:a16="http://schemas.microsoft.com/office/drawing/2014/main" id="{710BA7FF-0095-4EBC-9E4C-CB1F728EB5DE}"/>
                </a:ext>
              </a:extLst>
            </p:cNvPr>
            <p:cNvSpPr>
              <a:spLocks noChangeArrowheads="1"/>
            </p:cNvSpPr>
            <p:nvPr/>
          </p:nvSpPr>
          <p:spPr bwMode="auto">
            <a:xfrm>
              <a:off x="31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8" name="Oval 3030">
              <a:extLst>
                <a:ext uri="{FF2B5EF4-FFF2-40B4-BE49-F238E27FC236}">
                  <a16:creationId xmlns:a16="http://schemas.microsoft.com/office/drawing/2014/main" id="{F0ADEAB5-7241-4D7B-AACA-9F716FDA1E36}"/>
                </a:ext>
              </a:extLst>
            </p:cNvPr>
            <p:cNvSpPr>
              <a:spLocks noChangeArrowheads="1"/>
            </p:cNvSpPr>
            <p:nvPr/>
          </p:nvSpPr>
          <p:spPr bwMode="auto">
            <a:xfrm>
              <a:off x="394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9" name="Oval 3031">
              <a:extLst>
                <a:ext uri="{FF2B5EF4-FFF2-40B4-BE49-F238E27FC236}">
                  <a16:creationId xmlns:a16="http://schemas.microsoft.com/office/drawing/2014/main" id="{C9BD56FF-847F-4DA4-A523-4DDF3C75A8A1}"/>
                </a:ext>
              </a:extLst>
            </p:cNvPr>
            <p:cNvSpPr>
              <a:spLocks noChangeArrowheads="1"/>
            </p:cNvSpPr>
            <p:nvPr/>
          </p:nvSpPr>
          <p:spPr bwMode="auto">
            <a:xfrm>
              <a:off x="3914"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0" name="Oval 3032">
              <a:extLst>
                <a:ext uri="{FF2B5EF4-FFF2-40B4-BE49-F238E27FC236}">
                  <a16:creationId xmlns:a16="http://schemas.microsoft.com/office/drawing/2014/main" id="{DD62C32B-35E4-4B80-9D0E-375CC69CD03D}"/>
                </a:ext>
              </a:extLst>
            </p:cNvPr>
            <p:cNvSpPr>
              <a:spLocks noChangeArrowheads="1"/>
            </p:cNvSpPr>
            <p:nvPr/>
          </p:nvSpPr>
          <p:spPr bwMode="auto">
            <a:xfrm>
              <a:off x="403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1" name="Oval 3033">
              <a:extLst>
                <a:ext uri="{FF2B5EF4-FFF2-40B4-BE49-F238E27FC236}">
                  <a16:creationId xmlns:a16="http://schemas.microsoft.com/office/drawing/2014/main" id="{6278888E-D2B2-4238-9BBD-1106F4378940}"/>
                </a:ext>
              </a:extLst>
            </p:cNvPr>
            <p:cNvSpPr>
              <a:spLocks noChangeArrowheads="1"/>
            </p:cNvSpPr>
            <p:nvPr/>
          </p:nvSpPr>
          <p:spPr bwMode="auto">
            <a:xfrm>
              <a:off x="3914"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2" name="Oval 3034">
              <a:extLst>
                <a:ext uri="{FF2B5EF4-FFF2-40B4-BE49-F238E27FC236}">
                  <a16:creationId xmlns:a16="http://schemas.microsoft.com/office/drawing/2014/main" id="{7480AB9F-5781-49FE-843D-70375D52925E}"/>
                </a:ext>
              </a:extLst>
            </p:cNvPr>
            <p:cNvSpPr>
              <a:spLocks noChangeArrowheads="1"/>
            </p:cNvSpPr>
            <p:nvPr/>
          </p:nvSpPr>
          <p:spPr bwMode="auto">
            <a:xfrm>
              <a:off x="400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3" name="Oval 3035">
              <a:extLst>
                <a:ext uri="{FF2B5EF4-FFF2-40B4-BE49-F238E27FC236}">
                  <a16:creationId xmlns:a16="http://schemas.microsoft.com/office/drawing/2014/main" id="{58F2514A-20E3-4B2E-A0EB-F9B70F8A441C}"/>
                </a:ext>
              </a:extLst>
            </p:cNvPr>
            <p:cNvSpPr>
              <a:spLocks noChangeArrowheads="1"/>
            </p:cNvSpPr>
            <p:nvPr/>
          </p:nvSpPr>
          <p:spPr bwMode="auto">
            <a:xfrm>
              <a:off x="388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4" name="Oval 3036">
              <a:extLst>
                <a:ext uri="{FF2B5EF4-FFF2-40B4-BE49-F238E27FC236}">
                  <a16:creationId xmlns:a16="http://schemas.microsoft.com/office/drawing/2014/main" id="{B7432716-10D6-4833-A5F2-BB4D04B87809}"/>
                </a:ext>
              </a:extLst>
            </p:cNvPr>
            <p:cNvSpPr>
              <a:spLocks noChangeArrowheads="1"/>
            </p:cNvSpPr>
            <p:nvPr/>
          </p:nvSpPr>
          <p:spPr bwMode="auto">
            <a:xfrm>
              <a:off x="367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5" name="Oval 3037">
              <a:extLst>
                <a:ext uri="{FF2B5EF4-FFF2-40B4-BE49-F238E27FC236}">
                  <a16:creationId xmlns:a16="http://schemas.microsoft.com/office/drawing/2014/main" id="{FE4D6531-EFA2-4DB8-BAE0-08B786510420}"/>
                </a:ext>
              </a:extLst>
            </p:cNvPr>
            <p:cNvSpPr>
              <a:spLocks noChangeArrowheads="1"/>
            </p:cNvSpPr>
            <p:nvPr/>
          </p:nvSpPr>
          <p:spPr bwMode="auto">
            <a:xfrm>
              <a:off x="364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6" name="Oval 3038">
              <a:extLst>
                <a:ext uri="{FF2B5EF4-FFF2-40B4-BE49-F238E27FC236}">
                  <a16:creationId xmlns:a16="http://schemas.microsoft.com/office/drawing/2014/main" id="{7D15DA68-70AF-43ED-B45A-4742278EDBD0}"/>
                </a:ext>
              </a:extLst>
            </p:cNvPr>
            <p:cNvSpPr>
              <a:spLocks noChangeArrowheads="1"/>
            </p:cNvSpPr>
            <p:nvPr/>
          </p:nvSpPr>
          <p:spPr bwMode="auto">
            <a:xfrm>
              <a:off x="364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7" name="Oval 3039">
              <a:extLst>
                <a:ext uri="{FF2B5EF4-FFF2-40B4-BE49-F238E27FC236}">
                  <a16:creationId xmlns:a16="http://schemas.microsoft.com/office/drawing/2014/main" id="{B9FE202E-20AF-4DBE-A083-73A3B10F46ED}"/>
                </a:ext>
              </a:extLst>
            </p:cNvPr>
            <p:cNvSpPr>
              <a:spLocks noChangeArrowheads="1"/>
            </p:cNvSpPr>
            <p:nvPr/>
          </p:nvSpPr>
          <p:spPr bwMode="auto">
            <a:xfrm>
              <a:off x="394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8" name="Oval 3040">
              <a:extLst>
                <a:ext uri="{FF2B5EF4-FFF2-40B4-BE49-F238E27FC236}">
                  <a16:creationId xmlns:a16="http://schemas.microsoft.com/office/drawing/2014/main" id="{A55C652F-BEA4-47C7-84BD-3CCC5918E12D}"/>
                </a:ext>
              </a:extLst>
            </p:cNvPr>
            <p:cNvSpPr>
              <a:spLocks noChangeArrowheads="1"/>
            </p:cNvSpPr>
            <p:nvPr/>
          </p:nvSpPr>
          <p:spPr bwMode="auto">
            <a:xfrm>
              <a:off x="3824"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9" name="Oval 3041">
              <a:extLst>
                <a:ext uri="{FF2B5EF4-FFF2-40B4-BE49-F238E27FC236}">
                  <a16:creationId xmlns:a16="http://schemas.microsoft.com/office/drawing/2014/main" id="{48AC7C32-1CE6-4737-9E4A-49200EC5F09A}"/>
                </a:ext>
              </a:extLst>
            </p:cNvPr>
            <p:cNvSpPr>
              <a:spLocks noChangeArrowheads="1"/>
            </p:cNvSpPr>
            <p:nvPr/>
          </p:nvSpPr>
          <p:spPr bwMode="auto">
            <a:xfrm>
              <a:off x="391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0" name="Oval 3042">
              <a:extLst>
                <a:ext uri="{FF2B5EF4-FFF2-40B4-BE49-F238E27FC236}">
                  <a16:creationId xmlns:a16="http://schemas.microsoft.com/office/drawing/2014/main" id="{5D185C60-4384-4BEC-9FCF-5CCE6108F3EF}"/>
                </a:ext>
              </a:extLst>
            </p:cNvPr>
            <p:cNvSpPr>
              <a:spLocks noChangeArrowheads="1"/>
            </p:cNvSpPr>
            <p:nvPr/>
          </p:nvSpPr>
          <p:spPr bwMode="auto">
            <a:xfrm>
              <a:off x="376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1" name="Oval 3043">
              <a:extLst>
                <a:ext uri="{FF2B5EF4-FFF2-40B4-BE49-F238E27FC236}">
                  <a16:creationId xmlns:a16="http://schemas.microsoft.com/office/drawing/2014/main" id="{FF9B6712-105D-4543-BFA8-CE19943F7FBC}"/>
                </a:ext>
              </a:extLst>
            </p:cNvPr>
            <p:cNvSpPr>
              <a:spLocks noChangeArrowheads="1"/>
            </p:cNvSpPr>
            <p:nvPr/>
          </p:nvSpPr>
          <p:spPr bwMode="auto">
            <a:xfrm>
              <a:off x="403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2" name="Oval 3044">
              <a:extLst>
                <a:ext uri="{FF2B5EF4-FFF2-40B4-BE49-F238E27FC236}">
                  <a16:creationId xmlns:a16="http://schemas.microsoft.com/office/drawing/2014/main" id="{739DE5C2-2638-4719-85E8-84AE324BADAD}"/>
                </a:ext>
              </a:extLst>
            </p:cNvPr>
            <p:cNvSpPr>
              <a:spLocks noChangeArrowheads="1"/>
            </p:cNvSpPr>
            <p:nvPr/>
          </p:nvSpPr>
          <p:spPr bwMode="auto">
            <a:xfrm>
              <a:off x="39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3" name="Oval 3045">
              <a:extLst>
                <a:ext uri="{FF2B5EF4-FFF2-40B4-BE49-F238E27FC236}">
                  <a16:creationId xmlns:a16="http://schemas.microsoft.com/office/drawing/2014/main" id="{610DC83D-F480-4BD0-B694-A254B5772DDE}"/>
                </a:ext>
              </a:extLst>
            </p:cNvPr>
            <p:cNvSpPr>
              <a:spLocks noChangeArrowheads="1"/>
            </p:cNvSpPr>
            <p:nvPr/>
          </p:nvSpPr>
          <p:spPr bwMode="auto">
            <a:xfrm>
              <a:off x="3794"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4" name="Oval 3046">
              <a:extLst>
                <a:ext uri="{FF2B5EF4-FFF2-40B4-BE49-F238E27FC236}">
                  <a16:creationId xmlns:a16="http://schemas.microsoft.com/office/drawing/2014/main" id="{56FE6299-7988-4956-B226-7C358AC996CF}"/>
                </a:ext>
              </a:extLst>
            </p:cNvPr>
            <p:cNvSpPr>
              <a:spLocks noChangeArrowheads="1"/>
            </p:cNvSpPr>
            <p:nvPr/>
          </p:nvSpPr>
          <p:spPr bwMode="auto">
            <a:xfrm>
              <a:off x="376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5" name="Oval 3047">
              <a:extLst>
                <a:ext uri="{FF2B5EF4-FFF2-40B4-BE49-F238E27FC236}">
                  <a16:creationId xmlns:a16="http://schemas.microsoft.com/office/drawing/2014/main" id="{06AF4258-70C0-467C-96E6-6755A623CA89}"/>
                </a:ext>
              </a:extLst>
            </p:cNvPr>
            <p:cNvSpPr>
              <a:spLocks noChangeArrowheads="1"/>
            </p:cNvSpPr>
            <p:nvPr/>
          </p:nvSpPr>
          <p:spPr bwMode="auto">
            <a:xfrm>
              <a:off x="367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6" name="Oval 3048">
              <a:extLst>
                <a:ext uri="{FF2B5EF4-FFF2-40B4-BE49-F238E27FC236}">
                  <a16:creationId xmlns:a16="http://schemas.microsoft.com/office/drawing/2014/main" id="{A1DD438E-2707-4655-8C22-FB5EEFC9AC73}"/>
                </a:ext>
              </a:extLst>
            </p:cNvPr>
            <p:cNvSpPr>
              <a:spLocks noChangeArrowheads="1"/>
            </p:cNvSpPr>
            <p:nvPr/>
          </p:nvSpPr>
          <p:spPr bwMode="auto">
            <a:xfrm>
              <a:off x="355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7" name="Oval 3049">
              <a:extLst>
                <a:ext uri="{FF2B5EF4-FFF2-40B4-BE49-F238E27FC236}">
                  <a16:creationId xmlns:a16="http://schemas.microsoft.com/office/drawing/2014/main" id="{6265F6EF-9A06-4361-83B9-4C6F82A59D70}"/>
                </a:ext>
              </a:extLst>
            </p:cNvPr>
            <p:cNvSpPr>
              <a:spLocks noChangeArrowheads="1"/>
            </p:cNvSpPr>
            <p:nvPr/>
          </p:nvSpPr>
          <p:spPr bwMode="auto">
            <a:xfrm>
              <a:off x="34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8" name="Oval 3050">
              <a:extLst>
                <a:ext uri="{FF2B5EF4-FFF2-40B4-BE49-F238E27FC236}">
                  <a16:creationId xmlns:a16="http://schemas.microsoft.com/office/drawing/2014/main" id="{44D30574-9B1B-4BA7-8080-B522060D20EA}"/>
                </a:ext>
              </a:extLst>
            </p:cNvPr>
            <p:cNvSpPr>
              <a:spLocks noChangeArrowheads="1"/>
            </p:cNvSpPr>
            <p:nvPr/>
          </p:nvSpPr>
          <p:spPr bwMode="auto">
            <a:xfrm>
              <a:off x="349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9" name="Oval 3051">
              <a:extLst>
                <a:ext uri="{FF2B5EF4-FFF2-40B4-BE49-F238E27FC236}">
                  <a16:creationId xmlns:a16="http://schemas.microsoft.com/office/drawing/2014/main" id="{465AEF82-D3E5-4069-AED5-17DFDC8DD86A}"/>
                </a:ext>
              </a:extLst>
            </p:cNvPr>
            <p:cNvSpPr>
              <a:spLocks noChangeArrowheads="1"/>
            </p:cNvSpPr>
            <p:nvPr/>
          </p:nvSpPr>
          <p:spPr bwMode="auto">
            <a:xfrm>
              <a:off x="3285" y="18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0" name="Oval 3052">
              <a:extLst>
                <a:ext uri="{FF2B5EF4-FFF2-40B4-BE49-F238E27FC236}">
                  <a16:creationId xmlns:a16="http://schemas.microsoft.com/office/drawing/2014/main" id="{D9FCC5A0-EB94-4371-931E-FE26F136D165}"/>
                </a:ext>
              </a:extLst>
            </p:cNvPr>
            <p:cNvSpPr>
              <a:spLocks noChangeArrowheads="1"/>
            </p:cNvSpPr>
            <p:nvPr/>
          </p:nvSpPr>
          <p:spPr bwMode="auto">
            <a:xfrm>
              <a:off x="331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1" name="Oval 3053">
              <a:extLst>
                <a:ext uri="{FF2B5EF4-FFF2-40B4-BE49-F238E27FC236}">
                  <a16:creationId xmlns:a16="http://schemas.microsoft.com/office/drawing/2014/main" id="{FE96F255-8CD4-48AA-B9E1-72C591A13DFA}"/>
                </a:ext>
              </a:extLst>
            </p:cNvPr>
            <p:cNvSpPr>
              <a:spLocks noChangeArrowheads="1"/>
            </p:cNvSpPr>
            <p:nvPr/>
          </p:nvSpPr>
          <p:spPr bwMode="auto">
            <a:xfrm>
              <a:off x="32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2" name="Oval 3054">
              <a:extLst>
                <a:ext uri="{FF2B5EF4-FFF2-40B4-BE49-F238E27FC236}">
                  <a16:creationId xmlns:a16="http://schemas.microsoft.com/office/drawing/2014/main" id="{B90A01C4-98BE-4C52-B66C-F0523EA25C75}"/>
                </a:ext>
              </a:extLst>
            </p:cNvPr>
            <p:cNvSpPr>
              <a:spLocks noChangeArrowheads="1"/>
            </p:cNvSpPr>
            <p:nvPr/>
          </p:nvSpPr>
          <p:spPr bwMode="auto">
            <a:xfrm>
              <a:off x="325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3" name="Oval 3055">
              <a:extLst>
                <a:ext uri="{FF2B5EF4-FFF2-40B4-BE49-F238E27FC236}">
                  <a16:creationId xmlns:a16="http://schemas.microsoft.com/office/drawing/2014/main" id="{1E6C6C02-E7B3-449D-B709-59C20B514940}"/>
                </a:ext>
              </a:extLst>
            </p:cNvPr>
            <p:cNvSpPr>
              <a:spLocks noChangeArrowheads="1"/>
            </p:cNvSpPr>
            <p:nvPr/>
          </p:nvSpPr>
          <p:spPr bwMode="auto">
            <a:xfrm>
              <a:off x="337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4" name="Oval 3056">
              <a:extLst>
                <a:ext uri="{FF2B5EF4-FFF2-40B4-BE49-F238E27FC236}">
                  <a16:creationId xmlns:a16="http://schemas.microsoft.com/office/drawing/2014/main" id="{32AFB374-1413-45A0-BA6F-4F44EB998D5B}"/>
                </a:ext>
              </a:extLst>
            </p:cNvPr>
            <p:cNvSpPr>
              <a:spLocks noChangeArrowheads="1"/>
            </p:cNvSpPr>
            <p:nvPr/>
          </p:nvSpPr>
          <p:spPr bwMode="auto">
            <a:xfrm>
              <a:off x="340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5" name="Oval 3057">
              <a:extLst>
                <a:ext uri="{FF2B5EF4-FFF2-40B4-BE49-F238E27FC236}">
                  <a16:creationId xmlns:a16="http://schemas.microsoft.com/office/drawing/2014/main" id="{EFCBBC5D-9F4A-45CD-923B-6044630FDCD2}"/>
                </a:ext>
              </a:extLst>
            </p:cNvPr>
            <p:cNvSpPr>
              <a:spLocks noChangeArrowheads="1"/>
            </p:cNvSpPr>
            <p:nvPr/>
          </p:nvSpPr>
          <p:spPr bwMode="auto">
            <a:xfrm>
              <a:off x="337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6" name="Oval 3058">
              <a:extLst>
                <a:ext uri="{FF2B5EF4-FFF2-40B4-BE49-F238E27FC236}">
                  <a16:creationId xmlns:a16="http://schemas.microsoft.com/office/drawing/2014/main" id="{750558A3-DAF3-44CF-809F-1BF6E1496A94}"/>
                </a:ext>
              </a:extLst>
            </p:cNvPr>
            <p:cNvSpPr>
              <a:spLocks noChangeArrowheads="1"/>
            </p:cNvSpPr>
            <p:nvPr/>
          </p:nvSpPr>
          <p:spPr bwMode="auto">
            <a:xfrm>
              <a:off x="34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7" name="Oval 3059">
              <a:extLst>
                <a:ext uri="{FF2B5EF4-FFF2-40B4-BE49-F238E27FC236}">
                  <a16:creationId xmlns:a16="http://schemas.microsoft.com/office/drawing/2014/main" id="{56785E4B-70A1-436E-9A46-22C4243207F7}"/>
                </a:ext>
              </a:extLst>
            </p:cNvPr>
            <p:cNvSpPr>
              <a:spLocks noChangeArrowheads="1"/>
            </p:cNvSpPr>
            <p:nvPr/>
          </p:nvSpPr>
          <p:spPr bwMode="auto">
            <a:xfrm>
              <a:off x="313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8" name="Oval 3060">
              <a:extLst>
                <a:ext uri="{FF2B5EF4-FFF2-40B4-BE49-F238E27FC236}">
                  <a16:creationId xmlns:a16="http://schemas.microsoft.com/office/drawing/2014/main" id="{E00D8960-100A-4588-B735-13433860E3BD}"/>
                </a:ext>
              </a:extLst>
            </p:cNvPr>
            <p:cNvSpPr>
              <a:spLocks noChangeArrowheads="1"/>
            </p:cNvSpPr>
            <p:nvPr/>
          </p:nvSpPr>
          <p:spPr bwMode="auto">
            <a:xfrm>
              <a:off x="313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9" name="Oval 3061">
              <a:extLst>
                <a:ext uri="{FF2B5EF4-FFF2-40B4-BE49-F238E27FC236}">
                  <a16:creationId xmlns:a16="http://schemas.microsoft.com/office/drawing/2014/main" id="{D6776F27-2D33-4366-9263-3EF744C18AFA}"/>
                </a:ext>
              </a:extLst>
            </p:cNvPr>
            <p:cNvSpPr>
              <a:spLocks noChangeArrowheads="1"/>
            </p:cNvSpPr>
            <p:nvPr/>
          </p:nvSpPr>
          <p:spPr bwMode="auto">
            <a:xfrm>
              <a:off x="307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0" name="Oval 3062">
              <a:extLst>
                <a:ext uri="{FF2B5EF4-FFF2-40B4-BE49-F238E27FC236}">
                  <a16:creationId xmlns:a16="http://schemas.microsoft.com/office/drawing/2014/main" id="{A284E31D-FEC3-4FBA-8F09-0B66A72BF446}"/>
                </a:ext>
              </a:extLst>
            </p:cNvPr>
            <p:cNvSpPr>
              <a:spLocks noChangeArrowheads="1"/>
            </p:cNvSpPr>
            <p:nvPr/>
          </p:nvSpPr>
          <p:spPr bwMode="auto">
            <a:xfrm>
              <a:off x="328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1" name="Oval 3063">
              <a:extLst>
                <a:ext uri="{FF2B5EF4-FFF2-40B4-BE49-F238E27FC236}">
                  <a16:creationId xmlns:a16="http://schemas.microsoft.com/office/drawing/2014/main" id="{F97F1BA9-3697-4393-A1F1-2F2E67CA82DB}"/>
                </a:ext>
              </a:extLst>
            </p:cNvPr>
            <p:cNvSpPr>
              <a:spLocks noChangeArrowheads="1"/>
            </p:cNvSpPr>
            <p:nvPr/>
          </p:nvSpPr>
          <p:spPr bwMode="auto">
            <a:xfrm>
              <a:off x="337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2" name="Oval 3064">
              <a:extLst>
                <a:ext uri="{FF2B5EF4-FFF2-40B4-BE49-F238E27FC236}">
                  <a16:creationId xmlns:a16="http://schemas.microsoft.com/office/drawing/2014/main" id="{09BC34D0-2F6B-4429-B97D-A161D3D13516}"/>
                </a:ext>
              </a:extLst>
            </p:cNvPr>
            <p:cNvSpPr>
              <a:spLocks noChangeArrowheads="1"/>
            </p:cNvSpPr>
            <p:nvPr/>
          </p:nvSpPr>
          <p:spPr bwMode="auto">
            <a:xfrm>
              <a:off x="3735"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3" name="Oval 3065">
              <a:extLst>
                <a:ext uri="{FF2B5EF4-FFF2-40B4-BE49-F238E27FC236}">
                  <a16:creationId xmlns:a16="http://schemas.microsoft.com/office/drawing/2014/main" id="{0F30B5AC-168F-41B2-B014-A3CFBE432FEE}"/>
                </a:ext>
              </a:extLst>
            </p:cNvPr>
            <p:cNvSpPr>
              <a:spLocks noChangeArrowheads="1"/>
            </p:cNvSpPr>
            <p:nvPr/>
          </p:nvSpPr>
          <p:spPr bwMode="auto">
            <a:xfrm>
              <a:off x="358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4" name="Oval 3066">
              <a:extLst>
                <a:ext uri="{FF2B5EF4-FFF2-40B4-BE49-F238E27FC236}">
                  <a16:creationId xmlns:a16="http://schemas.microsoft.com/office/drawing/2014/main" id="{D4746B80-B1DD-4014-959D-3975CF24D95E}"/>
                </a:ext>
              </a:extLst>
            </p:cNvPr>
            <p:cNvSpPr>
              <a:spLocks noChangeArrowheads="1"/>
            </p:cNvSpPr>
            <p:nvPr/>
          </p:nvSpPr>
          <p:spPr bwMode="auto">
            <a:xfrm>
              <a:off x="355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5" name="Oval 3067">
              <a:extLst>
                <a:ext uri="{FF2B5EF4-FFF2-40B4-BE49-F238E27FC236}">
                  <a16:creationId xmlns:a16="http://schemas.microsoft.com/office/drawing/2014/main" id="{0B2752C7-3E5F-4AB1-BF29-EDA45B5C32A7}"/>
                </a:ext>
              </a:extLst>
            </p:cNvPr>
            <p:cNvSpPr>
              <a:spLocks noChangeArrowheads="1"/>
            </p:cNvSpPr>
            <p:nvPr/>
          </p:nvSpPr>
          <p:spPr bwMode="auto">
            <a:xfrm>
              <a:off x="349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6" name="Oval 3068">
              <a:extLst>
                <a:ext uri="{FF2B5EF4-FFF2-40B4-BE49-F238E27FC236}">
                  <a16:creationId xmlns:a16="http://schemas.microsoft.com/office/drawing/2014/main" id="{3EFD77BB-5EA7-41B7-9D70-28573CEEC47E}"/>
                </a:ext>
              </a:extLst>
            </p:cNvPr>
            <p:cNvSpPr>
              <a:spLocks noChangeArrowheads="1"/>
            </p:cNvSpPr>
            <p:nvPr/>
          </p:nvSpPr>
          <p:spPr bwMode="auto">
            <a:xfrm>
              <a:off x="337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7" name="Oval 3069">
              <a:extLst>
                <a:ext uri="{FF2B5EF4-FFF2-40B4-BE49-F238E27FC236}">
                  <a16:creationId xmlns:a16="http://schemas.microsoft.com/office/drawing/2014/main" id="{2AD28D7E-F413-48ED-AE2D-503D2C1609BF}"/>
                </a:ext>
              </a:extLst>
            </p:cNvPr>
            <p:cNvSpPr>
              <a:spLocks noChangeArrowheads="1"/>
            </p:cNvSpPr>
            <p:nvPr/>
          </p:nvSpPr>
          <p:spPr bwMode="auto">
            <a:xfrm>
              <a:off x="340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8" name="Oval 3070">
              <a:extLst>
                <a:ext uri="{FF2B5EF4-FFF2-40B4-BE49-F238E27FC236}">
                  <a16:creationId xmlns:a16="http://schemas.microsoft.com/office/drawing/2014/main" id="{3218D77E-CD85-4F03-BAD5-E4B3F1E9D36F}"/>
                </a:ext>
              </a:extLst>
            </p:cNvPr>
            <p:cNvSpPr>
              <a:spLocks noChangeArrowheads="1"/>
            </p:cNvSpPr>
            <p:nvPr/>
          </p:nvSpPr>
          <p:spPr bwMode="auto">
            <a:xfrm>
              <a:off x="325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9" name="Oval 3071">
              <a:extLst>
                <a:ext uri="{FF2B5EF4-FFF2-40B4-BE49-F238E27FC236}">
                  <a16:creationId xmlns:a16="http://schemas.microsoft.com/office/drawing/2014/main" id="{92C261DA-27ED-4E35-ACDF-2E4B1C422748}"/>
                </a:ext>
              </a:extLst>
            </p:cNvPr>
            <p:cNvSpPr>
              <a:spLocks noChangeArrowheads="1"/>
            </p:cNvSpPr>
            <p:nvPr/>
          </p:nvSpPr>
          <p:spPr bwMode="auto">
            <a:xfrm>
              <a:off x="322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0" name="Oval 3072">
              <a:extLst>
                <a:ext uri="{FF2B5EF4-FFF2-40B4-BE49-F238E27FC236}">
                  <a16:creationId xmlns:a16="http://schemas.microsoft.com/office/drawing/2014/main" id="{1362EB2F-6DD0-4D02-9CDA-505E633A02CD}"/>
                </a:ext>
              </a:extLst>
            </p:cNvPr>
            <p:cNvSpPr>
              <a:spLocks noChangeArrowheads="1"/>
            </p:cNvSpPr>
            <p:nvPr/>
          </p:nvSpPr>
          <p:spPr bwMode="auto">
            <a:xfrm>
              <a:off x="331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1" name="Oval 3073">
              <a:extLst>
                <a:ext uri="{FF2B5EF4-FFF2-40B4-BE49-F238E27FC236}">
                  <a16:creationId xmlns:a16="http://schemas.microsoft.com/office/drawing/2014/main" id="{1A257037-F650-403B-827E-0460983A9632}"/>
                </a:ext>
              </a:extLst>
            </p:cNvPr>
            <p:cNvSpPr>
              <a:spLocks noChangeArrowheads="1"/>
            </p:cNvSpPr>
            <p:nvPr/>
          </p:nvSpPr>
          <p:spPr bwMode="auto">
            <a:xfrm>
              <a:off x="352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2" name="Oval 3074">
              <a:extLst>
                <a:ext uri="{FF2B5EF4-FFF2-40B4-BE49-F238E27FC236}">
                  <a16:creationId xmlns:a16="http://schemas.microsoft.com/office/drawing/2014/main" id="{A04CDB54-4E9F-461A-B2C7-1D0E73DC99BC}"/>
                </a:ext>
              </a:extLst>
            </p:cNvPr>
            <p:cNvSpPr>
              <a:spLocks noChangeArrowheads="1"/>
            </p:cNvSpPr>
            <p:nvPr/>
          </p:nvSpPr>
          <p:spPr bwMode="auto">
            <a:xfrm>
              <a:off x="3914"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3" name="Oval 3075">
              <a:extLst>
                <a:ext uri="{FF2B5EF4-FFF2-40B4-BE49-F238E27FC236}">
                  <a16:creationId xmlns:a16="http://schemas.microsoft.com/office/drawing/2014/main" id="{F0C0F2BE-8986-4F99-85E2-A8D4EF074FEC}"/>
                </a:ext>
              </a:extLst>
            </p:cNvPr>
            <p:cNvSpPr>
              <a:spLocks noChangeArrowheads="1"/>
            </p:cNvSpPr>
            <p:nvPr/>
          </p:nvSpPr>
          <p:spPr bwMode="auto">
            <a:xfrm>
              <a:off x="4274"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4" name="Oval 3076">
              <a:extLst>
                <a:ext uri="{FF2B5EF4-FFF2-40B4-BE49-F238E27FC236}">
                  <a16:creationId xmlns:a16="http://schemas.microsoft.com/office/drawing/2014/main" id="{D71DB596-A90A-4BA7-9CA3-5301B7D1A320}"/>
                </a:ext>
              </a:extLst>
            </p:cNvPr>
            <p:cNvSpPr>
              <a:spLocks noChangeArrowheads="1"/>
            </p:cNvSpPr>
            <p:nvPr/>
          </p:nvSpPr>
          <p:spPr bwMode="auto">
            <a:xfrm>
              <a:off x="4184"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5" name="Oval 3077">
              <a:extLst>
                <a:ext uri="{FF2B5EF4-FFF2-40B4-BE49-F238E27FC236}">
                  <a16:creationId xmlns:a16="http://schemas.microsoft.com/office/drawing/2014/main" id="{5A11C6B1-F0CE-4F3F-886B-BB10C6C5318F}"/>
                </a:ext>
              </a:extLst>
            </p:cNvPr>
            <p:cNvSpPr>
              <a:spLocks noChangeArrowheads="1"/>
            </p:cNvSpPr>
            <p:nvPr/>
          </p:nvSpPr>
          <p:spPr bwMode="auto">
            <a:xfrm>
              <a:off x="421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6" name="Oval 3078">
              <a:extLst>
                <a:ext uri="{FF2B5EF4-FFF2-40B4-BE49-F238E27FC236}">
                  <a16:creationId xmlns:a16="http://schemas.microsoft.com/office/drawing/2014/main" id="{7540A8F7-5CB0-47A1-AB3C-13C4A41A6F08}"/>
                </a:ext>
              </a:extLst>
            </p:cNvPr>
            <p:cNvSpPr>
              <a:spLocks noChangeArrowheads="1"/>
            </p:cNvSpPr>
            <p:nvPr/>
          </p:nvSpPr>
          <p:spPr bwMode="auto">
            <a:xfrm>
              <a:off x="4244"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7" name="Oval 3079">
              <a:extLst>
                <a:ext uri="{FF2B5EF4-FFF2-40B4-BE49-F238E27FC236}">
                  <a16:creationId xmlns:a16="http://schemas.microsoft.com/office/drawing/2014/main" id="{C66469FF-2542-4F2F-A299-D9985FA55BE0}"/>
                </a:ext>
              </a:extLst>
            </p:cNvPr>
            <p:cNvSpPr>
              <a:spLocks noChangeArrowheads="1"/>
            </p:cNvSpPr>
            <p:nvPr/>
          </p:nvSpPr>
          <p:spPr bwMode="auto">
            <a:xfrm>
              <a:off x="4094"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8" name="Oval 3080">
              <a:extLst>
                <a:ext uri="{FF2B5EF4-FFF2-40B4-BE49-F238E27FC236}">
                  <a16:creationId xmlns:a16="http://schemas.microsoft.com/office/drawing/2014/main" id="{3C69ADE6-B647-44F3-B1F3-9B060B4B9D4D}"/>
                </a:ext>
              </a:extLst>
            </p:cNvPr>
            <p:cNvSpPr>
              <a:spLocks noChangeArrowheads="1"/>
            </p:cNvSpPr>
            <p:nvPr/>
          </p:nvSpPr>
          <p:spPr bwMode="auto">
            <a:xfrm>
              <a:off x="406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9" name="Oval 3081">
              <a:extLst>
                <a:ext uri="{FF2B5EF4-FFF2-40B4-BE49-F238E27FC236}">
                  <a16:creationId xmlns:a16="http://schemas.microsoft.com/office/drawing/2014/main" id="{6E259370-E2D5-4F60-9E35-A291E2A7D3CE}"/>
                </a:ext>
              </a:extLst>
            </p:cNvPr>
            <p:cNvSpPr>
              <a:spLocks noChangeArrowheads="1"/>
            </p:cNvSpPr>
            <p:nvPr/>
          </p:nvSpPr>
          <p:spPr bwMode="auto">
            <a:xfrm>
              <a:off x="4004"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0" name="Oval 3082">
              <a:extLst>
                <a:ext uri="{FF2B5EF4-FFF2-40B4-BE49-F238E27FC236}">
                  <a16:creationId xmlns:a16="http://schemas.microsoft.com/office/drawing/2014/main" id="{5B970A4D-4F5C-4546-951C-E9E1E5E83DB5}"/>
                </a:ext>
              </a:extLst>
            </p:cNvPr>
            <p:cNvSpPr>
              <a:spLocks noChangeArrowheads="1"/>
            </p:cNvSpPr>
            <p:nvPr/>
          </p:nvSpPr>
          <p:spPr bwMode="auto">
            <a:xfrm>
              <a:off x="385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1" name="Oval 3083">
              <a:extLst>
                <a:ext uri="{FF2B5EF4-FFF2-40B4-BE49-F238E27FC236}">
                  <a16:creationId xmlns:a16="http://schemas.microsoft.com/office/drawing/2014/main" id="{AA8161E0-C49E-4DA0-BD1B-CBE8131D43F4}"/>
                </a:ext>
              </a:extLst>
            </p:cNvPr>
            <p:cNvSpPr>
              <a:spLocks noChangeArrowheads="1"/>
            </p:cNvSpPr>
            <p:nvPr/>
          </p:nvSpPr>
          <p:spPr bwMode="auto">
            <a:xfrm>
              <a:off x="4184"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2" name="Oval 3084">
              <a:extLst>
                <a:ext uri="{FF2B5EF4-FFF2-40B4-BE49-F238E27FC236}">
                  <a16:creationId xmlns:a16="http://schemas.microsoft.com/office/drawing/2014/main" id="{682B2A25-1D53-4624-B607-033D57BA2B2C}"/>
                </a:ext>
              </a:extLst>
            </p:cNvPr>
            <p:cNvSpPr>
              <a:spLocks noChangeArrowheads="1"/>
            </p:cNvSpPr>
            <p:nvPr/>
          </p:nvSpPr>
          <p:spPr bwMode="auto">
            <a:xfrm>
              <a:off x="412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3" name="Oval 3085">
              <a:extLst>
                <a:ext uri="{FF2B5EF4-FFF2-40B4-BE49-F238E27FC236}">
                  <a16:creationId xmlns:a16="http://schemas.microsoft.com/office/drawing/2014/main" id="{BA1CC7D4-7A90-4FCB-89E2-EBE817F5418F}"/>
                </a:ext>
              </a:extLst>
            </p:cNvPr>
            <p:cNvSpPr>
              <a:spLocks noChangeArrowheads="1"/>
            </p:cNvSpPr>
            <p:nvPr/>
          </p:nvSpPr>
          <p:spPr bwMode="auto">
            <a:xfrm>
              <a:off x="4064"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4" name="Oval 3086">
              <a:extLst>
                <a:ext uri="{FF2B5EF4-FFF2-40B4-BE49-F238E27FC236}">
                  <a16:creationId xmlns:a16="http://schemas.microsoft.com/office/drawing/2014/main" id="{CFBC0512-6566-4173-BEAD-A48F342BB377}"/>
                </a:ext>
              </a:extLst>
            </p:cNvPr>
            <p:cNvSpPr>
              <a:spLocks noChangeArrowheads="1"/>
            </p:cNvSpPr>
            <p:nvPr/>
          </p:nvSpPr>
          <p:spPr bwMode="auto">
            <a:xfrm>
              <a:off x="3974"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5" name="Oval 3087">
              <a:extLst>
                <a:ext uri="{FF2B5EF4-FFF2-40B4-BE49-F238E27FC236}">
                  <a16:creationId xmlns:a16="http://schemas.microsoft.com/office/drawing/2014/main" id="{0D69950A-D9FB-457D-A77D-4239B40E213D}"/>
                </a:ext>
              </a:extLst>
            </p:cNvPr>
            <p:cNvSpPr>
              <a:spLocks noChangeArrowheads="1"/>
            </p:cNvSpPr>
            <p:nvPr/>
          </p:nvSpPr>
          <p:spPr bwMode="auto">
            <a:xfrm>
              <a:off x="385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6" name="Oval 3088">
              <a:extLst>
                <a:ext uri="{FF2B5EF4-FFF2-40B4-BE49-F238E27FC236}">
                  <a16:creationId xmlns:a16="http://schemas.microsoft.com/office/drawing/2014/main" id="{24059DE6-322B-40A5-A063-A8A8A6AD3E13}"/>
                </a:ext>
              </a:extLst>
            </p:cNvPr>
            <p:cNvSpPr>
              <a:spLocks noChangeArrowheads="1"/>
            </p:cNvSpPr>
            <p:nvPr/>
          </p:nvSpPr>
          <p:spPr bwMode="auto">
            <a:xfrm>
              <a:off x="367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7" name="Oval 3089">
              <a:extLst>
                <a:ext uri="{FF2B5EF4-FFF2-40B4-BE49-F238E27FC236}">
                  <a16:creationId xmlns:a16="http://schemas.microsoft.com/office/drawing/2014/main" id="{C901CB20-29EA-4E9B-9BE9-B3FB5F53B206}"/>
                </a:ext>
              </a:extLst>
            </p:cNvPr>
            <p:cNvSpPr>
              <a:spLocks noChangeArrowheads="1"/>
            </p:cNvSpPr>
            <p:nvPr/>
          </p:nvSpPr>
          <p:spPr bwMode="auto">
            <a:xfrm>
              <a:off x="367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8" name="Oval 3090">
              <a:extLst>
                <a:ext uri="{FF2B5EF4-FFF2-40B4-BE49-F238E27FC236}">
                  <a16:creationId xmlns:a16="http://schemas.microsoft.com/office/drawing/2014/main" id="{40EE640A-AE3A-4753-92EA-66ECF6FEB154}"/>
                </a:ext>
              </a:extLst>
            </p:cNvPr>
            <p:cNvSpPr>
              <a:spLocks noChangeArrowheads="1"/>
            </p:cNvSpPr>
            <p:nvPr/>
          </p:nvSpPr>
          <p:spPr bwMode="auto">
            <a:xfrm>
              <a:off x="35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9" name="Oval 3091">
              <a:extLst>
                <a:ext uri="{FF2B5EF4-FFF2-40B4-BE49-F238E27FC236}">
                  <a16:creationId xmlns:a16="http://schemas.microsoft.com/office/drawing/2014/main" id="{9768EE35-363B-4DF8-97E7-6D3432A41C2A}"/>
                </a:ext>
              </a:extLst>
            </p:cNvPr>
            <p:cNvSpPr>
              <a:spLocks noChangeArrowheads="1"/>
            </p:cNvSpPr>
            <p:nvPr/>
          </p:nvSpPr>
          <p:spPr bwMode="auto">
            <a:xfrm>
              <a:off x="355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0" name="Oval 3092">
              <a:extLst>
                <a:ext uri="{FF2B5EF4-FFF2-40B4-BE49-F238E27FC236}">
                  <a16:creationId xmlns:a16="http://schemas.microsoft.com/office/drawing/2014/main" id="{91F25B22-71E0-4FA4-8B47-87C40F5ECD39}"/>
                </a:ext>
              </a:extLst>
            </p:cNvPr>
            <p:cNvSpPr>
              <a:spLocks noChangeArrowheads="1"/>
            </p:cNvSpPr>
            <p:nvPr/>
          </p:nvSpPr>
          <p:spPr bwMode="auto">
            <a:xfrm>
              <a:off x="355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1" name="Oval 3093">
              <a:extLst>
                <a:ext uri="{FF2B5EF4-FFF2-40B4-BE49-F238E27FC236}">
                  <a16:creationId xmlns:a16="http://schemas.microsoft.com/office/drawing/2014/main" id="{16E8A5A9-8C33-4129-980D-5AD7C4D2E1AB}"/>
                </a:ext>
              </a:extLst>
            </p:cNvPr>
            <p:cNvSpPr>
              <a:spLocks noChangeArrowheads="1"/>
            </p:cNvSpPr>
            <p:nvPr/>
          </p:nvSpPr>
          <p:spPr bwMode="auto">
            <a:xfrm>
              <a:off x="358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2" name="Oval 3094">
              <a:extLst>
                <a:ext uri="{FF2B5EF4-FFF2-40B4-BE49-F238E27FC236}">
                  <a16:creationId xmlns:a16="http://schemas.microsoft.com/office/drawing/2014/main" id="{7EF18B8C-6AFD-4E43-B248-C27B050CAE64}"/>
                </a:ext>
              </a:extLst>
            </p:cNvPr>
            <p:cNvSpPr>
              <a:spLocks noChangeArrowheads="1"/>
            </p:cNvSpPr>
            <p:nvPr/>
          </p:nvSpPr>
          <p:spPr bwMode="auto">
            <a:xfrm>
              <a:off x="343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3" name="Oval 3095">
              <a:extLst>
                <a:ext uri="{FF2B5EF4-FFF2-40B4-BE49-F238E27FC236}">
                  <a16:creationId xmlns:a16="http://schemas.microsoft.com/office/drawing/2014/main" id="{3D53F85C-AAB2-4B81-A2AF-6E50CE5931FB}"/>
                </a:ext>
              </a:extLst>
            </p:cNvPr>
            <p:cNvSpPr>
              <a:spLocks noChangeArrowheads="1"/>
            </p:cNvSpPr>
            <p:nvPr/>
          </p:nvSpPr>
          <p:spPr bwMode="auto">
            <a:xfrm>
              <a:off x="340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4" name="Oval 3096">
              <a:extLst>
                <a:ext uri="{FF2B5EF4-FFF2-40B4-BE49-F238E27FC236}">
                  <a16:creationId xmlns:a16="http://schemas.microsoft.com/office/drawing/2014/main" id="{A341A899-B7D3-4CAE-92D3-480F45483E19}"/>
                </a:ext>
              </a:extLst>
            </p:cNvPr>
            <p:cNvSpPr>
              <a:spLocks noChangeArrowheads="1"/>
            </p:cNvSpPr>
            <p:nvPr/>
          </p:nvSpPr>
          <p:spPr bwMode="auto">
            <a:xfrm>
              <a:off x="331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5" name="Oval 3097">
              <a:extLst>
                <a:ext uri="{FF2B5EF4-FFF2-40B4-BE49-F238E27FC236}">
                  <a16:creationId xmlns:a16="http://schemas.microsoft.com/office/drawing/2014/main" id="{68CDB402-0097-4032-B9E4-B5318FD84343}"/>
                </a:ext>
              </a:extLst>
            </p:cNvPr>
            <p:cNvSpPr>
              <a:spLocks noChangeArrowheads="1"/>
            </p:cNvSpPr>
            <p:nvPr/>
          </p:nvSpPr>
          <p:spPr bwMode="auto">
            <a:xfrm>
              <a:off x="340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6" name="Oval 3098">
              <a:extLst>
                <a:ext uri="{FF2B5EF4-FFF2-40B4-BE49-F238E27FC236}">
                  <a16:creationId xmlns:a16="http://schemas.microsoft.com/office/drawing/2014/main" id="{14B0FB8A-DCCE-4CCB-BD73-3C13D70D3341}"/>
                </a:ext>
              </a:extLst>
            </p:cNvPr>
            <p:cNvSpPr>
              <a:spLocks noChangeArrowheads="1"/>
            </p:cNvSpPr>
            <p:nvPr/>
          </p:nvSpPr>
          <p:spPr bwMode="auto">
            <a:xfrm>
              <a:off x="328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7" name="Oval 3099">
              <a:extLst>
                <a:ext uri="{FF2B5EF4-FFF2-40B4-BE49-F238E27FC236}">
                  <a16:creationId xmlns:a16="http://schemas.microsoft.com/office/drawing/2014/main" id="{3E4B6091-F01C-47AF-BC3D-1F331CF5EB8C}"/>
                </a:ext>
              </a:extLst>
            </p:cNvPr>
            <p:cNvSpPr>
              <a:spLocks noChangeArrowheads="1"/>
            </p:cNvSpPr>
            <p:nvPr/>
          </p:nvSpPr>
          <p:spPr bwMode="auto">
            <a:xfrm>
              <a:off x="334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8" name="Oval 3100">
              <a:extLst>
                <a:ext uri="{FF2B5EF4-FFF2-40B4-BE49-F238E27FC236}">
                  <a16:creationId xmlns:a16="http://schemas.microsoft.com/office/drawing/2014/main" id="{D8474709-C3CC-4D64-8E3F-D04EDC95B68A}"/>
                </a:ext>
              </a:extLst>
            </p:cNvPr>
            <p:cNvSpPr>
              <a:spLocks noChangeArrowheads="1"/>
            </p:cNvSpPr>
            <p:nvPr/>
          </p:nvSpPr>
          <p:spPr bwMode="auto">
            <a:xfrm>
              <a:off x="334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9" name="Oval 3101">
              <a:extLst>
                <a:ext uri="{FF2B5EF4-FFF2-40B4-BE49-F238E27FC236}">
                  <a16:creationId xmlns:a16="http://schemas.microsoft.com/office/drawing/2014/main" id="{46EC1411-9DC7-4C35-ABD1-E55BADD4A631}"/>
                </a:ext>
              </a:extLst>
            </p:cNvPr>
            <p:cNvSpPr>
              <a:spLocks noChangeArrowheads="1"/>
            </p:cNvSpPr>
            <p:nvPr/>
          </p:nvSpPr>
          <p:spPr bwMode="auto">
            <a:xfrm>
              <a:off x="325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0" name="Oval 3102">
              <a:extLst>
                <a:ext uri="{FF2B5EF4-FFF2-40B4-BE49-F238E27FC236}">
                  <a16:creationId xmlns:a16="http://schemas.microsoft.com/office/drawing/2014/main" id="{886C7051-03CE-4F2C-8476-BCB51052B3FA}"/>
                </a:ext>
              </a:extLst>
            </p:cNvPr>
            <p:cNvSpPr>
              <a:spLocks noChangeArrowheads="1"/>
            </p:cNvSpPr>
            <p:nvPr/>
          </p:nvSpPr>
          <p:spPr bwMode="auto">
            <a:xfrm>
              <a:off x="319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1" name="Oval 3103">
              <a:extLst>
                <a:ext uri="{FF2B5EF4-FFF2-40B4-BE49-F238E27FC236}">
                  <a16:creationId xmlns:a16="http://schemas.microsoft.com/office/drawing/2014/main" id="{8459B887-FFFB-4F00-93D6-CA22B6C7D34D}"/>
                </a:ext>
              </a:extLst>
            </p:cNvPr>
            <p:cNvSpPr>
              <a:spLocks noChangeArrowheads="1"/>
            </p:cNvSpPr>
            <p:nvPr/>
          </p:nvSpPr>
          <p:spPr bwMode="auto">
            <a:xfrm>
              <a:off x="31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2" name="Oval 3104">
              <a:extLst>
                <a:ext uri="{FF2B5EF4-FFF2-40B4-BE49-F238E27FC236}">
                  <a16:creationId xmlns:a16="http://schemas.microsoft.com/office/drawing/2014/main" id="{8940B09F-623D-4C69-BAE1-3C0CA7B0BD44}"/>
                </a:ext>
              </a:extLst>
            </p:cNvPr>
            <p:cNvSpPr>
              <a:spLocks noChangeArrowheads="1"/>
            </p:cNvSpPr>
            <p:nvPr/>
          </p:nvSpPr>
          <p:spPr bwMode="auto">
            <a:xfrm>
              <a:off x="319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3" name="Oval 3105">
              <a:extLst>
                <a:ext uri="{FF2B5EF4-FFF2-40B4-BE49-F238E27FC236}">
                  <a16:creationId xmlns:a16="http://schemas.microsoft.com/office/drawing/2014/main" id="{FB35EB7E-7507-4FCA-9F66-46849F61BC8D}"/>
                </a:ext>
              </a:extLst>
            </p:cNvPr>
            <p:cNvSpPr>
              <a:spLocks noChangeArrowheads="1"/>
            </p:cNvSpPr>
            <p:nvPr/>
          </p:nvSpPr>
          <p:spPr bwMode="auto">
            <a:xfrm>
              <a:off x="319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4" name="Oval 3106">
              <a:extLst>
                <a:ext uri="{FF2B5EF4-FFF2-40B4-BE49-F238E27FC236}">
                  <a16:creationId xmlns:a16="http://schemas.microsoft.com/office/drawing/2014/main" id="{9ACC0ACB-EC2E-4065-8598-FB17E317BDE5}"/>
                </a:ext>
              </a:extLst>
            </p:cNvPr>
            <p:cNvSpPr>
              <a:spLocks noChangeArrowheads="1"/>
            </p:cNvSpPr>
            <p:nvPr/>
          </p:nvSpPr>
          <p:spPr bwMode="auto">
            <a:xfrm>
              <a:off x="319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5" name="Oval 3107">
              <a:extLst>
                <a:ext uri="{FF2B5EF4-FFF2-40B4-BE49-F238E27FC236}">
                  <a16:creationId xmlns:a16="http://schemas.microsoft.com/office/drawing/2014/main" id="{3444336C-B372-4E30-B1EF-F55C3AD703DB}"/>
                </a:ext>
              </a:extLst>
            </p:cNvPr>
            <p:cNvSpPr>
              <a:spLocks noChangeArrowheads="1"/>
            </p:cNvSpPr>
            <p:nvPr/>
          </p:nvSpPr>
          <p:spPr bwMode="auto">
            <a:xfrm>
              <a:off x="31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6" name="Oval 3108">
              <a:extLst>
                <a:ext uri="{FF2B5EF4-FFF2-40B4-BE49-F238E27FC236}">
                  <a16:creationId xmlns:a16="http://schemas.microsoft.com/office/drawing/2014/main" id="{91855348-8315-455E-93F9-3A727B2EEE4B}"/>
                </a:ext>
              </a:extLst>
            </p:cNvPr>
            <p:cNvSpPr>
              <a:spLocks noChangeArrowheads="1"/>
            </p:cNvSpPr>
            <p:nvPr/>
          </p:nvSpPr>
          <p:spPr bwMode="auto">
            <a:xfrm>
              <a:off x="319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7" name="Oval 3109">
              <a:extLst>
                <a:ext uri="{FF2B5EF4-FFF2-40B4-BE49-F238E27FC236}">
                  <a16:creationId xmlns:a16="http://schemas.microsoft.com/office/drawing/2014/main" id="{2733AA10-474F-419D-801E-E98543D095DD}"/>
                </a:ext>
              </a:extLst>
            </p:cNvPr>
            <p:cNvSpPr>
              <a:spLocks noChangeArrowheads="1"/>
            </p:cNvSpPr>
            <p:nvPr/>
          </p:nvSpPr>
          <p:spPr bwMode="auto">
            <a:xfrm>
              <a:off x="319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8" name="Oval 3110">
              <a:extLst>
                <a:ext uri="{FF2B5EF4-FFF2-40B4-BE49-F238E27FC236}">
                  <a16:creationId xmlns:a16="http://schemas.microsoft.com/office/drawing/2014/main" id="{F0C3A09F-FB94-4AEC-BC8E-518EBD786B20}"/>
                </a:ext>
              </a:extLst>
            </p:cNvPr>
            <p:cNvSpPr>
              <a:spLocks noChangeArrowheads="1"/>
            </p:cNvSpPr>
            <p:nvPr/>
          </p:nvSpPr>
          <p:spPr bwMode="auto">
            <a:xfrm>
              <a:off x="316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9" name="Oval 3111">
              <a:extLst>
                <a:ext uri="{FF2B5EF4-FFF2-40B4-BE49-F238E27FC236}">
                  <a16:creationId xmlns:a16="http://schemas.microsoft.com/office/drawing/2014/main" id="{F71B8D99-711F-47D2-B948-F353ACE333A7}"/>
                </a:ext>
              </a:extLst>
            </p:cNvPr>
            <p:cNvSpPr>
              <a:spLocks noChangeArrowheads="1"/>
            </p:cNvSpPr>
            <p:nvPr/>
          </p:nvSpPr>
          <p:spPr bwMode="auto">
            <a:xfrm>
              <a:off x="328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0" name="Oval 3112">
              <a:extLst>
                <a:ext uri="{FF2B5EF4-FFF2-40B4-BE49-F238E27FC236}">
                  <a16:creationId xmlns:a16="http://schemas.microsoft.com/office/drawing/2014/main" id="{BFF316AB-B84B-4F44-BB06-D92A6B9360EA}"/>
                </a:ext>
              </a:extLst>
            </p:cNvPr>
            <p:cNvSpPr>
              <a:spLocks noChangeArrowheads="1"/>
            </p:cNvSpPr>
            <p:nvPr/>
          </p:nvSpPr>
          <p:spPr bwMode="auto">
            <a:xfrm>
              <a:off x="325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1" name="Oval 3113">
              <a:extLst>
                <a:ext uri="{FF2B5EF4-FFF2-40B4-BE49-F238E27FC236}">
                  <a16:creationId xmlns:a16="http://schemas.microsoft.com/office/drawing/2014/main" id="{4B1C72A3-D9F3-4A3F-9EF9-34090224EC10}"/>
                </a:ext>
              </a:extLst>
            </p:cNvPr>
            <p:cNvSpPr>
              <a:spLocks noChangeArrowheads="1"/>
            </p:cNvSpPr>
            <p:nvPr/>
          </p:nvSpPr>
          <p:spPr bwMode="auto">
            <a:xfrm>
              <a:off x="328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2" name="Oval 3114">
              <a:extLst>
                <a:ext uri="{FF2B5EF4-FFF2-40B4-BE49-F238E27FC236}">
                  <a16:creationId xmlns:a16="http://schemas.microsoft.com/office/drawing/2014/main" id="{F57DC3E8-97E8-4FA6-B573-288AF660F92E}"/>
                </a:ext>
              </a:extLst>
            </p:cNvPr>
            <p:cNvSpPr>
              <a:spLocks noChangeArrowheads="1"/>
            </p:cNvSpPr>
            <p:nvPr/>
          </p:nvSpPr>
          <p:spPr bwMode="auto">
            <a:xfrm>
              <a:off x="352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3" name="Oval 3115">
              <a:extLst>
                <a:ext uri="{FF2B5EF4-FFF2-40B4-BE49-F238E27FC236}">
                  <a16:creationId xmlns:a16="http://schemas.microsoft.com/office/drawing/2014/main" id="{5EAF8280-6AE6-4124-B848-DA0DD9AD3E57}"/>
                </a:ext>
              </a:extLst>
            </p:cNvPr>
            <p:cNvSpPr>
              <a:spLocks noChangeArrowheads="1"/>
            </p:cNvSpPr>
            <p:nvPr/>
          </p:nvSpPr>
          <p:spPr bwMode="auto">
            <a:xfrm>
              <a:off x="352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4" name="Oval 3116">
              <a:extLst>
                <a:ext uri="{FF2B5EF4-FFF2-40B4-BE49-F238E27FC236}">
                  <a16:creationId xmlns:a16="http://schemas.microsoft.com/office/drawing/2014/main" id="{8B21F60E-B8A8-4B18-A046-6D31169122E4}"/>
                </a:ext>
              </a:extLst>
            </p:cNvPr>
            <p:cNvSpPr>
              <a:spLocks noChangeArrowheads="1"/>
            </p:cNvSpPr>
            <p:nvPr/>
          </p:nvSpPr>
          <p:spPr bwMode="auto">
            <a:xfrm>
              <a:off x="346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5" name="Oval 3117">
              <a:extLst>
                <a:ext uri="{FF2B5EF4-FFF2-40B4-BE49-F238E27FC236}">
                  <a16:creationId xmlns:a16="http://schemas.microsoft.com/office/drawing/2014/main" id="{12FFABD2-EDE4-48A9-9AFC-D4FCEB1A6E95}"/>
                </a:ext>
              </a:extLst>
            </p:cNvPr>
            <p:cNvSpPr>
              <a:spLocks noChangeArrowheads="1"/>
            </p:cNvSpPr>
            <p:nvPr/>
          </p:nvSpPr>
          <p:spPr bwMode="auto">
            <a:xfrm>
              <a:off x="346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6" name="Oval 3118">
              <a:extLst>
                <a:ext uri="{FF2B5EF4-FFF2-40B4-BE49-F238E27FC236}">
                  <a16:creationId xmlns:a16="http://schemas.microsoft.com/office/drawing/2014/main" id="{63D4C5AB-D277-4D9B-9BBA-F35E949D7964}"/>
                </a:ext>
              </a:extLst>
            </p:cNvPr>
            <p:cNvSpPr>
              <a:spLocks noChangeArrowheads="1"/>
            </p:cNvSpPr>
            <p:nvPr/>
          </p:nvSpPr>
          <p:spPr bwMode="auto">
            <a:xfrm>
              <a:off x="334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7" name="Oval 3119">
              <a:extLst>
                <a:ext uri="{FF2B5EF4-FFF2-40B4-BE49-F238E27FC236}">
                  <a16:creationId xmlns:a16="http://schemas.microsoft.com/office/drawing/2014/main" id="{ADD4317E-51A0-4CD6-91FA-C717642FF09C}"/>
                </a:ext>
              </a:extLst>
            </p:cNvPr>
            <p:cNvSpPr>
              <a:spLocks noChangeArrowheads="1"/>
            </p:cNvSpPr>
            <p:nvPr/>
          </p:nvSpPr>
          <p:spPr bwMode="auto">
            <a:xfrm>
              <a:off x="334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8" name="Oval 3120">
              <a:extLst>
                <a:ext uri="{FF2B5EF4-FFF2-40B4-BE49-F238E27FC236}">
                  <a16:creationId xmlns:a16="http://schemas.microsoft.com/office/drawing/2014/main" id="{DCFD4F9F-1BF7-41E2-A7E6-B3BC6B9F337B}"/>
                </a:ext>
              </a:extLst>
            </p:cNvPr>
            <p:cNvSpPr>
              <a:spLocks noChangeArrowheads="1"/>
            </p:cNvSpPr>
            <p:nvPr/>
          </p:nvSpPr>
          <p:spPr bwMode="auto">
            <a:xfrm>
              <a:off x="328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9" name="Oval 3121">
              <a:extLst>
                <a:ext uri="{FF2B5EF4-FFF2-40B4-BE49-F238E27FC236}">
                  <a16:creationId xmlns:a16="http://schemas.microsoft.com/office/drawing/2014/main" id="{024102D8-D56D-4F43-BF22-21F1D149E26D}"/>
                </a:ext>
              </a:extLst>
            </p:cNvPr>
            <p:cNvSpPr>
              <a:spLocks noChangeArrowheads="1"/>
            </p:cNvSpPr>
            <p:nvPr/>
          </p:nvSpPr>
          <p:spPr bwMode="auto">
            <a:xfrm>
              <a:off x="337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0" name="Oval 3122">
              <a:extLst>
                <a:ext uri="{FF2B5EF4-FFF2-40B4-BE49-F238E27FC236}">
                  <a16:creationId xmlns:a16="http://schemas.microsoft.com/office/drawing/2014/main" id="{C463CA07-15C7-49E1-A08E-9BD8C964BAC5}"/>
                </a:ext>
              </a:extLst>
            </p:cNvPr>
            <p:cNvSpPr>
              <a:spLocks noChangeArrowheads="1"/>
            </p:cNvSpPr>
            <p:nvPr/>
          </p:nvSpPr>
          <p:spPr bwMode="auto">
            <a:xfrm>
              <a:off x="340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1" name="Oval 3123">
              <a:extLst>
                <a:ext uri="{FF2B5EF4-FFF2-40B4-BE49-F238E27FC236}">
                  <a16:creationId xmlns:a16="http://schemas.microsoft.com/office/drawing/2014/main" id="{F62BF4A6-B63D-4F27-8D70-F3FC4A9C089E}"/>
                </a:ext>
              </a:extLst>
            </p:cNvPr>
            <p:cNvSpPr>
              <a:spLocks noChangeArrowheads="1"/>
            </p:cNvSpPr>
            <p:nvPr/>
          </p:nvSpPr>
          <p:spPr bwMode="auto">
            <a:xfrm>
              <a:off x="36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2" name="Oval 3124">
              <a:extLst>
                <a:ext uri="{FF2B5EF4-FFF2-40B4-BE49-F238E27FC236}">
                  <a16:creationId xmlns:a16="http://schemas.microsoft.com/office/drawing/2014/main" id="{EE579A09-23DF-4423-B4E4-68D1994CA781}"/>
                </a:ext>
              </a:extLst>
            </p:cNvPr>
            <p:cNvSpPr>
              <a:spLocks noChangeArrowheads="1"/>
            </p:cNvSpPr>
            <p:nvPr/>
          </p:nvSpPr>
          <p:spPr bwMode="auto">
            <a:xfrm>
              <a:off x="355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3" name="Oval 3125">
              <a:extLst>
                <a:ext uri="{FF2B5EF4-FFF2-40B4-BE49-F238E27FC236}">
                  <a16:creationId xmlns:a16="http://schemas.microsoft.com/office/drawing/2014/main" id="{6688A15B-F50A-4B34-91AA-35CB83BAA37A}"/>
                </a:ext>
              </a:extLst>
            </p:cNvPr>
            <p:cNvSpPr>
              <a:spLocks noChangeArrowheads="1"/>
            </p:cNvSpPr>
            <p:nvPr/>
          </p:nvSpPr>
          <p:spPr bwMode="auto">
            <a:xfrm>
              <a:off x="397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4" name="Oval 3126">
              <a:extLst>
                <a:ext uri="{FF2B5EF4-FFF2-40B4-BE49-F238E27FC236}">
                  <a16:creationId xmlns:a16="http://schemas.microsoft.com/office/drawing/2014/main" id="{5786ADE3-5EBD-4ED6-BA28-9BCD5321CB2E}"/>
                </a:ext>
              </a:extLst>
            </p:cNvPr>
            <p:cNvSpPr>
              <a:spLocks noChangeArrowheads="1"/>
            </p:cNvSpPr>
            <p:nvPr/>
          </p:nvSpPr>
          <p:spPr bwMode="auto">
            <a:xfrm>
              <a:off x="379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5" name="Oval 3127">
              <a:extLst>
                <a:ext uri="{FF2B5EF4-FFF2-40B4-BE49-F238E27FC236}">
                  <a16:creationId xmlns:a16="http://schemas.microsoft.com/office/drawing/2014/main" id="{9097EF3B-F80D-4451-8F1E-31E9B76FB03D}"/>
                </a:ext>
              </a:extLst>
            </p:cNvPr>
            <p:cNvSpPr>
              <a:spLocks noChangeArrowheads="1"/>
            </p:cNvSpPr>
            <p:nvPr/>
          </p:nvSpPr>
          <p:spPr bwMode="auto">
            <a:xfrm>
              <a:off x="3914"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6" name="Oval 3128">
              <a:extLst>
                <a:ext uri="{FF2B5EF4-FFF2-40B4-BE49-F238E27FC236}">
                  <a16:creationId xmlns:a16="http://schemas.microsoft.com/office/drawing/2014/main" id="{123825B7-F7A1-402C-B6A9-2E13661A63C1}"/>
                </a:ext>
              </a:extLst>
            </p:cNvPr>
            <p:cNvSpPr>
              <a:spLocks noChangeArrowheads="1"/>
            </p:cNvSpPr>
            <p:nvPr/>
          </p:nvSpPr>
          <p:spPr bwMode="auto">
            <a:xfrm>
              <a:off x="391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7" name="Oval 3129">
              <a:extLst>
                <a:ext uri="{FF2B5EF4-FFF2-40B4-BE49-F238E27FC236}">
                  <a16:creationId xmlns:a16="http://schemas.microsoft.com/office/drawing/2014/main" id="{F79AAF14-0A8B-4B64-BB8B-BA8EEF36328A}"/>
                </a:ext>
              </a:extLst>
            </p:cNvPr>
            <p:cNvSpPr>
              <a:spLocks noChangeArrowheads="1"/>
            </p:cNvSpPr>
            <p:nvPr/>
          </p:nvSpPr>
          <p:spPr bwMode="auto">
            <a:xfrm>
              <a:off x="379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8" name="Oval 3130">
              <a:extLst>
                <a:ext uri="{FF2B5EF4-FFF2-40B4-BE49-F238E27FC236}">
                  <a16:creationId xmlns:a16="http://schemas.microsoft.com/office/drawing/2014/main" id="{ABCD1495-BE77-4CCB-9866-72488099AE97}"/>
                </a:ext>
              </a:extLst>
            </p:cNvPr>
            <p:cNvSpPr>
              <a:spLocks noChangeArrowheads="1"/>
            </p:cNvSpPr>
            <p:nvPr/>
          </p:nvSpPr>
          <p:spPr bwMode="auto">
            <a:xfrm>
              <a:off x="3794"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9" name="Oval 3131">
              <a:extLst>
                <a:ext uri="{FF2B5EF4-FFF2-40B4-BE49-F238E27FC236}">
                  <a16:creationId xmlns:a16="http://schemas.microsoft.com/office/drawing/2014/main" id="{51E7C151-5DD5-48F9-A54C-F1C027875176}"/>
                </a:ext>
              </a:extLst>
            </p:cNvPr>
            <p:cNvSpPr>
              <a:spLocks noChangeArrowheads="1"/>
            </p:cNvSpPr>
            <p:nvPr/>
          </p:nvSpPr>
          <p:spPr bwMode="auto">
            <a:xfrm>
              <a:off x="415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0" name="Oval 3132">
              <a:extLst>
                <a:ext uri="{FF2B5EF4-FFF2-40B4-BE49-F238E27FC236}">
                  <a16:creationId xmlns:a16="http://schemas.microsoft.com/office/drawing/2014/main" id="{4C04A9BD-E0EB-4626-99D2-D168863E496B}"/>
                </a:ext>
              </a:extLst>
            </p:cNvPr>
            <p:cNvSpPr>
              <a:spLocks noChangeArrowheads="1"/>
            </p:cNvSpPr>
            <p:nvPr/>
          </p:nvSpPr>
          <p:spPr bwMode="auto">
            <a:xfrm>
              <a:off x="406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1" name="Oval 3133">
              <a:extLst>
                <a:ext uri="{FF2B5EF4-FFF2-40B4-BE49-F238E27FC236}">
                  <a16:creationId xmlns:a16="http://schemas.microsoft.com/office/drawing/2014/main" id="{106B4D1F-F275-4739-9FDB-DF29FE82577C}"/>
                </a:ext>
              </a:extLst>
            </p:cNvPr>
            <p:cNvSpPr>
              <a:spLocks noChangeArrowheads="1"/>
            </p:cNvSpPr>
            <p:nvPr/>
          </p:nvSpPr>
          <p:spPr bwMode="auto">
            <a:xfrm>
              <a:off x="4034"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2" name="Oval 3134">
              <a:extLst>
                <a:ext uri="{FF2B5EF4-FFF2-40B4-BE49-F238E27FC236}">
                  <a16:creationId xmlns:a16="http://schemas.microsoft.com/office/drawing/2014/main" id="{C1CE24EE-0A3D-4A3B-8AC6-9F2C679796F9}"/>
                </a:ext>
              </a:extLst>
            </p:cNvPr>
            <p:cNvSpPr>
              <a:spLocks noChangeArrowheads="1"/>
            </p:cNvSpPr>
            <p:nvPr/>
          </p:nvSpPr>
          <p:spPr bwMode="auto">
            <a:xfrm>
              <a:off x="3974"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3" name="Oval 3135">
              <a:extLst>
                <a:ext uri="{FF2B5EF4-FFF2-40B4-BE49-F238E27FC236}">
                  <a16:creationId xmlns:a16="http://schemas.microsoft.com/office/drawing/2014/main" id="{72140DC7-4BCE-4F3A-B52C-98C50BF3B173}"/>
                </a:ext>
              </a:extLst>
            </p:cNvPr>
            <p:cNvSpPr>
              <a:spLocks noChangeArrowheads="1"/>
            </p:cNvSpPr>
            <p:nvPr/>
          </p:nvSpPr>
          <p:spPr bwMode="auto">
            <a:xfrm>
              <a:off x="394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4" name="Oval 3136">
              <a:extLst>
                <a:ext uri="{FF2B5EF4-FFF2-40B4-BE49-F238E27FC236}">
                  <a16:creationId xmlns:a16="http://schemas.microsoft.com/office/drawing/2014/main" id="{759354E1-B96C-4DD0-91B7-CBFF4790166E}"/>
                </a:ext>
              </a:extLst>
            </p:cNvPr>
            <p:cNvSpPr>
              <a:spLocks noChangeArrowheads="1"/>
            </p:cNvSpPr>
            <p:nvPr/>
          </p:nvSpPr>
          <p:spPr bwMode="auto">
            <a:xfrm>
              <a:off x="379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5" name="Oval 3137">
              <a:extLst>
                <a:ext uri="{FF2B5EF4-FFF2-40B4-BE49-F238E27FC236}">
                  <a16:creationId xmlns:a16="http://schemas.microsoft.com/office/drawing/2014/main" id="{531189C7-F9E1-4C04-A5CA-65BB18775F74}"/>
                </a:ext>
              </a:extLst>
            </p:cNvPr>
            <p:cNvSpPr>
              <a:spLocks noChangeArrowheads="1"/>
            </p:cNvSpPr>
            <p:nvPr/>
          </p:nvSpPr>
          <p:spPr bwMode="auto">
            <a:xfrm>
              <a:off x="385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6" name="Oval 3138">
              <a:extLst>
                <a:ext uri="{FF2B5EF4-FFF2-40B4-BE49-F238E27FC236}">
                  <a16:creationId xmlns:a16="http://schemas.microsoft.com/office/drawing/2014/main" id="{410EC6FF-45A4-46EA-8232-7C138A93719B}"/>
                </a:ext>
              </a:extLst>
            </p:cNvPr>
            <p:cNvSpPr>
              <a:spLocks noChangeArrowheads="1"/>
            </p:cNvSpPr>
            <p:nvPr/>
          </p:nvSpPr>
          <p:spPr bwMode="auto">
            <a:xfrm>
              <a:off x="3764"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7" name="Oval 3139">
              <a:extLst>
                <a:ext uri="{FF2B5EF4-FFF2-40B4-BE49-F238E27FC236}">
                  <a16:creationId xmlns:a16="http://schemas.microsoft.com/office/drawing/2014/main" id="{8F16471B-D545-4692-A68B-3AC138D9ABA7}"/>
                </a:ext>
              </a:extLst>
            </p:cNvPr>
            <p:cNvSpPr>
              <a:spLocks noChangeArrowheads="1"/>
            </p:cNvSpPr>
            <p:nvPr/>
          </p:nvSpPr>
          <p:spPr bwMode="auto">
            <a:xfrm>
              <a:off x="3705" y="24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8" name="Oval 3140">
              <a:extLst>
                <a:ext uri="{FF2B5EF4-FFF2-40B4-BE49-F238E27FC236}">
                  <a16:creationId xmlns:a16="http://schemas.microsoft.com/office/drawing/2014/main" id="{016101C7-26A8-4AE7-BD2C-D6CB3B216480}"/>
                </a:ext>
              </a:extLst>
            </p:cNvPr>
            <p:cNvSpPr>
              <a:spLocks noChangeArrowheads="1"/>
            </p:cNvSpPr>
            <p:nvPr/>
          </p:nvSpPr>
          <p:spPr bwMode="auto">
            <a:xfrm>
              <a:off x="367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9" name="Oval 3141">
              <a:extLst>
                <a:ext uri="{FF2B5EF4-FFF2-40B4-BE49-F238E27FC236}">
                  <a16:creationId xmlns:a16="http://schemas.microsoft.com/office/drawing/2014/main" id="{F7799994-3684-48E5-8005-AAF7B93ADACA}"/>
                </a:ext>
              </a:extLst>
            </p:cNvPr>
            <p:cNvSpPr>
              <a:spLocks noChangeArrowheads="1"/>
            </p:cNvSpPr>
            <p:nvPr/>
          </p:nvSpPr>
          <p:spPr bwMode="auto">
            <a:xfrm>
              <a:off x="361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0" name="Oval 3142">
              <a:extLst>
                <a:ext uri="{FF2B5EF4-FFF2-40B4-BE49-F238E27FC236}">
                  <a16:creationId xmlns:a16="http://schemas.microsoft.com/office/drawing/2014/main" id="{9B267139-3486-4FCE-B049-F7F32910A841}"/>
                </a:ext>
              </a:extLst>
            </p:cNvPr>
            <p:cNvSpPr>
              <a:spLocks noChangeArrowheads="1"/>
            </p:cNvSpPr>
            <p:nvPr/>
          </p:nvSpPr>
          <p:spPr bwMode="auto">
            <a:xfrm>
              <a:off x="355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1" name="Oval 3143">
              <a:extLst>
                <a:ext uri="{FF2B5EF4-FFF2-40B4-BE49-F238E27FC236}">
                  <a16:creationId xmlns:a16="http://schemas.microsoft.com/office/drawing/2014/main" id="{0BBC1353-B881-4E2F-A9D2-B6DD6B33DAC0}"/>
                </a:ext>
              </a:extLst>
            </p:cNvPr>
            <p:cNvSpPr>
              <a:spLocks noChangeArrowheads="1"/>
            </p:cNvSpPr>
            <p:nvPr/>
          </p:nvSpPr>
          <p:spPr bwMode="auto">
            <a:xfrm>
              <a:off x="346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2" name="Oval 3144">
              <a:extLst>
                <a:ext uri="{FF2B5EF4-FFF2-40B4-BE49-F238E27FC236}">
                  <a16:creationId xmlns:a16="http://schemas.microsoft.com/office/drawing/2014/main" id="{1D5195CB-8928-44A2-8AB1-BB98076033AB}"/>
                </a:ext>
              </a:extLst>
            </p:cNvPr>
            <p:cNvSpPr>
              <a:spLocks noChangeArrowheads="1"/>
            </p:cNvSpPr>
            <p:nvPr/>
          </p:nvSpPr>
          <p:spPr bwMode="auto">
            <a:xfrm>
              <a:off x="343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3" name="Oval 3145">
              <a:extLst>
                <a:ext uri="{FF2B5EF4-FFF2-40B4-BE49-F238E27FC236}">
                  <a16:creationId xmlns:a16="http://schemas.microsoft.com/office/drawing/2014/main" id="{C8CA1CFB-FFC0-44F1-A27A-5A0B6EC25605}"/>
                </a:ext>
              </a:extLst>
            </p:cNvPr>
            <p:cNvSpPr>
              <a:spLocks noChangeArrowheads="1"/>
            </p:cNvSpPr>
            <p:nvPr/>
          </p:nvSpPr>
          <p:spPr bwMode="auto">
            <a:xfrm>
              <a:off x="39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4" name="Oval 3146">
              <a:extLst>
                <a:ext uri="{FF2B5EF4-FFF2-40B4-BE49-F238E27FC236}">
                  <a16:creationId xmlns:a16="http://schemas.microsoft.com/office/drawing/2014/main" id="{A0CD4F07-E58A-4A3C-9FB9-C47C541C5117}"/>
                </a:ext>
              </a:extLst>
            </p:cNvPr>
            <p:cNvSpPr>
              <a:spLocks noChangeArrowheads="1"/>
            </p:cNvSpPr>
            <p:nvPr/>
          </p:nvSpPr>
          <p:spPr bwMode="auto">
            <a:xfrm>
              <a:off x="382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5" name="Oval 3147">
              <a:extLst>
                <a:ext uri="{FF2B5EF4-FFF2-40B4-BE49-F238E27FC236}">
                  <a16:creationId xmlns:a16="http://schemas.microsoft.com/office/drawing/2014/main" id="{1C6346A6-D7A5-4626-99F0-D9477E49A410}"/>
                </a:ext>
              </a:extLst>
            </p:cNvPr>
            <p:cNvSpPr>
              <a:spLocks noChangeArrowheads="1"/>
            </p:cNvSpPr>
            <p:nvPr/>
          </p:nvSpPr>
          <p:spPr bwMode="auto">
            <a:xfrm>
              <a:off x="3705" y="21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6" name="Oval 3148">
              <a:extLst>
                <a:ext uri="{FF2B5EF4-FFF2-40B4-BE49-F238E27FC236}">
                  <a16:creationId xmlns:a16="http://schemas.microsoft.com/office/drawing/2014/main" id="{EB6F9A46-68CA-4127-9E06-9D4C45FEAA4F}"/>
                </a:ext>
              </a:extLst>
            </p:cNvPr>
            <p:cNvSpPr>
              <a:spLocks noChangeArrowheads="1"/>
            </p:cNvSpPr>
            <p:nvPr/>
          </p:nvSpPr>
          <p:spPr bwMode="auto">
            <a:xfrm>
              <a:off x="36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7" name="Oval 3149">
              <a:extLst>
                <a:ext uri="{FF2B5EF4-FFF2-40B4-BE49-F238E27FC236}">
                  <a16:creationId xmlns:a16="http://schemas.microsoft.com/office/drawing/2014/main" id="{DEC19A17-0C66-46AA-ABBF-EFEAFBE1F50D}"/>
                </a:ext>
              </a:extLst>
            </p:cNvPr>
            <p:cNvSpPr>
              <a:spLocks noChangeArrowheads="1"/>
            </p:cNvSpPr>
            <p:nvPr/>
          </p:nvSpPr>
          <p:spPr bwMode="auto">
            <a:xfrm>
              <a:off x="4154"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8" name="Oval 3150">
              <a:extLst>
                <a:ext uri="{FF2B5EF4-FFF2-40B4-BE49-F238E27FC236}">
                  <a16:creationId xmlns:a16="http://schemas.microsoft.com/office/drawing/2014/main" id="{85933625-B5E2-4F29-A0EC-0CF6AEFFF5DC}"/>
                </a:ext>
              </a:extLst>
            </p:cNvPr>
            <p:cNvSpPr>
              <a:spLocks noChangeArrowheads="1"/>
            </p:cNvSpPr>
            <p:nvPr/>
          </p:nvSpPr>
          <p:spPr bwMode="auto">
            <a:xfrm>
              <a:off x="4274"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9" name="Oval 3151">
              <a:extLst>
                <a:ext uri="{FF2B5EF4-FFF2-40B4-BE49-F238E27FC236}">
                  <a16:creationId xmlns:a16="http://schemas.microsoft.com/office/drawing/2014/main" id="{BEFAF7F7-19D5-4FF7-8ADC-AC23C483BF79}"/>
                </a:ext>
              </a:extLst>
            </p:cNvPr>
            <p:cNvSpPr>
              <a:spLocks noChangeArrowheads="1"/>
            </p:cNvSpPr>
            <p:nvPr/>
          </p:nvSpPr>
          <p:spPr bwMode="auto">
            <a:xfrm>
              <a:off x="409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0" name="Oval 3152">
              <a:extLst>
                <a:ext uri="{FF2B5EF4-FFF2-40B4-BE49-F238E27FC236}">
                  <a16:creationId xmlns:a16="http://schemas.microsoft.com/office/drawing/2014/main" id="{CBC4A908-827E-4047-85AB-ADE8738ECE45}"/>
                </a:ext>
              </a:extLst>
            </p:cNvPr>
            <p:cNvSpPr>
              <a:spLocks noChangeArrowheads="1"/>
            </p:cNvSpPr>
            <p:nvPr/>
          </p:nvSpPr>
          <p:spPr bwMode="auto">
            <a:xfrm>
              <a:off x="397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1" name="Oval 3153">
              <a:extLst>
                <a:ext uri="{FF2B5EF4-FFF2-40B4-BE49-F238E27FC236}">
                  <a16:creationId xmlns:a16="http://schemas.microsoft.com/office/drawing/2014/main" id="{87E88272-5043-4DA6-B770-CB6D1EEA3B3F}"/>
                </a:ext>
              </a:extLst>
            </p:cNvPr>
            <p:cNvSpPr>
              <a:spLocks noChangeArrowheads="1"/>
            </p:cNvSpPr>
            <p:nvPr/>
          </p:nvSpPr>
          <p:spPr bwMode="auto">
            <a:xfrm>
              <a:off x="385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2" name="Oval 3154">
              <a:extLst>
                <a:ext uri="{FF2B5EF4-FFF2-40B4-BE49-F238E27FC236}">
                  <a16:creationId xmlns:a16="http://schemas.microsoft.com/office/drawing/2014/main" id="{B53D0A3F-AF86-4B3C-9A3C-6F9169FFB8AC}"/>
                </a:ext>
              </a:extLst>
            </p:cNvPr>
            <p:cNvSpPr>
              <a:spLocks noChangeArrowheads="1"/>
            </p:cNvSpPr>
            <p:nvPr/>
          </p:nvSpPr>
          <p:spPr bwMode="auto">
            <a:xfrm>
              <a:off x="3794"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3" name="Oval 3155">
              <a:extLst>
                <a:ext uri="{FF2B5EF4-FFF2-40B4-BE49-F238E27FC236}">
                  <a16:creationId xmlns:a16="http://schemas.microsoft.com/office/drawing/2014/main" id="{0C919F75-7787-463E-9504-960084260519}"/>
                </a:ext>
              </a:extLst>
            </p:cNvPr>
            <p:cNvSpPr>
              <a:spLocks noChangeArrowheads="1"/>
            </p:cNvSpPr>
            <p:nvPr/>
          </p:nvSpPr>
          <p:spPr bwMode="auto">
            <a:xfrm>
              <a:off x="36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4" name="Oval 3156">
              <a:extLst>
                <a:ext uri="{FF2B5EF4-FFF2-40B4-BE49-F238E27FC236}">
                  <a16:creationId xmlns:a16="http://schemas.microsoft.com/office/drawing/2014/main" id="{A5E9B14C-75BC-41E4-8AE3-EEB7A26F7E59}"/>
                </a:ext>
              </a:extLst>
            </p:cNvPr>
            <p:cNvSpPr>
              <a:spLocks noChangeArrowheads="1"/>
            </p:cNvSpPr>
            <p:nvPr/>
          </p:nvSpPr>
          <p:spPr bwMode="auto">
            <a:xfrm>
              <a:off x="409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5" name="Oval 3157">
              <a:extLst>
                <a:ext uri="{FF2B5EF4-FFF2-40B4-BE49-F238E27FC236}">
                  <a16:creationId xmlns:a16="http://schemas.microsoft.com/office/drawing/2014/main" id="{49C25B67-D7DE-417C-AE05-FAE8C1C141D2}"/>
                </a:ext>
              </a:extLst>
            </p:cNvPr>
            <p:cNvSpPr>
              <a:spLocks noChangeArrowheads="1"/>
            </p:cNvSpPr>
            <p:nvPr/>
          </p:nvSpPr>
          <p:spPr bwMode="auto">
            <a:xfrm>
              <a:off x="400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6" name="Oval 3158">
              <a:extLst>
                <a:ext uri="{FF2B5EF4-FFF2-40B4-BE49-F238E27FC236}">
                  <a16:creationId xmlns:a16="http://schemas.microsoft.com/office/drawing/2014/main" id="{BD29CC2B-B8D9-48B7-B090-CBA2F4D0F675}"/>
                </a:ext>
              </a:extLst>
            </p:cNvPr>
            <p:cNvSpPr>
              <a:spLocks noChangeArrowheads="1"/>
            </p:cNvSpPr>
            <p:nvPr/>
          </p:nvSpPr>
          <p:spPr bwMode="auto">
            <a:xfrm>
              <a:off x="415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7" name="Oval 3159">
              <a:extLst>
                <a:ext uri="{FF2B5EF4-FFF2-40B4-BE49-F238E27FC236}">
                  <a16:creationId xmlns:a16="http://schemas.microsoft.com/office/drawing/2014/main" id="{4880D839-8B37-457F-81F1-1775E26B8FD3}"/>
                </a:ext>
              </a:extLst>
            </p:cNvPr>
            <p:cNvSpPr>
              <a:spLocks noChangeArrowheads="1"/>
            </p:cNvSpPr>
            <p:nvPr/>
          </p:nvSpPr>
          <p:spPr bwMode="auto">
            <a:xfrm>
              <a:off x="424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8" name="Oval 3160">
              <a:extLst>
                <a:ext uri="{FF2B5EF4-FFF2-40B4-BE49-F238E27FC236}">
                  <a16:creationId xmlns:a16="http://schemas.microsoft.com/office/drawing/2014/main" id="{1AAE7A3C-1106-4699-9C2D-C27C85988EFC}"/>
                </a:ext>
              </a:extLst>
            </p:cNvPr>
            <p:cNvSpPr>
              <a:spLocks noChangeArrowheads="1"/>
            </p:cNvSpPr>
            <p:nvPr/>
          </p:nvSpPr>
          <p:spPr bwMode="auto">
            <a:xfrm>
              <a:off x="427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9" name="Oval 3161">
              <a:extLst>
                <a:ext uri="{FF2B5EF4-FFF2-40B4-BE49-F238E27FC236}">
                  <a16:creationId xmlns:a16="http://schemas.microsoft.com/office/drawing/2014/main" id="{59C7A216-F67C-48FF-B904-3EF3F6B9B8A9}"/>
                </a:ext>
              </a:extLst>
            </p:cNvPr>
            <p:cNvSpPr>
              <a:spLocks noChangeArrowheads="1"/>
            </p:cNvSpPr>
            <p:nvPr/>
          </p:nvSpPr>
          <p:spPr bwMode="auto">
            <a:xfrm>
              <a:off x="4124"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0" name="Oval 3162">
              <a:extLst>
                <a:ext uri="{FF2B5EF4-FFF2-40B4-BE49-F238E27FC236}">
                  <a16:creationId xmlns:a16="http://schemas.microsoft.com/office/drawing/2014/main" id="{B7CD6B89-EA9F-473B-AA6A-B311C395084A}"/>
                </a:ext>
              </a:extLst>
            </p:cNvPr>
            <p:cNvSpPr>
              <a:spLocks noChangeArrowheads="1"/>
            </p:cNvSpPr>
            <p:nvPr/>
          </p:nvSpPr>
          <p:spPr bwMode="auto">
            <a:xfrm>
              <a:off x="394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1" name="Oval 3163">
              <a:extLst>
                <a:ext uri="{FF2B5EF4-FFF2-40B4-BE49-F238E27FC236}">
                  <a16:creationId xmlns:a16="http://schemas.microsoft.com/office/drawing/2014/main" id="{94FB16F2-DF98-427B-B290-0AD713E92124}"/>
                </a:ext>
              </a:extLst>
            </p:cNvPr>
            <p:cNvSpPr>
              <a:spLocks noChangeArrowheads="1"/>
            </p:cNvSpPr>
            <p:nvPr/>
          </p:nvSpPr>
          <p:spPr bwMode="auto">
            <a:xfrm>
              <a:off x="3884"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2" name="Oval 3164">
              <a:extLst>
                <a:ext uri="{FF2B5EF4-FFF2-40B4-BE49-F238E27FC236}">
                  <a16:creationId xmlns:a16="http://schemas.microsoft.com/office/drawing/2014/main" id="{9136DBA8-BCC9-4F62-8EDC-4F8688713573}"/>
                </a:ext>
              </a:extLst>
            </p:cNvPr>
            <p:cNvSpPr>
              <a:spLocks noChangeArrowheads="1"/>
            </p:cNvSpPr>
            <p:nvPr/>
          </p:nvSpPr>
          <p:spPr bwMode="auto">
            <a:xfrm>
              <a:off x="376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3" name="Oval 3165">
              <a:extLst>
                <a:ext uri="{FF2B5EF4-FFF2-40B4-BE49-F238E27FC236}">
                  <a16:creationId xmlns:a16="http://schemas.microsoft.com/office/drawing/2014/main" id="{C73292DE-DC7F-4026-B749-A68A64920F46}"/>
                </a:ext>
              </a:extLst>
            </p:cNvPr>
            <p:cNvSpPr>
              <a:spLocks noChangeArrowheads="1"/>
            </p:cNvSpPr>
            <p:nvPr/>
          </p:nvSpPr>
          <p:spPr bwMode="auto">
            <a:xfrm>
              <a:off x="3705" y="30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4" name="Oval 3166">
              <a:extLst>
                <a:ext uri="{FF2B5EF4-FFF2-40B4-BE49-F238E27FC236}">
                  <a16:creationId xmlns:a16="http://schemas.microsoft.com/office/drawing/2014/main" id="{FD100AD0-8D84-4ED2-B32B-C7D82BC2CE8F}"/>
                </a:ext>
              </a:extLst>
            </p:cNvPr>
            <p:cNvSpPr>
              <a:spLocks noChangeArrowheads="1"/>
            </p:cNvSpPr>
            <p:nvPr/>
          </p:nvSpPr>
          <p:spPr bwMode="auto">
            <a:xfrm>
              <a:off x="349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5" name="Oval 3167">
              <a:extLst>
                <a:ext uri="{FF2B5EF4-FFF2-40B4-BE49-F238E27FC236}">
                  <a16:creationId xmlns:a16="http://schemas.microsoft.com/office/drawing/2014/main" id="{248F111C-EBE3-4867-A942-777F22FCDC21}"/>
                </a:ext>
              </a:extLst>
            </p:cNvPr>
            <p:cNvSpPr>
              <a:spLocks noChangeArrowheads="1"/>
            </p:cNvSpPr>
            <p:nvPr/>
          </p:nvSpPr>
          <p:spPr bwMode="auto">
            <a:xfrm>
              <a:off x="358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6" name="Oval 3168">
              <a:extLst>
                <a:ext uri="{FF2B5EF4-FFF2-40B4-BE49-F238E27FC236}">
                  <a16:creationId xmlns:a16="http://schemas.microsoft.com/office/drawing/2014/main" id="{5D23A6BA-A774-4DDB-BB62-C03F544731A1}"/>
                </a:ext>
              </a:extLst>
            </p:cNvPr>
            <p:cNvSpPr>
              <a:spLocks noChangeArrowheads="1"/>
            </p:cNvSpPr>
            <p:nvPr/>
          </p:nvSpPr>
          <p:spPr bwMode="auto">
            <a:xfrm>
              <a:off x="355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27" name="Group 26">
            <a:extLst>
              <a:ext uri="{FF2B5EF4-FFF2-40B4-BE49-F238E27FC236}">
                <a16:creationId xmlns:a16="http://schemas.microsoft.com/office/drawing/2014/main" id="{E07AA897-63A9-4859-B3B5-E0634BAD97D3}"/>
              </a:ext>
            </a:extLst>
          </p:cNvPr>
          <p:cNvGrpSpPr/>
          <p:nvPr/>
        </p:nvGrpSpPr>
        <p:grpSpPr>
          <a:xfrm>
            <a:off x="3128937" y="1472547"/>
            <a:ext cx="5796407" cy="2358881"/>
            <a:chOff x="3128937" y="1472547"/>
            <a:chExt cx="5796407" cy="2358881"/>
          </a:xfrm>
        </p:grpSpPr>
        <p:grpSp>
          <p:nvGrpSpPr>
            <p:cNvPr id="1201" name="Group 45">
              <a:extLst>
                <a:ext uri="{FF2B5EF4-FFF2-40B4-BE49-F238E27FC236}">
                  <a16:creationId xmlns:a16="http://schemas.microsoft.com/office/drawing/2014/main" id="{DDFD1FC2-13C8-45C2-A8F8-E7565EC56F78}"/>
                </a:ext>
              </a:extLst>
            </p:cNvPr>
            <p:cNvGrpSpPr/>
            <p:nvPr/>
          </p:nvGrpSpPr>
          <p:grpSpPr>
            <a:xfrm>
              <a:off x="3128937" y="1472547"/>
              <a:ext cx="5796407" cy="2358881"/>
              <a:chOff x="3128937" y="1472547"/>
              <a:chExt cx="5796407" cy="2358881"/>
            </a:xfrm>
          </p:grpSpPr>
          <p:sp>
            <p:nvSpPr>
              <p:cNvPr id="1202" name="Oval 1201">
                <a:extLst>
                  <a:ext uri="{FF2B5EF4-FFF2-40B4-BE49-F238E27FC236}">
                    <a16:creationId xmlns:a16="http://schemas.microsoft.com/office/drawing/2014/main" id="{C9405291-6DB5-41B8-BA36-B9D6DD366477}"/>
                  </a:ext>
                </a:extLst>
              </p:cNvPr>
              <p:cNvSpPr/>
              <p:nvPr/>
            </p:nvSpPr>
            <p:spPr>
              <a:xfrm>
                <a:off x="6566463" y="1472547"/>
                <a:ext cx="2358881" cy="235888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cxnSp>
            <p:nvCxnSpPr>
              <p:cNvPr id="1203" name="Straight Connector 1202">
                <a:extLst>
                  <a:ext uri="{FF2B5EF4-FFF2-40B4-BE49-F238E27FC236}">
                    <a16:creationId xmlns:a16="http://schemas.microsoft.com/office/drawing/2014/main" id="{7B1EC486-CE9E-49E2-9BFC-4226CC8C5865}"/>
                  </a:ext>
                </a:extLst>
              </p:cNvPr>
              <p:cNvCxnSpPr>
                <a:cxnSpLocks/>
              </p:cNvCxnSpPr>
              <p:nvPr/>
            </p:nvCxnSpPr>
            <p:spPr>
              <a:xfrm flipV="1">
                <a:off x="8347441" y="2044203"/>
                <a:ext cx="365323" cy="263706"/>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204" name="Straight Connector 1203">
                <a:extLst>
                  <a:ext uri="{FF2B5EF4-FFF2-40B4-BE49-F238E27FC236}">
                    <a16:creationId xmlns:a16="http://schemas.microsoft.com/office/drawing/2014/main" id="{7AFACE04-4ED6-4A25-9E41-697F2320F36B}"/>
                  </a:ext>
                </a:extLst>
              </p:cNvPr>
              <p:cNvCxnSpPr>
                <a:cxnSpLocks/>
              </p:cNvCxnSpPr>
              <p:nvPr/>
            </p:nvCxnSpPr>
            <p:spPr>
              <a:xfrm flipV="1">
                <a:off x="7369412" y="3285907"/>
                <a:ext cx="184145" cy="482653"/>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205" name="Straight Connector 1204">
                <a:extLst>
                  <a:ext uri="{FF2B5EF4-FFF2-40B4-BE49-F238E27FC236}">
                    <a16:creationId xmlns:a16="http://schemas.microsoft.com/office/drawing/2014/main" id="{2B900A02-82FD-429A-8AEE-DA3E1BCFB348}"/>
                  </a:ext>
                </a:extLst>
              </p:cNvPr>
              <p:cNvCxnSpPr>
                <a:cxnSpLocks/>
              </p:cNvCxnSpPr>
              <p:nvPr/>
            </p:nvCxnSpPr>
            <p:spPr>
              <a:xfrm flipV="1">
                <a:off x="8111156" y="1653749"/>
                <a:ext cx="236084" cy="327790"/>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sp>
            <p:nvSpPr>
              <p:cNvPr id="1206" name="Oval 1205">
                <a:extLst>
                  <a:ext uri="{FF2B5EF4-FFF2-40B4-BE49-F238E27FC236}">
                    <a16:creationId xmlns:a16="http://schemas.microsoft.com/office/drawing/2014/main" id="{05020FD2-1BE1-4134-93B3-78C39E4E0DB7}"/>
                  </a:ext>
                </a:extLst>
              </p:cNvPr>
              <p:cNvSpPr/>
              <p:nvPr/>
            </p:nvSpPr>
            <p:spPr>
              <a:xfrm>
                <a:off x="3306000" y="1472547"/>
                <a:ext cx="2358881" cy="235888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cxnSp>
            <p:nvCxnSpPr>
              <p:cNvPr id="1207" name="Straight Connector 1206">
                <a:extLst>
                  <a:ext uri="{FF2B5EF4-FFF2-40B4-BE49-F238E27FC236}">
                    <a16:creationId xmlns:a16="http://schemas.microsoft.com/office/drawing/2014/main" id="{A0309E6A-C7E3-4BC8-A717-1C746DE66E5F}"/>
                  </a:ext>
                </a:extLst>
              </p:cNvPr>
              <p:cNvCxnSpPr>
                <a:cxnSpLocks/>
              </p:cNvCxnSpPr>
              <p:nvPr/>
            </p:nvCxnSpPr>
            <p:spPr>
              <a:xfrm>
                <a:off x="3601106" y="1863496"/>
                <a:ext cx="294917" cy="308294"/>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208" name="Straight Connector 1207">
                <a:extLst>
                  <a:ext uri="{FF2B5EF4-FFF2-40B4-BE49-F238E27FC236}">
                    <a16:creationId xmlns:a16="http://schemas.microsoft.com/office/drawing/2014/main" id="{81379A22-251D-41D9-85CB-4FFD09F7EAA3}"/>
                  </a:ext>
                </a:extLst>
              </p:cNvPr>
              <p:cNvCxnSpPr>
                <a:cxnSpLocks/>
              </p:cNvCxnSpPr>
              <p:nvPr/>
            </p:nvCxnSpPr>
            <p:spPr>
              <a:xfrm>
                <a:off x="3128937" y="2669454"/>
                <a:ext cx="3916223" cy="0"/>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209" name="Straight Connector 1208">
                <a:extLst>
                  <a:ext uri="{FF2B5EF4-FFF2-40B4-BE49-F238E27FC236}">
                    <a16:creationId xmlns:a16="http://schemas.microsoft.com/office/drawing/2014/main" id="{95144432-D147-41C9-A57F-C9C7A03516E3}"/>
                  </a:ext>
                </a:extLst>
              </p:cNvPr>
              <p:cNvCxnSpPr>
                <a:cxnSpLocks/>
              </p:cNvCxnSpPr>
              <p:nvPr/>
            </p:nvCxnSpPr>
            <p:spPr>
              <a:xfrm>
                <a:off x="5117710" y="3252958"/>
                <a:ext cx="234229" cy="157829"/>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sp>
            <p:nvSpPr>
              <p:cNvPr id="1210" name="Oval 1209">
                <a:extLst>
                  <a:ext uri="{FF2B5EF4-FFF2-40B4-BE49-F238E27FC236}">
                    <a16:creationId xmlns:a16="http://schemas.microsoft.com/office/drawing/2014/main" id="{8FA7F9AA-E6CB-4858-A702-F346A92E71C0}"/>
                  </a:ext>
                </a:extLst>
              </p:cNvPr>
              <p:cNvSpPr/>
              <p:nvPr/>
            </p:nvSpPr>
            <p:spPr>
              <a:xfrm>
                <a:off x="3640021" y="1803844"/>
                <a:ext cx="1731220" cy="1731220"/>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11" name="Oval 1210">
                <a:extLst>
                  <a:ext uri="{FF2B5EF4-FFF2-40B4-BE49-F238E27FC236}">
                    <a16:creationId xmlns:a16="http://schemas.microsoft.com/office/drawing/2014/main" id="{E524BEFC-375F-4A14-BFE5-4CC5FB373CB2}"/>
                  </a:ext>
                </a:extLst>
              </p:cNvPr>
              <p:cNvSpPr/>
              <p:nvPr/>
            </p:nvSpPr>
            <p:spPr>
              <a:xfrm>
                <a:off x="6857723" y="1803844"/>
                <a:ext cx="1731220" cy="1731220"/>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pic>
            <p:nvPicPr>
              <p:cNvPr id="1212" name="Picture 1211">
                <a:extLst>
                  <a:ext uri="{FF2B5EF4-FFF2-40B4-BE49-F238E27FC236}">
                    <a16:creationId xmlns:a16="http://schemas.microsoft.com/office/drawing/2014/main" id="{BD324322-0FF3-4A7C-B47F-91EAECD19664}"/>
                  </a:ext>
                </a:extLst>
              </p:cNvPr>
              <p:cNvPicPr>
                <a:picLocks noChangeAspect="1"/>
              </p:cNvPicPr>
              <p:nvPr/>
            </p:nvPicPr>
            <p:blipFill>
              <a:blip r:embed="rId40" cstate="print">
                <a:extLst>
                  <a:ext uri="{28A0092B-C50C-407E-A947-70E740481C1C}">
                    <a14:useLocalDpi xmlns:a14="http://schemas.microsoft.com/office/drawing/2010/main"/>
                  </a:ext>
                </a:extLst>
              </a:blip>
              <a:stretch>
                <a:fillRect/>
              </a:stretch>
            </p:blipFill>
            <p:spPr>
              <a:xfrm>
                <a:off x="7530993" y="1633449"/>
                <a:ext cx="429820" cy="429820"/>
              </a:xfrm>
              <a:prstGeom prst="rect">
                <a:avLst/>
              </a:prstGeom>
            </p:spPr>
          </p:pic>
          <p:cxnSp>
            <p:nvCxnSpPr>
              <p:cNvPr id="1213" name="Straight Connector 1212">
                <a:extLst>
                  <a:ext uri="{FF2B5EF4-FFF2-40B4-BE49-F238E27FC236}">
                    <a16:creationId xmlns:a16="http://schemas.microsoft.com/office/drawing/2014/main" id="{39F2B513-8195-4CCD-863A-4BB0644BA0DE}"/>
                  </a:ext>
                </a:extLst>
              </p:cNvPr>
              <p:cNvCxnSpPr>
                <a:cxnSpLocks/>
              </p:cNvCxnSpPr>
              <p:nvPr>
                <p:custDataLst>
                  <p:tags r:id="rId5"/>
                </p:custDataLst>
              </p:nvPr>
            </p:nvCxnSpPr>
            <p:spPr>
              <a:xfrm>
                <a:off x="4885101" y="2668784"/>
                <a:ext cx="2461064" cy="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14" name="Straight Connector 1213">
                <a:extLst>
                  <a:ext uri="{FF2B5EF4-FFF2-40B4-BE49-F238E27FC236}">
                    <a16:creationId xmlns:a16="http://schemas.microsoft.com/office/drawing/2014/main" id="{8C78A0D0-F6DB-4BD7-A3B7-FC7B595AFDB3}"/>
                  </a:ext>
                </a:extLst>
              </p:cNvPr>
              <p:cNvCxnSpPr>
                <a:cxnSpLocks/>
              </p:cNvCxnSpPr>
              <p:nvPr/>
            </p:nvCxnSpPr>
            <p:spPr>
              <a:xfrm>
                <a:off x="3187957" y="2668784"/>
                <a:ext cx="929320" cy="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1215" name="Oval 1214">
                <a:extLst>
                  <a:ext uri="{FF2B5EF4-FFF2-40B4-BE49-F238E27FC236}">
                    <a16:creationId xmlns:a16="http://schemas.microsoft.com/office/drawing/2014/main" id="{F9196E2A-F4A4-49DD-8C2E-17A96EEAF0A1}"/>
                  </a:ext>
                </a:extLst>
              </p:cNvPr>
              <p:cNvSpPr/>
              <p:nvPr>
                <p:custDataLst>
                  <p:tags r:id="rId6"/>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16" name="Oval 1215">
                <a:extLst>
                  <a:ext uri="{FF2B5EF4-FFF2-40B4-BE49-F238E27FC236}">
                    <a16:creationId xmlns:a16="http://schemas.microsoft.com/office/drawing/2014/main" id="{7FDDDD82-A91F-45B2-AF8C-45F0ECEF68C8}"/>
                  </a:ext>
                </a:extLst>
              </p:cNvPr>
              <p:cNvSpPr/>
              <p:nvPr>
                <p:custDataLst>
                  <p:tags r:id="rId7"/>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77" name="Oval 1276">
                <a:extLst>
                  <a:ext uri="{FF2B5EF4-FFF2-40B4-BE49-F238E27FC236}">
                    <a16:creationId xmlns:a16="http://schemas.microsoft.com/office/drawing/2014/main" id="{A22CF8F2-8939-486B-BADC-107BAE81C689}"/>
                  </a:ext>
                </a:extLst>
              </p:cNvPr>
              <p:cNvSpPr/>
              <p:nvPr>
                <p:custDataLst>
                  <p:tags r:id="rId8"/>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78" name="Oval 1277">
                <a:extLst>
                  <a:ext uri="{FF2B5EF4-FFF2-40B4-BE49-F238E27FC236}">
                    <a16:creationId xmlns:a16="http://schemas.microsoft.com/office/drawing/2014/main" id="{71AE581B-3DDE-4B97-92AF-CDAC0C6D6009}"/>
                  </a:ext>
                </a:extLst>
              </p:cNvPr>
              <p:cNvSpPr/>
              <p:nvPr>
                <p:custDataLst>
                  <p:tags r:id="rId9"/>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79" name="Oval 1278">
                <a:extLst>
                  <a:ext uri="{FF2B5EF4-FFF2-40B4-BE49-F238E27FC236}">
                    <a16:creationId xmlns:a16="http://schemas.microsoft.com/office/drawing/2014/main" id="{223DA19A-4DA1-4D23-88DD-E4972A70F1CD}"/>
                  </a:ext>
                </a:extLst>
              </p:cNvPr>
              <p:cNvSpPr/>
              <p:nvPr>
                <p:custDataLst>
                  <p:tags r:id="rId10"/>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80" name="Oval 1279">
                <a:extLst>
                  <a:ext uri="{FF2B5EF4-FFF2-40B4-BE49-F238E27FC236}">
                    <a16:creationId xmlns:a16="http://schemas.microsoft.com/office/drawing/2014/main" id="{CFC46744-79E9-43FC-968F-783805BAF760}"/>
                  </a:ext>
                </a:extLst>
              </p:cNvPr>
              <p:cNvSpPr/>
              <p:nvPr>
                <p:custDataLst>
                  <p:tags r:id="rId11"/>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81" name="Oval 1280">
                <a:extLst>
                  <a:ext uri="{FF2B5EF4-FFF2-40B4-BE49-F238E27FC236}">
                    <a16:creationId xmlns:a16="http://schemas.microsoft.com/office/drawing/2014/main" id="{9B68D12F-B6A1-43F7-B287-FC4F69916B66}"/>
                  </a:ext>
                </a:extLst>
              </p:cNvPr>
              <p:cNvSpPr/>
              <p:nvPr>
                <p:custDataLst>
                  <p:tags r:id="rId12"/>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82" name="Oval 1281">
                <a:extLst>
                  <a:ext uri="{FF2B5EF4-FFF2-40B4-BE49-F238E27FC236}">
                    <a16:creationId xmlns:a16="http://schemas.microsoft.com/office/drawing/2014/main" id="{49C8E195-D694-4483-8A97-39BE27BD971F}"/>
                  </a:ext>
                </a:extLst>
              </p:cNvPr>
              <p:cNvSpPr/>
              <p:nvPr>
                <p:custDataLst>
                  <p:tags r:id="rId13"/>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83" name="Oval 1282">
                <a:extLst>
                  <a:ext uri="{FF2B5EF4-FFF2-40B4-BE49-F238E27FC236}">
                    <a16:creationId xmlns:a16="http://schemas.microsoft.com/office/drawing/2014/main" id="{B1123C62-F222-4940-9581-2B5939C680CA}"/>
                  </a:ext>
                </a:extLst>
              </p:cNvPr>
              <p:cNvSpPr/>
              <p:nvPr>
                <p:custDataLst>
                  <p:tags r:id="rId14"/>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84" name="Oval 1283">
                <a:extLst>
                  <a:ext uri="{FF2B5EF4-FFF2-40B4-BE49-F238E27FC236}">
                    <a16:creationId xmlns:a16="http://schemas.microsoft.com/office/drawing/2014/main" id="{E0C40742-B1D0-4B5F-8A41-F7A8FFDBCAD6}"/>
                  </a:ext>
                </a:extLst>
              </p:cNvPr>
              <p:cNvSpPr/>
              <p:nvPr>
                <p:custDataLst>
                  <p:tags r:id="rId15"/>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85" name="Oval 1284">
                <a:extLst>
                  <a:ext uri="{FF2B5EF4-FFF2-40B4-BE49-F238E27FC236}">
                    <a16:creationId xmlns:a16="http://schemas.microsoft.com/office/drawing/2014/main" id="{C75D394A-B97B-4081-B59B-3AE12E822E6C}"/>
                  </a:ext>
                </a:extLst>
              </p:cNvPr>
              <p:cNvSpPr/>
              <p:nvPr>
                <p:custDataLst>
                  <p:tags r:id="rId16"/>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86" name="Oval 1285">
                <a:extLst>
                  <a:ext uri="{FF2B5EF4-FFF2-40B4-BE49-F238E27FC236}">
                    <a16:creationId xmlns:a16="http://schemas.microsoft.com/office/drawing/2014/main" id="{9ACF186E-C31F-4912-9F26-A9438D5A937B}"/>
                  </a:ext>
                </a:extLst>
              </p:cNvPr>
              <p:cNvSpPr/>
              <p:nvPr>
                <p:custDataLst>
                  <p:tags r:id="rId17"/>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87" name="Oval 1286">
                <a:extLst>
                  <a:ext uri="{FF2B5EF4-FFF2-40B4-BE49-F238E27FC236}">
                    <a16:creationId xmlns:a16="http://schemas.microsoft.com/office/drawing/2014/main" id="{2B41C143-6824-401F-AAA4-32FC362C8581}"/>
                  </a:ext>
                </a:extLst>
              </p:cNvPr>
              <p:cNvSpPr/>
              <p:nvPr>
                <p:custDataLst>
                  <p:tags r:id="rId18"/>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88" name="Oval 1287">
                <a:extLst>
                  <a:ext uri="{FF2B5EF4-FFF2-40B4-BE49-F238E27FC236}">
                    <a16:creationId xmlns:a16="http://schemas.microsoft.com/office/drawing/2014/main" id="{F0C8A87E-57E1-41CA-AE0F-3A60F5FBC70B}"/>
                  </a:ext>
                </a:extLst>
              </p:cNvPr>
              <p:cNvSpPr/>
              <p:nvPr>
                <p:custDataLst>
                  <p:tags r:id="rId19"/>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89" name="Oval 1288">
                <a:extLst>
                  <a:ext uri="{FF2B5EF4-FFF2-40B4-BE49-F238E27FC236}">
                    <a16:creationId xmlns:a16="http://schemas.microsoft.com/office/drawing/2014/main" id="{6519F9F4-D899-455F-AE5B-ED0788BE2786}"/>
                  </a:ext>
                </a:extLst>
              </p:cNvPr>
              <p:cNvSpPr/>
              <p:nvPr/>
            </p:nvSpPr>
            <p:spPr>
              <a:xfrm>
                <a:off x="3283140" y="2649515"/>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90" name="Oval 1289">
                <a:extLst>
                  <a:ext uri="{FF2B5EF4-FFF2-40B4-BE49-F238E27FC236}">
                    <a16:creationId xmlns:a16="http://schemas.microsoft.com/office/drawing/2014/main" id="{4D2277E2-0D97-4C7D-9508-828FC558B136}"/>
                  </a:ext>
                </a:extLst>
              </p:cNvPr>
              <p:cNvSpPr/>
              <p:nvPr/>
            </p:nvSpPr>
            <p:spPr>
              <a:xfrm>
                <a:off x="3283140" y="2649515"/>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cxnSp>
            <p:nvCxnSpPr>
              <p:cNvPr id="1291" name="Connector: Elbow 1290">
                <a:extLst>
                  <a:ext uri="{FF2B5EF4-FFF2-40B4-BE49-F238E27FC236}">
                    <a16:creationId xmlns:a16="http://schemas.microsoft.com/office/drawing/2014/main" id="{7F70F8AF-328B-4C0C-80DD-E6D42F545D73}"/>
                  </a:ext>
                </a:extLst>
              </p:cNvPr>
              <p:cNvCxnSpPr>
                <a:cxnSpLocks/>
              </p:cNvCxnSpPr>
              <p:nvPr/>
            </p:nvCxnSpPr>
            <p:spPr>
              <a:xfrm rot="5400000">
                <a:off x="7277507"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92" name="Connector: Elbow 1291">
                <a:extLst>
                  <a:ext uri="{FF2B5EF4-FFF2-40B4-BE49-F238E27FC236}">
                    <a16:creationId xmlns:a16="http://schemas.microsoft.com/office/drawing/2014/main" id="{CA916330-F329-4F3C-80F7-E197DF91EB01}"/>
                  </a:ext>
                </a:extLst>
              </p:cNvPr>
              <p:cNvCxnSpPr>
                <a:cxnSpLocks/>
              </p:cNvCxnSpPr>
              <p:nvPr/>
            </p:nvCxnSpPr>
            <p:spPr>
              <a:xfrm rot="16200000" flipV="1">
                <a:off x="7277507" y="274341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94" name="Straight Connector 1293">
                <a:extLst>
                  <a:ext uri="{FF2B5EF4-FFF2-40B4-BE49-F238E27FC236}">
                    <a16:creationId xmlns:a16="http://schemas.microsoft.com/office/drawing/2014/main" id="{778CC44C-EC07-4D2F-9864-640DDC001746}"/>
                  </a:ext>
                </a:extLst>
              </p:cNvPr>
              <p:cNvCxnSpPr>
                <a:cxnSpLocks/>
              </p:cNvCxnSpPr>
              <p:nvPr/>
            </p:nvCxnSpPr>
            <p:spPr>
              <a:xfrm>
                <a:off x="4330103"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95" name="Straight Connector 1294">
                <a:extLst>
                  <a:ext uri="{FF2B5EF4-FFF2-40B4-BE49-F238E27FC236}">
                    <a16:creationId xmlns:a16="http://schemas.microsoft.com/office/drawing/2014/main" id="{E97436A4-5231-408B-B41F-A27A08BB11B5}"/>
                  </a:ext>
                </a:extLst>
              </p:cNvPr>
              <p:cNvCxnSpPr>
                <a:cxnSpLocks/>
              </p:cNvCxnSpPr>
              <p:nvPr/>
            </p:nvCxnSpPr>
            <p:spPr>
              <a:xfrm>
                <a:off x="4489647"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96" name="Straight Connector 1295">
                <a:extLst>
                  <a:ext uri="{FF2B5EF4-FFF2-40B4-BE49-F238E27FC236}">
                    <a16:creationId xmlns:a16="http://schemas.microsoft.com/office/drawing/2014/main" id="{DAAAEA02-E2AD-4A6A-8138-265C47BA3C2A}"/>
                  </a:ext>
                </a:extLst>
              </p:cNvPr>
              <p:cNvCxnSpPr>
                <a:cxnSpLocks/>
              </p:cNvCxnSpPr>
              <p:nvPr/>
            </p:nvCxnSpPr>
            <p:spPr>
              <a:xfrm>
                <a:off x="4649191"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1297" name="yellow 1">
                <a:extLst>
                  <a:ext uri="{FF2B5EF4-FFF2-40B4-BE49-F238E27FC236}">
                    <a16:creationId xmlns:a16="http://schemas.microsoft.com/office/drawing/2014/main" id="{32B106CB-6EF3-4852-8A97-39B554BBBBDB}"/>
                  </a:ext>
                </a:extLst>
              </p:cNvPr>
              <p:cNvSpPr/>
              <p:nvPr>
                <p:custDataLst>
                  <p:tags r:id="rId20"/>
                </p:custDataLst>
              </p:nvPr>
            </p:nvSpPr>
            <p:spPr>
              <a:xfrm>
                <a:off x="4314498" y="2824055"/>
                <a:ext cx="45719" cy="45719"/>
              </a:xfrm>
              <a:prstGeom prst="ellipse">
                <a:avLst/>
              </a:prstGeom>
              <a:solidFill>
                <a:schemeClr val="accent5">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98" name="blue 1">
                <a:extLst>
                  <a:ext uri="{FF2B5EF4-FFF2-40B4-BE49-F238E27FC236}">
                    <a16:creationId xmlns:a16="http://schemas.microsoft.com/office/drawing/2014/main" id="{810F465B-14DD-4817-AF53-AD9FE3E2CD4D}"/>
                  </a:ext>
                </a:extLst>
              </p:cNvPr>
              <p:cNvSpPr/>
              <p:nvPr>
                <p:custDataLst>
                  <p:tags r:id="rId21"/>
                </p:custDataLst>
              </p:nvPr>
            </p:nvSpPr>
            <p:spPr>
              <a:xfrm>
                <a:off x="4314080" y="2821659"/>
                <a:ext cx="45719" cy="45719"/>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99" name="green 1">
                <a:extLst>
                  <a:ext uri="{FF2B5EF4-FFF2-40B4-BE49-F238E27FC236}">
                    <a16:creationId xmlns:a16="http://schemas.microsoft.com/office/drawing/2014/main" id="{DF1C2D1F-B3F6-401A-AFCF-32A0DAC3FCB0}"/>
                  </a:ext>
                </a:extLst>
              </p:cNvPr>
              <p:cNvSpPr/>
              <p:nvPr>
                <p:custDataLst>
                  <p:tags r:id="rId22"/>
                </p:custDataLst>
              </p:nvPr>
            </p:nvSpPr>
            <p:spPr>
              <a:xfrm>
                <a:off x="4314076" y="2824039"/>
                <a:ext cx="45719" cy="45719"/>
              </a:xfrm>
              <a:prstGeom prst="ellips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00" name="green 2">
                <a:extLst>
                  <a:ext uri="{FF2B5EF4-FFF2-40B4-BE49-F238E27FC236}">
                    <a16:creationId xmlns:a16="http://schemas.microsoft.com/office/drawing/2014/main" id="{88427C29-B587-4DF8-BB0E-3DE4118ECB08}"/>
                  </a:ext>
                </a:extLst>
              </p:cNvPr>
              <p:cNvSpPr/>
              <p:nvPr>
                <p:custDataLst>
                  <p:tags r:id="rId23"/>
                </p:custDataLst>
              </p:nvPr>
            </p:nvSpPr>
            <p:spPr>
              <a:xfrm>
                <a:off x="4466898" y="2818926"/>
                <a:ext cx="45719" cy="45719"/>
              </a:xfrm>
              <a:prstGeom prst="ellips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01" name="yellow 2">
                <a:extLst>
                  <a:ext uri="{FF2B5EF4-FFF2-40B4-BE49-F238E27FC236}">
                    <a16:creationId xmlns:a16="http://schemas.microsoft.com/office/drawing/2014/main" id="{03FACA18-FCE4-4B5A-AA63-8F1E34A58C45}"/>
                  </a:ext>
                </a:extLst>
              </p:cNvPr>
              <p:cNvSpPr/>
              <p:nvPr>
                <p:custDataLst>
                  <p:tags r:id="rId24"/>
                </p:custDataLst>
              </p:nvPr>
            </p:nvSpPr>
            <p:spPr>
              <a:xfrm>
                <a:off x="4468906" y="2824039"/>
                <a:ext cx="45719" cy="45719"/>
              </a:xfrm>
              <a:prstGeom prst="ellipse">
                <a:avLst/>
              </a:prstGeom>
              <a:solidFill>
                <a:schemeClr val="accent5">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02" name="blue 2">
                <a:extLst>
                  <a:ext uri="{FF2B5EF4-FFF2-40B4-BE49-F238E27FC236}">
                    <a16:creationId xmlns:a16="http://schemas.microsoft.com/office/drawing/2014/main" id="{516554AD-5800-49B5-9A34-B20417659CC6}"/>
                  </a:ext>
                </a:extLst>
              </p:cNvPr>
              <p:cNvSpPr/>
              <p:nvPr>
                <p:custDataLst>
                  <p:tags r:id="rId25"/>
                </p:custDataLst>
              </p:nvPr>
            </p:nvSpPr>
            <p:spPr>
              <a:xfrm>
                <a:off x="4463564" y="2824039"/>
                <a:ext cx="45719" cy="45719"/>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03" name="yellow 3">
                <a:extLst>
                  <a:ext uri="{FF2B5EF4-FFF2-40B4-BE49-F238E27FC236}">
                    <a16:creationId xmlns:a16="http://schemas.microsoft.com/office/drawing/2014/main" id="{FA0A3EF3-A361-40DE-8463-B284880F682D}"/>
                  </a:ext>
                </a:extLst>
              </p:cNvPr>
              <p:cNvSpPr/>
              <p:nvPr>
                <p:custDataLst>
                  <p:tags r:id="rId26"/>
                </p:custDataLst>
              </p:nvPr>
            </p:nvSpPr>
            <p:spPr>
              <a:xfrm>
                <a:off x="4632797" y="2818926"/>
                <a:ext cx="45719" cy="45719"/>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04" name="green 3">
                <a:extLst>
                  <a:ext uri="{FF2B5EF4-FFF2-40B4-BE49-F238E27FC236}">
                    <a16:creationId xmlns:a16="http://schemas.microsoft.com/office/drawing/2014/main" id="{3F853937-56E9-46A7-84D4-09951C4A178B}"/>
                  </a:ext>
                </a:extLst>
              </p:cNvPr>
              <p:cNvSpPr/>
              <p:nvPr>
                <p:custDataLst>
                  <p:tags r:id="rId27"/>
                </p:custDataLst>
              </p:nvPr>
            </p:nvSpPr>
            <p:spPr>
              <a:xfrm>
                <a:off x="4632797" y="2818926"/>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09" name="blue 3">
                <a:extLst>
                  <a:ext uri="{FF2B5EF4-FFF2-40B4-BE49-F238E27FC236}">
                    <a16:creationId xmlns:a16="http://schemas.microsoft.com/office/drawing/2014/main" id="{8EDD1B71-CAC4-40E9-ABF3-8B62F11B008C}"/>
                  </a:ext>
                </a:extLst>
              </p:cNvPr>
              <p:cNvSpPr/>
              <p:nvPr>
                <p:custDataLst>
                  <p:tags r:id="rId28"/>
                </p:custDataLst>
              </p:nvPr>
            </p:nvSpPr>
            <p:spPr>
              <a:xfrm>
                <a:off x="4632810" y="2821315"/>
                <a:ext cx="45719" cy="4571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311" name="Group 1310">
                <a:extLst>
                  <a:ext uri="{FF2B5EF4-FFF2-40B4-BE49-F238E27FC236}">
                    <a16:creationId xmlns:a16="http://schemas.microsoft.com/office/drawing/2014/main" id="{DE364999-C8FB-43A4-A108-978340342349}"/>
                  </a:ext>
                </a:extLst>
              </p:cNvPr>
              <p:cNvGrpSpPr/>
              <p:nvPr/>
            </p:nvGrpSpPr>
            <p:grpSpPr>
              <a:xfrm>
                <a:off x="4259919" y="2214899"/>
                <a:ext cx="465186" cy="337180"/>
                <a:chOff x="4207537" y="2273730"/>
                <a:chExt cx="598923" cy="434116"/>
              </a:xfrm>
            </p:grpSpPr>
            <p:grpSp>
              <p:nvGrpSpPr>
                <p:cNvPr id="1394" name="Group 1393">
                  <a:extLst>
                    <a:ext uri="{FF2B5EF4-FFF2-40B4-BE49-F238E27FC236}">
                      <a16:creationId xmlns:a16="http://schemas.microsoft.com/office/drawing/2014/main" id="{9242A5F8-BBAD-4DB8-9B2C-48325D520462}"/>
                    </a:ext>
                  </a:extLst>
                </p:cNvPr>
                <p:cNvGrpSpPr/>
                <p:nvPr/>
              </p:nvGrpSpPr>
              <p:grpSpPr>
                <a:xfrm>
                  <a:off x="4207537" y="2273730"/>
                  <a:ext cx="179387" cy="434116"/>
                  <a:chOff x="2330274" y="3840316"/>
                  <a:chExt cx="238125" cy="576262"/>
                </a:xfrm>
              </p:grpSpPr>
              <p:sp>
                <p:nvSpPr>
                  <p:cNvPr id="1409" name="Freeform 201">
                    <a:extLst>
                      <a:ext uri="{FF2B5EF4-FFF2-40B4-BE49-F238E27FC236}">
                        <a16:creationId xmlns:a16="http://schemas.microsoft.com/office/drawing/2014/main" id="{CEE34CDD-FC21-43E4-8760-C9C81179716C}"/>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10" name="Line 202">
                    <a:extLst>
                      <a:ext uri="{FF2B5EF4-FFF2-40B4-BE49-F238E27FC236}">
                        <a16:creationId xmlns:a16="http://schemas.microsoft.com/office/drawing/2014/main" id="{64C30C1B-1B97-4E2C-8892-C6AFDEF8D1CE}"/>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11" name="Line 203">
                    <a:extLst>
                      <a:ext uri="{FF2B5EF4-FFF2-40B4-BE49-F238E27FC236}">
                        <a16:creationId xmlns:a16="http://schemas.microsoft.com/office/drawing/2014/main" id="{D0E38CF8-E983-4C37-B1DD-65B960B10A40}"/>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12" name="Line 204">
                    <a:extLst>
                      <a:ext uri="{FF2B5EF4-FFF2-40B4-BE49-F238E27FC236}">
                        <a16:creationId xmlns:a16="http://schemas.microsoft.com/office/drawing/2014/main" id="{EB766D14-ED69-4B0B-ABEA-25378B967041}"/>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13" name="Line 205">
                    <a:extLst>
                      <a:ext uri="{FF2B5EF4-FFF2-40B4-BE49-F238E27FC236}">
                        <a16:creationId xmlns:a16="http://schemas.microsoft.com/office/drawing/2014/main" id="{82210BC0-5731-47EA-B26F-3804DE485F35}"/>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14" name="Line 206">
                    <a:extLst>
                      <a:ext uri="{FF2B5EF4-FFF2-40B4-BE49-F238E27FC236}">
                        <a16:creationId xmlns:a16="http://schemas.microsoft.com/office/drawing/2014/main" id="{85805709-42B9-4FB4-BC16-ED6C7DB3EB8D}"/>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395" name="Group 1394">
                  <a:extLst>
                    <a:ext uri="{FF2B5EF4-FFF2-40B4-BE49-F238E27FC236}">
                      <a16:creationId xmlns:a16="http://schemas.microsoft.com/office/drawing/2014/main" id="{FEB299D6-AD03-4659-A877-2EB2D5A3D57E}"/>
                    </a:ext>
                  </a:extLst>
                </p:cNvPr>
                <p:cNvGrpSpPr/>
                <p:nvPr/>
              </p:nvGrpSpPr>
              <p:grpSpPr>
                <a:xfrm>
                  <a:off x="4417305" y="2273730"/>
                  <a:ext cx="179387" cy="434116"/>
                  <a:chOff x="2330274" y="3840316"/>
                  <a:chExt cx="238125" cy="576262"/>
                </a:xfrm>
              </p:grpSpPr>
              <p:sp>
                <p:nvSpPr>
                  <p:cNvPr id="1403" name="Freeform 201">
                    <a:extLst>
                      <a:ext uri="{FF2B5EF4-FFF2-40B4-BE49-F238E27FC236}">
                        <a16:creationId xmlns:a16="http://schemas.microsoft.com/office/drawing/2014/main" id="{3C76D315-910C-4E8B-B663-DB5B6AC6919F}"/>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04" name="Line 202">
                    <a:extLst>
                      <a:ext uri="{FF2B5EF4-FFF2-40B4-BE49-F238E27FC236}">
                        <a16:creationId xmlns:a16="http://schemas.microsoft.com/office/drawing/2014/main" id="{EFA20F39-0C57-4C3D-837F-82CC59EAE9D4}"/>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05" name="Line 203">
                    <a:extLst>
                      <a:ext uri="{FF2B5EF4-FFF2-40B4-BE49-F238E27FC236}">
                        <a16:creationId xmlns:a16="http://schemas.microsoft.com/office/drawing/2014/main" id="{708481A0-D13E-4B7C-A04A-F52BE0F05E2B}"/>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06" name="Line 204">
                    <a:extLst>
                      <a:ext uri="{FF2B5EF4-FFF2-40B4-BE49-F238E27FC236}">
                        <a16:creationId xmlns:a16="http://schemas.microsoft.com/office/drawing/2014/main" id="{7E0016C4-F4EE-4D2F-B48E-3D36C953D28C}"/>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07" name="Line 205">
                    <a:extLst>
                      <a:ext uri="{FF2B5EF4-FFF2-40B4-BE49-F238E27FC236}">
                        <a16:creationId xmlns:a16="http://schemas.microsoft.com/office/drawing/2014/main" id="{748B6E32-5BB0-4F38-B3FA-E2D999995DF4}"/>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08" name="Line 206">
                    <a:extLst>
                      <a:ext uri="{FF2B5EF4-FFF2-40B4-BE49-F238E27FC236}">
                        <a16:creationId xmlns:a16="http://schemas.microsoft.com/office/drawing/2014/main" id="{2C268E1A-8DF8-4A0E-9754-98BACC3F74C4}"/>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396" name="Group 1395">
                  <a:extLst>
                    <a:ext uri="{FF2B5EF4-FFF2-40B4-BE49-F238E27FC236}">
                      <a16:creationId xmlns:a16="http://schemas.microsoft.com/office/drawing/2014/main" id="{BC25803A-A2A7-457E-B9F2-93E5BA6D7CDA}"/>
                    </a:ext>
                  </a:extLst>
                </p:cNvPr>
                <p:cNvGrpSpPr/>
                <p:nvPr/>
              </p:nvGrpSpPr>
              <p:grpSpPr>
                <a:xfrm>
                  <a:off x="4627073" y="2273730"/>
                  <a:ext cx="179387" cy="434116"/>
                  <a:chOff x="2330274" y="3840316"/>
                  <a:chExt cx="238125" cy="576262"/>
                </a:xfrm>
              </p:grpSpPr>
              <p:sp>
                <p:nvSpPr>
                  <p:cNvPr id="1397" name="Freeform 201">
                    <a:extLst>
                      <a:ext uri="{FF2B5EF4-FFF2-40B4-BE49-F238E27FC236}">
                        <a16:creationId xmlns:a16="http://schemas.microsoft.com/office/drawing/2014/main" id="{DA2C08AB-4D68-425F-B7B2-6447EDC9B5EC}"/>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98" name="Line 202">
                    <a:extLst>
                      <a:ext uri="{FF2B5EF4-FFF2-40B4-BE49-F238E27FC236}">
                        <a16:creationId xmlns:a16="http://schemas.microsoft.com/office/drawing/2014/main" id="{D9D15C0A-05A9-4E02-A121-493D26220D93}"/>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99" name="Line 203">
                    <a:extLst>
                      <a:ext uri="{FF2B5EF4-FFF2-40B4-BE49-F238E27FC236}">
                        <a16:creationId xmlns:a16="http://schemas.microsoft.com/office/drawing/2014/main" id="{89EC991A-08E6-46D3-A5B7-8C7FA4CF712D}"/>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00" name="Line 204">
                    <a:extLst>
                      <a:ext uri="{FF2B5EF4-FFF2-40B4-BE49-F238E27FC236}">
                        <a16:creationId xmlns:a16="http://schemas.microsoft.com/office/drawing/2014/main" id="{ECEB4E01-1B45-4441-B000-80C45262AC90}"/>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01" name="Line 205">
                    <a:extLst>
                      <a:ext uri="{FF2B5EF4-FFF2-40B4-BE49-F238E27FC236}">
                        <a16:creationId xmlns:a16="http://schemas.microsoft.com/office/drawing/2014/main" id="{DE94E04B-F6DF-44A6-BDD9-E985BC956D6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02" name="Line 206">
                    <a:extLst>
                      <a:ext uri="{FF2B5EF4-FFF2-40B4-BE49-F238E27FC236}">
                        <a16:creationId xmlns:a16="http://schemas.microsoft.com/office/drawing/2014/main" id="{C8EC96EB-2390-4B7D-BD2E-0EBAE7C800A1}"/>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nvGrpSpPr>
              <p:cNvPr id="1312" name="Group 1311">
                <a:extLst>
                  <a:ext uri="{FF2B5EF4-FFF2-40B4-BE49-F238E27FC236}">
                    <a16:creationId xmlns:a16="http://schemas.microsoft.com/office/drawing/2014/main" id="{8EABE637-4B4F-49D9-9617-113A1E5C43B4}"/>
                  </a:ext>
                </a:extLst>
              </p:cNvPr>
              <p:cNvGrpSpPr/>
              <p:nvPr/>
            </p:nvGrpSpPr>
            <p:grpSpPr>
              <a:xfrm>
                <a:off x="4259919" y="2780652"/>
                <a:ext cx="465186" cy="337180"/>
                <a:chOff x="4207537" y="2273730"/>
                <a:chExt cx="598923" cy="434116"/>
              </a:xfrm>
            </p:grpSpPr>
            <p:grpSp>
              <p:nvGrpSpPr>
                <p:cNvPr id="1373" name="Group 1372">
                  <a:extLst>
                    <a:ext uri="{FF2B5EF4-FFF2-40B4-BE49-F238E27FC236}">
                      <a16:creationId xmlns:a16="http://schemas.microsoft.com/office/drawing/2014/main" id="{924FF9DE-B3EF-48E3-862A-CB668CCF4BFB}"/>
                    </a:ext>
                  </a:extLst>
                </p:cNvPr>
                <p:cNvGrpSpPr/>
                <p:nvPr/>
              </p:nvGrpSpPr>
              <p:grpSpPr>
                <a:xfrm>
                  <a:off x="4207537" y="2273730"/>
                  <a:ext cx="179387" cy="434116"/>
                  <a:chOff x="2330274" y="3840316"/>
                  <a:chExt cx="238125" cy="576262"/>
                </a:xfrm>
              </p:grpSpPr>
              <p:sp>
                <p:nvSpPr>
                  <p:cNvPr id="1388" name="Freeform 201">
                    <a:extLst>
                      <a:ext uri="{FF2B5EF4-FFF2-40B4-BE49-F238E27FC236}">
                        <a16:creationId xmlns:a16="http://schemas.microsoft.com/office/drawing/2014/main" id="{77802B1F-CE8F-464B-9093-75CC510487F4}"/>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89" name="Line 202">
                    <a:extLst>
                      <a:ext uri="{FF2B5EF4-FFF2-40B4-BE49-F238E27FC236}">
                        <a16:creationId xmlns:a16="http://schemas.microsoft.com/office/drawing/2014/main" id="{872A914F-D6CE-4933-8DA1-0261F8955B9E}"/>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90" name="Line 203">
                    <a:extLst>
                      <a:ext uri="{FF2B5EF4-FFF2-40B4-BE49-F238E27FC236}">
                        <a16:creationId xmlns:a16="http://schemas.microsoft.com/office/drawing/2014/main" id="{95272EDC-64CD-4F41-B959-4AC10A9F4119}"/>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91" name="Line 204">
                    <a:extLst>
                      <a:ext uri="{FF2B5EF4-FFF2-40B4-BE49-F238E27FC236}">
                        <a16:creationId xmlns:a16="http://schemas.microsoft.com/office/drawing/2014/main" id="{51C401E4-9BFB-478A-97CC-92366665AB19}"/>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92" name="Line 205">
                    <a:extLst>
                      <a:ext uri="{FF2B5EF4-FFF2-40B4-BE49-F238E27FC236}">
                        <a16:creationId xmlns:a16="http://schemas.microsoft.com/office/drawing/2014/main" id="{673ADB9B-E7C3-44A8-9347-E8F15F85B0C5}"/>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93" name="Line 206">
                    <a:extLst>
                      <a:ext uri="{FF2B5EF4-FFF2-40B4-BE49-F238E27FC236}">
                        <a16:creationId xmlns:a16="http://schemas.microsoft.com/office/drawing/2014/main" id="{5EB55E69-1D80-419D-845F-4967AA4A9341}"/>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374" name="Group 1373">
                  <a:extLst>
                    <a:ext uri="{FF2B5EF4-FFF2-40B4-BE49-F238E27FC236}">
                      <a16:creationId xmlns:a16="http://schemas.microsoft.com/office/drawing/2014/main" id="{361B940F-CBA8-43D1-B6D9-45D5BD39A771}"/>
                    </a:ext>
                  </a:extLst>
                </p:cNvPr>
                <p:cNvGrpSpPr/>
                <p:nvPr/>
              </p:nvGrpSpPr>
              <p:grpSpPr>
                <a:xfrm>
                  <a:off x="4417305" y="2273730"/>
                  <a:ext cx="179387" cy="434116"/>
                  <a:chOff x="2330274" y="3840316"/>
                  <a:chExt cx="238125" cy="576262"/>
                </a:xfrm>
              </p:grpSpPr>
              <p:sp>
                <p:nvSpPr>
                  <p:cNvPr id="1382" name="Freeform 201">
                    <a:extLst>
                      <a:ext uri="{FF2B5EF4-FFF2-40B4-BE49-F238E27FC236}">
                        <a16:creationId xmlns:a16="http://schemas.microsoft.com/office/drawing/2014/main" id="{52FD91D5-9222-4C24-A20E-93C3ECAF56E3}"/>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83" name="Line 202">
                    <a:extLst>
                      <a:ext uri="{FF2B5EF4-FFF2-40B4-BE49-F238E27FC236}">
                        <a16:creationId xmlns:a16="http://schemas.microsoft.com/office/drawing/2014/main" id="{92D1D892-4519-44F3-86F2-F6344F06C9E2}"/>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84" name="Line 203">
                    <a:extLst>
                      <a:ext uri="{FF2B5EF4-FFF2-40B4-BE49-F238E27FC236}">
                        <a16:creationId xmlns:a16="http://schemas.microsoft.com/office/drawing/2014/main" id="{9E8C2FFB-FC3F-4B92-8874-BF80C86ACD7E}"/>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85" name="Line 204">
                    <a:extLst>
                      <a:ext uri="{FF2B5EF4-FFF2-40B4-BE49-F238E27FC236}">
                        <a16:creationId xmlns:a16="http://schemas.microsoft.com/office/drawing/2014/main" id="{3CC042E0-3E10-4922-83D3-74ECAC601B8D}"/>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86" name="Line 205">
                    <a:extLst>
                      <a:ext uri="{FF2B5EF4-FFF2-40B4-BE49-F238E27FC236}">
                        <a16:creationId xmlns:a16="http://schemas.microsoft.com/office/drawing/2014/main" id="{2FD88531-6AA4-4ACE-B263-AE8E588826C7}"/>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87" name="Line 206">
                    <a:extLst>
                      <a:ext uri="{FF2B5EF4-FFF2-40B4-BE49-F238E27FC236}">
                        <a16:creationId xmlns:a16="http://schemas.microsoft.com/office/drawing/2014/main" id="{7AC6BD20-3497-46B4-B1EC-12E86453B5D3}"/>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375" name="Group 1374">
                  <a:extLst>
                    <a:ext uri="{FF2B5EF4-FFF2-40B4-BE49-F238E27FC236}">
                      <a16:creationId xmlns:a16="http://schemas.microsoft.com/office/drawing/2014/main" id="{A8584F36-CE14-4605-B685-08B96B199CA5}"/>
                    </a:ext>
                  </a:extLst>
                </p:cNvPr>
                <p:cNvGrpSpPr/>
                <p:nvPr/>
              </p:nvGrpSpPr>
              <p:grpSpPr>
                <a:xfrm>
                  <a:off x="4627073" y="2273730"/>
                  <a:ext cx="179387" cy="434116"/>
                  <a:chOff x="2330274" y="3840316"/>
                  <a:chExt cx="238125" cy="576262"/>
                </a:xfrm>
              </p:grpSpPr>
              <p:sp>
                <p:nvSpPr>
                  <p:cNvPr id="1376" name="Freeform 201">
                    <a:extLst>
                      <a:ext uri="{FF2B5EF4-FFF2-40B4-BE49-F238E27FC236}">
                        <a16:creationId xmlns:a16="http://schemas.microsoft.com/office/drawing/2014/main" id="{2634C946-0F56-4FA2-8123-F1B493290EB0}"/>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77" name="Line 202">
                    <a:extLst>
                      <a:ext uri="{FF2B5EF4-FFF2-40B4-BE49-F238E27FC236}">
                        <a16:creationId xmlns:a16="http://schemas.microsoft.com/office/drawing/2014/main" id="{D2394402-E969-464A-A52F-31E7E9EA7DE2}"/>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78" name="Line 203">
                    <a:extLst>
                      <a:ext uri="{FF2B5EF4-FFF2-40B4-BE49-F238E27FC236}">
                        <a16:creationId xmlns:a16="http://schemas.microsoft.com/office/drawing/2014/main" id="{326D55B9-D60D-4C46-A920-62A652E091B1}"/>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79" name="Line 204">
                    <a:extLst>
                      <a:ext uri="{FF2B5EF4-FFF2-40B4-BE49-F238E27FC236}">
                        <a16:creationId xmlns:a16="http://schemas.microsoft.com/office/drawing/2014/main" id="{FACDABAF-08D9-4FB0-BDD5-D3CA9715AA1A}"/>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80" name="Line 205">
                    <a:extLst>
                      <a:ext uri="{FF2B5EF4-FFF2-40B4-BE49-F238E27FC236}">
                        <a16:creationId xmlns:a16="http://schemas.microsoft.com/office/drawing/2014/main" id="{7F2887AC-8B36-4E3F-8C64-D2E63BAD261E}"/>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81" name="Line 206">
                    <a:extLst>
                      <a:ext uri="{FF2B5EF4-FFF2-40B4-BE49-F238E27FC236}">
                        <a16:creationId xmlns:a16="http://schemas.microsoft.com/office/drawing/2014/main" id="{441A9F81-B62B-47D4-967A-D124C42BEF76}"/>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cxnSp>
            <p:nvCxnSpPr>
              <p:cNvPr id="1313" name="Connector: Elbow 1312">
                <a:extLst>
                  <a:ext uri="{FF2B5EF4-FFF2-40B4-BE49-F238E27FC236}">
                    <a16:creationId xmlns:a16="http://schemas.microsoft.com/office/drawing/2014/main" id="{B796D1FC-881A-4D36-BA34-5A910E0162BD}"/>
                  </a:ext>
                </a:extLst>
              </p:cNvPr>
              <p:cNvCxnSpPr>
                <a:cxnSpLocks/>
              </p:cNvCxnSpPr>
              <p:nvPr/>
            </p:nvCxnSpPr>
            <p:spPr>
              <a:xfrm rot="5400000">
                <a:off x="4048619"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314" name="Connector: Elbow 1313">
                <a:extLst>
                  <a:ext uri="{FF2B5EF4-FFF2-40B4-BE49-F238E27FC236}">
                    <a16:creationId xmlns:a16="http://schemas.microsoft.com/office/drawing/2014/main" id="{E7BD0243-070C-4CD4-8408-FE4472A6579F}"/>
                  </a:ext>
                </a:extLst>
              </p:cNvPr>
              <p:cNvCxnSpPr>
                <a:cxnSpLocks/>
              </p:cNvCxnSpPr>
              <p:nvPr/>
            </p:nvCxnSpPr>
            <p:spPr>
              <a:xfrm rot="16200000" flipV="1">
                <a:off x="4048619" y="274341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315" name="Connector: Elbow 1314">
                <a:extLst>
                  <a:ext uri="{FF2B5EF4-FFF2-40B4-BE49-F238E27FC236}">
                    <a16:creationId xmlns:a16="http://schemas.microsoft.com/office/drawing/2014/main" id="{2FE0BFEB-B6A1-421C-86E7-778739B2A981}"/>
                  </a:ext>
                </a:extLst>
              </p:cNvPr>
              <p:cNvCxnSpPr>
                <a:cxnSpLocks/>
              </p:cNvCxnSpPr>
              <p:nvPr/>
            </p:nvCxnSpPr>
            <p:spPr>
              <a:xfrm rot="16200000" flipH="1">
                <a:off x="4673799"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316" name="Straight Connector 1315">
                <a:extLst>
                  <a:ext uri="{FF2B5EF4-FFF2-40B4-BE49-F238E27FC236}">
                    <a16:creationId xmlns:a16="http://schemas.microsoft.com/office/drawing/2014/main" id="{FDC6A948-5310-4CC0-8DFA-3786E0D2BF4B}"/>
                  </a:ext>
                </a:extLst>
              </p:cNvPr>
              <p:cNvCxnSpPr>
                <a:cxnSpLocks/>
              </p:cNvCxnSpPr>
              <p:nvPr/>
            </p:nvCxnSpPr>
            <p:spPr>
              <a:xfrm>
                <a:off x="7568603"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317" name="Straight Connector 1316">
                <a:extLst>
                  <a:ext uri="{FF2B5EF4-FFF2-40B4-BE49-F238E27FC236}">
                    <a16:creationId xmlns:a16="http://schemas.microsoft.com/office/drawing/2014/main" id="{C3AECA82-D0DF-4F4A-914A-4A41789E5647}"/>
                  </a:ext>
                </a:extLst>
              </p:cNvPr>
              <p:cNvCxnSpPr>
                <a:cxnSpLocks/>
              </p:cNvCxnSpPr>
              <p:nvPr/>
            </p:nvCxnSpPr>
            <p:spPr>
              <a:xfrm>
                <a:off x="7728147"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318" name="Straight Connector 1317">
                <a:extLst>
                  <a:ext uri="{FF2B5EF4-FFF2-40B4-BE49-F238E27FC236}">
                    <a16:creationId xmlns:a16="http://schemas.microsoft.com/office/drawing/2014/main" id="{19A4C257-5362-49FB-B444-535F5CD9A036}"/>
                  </a:ext>
                </a:extLst>
              </p:cNvPr>
              <p:cNvCxnSpPr>
                <a:cxnSpLocks/>
              </p:cNvCxnSpPr>
              <p:nvPr/>
            </p:nvCxnSpPr>
            <p:spPr>
              <a:xfrm>
                <a:off x="7887691"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1319" name="yellow 1">
                <a:extLst>
                  <a:ext uri="{FF2B5EF4-FFF2-40B4-BE49-F238E27FC236}">
                    <a16:creationId xmlns:a16="http://schemas.microsoft.com/office/drawing/2014/main" id="{39FD6921-B618-477D-ABC9-81B424E197A9}"/>
                  </a:ext>
                </a:extLst>
              </p:cNvPr>
              <p:cNvSpPr/>
              <p:nvPr>
                <p:custDataLst>
                  <p:tags r:id="rId29"/>
                </p:custDataLst>
              </p:nvPr>
            </p:nvSpPr>
            <p:spPr>
              <a:xfrm>
                <a:off x="7554418" y="2805895"/>
                <a:ext cx="45719" cy="45719"/>
              </a:xfrm>
              <a:prstGeom prst="ellipse">
                <a:avLst/>
              </a:prstGeom>
              <a:solidFill>
                <a:schemeClr val="accent5">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20" name="blue 1">
                <a:extLst>
                  <a:ext uri="{FF2B5EF4-FFF2-40B4-BE49-F238E27FC236}">
                    <a16:creationId xmlns:a16="http://schemas.microsoft.com/office/drawing/2014/main" id="{F772E08A-D230-4205-82AC-7514C47F3D1B}"/>
                  </a:ext>
                </a:extLst>
              </p:cNvPr>
              <p:cNvSpPr/>
              <p:nvPr>
                <p:custDataLst>
                  <p:tags r:id="rId30"/>
                </p:custDataLst>
              </p:nvPr>
            </p:nvSpPr>
            <p:spPr>
              <a:xfrm>
                <a:off x="7554000" y="2803499"/>
                <a:ext cx="45719" cy="45719"/>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21" name="green 1">
                <a:extLst>
                  <a:ext uri="{FF2B5EF4-FFF2-40B4-BE49-F238E27FC236}">
                    <a16:creationId xmlns:a16="http://schemas.microsoft.com/office/drawing/2014/main" id="{55BB5A97-5BFF-4476-AEFC-4874FD318CCE}"/>
                  </a:ext>
                </a:extLst>
              </p:cNvPr>
              <p:cNvSpPr/>
              <p:nvPr>
                <p:custDataLst>
                  <p:tags r:id="rId31"/>
                </p:custDataLst>
              </p:nvPr>
            </p:nvSpPr>
            <p:spPr>
              <a:xfrm>
                <a:off x="7553996" y="2805879"/>
                <a:ext cx="45719" cy="45719"/>
              </a:xfrm>
              <a:prstGeom prst="ellips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22" name="green 2">
                <a:extLst>
                  <a:ext uri="{FF2B5EF4-FFF2-40B4-BE49-F238E27FC236}">
                    <a16:creationId xmlns:a16="http://schemas.microsoft.com/office/drawing/2014/main" id="{262E9D11-047D-4588-B688-9B8314A0F41F}"/>
                  </a:ext>
                </a:extLst>
              </p:cNvPr>
              <p:cNvSpPr/>
              <p:nvPr>
                <p:custDataLst>
                  <p:tags r:id="rId32"/>
                </p:custDataLst>
              </p:nvPr>
            </p:nvSpPr>
            <p:spPr>
              <a:xfrm>
                <a:off x="7706818" y="2800766"/>
                <a:ext cx="45719" cy="45719"/>
              </a:xfrm>
              <a:prstGeom prst="ellips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23" name="yellow 2">
                <a:extLst>
                  <a:ext uri="{FF2B5EF4-FFF2-40B4-BE49-F238E27FC236}">
                    <a16:creationId xmlns:a16="http://schemas.microsoft.com/office/drawing/2014/main" id="{DDE8B42E-1023-4B06-B878-2A5863FB5F83}"/>
                  </a:ext>
                </a:extLst>
              </p:cNvPr>
              <p:cNvSpPr/>
              <p:nvPr>
                <p:custDataLst>
                  <p:tags r:id="rId33"/>
                </p:custDataLst>
              </p:nvPr>
            </p:nvSpPr>
            <p:spPr>
              <a:xfrm>
                <a:off x="7708826" y="2805879"/>
                <a:ext cx="45719" cy="45719"/>
              </a:xfrm>
              <a:prstGeom prst="ellipse">
                <a:avLst/>
              </a:prstGeom>
              <a:solidFill>
                <a:schemeClr val="accent5">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24" name="blue 2">
                <a:extLst>
                  <a:ext uri="{FF2B5EF4-FFF2-40B4-BE49-F238E27FC236}">
                    <a16:creationId xmlns:a16="http://schemas.microsoft.com/office/drawing/2014/main" id="{D2327455-43E5-4825-8CDD-C67EDAAEDA91}"/>
                  </a:ext>
                </a:extLst>
              </p:cNvPr>
              <p:cNvSpPr/>
              <p:nvPr>
                <p:custDataLst>
                  <p:tags r:id="rId34"/>
                </p:custDataLst>
              </p:nvPr>
            </p:nvSpPr>
            <p:spPr>
              <a:xfrm>
                <a:off x="7703484" y="2805879"/>
                <a:ext cx="45719" cy="45719"/>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25" name="yellow 3">
                <a:extLst>
                  <a:ext uri="{FF2B5EF4-FFF2-40B4-BE49-F238E27FC236}">
                    <a16:creationId xmlns:a16="http://schemas.microsoft.com/office/drawing/2014/main" id="{7F38B77E-4394-46D7-B0F2-2D5405669F7F}"/>
                  </a:ext>
                </a:extLst>
              </p:cNvPr>
              <p:cNvSpPr/>
              <p:nvPr>
                <p:custDataLst>
                  <p:tags r:id="rId35"/>
                </p:custDataLst>
              </p:nvPr>
            </p:nvSpPr>
            <p:spPr>
              <a:xfrm>
                <a:off x="7872717" y="2800766"/>
                <a:ext cx="45719" cy="45719"/>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26" name="green 3">
                <a:extLst>
                  <a:ext uri="{FF2B5EF4-FFF2-40B4-BE49-F238E27FC236}">
                    <a16:creationId xmlns:a16="http://schemas.microsoft.com/office/drawing/2014/main" id="{2217F4FD-75BD-4960-B351-C446539E2B5C}"/>
                  </a:ext>
                </a:extLst>
              </p:cNvPr>
              <p:cNvSpPr/>
              <p:nvPr>
                <p:custDataLst>
                  <p:tags r:id="rId36"/>
                </p:custDataLst>
              </p:nvPr>
            </p:nvSpPr>
            <p:spPr>
              <a:xfrm>
                <a:off x="7872717" y="2800766"/>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27" name="blue 3">
                <a:extLst>
                  <a:ext uri="{FF2B5EF4-FFF2-40B4-BE49-F238E27FC236}">
                    <a16:creationId xmlns:a16="http://schemas.microsoft.com/office/drawing/2014/main" id="{85E597EB-C460-42C1-BF1A-C7EF481FD1A7}"/>
                  </a:ext>
                </a:extLst>
              </p:cNvPr>
              <p:cNvSpPr/>
              <p:nvPr>
                <p:custDataLst>
                  <p:tags r:id="rId37"/>
                </p:custDataLst>
              </p:nvPr>
            </p:nvSpPr>
            <p:spPr>
              <a:xfrm>
                <a:off x="7872730" y="2803155"/>
                <a:ext cx="45719" cy="4571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328" name="Group 1327">
                <a:extLst>
                  <a:ext uri="{FF2B5EF4-FFF2-40B4-BE49-F238E27FC236}">
                    <a16:creationId xmlns:a16="http://schemas.microsoft.com/office/drawing/2014/main" id="{1429F75D-6644-4820-AEEB-0E668019992B}"/>
                  </a:ext>
                </a:extLst>
              </p:cNvPr>
              <p:cNvGrpSpPr/>
              <p:nvPr/>
            </p:nvGrpSpPr>
            <p:grpSpPr>
              <a:xfrm>
                <a:off x="7488807" y="2214899"/>
                <a:ext cx="465186" cy="337180"/>
                <a:chOff x="4207537" y="2273730"/>
                <a:chExt cx="598923" cy="434116"/>
              </a:xfrm>
            </p:grpSpPr>
            <p:grpSp>
              <p:nvGrpSpPr>
                <p:cNvPr id="1352" name="Group 1351">
                  <a:extLst>
                    <a:ext uri="{FF2B5EF4-FFF2-40B4-BE49-F238E27FC236}">
                      <a16:creationId xmlns:a16="http://schemas.microsoft.com/office/drawing/2014/main" id="{9BD5A9F7-23C0-444F-AA44-269FA55BBC05}"/>
                    </a:ext>
                  </a:extLst>
                </p:cNvPr>
                <p:cNvGrpSpPr/>
                <p:nvPr/>
              </p:nvGrpSpPr>
              <p:grpSpPr>
                <a:xfrm>
                  <a:off x="4207537" y="2273730"/>
                  <a:ext cx="179387" cy="434116"/>
                  <a:chOff x="2330274" y="3840316"/>
                  <a:chExt cx="238125" cy="576262"/>
                </a:xfrm>
              </p:grpSpPr>
              <p:sp>
                <p:nvSpPr>
                  <p:cNvPr id="1367" name="Freeform 201">
                    <a:extLst>
                      <a:ext uri="{FF2B5EF4-FFF2-40B4-BE49-F238E27FC236}">
                        <a16:creationId xmlns:a16="http://schemas.microsoft.com/office/drawing/2014/main" id="{76CDA68A-18E3-41CD-BE46-52D0A8E4932C}"/>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68" name="Line 202">
                    <a:extLst>
                      <a:ext uri="{FF2B5EF4-FFF2-40B4-BE49-F238E27FC236}">
                        <a16:creationId xmlns:a16="http://schemas.microsoft.com/office/drawing/2014/main" id="{EAB348DF-8A59-49B8-9583-FDD55CCB0C1B}"/>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69" name="Line 203">
                    <a:extLst>
                      <a:ext uri="{FF2B5EF4-FFF2-40B4-BE49-F238E27FC236}">
                        <a16:creationId xmlns:a16="http://schemas.microsoft.com/office/drawing/2014/main" id="{37F440BE-CC4B-47D8-9F51-02C1A1B8A1FA}"/>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70" name="Line 204">
                    <a:extLst>
                      <a:ext uri="{FF2B5EF4-FFF2-40B4-BE49-F238E27FC236}">
                        <a16:creationId xmlns:a16="http://schemas.microsoft.com/office/drawing/2014/main" id="{B656AE6B-90E0-4C15-9E64-D413ED97DC74}"/>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71" name="Line 205">
                    <a:extLst>
                      <a:ext uri="{FF2B5EF4-FFF2-40B4-BE49-F238E27FC236}">
                        <a16:creationId xmlns:a16="http://schemas.microsoft.com/office/drawing/2014/main" id="{3396C86F-3EDC-439B-8FFE-B6773ADBA225}"/>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72" name="Line 206">
                    <a:extLst>
                      <a:ext uri="{FF2B5EF4-FFF2-40B4-BE49-F238E27FC236}">
                        <a16:creationId xmlns:a16="http://schemas.microsoft.com/office/drawing/2014/main" id="{2B9C6EF7-278E-488F-A298-9D09E145B2BB}"/>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353" name="Group 1352">
                  <a:extLst>
                    <a:ext uri="{FF2B5EF4-FFF2-40B4-BE49-F238E27FC236}">
                      <a16:creationId xmlns:a16="http://schemas.microsoft.com/office/drawing/2014/main" id="{63AFE9C6-2198-4C89-9597-06DAB91C1E8D}"/>
                    </a:ext>
                  </a:extLst>
                </p:cNvPr>
                <p:cNvGrpSpPr/>
                <p:nvPr/>
              </p:nvGrpSpPr>
              <p:grpSpPr>
                <a:xfrm>
                  <a:off x="4417305" y="2273730"/>
                  <a:ext cx="179387" cy="434116"/>
                  <a:chOff x="2330274" y="3840316"/>
                  <a:chExt cx="238125" cy="576262"/>
                </a:xfrm>
              </p:grpSpPr>
              <p:sp>
                <p:nvSpPr>
                  <p:cNvPr id="1361" name="Freeform 201">
                    <a:extLst>
                      <a:ext uri="{FF2B5EF4-FFF2-40B4-BE49-F238E27FC236}">
                        <a16:creationId xmlns:a16="http://schemas.microsoft.com/office/drawing/2014/main" id="{4877CFAE-A42D-4D67-9B37-D3F5454637E6}"/>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62" name="Line 202">
                    <a:extLst>
                      <a:ext uri="{FF2B5EF4-FFF2-40B4-BE49-F238E27FC236}">
                        <a16:creationId xmlns:a16="http://schemas.microsoft.com/office/drawing/2014/main" id="{DAF74B33-5245-4174-859B-FBF3C2C8EED1}"/>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63" name="Line 203">
                    <a:extLst>
                      <a:ext uri="{FF2B5EF4-FFF2-40B4-BE49-F238E27FC236}">
                        <a16:creationId xmlns:a16="http://schemas.microsoft.com/office/drawing/2014/main" id="{1DC83C29-68FB-44FF-98DB-EA461A3BC0C7}"/>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64" name="Line 204">
                    <a:extLst>
                      <a:ext uri="{FF2B5EF4-FFF2-40B4-BE49-F238E27FC236}">
                        <a16:creationId xmlns:a16="http://schemas.microsoft.com/office/drawing/2014/main" id="{D0035024-D58A-405D-B4E3-3F4DB0F0C606}"/>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65" name="Line 205">
                    <a:extLst>
                      <a:ext uri="{FF2B5EF4-FFF2-40B4-BE49-F238E27FC236}">
                        <a16:creationId xmlns:a16="http://schemas.microsoft.com/office/drawing/2014/main" id="{F44F2ACF-3F96-4AED-9D26-022054FD521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66" name="Line 206">
                    <a:extLst>
                      <a:ext uri="{FF2B5EF4-FFF2-40B4-BE49-F238E27FC236}">
                        <a16:creationId xmlns:a16="http://schemas.microsoft.com/office/drawing/2014/main" id="{13A394DE-B2E3-4698-BBD5-BA3474F4B639}"/>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354" name="Group 1353">
                  <a:extLst>
                    <a:ext uri="{FF2B5EF4-FFF2-40B4-BE49-F238E27FC236}">
                      <a16:creationId xmlns:a16="http://schemas.microsoft.com/office/drawing/2014/main" id="{30AF7DB4-78C2-4E15-B2AA-17A33F2BCE41}"/>
                    </a:ext>
                  </a:extLst>
                </p:cNvPr>
                <p:cNvGrpSpPr/>
                <p:nvPr/>
              </p:nvGrpSpPr>
              <p:grpSpPr>
                <a:xfrm>
                  <a:off x="4627073" y="2273730"/>
                  <a:ext cx="179387" cy="434116"/>
                  <a:chOff x="2330274" y="3840316"/>
                  <a:chExt cx="238125" cy="576262"/>
                </a:xfrm>
              </p:grpSpPr>
              <p:sp>
                <p:nvSpPr>
                  <p:cNvPr id="1355" name="Freeform 201">
                    <a:extLst>
                      <a:ext uri="{FF2B5EF4-FFF2-40B4-BE49-F238E27FC236}">
                        <a16:creationId xmlns:a16="http://schemas.microsoft.com/office/drawing/2014/main" id="{EAB6D91F-97D6-426F-8BCC-5599F0E7D7C1}"/>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56" name="Line 202">
                    <a:extLst>
                      <a:ext uri="{FF2B5EF4-FFF2-40B4-BE49-F238E27FC236}">
                        <a16:creationId xmlns:a16="http://schemas.microsoft.com/office/drawing/2014/main" id="{62B4A26B-4B69-4081-A706-4F9E9BB7F595}"/>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57" name="Line 203">
                    <a:extLst>
                      <a:ext uri="{FF2B5EF4-FFF2-40B4-BE49-F238E27FC236}">
                        <a16:creationId xmlns:a16="http://schemas.microsoft.com/office/drawing/2014/main" id="{454D3A08-1C82-4B36-8F1E-230E40FCF029}"/>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58" name="Line 204">
                    <a:extLst>
                      <a:ext uri="{FF2B5EF4-FFF2-40B4-BE49-F238E27FC236}">
                        <a16:creationId xmlns:a16="http://schemas.microsoft.com/office/drawing/2014/main" id="{30049A41-E07F-409F-B32C-86E6B18F3F43}"/>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59" name="Line 205">
                    <a:extLst>
                      <a:ext uri="{FF2B5EF4-FFF2-40B4-BE49-F238E27FC236}">
                        <a16:creationId xmlns:a16="http://schemas.microsoft.com/office/drawing/2014/main" id="{7B76C959-3798-462D-A066-980645A3490B}"/>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60" name="Line 206">
                    <a:extLst>
                      <a:ext uri="{FF2B5EF4-FFF2-40B4-BE49-F238E27FC236}">
                        <a16:creationId xmlns:a16="http://schemas.microsoft.com/office/drawing/2014/main" id="{4EA62D15-0F79-4AC3-B55D-B38A8AB857D2}"/>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nvGrpSpPr>
              <p:cNvPr id="1329" name="Group 1328">
                <a:extLst>
                  <a:ext uri="{FF2B5EF4-FFF2-40B4-BE49-F238E27FC236}">
                    <a16:creationId xmlns:a16="http://schemas.microsoft.com/office/drawing/2014/main" id="{C11FFF35-7BA6-4301-89A4-34889477FC45}"/>
                  </a:ext>
                </a:extLst>
              </p:cNvPr>
              <p:cNvGrpSpPr/>
              <p:nvPr/>
            </p:nvGrpSpPr>
            <p:grpSpPr>
              <a:xfrm>
                <a:off x="7488807" y="2780652"/>
                <a:ext cx="465186" cy="337180"/>
                <a:chOff x="4207537" y="2273730"/>
                <a:chExt cx="598923" cy="434116"/>
              </a:xfrm>
            </p:grpSpPr>
            <p:grpSp>
              <p:nvGrpSpPr>
                <p:cNvPr id="1331" name="Group 1330">
                  <a:extLst>
                    <a:ext uri="{FF2B5EF4-FFF2-40B4-BE49-F238E27FC236}">
                      <a16:creationId xmlns:a16="http://schemas.microsoft.com/office/drawing/2014/main" id="{A84C2F32-A2BF-4562-8CA3-29880DACAE8A}"/>
                    </a:ext>
                  </a:extLst>
                </p:cNvPr>
                <p:cNvGrpSpPr/>
                <p:nvPr/>
              </p:nvGrpSpPr>
              <p:grpSpPr>
                <a:xfrm>
                  <a:off x="4207537" y="2273730"/>
                  <a:ext cx="179387" cy="434116"/>
                  <a:chOff x="2330274" y="3840316"/>
                  <a:chExt cx="238125" cy="576262"/>
                </a:xfrm>
              </p:grpSpPr>
              <p:sp>
                <p:nvSpPr>
                  <p:cNvPr id="1346" name="Freeform 201">
                    <a:extLst>
                      <a:ext uri="{FF2B5EF4-FFF2-40B4-BE49-F238E27FC236}">
                        <a16:creationId xmlns:a16="http://schemas.microsoft.com/office/drawing/2014/main" id="{4A46E13B-DB82-442F-98E6-636FFB5776EB}"/>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47" name="Line 202">
                    <a:extLst>
                      <a:ext uri="{FF2B5EF4-FFF2-40B4-BE49-F238E27FC236}">
                        <a16:creationId xmlns:a16="http://schemas.microsoft.com/office/drawing/2014/main" id="{BF1B5DB5-8282-460C-8188-DA57041930E3}"/>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48" name="Line 203">
                    <a:extLst>
                      <a:ext uri="{FF2B5EF4-FFF2-40B4-BE49-F238E27FC236}">
                        <a16:creationId xmlns:a16="http://schemas.microsoft.com/office/drawing/2014/main" id="{17F198B9-8D33-42BD-A598-7BDF4ABE1E03}"/>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49" name="Line 204">
                    <a:extLst>
                      <a:ext uri="{FF2B5EF4-FFF2-40B4-BE49-F238E27FC236}">
                        <a16:creationId xmlns:a16="http://schemas.microsoft.com/office/drawing/2014/main" id="{78E9E89C-4EE6-4A42-AE1D-5DB37A60AAB0}"/>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50" name="Line 205">
                    <a:extLst>
                      <a:ext uri="{FF2B5EF4-FFF2-40B4-BE49-F238E27FC236}">
                        <a16:creationId xmlns:a16="http://schemas.microsoft.com/office/drawing/2014/main" id="{28ECD55C-999F-4AE5-A381-3306E3E1D50F}"/>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51" name="Line 206">
                    <a:extLst>
                      <a:ext uri="{FF2B5EF4-FFF2-40B4-BE49-F238E27FC236}">
                        <a16:creationId xmlns:a16="http://schemas.microsoft.com/office/drawing/2014/main" id="{8DE9CC16-C3C6-414E-B641-66C20ECC4AFF}"/>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332" name="Group 1331">
                  <a:extLst>
                    <a:ext uri="{FF2B5EF4-FFF2-40B4-BE49-F238E27FC236}">
                      <a16:creationId xmlns:a16="http://schemas.microsoft.com/office/drawing/2014/main" id="{A40FC9FC-57AF-4CA1-A669-015980F5144B}"/>
                    </a:ext>
                  </a:extLst>
                </p:cNvPr>
                <p:cNvGrpSpPr/>
                <p:nvPr/>
              </p:nvGrpSpPr>
              <p:grpSpPr>
                <a:xfrm>
                  <a:off x="4417305" y="2273730"/>
                  <a:ext cx="179387" cy="434116"/>
                  <a:chOff x="2330274" y="3840316"/>
                  <a:chExt cx="238125" cy="576262"/>
                </a:xfrm>
              </p:grpSpPr>
              <p:sp>
                <p:nvSpPr>
                  <p:cNvPr id="1340" name="Freeform 201">
                    <a:extLst>
                      <a:ext uri="{FF2B5EF4-FFF2-40B4-BE49-F238E27FC236}">
                        <a16:creationId xmlns:a16="http://schemas.microsoft.com/office/drawing/2014/main" id="{793CBE72-CFB0-48A6-A97D-AF0FC06A409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41" name="Line 202">
                    <a:extLst>
                      <a:ext uri="{FF2B5EF4-FFF2-40B4-BE49-F238E27FC236}">
                        <a16:creationId xmlns:a16="http://schemas.microsoft.com/office/drawing/2014/main" id="{96C3AF17-350D-4072-823A-CDAD09C3D2EE}"/>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42" name="Line 203">
                    <a:extLst>
                      <a:ext uri="{FF2B5EF4-FFF2-40B4-BE49-F238E27FC236}">
                        <a16:creationId xmlns:a16="http://schemas.microsoft.com/office/drawing/2014/main" id="{F05F57B9-8A46-4E19-A610-0C8D6A252397}"/>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43" name="Line 204">
                    <a:extLst>
                      <a:ext uri="{FF2B5EF4-FFF2-40B4-BE49-F238E27FC236}">
                        <a16:creationId xmlns:a16="http://schemas.microsoft.com/office/drawing/2014/main" id="{49F85A13-56C7-47ED-B077-C609CA3BE97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44" name="Line 205">
                    <a:extLst>
                      <a:ext uri="{FF2B5EF4-FFF2-40B4-BE49-F238E27FC236}">
                        <a16:creationId xmlns:a16="http://schemas.microsoft.com/office/drawing/2014/main" id="{C38F882E-006E-499B-9445-64444C4DD5A7}"/>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45" name="Line 206">
                    <a:extLst>
                      <a:ext uri="{FF2B5EF4-FFF2-40B4-BE49-F238E27FC236}">
                        <a16:creationId xmlns:a16="http://schemas.microsoft.com/office/drawing/2014/main" id="{FF05488F-C68C-42C2-8475-A8B28E135AFA}"/>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333" name="Group 1332">
                  <a:extLst>
                    <a:ext uri="{FF2B5EF4-FFF2-40B4-BE49-F238E27FC236}">
                      <a16:creationId xmlns:a16="http://schemas.microsoft.com/office/drawing/2014/main" id="{C64B492E-ED5C-4419-8387-B70665C97E96}"/>
                    </a:ext>
                  </a:extLst>
                </p:cNvPr>
                <p:cNvGrpSpPr/>
                <p:nvPr/>
              </p:nvGrpSpPr>
              <p:grpSpPr>
                <a:xfrm>
                  <a:off x="4627073" y="2273730"/>
                  <a:ext cx="179387" cy="434116"/>
                  <a:chOff x="2330274" y="3840316"/>
                  <a:chExt cx="238125" cy="576262"/>
                </a:xfrm>
              </p:grpSpPr>
              <p:sp>
                <p:nvSpPr>
                  <p:cNvPr id="1334" name="Freeform 201">
                    <a:extLst>
                      <a:ext uri="{FF2B5EF4-FFF2-40B4-BE49-F238E27FC236}">
                        <a16:creationId xmlns:a16="http://schemas.microsoft.com/office/drawing/2014/main" id="{EC6A4265-F931-40C1-8773-EBA84F951B5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35" name="Line 202">
                    <a:extLst>
                      <a:ext uri="{FF2B5EF4-FFF2-40B4-BE49-F238E27FC236}">
                        <a16:creationId xmlns:a16="http://schemas.microsoft.com/office/drawing/2014/main" id="{53189F08-77D7-479F-B6F4-0990B90BFCD7}"/>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36" name="Line 203">
                    <a:extLst>
                      <a:ext uri="{FF2B5EF4-FFF2-40B4-BE49-F238E27FC236}">
                        <a16:creationId xmlns:a16="http://schemas.microsoft.com/office/drawing/2014/main" id="{2E1A06D6-8EB3-463C-B70F-0E76B5DC0523}"/>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37" name="Line 204">
                    <a:extLst>
                      <a:ext uri="{FF2B5EF4-FFF2-40B4-BE49-F238E27FC236}">
                        <a16:creationId xmlns:a16="http://schemas.microsoft.com/office/drawing/2014/main" id="{866D63A5-EC4A-4A61-90AF-DCDEE371CEA9}"/>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38" name="Line 205">
                    <a:extLst>
                      <a:ext uri="{FF2B5EF4-FFF2-40B4-BE49-F238E27FC236}">
                        <a16:creationId xmlns:a16="http://schemas.microsoft.com/office/drawing/2014/main" id="{5D83B56A-0D5A-41F4-A11C-7B3193456281}"/>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39" name="Line 206">
                    <a:extLst>
                      <a:ext uri="{FF2B5EF4-FFF2-40B4-BE49-F238E27FC236}">
                        <a16:creationId xmlns:a16="http://schemas.microsoft.com/office/drawing/2014/main" id="{6E7B0BAC-B95A-4E9B-94F5-D291CAE8FD6E}"/>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pic>
            <p:nvPicPr>
              <p:cNvPr id="1330" name="Picture 1329">
                <a:extLst>
                  <a:ext uri="{FF2B5EF4-FFF2-40B4-BE49-F238E27FC236}">
                    <a16:creationId xmlns:a16="http://schemas.microsoft.com/office/drawing/2014/main" id="{D4BA1966-E696-4A7F-97D8-C8B381575144}"/>
                  </a:ext>
                </a:extLst>
              </p:cNvPr>
              <p:cNvPicPr>
                <a:picLocks noChangeAspect="1"/>
              </p:cNvPicPr>
              <p:nvPr/>
            </p:nvPicPr>
            <p:blipFill>
              <a:blip r:embed="rId41" cstate="print">
                <a:extLst>
                  <a:ext uri="{28A0092B-C50C-407E-A947-70E740481C1C}">
                    <a14:useLocalDpi xmlns:a14="http://schemas.microsoft.com/office/drawing/2010/main"/>
                  </a:ext>
                </a:extLst>
              </a:blip>
              <a:stretch>
                <a:fillRect/>
              </a:stretch>
            </p:blipFill>
            <p:spPr>
              <a:xfrm>
                <a:off x="7530879" y="3291285"/>
                <a:ext cx="430049" cy="430049"/>
              </a:xfrm>
              <a:prstGeom prst="rect">
                <a:avLst/>
              </a:prstGeom>
            </p:spPr>
          </p:pic>
        </p:grpSp>
        <p:pic>
          <p:nvPicPr>
            <p:cNvPr id="1448" name="Graphic 1447">
              <a:extLst>
                <a:ext uri="{FF2B5EF4-FFF2-40B4-BE49-F238E27FC236}">
                  <a16:creationId xmlns:a16="http://schemas.microsoft.com/office/drawing/2014/main" id="{4F2D5220-93BF-4DBF-B40E-751F69482784}"/>
                </a:ext>
              </a:extLst>
            </p:cNvPr>
            <p:cNvPicPr>
              <a:picLocks noChangeAspect="1"/>
            </p:cNvPicPr>
            <p:nvPr/>
          </p:nvPicPr>
          <p:blipFill>
            <a:blip r:embed="rId42" cstate="print">
              <a:extLst>
                <a:ext uri="{28A0092B-C50C-407E-A947-70E740481C1C}">
                  <a14:useLocalDpi xmlns:a14="http://schemas.microsoft.com/office/drawing/2010/main"/>
                </a:ext>
                <a:ext uri="{96DAC541-7B7A-43D3-8B79-37D633B846F1}">
                  <asvg:svgBlip xmlns:asvg="http://schemas.microsoft.com/office/drawing/2016/SVG/main" r:embed="rId43"/>
                </a:ext>
              </a:extLst>
            </a:blip>
            <a:stretch>
              <a:fillRect/>
            </a:stretch>
          </p:blipFill>
          <p:spPr>
            <a:xfrm>
              <a:off x="4274353" y="1630273"/>
              <a:ext cx="422385" cy="422385"/>
            </a:xfrm>
            <a:prstGeom prst="rect">
              <a:avLst/>
            </a:prstGeom>
          </p:spPr>
        </p:pic>
      </p:grpSp>
      <p:sp>
        <p:nvSpPr>
          <p:cNvPr id="3444" name="Freeform: Shape 3443">
            <a:extLst>
              <a:ext uri="{FF2B5EF4-FFF2-40B4-BE49-F238E27FC236}">
                <a16:creationId xmlns:a16="http://schemas.microsoft.com/office/drawing/2014/main" id="{469A5848-6187-4192-A46B-755A9A8A9DA0}"/>
              </a:ext>
            </a:extLst>
          </p:cNvPr>
          <p:cNvSpPr>
            <a:spLocks noChangeArrowheads="1"/>
          </p:cNvSpPr>
          <p:nvPr/>
        </p:nvSpPr>
        <p:spPr bwMode="auto">
          <a:xfrm>
            <a:off x="2931135" y="1260459"/>
            <a:ext cx="6374240" cy="2674054"/>
          </a:xfrm>
          <a:custGeom>
            <a:avLst/>
            <a:gdLst>
              <a:gd name="connsiteX0" fmla="*/ 4794585 w 6374240"/>
              <a:gd name="connsiteY0" fmla="*/ 259675 h 2674054"/>
              <a:gd name="connsiteX1" fmla="*/ 3655701 w 6374240"/>
              <a:gd name="connsiteY1" fmla="*/ 1395157 h 2674054"/>
              <a:gd name="connsiteX2" fmla="*/ 4794585 w 6374240"/>
              <a:gd name="connsiteY2" fmla="*/ 2530639 h 2674054"/>
              <a:gd name="connsiteX3" fmla="*/ 5933469 w 6374240"/>
              <a:gd name="connsiteY3" fmla="*/ 1395157 h 2674054"/>
              <a:gd name="connsiteX4" fmla="*/ 4794585 w 6374240"/>
              <a:gd name="connsiteY4" fmla="*/ 259675 h 2674054"/>
              <a:gd name="connsiteX5" fmla="*/ 1574605 w 6374240"/>
              <a:gd name="connsiteY5" fmla="*/ 259673 h 2674054"/>
              <a:gd name="connsiteX6" fmla="*/ 428923 w 6374240"/>
              <a:gd name="connsiteY6" fmla="*/ 1395156 h 2674054"/>
              <a:gd name="connsiteX7" fmla="*/ 1574605 w 6374240"/>
              <a:gd name="connsiteY7" fmla="*/ 2530639 h 2674054"/>
              <a:gd name="connsiteX8" fmla="*/ 2720287 w 6374240"/>
              <a:gd name="connsiteY8" fmla="*/ 1395156 h 2674054"/>
              <a:gd name="connsiteX9" fmla="*/ 1574605 w 6374240"/>
              <a:gd name="connsiteY9" fmla="*/ 259673 h 2674054"/>
              <a:gd name="connsiteX10" fmla="*/ 3181118 w 6374240"/>
              <a:gd name="connsiteY10" fmla="*/ 0 h 2674054"/>
              <a:gd name="connsiteX11" fmla="*/ 3925380 w 6374240"/>
              <a:gd name="connsiteY11" fmla="*/ 455668 h 2674054"/>
              <a:gd name="connsiteX12" fmla="*/ 4789683 w 6374240"/>
              <a:gd name="connsiteY12" fmla="*/ 119913 h 2674054"/>
              <a:gd name="connsiteX13" fmla="*/ 5822046 w 6374240"/>
              <a:gd name="connsiteY13" fmla="*/ 635538 h 2674054"/>
              <a:gd name="connsiteX14" fmla="*/ 6374240 w 6374240"/>
              <a:gd name="connsiteY14" fmla="*/ 1390988 h 2674054"/>
              <a:gd name="connsiteX15" fmla="*/ 5822046 w 6374240"/>
              <a:gd name="connsiteY15" fmla="*/ 2158429 h 2674054"/>
              <a:gd name="connsiteX16" fmla="*/ 4789683 w 6374240"/>
              <a:gd name="connsiteY16" fmla="*/ 2674054 h 2674054"/>
              <a:gd name="connsiteX17" fmla="*/ 3529240 w 6374240"/>
              <a:gd name="connsiteY17" fmla="*/ 1606831 h 2674054"/>
              <a:gd name="connsiteX18" fmla="*/ 3181118 w 6374240"/>
              <a:gd name="connsiteY18" fmla="*/ 1678778 h 2674054"/>
              <a:gd name="connsiteX19" fmla="*/ 2832996 w 6374240"/>
              <a:gd name="connsiteY19" fmla="*/ 1606831 h 2674054"/>
              <a:gd name="connsiteX20" fmla="*/ 1572553 w 6374240"/>
              <a:gd name="connsiteY20" fmla="*/ 2674054 h 2674054"/>
              <a:gd name="connsiteX21" fmla="*/ 540190 w 6374240"/>
              <a:gd name="connsiteY21" fmla="*/ 2158429 h 2674054"/>
              <a:gd name="connsiteX22" fmla="*/ 0 w 6374240"/>
              <a:gd name="connsiteY22" fmla="*/ 1390988 h 2674054"/>
              <a:gd name="connsiteX23" fmla="*/ 540190 w 6374240"/>
              <a:gd name="connsiteY23" fmla="*/ 635538 h 2674054"/>
              <a:gd name="connsiteX24" fmla="*/ 1572553 w 6374240"/>
              <a:gd name="connsiteY24" fmla="*/ 119913 h 2674054"/>
              <a:gd name="connsiteX25" fmla="*/ 2436856 w 6374240"/>
              <a:gd name="connsiteY25" fmla="*/ 455668 h 2674054"/>
              <a:gd name="connsiteX26" fmla="*/ 3181118 w 6374240"/>
              <a:gd name="connsiteY26" fmla="*/ 0 h 26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74240" h="2674054">
                <a:moveTo>
                  <a:pt x="4794585" y="259675"/>
                </a:moveTo>
                <a:cubicBezTo>
                  <a:pt x="4165597" y="259675"/>
                  <a:pt x="3655701" y="768048"/>
                  <a:pt x="3655701" y="1395157"/>
                </a:cubicBezTo>
                <a:cubicBezTo>
                  <a:pt x="3655701" y="2022266"/>
                  <a:pt x="4165597" y="2530639"/>
                  <a:pt x="4794585" y="2530639"/>
                </a:cubicBezTo>
                <a:cubicBezTo>
                  <a:pt x="5423573" y="2530639"/>
                  <a:pt x="5933469" y="2022266"/>
                  <a:pt x="5933469" y="1395157"/>
                </a:cubicBezTo>
                <a:cubicBezTo>
                  <a:pt x="5933469" y="768048"/>
                  <a:pt x="5423573" y="259675"/>
                  <a:pt x="4794585" y="259675"/>
                </a:cubicBezTo>
                <a:close/>
                <a:moveTo>
                  <a:pt x="1574605" y="259673"/>
                </a:moveTo>
                <a:cubicBezTo>
                  <a:pt x="941862" y="259673"/>
                  <a:pt x="428923" y="768046"/>
                  <a:pt x="428923" y="1395156"/>
                </a:cubicBezTo>
                <a:cubicBezTo>
                  <a:pt x="428923" y="2022266"/>
                  <a:pt x="941862" y="2530639"/>
                  <a:pt x="1574605" y="2530639"/>
                </a:cubicBezTo>
                <a:cubicBezTo>
                  <a:pt x="2207348" y="2530639"/>
                  <a:pt x="2720287" y="2022266"/>
                  <a:pt x="2720287" y="1395156"/>
                </a:cubicBezTo>
                <a:cubicBezTo>
                  <a:pt x="2720287" y="768046"/>
                  <a:pt x="2207348" y="259673"/>
                  <a:pt x="1574605" y="259673"/>
                </a:cubicBezTo>
                <a:close/>
                <a:moveTo>
                  <a:pt x="3181118" y="0"/>
                </a:moveTo>
                <a:cubicBezTo>
                  <a:pt x="3505232" y="0"/>
                  <a:pt x="3793333" y="179869"/>
                  <a:pt x="3925380" y="455668"/>
                </a:cubicBezTo>
                <a:cubicBezTo>
                  <a:pt x="4153460" y="239825"/>
                  <a:pt x="4465570" y="119913"/>
                  <a:pt x="4789683" y="119913"/>
                </a:cubicBezTo>
                <a:cubicBezTo>
                  <a:pt x="5209831" y="119913"/>
                  <a:pt x="5593966" y="323764"/>
                  <a:pt x="5822046" y="635538"/>
                </a:cubicBezTo>
                <a:cubicBezTo>
                  <a:pt x="6146160" y="743459"/>
                  <a:pt x="6374240" y="1043241"/>
                  <a:pt x="6374240" y="1390988"/>
                </a:cubicBezTo>
                <a:cubicBezTo>
                  <a:pt x="6374240" y="1750726"/>
                  <a:pt x="6146160" y="2050508"/>
                  <a:pt x="5822046" y="2158429"/>
                </a:cubicBezTo>
                <a:cubicBezTo>
                  <a:pt x="5593966" y="2470202"/>
                  <a:pt x="5209831" y="2674054"/>
                  <a:pt x="4789683" y="2674054"/>
                </a:cubicBezTo>
                <a:cubicBezTo>
                  <a:pt x="4153460" y="2674054"/>
                  <a:pt x="3625274" y="2206394"/>
                  <a:pt x="3529240" y="1606831"/>
                </a:cubicBezTo>
                <a:cubicBezTo>
                  <a:pt x="3421202" y="1654796"/>
                  <a:pt x="3313164" y="1678778"/>
                  <a:pt x="3181118" y="1678778"/>
                </a:cubicBezTo>
                <a:cubicBezTo>
                  <a:pt x="3061076" y="1678778"/>
                  <a:pt x="2941034" y="1654796"/>
                  <a:pt x="2832996" y="1606831"/>
                </a:cubicBezTo>
                <a:cubicBezTo>
                  <a:pt x="2736962" y="2206394"/>
                  <a:pt x="2208776" y="2674054"/>
                  <a:pt x="1572553" y="2674054"/>
                </a:cubicBezTo>
                <a:cubicBezTo>
                  <a:pt x="1152405" y="2674054"/>
                  <a:pt x="780274" y="2470202"/>
                  <a:pt x="540190" y="2158429"/>
                </a:cubicBezTo>
                <a:cubicBezTo>
                  <a:pt x="228080" y="2050508"/>
                  <a:pt x="0" y="1750726"/>
                  <a:pt x="0" y="1390988"/>
                </a:cubicBezTo>
                <a:cubicBezTo>
                  <a:pt x="0" y="1043241"/>
                  <a:pt x="228080" y="743459"/>
                  <a:pt x="540190" y="635538"/>
                </a:cubicBezTo>
                <a:cubicBezTo>
                  <a:pt x="780274" y="323764"/>
                  <a:pt x="1152405" y="119913"/>
                  <a:pt x="1572553" y="119913"/>
                </a:cubicBezTo>
                <a:cubicBezTo>
                  <a:pt x="1908671" y="119913"/>
                  <a:pt x="2208776" y="239825"/>
                  <a:pt x="2436856" y="455668"/>
                </a:cubicBezTo>
                <a:cubicBezTo>
                  <a:pt x="2580907" y="179869"/>
                  <a:pt x="2857004" y="0"/>
                  <a:pt x="3181118" y="0"/>
                </a:cubicBezTo>
                <a:close/>
              </a:path>
            </a:pathLst>
          </a:cu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nvGrpSpPr>
          <p:cNvPr id="1087" name="Group 1086">
            <a:extLst>
              <a:ext uri="{FF2B5EF4-FFF2-40B4-BE49-F238E27FC236}">
                <a16:creationId xmlns:a16="http://schemas.microsoft.com/office/drawing/2014/main" id="{9683F2EF-CA49-4129-B6F3-603ABE3EDCE0}"/>
              </a:ext>
            </a:extLst>
          </p:cNvPr>
          <p:cNvGrpSpPr/>
          <p:nvPr/>
        </p:nvGrpSpPr>
        <p:grpSpPr>
          <a:xfrm>
            <a:off x="4057123" y="813489"/>
            <a:ext cx="8477739" cy="3556493"/>
            <a:chOff x="2931135" y="1260458"/>
            <a:chExt cx="6374240" cy="2674055"/>
          </a:xfrm>
        </p:grpSpPr>
        <p:sp>
          <p:nvSpPr>
            <p:cNvPr id="1088" name="Oval 1087">
              <a:extLst>
                <a:ext uri="{FF2B5EF4-FFF2-40B4-BE49-F238E27FC236}">
                  <a16:creationId xmlns:a16="http://schemas.microsoft.com/office/drawing/2014/main" id="{ECAD525B-4872-45A5-8335-7C49D0894ACC}"/>
                </a:ext>
              </a:extLst>
            </p:cNvPr>
            <p:cNvSpPr/>
            <p:nvPr/>
          </p:nvSpPr>
          <p:spPr>
            <a:xfrm>
              <a:off x="6566463" y="1472547"/>
              <a:ext cx="2358881" cy="235888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89" name="Oval 1088">
              <a:extLst>
                <a:ext uri="{FF2B5EF4-FFF2-40B4-BE49-F238E27FC236}">
                  <a16:creationId xmlns:a16="http://schemas.microsoft.com/office/drawing/2014/main" id="{59247A2B-39D7-4499-AA91-1F4761F2FC59}"/>
                </a:ext>
              </a:extLst>
            </p:cNvPr>
            <p:cNvSpPr/>
            <p:nvPr/>
          </p:nvSpPr>
          <p:spPr>
            <a:xfrm>
              <a:off x="3306000" y="1472547"/>
              <a:ext cx="2358881" cy="235888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090" name="Group 1089">
              <a:extLst>
                <a:ext uri="{FF2B5EF4-FFF2-40B4-BE49-F238E27FC236}">
                  <a16:creationId xmlns:a16="http://schemas.microsoft.com/office/drawing/2014/main" id="{B756CC73-F881-4AB6-970A-44988C966A2D}"/>
                </a:ext>
              </a:extLst>
            </p:cNvPr>
            <p:cNvGrpSpPr/>
            <p:nvPr/>
          </p:nvGrpSpPr>
          <p:grpSpPr>
            <a:xfrm>
              <a:off x="2931135" y="1260458"/>
              <a:ext cx="6374240" cy="2674055"/>
              <a:chOff x="2931135" y="1260458"/>
              <a:chExt cx="6374240" cy="2674055"/>
            </a:xfrm>
          </p:grpSpPr>
          <p:cxnSp>
            <p:nvCxnSpPr>
              <p:cNvPr id="1092" name="Straight Connector 1091">
                <a:extLst>
                  <a:ext uri="{FF2B5EF4-FFF2-40B4-BE49-F238E27FC236}">
                    <a16:creationId xmlns:a16="http://schemas.microsoft.com/office/drawing/2014/main" id="{5DBBE87C-7CB6-4C63-A7FD-D517D55BB2C2}"/>
                  </a:ext>
                </a:extLst>
              </p:cNvPr>
              <p:cNvCxnSpPr>
                <a:cxnSpLocks/>
              </p:cNvCxnSpPr>
              <p:nvPr/>
            </p:nvCxnSpPr>
            <p:spPr>
              <a:xfrm flipV="1">
                <a:off x="7369412" y="3285907"/>
                <a:ext cx="184145" cy="482653"/>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a:extLst>
                  <a:ext uri="{FF2B5EF4-FFF2-40B4-BE49-F238E27FC236}">
                    <a16:creationId xmlns:a16="http://schemas.microsoft.com/office/drawing/2014/main" id="{216FFA75-92F8-4DA9-9A80-20C813A11805}"/>
                  </a:ext>
                </a:extLst>
              </p:cNvPr>
              <p:cNvCxnSpPr>
                <a:cxnSpLocks/>
              </p:cNvCxnSpPr>
              <p:nvPr/>
            </p:nvCxnSpPr>
            <p:spPr>
              <a:xfrm flipV="1">
                <a:off x="8111156" y="1653749"/>
                <a:ext cx="236084" cy="327790"/>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a:extLst>
                  <a:ext uri="{FF2B5EF4-FFF2-40B4-BE49-F238E27FC236}">
                    <a16:creationId xmlns:a16="http://schemas.microsoft.com/office/drawing/2014/main" id="{157D3BBD-EF22-47C3-8160-3EC3998D42B5}"/>
                  </a:ext>
                </a:extLst>
              </p:cNvPr>
              <p:cNvCxnSpPr>
                <a:cxnSpLocks/>
              </p:cNvCxnSpPr>
              <p:nvPr/>
            </p:nvCxnSpPr>
            <p:spPr>
              <a:xfrm>
                <a:off x="3601106" y="1863496"/>
                <a:ext cx="294917" cy="308294"/>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a:extLst>
                  <a:ext uri="{FF2B5EF4-FFF2-40B4-BE49-F238E27FC236}">
                    <a16:creationId xmlns:a16="http://schemas.microsoft.com/office/drawing/2014/main" id="{36C38D70-A718-46D1-BE37-ACE819CEBC41}"/>
                  </a:ext>
                </a:extLst>
              </p:cNvPr>
              <p:cNvCxnSpPr>
                <a:cxnSpLocks/>
              </p:cNvCxnSpPr>
              <p:nvPr/>
            </p:nvCxnSpPr>
            <p:spPr>
              <a:xfrm>
                <a:off x="5117710" y="3252958"/>
                <a:ext cx="234229" cy="157829"/>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sp>
            <p:nvSpPr>
              <p:cNvPr id="1096" name="Oval 1095">
                <a:extLst>
                  <a:ext uri="{FF2B5EF4-FFF2-40B4-BE49-F238E27FC236}">
                    <a16:creationId xmlns:a16="http://schemas.microsoft.com/office/drawing/2014/main" id="{7C897FA2-3D9D-475F-B3CD-3D4BAEB39A68}"/>
                  </a:ext>
                </a:extLst>
              </p:cNvPr>
              <p:cNvSpPr/>
              <p:nvPr/>
            </p:nvSpPr>
            <p:spPr>
              <a:xfrm>
                <a:off x="3640021" y="1803844"/>
                <a:ext cx="1731220" cy="1731220"/>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97" name="Oval 1096">
                <a:extLst>
                  <a:ext uri="{FF2B5EF4-FFF2-40B4-BE49-F238E27FC236}">
                    <a16:creationId xmlns:a16="http://schemas.microsoft.com/office/drawing/2014/main" id="{3A4264C7-DADB-4632-9B2D-C1E4B12AD17F}"/>
                  </a:ext>
                </a:extLst>
              </p:cNvPr>
              <p:cNvSpPr/>
              <p:nvPr/>
            </p:nvSpPr>
            <p:spPr>
              <a:xfrm>
                <a:off x="6857723" y="1803844"/>
                <a:ext cx="1731220" cy="1731220"/>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cxnSp>
            <p:nvCxnSpPr>
              <p:cNvPr id="1098" name="Straight Connector 1097">
                <a:extLst>
                  <a:ext uri="{FF2B5EF4-FFF2-40B4-BE49-F238E27FC236}">
                    <a16:creationId xmlns:a16="http://schemas.microsoft.com/office/drawing/2014/main" id="{935A090C-05C2-4802-8CE5-8CE5A7D10F2F}"/>
                  </a:ext>
                </a:extLst>
              </p:cNvPr>
              <p:cNvCxnSpPr>
                <a:cxnSpLocks/>
              </p:cNvCxnSpPr>
              <p:nvPr/>
            </p:nvCxnSpPr>
            <p:spPr>
              <a:xfrm>
                <a:off x="3128937" y="2669454"/>
                <a:ext cx="3916223" cy="0"/>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pic>
            <p:nvPicPr>
              <p:cNvPr id="1099" name="Picture 1098">
                <a:extLst>
                  <a:ext uri="{FF2B5EF4-FFF2-40B4-BE49-F238E27FC236}">
                    <a16:creationId xmlns:a16="http://schemas.microsoft.com/office/drawing/2014/main" id="{753AF68F-2020-4993-8AA1-DAEB2DE77595}"/>
                  </a:ext>
                </a:extLst>
              </p:cNvPr>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7524910" y="1630717"/>
                <a:ext cx="429820" cy="429820"/>
              </a:xfrm>
              <a:prstGeom prst="rect">
                <a:avLst/>
              </a:prstGeom>
            </p:spPr>
          </p:pic>
          <p:cxnSp>
            <p:nvCxnSpPr>
              <p:cNvPr id="1100" name="Straight Connector 1099">
                <a:extLst>
                  <a:ext uri="{FF2B5EF4-FFF2-40B4-BE49-F238E27FC236}">
                    <a16:creationId xmlns:a16="http://schemas.microsoft.com/office/drawing/2014/main" id="{F7C73DBC-BA44-433A-B8D5-7B658B298A02}"/>
                  </a:ext>
                </a:extLst>
              </p:cNvPr>
              <p:cNvCxnSpPr>
                <a:cxnSpLocks/>
              </p:cNvCxnSpPr>
              <p:nvPr>
                <p:custDataLst>
                  <p:tags r:id="rId4"/>
                </p:custDataLst>
              </p:nvPr>
            </p:nvCxnSpPr>
            <p:spPr>
              <a:xfrm>
                <a:off x="4885101" y="2668784"/>
                <a:ext cx="2461064" cy="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pic>
            <p:nvPicPr>
              <p:cNvPr id="1101" name="Picture 1100">
                <a:extLst>
                  <a:ext uri="{FF2B5EF4-FFF2-40B4-BE49-F238E27FC236}">
                    <a16:creationId xmlns:a16="http://schemas.microsoft.com/office/drawing/2014/main" id="{44417C28-4E19-43E7-889A-05DF7A6A4DE3}"/>
                  </a:ext>
                </a:extLst>
              </p:cNvPr>
              <p:cNvPicPr>
                <a:picLocks noChangeAspect="1"/>
              </p:cNvPicPr>
              <p:nvPr/>
            </p:nvPicPr>
            <p:blipFill>
              <a:blip r:embed="rId42" cstate="print">
                <a:extLst>
                  <a:ext uri="{28A0092B-C50C-407E-A947-70E740481C1C}">
                    <a14:useLocalDpi xmlns:a14="http://schemas.microsoft.com/office/drawing/2010/main"/>
                  </a:ext>
                  <a:ext uri="{96DAC541-7B7A-43D3-8B79-37D633B846F1}">
                    <asvg:svgBlip xmlns:asvg="http://schemas.microsoft.com/office/drawing/2016/SVG/main" r:embed="rId43"/>
                  </a:ext>
                </a:extLst>
              </a:blip>
              <a:stretch>
                <a:fillRect/>
              </a:stretch>
            </p:blipFill>
            <p:spPr>
              <a:xfrm>
                <a:off x="4270531" y="1618549"/>
                <a:ext cx="429820" cy="429820"/>
              </a:xfrm>
              <a:prstGeom prst="rect">
                <a:avLst/>
              </a:prstGeom>
            </p:spPr>
          </p:pic>
          <p:cxnSp>
            <p:nvCxnSpPr>
              <p:cNvPr id="1102" name="Connector: Elbow 1101">
                <a:extLst>
                  <a:ext uri="{FF2B5EF4-FFF2-40B4-BE49-F238E27FC236}">
                    <a16:creationId xmlns:a16="http://schemas.microsoft.com/office/drawing/2014/main" id="{241F4859-A453-461A-A204-D62721D9A213}"/>
                  </a:ext>
                </a:extLst>
              </p:cNvPr>
              <p:cNvCxnSpPr>
                <a:cxnSpLocks/>
              </p:cNvCxnSpPr>
              <p:nvPr/>
            </p:nvCxnSpPr>
            <p:spPr>
              <a:xfrm rot="5400000">
                <a:off x="7277507"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103" name="Connector: Elbow 1102">
                <a:extLst>
                  <a:ext uri="{FF2B5EF4-FFF2-40B4-BE49-F238E27FC236}">
                    <a16:creationId xmlns:a16="http://schemas.microsoft.com/office/drawing/2014/main" id="{7E9C9FC3-9454-4311-98EA-D8F552A38A0D}"/>
                  </a:ext>
                </a:extLst>
              </p:cNvPr>
              <p:cNvCxnSpPr>
                <a:cxnSpLocks/>
              </p:cNvCxnSpPr>
              <p:nvPr/>
            </p:nvCxnSpPr>
            <p:spPr>
              <a:xfrm rot="16200000" flipV="1">
                <a:off x="7277507" y="274341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1104" name="Group 1103">
                <a:extLst>
                  <a:ext uri="{FF2B5EF4-FFF2-40B4-BE49-F238E27FC236}">
                    <a16:creationId xmlns:a16="http://schemas.microsoft.com/office/drawing/2014/main" id="{47A56BC2-3CC5-442D-9C6B-67F149364611}"/>
                  </a:ext>
                </a:extLst>
              </p:cNvPr>
              <p:cNvGrpSpPr/>
              <p:nvPr/>
            </p:nvGrpSpPr>
            <p:grpSpPr>
              <a:xfrm>
                <a:off x="4259919" y="2214899"/>
                <a:ext cx="465186" cy="337180"/>
                <a:chOff x="4207537" y="2273730"/>
                <a:chExt cx="598923" cy="434116"/>
              </a:xfrm>
            </p:grpSpPr>
            <p:grpSp>
              <p:nvGrpSpPr>
                <p:cNvPr id="1256" name="Group 1255">
                  <a:extLst>
                    <a:ext uri="{FF2B5EF4-FFF2-40B4-BE49-F238E27FC236}">
                      <a16:creationId xmlns:a16="http://schemas.microsoft.com/office/drawing/2014/main" id="{61E86095-5A07-47CD-B083-E24BF108C1E3}"/>
                    </a:ext>
                  </a:extLst>
                </p:cNvPr>
                <p:cNvGrpSpPr/>
                <p:nvPr/>
              </p:nvGrpSpPr>
              <p:grpSpPr>
                <a:xfrm>
                  <a:off x="4207537" y="2273730"/>
                  <a:ext cx="179387" cy="434116"/>
                  <a:chOff x="2330274" y="3840316"/>
                  <a:chExt cx="238125" cy="576262"/>
                </a:xfrm>
              </p:grpSpPr>
              <p:sp>
                <p:nvSpPr>
                  <p:cNvPr id="1271" name="Freeform 201">
                    <a:extLst>
                      <a:ext uri="{FF2B5EF4-FFF2-40B4-BE49-F238E27FC236}">
                        <a16:creationId xmlns:a16="http://schemas.microsoft.com/office/drawing/2014/main" id="{2FE2E0FD-132B-4A4E-82F5-35CA856CA0C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2" name="Line 202">
                    <a:extLst>
                      <a:ext uri="{FF2B5EF4-FFF2-40B4-BE49-F238E27FC236}">
                        <a16:creationId xmlns:a16="http://schemas.microsoft.com/office/drawing/2014/main" id="{38D84CB1-9668-47AE-B041-8DACB8CFA5E6}"/>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3" name="Line 203">
                    <a:extLst>
                      <a:ext uri="{FF2B5EF4-FFF2-40B4-BE49-F238E27FC236}">
                        <a16:creationId xmlns:a16="http://schemas.microsoft.com/office/drawing/2014/main" id="{E5EDAB08-4A32-46F2-B305-33B9310835D2}"/>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4" name="Line 204">
                    <a:extLst>
                      <a:ext uri="{FF2B5EF4-FFF2-40B4-BE49-F238E27FC236}">
                        <a16:creationId xmlns:a16="http://schemas.microsoft.com/office/drawing/2014/main" id="{E01647F8-35DC-4CD3-B58E-D88A30D20941}"/>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5" name="Line 205">
                    <a:extLst>
                      <a:ext uri="{FF2B5EF4-FFF2-40B4-BE49-F238E27FC236}">
                        <a16:creationId xmlns:a16="http://schemas.microsoft.com/office/drawing/2014/main" id="{13389686-D13C-483C-B6C6-E4D13537B9B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6" name="Line 206">
                    <a:extLst>
                      <a:ext uri="{FF2B5EF4-FFF2-40B4-BE49-F238E27FC236}">
                        <a16:creationId xmlns:a16="http://schemas.microsoft.com/office/drawing/2014/main" id="{E9292C39-BC6E-48DE-9A69-5E8468660DF9}"/>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257" name="Group 1256">
                  <a:extLst>
                    <a:ext uri="{FF2B5EF4-FFF2-40B4-BE49-F238E27FC236}">
                      <a16:creationId xmlns:a16="http://schemas.microsoft.com/office/drawing/2014/main" id="{BA60F742-40C5-4CB7-99A2-7BA56C8E1FC5}"/>
                    </a:ext>
                  </a:extLst>
                </p:cNvPr>
                <p:cNvGrpSpPr/>
                <p:nvPr/>
              </p:nvGrpSpPr>
              <p:grpSpPr>
                <a:xfrm>
                  <a:off x="4417305" y="2273730"/>
                  <a:ext cx="179387" cy="434116"/>
                  <a:chOff x="2330274" y="3840316"/>
                  <a:chExt cx="238125" cy="576262"/>
                </a:xfrm>
              </p:grpSpPr>
              <p:sp>
                <p:nvSpPr>
                  <p:cNvPr id="1265" name="Freeform 201">
                    <a:extLst>
                      <a:ext uri="{FF2B5EF4-FFF2-40B4-BE49-F238E27FC236}">
                        <a16:creationId xmlns:a16="http://schemas.microsoft.com/office/drawing/2014/main" id="{42945D40-FDC5-4AAF-967C-04C8DDA542B8}"/>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6" name="Line 202">
                    <a:extLst>
                      <a:ext uri="{FF2B5EF4-FFF2-40B4-BE49-F238E27FC236}">
                        <a16:creationId xmlns:a16="http://schemas.microsoft.com/office/drawing/2014/main" id="{E084FB88-D4B3-4760-B009-F2C82314F0A3}"/>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7" name="Line 203">
                    <a:extLst>
                      <a:ext uri="{FF2B5EF4-FFF2-40B4-BE49-F238E27FC236}">
                        <a16:creationId xmlns:a16="http://schemas.microsoft.com/office/drawing/2014/main" id="{D94B69DC-8982-4306-ABC1-A671A25596E7}"/>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8" name="Line 204">
                    <a:extLst>
                      <a:ext uri="{FF2B5EF4-FFF2-40B4-BE49-F238E27FC236}">
                        <a16:creationId xmlns:a16="http://schemas.microsoft.com/office/drawing/2014/main" id="{1B55105F-D4C3-4747-9FCF-23EB6FB41661}"/>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9" name="Line 205">
                    <a:extLst>
                      <a:ext uri="{FF2B5EF4-FFF2-40B4-BE49-F238E27FC236}">
                        <a16:creationId xmlns:a16="http://schemas.microsoft.com/office/drawing/2014/main" id="{DCC52C39-E98A-4F3E-93DC-0C0296A8EDEA}"/>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0" name="Line 206">
                    <a:extLst>
                      <a:ext uri="{FF2B5EF4-FFF2-40B4-BE49-F238E27FC236}">
                        <a16:creationId xmlns:a16="http://schemas.microsoft.com/office/drawing/2014/main" id="{E7141012-8FFF-4B3D-A62E-243FAB7DE38C}"/>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258" name="Group 1257">
                  <a:extLst>
                    <a:ext uri="{FF2B5EF4-FFF2-40B4-BE49-F238E27FC236}">
                      <a16:creationId xmlns:a16="http://schemas.microsoft.com/office/drawing/2014/main" id="{DF0D1139-297F-4523-9687-60E57C67C561}"/>
                    </a:ext>
                  </a:extLst>
                </p:cNvPr>
                <p:cNvGrpSpPr/>
                <p:nvPr/>
              </p:nvGrpSpPr>
              <p:grpSpPr>
                <a:xfrm>
                  <a:off x="4627073" y="2273730"/>
                  <a:ext cx="179387" cy="434116"/>
                  <a:chOff x="2330274" y="3840316"/>
                  <a:chExt cx="238125" cy="576262"/>
                </a:xfrm>
              </p:grpSpPr>
              <p:sp>
                <p:nvSpPr>
                  <p:cNvPr id="1259" name="Freeform 201">
                    <a:extLst>
                      <a:ext uri="{FF2B5EF4-FFF2-40B4-BE49-F238E27FC236}">
                        <a16:creationId xmlns:a16="http://schemas.microsoft.com/office/drawing/2014/main" id="{C7033DA3-0F11-4609-BBAE-996B8130483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0" name="Line 202">
                    <a:extLst>
                      <a:ext uri="{FF2B5EF4-FFF2-40B4-BE49-F238E27FC236}">
                        <a16:creationId xmlns:a16="http://schemas.microsoft.com/office/drawing/2014/main" id="{F4508F68-6638-4449-9941-57406C505560}"/>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1" name="Line 203">
                    <a:extLst>
                      <a:ext uri="{FF2B5EF4-FFF2-40B4-BE49-F238E27FC236}">
                        <a16:creationId xmlns:a16="http://schemas.microsoft.com/office/drawing/2014/main" id="{04542A04-D945-44E3-8340-8C76E26CC895}"/>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2" name="Line 204">
                    <a:extLst>
                      <a:ext uri="{FF2B5EF4-FFF2-40B4-BE49-F238E27FC236}">
                        <a16:creationId xmlns:a16="http://schemas.microsoft.com/office/drawing/2014/main" id="{74E80F20-4F23-4DF7-A0AA-E661E24CD9BD}"/>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3" name="Line 205">
                    <a:extLst>
                      <a:ext uri="{FF2B5EF4-FFF2-40B4-BE49-F238E27FC236}">
                        <a16:creationId xmlns:a16="http://schemas.microsoft.com/office/drawing/2014/main" id="{49EC630A-F621-46D3-8750-60755D89AED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4" name="Line 206">
                    <a:extLst>
                      <a:ext uri="{FF2B5EF4-FFF2-40B4-BE49-F238E27FC236}">
                        <a16:creationId xmlns:a16="http://schemas.microsoft.com/office/drawing/2014/main" id="{A3F54C55-E099-45F1-A3A0-657D249524F7}"/>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nvGrpSpPr>
              <p:cNvPr id="1105" name="Group 1104">
                <a:extLst>
                  <a:ext uri="{FF2B5EF4-FFF2-40B4-BE49-F238E27FC236}">
                    <a16:creationId xmlns:a16="http://schemas.microsoft.com/office/drawing/2014/main" id="{B6F5B938-05DD-4390-9F87-2676145DB7BB}"/>
                  </a:ext>
                </a:extLst>
              </p:cNvPr>
              <p:cNvGrpSpPr/>
              <p:nvPr/>
            </p:nvGrpSpPr>
            <p:grpSpPr>
              <a:xfrm>
                <a:off x="4259919" y="2780652"/>
                <a:ext cx="465186" cy="337180"/>
                <a:chOff x="4207537" y="2273730"/>
                <a:chExt cx="598923" cy="434116"/>
              </a:xfrm>
            </p:grpSpPr>
            <p:grpSp>
              <p:nvGrpSpPr>
                <p:cNvPr id="1235" name="Group 1234">
                  <a:extLst>
                    <a:ext uri="{FF2B5EF4-FFF2-40B4-BE49-F238E27FC236}">
                      <a16:creationId xmlns:a16="http://schemas.microsoft.com/office/drawing/2014/main" id="{A8770153-E754-4971-A655-8D4B13748BE2}"/>
                    </a:ext>
                  </a:extLst>
                </p:cNvPr>
                <p:cNvGrpSpPr/>
                <p:nvPr/>
              </p:nvGrpSpPr>
              <p:grpSpPr>
                <a:xfrm>
                  <a:off x="4207537" y="2273730"/>
                  <a:ext cx="179387" cy="434116"/>
                  <a:chOff x="2330274" y="3840316"/>
                  <a:chExt cx="238125" cy="576262"/>
                </a:xfrm>
              </p:grpSpPr>
              <p:sp>
                <p:nvSpPr>
                  <p:cNvPr id="1250" name="Freeform 201">
                    <a:extLst>
                      <a:ext uri="{FF2B5EF4-FFF2-40B4-BE49-F238E27FC236}">
                        <a16:creationId xmlns:a16="http://schemas.microsoft.com/office/drawing/2014/main" id="{7EAA6B92-B3B3-4200-8ECA-3472552C0D9F}"/>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51" name="Line 202">
                    <a:extLst>
                      <a:ext uri="{FF2B5EF4-FFF2-40B4-BE49-F238E27FC236}">
                        <a16:creationId xmlns:a16="http://schemas.microsoft.com/office/drawing/2014/main" id="{253B0655-ACC7-4E24-B743-5A229BFE78BA}"/>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52" name="Line 203">
                    <a:extLst>
                      <a:ext uri="{FF2B5EF4-FFF2-40B4-BE49-F238E27FC236}">
                        <a16:creationId xmlns:a16="http://schemas.microsoft.com/office/drawing/2014/main" id="{F98338A8-4AFD-4475-B4FD-62DC8A13B13C}"/>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53" name="Line 204">
                    <a:extLst>
                      <a:ext uri="{FF2B5EF4-FFF2-40B4-BE49-F238E27FC236}">
                        <a16:creationId xmlns:a16="http://schemas.microsoft.com/office/drawing/2014/main" id="{C1ACDE9B-B0C5-4BA2-8B98-4F5D070C5C06}"/>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54" name="Line 205">
                    <a:extLst>
                      <a:ext uri="{FF2B5EF4-FFF2-40B4-BE49-F238E27FC236}">
                        <a16:creationId xmlns:a16="http://schemas.microsoft.com/office/drawing/2014/main" id="{83636DAA-4AFC-4DB7-A393-29C5239BC174}"/>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55" name="Line 206">
                    <a:extLst>
                      <a:ext uri="{FF2B5EF4-FFF2-40B4-BE49-F238E27FC236}">
                        <a16:creationId xmlns:a16="http://schemas.microsoft.com/office/drawing/2014/main" id="{0FFBD438-4EBB-4595-9BE1-EBCE06AAAA5A}"/>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236" name="Group 1235">
                  <a:extLst>
                    <a:ext uri="{FF2B5EF4-FFF2-40B4-BE49-F238E27FC236}">
                      <a16:creationId xmlns:a16="http://schemas.microsoft.com/office/drawing/2014/main" id="{59F60D86-2128-439E-B730-1788275FB9B3}"/>
                    </a:ext>
                  </a:extLst>
                </p:cNvPr>
                <p:cNvGrpSpPr/>
                <p:nvPr/>
              </p:nvGrpSpPr>
              <p:grpSpPr>
                <a:xfrm>
                  <a:off x="4417305" y="2273730"/>
                  <a:ext cx="179387" cy="434116"/>
                  <a:chOff x="2330274" y="3840316"/>
                  <a:chExt cx="238125" cy="576262"/>
                </a:xfrm>
              </p:grpSpPr>
              <p:sp>
                <p:nvSpPr>
                  <p:cNvPr id="1244" name="Freeform 201">
                    <a:extLst>
                      <a:ext uri="{FF2B5EF4-FFF2-40B4-BE49-F238E27FC236}">
                        <a16:creationId xmlns:a16="http://schemas.microsoft.com/office/drawing/2014/main" id="{D495000D-2C69-461F-8D1E-C41A01999F8B}"/>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5" name="Line 202">
                    <a:extLst>
                      <a:ext uri="{FF2B5EF4-FFF2-40B4-BE49-F238E27FC236}">
                        <a16:creationId xmlns:a16="http://schemas.microsoft.com/office/drawing/2014/main" id="{78202EAE-8B73-4675-897E-0717EF435B32}"/>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6" name="Line 203">
                    <a:extLst>
                      <a:ext uri="{FF2B5EF4-FFF2-40B4-BE49-F238E27FC236}">
                        <a16:creationId xmlns:a16="http://schemas.microsoft.com/office/drawing/2014/main" id="{F36490AD-22DF-4389-B8CD-7B00B69CEE6B}"/>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7" name="Line 204">
                    <a:extLst>
                      <a:ext uri="{FF2B5EF4-FFF2-40B4-BE49-F238E27FC236}">
                        <a16:creationId xmlns:a16="http://schemas.microsoft.com/office/drawing/2014/main" id="{C6683717-FE15-49A6-9FEF-7C2313C5A11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8" name="Line 205">
                    <a:extLst>
                      <a:ext uri="{FF2B5EF4-FFF2-40B4-BE49-F238E27FC236}">
                        <a16:creationId xmlns:a16="http://schemas.microsoft.com/office/drawing/2014/main" id="{E20FF068-2FC6-4F05-B748-6BB4137E4F75}"/>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9" name="Line 206">
                    <a:extLst>
                      <a:ext uri="{FF2B5EF4-FFF2-40B4-BE49-F238E27FC236}">
                        <a16:creationId xmlns:a16="http://schemas.microsoft.com/office/drawing/2014/main" id="{A0BA0995-3517-4F58-9089-519A8EB854DE}"/>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237" name="Group 1236">
                  <a:extLst>
                    <a:ext uri="{FF2B5EF4-FFF2-40B4-BE49-F238E27FC236}">
                      <a16:creationId xmlns:a16="http://schemas.microsoft.com/office/drawing/2014/main" id="{7F1EF355-DC38-4A61-9605-4B68B1DFBAF7}"/>
                    </a:ext>
                  </a:extLst>
                </p:cNvPr>
                <p:cNvGrpSpPr/>
                <p:nvPr/>
              </p:nvGrpSpPr>
              <p:grpSpPr>
                <a:xfrm>
                  <a:off x="4627073" y="2273730"/>
                  <a:ext cx="179387" cy="434116"/>
                  <a:chOff x="2330274" y="3840316"/>
                  <a:chExt cx="238125" cy="576262"/>
                </a:xfrm>
              </p:grpSpPr>
              <p:sp>
                <p:nvSpPr>
                  <p:cNvPr id="1238" name="Freeform 201">
                    <a:extLst>
                      <a:ext uri="{FF2B5EF4-FFF2-40B4-BE49-F238E27FC236}">
                        <a16:creationId xmlns:a16="http://schemas.microsoft.com/office/drawing/2014/main" id="{81256F26-DBD2-4C57-8DDA-8BC56C6687DF}"/>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39" name="Line 202">
                    <a:extLst>
                      <a:ext uri="{FF2B5EF4-FFF2-40B4-BE49-F238E27FC236}">
                        <a16:creationId xmlns:a16="http://schemas.microsoft.com/office/drawing/2014/main" id="{820BA13E-B1E7-4EA8-ADC2-E239B86121E8}"/>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0" name="Line 203">
                    <a:extLst>
                      <a:ext uri="{FF2B5EF4-FFF2-40B4-BE49-F238E27FC236}">
                        <a16:creationId xmlns:a16="http://schemas.microsoft.com/office/drawing/2014/main" id="{F2940574-7E39-48EE-918A-DEFD80B8C40A}"/>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1" name="Line 204">
                    <a:extLst>
                      <a:ext uri="{FF2B5EF4-FFF2-40B4-BE49-F238E27FC236}">
                        <a16:creationId xmlns:a16="http://schemas.microsoft.com/office/drawing/2014/main" id="{245CF62F-3237-4072-8FC5-7A2D50D6DE4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2" name="Line 205">
                    <a:extLst>
                      <a:ext uri="{FF2B5EF4-FFF2-40B4-BE49-F238E27FC236}">
                        <a16:creationId xmlns:a16="http://schemas.microsoft.com/office/drawing/2014/main" id="{9855FF11-74AE-4FBA-A39B-0E1FC73B5287}"/>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3" name="Line 206">
                    <a:extLst>
                      <a:ext uri="{FF2B5EF4-FFF2-40B4-BE49-F238E27FC236}">
                        <a16:creationId xmlns:a16="http://schemas.microsoft.com/office/drawing/2014/main" id="{82A6E0FE-93AE-48A4-9E58-E25012F44D67}"/>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cxnSp>
            <p:nvCxnSpPr>
              <p:cNvPr id="1106" name="Connector: Elbow 1105">
                <a:extLst>
                  <a:ext uri="{FF2B5EF4-FFF2-40B4-BE49-F238E27FC236}">
                    <a16:creationId xmlns:a16="http://schemas.microsoft.com/office/drawing/2014/main" id="{6A905F27-E115-4D43-B72E-382DA596C70B}"/>
                  </a:ext>
                </a:extLst>
              </p:cNvPr>
              <p:cNvCxnSpPr>
                <a:cxnSpLocks/>
              </p:cNvCxnSpPr>
              <p:nvPr/>
            </p:nvCxnSpPr>
            <p:spPr>
              <a:xfrm rot="5400000">
                <a:off x="4048619"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107" name="Connector: Elbow 1106">
                <a:extLst>
                  <a:ext uri="{FF2B5EF4-FFF2-40B4-BE49-F238E27FC236}">
                    <a16:creationId xmlns:a16="http://schemas.microsoft.com/office/drawing/2014/main" id="{0EF5A20C-5B1A-4905-B084-24225CD0DFDF}"/>
                  </a:ext>
                </a:extLst>
              </p:cNvPr>
              <p:cNvCxnSpPr>
                <a:cxnSpLocks/>
              </p:cNvCxnSpPr>
              <p:nvPr/>
            </p:nvCxnSpPr>
            <p:spPr>
              <a:xfrm rot="16200000" flipV="1">
                <a:off x="4048619" y="274341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108" name="Connector: Elbow 1107">
                <a:extLst>
                  <a:ext uri="{FF2B5EF4-FFF2-40B4-BE49-F238E27FC236}">
                    <a16:creationId xmlns:a16="http://schemas.microsoft.com/office/drawing/2014/main" id="{1FB8F99E-5B3C-4255-A49F-6E864FEBE151}"/>
                  </a:ext>
                </a:extLst>
              </p:cNvPr>
              <p:cNvCxnSpPr>
                <a:cxnSpLocks/>
              </p:cNvCxnSpPr>
              <p:nvPr/>
            </p:nvCxnSpPr>
            <p:spPr>
              <a:xfrm rot="16200000" flipH="1">
                <a:off x="4673799"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1109" name="Group 1108">
                <a:extLst>
                  <a:ext uri="{FF2B5EF4-FFF2-40B4-BE49-F238E27FC236}">
                    <a16:creationId xmlns:a16="http://schemas.microsoft.com/office/drawing/2014/main" id="{AECD4B3B-E1C4-4C53-97B9-3152DA5320CE}"/>
                  </a:ext>
                </a:extLst>
              </p:cNvPr>
              <p:cNvGrpSpPr/>
              <p:nvPr/>
            </p:nvGrpSpPr>
            <p:grpSpPr>
              <a:xfrm>
                <a:off x="4033576" y="2869758"/>
                <a:ext cx="170397" cy="170397"/>
                <a:chOff x="1358899" y="2193925"/>
                <a:chExt cx="390525" cy="390525"/>
              </a:xfrm>
            </p:grpSpPr>
            <p:sp>
              <p:nvSpPr>
                <p:cNvPr id="1227" name="Rectangle: Rounded Corners 1226">
                  <a:extLst>
                    <a:ext uri="{FF2B5EF4-FFF2-40B4-BE49-F238E27FC236}">
                      <a16:creationId xmlns:a16="http://schemas.microsoft.com/office/drawing/2014/main" id="{D61E532E-A518-4A08-ABD0-BF2D3001B41E}"/>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228" name="Group 1227">
                  <a:extLst>
                    <a:ext uri="{FF2B5EF4-FFF2-40B4-BE49-F238E27FC236}">
                      <a16:creationId xmlns:a16="http://schemas.microsoft.com/office/drawing/2014/main" id="{3FF39792-70C6-4D65-A763-362910EB3FE5}"/>
                    </a:ext>
                  </a:extLst>
                </p:cNvPr>
                <p:cNvGrpSpPr/>
                <p:nvPr/>
              </p:nvGrpSpPr>
              <p:grpSpPr>
                <a:xfrm>
                  <a:off x="1420588" y="2248963"/>
                  <a:ext cx="267146" cy="280448"/>
                  <a:chOff x="1401763" y="2228851"/>
                  <a:chExt cx="307974" cy="323308"/>
                </a:xfrm>
              </p:grpSpPr>
              <p:grpSp>
                <p:nvGrpSpPr>
                  <p:cNvPr id="1229" name="Group 1228">
                    <a:extLst>
                      <a:ext uri="{FF2B5EF4-FFF2-40B4-BE49-F238E27FC236}">
                        <a16:creationId xmlns:a16="http://schemas.microsoft.com/office/drawing/2014/main" id="{B6E05AB4-FB6C-4747-9145-D17C3D025016}"/>
                      </a:ext>
                    </a:extLst>
                  </p:cNvPr>
                  <p:cNvGrpSpPr/>
                  <p:nvPr/>
                </p:nvGrpSpPr>
                <p:grpSpPr>
                  <a:xfrm>
                    <a:off x="1482725" y="2295526"/>
                    <a:ext cx="227012" cy="256633"/>
                    <a:chOff x="1482725" y="2276476"/>
                    <a:chExt cx="227012" cy="256633"/>
                  </a:xfrm>
                  <a:solidFill>
                    <a:schemeClr val="bg2"/>
                  </a:solidFill>
                </p:grpSpPr>
                <p:sp>
                  <p:nvSpPr>
                    <p:cNvPr id="1233" name="Freeform 33">
                      <a:extLst>
                        <a:ext uri="{FF2B5EF4-FFF2-40B4-BE49-F238E27FC236}">
                          <a16:creationId xmlns:a16="http://schemas.microsoft.com/office/drawing/2014/main" id="{56594A31-7FCB-4AC9-BDCA-DF405BB12860}"/>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34" name="Freeform 33">
                      <a:extLst>
                        <a:ext uri="{FF2B5EF4-FFF2-40B4-BE49-F238E27FC236}">
                          <a16:creationId xmlns:a16="http://schemas.microsoft.com/office/drawing/2014/main" id="{305764C6-B6F0-4217-B153-5A3B48F957DA}"/>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230" name="Group 1229">
                    <a:extLst>
                      <a:ext uri="{FF2B5EF4-FFF2-40B4-BE49-F238E27FC236}">
                        <a16:creationId xmlns:a16="http://schemas.microsoft.com/office/drawing/2014/main" id="{8CCA174D-F24B-4373-BCE0-296E08397A3A}"/>
                      </a:ext>
                    </a:extLst>
                  </p:cNvPr>
                  <p:cNvGrpSpPr/>
                  <p:nvPr/>
                </p:nvGrpSpPr>
                <p:grpSpPr>
                  <a:xfrm flipH="1">
                    <a:off x="1401763" y="2228851"/>
                    <a:ext cx="227012" cy="256633"/>
                    <a:chOff x="1482725" y="2276476"/>
                    <a:chExt cx="227012" cy="256633"/>
                  </a:xfrm>
                </p:grpSpPr>
                <p:sp>
                  <p:nvSpPr>
                    <p:cNvPr id="1231" name="Freeform 33">
                      <a:extLst>
                        <a:ext uri="{FF2B5EF4-FFF2-40B4-BE49-F238E27FC236}">
                          <a16:creationId xmlns:a16="http://schemas.microsoft.com/office/drawing/2014/main" id="{36ADBDD9-7AE6-4006-846C-B40AB4941BC0}"/>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32" name="Freeform 33">
                      <a:extLst>
                        <a:ext uri="{FF2B5EF4-FFF2-40B4-BE49-F238E27FC236}">
                          <a16:creationId xmlns:a16="http://schemas.microsoft.com/office/drawing/2014/main" id="{0EE1E42B-4FF3-4245-8161-B50C47661233}"/>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grpSp>
            <p:nvGrpSpPr>
              <p:cNvPr id="1110" name="Group 1109">
                <a:extLst>
                  <a:ext uri="{FF2B5EF4-FFF2-40B4-BE49-F238E27FC236}">
                    <a16:creationId xmlns:a16="http://schemas.microsoft.com/office/drawing/2014/main" id="{4F019E5E-ABFF-46CE-BA31-72A2FE604914}"/>
                  </a:ext>
                </a:extLst>
              </p:cNvPr>
              <p:cNvGrpSpPr/>
              <p:nvPr/>
            </p:nvGrpSpPr>
            <p:grpSpPr>
              <a:xfrm>
                <a:off x="4033576" y="2310628"/>
                <a:ext cx="170397" cy="170397"/>
                <a:chOff x="1358899" y="2193925"/>
                <a:chExt cx="390525" cy="390525"/>
              </a:xfrm>
            </p:grpSpPr>
            <p:sp>
              <p:nvSpPr>
                <p:cNvPr id="1219" name="Rectangle: Rounded Corners 1218">
                  <a:extLst>
                    <a:ext uri="{FF2B5EF4-FFF2-40B4-BE49-F238E27FC236}">
                      <a16:creationId xmlns:a16="http://schemas.microsoft.com/office/drawing/2014/main" id="{EFD23C50-4F7C-4F2F-81C0-5A333A79C420}"/>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220" name="Group 1219">
                  <a:extLst>
                    <a:ext uri="{FF2B5EF4-FFF2-40B4-BE49-F238E27FC236}">
                      <a16:creationId xmlns:a16="http://schemas.microsoft.com/office/drawing/2014/main" id="{187B65E3-14B5-48DB-86A7-AB921EEDF4B6}"/>
                    </a:ext>
                  </a:extLst>
                </p:cNvPr>
                <p:cNvGrpSpPr/>
                <p:nvPr/>
              </p:nvGrpSpPr>
              <p:grpSpPr>
                <a:xfrm>
                  <a:off x="1420588" y="2248963"/>
                  <a:ext cx="267146" cy="280448"/>
                  <a:chOff x="1401763" y="2228851"/>
                  <a:chExt cx="307974" cy="323308"/>
                </a:xfrm>
              </p:grpSpPr>
              <p:grpSp>
                <p:nvGrpSpPr>
                  <p:cNvPr id="1221" name="Group 1220">
                    <a:extLst>
                      <a:ext uri="{FF2B5EF4-FFF2-40B4-BE49-F238E27FC236}">
                        <a16:creationId xmlns:a16="http://schemas.microsoft.com/office/drawing/2014/main" id="{18A525AD-1F3F-4B79-8AA9-312457F96445}"/>
                      </a:ext>
                    </a:extLst>
                  </p:cNvPr>
                  <p:cNvGrpSpPr/>
                  <p:nvPr/>
                </p:nvGrpSpPr>
                <p:grpSpPr>
                  <a:xfrm>
                    <a:off x="1482725" y="2295526"/>
                    <a:ext cx="227012" cy="256633"/>
                    <a:chOff x="1482725" y="2276476"/>
                    <a:chExt cx="227012" cy="256633"/>
                  </a:xfrm>
                  <a:solidFill>
                    <a:schemeClr val="bg2"/>
                  </a:solidFill>
                </p:grpSpPr>
                <p:sp>
                  <p:nvSpPr>
                    <p:cNvPr id="1225" name="Freeform 33">
                      <a:extLst>
                        <a:ext uri="{FF2B5EF4-FFF2-40B4-BE49-F238E27FC236}">
                          <a16:creationId xmlns:a16="http://schemas.microsoft.com/office/drawing/2014/main" id="{DE92D358-4019-401F-8080-274F10EF42F0}"/>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26" name="Freeform 33">
                      <a:extLst>
                        <a:ext uri="{FF2B5EF4-FFF2-40B4-BE49-F238E27FC236}">
                          <a16:creationId xmlns:a16="http://schemas.microsoft.com/office/drawing/2014/main" id="{FBD0BE17-0751-4F43-8BE1-ECC7A16531A6}"/>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222" name="Group 1221">
                    <a:extLst>
                      <a:ext uri="{FF2B5EF4-FFF2-40B4-BE49-F238E27FC236}">
                        <a16:creationId xmlns:a16="http://schemas.microsoft.com/office/drawing/2014/main" id="{71A611A0-89CF-47E5-84CC-39F5B5EA5E63}"/>
                      </a:ext>
                    </a:extLst>
                  </p:cNvPr>
                  <p:cNvGrpSpPr/>
                  <p:nvPr/>
                </p:nvGrpSpPr>
                <p:grpSpPr>
                  <a:xfrm flipH="1">
                    <a:off x="1401763" y="2228851"/>
                    <a:ext cx="227012" cy="256633"/>
                    <a:chOff x="1482725" y="2276476"/>
                    <a:chExt cx="227012" cy="256633"/>
                  </a:xfrm>
                </p:grpSpPr>
                <p:sp>
                  <p:nvSpPr>
                    <p:cNvPr id="1223" name="Freeform 33">
                      <a:extLst>
                        <a:ext uri="{FF2B5EF4-FFF2-40B4-BE49-F238E27FC236}">
                          <a16:creationId xmlns:a16="http://schemas.microsoft.com/office/drawing/2014/main" id="{E9318A66-9B67-47CB-B52C-C8E215680A1B}"/>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24" name="Freeform 33">
                      <a:extLst>
                        <a:ext uri="{FF2B5EF4-FFF2-40B4-BE49-F238E27FC236}">
                          <a16:creationId xmlns:a16="http://schemas.microsoft.com/office/drawing/2014/main" id="{C8430B40-52A8-41FB-8C9E-8EB21258EA1F}"/>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grpSp>
            <p:nvGrpSpPr>
              <p:cNvPr id="1111" name="Group 1110">
                <a:extLst>
                  <a:ext uri="{FF2B5EF4-FFF2-40B4-BE49-F238E27FC236}">
                    <a16:creationId xmlns:a16="http://schemas.microsoft.com/office/drawing/2014/main" id="{C66F0EB7-59D0-454E-9C9F-A10FA97453C2}"/>
                  </a:ext>
                </a:extLst>
              </p:cNvPr>
              <p:cNvGrpSpPr/>
              <p:nvPr/>
            </p:nvGrpSpPr>
            <p:grpSpPr>
              <a:xfrm>
                <a:off x="3562654" y="2502657"/>
                <a:ext cx="333558" cy="333594"/>
                <a:chOff x="542940" y="1857375"/>
                <a:chExt cx="914400" cy="914494"/>
              </a:xfrm>
            </p:grpSpPr>
            <p:sp>
              <p:nvSpPr>
                <p:cNvPr id="1181" name="Oval 1180">
                  <a:extLst>
                    <a:ext uri="{FF2B5EF4-FFF2-40B4-BE49-F238E27FC236}">
                      <a16:creationId xmlns:a16="http://schemas.microsoft.com/office/drawing/2014/main" id="{F24A5F8A-AB0D-4769-A870-97672370BC86}"/>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182" name="Group 4">
                  <a:extLst>
                    <a:ext uri="{FF2B5EF4-FFF2-40B4-BE49-F238E27FC236}">
                      <a16:creationId xmlns:a16="http://schemas.microsoft.com/office/drawing/2014/main" id="{46B5D687-8DB5-4778-B63C-8A4EA8F5E792}"/>
                    </a:ext>
                  </a:extLst>
                </p:cNvPr>
                <p:cNvGrpSpPr>
                  <a:grpSpLocks noChangeAspect="1"/>
                </p:cNvGrpSpPr>
                <p:nvPr/>
              </p:nvGrpSpPr>
              <p:grpSpPr bwMode="auto">
                <a:xfrm>
                  <a:off x="543174" y="1857375"/>
                  <a:ext cx="913932" cy="914494"/>
                  <a:chOff x="1261" y="0"/>
                  <a:chExt cx="3238" cy="3240"/>
                </a:xfrm>
                <a:solidFill>
                  <a:schemeClr val="tx2"/>
                </a:solidFill>
              </p:grpSpPr>
              <p:sp>
                <p:nvSpPr>
                  <p:cNvPr id="1183" name="Freeform 5">
                    <a:extLst>
                      <a:ext uri="{FF2B5EF4-FFF2-40B4-BE49-F238E27FC236}">
                        <a16:creationId xmlns:a16="http://schemas.microsoft.com/office/drawing/2014/main" id="{6236E3AF-9147-475B-A819-DE3762F44356}"/>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84" name="Freeform 6">
                    <a:extLst>
                      <a:ext uri="{FF2B5EF4-FFF2-40B4-BE49-F238E27FC236}">
                        <a16:creationId xmlns:a16="http://schemas.microsoft.com/office/drawing/2014/main" id="{B8AD4BE2-4A59-4491-A2E6-64836F2877D7}"/>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85" name="Freeform 7">
                    <a:extLst>
                      <a:ext uri="{FF2B5EF4-FFF2-40B4-BE49-F238E27FC236}">
                        <a16:creationId xmlns:a16="http://schemas.microsoft.com/office/drawing/2014/main" id="{5F00A554-3703-447B-A0FF-770525357AB5}"/>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86" name="Freeform 8">
                    <a:extLst>
                      <a:ext uri="{FF2B5EF4-FFF2-40B4-BE49-F238E27FC236}">
                        <a16:creationId xmlns:a16="http://schemas.microsoft.com/office/drawing/2014/main" id="{ED471BD7-7E74-4F23-9306-1B5CE5FE48A2}"/>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87" name="Freeform 9">
                    <a:extLst>
                      <a:ext uri="{FF2B5EF4-FFF2-40B4-BE49-F238E27FC236}">
                        <a16:creationId xmlns:a16="http://schemas.microsoft.com/office/drawing/2014/main" id="{AA1F5BB5-1C59-4475-8953-7261BE0A1A01}"/>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88" name="Freeform 10">
                    <a:extLst>
                      <a:ext uri="{FF2B5EF4-FFF2-40B4-BE49-F238E27FC236}">
                        <a16:creationId xmlns:a16="http://schemas.microsoft.com/office/drawing/2014/main" id="{5841E74F-3DEA-4EE6-A2FA-273BA8B392FF}"/>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89" name="Freeform 11">
                    <a:extLst>
                      <a:ext uri="{FF2B5EF4-FFF2-40B4-BE49-F238E27FC236}">
                        <a16:creationId xmlns:a16="http://schemas.microsoft.com/office/drawing/2014/main" id="{A096CEE8-FFE7-4856-BE46-FF46B32E019E}"/>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0" name="Freeform 12">
                    <a:extLst>
                      <a:ext uri="{FF2B5EF4-FFF2-40B4-BE49-F238E27FC236}">
                        <a16:creationId xmlns:a16="http://schemas.microsoft.com/office/drawing/2014/main" id="{9B768D9B-5689-4997-BDC7-8723C0C3CD13}"/>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1" name="Freeform 13">
                    <a:extLst>
                      <a:ext uri="{FF2B5EF4-FFF2-40B4-BE49-F238E27FC236}">
                        <a16:creationId xmlns:a16="http://schemas.microsoft.com/office/drawing/2014/main" id="{BC23CE1F-3C3F-46EA-BCD9-B957443C1429}"/>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2" name="Freeform 14">
                    <a:extLst>
                      <a:ext uri="{FF2B5EF4-FFF2-40B4-BE49-F238E27FC236}">
                        <a16:creationId xmlns:a16="http://schemas.microsoft.com/office/drawing/2014/main" id="{B1A87A2E-E200-4A7D-A9EB-5C6C9DF2DF5C}"/>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3" name="Freeform 15">
                    <a:extLst>
                      <a:ext uri="{FF2B5EF4-FFF2-40B4-BE49-F238E27FC236}">
                        <a16:creationId xmlns:a16="http://schemas.microsoft.com/office/drawing/2014/main" id="{697027CD-EA25-4D33-88DA-F51CFFCB0C96}"/>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4" name="Freeform 16">
                    <a:extLst>
                      <a:ext uri="{FF2B5EF4-FFF2-40B4-BE49-F238E27FC236}">
                        <a16:creationId xmlns:a16="http://schemas.microsoft.com/office/drawing/2014/main" id="{68681456-FA0E-4D07-B20E-A0C7C981E344}"/>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5" name="Freeform 17">
                    <a:extLst>
                      <a:ext uri="{FF2B5EF4-FFF2-40B4-BE49-F238E27FC236}">
                        <a16:creationId xmlns:a16="http://schemas.microsoft.com/office/drawing/2014/main" id="{2C9ACB2C-750B-4B1D-8102-06F7AD6267B8}"/>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6" name="Freeform 18">
                    <a:extLst>
                      <a:ext uri="{FF2B5EF4-FFF2-40B4-BE49-F238E27FC236}">
                        <a16:creationId xmlns:a16="http://schemas.microsoft.com/office/drawing/2014/main" id="{39767DE0-2EE9-42EF-8A69-404706E6B9AD}"/>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7" name="Freeform 19">
                    <a:extLst>
                      <a:ext uri="{FF2B5EF4-FFF2-40B4-BE49-F238E27FC236}">
                        <a16:creationId xmlns:a16="http://schemas.microsoft.com/office/drawing/2014/main" id="{0581ABE8-2B4F-4880-AEE9-FB11F8579AAB}"/>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8" name="Freeform 20">
                    <a:extLst>
                      <a:ext uri="{FF2B5EF4-FFF2-40B4-BE49-F238E27FC236}">
                        <a16:creationId xmlns:a16="http://schemas.microsoft.com/office/drawing/2014/main" id="{8B1224FB-9DFC-44A3-8B39-7AD04B21DE23}"/>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9" name="Freeform 21">
                    <a:extLst>
                      <a:ext uri="{FF2B5EF4-FFF2-40B4-BE49-F238E27FC236}">
                        <a16:creationId xmlns:a16="http://schemas.microsoft.com/office/drawing/2014/main" id="{89E512DD-C596-42B0-8C9A-72E2E993D56F}"/>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00" name="Freeform 22">
                    <a:extLst>
                      <a:ext uri="{FF2B5EF4-FFF2-40B4-BE49-F238E27FC236}">
                        <a16:creationId xmlns:a16="http://schemas.microsoft.com/office/drawing/2014/main" id="{CE2F261E-5446-43B8-B521-857FA9E27072}"/>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17" name="Freeform 23">
                    <a:extLst>
                      <a:ext uri="{FF2B5EF4-FFF2-40B4-BE49-F238E27FC236}">
                        <a16:creationId xmlns:a16="http://schemas.microsoft.com/office/drawing/2014/main" id="{02783F0C-E078-44DA-934E-0E3D34FDDBE3}"/>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18" name="Freeform 24">
                    <a:extLst>
                      <a:ext uri="{FF2B5EF4-FFF2-40B4-BE49-F238E27FC236}">
                        <a16:creationId xmlns:a16="http://schemas.microsoft.com/office/drawing/2014/main" id="{82D339B1-281D-408D-AD03-B44CC7EA7873}"/>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nvGrpSpPr>
              <p:cNvPr id="1112" name="Group 1111">
                <a:extLst>
                  <a:ext uri="{FF2B5EF4-FFF2-40B4-BE49-F238E27FC236}">
                    <a16:creationId xmlns:a16="http://schemas.microsoft.com/office/drawing/2014/main" id="{22510BF1-825A-4347-82F7-5E3F1244679E}"/>
                  </a:ext>
                </a:extLst>
              </p:cNvPr>
              <p:cNvGrpSpPr/>
              <p:nvPr/>
            </p:nvGrpSpPr>
            <p:grpSpPr>
              <a:xfrm>
                <a:off x="7488807" y="2214899"/>
                <a:ext cx="465186" cy="337180"/>
                <a:chOff x="4207537" y="2273730"/>
                <a:chExt cx="598923" cy="434116"/>
              </a:xfrm>
            </p:grpSpPr>
            <p:grpSp>
              <p:nvGrpSpPr>
                <p:cNvPr id="1160" name="Group 1159">
                  <a:extLst>
                    <a:ext uri="{FF2B5EF4-FFF2-40B4-BE49-F238E27FC236}">
                      <a16:creationId xmlns:a16="http://schemas.microsoft.com/office/drawing/2014/main" id="{51873F2B-A9A0-4BF3-9064-772881A0D413}"/>
                    </a:ext>
                  </a:extLst>
                </p:cNvPr>
                <p:cNvGrpSpPr/>
                <p:nvPr/>
              </p:nvGrpSpPr>
              <p:grpSpPr>
                <a:xfrm>
                  <a:off x="4207537" y="2273730"/>
                  <a:ext cx="179387" cy="434116"/>
                  <a:chOff x="2330274" y="3840316"/>
                  <a:chExt cx="238125" cy="576262"/>
                </a:xfrm>
              </p:grpSpPr>
              <p:sp>
                <p:nvSpPr>
                  <p:cNvPr id="1175" name="Freeform 201">
                    <a:extLst>
                      <a:ext uri="{FF2B5EF4-FFF2-40B4-BE49-F238E27FC236}">
                        <a16:creationId xmlns:a16="http://schemas.microsoft.com/office/drawing/2014/main" id="{8EA0FB85-5A85-465D-8896-72E88EE9E7A3}"/>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76" name="Line 202">
                    <a:extLst>
                      <a:ext uri="{FF2B5EF4-FFF2-40B4-BE49-F238E27FC236}">
                        <a16:creationId xmlns:a16="http://schemas.microsoft.com/office/drawing/2014/main" id="{87A2A355-F1B3-4983-8961-9CB062E6A3E6}"/>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77" name="Line 203">
                    <a:extLst>
                      <a:ext uri="{FF2B5EF4-FFF2-40B4-BE49-F238E27FC236}">
                        <a16:creationId xmlns:a16="http://schemas.microsoft.com/office/drawing/2014/main" id="{8C3473B3-0649-4738-9373-9A22BEDFE463}"/>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78" name="Line 204">
                    <a:extLst>
                      <a:ext uri="{FF2B5EF4-FFF2-40B4-BE49-F238E27FC236}">
                        <a16:creationId xmlns:a16="http://schemas.microsoft.com/office/drawing/2014/main" id="{E478CC5F-94DD-4530-8B94-BC664EE2AE39}"/>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79" name="Line 205">
                    <a:extLst>
                      <a:ext uri="{FF2B5EF4-FFF2-40B4-BE49-F238E27FC236}">
                        <a16:creationId xmlns:a16="http://schemas.microsoft.com/office/drawing/2014/main" id="{1E387D90-5C22-4C73-B942-38B14C455EEE}"/>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80" name="Line 206">
                    <a:extLst>
                      <a:ext uri="{FF2B5EF4-FFF2-40B4-BE49-F238E27FC236}">
                        <a16:creationId xmlns:a16="http://schemas.microsoft.com/office/drawing/2014/main" id="{B4784D05-EE6E-42C8-87CB-0B6544297441}"/>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161" name="Group 1160">
                  <a:extLst>
                    <a:ext uri="{FF2B5EF4-FFF2-40B4-BE49-F238E27FC236}">
                      <a16:creationId xmlns:a16="http://schemas.microsoft.com/office/drawing/2014/main" id="{E7521CA4-CCB0-4DCE-AB7A-C0429A9D6812}"/>
                    </a:ext>
                  </a:extLst>
                </p:cNvPr>
                <p:cNvGrpSpPr/>
                <p:nvPr/>
              </p:nvGrpSpPr>
              <p:grpSpPr>
                <a:xfrm>
                  <a:off x="4417305" y="2273730"/>
                  <a:ext cx="179387" cy="434116"/>
                  <a:chOff x="2330274" y="3840316"/>
                  <a:chExt cx="238125" cy="576262"/>
                </a:xfrm>
              </p:grpSpPr>
              <p:sp>
                <p:nvSpPr>
                  <p:cNvPr id="1169" name="Freeform 201">
                    <a:extLst>
                      <a:ext uri="{FF2B5EF4-FFF2-40B4-BE49-F238E27FC236}">
                        <a16:creationId xmlns:a16="http://schemas.microsoft.com/office/drawing/2014/main" id="{A3F2B97D-A083-4E60-9B46-FE0B5BF32F6B}"/>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70" name="Line 202">
                    <a:extLst>
                      <a:ext uri="{FF2B5EF4-FFF2-40B4-BE49-F238E27FC236}">
                        <a16:creationId xmlns:a16="http://schemas.microsoft.com/office/drawing/2014/main" id="{6C24ABD5-923C-404E-A54D-FCAFF69B6AB9}"/>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71" name="Line 203">
                    <a:extLst>
                      <a:ext uri="{FF2B5EF4-FFF2-40B4-BE49-F238E27FC236}">
                        <a16:creationId xmlns:a16="http://schemas.microsoft.com/office/drawing/2014/main" id="{42144D26-76C4-423C-A4A6-CD22BE065A11}"/>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72" name="Line 204">
                    <a:extLst>
                      <a:ext uri="{FF2B5EF4-FFF2-40B4-BE49-F238E27FC236}">
                        <a16:creationId xmlns:a16="http://schemas.microsoft.com/office/drawing/2014/main" id="{FBD39A3A-9644-4A4F-BEF4-DA26E8A41FF8}"/>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73" name="Line 205">
                    <a:extLst>
                      <a:ext uri="{FF2B5EF4-FFF2-40B4-BE49-F238E27FC236}">
                        <a16:creationId xmlns:a16="http://schemas.microsoft.com/office/drawing/2014/main" id="{C5FC8EAE-7267-4D87-AA0B-9BEF082FC3C3}"/>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74" name="Line 206">
                    <a:extLst>
                      <a:ext uri="{FF2B5EF4-FFF2-40B4-BE49-F238E27FC236}">
                        <a16:creationId xmlns:a16="http://schemas.microsoft.com/office/drawing/2014/main" id="{BB807274-6727-41AF-87C1-15D9B0108715}"/>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162" name="Group 1161">
                  <a:extLst>
                    <a:ext uri="{FF2B5EF4-FFF2-40B4-BE49-F238E27FC236}">
                      <a16:creationId xmlns:a16="http://schemas.microsoft.com/office/drawing/2014/main" id="{D17D55D7-7EBE-4A37-9874-2D8FE7489CBD}"/>
                    </a:ext>
                  </a:extLst>
                </p:cNvPr>
                <p:cNvGrpSpPr/>
                <p:nvPr/>
              </p:nvGrpSpPr>
              <p:grpSpPr>
                <a:xfrm>
                  <a:off x="4627073" y="2273730"/>
                  <a:ext cx="179387" cy="434116"/>
                  <a:chOff x="2330274" y="3840316"/>
                  <a:chExt cx="238125" cy="576262"/>
                </a:xfrm>
              </p:grpSpPr>
              <p:sp>
                <p:nvSpPr>
                  <p:cNvPr id="1163" name="Freeform 201">
                    <a:extLst>
                      <a:ext uri="{FF2B5EF4-FFF2-40B4-BE49-F238E27FC236}">
                        <a16:creationId xmlns:a16="http://schemas.microsoft.com/office/drawing/2014/main" id="{695FD04F-8C42-4BB1-9C9A-048690DB9B89}"/>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64" name="Line 202">
                    <a:extLst>
                      <a:ext uri="{FF2B5EF4-FFF2-40B4-BE49-F238E27FC236}">
                        <a16:creationId xmlns:a16="http://schemas.microsoft.com/office/drawing/2014/main" id="{57D8107E-4BB9-4496-9EB6-60EAE829AACC}"/>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65" name="Line 203">
                    <a:extLst>
                      <a:ext uri="{FF2B5EF4-FFF2-40B4-BE49-F238E27FC236}">
                        <a16:creationId xmlns:a16="http://schemas.microsoft.com/office/drawing/2014/main" id="{A653F8F5-134F-4E90-8854-B907A290D196}"/>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66" name="Line 204">
                    <a:extLst>
                      <a:ext uri="{FF2B5EF4-FFF2-40B4-BE49-F238E27FC236}">
                        <a16:creationId xmlns:a16="http://schemas.microsoft.com/office/drawing/2014/main" id="{38E20873-606E-4DFF-8CB3-65D35A334AA4}"/>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67" name="Line 205">
                    <a:extLst>
                      <a:ext uri="{FF2B5EF4-FFF2-40B4-BE49-F238E27FC236}">
                        <a16:creationId xmlns:a16="http://schemas.microsoft.com/office/drawing/2014/main" id="{A9DD0FC0-2ED8-4893-8080-AC263588188E}"/>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68" name="Line 206">
                    <a:extLst>
                      <a:ext uri="{FF2B5EF4-FFF2-40B4-BE49-F238E27FC236}">
                        <a16:creationId xmlns:a16="http://schemas.microsoft.com/office/drawing/2014/main" id="{B0962011-29E7-4662-9499-A3FD97DC600C}"/>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cxnSp>
            <p:nvCxnSpPr>
              <p:cNvPr id="1115" name="Straight Connector 1114">
                <a:extLst>
                  <a:ext uri="{FF2B5EF4-FFF2-40B4-BE49-F238E27FC236}">
                    <a16:creationId xmlns:a16="http://schemas.microsoft.com/office/drawing/2014/main" id="{7A5DF334-5EE7-45D1-9527-DA6AA08979BF}"/>
                  </a:ext>
                </a:extLst>
              </p:cNvPr>
              <p:cNvCxnSpPr>
                <a:cxnSpLocks/>
              </p:cNvCxnSpPr>
              <p:nvPr/>
            </p:nvCxnSpPr>
            <p:spPr>
              <a:xfrm>
                <a:off x="3187957" y="2668784"/>
                <a:ext cx="929320" cy="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1113" name="Group 1112">
                <a:extLst>
                  <a:ext uri="{FF2B5EF4-FFF2-40B4-BE49-F238E27FC236}">
                    <a16:creationId xmlns:a16="http://schemas.microsoft.com/office/drawing/2014/main" id="{F2B1CC4D-4FB4-4399-B2B1-8C7A848EA32F}"/>
                  </a:ext>
                </a:extLst>
              </p:cNvPr>
              <p:cNvGrpSpPr/>
              <p:nvPr/>
            </p:nvGrpSpPr>
            <p:grpSpPr>
              <a:xfrm>
                <a:off x="6810761" y="2502657"/>
                <a:ext cx="333558" cy="333594"/>
                <a:chOff x="542940" y="1857375"/>
                <a:chExt cx="914400" cy="914494"/>
              </a:xfrm>
            </p:grpSpPr>
            <p:sp>
              <p:nvSpPr>
                <p:cNvPr id="1138" name="Oval 1137">
                  <a:extLst>
                    <a:ext uri="{FF2B5EF4-FFF2-40B4-BE49-F238E27FC236}">
                      <a16:creationId xmlns:a16="http://schemas.microsoft.com/office/drawing/2014/main" id="{69C710B9-0151-48BF-8F5B-1EAB29AA6BF2}"/>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139" name="Group 4">
                  <a:extLst>
                    <a:ext uri="{FF2B5EF4-FFF2-40B4-BE49-F238E27FC236}">
                      <a16:creationId xmlns:a16="http://schemas.microsoft.com/office/drawing/2014/main" id="{43D41168-8E82-4BBD-8F10-18C329F8DC66}"/>
                    </a:ext>
                  </a:extLst>
                </p:cNvPr>
                <p:cNvGrpSpPr>
                  <a:grpSpLocks noChangeAspect="1"/>
                </p:cNvGrpSpPr>
                <p:nvPr/>
              </p:nvGrpSpPr>
              <p:grpSpPr bwMode="auto">
                <a:xfrm>
                  <a:off x="543174" y="1857375"/>
                  <a:ext cx="913932" cy="914494"/>
                  <a:chOff x="1261" y="0"/>
                  <a:chExt cx="3238" cy="3240"/>
                </a:xfrm>
                <a:solidFill>
                  <a:schemeClr val="tx2"/>
                </a:solidFill>
              </p:grpSpPr>
              <p:sp>
                <p:nvSpPr>
                  <p:cNvPr id="1140" name="Freeform 5">
                    <a:extLst>
                      <a:ext uri="{FF2B5EF4-FFF2-40B4-BE49-F238E27FC236}">
                        <a16:creationId xmlns:a16="http://schemas.microsoft.com/office/drawing/2014/main" id="{E3217D29-30C9-42FE-9BAD-D6218974DBF6}"/>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41" name="Freeform 6">
                    <a:extLst>
                      <a:ext uri="{FF2B5EF4-FFF2-40B4-BE49-F238E27FC236}">
                        <a16:creationId xmlns:a16="http://schemas.microsoft.com/office/drawing/2014/main" id="{1544A2F5-E9BC-49FD-8B6F-FDA88A2433F2}"/>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42" name="Freeform 7">
                    <a:extLst>
                      <a:ext uri="{FF2B5EF4-FFF2-40B4-BE49-F238E27FC236}">
                        <a16:creationId xmlns:a16="http://schemas.microsoft.com/office/drawing/2014/main" id="{8376EBEE-D87C-451B-B2C2-1EFFF4A3895C}"/>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43" name="Freeform 8">
                    <a:extLst>
                      <a:ext uri="{FF2B5EF4-FFF2-40B4-BE49-F238E27FC236}">
                        <a16:creationId xmlns:a16="http://schemas.microsoft.com/office/drawing/2014/main" id="{A4E74056-86BC-4252-8B6F-A0D08B573FD1}"/>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44" name="Freeform 9">
                    <a:extLst>
                      <a:ext uri="{FF2B5EF4-FFF2-40B4-BE49-F238E27FC236}">
                        <a16:creationId xmlns:a16="http://schemas.microsoft.com/office/drawing/2014/main" id="{9691450C-AE8B-4C4C-983F-A179AEFE905A}"/>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45" name="Freeform 10">
                    <a:extLst>
                      <a:ext uri="{FF2B5EF4-FFF2-40B4-BE49-F238E27FC236}">
                        <a16:creationId xmlns:a16="http://schemas.microsoft.com/office/drawing/2014/main" id="{AEF104D5-D6F7-4AA0-B61C-1BB0AD7105AD}"/>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46" name="Freeform 11">
                    <a:extLst>
                      <a:ext uri="{FF2B5EF4-FFF2-40B4-BE49-F238E27FC236}">
                        <a16:creationId xmlns:a16="http://schemas.microsoft.com/office/drawing/2014/main" id="{F4B7EC63-7325-40F2-8BFB-A8FB61DEC627}"/>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47" name="Freeform 12">
                    <a:extLst>
                      <a:ext uri="{FF2B5EF4-FFF2-40B4-BE49-F238E27FC236}">
                        <a16:creationId xmlns:a16="http://schemas.microsoft.com/office/drawing/2014/main" id="{B421EB6B-EB57-4648-9DA9-A55F90363382}"/>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48" name="Freeform 13">
                    <a:extLst>
                      <a:ext uri="{FF2B5EF4-FFF2-40B4-BE49-F238E27FC236}">
                        <a16:creationId xmlns:a16="http://schemas.microsoft.com/office/drawing/2014/main" id="{B0E1199D-CF6C-4258-9541-2D1F69D2F877}"/>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49" name="Freeform 14">
                    <a:extLst>
                      <a:ext uri="{FF2B5EF4-FFF2-40B4-BE49-F238E27FC236}">
                        <a16:creationId xmlns:a16="http://schemas.microsoft.com/office/drawing/2014/main" id="{934E59E8-633C-4976-A554-D5C4A81B3FB9}"/>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50" name="Freeform 15">
                    <a:extLst>
                      <a:ext uri="{FF2B5EF4-FFF2-40B4-BE49-F238E27FC236}">
                        <a16:creationId xmlns:a16="http://schemas.microsoft.com/office/drawing/2014/main" id="{D8F66980-963C-45DC-A848-E3599A40B562}"/>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51" name="Freeform 16">
                    <a:extLst>
                      <a:ext uri="{FF2B5EF4-FFF2-40B4-BE49-F238E27FC236}">
                        <a16:creationId xmlns:a16="http://schemas.microsoft.com/office/drawing/2014/main" id="{6A4E188F-183F-43C0-9E99-542580BAFD83}"/>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52" name="Freeform 17">
                    <a:extLst>
                      <a:ext uri="{FF2B5EF4-FFF2-40B4-BE49-F238E27FC236}">
                        <a16:creationId xmlns:a16="http://schemas.microsoft.com/office/drawing/2014/main" id="{3220617C-DBC2-46F6-ABD8-8C8C14856B9B}"/>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53" name="Freeform 18">
                    <a:extLst>
                      <a:ext uri="{FF2B5EF4-FFF2-40B4-BE49-F238E27FC236}">
                        <a16:creationId xmlns:a16="http://schemas.microsoft.com/office/drawing/2014/main" id="{4EDB6BF4-F0AE-4EB7-AEAF-EB713DBD1A08}"/>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54" name="Freeform 19">
                    <a:extLst>
                      <a:ext uri="{FF2B5EF4-FFF2-40B4-BE49-F238E27FC236}">
                        <a16:creationId xmlns:a16="http://schemas.microsoft.com/office/drawing/2014/main" id="{6A7E9799-42CA-4724-9273-F38883D493FF}"/>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55" name="Freeform 20">
                    <a:extLst>
                      <a:ext uri="{FF2B5EF4-FFF2-40B4-BE49-F238E27FC236}">
                        <a16:creationId xmlns:a16="http://schemas.microsoft.com/office/drawing/2014/main" id="{B8DB8B7B-FA03-47E4-A428-64D02CEE54E1}"/>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56" name="Freeform 21">
                    <a:extLst>
                      <a:ext uri="{FF2B5EF4-FFF2-40B4-BE49-F238E27FC236}">
                        <a16:creationId xmlns:a16="http://schemas.microsoft.com/office/drawing/2014/main" id="{BB882109-DAC9-40C9-85A0-9FCA02648AC0}"/>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57" name="Freeform 22">
                    <a:extLst>
                      <a:ext uri="{FF2B5EF4-FFF2-40B4-BE49-F238E27FC236}">
                        <a16:creationId xmlns:a16="http://schemas.microsoft.com/office/drawing/2014/main" id="{B40CAA25-F5DD-4EC2-BAD9-FBFA8E1AA81E}"/>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58" name="Freeform 23">
                    <a:extLst>
                      <a:ext uri="{FF2B5EF4-FFF2-40B4-BE49-F238E27FC236}">
                        <a16:creationId xmlns:a16="http://schemas.microsoft.com/office/drawing/2014/main" id="{3DC56DBB-AA23-4B92-9423-4C40AF4636AC}"/>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59" name="Freeform 24">
                    <a:extLst>
                      <a:ext uri="{FF2B5EF4-FFF2-40B4-BE49-F238E27FC236}">
                        <a16:creationId xmlns:a16="http://schemas.microsoft.com/office/drawing/2014/main" id="{BB313DE2-58E5-43DC-B303-2FA0545A5C8C}"/>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nvGrpSpPr>
              <p:cNvPr id="1114" name="Group 1113">
                <a:extLst>
                  <a:ext uri="{FF2B5EF4-FFF2-40B4-BE49-F238E27FC236}">
                    <a16:creationId xmlns:a16="http://schemas.microsoft.com/office/drawing/2014/main" id="{6AE00679-17FF-47CC-A62A-07E919848A94}"/>
                  </a:ext>
                </a:extLst>
              </p:cNvPr>
              <p:cNvGrpSpPr/>
              <p:nvPr/>
            </p:nvGrpSpPr>
            <p:grpSpPr>
              <a:xfrm>
                <a:off x="7488807" y="2780652"/>
                <a:ext cx="465186" cy="337180"/>
                <a:chOff x="4207537" y="2273730"/>
                <a:chExt cx="598923" cy="434116"/>
              </a:xfrm>
            </p:grpSpPr>
            <p:grpSp>
              <p:nvGrpSpPr>
                <p:cNvPr id="1117" name="Group 1116">
                  <a:extLst>
                    <a:ext uri="{FF2B5EF4-FFF2-40B4-BE49-F238E27FC236}">
                      <a16:creationId xmlns:a16="http://schemas.microsoft.com/office/drawing/2014/main" id="{F062D70F-9937-4327-9176-77935AAAF691}"/>
                    </a:ext>
                  </a:extLst>
                </p:cNvPr>
                <p:cNvGrpSpPr/>
                <p:nvPr/>
              </p:nvGrpSpPr>
              <p:grpSpPr>
                <a:xfrm>
                  <a:off x="4207537" y="2273730"/>
                  <a:ext cx="179387" cy="434116"/>
                  <a:chOff x="2330274" y="3840316"/>
                  <a:chExt cx="238125" cy="576262"/>
                </a:xfrm>
              </p:grpSpPr>
              <p:sp>
                <p:nvSpPr>
                  <p:cNvPr id="1132" name="Freeform 201">
                    <a:extLst>
                      <a:ext uri="{FF2B5EF4-FFF2-40B4-BE49-F238E27FC236}">
                        <a16:creationId xmlns:a16="http://schemas.microsoft.com/office/drawing/2014/main" id="{38A11232-D2F9-47A2-86B6-916CFFDE434F}"/>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33" name="Line 202">
                    <a:extLst>
                      <a:ext uri="{FF2B5EF4-FFF2-40B4-BE49-F238E27FC236}">
                        <a16:creationId xmlns:a16="http://schemas.microsoft.com/office/drawing/2014/main" id="{FE162068-3791-4CD3-81C7-EF79A0286420}"/>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34" name="Line 203">
                    <a:extLst>
                      <a:ext uri="{FF2B5EF4-FFF2-40B4-BE49-F238E27FC236}">
                        <a16:creationId xmlns:a16="http://schemas.microsoft.com/office/drawing/2014/main" id="{3DDA5B78-B5DC-42C4-989D-14B1E76A3008}"/>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35" name="Line 204">
                    <a:extLst>
                      <a:ext uri="{FF2B5EF4-FFF2-40B4-BE49-F238E27FC236}">
                        <a16:creationId xmlns:a16="http://schemas.microsoft.com/office/drawing/2014/main" id="{EBEAFDDF-8996-46CC-A8A6-7F19B170E00C}"/>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36" name="Line 205">
                    <a:extLst>
                      <a:ext uri="{FF2B5EF4-FFF2-40B4-BE49-F238E27FC236}">
                        <a16:creationId xmlns:a16="http://schemas.microsoft.com/office/drawing/2014/main" id="{E6F613B2-EED0-48F8-94C0-0BE91705CF31}"/>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37" name="Line 206">
                    <a:extLst>
                      <a:ext uri="{FF2B5EF4-FFF2-40B4-BE49-F238E27FC236}">
                        <a16:creationId xmlns:a16="http://schemas.microsoft.com/office/drawing/2014/main" id="{882FFEDB-2CC8-4BCF-9412-4E0E249F7440}"/>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118" name="Group 1117">
                  <a:extLst>
                    <a:ext uri="{FF2B5EF4-FFF2-40B4-BE49-F238E27FC236}">
                      <a16:creationId xmlns:a16="http://schemas.microsoft.com/office/drawing/2014/main" id="{9988BFD0-DFEE-4754-B89B-D1E9E68336B7}"/>
                    </a:ext>
                  </a:extLst>
                </p:cNvPr>
                <p:cNvGrpSpPr/>
                <p:nvPr/>
              </p:nvGrpSpPr>
              <p:grpSpPr>
                <a:xfrm>
                  <a:off x="4417305" y="2273730"/>
                  <a:ext cx="179387" cy="434116"/>
                  <a:chOff x="2330274" y="3840316"/>
                  <a:chExt cx="238125" cy="576262"/>
                </a:xfrm>
              </p:grpSpPr>
              <p:sp>
                <p:nvSpPr>
                  <p:cNvPr id="1126" name="Freeform 201">
                    <a:extLst>
                      <a:ext uri="{FF2B5EF4-FFF2-40B4-BE49-F238E27FC236}">
                        <a16:creationId xmlns:a16="http://schemas.microsoft.com/office/drawing/2014/main" id="{9D824193-EBB4-4B4B-AF28-EDA74C9B984E}"/>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27" name="Line 202">
                    <a:extLst>
                      <a:ext uri="{FF2B5EF4-FFF2-40B4-BE49-F238E27FC236}">
                        <a16:creationId xmlns:a16="http://schemas.microsoft.com/office/drawing/2014/main" id="{0E32D581-8FEF-4373-B7D5-12B8B2B78EB8}"/>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28" name="Line 203">
                    <a:extLst>
                      <a:ext uri="{FF2B5EF4-FFF2-40B4-BE49-F238E27FC236}">
                        <a16:creationId xmlns:a16="http://schemas.microsoft.com/office/drawing/2014/main" id="{FC260C0F-E6AD-4AB3-BE3F-CE384F1E5F85}"/>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29" name="Line 204">
                    <a:extLst>
                      <a:ext uri="{FF2B5EF4-FFF2-40B4-BE49-F238E27FC236}">
                        <a16:creationId xmlns:a16="http://schemas.microsoft.com/office/drawing/2014/main" id="{7B75F857-3D01-4EC9-977A-50F12C1A797C}"/>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30" name="Line 205">
                    <a:extLst>
                      <a:ext uri="{FF2B5EF4-FFF2-40B4-BE49-F238E27FC236}">
                        <a16:creationId xmlns:a16="http://schemas.microsoft.com/office/drawing/2014/main" id="{D3122F6E-A89E-4D50-9CF7-284C0461F4AB}"/>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31" name="Line 206">
                    <a:extLst>
                      <a:ext uri="{FF2B5EF4-FFF2-40B4-BE49-F238E27FC236}">
                        <a16:creationId xmlns:a16="http://schemas.microsoft.com/office/drawing/2014/main" id="{C978B4C3-D4E6-44B3-B593-BEA9E077F02E}"/>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119" name="Group 1118">
                  <a:extLst>
                    <a:ext uri="{FF2B5EF4-FFF2-40B4-BE49-F238E27FC236}">
                      <a16:creationId xmlns:a16="http://schemas.microsoft.com/office/drawing/2014/main" id="{9B824C97-6FB6-4C45-A76E-56F435BFCD46}"/>
                    </a:ext>
                  </a:extLst>
                </p:cNvPr>
                <p:cNvGrpSpPr/>
                <p:nvPr/>
              </p:nvGrpSpPr>
              <p:grpSpPr>
                <a:xfrm>
                  <a:off x="4627073" y="2273730"/>
                  <a:ext cx="179387" cy="434116"/>
                  <a:chOff x="2330274" y="3840316"/>
                  <a:chExt cx="238125" cy="576262"/>
                </a:xfrm>
              </p:grpSpPr>
              <p:sp>
                <p:nvSpPr>
                  <p:cNvPr id="1120" name="Freeform 201">
                    <a:extLst>
                      <a:ext uri="{FF2B5EF4-FFF2-40B4-BE49-F238E27FC236}">
                        <a16:creationId xmlns:a16="http://schemas.microsoft.com/office/drawing/2014/main" id="{BCCA6F9E-1FE5-4DCB-9E76-0F39EB296756}"/>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21" name="Line 202">
                    <a:extLst>
                      <a:ext uri="{FF2B5EF4-FFF2-40B4-BE49-F238E27FC236}">
                        <a16:creationId xmlns:a16="http://schemas.microsoft.com/office/drawing/2014/main" id="{8332818C-2E25-42E6-8AB3-195FC3736EE4}"/>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22" name="Line 203">
                    <a:extLst>
                      <a:ext uri="{FF2B5EF4-FFF2-40B4-BE49-F238E27FC236}">
                        <a16:creationId xmlns:a16="http://schemas.microsoft.com/office/drawing/2014/main" id="{E560B1DD-4CC4-4B38-A00F-53E20234E96C}"/>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23" name="Line 204">
                    <a:extLst>
                      <a:ext uri="{FF2B5EF4-FFF2-40B4-BE49-F238E27FC236}">
                        <a16:creationId xmlns:a16="http://schemas.microsoft.com/office/drawing/2014/main" id="{45808005-7044-4ACE-9247-5809DCF08A2D}"/>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24" name="Line 205">
                    <a:extLst>
                      <a:ext uri="{FF2B5EF4-FFF2-40B4-BE49-F238E27FC236}">
                        <a16:creationId xmlns:a16="http://schemas.microsoft.com/office/drawing/2014/main" id="{8CF78FC5-1CAE-43A2-8D57-3DF4EEAD4AE4}"/>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25" name="Line 206">
                    <a:extLst>
                      <a:ext uri="{FF2B5EF4-FFF2-40B4-BE49-F238E27FC236}">
                        <a16:creationId xmlns:a16="http://schemas.microsoft.com/office/drawing/2014/main" id="{8011374E-0F63-403E-AADA-E0E6315AAC03}"/>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sp>
            <p:nvSpPr>
              <p:cNvPr id="1116" name="Rectangle 1115">
                <a:extLst>
                  <a:ext uri="{FF2B5EF4-FFF2-40B4-BE49-F238E27FC236}">
                    <a16:creationId xmlns:a16="http://schemas.microsoft.com/office/drawing/2014/main" id="{AFCAD661-E996-4E51-AD77-0FFAE33AE756}"/>
                  </a:ext>
                </a:extLst>
              </p:cNvPr>
              <p:cNvSpPr/>
              <p:nvPr/>
            </p:nvSpPr>
            <p:spPr>
              <a:xfrm>
                <a:off x="2931135" y="1260458"/>
                <a:ext cx="6374240" cy="267405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pic>
            <p:nvPicPr>
              <p:cNvPr id="2317" name="Picture 2316">
                <a:extLst>
                  <a:ext uri="{FF2B5EF4-FFF2-40B4-BE49-F238E27FC236}">
                    <a16:creationId xmlns:a16="http://schemas.microsoft.com/office/drawing/2014/main" id="{7385E6CE-27AD-4B89-A162-9ACD6F884525}"/>
                  </a:ext>
                </a:extLst>
              </p:cNvPr>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7524742" y="3283302"/>
                <a:ext cx="429820" cy="429820"/>
              </a:xfrm>
              <a:prstGeom prst="rect">
                <a:avLst/>
              </a:prstGeom>
            </p:spPr>
          </p:pic>
        </p:grpSp>
      </p:grpSp>
      <p:sp>
        <p:nvSpPr>
          <p:cNvPr id="3923" name="Oval 3922">
            <a:extLst>
              <a:ext uri="{FF2B5EF4-FFF2-40B4-BE49-F238E27FC236}">
                <a16:creationId xmlns:a16="http://schemas.microsoft.com/office/drawing/2014/main" id="{EDD9DF60-CF4A-4E62-B605-9C62D47FA02B}"/>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924" name="Oval 3923">
            <a:extLst>
              <a:ext uri="{FF2B5EF4-FFF2-40B4-BE49-F238E27FC236}">
                <a16:creationId xmlns:a16="http://schemas.microsoft.com/office/drawing/2014/main" id="{CEA2CAF9-7670-4FF3-BA60-DE9EBBE52AAA}"/>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925" name="Oval 3924">
            <a:extLst>
              <a:ext uri="{FF2B5EF4-FFF2-40B4-BE49-F238E27FC236}">
                <a16:creationId xmlns:a16="http://schemas.microsoft.com/office/drawing/2014/main" id="{0BAA4953-69E6-499E-98FB-D128ECF8158A}"/>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926" name="Oval 3925">
            <a:extLst>
              <a:ext uri="{FF2B5EF4-FFF2-40B4-BE49-F238E27FC236}">
                <a16:creationId xmlns:a16="http://schemas.microsoft.com/office/drawing/2014/main" id="{2267772E-7B12-4A53-8FB6-B31236801004}"/>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927" name="Oval 3926">
            <a:extLst>
              <a:ext uri="{FF2B5EF4-FFF2-40B4-BE49-F238E27FC236}">
                <a16:creationId xmlns:a16="http://schemas.microsoft.com/office/drawing/2014/main" id="{5B6C467E-381D-4F00-9037-374784FBAAFF}"/>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928" name="Oval 3927">
            <a:extLst>
              <a:ext uri="{FF2B5EF4-FFF2-40B4-BE49-F238E27FC236}">
                <a16:creationId xmlns:a16="http://schemas.microsoft.com/office/drawing/2014/main" id="{20ACE7DC-C8D3-4BA3-9211-1C64FB762854}"/>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75" name="Freeform: Shape 1074">
            <a:extLst>
              <a:ext uri="{FF2B5EF4-FFF2-40B4-BE49-F238E27FC236}">
                <a16:creationId xmlns:a16="http://schemas.microsoft.com/office/drawing/2014/main" id="{0ACB2083-D75F-4AFC-B254-00D0DCD1D982}"/>
              </a:ext>
            </a:extLst>
          </p:cNvPr>
          <p:cNvSpPr>
            <a:spLocks noChangeArrowheads="1"/>
          </p:cNvSpPr>
          <p:nvPr>
            <p:custDataLst>
              <p:tags r:id="rId1"/>
            </p:custDataLst>
          </p:nvPr>
        </p:nvSpPr>
        <p:spPr bwMode="auto">
          <a:xfrm>
            <a:off x="4057123" y="813489"/>
            <a:ext cx="8477739" cy="3556492"/>
          </a:xfrm>
          <a:custGeom>
            <a:avLst/>
            <a:gdLst>
              <a:gd name="connsiteX0" fmla="*/ 4794585 w 6374240"/>
              <a:gd name="connsiteY0" fmla="*/ 259675 h 2674054"/>
              <a:gd name="connsiteX1" fmla="*/ 3655701 w 6374240"/>
              <a:gd name="connsiteY1" fmla="*/ 1395157 h 2674054"/>
              <a:gd name="connsiteX2" fmla="*/ 4794585 w 6374240"/>
              <a:gd name="connsiteY2" fmla="*/ 2530639 h 2674054"/>
              <a:gd name="connsiteX3" fmla="*/ 5933469 w 6374240"/>
              <a:gd name="connsiteY3" fmla="*/ 1395157 h 2674054"/>
              <a:gd name="connsiteX4" fmla="*/ 4794585 w 6374240"/>
              <a:gd name="connsiteY4" fmla="*/ 259675 h 2674054"/>
              <a:gd name="connsiteX5" fmla="*/ 1574605 w 6374240"/>
              <a:gd name="connsiteY5" fmla="*/ 259673 h 2674054"/>
              <a:gd name="connsiteX6" fmla="*/ 428923 w 6374240"/>
              <a:gd name="connsiteY6" fmla="*/ 1395156 h 2674054"/>
              <a:gd name="connsiteX7" fmla="*/ 1574605 w 6374240"/>
              <a:gd name="connsiteY7" fmla="*/ 2530639 h 2674054"/>
              <a:gd name="connsiteX8" fmla="*/ 2720287 w 6374240"/>
              <a:gd name="connsiteY8" fmla="*/ 1395156 h 2674054"/>
              <a:gd name="connsiteX9" fmla="*/ 1574605 w 6374240"/>
              <a:gd name="connsiteY9" fmla="*/ 259673 h 2674054"/>
              <a:gd name="connsiteX10" fmla="*/ 3181118 w 6374240"/>
              <a:gd name="connsiteY10" fmla="*/ 0 h 2674054"/>
              <a:gd name="connsiteX11" fmla="*/ 3925380 w 6374240"/>
              <a:gd name="connsiteY11" fmla="*/ 455668 h 2674054"/>
              <a:gd name="connsiteX12" fmla="*/ 4789683 w 6374240"/>
              <a:gd name="connsiteY12" fmla="*/ 119913 h 2674054"/>
              <a:gd name="connsiteX13" fmla="*/ 5822046 w 6374240"/>
              <a:gd name="connsiteY13" fmla="*/ 635538 h 2674054"/>
              <a:gd name="connsiteX14" fmla="*/ 6374240 w 6374240"/>
              <a:gd name="connsiteY14" fmla="*/ 1390988 h 2674054"/>
              <a:gd name="connsiteX15" fmla="*/ 5822046 w 6374240"/>
              <a:gd name="connsiteY15" fmla="*/ 2158429 h 2674054"/>
              <a:gd name="connsiteX16" fmla="*/ 4789683 w 6374240"/>
              <a:gd name="connsiteY16" fmla="*/ 2674054 h 2674054"/>
              <a:gd name="connsiteX17" fmla="*/ 3529240 w 6374240"/>
              <a:gd name="connsiteY17" fmla="*/ 1606831 h 2674054"/>
              <a:gd name="connsiteX18" fmla="*/ 3181118 w 6374240"/>
              <a:gd name="connsiteY18" fmla="*/ 1678778 h 2674054"/>
              <a:gd name="connsiteX19" fmla="*/ 2832996 w 6374240"/>
              <a:gd name="connsiteY19" fmla="*/ 1606831 h 2674054"/>
              <a:gd name="connsiteX20" fmla="*/ 1572553 w 6374240"/>
              <a:gd name="connsiteY20" fmla="*/ 2674054 h 2674054"/>
              <a:gd name="connsiteX21" fmla="*/ 540190 w 6374240"/>
              <a:gd name="connsiteY21" fmla="*/ 2158429 h 2674054"/>
              <a:gd name="connsiteX22" fmla="*/ 0 w 6374240"/>
              <a:gd name="connsiteY22" fmla="*/ 1390988 h 2674054"/>
              <a:gd name="connsiteX23" fmla="*/ 540190 w 6374240"/>
              <a:gd name="connsiteY23" fmla="*/ 635538 h 2674054"/>
              <a:gd name="connsiteX24" fmla="*/ 1572553 w 6374240"/>
              <a:gd name="connsiteY24" fmla="*/ 119913 h 2674054"/>
              <a:gd name="connsiteX25" fmla="*/ 2436856 w 6374240"/>
              <a:gd name="connsiteY25" fmla="*/ 455668 h 2674054"/>
              <a:gd name="connsiteX26" fmla="*/ 3181118 w 6374240"/>
              <a:gd name="connsiteY26" fmla="*/ 0 h 26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74240" h="2674054">
                <a:moveTo>
                  <a:pt x="4794585" y="259675"/>
                </a:moveTo>
                <a:cubicBezTo>
                  <a:pt x="4165597" y="259675"/>
                  <a:pt x="3655701" y="768048"/>
                  <a:pt x="3655701" y="1395157"/>
                </a:cubicBezTo>
                <a:cubicBezTo>
                  <a:pt x="3655701" y="2022266"/>
                  <a:pt x="4165597" y="2530639"/>
                  <a:pt x="4794585" y="2530639"/>
                </a:cubicBezTo>
                <a:cubicBezTo>
                  <a:pt x="5423573" y="2530639"/>
                  <a:pt x="5933469" y="2022266"/>
                  <a:pt x="5933469" y="1395157"/>
                </a:cubicBezTo>
                <a:cubicBezTo>
                  <a:pt x="5933469" y="768048"/>
                  <a:pt x="5423573" y="259675"/>
                  <a:pt x="4794585" y="259675"/>
                </a:cubicBezTo>
                <a:close/>
                <a:moveTo>
                  <a:pt x="1574605" y="259673"/>
                </a:moveTo>
                <a:cubicBezTo>
                  <a:pt x="941862" y="259673"/>
                  <a:pt x="428923" y="768046"/>
                  <a:pt x="428923" y="1395156"/>
                </a:cubicBezTo>
                <a:cubicBezTo>
                  <a:pt x="428923" y="2022266"/>
                  <a:pt x="941862" y="2530639"/>
                  <a:pt x="1574605" y="2530639"/>
                </a:cubicBezTo>
                <a:cubicBezTo>
                  <a:pt x="2207348" y="2530639"/>
                  <a:pt x="2720287" y="2022266"/>
                  <a:pt x="2720287" y="1395156"/>
                </a:cubicBezTo>
                <a:cubicBezTo>
                  <a:pt x="2720287" y="768046"/>
                  <a:pt x="2207348" y="259673"/>
                  <a:pt x="1574605" y="259673"/>
                </a:cubicBezTo>
                <a:close/>
                <a:moveTo>
                  <a:pt x="3181118" y="0"/>
                </a:moveTo>
                <a:cubicBezTo>
                  <a:pt x="3505232" y="0"/>
                  <a:pt x="3793333" y="179869"/>
                  <a:pt x="3925380" y="455668"/>
                </a:cubicBezTo>
                <a:cubicBezTo>
                  <a:pt x="4153460" y="239825"/>
                  <a:pt x="4465570" y="119913"/>
                  <a:pt x="4789683" y="119913"/>
                </a:cubicBezTo>
                <a:cubicBezTo>
                  <a:pt x="5209831" y="119913"/>
                  <a:pt x="5593966" y="323764"/>
                  <a:pt x="5822046" y="635538"/>
                </a:cubicBezTo>
                <a:cubicBezTo>
                  <a:pt x="6146160" y="743459"/>
                  <a:pt x="6374240" y="1043241"/>
                  <a:pt x="6374240" y="1390988"/>
                </a:cubicBezTo>
                <a:cubicBezTo>
                  <a:pt x="6374240" y="1750726"/>
                  <a:pt x="6146160" y="2050508"/>
                  <a:pt x="5822046" y="2158429"/>
                </a:cubicBezTo>
                <a:cubicBezTo>
                  <a:pt x="5593966" y="2470202"/>
                  <a:pt x="5209831" y="2674054"/>
                  <a:pt x="4789683" y="2674054"/>
                </a:cubicBezTo>
                <a:cubicBezTo>
                  <a:pt x="4153460" y="2674054"/>
                  <a:pt x="3625274" y="2206394"/>
                  <a:pt x="3529240" y="1606831"/>
                </a:cubicBezTo>
                <a:cubicBezTo>
                  <a:pt x="3421202" y="1654796"/>
                  <a:pt x="3313164" y="1678778"/>
                  <a:pt x="3181118" y="1678778"/>
                </a:cubicBezTo>
                <a:cubicBezTo>
                  <a:pt x="3061076" y="1678778"/>
                  <a:pt x="2941034" y="1654796"/>
                  <a:pt x="2832996" y="1606831"/>
                </a:cubicBezTo>
                <a:cubicBezTo>
                  <a:pt x="2736962" y="2206394"/>
                  <a:pt x="2208776" y="2674054"/>
                  <a:pt x="1572553" y="2674054"/>
                </a:cubicBezTo>
                <a:cubicBezTo>
                  <a:pt x="1152405" y="2674054"/>
                  <a:pt x="780274" y="2470202"/>
                  <a:pt x="540190" y="2158429"/>
                </a:cubicBezTo>
                <a:cubicBezTo>
                  <a:pt x="228080" y="2050508"/>
                  <a:pt x="0" y="1750726"/>
                  <a:pt x="0" y="1390988"/>
                </a:cubicBezTo>
                <a:cubicBezTo>
                  <a:pt x="0" y="1043241"/>
                  <a:pt x="228080" y="743459"/>
                  <a:pt x="540190" y="635538"/>
                </a:cubicBezTo>
                <a:cubicBezTo>
                  <a:pt x="780274" y="323764"/>
                  <a:pt x="1152405" y="119913"/>
                  <a:pt x="1572553" y="119913"/>
                </a:cubicBezTo>
                <a:cubicBezTo>
                  <a:pt x="1908671" y="119913"/>
                  <a:pt x="2208776" y="239825"/>
                  <a:pt x="2436856" y="455668"/>
                </a:cubicBezTo>
                <a:cubicBezTo>
                  <a:pt x="2580907" y="179869"/>
                  <a:pt x="2857004" y="0"/>
                  <a:pt x="3181118" y="0"/>
                </a:cubicBezTo>
                <a:close/>
              </a:path>
            </a:pathLst>
          </a:cu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48" name="Rectangle: Rounded Corners 47">
            <a:extLst>
              <a:ext uri="{FF2B5EF4-FFF2-40B4-BE49-F238E27FC236}">
                <a16:creationId xmlns:a16="http://schemas.microsoft.com/office/drawing/2014/main" id="{99626D04-BE39-4A25-B7E4-845F500AAF92}"/>
              </a:ext>
            </a:extLst>
          </p:cNvPr>
          <p:cNvSpPr/>
          <p:nvPr/>
        </p:nvSpPr>
        <p:spPr>
          <a:xfrm>
            <a:off x="5782923" y="2044203"/>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818" name="Rectangle: Rounded Corners 3817">
            <a:extLst>
              <a:ext uri="{FF2B5EF4-FFF2-40B4-BE49-F238E27FC236}">
                <a16:creationId xmlns:a16="http://schemas.microsoft.com/office/drawing/2014/main" id="{6A7FEFA5-EE6D-4715-A902-EE1FE3BBBA21}"/>
              </a:ext>
            </a:extLst>
          </p:cNvPr>
          <p:cNvSpPr/>
          <p:nvPr/>
        </p:nvSpPr>
        <p:spPr>
          <a:xfrm>
            <a:off x="5782923" y="2790238"/>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819" name="Rectangle: Rounded Corners 3818">
            <a:extLst>
              <a:ext uri="{FF2B5EF4-FFF2-40B4-BE49-F238E27FC236}">
                <a16:creationId xmlns:a16="http://schemas.microsoft.com/office/drawing/2014/main" id="{D9C6590D-A391-4AB9-9D24-DC6493A05C1F}"/>
              </a:ext>
            </a:extLst>
          </p:cNvPr>
          <p:cNvSpPr/>
          <p:nvPr/>
        </p:nvSpPr>
        <p:spPr>
          <a:xfrm>
            <a:off x="5487816" y="2914850"/>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820" name="Rectangle: Rounded Corners 3819">
            <a:extLst>
              <a:ext uri="{FF2B5EF4-FFF2-40B4-BE49-F238E27FC236}">
                <a16:creationId xmlns:a16="http://schemas.microsoft.com/office/drawing/2014/main" id="{26456287-3E49-4055-9D5E-3AB6E11B2178}"/>
              </a:ext>
            </a:extLst>
          </p:cNvPr>
          <p:cNvSpPr/>
          <p:nvPr/>
        </p:nvSpPr>
        <p:spPr>
          <a:xfrm>
            <a:off x="5487816" y="2169141"/>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cxnSp>
        <p:nvCxnSpPr>
          <p:cNvPr id="50" name="Straight Connector 49">
            <a:extLst>
              <a:ext uri="{FF2B5EF4-FFF2-40B4-BE49-F238E27FC236}">
                <a16:creationId xmlns:a16="http://schemas.microsoft.com/office/drawing/2014/main" id="{F4F03C86-2FF0-49E6-8104-9537CE1FD5D0}"/>
              </a:ext>
            </a:extLst>
          </p:cNvPr>
          <p:cNvCxnSpPr>
            <a:stCxn id="48" idx="2"/>
            <a:endCxn id="3818" idx="0"/>
          </p:cNvCxnSpPr>
          <p:nvPr/>
        </p:nvCxnSpPr>
        <p:spPr>
          <a:xfrm>
            <a:off x="6137050" y="2571750"/>
            <a:ext cx="0" cy="218488"/>
          </a:xfrm>
          <a:prstGeom prst="line">
            <a:avLst/>
          </a:prstGeom>
          <a:noFill/>
          <a:ln cap="rnd">
            <a:solidFill>
              <a:schemeClr val="accent5"/>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3831" name="TextBox 3830">
            <a:extLst>
              <a:ext uri="{FF2B5EF4-FFF2-40B4-BE49-F238E27FC236}">
                <a16:creationId xmlns:a16="http://schemas.microsoft.com/office/drawing/2014/main" id="{51262F29-0788-4DCF-A6BF-217C990B5CCF}"/>
              </a:ext>
            </a:extLst>
          </p:cNvPr>
          <p:cNvSpPr txBox="1"/>
          <p:nvPr>
            <p:custDataLst>
              <p:tags r:id="rId2"/>
            </p:custDataLst>
          </p:nvPr>
        </p:nvSpPr>
        <p:spPr>
          <a:xfrm>
            <a:off x="4856883" y="2425448"/>
            <a:ext cx="526416" cy="519728"/>
          </a:xfrm>
          <a:prstGeom prst="ellipse">
            <a:avLst/>
          </a:prstGeom>
          <a:noFill/>
          <a:ln>
            <a:solidFill>
              <a:schemeClr val="accent5">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62" name="Oval 61">
            <a:extLst>
              <a:ext uri="{FF2B5EF4-FFF2-40B4-BE49-F238E27FC236}">
                <a16:creationId xmlns:a16="http://schemas.microsoft.com/office/drawing/2014/main" id="{E11EDA28-5997-4875-802F-B9185A7AF5BE}"/>
              </a:ext>
            </a:extLst>
          </p:cNvPr>
          <p:cNvSpPr/>
          <p:nvPr/>
        </p:nvSpPr>
        <p:spPr>
          <a:xfrm>
            <a:off x="4861357" y="2422590"/>
            <a:ext cx="517468" cy="517468"/>
          </a:xfrm>
          <a:prstGeom prst="ellipse">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80" name="Group 79">
            <a:extLst>
              <a:ext uri="{FF2B5EF4-FFF2-40B4-BE49-F238E27FC236}">
                <a16:creationId xmlns:a16="http://schemas.microsoft.com/office/drawing/2014/main" id="{CB48258F-BCF1-4975-B43F-1CDCFF07A832}"/>
              </a:ext>
            </a:extLst>
          </p:cNvPr>
          <p:cNvGrpSpPr/>
          <p:nvPr/>
        </p:nvGrpSpPr>
        <p:grpSpPr>
          <a:xfrm>
            <a:off x="4476347" y="2076545"/>
            <a:ext cx="447954" cy="664476"/>
            <a:chOff x="4507478" y="2076545"/>
            <a:chExt cx="447954" cy="664476"/>
          </a:xfrm>
        </p:grpSpPr>
        <p:sp>
          <p:nvSpPr>
            <p:cNvPr id="68" name="Oval 67">
              <a:extLst>
                <a:ext uri="{FF2B5EF4-FFF2-40B4-BE49-F238E27FC236}">
                  <a16:creationId xmlns:a16="http://schemas.microsoft.com/office/drawing/2014/main" id="{D1606834-F94A-4513-A99C-B5631D4944A3}"/>
                </a:ext>
              </a:extLst>
            </p:cNvPr>
            <p:cNvSpPr/>
            <p:nvPr/>
          </p:nvSpPr>
          <p:spPr>
            <a:xfrm>
              <a:off x="4676997" y="2632105"/>
              <a:ext cx="108916" cy="108916"/>
            </a:xfrm>
            <a:prstGeom prst="ellipse">
              <a:avLst/>
            </a:prstGeom>
            <a:solidFill>
              <a:schemeClr val="accent6"/>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79" name="Group 78">
              <a:extLst>
                <a:ext uri="{FF2B5EF4-FFF2-40B4-BE49-F238E27FC236}">
                  <a16:creationId xmlns:a16="http://schemas.microsoft.com/office/drawing/2014/main" id="{AB57FE06-495C-4B6E-8970-09E086B4686E}"/>
                </a:ext>
              </a:extLst>
            </p:cNvPr>
            <p:cNvGrpSpPr/>
            <p:nvPr/>
          </p:nvGrpSpPr>
          <p:grpSpPr>
            <a:xfrm>
              <a:off x="4507478" y="2076545"/>
              <a:ext cx="447954" cy="534751"/>
              <a:chOff x="4507478" y="2076545"/>
              <a:chExt cx="447954" cy="534751"/>
            </a:xfrm>
          </p:grpSpPr>
          <p:grpSp>
            <p:nvGrpSpPr>
              <p:cNvPr id="71" name="Group 70">
                <a:extLst>
                  <a:ext uri="{FF2B5EF4-FFF2-40B4-BE49-F238E27FC236}">
                    <a16:creationId xmlns:a16="http://schemas.microsoft.com/office/drawing/2014/main" id="{235817DD-7C53-453A-B4BE-30AC9D85E71A}"/>
                  </a:ext>
                </a:extLst>
              </p:cNvPr>
              <p:cNvGrpSpPr/>
              <p:nvPr/>
            </p:nvGrpSpPr>
            <p:grpSpPr>
              <a:xfrm>
                <a:off x="4507478" y="2076545"/>
                <a:ext cx="447954" cy="534751"/>
                <a:chOff x="4501128" y="1906926"/>
                <a:chExt cx="447954" cy="534751"/>
              </a:xfrm>
            </p:grpSpPr>
            <p:sp>
              <p:nvSpPr>
                <p:cNvPr id="70" name="Isosceles Triangle 69">
                  <a:extLst>
                    <a:ext uri="{FF2B5EF4-FFF2-40B4-BE49-F238E27FC236}">
                      <a16:creationId xmlns:a16="http://schemas.microsoft.com/office/drawing/2014/main" id="{FF992B90-6E23-416C-A65F-3A5137202A8D}"/>
                    </a:ext>
                  </a:extLst>
                </p:cNvPr>
                <p:cNvSpPr/>
                <p:nvPr/>
              </p:nvSpPr>
              <p:spPr>
                <a:xfrm rot="10800000">
                  <a:off x="4576322" y="2187276"/>
                  <a:ext cx="295105" cy="254401"/>
                </a:xfrm>
                <a:prstGeom prst="triangl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69" name="Oval 68">
                  <a:extLst>
                    <a:ext uri="{FF2B5EF4-FFF2-40B4-BE49-F238E27FC236}">
                      <a16:creationId xmlns:a16="http://schemas.microsoft.com/office/drawing/2014/main" id="{CA2F0BA4-8A32-4813-B6AF-5B1DF5E36382}"/>
                    </a:ext>
                  </a:extLst>
                </p:cNvPr>
                <p:cNvSpPr/>
                <p:nvPr/>
              </p:nvSpPr>
              <p:spPr>
                <a:xfrm>
                  <a:off x="4501128" y="1906926"/>
                  <a:ext cx="447954" cy="447954"/>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grpSp>
            <p:nvGrpSpPr>
              <p:cNvPr id="73" name="Group 4">
                <a:extLst>
                  <a:ext uri="{FF2B5EF4-FFF2-40B4-BE49-F238E27FC236}">
                    <a16:creationId xmlns:a16="http://schemas.microsoft.com/office/drawing/2014/main" id="{2F914A69-CC50-4F86-9582-7E70C9A3DD5B}"/>
                  </a:ext>
                </a:extLst>
              </p:cNvPr>
              <p:cNvGrpSpPr>
                <a:grpSpLocks noChangeAspect="1"/>
              </p:cNvGrpSpPr>
              <p:nvPr/>
            </p:nvGrpSpPr>
            <p:grpSpPr bwMode="auto">
              <a:xfrm>
                <a:off x="4620142" y="2165010"/>
                <a:ext cx="211726" cy="243171"/>
                <a:chOff x="2778" y="1504"/>
                <a:chExt cx="202" cy="232"/>
              </a:xfrm>
              <a:solidFill>
                <a:schemeClr val="bg2"/>
              </a:solidFill>
            </p:grpSpPr>
            <p:sp>
              <p:nvSpPr>
                <p:cNvPr id="75" name="Freeform 5">
                  <a:extLst>
                    <a:ext uri="{FF2B5EF4-FFF2-40B4-BE49-F238E27FC236}">
                      <a16:creationId xmlns:a16="http://schemas.microsoft.com/office/drawing/2014/main" id="{3F295323-C4E9-42BF-A79C-3987DA947122}"/>
                    </a:ext>
                  </a:extLst>
                </p:cNvPr>
                <p:cNvSpPr>
                  <a:spLocks noEditPoints="1"/>
                </p:cNvSpPr>
                <p:nvPr/>
              </p:nvSpPr>
              <p:spPr bwMode="auto">
                <a:xfrm>
                  <a:off x="2823" y="1504"/>
                  <a:ext cx="110" cy="136"/>
                </a:xfrm>
                <a:custGeom>
                  <a:avLst/>
                  <a:gdLst>
                    <a:gd name="T0" fmla="*/ 8 w 53"/>
                    <a:gd name="T1" fmla="*/ 60 h 66"/>
                    <a:gd name="T2" fmla="*/ 14 w 53"/>
                    <a:gd name="T3" fmla="*/ 66 h 66"/>
                    <a:gd name="T4" fmla="*/ 39 w 53"/>
                    <a:gd name="T5" fmla="*/ 66 h 66"/>
                    <a:gd name="T6" fmla="*/ 45 w 53"/>
                    <a:gd name="T7" fmla="*/ 60 h 66"/>
                    <a:gd name="T8" fmla="*/ 45 w 53"/>
                    <a:gd name="T9" fmla="*/ 50 h 66"/>
                    <a:gd name="T10" fmla="*/ 53 w 53"/>
                    <a:gd name="T11" fmla="*/ 29 h 66"/>
                    <a:gd name="T12" fmla="*/ 27 w 53"/>
                    <a:gd name="T13" fmla="*/ 0 h 66"/>
                    <a:gd name="T14" fmla="*/ 0 w 53"/>
                    <a:gd name="T15" fmla="*/ 29 h 66"/>
                    <a:gd name="T16" fmla="*/ 8 w 53"/>
                    <a:gd name="T17" fmla="*/ 49 h 66"/>
                    <a:gd name="T18" fmla="*/ 8 w 53"/>
                    <a:gd name="T19" fmla="*/ 60 h 66"/>
                    <a:gd name="T20" fmla="*/ 27 w 53"/>
                    <a:gd name="T21" fmla="*/ 12 h 66"/>
                    <a:gd name="T22" fmla="*/ 41 w 53"/>
                    <a:gd name="T23" fmla="*/ 29 h 66"/>
                    <a:gd name="T24" fmla="*/ 35 w 53"/>
                    <a:gd name="T25" fmla="*/ 42 h 66"/>
                    <a:gd name="T26" fmla="*/ 33 w 53"/>
                    <a:gd name="T27" fmla="*/ 47 h 66"/>
                    <a:gd name="T28" fmla="*/ 33 w 53"/>
                    <a:gd name="T29" fmla="*/ 54 h 66"/>
                    <a:gd name="T30" fmla="*/ 20 w 53"/>
                    <a:gd name="T31" fmla="*/ 54 h 66"/>
                    <a:gd name="T32" fmla="*/ 20 w 53"/>
                    <a:gd name="T33" fmla="*/ 46 h 66"/>
                    <a:gd name="T34" fmla="*/ 18 w 53"/>
                    <a:gd name="T35" fmla="*/ 42 h 66"/>
                    <a:gd name="T36" fmla="*/ 12 w 53"/>
                    <a:gd name="T37" fmla="*/ 29 h 66"/>
                    <a:gd name="T38" fmla="*/ 27 w 53"/>
                    <a:gd name="T39"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66">
                      <a:moveTo>
                        <a:pt x="8" y="60"/>
                      </a:moveTo>
                      <a:cubicBezTo>
                        <a:pt x="8" y="64"/>
                        <a:pt x="10" y="66"/>
                        <a:pt x="14" y="66"/>
                      </a:cubicBezTo>
                      <a:cubicBezTo>
                        <a:pt x="39" y="66"/>
                        <a:pt x="39" y="66"/>
                        <a:pt x="39" y="66"/>
                      </a:cubicBezTo>
                      <a:cubicBezTo>
                        <a:pt x="42" y="66"/>
                        <a:pt x="45" y="64"/>
                        <a:pt x="45" y="60"/>
                      </a:cubicBezTo>
                      <a:cubicBezTo>
                        <a:pt x="45" y="50"/>
                        <a:pt x="45" y="50"/>
                        <a:pt x="45" y="50"/>
                      </a:cubicBezTo>
                      <a:cubicBezTo>
                        <a:pt x="50" y="44"/>
                        <a:pt x="53" y="37"/>
                        <a:pt x="53" y="29"/>
                      </a:cubicBezTo>
                      <a:cubicBezTo>
                        <a:pt x="53" y="13"/>
                        <a:pt x="41" y="0"/>
                        <a:pt x="27" y="0"/>
                      </a:cubicBezTo>
                      <a:cubicBezTo>
                        <a:pt x="12" y="0"/>
                        <a:pt x="0" y="13"/>
                        <a:pt x="0" y="29"/>
                      </a:cubicBezTo>
                      <a:cubicBezTo>
                        <a:pt x="0" y="36"/>
                        <a:pt x="3" y="43"/>
                        <a:pt x="8" y="49"/>
                      </a:cubicBezTo>
                      <a:lnTo>
                        <a:pt x="8" y="60"/>
                      </a:lnTo>
                      <a:close/>
                      <a:moveTo>
                        <a:pt x="27" y="12"/>
                      </a:moveTo>
                      <a:cubicBezTo>
                        <a:pt x="35" y="12"/>
                        <a:pt x="41" y="20"/>
                        <a:pt x="41" y="29"/>
                      </a:cubicBezTo>
                      <a:cubicBezTo>
                        <a:pt x="41" y="34"/>
                        <a:pt x="39" y="39"/>
                        <a:pt x="35" y="42"/>
                      </a:cubicBezTo>
                      <a:cubicBezTo>
                        <a:pt x="34" y="43"/>
                        <a:pt x="33" y="45"/>
                        <a:pt x="33" y="47"/>
                      </a:cubicBezTo>
                      <a:cubicBezTo>
                        <a:pt x="33" y="54"/>
                        <a:pt x="33" y="54"/>
                        <a:pt x="33" y="54"/>
                      </a:cubicBezTo>
                      <a:cubicBezTo>
                        <a:pt x="20" y="54"/>
                        <a:pt x="20" y="54"/>
                        <a:pt x="20" y="54"/>
                      </a:cubicBezTo>
                      <a:cubicBezTo>
                        <a:pt x="20" y="46"/>
                        <a:pt x="20" y="46"/>
                        <a:pt x="20" y="46"/>
                      </a:cubicBezTo>
                      <a:cubicBezTo>
                        <a:pt x="20" y="44"/>
                        <a:pt x="19" y="43"/>
                        <a:pt x="18" y="42"/>
                      </a:cubicBezTo>
                      <a:cubicBezTo>
                        <a:pt x="14" y="38"/>
                        <a:pt x="12" y="34"/>
                        <a:pt x="12" y="29"/>
                      </a:cubicBezTo>
                      <a:cubicBezTo>
                        <a:pt x="12" y="20"/>
                        <a:pt x="19" y="12"/>
                        <a:pt x="2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76" name="Oval 6">
                  <a:extLst>
                    <a:ext uri="{FF2B5EF4-FFF2-40B4-BE49-F238E27FC236}">
                      <a16:creationId xmlns:a16="http://schemas.microsoft.com/office/drawing/2014/main" id="{9A7825C4-F4EF-4AA1-BDE0-02CE85BF35B6}"/>
                    </a:ext>
                  </a:extLst>
                </p:cNvPr>
                <p:cNvSpPr>
                  <a:spLocks noChangeArrowheads="1"/>
                </p:cNvSpPr>
                <p:nvPr/>
              </p:nvSpPr>
              <p:spPr bwMode="auto">
                <a:xfrm>
                  <a:off x="2852" y="1555"/>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77" name="Oval 7">
                  <a:extLst>
                    <a:ext uri="{FF2B5EF4-FFF2-40B4-BE49-F238E27FC236}">
                      <a16:creationId xmlns:a16="http://schemas.microsoft.com/office/drawing/2014/main" id="{A1C0B264-3F94-4D60-BC11-C176FDBD2716}"/>
                    </a:ext>
                  </a:extLst>
                </p:cNvPr>
                <p:cNvSpPr>
                  <a:spLocks noChangeArrowheads="1"/>
                </p:cNvSpPr>
                <p:nvPr/>
              </p:nvSpPr>
              <p:spPr bwMode="auto">
                <a:xfrm>
                  <a:off x="2883" y="1555"/>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78" name="Freeform 8">
                  <a:extLst>
                    <a:ext uri="{FF2B5EF4-FFF2-40B4-BE49-F238E27FC236}">
                      <a16:creationId xmlns:a16="http://schemas.microsoft.com/office/drawing/2014/main" id="{582AEEBB-4081-41B6-A706-DDC5A64BCC26}"/>
                    </a:ext>
                  </a:extLst>
                </p:cNvPr>
                <p:cNvSpPr>
                  <a:spLocks/>
                </p:cNvSpPr>
                <p:nvPr/>
              </p:nvSpPr>
              <p:spPr bwMode="auto">
                <a:xfrm>
                  <a:off x="2778" y="1617"/>
                  <a:ext cx="202" cy="119"/>
                </a:xfrm>
                <a:custGeom>
                  <a:avLst/>
                  <a:gdLst>
                    <a:gd name="T0" fmla="*/ 91 w 98"/>
                    <a:gd name="T1" fmla="*/ 22 h 58"/>
                    <a:gd name="T2" fmla="*/ 98 w 98"/>
                    <a:gd name="T3" fmla="*/ 15 h 58"/>
                    <a:gd name="T4" fmla="*/ 92 w 98"/>
                    <a:gd name="T5" fmla="*/ 9 h 58"/>
                    <a:gd name="T6" fmla="*/ 92 w 98"/>
                    <a:gd name="T7" fmla="*/ 6 h 58"/>
                    <a:gd name="T8" fmla="*/ 86 w 98"/>
                    <a:gd name="T9" fmla="*/ 0 h 58"/>
                    <a:gd name="T10" fmla="*/ 79 w 98"/>
                    <a:gd name="T11" fmla="*/ 6 h 58"/>
                    <a:gd name="T12" fmla="*/ 81 w 98"/>
                    <a:gd name="T13" fmla="*/ 10 h 58"/>
                    <a:gd name="T14" fmla="*/ 49 w 98"/>
                    <a:gd name="T15" fmla="*/ 24 h 58"/>
                    <a:gd name="T16" fmla="*/ 17 w 98"/>
                    <a:gd name="T17" fmla="*/ 10 h 58"/>
                    <a:gd name="T18" fmla="*/ 18 w 98"/>
                    <a:gd name="T19" fmla="*/ 6 h 58"/>
                    <a:gd name="T20" fmla="*/ 11 w 98"/>
                    <a:gd name="T21" fmla="*/ 0 h 58"/>
                    <a:gd name="T22" fmla="*/ 5 w 98"/>
                    <a:gd name="T23" fmla="*/ 6 h 58"/>
                    <a:gd name="T24" fmla="*/ 6 w 98"/>
                    <a:gd name="T25" fmla="*/ 9 h 58"/>
                    <a:gd name="T26" fmla="*/ 0 w 98"/>
                    <a:gd name="T27" fmla="*/ 15 h 58"/>
                    <a:gd name="T28" fmla="*/ 6 w 98"/>
                    <a:gd name="T29" fmla="*/ 22 h 58"/>
                    <a:gd name="T30" fmla="*/ 12 w 98"/>
                    <a:gd name="T31" fmla="*/ 19 h 58"/>
                    <a:gd name="T32" fmla="*/ 37 w 98"/>
                    <a:gd name="T33" fmla="*/ 29 h 58"/>
                    <a:gd name="T34" fmla="*/ 12 w 98"/>
                    <a:gd name="T35" fmla="*/ 40 h 58"/>
                    <a:gd name="T36" fmla="*/ 6 w 98"/>
                    <a:gd name="T37" fmla="*/ 36 h 58"/>
                    <a:gd name="T38" fmla="*/ 0 w 98"/>
                    <a:gd name="T39" fmla="*/ 42 h 58"/>
                    <a:gd name="T40" fmla="*/ 6 w 98"/>
                    <a:gd name="T41" fmla="*/ 48 h 58"/>
                    <a:gd name="T42" fmla="*/ 5 w 98"/>
                    <a:gd name="T43" fmla="*/ 51 h 58"/>
                    <a:gd name="T44" fmla="*/ 11 w 98"/>
                    <a:gd name="T45" fmla="*/ 58 h 58"/>
                    <a:gd name="T46" fmla="*/ 18 w 98"/>
                    <a:gd name="T47" fmla="*/ 51 h 58"/>
                    <a:gd name="T48" fmla="*/ 17 w 98"/>
                    <a:gd name="T49" fmla="*/ 48 h 58"/>
                    <a:gd name="T50" fmla="*/ 17 w 98"/>
                    <a:gd name="T51" fmla="*/ 48 h 58"/>
                    <a:gd name="T52" fmla="*/ 17 w 98"/>
                    <a:gd name="T53" fmla="*/ 48 h 58"/>
                    <a:gd name="T54" fmla="*/ 49 w 98"/>
                    <a:gd name="T55" fmla="*/ 34 h 58"/>
                    <a:gd name="T56" fmla="*/ 80 w 98"/>
                    <a:gd name="T57" fmla="*/ 48 h 58"/>
                    <a:gd name="T58" fmla="*/ 80 w 98"/>
                    <a:gd name="T59" fmla="*/ 48 h 58"/>
                    <a:gd name="T60" fmla="*/ 80 w 98"/>
                    <a:gd name="T61" fmla="*/ 48 h 58"/>
                    <a:gd name="T62" fmla="*/ 79 w 98"/>
                    <a:gd name="T63" fmla="*/ 51 h 58"/>
                    <a:gd name="T64" fmla="*/ 86 w 98"/>
                    <a:gd name="T65" fmla="*/ 58 h 58"/>
                    <a:gd name="T66" fmla="*/ 92 w 98"/>
                    <a:gd name="T67" fmla="*/ 51 h 58"/>
                    <a:gd name="T68" fmla="*/ 92 w 98"/>
                    <a:gd name="T69" fmla="*/ 48 h 58"/>
                    <a:gd name="T70" fmla="*/ 98 w 98"/>
                    <a:gd name="T71" fmla="*/ 42 h 58"/>
                    <a:gd name="T72" fmla="*/ 91 w 98"/>
                    <a:gd name="T73" fmla="*/ 36 h 58"/>
                    <a:gd name="T74" fmla="*/ 85 w 98"/>
                    <a:gd name="T75" fmla="*/ 40 h 58"/>
                    <a:gd name="T76" fmla="*/ 60 w 98"/>
                    <a:gd name="T77" fmla="*/ 29 h 58"/>
                    <a:gd name="T78" fmla="*/ 85 w 98"/>
                    <a:gd name="T79" fmla="*/ 19 h 58"/>
                    <a:gd name="T80" fmla="*/ 91 w 98"/>
                    <a:gd name="T81"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 h="58">
                      <a:moveTo>
                        <a:pt x="91" y="22"/>
                      </a:moveTo>
                      <a:cubicBezTo>
                        <a:pt x="95" y="22"/>
                        <a:pt x="98" y="19"/>
                        <a:pt x="98" y="15"/>
                      </a:cubicBezTo>
                      <a:cubicBezTo>
                        <a:pt x="98" y="12"/>
                        <a:pt x="95" y="9"/>
                        <a:pt x="92" y="9"/>
                      </a:cubicBezTo>
                      <a:cubicBezTo>
                        <a:pt x="92" y="8"/>
                        <a:pt x="92" y="7"/>
                        <a:pt x="92" y="6"/>
                      </a:cubicBezTo>
                      <a:cubicBezTo>
                        <a:pt x="92" y="3"/>
                        <a:pt x="90" y="0"/>
                        <a:pt x="86" y="0"/>
                      </a:cubicBezTo>
                      <a:cubicBezTo>
                        <a:pt x="82" y="0"/>
                        <a:pt x="79" y="3"/>
                        <a:pt x="79" y="6"/>
                      </a:cubicBezTo>
                      <a:cubicBezTo>
                        <a:pt x="79" y="8"/>
                        <a:pt x="80" y="9"/>
                        <a:pt x="81" y="10"/>
                      </a:cubicBezTo>
                      <a:cubicBezTo>
                        <a:pt x="49" y="24"/>
                        <a:pt x="49" y="24"/>
                        <a:pt x="49" y="24"/>
                      </a:cubicBezTo>
                      <a:cubicBezTo>
                        <a:pt x="17" y="10"/>
                        <a:pt x="17" y="10"/>
                        <a:pt x="17" y="10"/>
                      </a:cubicBezTo>
                      <a:cubicBezTo>
                        <a:pt x="17" y="9"/>
                        <a:pt x="18" y="8"/>
                        <a:pt x="18" y="6"/>
                      </a:cubicBezTo>
                      <a:cubicBezTo>
                        <a:pt x="18" y="3"/>
                        <a:pt x="15" y="0"/>
                        <a:pt x="11" y="0"/>
                      </a:cubicBezTo>
                      <a:cubicBezTo>
                        <a:pt x="8" y="0"/>
                        <a:pt x="5" y="3"/>
                        <a:pt x="5" y="6"/>
                      </a:cubicBezTo>
                      <a:cubicBezTo>
                        <a:pt x="5" y="7"/>
                        <a:pt x="5" y="8"/>
                        <a:pt x="6" y="9"/>
                      </a:cubicBezTo>
                      <a:cubicBezTo>
                        <a:pt x="2" y="9"/>
                        <a:pt x="0" y="12"/>
                        <a:pt x="0" y="15"/>
                      </a:cubicBezTo>
                      <a:cubicBezTo>
                        <a:pt x="0" y="19"/>
                        <a:pt x="3" y="22"/>
                        <a:pt x="6" y="22"/>
                      </a:cubicBezTo>
                      <a:cubicBezTo>
                        <a:pt x="9" y="22"/>
                        <a:pt x="11" y="21"/>
                        <a:pt x="12" y="19"/>
                      </a:cubicBezTo>
                      <a:cubicBezTo>
                        <a:pt x="37" y="29"/>
                        <a:pt x="37" y="29"/>
                        <a:pt x="37" y="29"/>
                      </a:cubicBezTo>
                      <a:cubicBezTo>
                        <a:pt x="12" y="40"/>
                        <a:pt x="12" y="40"/>
                        <a:pt x="12" y="40"/>
                      </a:cubicBezTo>
                      <a:cubicBezTo>
                        <a:pt x="12" y="37"/>
                        <a:pt x="9" y="36"/>
                        <a:pt x="6" y="36"/>
                      </a:cubicBezTo>
                      <a:cubicBezTo>
                        <a:pt x="3" y="36"/>
                        <a:pt x="0" y="38"/>
                        <a:pt x="0" y="42"/>
                      </a:cubicBezTo>
                      <a:cubicBezTo>
                        <a:pt x="0" y="45"/>
                        <a:pt x="2" y="48"/>
                        <a:pt x="6" y="48"/>
                      </a:cubicBezTo>
                      <a:cubicBezTo>
                        <a:pt x="5" y="49"/>
                        <a:pt x="5" y="50"/>
                        <a:pt x="5" y="51"/>
                      </a:cubicBezTo>
                      <a:cubicBezTo>
                        <a:pt x="5" y="55"/>
                        <a:pt x="8" y="58"/>
                        <a:pt x="11" y="58"/>
                      </a:cubicBezTo>
                      <a:cubicBezTo>
                        <a:pt x="15" y="58"/>
                        <a:pt x="18" y="55"/>
                        <a:pt x="18" y="51"/>
                      </a:cubicBezTo>
                      <a:cubicBezTo>
                        <a:pt x="18" y="50"/>
                        <a:pt x="18" y="49"/>
                        <a:pt x="17" y="48"/>
                      </a:cubicBezTo>
                      <a:cubicBezTo>
                        <a:pt x="17" y="48"/>
                        <a:pt x="17" y="48"/>
                        <a:pt x="17" y="48"/>
                      </a:cubicBezTo>
                      <a:cubicBezTo>
                        <a:pt x="17" y="48"/>
                        <a:pt x="17" y="48"/>
                        <a:pt x="17" y="48"/>
                      </a:cubicBezTo>
                      <a:cubicBezTo>
                        <a:pt x="49" y="34"/>
                        <a:pt x="49" y="34"/>
                        <a:pt x="49" y="34"/>
                      </a:cubicBezTo>
                      <a:cubicBezTo>
                        <a:pt x="80" y="48"/>
                        <a:pt x="80" y="48"/>
                        <a:pt x="80" y="48"/>
                      </a:cubicBezTo>
                      <a:cubicBezTo>
                        <a:pt x="80" y="48"/>
                        <a:pt x="80" y="48"/>
                        <a:pt x="80" y="48"/>
                      </a:cubicBezTo>
                      <a:cubicBezTo>
                        <a:pt x="80" y="48"/>
                        <a:pt x="80" y="48"/>
                        <a:pt x="80" y="48"/>
                      </a:cubicBezTo>
                      <a:cubicBezTo>
                        <a:pt x="80" y="49"/>
                        <a:pt x="79" y="50"/>
                        <a:pt x="79" y="51"/>
                      </a:cubicBezTo>
                      <a:cubicBezTo>
                        <a:pt x="79" y="55"/>
                        <a:pt x="82" y="58"/>
                        <a:pt x="86" y="58"/>
                      </a:cubicBezTo>
                      <a:cubicBezTo>
                        <a:pt x="90" y="58"/>
                        <a:pt x="92" y="55"/>
                        <a:pt x="92" y="51"/>
                      </a:cubicBezTo>
                      <a:cubicBezTo>
                        <a:pt x="92" y="50"/>
                        <a:pt x="92" y="49"/>
                        <a:pt x="92" y="48"/>
                      </a:cubicBezTo>
                      <a:cubicBezTo>
                        <a:pt x="95" y="48"/>
                        <a:pt x="98" y="45"/>
                        <a:pt x="98" y="42"/>
                      </a:cubicBezTo>
                      <a:cubicBezTo>
                        <a:pt x="98" y="38"/>
                        <a:pt x="95" y="36"/>
                        <a:pt x="91" y="36"/>
                      </a:cubicBezTo>
                      <a:cubicBezTo>
                        <a:pt x="88" y="36"/>
                        <a:pt x="86" y="37"/>
                        <a:pt x="85" y="40"/>
                      </a:cubicBezTo>
                      <a:cubicBezTo>
                        <a:pt x="60" y="29"/>
                        <a:pt x="60" y="29"/>
                        <a:pt x="60" y="29"/>
                      </a:cubicBezTo>
                      <a:cubicBezTo>
                        <a:pt x="85" y="19"/>
                        <a:pt x="85" y="19"/>
                        <a:pt x="85" y="19"/>
                      </a:cubicBezTo>
                      <a:cubicBezTo>
                        <a:pt x="87" y="21"/>
                        <a:pt x="89" y="22"/>
                        <a:pt x="9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pic>
        <p:nvPicPr>
          <p:cNvPr id="33" name="Picture 32">
            <a:extLst>
              <a:ext uri="{FF2B5EF4-FFF2-40B4-BE49-F238E27FC236}">
                <a16:creationId xmlns:a16="http://schemas.microsoft.com/office/drawing/2014/main" id="{89520809-603E-4781-BC0D-55856C119790}"/>
              </a:ext>
            </a:extLst>
          </p:cNvPr>
          <p:cNvPicPr>
            <a:picLocks noChangeAspect="1"/>
          </p:cNvPicPr>
          <p:nvPr/>
        </p:nvPicPr>
        <p:blipFill>
          <a:blip r:embed="rId46"/>
          <a:stretch>
            <a:fillRect/>
          </a:stretch>
        </p:blipFill>
        <p:spPr>
          <a:xfrm>
            <a:off x="4894519" y="2458151"/>
            <a:ext cx="451143" cy="451143"/>
          </a:xfrm>
          <a:prstGeom prst="rect">
            <a:avLst/>
          </a:prstGeom>
        </p:spPr>
      </p:pic>
      <p:pic>
        <p:nvPicPr>
          <p:cNvPr id="34" name="Picture 33">
            <a:extLst>
              <a:ext uri="{FF2B5EF4-FFF2-40B4-BE49-F238E27FC236}">
                <a16:creationId xmlns:a16="http://schemas.microsoft.com/office/drawing/2014/main" id="{07DEA1CB-B7AF-43EC-BB40-500297F3715A}"/>
              </a:ext>
            </a:extLst>
          </p:cNvPr>
          <p:cNvPicPr>
            <a:picLocks noChangeAspect="1"/>
          </p:cNvPicPr>
          <p:nvPr/>
        </p:nvPicPr>
        <p:blipFill>
          <a:blip r:embed="rId47"/>
          <a:stretch>
            <a:fillRect/>
          </a:stretch>
        </p:blipFill>
        <p:spPr>
          <a:xfrm>
            <a:off x="4894519" y="2464247"/>
            <a:ext cx="451143" cy="445047"/>
          </a:xfrm>
          <a:prstGeom prst="rect">
            <a:avLst/>
          </a:prstGeom>
        </p:spPr>
      </p:pic>
      <p:pic>
        <p:nvPicPr>
          <p:cNvPr id="1615" name="Picture 1614">
            <a:extLst>
              <a:ext uri="{FF2B5EF4-FFF2-40B4-BE49-F238E27FC236}">
                <a16:creationId xmlns:a16="http://schemas.microsoft.com/office/drawing/2014/main" id="{26E658B8-79E6-446B-8CCB-E1709F5A19BA}"/>
              </a:ext>
            </a:extLst>
          </p:cNvPr>
          <p:cNvPicPr>
            <a:picLocks noChangeAspect="1"/>
          </p:cNvPicPr>
          <p:nvPr/>
        </p:nvPicPr>
        <p:blipFill>
          <a:blip r:embed="rId46"/>
          <a:stretch>
            <a:fillRect/>
          </a:stretch>
        </p:blipFill>
        <p:spPr>
          <a:xfrm>
            <a:off x="4894519" y="2458151"/>
            <a:ext cx="451143" cy="451143"/>
          </a:xfrm>
          <a:prstGeom prst="rect">
            <a:avLst/>
          </a:prstGeom>
        </p:spPr>
      </p:pic>
      <p:pic>
        <p:nvPicPr>
          <p:cNvPr id="1616" name="Picture 1615">
            <a:extLst>
              <a:ext uri="{FF2B5EF4-FFF2-40B4-BE49-F238E27FC236}">
                <a16:creationId xmlns:a16="http://schemas.microsoft.com/office/drawing/2014/main" id="{F587ABBA-5E05-4E1F-9947-C9628E8281B3}"/>
              </a:ext>
            </a:extLst>
          </p:cNvPr>
          <p:cNvPicPr>
            <a:picLocks noChangeAspect="1"/>
          </p:cNvPicPr>
          <p:nvPr/>
        </p:nvPicPr>
        <p:blipFill>
          <a:blip r:embed="rId47"/>
          <a:stretch>
            <a:fillRect/>
          </a:stretch>
        </p:blipFill>
        <p:spPr>
          <a:xfrm>
            <a:off x="4894519" y="2464247"/>
            <a:ext cx="451143" cy="445047"/>
          </a:xfrm>
          <a:prstGeom prst="rect">
            <a:avLst/>
          </a:prstGeom>
        </p:spPr>
      </p:pic>
      <p:grpSp>
        <p:nvGrpSpPr>
          <p:cNvPr id="1418" name="Group 1417">
            <a:extLst>
              <a:ext uri="{FF2B5EF4-FFF2-40B4-BE49-F238E27FC236}">
                <a16:creationId xmlns:a16="http://schemas.microsoft.com/office/drawing/2014/main" id="{F7A00218-52D4-46F8-910E-08958BD400E8}"/>
              </a:ext>
            </a:extLst>
          </p:cNvPr>
          <p:cNvGrpSpPr>
            <a:grpSpLocks noChangeAspect="1"/>
          </p:cNvGrpSpPr>
          <p:nvPr>
            <p:custDataLst>
              <p:tags r:id="rId3"/>
            </p:custDataLst>
          </p:nvPr>
        </p:nvGrpSpPr>
        <p:grpSpPr>
          <a:xfrm>
            <a:off x="4897605" y="2467206"/>
            <a:ext cx="439947" cy="439993"/>
            <a:chOff x="542940" y="1857375"/>
            <a:chExt cx="914400" cy="914494"/>
          </a:xfrm>
        </p:grpSpPr>
        <p:sp>
          <p:nvSpPr>
            <p:cNvPr id="1419" name="Oval 1418">
              <a:extLst>
                <a:ext uri="{FF2B5EF4-FFF2-40B4-BE49-F238E27FC236}">
                  <a16:creationId xmlns:a16="http://schemas.microsoft.com/office/drawing/2014/main" id="{39AB390E-6E8B-4BE6-B355-05B5AFE403C3}"/>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420" name="Group 4">
              <a:extLst>
                <a:ext uri="{FF2B5EF4-FFF2-40B4-BE49-F238E27FC236}">
                  <a16:creationId xmlns:a16="http://schemas.microsoft.com/office/drawing/2014/main" id="{9A6B9B31-B628-4E32-9461-D1053488ECFC}"/>
                </a:ext>
              </a:extLst>
            </p:cNvPr>
            <p:cNvGrpSpPr>
              <a:grpSpLocks noChangeAspect="1"/>
            </p:cNvGrpSpPr>
            <p:nvPr/>
          </p:nvGrpSpPr>
          <p:grpSpPr bwMode="auto">
            <a:xfrm>
              <a:off x="543174" y="1857375"/>
              <a:ext cx="913932" cy="914494"/>
              <a:chOff x="1261" y="0"/>
              <a:chExt cx="3238" cy="3240"/>
            </a:xfrm>
            <a:solidFill>
              <a:schemeClr val="tx2"/>
            </a:solidFill>
          </p:grpSpPr>
          <p:sp>
            <p:nvSpPr>
              <p:cNvPr id="1421" name="Freeform 5">
                <a:extLst>
                  <a:ext uri="{FF2B5EF4-FFF2-40B4-BE49-F238E27FC236}">
                    <a16:creationId xmlns:a16="http://schemas.microsoft.com/office/drawing/2014/main" id="{AEB16B68-2A5C-4970-9F03-D09FD6E8EBCD}"/>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22" name="Freeform 6">
                <a:extLst>
                  <a:ext uri="{FF2B5EF4-FFF2-40B4-BE49-F238E27FC236}">
                    <a16:creationId xmlns:a16="http://schemas.microsoft.com/office/drawing/2014/main" id="{F17FC72A-7432-4B59-B70B-A1F1539AF336}"/>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23" name="Freeform 7">
                <a:extLst>
                  <a:ext uri="{FF2B5EF4-FFF2-40B4-BE49-F238E27FC236}">
                    <a16:creationId xmlns:a16="http://schemas.microsoft.com/office/drawing/2014/main" id="{7650F42C-B221-40FD-9D38-1DED392E793D}"/>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24" name="Freeform 8">
                <a:extLst>
                  <a:ext uri="{FF2B5EF4-FFF2-40B4-BE49-F238E27FC236}">
                    <a16:creationId xmlns:a16="http://schemas.microsoft.com/office/drawing/2014/main" id="{D0749339-F799-41C7-83BF-148500DD41B2}"/>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25" name="Freeform 9">
                <a:extLst>
                  <a:ext uri="{FF2B5EF4-FFF2-40B4-BE49-F238E27FC236}">
                    <a16:creationId xmlns:a16="http://schemas.microsoft.com/office/drawing/2014/main" id="{D0A35997-6EC8-45E5-97B4-0C9901B689F5}"/>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26" name="Freeform 10">
                <a:extLst>
                  <a:ext uri="{FF2B5EF4-FFF2-40B4-BE49-F238E27FC236}">
                    <a16:creationId xmlns:a16="http://schemas.microsoft.com/office/drawing/2014/main" id="{5D7AA0DE-B492-45DD-B1B5-374EBDCDE816}"/>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27" name="Freeform 11">
                <a:extLst>
                  <a:ext uri="{FF2B5EF4-FFF2-40B4-BE49-F238E27FC236}">
                    <a16:creationId xmlns:a16="http://schemas.microsoft.com/office/drawing/2014/main" id="{0FC26F32-AC8C-4888-B023-AC66ED9EEFEC}"/>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28" name="Freeform 12">
                <a:extLst>
                  <a:ext uri="{FF2B5EF4-FFF2-40B4-BE49-F238E27FC236}">
                    <a16:creationId xmlns:a16="http://schemas.microsoft.com/office/drawing/2014/main" id="{3ACA78E0-AC09-442E-AA3E-69756990603C}"/>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29" name="Freeform 13">
                <a:extLst>
                  <a:ext uri="{FF2B5EF4-FFF2-40B4-BE49-F238E27FC236}">
                    <a16:creationId xmlns:a16="http://schemas.microsoft.com/office/drawing/2014/main" id="{79EE4A5D-3619-4D75-9489-4D835F954CA4}"/>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30" name="Freeform 14">
                <a:extLst>
                  <a:ext uri="{FF2B5EF4-FFF2-40B4-BE49-F238E27FC236}">
                    <a16:creationId xmlns:a16="http://schemas.microsoft.com/office/drawing/2014/main" id="{855F9C07-F5A6-4669-BD70-FF23182FDBE6}"/>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31" name="Freeform 15">
                <a:extLst>
                  <a:ext uri="{FF2B5EF4-FFF2-40B4-BE49-F238E27FC236}">
                    <a16:creationId xmlns:a16="http://schemas.microsoft.com/office/drawing/2014/main" id="{84C24FA2-171F-4F1D-9D88-08F370799FF7}"/>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32" name="Freeform 16">
                <a:extLst>
                  <a:ext uri="{FF2B5EF4-FFF2-40B4-BE49-F238E27FC236}">
                    <a16:creationId xmlns:a16="http://schemas.microsoft.com/office/drawing/2014/main" id="{4C240F2A-66B2-440D-9664-8F5607B61F2F}"/>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33" name="Freeform 17">
                <a:extLst>
                  <a:ext uri="{FF2B5EF4-FFF2-40B4-BE49-F238E27FC236}">
                    <a16:creationId xmlns:a16="http://schemas.microsoft.com/office/drawing/2014/main" id="{1B9B0794-4663-47EE-8819-A0A5A5A34A1B}"/>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34" name="Freeform 18">
                <a:extLst>
                  <a:ext uri="{FF2B5EF4-FFF2-40B4-BE49-F238E27FC236}">
                    <a16:creationId xmlns:a16="http://schemas.microsoft.com/office/drawing/2014/main" id="{02C82707-C5C5-40DE-A971-12092F1B9C44}"/>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35" name="Freeform 19">
                <a:extLst>
                  <a:ext uri="{FF2B5EF4-FFF2-40B4-BE49-F238E27FC236}">
                    <a16:creationId xmlns:a16="http://schemas.microsoft.com/office/drawing/2014/main" id="{70D370F5-21B4-4A00-81BB-131551FF644E}"/>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36" name="Freeform 20">
                <a:extLst>
                  <a:ext uri="{FF2B5EF4-FFF2-40B4-BE49-F238E27FC236}">
                    <a16:creationId xmlns:a16="http://schemas.microsoft.com/office/drawing/2014/main" id="{E2F1CC23-F5B9-499A-A535-BD0D66A58931}"/>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37" name="Freeform 21">
                <a:extLst>
                  <a:ext uri="{FF2B5EF4-FFF2-40B4-BE49-F238E27FC236}">
                    <a16:creationId xmlns:a16="http://schemas.microsoft.com/office/drawing/2014/main" id="{F73FEED3-7453-4D77-820E-0A6482CD6528}"/>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38" name="Freeform 22">
                <a:extLst>
                  <a:ext uri="{FF2B5EF4-FFF2-40B4-BE49-F238E27FC236}">
                    <a16:creationId xmlns:a16="http://schemas.microsoft.com/office/drawing/2014/main" id="{AA1B80A2-5E72-48F3-8191-D1023D8271EC}"/>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39" name="Freeform 23">
                <a:extLst>
                  <a:ext uri="{FF2B5EF4-FFF2-40B4-BE49-F238E27FC236}">
                    <a16:creationId xmlns:a16="http://schemas.microsoft.com/office/drawing/2014/main" id="{D32A2791-2680-4431-B730-A7D534D567F6}"/>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40" name="Freeform 24">
                <a:extLst>
                  <a:ext uri="{FF2B5EF4-FFF2-40B4-BE49-F238E27FC236}">
                    <a16:creationId xmlns:a16="http://schemas.microsoft.com/office/drawing/2014/main" id="{4AA6DC12-4A72-4A09-8FC4-97B624ECE155}"/>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nvGrpSpPr>
          <p:cNvPr id="1618" name="Group 1617">
            <a:extLst>
              <a:ext uri="{FF2B5EF4-FFF2-40B4-BE49-F238E27FC236}">
                <a16:creationId xmlns:a16="http://schemas.microsoft.com/office/drawing/2014/main" id="{3BF811DD-457D-4C6F-A5E6-493C3647B936}"/>
              </a:ext>
            </a:extLst>
          </p:cNvPr>
          <p:cNvGrpSpPr/>
          <p:nvPr/>
        </p:nvGrpSpPr>
        <p:grpSpPr>
          <a:xfrm>
            <a:off x="4897606" y="1560778"/>
            <a:ext cx="894738" cy="465927"/>
            <a:chOff x="3719147" y="303257"/>
            <a:chExt cx="531191" cy="465927"/>
          </a:xfrm>
        </p:grpSpPr>
        <p:sp>
          <p:nvSpPr>
            <p:cNvPr id="1625" name="Isosceles Triangle 1624">
              <a:extLst>
                <a:ext uri="{FF2B5EF4-FFF2-40B4-BE49-F238E27FC236}">
                  <a16:creationId xmlns:a16="http://schemas.microsoft.com/office/drawing/2014/main" id="{3FD22C94-A7C0-4247-8259-B838A55C2DA0}"/>
                </a:ext>
              </a:extLst>
            </p:cNvPr>
            <p:cNvSpPr/>
            <p:nvPr/>
          </p:nvSpPr>
          <p:spPr>
            <a:xfrm flipV="1">
              <a:off x="3995204" y="600121"/>
              <a:ext cx="196113" cy="169063"/>
            </a:xfrm>
            <a:prstGeom prst="triangle">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624" name="Rectangle: Rounded Corners 1623">
              <a:extLst>
                <a:ext uri="{FF2B5EF4-FFF2-40B4-BE49-F238E27FC236}">
                  <a16:creationId xmlns:a16="http://schemas.microsoft.com/office/drawing/2014/main" id="{3A6A2455-86F5-4604-8733-AB0435C09CEF}"/>
                </a:ext>
              </a:extLst>
            </p:cNvPr>
            <p:cNvSpPr/>
            <p:nvPr/>
          </p:nvSpPr>
          <p:spPr>
            <a:xfrm>
              <a:off x="3719147" y="303257"/>
              <a:ext cx="531191" cy="37981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East-West</a:t>
              </a:r>
            </a:p>
          </p:txBody>
        </p:sp>
      </p:grpSp>
      <p:grpSp>
        <p:nvGrpSpPr>
          <p:cNvPr id="1626" name="Group 1625">
            <a:extLst>
              <a:ext uri="{FF2B5EF4-FFF2-40B4-BE49-F238E27FC236}">
                <a16:creationId xmlns:a16="http://schemas.microsoft.com/office/drawing/2014/main" id="{2004528E-C52D-43E9-A740-733B99C62F11}"/>
              </a:ext>
            </a:extLst>
          </p:cNvPr>
          <p:cNvGrpSpPr/>
          <p:nvPr/>
        </p:nvGrpSpPr>
        <p:grpSpPr>
          <a:xfrm flipH="1">
            <a:off x="6300157" y="1743106"/>
            <a:ext cx="1050138" cy="379815"/>
            <a:chOff x="3744119" y="303257"/>
            <a:chExt cx="579787" cy="379815"/>
          </a:xfrm>
          <a:solidFill>
            <a:schemeClr val="accent5"/>
          </a:solidFill>
        </p:grpSpPr>
        <p:sp>
          <p:nvSpPr>
            <p:cNvPr id="1628" name="Isosceles Triangle 1627">
              <a:extLst>
                <a:ext uri="{FF2B5EF4-FFF2-40B4-BE49-F238E27FC236}">
                  <a16:creationId xmlns:a16="http://schemas.microsoft.com/office/drawing/2014/main" id="{B5309D6E-917E-4DCE-802D-24DCFB6B6080}"/>
                </a:ext>
              </a:extLst>
            </p:cNvPr>
            <p:cNvSpPr/>
            <p:nvPr/>
          </p:nvSpPr>
          <p:spPr>
            <a:xfrm rot="16200000" flipV="1">
              <a:off x="4151235" y="445280"/>
              <a:ext cx="212595" cy="132747"/>
            </a:xfrm>
            <a:prstGeom prst="triangl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627" name="Rectangle: Rounded Corners 1626">
              <a:extLst>
                <a:ext uri="{FF2B5EF4-FFF2-40B4-BE49-F238E27FC236}">
                  <a16:creationId xmlns:a16="http://schemas.microsoft.com/office/drawing/2014/main" id="{7BB8A895-0374-47CB-BF45-EF153BB989CE}"/>
                </a:ext>
              </a:extLst>
            </p:cNvPr>
            <p:cNvSpPr/>
            <p:nvPr/>
          </p:nvSpPr>
          <p:spPr>
            <a:xfrm>
              <a:off x="3744119" y="303257"/>
              <a:ext cx="506219" cy="37981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Process to Process</a:t>
              </a:r>
            </a:p>
          </p:txBody>
        </p:sp>
      </p:grpSp>
      <p:grpSp>
        <p:nvGrpSpPr>
          <p:cNvPr id="1629" name="Group 1628">
            <a:extLst>
              <a:ext uri="{FF2B5EF4-FFF2-40B4-BE49-F238E27FC236}">
                <a16:creationId xmlns:a16="http://schemas.microsoft.com/office/drawing/2014/main" id="{79D1BBD6-E1DA-4F95-8BF1-4D83764287B5}"/>
              </a:ext>
            </a:extLst>
          </p:cNvPr>
          <p:cNvGrpSpPr/>
          <p:nvPr/>
        </p:nvGrpSpPr>
        <p:grpSpPr>
          <a:xfrm>
            <a:off x="4191316" y="2974615"/>
            <a:ext cx="1038941" cy="547377"/>
            <a:chOff x="3257983" y="200071"/>
            <a:chExt cx="992354" cy="547377"/>
          </a:xfrm>
        </p:grpSpPr>
        <p:sp>
          <p:nvSpPr>
            <p:cNvPr id="1630" name="Isosceles Triangle 1629">
              <a:extLst>
                <a:ext uri="{FF2B5EF4-FFF2-40B4-BE49-F238E27FC236}">
                  <a16:creationId xmlns:a16="http://schemas.microsoft.com/office/drawing/2014/main" id="{94BECC64-0268-4D1A-B6E1-1355063CD487}"/>
                </a:ext>
              </a:extLst>
            </p:cNvPr>
            <p:cNvSpPr/>
            <p:nvPr/>
          </p:nvSpPr>
          <p:spPr>
            <a:xfrm>
              <a:off x="3995204" y="200071"/>
              <a:ext cx="196113" cy="169063"/>
            </a:xfrm>
            <a:prstGeom prst="triangle">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631" name="Rectangle: Rounded Corners 1630">
              <a:extLst>
                <a:ext uri="{FF2B5EF4-FFF2-40B4-BE49-F238E27FC236}">
                  <a16:creationId xmlns:a16="http://schemas.microsoft.com/office/drawing/2014/main" id="{ACAC4AA5-906A-4C13-804E-055A5E615FB2}"/>
                </a:ext>
              </a:extLst>
            </p:cNvPr>
            <p:cNvSpPr/>
            <p:nvPr/>
          </p:nvSpPr>
          <p:spPr>
            <a:xfrm>
              <a:off x="3257983" y="303257"/>
              <a:ext cx="992354" cy="444191"/>
            </a:xfrm>
            <a:prstGeom prst="round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North-South Perimeter</a:t>
              </a:r>
            </a:p>
          </p:txBody>
        </p:sp>
      </p:grpSp>
      <p:sp>
        <p:nvSpPr>
          <p:cNvPr id="438" name="Rectangle 437">
            <a:extLst>
              <a:ext uri="{FF2B5EF4-FFF2-40B4-BE49-F238E27FC236}">
                <a16:creationId xmlns:a16="http://schemas.microsoft.com/office/drawing/2014/main" id="{734A0B94-87DC-4580-AB74-1A6C831835F1}"/>
              </a:ext>
            </a:extLst>
          </p:cNvPr>
          <p:cNvSpPr/>
          <p:nvPr/>
        </p:nvSpPr>
        <p:spPr>
          <a:xfrm>
            <a:off x="-1409" y="0"/>
            <a:ext cx="3048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3" name="TextBox 22">
            <a:extLst>
              <a:ext uri="{FF2B5EF4-FFF2-40B4-BE49-F238E27FC236}">
                <a16:creationId xmlns:a16="http://schemas.microsoft.com/office/drawing/2014/main" id="{CF3393CF-03E8-4CF0-A5FC-11D4DD9F6333}"/>
              </a:ext>
            </a:extLst>
          </p:cNvPr>
          <p:cNvSpPr txBox="1"/>
          <p:nvPr/>
        </p:nvSpPr>
        <p:spPr>
          <a:xfrm>
            <a:off x="386201" y="1341444"/>
            <a:ext cx="2709423" cy="1144929"/>
          </a:xfrm>
          <a:prstGeom prst="rect">
            <a:avLst/>
          </a:prstGeom>
          <a:noFill/>
        </p:spPr>
        <p:txBody>
          <a:bodyPr wrap="square" rtlCol="0" anchor="t">
            <a:spAutoFit/>
          </a:bodyPr>
          <a:lstStyle/>
          <a:p>
            <a:pPr marL="0" marR="0" lvl="0" indent="0" algn="l" defTabSz="685783" rtl="0" eaLnBrk="1" fontAlgn="base" latinLnBrk="0" hangingPunct="1">
              <a:lnSpc>
                <a:spcPct val="90000"/>
              </a:lnSpc>
              <a:spcBef>
                <a:spcPts val="600"/>
              </a:spcBef>
              <a:spcAft>
                <a:spcPct val="0"/>
              </a:spcAft>
              <a:buClrTx/>
              <a:buSzTx/>
              <a:buFontTx/>
              <a:buNone/>
              <a:tabLst/>
              <a:defRPr/>
            </a:pPr>
            <a:r>
              <a:rPr kumimoji="0" lang="en-US" sz="2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Segmentation:</a:t>
            </a:r>
            <a:r>
              <a:rPr kumimoji="0" lang="en-US" sz="24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 </a:t>
            </a:r>
            <a:r>
              <a:rPr kumimoji="0" lang="en-US" sz="2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Reduce the Attack Surface</a:t>
            </a:r>
          </a:p>
        </p:txBody>
      </p:sp>
      <p:sp>
        <p:nvSpPr>
          <p:cNvPr id="36" name="TextBox 35">
            <a:extLst>
              <a:ext uri="{FF2B5EF4-FFF2-40B4-BE49-F238E27FC236}">
                <a16:creationId xmlns:a16="http://schemas.microsoft.com/office/drawing/2014/main" id="{FCC2024E-4C1C-491C-89B0-E218DD07924A}"/>
              </a:ext>
            </a:extLst>
          </p:cNvPr>
          <p:cNvSpPr txBox="1"/>
          <p:nvPr/>
        </p:nvSpPr>
        <p:spPr>
          <a:xfrm>
            <a:off x="470129"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00BCEB">
                    <a:lumMod val="75000"/>
                  </a:srgbClr>
                </a:solidFill>
                <a:effectLst/>
                <a:uLnTx/>
                <a:uFillTx/>
                <a:latin typeface="CiscoSans ExtraLight" charset="0"/>
                <a:ea typeface="CiscoSans ExtraLight" charset="0"/>
                <a:cs typeface="CiscoSans ExtraLight" charset="0"/>
              </a:rPr>
              <a:t>01</a:t>
            </a:r>
          </a:p>
        </p:txBody>
      </p:sp>
      <p:sp>
        <p:nvSpPr>
          <p:cNvPr id="37" name="TextBox 36">
            <a:extLst>
              <a:ext uri="{FF2B5EF4-FFF2-40B4-BE49-F238E27FC236}">
                <a16:creationId xmlns:a16="http://schemas.microsoft.com/office/drawing/2014/main" id="{66B1CDC2-09F5-46B2-8C85-49C88B6107BE}"/>
              </a:ext>
            </a:extLst>
          </p:cNvPr>
          <p:cNvSpPr txBox="1"/>
          <p:nvPr/>
        </p:nvSpPr>
        <p:spPr>
          <a:xfrm>
            <a:off x="1624281"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00BCEB">
                    <a:lumMod val="75000"/>
                  </a:srgbClr>
                </a:solidFill>
                <a:effectLst/>
                <a:uLnTx/>
                <a:uFillTx/>
                <a:latin typeface="CiscoSans ExtraLight" charset="0"/>
                <a:ea typeface="CiscoSans ExtraLight" charset="0"/>
                <a:cs typeface="CiscoSans ExtraLight" charset="0"/>
              </a:rPr>
              <a:t>03</a:t>
            </a:r>
          </a:p>
        </p:txBody>
      </p:sp>
      <p:sp>
        <p:nvSpPr>
          <p:cNvPr id="38" name="TextBox 37">
            <a:extLst>
              <a:ext uri="{FF2B5EF4-FFF2-40B4-BE49-F238E27FC236}">
                <a16:creationId xmlns:a16="http://schemas.microsoft.com/office/drawing/2014/main" id="{973EDB0B-5B05-4D71-ABD7-10D5C483FEC6}"/>
              </a:ext>
            </a:extLst>
          </p:cNvPr>
          <p:cNvSpPr txBox="1"/>
          <p:nvPr/>
        </p:nvSpPr>
        <p:spPr>
          <a:xfrm>
            <a:off x="1047205"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02</a:t>
            </a:r>
          </a:p>
        </p:txBody>
      </p:sp>
      <p:grpSp>
        <p:nvGrpSpPr>
          <p:cNvPr id="29" name="Group 28">
            <a:extLst>
              <a:ext uri="{FF2B5EF4-FFF2-40B4-BE49-F238E27FC236}">
                <a16:creationId xmlns:a16="http://schemas.microsoft.com/office/drawing/2014/main" id="{87E70065-45E0-4FA6-AA09-27E3B9D1C080}"/>
              </a:ext>
            </a:extLst>
          </p:cNvPr>
          <p:cNvGrpSpPr/>
          <p:nvPr/>
        </p:nvGrpSpPr>
        <p:grpSpPr>
          <a:xfrm>
            <a:off x="1064458" y="710972"/>
            <a:ext cx="457390" cy="457390"/>
            <a:chOff x="1176043" y="485585"/>
            <a:chExt cx="457390" cy="457390"/>
          </a:xfrm>
        </p:grpSpPr>
        <p:sp>
          <p:nvSpPr>
            <p:cNvPr id="145" name="Oval 144">
              <a:extLst>
                <a:ext uri="{FF2B5EF4-FFF2-40B4-BE49-F238E27FC236}">
                  <a16:creationId xmlns:a16="http://schemas.microsoft.com/office/drawing/2014/main" id="{0E7507E6-D844-4F56-92A0-3B2CEB3CBC0D}"/>
                </a:ext>
              </a:extLst>
            </p:cNvPr>
            <p:cNvSpPr/>
            <p:nvPr/>
          </p:nvSpPr>
          <p:spPr>
            <a:xfrm>
              <a:off x="1176043" y="485585"/>
              <a:ext cx="457390" cy="4573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65" name="Group 64"/>
            <p:cNvGrpSpPr/>
            <p:nvPr/>
          </p:nvGrpSpPr>
          <p:grpSpPr>
            <a:xfrm>
              <a:off x="1230721" y="544915"/>
              <a:ext cx="349271" cy="349271"/>
              <a:chOff x="2581275" y="2152858"/>
              <a:chExt cx="933450" cy="933450"/>
            </a:xfrm>
          </p:grpSpPr>
          <p:sp>
            <p:nvSpPr>
              <p:cNvPr id="7" name="Freeform 5"/>
              <p:cNvSpPr>
                <a:spLocks/>
              </p:cNvSpPr>
              <p:nvPr/>
            </p:nvSpPr>
            <p:spPr bwMode="auto">
              <a:xfrm>
                <a:off x="2581275" y="2152858"/>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nvGrpSpPr>
              <p:cNvPr id="26" name="Group 25"/>
              <p:cNvGrpSpPr/>
              <p:nvPr/>
            </p:nvGrpSpPr>
            <p:grpSpPr>
              <a:xfrm>
                <a:off x="2728913" y="2324308"/>
                <a:ext cx="638175" cy="590551"/>
                <a:chOff x="2728913" y="2324100"/>
                <a:chExt cx="638175" cy="590551"/>
              </a:xfrm>
              <a:solidFill>
                <a:schemeClr val="accent1">
                  <a:lumMod val="75000"/>
                  <a:alpha val="40000"/>
                </a:schemeClr>
              </a:solidFill>
            </p:grpSpPr>
            <p:sp>
              <p:nvSpPr>
                <p:cNvPr id="8" name="Freeform 6"/>
                <p:cNvSpPr>
                  <a:spLocks noEditPoints="1"/>
                </p:cNvSpPr>
                <p:nvPr/>
              </p:nvSpPr>
              <p:spPr bwMode="auto">
                <a:xfrm>
                  <a:off x="2728913" y="2324100"/>
                  <a:ext cx="638175" cy="333375"/>
                </a:xfrm>
                <a:custGeom>
                  <a:avLst/>
                  <a:gdLst>
                    <a:gd name="T0" fmla="*/ 237 w 864"/>
                    <a:gd name="T1" fmla="*/ 452 h 452"/>
                    <a:gd name="T2" fmla="*/ 628 w 864"/>
                    <a:gd name="T3" fmla="*/ 452 h 452"/>
                    <a:gd name="T4" fmla="*/ 835 w 864"/>
                    <a:gd name="T5" fmla="*/ 452 h 452"/>
                    <a:gd name="T6" fmla="*/ 864 w 864"/>
                    <a:gd name="T7" fmla="*/ 412 h 452"/>
                    <a:gd name="T8" fmla="*/ 788 w 864"/>
                    <a:gd name="T9" fmla="*/ 188 h 452"/>
                    <a:gd name="T10" fmla="*/ 749 w 864"/>
                    <a:gd name="T11" fmla="*/ 139 h 452"/>
                    <a:gd name="T12" fmla="*/ 721 w 864"/>
                    <a:gd name="T13" fmla="*/ 111 h 452"/>
                    <a:gd name="T14" fmla="*/ 701 w 864"/>
                    <a:gd name="T15" fmla="*/ 94 h 452"/>
                    <a:gd name="T16" fmla="*/ 680 w 864"/>
                    <a:gd name="T17" fmla="*/ 79 h 452"/>
                    <a:gd name="T18" fmla="*/ 660 w 864"/>
                    <a:gd name="T19" fmla="*/ 65 h 452"/>
                    <a:gd name="T20" fmla="*/ 636 w 864"/>
                    <a:gd name="T21" fmla="*/ 51 h 452"/>
                    <a:gd name="T22" fmla="*/ 615 w 864"/>
                    <a:gd name="T23" fmla="*/ 41 h 452"/>
                    <a:gd name="T24" fmla="*/ 601 w 864"/>
                    <a:gd name="T25" fmla="*/ 35 h 452"/>
                    <a:gd name="T26" fmla="*/ 578 w 864"/>
                    <a:gd name="T27" fmla="*/ 26 h 452"/>
                    <a:gd name="T28" fmla="*/ 563 w 864"/>
                    <a:gd name="T29" fmla="*/ 21 h 452"/>
                    <a:gd name="T30" fmla="*/ 540 w 864"/>
                    <a:gd name="T31" fmla="*/ 14 h 452"/>
                    <a:gd name="T32" fmla="*/ 524 w 864"/>
                    <a:gd name="T33" fmla="*/ 10 h 452"/>
                    <a:gd name="T34" fmla="*/ 503 w 864"/>
                    <a:gd name="T35" fmla="*/ 6 h 452"/>
                    <a:gd name="T36" fmla="*/ 486 w 864"/>
                    <a:gd name="T37" fmla="*/ 4 h 452"/>
                    <a:gd name="T38" fmla="*/ 462 w 864"/>
                    <a:gd name="T39" fmla="*/ 1 h 452"/>
                    <a:gd name="T40" fmla="*/ 452 w 864"/>
                    <a:gd name="T41" fmla="*/ 0 h 452"/>
                    <a:gd name="T42" fmla="*/ 407 w 864"/>
                    <a:gd name="T43" fmla="*/ 1 h 452"/>
                    <a:gd name="T44" fmla="*/ 390 w 864"/>
                    <a:gd name="T45" fmla="*/ 2 h 452"/>
                    <a:gd name="T46" fmla="*/ 365 w 864"/>
                    <a:gd name="T47" fmla="*/ 5 h 452"/>
                    <a:gd name="T48" fmla="*/ 349 w 864"/>
                    <a:gd name="T49" fmla="*/ 8 h 452"/>
                    <a:gd name="T50" fmla="*/ 327 w 864"/>
                    <a:gd name="T51" fmla="*/ 13 h 452"/>
                    <a:gd name="T52" fmla="*/ 311 w 864"/>
                    <a:gd name="T53" fmla="*/ 18 h 452"/>
                    <a:gd name="T54" fmla="*/ 289 w 864"/>
                    <a:gd name="T55" fmla="*/ 25 h 452"/>
                    <a:gd name="T56" fmla="*/ 275 w 864"/>
                    <a:gd name="T57" fmla="*/ 30 h 452"/>
                    <a:gd name="T58" fmla="*/ 252 w 864"/>
                    <a:gd name="T59" fmla="*/ 40 h 452"/>
                    <a:gd name="T60" fmla="*/ 238 w 864"/>
                    <a:gd name="T61" fmla="*/ 46 h 452"/>
                    <a:gd name="T62" fmla="*/ 206 w 864"/>
                    <a:gd name="T63" fmla="*/ 64 h 452"/>
                    <a:gd name="T64" fmla="*/ 194 w 864"/>
                    <a:gd name="T65" fmla="*/ 72 h 452"/>
                    <a:gd name="T66" fmla="*/ 164 w 864"/>
                    <a:gd name="T67" fmla="*/ 94 h 452"/>
                    <a:gd name="T68" fmla="*/ 153 w 864"/>
                    <a:gd name="T69" fmla="*/ 103 h 452"/>
                    <a:gd name="T70" fmla="*/ 117 w 864"/>
                    <a:gd name="T71" fmla="*/ 138 h 452"/>
                    <a:gd name="T72" fmla="*/ 83 w 864"/>
                    <a:gd name="T73" fmla="*/ 178 h 452"/>
                    <a:gd name="T74" fmla="*/ 76 w 864"/>
                    <a:gd name="T75" fmla="*/ 188 h 452"/>
                    <a:gd name="T76" fmla="*/ 0 w 864"/>
                    <a:gd name="T77" fmla="*/ 423 h 452"/>
                    <a:gd name="T78" fmla="*/ 757 w 864"/>
                    <a:gd name="T79" fmla="*/ 214 h 452"/>
                    <a:gd name="T80" fmla="*/ 648 w 864"/>
                    <a:gd name="T81" fmla="*/ 258 h 452"/>
                    <a:gd name="T82" fmla="*/ 580 w 864"/>
                    <a:gd name="T83" fmla="*/ 69 h 452"/>
                    <a:gd name="T84" fmla="*/ 597 w 864"/>
                    <a:gd name="T85" fmla="*/ 77 h 452"/>
                    <a:gd name="T86" fmla="*/ 610 w 864"/>
                    <a:gd name="T87" fmla="*/ 83 h 452"/>
                    <a:gd name="T88" fmla="*/ 638 w 864"/>
                    <a:gd name="T89" fmla="*/ 220 h 452"/>
                    <a:gd name="T90" fmla="*/ 452 w 864"/>
                    <a:gd name="T91" fmla="*/ 43 h 452"/>
                    <a:gd name="T92" fmla="*/ 452 w 864"/>
                    <a:gd name="T93" fmla="*/ 244 h 452"/>
                    <a:gd name="T94" fmla="*/ 609 w 864"/>
                    <a:gd name="T95" fmla="*/ 267 h 452"/>
                    <a:gd name="T96" fmla="*/ 452 w 864"/>
                    <a:gd name="T97" fmla="*/ 284 h 452"/>
                    <a:gd name="T98" fmla="*/ 255 w 864"/>
                    <a:gd name="T99" fmla="*/ 267 h 452"/>
                    <a:gd name="T100" fmla="*/ 412 w 864"/>
                    <a:gd name="T101" fmla="*/ 43 h 452"/>
                    <a:gd name="T102" fmla="*/ 300 w 864"/>
                    <a:gd name="T103" fmla="*/ 146 h 452"/>
                    <a:gd name="T104" fmla="*/ 254 w 864"/>
                    <a:gd name="T105" fmla="*/ 83 h 452"/>
                    <a:gd name="T106" fmla="*/ 268 w 864"/>
                    <a:gd name="T107" fmla="*/ 77 h 452"/>
                    <a:gd name="T108" fmla="*/ 285 w 864"/>
                    <a:gd name="T109" fmla="*/ 69 h 452"/>
                    <a:gd name="T110" fmla="*/ 227 w 864"/>
                    <a:gd name="T111" fmla="*/ 220 h 452"/>
                    <a:gd name="T112" fmla="*/ 107 w 864"/>
                    <a:gd name="T113" fmla="*/ 214 h 452"/>
                    <a:gd name="T114" fmla="*/ 41 w 864"/>
                    <a:gd name="T115" fmla="*/ 41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4" h="452">
                      <a:moveTo>
                        <a:pt x="41" y="452"/>
                      </a:moveTo>
                      <a:cubicBezTo>
                        <a:pt x="197" y="452"/>
                        <a:pt x="197" y="452"/>
                        <a:pt x="197" y="452"/>
                      </a:cubicBezTo>
                      <a:cubicBezTo>
                        <a:pt x="237" y="452"/>
                        <a:pt x="237" y="452"/>
                        <a:pt x="237" y="452"/>
                      </a:cubicBezTo>
                      <a:cubicBezTo>
                        <a:pt x="412" y="452"/>
                        <a:pt x="412" y="452"/>
                        <a:pt x="412" y="452"/>
                      </a:cubicBezTo>
                      <a:cubicBezTo>
                        <a:pt x="452" y="452"/>
                        <a:pt x="452" y="452"/>
                        <a:pt x="452" y="452"/>
                      </a:cubicBezTo>
                      <a:cubicBezTo>
                        <a:pt x="628" y="452"/>
                        <a:pt x="628" y="452"/>
                        <a:pt x="628" y="452"/>
                      </a:cubicBezTo>
                      <a:cubicBezTo>
                        <a:pt x="668" y="452"/>
                        <a:pt x="668" y="452"/>
                        <a:pt x="668" y="452"/>
                      </a:cubicBezTo>
                      <a:cubicBezTo>
                        <a:pt x="823" y="452"/>
                        <a:pt x="823" y="452"/>
                        <a:pt x="823" y="452"/>
                      </a:cubicBezTo>
                      <a:cubicBezTo>
                        <a:pt x="835" y="452"/>
                        <a:pt x="835" y="452"/>
                        <a:pt x="835" y="452"/>
                      </a:cubicBezTo>
                      <a:cubicBezTo>
                        <a:pt x="851" y="452"/>
                        <a:pt x="864" y="439"/>
                        <a:pt x="864" y="423"/>
                      </a:cubicBezTo>
                      <a:cubicBezTo>
                        <a:pt x="864" y="412"/>
                        <a:pt x="864" y="412"/>
                        <a:pt x="864" y="412"/>
                      </a:cubicBezTo>
                      <a:cubicBezTo>
                        <a:pt x="864" y="412"/>
                        <a:pt x="864" y="412"/>
                        <a:pt x="864" y="412"/>
                      </a:cubicBezTo>
                      <a:cubicBezTo>
                        <a:pt x="860" y="329"/>
                        <a:pt x="833" y="252"/>
                        <a:pt x="788" y="188"/>
                      </a:cubicBezTo>
                      <a:cubicBezTo>
                        <a:pt x="788" y="188"/>
                        <a:pt x="788" y="188"/>
                        <a:pt x="788" y="188"/>
                      </a:cubicBezTo>
                      <a:cubicBezTo>
                        <a:pt x="788" y="188"/>
                        <a:pt x="788" y="188"/>
                        <a:pt x="788" y="188"/>
                      </a:cubicBezTo>
                      <a:cubicBezTo>
                        <a:pt x="786" y="184"/>
                        <a:pt x="783" y="181"/>
                        <a:pt x="781" y="178"/>
                      </a:cubicBezTo>
                      <a:cubicBezTo>
                        <a:pt x="778" y="173"/>
                        <a:pt x="778" y="173"/>
                        <a:pt x="778" y="173"/>
                      </a:cubicBezTo>
                      <a:cubicBezTo>
                        <a:pt x="769" y="161"/>
                        <a:pt x="759" y="150"/>
                        <a:pt x="749" y="139"/>
                      </a:cubicBezTo>
                      <a:cubicBezTo>
                        <a:pt x="749" y="138"/>
                        <a:pt x="748" y="138"/>
                        <a:pt x="748" y="138"/>
                      </a:cubicBezTo>
                      <a:cubicBezTo>
                        <a:pt x="739" y="128"/>
                        <a:pt x="730" y="119"/>
                        <a:pt x="721" y="111"/>
                      </a:cubicBezTo>
                      <a:cubicBezTo>
                        <a:pt x="721" y="111"/>
                        <a:pt x="721" y="111"/>
                        <a:pt x="721" y="111"/>
                      </a:cubicBezTo>
                      <a:cubicBezTo>
                        <a:pt x="718" y="108"/>
                        <a:pt x="715" y="105"/>
                        <a:pt x="711" y="103"/>
                      </a:cubicBezTo>
                      <a:cubicBezTo>
                        <a:pt x="711" y="102"/>
                        <a:pt x="711" y="102"/>
                        <a:pt x="710" y="102"/>
                      </a:cubicBezTo>
                      <a:cubicBezTo>
                        <a:pt x="707" y="99"/>
                        <a:pt x="704" y="97"/>
                        <a:pt x="701" y="94"/>
                      </a:cubicBezTo>
                      <a:cubicBezTo>
                        <a:pt x="701" y="94"/>
                        <a:pt x="701" y="94"/>
                        <a:pt x="701" y="94"/>
                      </a:cubicBezTo>
                      <a:cubicBezTo>
                        <a:pt x="694" y="89"/>
                        <a:pt x="687" y="84"/>
                        <a:pt x="681" y="79"/>
                      </a:cubicBezTo>
                      <a:cubicBezTo>
                        <a:pt x="680" y="79"/>
                        <a:pt x="680" y="79"/>
                        <a:pt x="680" y="79"/>
                      </a:cubicBezTo>
                      <a:cubicBezTo>
                        <a:pt x="677" y="76"/>
                        <a:pt x="674" y="74"/>
                        <a:pt x="671" y="72"/>
                      </a:cubicBezTo>
                      <a:cubicBezTo>
                        <a:pt x="669" y="71"/>
                        <a:pt x="668" y="71"/>
                        <a:pt x="667" y="70"/>
                      </a:cubicBezTo>
                      <a:cubicBezTo>
                        <a:pt x="665" y="68"/>
                        <a:pt x="663" y="67"/>
                        <a:pt x="660" y="65"/>
                      </a:cubicBezTo>
                      <a:cubicBezTo>
                        <a:pt x="659" y="65"/>
                        <a:pt x="659" y="65"/>
                        <a:pt x="658" y="64"/>
                      </a:cubicBezTo>
                      <a:cubicBezTo>
                        <a:pt x="651" y="60"/>
                        <a:pt x="644" y="56"/>
                        <a:pt x="637" y="52"/>
                      </a:cubicBezTo>
                      <a:cubicBezTo>
                        <a:pt x="636" y="52"/>
                        <a:pt x="636" y="51"/>
                        <a:pt x="636" y="51"/>
                      </a:cubicBezTo>
                      <a:cubicBezTo>
                        <a:pt x="633" y="50"/>
                        <a:pt x="629" y="48"/>
                        <a:pt x="626" y="46"/>
                      </a:cubicBezTo>
                      <a:cubicBezTo>
                        <a:pt x="625" y="46"/>
                        <a:pt x="624" y="45"/>
                        <a:pt x="624" y="45"/>
                      </a:cubicBezTo>
                      <a:cubicBezTo>
                        <a:pt x="621" y="44"/>
                        <a:pt x="618" y="42"/>
                        <a:pt x="615" y="41"/>
                      </a:cubicBezTo>
                      <a:cubicBezTo>
                        <a:pt x="614" y="40"/>
                        <a:pt x="613" y="40"/>
                        <a:pt x="612" y="40"/>
                      </a:cubicBezTo>
                      <a:cubicBezTo>
                        <a:pt x="609" y="38"/>
                        <a:pt x="606" y="36"/>
                        <a:pt x="602" y="35"/>
                      </a:cubicBezTo>
                      <a:cubicBezTo>
                        <a:pt x="602" y="35"/>
                        <a:pt x="602" y="35"/>
                        <a:pt x="601" y="35"/>
                      </a:cubicBezTo>
                      <a:cubicBezTo>
                        <a:pt x="597" y="33"/>
                        <a:pt x="594" y="31"/>
                        <a:pt x="590" y="30"/>
                      </a:cubicBezTo>
                      <a:cubicBezTo>
                        <a:pt x="589" y="30"/>
                        <a:pt x="589" y="30"/>
                        <a:pt x="588" y="29"/>
                      </a:cubicBezTo>
                      <a:cubicBezTo>
                        <a:pt x="585" y="28"/>
                        <a:pt x="582" y="27"/>
                        <a:pt x="578" y="26"/>
                      </a:cubicBezTo>
                      <a:cubicBezTo>
                        <a:pt x="577" y="25"/>
                        <a:pt x="576" y="25"/>
                        <a:pt x="575" y="25"/>
                      </a:cubicBezTo>
                      <a:cubicBezTo>
                        <a:pt x="572" y="24"/>
                        <a:pt x="569" y="23"/>
                        <a:pt x="567" y="22"/>
                      </a:cubicBezTo>
                      <a:cubicBezTo>
                        <a:pt x="565" y="21"/>
                        <a:pt x="564" y="21"/>
                        <a:pt x="563" y="21"/>
                      </a:cubicBezTo>
                      <a:cubicBezTo>
                        <a:pt x="560" y="20"/>
                        <a:pt x="557" y="19"/>
                        <a:pt x="554" y="18"/>
                      </a:cubicBezTo>
                      <a:cubicBezTo>
                        <a:pt x="553" y="17"/>
                        <a:pt x="552" y="17"/>
                        <a:pt x="552" y="17"/>
                      </a:cubicBezTo>
                      <a:cubicBezTo>
                        <a:pt x="548" y="16"/>
                        <a:pt x="544" y="15"/>
                        <a:pt x="540" y="14"/>
                      </a:cubicBezTo>
                      <a:cubicBezTo>
                        <a:pt x="539" y="14"/>
                        <a:pt x="538" y="13"/>
                        <a:pt x="538" y="13"/>
                      </a:cubicBezTo>
                      <a:cubicBezTo>
                        <a:pt x="535" y="12"/>
                        <a:pt x="531" y="12"/>
                        <a:pt x="528" y="11"/>
                      </a:cubicBezTo>
                      <a:cubicBezTo>
                        <a:pt x="526" y="11"/>
                        <a:pt x="525" y="10"/>
                        <a:pt x="524" y="10"/>
                      </a:cubicBezTo>
                      <a:cubicBezTo>
                        <a:pt x="521" y="9"/>
                        <a:pt x="518" y="9"/>
                        <a:pt x="516" y="8"/>
                      </a:cubicBezTo>
                      <a:cubicBezTo>
                        <a:pt x="514" y="8"/>
                        <a:pt x="513" y="8"/>
                        <a:pt x="511" y="8"/>
                      </a:cubicBezTo>
                      <a:cubicBezTo>
                        <a:pt x="509" y="7"/>
                        <a:pt x="506" y="7"/>
                        <a:pt x="503" y="6"/>
                      </a:cubicBezTo>
                      <a:cubicBezTo>
                        <a:pt x="502" y="6"/>
                        <a:pt x="500" y="6"/>
                        <a:pt x="499" y="5"/>
                      </a:cubicBezTo>
                      <a:cubicBezTo>
                        <a:pt x="495" y="5"/>
                        <a:pt x="491" y="4"/>
                        <a:pt x="487" y="4"/>
                      </a:cubicBezTo>
                      <a:cubicBezTo>
                        <a:pt x="487" y="4"/>
                        <a:pt x="486" y="4"/>
                        <a:pt x="486" y="4"/>
                      </a:cubicBezTo>
                      <a:cubicBezTo>
                        <a:pt x="482" y="3"/>
                        <a:pt x="478" y="3"/>
                        <a:pt x="475" y="2"/>
                      </a:cubicBezTo>
                      <a:cubicBezTo>
                        <a:pt x="473" y="2"/>
                        <a:pt x="472" y="2"/>
                        <a:pt x="471" y="2"/>
                      </a:cubicBezTo>
                      <a:cubicBezTo>
                        <a:pt x="468" y="2"/>
                        <a:pt x="465" y="2"/>
                        <a:pt x="462" y="1"/>
                      </a:cubicBezTo>
                      <a:cubicBezTo>
                        <a:pt x="461" y="1"/>
                        <a:pt x="459" y="1"/>
                        <a:pt x="458" y="1"/>
                      </a:cubicBezTo>
                      <a:cubicBezTo>
                        <a:pt x="456" y="1"/>
                        <a:pt x="454" y="1"/>
                        <a:pt x="452" y="1"/>
                      </a:cubicBezTo>
                      <a:cubicBezTo>
                        <a:pt x="452" y="0"/>
                        <a:pt x="452" y="0"/>
                        <a:pt x="452" y="0"/>
                      </a:cubicBezTo>
                      <a:cubicBezTo>
                        <a:pt x="412" y="0"/>
                        <a:pt x="412" y="0"/>
                        <a:pt x="412" y="0"/>
                      </a:cubicBezTo>
                      <a:cubicBezTo>
                        <a:pt x="412" y="1"/>
                        <a:pt x="412" y="1"/>
                        <a:pt x="412" y="1"/>
                      </a:cubicBezTo>
                      <a:cubicBezTo>
                        <a:pt x="410" y="1"/>
                        <a:pt x="409" y="1"/>
                        <a:pt x="407" y="1"/>
                      </a:cubicBezTo>
                      <a:cubicBezTo>
                        <a:pt x="405" y="1"/>
                        <a:pt x="404" y="1"/>
                        <a:pt x="402" y="1"/>
                      </a:cubicBezTo>
                      <a:cubicBezTo>
                        <a:pt x="400" y="2"/>
                        <a:pt x="397" y="2"/>
                        <a:pt x="394" y="2"/>
                      </a:cubicBezTo>
                      <a:cubicBezTo>
                        <a:pt x="393" y="2"/>
                        <a:pt x="391" y="2"/>
                        <a:pt x="390" y="2"/>
                      </a:cubicBezTo>
                      <a:cubicBezTo>
                        <a:pt x="386" y="3"/>
                        <a:pt x="383" y="3"/>
                        <a:pt x="379" y="4"/>
                      </a:cubicBezTo>
                      <a:cubicBezTo>
                        <a:pt x="378" y="4"/>
                        <a:pt x="378" y="4"/>
                        <a:pt x="378" y="4"/>
                      </a:cubicBezTo>
                      <a:cubicBezTo>
                        <a:pt x="373" y="4"/>
                        <a:pt x="369" y="5"/>
                        <a:pt x="365" y="5"/>
                      </a:cubicBezTo>
                      <a:cubicBezTo>
                        <a:pt x="364" y="6"/>
                        <a:pt x="363" y="6"/>
                        <a:pt x="362" y="6"/>
                      </a:cubicBezTo>
                      <a:cubicBezTo>
                        <a:pt x="359" y="7"/>
                        <a:pt x="356" y="7"/>
                        <a:pt x="353" y="8"/>
                      </a:cubicBezTo>
                      <a:cubicBezTo>
                        <a:pt x="352" y="8"/>
                        <a:pt x="350" y="8"/>
                        <a:pt x="349" y="8"/>
                      </a:cubicBezTo>
                      <a:cubicBezTo>
                        <a:pt x="346" y="9"/>
                        <a:pt x="343" y="9"/>
                        <a:pt x="340" y="10"/>
                      </a:cubicBezTo>
                      <a:cubicBezTo>
                        <a:pt x="339" y="10"/>
                        <a:pt x="338" y="11"/>
                        <a:pt x="337" y="11"/>
                      </a:cubicBezTo>
                      <a:cubicBezTo>
                        <a:pt x="333" y="12"/>
                        <a:pt x="330" y="12"/>
                        <a:pt x="327" y="13"/>
                      </a:cubicBezTo>
                      <a:cubicBezTo>
                        <a:pt x="326" y="13"/>
                        <a:pt x="325" y="14"/>
                        <a:pt x="325" y="14"/>
                      </a:cubicBezTo>
                      <a:cubicBezTo>
                        <a:pt x="321" y="15"/>
                        <a:pt x="317" y="16"/>
                        <a:pt x="313" y="17"/>
                      </a:cubicBezTo>
                      <a:cubicBezTo>
                        <a:pt x="312" y="17"/>
                        <a:pt x="311" y="17"/>
                        <a:pt x="311" y="18"/>
                      </a:cubicBezTo>
                      <a:cubicBezTo>
                        <a:pt x="307" y="19"/>
                        <a:pt x="304" y="20"/>
                        <a:pt x="301" y="21"/>
                      </a:cubicBezTo>
                      <a:cubicBezTo>
                        <a:pt x="300" y="21"/>
                        <a:pt x="299" y="21"/>
                        <a:pt x="298" y="22"/>
                      </a:cubicBezTo>
                      <a:cubicBezTo>
                        <a:pt x="295" y="23"/>
                        <a:pt x="292" y="24"/>
                        <a:pt x="289" y="25"/>
                      </a:cubicBezTo>
                      <a:cubicBezTo>
                        <a:pt x="288" y="25"/>
                        <a:pt x="287" y="25"/>
                        <a:pt x="286" y="26"/>
                      </a:cubicBezTo>
                      <a:cubicBezTo>
                        <a:pt x="283" y="27"/>
                        <a:pt x="280" y="28"/>
                        <a:pt x="276" y="29"/>
                      </a:cubicBezTo>
                      <a:cubicBezTo>
                        <a:pt x="276" y="30"/>
                        <a:pt x="275" y="30"/>
                        <a:pt x="275" y="30"/>
                      </a:cubicBezTo>
                      <a:cubicBezTo>
                        <a:pt x="271" y="31"/>
                        <a:pt x="267" y="33"/>
                        <a:pt x="263" y="35"/>
                      </a:cubicBezTo>
                      <a:cubicBezTo>
                        <a:pt x="263" y="35"/>
                        <a:pt x="263" y="35"/>
                        <a:pt x="262" y="35"/>
                      </a:cubicBezTo>
                      <a:cubicBezTo>
                        <a:pt x="259" y="36"/>
                        <a:pt x="256" y="38"/>
                        <a:pt x="252" y="40"/>
                      </a:cubicBezTo>
                      <a:cubicBezTo>
                        <a:pt x="251" y="40"/>
                        <a:pt x="251" y="40"/>
                        <a:pt x="250" y="41"/>
                      </a:cubicBezTo>
                      <a:cubicBezTo>
                        <a:pt x="247" y="42"/>
                        <a:pt x="243" y="44"/>
                        <a:pt x="240" y="45"/>
                      </a:cubicBezTo>
                      <a:cubicBezTo>
                        <a:pt x="240" y="46"/>
                        <a:pt x="239" y="46"/>
                        <a:pt x="238" y="46"/>
                      </a:cubicBezTo>
                      <a:cubicBezTo>
                        <a:pt x="235" y="48"/>
                        <a:pt x="232" y="50"/>
                        <a:pt x="229" y="51"/>
                      </a:cubicBezTo>
                      <a:cubicBezTo>
                        <a:pt x="228" y="51"/>
                        <a:pt x="228" y="52"/>
                        <a:pt x="228" y="52"/>
                      </a:cubicBezTo>
                      <a:cubicBezTo>
                        <a:pt x="220" y="56"/>
                        <a:pt x="213" y="60"/>
                        <a:pt x="206" y="64"/>
                      </a:cubicBezTo>
                      <a:cubicBezTo>
                        <a:pt x="206" y="65"/>
                        <a:pt x="205" y="65"/>
                        <a:pt x="205" y="65"/>
                      </a:cubicBezTo>
                      <a:cubicBezTo>
                        <a:pt x="202" y="67"/>
                        <a:pt x="200" y="68"/>
                        <a:pt x="197" y="70"/>
                      </a:cubicBezTo>
                      <a:cubicBezTo>
                        <a:pt x="196" y="70"/>
                        <a:pt x="195" y="71"/>
                        <a:pt x="194" y="72"/>
                      </a:cubicBezTo>
                      <a:cubicBezTo>
                        <a:pt x="191" y="74"/>
                        <a:pt x="188" y="76"/>
                        <a:pt x="184" y="79"/>
                      </a:cubicBezTo>
                      <a:cubicBezTo>
                        <a:pt x="184" y="79"/>
                        <a:pt x="184" y="79"/>
                        <a:pt x="184" y="79"/>
                      </a:cubicBezTo>
                      <a:cubicBezTo>
                        <a:pt x="177" y="84"/>
                        <a:pt x="170" y="89"/>
                        <a:pt x="164" y="94"/>
                      </a:cubicBezTo>
                      <a:cubicBezTo>
                        <a:pt x="163" y="94"/>
                        <a:pt x="163" y="94"/>
                        <a:pt x="163" y="94"/>
                      </a:cubicBezTo>
                      <a:cubicBezTo>
                        <a:pt x="160" y="97"/>
                        <a:pt x="157" y="99"/>
                        <a:pt x="154" y="102"/>
                      </a:cubicBezTo>
                      <a:cubicBezTo>
                        <a:pt x="154" y="102"/>
                        <a:pt x="153" y="102"/>
                        <a:pt x="153" y="103"/>
                      </a:cubicBezTo>
                      <a:cubicBezTo>
                        <a:pt x="150" y="105"/>
                        <a:pt x="147" y="108"/>
                        <a:pt x="144" y="111"/>
                      </a:cubicBezTo>
                      <a:cubicBezTo>
                        <a:pt x="144" y="111"/>
                        <a:pt x="144" y="111"/>
                        <a:pt x="144" y="111"/>
                      </a:cubicBezTo>
                      <a:cubicBezTo>
                        <a:pt x="134" y="119"/>
                        <a:pt x="125" y="128"/>
                        <a:pt x="117" y="138"/>
                      </a:cubicBezTo>
                      <a:cubicBezTo>
                        <a:pt x="116" y="138"/>
                        <a:pt x="116" y="138"/>
                        <a:pt x="116" y="139"/>
                      </a:cubicBezTo>
                      <a:cubicBezTo>
                        <a:pt x="104" y="151"/>
                        <a:pt x="94" y="164"/>
                        <a:pt x="84" y="177"/>
                      </a:cubicBezTo>
                      <a:cubicBezTo>
                        <a:pt x="83" y="178"/>
                        <a:pt x="83" y="178"/>
                        <a:pt x="83" y="178"/>
                      </a:cubicBezTo>
                      <a:cubicBezTo>
                        <a:pt x="81" y="181"/>
                        <a:pt x="79" y="184"/>
                        <a:pt x="76" y="188"/>
                      </a:cubicBezTo>
                      <a:cubicBezTo>
                        <a:pt x="76" y="188"/>
                        <a:pt x="76" y="188"/>
                        <a:pt x="76" y="188"/>
                      </a:cubicBezTo>
                      <a:cubicBezTo>
                        <a:pt x="76" y="188"/>
                        <a:pt x="76" y="188"/>
                        <a:pt x="76" y="188"/>
                      </a:cubicBezTo>
                      <a:cubicBezTo>
                        <a:pt x="32" y="252"/>
                        <a:pt x="5" y="329"/>
                        <a:pt x="1" y="412"/>
                      </a:cubicBezTo>
                      <a:cubicBezTo>
                        <a:pt x="0" y="412"/>
                        <a:pt x="0" y="412"/>
                        <a:pt x="0" y="412"/>
                      </a:cubicBezTo>
                      <a:cubicBezTo>
                        <a:pt x="0" y="423"/>
                        <a:pt x="0" y="423"/>
                        <a:pt x="0" y="423"/>
                      </a:cubicBezTo>
                      <a:cubicBezTo>
                        <a:pt x="0" y="439"/>
                        <a:pt x="13" y="452"/>
                        <a:pt x="29" y="452"/>
                      </a:cubicBezTo>
                      <a:lnTo>
                        <a:pt x="41" y="452"/>
                      </a:lnTo>
                      <a:close/>
                      <a:moveTo>
                        <a:pt x="757" y="214"/>
                      </a:moveTo>
                      <a:cubicBezTo>
                        <a:pt x="796" y="271"/>
                        <a:pt x="820" y="339"/>
                        <a:pt x="823" y="412"/>
                      </a:cubicBezTo>
                      <a:cubicBezTo>
                        <a:pt x="668" y="412"/>
                        <a:pt x="668" y="412"/>
                        <a:pt x="668" y="412"/>
                      </a:cubicBezTo>
                      <a:cubicBezTo>
                        <a:pt x="667" y="358"/>
                        <a:pt x="660" y="306"/>
                        <a:pt x="648" y="258"/>
                      </a:cubicBezTo>
                      <a:cubicBezTo>
                        <a:pt x="693" y="247"/>
                        <a:pt x="730" y="231"/>
                        <a:pt x="757" y="214"/>
                      </a:cubicBezTo>
                      <a:close/>
                      <a:moveTo>
                        <a:pt x="579" y="69"/>
                      </a:moveTo>
                      <a:cubicBezTo>
                        <a:pt x="579" y="69"/>
                        <a:pt x="579" y="69"/>
                        <a:pt x="580" y="69"/>
                      </a:cubicBezTo>
                      <a:cubicBezTo>
                        <a:pt x="582" y="70"/>
                        <a:pt x="585" y="71"/>
                        <a:pt x="588" y="73"/>
                      </a:cubicBezTo>
                      <a:cubicBezTo>
                        <a:pt x="589" y="73"/>
                        <a:pt x="589" y="73"/>
                        <a:pt x="590" y="74"/>
                      </a:cubicBezTo>
                      <a:cubicBezTo>
                        <a:pt x="592" y="75"/>
                        <a:pt x="595" y="76"/>
                        <a:pt x="597" y="77"/>
                      </a:cubicBezTo>
                      <a:cubicBezTo>
                        <a:pt x="598" y="77"/>
                        <a:pt x="599" y="78"/>
                        <a:pt x="600" y="78"/>
                      </a:cubicBezTo>
                      <a:cubicBezTo>
                        <a:pt x="602" y="79"/>
                        <a:pt x="603" y="80"/>
                        <a:pt x="605" y="80"/>
                      </a:cubicBezTo>
                      <a:cubicBezTo>
                        <a:pt x="607" y="81"/>
                        <a:pt x="608" y="82"/>
                        <a:pt x="610" y="83"/>
                      </a:cubicBezTo>
                      <a:cubicBezTo>
                        <a:pt x="611" y="83"/>
                        <a:pt x="611" y="84"/>
                        <a:pt x="612" y="84"/>
                      </a:cubicBezTo>
                      <a:cubicBezTo>
                        <a:pt x="658" y="108"/>
                        <a:pt x="700" y="141"/>
                        <a:pt x="733" y="181"/>
                      </a:cubicBezTo>
                      <a:cubicBezTo>
                        <a:pt x="710" y="196"/>
                        <a:pt x="678" y="209"/>
                        <a:pt x="638" y="220"/>
                      </a:cubicBezTo>
                      <a:cubicBezTo>
                        <a:pt x="617" y="153"/>
                        <a:pt x="587" y="97"/>
                        <a:pt x="551" y="59"/>
                      </a:cubicBezTo>
                      <a:cubicBezTo>
                        <a:pt x="560" y="62"/>
                        <a:pt x="570" y="65"/>
                        <a:pt x="579" y="69"/>
                      </a:cubicBezTo>
                      <a:close/>
                      <a:moveTo>
                        <a:pt x="452" y="43"/>
                      </a:moveTo>
                      <a:cubicBezTo>
                        <a:pt x="493" y="52"/>
                        <a:pt x="533" y="88"/>
                        <a:pt x="564" y="146"/>
                      </a:cubicBezTo>
                      <a:cubicBezTo>
                        <a:pt x="578" y="171"/>
                        <a:pt x="589" y="199"/>
                        <a:pt x="599" y="229"/>
                      </a:cubicBezTo>
                      <a:cubicBezTo>
                        <a:pt x="556" y="237"/>
                        <a:pt x="506" y="243"/>
                        <a:pt x="452" y="244"/>
                      </a:cubicBezTo>
                      <a:lnTo>
                        <a:pt x="452" y="43"/>
                      </a:lnTo>
                      <a:close/>
                      <a:moveTo>
                        <a:pt x="452" y="284"/>
                      </a:moveTo>
                      <a:cubicBezTo>
                        <a:pt x="509" y="283"/>
                        <a:pt x="562" y="277"/>
                        <a:pt x="609" y="267"/>
                      </a:cubicBezTo>
                      <a:cubicBezTo>
                        <a:pt x="620" y="312"/>
                        <a:pt x="627" y="361"/>
                        <a:pt x="628" y="412"/>
                      </a:cubicBezTo>
                      <a:cubicBezTo>
                        <a:pt x="452" y="412"/>
                        <a:pt x="452" y="412"/>
                        <a:pt x="452" y="412"/>
                      </a:cubicBezTo>
                      <a:lnTo>
                        <a:pt x="452" y="284"/>
                      </a:lnTo>
                      <a:close/>
                      <a:moveTo>
                        <a:pt x="412" y="412"/>
                      </a:moveTo>
                      <a:cubicBezTo>
                        <a:pt x="237" y="412"/>
                        <a:pt x="237" y="412"/>
                        <a:pt x="237" y="412"/>
                      </a:cubicBezTo>
                      <a:cubicBezTo>
                        <a:pt x="238" y="361"/>
                        <a:pt x="244" y="312"/>
                        <a:pt x="255" y="267"/>
                      </a:cubicBezTo>
                      <a:cubicBezTo>
                        <a:pt x="302" y="277"/>
                        <a:pt x="356" y="283"/>
                        <a:pt x="412" y="284"/>
                      </a:cubicBezTo>
                      <a:lnTo>
                        <a:pt x="412" y="412"/>
                      </a:lnTo>
                      <a:close/>
                      <a:moveTo>
                        <a:pt x="412" y="43"/>
                      </a:moveTo>
                      <a:cubicBezTo>
                        <a:pt x="412" y="244"/>
                        <a:pt x="412" y="244"/>
                        <a:pt x="412" y="244"/>
                      </a:cubicBezTo>
                      <a:cubicBezTo>
                        <a:pt x="358" y="243"/>
                        <a:pt x="309" y="237"/>
                        <a:pt x="266" y="229"/>
                      </a:cubicBezTo>
                      <a:cubicBezTo>
                        <a:pt x="275" y="199"/>
                        <a:pt x="287" y="171"/>
                        <a:pt x="300" y="146"/>
                      </a:cubicBezTo>
                      <a:cubicBezTo>
                        <a:pt x="332" y="88"/>
                        <a:pt x="372" y="52"/>
                        <a:pt x="412" y="43"/>
                      </a:cubicBezTo>
                      <a:close/>
                      <a:moveTo>
                        <a:pt x="253" y="84"/>
                      </a:moveTo>
                      <a:cubicBezTo>
                        <a:pt x="253" y="84"/>
                        <a:pt x="254" y="83"/>
                        <a:pt x="254" y="83"/>
                      </a:cubicBezTo>
                      <a:cubicBezTo>
                        <a:pt x="256" y="82"/>
                        <a:pt x="258" y="81"/>
                        <a:pt x="260" y="80"/>
                      </a:cubicBezTo>
                      <a:cubicBezTo>
                        <a:pt x="261" y="80"/>
                        <a:pt x="263" y="79"/>
                        <a:pt x="264" y="78"/>
                      </a:cubicBezTo>
                      <a:cubicBezTo>
                        <a:pt x="265" y="78"/>
                        <a:pt x="267" y="77"/>
                        <a:pt x="268" y="77"/>
                      </a:cubicBezTo>
                      <a:cubicBezTo>
                        <a:pt x="270" y="76"/>
                        <a:pt x="272" y="75"/>
                        <a:pt x="274" y="74"/>
                      </a:cubicBezTo>
                      <a:cubicBezTo>
                        <a:pt x="275" y="73"/>
                        <a:pt x="276" y="73"/>
                        <a:pt x="276" y="73"/>
                      </a:cubicBezTo>
                      <a:cubicBezTo>
                        <a:pt x="279" y="71"/>
                        <a:pt x="282" y="70"/>
                        <a:pt x="285" y="69"/>
                      </a:cubicBezTo>
                      <a:cubicBezTo>
                        <a:pt x="285" y="69"/>
                        <a:pt x="285" y="69"/>
                        <a:pt x="285" y="69"/>
                      </a:cubicBezTo>
                      <a:cubicBezTo>
                        <a:pt x="295" y="65"/>
                        <a:pt x="304" y="62"/>
                        <a:pt x="314" y="59"/>
                      </a:cubicBezTo>
                      <a:cubicBezTo>
                        <a:pt x="277" y="97"/>
                        <a:pt x="247" y="153"/>
                        <a:pt x="227" y="220"/>
                      </a:cubicBezTo>
                      <a:cubicBezTo>
                        <a:pt x="187" y="209"/>
                        <a:pt x="154" y="196"/>
                        <a:pt x="131" y="181"/>
                      </a:cubicBezTo>
                      <a:cubicBezTo>
                        <a:pt x="165" y="141"/>
                        <a:pt x="206" y="108"/>
                        <a:pt x="253" y="84"/>
                      </a:cubicBezTo>
                      <a:close/>
                      <a:moveTo>
                        <a:pt x="107" y="214"/>
                      </a:moveTo>
                      <a:cubicBezTo>
                        <a:pt x="135" y="231"/>
                        <a:pt x="172" y="247"/>
                        <a:pt x="216" y="258"/>
                      </a:cubicBezTo>
                      <a:cubicBezTo>
                        <a:pt x="205" y="306"/>
                        <a:pt x="198" y="358"/>
                        <a:pt x="197" y="412"/>
                      </a:cubicBezTo>
                      <a:cubicBezTo>
                        <a:pt x="41" y="412"/>
                        <a:pt x="41" y="412"/>
                        <a:pt x="41" y="412"/>
                      </a:cubicBezTo>
                      <a:cubicBezTo>
                        <a:pt x="45" y="339"/>
                        <a:pt x="69" y="271"/>
                        <a:pt x="107" y="21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 name="Freeform 7"/>
                <p:cNvSpPr>
                  <a:spLocks/>
                </p:cNvSpPr>
                <p:nvPr/>
              </p:nvSpPr>
              <p:spPr bwMode="auto">
                <a:xfrm>
                  <a:off x="273843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 name="Freeform 8"/>
                <p:cNvSpPr>
                  <a:spLocks/>
                </p:cNvSpPr>
                <p:nvPr/>
              </p:nvSpPr>
              <p:spPr bwMode="auto">
                <a:xfrm>
                  <a:off x="2846388" y="2674938"/>
                  <a:ext cx="77788" cy="77788"/>
                </a:xfrm>
                <a:custGeom>
                  <a:avLst/>
                  <a:gdLst>
                    <a:gd name="T0" fmla="*/ 75 w 104"/>
                    <a:gd name="T1" fmla="*/ 105 h 105"/>
                    <a:gd name="T2" fmla="*/ 28 w 104"/>
                    <a:gd name="T3" fmla="*/ 105 h 105"/>
                    <a:gd name="T4" fmla="*/ 0 w 104"/>
                    <a:gd name="T5" fmla="*/ 76 h 105"/>
                    <a:gd name="T6" fmla="*/ 0 w 104"/>
                    <a:gd name="T7" fmla="*/ 29 h 105"/>
                    <a:gd name="T8" fmla="*/ 28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8" y="105"/>
                        <a:pt x="28" y="105"/>
                        <a:pt x="28" y="105"/>
                      </a:cubicBezTo>
                      <a:cubicBezTo>
                        <a:pt x="12" y="105"/>
                        <a:pt x="0" y="92"/>
                        <a:pt x="0" y="76"/>
                      </a:cubicBezTo>
                      <a:cubicBezTo>
                        <a:pt x="0" y="29"/>
                        <a:pt x="0" y="29"/>
                        <a:pt x="0" y="29"/>
                      </a:cubicBezTo>
                      <a:cubicBezTo>
                        <a:pt x="0" y="13"/>
                        <a:pt x="12" y="0"/>
                        <a:pt x="28"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 name="Freeform 9"/>
                <p:cNvSpPr>
                  <a:spLocks/>
                </p:cNvSpPr>
                <p:nvPr/>
              </p:nvSpPr>
              <p:spPr bwMode="auto">
                <a:xfrm>
                  <a:off x="295433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 name="Freeform 10"/>
                <p:cNvSpPr>
                  <a:spLocks/>
                </p:cNvSpPr>
                <p:nvPr/>
              </p:nvSpPr>
              <p:spPr bwMode="auto">
                <a:xfrm>
                  <a:off x="306228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 name="Freeform 11"/>
                <p:cNvSpPr>
                  <a:spLocks/>
                </p:cNvSpPr>
                <p:nvPr/>
              </p:nvSpPr>
              <p:spPr bwMode="auto">
                <a:xfrm>
                  <a:off x="3170238" y="2674938"/>
                  <a:ext cx="77788" cy="77788"/>
                </a:xfrm>
                <a:custGeom>
                  <a:avLst/>
                  <a:gdLst>
                    <a:gd name="T0" fmla="*/ 76 w 104"/>
                    <a:gd name="T1" fmla="*/ 105 h 105"/>
                    <a:gd name="T2" fmla="*/ 29 w 104"/>
                    <a:gd name="T3" fmla="*/ 105 h 105"/>
                    <a:gd name="T4" fmla="*/ 0 w 104"/>
                    <a:gd name="T5" fmla="*/ 76 h 105"/>
                    <a:gd name="T6" fmla="*/ 0 w 104"/>
                    <a:gd name="T7" fmla="*/ 29 h 105"/>
                    <a:gd name="T8" fmla="*/ 29 w 104"/>
                    <a:gd name="T9" fmla="*/ 0 h 105"/>
                    <a:gd name="T10" fmla="*/ 76 w 104"/>
                    <a:gd name="T11" fmla="*/ 0 h 105"/>
                    <a:gd name="T12" fmla="*/ 104 w 104"/>
                    <a:gd name="T13" fmla="*/ 29 h 105"/>
                    <a:gd name="T14" fmla="*/ 104 w 104"/>
                    <a:gd name="T15" fmla="*/ 76 h 105"/>
                    <a:gd name="T16" fmla="*/ 76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4" y="13"/>
                        <a:pt x="104" y="29"/>
                      </a:cubicBezTo>
                      <a:cubicBezTo>
                        <a:pt x="104" y="76"/>
                        <a:pt x="104" y="76"/>
                        <a:pt x="104" y="76"/>
                      </a:cubicBezTo>
                      <a:cubicBezTo>
                        <a:pt x="104" y="92"/>
                        <a:pt x="92" y="105"/>
                        <a:pt x="76"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 name="Freeform 12"/>
                <p:cNvSpPr>
                  <a:spLocks/>
                </p:cNvSpPr>
                <p:nvPr/>
              </p:nvSpPr>
              <p:spPr bwMode="auto">
                <a:xfrm>
                  <a:off x="327818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6" name="Freeform 13"/>
                <p:cNvSpPr>
                  <a:spLocks/>
                </p:cNvSpPr>
                <p:nvPr/>
              </p:nvSpPr>
              <p:spPr bwMode="auto">
                <a:xfrm>
                  <a:off x="2789238" y="2776538"/>
                  <a:ext cx="65088" cy="65088"/>
                </a:xfrm>
                <a:custGeom>
                  <a:avLst/>
                  <a:gdLst>
                    <a:gd name="T0" fmla="*/ 58 w 87"/>
                    <a:gd name="T1" fmla="*/ 87 h 87"/>
                    <a:gd name="T2" fmla="*/ 28 w 87"/>
                    <a:gd name="T3" fmla="*/ 87 h 87"/>
                    <a:gd name="T4" fmla="*/ 0 w 87"/>
                    <a:gd name="T5" fmla="*/ 58 h 87"/>
                    <a:gd name="T6" fmla="*/ 0 w 87"/>
                    <a:gd name="T7" fmla="*/ 29 h 87"/>
                    <a:gd name="T8" fmla="*/ 28 w 87"/>
                    <a:gd name="T9" fmla="*/ 0 h 87"/>
                    <a:gd name="T10" fmla="*/ 58 w 87"/>
                    <a:gd name="T11" fmla="*/ 0 h 87"/>
                    <a:gd name="T12" fmla="*/ 87 w 87"/>
                    <a:gd name="T13" fmla="*/ 29 h 87"/>
                    <a:gd name="T14" fmla="*/ 87 w 87"/>
                    <a:gd name="T15" fmla="*/ 58 h 87"/>
                    <a:gd name="T16" fmla="*/ 58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8" y="87"/>
                      </a:moveTo>
                      <a:cubicBezTo>
                        <a:pt x="28" y="87"/>
                        <a:pt x="28" y="87"/>
                        <a:pt x="28" y="87"/>
                      </a:cubicBezTo>
                      <a:cubicBezTo>
                        <a:pt x="12" y="87"/>
                        <a:pt x="0" y="74"/>
                        <a:pt x="0" y="58"/>
                      </a:cubicBezTo>
                      <a:cubicBezTo>
                        <a:pt x="0" y="29"/>
                        <a:pt x="0" y="29"/>
                        <a:pt x="0" y="29"/>
                      </a:cubicBezTo>
                      <a:cubicBezTo>
                        <a:pt x="0" y="13"/>
                        <a:pt x="12" y="0"/>
                        <a:pt x="28" y="0"/>
                      </a:cubicBezTo>
                      <a:cubicBezTo>
                        <a:pt x="58" y="0"/>
                        <a:pt x="58" y="0"/>
                        <a:pt x="58" y="0"/>
                      </a:cubicBezTo>
                      <a:cubicBezTo>
                        <a:pt x="74" y="0"/>
                        <a:pt x="87" y="13"/>
                        <a:pt x="87" y="29"/>
                      </a:cubicBezTo>
                      <a:cubicBezTo>
                        <a:pt x="87" y="58"/>
                        <a:pt x="87" y="58"/>
                        <a:pt x="87" y="58"/>
                      </a:cubicBezTo>
                      <a:cubicBezTo>
                        <a:pt x="87" y="74"/>
                        <a:pt x="74" y="87"/>
                        <a:pt x="58"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7" name="Freeform 14"/>
                <p:cNvSpPr>
                  <a:spLocks/>
                </p:cNvSpPr>
                <p:nvPr/>
              </p:nvSpPr>
              <p:spPr bwMode="auto">
                <a:xfrm>
                  <a:off x="2901950" y="2776538"/>
                  <a:ext cx="65088" cy="65088"/>
                </a:xfrm>
                <a:custGeom>
                  <a:avLst/>
                  <a:gdLst>
                    <a:gd name="T0" fmla="*/ 59 w 88"/>
                    <a:gd name="T1" fmla="*/ 87 h 87"/>
                    <a:gd name="T2" fmla="*/ 29 w 88"/>
                    <a:gd name="T3" fmla="*/ 87 h 87"/>
                    <a:gd name="T4" fmla="*/ 0 w 88"/>
                    <a:gd name="T5" fmla="*/ 58 h 87"/>
                    <a:gd name="T6" fmla="*/ 0 w 88"/>
                    <a:gd name="T7" fmla="*/ 29 h 87"/>
                    <a:gd name="T8" fmla="*/ 29 w 88"/>
                    <a:gd name="T9" fmla="*/ 0 h 87"/>
                    <a:gd name="T10" fmla="*/ 59 w 88"/>
                    <a:gd name="T11" fmla="*/ 0 h 87"/>
                    <a:gd name="T12" fmla="*/ 88 w 88"/>
                    <a:gd name="T13" fmla="*/ 29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9"/>
                        <a:pt x="0" y="29"/>
                        <a:pt x="0" y="29"/>
                      </a:cubicBezTo>
                      <a:cubicBezTo>
                        <a:pt x="0" y="13"/>
                        <a:pt x="13" y="0"/>
                        <a:pt x="29" y="0"/>
                      </a:cubicBezTo>
                      <a:cubicBezTo>
                        <a:pt x="59" y="0"/>
                        <a:pt x="59" y="0"/>
                        <a:pt x="59" y="0"/>
                      </a:cubicBezTo>
                      <a:cubicBezTo>
                        <a:pt x="75" y="0"/>
                        <a:pt x="88" y="13"/>
                        <a:pt x="88" y="29"/>
                      </a:cubicBezTo>
                      <a:cubicBezTo>
                        <a:pt x="88" y="58"/>
                        <a:pt x="88" y="58"/>
                        <a:pt x="88" y="58"/>
                      </a:cubicBezTo>
                      <a:cubicBezTo>
                        <a:pt x="88" y="74"/>
                        <a:pt x="75" y="87"/>
                        <a:pt x="59" y="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8" name="Freeform 15"/>
                <p:cNvSpPr>
                  <a:spLocks/>
                </p:cNvSpPr>
                <p:nvPr/>
              </p:nvSpPr>
              <p:spPr bwMode="auto">
                <a:xfrm>
                  <a:off x="3014663"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9" name="Freeform 16"/>
                <p:cNvSpPr>
                  <a:spLocks/>
                </p:cNvSpPr>
                <p:nvPr/>
              </p:nvSpPr>
              <p:spPr bwMode="auto">
                <a:xfrm>
                  <a:off x="3127375"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0" name="Freeform 17"/>
                <p:cNvSpPr>
                  <a:spLocks/>
                </p:cNvSpPr>
                <p:nvPr/>
              </p:nvSpPr>
              <p:spPr bwMode="auto">
                <a:xfrm>
                  <a:off x="3240088" y="2778125"/>
                  <a:ext cx="65088" cy="63500"/>
                </a:xfrm>
                <a:custGeom>
                  <a:avLst/>
                  <a:gdLst>
                    <a:gd name="T0" fmla="*/ 59 w 87"/>
                    <a:gd name="T1" fmla="*/ 87 h 87"/>
                    <a:gd name="T2" fmla="*/ 29 w 87"/>
                    <a:gd name="T3" fmla="*/ 87 h 87"/>
                    <a:gd name="T4" fmla="*/ 0 w 87"/>
                    <a:gd name="T5" fmla="*/ 58 h 87"/>
                    <a:gd name="T6" fmla="*/ 0 w 87"/>
                    <a:gd name="T7" fmla="*/ 28 h 87"/>
                    <a:gd name="T8" fmla="*/ 29 w 87"/>
                    <a:gd name="T9" fmla="*/ 0 h 87"/>
                    <a:gd name="T10" fmla="*/ 59 w 87"/>
                    <a:gd name="T11" fmla="*/ 0 h 87"/>
                    <a:gd name="T12" fmla="*/ 87 w 87"/>
                    <a:gd name="T13" fmla="*/ 28 h 87"/>
                    <a:gd name="T14" fmla="*/ 87 w 87"/>
                    <a:gd name="T15" fmla="*/ 58 h 87"/>
                    <a:gd name="T16" fmla="*/ 59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7" y="13"/>
                        <a:pt x="87" y="28"/>
                      </a:cubicBezTo>
                      <a:cubicBezTo>
                        <a:pt x="87" y="58"/>
                        <a:pt x="87" y="58"/>
                        <a:pt x="87" y="58"/>
                      </a:cubicBezTo>
                      <a:cubicBezTo>
                        <a:pt x="87" y="74"/>
                        <a:pt x="75" y="87"/>
                        <a:pt x="59"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1" name="Freeform 18"/>
                <p:cNvSpPr>
                  <a:spLocks/>
                </p:cNvSpPr>
                <p:nvPr/>
              </p:nvSpPr>
              <p:spPr bwMode="auto">
                <a:xfrm>
                  <a:off x="2841625" y="2862263"/>
                  <a:ext cx="50800" cy="52388"/>
                </a:xfrm>
                <a:custGeom>
                  <a:avLst/>
                  <a:gdLst>
                    <a:gd name="T0" fmla="*/ 41 w 70"/>
                    <a:gd name="T1" fmla="*/ 70 h 70"/>
                    <a:gd name="T2" fmla="*/ 28 w 70"/>
                    <a:gd name="T3" fmla="*/ 70 h 70"/>
                    <a:gd name="T4" fmla="*/ 0 w 70"/>
                    <a:gd name="T5" fmla="*/ 41 h 70"/>
                    <a:gd name="T6" fmla="*/ 0 w 70"/>
                    <a:gd name="T7" fmla="*/ 29 h 70"/>
                    <a:gd name="T8" fmla="*/ 28 w 70"/>
                    <a:gd name="T9" fmla="*/ 0 h 70"/>
                    <a:gd name="T10" fmla="*/ 41 w 70"/>
                    <a:gd name="T11" fmla="*/ 0 h 70"/>
                    <a:gd name="T12" fmla="*/ 70 w 70"/>
                    <a:gd name="T13" fmla="*/ 29 h 70"/>
                    <a:gd name="T14" fmla="*/ 70 w 70"/>
                    <a:gd name="T15" fmla="*/ 41 h 70"/>
                    <a:gd name="T16" fmla="*/ 41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70" y="13"/>
                        <a:pt x="70" y="29"/>
                      </a:cubicBezTo>
                      <a:cubicBezTo>
                        <a:pt x="70" y="41"/>
                        <a:pt x="70" y="41"/>
                        <a:pt x="70" y="41"/>
                      </a:cubicBezTo>
                      <a:cubicBezTo>
                        <a:pt x="70" y="57"/>
                        <a:pt x="57" y="70"/>
                        <a:pt x="41"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2" name="Freeform 19"/>
                <p:cNvSpPr>
                  <a:spLocks/>
                </p:cNvSpPr>
                <p:nvPr/>
              </p:nvSpPr>
              <p:spPr bwMode="auto">
                <a:xfrm>
                  <a:off x="2962275" y="2862263"/>
                  <a:ext cx="50800" cy="52388"/>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69" y="13"/>
                        <a:pt x="69" y="29"/>
                      </a:cubicBezTo>
                      <a:cubicBezTo>
                        <a:pt x="69" y="41"/>
                        <a:pt x="69" y="41"/>
                        <a:pt x="69" y="41"/>
                      </a:cubicBezTo>
                      <a:cubicBezTo>
                        <a:pt x="69" y="57"/>
                        <a:pt x="57" y="70"/>
                        <a:pt x="41" y="7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4" name="Freeform 20"/>
                <p:cNvSpPr>
                  <a:spLocks/>
                </p:cNvSpPr>
                <p:nvPr/>
              </p:nvSpPr>
              <p:spPr bwMode="auto">
                <a:xfrm>
                  <a:off x="3081338" y="2863850"/>
                  <a:ext cx="52388" cy="50800"/>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2" y="70"/>
                        <a:pt x="0" y="57"/>
                        <a:pt x="0" y="41"/>
                      </a:cubicBezTo>
                      <a:cubicBezTo>
                        <a:pt x="0" y="29"/>
                        <a:pt x="0" y="29"/>
                        <a:pt x="0" y="29"/>
                      </a:cubicBezTo>
                      <a:cubicBezTo>
                        <a:pt x="0" y="13"/>
                        <a:pt x="12" y="0"/>
                        <a:pt x="28" y="0"/>
                      </a:cubicBezTo>
                      <a:cubicBezTo>
                        <a:pt x="41" y="0"/>
                        <a:pt x="41" y="0"/>
                        <a:pt x="41" y="0"/>
                      </a:cubicBezTo>
                      <a:cubicBezTo>
                        <a:pt x="56" y="0"/>
                        <a:pt x="69" y="13"/>
                        <a:pt x="69" y="29"/>
                      </a:cubicBezTo>
                      <a:cubicBezTo>
                        <a:pt x="69" y="41"/>
                        <a:pt x="69" y="41"/>
                        <a:pt x="69" y="41"/>
                      </a:cubicBezTo>
                      <a:cubicBezTo>
                        <a:pt x="69" y="57"/>
                        <a:pt x="56" y="70"/>
                        <a:pt x="41"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5" name="Freeform 21"/>
                <p:cNvSpPr>
                  <a:spLocks/>
                </p:cNvSpPr>
                <p:nvPr/>
              </p:nvSpPr>
              <p:spPr bwMode="auto">
                <a:xfrm>
                  <a:off x="3201988" y="2863850"/>
                  <a:ext cx="50800" cy="50800"/>
                </a:xfrm>
                <a:custGeom>
                  <a:avLst/>
                  <a:gdLst>
                    <a:gd name="T0" fmla="*/ 42 w 70"/>
                    <a:gd name="T1" fmla="*/ 70 h 70"/>
                    <a:gd name="T2" fmla="*/ 29 w 70"/>
                    <a:gd name="T3" fmla="*/ 70 h 70"/>
                    <a:gd name="T4" fmla="*/ 0 w 70"/>
                    <a:gd name="T5" fmla="*/ 41 h 70"/>
                    <a:gd name="T6" fmla="*/ 0 w 70"/>
                    <a:gd name="T7" fmla="*/ 29 h 70"/>
                    <a:gd name="T8" fmla="*/ 29 w 70"/>
                    <a:gd name="T9" fmla="*/ 0 h 70"/>
                    <a:gd name="T10" fmla="*/ 42 w 70"/>
                    <a:gd name="T11" fmla="*/ 0 h 70"/>
                    <a:gd name="T12" fmla="*/ 70 w 70"/>
                    <a:gd name="T13" fmla="*/ 29 h 70"/>
                    <a:gd name="T14" fmla="*/ 70 w 70"/>
                    <a:gd name="T15" fmla="*/ 41 h 70"/>
                    <a:gd name="T16" fmla="*/ 42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2" y="70"/>
                      </a:moveTo>
                      <a:cubicBezTo>
                        <a:pt x="29" y="70"/>
                        <a:pt x="29" y="70"/>
                        <a:pt x="29" y="70"/>
                      </a:cubicBezTo>
                      <a:cubicBezTo>
                        <a:pt x="13" y="70"/>
                        <a:pt x="0" y="57"/>
                        <a:pt x="0" y="41"/>
                      </a:cubicBezTo>
                      <a:cubicBezTo>
                        <a:pt x="0" y="29"/>
                        <a:pt x="0" y="29"/>
                        <a:pt x="0" y="29"/>
                      </a:cubicBezTo>
                      <a:cubicBezTo>
                        <a:pt x="0" y="13"/>
                        <a:pt x="13" y="0"/>
                        <a:pt x="29" y="0"/>
                      </a:cubicBezTo>
                      <a:cubicBezTo>
                        <a:pt x="42" y="0"/>
                        <a:pt x="42" y="0"/>
                        <a:pt x="42" y="0"/>
                      </a:cubicBezTo>
                      <a:cubicBezTo>
                        <a:pt x="57" y="0"/>
                        <a:pt x="70" y="13"/>
                        <a:pt x="70" y="29"/>
                      </a:cubicBezTo>
                      <a:cubicBezTo>
                        <a:pt x="70" y="41"/>
                        <a:pt x="70" y="41"/>
                        <a:pt x="70" y="41"/>
                      </a:cubicBezTo>
                      <a:cubicBezTo>
                        <a:pt x="70" y="57"/>
                        <a:pt x="57" y="70"/>
                        <a:pt x="42" y="7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grpSp>
        <p:nvGrpSpPr>
          <p:cNvPr id="28" name="Group 27">
            <a:extLst>
              <a:ext uri="{FF2B5EF4-FFF2-40B4-BE49-F238E27FC236}">
                <a16:creationId xmlns:a16="http://schemas.microsoft.com/office/drawing/2014/main" id="{D509A774-3AF6-49E0-B164-3495FD8AB9F8}"/>
              </a:ext>
            </a:extLst>
          </p:cNvPr>
          <p:cNvGrpSpPr/>
          <p:nvPr/>
        </p:nvGrpSpPr>
        <p:grpSpPr>
          <a:xfrm>
            <a:off x="485585" y="710972"/>
            <a:ext cx="457390" cy="457390"/>
            <a:chOff x="485585" y="485585"/>
            <a:chExt cx="457390" cy="457390"/>
          </a:xfrm>
        </p:grpSpPr>
        <p:sp>
          <p:nvSpPr>
            <p:cNvPr id="5" name="Oval 4">
              <a:extLst>
                <a:ext uri="{FF2B5EF4-FFF2-40B4-BE49-F238E27FC236}">
                  <a16:creationId xmlns:a16="http://schemas.microsoft.com/office/drawing/2014/main" id="{61C01907-C391-464F-908A-D62C0216549E}"/>
                </a:ext>
              </a:extLst>
            </p:cNvPr>
            <p:cNvSpPr/>
            <p:nvPr/>
          </p:nvSpPr>
          <p:spPr>
            <a:xfrm>
              <a:off x="485585"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56" name="Group 55"/>
            <p:cNvGrpSpPr>
              <a:grpSpLocks noChangeAspect="1"/>
            </p:cNvGrpSpPr>
            <p:nvPr/>
          </p:nvGrpSpPr>
          <p:grpSpPr>
            <a:xfrm>
              <a:off x="549267" y="560453"/>
              <a:ext cx="318407" cy="318194"/>
              <a:chOff x="2439988" y="-1801813"/>
              <a:chExt cx="2363788" cy="2362200"/>
            </a:xfrm>
          </p:grpSpPr>
          <p:sp>
            <p:nvSpPr>
              <p:cNvPr id="52" name="Oval 36"/>
              <p:cNvSpPr>
                <a:spLocks noChangeArrowheads="1"/>
              </p:cNvSpPr>
              <p:nvPr/>
            </p:nvSpPr>
            <p:spPr bwMode="auto">
              <a:xfrm>
                <a:off x="2439988" y="-1801813"/>
                <a:ext cx="2363788" cy="2362200"/>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51" name="Freeform 35"/>
              <p:cNvSpPr>
                <a:spLocks/>
              </p:cNvSpPr>
              <p:nvPr/>
            </p:nvSpPr>
            <p:spPr bwMode="auto">
              <a:xfrm>
                <a:off x="2624138" y="-979488"/>
                <a:ext cx="2163763" cy="1539875"/>
              </a:xfrm>
              <a:custGeom>
                <a:avLst/>
                <a:gdLst>
                  <a:gd name="T0" fmla="*/ 574 w 574"/>
                  <a:gd name="T1" fmla="*/ 141 h 409"/>
                  <a:gd name="T2" fmla="*/ 527 w 574"/>
                  <a:gd name="T3" fmla="*/ 94 h 409"/>
                  <a:gd name="T4" fmla="*/ 507 w 574"/>
                  <a:gd name="T5" fmla="*/ 66 h 409"/>
                  <a:gd name="T6" fmla="*/ 505 w 574"/>
                  <a:gd name="T7" fmla="*/ 63 h 409"/>
                  <a:gd name="T8" fmla="*/ 501 w 574"/>
                  <a:gd name="T9" fmla="*/ 61 h 409"/>
                  <a:gd name="T10" fmla="*/ 499 w 574"/>
                  <a:gd name="T11" fmla="*/ 59 h 409"/>
                  <a:gd name="T12" fmla="*/ 494 w 574"/>
                  <a:gd name="T13" fmla="*/ 57 h 409"/>
                  <a:gd name="T14" fmla="*/ 493 w 574"/>
                  <a:gd name="T15" fmla="*/ 56 h 409"/>
                  <a:gd name="T16" fmla="*/ 487 w 574"/>
                  <a:gd name="T17" fmla="*/ 54 h 409"/>
                  <a:gd name="T18" fmla="*/ 485 w 574"/>
                  <a:gd name="T19" fmla="*/ 53 h 409"/>
                  <a:gd name="T20" fmla="*/ 482 w 574"/>
                  <a:gd name="T21" fmla="*/ 49 h 409"/>
                  <a:gd name="T22" fmla="*/ 479 w 574"/>
                  <a:gd name="T23" fmla="*/ 45 h 409"/>
                  <a:gd name="T24" fmla="*/ 479 w 574"/>
                  <a:gd name="T25" fmla="*/ 45 h 409"/>
                  <a:gd name="T26" fmla="*/ 475 w 574"/>
                  <a:gd name="T27" fmla="*/ 41 h 409"/>
                  <a:gd name="T28" fmla="*/ 475 w 574"/>
                  <a:gd name="T29" fmla="*/ 41 h 409"/>
                  <a:gd name="T30" fmla="*/ 471 w 574"/>
                  <a:gd name="T31" fmla="*/ 37 h 409"/>
                  <a:gd name="T32" fmla="*/ 471 w 574"/>
                  <a:gd name="T33" fmla="*/ 37 h 409"/>
                  <a:gd name="T34" fmla="*/ 466 w 574"/>
                  <a:gd name="T35" fmla="*/ 33 h 409"/>
                  <a:gd name="T36" fmla="*/ 399 w 574"/>
                  <a:gd name="T37" fmla="*/ 10 h 409"/>
                  <a:gd name="T38" fmla="*/ 327 w 574"/>
                  <a:gd name="T39" fmla="*/ 38 h 409"/>
                  <a:gd name="T40" fmla="*/ 265 w 574"/>
                  <a:gd name="T41" fmla="*/ 0 h 409"/>
                  <a:gd name="T42" fmla="*/ 256 w 574"/>
                  <a:gd name="T43" fmla="*/ 1 h 409"/>
                  <a:gd name="T44" fmla="*/ 253 w 574"/>
                  <a:gd name="T45" fmla="*/ 1 h 409"/>
                  <a:gd name="T46" fmla="*/ 251 w 574"/>
                  <a:gd name="T47" fmla="*/ 1 h 409"/>
                  <a:gd name="T48" fmla="*/ 249 w 574"/>
                  <a:gd name="T49" fmla="*/ 2 h 409"/>
                  <a:gd name="T50" fmla="*/ 247 w 574"/>
                  <a:gd name="T51" fmla="*/ 3 h 409"/>
                  <a:gd name="T52" fmla="*/ 244 w 574"/>
                  <a:gd name="T53" fmla="*/ 3 h 409"/>
                  <a:gd name="T54" fmla="*/ 242 w 574"/>
                  <a:gd name="T55" fmla="*/ 4 h 409"/>
                  <a:gd name="T56" fmla="*/ 240 w 574"/>
                  <a:gd name="T57" fmla="*/ 5 h 409"/>
                  <a:gd name="T58" fmla="*/ 238 w 574"/>
                  <a:gd name="T59" fmla="*/ 5 h 409"/>
                  <a:gd name="T60" fmla="*/ 236 w 574"/>
                  <a:gd name="T61" fmla="*/ 6 h 409"/>
                  <a:gd name="T62" fmla="*/ 234 w 574"/>
                  <a:gd name="T63" fmla="*/ 7 h 409"/>
                  <a:gd name="T64" fmla="*/ 232 w 574"/>
                  <a:gd name="T65" fmla="*/ 8 h 409"/>
                  <a:gd name="T66" fmla="*/ 230 w 574"/>
                  <a:gd name="T67" fmla="*/ 10 h 409"/>
                  <a:gd name="T68" fmla="*/ 228 w 574"/>
                  <a:gd name="T69" fmla="*/ 11 h 409"/>
                  <a:gd name="T70" fmla="*/ 225 w 574"/>
                  <a:gd name="T71" fmla="*/ 13 h 409"/>
                  <a:gd name="T72" fmla="*/ 223 w 574"/>
                  <a:gd name="T73" fmla="*/ 14 h 409"/>
                  <a:gd name="T74" fmla="*/ 221 w 574"/>
                  <a:gd name="T75" fmla="*/ 16 h 409"/>
                  <a:gd name="T76" fmla="*/ 220 w 574"/>
                  <a:gd name="T77" fmla="*/ 17 h 409"/>
                  <a:gd name="T78" fmla="*/ 218 w 574"/>
                  <a:gd name="T79" fmla="*/ 19 h 409"/>
                  <a:gd name="T80" fmla="*/ 216 w 574"/>
                  <a:gd name="T81" fmla="*/ 20 h 409"/>
                  <a:gd name="T82" fmla="*/ 215 w 574"/>
                  <a:gd name="T83" fmla="*/ 22 h 409"/>
                  <a:gd name="T84" fmla="*/ 213 w 574"/>
                  <a:gd name="T85" fmla="*/ 23 h 409"/>
                  <a:gd name="T86" fmla="*/ 212 w 574"/>
                  <a:gd name="T87" fmla="*/ 25 h 409"/>
                  <a:gd name="T88" fmla="*/ 210 w 574"/>
                  <a:gd name="T89" fmla="*/ 26 h 409"/>
                  <a:gd name="T90" fmla="*/ 209 w 574"/>
                  <a:gd name="T91" fmla="*/ 29 h 409"/>
                  <a:gd name="T92" fmla="*/ 208 w 574"/>
                  <a:gd name="T93" fmla="*/ 30 h 409"/>
                  <a:gd name="T94" fmla="*/ 206 w 574"/>
                  <a:gd name="T95" fmla="*/ 33 h 409"/>
                  <a:gd name="T96" fmla="*/ 205 w 574"/>
                  <a:gd name="T97" fmla="*/ 34 h 409"/>
                  <a:gd name="T98" fmla="*/ 203 w 574"/>
                  <a:gd name="T99" fmla="*/ 38 h 409"/>
                  <a:gd name="T100" fmla="*/ 131 w 574"/>
                  <a:gd name="T101" fmla="*/ 10 h 409"/>
                  <a:gd name="T102" fmla="*/ 45 w 574"/>
                  <a:gd name="T103" fmla="*/ 53 h 409"/>
                  <a:gd name="T104" fmla="*/ 39 w 574"/>
                  <a:gd name="T105" fmla="*/ 55 h 409"/>
                  <a:gd name="T106" fmla="*/ 38 w 574"/>
                  <a:gd name="T107" fmla="*/ 56 h 409"/>
                  <a:gd name="T108" fmla="*/ 33 w 574"/>
                  <a:gd name="T109" fmla="*/ 58 h 409"/>
                  <a:gd name="T110" fmla="*/ 32 w 574"/>
                  <a:gd name="T111" fmla="*/ 59 h 409"/>
                  <a:gd name="T112" fmla="*/ 21 w 574"/>
                  <a:gd name="T113" fmla="*/ 67 h 409"/>
                  <a:gd name="T114" fmla="*/ 0 w 574"/>
                  <a:gd name="T115" fmla="*/ 116 h 409"/>
                  <a:gd name="T116" fmla="*/ 45 w 574"/>
                  <a:gd name="T117" fmla="*/ 180 h 409"/>
                  <a:gd name="T118" fmla="*/ 75 w 574"/>
                  <a:gd name="T119" fmla="*/ 207 h 409"/>
                  <a:gd name="T120" fmla="*/ 277 w 574"/>
                  <a:gd name="T121" fmla="*/ 409 h 409"/>
                  <a:gd name="T122" fmla="*/ 574 w 574"/>
                  <a:gd name="T123" fmla="*/ 14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4" h="409">
                    <a:moveTo>
                      <a:pt x="574" y="141"/>
                    </a:moveTo>
                    <a:cubicBezTo>
                      <a:pt x="527" y="94"/>
                      <a:pt x="527" y="94"/>
                      <a:pt x="527" y="94"/>
                    </a:cubicBezTo>
                    <a:cubicBezTo>
                      <a:pt x="523" y="83"/>
                      <a:pt x="516" y="73"/>
                      <a:pt x="507" y="66"/>
                    </a:cubicBezTo>
                    <a:cubicBezTo>
                      <a:pt x="506" y="65"/>
                      <a:pt x="505" y="64"/>
                      <a:pt x="505" y="63"/>
                    </a:cubicBezTo>
                    <a:cubicBezTo>
                      <a:pt x="504" y="63"/>
                      <a:pt x="502" y="62"/>
                      <a:pt x="501" y="61"/>
                    </a:cubicBezTo>
                    <a:cubicBezTo>
                      <a:pt x="500" y="60"/>
                      <a:pt x="500" y="60"/>
                      <a:pt x="499" y="59"/>
                    </a:cubicBezTo>
                    <a:cubicBezTo>
                      <a:pt x="497" y="58"/>
                      <a:pt x="496" y="58"/>
                      <a:pt x="494" y="57"/>
                    </a:cubicBezTo>
                    <a:cubicBezTo>
                      <a:pt x="494" y="57"/>
                      <a:pt x="493" y="56"/>
                      <a:pt x="493" y="56"/>
                    </a:cubicBezTo>
                    <a:cubicBezTo>
                      <a:pt x="491" y="55"/>
                      <a:pt x="489" y="54"/>
                      <a:pt x="487" y="54"/>
                    </a:cubicBezTo>
                    <a:cubicBezTo>
                      <a:pt x="486" y="53"/>
                      <a:pt x="486" y="53"/>
                      <a:pt x="485" y="53"/>
                    </a:cubicBezTo>
                    <a:cubicBezTo>
                      <a:pt x="484" y="52"/>
                      <a:pt x="483" y="51"/>
                      <a:pt x="482" y="49"/>
                    </a:cubicBezTo>
                    <a:cubicBezTo>
                      <a:pt x="481" y="48"/>
                      <a:pt x="480" y="47"/>
                      <a:pt x="479" y="45"/>
                    </a:cubicBezTo>
                    <a:cubicBezTo>
                      <a:pt x="479" y="45"/>
                      <a:pt x="479" y="45"/>
                      <a:pt x="479" y="45"/>
                    </a:cubicBezTo>
                    <a:cubicBezTo>
                      <a:pt x="477" y="44"/>
                      <a:pt x="476" y="42"/>
                      <a:pt x="475" y="41"/>
                    </a:cubicBezTo>
                    <a:cubicBezTo>
                      <a:pt x="475" y="41"/>
                      <a:pt x="475" y="41"/>
                      <a:pt x="475" y="41"/>
                    </a:cubicBezTo>
                    <a:cubicBezTo>
                      <a:pt x="473" y="39"/>
                      <a:pt x="472" y="38"/>
                      <a:pt x="471" y="37"/>
                    </a:cubicBezTo>
                    <a:cubicBezTo>
                      <a:pt x="471" y="37"/>
                      <a:pt x="471" y="37"/>
                      <a:pt x="471" y="37"/>
                    </a:cubicBezTo>
                    <a:cubicBezTo>
                      <a:pt x="469" y="36"/>
                      <a:pt x="468" y="34"/>
                      <a:pt x="466" y="33"/>
                    </a:cubicBezTo>
                    <a:cubicBezTo>
                      <a:pt x="448" y="18"/>
                      <a:pt x="425" y="10"/>
                      <a:pt x="399" y="10"/>
                    </a:cubicBezTo>
                    <a:cubicBezTo>
                      <a:pt x="372" y="10"/>
                      <a:pt x="346" y="20"/>
                      <a:pt x="327" y="38"/>
                    </a:cubicBezTo>
                    <a:cubicBezTo>
                      <a:pt x="316" y="15"/>
                      <a:pt x="292" y="0"/>
                      <a:pt x="265" y="0"/>
                    </a:cubicBezTo>
                    <a:cubicBezTo>
                      <a:pt x="262" y="0"/>
                      <a:pt x="259" y="0"/>
                      <a:pt x="256" y="1"/>
                    </a:cubicBezTo>
                    <a:cubicBezTo>
                      <a:pt x="255" y="1"/>
                      <a:pt x="254" y="1"/>
                      <a:pt x="253" y="1"/>
                    </a:cubicBezTo>
                    <a:cubicBezTo>
                      <a:pt x="252" y="1"/>
                      <a:pt x="252" y="1"/>
                      <a:pt x="251" y="1"/>
                    </a:cubicBezTo>
                    <a:cubicBezTo>
                      <a:pt x="250" y="2"/>
                      <a:pt x="249" y="2"/>
                      <a:pt x="249" y="2"/>
                    </a:cubicBezTo>
                    <a:cubicBezTo>
                      <a:pt x="248" y="2"/>
                      <a:pt x="247" y="2"/>
                      <a:pt x="247" y="3"/>
                    </a:cubicBezTo>
                    <a:cubicBezTo>
                      <a:pt x="246" y="3"/>
                      <a:pt x="245" y="3"/>
                      <a:pt x="244" y="3"/>
                    </a:cubicBezTo>
                    <a:cubicBezTo>
                      <a:pt x="244" y="3"/>
                      <a:pt x="243" y="4"/>
                      <a:pt x="242" y="4"/>
                    </a:cubicBezTo>
                    <a:cubicBezTo>
                      <a:pt x="242" y="4"/>
                      <a:pt x="241" y="4"/>
                      <a:pt x="240" y="5"/>
                    </a:cubicBezTo>
                    <a:cubicBezTo>
                      <a:pt x="239" y="5"/>
                      <a:pt x="239" y="5"/>
                      <a:pt x="238" y="5"/>
                    </a:cubicBezTo>
                    <a:cubicBezTo>
                      <a:pt x="237" y="6"/>
                      <a:pt x="237" y="6"/>
                      <a:pt x="236" y="6"/>
                    </a:cubicBezTo>
                    <a:cubicBezTo>
                      <a:pt x="235" y="7"/>
                      <a:pt x="235" y="7"/>
                      <a:pt x="234" y="7"/>
                    </a:cubicBezTo>
                    <a:cubicBezTo>
                      <a:pt x="233" y="8"/>
                      <a:pt x="233" y="8"/>
                      <a:pt x="232" y="8"/>
                    </a:cubicBezTo>
                    <a:cubicBezTo>
                      <a:pt x="231" y="9"/>
                      <a:pt x="231" y="9"/>
                      <a:pt x="230" y="10"/>
                    </a:cubicBezTo>
                    <a:cubicBezTo>
                      <a:pt x="229" y="10"/>
                      <a:pt x="229" y="10"/>
                      <a:pt x="228" y="11"/>
                    </a:cubicBezTo>
                    <a:cubicBezTo>
                      <a:pt x="227" y="11"/>
                      <a:pt x="226" y="12"/>
                      <a:pt x="225" y="13"/>
                    </a:cubicBezTo>
                    <a:cubicBezTo>
                      <a:pt x="224" y="13"/>
                      <a:pt x="224" y="14"/>
                      <a:pt x="223" y="14"/>
                    </a:cubicBezTo>
                    <a:cubicBezTo>
                      <a:pt x="223" y="15"/>
                      <a:pt x="222" y="15"/>
                      <a:pt x="221" y="16"/>
                    </a:cubicBezTo>
                    <a:cubicBezTo>
                      <a:pt x="221" y="16"/>
                      <a:pt x="220" y="16"/>
                      <a:pt x="220" y="17"/>
                    </a:cubicBezTo>
                    <a:cubicBezTo>
                      <a:pt x="219" y="17"/>
                      <a:pt x="218" y="18"/>
                      <a:pt x="218" y="19"/>
                    </a:cubicBezTo>
                    <a:cubicBezTo>
                      <a:pt x="217" y="19"/>
                      <a:pt x="217" y="19"/>
                      <a:pt x="216" y="20"/>
                    </a:cubicBezTo>
                    <a:cubicBezTo>
                      <a:pt x="216" y="21"/>
                      <a:pt x="215" y="21"/>
                      <a:pt x="215" y="22"/>
                    </a:cubicBezTo>
                    <a:cubicBezTo>
                      <a:pt x="214" y="22"/>
                      <a:pt x="214" y="23"/>
                      <a:pt x="213" y="23"/>
                    </a:cubicBezTo>
                    <a:cubicBezTo>
                      <a:pt x="213" y="24"/>
                      <a:pt x="212" y="24"/>
                      <a:pt x="212" y="25"/>
                    </a:cubicBezTo>
                    <a:cubicBezTo>
                      <a:pt x="211" y="26"/>
                      <a:pt x="211" y="26"/>
                      <a:pt x="210" y="26"/>
                    </a:cubicBezTo>
                    <a:cubicBezTo>
                      <a:pt x="210" y="27"/>
                      <a:pt x="209" y="28"/>
                      <a:pt x="209" y="29"/>
                    </a:cubicBezTo>
                    <a:cubicBezTo>
                      <a:pt x="208" y="29"/>
                      <a:pt x="208" y="30"/>
                      <a:pt x="208" y="30"/>
                    </a:cubicBezTo>
                    <a:cubicBezTo>
                      <a:pt x="207" y="31"/>
                      <a:pt x="207" y="32"/>
                      <a:pt x="206" y="33"/>
                    </a:cubicBezTo>
                    <a:cubicBezTo>
                      <a:pt x="206" y="33"/>
                      <a:pt x="206" y="33"/>
                      <a:pt x="205" y="34"/>
                    </a:cubicBezTo>
                    <a:cubicBezTo>
                      <a:pt x="205" y="35"/>
                      <a:pt x="204" y="36"/>
                      <a:pt x="203" y="38"/>
                    </a:cubicBezTo>
                    <a:cubicBezTo>
                      <a:pt x="184" y="20"/>
                      <a:pt x="159" y="10"/>
                      <a:pt x="131" y="10"/>
                    </a:cubicBezTo>
                    <a:cubicBezTo>
                      <a:pt x="96" y="10"/>
                      <a:pt x="65" y="27"/>
                      <a:pt x="45" y="53"/>
                    </a:cubicBezTo>
                    <a:cubicBezTo>
                      <a:pt x="43" y="53"/>
                      <a:pt x="41" y="54"/>
                      <a:pt x="39" y="55"/>
                    </a:cubicBezTo>
                    <a:cubicBezTo>
                      <a:pt x="39" y="55"/>
                      <a:pt x="38" y="56"/>
                      <a:pt x="38" y="56"/>
                    </a:cubicBezTo>
                    <a:cubicBezTo>
                      <a:pt x="36" y="57"/>
                      <a:pt x="35" y="57"/>
                      <a:pt x="33" y="58"/>
                    </a:cubicBezTo>
                    <a:cubicBezTo>
                      <a:pt x="33" y="59"/>
                      <a:pt x="33" y="59"/>
                      <a:pt x="32" y="59"/>
                    </a:cubicBezTo>
                    <a:cubicBezTo>
                      <a:pt x="28" y="61"/>
                      <a:pt x="25" y="64"/>
                      <a:pt x="21" y="67"/>
                    </a:cubicBezTo>
                    <a:cubicBezTo>
                      <a:pt x="8" y="79"/>
                      <a:pt x="0" y="97"/>
                      <a:pt x="0" y="116"/>
                    </a:cubicBezTo>
                    <a:cubicBezTo>
                      <a:pt x="0" y="146"/>
                      <a:pt x="19" y="171"/>
                      <a:pt x="45" y="180"/>
                    </a:cubicBezTo>
                    <a:cubicBezTo>
                      <a:pt x="53" y="191"/>
                      <a:pt x="63" y="200"/>
                      <a:pt x="75" y="207"/>
                    </a:cubicBezTo>
                    <a:cubicBezTo>
                      <a:pt x="277" y="409"/>
                      <a:pt x="277" y="409"/>
                      <a:pt x="277" y="409"/>
                    </a:cubicBezTo>
                    <a:cubicBezTo>
                      <a:pt x="429" y="403"/>
                      <a:pt x="553" y="289"/>
                      <a:pt x="574" y="141"/>
                    </a:cubicBezTo>
                    <a:close/>
                  </a:path>
                </a:pathLst>
              </a:custGeom>
              <a:solidFill>
                <a:srgbClr val="00B6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53" name="Freeform 34"/>
              <p:cNvSpPr>
                <a:spLocks/>
              </p:cNvSpPr>
              <p:nvPr/>
            </p:nvSpPr>
            <p:spPr bwMode="auto">
              <a:xfrm>
                <a:off x="2624138" y="-979488"/>
                <a:ext cx="2001838" cy="839788"/>
              </a:xfrm>
              <a:custGeom>
                <a:avLst/>
                <a:gdLst>
                  <a:gd name="T0" fmla="*/ 485 w 531"/>
                  <a:gd name="T1" fmla="*/ 53 h 223"/>
                  <a:gd name="T2" fmla="*/ 399 w 531"/>
                  <a:gd name="T3" fmla="*/ 10 h 223"/>
                  <a:gd name="T4" fmla="*/ 327 w 531"/>
                  <a:gd name="T5" fmla="*/ 38 h 223"/>
                  <a:gd name="T6" fmla="*/ 265 w 531"/>
                  <a:gd name="T7" fmla="*/ 0 h 223"/>
                  <a:gd name="T8" fmla="*/ 203 w 531"/>
                  <a:gd name="T9" fmla="*/ 38 h 223"/>
                  <a:gd name="T10" fmla="*/ 131 w 531"/>
                  <a:gd name="T11" fmla="*/ 10 h 223"/>
                  <a:gd name="T12" fmla="*/ 45 w 531"/>
                  <a:gd name="T13" fmla="*/ 53 h 223"/>
                  <a:gd name="T14" fmla="*/ 0 w 531"/>
                  <a:gd name="T15" fmla="*/ 116 h 223"/>
                  <a:gd name="T16" fmla="*/ 45 w 531"/>
                  <a:gd name="T17" fmla="*/ 180 h 223"/>
                  <a:gd name="T18" fmla="*/ 131 w 531"/>
                  <a:gd name="T19" fmla="*/ 223 h 223"/>
                  <a:gd name="T20" fmla="*/ 236 w 531"/>
                  <a:gd name="T21" fmla="*/ 134 h 223"/>
                  <a:gd name="T22" fmla="*/ 265 w 531"/>
                  <a:gd name="T23" fmla="*/ 140 h 223"/>
                  <a:gd name="T24" fmla="*/ 294 w 531"/>
                  <a:gd name="T25" fmla="*/ 134 h 223"/>
                  <a:gd name="T26" fmla="*/ 399 w 531"/>
                  <a:gd name="T27" fmla="*/ 223 h 223"/>
                  <a:gd name="T28" fmla="*/ 485 w 531"/>
                  <a:gd name="T29" fmla="*/ 180 h 223"/>
                  <a:gd name="T30" fmla="*/ 531 w 531"/>
                  <a:gd name="T31" fmla="*/ 116 h 223"/>
                  <a:gd name="T32" fmla="*/ 485 w 531"/>
                  <a:gd name="T33" fmla="*/ 5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1" h="223">
                    <a:moveTo>
                      <a:pt x="485" y="53"/>
                    </a:moveTo>
                    <a:cubicBezTo>
                      <a:pt x="466" y="27"/>
                      <a:pt x="434" y="10"/>
                      <a:pt x="399" y="10"/>
                    </a:cubicBezTo>
                    <a:cubicBezTo>
                      <a:pt x="372" y="10"/>
                      <a:pt x="346" y="20"/>
                      <a:pt x="327" y="38"/>
                    </a:cubicBezTo>
                    <a:cubicBezTo>
                      <a:pt x="316" y="15"/>
                      <a:pt x="292" y="0"/>
                      <a:pt x="265" y="0"/>
                    </a:cubicBezTo>
                    <a:cubicBezTo>
                      <a:pt x="238" y="0"/>
                      <a:pt x="215" y="15"/>
                      <a:pt x="203" y="38"/>
                    </a:cubicBezTo>
                    <a:cubicBezTo>
                      <a:pt x="184" y="20"/>
                      <a:pt x="159" y="10"/>
                      <a:pt x="131" y="10"/>
                    </a:cubicBezTo>
                    <a:cubicBezTo>
                      <a:pt x="96" y="10"/>
                      <a:pt x="65" y="27"/>
                      <a:pt x="45" y="53"/>
                    </a:cubicBezTo>
                    <a:cubicBezTo>
                      <a:pt x="19" y="62"/>
                      <a:pt x="0" y="87"/>
                      <a:pt x="0" y="116"/>
                    </a:cubicBezTo>
                    <a:cubicBezTo>
                      <a:pt x="0" y="146"/>
                      <a:pt x="19" y="171"/>
                      <a:pt x="45" y="180"/>
                    </a:cubicBezTo>
                    <a:cubicBezTo>
                      <a:pt x="65" y="206"/>
                      <a:pt x="96" y="223"/>
                      <a:pt x="131" y="223"/>
                    </a:cubicBezTo>
                    <a:cubicBezTo>
                      <a:pt x="184" y="223"/>
                      <a:pt x="228" y="184"/>
                      <a:pt x="236" y="134"/>
                    </a:cubicBezTo>
                    <a:cubicBezTo>
                      <a:pt x="245" y="138"/>
                      <a:pt x="255" y="140"/>
                      <a:pt x="265" y="140"/>
                    </a:cubicBezTo>
                    <a:cubicBezTo>
                      <a:pt x="276" y="140"/>
                      <a:pt x="285" y="138"/>
                      <a:pt x="294" y="134"/>
                    </a:cubicBezTo>
                    <a:cubicBezTo>
                      <a:pt x="302" y="184"/>
                      <a:pt x="346" y="223"/>
                      <a:pt x="399" y="223"/>
                    </a:cubicBezTo>
                    <a:cubicBezTo>
                      <a:pt x="434" y="223"/>
                      <a:pt x="466" y="206"/>
                      <a:pt x="485" y="180"/>
                    </a:cubicBezTo>
                    <a:cubicBezTo>
                      <a:pt x="512" y="171"/>
                      <a:pt x="531" y="146"/>
                      <a:pt x="531" y="116"/>
                    </a:cubicBezTo>
                    <a:cubicBezTo>
                      <a:pt x="531" y="87"/>
                      <a:pt x="512" y="62"/>
                      <a:pt x="485" y="53"/>
                    </a:cubicBezTo>
                    <a:close/>
                  </a:path>
                </a:pathLst>
              </a:custGeom>
              <a:solidFill>
                <a:srgbClr val="00A3CC"/>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54" name="Oval 32"/>
              <p:cNvSpPr>
                <a:spLocks noChangeArrowheads="1"/>
              </p:cNvSpPr>
              <p:nvPr/>
            </p:nvSpPr>
            <p:spPr bwMode="auto">
              <a:xfrm>
                <a:off x="2851151" y="-806451"/>
                <a:ext cx="534988" cy="530225"/>
              </a:xfrm>
              <a:prstGeom prst="ellipse">
                <a:avLst/>
              </a:prstGeom>
              <a:solidFill>
                <a:srgbClr val="00BCEB"/>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55" name="Oval 33"/>
              <p:cNvSpPr>
                <a:spLocks noChangeArrowheads="1"/>
              </p:cNvSpPr>
              <p:nvPr/>
            </p:nvSpPr>
            <p:spPr bwMode="auto">
              <a:xfrm>
                <a:off x="3863976" y="-806451"/>
                <a:ext cx="531813" cy="530225"/>
              </a:xfrm>
              <a:prstGeom prst="ellipse">
                <a:avLst/>
              </a:prstGeom>
              <a:solidFill>
                <a:srgbClr val="00BCEB"/>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nvGrpSpPr>
          <p:cNvPr id="12" name="Group 11">
            <a:extLst>
              <a:ext uri="{FF2B5EF4-FFF2-40B4-BE49-F238E27FC236}">
                <a16:creationId xmlns:a16="http://schemas.microsoft.com/office/drawing/2014/main" id="{00C164E4-AA47-44D6-A4CF-A840F3257CAD}"/>
              </a:ext>
            </a:extLst>
          </p:cNvPr>
          <p:cNvGrpSpPr/>
          <p:nvPr/>
        </p:nvGrpSpPr>
        <p:grpSpPr>
          <a:xfrm>
            <a:off x="1643331" y="710972"/>
            <a:ext cx="457390" cy="457390"/>
            <a:chOff x="1866501" y="485585"/>
            <a:chExt cx="457390" cy="457390"/>
          </a:xfrm>
        </p:grpSpPr>
        <p:sp>
          <p:nvSpPr>
            <p:cNvPr id="146" name="Oval 145">
              <a:extLst>
                <a:ext uri="{FF2B5EF4-FFF2-40B4-BE49-F238E27FC236}">
                  <a16:creationId xmlns:a16="http://schemas.microsoft.com/office/drawing/2014/main" id="{E7BA089C-A271-4556-8CB7-A3D326590ACE}"/>
                </a:ext>
              </a:extLst>
            </p:cNvPr>
            <p:cNvSpPr/>
            <p:nvPr/>
          </p:nvSpPr>
          <p:spPr>
            <a:xfrm>
              <a:off x="1866501"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64" name="Group 63"/>
            <p:cNvGrpSpPr/>
            <p:nvPr/>
          </p:nvGrpSpPr>
          <p:grpSpPr>
            <a:xfrm>
              <a:off x="1925765" y="544915"/>
              <a:ext cx="349271" cy="349271"/>
              <a:chOff x="2581275" y="3149114"/>
              <a:chExt cx="933450" cy="933450"/>
            </a:xfrm>
          </p:grpSpPr>
          <p:sp>
            <p:nvSpPr>
              <p:cNvPr id="30" name="Freeform 25"/>
              <p:cNvSpPr>
                <a:spLocks/>
              </p:cNvSpPr>
              <p:nvPr/>
            </p:nvSpPr>
            <p:spPr bwMode="auto">
              <a:xfrm>
                <a:off x="2581275" y="3149114"/>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60" name="Freeform 59"/>
              <p:cNvSpPr>
                <a:spLocks/>
              </p:cNvSpPr>
              <p:nvPr/>
            </p:nvSpPr>
            <p:spPr bwMode="auto">
              <a:xfrm>
                <a:off x="2912865" y="3411052"/>
                <a:ext cx="560585" cy="619125"/>
              </a:xfrm>
              <a:custGeom>
                <a:avLst/>
                <a:gdLst>
                  <a:gd name="connsiteX0" fmla="*/ 343475 w 560585"/>
                  <a:gd name="connsiteY0" fmla="*/ 0 h 619125"/>
                  <a:gd name="connsiteX1" fmla="*/ 560585 w 560585"/>
                  <a:gd name="connsiteY1" fmla="*/ 219427 h 619125"/>
                  <a:gd name="connsiteX2" fmla="*/ 435784 w 560585"/>
                  <a:gd name="connsiteY2" fmla="*/ 506087 h 619125"/>
                  <a:gd name="connsiteX3" fmla="*/ 236397 w 560585"/>
                  <a:gd name="connsiteY3" fmla="*/ 619125 h 619125"/>
                  <a:gd name="connsiteX4" fmla="*/ 87 w 560585"/>
                  <a:gd name="connsiteY4" fmla="*/ 393048 h 619125"/>
                  <a:gd name="connsiteX5" fmla="*/ 64 w 560585"/>
                  <a:gd name="connsiteY5" fmla="*/ 391571 h 619125"/>
                  <a:gd name="connsiteX6" fmla="*/ 0 w 560585"/>
                  <a:gd name="connsiteY6" fmla="*/ 387488 h 619125"/>
                  <a:gd name="connsiteX7" fmla="*/ 49858 w 560585"/>
                  <a:gd name="connsiteY7" fmla="*/ 430601 h 619125"/>
                  <a:gd name="connsiteX8" fmla="*/ 135135 w 560585"/>
                  <a:gd name="connsiteY8" fmla="*/ 463550 h 619125"/>
                  <a:gd name="connsiteX9" fmla="*/ 347860 w 560585"/>
                  <a:gd name="connsiteY9" fmla="*/ 204928 h 619125"/>
                  <a:gd name="connsiteX10" fmla="*/ 347860 w 560585"/>
                  <a:gd name="connsiteY10" fmla="*/ 14093 h 619125"/>
                  <a:gd name="connsiteX11" fmla="*/ 342392 w 560585"/>
                  <a:gd name="connsiteY11" fmla="*/ 938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0585" h="619125">
                    <a:moveTo>
                      <a:pt x="343475" y="0"/>
                    </a:moveTo>
                    <a:cubicBezTo>
                      <a:pt x="343475" y="0"/>
                      <a:pt x="343475" y="0"/>
                      <a:pt x="560585" y="219427"/>
                    </a:cubicBezTo>
                    <a:cubicBezTo>
                      <a:pt x="556893" y="323600"/>
                      <a:pt x="515539" y="427034"/>
                      <a:pt x="435784" y="506087"/>
                    </a:cubicBezTo>
                    <a:cubicBezTo>
                      <a:pt x="378922" y="563714"/>
                      <a:pt x="309506" y="601394"/>
                      <a:pt x="236397" y="619125"/>
                    </a:cubicBezTo>
                    <a:cubicBezTo>
                      <a:pt x="236397" y="619125"/>
                      <a:pt x="236397" y="619125"/>
                      <a:pt x="87" y="393048"/>
                    </a:cubicBezTo>
                    <a:cubicBezTo>
                      <a:pt x="87" y="393048"/>
                      <a:pt x="87" y="393048"/>
                      <a:pt x="64" y="391571"/>
                    </a:cubicBezTo>
                    <a:lnTo>
                      <a:pt x="0" y="387488"/>
                    </a:lnTo>
                    <a:lnTo>
                      <a:pt x="49858" y="430601"/>
                    </a:lnTo>
                    <a:cubicBezTo>
                      <a:pt x="75583" y="446143"/>
                      <a:pt x="104297" y="457471"/>
                      <a:pt x="135135" y="463550"/>
                    </a:cubicBezTo>
                    <a:cubicBezTo>
                      <a:pt x="258486" y="439235"/>
                      <a:pt x="347860" y="330924"/>
                      <a:pt x="347860" y="204928"/>
                    </a:cubicBezTo>
                    <a:cubicBezTo>
                      <a:pt x="347860" y="14093"/>
                      <a:pt x="347860" y="14093"/>
                      <a:pt x="347860" y="14093"/>
                    </a:cubicBezTo>
                    <a:lnTo>
                      <a:pt x="342392" y="938"/>
                    </a:lnTo>
                    <a:close/>
                  </a:path>
                </a:pathLst>
              </a:custGeom>
              <a:solidFill>
                <a:srgbClr val="00A2E1">
                  <a:alpha val="23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nvGrpSpPr>
              <p:cNvPr id="63" name="Group 62"/>
              <p:cNvGrpSpPr/>
              <p:nvPr/>
            </p:nvGrpSpPr>
            <p:grpSpPr>
              <a:xfrm>
                <a:off x="2835275" y="3350727"/>
                <a:ext cx="425450" cy="523875"/>
                <a:chOff x="2835275" y="3350727"/>
                <a:chExt cx="425450" cy="523875"/>
              </a:xfrm>
              <a:solidFill>
                <a:schemeClr val="accent1">
                  <a:lumMod val="75000"/>
                  <a:alpha val="40000"/>
                </a:schemeClr>
              </a:solidFill>
            </p:grpSpPr>
            <p:sp>
              <p:nvSpPr>
                <p:cNvPr id="61" name="Freeform 27"/>
                <p:cNvSpPr>
                  <a:spLocks/>
                </p:cNvSpPr>
                <p:nvPr/>
              </p:nvSpPr>
              <p:spPr bwMode="auto">
                <a:xfrm>
                  <a:off x="2835275" y="3350727"/>
                  <a:ext cx="425450" cy="523875"/>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58" name="Freeform 28"/>
                <p:cNvSpPr>
                  <a:spLocks/>
                </p:cNvSpPr>
                <p:nvPr/>
              </p:nvSpPr>
              <p:spPr bwMode="auto">
                <a:xfrm>
                  <a:off x="3048000" y="3350727"/>
                  <a:ext cx="212725" cy="523875"/>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1">
                    <a:lumMod val="75000"/>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sp>
        <p:nvSpPr>
          <p:cNvPr id="31" name="Rectangle: Rounded Corners 30">
            <a:extLst>
              <a:ext uri="{FF2B5EF4-FFF2-40B4-BE49-F238E27FC236}">
                <a16:creationId xmlns:a16="http://schemas.microsoft.com/office/drawing/2014/main" id="{BDD1837A-886D-40A3-8B58-B970F3C1C40C}"/>
              </a:ext>
            </a:extLst>
          </p:cNvPr>
          <p:cNvSpPr/>
          <p:nvPr/>
        </p:nvSpPr>
        <p:spPr>
          <a:xfrm>
            <a:off x="480060" y="2780127"/>
            <a:ext cx="1224049" cy="269045"/>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2561" name="Rectangle 2560">
            <a:extLst>
              <a:ext uri="{FF2B5EF4-FFF2-40B4-BE49-F238E27FC236}">
                <a16:creationId xmlns:a16="http://schemas.microsoft.com/office/drawing/2014/main" id="{67B3A002-29DF-4AAC-B80F-4975850276B9}"/>
              </a:ext>
            </a:extLst>
          </p:cNvPr>
          <p:cNvSpPr/>
          <p:nvPr/>
        </p:nvSpPr>
        <p:spPr>
          <a:xfrm>
            <a:off x="510757" y="2774515"/>
            <a:ext cx="1000595" cy="261610"/>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Cisco NGFW</a:t>
            </a:r>
            <a:endParaRPr kumimoji="0" lang="en-US" sz="1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sp>
        <p:nvSpPr>
          <p:cNvPr id="1416" name="Rectangle: Rounded Corners 30">
            <a:extLst>
              <a:ext uri="{FF2B5EF4-FFF2-40B4-BE49-F238E27FC236}">
                <a16:creationId xmlns:a16="http://schemas.microsoft.com/office/drawing/2014/main" id="{BDD1837A-886D-40A3-8B58-B970F3C1C40C}"/>
              </a:ext>
            </a:extLst>
          </p:cNvPr>
          <p:cNvSpPr/>
          <p:nvPr/>
        </p:nvSpPr>
        <p:spPr>
          <a:xfrm>
            <a:off x="453012" y="3582441"/>
            <a:ext cx="1224049" cy="269045"/>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4" name="Group 3"/>
          <p:cNvGrpSpPr/>
          <p:nvPr/>
        </p:nvGrpSpPr>
        <p:grpSpPr>
          <a:xfrm>
            <a:off x="455159" y="3170348"/>
            <a:ext cx="1224049" cy="269045"/>
            <a:chOff x="455159" y="3170348"/>
            <a:chExt cx="1224049" cy="269045"/>
          </a:xfrm>
          <a:solidFill>
            <a:schemeClr val="accent2"/>
          </a:solidFill>
        </p:grpSpPr>
        <p:sp>
          <p:nvSpPr>
            <p:cNvPr id="1415" name="Rectangle: Rounded Corners 30">
              <a:extLst>
                <a:ext uri="{FF2B5EF4-FFF2-40B4-BE49-F238E27FC236}">
                  <a16:creationId xmlns:a16="http://schemas.microsoft.com/office/drawing/2014/main" id="{BDD1837A-886D-40A3-8B58-B970F3C1C40C}"/>
                </a:ext>
              </a:extLst>
            </p:cNvPr>
            <p:cNvSpPr/>
            <p:nvPr/>
          </p:nvSpPr>
          <p:spPr>
            <a:xfrm>
              <a:off x="455159" y="3170348"/>
              <a:ext cx="1224049" cy="26904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417" name="Rectangle 1416">
              <a:extLst>
                <a:ext uri="{FF2B5EF4-FFF2-40B4-BE49-F238E27FC236}">
                  <a16:creationId xmlns:a16="http://schemas.microsoft.com/office/drawing/2014/main" id="{67B3A002-29DF-4AAC-B80F-4975850276B9}"/>
                </a:ext>
              </a:extLst>
            </p:cNvPr>
            <p:cNvSpPr/>
            <p:nvPr/>
          </p:nvSpPr>
          <p:spPr>
            <a:xfrm>
              <a:off x="510757" y="3171720"/>
              <a:ext cx="808235" cy="261610"/>
            </a:xfrm>
            <a:prstGeom prst="rect">
              <a:avLst/>
            </a:prstGeom>
            <a:grpFill/>
          </p:spPr>
          <p:txBody>
            <a:bodyPr wrap="none"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Cisco ACI</a:t>
              </a:r>
              <a:endParaRPr kumimoji="0" lang="en-US" sz="1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grpSp>
      <p:sp>
        <p:nvSpPr>
          <p:cNvPr id="1441" name="Rectangle 1440">
            <a:extLst>
              <a:ext uri="{FF2B5EF4-FFF2-40B4-BE49-F238E27FC236}">
                <a16:creationId xmlns:a16="http://schemas.microsoft.com/office/drawing/2014/main" id="{67B3A002-29DF-4AAC-B80F-4975850276B9}"/>
              </a:ext>
            </a:extLst>
          </p:cNvPr>
          <p:cNvSpPr/>
          <p:nvPr/>
        </p:nvSpPr>
        <p:spPr>
          <a:xfrm>
            <a:off x="479719" y="3579357"/>
            <a:ext cx="1184940" cy="261610"/>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Cisco </a:t>
            </a:r>
            <a:r>
              <a:rPr kumimoji="0" lang="en-US" sz="1100" b="0" i="0" u="none" strike="noStrike" kern="1200" cap="none" spc="0" normalizeH="0" baseline="0" noProof="0" dirty="0" err="1">
                <a:ln>
                  <a:noFill/>
                </a:ln>
                <a:solidFill>
                  <a:srgbClr val="FFFFFF"/>
                </a:solidFill>
                <a:effectLst/>
                <a:uLnTx/>
                <a:uFillTx/>
                <a:latin typeface="CiscoSans ExtraLight" charset="0"/>
                <a:ea typeface="CiscoSans ExtraLight" charset="0"/>
                <a:cs typeface="CiscoSans ExtraLight" charset="0"/>
              </a:rPr>
              <a:t>Tetration</a:t>
            </a: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 </a:t>
            </a:r>
            <a:endParaRPr kumimoji="0" lang="en-US" sz="1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spTree>
    <p:extLst>
      <p:ext uri="{BB962C8B-B14F-4D97-AF65-F5344CB8AC3E}">
        <p14:creationId xmlns:p14="http://schemas.microsoft.com/office/powerpoint/2010/main" val="2387085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4" nodeType="withEffect">
                                  <p:stCondLst>
                                    <p:cond delay="10"/>
                                  </p:stCondLst>
                                  <p:childTnLst>
                                    <p:set>
                                      <p:cBhvr>
                                        <p:cTn id="6" dur="1" fill="hold">
                                          <p:stCondLst>
                                            <p:cond delay="0"/>
                                          </p:stCondLst>
                                        </p:cTn>
                                        <p:tgtEl>
                                          <p:spTgt spid="1075"/>
                                        </p:tgtEl>
                                        <p:attrNameLst>
                                          <p:attrName>style.visibility</p:attrName>
                                        </p:attrNameLst>
                                      </p:cBhvr>
                                      <p:to>
                                        <p:strVal val="visible"/>
                                      </p:to>
                                    </p:set>
                                    <p:animEffect transition="in" filter="fade">
                                      <p:cBhvr>
                                        <p:cTn id="7" dur="1000"/>
                                        <p:tgtEl>
                                          <p:spTgt spid="1075"/>
                                        </p:tgtEl>
                                      </p:cBhvr>
                                    </p:animEffect>
                                  </p:childTnLst>
                                </p:cTn>
                              </p:par>
                              <p:par>
                                <p:cTn id="8" presetID="6" presetClass="emph" presetSubtype="0" fill="hold" grpId="0" nodeType="withEffect">
                                  <p:stCondLst>
                                    <p:cond delay="0"/>
                                  </p:stCondLst>
                                  <p:childTnLst>
                                    <p:animScale>
                                      <p:cBhvr>
                                        <p:cTn id="9" dur="10" fill="hold"/>
                                        <p:tgtEl>
                                          <p:spTgt spid="1075"/>
                                        </p:tgtEl>
                                      </p:cBhvr>
                                      <p:by x="75190" y="75190"/>
                                    </p:animScale>
                                  </p:childTnLst>
                                </p:cTn>
                              </p:par>
                              <p:par>
                                <p:cTn id="10" presetID="42" presetClass="path" presetSubtype="0" accel="50000" decel="50000" fill="hold" grpId="1" nodeType="withEffect">
                                  <p:stCondLst>
                                    <p:cond delay="0"/>
                                  </p:stCondLst>
                                  <p:childTnLst>
                                    <p:animMotion origin="layout" path="M -1.66667E-6 -3.7037E-6 L -0.23854 0.00124 " pathEditMode="relative" rAng="0" ptsTypes="AA">
                                      <p:cBhvr>
                                        <p:cTn id="11" dur="10" fill="hold"/>
                                        <p:tgtEl>
                                          <p:spTgt spid="1075"/>
                                        </p:tgtEl>
                                        <p:attrNameLst>
                                          <p:attrName>ppt_x</p:attrName>
                                          <p:attrName>ppt_y</p:attrName>
                                        </p:attrNameLst>
                                      </p:cBhvr>
                                      <p:rCtr x="-11927" y="62"/>
                                    </p:animMotion>
                                  </p:childTnLst>
                                </p:cTn>
                              </p:par>
                              <p:par>
                                <p:cTn id="12" presetID="42" presetClass="path" presetSubtype="0" accel="50000" decel="50000" fill="hold" grpId="2" nodeType="withEffect">
                                  <p:stCondLst>
                                    <p:cond delay="500"/>
                                  </p:stCondLst>
                                  <p:childTnLst>
                                    <p:animMotion origin="layout" path="M -1.66667E-6 -3.7037E-6 L -0.23854 0.00124 " pathEditMode="relative" rAng="0" ptsTypes="AA">
                                      <p:cBhvr>
                                        <p:cTn id="13" dur="2000" spd="-100000" fill="hold"/>
                                        <p:tgtEl>
                                          <p:spTgt spid="1075"/>
                                        </p:tgtEl>
                                        <p:attrNameLst>
                                          <p:attrName>ppt_x</p:attrName>
                                          <p:attrName>ppt_y</p:attrName>
                                        </p:attrNameLst>
                                      </p:cBhvr>
                                      <p:rCtr x="-11927" y="62"/>
                                    </p:animMotion>
                                  </p:childTnLst>
                                </p:cTn>
                              </p:par>
                              <p:par>
                                <p:cTn id="14" presetID="6" presetClass="emph" presetSubtype="0" accel="50000" decel="50000" fill="hold" grpId="3" nodeType="withEffect">
                                  <p:stCondLst>
                                    <p:cond delay="500"/>
                                  </p:stCondLst>
                                  <p:childTnLst>
                                    <p:animScale>
                                      <p:cBhvr>
                                        <p:cTn id="15" dur="2000" fill="hold"/>
                                        <p:tgtEl>
                                          <p:spTgt spid="1075"/>
                                        </p:tgtEl>
                                      </p:cBhvr>
                                      <p:by x="133000" y="133000"/>
                                    </p:animScale>
                                  </p:childTnLst>
                                </p:cTn>
                              </p:par>
                              <p:par>
                                <p:cTn id="16" presetID="10" presetClass="exit" presetSubtype="0" fill="hold" grpId="0" nodeType="withEffect">
                                  <p:stCondLst>
                                    <p:cond delay="10"/>
                                  </p:stCondLst>
                                  <p:childTnLst>
                                    <p:animEffect transition="out" filter="fade">
                                      <p:cBhvr>
                                        <p:cTn id="17" dur="1000"/>
                                        <p:tgtEl>
                                          <p:spTgt spid="3444"/>
                                        </p:tgtEl>
                                      </p:cBhvr>
                                    </p:animEffect>
                                    <p:set>
                                      <p:cBhvr>
                                        <p:cTn id="18" dur="1" fill="hold">
                                          <p:stCondLst>
                                            <p:cond delay="999"/>
                                          </p:stCondLst>
                                        </p:cTn>
                                        <p:tgtEl>
                                          <p:spTgt spid="3444"/>
                                        </p:tgtEl>
                                        <p:attrNameLst>
                                          <p:attrName>style.visibility</p:attrName>
                                        </p:attrNameLst>
                                      </p:cBhvr>
                                      <p:to>
                                        <p:strVal val="hidden"/>
                                      </p:to>
                                    </p:set>
                                  </p:childTnLst>
                                </p:cTn>
                              </p:par>
                              <p:par>
                                <p:cTn id="19" presetID="10" presetClass="entr" presetSubtype="0" fill="hold" nodeType="withEffect">
                                  <p:stCondLst>
                                    <p:cond delay="10"/>
                                  </p:stCondLst>
                                  <p:childTnLst>
                                    <p:set>
                                      <p:cBhvr>
                                        <p:cTn id="20" dur="1" fill="hold">
                                          <p:stCondLst>
                                            <p:cond delay="0"/>
                                          </p:stCondLst>
                                        </p:cTn>
                                        <p:tgtEl>
                                          <p:spTgt spid="1087"/>
                                        </p:tgtEl>
                                        <p:attrNameLst>
                                          <p:attrName>style.visibility</p:attrName>
                                        </p:attrNameLst>
                                      </p:cBhvr>
                                      <p:to>
                                        <p:strVal val="visible"/>
                                      </p:to>
                                    </p:set>
                                    <p:animEffect transition="in" filter="fade">
                                      <p:cBhvr>
                                        <p:cTn id="21" dur="1000"/>
                                        <p:tgtEl>
                                          <p:spTgt spid="1087"/>
                                        </p:tgtEl>
                                      </p:cBhvr>
                                    </p:animEffect>
                                  </p:childTnLst>
                                </p:cTn>
                              </p:par>
                              <p:par>
                                <p:cTn id="22" presetID="6" presetClass="emph" presetSubtype="0" fill="hold" nodeType="withEffect">
                                  <p:stCondLst>
                                    <p:cond delay="0"/>
                                  </p:stCondLst>
                                  <p:childTnLst>
                                    <p:animScale>
                                      <p:cBhvr>
                                        <p:cTn id="23" dur="10" fill="hold"/>
                                        <p:tgtEl>
                                          <p:spTgt spid="1087"/>
                                        </p:tgtEl>
                                      </p:cBhvr>
                                      <p:by x="75190" y="75190"/>
                                    </p:animScale>
                                  </p:childTnLst>
                                </p:cTn>
                              </p:par>
                              <p:par>
                                <p:cTn id="24" presetID="42" presetClass="path" presetSubtype="0" accel="50000" decel="50000" fill="hold" nodeType="withEffect">
                                  <p:stCondLst>
                                    <p:cond delay="0"/>
                                  </p:stCondLst>
                                  <p:childTnLst>
                                    <p:animMotion origin="layout" path="M -1.66667E-6 -3.7037E-6 L -0.23854 0.00124 " pathEditMode="relative" rAng="0" ptsTypes="AA">
                                      <p:cBhvr>
                                        <p:cTn id="25" dur="10" fill="hold"/>
                                        <p:tgtEl>
                                          <p:spTgt spid="1087"/>
                                        </p:tgtEl>
                                        <p:attrNameLst>
                                          <p:attrName>ppt_x</p:attrName>
                                          <p:attrName>ppt_y</p:attrName>
                                        </p:attrNameLst>
                                      </p:cBhvr>
                                      <p:rCtr x="-11927" y="62"/>
                                    </p:animMotion>
                                  </p:childTnLst>
                                </p:cTn>
                              </p:par>
                              <p:par>
                                <p:cTn id="26" presetID="42" presetClass="path" presetSubtype="0" accel="50000" decel="50000" fill="hold" nodeType="withEffect">
                                  <p:stCondLst>
                                    <p:cond delay="500"/>
                                  </p:stCondLst>
                                  <p:childTnLst>
                                    <p:animMotion origin="layout" path="M -1.66667E-6 -3.7037E-6 L -0.23854 0.00124 " pathEditMode="relative" rAng="0" ptsTypes="AA">
                                      <p:cBhvr>
                                        <p:cTn id="27" dur="2000" spd="-100000" fill="hold"/>
                                        <p:tgtEl>
                                          <p:spTgt spid="1087"/>
                                        </p:tgtEl>
                                        <p:attrNameLst>
                                          <p:attrName>ppt_x</p:attrName>
                                          <p:attrName>ppt_y</p:attrName>
                                        </p:attrNameLst>
                                      </p:cBhvr>
                                      <p:rCtr x="-11927" y="62"/>
                                    </p:animMotion>
                                  </p:childTnLst>
                                </p:cTn>
                              </p:par>
                              <p:par>
                                <p:cTn id="28" presetID="6" presetClass="emph" presetSubtype="0" accel="50000" decel="50000" fill="hold" nodeType="withEffect">
                                  <p:stCondLst>
                                    <p:cond delay="500"/>
                                  </p:stCondLst>
                                  <p:childTnLst>
                                    <p:animScale>
                                      <p:cBhvr>
                                        <p:cTn id="29" dur="2000" fill="hold"/>
                                        <p:tgtEl>
                                          <p:spTgt spid="1087"/>
                                        </p:tgtEl>
                                      </p:cBhvr>
                                      <p:by x="133000" y="133000"/>
                                    </p:animScale>
                                  </p:childTnLst>
                                </p:cTn>
                              </p:par>
                              <p:par>
                                <p:cTn id="30" presetID="10" presetClass="exit" presetSubtype="0" fill="hold" nodeType="withEffect">
                                  <p:stCondLst>
                                    <p:cond delay="10"/>
                                  </p:stCondLst>
                                  <p:childTnLst>
                                    <p:animEffect transition="out" filter="fade">
                                      <p:cBhvr>
                                        <p:cTn id="31" dur="1000"/>
                                        <p:tgtEl>
                                          <p:spTgt spid="27"/>
                                        </p:tgtEl>
                                      </p:cBhvr>
                                    </p:animEffect>
                                    <p:set>
                                      <p:cBhvr>
                                        <p:cTn id="32" dur="1" fill="hold">
                                          <p:stCondLst>
                                            <p:cond delay="999"/>
                                          </p:stCondLst>
                                        </p:cTn>
                                        <p:tgtEl>
                                          <p:spTgt spid="27"/>
                                        </p:tgtEl>
                                        <p:attrNameLst>
                                          <p:attrName>style.visibility</p:attrName>
                                        </p:attrNameLst>
                                      </p:cBhvr>
                                      <p:to>
                                        <p:strVal val="hidden"/>
                                      </p:to>
                                    </p:set>
                                  </p:childTnLst>
                                </p:cTn>
                              </p:par>
                            </p:childTnLst>
                          </p:cTn>
                        </p:par>
                        <p:par>
                          <p:cTn id="33" fill="hold">
                            <p:stCondLst>
                              <p:cond delay="2500"/>
                            </p:stCondLst>
                            <p:childTnLst>
                              <p:par>
                                <p:cTn id="34" presetID="10" presetClass="entr" presetSubtype="0" fill="hold" grpId="0" nodeType="afterEffect">
                                  <p:stCondLst>
                                    <p:cond delay="0"/>
                                  </p:stCondLst>
                                  <p:childTnLst>
                                    <p:set>
                                      <p:cBhvr>
                                        <p:cTn id="35" dur="1" fill="hold">
                                          <p:stCondLst>
                                            <p:cond delay="0"/>
                                          </p:stCondLst>
                                        </p:cTn>
                                        <p:tgtEl>
                                          <p:spTgt spid="62"/>
                                        </p:tgtEl>
                                        <p:attrNameLst>
                                          <p:attrName>style.visibility</p:attrName>
                                        </p:attrNameLst>
                                      </p:cBhvr>
                                      <p:to>
                                        <p:strVal val="visible"/>
                                      </p:to>
                                    </p:set>
                                    <p:animEffect transition="in" filter="fade">
                                      <p:cBhvr>
                                        <p:cTn id="36" dur="500"/>
                                        <p:tgtEl>
                                          <p:spTgt spid="62"/>
                                        </p:tgtEl>
                                      </p:cBhvr>
                                    </p:animEffect>
                                  </p:childTnLst>
                                </p:cTn>
                              </p:par>
                              <p:par>
                                <p:cTn id="37" presetID="10" presetClass="entr" presetSubtype="0" fill="hold" nodeType="withEffect">
                                  <p:stCondLst>
                                    <p:cond delay="0"/>
                                  </p:stCondLst>
                                  <p:childTnLst>
                                    <p:set>
                                      <p:cBhvr>
                                        <p:cTn id="38" dur="1" fill="hold">
                                          <p:stCondLst>
                                            <p:cond delay="0"/>
                                          </p:stCondLst>
                                        </p:cTn>
                                        <p:tgtEl>
                                          <p:spTgt spid="1418"/>
                                        </p:tgtEl>
                                        <p:attrNameLst>
                                          <p:attrName>style.visibility</p:attrName>
                                        </p:attrNameLst>
                                      </p:cBhvr>
                                      <p:to>
                                        <p:strVal val="visible"/>
                                      </p:to>
                                    </p:set>
                                    <p:animEffect transition="in" filter="fade">
                                      <p:cBhvr>
                                        <p:cTn id="39" dur="500"/>
                                        <p:tgtEl>
                                          <p:spTgt spid="1418"/>
                                        </p:tgtEl>
                                      </p:cBhvr>
                                    </p:animEffect>
                                  </p:childTnLst>
                                </p:cTn>
                              </p:par>
                              <p:par>
                                <p:cTn id="40" presetID="10" presetClass="entr" presetSubtype="0" fill="hold" nodeType="withEffect">
                                  <p:stCondLst>
                                    <p:cond delay="0"/>
                                  </p:stCondLst>
                                  <p:childTnLst>
                                    <p:set>
                                      <p:cBhvr>
                                        <p:cTn id="41" dur="1" fill="hold">
                                          <p:stCondLst>
                                            <p:cond delay="0"/>
                                          </p:stCondLst>
                                        </p:cTn>
                                        <p:tgtEl>
                                          <p:spTgt spid="80"/>
                                        </p:tgtEl>
                                        <p:attrNameLst>
                                          <p:attrName>style.visibility</p:attrName>
                                        </p:attrNameLst>
                                      </p:cBhvr>
                                      <p:to>
                                        <p:strVal val="visible"/>
                                      </p:to>
                                    </p:set>
                                    <p:animEffect transition="in" filter="fade">
                                      <p:cBhvr>
                                        <p:cTn id="42" dur="500"/>
                                        <p:tgtEl>
                                          <p:spTgt spid="80"/>
                                        </p:tgtEl>
                                      </p:cBhvr>
                                    </p:animEffect>
                                  </p:childTnLst>
                                </p:cTn>
                              </p:par>
                              <p:par>
                                <p:cTn id="43" presetID="35" presetClass="emph" presetSubtype="0" repeatCount="5000" fill="hold" nodeType="withEffect">
                                  <p:stCondLst>
                                    <p:cond delay="0"/>
                                  </p:stCondLst>
                                  <p:childTnLst>
                                    <p:anim calcmode="discrete" valueType="str">
                                      <p:cBhvr>
                                        <p:cTn id="44" dur="100" fill="hold"/>
                                        <p:tgtEl>
                                          <p:spTgt spid="80"/>
                                        </p:tgtEl>
                                        <p:attrNameLst>
                                          <p:attrName>style.visibility</p:attrName>
                                        </p:attrNameLst>
                                      </p:cBhvr>
                                      <p:tavLst>
                                        <p:tav tm="0">
                                          <p:val>
                                            <p:strVal val="hidden"/>
                                          </p:val>
                                        </p:tav>
                                        <p:tav tm="50000">
                                          <p:val>
                                            <p:strVal val="visible"/>
                                          </p:val>
                                        </p:tav>
                                      </p:tavLst>
                                    </p:anim>
                                  </p:childTnLst>
                                </p:cTn>
                              </p:par>
                              <p:par>
                                <p:cTn id="45" presetID="63" presetClass="path" presetSubtype="0" accel="100000" fill="hold" nodeType="withEffect">
                                  <p:stCondLst>
                                    <p:cond delay="0"/>
                                  </p:stCondLst>
                                  <p:childTnLst>
                                    <p:animMotion origin="layout" path="M -2.5E-6 1.23457E-7 L 0.01094 1.23457E-7 " pathEditMode="relative" rAng="0" ptsTypes="AA">
                                      <p:cBhvr>
                                        <p:cTn id="46" dur="500" fill="hold"/>
                                        <p:tgtEl>
                                          <p:spTgt spid="80"/>
                                        </p:tgtEl>
                                        <p:attrNameLst>
                                          <p:attrName>ppt_x</p:attrName>
                                          <p:attrName>ppt_y</p:attrName>
                                        </p:attrNameLst>
                                      </p:cBhvr>
                                      <p:rCtr x="538" y="0"/>
                                    </p:animMotion>
                                  </p:childTnLst>
                                </p:cTn>
                              </p:par>
                              <p:par>
                                <p:cTn id="47" presetID="42" presetClass="path" presetSubtype="0" decel="100000" fill="hold" nodeType="withEffect">
                                  <p:stCondLst>
                                    <p:cond delay="500"/>
                                  </p:stCondLst>
                                  <p:childTnLst>
                                    <p:animMotion origin="layout" path="M 0.01094 1.23457E-7 L 3.88889E-6 1.23457E-7 " pathEditMode="relative" rAng="0" ptsTypes="AA">
                                      <p:cBhvr>
                                        <p:cTn id="48" dur="750" fill="hold"/>
                                        <p:tgtEl>
                                          <p:spTgt spid="80"/>
                                        </p:tgtEl>
                                        <p:attrNameLst>
                                          <p:attrName>ppt_x</p:attrName>
                                          <p:attrName>ppt_y</p:attrName>
                                        </p:attrNameLst>
                                      </p:cBhvr>
                                      <p:rCtr x="-538" y="0"/>
                                    </p:animMotion>
                                  </p:childTnLst>
                                </p:cTn>
                              </p:par>
                            </p:childTnLst>
                          </p:cTn>
                        </p:par>
                        <p:par>
                          <p:cTn id="49" fill="hold">
                            <p:stCondLst>
                              <p:cond delay="3750"/>
                            </p:stCondLst>
                            <p:childTnLst>
                              <p:par>
                                <p:cTn id="50" presetID="1" presetClass="entr" presetSubtype="0" fill="hold" grpId="0" nodeType="afterEffect">
                                  <p:stCondLst>
                                    <p:cond delay="0"/>
                                  </p:stCondLst>
                                  <p:childTnLst>
                                    <p:set>
                                      <p:cBhvr>
                                        <p:cTn id="51" dur="1" fill="hold">
                                          <p:stCondLst>
                                            <p:cond delay="0"/>
                                          </p:stCondLst>
                                        </p:cTn>
                                        <p:tgtEl>
                                          <p:spTgt spid="3831"/>
                                        </p:tgtEl>
                                        <p:attrNameLst>
                                          <p:attrName>style.visibility</p:attrName>
                                        </p:attrNameLst>
                                      </p:cBhvr>
                                      <p:to>
                                        <p:strVal val="visible"/>
                                      </p:to>
                                    </p:set>
                                  </p:childTnLst>
                                </p:cTn>
                              </p:par>
                              <p:par>
                                <p:cTn id="52" presetID="10" presetClass="exit" presetSubtype="0" repeatCount="indefinite" fill="hold" grpId="1" nodeType="withEffect">
                                  <p:stCondLst>
                                    <p:cond delay="0"/>
                                  </p:stCondLst>
                                  <p:childTnLst>
                                    <p:animEffect transition="out" filter="fade">
                                      <p:cBhvr>
                                        <p:cTn id="53" dur="1000"/>
                                        <p:tgtEl>
                                          <p:spTgt spid="3831"/>
                                        </p:tgtEl>
                                      </p:cBhvr>
                                    </p:animEffect>
                                    <p:set>
                                      <p:cBhvr>
                                        <p:cTn id="54" dur="1" fill="hold">
                                          <p:stCondLst>
                                            <p:cond delay="999"/>
                                          </p:stCondLst>
                                        </p:cTn>
                                        <p:tgtEl>
                                          <p:spTgt spid="3831"/>
                                        </p:tgtEl>
                                        <p:attrNameLst>
                                          <p:attrName>style.visibility</p:attrName>
                                        </p:attrNameLst>
                                      </p:cBhvr>
                                      <p:to>
                                        <p:strVal val="hidden"/>
                                      </p:to>
                                    </p:set>
                                  </p:childTnLst>
                                </p:cTn>
                              </p:par>
                              <p:par>
                                <p:cTn id="55" presetID="6" presetClass="emph" presetSubtype="0" repeatCount="indefinite" decel="100000" fill="hold" grpId="2" nodeType="withEffect">
                                  <p:stCondLst>
                                    <p:cond delay="0"/>
                                  </p:stCondLst>
                                  <p:childTnLst>
                                    <p:animScale>
                                      <p:cBhvr>
                                        <p:cTn id="56" dur="1000" fill="hold"/>
                                        <p:tgtEl>
                                          <p:spTgt spid="3831"/>
                                        </p:tgtEl>
                                      </p:cBhvr>
                                      <p:by x="125000" y="125000"/>
                                    </p:animScale>
                                  </p:childTnLst>
                                </p:cTn>
                              </p:par>
                              <p:par>
                                <p:cTn id="57" presetID="10" presetClass="entr" presetSubtype="0" fill="hold" grpId="0" nodeType="withEffect">
                                  <p:stCondLst>
                                    <p:cond delay="500"/>
                                  </p:stCondLst>
                                  <p:childTnLst>
                                    <p:set>
                                      <p:cBhvr>
                                        <p:cTn id="58" dur="1" fill="hold">
                                          <p:stCondLst>
                                            <p:cond delay="0"/>
                                          </p:stCondLst>
                                        </p:cTn>
                                        <p:tgtEl>
                                          <p:spTgt spid="3820"/>
                                        </p:tgtEl>
                                        <p:attrNameLst>
                                          <p:attrName>style.visibility</p:attrName>
                                        </p:attrNameLst>
                                      </p:cBhvr>
                                      <p:to>
                                        <p:strVal val="visible"/>
                                      </p:to>
                                    </p:set>
                                    <p:animEffect transition="in" filter="fade">
                                      <p:cBhvr>
                                        <p:cTn id="59" dur="250"/>
                                        <p:tgtEl>
                                          <p:spTgt spid="3820"/>
                                        </p:tgtEl>
                                      </p:cBhvr>
                                    </p:animEffect>
                                  </p:childTnLst>
                                </p:cTn>
                              </p:par>
                              <p:par>
                                <p:cTn id="60" presetID="10" presetClass="entr" presetSubtype="0" fill="hold" grpId="0" nodeType="withEffect">
                                  <p:stCondLst>
                                    <p:cond delay="500"/>
                                  </p:stCondLst>
                                  <p:childTnLst>
                                    <p:set>
                                      <p:cBhvr>
                                        <p:cTn id="61" dur="1" fill="hold">
                                          <p:stCondLst>
                                            <p:cond delay="0"/>
                                          </p:stCondLst>
                                        </p:cTn>
                                        <p:tgtEl>
                                          <p:spTgt spid="3819"/>
                                        </p:tgtEl>
                                        <p:attrNameLst>
                                          <p:attrName>style.visibility</p:attrName>
                                        </p:attrNameLst>
                                      </p:cBhvr>
                                      <p:to>
                                        <p:strVal val="visible"/>
                                      </p:to>
                                    </p:set>
                                    <p:animEffect transition="in" filter="fade">
                                      <p:cBhvr>
                                        <p:cTn id="62" dur="250"/>
                                        <p:tgtEl>
                                          <p:spTgt spid="3819"/>
                                        </p:tgtEl>
                                      </p:cBhvr>
                                    </p:animEffect>
                                  </p:childTnLst>
                                </p:cTn>
                              </p:par>
                              <p:par>
                                <p:cTn id="63" presetID="10" presetClass="entr" presetSubtype="0" fill="hold" grpId="0" nodeType="withEffect">
                                  <p:stCondLst>
                                    <p:cond delay="750"/>
                                  </p:stCondLst>
                                  <p:childTnLst>
                                    <p:set>
                                      <p:cBhvr>
                                        <p:cTn id="64" dur="1" fill="hold">
                                          <p:stCondLst>
                                            <p:cond delay="0"/>
                                          </p:stCondLst>
                                        </p:cTn>
                                        <p:tgtEl>
                                          <p:spTgt spid="48"/>
                                        </p:tgtEl>
                                        <p:attrNameLst>
                                          <p:attrName>style.visibility</p:attrName>
                                        </p:attrNameLst>
                                      </p:cBhvr>
                                      <p:to>
                                        <p:strVal val="visible"/>
                                      </p:to>
                                    </p:set>
                                    <p:animEffect transition="in" filter="fade">
                                      <p:cBhvr>
                                        <p:cTn id="65" dur="250"/>
                                        <p:tgtEl>
                                          <p:spTgt spid="48"/>
                                        </p:tgtEl>
                                      </p:cBhvr>
                                    </p:animEffect>
                                  </p:childTnLst>
                                </p:cTn>
                              </p:par>
                              <p:par>
                                <p:cTn id="66" presetID="10" presetClass="entr" presetSubtype="0" fill="hold" grpId="0" nodeType="withEffect">
                                  <p:stCondLst>
                                    <p:cond delay="750"/>
                                  </p:stCondLst>
                                  <p:childTnLst>
                                    <p:set>
                                      <p:cBhvr>
                                        <p:cTn id="67" dur="1" fill="hold">
                                          <p:stCondLst>
                                            <p:cond delay="0"/>
                                          </p:stCondLst>
                                        </p:cTn>
                                        <p:tgtEl>
                                          <p:spTgt spid="3818"/>
                                        </p:tgtEl>
                                        <p:attrNameLst>
                                          <p:attrName>style.visibility</p:attrName>
                                        </p:attrNameLst>
                                      </p:cBhvr>
                                      <p:to>
                                        <p:strVal val="visible"/>
                                      </p:to>
                                    </p:set>
                                    <p:animEffect transition="in" filter="fade">
                                      <p:cBhvr>
                                        <p:cTn id="68" dur="250"/>
                                        <p:tgtEl>
                                          <p:spTgt spid="3818"/>
                                        </p:tgtEl>
                                      </p:cBhvr>
                                    </p:animEffect>
                                  </p:childTnLst>
                                </p:cTn>
                              </p:par>
                              <p:par>
                                <p:cTn id="69" presetID="16" presetClass="entr" presetSubtype="42" fill="hold" nodeType="withEffect">
                                  <p:stCondLst>
                                    <p:cond delay="1000"/>
                                  </p:stCondLst>
                                  <p:childTnLst>
                                    <p:set>
                                      <p:cBhvr>
                                        <p:cTn id="70" dur="1" fill="hold">
                                          <p:stCondLst>
                                            <p:cond delay="0"/>
                                          </p:stCondLst>
                                        </p:cTn>
                                        <p:tgtEl>
                                          <p:spTgt spid="50"/>
                                        </p:tgtEl>
                                        <p:attrNameLst>
                                          <p:attrName>style.visibility</p:attrName>
                                        </p:attrNameLst>
                                      </p:cBhvr>
                                      <p:to>
                                        <p:strVal val="visible"/>
                                      </p:to>
                                    </p:set>
                                    <p:animEffect transition="in" filter="barn(outHorizontal)">
                                      <p:cBhvr>
                                        <p:cTn id="71" dur="250"/>
                                        <p:tgtEl>
                                          <p:spTgt spid="50"/>
                                        </p:tgtEl>
                                      </p:cBhvr>
                                    </p:animEffect>
                                  </p:childTnLst>
                                </p:cTn>
                              </p:par>
                              <p:par>
                                <p:cTn id="72" presetID="1" presetClass="entr" presetSubtype="0" fill="hold" grpId="1" nodeType="withEffect">
                                  <p:stCondLst>
                                    <p:cond delay="240"/>
                                  </p:stCondLst>
                                  <p:childTnLst>
                                    <p:set>
                                      <p:cBhvr>
                                        <p:cTn id="73" dur="1" fill="hold">
                                          <p:stCondLst>
                                            <p:cond delay="0"/>
                                          </p:stCondLst>
                                        </p:cTn>
                                        <p:tgtEl>
                                          <p:spTgt spid="3923"/>
                                        </p:tgtEl>
                                        <p:attrNameLst>
                                          <p:attrName>style.visibility</p:attrName>
                                        </p:attrNameLst>
                                      </p:cBhvr>
                                      <p:to>
                                        <p:strVal val="visible"/>
                                      </p:to>
                                    </p:set>
                                  </p:childTnLst>
                                </p:cTn>
                              </p:par>
                              <p:par>
                                <p:cTn id="74" presetID="1" presetClass="entr" presetSubtype="0" fill="hold" grpId="1" nodeType="withEffect">
                                  <p:stCondLst>
                                    <p:cond delay="250"/>
                                  </p:stCondLst>
                                  <p:childTnLst>
                                    <p:set>
                                      <p:cBhvr>
                                        <p:cTn id="75" dur="1" fill="hold">
                                          <p:stCondLst>
                                            <p:cond delay="0"/>
                                          </p:stCondLst>
                                        </p:cTn>
                                        <p:tgtEl>
                                          <p:spTgt spid="3924"/>
                                        </p:tgtEl>
                                        <p:attrNameLst>
                                          <p:attrName>style.visibility</p:attrName>
                                        </p:attrNameLst>
                                      </p:cBhvr>
                                      <p:to>
                                        <p:strVal val="visible"/>
                                      </p:to>
                                    </p:set>
                                  </p:childTnLst>
                                </p:cTn>
                              </p:par>
                              <p:par>
                                <p:cTn id="76" presetID="1" presetClass="entr" presetSubtype="0" fill="hold" grpId="1" nodeType="withEffect">
                                  <p:stCondLst>
                                    <p:cond delay="250"/>
                                  </p:stCondLst>
                                  <p:childTnLst>
                                    <p:set>
                                      <p:cBhvr>
                                        <p:cTn id="77" dur="1" fill="hold">
                                          <p:stCondLst>
                                            <p:cond delay="0"/>
                                          </p:stCondLst>
                                        </p:cTn>
                                        <p:tgtEl>
                                          <p:spTgt spid="3925"/>
                                        </p:tgtEl>
                                        <p:attrNameLst>
                                          <p:attrName>style.visibility</p:attrName>
                                        </p:attrNameLst>
                                      </p:cBhvr>
                                      <p:to>
                                        <p:strVal val="visible"/>
                                      </p:to>
                                    </p:set>
                                  </p:childTnLst>
                                </p:cTn>
                              </p:par>
                              <p:par>
                                <p:cTn id="78" presetID="1" presetClass="entr" presetSubtype="0" fill="hold" grpId="1" nodeType="withEffect">
                                  <p:stCondLst>
                                    <p:cond delay="250"/>
                                  </p:stCondLst>
                                  <p:childTnLst>
                                    <p:set>
                                      <p:cBhvr>
                                        <p:cTn id="79" dur="1" fill="hold">
                                          <p:stCondLst>
                                            <p:cond delay="0"/>
                                          </p:stCondLst>
                                        </p:cTn>
                                        <p:tgtEl>
                                          <p:spTgt spid="3926"/>
                                        </p:tgtEl>
                                        <p:attrNameLst>
                                          <p:attrName>style.visibility</p:attrName>
                                        </p:attrNameLst>
                                      </p:cBhvr>
                                      <p:to>
                                        <p:strVal val="visible"/>
                                      </p:to>
                                    </p:set>
                                  </p:childTnLst>
                                </p:cTn>
                              </p:par>
                              <p:par>
                                <p:cTn id="80" presetID="1" presetClass="entr" presetSubtype="0" fill="hold" grpId="1" nodeType="withEffect">
                                  <p:stCondLst>
                                    <p:cond delay="250"/>
                                  </p:stCondLst>
                                  <p:childTnLst>
                                    <p:set>
                                      <p:cBhvr>
                                        <p:cTn id="81" dur="1" fill="hold">
                                          <p:stCondLst>
                                            <p:cond delay="0"/>
                                          </p:stCondLst>
                                        </p:cTn>
                                        <p:tgtEl>
                                          <p:spTgt spid="3927"/>
                                        </p:tgtEl>
                                        <p:attrNameLst>
                                          <p:attrName>style.visibility</p:attrName>
                                        </p:attrNameLst>
                                      </p:cBhvr>
                                      <p:to>
                                        <p:strVal val="visible"/>
                                      </p:to>
                                    </p:set>
                                  </p:childTnLst>
                                </p:cTn>
                              </p:par>
                              <p:par>
                                <p:cTn id="82" presetID="1" presetClass="entr" presetSubtype="0" fill="hold" grpId="1" nodeType="withEffect">
                                  <p:stCondLst>
                                    <p:cond delay="250"/>
                                  </p:stCondLst>
                                  <p:childTnLst>
                                    <p:set>
                                      <p:cBhvr>
                                        <p:cTn id="83" dur="1" fill="hold">
                                          <p:stCondLst>
                                            <p:cond delay="0"/>
                                          </p:stCondLst>
                                        </p:cTn>
                                        <p:tgtEl>
                                          <p:spTgt spid="3928"/>
                                        </p:tgtEl>
                                        <p:attrNameLst>
                                          <p:attrName>style.visibility</p:attrName>
                                        </p:attrNameLst>
                                      </p:cBhvr>
                                      <p:to>
                                        <p:strVal val="visible"/>
                                      </p:to>
                                    </p:set>
                                  </p:childTnLst>
                                </p:cTn>
                              </p:par>
                              <p:par>
                                <p:cTn id="84" presetID="10" presetClass="entr" presetSubtype="0" fill="hold" nodeType="withEffect">
                                  <p:stCondLst>
                                    <p:cond delay="500"/>
                                  </p:stCondLst>
                                  <p:childTnLst>
                                    <p:set>
                                      <p:cBhvr>
                                        <p:cTn id="85" dur="1" fill="hold">
                                          <p:stCondLst>
                                            <p:cond delay="0"/>
                                          </p:stCondLst>
                                        </p:cTn>
                                        <p:tgtEl>
                                          <p:spTgt spid="34"/>
                                        </p:tgtEl>
                                        <p:attrNameLst>
                                          <p:attrName>style.visibility</p:attrName>
                                        </p:attrNameLst>
                                      </p:cBhvr>
                                      <p:to>
                                        <p:strVal val="visible"/>
                                      </p:to>
                                    </p:set>
                                    <p:animEffect transition="in" filter="fade">
                                      <p:cBhvr>
                                        <p:cTn id="86" dur="500"/>
                                        <p:tgtEl>
                                          <p:spTgt spid="34"/>
                                        </p:tgtEl>
                                      </p:cBhvr>
                                    </p:animEffect>
                                  </p:childTnLst>
                                </p:cTn>
                              </p:par>
                              <p:par>
                                <p:cTn id="87" presetID="42" presetClass="path" presetSubtype="0" decel="100000" fill="hold" nodeType="withEffect">
                                  <p:stCondLst>
                                    <p:cond delay="1250"/>
                                  </p:stCondLst>
                                  <p:childTnLst>
                                    <p:animMotion origin="layout" path="M 4.16667E-6 -2.22222E-6 L 0.05625 0.03395 " pathEditMode="relative" rAng="0" ptsTypes="AA">
                                      <p:cBhvr>
                                        <p:cTn id="88" dur="2000" fill="hold"/>
                                        <p:tgtEl>
                                          <p:spTgt spid="34"/>
                                        </p:tgtEl>
                                        <p:attrNameLst>
                                          <p:attrName>ppt_x</p:attrName>
                                          <p:attrName>ppt_y</p:attrName>
                                        </p:attrNameLst>
                                      </p:cBhvr>
                                      <p:rCtr x="2812" y="1698"/>
                                    </p:animMotion>
                                  </p:childTnLst>
                                </p:cTn>
                              </p:par>
                              <p:par>
                                <p:cTn id="89" presetID="6" presetClass="emph" presetSubtype="0" decel="100000" fill="hold" nodeType="withEffect">
                                  <p:stCondLst>
                                    <p:cond delay="1250"/>
                                  </p:stCondLst>
                                  <p:childTnLst>
                                    <p:animScale>
                                      <p:cBhvr>
                                        <p:cTn id="90" dur="2000" fill="hold"/>
                                        <p:tgtEl>
                                          <p:spTgt spid="34"/>
                                        </p:tgtEl>
                                      </p:cBhvr>
                                      <p:by x="35000" y="35000"/>
                                    </p:animScale>
                                  </p:childTnLst>
                                </p:cTn>
                              </p:par>
                              <p:par>
                                <p:cTn id="91" presetID="10" presetClass="entr" presetSubtype="0" fill="hold" nodeType="withEffect">
                                  <p:stCondLst>
                                    <p:cond delay="750"/>
                                  </p:stCondLst>
                                  <p:childTnLst>
                                    <p:set>
                                      <p:cBhvr>
                                        <p:cTn id="92" dur="1" fill="hold">
                                          <p:stCondLst>
                                            <p:cond delay="0"/>
                                          </p:stCondLst>
                                        </p:cTn>
                                        <p:tgtEl>
                                          <p:spTgt spid="1616"/>
                                        </p:tgtEl>
                                        <p:attrNameLst>
                                          <p:attrName>style.visibility</p:attrName>
                                        </p:attrNameLst>
                                      </p:cBhvr>
                                      <p:to>
                                        <p:strVal val="visible"/>
                                      </p:to>
                                    </p:set>
                                    <p:animEffect transition="in" filter="fade">
                                      <p:cBhvr>
                                        <p:cTn id="93" dur="500"/>
                                        <p:tgtEl>
                                          <p:spTgt spid="1616"/>
                                        </p:tgtEl>
                                      </p:cBhvr>
                                    </p:animEffect>
                                  </p:childTnLst>
                                </p:cTn>
                              </p:par>
                              <p:par>
                                <p:cTn id="94" presetID="42" presetClass="path" presetSubtype="0" decel="100000" fill="hold" nodeType="withEffect">
                                  <p:stCondLst>
                                    <p:cond delay="1250"/>
                                  </p:stCondLst>
                                  <p:childTnLst>
                                    <p:animMotion origin="layout" path="M 4.16667E-6 -2.22222E-6 L 0.05607 -0.11234 " pathEditMode="relative" rAng="0" ptsTypes="AA">
                                      <p:cBhvr>
                                        <p:cTn id="95" dur="2000" fill="hold"/>
                                        <p:tgtEl>
                                          <p:spTgt spid="1616"/>
                                        </p:tgtEl>
                                        <p:attrNameLst>
                                          <p:attrName>ppt_x</p:attrName>
                                          <p:attrName>ppt_y</p:attrName>
                                        </p:attrNameLst>
                                      </p:cBhvr>
                                      <p:rCtr x="2795" y="-5617"/>
                                    </p:animMotion>
                                  </p:childTnLst>
                                </p:cTn>
                              </p:par>
                              <p:par>
                                <p:cTn id="96" presetID="6" presetClass="emph" presetSubtype="0" decel="100000" fill="hold" nodeType="withEffect">
                                  <p:stCondLst>
                                    <p:cond delay="1250"/>
                                  </p:stCondLst>
                                  <p:childTnLst>
                                    <p:animScale>
                                      <p:cBhvr>
                                        <p:cTn id="97" dur="2000" fill="hold"/>
                                        <p:tgtEl>
                                          <p:spTgt spid="1616"/>
                                        </p:tgtEl>
                                      </p:cBhvr>
                                      <p:by x="35000" y="35000"/>
                                    </p:animScale>
                                  </p:childTnLst>
                                </p:cTn>
                              </p:par>
                              <p:par>
                                <p:cTn id="98" presetID="10" presetClass="entr" presetSubtype="0" fill="hold" nodeType="withEffect">
                                  <p:stCondLst>
                                    <p:cond delay="750"/>
                                  </p:stCondLst>
                                  <p:childTnLst>
                                    <p:set>
                                      <p:cBhvr>
                                        <p:cTn id="99" dur="1" fill="hold">
                                          <p:stCondLst>
                                            <p:cond delay="0"/>
                                          </p:stCondLst>
                                        </p:cTn>
                                        <p:tgtEl>
                                          <p:spTgt spid="33"/>
                                        </p:tgtEl>
                                        <p:attrNameLst>
                                          <p:attrName>style.visibility</p:attrName>
                                        </p:attrNameLst>
                                      </p:cBhvr>
                                      <p:to>
                                        <p:strVal val="visible"/>
                                      </p:to>
                                    </p:set>
                                    <p:animEffect transition="in" filter="fade">
                                      <p:cBhvr>
                                        <p:cTn id="100" dur="500"/>
                                        <p:tgtEl>
                                          <p:spTgt spid="33"/>
                                        </p:tgtEl>
                                      </p:cBhvr>
                                    </p:animEffect>
                                  </p:childTnLst>
                                </p:cTn>
                              </p:par>
                              <p:par>
                                <p:cTn id="101" presetID="42" presetClass="path" presetSubtype="0" decel="100000" fill="hold" nodeType="withEffect">
                                  <p:stCondLst>
                                    <p:cond delay="1250"/>
                                  </p:stCondLst>
                                  <p:childTnLst>
                                    <p:animMotion origin="layout" path="M 4.16667E-6 -4.93827E-6 L 0.11145 0.00865 " pathEditMode="relative" rAng="0" ptsTypes="AA">
                                      <p:cBhvr>
                                        <p:cTn id="102" dur="2000" fill="hold"/>
                                        <p:tgtEl>
                                          <p:spTgt spid="33"/>
                                        </p:tgtEl>
                                        <p:attrNameLst>
                                          <p:attrName>ppt_x</p:attrName>
                                          <p:attrName>ppt_y</p:attrName>
                                        </p:attrNameLst>
                                      </p:cBhvr>
                                      <p:rCtr x="5573" y="432"/>
                                    </p:animMotion>
                                  </p:childTnLst>
                                </p:cTn>
                              </p:par>
                              <p:par>
                                <p:cTn id="103" presetID="6" presetClass="emph" presetSubtype="0" decel="100000" fill="hold" nodeType="withEffect">
                                  <p:stCondLst>
                                    <p:cond delay="1240"/>
                                  </p:stCondLst>
                                  <p:childTnLst>
                                    <p:animScale>
                                      <p:cBhvr>
                                        <p:cTn id="104" dur="2000" fill="hold"/>
                                        <p:tgtEl>
                                          <p:spTgt spid="33"/>
                                        </p:tgtEl>
                                      </p:cBhvr>
                                      <p:by x="35000" y="35000"/>
                                    </p:animScale>
                                  </p:childTnLst>
                                </p:cTn>
                              </p:par>
                              <p:par>
                                <p:cTn id="105" presetID="10" presetClass="entr" presetSubtype="0" fill="hold" nodeType="withEffect">
                                  <p:stCondLst>
                                    <p:cond delay="750"/>
                                  </p:stCondLst>
                                  <p:childTnLst>
                                    <p:set>
                                      <p:cBhvr>
                                        <p:cTn id="106" dur="1" fill="hold">
                                          <p:stCondLst>
                                            <p:cond delay="0"/>
                                          </p:stCondLst>
                                        </p:cTn>
                                        <p:tgtEl>
                                          <p:spTgt spid="1615"/>
                                        </p:tgtEl>
                                        <p:attrNameLst>
                                          <p:attrName>style.visibility</p:attrName>
                                        </p:attrNameLst>
                                      </p:cBhvr>
                                      <p:to>
                                        <p:strVal val="visible"/>
                                      </p:to>
                                    </p:set>
                                    <p:animEffect transition="in" filter="fade">
                                      <p:cBhvr>
                                        <p:cTn id="107" dur="500"/>
                                        <p:tgtEl>
                                          <p:spTgt spid="1615"/>
                                        </p:tgtEl>
                                      </p:cBhvr>
                                    </p:animEffect>
                                  </p:childTnLst>
                                </p:cTn>
                              </p:par>
                              <p:par>
                                <p:cTn id="108" presetID="42" presetClass="path" presetSubtype="0" decel="100000" fill="hold" nodeType="withEffect">
                                  <p:stCondLst>
                                    <p:cond delay="1250"/>
                                  </p:stCondLst>
                                  <p:childTnLst>
                                    <p:animMotion origin="layout" path="M 4.16667E-6 -4.93827E-6 L 0.11145 -0.13549 " pathEditMode="relative" rAng="0" ptsTypes="AA">
                                      <p:cBhvr>
                                        <p:cTn id="109" dur="2000" fill="hold"/>
                                        <p:tgtEl>
                                          <p:spTgt spid="1615"/>
                                        </p:tgtEl>
                                        <p:attrNameLst>
                                          <p:attrName>ppt_x</p:attrName>
                                          <p:attrName>ppt_y</p:attrName>
                                        </p:attrNameLst>
                                      </p:cBhvr>
                                      <p:rCtr x="5573" y="-6790"/>
                                    </p:animMotion>
                                  </p:childTnLst>
                                </p:cTn>
                              </p:par>
                              <p:par>
                                <p:cTn id="110" presetID="6" presetClass="emph" presetSubtype="0" decel="100000" fill="hold" nodeType="withEffect">
                                  <p:stCondLst>
                                    <p:cond delay="1250"/>
                                  </p:stCondLst>
                                  <p:childTnLst>
                                    <p:animScale>
                                      <p:cBhvr>
                                        <p:cTn id="111" dur="2000" fill="hold"/>
                                        <p:tgtEl>
                                          <p:spTgt spid="1615"/>
                                        </p:tgtEl>
                                      </p:cBhvr>
                                      <p:by x="35000" y="35000"/>
                                    </p:animScale>
                                  </p:childTnLst>
                                </p:cTn>
                              </p:par>
                              <p:par>
                                <p:cTn id="112" presetID="10" presetClass="entr" presetSubtype="0" fill="hold" nodeType="withEffect">
                                  <p:stCondLst>
                                    <p:cond delay="2750"/>
                                  </p:stCondLst>
                                  <p:childTnLst>
                                    <p:set>
                                      <p:cBhvr>
                                        <p:cTn id="113" dur="1" fill="hold">
                                          <p:stCondLst>
                                            <p:cond delay="0"/>
                                          </p:stCondLst>
                                        </p:cTn>
                                        <p:tgtEl>
                                          <p:spTgt spid="1629"/>
                                        </p:tgtEl>
                                        <p:attrNameLst>
                                          <p:attrName>style.visibility</p:attrName>
                                        </p:attrNameLst>
                                      </p:cBhvr>
                                      <p:to>
                                        <p:strVal val="visible"/>
                                      </p:to>
                                    </p:set>
                                    <p:animEffect transition="in" filter="fade">
                                      <p:cBhvr>
                                        <p:cTn id="114" dur="500"/>
                                        <p:tgtEl>
                                          <p:spTgt spid="1629"/>
                                        </p:tgtEl>
                                      </p:cBhvr>
                                    </p:animEffect>
                                  </p:childTnLst>
                                </p:cTn>
                              </p:par>
                              <p:par>
                                <p:cTn id="115" presetID="10" presetClass="entr" presetSubtype="0" fill="hold" nodeType="withEffect">
                                  <p:stCondLst>
                                    <p:cond delay="2750"/>
                                  </p:stCondLst>
                                  <p:childTnLst>
                                    <p:set>
                                      <p:cBhvr>
                                        <p:cTn id="116" dur="1" fill="hold">
                                          <p:stCondLst>
                                            <p:cond delay="0"/>
                                          </p:stCondLst>
                                        </p:cTn>
                                        <p:tgtEl>
                                          <p:spTgt spid="1626"/>
                                        </p:tgtEl>
                                        <p:attrNameLst>
                                          <p:attrName>style.visibility</p:attrName>
                                        </p:attrNameLst>
                                      </p:cBhvr>
                                      <p:to>
                                        <p:strVal val="visible"/>
                                      </p:to>
                                    </p:set>
                                    <p:animEffect transition="in" filter="fade">
                                      <p:cBhvr>
                                        <p:cTn id="117" dur="500"/>
                                        <p:tgtEl>
                                          <p:spTgt spid="1626"/>
                                        </p:tgtEl>
                                      </p:cBhvr>
                                    </p:animEffect>
                                  </p:childTnLst>
                                </p:cTn>
                              </p:par>
                              <p:par>
                                <p:cTn id="118" presetID="10" presetClass="entr" presetSubtype="0" fill="hold" nodeType="withEffect">
                                  <p:stCondLst>
                                    <p:cond delay="2750"/>
                                  </p:stCondLst>
                                  <p:childTnLst>
                                    <p:set>
                                      <p:cBhvr>
                                        <p:cTn id="119" dur="1" fill="hold">
                                          <p:stCondLst>
                                            <p:cond delay="0"/>
                                          </p:stCondLst>
                                        </p:cTn>
                                        <p:tgtEl>
                                          <p:spTgt spid="1618"/>
                                        </p:tgtEl>
                                        <p:attrNameLst>
                                          <p:attrName>style.visibility</p:attrName>
                                        </p:attrNameLst>
                                      </p:cBhvr>
                                      <p:to>
                                        <p:strVal val="visible"/>
                                      </p:to>
                                    </p:set>
                                    <p:animEffect transition="in" filter="fade">
                                      <p:cBhvr>
                                        <p:cTn id="120" dur="500"/>
                                        <p:tgtEl>
                                          <p:spTgt spid="1618"/>
                                        </p:tgtEl>
                                      </p:cBhvr>
                                    </p:animEffect>
                                  </p:childTnLst>
                                </p:cTn>
                              </p:par>
                              <p:par>
                                <p:cTn id="121" presetID="0" presetClass="path" presetSubtype="0" repeatCount="indefinite" fill="hold" grpId="0" nodeType="withEffect">
                                  <p:stCondLst>
                                    <p:cond delay="4500"/>
                                  </p:stCondLst>
                                  <p:childTnLst>
                                    <p:animMotion origin="layout" path="M 0.00035 -0.00123 L 0.12535 -0.00123 L 0.12535 -0.07284 L 0.23368 -0.07284 L 0.23368 -2.22222E-6 L 0.59549 -2.22222E-6 L 0.59549 -0.07284 L 0.62466 -0.07284 " pathEditMode="relative" ptsTypes="AAAAAAAA">
                                      <p:cBhvr>
                                        <p:cTn id="122" dur="4000" fill="hold"/>
                                        <p:tgtEl>
                                          <p:spTgt spid="3923"/>
                                        </p:tgtEl>
                                        <p:attrNameLst>
                                          <p:attrName>ppt_x</p:attrName>
                                          <p:attrName>ppt_y</p:attrName>
                                        </p:attrNameLst>
                                      </p:cBhvr>
                                    </p:animMotion>
                                  </p:childTnLst>
                                </p:cTn>
                              </p:par>
                              <p:par>
                                <p:cTn id="123" presetID="0" presetClass="path" presetSubtype="0" repeatCount="indefinite" fill="hold" grpId="0" nodeType="withEffect">
                                  <p:stCondLst>
                                    <p:cond delay="1000"/>
                                  </p:stCondLst>
                                  <p:childTnLst>
                                    <p:animMotion origin="layout" path="M 0.00035 -0.00123 L 0.12535 -0.00123 L 0.12535 -0.07284 L 0.23368 -0.07284 L 0.23368 -2.22222E-6 L 0.59549 -2.22222E-6 L 0.59549 -0.07284 L 0.62466 -0.07284 " pathEditMode="relative" rAng="0" ptsTypes="AAAAAAAA">
                                      <p:cBhvr>
                                        <p:cTn id="124" dur="3740" fill="hold"/>
                                        <p:tgtEl>
                                          <p:spTgt spid="3924"/>
                                        </p:tgtEl>
                                        <p:attrNameLst>
                                          <p:attrName>ppt_x</p:attrName>
                                          <p:attrName>ppt_y</p:attrName>
                                        </p:attrNameLst>
                                      </p:cBhvr>
                                      <p:rCtr x="31215" y="-3519"/>
                                    </p:animMotion>
                                  </p:childTnLst>
                                </p:cTn>
                              </p:par>
                              <p:par>
                                <p:cTn id="125" presetID="0" presetClass="path" presetSubtype="0" repeatCount="indefinite" fill="hold" grpId="0" nodeType="withEffect">
                                  <p:stCondLst>
                                    <p:cond delay="250"/>
                                  </p:stCondLst>
                                  <p:childTnLst>
                                    <p:animMotion origin="layout" path="M 0.00035 -0.00123 L 0.12535 -0.00123 L 0.12535 -0.07284 L 0.23368 -0.07284 L 0.23368 -2.22222E-6 L 0.59549 -2.22222E-6 L 0.59549 -0.07284 L 0.62466 -0.07284 " pathEditMode="relative" rAng="0" ptsTypes="AAAAAAAA">
                                      <p:cBhvr>
                                        <p:cTn id="126" dur="4250" fill="hold"/>
                                        <p:tgtEl>
                                          <p:spTgt spid="3925"/>
                                        </p:tgtEl>
                                        <p:attrNameLst>
                                          <p:attrName>ppt_x</p:attrName>
                                          <p:attrName>ppt_y</p:attrName>
                                        </p:attrNameLst>
                                      </p:cBhvr>
                                      <p:rCtr x="31215" y="-3519"/>
                                    </p:animMotion>
                                  </p:childTnLst>
                                </p:cTn>
                              </p:par>
                              <p:par>
                                <p:cTn id="127" presetID="0" presetClass="path" presetSubtype="0" repeatCount="indefinite" fill="hold" grpId="0" nodeType="withEffect">
                                  <p:stCondLst>
                                    <p:cond delay="1000"/>
                                  </p:stCondLst>
                                  <p:childTnLst>
                                    <p:animMotion origin="layout" path="M 0.00035 -0.00123 L 0.12535 -0.00123 L 0.12535 -0.07284 L 0.23368 -0.07284 L 0.23368 -2.22222E-6 L 0.59549 -2.22222E-6 L 0.59549 -0.07284 L 0.62466 -0.07284 " pathEditMode="relative" rAng="0" ptsTypes="AAAAAAAA">
                                      <p:cBhvr>
                                        <p:cTn id="128" dur="3740" fill="hold"/>
                                        <p:tgtEl>
                                          <p:spTgt spid="3926"/>
                                        </p:tgtEl>
                                        <p:attrNameLst>
                                          <p:attrName>ppt_x</p:attrName>
                                          <p:attrName>ppt_y</p:attrName>
                                        </p:attrNameLst>
                                      </p:cBhvr>
                                      <p:rCtr x="31215" y="-3519"/>
                                    </p:animMotion>
                                  </p:childTnLst>
                                </p:cTn>
                              </p:par>
                              <p:par>
                                <p:cTn id="129" presetID="0" presetClass="path" presetSubtype="0" repeatCount="indefinite" fill="hold" grpId="0" nodeType="withEffect">
                                  <p:stCondLst>
                                    <p:cond delay="3500"/>
                                  </p:stCondLst>
                                  <p:childTnLst>
                                    <p:animMotion origin="layout" path="M 0.00035 -0.00123 L 0.12535 -0.00123 L 0.12535 -0.07284 L 0.23368 -0.07284 L 0.23368 -2.22222E-6 L 0.59549 -2.22222E-6 L 0.59549 -0.07284 L 0.62466 -0.07284 " pathEditMode="relative" rAng="0" ptsTypes="AAAAAAAA">
                                      <p:cBhvr>
                                        <p:cTn id="130" dur="3750" fill="hold"/>
                                        <p:tgtEl>
                                          <p:spTgt spid="3927"/>
                                        </p:tgtEl>
                                        <p:attrNameLst>
                                          <p:attrName>ppt_x</p:attrName>
                                          <p:attrName>ppt_y</p:attrName>
                                        </p:attrNameLst>
                                      </p:cBhvr>
                                      <p:rCtr x="31215" y="-3519"/>
                                    </p:animMotion>
                                  </p:childTnLst>
                                </p:cTn>
                              </p:par>
                              <p:par>
                                <p:cTn id="131" presetID="0" presetClass="path" presetSubtype="0" repeatCount="indefinite" fill="hold" grpId="0" nodeType="withEffect">
                                  <p:stCondLst>
                                    <p:cond delay="2750"/>
                                  </p:stCondLst>
                                  <p:childTnLst>
                                    <p:animMotion origin="layout" path="M 0.00035 -0.00123 L 0.12535 -0.00123 L 0.12535 -0.07284 L 0.23368 -0.07284 L 0.23368 -2.22222E-6 L 0.59549 -2.22222E-6 L 0.59549 -0.07284 L 0.62466 -0.07284 " pathEditMode="relative" rAng="0" ptsTypes="AAAAAAAA">
                                      <p:cBhvr>
                                        <p:cTn id="132" dur="4250" fill="hold"/>
                                        <p:tgtEl>
                                          <p:spTgt spid="3928"/>
                                        </p:tgtEl>
                                        <p:attrNameLst>
                                          <p:attrName>ppt_x</p:attrName>
                                          <p:attrName>ppt_y</p:attrName>
                                        </p:attrNameLst>
                                      </p:cBhvr>
                                      <p:rCtr x="31215" y="-35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44" grpId="0" animBg="1"/>
      <p:bldP spid="3923" grpId="0" animBg="1"/>
      <p:bldP spid="3923" grpId="1" animBg="1"/>
      <p:bldP spid="3924" grpId="0" animBg="1"/>
      <p:bldP spid="3924" grpId="1" animBg="1"/>
      <p:bldP spid="3925" grpId="0" animBg="1"/>
      <p:bldP spid="3925" grpId="1" animBg="1"/>
      <p:bldP spid="3926" grpId="0" animBg="1"/>
      <p:bldP spid="3926" grpId="1" animBg="1"/>
      <p:bldP spid="3927" grpId="0" animBg="1"/>
      <p:bldP spid="3927" grpId="1" animBg="1"/>
      <p:bldP spid="3928" grpId="0" animBg="1"/>
      <p:bldP spid="3928" grpId="1" animBg="1"/>
      <p:bldP spid="1075" grpId="0" animBg="1"/>
      <p:bldP spid="1075" grpId="1" animBg="1"/>
      <p:bldP spid="1075" grpId="2" animBg="1"/>
      <p:bldP spid="1075" grpId="3" animBg="1"/>
      <p:bldP spid="1075" grpId="4" animBg="1"/>
      <p:bldP spid="48" grpId="0" animBg="1"/>
      <p:bldP spid="3818" grpId="0" animBg="1"/>
      <p:bldP spid="3819" grpId="0" animBg="1"/>
      <p:bldP spid="3820" grpId="0" animBg="1"/>
      <p:bldP spid="3831" grpId="0" animBg="1"/>
      <p:bldP spid="3831" grpId="1" animBg="1"/>
      <p:bldP spid="3831" grpId="2" animBg="1"/>
      <p:bldP spid="6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4" name="Group 2380">
            <a:extLst>
              <a:ext uri="{FF2B5EF4-FFF2-40B4-BE49-F238E27FC236}">
                <a16:creationId xmlns:a16="http://schemas.microsoft.com/office/drawing/2014/main" id="{9DFB8FDA-6C27-456B-BACE-021E7263E11F}"/>
              </a:ext>
            </a:extLst>
          </p:cNvPr>
          <p:cNvGrpSpPr>
            <a:grpSpLocks noChangeAspect="1"/>
          </p:cNvGrpSpPr>
          <p:nvPr/>
        </p:nvGrpSpPr>
        <p:grpSpPr bwMode="auto">
          <a:xfrm>
            <a:off x="2951873" y="-615394"/>
            <a:ext cx="6429375" cy="6374289"/>
            <a:chOff x="1246" y="0"/>
            <a:chExt cx="3268" cy="3240"/>
          </a:xfrm>
        </p:grpSpPr>
        <p:grpSp>
          <p:nvGrpSpPr>
            <p:cNvPr id="426" name="Group 2581">
              <a:extLst>
                <a:ext uri="{FF2B5EF4-FFF2-40B4-BE49-F238E27FC236}">
                  <a16:creationId xmlns:a16="http://schemas.microsoft.com/office/drawing/2014/main" id="{24EEC0A1-1BBF-4A88-A9F2-931CB5309AC2}"/>
                </a:ext>
              </a:extLst>
            </p:cNvPr>
            <p:cNvGrpSpPr>
              <a:grpSpLocks/>
            </p:cNvGrpSpPr>
            <p:nvPr/>
          </p:nvGrpSpPr>
          <p:grpSpPr bwMode="auto">
            <a:xfrm>
              <a:off x="1276" y="30"/>
              <a:ext cx="3178" cy="3180"/>
              <a:chOff x="1276" y="30"/>
              <a:chExt cx="3178" cy="3180"/>
            </a:xfrm>
          </p:grpSpPr>
          <p:sp>
            <p:nvSpPr>
              <p:cNvPr id="1014" name="Line 2381">
                <a:extLst>
                  <a:ext uri="{FF2B5EF4-FFF2-40B4-BE49-F238E27FC236}">
                    <a16:creationId xmlns:a16="http://schemas.microsoft.com/office/drawing/2014/main" id="{A1B11AA6-3F5A-411A-A4A6-A3A263756D60}"/>
                  </a:ext>
                </a:extLst>
              </p:cNvPr>
              <p:cNvSpPr>
                <a:spLocks noChangeShapeType="1"/>
              </p:cNvSpPr>
              <p:nvPr/>
            </p:nvSpPr>
            <p:spPr bwMode="auto">
              <a:xfrm>
                <a:off x="3045" y="147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5" name="Freeform 2382">
                <a:extLst>
                  <a:ext uri="{FF2B5EF4-FFF2-40B4-BE49-F238E27FC236}">
                    <a16:creationId xmlns:a16="http://schemas.microsoft.com/office/drawing/2014/main" id="{04D94BB9-E920-4A1F-A8E8-D20C5A954EF1}"/>
                  </a:ext>
                </a:extLst>
              </p:cNvPr>
              <p:cNvSpPr>
                <a:spLocks/>
              </p:cNvSpPr>
              <p:nvPr/>
            </p:nvSpPr>
            <p:spPr bwMode="auto">
              <a:xfrm>
                <a:off x="2625" y="1410"/>
                <a:ext cx="300" cy="210"/>
              </a:xfrm>
              <a:custGeom>
                <a:avLst/>
                <a:gdLst>
                  <a:gd name="T0" fmla="*/ 210 w 300"/>
                  <a:gd name="T1" fmla="*/ 90 h 210"/>
                  <a:gd name="T2" fmla="*/ 300 w 300"/>
                  <a:gd name="T3" fmla="*/ 30 h 210"/>
                  <a:gd name="T4" fmla="*/ 300 w 300"/>
                  <a:gd name="T5" fmla="*/ 120 h 210"/>
                  <a:gd name="T6" fmla="*/ 240 w 300"/>
                  <a:gd name="T7" fmla="*/ 210 h 210"/>
                  <a:gd name="T8" fmla="*/ 150 w 300"/>
                  <a:gd name="T9" fmla="*/ 150 h 210"/>
                  <a:gd name="T10" fmla="*/ 60 w 300"/>
                  <a:gd name="T11" fmla="*/ 90 h 210"/>
                  <a:gd name="T12" fmla="*/ 0 w 30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210" y="90"/>
                    </a:moveTo>
                    <a:lnTo>
                      <a:pt x="300" y="30"/>
                    </a:lnTo>
                    <a:lnTo>
                      <a:pt x="300" y="120"/>
                    </a:lnTo>
                    <a:lnTo>
                      <a:pt x="240" y="210"/>
                    </a:lnTo>
                    <a:lnTo>
                      <a:pt x="150" y="150"/>
                    </a:lnTo>
                    <a:lnTo>
                      <a:pt x="60" y="9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6" name="Freeform 2383">
                <a:extLst>
                  <a:ext uri="{FF2B5EF4-FFF2-40B4-BE49-F238E27FC236}">
                    <a16:creationId xmlns:a16="http://schemas.microsoft.com/office/drawing/2014/main" id="{996624AE-7A34-41A4-949B-D1224D0C87E1}"/>
                  </a:ext>
                </a:extLst>
              </p:cNvPr>
              <p:cNvSpPr>
                <a:spLocks/>
              </p:cNvSpPr>
              <p:nvPr/>
            </p:nvSpPr>
            <p:spPr bwMode="auto">
              <a:xfrm>
                <a:off x="2535" y="1292"/>
                <a:ext cx="180" cy="208"/>
              </a:xfrm>
              <a:custGeom>
                <a:avLst/>
                <a:gdLst>
                  <a:gd name="T0" fmla="*/ 0 w 180"/>
                  <a:gd name="T1" fmla="*/ 149 h 208"/>
                  <a:gd name="T2" fmla="*/ 150 w 180"/>
                  <a:gd name="T3" fmla="*/ 208 h 208"/>
                  <a:gd name="T4" fmla="*/ 180 w 180"/>
                  <a:gd name="T5" fmla="*/ 0 h 208"/>
                </a:gdLst>
                <a:ahLst/>
                <a:cxnLst>
                  <a:cxn ang="0">
                    <a:pos x="T0" y="T1"/>
                  </a:cxn>
                  <a:cxn ang="0">
                    <a:pos x="T2" y="T3"/>
                  </a:cxn>
                  <a:cxn ang="0">
                    <a:pos x="T4" y="T5"/>
                  </a:cxn>
                </a:cxnLst>
                <a:rect l="0" t="0" r="r" b="b"/>
                <a:pathLst>
                  <a:path w="180" h="208">
                    <a:moveTo>
                      <a:pt x="0" y="149"/>
                    </a:moveTo>
                    <a:lnTo>
                      <a:pt x="150" y="208"/>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7" name="Line 2384">
                <a:extLst>
                  <a:ext uri="{FF2B5EF4-FFF2-40B4-BE49-F238E27FC236}">
                    <a16:creationId xmlns:a16="http://schemas.microsoft.com/office/drawing/2014/main" id="{24CDA635-2D6F-45A7-AC72-2602E73AD5C6}"/>
                  </a:ext>
                </a:extLst>
              </p:cNvPr>
              <p:cNvSpPr>
                <a:spLocks noChangeShapeType="1"/>
              </p:cNvSpPr>
              <p:nvPr/>
            </p:nvSpPr>
            <p:spPr bwMode="auto">
              <a:xfrm flipH="1">
                <a:off x="2535" y="1620"/>
                <a:ext cx="18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8" name="Line 2385">
                <a:extLst>
                  <a:ext uri="{FF2B5EF4-FFF2-40B4-BE49-F238E27FC236}">
                    <a16:creationId xmlns:a16="http://schemas.microsoft.com/office/drawing/2014/main" id="{20C72486-6BE1-499D-B3A4-D7D87C100E47}"/>
                  </a:ext>
                </a:extLst>
              </p:cNvPr>
              <p:cNvSpPr>
                <a:spLocks noChangeShapeType="1"/>
              </p:cNvSpPr>
              <p:nvPr/>
            </p:nvSpPr>
            <p:spPr bwMode="auto">
              <a:xfrm>
                <a:off x="2595" y="156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9" name="Freeform 2386">
                <a:extLst>
                  <a:ext uri="{FF2B5EF4-FFF2-40B4-BE49-F238E27FC236}">
                    <a16:creationId xmlns:a16="http://schemas.microsoft.com/office/drawing/2014/main" id="{FF53B9F1-79AA-4904-92B6-65C1D14A6C9E}"/>
                  </a:ext>
                </a:extLst>
              </p:cNvPr>
              <p:cNvSpPr>
                <a:spLocks/>
              </p:cNvSpPr>
              <p:nvPr/>
            </p:nvSpPr>
            <p:spPr bwMode="auto">
              <a:xfrm>
                <a:off x="2535" y="1650"/>
                <a:ext cx="210" cy="330"/>
              </a:xfrm>
              <a:custGeom>
                <a:avLst/>
                <a:gdLst>
                  <a:gd name="T0" fmla="*/ 120 w 210"/>
                  <a:gd name="T1" fmla="*/ 60 h 330"/>
                  <a:gd name="T2" fmla="*/ 0 w 210"/>
                  <a:gd name="T3" fmla="*/ 0 h 330"/>
                  <a:gd name="T4" fmla="*/ 0 w 210"/>
                  <a:gd name="T5" fmla="*/ 330 h 330"/>
                  <a:gd name="T6" fmla="*/ 210 w 210"/>
                  <a:gd name="T7" fmla="*/ 270 h 330"/>
                  <a:gd name="T8" fmla="*/ 119 w 210"/>
                  <a:gd name="T9" fmla="*/ 182 h 330"/>
                </a:gdLst>
                <a:ahLst/>
                <a:cxnLst>
                  <a:cxn ang="0">
                    <a:pos x="T0" y="T1"/>
                  </a:cxn>
                  <a:cxn ang="0">
                    <a:pos x="T2" y="T3"/>
                  </a:cxn>
                  <a:cxn ang="0">
                    <a:pos x="T4" y="T5"/>
                  </a:cxn>
                  <a:cxn ang="0">
                    <a:pos x="T6" y="T7"/>
                  </a:cxn>
                  <a:cxn ang="0">
                    <a:pos x="T8" y="T9"/>
                  </a:cxn>
                </a:cxnLst>
                <a:rect l="0" t="0" r="r" b="b"/>
                <a:pathLst>
                  <a:path w="210" h="330">
                    <a:moveTo>
                      <a:pt x="120" y="60"/>
                    </a:moveTo>
                    <a:lnTo>
                      <a:pt x="0" y="0"/>
                    </a:lnTo>
                    <a:lnTo>
                      <a:pt x="0" y="330"/>
                    </a:lnTo>
                    <a:lnTo>
                      <a:pt x="210" y="270"/>
                    </a:lnTo>
                    <a:lnTo>
                      <a:pt x="119" y="18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0" name="Freeform 2387">
                <a:extLst>
                  <a:ext uri="{FF2B5EF4-FFF2-40B4-BE49-F238E27FC236}">
                    <a16:creationId xmlns:a16="http://schemas.microsoft.com/office/drawing/2014/main" id="{C1870332-EA15-44D9-9E0B-58C3641F144A}"/>
                  </a:ext>
                </a:extLst>
              </p:cNvPr>
              <p:cNvSpPr>
                <a:spLocks/>
              </p:cNvSpPr>
              <p:nvPr/>
            </p:nvSpPr>
            <p:spPr bwMode="auto">
              <a:xfrm>
                <a:off x="2654" y="1680"/>
                <a:ext cx="151" cy="152"/>
              </a:xfrm>
              <a:custGeom>
                <a:avLst/>
                <a:gdLst>
                  <a:gd name="T0" fmla="*/ 121 w 151"/>
                  <a:gd name="T1" fmla="*/ 0 h 152"/>
                  <a:gd name="T2" fmla="*/ 151 w 151"/>
                  <a:gd name="T3" fmla="*/ 120 h 152"/>
                  <a:gd name="T4" fmla="*/ 0 w 151"/>
                  <a:gd name="T5" fmla="*/ 152 h 152"/>
                  <a:gd name="T6" fmla="*/ 1 w 151"/>
                  <a:gd name="T7" fmla="*/ 30 h 152"/>
                  <a:gd name="T8" fmla="*/ 121 w 151"/>
                  <a:gd name="T9" fmla="*/ 0 h 152"/>
                </a:gdLst>
                <a:ahLst/>
                <a:cxnLst>
                  <a:cxn ang="0">
                    <a:pos x="T0" y="T1"/>
                  </a:cxn>
                  <a:cxn ang="0">
                    <a:pos x="T2" y="T3"/>
                  </a:cxn>
                  <a:cxn ang="0">
                    <a:pos x="T4" y="T5"/>
                  </a:cxn>
                  <a:cxn ang="0">
                    <a:pos x="T6" y="T7"/>
                  </a:cxn>
                  <a:cxn ang="0">
                    <a:pos x="T8" y="T9"/>
                  </a:cxn>
                </a:cxnLst>
                <a:rect l="0" t="0" r="r" b="b"/>
                <a:pathLst>
                  <a:path w="151" h="152">
                    <a:moveTo>
                      <a:pt x="121" y="0"/>
                    </a:moveTo>
                    <a:lnTo>
                      <a:pt x="151" y="120"/>
                    </a:lnTo>
                    <a:lnTo>
                      <a:pt x="0" y="152"/>
                    </a:lnTo>
                    <a:lnTo>
                      <a:pt x="1" y="30"/>
                    </a:lnTo>
                    <a:lnTo>
                      <a:pt x="121"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1" name="Freeform 2388">
                <a:extLst>
                  <a:ext uri="{FF2B5EF4-FFF2-40B4-BE49-F238E27FC236}">
                    <a16:creationId xmlns:a16="http://schemas.microsoft.com/office/drawing/2014/main" id="{5A904C49-D148-44BF-8B69-326A395695CE}"/>
                  </a:ext>
                </a:extLst>
              </p:cNvPr>
              <p:cNvSpPr>
                <a:spLocks/>
              </p:cNvSpPr>
              <p:nvPr/>
            </p:nvSpPr>
            <p:spPr bwMode="auto">
              <a:xfrm>
                <a:off x="2805" y="1620"/>
                <a:ext cx="240" cy="270"/>
              </a:xfrm>
              <a:custGeom>
                <a:avLst/>
                <a:gdLst>
                  <a:gd name="T0" fmla="*/ 0 w 240"/>
                  <a:gd name="T1" fmla="*/ 180 h 270"/>
                  <a:gd name="T2" fmla="*/ 60 w 240"/>
                  <a:gd name="T3" fmla="*/ 0 h 270"/>
                  <a:gd name="T4" fmla="*/ 90 w 240"/>
                  <a:gd name="T5" fmla="*/ 90 h 270"/>
                  <a:gd name="T6" fmla="*/ 120 w 240"/>
                  <a:gd name="T7" fmla="*/ 180 h 270"/>
                  <a:gd name="T8" fmla="*/ 150 w 240"/>
                  <a:gd name="T9" fmla="*/ 270 h 270"/>
                  <a:gd name="T10" fmla="*/ 240 w 240"/>
                  <a:gd name="T11" fmla="*/ 150 h 270"/>
                </a:gdLst>
                <a:ahLst/>
                <a:cxnLst>
                  <a:cxn ang="0">
                    <a:pos x="T0" y="T1"/>
                  </a:cxn>
                  <a:cxn ang="0">
                    <a:pos x="T2" y="T3"/>
                  </a:cxn>
                  <a:cxn ang="0">
                    <a:pos x="T4" y="T5"/>
                  </a:cxn>
                  <a:cxn ang="0">
                    <a:pos x="T6" y="T7"/>
                  </a:cxn>
                  <a:cxn ang="0">
                    <a:pos x="T8" y="T9"/>
                  </a:cxn>
                  <a:cxn ang="0">
                    <a:pos x="T10" y="T11"/>
                  </a:cxn>
                </a:cxnLst>
                <a:rect l="0" t="0" r="r" b="b"/>
                <a:pathLst>
                  <a:path w="240" h="270">
                    <a:moveTo>
                      <a:pt x="0" y="180"/>
                    </a:moveTo>
                    <a:lnTo>
                      <a:pt x="60" y="0"/>
                    </a:lnTo>
                    <a:lnTo>
                      <a:pt x="90" y="90"/>
                    </a:lnTo>
                    <a:lnTo>
                      <a:pt x="120" y="180"/>
                    </a:lnTo>
                    <a:lnTo>
                      <a:pt x="150" y="270"/>
                    </a:lnTo>
                    <a:lnTo>
                      <a:pt x="24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2" name="Freeform 2389">
                <a:extLst>
                  <a:ext uri="{FF2B5EF4-FFF2-40B4-BE49-F238E27FC236}">
                    <a16:creationId xmlns:a16="http://schemas.microsoft.com/office/drawing/2014/main" id="{A1681402-ABD5-48EB-B7FD-2F015321D2D8}"/>
                  </a:ext>
                </a:extLst>
              </p:cNvPr>
              <p:cNvSpPr>
                <a:spLocks/>
              </p:cNvSpPr>
              <p:nvPr/>
            </p:nvSpPr>
            <p:spPr bwMode="auto">
              <a:xfrm>
                <a:off x="2688" y="1800"/>
                <a:ext cx="237" cy="270"/>
              </a:xfrm>
              <a:custGeom>
                <a:avLst/>
                <a:gdLst>
                  <a:gd name="T0" fmla="*/ 237 w 237"/>
                  <a:gd name="T1" fmla="*/ 0 h 270"/>
                  <a:gd name="T2" fmla="*/ 177 w 237"/>
                  <a:gd name="T3" fmla="*/ 122 h 270"/>
                  <a:gd name="T4" fmla="*/ 117 w 237"/>
                  <a:gd name="T5" fmla="*/ 0 h 270"/>
                  <a:gd name="T6" fmla="*/ 57 w 237"/>
                  <a:gd name="T7" fmla="*/ 120 h 270"/>
                  <a:gd name="T8" fmla="*/ 147 w 237"/>
                  <a:gd name="T9" fmla="*/ 270 h 270"/>
                  <a:gd name="T10" fmla="*/ 0 w 237"/>
                  <a:gd name="T11" fmla="*/ 213 h 270"/>
                </a:gdLst>
                <a:ahLst/>
                <a:cxnLst>
                  <a:cxn ang="0">
                    <a:pos x="T0" y="T1"/>
                  </a:cxn>
                  <a:cxn ang="0">
                    <a:pos x="T2" y="T3"/>
                  </a:cxn>
                  <a:cxn ang="0">
                    <a:pos x="T4" y="T5"/>
                  </a:cxn>
                  <a:cxn ang="0">
                    <a:pos x="T6" y="T7"/>
                  </a:cxn>
                  <a:cxn ang="0">
                    <a:pos x="T8" y="T9"/>
                  </a:cxn>
                  <a:cxn ang="0">
                    <a:pos x="T10" y="T11"/>
                  </a:cxn>
                </a:cxnLst>
                <a:rect l="0" t="0" r="r" b="b"/>
                <a:pathLst>
                  <a:path w="237" h="270">
                    <a:moveTo>
                      <a:pt x="237" y="0"/>
                    </a:moveTo>
                    <a:lnTo>
                      <a:pt x="177" y="122"/>
                    </a:lnTo>
                    <a:lnTo>
                      <a:pt x="117" y="0"/>
                    </a:lnTo>
                    <a:lnTo>
                      <a:pt x="57" y="120"/>
                    </a:lnTo>
                    <a:lnTo>
                      <a:pt x="147" y="270"/>
                    </a:lnTo>
                    <a:lnTo>
                      <a:pt x="0" y="21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3" name="Freeform 2390">
                <a:extLst>
                  <a:ext uri="{FF2B5EF4-FFF2-40B4-BE49-F238E27FC236}">
                    <a16:creationId xmlns:a16="http://schemas.microsoft.com/office/drawing/2014/main" id="{A2434AC8-2783-41F0-892B-4CF3F3685CF6}"/>
                  </a:ext>
                </a:extLst>
              </p:cNvPr>
              <p:cNvSpPr>
                <a:spLocks/>
              </p:cNvSpPr>
              <p:nvPr/>
            </p:nvSpPr>
            <p:spPr bwMode="auto">
              <a:xfrm>
                <a:off x="2355" y="1440"/>
                <a:ext cx="390" cy="570"/>
              </a:xfrm>
              <a:custGeom>
                <a:avLst/>
                <a:gdLst>
                  <a:gd name="T0" fmla="*/ 390 w 390"/>
                  <a:gd name="T1" fmla="*/ 480 h 570"/>
                  <a:gd name="T2" fmla="*/ 330 w 390"/>
                  <a:gd name="T3" fmla="*/ 570 h 570"/>
                  <a:gd name="T4" fmla="*/ 180 w 390"/>
                  <a:gd name="T5" fmla="*/ 540 h 570"/>
                  <a:gd name="T6" fmla="*/ 300 w 390"/>
                  <a:gd name="T7" fmla="*/ 390 h 570"/>
                  <a:gd name="T8" fmla="*/ 120 w 390"/>
                  <a:gd name="T9" fmla="*/ 390 h 570"/>
                  <a:gd name="T10" fmla="*/ 180 w 390"/>
                  <a:gd name="T11" fmla="*/ 210 h 570"/>
                  <a:gd name="T12" fmla="*/ 60 w 390"/>
                  <a:gd name="T13" fmla="*/ 330 h 570"/>
                  <a:gd name="T14" fmla="*/ 0 w 390"/>
                  <a:gd name="T15" fmla="*/ 180 h 570"/>
                  <a:gd name="T16" fmla="*/ 60 w 390"/>
                  <a:gd name="T17" fmla="*/ 60 h 570"/>
                  <a:gd name="T18" fmla="*/ 240 w 390"/>
                  <a:gd name="T19" fmla="*/ 120 h 570"/>
                  <a:gd name="T20" fmla="*/ 180 w 39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570">
                    <a:moveTo>
                      <a:pt x="390" y="480"/>
                    </a:moveTo>
                    <a:lnTo>
                      <a:pt x="330" y="570"/>
                    </a:lnTo>
                    <a:lnTo>
                      <a:pt x="180" y="540"/>
                    </a:lnTo>
                    <a:lnTo>
                      <a:pt x="300" y="390"/>
                    </a:lnTo>
                    <a:lnTo>
                      <a:pt x="120" y="390"/>
                    </a:lnTo>
                    <a:lnTo>
                      <a:pt x="180" y="210"/>
                    </a:lnTo>
                    <a:lnTo>
                      <a:pt x="60" y="330"/>
                    </a:lnTo>
                    <a:lnTo>
                      <a:pt x="0" y="180"/>
                    </a:lnTo>
                    <a:lnTo>
                      <a:pt x="60" y="60"/>
                    </a:lnTo>
                    <a:lnTo>
                      <a:pt x="240" y="120"/>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4" name="Freeform 2391">
                <a:extLst>
                  <a:ext uri="{FF2B5EF4-FFF2-40B4-BE49-F238E27FC236}">
                    <a16:creationId xmlns:a16="http://schemas.microsoft.com/office/drawing/2014/main" id="{095DC216-6AED-4AFB-93E4-ACDD6711BC5E}"/>
                  </a:ext>
                </a:extLst>
              </p:cNvPr>
              <p:cNvSpPr>
                <a:spLocks/>
              </p:cNvSpPr>
              <p:nvPr/>
            </p:nvSpPr>
            <p:spPr bwMode="auto">
              <a:xfrm>
                <a:off x="2355" y="1410"/>
                <a:ext cx="480" cy="420"/>
              </a:xfrm>
              <a:custGeom>
                <a:avLst/>
                <a:gdLst>
                  <a:gd name="T0" fmla="*/ 300 w 480"/>
                  <a:gd name="T1" fmla="*/ 420 h 420"/>
                  <a:gd name="T2" fmla="*/ 0 w 480"/>
                  <a:gd name="T3" fmla="*/ 210 h 420"/>
                  <a:gd name="T4" fmla="*/ 180 w 480"/>
                  <a:gd name="T5" fmla="*/ 240 h 420"/>
                  <a:gd name="T6" fmla="*/ 90 w 480"/>
                  <a:gd name="T7" fmla="*/ 0 h 420"/>
                  <a:gd name="T8" fmla="*/ 240 w 480"/>
                  <a:gd name="T9" fmla="*/ 150 h 420"/>
                  <a:gd name="T10" fmla="*/ 270 w 480"/>
                  <a:gd name="T11" fmla="*/ 0 h 420"/>
                  <a:gd name="T12" fmla="*/ 420 w 480"/>
                  <a:gd name="T13" fmla="*/ 0 h 420"/>
                  <a:gd name="T14" fmla="*/ 480 w 480"/>
                  <a:gd name="T15" fmla="*/ 9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0" h="420">
                    <a:moveTo>
                      <a:pt x="300" y="420"/>
                    </a:moveTo>
                    <a:lnTo>
                      <a:pt x="0" y="210"/>
                    </a:lnTo>
                    <a:lnTo>
                      <a:pt x="180" y="240"/>
                    </a:lnTo>
                    <a:lnTo>
                      <a:pt x="90" y="0"/>
                    </a:lnTo>
                    <a:lnTo>
                      <a:pt x="240" y="150"/>
                    </a:lnTo>
                    <a:lnTo>
                      <a:pt x="270" y="0"/>
                    </a:lnTo>
                    <a:lnTo>
                      <a:pt x="420" y="0"/>
                    </a:lnTo>
                    <a:lnTo>
                      <a:pt x="4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5" name="Freeform 2392">
                <a:extLst>
                  <a:ext uri="{FF2B5EF4-FFF2-40B4-BE49-F238E27FC236}">
                    <a16:creationId xmlns:a16="http://schemas.microsoft.com/office/drawing/2014/main" id="{50F604D1-B779-41CF-A187-FEAA5255D082}"/>
                  </a:ext>
                </a:extLst>
              </p:cNvPr>
              <p:cNvSpPr>
                <a:spLocks/>
              </p:cNvSpPr>
              <p:nvPr/>
            </p:nvSpPr>
            <p:spPr bwMode="auto">
              <a:xfrm>
                <a:off x="2925" y="1260"/>
                <a:ext cx="120" cy="300"/>
              </a:xfrm>
              <a:custGeom>
                <a:avLst/>
                <a:gdLst>
                  <a:gd name="T0" fmla="*/ 0 w 120"/>
                  <a:gd name="T1" fmla="*/ 0 h 300"/>
                  <a:gd name="T2" fmla="*/ 0 w 120"/>
                  <a:gd name="T3" fmla="*/ 180 h 300"/>
                  <a:gd name="T4" fmla="*/ 120 w 120"/>
                  <a:gd name="T5" fmla="*/ 90 h 300"/>
                  <a:gd name="T6" fmla="*/ 120 w 120"/>
                  <a:gd name="T7" fmla="*/ 210 h 300"/>
                  <a:gd name="T8" fmla="*/ 90 w 120"/>
                  <a:gd name="T9" fmla="*/ 300 h 300"/>
                </a:gdLst>
                <a:ahLst/>
                <a:cxnLst>
                  <a:cxn ang="0">
                    <a:pos x="T0" y="T1"/>
                  </a:cxn>
                  <a:cxn ang="0">
                    <a:pos x="T2" y="T3"/>
                  </a:cxn>
                  <a:cxn ang="0">
                    <a:pos x="T4" y="T5"/>
                  </a:cxn>
                  <a:cxn ang="0">
                    <a:pos x="T6" y="T7"/>
                  </a:cxn>
                  <a:cxn ang="0">
                    <a:pos x="T8" y="T9"/>
                  </a:cxn>
                </a:cxnLst>
                <a:rect l="0" t="0" r="r" b="b"/>
                <a:pathLst>
                  <a:path w="120" h="300">
                    <a:moveTo>
                      <a:pt x="0" y="0"/>
                    </a:moveTo>
                    <a:lnTo>
                      <a:pt x="0" y="180"/>
                    </a:lnTo>
                    <a:lnTo>
                      <a:pt x="120" y="90"/>
                    </a:lnTo>
                    <a:lnTo>
                      <a:pt x="120" y="210"/>
                    </a:lnTo>
                    <a:lnTo>
                      <a:pt x="9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6" name="Freeform 2393">
                <a:extLst>
                  <a:ext uri="{FF2B5EF4-FFF2-40B4-BE49-F238E27FC236}">
                    <a16:creationId xmlns:a16="http://schemas.microsoft.com/office/drawing/2014/main" id="{4693BA60-832B-4E66-BE03-537AA34A3CFD}"/>
                  </a:ext>
                </a:extLst>
              </p:cNvPr>
              <p:cNvSpPr>
                <a:spLocks/>
              </p:cNvSpPr>
              <p:nvPr/>
            </p:nvSpPr>
            <p:spPr bwMode="auto">
              <a:xfrm>
                <a:off x="2715" y="1292"/>
                <a:ext cx="330" cy="178"/>
              </a:xfrm>
              <a:custGeom>
                <a:avLst/>
                <a:gdLst>
                  <a:gd name="T0" fmla="*/ 0 w 330"/>
                  <a:gd name="T1" fmla="*/ 0 h 178"/>
                  <a:gd name="T2" fmla="*/ 60 w 330"/>
                  <a:gd name="T3" fmla="*/ 118 h 178"/>
                  <a:gd name="T4" fmla="*/ 150 w 330"/>
                  <a:gd name="T5" fmla="*/ 28 h 178"/>
                  <a:gd name="T6" fmla="*/ 330 w 330"/>
                  <a:gd name="T7" fmla="*/ 178 h 178"/>
                </a:gdLst>
                <a:ahLst/>
                <a:cxnLst>
                  <a:cxn ang="0">
                    <a:pos x="T0" y="T1"/>
                  </a:cxn>
                  <a:cxn ang="0">
                    <a:pos x="T2" y="T3"/>
                  </a:cxn>
                  <a:cxn ang="0">
                    <a:pos x="T4" y="T5"/>
                  </a:cxn>
                  <a:cxn ang="0">
                    <a:pos x="T6" y="T7"/>
                  </a:cxn>
                </a:cxnLst>
                <a:rect l="0" t="0" r="r" b="b"/>
                <a:pathLst>
                  <a:path w="330" h="178">
                    <a:moveTo>
                      <a:pt x="0" y="0"/>
                    </a:moveTo>
                    <a:lnTo>
                      <a:pt x="60" y="118"/>
                    </a:lnTo>
                    <a:lnTo>
                      <a:pt x="150" y="28"/>
                    </a:lnTo>
                    <a:lnTo>
                      <a:pt x="330" y="17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7" name="Line 2394">
                <a:extLst>
                  <a:ext uri="{FF2B5EF4-FFF2-40B4-BE49-F238E27FC236}">
                    <a16:creationId xmlns:a16="http://schemas.microsoft.com/office/drawing/2014/main" id="{06C2ABB5-0376-41CD-B2B8-FDE28CDDA295}"/>
                  </a:ext>
                </a:extLst>
              </p:cNvPr>
              <p:cNvSpPr>
                <a:spLocks noChangeShapeType="1"/>
              </p:cNvSpPr>
              <p:nvPr/>
            </p:nvSpPr>
            <p:spPr bwMode="auto">
              <a:xfrm flipH="1">
                <a:off x="2925" y="1410"/>
                <a:ext cx="24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8" name="Freeform 2395">
                <a:extLst>
                  <a:ext uri="{FF2B5EF4-FFF2-40B4-BE49-F238E27FC236}">
                    <a16:creationId xmlns:a16="http://schemas.microsoft.com/office/drawing/2014/main" id="{06128E2A-73CF-4334-B800-04D492B22CF5}"/>
                  </a:ext>
                </a:extLst>
              </p:cNvPr>
              <p:cNvSpPr>
                <a:spLocks/>
              </p:cNvSpPr>
              <p:nvPr/>
            </p:nvSpPr>
            <p:spPr bwMode="auto">
              <a:xfrm>
                <a:off x="2086" y="2070"/>
                <a:ext cx="899" cy="720"/>
              </a:xfrm>
              <a:custGeom>
                <a:avLst/>
                <a:gdLst>
                  <a:gd name="T0" fmla="*/ 59 w 899"/>
                  <a:gd name="T1" fmla="*/ 240 h 720"/>
                  <a:gd name="T2" fmla="*/ 179 w 899"/>
                  <a:gd name="T3" fmla="*/ 390 h 720"/>
                  <a:gd name="T4" fmla="*/ 239 w 899"/>
                  <a:gd name="T5" fmla="*/ 300 h 720"/>
                  <a:gd name="T6" fmla="*/ 329 w 899"/>
                  <a:gd name="T7" fmla="*/ 360 h 720"/>
                  <a:gd name="T8" fmla="*/ 329 w 899"/>
                  <a:gd name="T9" fmla="*/ 240 h 720"/>
                  <a:gd name="T10" fmla="*/ 179 w 899"/>
                  <a:gd name="T11" fmla="*/ 181 h 720"/>
                  <a:gd name="T12" fmla="*/ 269 w 899"/>
                  <a:gd name="T13" fmla="*/ 150 h 720"/>
                  <a:gd name="T14" fmla="*/ 389 w 899"/>
                  <a:gd name="T15" fmla="*/ 120 h 720"/>
                  <a:gd name="T16" fmla="*/ 449 w 899"/>
                  <a:gd name="T17" fmla="*/ 300 h 720"/>
                  <a:gd name="T18" fmla="*/ 539 w 899"/>
                  <a:gd name="T19" fmla="*/ 180 h 720"/>
                  <a:gd name="T20" fmla="*/ 509 w 899"/>
                  <a:gd name="T21" fmla="*/ 60 h 720"/>
                  <a:gd name="T22" fmla="*/ 359 w 899"/>
                  <a:gd name="T23" fmla="*/ 30 h 720"/>
                  <a:gd name="T24" fmla="*/ 569 w 899"/>
                  <a:gd name="T25" fmla="*/ 0 h 720"/>
                  <a:gd name="T26" fmla="*/ 689 w 899"/>
                  <a:gd name="T27" fmla="*/ 90 h 720"/>
                  <a:gd name="T28" fmla="*/ 659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89 w 899"/>
                  <a:gd name="T41" fmla="*/ 390 h 720"/>
                  <a:gd name="T42" fmla="*/ 539 w 899"/>
                  <a:gd name="T43" fmla="*/ 330 h 720"/>
                  <a:gd name="T44" fmla="*/ 569 w 899"/>
                  <a:gd name="T45" fmla="*/ 450 h 720"/>
                  <a:gd name="T46" fmla="*/ 419 w 899"/>
                  <a:gd name="T47" fmla="*/ 420 h 720"/>
                  <a:gd name="T48" fmla="*/ 389 w 899"/>
                  <a:gd name="T49" fmla="*/ 540 h 720"/>
                  <a:gd name="T50" fmla="*/ 509 w 899"/>
                  <a:gd name="T51" fmla="*/ 570 h 720"/>
                  <a:gd name="T52" fmla="*/ 659 w 899"/>
                  <a:gd name="T53" fmla="*/ 570 h 720"/>
                  <a:gd name="T54" fmla="*/ 599 w 899"/>
                  <a:gd name="T55" fmla="*/ 720 h 720"/>
                  <a:gd name="T56" fmla="*/ 299 w 899"/>
                  <a:gd name="T57" fmla="*/ 630 h 720"/>
                  <a:gd name="T58" fmla="*/ 268 w 899"/>
                  <a:gd name="T59" fmla="*/ 482 h 720"/>
                  <a:gd name="T60" fmla="*/ 179 w 899"/>
                  <a:gd name="T61" fmla="*/ 570 h 720"/>
                  <a:gd name="T62" fmla="*/ 59 w 899"/>
                  <a:gd name="T63" fmla="*/ 480 h 720"/>
                  <a:gd name="T64" fmla="*/ 0 w 899"/>
                  <a:gd name="T65" fmla="*/ 360 h 720"/>
                  <a:gd name="T66" fmla="*/ 59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59" y="240"/>
                    </a:move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599" y="720"/>
                    </a:lnTo>
                    <a:lnTo>
                      <a:pt x="299" y="630"/>
                    </a:lnTo>
                    <a:lnTo>
                      <a:pt x="268" y="482"/>
                    </a:lnTo>
                    <a:lnTo>
                      <a:pt x="179" y="570"/>
                    </a:lnTo>
                    <a:lnTo>
                      <a:pt x="59" y="480"/>
                    </a:lnTo>
                    <a:lnTo>
                      <a:pt x="0" y="360"/>
                    </a:lnTo>
                    <a:lnTo>
                      <a:pt x="59"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9" name="Line 2396">
                <a:extLst>
                  <a:ext uri="{FF2B5EF4-FFF2-40B4-BE49-F238E27FC236}">
                    <a16:creationId xmlns:a16="http://schemas.microsoft.com/office/drawing/2014/main" id="{52567B57-6CD4-4222-97BE-C37C5FCDC2A3}"/>
                  </a:ext>
                </a:extLst>
              </p:cNvPr>
              <p:cNvSpPr>
                <a:spLocks noChangeShapeType="1"/>
              </p:cNvSpPr>
              <p:nvPr/>
            </p:nvSpPr>
            <p:spPr bwMode="auto">
              <a:xfrm flipH="1">
                <a:off x="2145" y="225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0" name="Freeform 2397">
                <a:extLst>
                  <a:ext uri="{FF2B5EF4-FFF2-40B4-BE49-F238E27FC236}">
                    <a16:creationId xmlns:a16="http://schemas.microsoft.com/office/drawing/2014/main" id="{ACF7B169-58A7-419E-BE6E-5DCB5F50D408}"/>
                  </a:ext>
                </a:extLst>
              </p:cNvPr>
              <p:cNvSpPr>
                <a:spLocks/>
              </p:cNvSpPr>
              <p:nvPr/>
            </p:nvSpPr>
            <p:spPr bwMode="auto">
              <a:xfrm>
                <a:off x="2354" y="243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1" name="Freeform 2398">
                <a:extLst>
                  <a:ext uri="{FF2B5EF4-FFF2-40B4-BE49-F238E27FC236}">
                    <a16:creationId xmlns:a16="http://schemas.microsoft.com/office/drawing/2014/main" id="{90482249-2DAF-4A66-9856-FE341D35D594}"/>
                  </a:ext>
                </a:extLst>
              </p:cNvPr>
              <p:cNvSpPr>
                <a:spLocks/>
              </p:cNvSpPr>
              <p:nvPr/>
            </p:nvSpPr>
            <p:spPr bwMode="auto">
              <a:xfrm>
                <a:off x="2415" y="1980"/>
                <a:ext cx="240" cy="330"/>
              </a:xfrm>
              <a:custGeom>
                <a:avLst/>
                <a:gdLst>
                  <a:gd name="T0" fmla="*/ 180 w 240"/>
                  <a:gd name="T1" fmla="*/ 150 h 330"/>
                  <a:gd name="T2" fmla="*/ 120 w 240"/>
                  <a:gd name="T3" fmla="*/ 0 h 330"/>
                  <a:gd name="T4" fmla="*/ 240 w 240"/>
                  <a:gd name="T5" fmla="*/ 90 h 330"/>
                  <a:gd name="T6" fmla="*/ 210 w 240"/>
                  <a:gd name="T7" fmla="*/ 270 h 330"/>
                  <a:gd name="T8" fmla="*/ 0 w 240"/>
                  <a:gd name="T9" fmla="*/ 330 h 330"/>
                </a:gdLst>
                <a:ahLst/>
                <a:cxnLst>
                  <a:cxn ang="0">
                    <a:pos x="T0" y="T1"/>
                  </a:cxn>
                  <a:cxn ang="0">
                    <a:pos x="T2" y="T3"/>
                  </a:cxn>
                  <a:cxn ang="0">
                    <a:pos x="T4" y="T5"/>
                  </a:cxn>
                  <a:cxn ang="0">
                    <a:pos x="T6" y="T7"/>
                  </a:cxn>
                  <a:cxn ang="0">
                    <a:pos x="T8" y="T9"/>
                  </a:cxn>
                </a:cxnLst>
                <a:rect l="0" t="0" r="r" b="b"/>
                <a:pathLst>
                  <a:path w="240" h="330">
                    <a:moveTo>
                      <a:pt x="180" y="150"/>
                    </a:moveTo>
                    <a:lnTo>
                      <a:pt x="120" y="0"/>
                    </a:lnTo>
                    <a:lnTo>
                      <a:pt x="240" y="90"/>
                    </a:lnTo>
                    <a:lnTo>
                      <a:pt x="21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2" name="Line 2399">
                <a:extLst>
                  <a:ext uri="{FF2B5EF4-FFF2-40B4-BE49-F238E27FC236}">
                    <a16:creationId xmlns:a16="http://schemas.microsoft.com/office/drawing/2014/main" id="{1E116FAE-C050-44EA-B543-07503806F2EC}"/>
                  </a:ext>
                </a:extLst>
              </p:cNvPr>
              <p:cNvSpPr>
                <a:spLocks noChangeShapeType="1"/>
              </p:cNvSpPr>
              <p:nvPr/>
            </p:nvSpPr>
            <p:spPr bwMode="auto">
              <a:xfrm>
                <a:off x="247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3" name="Freeform 2400">
                <a:extLst>
                  <a:ext uri="{FF2B5EF4-FFF2-40B4-BE49-F238E27FC236}">
                    <a16:creationId xmlns:a16="http://schemas.microsoft.com/office/drawing/2014/main" id="{3762A745-CAD9-4C97-AF12-2D3E600A84DB}"/>
                  </a:ext>
                </a:extLst>
              </p:cNvPr>
              <p:cNvSpPr>
                <a:spLocks/>
              </p:cNvSpPr>
              <p:nvPr/>
            </p:nvSpPr>
            <p:spPr bwMode="auto">
              <a:xfrm>
                <a:off x="3045" y="207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4" name="Freeform 2401">
                <a:extLst>
                  <a:ext uri="{FF2B5EF4-FFF2-40B4-BE49-F238E27FC236}">
                    <a16:creationId xmlns:a16="http://schemas.microsoft.com/office/drawing/2014/main" id="{F6D201A1-EE4A-4FA0-BF6E-AB6795AB72F0}"/>
                  </a:ext>
                </a:extLst>
              </p:cNvPr>
              <p:cNvSpPr>
                <a:spLocks/>
              </p:cNvSpPr>
              <p:nvPr/>
            </p:nvSpPr>
            <p:spPr bwMode="auto">
              <a:xfrm>
                <a:off x="3105" y="222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5" name="Freeform 2402">
                <a:extLst>
                  <a:ext uri="{FF2B5EF4-FFF2-40B4-BE49-F238E27FC236}">
                    <a16:creationId xmlns:a16="http://schemas.microsoft.com/office/drawing/2014/main" id="{24F83984-B136-4139-A1ED-B6B6B7093B88}"/>
                  </a:ext>
                </a:extLst>
              </p:cNvPr>
              <p:cNvSpPr>
                <a:spLocks/>
              </p:cNvSpPr>
              <p:nvPr/>
            </p:nvSpPr>
            <p:spPr bwMode="auto">
              <a:xfrm>
                <a:off x="2985" y="225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6" name="Freeform 2403">
                <a:extLst>
                  <a:ext uri="{FF2B5EF4-FFF2-40B4-BE49-F238E27FC236}">
                    <a16:creationId xmlns:a16="http://schemas.microsoft.com/office/drawing/2014/main" id="{C29226F6-BDEC-4D6A-BA85-E036EC6AC6AB}"/>
                  </a:ext>
                </a:extLst>
              </p:cNvPr>
              <p:cNvSpPr>
                <a:spLocks/>
              </p:cNvSpPr>
              <p:nvPr/>
            </p:nvSpPr>
            <p:spPr bwMode="auto">
              <a:xfrm>
                <a:off x="3313" y="243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7" name="Freeform 2404">
                <a:extLst>
                  <a:ext uri="{FF2B5EF4-FFF2-40B4-BE49-F238E27FC236}">
                    <a16:creationId xmlns:a16="http://schemas.microsoft.com/office/drawing/2014/main" id="{9B669ADE-E669-4917-8A98-8DB08AA506DE}"/>
                  </a:ext>
                </a:extLst>
              </p:cNvPr>
              <p:cNvSpPr>
                <a:spLocks/>
              </p:cNvSpPr>
              <p:nvPr/>
            </p:nvSpPr>
            <p:spPr bwMode="auto">
              <a:xfrm>
                <a:off x="3375" y="204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8" name="Line 2405">
                <a:extLst>
                  <a:ext uri="{FF2B5EF4-FFF2-40B4-BE49-F238E27FC236}">
                    <a16:creationId xmlns:a16="http://schemas.microsoft.com/office/drawing/2014/main" id="{53AA98C6-0503-4F36-9DF5-9E251DCEEB2A}"/>
                  </a:ext>
                </a:extLst>
              </p:cNvPr>
              <p:cNvSpPr>
                <a:spLocks noChangeShapeType="1"/>
              </p:cNvSpPr>
              <p:nvPr/>
            </p:nvSpPr>
            <p:spPr bwMode="auto">
              <a:xfrm>
                <a:off x="343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9" name="Line 2406">
                <a:extLst>
                  <a:ext uri="{FF2B5EF4-FFF2-40B4-BE49-F238E27FC236}">
                    <a16:creationId xmlns:a16="http://schemas.microsoft.com/office/drawing/2014/main" id="{16111B85-FB50-4AD2-A5A6-D3E0CCB86F01}"/>
                  </a:ext>
                </a:extLst>
              </p:cNvPr>
              <p:cNvSpPr>
                <a:spLocks noChangeShapeType="1"/>
              </p:cNvSpPr>
              <p:nvPr/>
            </p:nvSpPr>
            <p:spPr bwMode="auto">
              <a:xfrm>
                <a:off x="2955" y="18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0" name="Line 2407">
                <a:extLst>
                  <a:ext uri="{FF2B5EF4-FFF2-40B4-BE49-F238E27FC236}">
                    <a16:creationId xmlns:a16="http://schemas.microsoft.com/office/drawing/2014/main" id="{50D7D13B-9050-440A-AD2A-53DD6EB7BE4A}"/>
                  </a:ext>
                </a:extLst>
              </p:cNvPr>
              <p:cNvSpPr>
                <a:spLocks noChangeShapeType="1"/>
              </p:cNvSpPr>
              <p:nvPr/>
            </p:nvSpPr>
            <p:spPr bwMode="auto">
              <a:xfrm>
                <a:off x="2655" y="18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1" name="Line 2408">
                <a:extLst>
                  <a:ext uri="{FF2B5EF4-FFF2-40B4-BE49-F238E27FC236}">
                    <a16:creationId xmlns:a16="http://schemas.microsoft.com/office/drawing/2014/main" id="{1E40BCA6-3F9A-4335-A64B-27773A32E0FA}"/>
                  </a:ext>
                </a:extLst>
              </p:cNvPr>
              <p:cNvSpPr>
                <a:spLocks noChangeShapeType="1"/>
              </p:cNvSpPr>
              <p:nvPr/>
            </p:nvSpPr>
            <p:spPr bwMode="auto">
              <a:xfrm>
                <a:off x="3045" y="17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2" name="Line 2409">
                <a:extLst>
                  <a:ext uri="{FF2B5EF4-FFF2-40B4-BE49-F238E27FC236}">
                    <a16:creationId xmlns:a16="http://schemas.microsoft.com/office/drawing/2014/main" id="{DB140CA3-98E1-4946-B1C4-DDCA56AF93A4}"/>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3" name="Line 2410">
                <a:extLst>
                  <a:ext uri="{FF2B5EF4-FFF2-40B4-BE49-F238E27FC236}">
                    <a16:creationId xmlns:a16="http://schemas.microsoft.com/office/drawing/2014/main" id="{BF81E04D-928B-4281-8C32-3D14B6C5CF1D}"/>
                  </a:ext>
                </a:extLst>
              </p:cNvPr>
              <p:cNvSpPr>
                <a:spLocks noChangeShapeType="1"/>
              </p:cNvSpPr>
              <p:nvPr/>
            </p:nvSpPr>
            <p:spPr bwMode="auto">
              <a:xfrm flipH="1" flipV="1">
                <a:off x="2415" y="1770"/>
                <a:ext cx="6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4" name="Line 2411">
                <a:extLst>
                  <a:ext uri="{FF2B5EF4-FFF2-40B4-BE49-F238E27FC236}">
                    <a16:creationId xmlns:a16="http://schemas.microsoft.com/office/drawing/2014/main" id="{AFEC55A4-F9A2-447E-8D24-AF4E9C5B9D28}"/>
                  </a:ext>
                </a:extLst>
              </p:cNvPr>
              <p:cNvSpPr>
                <a:spLocks noChangeShapeType="1"/>
              </p:cNvSpPr>
              <p:nvPr/>
            </p:nvSpPr>
            <p:spPr bwMode="auto">
              <a:xfrm>
                <a:off x="2475" y="1830"/>
                <a:ext cx="21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5" name="Line 2412">
                <a:extLst>
                  <a:ext uri="{FF2B5EF4-FFF2-40B4-BE49-F238E27FC236}">
                    <a16:creationId xmlns:a16="http://schemas.microsoft.com/office/drawing/2014/main" id="{29459E3C-A5A6-4454-813B-F9E29A687C03}"/>
                  </a:ext>
                </a:extLst>
              </p:cNvPr>
              <p:cNvSpPr>
                <a:spLocks noChangeShapeType="1"/>
              </p:cNvSpPr>
              <p:nvPr/>
            </p:nvSpPr>
            <p:spPr bwMode="auto">
              <a:xfrm>
                <a:off x="2535" y="16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6" name="Line 2413">
                <a:extLst>
                  <a:ext uri="{FF2B5EF4-FFF2-40B4-BE49-F238E27FC236}">
                    <a16:creationId xmlns:a16="http://schemas.microsoft.com/office/drawing/2014/main" id="{E95B4758-615E-42C5-AC2C-6FE96845BB5D}"/>
                  </a:ext>
                </a:extLst>
              </p:cNvPr>
              <p:cNvSpPr>
                <a:spLocks noChangeShapeType="1"/>
              </p:cNvSpPr>
              <p:nvPr/>
            </p:nvSpPr>
            <p:spPr bwMode="auto">
              <a:xfrm>
                <a:off x="3045" y="13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7" name="Line 2414">
                <a:extLst>
                  <a:ext uri="{FF2B5EF4-FFF2-40B4-BE49-F238E27FC236}">
                    <a16:creationId xmlns:a16="http://schemas.microsoft.com/office/drawing/2014/main" id="{53702CFA-1569-4A25-A45D-FFC6CAA34BB4}"/>
                  </a:ext>
                </a:extLst>
              </p:cNvPr>
              <p:cNvSpPr>
                <a:spLocks noChangeShapeType="1"/>
              </p:cNvSpPr>
              <p:nvPr/>
            </p:nvSpPr>
            <p:spPr bwMode="auto">
              <a:xfrm>
                <a:off x="2925" y="12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8" name="Freeform 2415">
                <a:extLst>
                  <a:ext uri="{FF2B5EF4-FFF2-40B4-BE49-F238E27FC236}">
                    <a16:creationId xmlns:a16="http://schemas.microsoft.com/office/drawing/2014/main" id="{53FBC1BE-4438-41D3-8EC0-48F32D6BBC3B}"/>
                  </a:ext>
                </a:extLst>
              </p:cNvPr>
              <p:cNvSpPr>
                <a:spLocks/>
              </p:cNvSpPr>
              <p:nvPr/>
            </p:nvSpPr>
            <p:spPr bwMode="auto">
              <a:xfrm>
                <a:off x="2865" y="1710"/>
                <a:ext cx="240" cy="240"/>
              </a:xfrm>
              <a:custGeom>
                <a:avLst/>
                <a:gdLst>
                  <a:gd name="T0" fmla="*/ 240 w 240"/>
                  <a:gd name="T1" fmla="*/ 0 h 240"/>
                  <a:gd name="T2" fmla="*/ 210 w 240"/>
                  <a:gd name="T3" fmla="*/ 180 h 240"/>
                  <a:gd name="T4" fmla="*/ 180 w 240"/>
                  <a:gd name="T5" fmla="*/ 60 h 240"/>
                  <a:gd name="T6" fmla="*/ 150 w 240"/>
                  <a:gd name="T7" fmla="*/ 240 h 240"/>
                  <a:gd name="T8" fmla="*/ 90 w 240"/>
                  <a:gd name="T9" fmla="*/ 180 h 240"/>
                  <a:gd name="T10" fmla="*/ 0 w 240"/>
                  <a:gd name="T11" fmla="*/ 210 h 240"/>
                </a:gdLst>
                <a:ahLst/>
                <a:cxnLst>
                  <a:cxn ang="0">
                    <a:pos x="T0" y="T1"/>
                  </a:cxn>
                  <a:cxn ang="0">
                    <a:pos x="T2" y="T3"/>
                  </a:cxn>
                  <a:cxn ang="0">
                    <a:pos x="T4" y="T5"/>
                  </a:cxn>
                  <a:cxn ang="0">
                    <a:pos x="T6" y="T7"/>
                  </a:cxn>
                  <a:cxn ang="0">
                    <a:pos x="T8" y="T9"/>
                  </a:cxn>
                  <a:cxn ang="0">
                    <a:pos x="T10" y="T11"/>
                  </a:cxn>
                </a:cxnLst>
                <a:rect l="0" t="0" r="r" b="b"/>
                <a:pathLst>
                  <a:path w="240" h="240">
                    <a:moveTo>
                      <a:pt x="240" y="0"/>
                    </a:moveTo>
                    <a:lnTo>
                      <a:pt x="210" y="180"/>
                    </a:lnTo>
                    <a:lnTo>
                      <a:pt x="180" y="60"/>
                    </a:lnTo>
                    <a:lnTo>
                      <a:pt x="150" y="240"/>
                    </a:lnTo>
                    <a:lnTo>
                      <a:pt x="90" y="18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49" name="Line 2416">
                <a:extLst>
                  <a:ext uri="{FF2B5EF4-FFF2-40B4-BE49-F238E27FC236}">
                    <a16:creationId xmlns:a16="http://schemas.microsoft.com/office/drawing/2014/main" id="{E6B5CA01-46EF-416C-8FCC-0B5B78AB2822}"/>
                  </a:ext>
                </a:extLst>
              </p:cNvPr>
              <p:cNvSpPr>
                <a:spLocks noChangeShapeType="1"/>
              </p:cNvSpPr>
              <p:nvPr/>
            </p:nvSpPr>
            <p:spPr bwMode="auto">
              <a:xfrm>
                <a:off x="2865" y="19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0" name="Freeform 2417">
                <a:extLst>
                  <a:ext uri="{FF2B5EF4-FFF2-40B4-BE49-F238E27FC236}">
                    <a16:creationId xmlns:a16="http://schemas.microsoft.com/office/drawing/2014/main" id="{5ADE52E3-DAFB-453C-B15C-D4E503A9FDDD}"/>
                  </a:ext>
                </a:extLst>
              </p:cNvPr>
              <p:cNvSpPr>
                <a:spLocks/>
              </p:cNvSpPr>
              <p:nvPr/>
            </p:nvSpPr>
            <p:spPr bwMode="auto">
              <a:xfrm>
                <a:off x="3045" y="1770"/>
                <a:ext cx="180" cy="120"/>
              </a:xfrm>
              <a:custGeom>
                <a:avLst/>
                <a:gdLst>
                  <a:gd name="T0" fmla="*/ 150 w 180"/>
                  <a:gd name="T1" fmla="*/ 120 h 120"/>
                  <a:gd name="T2" fmla="*/ 180 w 180"/>
                  <a:gd name="T3" fmla="*/ 0 h 120"/>
                  <a:gd name="T4" fmla="*/ 30 w 180"/>
                  <a:gd name="T5" fmla="*/ 120 h 120"/>
                  <a:gd name="T6" fmla="*/ 150 w 180"/>
                  <a:gd name="T7" fmla="*/ 120 h 120"/>
                  <a:gd name="T8" fmla="*/ 0 w 180"/>
                  <a:gd name="T9" fmla="*/ 0 h 120"/>
                </a:gdLst>
                <a:ahLst/>
                <a:cxnLst>
                  <a:cxn ang="0">
                    <a:pos x="T0" y="T1"/>
                  </a:cxn>
                  <a:cxn ang="0">
                    <a:pos x="T2" y="T3"/>
                  </a:cxn>
                  <a:cxn ang="0">
                    <a:pos x="T4" y="T5"/>
                  </a:cxn>
                  <a:cxn ang="0">
                    <a:pos x="T6" y="T7"/>
                  </a:cxn>
                  <a:cxn ang="0">
                    <a:pos x="T8" y="T9"/>
                  </a:cxn>
                </a:cxnLst>
                <a:rect l="0" t="0" r="r" b="b"/>
                <a:pathLst>
                  <a:path w="180" h="120">
                    <a:moveTo>
                      <a:pt x="150" y="120"/>
                    </a:moveTo>
                    <a:lnTo>
                      <a:pt x="180" y="0"/>
                    </a:lnTo>
                    <a:lnTo>
                      <a:pt x="30" y="120"/>
                    </a:lnTo>
                    <a:lnTo>
                      <a:pt x="15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1" name="Freeform 2418">
                <a:extLst>
                  <a:ext uri="{FF2B5EF4-FFF2-40B4-BE49-F238E27FC236}">
                    <a16:creationId xmlns:a16="http://schemas.microsoft.com/office/drawing/2014/main" id="{963C1802-7EF2-4B87-8C9C-A00E4401231D}"/>
                  </a:ext>
                </a:extLst>
              </p:cNvPr>
              <p:cNvSpPr>
                <a:spLocks/>
              </p:cNvSpPr>
              <p:nvPr/>
            </p:nvSpPr>
            <p:spPr bwMode="auto">
              <a:xfrm>
                <a:off x="3105" y="1530"/>
                <a:ext cx="240" cy="360"/>
              </a:xfrm>
              <a:custGeom>
                <a:avLst/>
                <a:gdLst>
                  <a:gd name="T0" fmla="*/ 120 w 240"/>
                  <a:gd name="T1" fmla="*/ 240 h 360"/>
                  <a:gd name="T2" fmla="*/ 90 w 240"/>
                  <a:gd name="T3" fmla="*/ 120 h 360"/>
                  <a:gd name="T4" fmla="*/ 90 w 240"/>
                  <a:gd name="T5" fmla="*/ 0 h 360"/>
                  <a:gd name="T6" fmla="*/ 210 w 240"/>
                  <a:gd name="T7" fmla="*/ 30 h 360"/>
                  <a:gd name="T8" fmla="*/ 240 w 240"/>
                  <a:gd name="T9" fmla="*/ 180 h 360"/>
                  <a:gd name="T10" fmla="*/ 120 w 240"/>
                  <a:gd name="T11" fmla="*/ 240 h 360"/>
                  <a:gd name="T12" fmla="*/ 210 w 240"/>
                  <a:gd name="T13" fmla="*/ 330 h 360"/>
                  <a:gd name="T14" fmla="*/ 90 w 240"/>
                  <a:gd name="T15" fmla="*/ 360 h 360"/>
                  <a:gd name="T16" fmla="*/ 0 w 240"/>
                  <a:gd name="T17"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360">
                    <a:moveTo>
                      <a:pt x="120" y="240"/>
                    </a:moveTo>
                    <a:lnTo>
                      <a:pt x="90" y="120"/>
                    </a:lnTo>
                    <a:lnTo>
                      <a:pt x="90" y="0"/>
                    </a:lnTo>
                    <a:lnTo>
                      <a:pt x="210" y="30"/>
                    </a:lnTo>
                    <a:lnTo>
                      <a:pt x="240" y="180"/>
                    </a:lnTo>
                    <a:lnTo>
                      <a:pt x="120" y="240"/>
                    </a:lnTo>
                    <a:lnTo>
                      <a:pt x="210" y="330"/>
                    </a:lnTo>
                    <a:lnTo>
                      <a:pt x="90" y="36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2" name="Freeform 2419">
                <a:extLst>
                  <a:ext uri="{FF2B5EF4-FFF2-40B4-BE49-F238E27FC236}">
                    <a16:creationId xmlns:a16="http://schemas.microsoft.com/office/drawing/2014/main" id="{D990D426-4EE3-478F-AD01-987806F4AFE3}"/>
                  </a:ext>
                </a:extLst>
              </p:cNvPr>
              <p:cNvSpPr>
                <a:spLocks/>
              </p:cNvSpPr>
              <p:nvPr/>
            </p:nvSpPr>
            <p:spPr bwMode="auto">
              <a:xfrm>
                <a:off x="3105" y="1590"/>
                <a:ext cx="90" cy="120"/>
              </a:xfrm>
              <a:custGeom>
                <a:avLst/>
                <a:gdLst>
                  <a:gd name="T0" fmla="*/ 0 w 90"/>
                  <a:gd name="T1" fmla="*/ 120 h 120"/>
                  <a:gd name="T2" fmla="*/ 90 w 90"/>
                  <a:gd name="T3" fmla="*/ 60 h 120"/>
                  <a:gd name="T4" fmla="*/ 0 w 90"/>
                  <a:gd name="T5" fmla="*/ 0 h 120"/>
                </a:gdLst>
                <a:ahLst/>
                <a:cxnLst>
                  <a:cxn ang="0">
                    <a:pos x="T0" y="T1"/>
                  </a:cxn>
                  <a:cxn ang="0">
                    <a:pos x="T2" y="T3"/>
                  </a:cxn>
                  <a:cxn ang="0">
                    <a:pos x="T4" y="T5"/>
                  </a:cxn>
                </a:cxnLst>
                <a:rect l="0" t="0" r="r" b="b"/>
                <a:pathLst>
                  <a:path w="90" h="120">
                    <a:moveTo>
                      <a:pt x="0" y="120"/>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3" name="Line 2420">
                <a:extLst>
                  <a:ext uri="{FF2B5EF4-FFF2-40B4-BE49-F238E27FC236}">
                    <a16:creationId xmlns:a16="http://schemas.microsoft.com/office/drawing/2014/main" id="{2A0FDE3E-2AEF-40C0-ACCE-7972729BDE44}"/>
                  </a:ext>
                </a:extLst>
              </p:cNvPr>
              <p:cNvSpPr>
                <a:spLocks noChangeShapeType="1"/>
              </p:cNvSpPr>
              <p:nvPr/>
            </p:nvSpPr>
            <p:spPr bwMode="auto">
              <a:xfrm>
                <a:off x="2595" y="15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4" name="Freeform 2421">
                <a:extLst>
                  <a:ext uri="{FF2B5EF4-FFF2-40B4-BE49-F238E27FC236}">
                    <a16:creationId xmlns:a16="http://schemas.microsoft.com/office/drawing/2014/main" id="{8900C472-FE2C-46E3-AB5C-0CB86E8745EA}"/>
                  </a:ext>
                </a:extLst>
              </p:cNvPr>
              <p:cNvSpPr>
                <a:spLocks/>
              </p:cNvSpPr>
              <p:nvPr/>
            </p:nvSpPr>
            <p:spPr bwMode="auto">
              <a:xfrm>
                <a:off x="2715" y="1230"/>
                <a:ext cx="450" cy="180"/>
              </a:xfrm>
              <a:custGeom>
                <a:avLst/>
                <a:gdLst>
                  <a:gd name="T0" fmla="*/ 450 w 450"/>
                  <a:gd name="T1" fmla="*/ 180 h 180"/>
                  <a:gd name="T2" fmla="*/ 450 w 450"/>
                  <a:gd name="T3" fmla="*/ 60 h 180"/>
                  <a:gd name="T4" fmla="*/ 330 w 450"/>
                  <a:gd name="T5" fmla="*/ 120 h 180"/>
                  <a:gd name="T6" fmla="*/ 210 w 450"/>
                  <a:gd name="T7" fmla="*/ 30 h 180"/>
                  <a:gd name="T8" fmla="*/ 90 w 450"/>
                  <a:gd name="T9" fmla="*/ 0 h 180"/>
                  <a:gd name="T10" fmla="*/ 150 w 450"/>
                  <a:gd name="T11" fmla="*/ 90 h 180"/>
                  <a:gd name="T12" fmla="*/ 0 w 450"/>
                  <a:gd name="T13" fmla="*/ 60 h 180"/>
                </a:gdLst>
                <a:ahLst/>
                <a:cxnLst>
                  <a:cxn ang="0">
                    <a:pos x="T0" y="T1"/>
                  </a:cxn>
                  <a:cxn ang="0">
                    <a:pos x="T2" y="T3"/>
                  </a:cxn>
                  <a:cxn ang="0">
                    <a:pos x="T4" y="T5"/>
                  </a:cxn>
                  <a:cxn ang="0">
                    <a:pos x="T6" y="T7"/>
                  </a:cxn>
                  <a:cxn ang="0">
                    <a:pos x="T8" y="T9"/>
                  </a:cxn>
                  <a:cxn ang="0">
                    <a:pos x="T10" y="T11"/>
                  </a:cxn>
                  <a:cxn ang="0">
                    <a:pos x="T12" y="T13"/>
                  </a:cxn>
                </a:cxnLst>
                <a:rect l="0" t="0" r="r" b="b"/>
                <a:pathLst>
                  <a:path w="450" h="180">
                    <a:moveTo>
                      <a:pt x="450" y="180"/>
                    </a:moveTo>
                    <a:lnTo>
                      <a:pt x="450" y="60"/>
                    </a:lnTo>
                    <a:lnTo>
                      <a:pt x="330" y="120"/>
                    </a:lnTo>
                    <a:lnTo>
                      <a:pt x="210" y="30"/>
                    </a:lnTo>
                    <a:lnTo>
                      <a:pt x="90" y="0"/>
                    </a:lnTo>
                    <a:lnTo>
                      <a:pt x="150" y="9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5" name="Freeform 2422">
                <a:extLst>
                  <a:ext uri="{FF2B5EF4-FFF2-40B4-BE49-F238E27FC236}">
                    <a16:creationId xmlns:a16="http://schemas.microsoft.com/office/drawing/2014/main" id="{6B848C5D-2B30-4EDE-883F-9D02AB97EA00}"/>
                  </a:ext>
                </a:extLst>
              </p:cNvPr>
              <p:cNvSpPr>
                <a:spLocks/>
              </p:cNvSpPr>
              <p:nvPr/>
            </p:nvSpPr>
            <p:spPr bwMode="auto">
              <a:xfrm>
                <a:off x="3105" y="1440"/>
                <a:ext cx="180" cy="150"/>
              </a:xfrm>
              <a:custGeom>
                <a:avLst/>
                <a:gdLst>
                  <a:gd name="T0" fmla="*/ 180 w 180"/>
                  <a:gd name="T1" fmla="*/ 0 h 150"/>
                  <a:gd name="T2" fmla="*/ 90 w 180"/>
                  <a:gd name="T3" fmla="*/ 90 h 150"/>
                  <a:gd name="T4" fmla="*/ 0 w 180"/>
                  <a:gd name="T5" fmla="*/ 150 h 150"/>
                </a:gdLst>
                <a:ahLst/>
                <a:cxnLst>
                  <a:cxn ang="0">
                    <a:pos x="T0" y="T1"/>
                  </a:cxn>
                  <a:cxn ang="0">
                    <a:pos x="T2" y="T3"/>
                  </a:cxn>
                  <a:cxn ang="0">
                    <a:pos x="T4" y="T5"/>
                  </a:cxn>
                </a:cxnLst>
                <a:rect l="0" t="0" r="r" b="b"/>
                <a:pathLst>
                  <a:path w="180" h="150">
                    <a:moveTo>
                      <a:pt x="180" y="0"/>
                    </a:moveTo>
                    <a:lnTo>
                      <a:pt x="90" y="9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6" name="Freeform 2423">
                <a:extLst>
                  <a:ext uri="{FF2B5EF4-FFF2-40B4-BE49-F238E27FC236}">
                    <a16:creationId xmlns:a16="http://schemas.microsoft.com/office/drawing/2014/main" id="{23361FB6-0A46-41B6-9D62-2AB87CFD88EC}"/>
                  </a:ext>
                </a:extLst>
              </p:cNvPr>
              <p:cNvSpPr>
                <a:spLocks/>
              </p:cNvSpPr>
              <p:nvPr/>
            </p:nvSpPr>
            <p:spPr bwMode="auto">
              <a:xfrm>
                <a:off x="2925" y="1260"/>
                <a:ext cx="390" cy="390"/>
              </a:xfrm>
              <a:custGeom>
                <a:avLst/>
                <a:gdLst>
                  <a:gd name="T0" fmla="*/ 270 w 390"/>
                  <a:gd name="T1" fmla="*/ 390 h 390"/>
                  <a:gd name="T2" fmla="*/ 390 w 390"/>
                  <a:gd name="T3" fmla="*/ 300 h 390"/>
                  <a:gd name="T4" fmla="*/ 360 w 390"/>
                  <a:gd name="T5" fmla="*/ 180 h 390"/>
                  <a:gd name="T6" fmla="*/ 240 w 390"/>
                  <a:gd name="T7" fmla="*/ 30 h 390"/>
                  <a:gd name="T8" fmla="*/ 0 w 390"/>
                  <a:gd name="T9" fmla="*/ 0 h 390"/>
                </a:gdLst>
                <a:ahLst/>
                <a:cxnLst>
                  <a:cxn ang="0">
                    <a:pos x="T0" y="T1"/>
                  </a:cxn>
                  <a:cxn ang="0">
                    <a:pos x="T2" y="T3"/>
                  </a:cxn>
                  <a:cxn ang="0">
                    <a:pos x="T4" y="T5"/>
                  </a:cxn>
                  <a:cxn ang="0">
                    <a:pos x="T6" y="T7"/>
                  </a:cxn>
                  <a:cxn ang="0">
                    <a:pos x="T8" y="T9"/>
                  </a:cxn>
                </a:cxnLst>
                <a:rect l="0" t="0" r="r" b="b"/>
                <a:pathLst>
                  <a:path w="390" h="390">
                    <a:moveTo>
                      <a:pt x="270" y="390"/>
                    </a:moveTo>
                    <a:lnTo>
                      <a:pt x="390" y="300"/>
                    </a:lnTo>
                    <a:lnTo>
                      <a:pt x="360" y="180"/>
                    </a:lnTo>
                    <a:lnTo>
                      <a:pt x="24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7" name="Freeform 2424">
                <a:extLst>
                  <a:ext uri="{FF2B5EF4-FFF2-40B4-BE49-F238E27FC236}">
                    <a16:creationId xmlns:a16="http://schemas.microsoft.com/office/drawing/2014/main" id="{52D69853-018A-46AC-8C99-0A1135244B32}"/>
                  </a:ext>
                </a:extLst>
              </p:cNvPr>
              <p:cNvSpPr>
                <a:spLocks/>
              </p:cNvSpPr>
              <p:nvPr/>
            </p:nvSpPr>
            <p:spPr bwMode="auto">
              <a:xfrm>
                <a:off x="2445" y="1230"/>
                <a:ext cx="360" cy="210"/>
              </a:xfrm>
              <a:custGeom>
                <a:avLst/>
                <a:gdLst>
                  <a:gd name="T0" fmla="*/ 90 w 360"/>
                  <a:gd name="T1" fmla="*/ 60 h 210"/>
                  <a:gd name="T2" fmla="*/ 0 w 360"/>
                  <a:gd name="T3" fmla="*/ 180 h 210"/>
                  <a:gd name="T4" fmla="*/ 90 w 360"/>
                  <a:gd name="T5" fmla="*/ 210 h 210"/>
                  <a:gd name="T6" fmla="*/ 180 w 360"/>
                  <a:gd name="T7" fmla="*/ 180 h 210"/>
                  <a:gd name="T8" fmla="*/ 90 w 360"/>
                  <a:gd name="T9" fmla="*/ 60 h 210"/>
                  <a:gd name="T10" fmla="*/ 270 w 360"/>
                  <a:gd name="T11" fmla="*/ 60 h 210"/>
                  <a:gd name="T12" fmla="*/ 360 w 36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60" h="210">
                    <a:moveTo>
                      <a:pt x="90" y="60"/>
                    </a:moveTo>
                    <a:lnTo>
                      <a:pt x="0" y="180"/>
                    </a:lnTo>
                    <a:lnTo>
                      <a:pt x="90" y="210"/>
                    </a:lnTo>
                    <a:lnTo>
                      <a:pt x="180" y="180"/>
                    </a:lnTo>
                    <a:lnTo>
                      <a:pt x="90" y="60"/>
                    </a:lnTo>
                    <a:lnTo>
                      <a:pt x="270" y="60"/>
                    </a:lnTo>
                    <a:lnTo>
                      <a:pt x="3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8" name="Line 2425">
                <a:extLst>
                  <a:ext uri="{FF2B5EF4-FFF2-40B4-BE49-F238E27FC236}">
                    <a16:creationId xmlns:a16="http://schemas.microsoft.com/office/drawing/2014/main" id="{61DD1E1F-4BEB-43AE-9AA3-E4D4289866FA}"/>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59" name="Line 2426">
                <a:extLst>
                  <a:ext uri="{FF2B5EF4-FFF2-40B4-BE49-F238E27FC236}">
                    <a16:creationId xmlns:a16="http://schemas.microsoft.com/office/drawing/2014/main" id="{E056AC33-AE45-436D-B748-5B7E629176B9}"/>
                  </a:ext>
                </a:extLst>
              </p:cNvPr>
              <p:cNvSpPr>
                <a:spLocks noChangeShapeType="1"/>
              </p:cNvSpPr>
              <p:nvPr/>
            </p:nvSpPr>
            <p:spPr bwMode="auto">
              <a:xfrm flipH="1">
                <a:off x="3105" y="141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0" name="Freeform 2427">
                <a:extLst>
                  <a:ext uri="{FF2B5EF4-FFF2-40B4-BE49-F238E27FC236}">
                    <a16:creationId xmlns:a16="http://schemas.microsoft.com/office/drawing/2014/main" id="{7D72AE58-4B17-46C1-9587-593F79696D5D}"/>
                  </a:ext>
                </a:extLst>
              </p:cNvPr>
              <p:cNvSpPr>
                <a:spLocks/>
              </p:cNvSpPr>
              <p:nvPr/>
            </p:nvSpPr>
            <p:spPr bwMode="auto">
              <a:xfrm>
                <a:off x="2505" y="2490"/>
                <a:ext cx="450" cy="300"/>
              </a:xfrm>
              <a:custGeom>
                <a:avLst/>
                <a:gdLst>
                  <a:gd name="T0" fmla="*/ 180 w 450"/>
                  <a:gd name="T1" fmla="*/ 300 h 300"/>
                  <a:gd name="T2" fmla="*/ 300 w 450"/>
                  <a:gd name="T3" fmla="*/ 240 h 300"/>
                  <a:gd name="T4" fmla="*/ 450 w 450"/>
                  <a:gd name="T5" fmla="*/ 300 h 300"/>
                  <a:gd name="T6" fmla="*/ 360 w 450"/>
                  <a:gd name="T7" fmla="*/ 90 h 300"/>
                  <a:gd name="T8" fmla="*/ 240 w 450"/>
                  <a:gd name="T9" fmla="*/ 150 h 300"/>
                  <a:gd name="T10" fmla="*/ 0 w 450"/>
                  <a:gd name="T11" fmla="*/ 0 h 300"/>
                </a:gdLst>
                <a:ahLst/>
                <a:cxnLst>
                  <a:cxn ang="0">
                    <a:pos x="T0" y="T1"/>
                  </a:cxn>
                  <a:cxn ang="0">
                    <a:pos x="T2" y="T3"/>
                  </a:cxn>
                  <a:cxn ang="0">
                    <a:pos x="T4" y="T5"/>
                  </a:cxn>
                  <a:cxn ang="0">
                    <a:pos x="T6" y="T7"/>
                  </a:cxn>
                  <a:cxn ang="0">
                    <a:pos x="T8" y="T9"/>
                  </a:cxn>
                  <a:cxn ang="0">
                    <a:pos x="T10" y="T11"/>
                  </a:cxn>
                </a:cxnLst>
                <a:rect l="0" t="0" r="r" b="b"/>
                <a:pathLst>
                  <a:path w="450" h="300">
                    <a:moveTo>
                      <a:pt x="180" y="300"/>
                    </a:moveTo>
                    <a:lnTo>
                      <a:pt x="300" y="240"/>
                    </a:lnTo>
                    <a:lnTo>
                      <a:pt x="450" y="300"/>
                    </a:lnTo>
                    <a:lnTo>
                      <a:pt x="360" y="9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1" name="Line 2428">
                <a:extLst>
                  <a:ext uri="{FF2B5EF4-FFF2-40B4-BE49-F238E27FC236}">
                    <a16:creationId xmlns:a16="http://schemas.microsoft.com/office/drawing/2014/main" id="{720AFBF4-7413-4894-8113-C80FE5DA4025}"/>
                  </a:ext>
                </a:extLst>
              </p:cNvPr>
              <p:cNvSpPr>
                <a:spLocks noChangeShapeType="1"/>
              </p:cNvSpPr>
              <p:nvPr/>
            </p:nvSpPr>
            <p:spPr bwMode="auto">
              <a:xfrm flipV="1">
                <a:off x="2925" y="243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2" name="Freeform 2429">
                <a:extLst>
                  <a:ext uri="{FF2B5EF4-FFF2-40B4-BE49-F238E27FC236}">
                    <a16:creationId xmlns:a16="http://schemas.microsoft.com/office/drawing/2014/main" id="{D2BE3646-3B22-456F-A08D-B2D9D464675C}"/>
                  </a:ext>
                </a:extLst>
              </p:cNvPr>
              <p:cNvSpPr>
                <a:spLocks/>
              </p:cNvSpPr>
              <p:nvPr/>
            </p:nvSpPr>
            <p:spPr bwMode="auto">
              <a:xfrm>
                <a:off x="2835" y="2070"/>
                <a:ext cx="300" cy="240"/>
              </a:xfrm>
              <a:custGeom>
                <a:avLst/>
                <a:gdLst>
                  <a:gd name="T0" fmla="*/ 180 w 300"/>
                  <a:gd name="T1" fmla="*/ 0 h 240"/>
                  <a:gd name="T2" fmla="*/ 0 w 300"/>
                  <a:gd name="T3" fmla="*/ 0 h 240"/>
                  <a:gd name="T4" fmla="*/ 60 w 300"/>
                  <a:gd name="T5" fmla="*/ 120 h 240"/>
                  <a:gd name="T6" fmla="*/ 180 w 300"/>
                  <a:gd name="T7" fmla="*/ 0 h 240"/>
                  <a:gd name="T8" fmla="*/ 300 w 300"/>
                  <a:gd name="T9" fmla="*/ 150 h 240"/>
                  <a:gd name="T10" fmla="*/ 150 w 300"/>
                  <a:gd name="T11" fmla="*/ 240 h 240"/>
                </a:gdLst>
                <a:ahLst/>
                <a:cxnLst>
                  <a:cxn ang="0">
                    <a:pos x="T0" y="T1"/>
                  </a:cxn>
                  <a:cxn ang="0">
                    <a:pos x="T2" y="T3"/>
                  </a:cxn>
                  <a:cxn ang="0">
                    <a:pos x="T4" y="T5"/>
                  </a:cxn>
                  <a:cxn ang="0">
                    <a:pos x="T6" y="T7"/>
                  </a:cxn>
                  <a:cxn ang="0">
                    <a:pos x="T8" y="T9"/>
                  </a:cxn>
                  <a:cxn ang="0">
                    <a:pos x="T10" y="T11"/>
                  </a:cxn>
                </a:cxnLst>
                <a:rect l="0" t="0" r="r" b="b"/>
                <a:pathLst>
                  <a:path w="300" h="240">
                    <a:moveTo>
                      <a:pt x="180" y="0"/>
                    </a:moveTo>
                    <a:lnTo>
                      <a:pt x="0" y="0"/>
                    </a:lnTo>
                    <a:lnTo>
                      <a:pt x="60" y="120"/>
                    </a:lnTo>
                    <a:lnTo>
                      <a:pt x="180" y="0"/>
                    </a:lnTo>
                    <a:lnTo>
                      <a:pt x="300" y="15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3" name="Line 2430">
                <a:extLst>
                  <a:ext uri="{FF2B5EF4-FFF2-40B4-BE49-F238E27FC236}">
                    <a16:creationId xmlns:a16="http://schemas.microsoft.com/office/drawing/2014/main" id="{826996C7-C2E2-4871-80EE-DACDDB61285A}"/>
                  </a:ext>
                </a:extLst>
              </p:cNvPr>
              <p:cNvSpPr>
                <a:spLocks noChangeShapeType="1"/>
              </p:cNvSpPr>
              <p:nvPr/>
            </p:nvSpPr>
            <p:spPr bwMode="auto">
              <a:xfrm>
                <a:off x="3135" y="204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4" name="Freeform 2431">
                <a:extLst>
                  <a:ext uri="{FF2B5EF4-FFF2-40B4-BE49-F238E27FC236}">
                    <a16:creationId xmlns:a16="http://schemas.microsoft.com/office/drawing/2014/main" id="{308A5513-9944-4405-9B9C-9E4AF31DEDCB}"/>
                  </a:ext>
                </a:extLst>
              </p:cNvPr>
              <p:cNvSpPr>
                <a:spLocks/>
              </p:cNvSpPr>
              <p:nvPr/>
            </p:nvSpPr>
            <p:spPr bwMode="auto">
              <a:xfrm>
                <a:off x="2655" y="2310"/>
                <a:ext cx="690" cy="420"/>
              </a:xfrm>
              <a:custGeom>
                <a:avLst/>
                <a:gdLst>
                  <a:gd name="T0" fmla="*/ 120 w 690"/>
                  <a:gd name="T1" fmla="*/ 150 h 420"/>
                  <a:gd name="T2" fmla="*/ 330 w 690"/>
                  <a:gd name="T3" fmla="*/ 0 h 420"/>
                  <a:gd name="T4" fmla="*/ 180 w 690"/>
                  <a:gd name="T5" fmla="*/ 30 h 420"/>
                  <a:gd name="T6" fmla="*/ 270 w 690"/>
                  <a:gd name="T7" fmla="*/ 180 h 420"/>
                  <a:gd name="T8" fmla="*/ 0 w 690"/>
                  <a:gd name="T9" fmla="*/ 210 h 420"/>
                  <a:gd name="T10" fmla="*/ 210 w 690"/>
                  <a:gd name="T11" fmla="*/ 270 h 420"/>
                  <a:gd name="T12" fmla="*/ 330 w 690"/>
                  <a:gd name="T13" fmla="*/ 330 h 420"/>
                  <a:gd name="T14" fmla="*/ 420 w 690"/>
                  <a:gd name="T15" fmla="*/ 420 h 420"/>
                  <a:gd name="T16" fmla="*/ 450 w 690"/>
                  <a:gd name="T17" fmla="*/ 240 h 420"/>
                  <a:gd name="T18" fmla="*/ 570 w 690"/>
                  <a:gd name="T19" fmla="*/ 420 h 420"/>
                  <a:gd name="T20" fmla="*/ 690 w 690"/>
                  <a:gd name="T21" fmla="*/ 39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420">
                    <a:moveTo>
                      <a:pt x="120" y="150"/>
                    </a:moveTo>
                    <a:lnTo>
                      <a:pt x="330" y="0"/>
                    </a:lnTo>
                    <a:lnTo>
                      <a:pt x="180" y="30"/>
                    </a:lnTo>
                    <a:lnTo>
                      <a:pt x="270" y="180"/>
                    </a:lnTo>
                    <a:lnTo>
                      <a:pt x="0" y="210"/>
                    </a:lnTo>
                    <a:lnTo>
                      <a:pt x="210" y="270"/>
                    </a:lnTo>
                    <a:lnTo>
                      <a:pt x="330" y="330"/>
                    </a:lnTo>
                    <a:lnTo>
                      <a:pt x="420" y="420"/>
                    </a:lnTo>
                    <a:lnTo>
                      <a:pt x="450" y="240"/>
                    </a:lnTo>
                    <a:lnTo>
                      <a:pt x="570" y="420"/>
                    </a:lnTo>
                    <a:lnTo>
                      <a:pt x="690" y="3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5" name="Freeform 2432">
                <a:extLst>
                  <a:ext uri="{FF2B5EF4-FFF2-40B4-BE49-F238E27FC236}">
                    <a16:creationId xmlns:a16="http://schemas.microsoft.com/office/drawing/2014/main" id="{C9CE68A9-14F9-40B5-99D9-C164F1616E77}"/>
                  </a:ext>
                </a:extLst>
              </p:cNvPr>
              <p:cNvSpPr>
                <a:spLocks/>
              </p:cNvSpPr>
              <p:nvPr/>
            </p:nvSpPr>
            <p:spPr bwMode="auto">
              <a:xfrm>
                <a:off x="3465" y="249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6" name="Freeform 2433">
                <a:extLst>
                  <a:ext uri="{FF2B5EF4-FFF2-40B4-BE49-F238E27FC236}">
                    <a16:creationId xmlns:a16="http://schemas.microsoft.com/office/drawing/2014/main" id="{B1E0C7D8-684E-42C2-8507-2ABA06EDD944}"/>
                  </a:ext>
                </a:extLst>
              </p:cNvPr>
              <p:cNvSpPr>
                <a:spLocks/>
              </p:cNvSpPr>
              <p:nvPr/>
            </p:nvSpPr>
            <p:spPr bwMode="auto">
              <a:xfrm>
                <a:off x="3615" y="231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7" name="Line 2434">
                <a:extLst>
                  <a:ext uri="{FF2B5EF4-FFF2-40B4-BE49-F238E27FC236}">
                    <a16:creationId xmlns:a16="http://schemas.microsoft.com/office/drawing/2014/main" id="{C458294E-0C6F-47B8-A85E-1CE05DD3E34E}"/>
                  </a:ext>
                </a:extLst>
              </p:cNvPr>
              <p:cNvSpPr>
                <a:spLocks noChangeShapeType="1"/>
              </p:cNvSpPr>
              <p:nvPr/>
            </p:nvSpPr>
            <p:spPr bwMode="auto">
              <a:xfrm>
                <a:off x="3944" y="231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8" name="Freeform 2435">
                <a:extLst>
                  <a:ext uri="{FF2B5EF4-FFF2-40B4-BE49-F238E27FC236}">
                    <a16:creationId xmlns:a16="http://schemas.microsoft.com/office/drawing/2014/main" id="{6644AD06-D1B8-435E-B8F6-A978327BB27A}"/>
                  </a:ext>
                </a:extLst>
              </p:cNvPr>
              <p:cNvSpPr>
                <a:spLocks/>
              </p:cNvSpPr>
              <p:nvPr/>
            </p:nvSpPr>
            <p:spPr bwMode="auto">
              <a:xfrm>
                <a:off x="3735" y="216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69" name="Freeform 2436">
                <a:extLst>
                  <a:ext uri="{FF2B5EF4-FFF2-40B4-BE49-F238E27FC236}">
                    <a16:creationId xmlns:a16="http://schemas.microsoft.com/office/drawing/2014/main" id="{E5212965-709D-46A5-8F1B-09C8C04EA8CD}"/>
                  </a:ext>
                </a:extLst>
              </p:cNvPr>
              <p:cNvSpPr>
                <a:spLocks/>
              </p:cNvSpPr>
              <p:nvPr/>
            </p:nvSpPr>
            <p:spPr bwMode="auto">
              <a:xfrm>
                <a:off x="1786" y="216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0" name="Freeform 2437">
                <a:extLst>
                  <a:ext uri="{FF2B5EF4-FFF2-40B4-BE49-F238E27FC236}">
                    <a16:creationId xmlns:a16="http://schemas.microsoft.com/office/drawing/2014/main" id="{18B17551-35D8-4F35-AC15-F30E006784DB}"/>
                  </a:ext>
                </a:extLst>
              </p:cNvPr>
              <p:cNvSpPr>
                <a:spLocks/>
              </p:cNvSpPr>
              <p:nvPr/>
            </p:nvSpPr>
            <p:spPr bwMode="auto">
              <a:xfrm>
                <a:off x="2056" y="2100"/>
                <a:ext cx="719" cy="690"/>
              </a:xfrm>
              <a:custGeom>
                <a:avLst/>
                <a:gdLst>
                  <a:gd name="T0" fmla="*/ 119 w 719"/>
                  <a:gd name="T1" fmla="*/ 120 h 690"/>
                  <a:gd name="T2" fmla="*/ 0 w 719"/>
                  <a:gd name="T3" fmla="*/ 30 h 690"/>
                  <a:gd name="T4" fmla="*/ 209 w 719"/>
                  <a:gd name="T5" fmla="*/ 0 h 690"/>
                  <a:gd name="T6" fmla="*/ 299 w 719"/>
                  <a:gd name="T7" fmla="*/ 120 h 690"/>
                  <a:gd name="T8" fmla="*/ 389 w 719"/>
                  <a:gd name="T9" fmla="*/ 0 h 690"/>
                  <a:gd name="T10" fmla="*/ 209 w 719"/>
                  <a:gd name="T11" fmla="*/ 0 h 690"/>
                  <a:gd name="T12" fmla="*/ 209 w 719"/>
                  <a:gd name="T13" fmla="*/ 151 h 690"/>
                  <a:gd name="T14" fmla="*/ 119 w 719"/>
                  <a:gd name="T15" fmla="*/ 120 h 690"/>
                  <a:gd name="T16" fmla="*/ 89 w 719"/>
                  <a:gd name="T17" fmla="*/ 210 h 690"/>
                  <a:gd name="T18" fmla="*/ 89 w 719"/>
                  <a:gd name="T19" fmla="*/ 450 h 690"/>
                  <a:gd name="T20" fmla="*/ 209 w 719"/>
                  <a:gd name="T21" fmla="*/ 360 h 690"/>
                  <a:gd name="T22" fmla="*/ 298 w 719"/>
                  <a:gd name="T23" fmla="*/ 452 h 690"/>
                  <a:gd name="T24" fmla="*/ 269 w 719"/>
                  <a:gd name="T25" fmla="*/ 270 h 690"/>
                  <a:gd name="T26" fmla="*/ 359 w 719"/>
                  <a:gd name="T27" fmla="*/ 210 h 690"/>
                  <a:gd name="T28" fmla="*/ 479 w 719"/>
                  <a:gd name="T29" fmla="*/ 270 h 690"/>
                  <a:gd name="T30" fmla="*/ 359 w 719"/>
                  <a:gd name="T31" fmla="*/ 330 h 690"/>
                  <a:gd name="T32" fmla="*/ 449 w 719"/>
                  <a:gd name="T33" fmla="*/ 390 h 690"/>
                  <a:gd name="T34" fmla="*/ 719 w 719"/>
                  <a:gd name="T35" fmla="*/ 360 h 690"/>
                  <a:gd name="T36" fmla="*/ 599 w 719"/>
                  <a:gd name="T37" fmla="*/ 420 h 690"/>
                  <a:gd name="T38" fmla="*/ 629 w 719"/>
                  <a:gd name="T39" fmla="*/ 690 h 690"/>
                  <a:gd name="T40" fmla="*/ 419 w 719"/>
                  <a:gd name="T41" fmla="*/ 51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69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29" y="69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1" name="Freeform 2438">
                <a:extLst>
                  <a:ext uri="{FF2B5EF4-FFF2-40B4-BE49-F238E27FC236}">
                    <a16:creationId xmlns:a16="http://schemas.microsoft.com/office/drawing/2014/main" id="{45064F33-0218-40D2-BE42-05BE179DB4AF}"/>
                  </a:ext>
                </a:extLst>
              </p:cNvPr>
              <p:cNvSpPr>
                <a:spLocks/>
              </p:cNvSpPr>
              <p:nvPr/>
            </p:nvSpPr>
            <p:spPr bwMode="auto">
              <a:xfrm>
                <a:off x="1786" y="219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2" name="Freeform 2439">
                <a:extLst>
                  <a:ext uri="{FF2B5EF4-FFF2-40B4-BE49-F238E27FC236}">
                    <a16:creationId xmlns:a16="http://schemas.microsoft.com/office/drawing/2014/main" id="{4E80D497-4D5E-46B8-9C1B-D69A2ECA231A}"/>
                  </a:ext>
                </a:extLst>
              </p:cNvPr>
              <p:cNvSpPr>
                <a:spLocks/>
              </p:cNvSpPr>
              <p:nvPr/>
            </p:nvSpPr>
            <p:spPr bwMode="auto">
              <a:xfrm>
                <a:off x="1906" y="252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3" name="Freeform 2440">
                <a:extLst>
                  <a:ext uri="{FF2B5EF4-FFF2-40B4-BE49-F238E27FC236}">
                    <a16:creationId xmlns:a16="http://schemas.microsoft.com/office/drawing/2014/main" id="{A9A1CB0F-DAD7-487B-8275-3AF00CC20ABF}"/>
                  </a:ext>
                </a:extLst>
              </p:cNvPr>
              <p:cNvSpPr>
                <a:spLocks/>
              </p:cNvSpPr>
              <p:nvPr/>
            </p:nvSpPr>
            <p:spPr bwMode="auto">
              <a:xfrm>
                <a:off x="2056" y="540"/>
                <a:ext cx="899" cy="750"/>
              </a:xfrm>
              <a:custGeom>
                <a:avLst/>
                <a:gdLst>
                  <a:gd name="T0" fmla="*/ 299 w 899"/>
                  <a:gd name="T1" fmla="*/ 630 h 750"/>
                  <a:gd name="T2" fmla="*/ 268 w 899"/>
                  <a:gd name="T3" fmla="*/ 482 h 750"/>
                  <a:gd name="T4" fmla="*/ 179 w 899"/>
                  <a:gd name="T5" fmla="*/ 570 h 750"/>
                  <a:gd name="T6" fmla="*/ 59 w 899"/>
                  <a:gd name="T7" fmla="*/ 480 h 750"/>
                  <a:gd name="T8" fmla="*/ 0 w 899"/>
                  <a:gd name="T9" fmla="*/ 360 h 750"/>
                  <a:gd name="T10" fmla="*/ 59 w 899"/>
                  <a:gd name="T11" fmla="*/ 240 h 750"/>
                  <a:gd name="T12" fmla="*/ 179 w 899"/>
                  <a:gd name="T13" fmla="*/ 390 h 750"/>
                  <a:gd name="T14" fmla="*/ 239 w 899"/>
                  <a:gd name="T15" fmla="*/ 300 h 750"/>
                  <a:gd name="T16" fmla="*/ 329 w 899"/>
                  <a:gd name="T17" fmla="*/ 360 h 750"/>
                  <a:gd name="T18" fmla="*/ 329 w 899"/>
                  <a:gd name="T19" fmla="*/ 240 h 750"/>
                  <a:gd name="T20" fmla="*/ 179 w 899"/>
                  <a:gd name="T21" fmla="*/ 181 h 750"/>
                  <a:gd name="T22" fmla="*/ 269 w 899"/>
                  <a:gd name="T23" fmla="*/ 150 h 750"/>
                  <a:gd name="T24" fmla="*/ 389 w 899"/>
                  <a:gd name="T25" fmla="*/ 120 h 750"/>
                  <a:gd name="T26" fmla="*/ 449 w 899"/>
                  <a:gd name="T27" fmla="*/ 300 h 750"/>
                  <a:gd name="T28" fmla="*/ 539 w 899"/>
                  <a:gd name="T29" fmla="*/ 180 h 750"/>
                  <a:gd name="T30" fmla="*/ 509 w 899"/>
                  <a:gd name="T31" fmla="*/ 60 h 750"/>
                  <a:gd name="T32" fmla="*/ 359 w 899"/>
                  <a:gd name="T33" fmla="*/ 30 h 750"/>
                  <a:gd name="T34" fmla="*/ 569 w 899"/>
                  <a:gd name="T35" fmla="*/ 0 h 750"/>
                  <a:gd name="T36" fmla="*/ 689 w 899"/>
                  <a:gd name="T37" fmla="*/ 90 h 750"/>
                  <a:gd name="T38" fmla="*/ 659 w 899"/>
                  <a:gd name="T39" fmla="*/ 240 h 750"/>
                  <a:gd name="T40" fmla="*/ 749 w 899"/>
                  <a:gd name="T41" fmla="*/ 270 h 750"/>
                  <a:gd name="T42" fmla="*/ 809 w 899"/>
                  <a:gd name="T43" fmla="*/ 120 h 750"/>
                  <a:gd name="T44" fmla="*/ 899 w 899"/>
                  <a:gd name="T45" fmla="*/ 240 h 750"/>
                  <a:gd name="T46" fmla="*/ 839 w 899"/>
                  <a:gd name="T47" fmla="*/ 420 h 750"/>
                  <a:gd name="T48" fmla="*/ 779 w 899"/>
                  <a:gd name="T49" fmla="*/ 510 h 750"/>
                  <a:gd name="T50" fmla="*/ 689 w 899"/>
                  <a:gd name="T51" fmla="*/ 390 h 750"/>
                  <a:gd name="T52" fmla="*/ 539 w 899"/>
                  <a:gd name="T53" fmla="*/ 330 h 750"/>
                  <a:gd name="T54" fmla="*/ 569 w 899"/>
                  <a:gd name="T55" fmla="*/ 450 h 750"/>
                  <a:gd name="T56" fmla="*/ 419 w 899"/>
                  <a:gd name="T57" fmla="*/ 420 h 750"/>
                  <a:gd name="T58" fmla="*/ 389 w 899"/>
                  <a:gd name="T59" fmla="*/ 540 h 750"/>
                  <a:gd name="T60" fmla="*/ 509 w 899"/>
                  <a:gd name="T61" fmla="*/ 570 h 750"/>
                  <a:gd name="T62" fmla="*/ 659 w 899"/>
                  <a:gd name="T63" fmla="*/ 570 h 750"/>
                  <a:gd name="T64" fmla="*/ 659 w 899"/>
                  <a:gd name="T65"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9" h="750">
                    <a:moveTo>
                      <a:pt x="299" y="630"/>
                    </a:moveTo>
                    <a:lnTo>
                      <a:pt x="268" y="482"/>
                    </a:lnTo>
                    <a:lnTo>
                      <a:pt x="179" y="570"/>
                    </a:lnTo>
                    <a:lnTo>
                      <a:pt x="59" y="480"/>
                    </a:lnTo>
                    <a:lnTo>
                      <a:pt x="0" y="360"/>
                    </a:lnTo>
                    <a:lnTo>
                      <a:pt x="59" y="240"/>
                    </a:ln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659" y="7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4" name="Line 2441">
                <a:extLst>
                  <a:ext uri="{FF2B5EF4-FFF2-40B4-BE49-F238E27FC236}">
                    <a16:creationId xmlns:a16="http://schemas.microsoft.com/office/drawing/2014/main" id="{03640C49-F2A4-44B0-A57A-21C4E8606735}"/>
                  </a:ext>
                </a:extLst>
              </p:cNvPr>
              <p:cNvSpPr>
                <a:spLocks noChangeShapeType="1"/>
              </p:cNvSpPr>
              <p:nvPr/>
            </p:nvSpPr>
            <p:spPr bwMode="auto">
              <a:xfrm flipH="1">
                <a:off x="2115" y="72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6" name="Freeform 2442">
                <a:extLst>
                  <a:ext uri="{FF2B5EF4-FFF2-40B4-BE49-F238E27FC236}">
                    <a16:creationId xmlns:a16="http://schemas.microsoft.com/office/drawing/2014/main" id="{C3963C4C-C617-4FF2-913F-232604043CC1}"/>
                  </a:ext>
                </a:extLst>
              </p:cNvPr>
              <p:cNvSpPr>
                <a:spLocks/>
              </p:cNvSpPr>
              <p:nvPr/>
            </p:nvSpPr>
            <p:spPr bwMode="auto">
              <a:xfrm>
                <a:off x="2324" y="90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7" name="Freeform 2443">
                <a:extLst>
                  <a:ext uri="{FF2B5EF4-FFF2-40B4-BE49-F238E27FC236}">
                    <a16:creationId xmlns:a16="http://schemas.microsoft.com/office/drawing/2014/main" id="{0F73AF91-2051-4D16-8547-93AE6C214A1C}"/>
                  </a:ext>
                </a:extLst>
              </p:cNvPr>
              <p:cNvSpPr>
                <a:spLocks/>
              </p:cNvSpPr>
              <p:nvPr/>
            </p:nvSpPr>
            <p:spPr bwMode="auto">
              <a:xfrm>
                <a:off x="238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8" name="Line 2444">
                <a:extLst>
                  <a:ext uri="{FF2B5EF4-FFF2-40B4-BE49-F238E27FC236}">
                    <a16:creationId xmlns:a16="http://schemas.microsoft.com/office/drawing/2014/main" id="{447D29F2-3715-4624-AB86-0C05FFEF5EDF}"/>
                  </a:ext>
                </a:extLst>
              </p:cNvPr>
              <p:cNvSpPr>
                <a:spLocks noChangeShapeType="1"/>
              </p:cNvSpPr>
              <p:nvPr/>
            </p:nvSpPr>
            <p:spPr bwMode="auto">
              <a:xfrm>
                <a:off x="244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79" name="Freeform 2445">
                <a:extLst>
                  <a:ext uri="{FF2B5EF4-FFF2-40B4-BE49-F238E27FC236}">
                    <a16:creationId xmlns:a16="http://schemas.microsoft.com/office/drawing/2014/main" id="{98F5F7F4-08D1-46A1-86F2-600BA3CC1494}"/>
                  </a:ext>
                </a:extLst>
              </p:cNvPr>
              <p:cNvSpPr>
                <a:spLocks/>
              </p:cNvSpPr>
              <p:nvPr/>
            </p:nvSpPr>
            <p:spPr bwMode="auto">
              <a:xfrm>
                <a:off x="1966" y="600"/>
                <a:ext cx="599" cy="630"/>
              </a:xfrm>
              <a:custGeom>
                <a:avLst/>
                <a:gdLst>
                  <a:gd name="T0" fmla="*/ 599 w 599"/>
                  <a:gd name="T1" fmla="*/ 510 h 630"/>
                  <a:gd name="T2" fmla="*/ 389 w 599"/>
                  <a:gd name="T3" fmla="*/ 570 h 630"/>
                  <a:gd name="T4" fmla="*/ 269 w 599"/>
                  <a:gd name="T5" fmla="*/ 510 h 630"/>
                  <a:gd name="T6" fmla="*/ 90 w 599"/>
                  <a:gd name="T7" fmla="*/ 540 h 630"/>
                  <a:gd name="T8" fmla="*/ 0 w 599"/>
                  <a:gd name="T9" fmla="*/ 390 h 630"/>
                  <a:gd name="T10" fmla="*/ 0 w 599"/>
                  <a:gd name="T11" fmla="*/ 630 h 630"/>
                  <a:gd name="T12" fmla="*/ 90 w 599"/>
                  <a:gd name="T13" fmla="*/ 300 h 630"/>
                  <a:gd name="T14" fmla="*/ 0 w 599"/>
                  <a:gd name="T15" fmla="*/ 210 h 630"/>
                  <a:gd name="T16" fmla="*/ 0 w 599"/>
                  <a:gd name="T17" fmla="*/ 60 h 630"/>
                  <a:gd name="T18" fmla="*/ 60 w 599"/>
                  <a:gd name="T19" fmla="*/ 0 h 630"/>
                  <a:gd name="T20" fmla="*/ 149 w 599"/>
                  <a:gd name="T21" fmla="*/ 180 h 630"/>
                  <a:gd name="T22" fmla="*/ 329 w 599"/>
                  <a:gd name="T23" fmla="*/ 240 h 630"/>
                  <a:gd name="T24" fmla="*/ 359 w 599"/>
                  <a:gd name="T25" fmla="*/ 9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9" h="630">
                    <a:moveTo>
                      <a:pt x="599" y="510"/>
                    </a:move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0" name="Freeform 2446">
                <a:extLst>
                  <a:ext uri="{FF2B5EF4-FFF2-40B4-BE49-F238E27FC236}">
                    <a16:creationId xmlns:a16="http://schemas.microsoft.com/office/drawing/2014/main" id="{1691309D-102F-40A1-B4EF-A2F2291370B5}"/>
                  </a:ext>
                </a:extLst>
              </p:cNvPr>
              <p:cNvSpPr>
                <a:spLocks/>
              </p:cNvSpPr>
              <p:nvPr/>
            </p:nvSpPr>
            <p:spPr bwMode="auto">
              <a:xfrm>
                <a:off x="3015" y="54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1" name="Freeform 2447">
                <a:extLst>
                  <a:ext uri="{FF2B5EF4-FFF2-40B4-BE49-F238E27FC236}">
                    <a16:creationId xmlns:a16="http://schemas.microsoft.com/office/drawing/2014/main" id="{173105E7-DF2C-4012-8AC8-3827E43EBD2C}"/>
                  </a:ext>
                </a:extLst>
              </p:cNvPr>
              <p:cNvSpPr>
                <a:spLocks/>
              </p:cNvSpPr>
              <p:nvPr/>
            </p:nvSpPr>
            <p:spPr bwMode="auto">
              <a:xfrm>
                <a:off x="3075" y="69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2" name="Freeform 2448">
                <a:extLst>
                  <a:ext uri="{FF2B5EF4-FFF2-40B4-BE49-F238E27FC236}">
                    <a16:creationId xmlns:a16="http://schemas.microsoft.com/office/drawing/2014/main" id="{C5CB3D77-8269-40C9-A3C6-B7DE7967F24E}"/>
                  </a:ext>
                </a:extLst>
              </p:cNvPr>
              <p:cNvSpPr>
                <a:spLocks/>
              </p:cNvSpPr>
              <p:nvPr/>
            </p:nvSpPr>
            <p:spPr bwMode="auto">
              <a:xfrm>
                <a:off x="2955" y="72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3" name="Freeform 2449">
                <a:extLst>
                  <a:ext uri="{FF2B5EF4-FFF2-40B4-BE49-F238E27FC236}">
                    <a16:creationId xmlns:a16="http://schemas.microsoft.com/office/drawing/2014/main" id="{E0F55459-D0BD-4BC9-A509-377BEE440FE3}"/>
                  </a:ext>
                </a:extLst>
              </p:cNvPr>
              <p:cNvSpPr>
                <a:spLocks/>
              </p:cNvSpPr>
              <p:nvPr/>
            </p:nvSpPr>
            <p:spPr bwMode="auto">
              <a:xfrm>
                <a:off x="3283" y="90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4" name="Freeform 2450">
                <a:extLst>
                  <a:ext uri="{FF2B5EF4-FFF2-40B4-BE49-F238E27FC236}">
                    <a16:creationId xmlns:a16="http://schemas.microsoft.com/office/drawing/2014/main" id="{E8EA5635-49D1-4574-8C0C-D8C811D2760D}"/>
                  </a:ext>
                </a:extLst>
              </p:cNvPr>
              <p:cNvSpPr>
                <a:spLocks/>
              </p:cNvSpPr>
              <p:nvPr/>
            </p:nvSpPr>
            <p:spPr bwMode="auto">
              <a:xfrm>
                <a:off x="334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5" name="Line 2451">
                <a:extLst>
                  <a:ext uri="{FF2B5EF4-FFF2-40B4-BE49-F238E27FC236}">
                    <a16:creationId xmlns:a16="http://schemas.microsoft.com/office/drawing/2014/main" id="{2BCF344D-3597-4737-8B75-614B42275F31}"/>
                  </a:ext>
                </a:extLst>
              </p:cNvPr>
              <p:cNvSpPr>
                <a:spLocks noChangeShapeType="1"/>
              </p:cNvSpPr>
              <p:nvPr/>
            </p:nvSpPr>
            <p:spPr bwMode="auto">
              <a:xfrm>
                <a:off x="340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6" name="Freeform 2452">
                <a:extLst>
                  <a:ext uri="{FF2B5EF4-FFF2-40B4-BE49-F238E27FC236}">
                    <a16:creationId xmlns:a16="http://schemas.microsoft.com/office/drawing/2014/main" id="{B562C8CF-839F-4242-984E-E34BD4422A45}"/>
                  </a:ext>
                </a:extLst>
              </p:cNvPr>
              <p:cNvSpPr>
                <a:spLocks/>
              </p:cNvSpPr>
              <p:nvPr/>
            </p:nvSpPr>
            <p:spPr bwMode="auto">
              <a:xfrm>
                <a:off x="3075" y="780"/>
                <a:ext cx="450" cy="390"/>
              </a:xfrm>
              <a:custGeom>
                <a:avLst/>
                <a:gdLst>
                  <a:gd name="T0" fmla="*/ 450 w 450"/>
                  <a:gd name="T1" fmla="*/ 330 h 390"/>
                  <a:gd name="T2" fmla="*/ 240 w 450"/>
                  <a:gd name="T3" fmla="*/ 390 h 390"/>
                  <a:gd name="T4" fmla="*/ 120 w 450"/>
                  <a:gd name="T5" fmla="*/ 330 h 390"/>
                  <a:gd name="T6" fmla="*/ 0 w 450"/>
                  <a:gd name="T7" fmla="*/ 0 h 390"/>
                </a:gdLst>
                <a:ahLst/>
                <a:cxnLst>
                  <a:cxn ang="0">
                    <a:pos x="T0" y="T1"/>
                  </a:cxn>
                  <a:cxn ang="0">
                    <a:pos x="T2" y="T3"/>
                  </a:cxn>
                  <a:cxn ang="0">
                    <a:pos x="T4" y="T5"/>
                  </a:cxn>
                  <a:cxn ang="0">
                    <a:pos x="T6" y="T7"/>
                  </a:cxn>
                </a:cxnLst>
                <a:rect l="0" t="0" r="r" b="b"/>
                <a:pathLst>
                  <a:path w="450" h="390">
                    <a:moveTo>
                      <a:pt x="450" y="330"/>
                    </a:moveTo>
                    <a:lnTo>
                      <a:pt x="240" y="390"/>
                    </a:lnTo>
                    <a:lnTo>
                      <a:pt x="12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87" name="Freeform 2453">
                <a:extLst>
                  <a:ext uri="{FF2B5EF4-FFF2-40B4-BE49-F238E27FC236}">
                    <a16:creationId xmlns:a16="http://schemas.microsoft.com/office/drawing/2014/main" id="{FC6AA0FE-6C04-4414-BA75-9F34130D0441}"/>
                  </a:ext>
                </a:extLst>
              </p:cNvPr>
              <p:cNvSpPr>
                <a:spLocks/>
              </p:cNvSpPr>
              <p:nvPr/>
            </p:nvSpPr>
            <p:spPr bwMode="auto">
              <a:xfrm>
                <a:off x="2475" y="960"/>
                <a:ext cx="570" cy="300"/>
              </a:xfrm>
              <a:custGeom>
                <a:avLst/>
                <a:gdLst>
                  <a:gd name="T0" fmla="*/ 0 w 570"/>
                  <a:gd name="T1" fmla="*/ 0 h 300"/>
                  <a:gd name="T2" fmla="*/ 240 w 570"/>
                  <a:gd name="T3" fmla="*/ 150 h 300"/>
                  <a:gd name="T4" fmla="*/ 360 w 570"/>
                  <a:gd name="T5" fmla="*/ 90 h 300"/>
                  <a:gd name="T6" fmla="*/ 450 w 570"/>
                  <a:gd name="T7" fmla="*/ 300 h 300"/>
                  <a:gd name="T8" fmla="*/ 570 w 570"/>
                  <a:gd name="T9" fmla="*/ 240 h 300"/>
                </a:gdLst>
                <a:ahLst/>
                <a:cxnLst>
                  <a:cxn ang="0">
                    <a:pos x="T0" y="T1"/>
                  </a:cxn>
                  <a:cxn ang="0">
                    <a:pos x="T2" y="T3"/>
                  </a:cxn>
                  <a:cxn ang="0">
                    <a:pos x="T4" y="T5"/>
                  </a:cxn>
                  <a:cxn ang="0">
                    <a:pos x="T6" y="T7"/>
                  </a:cxn>
                  <a:cxn ang="0">
                    <a:pos x="T8" y="T9"/>
                  </a:cxn>
                </a:cxnLst>
                <a:rect l="0" t="0" r="r" b="b"/>
                <a:pathLst>
                  <a:path w="570" h="300">
                    <a:moveTo>
                      <a:pt x="0" y="0"/>
                    </a:moveTo>
                    <a:lnTo>
                      <a:pt x="240" y="150"/>
                    </a:lnTo>
                    <a:lnTo>
                      <a:pt x="360" y="90"/>
                    </a:lnTo>
                    <a:lnTo>
                      <a:pt x="450" y="300"/>
                    </a:lnTo>
                    <a:lnTo>
                      <a:pt x="57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90" name="Line 2454">
                <a:extLst>
                  <a:ext uri="{FF2B5EF4-FFF2-40B4-BE49-F238E27FC236}">
                    <a16:creationId xmlns:a16="http://schemas.microsoft.com/office/drawing/2014/main" id="{503795B0-9AC8-414E-8D39-64AFB5B167A1}"/>
                  </a:ext>
                </a:extLst>
              </p:cNvPr>
              <p:cNvSpPr>
                <a:spLocks noChangeShapeType="1"/>
              </p:cNvSpPr>
              <p:nvPr/>
            </p:nvSpPr>
            <p:spPr bwMode="auto">
              <a:xfrm flipV="1">
                <a:off x="2895" y="90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91" name="Line 2455">
                <a:extLst>
                  <a:ext uri="{FF2B5EF4-FFF2-40B4-BE49-F238E27FC236}">
                    <a16:creationId xmlns:a16="http://schemas.microsoft.com/office/drawing/2014/main" id="{4C152A6D-F3DE-4FB7-9C06-BA661815D743}"/>
                  </a:ext>
                </a:extLst>
              </p:cNvPr>
              <p:cNvSpPr>
                <a:spLocks noChangeShapeType="1"/>
              </p:cNvSpPr>
              <p:nvPr/>
            </p:nvSpPr>
            <p:spPr bwMode="auto">
              <a:xfrm>
                <a:off x="3105" y="51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99" name="Freeform 2456">
                <a:extLst>
                  <a:ext uri="{FF2B5EF4-FFF2-40B4-BE49-F238E27FC236}">
                    <a16:creationId xmlns:a16="http://schemas.microsoft.com/office/drawing/2014/main" id="{E4F5667D-6D85-4154-BFA6-19220B7DF4D5}"/>
                  </a:ext>
                </a:extLst>
              </p:cNvPr>
              <p:cNvSpPr>
                <a:spLocks/>
              </p:cNvSpPr>
              <p:nvPr/>
            </p:nvSpPr>
            <p:spPr bwMode="auto">
              <a:xfrm>
                <a:off x="3435" y="96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00" name="Freeform 2457">
                <a:extLst>
                  <a:ext uri="{FF2B5EF4-FFF2-40B4-BE49-F238E27FC236}">
                    <a16:creationId xmlns:a16="http://schemas.microsoft.com/office/drawing/2014/main" id="{7A96E946-7BEF-493B-90C2-F66707E6BABA}"/>
                  </a:ext>
                </a:extLst>
              </p:cNvPr>
              <p:cNvSpPr>
                <a:spLocks/>
              </p:cNvSpPr>
              <p:nvPr/>
            </p:nvSpPr>
            <p:spPr bwMode="auto">
              <a:xfrm>
                <a:off x="3585" y="78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02" name="Line 2458">
                <a:extLst>
                  <a:ext uri="{FF2B5EF4-FFF2-40B4-BE49-F238E27FC236}">
                    <a16:creationId xmlns:a16="http://schemas.microsoft.com/office/drawing/2014/main" id="{6A7F0F19-F197-45F5-9DD7-B17756CC7A33}"/>
                  </a:ext>
                </a:extLst>
              </p:cNvPr>
              <p:cNvSpPr>
                <a:spLocks noChangeShapeType="1"/>
              </p:cNvSpPr>
              <p:nvPr/>
            </p:nvSpPr>
            <p:spPr bwMode="auto">
              <a:xfrm>
                <a:off x="3914" y="78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03" name="Freeform 2459">
                <a:extLst>
                  <a:ext uri="{FF2B5EF4-FFF2-40B4-BE49-F238E27FC236}">
                    <a16:creationId xmlns:a16="http://schemas.microsoft.com/office/drawing/2014/main" id="{EADC1736-8631-4258-B997-EF1D8112368C}"/>
                  </a:ext>
                </a:extLst>
              </p:cNvPr>
              <p:cNvSpPr>
                <a:spLocks/>
              </p:cNvSpPr>
              <p:nvPr/>
            </p:nvSpPr>
            <p:spPr bwMode="auto">
              <a:xfrm>
                <a:off x="3705" y="63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08" name="Freeform 2460">
                <a:extLst>
                  <a:ext uri="{FF2B5EF4-FFF2-40B4-BE49-F238E27FC236}">
                    <a16:creationId xmlns:a16="http://schemas.microsoft.com/office/drawing/2014/main" id="{DE0685DD-500B-468A-92FB-A8B6B566E248}"/>
                  </a:ext>
                </a:extLst>
              </p:cNvPr>
              <p:cNvSpPr>
                <a:spLocks/>
              </p:cNvSpPr>
              <p:nvPr/>
            </p:nvSpPr>
            <p:spPr bwMode="auto">
              <a:xfrm>
                <a:off x="1756" y="63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12" name="Freeform 2461">
                <a:extLst>
                  <a:ext uri="{FF2B5EF4-FFF2-40B4-BE49-F238E27FC236}">
                    <a16:creationId xmlns:a16="http://schemas.microsoft.com/office/drawing/2014/main" id="{09D57D13-7884-4BB8-8493-7311392BD902}"/>
                  </a:ext>
                </a:extLst>
              </p:cNvPr>
              <p:cNvSpPr>
                <a:spLocks/>
              </p:cNvSpPr>
              <p:nvPr/>
            </p:nvSpPr>
            <p:spPr bwMode="auto">
              <a:xfrm>
                <a:off x="2026" y="570"/>
                <a:ext cx="719" cy="720"/>
              </a:xfrm>
              <a:custGeom>
                <a:avLst/>
                <a:gdLst>
                  <a:gd name="T0" fmla="*/ 119 w 719"/>
                  <a:gd name="T1" fmla="*/ 120 h 720"/>
                  <a:gd name="T2" fmla="*/ 0 w 719"/>
                  <a:gd name="T3" fmla="*/ 30 h 720"/>
                  <a:gd name="T4" fmla="*/ 209 w 719"/>
                  <a:gd name="T5" fmla="*/ 0 h 720"/>
                  <a:gd name="T6" fmla="*/ 299 w 719"/>
                  <a:gd name="T7" fmla="*/ 120 h 720"/>
                  <a:gd name="T8" fmla="*/ 389 w 719"/>
                  <a:gd name="T9" fmla="*/ 0 h 720"/>
                  <a:gd name="T10" fmla="*/ 209 w 719"/>
                  <a:gd name="T11" fmla="*/ 0 h 720"/>
                  <a:gd name="T12" fmla="*/ 209 w 719"/>
                  <a:gd name="T13" fmla="*/ 151 h 720"/>
                  <a:gd name="T14" fmla="*/ 119 w 719"/>
                  <a:gd name="T15" fmla="*/ 120 h 720"/>
                  <a:gd name="T16" fmla="*/ 89 w 719"/>
                  <a:gd name="T17" fmla="*/ 210 h 720"/>
                  <a:gd name="T18" fmla="*/ 89 w 719"/>
                  <a:gd name="T19" fmla="*/ 450 h 720"/>
                  <a:gd name="T20" fmla="*/ 209 w 719"/>
                  <a:gd name="T21" fmla="*/ 360 h 720"/>
                  <a:gd name="T22" fmla="*/ 298 w 719"/>
                  <a:gd name="T23" fmla="*/ 452 h 720"/>
                  <a:gd name="T24" fmla="*/ 269 w 719"/>
                  <a:gd name="T25" fmla="*/ 270 h 720"/>
                  <a:gd name="T26" fmla="*/ 359 w 719"/>
                  <a:gd name="T27" fmla="*/ 210 h 720"/>
                  <a:gd name="T28" fmla="*/ 479 w 719"/>
                  <a:gd name="T29" fmla="*/ 270 h 720"/>
                  <a:gd name="T30" fmla="*/ 359 w 719"/>
                  <a:gd name="T31" fmla="*/ 330 h 720"/>
                  <a:gd name="T32" fmla="*/ 449 w 719"/>
                  <a:gd name="T33" fmla="*/ 390 h 720"/>
                  <a:gd name="T34" fmla="*/ 719 w 719"/>
                  <a:gd name="T35" fmla="*/ 360 h 720"/>
                  <a:gd name="T36" fmla="*/ 599 w 719"/>
                  <a:gd name="T37" fmla="*/ 420 h 720"/>
                  <a:gd name="T38" fmla="*/ 689 w 719"/>
                  <a:gd name="T39" fmla="*/ 720 h 720"/>
                  <a:gd name="T40" fmla="*/ 419 w 719"/>
                  <a:gd name="T41" fmla="*/ 51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72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89" y="72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13" name="Freeform 2462">
                <a:extLst>
                  <a:ext uri="{FF2B5EF4-FFF2-40B4-BE49-F238E27FC236}">
                    <a16:creationId xmlns:a16="http://schemas.microsoft.com/office/drawing/2014/main" id="{C6DA694E-1206-4554-8D55-B7405BF3B89A}"/>
                  </a:ext>
                </a:extLst>
              </p:cNvPr>
              <p:cNvSpPr>
                <a:spLocks/>
              </p:cNvSpPr>
              <p:nvPr/>
            </p:nvSpPr>
            <p:spPr bwMode="auto">
              <a:xfrm>
                <a:off x="1756" y="66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14" name="Freeform 2463">
                <a:extLst>
                  <a:ext uri="{FF2B5EF4-FFF2-40B4-BE49-F238E27FC236}">
                    <a16:creationId xmlns:a16="http://schemas.microsoft.com/office/drawing/2014/main" id="{CC13E425-CCF9-4770-8958-B161A3BDD995}"/>
                  </a:ext>
                </a:extLst>
              </p:cNvPr>
              <p:cNvSpPr>
                <a:spLocks/>
              </p:cNvSpPr>
              <p:nvPr/>
            </p:nvSpPr>
            <p:spPr bwMode="auto">
              <a:xfrm>
                <a:off x="1876" y="99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17" name="Freeform 2464">
                <a:extLst>
                  <a:ext uri="{FF2B5EF4-FFF2-40B4-BE49-F238E27FC236}">
                    <a16:creationId xmlns:a16="http://schemas.microsoft.com/office/drawing/2014/main" id="{78A10E97-AABF-48B8-B2A6-2AC1DE9CE5EC}"/>
                  </a:ext>
                </a:extLst>
              </p:cNvPr>
              <p:cNvSpPr>
                <a:spLocks/>
              </p:cNvSpPr>
              <p:nvPr/>
            </p:nvSpPr>
            <p:spPr bwMode="auto">
              <a:xfrm>
                <a:off x="2355" y="1170"/>
                <a:ext cx="360" cy="120"/>
              </a:xfrm>
              <a:custGeom>
                <a:avLst/>
                <a:gdLst>
                  <a:gd name="T0" fmla="*/ 360 w 360"/>
                  <a:gd name="T1" fmla="*/ 120 h 120"/>
                  <a:gd name="T2" fmla="*/ 150 w 360"/>
                  <a:gd name="T3" fmla="*/ 30 h 120"/>
                  <a:gd name="T4" fmla="*/ 0 w 360"/>
                  <a:gd name="T5" fmla="*/ 0 h 120"/>
                </a:gdLst>
                <a:ahLst/>
                <a:cxnLst>
                  <a:cxn ang="0">
                    <a:pos x="T0" y="T1"/>
                  </a:cxn>
                  <a:cxn ang="0">
                    <a:pos x="T2" y="T3"/>
                  </a:cxn>
                  <a:cxn ang="0">
                    <a:pos x="T4" y="T5"/>
                  </a:cxn>
                </a:cxnLst>
                <a:rect l="0" t="0" r="r" b="b"/>
                <a:pathLst>
                  <a:path w="360" h="120">
                    <a:moveTo>
                      <a:pt x="360" y="120"/>
                    </a:moveTo>
                    <a:lnTo>
                      <a:pt x="15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18" name="Freeform 2465">
                <a:extLst>
                  <a:ext uri="{FF2B5EF4-FFF2-40B4-BE49-F238E27FC236}">
                    <a16:creationId xmlns:a16="http://schemas.microsoft.com/office/drawing/2014/main" id="{12D2BDC6-8C39-412C-A49A-27C03D00A384}"/>
                  </a:ext>
                </a:extLst>
              </p:cNvPr>
              <p:cNvSpPr>
                <a:spLocks/>
              </p:cNvSpPr>
              <p:nvPr/>
            </p:nvSpPr>
            <p:spPr bwMode="auto">
              <a:xfrm>
                <a:off x="2235" y="930"/>
                <a:ext cx="720" cy="360"/>
              </a:xfrm>
              <a:custGeom>
                <a:avLst/>
                <a:gdLst>
                  <a:gd name="T0" fmla="*/ 510 w 720"/>
                  <a:gd name="T1" fmla="*/ 0 h 360"/>
                  <a:gd name="T2" fmla="*/ 570 w 720"/>
                  <a:gd name="T3" fmla="*/ 300 h 360"/>
                  <a:gd name="T4" fmla="*/ 720 w 720"/>
                  <a:gd name="T5" fmla="*/ 180 h 360"/>
                  <a:gd name="T6" fmla="*/ 480 w 720"/>
                  <a:gd name="T7" fmla="*/ 180 h 360"/>
                  <a:gd name="T8" fmla="*/ 300 w 720"/>
                  <a:gd name="T9" fmla="*/ 360 h 360"/>
                  <a:gd name="T10" fmla="*/ 270 w 720"/>
                  <a:gd name="T11" fmla="*/ 270 h 360"/>
                  <a:gd name="T12" fmla="*/ 120 w 720"/>
                  <a:gd name="T13" fmla="*/ 360 h 360"/>
                  <a:gd name="T14" fmla="*/ 0 w 720"/>
                  <a:gd name="T15" fmla="*/ 301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0" h="360">
                    <a:moveTo>
                      <a:pt x="510" y="0"/>
                    </a:moveTo>
                    <a:lnTo>
                      <a:pt x="570" y="300"/>
                    </a:lnTo>
                    <a:lnTo>
                      <a:pt x="720" y="180"/>
                    </a:lnTo>
                    <a:lnTo>
                      <a:pt x="480" y="180"/>
                    </a:lnTo>
                    <a:lnTo>
                      <a:pt x="300" y="360"/>
                    </a:lnTo>
                    <a:lnTo>
                      <a:pt x="270" y="270"/>
                    </a:lnTo>
                    <a:lnTo>
                      <a:pt x="120" y="360"/>
                    </a:lnTo>
                    <a:lnTo>
                      <a:pt x="0" y="301"/>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19" name="Freeform 2466">
                <a:extLst>
                  <a:ext uri="{FF2B5EF4-FFF2-40B4-BE49-F238E27FC236}">
                    <a16:creationId xmlns:a16="http://schemas.microsoft.com/office/drawing/2014/main" id="{DEF6CAFC-AAB6-42F0-87DD-87BC01B0569C}"/>
                  </a:ext>
                </a:extLst>
              </p:cNvPr>
              <p:cNvSpPr>
                <a:spLocks/>
              </p:cNvSpPr>
              <p:nvPr/>
            </p:nvSpPr>
            <p:spPr bwMode="auto">
              <a:xfrm>
                <a:off x="3045" y="1200"/>
                <a:ext cx="150" cy="90"/>
              </a:xfrm>
              <a:custGeom>
                <a:avLst/>
                <a:gdLst>
                  <a:gd name="T0" fmla="*/ 150 w 150"/>
                  <a:gd name="T1" fmla="*/ 0 h 90"/>
                  <a:gd name="T2" fmla="*/ 0 w 150"/>
                  <a:gd name="T3" fmla="*/ 0 h 90"/>
                  <a:gd name="T4" fmla="*/ 120 w 150"/>
                  <a:gd name="T5" fmla="*/ 90 h 90"/>
                  <a:gd name="T6" fmla="*/ 150 w 150"/>
                  <a:gd name="T7" fmla="*/ 0 h 90"/>
                </a:gdLst>
                <a:ahLst/>
                <a:cxnLst>
                  <a:cxn ang="0">
                    <a:pos x="T0" y="T1"/>
                  </a:cxn>
                  <a:cxn ang="0">
                    <a:pos x="T2" y="T3"/>
                  </a:cxn>
                  <a:cxn ang="0">
                    <a:pos x="T4" y="T5"/>
                  </a:cxn>
                  <a:cxn ang="0">
                    <a:pos x="T6" y="T7"/>
                  </a:cxn>
                </a:cxnLst>
                <a:rect l="0" t="0" r="r" b="b"/>
                <a:pathLst>
                  <a:path w="150" h="90">
                    <a:moveTo>
                      <a:pt x="150" y="0"/>
                    </a:moveTo>
                    <a:lnTo>
                      <a:pt x="0" y="0"/>
                    </a:lnTo>
                    <a:lnTo>
                      <a:pt x="120" y="90"/>
                    </a:lnTo>
                    <a:lnTo>
                      <a:pt x="15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0" name="Freeform 2467">
                <a:extLst>
                  <a:ext uri="{FF2B5EF4-FFF2-40B4-BE49-F238E27FC236}">
                    <a16:creationId xmlns:a16="http://schemas.microsoft.com/office/drawing/2014/main" id="{E601ABDC-95B2-45CC-A3D6-1FBD8C8E8596}"/>
                  </a:ext>
                </a:extLst>
              </p:cNvPr>
              <p:cNvSpPr>
                <a:spLocks/>
              </p:cNvSpPr>
              <p:nvPr/>
            </p:nvSpPr>
            <p:spPr bwMode="auto">
              <a:xfrm>
                <a:off x="1696" y="480"/>
                <a:ext cx="390" cy="360"/>
              </a:xfrm>
              <a:custGeom>
                <a:avLst/>
                <a:gdLst>
                  <a:gd name="T0" fmla="*/ 180 w 390"/>
                  <a:gd name="T1" fmla="*/ 360 h 360"/>
                  <a:gd name="T2" fmla="*/ 150 w 390"/>
                  <a:gd name="T3" fmla="*/ 150 h 360"/>
                  <a:gd name="T4" fmla="*/ 30 w 390"/>
                  <a:gd name="T5" fmla="*/ 0 h 360"/>
                  <a:gd name="T6" fmla="*/ 330 w 390"/>
                  <a:gd name="T7" fmla="*/ 120 h 360"/>
                  <a:gd name="T8" fmla="*/ 390 w 390"/>
                  <a:gd name="T9" fmla="*/ 0 h 360"/>
                  <a:gd name="T10" fmla="*/ 210 w 390"/>
                  <a:gd name="T11" fmla="*/ 30 h 360"/>
                  <a:gd name="T12" fmla="*/ 0 w 390"/>
                  <a:gd name="T13" fmla="*/ 180 h 360"/>
                  <a:gd name="T14" fmla="*/ 270 w 390"/>
                  <a:gd name="T15" fmla="*/ 33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360">
                    <a:moveTo>
                      <a:pt x="180" y="360"/>
                    </a:moveTo>
                    <a:lnTo>
                      <a:pt x="150" y="150"/>
                    </a:lnTo>
                    <a:lnTo>
                      <a:pt x="30" y="0"/>
                    </a:lnTo>
                    <a:lnTo>
                      <a:pt x="330" y="120"/>
                    </a:lnTo>
                    <a:lnTo>
                      <a:pt x="390" y="0"/>
                    </a:lnTo>
                    <a:lnTo>
                      <a:pt x="210" y="30"/>
                    </a:lnTo>
                    <a:lnTo>
                      <a:pt x="0" y="180"/>
                    </a:lnTo>
                    <a:lnTo>
                      <a:pt x="27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1" name="Line 2468">
                <a:extLst>
                  <a:ext uri="{FF2B5EF4-FFF2-40B4-BE49-F238E27FC236}">
                    <a16:creationId xmlns:a16="http://schemas.microsoft.com/office/drawing/2014/main" id="{A7CEDDCE-2CD0-4146-B951-E251985C877D}"/>
                  </a:ext>
                </a:extLst>
              </p:cNvPr>
              <p:cNvSpPr>
                <a:spLocks noChangeShapeType="1"/>
              </p:cNvSpPr>
              <p:nvPr/>
            </p:nvSpPr>
            <p:spPr bwMode="auto">
              <a:xfrm flipV="1">
                <a:off x="1846" y="510"/>
                <a:ext cx="6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2" name="Freeform 2469">
                <a:extLst>
                  <a:ext uri="{FF2B5EF4-FFF2-40B4-BE49-F238E27FC236}">
                    <a16:creationId xmlns:a16="http://schemas.microsoft.com/office/drawing/2014/main" id="{FFB8FD5E-5BCE-4DFB-8EA0-B453CC98B7BA}"/>
                  </a:ext>
                </a:extLst>
              </p:cNvPr>
              <p:cNvSpPr>
                <a:spLocks/>
              </p:cNvSpPr>
              <p:nvPr/>
            </p:nvSpPr>
            <p:spPr bwMode="auto">
              <a:xfrm>
                <a:off x="2086" y="450"/>
                <a:ext cx="239" cy="120"/>
              </a:xfrm>
              <a:custGeom>
                <a:avLst/>
                <a:gdLst>
                  <a:gd name="T0" fmla="*/ 239 w 239"/>
                  <a:gd name="T1" fmla="*/ 0 h 120"/>
                  <a:gd name="T2" fmla="*/ 0 w 239"/>
                  <a:gd name="T3" fmla="*/ 30 h 120"/>
                  <a:gd name="T4" fmla="*/ 149 w 239"/>
                  <a:gd name="T5" fmla="*/ 120 h 120"/>
                  <a:gd name="T6" fmla="*/ 239 w 239"/>
                  <a:gd name="T7" fmla="*/ 0 h 120"/>
                </a:gdLst>
                <a:ahLst/>
                <a:cxnLst>
                  <a:cxn ang="0">
                    <a:pos x="T0" y="T1"/>
                  </a:cxn>
                  <a:cxn ang="0">
                    <a:pos x="T2" y="T3"/>
                  </a:cxn>
                  <a:cxn ang="0">
                    <a:pos x="T4" y="T5"/>
                  </a:cxn>
                  <a:cxn ang="0">
                    <a:pos x="T6" y="T7"/>
                  </a:cxn>
                </a:cxnLst>
                <a:rect l="0" t="0" r="r" b="b"/>
                <a:pathLst>
                  <a:path w="239" h="120">
                    <a:moveTo>
                      <a:pt x="239" y="0"/>
                    </a:moveTo>
                    <a:lnTo>
                      <a:pt x="0" y="30"/>
                    </a:lnTo>
                    <a:lnTo>
                      <a:pt x="149" y="120"/>
                    </a:lnTo>
                    <a:lnTo>
                      <a:pt x="239"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3" name="Line 2470">
                <a:extLst>
                  <a:ext uri="{FF2B5EF4-FFF2-40B4-BE49-F238E27FC236}">
                    <a16:creationId xmlns:a16="http://schemas.microsoft.com/office/drawing/2014/main" id="{339B2E9B-A7DF-4658-AE94-5AF8391CD7D7}"/>
                  </a:ext>
                </a:extLst>
              </p:cNvPr>
              <p:cNvSpPr>
                <a:spLocks noChangeShapeType="1"/>
              </p:cNvSpPr>
              <p:nvPr/>
            </p:nvSpPr>
            <p:spPr bwMode="auto">
              <a:xfrm>
                <a:off x="2625" y="540"/>
                <a:ext cx="18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4" name="Freeform 2471">
                <a:extLst>
                  <a:ext uri="{FF2B5EF4-FFF2-40B4-BE49-F238E27FC236}">
                    <a16:creationId xmlns:a16="http://schemas.microsoft.com/office/drawing/2014/main" id="{8749A462-3A9B-4C4E-9F70-58D97AD57D73}"/>
                  </a:ext>
                </a:extLst>
              </p:cNvPr>
              <p:cNvSpPr>
                <a:spLocks/>
              </p:cNvSpPr>
              <p:nvPr/>
            </p:nvSpPr>
            <p:spPr bwMode="auto">
              <a:xfrm>
                <a:off x="2805" y="450"/>
                <a:ext cx="300" cy="330"/>
              </a:xfrm>
              <a:custGeom>
                <a:avLst/>
                <a:gdLst>
                  <a:gd name="T0" fmla="*/ 90 w 300"/>
                  <a:gd name="T1" fmla="*/ 0 h 330"/>
                  <a:gd name="T2" fmla="*/ 180 w 300"/>
                  <a:gd name="T3" fmla="*/ 90 h 330"/>
                  <a:gd name="T4" fmla="*/ 0 w 300"/>
                  <a:gd name="T5" fmla="*/ 90 h 330"/>
                  <a:gd name="T6" fmla="*/ 60 w 300"/>
                  <a:gd name="T7" fmla="*/ 210 h 330"/>
                  <a:gd name="T8" fmla="*/ 180 w 300"/>
                  <a:gd name="T9" fmla="*/ 90 h 330"/>
                  <a:gd name="T10" fmla="*/ 300 w 300"/>
                  <a:gd name="T11" fmla="*/ 240 h 330"/>
                  <a:gd name="T12" fmla="*/ 150 w 300"/>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300" h="330">
                    <a:moveTo>
                      <a:pt x="90" y="0"/>
                    </a:moveTo>
                    <a:lnTo>
                      <a:pt x="180" y="90"/>
                    </a:lnTo>
                    <a:lnTo>
                      <a:pt x="0" y="90"/>
                    </a:lnTo>
                    <a:lnTo>
                      <a:pt x="60" y="210"/>
                    </a:lnTo>
                    <a:lnTo>
                      <a:pt x="180" y="90"/>
                    </a:lnTo>
                    <a:lnTo>
                      <a:pt x="300" y="240"/>
                    </a:lnTo>
                    <a:lnTo>
                      <a:pt x="15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5" name="Freeform 2472">
                <a:extLst>
                  <a:ext uri="{FF2B5EF4-FFF2-40B4-BE49-F238E27FC236}">
                    <a16:creationId xmlns:a16="http://schemas.microsoft.com/office/drawing/2014/main" id="{50D4EF85-7141-4DFE-9E45-AED0639CFDDA}"/>
                  </a:ext>
                </a:extLst>
              </p:cNvPr>
              <p:cNvSpPr>
                <a:spLocks/>
              </p:cNvSpPr>
              <p:nvPr/>
            </p:nvSpPr>
            <p:spPr bwMode="auto">
              <a:xfrm>
                <a:off x="3195" y="480"/>
                <a:ext cx="180" cy="90"/>
              </a:xfrm>
              <a:custGeom>
                <a:avLst/>
                <a:gdLst>
                  <a:gd name="T0" fmla="*/ 0 w 180"/>
                  <a:gd name="T1" fmla="*/ 90 h 90"/>
                  <a:gd name="T2" fmla="*/ 90 w 180"/>
                  <a:gd name="T3" fmla="*/ 0 h 90"/>
                  <a:gd name="T4" fmla="*/ 180 w 180"/>
                  <a:gd name="T5" fmla="*/ 90 h 90"/>
                </a:gdLst>
                <a:ahLst/>
                <a:cxnLst>
                  <a:cxn ang="0">
                    <a:pos x="T0" y="T1"/>
                  </a:cxn>
                  <a:cxn ang="0">
                    <a:pos x="T2" y="T3"/>
                  </a:cxn>
                  <a:cxn ang="0">
                    <a:pos x="T4" y="T5"/>
                  </a:cxn>
                </a:cxnLst>
                <a:rect l="0" t="0" r="r" b="b"/>
                <a:pathLst>
                  <a:path w="180" h="90">
                    <a:moveTo>
                      <a:pt x="0" y="90"/>
                    </a:moveTo>
                    <a:lnTo>
                      <a:pt x="9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6" name="Freeform 2473">
                <a:extLst>
                  <a:ext uri="{FF2B5EF4-FFF2-40B4-BE49-F238E27FC236}">
                    <a16:creationId xmlns:a16="http://schemas.microsoft.com/office/drawing/2014/main" id="{D7A0746F-75B6-465F-B25D-D5D3482B8619}"/>
                  </a:ext>
                </a:extLst>
              </p:cNvPr>
              <p:cNvSpPr>
                <a:spLocks/>
              </p:cNvSpPr>
              <p:nvPr/>
            </p:nvSpPr>
            <p:spPr bwMode="auto">
              <a:xfrm>
                <a:off x="3675" y="450"/>
                <a:ext cx="269" cy="210"/>
              </a:xfrm>
              <a:custGeom>
                <a:avLst/>
                <a:gdLst>
                  <a:gd name="T0" fmla="*/ 119 w 269"/>
                  <a:gd name="T1" fmla="*/ 60 h 210"/>
                  <a:gd name="T2" fmla="*/ 269 w 269"/>
                  <a:gd name="T3" fmla="*/ 30 h 210"/>
                  <a:gd name="T4" fmla="*/ 149 w 269"/>
                  <a:gd name="T5" fmla="*/ 210 h 210"/>
                  <a:gd name="T6" fmla="*/ 0 w 269"/>
                  <a:gd name="T7" fmla="*/ 0 h 210"/>
                  <a:gd name="T8" fmla="*/ 30 w 269"/>
                  <a:gd name="T9" fmla="*/ 180 h 210"/>
                </a:gdLst>
                <a:ahLst/>
                <a:cxnLst>
                  <a:cxn ang="0">
                    <a:pos x="T0" y="T1"/>
                  </a:cxn>
                  <a:cxn ang="0">
                    <a:pos x="T2" y="T3"/>
                  </a:cxn>
                  <a:cxn ang="0">
                    <a:pos x="T4" y="T5"/>
                  </a:cxn>
                  <a:cxn ang="0">
                    <a:pos x="T6" y="T7"/>
                  </a:cxn>
                  <a:cxn ang="0">
                    <a:pos x="T8" y="T9"/>
                  </a:cxn>
                </a:cxnLst>
                <a:rect l="0" t="0" r="r" b="b"/>
                <a:pathLst>
                  <a:path w="269" h="210">
                    <a:moveTo>
                      <a:pt x="119" y="60"/>
                    </a:moveTo>
                    <a:lnTo>
                      <a:pt x="269" y="30"/>
                    </a:lnTo>
                    <a:lnTo>
                      <a:pt x="149" y="210"/>
                    </a:lnTo>
                    <a:lnTo>
                      <a:pt x="0" y="0"/>
                    </a:lnTo>
                    <a:lnTo>
                      <a:pt x="3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7" name="Freeform 2474">
                <a:extLst>
                  <a:ext uri="{FF2B5EF4-FFF2-40B4-BE49-F238E27FC236}">
                    <a16:creationId xmlns:a16="http://schemas.microsoft.com/office/drawing/2014/main" id="{58F9C70D-60F0-437A-8355-C08A5284FD17}"/>
                  </a:ext>
                </a:extLst>
              </p:cNvPr>
              <p:cNvSpPr>
                <a:spLocks/>
              </p:cNvSpPr>
              <p:nvPr/>
            </p:nvSpPr>
            <p:spPr bwMode="auto">
              <a:xfrm>
                <a:off x="1756"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8" name="Freeform 2475">
                <a:extLst>
                  <a:ext uri="{FF2B5EF4-FFF2-40B4-BE49-F238E27FC236}">
                    <a16:creationId xmlns:a16="http://schemas.microsoft.com/office/drawing/2014/main" id="{681FCA25-E123-47E9-A27D-D6301EC061BF}"/>
                  </a:ext>
                </a:extLst>
              </p:cNvPr>
              <p:cNvSpPr>
                <a:spLocks/>
              </p:cNvSpPr>
              <p:nvPr/>
            </p:nvSpPr>
            <p:spPr bwMode="auto">
              <a:xfrm>
                <a:off x="1936"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9" name="Freeform 2476">
                <a:extLst>
                  <a:ext uri="{FF2B5EF4-FFF2-40B4-BE49-F238E27FC236}">
                    <a16:creationId xmlns:a16="http://schemas.microsoft.com/office/drawing/2014/main" id="{FE055A12-B5DA-4662-86E3-8DB61DD44B78}"/>
                  </a:ext>
                </a:extLst>
              </p:cNvPr>
              <p:cNvSpPr>
                <a:spLocks/>
              </p:cNvSpPr>
              <p:nvPr/>
            </p:nvSpPr>
            <p:spPr bwMode="auto">
              <a:xfrm>
                <a:off x="1876" y="1740"/>
                <a:ext cx="479" cy="270"/>
              </a:xfrm>
              <a:custGeom>
                <a:avLst/>
                <a:gdLst>
                  <a:gd name="T0" fmla="*/ 0 w 479"/>
                  <a:gd name="T1" fmla="*/ 90 h 270"/>
                  <a:gd name="T2" fmla="*/ 180 w 479"/>
                  <a:gd name="T3" fmla="*/ 30 h 270"/>
                  <a:gd name="T4" fmla="*/ 299 w 479"/>
                  <a:gd name="T5" fmla="*/ 150 h 270"/>
                  <a:gd name="T6" fmla="*/ 210 w 479"/>
                  <a:gd name="T7" fmla="*/ 270 h 270"/>
                  <a:gd name="T8" fmla="*/ 30 w 479"/>
                  <a:gd name="T9" fmla="*/ 270 h 270"/>
                  <a:gd name="T10" fmla="*/ 0 w 479"/>
                  <a:gd name="T11" fmla="*/ 90 h 270"/>
                  <a:gd name="T12" fmla="*/ 150 w 479"/>
                  <a:gd name="T13" fmla="*/ 150 h 270"/>
                  <a:gd name="T14" fmla="*/ 299 w 479"/>
                  <a:gd name="T15" fmla="*/ 0 h 270"/>
                  <a:gd name="T16" fmla="*/ 479 w 479"/>
                  <a:gd name="T17" fmla="*/ 210 h 270"/>
                  <a:gd name="T18" fmla="*/ 419 w 479"/>
                  <a:gd name="T19" fmla="*/ 6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70">
                    <a:moveTo>
                      <a:pt x="0" y="90"/>
                    </a:moveTo>
                    <a:lnTo>
                      <a:pt x="180" y="30"/>
                    </a:lnTo>
                    <a:lnTo>
                      <a:pt x="299" y="150"/>
                    </a:lnTo>
                    <a:lnTo>
                      <a:pt x="210" y="270"/>
                    </a:lnTo>
                    <a:lnTo>
                      <a:pt x="30" y="270"/>
                    </a:lnTo>
                    <a:lnTo>
                      <a:pt x="0" y="90"/>
                    </a:lnTo>
                    <a:lnTo>
                      <a:pt x="150" y="150"/>
                    </a:lnTo>
                    <a:lnTo>
                      <a:pt x="299" y="0"/>
                    </a:lnTo>
                    <a:lnTo>
                      <a:pt x="479" y="210"/>
                    </a:lnTo>
                    <a:lnTo>
                      <a:pt x="41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0" name="Freeform 2477">
                <a:extLst>
                  <a:ext uri="{FF2B5EF4-FFF2-40B4-BE49-F238E27FC236}">
                    <a16:creationId xmlns:a16="http://schemas.microsoft.com/office/drawing/2014/main" id="{423E27CF-AF6D-46FB-9363-D6A92F9D77CA}"/>
                  </a:ext>
                </a:extLst>
              </p:cNvPr>
              <p:cNvSpPr>
                <a:spLocks/>
              </p:cNvSpPr>
              <p:nvPr/>
            </p:nvSpPr>
            <p:spPr bwMode="auto">
              <a:xfrm>
                <a:off x="2026"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1" name="Freeform 2478">
                <a:extLst>
                  <a:ext uri="{FF2B5EF4-FFF2-40B4-BE49-F238E27FC236}">
                    <a16:creationId xmlns:a16="http://schemas.microsoft.com/office/drawing/2014/main" id="{977F3AD0-58C8-4369-A859-3141709E0969}"/>
                  </a:ext>
                </a:extLst>
              </p:cNvPr>
              <p:cNvSpPr>
                <a:spLocks/>
              </p:cNvSpPr>
              <p:nvPr/>
            </p:nvSpPr>
            <p:spPr bwMode="auto">
              <a:xfrm>
                <a:off x="3405"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2" name="Freeform 2479">
                <a:extLst>
                  <a:ext uri="{FF2B5EF4-FFF2-40B4-BE49-F238E27FC236}">
                    <a16:creationId xmlns:a16="http://schemas.microsoft.com/office/drawing/2014/main" id="{3D7320B1-2195-4230-8066-B7AC4CABDBBC}"/>
                  </a:ext>
                </a:extLst>
              </p:cNvPr>
              <p:cNvSpPr>
                <a:spLocks/>
              </p:cNvSpPr>
              <p:nvPr/>
            </p:nvSpPr>
            <p:spPr bwMode="auto">
              <a:xfrm>
                <a:off x="3405" y="1290"/>
                <a:ext cx="300" cy="540"/>
              </a:xfrm>
              <a:custGeom>
                <a:avLst/>
                <a:gdLst>
                  <a:gd name="T0" fmla="*/ 0 w 300"/>
                  <a:gd name="T1" fmla="*/ 390 h 540"/>
                  <a:gd name="T2" fmla="*/ 180 w 300"/>
                  <a:gd name="T3" fmla="*/ 240 h 540"/>
                  <a:gd name="T4" fmla="*/ 0 w 300"/>
                  <a:gd name="T5" fmla="*/ 150 h 540"/>
                  <a:gd name="T6" fmla="*/ 120 w 300"/>
                  <a:gd name="T7" fmla="*/ 120 h 540"/>
                  <a:gd name="T8" fmla="*/ 300 w 300"/>
                  <a:gd name="T9" fmla="*/ 180 h 540"/>
                  <a:gd name="T10" fmla="*/ 270 w 300"/>
                  <a:gd name="T11" fmla="*/ 30 h 540"/>
                  <a:gd name="T12" fmla="*/ 120 w 300"/>
                  <a:gd name="T13" fmla="*/ 120 h 540"/>
                  <a:gd name="T14" fmla="*/ 30 w 300"/>
                  <a:gd name="T15" fmla="*/ 0 h 540"/>
                  <a:gd name="T16" fmla="*/ 0 w 300"/>
                  <a:gd name="T17" fmla="*/ 150 h 540"/>
                  <a:gd name="T18" fmla="*/ 30 w 300"/>
                  <a:gd name="T19" fmla="*/ 300 h 540"/>
                  <a:gd name="T20" fmla="*/ 0 w 300"/>
                  <a:gd name="T21" fmla="*/ 390 h 540"/>
                  <a:gd name="T22" fmla="*/ 120 w 300"/>
                  <a:gd name="T23"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0" h="540">
                    <a:moveTo>
                      <a:pt x="0" y="390"/>
                    </a:moveTo>
                    <a:lnTo>
                      <a:pt x="180" y="240"/>
                    </a:lnTo>
                    <a:lnTo>
                      <a:pt x="0" y="150"/>
                    </a:lnTo>
                    <a:lnTo>
                      <a:pt x="120" y="120"/>
                    </a:lnTo>
                    <a:lnTo>
                      <a:pt x="300" y="180"/>
                    </a:lnTo>
                    <a:lnTo>
                      <a:pt x="270" y="30"/>
                    </a:lnTo>
                    <a:lnTo>
                      <a:pt x="120" y="120"/>
                    </a:lnTo>
                    <a:lnTo>
                      <a:pt x="30" y="0"/>
                    </a:lnTo>
                    <a:lnTo>
                      <a:pt x="0" y="150"/>
                    </a:lnTo>
                    <a:lnTo>
                      <a:pt x="30" y="300"/>
                    </a:lnTo>
                    <a:lnTo>
                      <a:pt x="0" y="390"/>
                    </a:lnTo>
                    <a:lnTo>
                      <a:pt x="12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3" name="Freeform 2480">
                <a:extLst>
                  <a:ext uri="{FF2B5EF4-FFF2-40B4-BE49-F238E27FC236}">
                    <a16:creationId xmlns:a16="http://schemas.microsoft.com/office/drawing/2014/main" id="{CFDB9140-C692-45C6-A081-2F2B2E708F16}"/>
                  </a:ext>
                </a:extLst>
              </p:cNvPr>
              <p:cNvSpPr>
                <a:spLocks/>
              </p:cNvSpPr>
              <p:nvPr/>
            </p:nvSpPr>
            <p:spPr bwMode="auto">
              <a:xfrm>
                <a:off x="3585"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4" name="Freeform 2481">
                <a:extLst>
                  <a:ext uri="{FF2B5EF4-FFF2-40B4-BE49-F238E27FC236}">
                    <a16:creationId xmlns:a16="http://schemas.microsoft.com/office/drawing/2014/main" id="{C1FEFC7A-458C-4E5F-9612-1DCA685D813D}"/>
                  </a:ext>
                </a:extLst>
              </p:cNvPr>
              <p:cNvSpPr>
                <a:spLocks/>
              </p:cNvSpPr>
              <p:nvPr/>
            </p:nvSpPr>
            <p:spPr bwMode="auto">
              <a:xfrm>
                <a:off x="3405" y="1320"/>
                <a:ext cx="599" cy="750"/>
              </a:xfrm>
              <a:custGeom>
                <a:avLst/>
                <a:gdLst>
                  <a:gd name="T0" fmla="*/ 300 w 599"/>
                  <a:gd name="T1" fmla="*/ 150 h 750"/>
                  <a:gd name="T2" fmla="*/ 479 w 599"/>
                  <a:gd name="T3" fmla="*/ 210 h 750"/>
                  <a:gd name="T4" fmla="*/ 479 w 599"/>
                  <a:gd name="T5" fmla="*/ 60 h 750"/>
                  <a:gd name="T6" fmla="*/ 359 w 599"/>
                  <a:gd name="T7" fmla="*/ 300 h 750"/>
                  <a:gd name="T8" fmla="*/ 419 w 599"/>
                  <a:gd name="T9" fmla="*/ 420 h 750"/>
                  <a:gd name="T10" fmla="*/ 539 w 599"/>
                  <a:gd name="T11" fmla="*/ 480 h 750"/>
                  <a:gd name="T12" fmla="*/ 479 w 599"/>
                  <a:gd name="T13" fmla="*/ 210 h 750"/>
                  <a:gd name="T14" fmla="*/ 419 w 599"/>
                  <a:gd name="T15" fmla="*/ 420 h 750"/>
                  <a:gd name="T16" fmla="*/ 419 w 599"/>
                  <a:gd name="T17" fmla="*/ 570 h 750"/>
                  <a:gd name="T18" fmla="*/ 599 w 599"/>
                  <a:gd name="T19" fmla="*/ 630 h 750"/>
                  <a:gd name="T20" fmla="*/ 300 w 599"/>
                  <a:gd name="T21" fmla="*/ 660 h 750"/>
                  <a:gd name="T22" fmla="*/ 270 w 599"/>
                  <a:gd name="T23" fmla="*/ 570 h 750"/>
                  <a:gd name="T24" fmla="*/ 210 w 599"/>
                  <a:gd name="T25" fmla="*/ 750 h 750"/>
                  <a:gd name="T26" fmla="*/ 0 w 599"/>
                  <a:gd name="T27" fmla="*/ 600 h 750"/>
                  <a:gd name="T28" fmla="*/ 120 w 599"/>
                  <a:gd name="T29" fmla="*/ 510 h 750"/>
                  <a:gd name="T30" fmla="*/ 180 w 599"/>
                  <a:gd name="T31" fmla="*/ 360 h 750"/>
                  <a:gd name="T32" fmla="*/ 300 w 599"/>
                  <a:gd name="T33" fmla="*/ 450 h 750"/>
                  <a:gd name="T34" fmla="*/ 359 w 599"/>
                  <a:gd name="T35" fmla="*/ 300 h 750"/>
                  <a:gd name="T36" fmla="*/ 180 w 599"/>
                  <a:gd name="T37" fmla="*/ 210 h 750"/>
                  <a:gd name="T38" fmla="*/ 300 w 599"/>
                  <a:gd name="T39" fmla="*/ 150 h 750"/>
                  <a:gd name="T40" fmla="*/ 389 w 599"/>
                  <a:gd name="T41" fmla="*/ 90 h 750"/>
                  <a:gd name="T42" fmla="*/ 270 w 599"/>
                  <a:gd name="T43" fmla="*/ 0 h 750"/>
                  <a:gd name="T44" fmla="*/ 479 w 599"/>
                  <a:gd name="T45" fmla="*/ 6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9" h="750">
                    <a:moveTo>
                      <a:pt x="300" y="150"/>
                    </a:moveTo>
                    <a:lnTo>
                      <a:pt x="479" y="210"/>
                    </a:lnTo>
                    <a:lnTo>
                      <a:pt x="479" y="60"/>
                    </a:lnTo>
                    <a:lnTo>
                      <a:pt x="359" y="300"/>
                    </a:lnTo>
                    <a:lnTo>
                      <a:pt x="419" y="420"/>
                    </a:lnTo>
                    <a:lnTo>
                      <a:pt x="539" y="480"/>
                    </a:lnTo>
                    <a:lnTo>
                      <a:pt x="479" y="210"/>
                    </a:lnTo>
                    <a:lnTo>
                      <a:pt x="419" y="420"/>
                    </a:lnTo>
                    <a:lnTo>
                      <a:pt x="419" y="570"/>
                    </a:lnTo>
                    <a:lnTo>
                      <a:pt x="599" y="630"/>
                    </a:lnTo>
                    <a:lnTo>
                      <a:pt x="300" y="660"/>
                    </a:lnTo>
                    <a:lnTo>
                      <a:pt x="270" y="570"/>
                    </a:lnTo>
                    <a:lnTo>
                      <a:pt x="210" y="750"/>
                    </a:lnTo>
                    <a:lnTo>
                      <a:pt x="0" y="600"/>
                    </a:lnTo>
                    <a:lnTo>
                      <a:pt x="120" y="510"/>
                    </a:lnTo>
                    <a:lnTo>
                      <a:pt x="180" y="360"/>
                    </a:lnTo>
                    <a:lnTo>
                      <a:pt x="300" y="450"/>
                    </a:lnTo>
                    <a:lnTo>
                      <a:pt x="359" y="300"/>
                    </a:lnTo>
                    <a:lnTo>
                      <a:pt x="180" y="210"/>
                    </a:lnTo>
                    <a:lnTo>
                      <a:pt x="300" y="150"/>
                    </a:lnTo>
                    <a:lnTo>
                      <a:pt x="389" y="90"/>
                    </a:lnTo>
                    <a:lnTo>
                      <a:pt x="270" y="0"/>
                    </a:lnTo>
                    <a:lnTo>
                      <a:pt x="47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5" name="Freeform 2482">
                <a:extLst>
                  <a:ext uri="{FF2B5EF4-FFF2-40B4-BE49-F238E27FC236}">
                    <a16:creationId xmlns:a16="http://schemas.microsoft.com/office/drawing/2014/main" id="{3E284A48-EF1D-4032-A1FE-F5EABFDB4317}"/>
                  </a:ext>
                </a:extLst>
              </p:cNvPr>
              <p:cNvSpPr>
                <a:spLocks/>
              </p:cNvSpPr>
              <p:nvPr/>
            </p:nvSpPr>
            <p:spPr bwMode="auto">
              <a:xfrm>
                <a:off x="3525" y="1770"/>
                <a:ext cx="299" cy="210"/>
              </a:xfrm>
              <a:custGeom>
                <a:avLst/>
                <a:gdLst>
                  <a:gd name="T0" fmla="*/ 0 w 299"/>
                  <a:gd name="T1" fmla="*/ 60 h 210"/>
                  <a:gd name="T2" fmla="*/ 180 w 299"/>
                  <a:gd name="T3" fmla="*/ 0 h 210"/>
                  <a:gd name="T4" fmla="*/ 299 w 299"/>
                  <a:gd name="T5" fmla="*/ 120 h 210"/>
                  <a:gd name="T6" fmla="*/ 180 w 299"/>
                  <a:gd name="T7" fmla="*/ 210 h 210"/>
                </a:gdLst>
                <a:ahLst/>
                <a:cxnLst>
                  <a:cxn ang="0">
                    <a:pos x="T0" y="T1"/>
                  </a:cxn>
                  <a:cxn ang="0">
                    <a:pos x="T2" y="T3"/>
                  </a:cxn>
                  <a:cxn ang="0">
                    <a:pos x="T4" y="T5"/>
                  </a:cxn>
                  <a:cxn ang="0">
                    <a:pos x="T6" y="T7"/>
                  </a:cxn>
                </a:cxnLst>
                <a:rect l="0" t="0" r="r" b="b"/>
                <a:pathLst>
                  <a:path w="299" h="210">
                    <a:moveTo>
                      <a:pt x="0" y="60"/>
                    </a:moveTo>
                    <a:lnTo>
                      <a:pt x="180" y="0"/>
                    </a:lnTo>
                    <a:lnTo>
                      <a:pt x="299" y="120"/>
                    </a:lnTo>
                    <a:lnTo>
                      <a:pt x="18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6" name="Freeform 2483">
                <a:extLst>
                  <a:ext uri="{FF2B5EF4-FFF2-40B4-BE49-F238E27FC236}">
                    <a16:creationId xmlns:a16="http://schemas.microsoft.com/office/drawing/2014/main" id="{58AC21DC-146E-43E8-AE94-D51CEBF4A1F2}"/>
                  </a:ext>
                </a:extLst>
              </p:cNvPr>
              <p:cNvSpPr>
                <a:spLocks/>
              </p:cNvSpPr>
              <p:nvPr/>
            </p:nvSpPr>
            <p:spPr bwMode="auto">
              <a:xfrm>
                <a:off x="3675"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7" name="Line 2484">
                <a:extLst>
                  <a:ext uri="{FF2B5EF4-FFF2-40B4-BE49-F238E27FC236}">
                    <a16:creationId xmlns:a16="http://schemas.microsoft.com/office/drawing/2014/main" id="{95EE68AA-0328-4561-80C1-922E31C9183B}"/>
                  </a:ext>
                </a:extLst>
              </p:cNvPr>
              <p:cNvSpPr>
                <a:spLocks noChangeShapeType="1"/>
              </p:cNvSpPr>
              <p:nvPr/>
            </p:nvSpPr>
            <p:spPr bwMode="auto">
              <a:xfrm flipV="1">
                <a:off x="1786" y="1233"/>
                <a:ext cx="181" cy="5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8" name="Line 2485">
                <a:extLst>
                  <a:ext uri="{FF2B5EF4-FFF2-40B4-BE49-F238E27FC236}">
                    <a16:creationId xmlns:a16="http://schemas.microsoft.com/office/drawing/2014/main" id="{0A017B1F-B9D4-45C6-9A4A-EF96C4156F55}"/>
                  </a:ext>
                </a:extLst>
              </p:cNvPr>
              <p:cNvSpPr>
                <a:spLocks noChangeShapeType="1"/>
              </p:cNvSpPr>
              <p:nvPr/>
            </p:nvSpPr>
            <p:spPr bwMode="auto">
              <a:xfrm flipH="1">
                <a:off x="1936" y="1233"/>
                <a:ext cx="31"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9" name="Freeform 2486">
                <a:extLst>
                  <a:ext uri="{FF2B5EF4-FFF2-40B4-BE49-F238E27FC236}">
                    <a16:creationId xmlns:a16="http://schemas.microsoft.com/office/drawing/2014/main" id="{CED30AA9-4BD4-41C3-AC8E-7A6234C77D20}"/>
                  </a:ext>
                </a:extLst>
              </p:cNvPr>
              <p:cNvSpPr>
                <a:spLocks/>
              </p:cNvSpPr>
              <p:nvPr/>
            </p:nvSpPr>
            <p:spPr bwMode="auto">
              <a:xfrm>
                <a:off x="2235" y="1231"/>
                <a:ext cx="210" cy="302"/>
              </a:xfrm>
              <a:custGeom>
                <a:avLst/>
                <a:gdLst>
                  <a:gd name="T0" fmla="*/ 0 w 210"/>
                  <a:gd name="T1" fmla="*/ 0 h 302"/>
                  <a:gd name="T2" fmla="*/ 180 w 210"/>
                  <a:gd name="T3" fmla="*/ 269 h 302"/>
                  <a:gd name="T4" fmla="*/ 2 w 210"/>
                  <a:gd name="T5" fmla="*/ 302 h 302"/>
                  <a:gd name="T6" fmla="*/ 210 w 210"/>
                  <a:gd name="T7" fmla="*/ 179 h 302"/>
                </a:gdLst>
                <a:ahLst/>
                <a:cxnLst>
                  <a:cxn ang="0">
                    <a:pos x="T0" y="T1"/>
                  </a:cxn>
                  <a:cxn ang="0">
                    <a:pos x="T2" y="T3"/>
                  </a:cxn>
                  <a:cxn ang="0">
                    <a:pos x="T4" y="T5"/>
                  </a:cxn>
                  <a:cxn ang="0">
                    <a:pos x="T6" y="T7"/>
                  </a:cxn>
                </a:cxnLst>
                <a:rect l="0" t="0" r="r" b="b"/>
                <a:pathLst>
                  <a:path w="210" h="302">
                    <a:moveTo>
                      <a:pt x="0" y="0"/>
                    </a:moveTo>
                    <a:lnTo>
                      <a:pt x="180" y="269"/>
                    </a:lnTo>
                    <a:lnTo>
                      <a:pt x="2" y="302"/>
                    </a:lnTo>
                    <a:lnTo>
                      <a:pt x="210" y="17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0" name="Line 2487">
                <a:extLst>
                  <a:ext uri="{FF2B5EF4-FFF2-40B4-BE49-F238E27FC236}">
                    <a16:creationId xmlns:a16="http://schemas.microsoft.com/office/drawing/2014/main" id="{76EA75B0-C5A7-4E84-9690-A9E608F71E1B}"/>
                  </a:ext>
                </a:extLst>
              </p:cNvPr>
              <p:cNvSpPr>
                <a:spLocks noChangeShapeType="1"/>
              </p:cNvSpPr>
              <p:nvPr/>
            </p:nvSpPr>
            <p:spPr bwMode="auto">
              <a:xfrm>
                <a:off x="2235" y="1380"/>
                <a:ext cx="21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1" name="Freeform 2488">
                <a:extLst>
                  <a:ext uri="{FF2B5EF4-FFF2-40B4-BE49-F238E27FC236}">
                    <a16:creationId xmlns:a16="http://schemas.microsoft.com/office/drawing/2014/main" id="{FED8C846-0D86-4E09-89ED-E207B2E8BD83}"/>
                  </a:ext>
                </a:extLst>
              </p:cNvPr>
              <p:cNvSpPr>
                <a:spLocks/>
              </p:cNvSpPr>
              <p:nvPr/>
            </p:nvSpPr>
            <p:spPr bwMode="auto">
              <a:xfrm>
                <a:off x="1756" y="1140"/>
                <a:ext cx="599" cy="870"/>
              </a:xfrm>
              <a:custGeom>
                <a:avLst/>
                <a:gdLst>
                  <a:gd name="T0" fmla="*/ 300 w 599"/>
                  <a:gd name="T1" fmla="*/ 0 h 870"/>
                  <a:gd name="T2" fmla="*/ 479 w 599"/>
                  <a:gd name="T3" fmla="*/ 91 h 870"/>
                  <a:gd name="T4" fmla="*/ 300 w 599"/>
                  <a:gd name="T5" fmla="*/ 330 h 870"/>
                  <a:gd name="T6" fmla="*/ 479 w 599"/>
                  <a:gd name="T7" fmla="*/ 390 h 870"/>
                  <a:gd name="T8" fmla="*/ 479 w 599"/>
                  <a:gd name="T9" fmla="*/ 240 h 870"/>
                  <a:gd name="T10" fmla="*/ 359 w 599"/>
                  <a:gd name="T11" fmla="*/ 480 h 870"/>
                  <a:gd name="T12" fmla="*/ 419 w 599"/>
                  <a:gd name="T13" fmla="*/ 600 h 870"/>
                  <a:gd name="T14" fmla="*/ 539 w 599"/>
                  <a:gd name="T15" fmla="*/ 660 h 870"/>
                  <a:gd name="T16" fmla="*/ 479 w 599"/>
                  <a:gd name="T17" fmla="*/ 390 h 870"/>
                  <a:gd name="T18" fmla="*/ 419 w 599"/>
                  <a:gd name="T19" fmla="*/ 600 h 870"/>
                  <a:gd name="T20" fmla="*/ 419 w 599"/>
                  <a:gd name="T21" fmla="*/ 750 h 870"/>
                  <a:gd name="T22" fmla="*/ 599 w 599"/>
                  <a:gd name="T23" fmla="*/ 810 h 870"/>
                  <a:gd name="T24" fmla="*/ 330 w 599"/>
                  <a:gd name="T25" fmla="*/ 870 h 870"/>
                  <a:gd name="T26" fmla="*/ 270 w 599"/>
                  <a:gd name="T27" fmla="*/ 750 h 870"/>
                  <a:gd name="T28" fmla="*/ 150 w 599"/>
                  <a:gd name="T29" fmla="*/ 870 h 870"/>
                  <a:gd name="T30" fmla="*/ 0 w 599"/>
                  <a:gd name="T31" fmla="*/ 780 h 870"/>
                  <a:gd name="T32" fmla="*/ 120 w 599"/>
                  <a:gd name="T33" fmla="*/ 690 h 870"/>
                  <a:gd name="T34" fmla="*/ 180 w 599"/>
                  <a:gd name="T35" fmla="*/ 540 h 870"/>
                  <a:gd name="T36" fmla="*/ 300 w 599"/>
                  <a:gd name="T37" fmla="*/ 630 h 870"/>
                  <a:gd name="T38" fmla="*/ 359 w 599"/>
                  <a:gd name="T39" fmla="*/ 480 h 870"/>
                  <a:gd name="T40" fmla="*/ 180 w 599"/>
                  <a:gd name="T41" fmla="*/ 390 h 870"/>
                  <a:gd name="T42" fmla="*/ 300 w 599"/>
                  <a:gd name="T43" fmla="*/ 330 h 870"/>
                  <a:gd name="T44" fmla="*/ 389 w 599"/>
                  <a:gd name="T45" fmla="*/ 270 h 870"/>
                  <a:gd name="T46" fmla="*/ 270 w 599"/>
                  <a:gd name="T47" fmla="*/ 180 h 870"/>
                  <a:gd name="T48" fmla="*/ 479 w 599"/>
                  <a:gd name="T49" fmla="*/ 240 h 870"/>
                  <a:gd name="T50" fmla="*/ 479 w 599"/>
                  <a:gd name="T51" fmla="*/ 90 h 870"/>
                  <a:gd name="T52" fmla="*/ 210 w 599"/>
                  <a:gd name="T53" fmla="*/ 9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9" h="870">
                    <a:moveTo>
                      <a:pt x="300" y="0"/>
                    </a:moveTo>
                    <a:lnTo>
                      <a:pt x="479" y="91"/>
                    </a:lnTo>
                    <a:lnTo>
                      <a:pt x="300" y="330"/>
                    </a:lnTo>
                    <a:lnTo>
                      <a:pt x="479" y="390"/>
                    </a:lnTo>
                    <a:lnTo>
                      <a:pt x="479" y="240"/>
                    </a:lnTo>
                    <a:lnTo>
                      <a:pt x="359" y="480"/>
                    </a:lnTo>
                    <a:lnTo>
                      <a:pt x="419" y="600"/>
                    </a:lnTo>
                    <a:lnTo>
                      <a:pt x="539" y="660"/>
                    </a:lnTo>
                    <a:lnTo>
                      <a:pt x="479" y="390"/>
                    </a:lnTo>
                    <a:lnTo>
                      <a:pt x="419" y="600"/>
                    </a:lnTo>
                    <a:lnTo>
                      <a:pt x="419" y="750"/>
                    </a:lnTo>
                    <a:lnTo>
                      <a:pt x="599" y="810"/>
                    </a:lnTo>
                    <a:lnTo>
                      <a:pt x="330" y="870"/>
                    </a:lnTo>
                    <a:lnTo>
                      <a:pt x="270" y="750"/>
                    </a:lnTo>
                    <a:lnTo>
                      <a:pt x="150" y="870"/>
                    </a:lnTo>
                    <a:lnTo>
                      <a:pt x="0" y="780"/>
                    </a:lnTo>
                    <a:lnTo>
                      <a:pt x="120" y="690"/>
                    </a:lnTo>
                    <a:lnTo>
                      <a:pt x="180" y="540"/>
                    </a:lnTo>
                    <a:lnTo>
                      <a:pt x="300" y="630"/>
                    </a:lnTo>
                    <a:lnTo>
                      <a:pt x="359" y="480"/>
                    </a:lnTo>
                    <a:lnTo>
                      <a:pt x="180" y="390"/>
                    </a:lnTo>
                    <a:lnTo>
                      <a:pt x="300" y="330"/>
                    </a:lnTo>
                    <a:lnTo>
                      <a:pt x="389" y="270"/>
                    </a:lnTo>
                    <a:lnTo>
                      <a:pt x="270" y="180"/>
                    </a:lnTo>
                    <a:lnTo>
                      <a:pt x="479" y="240"/>
                    </a:lnTo>
                    <a:lnTo>
                      <a:pt x="479" y="9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2" name="Line 2489">
                <a:extLst>
                  <a:ext uri="{FF2B5EF4-FFF2-40B4-BE49-F238E27FC236}">
                    <a16:creationId xmlns:a16="http://schemas.microsoft.com/office/drawing/2014/main" id="{22B8C267-F80C-4308-B1B2-3FFEA2079C39}"/>
                  </a:ext>
                </a:extLst>
              </p:cNvPr>
              <p:cNvSpPr>
                <a:spLocks noChangeShapeType="1"/>
              </p:cNvSpPr>
              <p:nvPr/>
            </p:nvSpPr>
            <p:spPr bwMode="auto">
              <a:xfrm flipV="1">
                <a:off x="2026" y="1110"/>
                <a:ext cx="209"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3" name="Freeform 2490">
                <a:extLst>
                  <a:ext uri="{FF2B5EF4-FFF2-40B4-BE49-F238E27FC236}">
                    <a16:creationId xmlns:a16="http://schemas.microsoft.com/office/drawing/2014/main" id="{024342E5-E9C0-4B9B-8545-038AEA66DB4A}"/>
                  </a:ext>
                </a:extLst>
              </p:cNvPr>
              <p:cNvSpPr>
                <a:spLocks/>
              </p:cNvSpPr>
              <p:nvPr/>
            </p:nvSpPr>
            <p:spPr bwMode="auto">
              <a:xfrm>
                <a:off x="1276" y="1290"/>
                <a:ext cx="780" cy="1080"/>
              </a:xfrm>
              <a:custGeom>
                <a:avLst/>
                <a:gdLst>
                  <a:gd name="T0" fmla="*/ 630 w 780"/>
                  <a:gd name="T1" fmla="*/ 1080 h 1080"/>
                  <a:gd name="T2" fmla="*/ 600 w 780"/>
                  <a:gd name="T3" fmla="*/ 870 h 1080"/>
                  <a:gd name="T4" fmla="*/ 480 w 780"/>
                  <a:gd name="T5" fmla="*/ 630 h 1080"/>
                  <a:gd name="T6" fmla="*/ 390 w 780"/>
                  <a:gd name="T7" fmla="*/ 720 h 1080"/>
                  <a:gd name="T8" fmla="*/ 270 w 780"/>
                  <a:gd name="T9" fmla="*/ 870 h 1080"/>
                  <a:gd name="T10" fmla="*/ 180 w 780"/>
                  <a:gd name="T11" fmla="*/ 750 h 1080"/>
                  <a:gd name="T12" fmla="*/ 210 w 780"/>
                  <a:gd name="T13" fmla="*/ 600 h 1080"/>
                  <a:gd name="T14" fmla="*/ 90 w 780"/>
                  <a:gd name="T15" fmla="*/ 660 h 1080"/>
                  <a:gd name="T16" fmla="*/ 0 w 780"/>
                  <a:gd name="T17" fmla="*/ 870 h 1080"/>
                  <a:gd name="T18" fmla="*/ 60 w 780"/>
                  <a:gd name="T19" fmla="*/ 510 h 1080"/>
                  <a:gd name="T20" fmla="*/ 0 w 780"/>
                  <a:gd name="T21" fmla="*/ 420 h 1080"/>
                  <a:gd name="T22" fmla="*/ 120 w 780"/>
                  <a:gd name="T23" fmla="*/ 330 h 1080"/>
                  <a:gd name="T24" fmla="*/ 300 w 780"/>
                  <a:gd name="T25" fmla="*/ 390 h 1080"/>
                  <a:gd name="T26" fmla="*/ 330 w 780"/>
                  <a:gd name="T27" fmla="*/ 510 h 1080"/>
                  <a:gd name="T28" fmla="*/ 480 w 780"/>
                  <a:gd name="T29" fmla="*/ 390 h 1080"/>
                  <a:gd name="T30" fmla="*/ 660 w 780"/>
                  <a:gd name="T31" fmla="*/ 240 h 1080"/>
                  <a:gd name="T32" fmla="*/ 480 w 780"/>
                  <a:gd name="T33" fmla="*/ 150 h 1080"/>
                  <a:gd name="T34" fmla="*/ 600 w 780"/>
                  <a:gd name="T35" fmla="*/ 120 h 1080"/>
                  <a:gd name="T36" fmla="*/ 780 w 780"/>
                  <a:gd name="T37" fmla="*/ 180 h 1080"/>
                  <a:gd name="T38" fmla="*/ 750 w 780"/>
                  <a:gd name="T39" fmla="*/ 30 h 1080"/>
                  <a:gd name="T40" fmla="*/ 600 w 780"/>
                  <a:gd name="T41" fmla="*/ 120 h 1080"/>
                  <a:gd name="T42" fmla="*/ 510 w 780"/>
                  <a:gd name="T43" fmla="*/ 0 h 1080"/>
                  <a:gd name="T44" fmla="*/ 480 w 780"/>
                  <a:gd name="T45" fmla="*/ 150 h 1080"/>
                  <a:gd name="T46" fmla="*/ 510 w 780"/>
                  <a:gd name="T47" fmla="*/ 300 h 1080"/>
                  <a:gd name="T48" fmla="*/ 480 w 780"/>
                  <a:gd name="T49" fmla="*/ 390 h 1080"/>
                  <a:gd name="T50" fmla="*/ 600 w 780"/>
                  <a:gd name="T51" fmla="*/ 54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1080">
                    <a:moveTo>
                      <a:pt x="630" y="1080"/>
                    </a:moveTo>
                    <a:lnTo>
                      <a:pt x="600" y="870"/>
                    </a:lnTo>
                    <a:lnTo>
                      <a:pt x="480" y="630"/>
                    </a:lnTo>
                    <a:lnTo>
                      <a:pt x="390" y="720"/>
                    </a:lnTo>
                    <a:lnTo>
                      <a:pt x="270" y="870"/>
                    </a:lnTo>
                    <a:lnTo>
                      <a:pt x="180" y="750"/>
                    </a:lnTo>
                    <a:lnTo>
                      <a:pt x="210" y="600"/>
                    </a:lnTo>
                    <a:lnTo>
                      <a:pt x="90" y="660"/>
                    </a:lnTo>
                    <a:lnTo>
                      <a:pt x="0" y="870"/>
                    </a:lnTo>
                    <a:lnTo>
                      <a:pt x="60" y="510"/>
                    </a:lnTo>
                    <a:lnTo>
                      <a:pt x="0" y="420"/>
                    </a:lnTo>
                    <a:lnTo>
                      <a:pt x="120" y="330"/>
                    </a:lnTo>
                    <a:lnTo>
                      <a:pt x="300" y="390"/>
                    </a:lnTo>
                    <a:lnTo>
                      <a:pt x="330" y="510"/>
                    </a:lnTo>
                    <a:lnTo>
                      <a:pt x="480" y="390"/>
                    </a:lnTo>
                    <a:lnTo>
                      <a:pt x="660" y="240"/>
                    </a:lnTo>
                    <a:lnTo>
                      <a:pt x="480" y="150"/>
                    </a:lnTo>
                    <a:lnTo>
                      <a:pt x="600" y="120"/>
                    </a:lnTo>
                    <a:lnTo>
                      <a:pt x="780" y="180"/>
                    </a:lnTo>
                    <a:lnTo>
                      <a:pt x="750" y="30"/>
                    </a:lnTo>
                    <a:lnTo>
                      <a:pt x="600" y="120"/>
                    </a:lnTo>
                    <a:lnTo>
                      <a:pt x="510" y="0"/>
                    </a:lnTo>
                    <a:lnTo>
                      <a:pt x="480" y="150"/>
                    </a:lnTo>
                    <a:lnTo>
                      <a:pt x="510" y="300"/>
                    </a:lnTo>
                    <a:lnTo>
                      <a:pt x="480" y="390"/>
                    </a:lnTo>
                    <a:lnTo>
                      <a:pt x="60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4" name="Line 2491">
                <a:extLst>
                  <a:ext uri="{FF2B5EF4-FFF2-40B4-BE49-F238E27FC236}">
                    <a16:creationId xmlns:a16="http://schemas.microsoft.com/office/drawing/2014/main" id="{789E8CCE-2ECB-443B-AFDC-FFA9E34EF2BE}"/>
                  </a:ext>
                </a:extLst>
              </p:cNvPr>
              <p:cNvSpPr>
                <a:spLocks noChangeShapeType="1"/>
              </p:cNvSpPr>
              <p:nvPr/>
            </p:nvSpPr>
            <p:spPr bwMode="auto">
              <a:xfrm>
                <a:off x="1909" y="2013"/>
                <a:ext cx="87" cy="17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5" name="Freeform 2492">
                <a:extLst>
                  <a:ext uri="{FF2B5EF4-FFF2-40B4-BE49-F238E27FC236}">
                    <a16:creationId xmlns:a16="http://schemas.microsoft.com/office/drawing/2014/main" id="{45AC310F-3937-4772-AC53-6EA25CD8D184}"/>
                  </a:ext>
                </a:extLst>
              </p:cNvPr>
              <p:cNvSpPr>
                <a:spLocks/>
              </p:cNvSpPr>
              <p:nvPr/>
            </p:nvSpPr>
            <p:spPr bwMode="auto">
              <a:xfrm>
                <a:off x="1876" y="1890"/>
                <a:ext cx="210" cy="270"/>
              </a:xfrm>
              <a:custGeom>
                <a:avLst/>
                <a:gdLst>
                  <a:gd name="T0" fmla="*/ 210 w 210"/>
                  <a:gd name="T1" fmla="*/ 120 h 270"/>
                  <a:gd name="T2" fmla="*/ 0 w 210"/>
                  <a:gd name="T3" fmla="*/ 270 h 270"/>
                  <a:gd name="T4" fmla="*/ 150 w 210"/>
                  <a:gd name="T5" fmla="*/ 0 h 270"/>
                </a:gdLst>
                <a:ahLst/>
                <a:cxnLst>
                  <a:cxn ang="0">
                    <a:pos x="T0" y="T1"/>
                  </a:cxn>
                  <a:cxn ang="0">
                    <a:pos x="T2" y="T3"/>
                  </a:cxn>
                  <a:cxn ang="0">
                    <a:pos x="T4" y="T5"/>
                  </a:cxn>
                </a:cxnLst>
                <a:rect l="0" t="0" r="r" b="b"/>
                <a:pathLst>
                  <a:path w="210" h="270">
                    <a:moveTo>
                      <a:pt x="210" y="120"/>
                    </a:moveTo>
                    <a:lnTo>
                      <a:pt x="0" y="27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6" name="Freeform 2493">
                <a:extLst>
                  <a:ext uri="{FF2B5EF4-FFF2-40B4-BE49-F238E27FC236}">
                    <a16:creationId xmlns:a16="http://schemas.microsoft.com/office/drawing/2014/main" id="{8D2B06F8-440B-4F37-A5B8-DE6EDC13C9DE}"/>
                  </a:ext>
                </a:extLst>
              </p:cNvPr>
              <p:cNvSpPr>
                <a:spLocks/>
              </p:cNvSpPr>
              <p:nvPr/>
            </p:nvSpPr>
            <p:spPr bwMode="auto">
              <a:xfrm>
                <a:off x="2175" y="1620"/>
                <a:ext cx="360" cy="483"/>
              </a:xfrm>
              <a:custGeom>
                <a:avLst/>
                <a:gdLst>
                  <a:gd name="T0" fmla="*/ 0 w 432"/>
                  <a:gd name="T1" fmla="*/ 146 h 579"/>
                  <a:gd name="T2" fmla="*/ 216 w 432"/>
                  <a:gd name="T3" fmla="*/ 0 h 579"/>
                  <a:gd name="T4" fmla="*/ 144 w 432"/>
                  <a:gd name="T5" fmla="*/ 216 h 579"/>
                  <a:gd name="T6" fmla="*/ 360 w 432"/>
                  <a:gd name="T7" fmla="*/ 252 h 579"/>
                  <a:gd name="T8" fmla="*/ 324 w 432"/>
                  <a:gd name="T9" fmla="*/ 578 h 579"/>
                  <a:gd name="T10" fmla="*/ 432 w 432"/>
                  <a:gd name="T11" fmla="*/ 432 h 579"/>
                  <a:gd name="T12" fmla="*/ 220 w 432"/>
                  <a:gd name="T13" fmla="*/ 399 h 579"/>
                  <a:gd name="T14" fmla="*/ 112 w 432"/>
                  <a:gd name="T15" fmla="*/ 579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579">
                    <a:moveTo>
                      <a:pt x="0" y="146"/>
                    </a:moveTo>
                    <a:cubicBezTo>
                      <a:pt x="216" y="0"/>
                      <a:pt x="216" y="0"/>
                      <a:pt x="216" y="0"/>
                    </a:cubicBezTo>
                    <a:cubicBezTo>
                      <a:pt x="144" y="216"/>
                      <a:pt x="144" y="216"/>
                      <a:pt x="144" y="216"/>
                    </a:cubicBezTo>
                    <a:cubicBezTo>
                      <a:pt x="360" y="252"/>
                      <a:pt x="360" y="252"/>
                      <a:pt x="360" y="252"/>
                    </a:cubicBezTo>
                    <a:cubicBezTo>
                      <a:pt x="324" y="578"/>
                      <a:pt x="324" y="578"/>
                      <a:pt x="324" y="578"/>
                    </a:cubicBezTo>
                    <a:cubicBezTo>
                      <a:pt x="432" y="432"/>
                      <a:pt x="432" y="432"/>
                      <a:pt x="432" y="432"/>
                    </a:cubicBezTo>
                    <a:cubicBezTo>
                      <a:pt x="220" y="399"/>
                      <a:pt x="220" y="399"/>
                      <a:pt x="220" y="399"/>
                    </a:cubicBezTo>
                    <a:cubicBezTo>
                      <a:pt x="220" y="399"/>
                      <a:pt x="108" y="576"/>
                      <a:pt x="112" y="579"/>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7" name="Freeform 2494">
                <a:extLst>
                  <a:ext uri="{FF2B5EF4-FFF2-40B4-BE49-F238E27FC236}">
                    <a16:creationId xmlns:a16="http://schemas.microsoft.com/office/drawing/2014/main" id="{F49BAF15-0212-4377-810C-026D1F12BD90}"/>
                  </a:ext>
                </a:extLst>
              </p:cNvPr>
              <p:cNvSpPr>
                <a:spLocks/>
              </p:cNvSpPr>
              <p:nvPr/>
            </p:nvSpPr>
            <p:spPr bwMode="auto">
              <a:xfrm>
                <a:off x="2175" y="1800"/>
                <a:ext cx="120" cy="303"/>
              </a:xfrm>
              <a:custGeom>
                <a:avLst/>
                <a:gdLst>
                  <a:gd name="T0" fmla="*/ 0 w 120"/>
                  <a:gd name="T1" fmla="*/ 90 h 303"/>
                  <a:gd name="T2" fmla="*/ 120 w 120"/>
                  <a:gd name="T3" fmla="*/ 0 h 303"/>
                  <a:gd name="T4" fmla="*/ 94 w 120"/>
                  <a:gd name="T5" fmla="*/ 303 h 303"/>
                </a:gdLst>
                <a:ahLst/>
                <a:cxnLst>
                  <a:cxn ang="0">
                    <a:pos x="T0" y="T1"/>
                  </a:cxn>
                  <a:cxn ang="0">
                    <a:pos x="T2" y="T3"/>
                  </a:cxn>
                  <a:cxn ang="0">
                    <a:pos x="T4" y="T5"/>
                  </a:cxn>
                </a:cxnLst>
                <a:rect l="0" t="0" r="r" b="b"/>
                <a:pathLst>
                  <a:path w="120" h="303">
                    <a:moveTo>
                      <a:pt x="0" y="90"/>
                    </a:moveTo>
                    <a:lnTo>
                      <a:pt x="120" y="0"/>
                    </a:lnTo>
                    <a:lnTo>
                      <a:pt x="94" y="30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8" name="Freeform 2495">
                <a:extLst>
                  <a:ext uri="{FF2B5EF4-FFF2-40B4-BE49-F238E27FC236}">
                    <a16:creationId xmlns:a16="http://schemas.microsoft.com/office/drawing/2014/main" id="{1C25031A-E059-465D-9F51-0ABB89F63365}"/>
                  </a:ext>
                </a:extLst>
              </p:cNvPr>
              <p:cNvSpPr>
                <a:spLocks/>
              </p:cNvSpPr>
              <p:nvPr/>
            </p:nvSpPr>
            <p:spPr bwMode="auto">
              <a:xfrm>
                <a:off x="2625" y="1922"/>
                <a:ext cx="1110" cy="868"/>
              </a:xfrm>
              <a:custGeom>
                <a:avLst/>
                <a:gdLst>
                  <a:gd name="T0" fmla="*/ 240 w 1110"/>
                  <a:gd name="T1" fmla="*/ 0 h 868"/>
                  <a:gd name="T2" fmla="*/ 210 w 1110"/>
                  <a:gd name="T3" fmla="*/ 148 h 868"/>
                  <a:gd name="T4" fmla="*/ 150 w 1110"/>
                  <a:gd name="T5" fmla="*/ 238 h 868"/>
                  <a:gd name="T6" fmla="*/ 0 w 1110"/>
                  <a:gd name="T7" fmla="*/ 328 h 868"/>
                  <a:gd name="T8" fmla="*/ 0 w 1110"/>
                  <a:gd name="T9" fmla="*/ 478 h 868"/>
                  <a:gd name="T10" fmla="*/ 120 w 1110"/>
                  <a:gd name="T11" fmla="*/ 388 h 868"/>
                  <a:gd name="T12" fmla="*/ 270 w 1110"/>
                  <a:gd name="T13" fmla="*/ 268 h 868"/>
                  <a:gd name="T14" fmla="*/ 510 w 1110"/>
                  <a:gd name="T15" fmla="*/ 118 h 868"/>
                  <a:gd name="T16" fmla="*/ 600 w 1110"/>
                  <a:gd name="T17" fmla="*/ 178 h 868"/>
                  <a:gd name="T18" fmla="*/ 690 w 1110"/>
                  <a:gd name="T19" fmla="*/ 298 h 868"/>
                  <a:gd name="T20" fmla="*/ 780 w 1110"/>
                  <a:gd name="T21" fmla="*/ 178 h 868"/>
                  <a:gd name="T22" fmla="*/ 600 w 1110"/>
                  <a:gd name="T23" fmla="*/ 178 h 868"/>
                  <a:gd name="T24" fmla="*/ 600 w 1110"/>
                  <a:gd name="T25" fmla="*/ 329 h 868"/>
                  <a:gd name="T26" fmla="*/ 510 w 1110"/>
                  <a:gd name="T27" fmla="*/ 298 h 868"/>
                  <a:gd name="T28" fmla="*/ 480 w 1110"/>
                  <a:gd name="T29" fmla="*/ 388 h 868"/>
                  <a:gd name="T30" fmla="*/ 480 w 1110"/>
                  <a:gd name="T31" fmla="*/ 628 h 868"/>
                  <a:gd name="T32" fmla="*/ 600 w 1110"/>
                  <a:gd name="T33" fmla="*/ 538 h 868"/>
                  <a:gd name="T34" fmla="*/ 688 w 1110"/>
                  <a:gd name="T35" fmla="*/ 630 h 868"/>
                  <a:gd name="T36" fmla="*/ 660 w 1110"/>
                  <a:gd name="T37" fmla="*/ 448 h 868"/>
                  <a:gd name="T38" fmla="*/ 750 w 1110"/>
                  <a:gd name="T39" fmla="*/ 388 h 868"/>
                  <a:gd name="T40" fmla="*/ 870 w 1110"/>
                  <a:gd name="T41" fmla="*/ 448 h 868"/>
                  <a:gd name="T42" fmla="*/ 750 w 1110"/>
                  <a:gd name="T43" fmla="*/ 508 h 868"/>
                  <a:gd name="T44" fmla="*/ 840 w 1110"/>
                  <a:gd name="T45" fmla="*/ 568 h 868"/>
                  <a:gd name="T46" fmla="*/ 1110 w 1110"/>
                  <a:gd name="T47" fmla="*/ 538 h 868"/>
                  <a:gd name="T48" fmla="*/ 990 w 1110"/>
                  <a:gd name="T49" fmla="*/ 598 h 868"/>
                  <a:gd name="T50" fmla="*/ 1020 w 1110"/>
                  <a:gd name="T51" fmla="*/ 868 h 868"/>
                  <a:gd name="T52" fmla="*/ 810 w 1110"/>
                  <a:gd name="T53" fmla="*/ 68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0" h="868">
                    <a:moveTo>
                      <a:pt x="240" y="0"/>
                    </a:moveTo>
                    <a:lnTo>
                      <a:pt x="210" y="148"/>
                    </a:lnTo>
                    <a:lnTo>
                      <a:pt x="150" y="238"/>
                    </a:lnTo>
                    <a:lnTo>
                      <a:pt x="0" y="328"/>
                    </a:lnTo>
                    <a:lnTo>
                      <a:pt x="0" y="478"/>
                    </a:lnTo>
                    <a:lnTo>
                      <a:pt x="120" y="388"/>
                    </a:lnTo>
                    <a:lnTo>
                      <a:pt x="270" y="268"/>
                    </a:lnTo>
                    <a:lnTo>
                      <a:pt x="510" y="118"/>
                    </a:lnTo>
                    <a:lnTo>
                      <a:pt x="600" y="178"/>
                    </a:lnTo>
                    <a:lnTo>
                      <a:pt x="690" y="298"/>
                    </a:lnTo>
                    <a:lnTo>
                      <a:pt x="780" y="178"/>
                    </a:lnTo>
                    <a:lnTo>
                      <a:pt x="600" y="178"/>
                    </a:lnTo>
                    <a:lnTo>
                      <a:pt x="600" y="329"/>
                    </a:lnTo>
                    <a:lnTo>
                      <a:pt x="510" y="298"/>
                    </a:lnTo>
                    <a:lnTo>
                      <a:pt x="480" y="388"/>
                    </a:lnTo>
                    <a:lnTo>
                      <a:pt x="480" y="628"/>
                    </a:lnTo>
                    <a:lnTo>
                      <a:pt x="600" y="538"/>
                    </a:lnTo>
                    <a:lnTo>
                      <a:pt x="688" y="630"/>
                    </a:lnTo>
                    <a:lnTo>
                      <a:pt x="660" y="448"/>
                    </a:lnTo>
                    <a:lnTo>
                      <a:pt x="750" y="388"/>
                    </a:lnTo>
                    <a:lnTo>
                      <a:pt x="870" y="448"/>
                    </a:lnTo>
                    <a:lnTo>
                      <a:pt x="750" y="508"/>
                    </a:lnTo>
                    <a:lnTo>
                      <a:pt x="840" y="568"/>
                    </a:lnTo>
                    <a:lnTo>
                      <a:pt x="1110" y="538"/>
                    </a:lnTo>
                    <a:lnTo>
                      <a:pt x="990" y="598"/>
                    </a:lnTo>
                    <a:lnTo>
                      <a:pt x="1020" y="868"/>
                    </a:lnTo>
                    <a:lnTo>
                      <a:pt x="810" y="6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9" name="Line 2496">
                <a:extLst>
                  <a:ext uri="{FF2B5EF4-FFF2-40B4-BE49-F238E27FC236}">
                    <a16:creationId xmlns:a16="http://schemas.microsoft.com/office/drawing/2014/main" id="{4C5B743E-6A33-4E6C-8766-365BBB583368}"/>
                  </a:ext>
                </a:extLst>
              </p:cNvPr>
              <p:cNvSpPr>
                <a:spLocks noChangeShapeType="1"/>
              </p:cNvSpPr>
              <p:nvPr/>
            </p:nvSpPr>
            <p:spPr bwMode="auto">
              <a:xfrm flipV="1">
                <a:off x="2835" y="195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0" name="Line 2497">
                <a:extLst>
                  <a:ext uri="{FF2B5EF4-FFF2-40B4-BE49-F238E27FC236}">
                    <a16:creationId xmlns:a16="http://schemas.microsoft.com/office/drawing/2014/main" id="{CA222057-ABA2-4D23-B63B-2E04F23822BD}"/>
                  </a:ext>
                </a:extLst>
              </p:cNvPr>
              <p:cNvSpPr>
                <a:spLocks noChangeShapeType="1"/>
              </p:cNvSpPr>
              <p:nvPr/>
            </p:nvSpPr>
            <p:spPr bwMode="auto">
              <a:xfrm flipH="1" flipV="1">
                <a:off x="2865" y="1922"/>
                <a:ext cx="152" cy="15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1" name="Freeform 2498">
                <a:extLst>
                  <a:ext uri="{FF2B5EF4-FFF2-40B4-BE49-F238E27FC236}">
                    <a16:creationId xmlns:a16="http://schemas.microsoft.com/office/drawing/2014/main" id="{C86DBA39-01C3-4470-A6B9-69DC393C1150}"/>
                  </a:ext>
                </a:extLst>
              </p:cNvPr>
              <p:cNvSpPr>
                <a:spLocks/>
              </p:cNvSpPr>
              <p:nvPr/>
            </p:nvSpPr>
            <p:spPr bwMode="auto">
              <a:xfrm>
                <a:off x="3077" y="1713"/>
                <a:ext cx="328" cy="390"/>
              </a:xfrm>
              <a:custGeom>
                <a:avLst/>
                <a:gdLst>
                  <a:gd name="T0" fmla="*/ 271 w 328"/>
                  <a:gd name="T1" fmla="*/ 0 h 390"/>
                  <a:gd name="T2" fmla="*/ 238 w 328"/>
                  <a:gd name="T3" fmla="*/ 147 h 390"/>
                  <a:gd name="T4" fmla="*/ 151 w 328"/>
                  <a:gd name="T5" fmla="*/ 390 h 390"/>
                  <a:gd name="T6" fmla="*/ 328 w 328"/>
                  <a:gd name="T7" fmla="*/ 207 h 390"/>
                  <a:gd name="T8" fmla="*/ 328 w 328"/>
                  <a:gd name="T9" fmla="*/ 389 h 390"/>
                  <a:gd name="T10" fmla="*/ 118 w 328"/>
                  <a:gd name="T11" fmla="*/ 177 h 390"/>
                  <a:gd name="T12" fmla="*/ 58 w 328"/>
                  <a:gd name="T13" fmla="*/ 327 h 390"/>
                  <a:gd name="T14" fmla="*/ 0 w 328"/>
                  <a:gd name="T15" fmla="*/ 180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90">
                    <a:moveTo>
                      <a:pt x="271" y="0"/>
                    </a:moveTo>
                    <a:lnTo>
                      <a:pt x="238" y="147"/>
                    </a:lnTo>
                    <a:lnTo>
                      <a:pt x="151" y="390"/>
                    </a:lnTo>
                    <a:lnTo>
                      <a:pt x="328" y="207"/>
                    </a:lnTo>
                    <a:lnTo>
                      <a:pt x="328" y="389"/>
                    </a:lnTo>
                    <a:lnTo>
                      <a:pt x="118" y="177"/>
                    </a:lnTo>
                    <a:lnTo>
                      <a:pt x="58" y="327"/>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2" name="Line 2499">
                <a:extLst>
                  <a:ext uri="{FF2B5EF4-FFF2-40B4-BE49-F238E27FC236}">
                    <a16:creationId xmlns:a16="http://schemas.microsoft.com/office/drawing/2014/main" id="{FF18C7AE-4055-4979-AA09-52BA51717648}"/>
                  </a:ext>
                </a:extLst>
              </p:cNvPr>
              <p:cNvSpPr>
                <a:spLocks noChangeShapeType="1"/>
              </p:cNvSpPr>
              <p:nvPr/>
            </p:nvSpPr>
            <p:spPr bwMode="auto">
              <a:xfrm flipH="1" flipV="1">
                <a:off x="3348" y="1713"/>
                <a:ext cx="177" cy="11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3" name="Line 2500">
                <a:extLst>
                  <a:ext uri="{FF2B5EF4-FFF2-40B4-BE49-F238E27FC236}">
                    <a16:creationId xmlns:a16="http://schemas.microsoft.com/office/drawing/2014/main" id="{74F8DC09-F9BE-4D20-A62C-65604F323251}"/>
                  </a:ext>
                </a:extLst>
              </p:cNvPr>
              <p:cNvSpPr>
                <a:spLocks noChangeShapeType="1"/>
              </p:cNvSpPr>
              <p:nvPr/>
            </p:nvSpPr>
            <p:spPr bwMode="auto">
              <a:xfrm flipV="1">
                <a:off x="3315" y="1442"/>
                <a:ext cx="88" cy="118"/>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4" name="Freeform 2501">
                <a:extLst>
                  <a:ext uri="{FF2B5EF4-FFF2-40B4-BE49-F238E27FC236}">
                    <a16:creationId xmlns:a16="http://schemas.microsoft.com/office/drawing/2014/main" id="{388AA45A-76AF-47DE-9925-B4E00FFC838D}"/>
                  </a:ext>
                </a:extLst>
              </p:cNvPr>
              <p:cNvSpPr>
                <a:spLocks/>
              </p:cNvSpPr>
              <p:nvPr/>
            </p:nvSpPr>
            <p:spPr bwMode="auto">
              <a:xfrm>
                <a:off x="2625" y="780"/>
                <a:ext cx="690" cy="630"/>
              </a:xfrm>
              <a:custGeom>
                <a:avLst/>
                <a:gdLst>
                  <a:gd name="T0" fmla="*/ 660 w 690"/>
                  <a:gd name="T1" fmla="*/ 630 h 630"/>
                  <a:gd name="T2" fmla="*/ 690 w 690"/>
                  <a:gd name="T3" fmla="*/ 390 h 630"/>
                  <a:gd name="T4" fmla="*/ 570 w 690"/>
                  <a:gd name="T5" fmla="*/ 420 h 630"/>
                  <a:gd name="T6" fmla="*/ 450 w 690"/>
                  <a:gd name="T7" fmla="*/ 240 h 630"/>
                  <a:gd name="T8" fmla="*/ 420 w 690"/>
                  <a:gd name="T9" fmla="*/ 420 h 630"/>
                  <a:gd name="T10" fmla="*/ 330 w 690"/>
                  <a:gd name="T11" fmla="*/ 330 h 630"/>
                  <a:gd name="T12" fmla="*/ 210 w 690"/>
                  <a:gd name="T13" fmla="*/ 270 h 630"/>
                  <a:gd name="T14" fmla="*/ 0 w 690"/>
                  <a:gd name="T15" fmla="*/ 210 h 630"/>
                  <a:gd name="T16" fmla="*/ 270 w 690"/>
                  <a:gd name="T17" fmla="*/ 180 h 630"/>
                  <a:gd name="T18" fmla="*/ 180 w 690"/>
                  <a:gd name="T19" fmla="*/ 30 h 630"/>
                  <a:gd name="T20" fmla="*/ 330 w 690"/>
                  <a:gd name="T21" fmla="*/ 0 h 630"/>
                  <a:gd name="T22" fmla="*/ 120 w 690"/>
                  <a:gd name="T23" fmla="*/ 15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0" h="630">
                    <a:moveTo>
                      <a:pt x="660" y="630"/>
                    </a:moveTo>
                    <a:lnTo>
                      <a:pt x="690" y="390"/>
                    </a:lnTo>
                    <a:lnTo>
                      <a:pt x="570" y="420"/>
                    </a:lnTo>
                    <a:lnTo>
                      <a:pt x="450" y="240"/>
                    </a:lnTo>
                    <a:lnTo>
                      <a:pt x="420" y="420"/>
                    </a:lnTo>
                    <a:lnTo>
                      <a:pt x="330" y="330"/>
                    </a:lnTo>
                    <a:lnTo>
                      <a:pt x="210" y="270"/>
                    </a:lnTo>
                    <a:lnTo>
                      <a:pt x="0" y="210"/>
                    </a:lnTo>
                    <a:lnTo>
                      <a:pt x="270" y="180"/>
                    </a:lnTo>
                    <a:lnTo>
                      <a:pt x="180" y="30"/>
                    </a:lnTo>
                    <a:lnTo>
                      <a:pt x="330"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5" name="Line 2502">
                <a:extLst>
                  <a:ext uri="{FF2B5EF4-FFF2-40B4-BE49-F238E27FC236}">
                    <a16:creationId xmlns:a16="http://schemas.microsoft.com/office/drawing/2014/main" id="{EC2AD504-6630-444C-819D-0EAEB28A34E4}"/>
                  </a:ext>
                </a:extLst>
              </p:cNvPr>
              <p:cNvSpPr>
                <a:spLocks noChangeShapeType="1"/>
              </p:cNvSpPr>
              <p:nvPr/>
            </p:nvSpPr>
            <p:spPr bwMode="auto">
              <a:xfrm flipH="1">
                <a:off x="3285" y="1290"/>
                <a:ext cx="15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6" name="Freeform 2503">
                <a:extLst>
                  <a:ext uri="{FF2B5EF4-FFF2-40B4-BE49-F238E27FC236}">
                    <a16:creationId xmlns:a16="http://schemas.microsoft.com/office/drawing/2014/main" id="{BA985817-A526-4BAC-A45A-B4B5CDF2ED6E}"/>
                  </a:ext>
                </a:extLst>
              </p:cNvPr>
              <p:cNvSpPr>
                <a:spLocks/>
              </p:cNvSpPr>
              <p:nvPr/>
            </p:nvSpPr>
            <p:spPr bwMode="auto">
              <a:xfrm>
                <a:off x="3315" y="1082"/>
                <a:ext cx="120" cy="208"/>
              </a:xfrm>
              <a:custGeom>
                <a:avLst/>
                <a:gdLst>
                  <a:gd name="T0" fmla="*/ 120 w 120"/>
                  <a:gd name="T1" fmla="*/ 208 h 208"/>
                  <a:gd name="T2" fmla="*/ 90 w 120"/>
                  <a:gd name="T3" fmla="*/ 0 h 208"/>
                  <a:gd name="T4" fmla="*/ 0 w 120"/>
                  <a:gd name="T5" fmla="*/ 88 h 208"/>
                </a:gdLst>
                <a:ahLst/>
                <a:cxnLst>
                  <a:cxn ang="0">
                    <a:pos x="T0" y="T1"/>
                  </a:cxn>
                  <a:cxn ang="0">
                    <a:pos x="T2" y="T3"/>
                  </a:cxn>
                  <a:cxn ang="0">
                    <a:pos x="T4" y="T5"/>
                  </a:cxn>
                </a:cxnLst>
                <a:rect l="0" t="0" r="r" b="b"/>
                <a:pathLst>
                  <a:path w="120" h="208">
                    <a:moveTo>
                      <a:pt x="120" y="208"/>
                    </a:moveTo>
                    <a:lnTo>
                      <a:pt x="90" y="0"/>
                    </a:lnTo>
                    <a:lnTo>
                      <a:pt x="0" y="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7" name="Freeform 2504">
                <a:extLst>
                  <a:ext uri="{FF2B5EF4-FFF2-40B4-BE49-F238E27FC236}">
                    <a16:creationId xmlns:a16="http://schemas.microsoft.com/office/drawing/2014/main" id="{D1E2D5BC-04C8-48D2-9251-1ABAB810FD04}"/>
                  </a:ext>
                </a:extLst>
              </p:cNvPr>
              <p:cNvSpPr>
                <a:spLocks/>
              </p:cNvSpPr>
              <p:nvPr/>
            </p:nvSpPr>
            <p:spPr bwMode="auto">
              <a:xfrm>
                <a:off x="3195" y="1200"/>
                <a:ext cx="240" cy="242"/>
              </a:xfrm>
              <a:custGeom>
                <a:avLst/>
                <a:gdLst>
                  <a:gd name="T0" fmla="*/ 240 w 240"/>
                  <a:gd name="T1" fmla="*/ 90 h 242"/>
                  <a:gd name="T2" fmla="*/ 0 w 240"/>
                  <a:gd name="T3" fmla="*/ 0 h 242"/>
                  <a:gd name="T4" fmla="*/ 208 w 240"/>
                  <a:gd name="T5" fmla="*/ 242 h 242"/>
                </a:gdLst>
                <a:ahLst/>
                <a:cxnLst>
                  <a:cxn ang="0">
                    <a:pos x="T0" y="T1"/>
                  </a:cxn>
                  <a:cxn ang="0">
                    <a:pos x="T2" y="T3"/>
                  </a:cxn>
                  <a:cxn ang="0">
                    <a:pos x="T4" y="T5"/>
                  </a:cxn>
                </a:cxnLst>
                <a:rect l="0" t="0" r="r" b="b"/>
                <a:pathLst>
                  <a:path w="240" h="242">
                    <a:moveTo>
                      <a:pt x="240" y="90"/>
                    </a:moveTo>
                    <a:lnTo>
                      <a:pt x="0" y="0"/>
                    </a:lnTo>
                    <a:lnTo>
                      <a:pt x="208" y="24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8" name="Line 2505">
                <a:extLst>
                  <a:ext uri="{FF2B5EF4-FFF2-40B4-BE49-F238E27FC236}">
                    <a16:creationId xmlns:a16="http://schemas.microsoft.com/office/drawing/2014/main" id="{998CFFB9-E036-45D3-901E-66D74D0E7458}"/>
                  </a:ext>
                </a:extLst>
              </p:cNvPr>
              <p:cNvSpPr>
                <a:spLocks noChangeShapeType="1"/>
              </p:cNvSpPr>
              <p:nvPr/>
            </p:nvSpPr>
            <p:spPr bwMode="auto">
              <a:xfrm flipH="1">
                <a:off x="3585" y="1260"/>
                <a:ext cx="30" cy="272"/>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9" name="Freeform 2506">
                <a:extLst>
                  <a:ext uri="{FF2B5EF4-FFF2-40B4-BE49-F238E27FC236}">
                    <a16:creationId xmlns:a16="http://schemas.microsoft.com/office/drawing/2014/main" id="{2205CB8B-0FA3-4F32-818B-299749DD617A}"/>
                  </a:ext>
                </a:extLst>
              </p:cNvPr>
              <p:cNvSpPr>
                <a:spLocks/>
              </p:cNvSpPr>
              <p:nvPr/>
            </p:nvSpPr>
            <p:spPr bwMode="auto">
              <a:xfrm>
                <a:off x="3555" y="450"/>
                <a:ext cx="449" cy="1140"/>
              </a:xfrm>
              <a:custGeom>
                <a:avLst/>
                <a:gdLst>
                  <a:gd name="T0" fmla="*/ 449 w 449"/>
                  <a:gd name="T1" fmla="*/ 1140 h 1140"/>
                  <a:gd name="T2" fmla="*/ 329 w 449"/>
                  <a:gd name="T3" fmla="*/ 930 h 1140"/>
                  <a:gd name="T4" fmla="*/ 419 w 449"/>
                  <a:gd name="T5" fmla="*/ 690 h 1140"/>
                  <a:gd name="T6" fmla="*/ 239 w 449"/>
                  <a:gd name="T7" fmla="*/ 600 h 1140"/>
                  <a:gd name="T8" fmla="*/ 269 w 449"/>
                  <a:gd name="T9" fmla="*/ 780 h 1140"/>
                  <a:gd name="T10" fmla="*/ 389 w 449"/>
                  <a:gd name="T11" fmla="*/ 570 h 1140"/>
                  <a:gd name="T12" fmla="*/ 419 w 449"/>
                  <a:gd name="T13" fmla="*/ 450 h 1140"/>
                  <a:gd name="T14" fmla="*/ 359 w 449"/>
                  <a:gd name="T15" fmla="*/ 330 h 1140"/>
                  <a:gd name="T16" fmla="*/ 389 w 449"/>
                  <a:gd name="T17" fmla="*/ 180 h 1140"/>
                  <a:gd name="T18" fmla="*/ 239 w 449"/>
                  <a:gd name="T19" fmla="*/ 60 h 1140"/>
                  <a:gd name="T20" fmla="*/ 150 w 449"/>
                  <a:gd name="T21" fmla="*/ 180 h 1140"/>
                  <a:gd name="T22" fmla="*/ 0 w 449"/>
                  <a:gd name="T23" fmla="*/ 270 h 1140"/>
                  <a:gd name="T24" fmla="*/ 0 w 449"/>
                  <a:gd name="T25" fmla="*/ 420 h 1140"/>
                  <a:gd name="T26" fmla="*/ 120 w 449"/>
                  <a:gd name="T27" fmla="*/ 330 h 1140"/>
                  <a:gd name="T28" fmla="*/ 269 w 449"/>
                  <a:gd name="T29" fmla="*/ 210 h 1140"/>
                  <a:gd name="T30" fmla="*/ 239 w 449"/>
                  <a:gd name="T31" fmla="*/ 60 h 1140"/>
                  <a:gd name="T32" fmla="*/ 120 w 449"/>
                  <a:gd name="T33" fmla="*/ 0 h 1140"/>
                  <a:gd name="T34" fmla="*/ 30 w 449"/>
                  <a:gd name="T35" fmla="*/ 9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1140">
                    <a:moveTo>
                      <a:pt x="449" y="1140"/>
                    </a:moveTo>
                    <a:lnTo>
                      <a:pt x="329" y="930"/>
                    </a:lnTo>
                    <a:lnTo>
                      <a:pt x="419" y="690"/>
                    </a:lnTo>
                    <a:lnTo>
                      <a:pt x="239" y="600"/>
                    </a:lnTo>
                    <a:lnTo>
                      <a:pt x="269" y="780"/>
                    </a:lnTo>
                    <a:lnTo>
                      <a:pt x="389" y="570"/>
                    </a:lnTo>
                    <a:lnTo>
                      <a:pt x="419" y="450"/>
                    </a:lnTo>
                    <a:lnTo>
                      <a:pt x="359" y="330"/>
                    </a:lnTo>
                    <a:lnTo>
                      <a:pt x="389" y="180"/>
                    </a:lnTo>
                    <a:lnTo>
                      <a:pt x="239" y="60"/>
                    </a:lnTo>
                    <a:lnTo>
                      <a:pt x="150" y="180"/>
                    </a:lnTo>
                    <a:lnTo>
                      <a:pt x="0" y="270"/>
                    </a:lnTo>
                    <a:lnTo>
                      <a:pt x="0" y="420"/>
                    </a:lnTo>
                    <a:lnTo>
                      <a:pt x="120" y="330"/>
                    </a:lnTo>
                    <a:lnTo>
                      <a:pt x="269" y="210"/>
                    </a:lnTo>
                    <a:lnTo>
                      <a:pt x="239" y="60"/>
                    </a:lnTo>
                    <a:lnTo>
                      <a:pt x="120" y="0"/>
                    </a:lnTo>
                    <a:lnTo>
                      <a:pt x="3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60" name="Line 2507">
                <a:extLst>
                  <a:ext uri="{FF2B5EF4-FFF2-40B4-BE49-F238E27FC236}">
                    <a16:creationId xmlns:a16="http://schemas.microsoft.com/office/drawing/2014/main" id="{1C8FDD56-9A79-4828-A1CF-B9F73FC8E235}"/>
                  </a:ext>
                </a:extLst>
              </p:cNvPr>
              <p:cNvSpPr>
                <a:spLocks noChangeShapeType="1"/>
              </p:cNvSpPr>
              <p:nvPr/>
            </p:nvSpPr>
            <p:spPr bwMode="auto">
              <a:xfrm>
                <a:off x="4004"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61" name="Freeform 2508">
                <a:extLst>
                  <a:ext uri="{FF2B5EF4-FFF2-40B4-BE49-F238E27FC236}">
                    <a16:creationId xmlns:a16="http://schemas.microsoft.com/office/drawing/2014/main" id="{E80AA4B8-5FB6-40A4-B6E7-64A0FEA79935}"/>
                  </a:ext>
                </a:extLst>
              </p:cNvPr>
              <p:cNvSpPr>
                <a:spLocks/>
              </p:cNvSpPr>
              <p:nvPr/>
            </p:nvSpPr>
            <p:spPr bwMode="auto">
              <a:xfrm>
                <a:off x="3525" y="1740"/>
                <a:ext cx="659" cy="423"/>
              </a:xfrm>
              <a:custGeom>
                <a:avLst/>
                <a:gdLst>
                  <a:gd name="T0" fmla="*/ 300 w 659"/>
                  <a:gd name="T1" fmla="*/ 303 h 423"/>
                  <a:gd name="T2" fmla="*/ 299 w 659"/>
                  <a:gd name="T3" fmla="*/ 150 h 423"/>
                  <a:gd name="T4" fmla="*/ 451 w 659"/>
                  <a:gd name="T5" fmla="*/ 423 h 423"/>
                  <a:gd name="T6" fmla="*/ 483 w 659"/>
                  <a:gd name="T7" fmla="*/ 213 h 423"/>
                  <a:gd name="T8" fmla="*/ 659 w 659"/>
                  <a:gd name="T9" fmla="*/ 300 h 423"/>
                  <a:gd name="T10" fmla="*/ 419 w 659"/>
                  <a:gd name="T11" fmla="*/ 60 h 423"/>
                  <a:gd name="T12" fmla="*/ 479 w 659"/>
                  <a:gd name="T13" fmla="*/ 210 h 423"/>
                  <a:gd name="T14" fmla="*/ 299 w 659"/>
                  <a:gd name="T15" fmla="*/ 0 h 423"/>
                  <a:gd name="T16" fmla="*/ 150 w 659"/>
                  <a:gd name="T17" fmla="*/ 150 h 423"/>
                  <a:gd name="T18" fmla="*/ 0 w 659"/>
                  <a:gd name="T19" fmla="*/ 9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9" h="423">
                    <a:moveTo>
                      <a:pt x="300" y="303"/>
                    </a:moveTo>
                    <a:lnTo>
                      <a:pt x="299" y="150"/>
                    </a:lnTo>
                    <a:lnTo>
                      <a:pt x="451" y="423"/>
                    </a:lnTo>
                    <a:lnTo>
                      <a:pt x="483" y="213"/>
                    </a:lnTo>
                    <a:lnTo>
                      <a:pt x="659" y="300"/>
                    </a:lnTo>
                    <a:lnTo>
                      <a:pt x="419" y="60"/>
                    </a:lnTo>
                    <a:lnTo>
                      <a:pt x="479" y="210"/>
                    </a:lnTo>
                    <a:lnTo>
                      <a:pt x="299" y="0"/>
                    </a:lnTo>
                    <a:lnTo>
                      <a:pt x="150" y="15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62" name="Freeform 2509">
                <a:extLst>
                  <a:ext uri="{FF2B5EF4-FFF2-40B4-BE49-F238E27FC236}">
                    <a16:creationId xmlns:a16="http://schemas.microsoft.com/office/drawing/2014/main" id="{C7452FC8-D4A4-4F35-8289-9B911E9A5E62}"/>
                  </a:ext>
                </a:extLst>
              </p:cNvPr>
              <p:cNvSpPr>
                <a:spLocks/>
              </p:cNvSpPr>
              <p:nvPr/>
            </p:nvSpPr>
            <p:spPr bwMode="auto">
              <a:xfrm>
                <a:off x="3315" y="1860"/>
                <a:ext cx="393" cy="123"/>
              </a:xfrm>
              <a:custGeom>
                <a:avLst/>
                <a:gdLst>
                  <a:gd name="T0" fmla="*/ 393 w 393"/>
                  <a:gd name="T1" fmla="*/ 123 h 123"/>
                  <a:gd name="T2" fmla="*/ 90 w 393"/>
                  <a:gd name="T3" fmla="*/ 60 h 123"/>
                  <a:gd name="T4" fmla="*/ 0 w 393"/>
                  <a:gd name="T5" fmla="*/ 0 h 123"/>
                </a:gdLst>
                <a:ahLst/>
                <a:cxnLst>
                  <a:cxn ang="0">
                    <a:pos x="T0" y="T1"/>
                  </a:cxn>
                  <a:cxn ang="0">
                    <a:pos x="T2" y="T3"/>
                  </a:cxn>
                  <a:cxn ang="0">
                    <a:pos x="T4" y="T5"/>
                  </a:cxn>
                </a:cxnLst>
                <a:rect l="0" t="0" r="r" b="b"/>
                <a:pathLst>
                  <a:path w="393" h="123">
                    <a:moveTo>
                      <a:pt x="393" y="123"/>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63" name="Freeform 2510">
                <a:extLst>
                  <a:ext uri="{FF2B5EF4-FFF2-40B4-BE49-F238E27FC236}">
                    <a16:creationId xmlns:a16="http://schemas.microsoft.com/office/drawing/2014/main" id="{4D051B96-D849-47DC-A5EE-A94AA72187DB}"/>
                  </a:ext>
                </a:extLst>
              </p:cNvPr>
              <p:cNvSpPr>
                <a:spLocks/>
              </p:cNvSpPr>
              <p:nvPr/>
            </p:nvSpPr>
            <p:spPr bwMode="auto">
              <a:xfrm>
                <a:off x="1276" y="60"/>
                <a:ext cx="690" cy="600"/>
              </a:xfrm>
              <a:custGeom>
                <a:avLst/>
                <a:gdLst>
                  <a:gd name="T0" fmla="*/ 690 w 690"/>
                  <a:gd name="T1" fmla="*/ 600 h 600"/>
                  <a:gd name="T2" fmla="*/ 630 w 690"/>
                  <a:gd name="T3" fmla="*/ 450 h 600"/>
                  <a:gd name="T4" fmla="*/ 480 w 690"/>
                  <a:gd name="T5" fmla="*/ 210 h 600"/>
                  <a:gd name="T6" fmla="*/ 330 w 690"/>
                  <a:gd name="T7" fmla="*/ 0 h 600"/>
                  <a:gd name="T8" fmla="*/ 150 w 690"/>
                  <a:gd name="T9" fmla="*/ 90 h 600"/>
                  <a:gd name="T10" fmla="*/ 60 w 690"/>
                  <a:gd name="T11" fmla="*/ 210 h 600"/>
                  <a:gd name="T12" fmla="*/ 300 w 690"/>
                  <a:gd name="T13" fmla="*/ 210 h 600"/>
                  <a:gd name="T14" fmla="*/ 330 w 690"/>
                  <a:gd name="T15" fmla="*/ 0 h 600"/>
                  <a:gd name="T16" fmla="*/ 0 w 690"/>
                  <a:gd name="T17" fmla="*/ 60 h 600"/>
                  <a:gd name="T18" fmla="*/ 150 w 690"/>
                  <a:gd name="T19" fmla="*/ 90 h 600"/>
                  <a:gd name="T20" fmla="*/ 180 w 690"/>
                  <a:gd name="T21" fmla="*/ 240 h 600"/>
                  <a:gd name="T22" fmla="*/ 60 w 690"/>
                  <a:gd name="T23" fmla="*/ 210 h 600"/>
                  <a:gd name="T24" fmla="*/ 30 w 690"/>
                  <a:gd name="T25" fmla="*/ 360 h 600"/>
                  <a:gd name="T26" fmla="*/ 60 w 690"/>
                  <a:gd name="T27" fmla="*/ 51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0" h="600">
                    <a:moveTo>
                      <a:pt x="690" y="600"/>
                    </a:moveTo>
                    <a:lnTo>
                      <a:pt x="630" y="450"/>
                    </a:lnTo>
                    <a:lnTo>
                      <a:pt x="480" y="210"/>
                    </a:lnTo>
                    <a:lnTo>
                      <a:pt x="330" y="0"/>
                    </a:lnTo>
                    <a:lnTo>
                      <a:pt x="150" y="90"/>
                    </a:lnTo>
                    <a:lnTo>
                      <a:pt x="60" y="210"/>
                    </a:lnTo>
                    <a:lnTo>
                      <a:pt x="300" y="210"/>
                    </a:lnTo>
                    <a:lnTo>
                      <a:pt x="330" y="0"/>
                    </a:lnTo>
                    <a:lnTo>
                      <a:pt x="0" y="60"/>
                    </a:lnTo>
                    <a:lnTo>
                      <a:pt x="150" y="90"/>
                    </a:lnTo>
                    <a:lnTo>
                      <a:pt x="180" y="240"/>
                    </a:lnTo>
                    <a:lnTo>
                      <a:pt x="60" y="210"/>
                    </a:lnTo>
                    <a:lnTo>
                      <a:pt x="30" y="360"/>
                    </a:lnTo>
                    <a:lnTo>
                      <a:pt x="60"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64" name="Freeform 2511">
                <a:extLst>
                  <a:ext uri="{FF2B5EF4-FFF2-40B4-BE49-F238E27FC236}">
                    <a16:creationId xmlns:a16="http://schemas.microsoft.com/office/drawing/2014/main" id="{58C423ED-0F97-4FE1-AD37-61C9B4C0BD30}"/>
                  </a:ext>
                </a:extLst>
              </p:cNvPr>
              <p:cNvSpPr>
                <a:spLocks/>
              </p:cNvSpPr>
              <p:nvPr/>
            </p:nvSpPr>
            <p:spPr bwMode="auto">
              <a:xfrm>
                <a:off x="1306" y="2700"/>
                <a:ext cx="600" cy="510"/>
              </a:xfrm>
              <a:custGeom>
                <a:avLst/>
                <a:gdLst>
                  <a:gd name="T0" fmla="*/ 540 w 600"/>
                  <a:gd name="T1" fmla="*/ 90 h 510"/>
                  <a:gd name="T2" fmla="*/ 600 w 600"/>
                  <a:gd name="T3" fmla="*/ 270 h 510"/>
                  <a:gd name="T4" fmla="*/ 480 w 600"/>
                  <a:gd name="T5" fmla="*/ 270 h 510"/>
                  <a:gd name="T6" fmla="*/ 570 w 600"/>
                  <a:gd name="T7" fmla="*/ 420 h 510"/>
                  <a:gd name="T8" fmla="*/ 510 w 600"/>
                  <a:gd name="T9" fmla="*/ 510 h 510"/>
                  <a:gd name="T10" fmla="*/ 420 w 600"/>
                  <a:gd name="T11" fmla="*/ 360 h 510"/>
                  <a:gd name="T12" fmla="*/ 240 w 600"/>
                  <a:gd name="T13" fmla="*/ 450 h 510"/>
                  <a:gd name="T14" fmla="*/ 300 w 600"/>
                  <a:gd name="T15" fmla="*/ 270 h 510"/>
                  <a:gd name="T16" fmla="*/ 150 w 600"/>
                  <a:gd name="T17" fmla="*/ 420 h 510"/>
                  <a:gd name="T18" fmla="*/ 180 w 600"/>
                  <a:gd name="T19" fmla="*/ 300 h 510"/>
                  <a:gd name="T20" fmla="*/ 30 w 600"/>
                  <a:gd name="T21" fmla="*/ 360 h 510"/>
                  <a:gd name="T22" fmla="*/ 0 w 600"/>
                  <a:gd name="T23" fmla="*/ 510 h 510"/>
                  <a:gd name="T24" fmla="*/ 180 w 600"/>
                  <a:gd name="T25" fmla="*/ 210 h 510"/>
                  <a:gd name="T26" fmla="*/ 60 w 600"/>
                  <a:gd name="T27" fmla="*/ 120 h 510"/>
                  <a:gd name="T28" fmla="*/ 0 w 600"/>
                  <a:gd name="T29" fmla="*/ 210 h 510"/>
                  <a:gd name="T30" fmla="*/ 0 w 600"/>
                  <a:gd name="T31" fmla="*/ 0 h 510"/>
                  <a:gd name="T32" fmla="*/ 180 w 600"/>
                  <a:gd name="T33" fmla="*/ 30 h 510"/>
                  <a:gd name="T34" fmla="*/ 270 w 600"/>
                  <a:gd name="T35" fmla="*/ 120 h 510"/>
                  <a:gd name="T36" fmla="*/ 390 w 600"/>
                  <a:gd name="T37" fmla="*/ 150 h 510"/>
                  <a:gd name="T38" fmla="*/ 540 w 600"/>
                  <a:gd name="T39" fmla="*/ 9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0" h="510">
                    <a:moveTo>
                      <a:pt x="540" y="90"/>
                    </a:moveTo>
                    <a:lnTo>
                      <a:pt x="600" y="270"/>
                    </a:lnTo>
                    <a:lnTo>
                      <a:pt x="480" y="270"/>
                    </a:lnTo>
                    <a:lnTo>
                      <a:pt x="570" y="420"/>
                    </a:lnTo>
                    <a:lnTo>
                      <a:pt x="510" y="510"/>
                    </a:lnTo>
                    <a:lnTo>
                      <a:pt x="420" y="360"/>
                    </a:lnTo>
                    <a:lnTo>
                      <a:pt x="240" y="450"/>
                    </a:lnTo>
                    <a:lnTo>
                      <a:pt x="300" y="270"/>
                    </a:lnTo>
                    <a:lnTo>
                      <a:pt x="150" y="420"/>
                    </a:lnTo>
                    <a:lnTo>
                      <a:pt x="180" y="300"/>
                    </a:lnTo>
                    <a:lnTo>
                      <a:pt x="30" y="360"/>
                    </a:lnTo>
                    <a:lnTo>
                      <a:pt x="0" y="510"/>
                    </a:lnTo>
                    <a:lnTo>
                      <a:pt x="180" y="210"/>
                    </a:lnTo>
                    <a:lnTo>
                      <a:pt x="60" y="120"/>
                    </a:lnTo>
                    <a:lnTo>
                      <a:pt x="0" y="210"/>
                    </a:lnTo>
                    <a:lnTo>
                      <a:pt x="0" y="0"/>
                    </a:lnTo>
                    <a:lnTo>
                      <a:pt x="180" y="30"/>
                    </a:lnTo>
                    <a:lnTo>
                      <a:pt x="270" y="120"/>
                    </a:lnTo>
                    <a:lnTo>
                      <a:pt x="390" y="150"/>
                    </a:lnTo>
                    <a:lnTo>
                      <a:pt x="54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65" name="Freeform 2512">
                <a:extLst>
                  <a:ext uri="{FF2B5EF4-FFF2-40B4-BE49-F238E27FC236}">
                    <a16:creationId xmlns:a16="http://schemas.microsoft.com/office/drawing/2014/main" id="{11EE3321-1606-4996-831C-5A8A23A92940}"/>
                  </a:ext>
                </a:extLst>
              </p:cNvPr>
              <p:cNvSpPr>
                <a:spLocks/>
              </p:cNvSpPr>
              <p:nvPr/>
            </p:nvSpPr>
            <p:spPr bwMode="auto">
              <a:xfrm>
                <a:off x="1636" y="2700"/>
                <a:ext cx="539" cy="360"/>
              </a:xfrm>
              <a:custGeom>
                <a:avLst/>
                <a:gdLst>
                  <a:gd name="T0" fmla="*/ 90 w 539"/>
                  <a:gd name="T1" fmla="*/ 360 h 360"/>
                  <a:gd name="T2" fmla="*/ 60 w 539"/>
                  <a:gd name="T3" fmla="*/ 150 h 360"/>
                  <a:gd name="T4" fmla="*/ 0 w 539"/>
                  <a:gd name="T5" fmla="*/ 0 h 360"/>
                  <a:gd name="T6" fmla="*/ 210 w 539"/>
                  <a:gd name="T7" fmla="*/ 90 h 360"/>
                  <a:gd name="T8" fmla="*/ 360 w 539"/>
                  <a:gd name="T9" fmla="*/ 180 h 360"/>
                  <a:gd name="T10" fmla="*/ 270 w 539"/>
                  <a:gd name="T11" fmla="*/ 270 h 360"/>
                  <a:gd name="T12" fmla="*/ 450 w 539"/>
                  <a:gd name="T13" fmla="*/ 330 h 360"/>
                  <a:gd name="T14" fmla="*/ 509 w 539"/>
                  <a:gd name="T15" fmla="*/ 210 h 360"/>
                  <a:gd name="T16" fmla="*/ 360 w 539"/>
                  <a:gd name="T17" fmla="*/ 60 h 360"/>
                  <a:gd name="T18" fmla="*/ 539 w 539"/>
                  <a:gd name="T1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360">
                    <a:moveTo>
                      <a:pt x="90" y="360"/>
                    </a:moveTo>
                    <a:lnTo>
                      <a:pt x="60" y="150"/>
                    </a:lnTo>
                    <a:lnTo>
                      <a:pt x="0" y="0"/>
                    </a:lnTo>
                    <a:lnTo>
                      <a:pt x="210" y="90"/>
                    </a:lnTo>
                    <a:lnTo>
                      <a:pt x="360" y="180"/>
                    </a:lnTo>
                    <a:lnTo>
                      <a:pt x="270" y="270"/>
                    </a:lnTo>
                    <a:lnTo>
                      <a:pt x="450" y="330"/>
                    </a:lnTo>
                    <a:lnTo>
                      <a:pt x="509" y="210"/>
                    </a:lnTo>
                    <a:lnTo>
                      <a:pt x="360" y="60"/>
                    </a:lnTo>
                    <a:lnTo>
                      <a:pt x="53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66" name="Freeform 2513">
                <a:extLst>
                  <a:ext uri="{FF2B5EF4-FFF2-40B4-BE49-F238E27FC236}">
                    <a16:creationId xmlns:a16="http://schemas.microsoft.com/office/drawing/2014/main" id="{FE01FE4E-0888-4CC8-A482-6F534B0DA512}"/>
                  </a:ext>
                </a:extLst>
              </p:cNvPr>
              <p:cNvSpPr>
                <a:spLocks/>
              </p:cNvSpPr>
              <p:nvPr/>
            </p:nvSpPr>
            <p:spPr bwMode="auto">
              <a:xfrm>
                <a:off x="1456" y="3120"/>
                <a:ext cx="360" cy="90"/>
              </a:xfrm>
              <a:custGeom>
                <a:avLst/>
                <a:gdLst>
                  <a:gd name="T0" fmla="*/ 360 w 360"/>
                  <a:gd name="T1" fmla="*/ 90 h 90"/>
                  <a:gd name="T2" fmla="*/ 90 w 360"/>
                  <a:gd name="T3" fmla="*/ 30 h 90"/>
                  <a:gd name="T4" fmla="*/ 0 w 360"/>
                  <a:gd name="T5" fmla="*/ 0 h 90"/>
                </a:gdLst>
                <a:ahLst/>
                <a:cxnLst>
                  <a:cxn ang="0">
                    <a:pos x="T0" y="T1"/>
                  </a:cxn>
                  <a:cxn ang="0">
                    <a:pos x="T2" y="T3"/>
                  </a:cxn>
                  <a:cxn ang="0">
                    <a:pos x="T4" y="T5"/>
                  </a:cxn>
                </a:cxnLst>
                <a:rect l="0" t="0" r="r" b="b"/>
                <a:pathLst>
                  <a:path w="360" h="90">
                    <a:moveTo>
                      <a:pt x="360" y="90"/>
                    </a:moveTo>
                    <a:lnTo>
                      <a:pt x="9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67" name="Freeform 2514">
                <a:extLst>
                  <a:ext uri="{FF2B5EF4-FFF2-40B4-BE49-F238E27FC236}">
                    <a16:creationId xmlns:a16="http://schemas.microsoft.com/office/drawing/2014/main" id="{5BFC965A-123A-4CD8-A696-CC1A1CF6F1D2}"/>
                  </a:ext>
                </a:extLst>
              </p:cNvPr>
              <p:cNvSpPr>
                <a:spLocks/>
              </p:cNvSpPr>
              <p:nvPr/>
            </p:nvSpPr>
            <p:spPr bwMode="auto">
              <a:xfrm>
                <a:off x="1306" y="2820"/>
                <a:ext cx="270" cy="240"/>
              </a:xfrm>
              <a:custGeom>
                <a:avLst/>
                <a:gdLst>
                  <a:gd name="T0" fmla="*/ 30 w 270"/>
                  <a:gd name="T1" fmla="*/ 240 h 240"/>
                  <a:gd name="T2" fmla="*/ 0 w 270"/>
                  <a:gd name="T3" fmla="*/ 90 h 240"/>
                  <a:gd name="T4" fmla="*/ 270 w 270"/>
                  <a:gd name="T5" fmla="*/ 0 h 240"/>
                </a:gdLst>
                <a:ahLst/>
                <a:cxnLst>
                  <a:cxn ang="0">
                    <a:pos x="T0" y="T1"/>
                  </a:cxn>
                  <a:cxn ang="0">
                    <a:pos x="T2" y="T3"/>
                  </a:cxn>
                  <a:cxn ang="0">
                    <a:pos x="T4" y="T5"/>
                  </a:cxn>
                </a:cxnLst>
                <a:rect l="0" t="0" r="r" b="b"/>
                <a:pathLst>
                  <a:path w="270" h="240">
                    <a:moveTo>
                      <a:pt x="30" y="240"/>
                    </a:moveTo>
                    <a:lnTo>
                      <a:pt x="0" y="90"/>
                    </a:lnTo>
                    <a:lnTo>
                      <a:pt x="27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68" name="Freeform 2515">
                <a:extLst>
                  <a:ext uri="{FF2B5EF4-FFF2-40B4-BE49-F238E27FC236}">
                    <a16:creationId xmlns:a16="http://schemas.microsoft.com/office/drawing/2014/main" id="{41C5BBCA-1610-4601-8DD6-29B88DEAE06F}"/>
                  </a:ext>
                </a:extLst>
              </p:cNvPr>
              <p:cNvSpPr>
                <a:spLocks/>
              </p:cNvSpPr>
              <p:nvPr/>
            </p:nvSpPr>
            <p:spPr bwMode="auto">
              <a:xfrm>
                <a:off x="1486" y="2490"/>
                <a:ext cx="210" cy="240"/>
              </a:xfrm>
              <a:custGeom>
                <a:avLst/>
                <a:gdLst>
                  <a:gd name="T0" fmla="*/ 0 w 210"/>
                  <a:gd name="T1" fmla="*/ 240 h 240"/>
                  <a:gd name="T2" fmla="*/ 150 w 210"/>
                  <a:gd name="T3" fmla="*/ 210 h 240"/>
                  <a:gd name="T4" fmla="*/ 120 w 210"/>
                  <a:gd name="T5" fmla="*/ 0 h 240"/>
                  <a:gd name="T6" fmla="*/ 210 w 210"/>
                  <a:gd name="T7" fmla="*/ 60 h 240"/>
                </a:gdLst>
                <a:ahLst/>
                <a:cxnLst>
                  <a:cxn ang="0">
                    <a:pos x="T0" y="T1"/>
                  </a:cxn>
                  <a:cxn ang="0">
                    <a:pos x="T2" y="T3"/>
                  </a:cxn>
                  <a:cxn ang="0">
                    <a:pos x="T4" y="T5"/>
                  </a:cxn>
                  <a:cxn ang="0">
                    <a:pos x="T6" y="T7"/>
                  </a:cxn>
                </a:cxnLst>
                <a:rect l="0" t="0" r="r" b="b"/>
                <a:pathLst>
                  <a:path w="210" h="240">
                    <a:moveTo>
                      <a:pt x="0" y="240"/>
                    </a:moveTo>
                    <a:lnTo>
                      <a:pt x="150" y="210"/>
                    </a:lnTo>
                    <a:lnTo>
                      <a:pt x="120" y="0"/>
                    </a:lnTo>
                    <a:lnTo>
                      <a:pt x="21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69" name="Freeform 2516">
                <a:extLst>
                  <a:ext uri="{FF2B5EF4-FFF2-40B4-BE49-F238E27FC236}">
                    <a16:creationId xmlns:a16="http://schemas.microsoft.com/office/drawing/2014/main" id="{3FAF8DF1-11EC-4689-8141-C93CAAC218BF}"/>
                  </a:ext>
                </a:extLst>
              </p:cNvPr>
              <p:cNvSpPr>
                <a:spLocks/>
              </p:cNvSpPr>
              <p:nvPr/>
            </p:nvSpPr>
            <p:spPr bwMode="auto">
              <a:xfrm>
                <a:off x="1276" y="2190"/>
                <a:ext cx="510" cy="630"/>
              </a:xfrm>
              <a:custGeom>
                <a:avLst/>
                <a:gdLst>
                  <a:gd name="T0" fmla="*/ 270 w 510"/>
                  <a:gd name="T1" fmla="*/ 450 h 630"/>
                  <a:gd name="T2" fmla="*/ 0 w 510"/>
                  <a:gd name="T3" fmla="*/ 390 h 630"/>
                  <a:gd name="T4" fmla="*/ 30 w 510"/>
                  <a:gd name="T5" fmla="*/ 300 h 630"/>
                  <a:gd name="T6" fmla="*/ 210 w 510"/>
                  <a:gd name="T7" fmla="*/ 330 h 630"/>
                  <a:gd name="T8" fmla="*/ 150 w 510"/>
                  <a:gd name="T9" fmla="*/ 120 h 630"/>
                  <a:gd name="T10" fmla="*/ 90 w 510"/>
                  <a:gd name="T11" fmla="*/ 210 h 630"/>
                  <a:gd name="T12" fmla="*/ 60 w 510"/>
                  <a:gd name="T13" fmla="*/ 120 h 630"/>
                  <a:gd name="T14" fmla="*/ 180 w 510"/>
                  <a:gd name="T15" fmla="*/ 0 h 630"/>
                  <a:gd name="T16" fmla="*/ 300 w 510"/>
                  <a:gd name="T17" fmla="*/ 120 h 630"/>
                  <a:gd name="T18" fmla="*/ 510 w 510"/>
                  <a:gd name="T19" fmla="*/ 150 h 630"/>
                  <a:gd name="T20" fmla="*/ 330 w 510"/>
                  <a:gd name="T21" fmla="*/ 300 h 630"/>
                  <a:gd name="T22" fmla="*/ 270 w 510"/>
                  <a:gd name="T23" fmla="*/ 450 h 630"/>
                  <a:gd name="T24" fmla="*/ 30 w 510"/>
                  <a:gd name="T25" fmla="*/ 510 h 630"/>
                  <a:gd name="T26" fmla="*/ 300 w 510"/>
                  <a:gd name="T27" fmla="*/ 120 h 630"/>
                  <a:gd name="T28" fmla="*/ 30 w 510"/>
                  <a:gd name="T29" fmla="*/ 300 h 630"/>
                  <a:gd name="T30" fmla="*/ 90 w 510"/>
                  <a:gd name="T31" fmla="*/ 210 h 630"/>
                  <a:gd name="T32" fmla="*/ 330 w 510"/>
                  <a:gd name="T33" fmla="*/ 300 h 630"/>
                  <a:gd name="T34" fmla="*/ 210 w 510"/>
                  <a:gd name="T35" fmla="*/ 330 h 630"/>
                  <a:gd name="T36" fmla="*/ 270 w 510"/>
                  <a:gd name="T37" fmla="*/ 450 h 630"/>
                  <a:gd name="T38" fmla="*/ 210 w 510"/>
                  <a:gd name="T39" fmla="*/ 540 h 630"/>
                  <a:gd name="T40" fmla="*/ 90 w 510"/>
                  <a:gd name="T41"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0" h="630">
                    <a:moveTo>
                      <a:pt x="270" y="450"/>
                    </a:moveTo>
                    <a:lnTo>
                      <a:pt x="0" y="390"/>
                    </a:lnTo>
                    <a:lnTo>
                      <a:pt x="30" y="300"/>
                    </a:lnTo>
                    <a:lnTo>
                      <a:pt x="210" y="330"/>
                    </a:lnTo>
                    <a:lnTo>
                      <a:pt x="150" y="120"/>
                    </a:lnTo>
                    <a:lnTo>
                      <a:pt x="90" y="210"/>
                    </a:lnTo>
                    <a:lnTo>
                      <a:pt x="60" y="120"/>
                    </a:lnTo>
                    <a:lnTo>
                      <a:pt x="180" y="0"/>
                    </a:lnTo>
                    <a:lnTo>
                      <a:pt x="300" y="120"/>
                    </a:lnTo>
                    <a:lnTo>
                      <a:pt x="510" y="150"/>
                    </a:lnTo>
                    <a:lnTo>
                      <a:pt x="330" y="300"/>
                    </a:lnTo>
                    <a:lnTo>
                      <a:pt x="270" y="450"/>
                    </a:lnTo>
                    <a:lnTo>
                      <a:pt x="30" y="510"/>
                    </a:lnTo>
                    <a:lnTo>
                      <a:pt x="300" y="120"/>
                    </a:lnTo>
                    <a:lnTo>
                      <a:pt x="30" y="300"/>
                    </a:lnTo>
                    <a:lnTo>
                      <a:pt x="90" y="210"/>
                    </a:lnTo>
                    <a:lnTo>
                      <a:pt x="330" y="300"/>
                    </a:lnTo>
                    <a:lnTo>
                      <a:pt x="210" y="330"/>
                    </a:lnTo>
                    <a:lnTo>
                      <a:pt x="270" y="450"/>
                    </a:lnTo>
                    <a:lnTo>
                      <a:pt x="210" y="540"/>
                    </a:lnTo>
                    <a:lnTo>
                      <a:pt x="90" y="6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0" name="Freeform 2517">
                <a:extLst>
                  <a:ext uri="{FF2B5EF4-FFF2-40B4-BE49-F238E27FC236}">
                    <a16:creationId xmlns:a16="http://schemas.microsoft.com/office/drawing/2014/main" id="{25C28F4C-D034-4089-A1A0-90AC954DBE73}"/>
                  </a:ext>
                </a:extLst>
              </p:cNvPr>
              <p:cNvSpPr>
                <a:spLocks/>
              </p:cNvSpPr>
              <p:nvPr/>
            </p:nvSpPr>
            <p:spPr bwMode="auto">
              <a:xfrm>
                <a:off x="1576" y="2190"/>
                <a:ext cx="420" cy="480"/>
              </a:xfrm>
              <a:custGeom>
                <a:avLst/>
                <a:gdLst>
                  <a:gd name="T0" fmla="*/ 420 w 420"/>
                  <a:gd name="T1" fmla="*/ 150 h 480"/>
                  <a:gd name="T2" fmla="*/ 120 w 420"/>
                  <a:gd name="T3" fmla="*/ 0 h 480"/>
                  <a:gd name="T4" fmla="*/ 0 w 420"/>
                  <a:gd name="T5" fmla="*/ 120 h 480"/>
                  <a:gd name="T6" fmla="*/ 240 w 420"/>
                  <a:gd name="T7" fmla="*/ 300 h 480"/>
                  <a:gd name="T8" fmla="*/ 120 w 420"/>
                  <a:gd name="T9" fmla="*/ 360 h 480"/>
                  <a:gd name="T10" fmla="*/ 210 w 420"/>
                  <a:gd name="T11" fmla="*/ 480 h 480"/>
                </a:gdLst>
                <a:ahLst/>
                <a:cxnLst>
                  <a:cxn ang="0">
                    <a:pos x="T0" y="T1"/>
                  </a:cxn>
                  <a:cxn ang="0">
                    <a:pos x="T2" y="T3"/>
                  </a:cxn>
                  <a:cxn ang="0">
                    <a:pos x="T4" y="T5"/>
                  </a:cxn>
                  <a:cxn ang="0">
                    <a:pos x="T6" y="T7"/>
                  </a:cxn>
                  <a:cxn ang="0">
                    <a:pos x="T8" y="T9"/>
                  </a:cxn>
                  <a:cxn ang="0">
                    <a:pos x="T10" y="T11"/>
                  </a:cxn>
                </a:cxnLst>
                <a:rect l="0" t="0" r="r" b="b"/>
                <a:pathLst>
                  <a:path w="420" h="480">
                    <a:moveTo>
                      <a:pt x="420" y="150"/>
                    </a:moveTo>
                    <a:lnTo>
                      <a:pt x="120" y="0"/>
                    </a:lnTo>
                    <a:lnTo>
                      <a:pt x="0" y="120"/>
                    </a:lnTo>
                    <a:lnTo>
                      <a:pt x="240" y="300"/>
                    </a:lnTo>
                    <a:lnTo>
                      <a:pt x="120" y="360"/>
                    </a:lnTo>
                    <a:lnTo>
                      <a:pt x="210" y="4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1" name="Freeform 2518">
                <a:extLst>
                  <a:ext uri="{FF2B5EF4-FFF2-40B4-BE49-F238E27FC236}">
                    <a16:creationId xmlns:a16="http://schemas.microsoft.com/office/drawing/2014/main" id="{CF753B49-A5AF-4B4D-A0D4-E687D17110BB}"/>
                  </a:ext>
                </a:extLst>
              </p:cNvPr>
              <p:cNvSpPr>
                <a:spLocks/>
              </p:cNvSpPr>
              <p:nvPr/>
            </p:nvSpPr>
            <p:spPr bwMode="auto">
              <a:xfrm>
                <a:off x="1336" y="1620"/>
                <a:ext cx="420" cy="690"/>
              </a:xfrm>
              <a:custGeom>
                <a:avLst/>
                <a:gdLst>
                  <a:gd name="T0" fmla="*/ 240 w 420"/>
                  <a:gd name="T1" fmla="*/ 690 h 690"/>
                  <a:gd name="T2" fmla="*/ 210 w 420"/>
                  <a:gd name="T3" fmla="*/ 540 h 690"/>
                  <a:gd name="T4" fmla="*/ 150 w 420"/>
                  <a:gd name="T5" fmla="*/ 270 h 690"/>
                  <a:gd name="T6" fmla="*/ 60 w 420"/>
                  <a:gd name="T7" fmla="*/ 0 h 690"/>
                  <a:gd name="T8" fmla="*/ 0 w 420"/>
                  <a:gd name="T9" fmla="*/ 180 h 690"/>
                  <a:gd name="T10" fmla="*/ 150 w 420"/>
                  <a:gd name="T11" fmla="*/ 270 h 690"/>
                  <a:gd name="T12" fmla="*/ 330 w 420"/>
                  <a:gd name="T13" fmla="*/ 390 h 690"/>
                  <a:gd name="T14" fmla="*/ 270 w 420"/>
                  <a:gd name="T15" fmla="*/ 180 h 690"/>
                  <a:gd name="T16" fmla="*/ 420 w 420"/>
                  <a:gd name="T17" fmla="*/ 30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690">
                    <a:moveTo>
                      <a:pt x="240" y="690"/>
                    </a:moveTo>
                    <a:lnTo>
                      <a:pt x="210" y="540"/>
                    </a:lnTo>
                    <a:lnTo>
                      <a:pt x="150" y="270"/>
                    </a:lnTo>
                    <a:lnTo>
                      <a:pt x="60" y="0"/>
                    </a:lnTo>
                    <a:lnTo>
                      <a:pt x="0" y="180"/>
                    </a:lnTo>
                    <a:lnTo>
                      <a:pt x="150" y="270"/>
                    </a:lnTo>
                    <a:lnTo>
                      <a:pt x="330" y="390"/>
                    </a:lnTo>
                    <a:lnTo>
                      <a:pt x="270" y="180"/>
                    </a:lnTo>
                    <a:lnTo>
                      <a:pt x="42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2" name="Freeform 2519">
                <a:extLst>
                  <a:ext uri="{FF2B5EF4-FFF2-40B4-BE49-F238E27FC236}">
                    <a16:creationId xmlns:a16="http://schemas.microsoft.com/office/drawing/2014/main" id="{E830E68C-501E-44E2-9B25-9B5B6328D11A}"/>
                  </a:ext>
                </a:extLst>
              </p:cNvPr>
              <p:cNvSpPr>
                <a:spLocks/>
              </p:cNvSpPr>
              <p:nvPr/>
            </p:nvSpPr>
            <p:spPr bwMode="auto">
              <a:xfrm>
                <a:off x="1666" y="2010"/>
                <a:ext cx="420" cy="180"/>
              </a:xfrm>
              <a:custGeom>
                <a:avLst/>
                <a:gdLst>
                  <a:gd name="T0" fmla="*/ 210 w 420"/>
                  <a:gd name="T1" fmla="*/ 150 h 180"/>
                  <a:gd name="T2" fmla="*/ 0 w 420"/>
                  <a:gd name="T3" fmla="*/ 0 h 180"/>
                  <a:gd name="T4" fmla="*/ 30 w 420"/>
                  <a:gd name="T5" fmla="*/ 180 h 180"/>
                  <a:gd name="T6" fmla="*/ 243 w 420"/>
                  <a:gd name="T7" fmla="*/ 3 h 180"/>
                  <a:gd name="T8" fmla="*/ 390 w 420"/>
                  <a:gd name="T9" fmla="*/ 120 h 180"/>
                  <a:gd name="T10" fmla="*/ 420 w 420"/>
                  <a:gd name="T11" fmla="*/ 0 h 180"/>
                </a:gdLst>
                <a:ahLst/>
                <a:cxnLst>
                  <a:cxn ang="0">
                    <a:pos x="T0" y="T1"/>
                  </a:cxn>
                  <a:cxn ang="0">
                    <a:pos x="T2" y="T3"/>
                  </a:cxn>
                  <a:cxn ang="0">
                    <a:pos x="T4" y="T5"/>
                  </a:cxn>
                  <a:cxn ang="0">
                    <a:pos x="T6" y="T7"/>
                  </a:cxn>
                  <a:cxn ang="0">
                    <a:pos x="T8" y="T9"/>
                  </a:cxn>
                  <a:cxn ang="0">
                    <a:pos x="T10" y="T11"/>
                  </a:cxn>
                </a:cxnLst>
                <a:rect l="0" t="0" r="r" b="b"/>
                <a:pathLst>
                  <a:path w="420" h="180">
                    <a:moveTo>
                      <a:pt x="210" y="150"/>
                    </a:moveTo>
                    <a:lnTo>
                      <a:pt x="0" y="0"/>
                    </a:lnTo>
                    <a:lnTo>
                      <a:pt x="30" y="180"/>
                    </a:lnTo>
                    <a:lnTo>
                      <a:pt x="243" y="3"/>
                    </a:lnTo>
                    <a:lnTo>
                      <a:pt x="390" y="12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3" name="Line 2520">
                <a:extLst>
                  <a:ext uri="{FF2B5EF4-FFF2-40B4-BE49-F238E27FC236}">
                    <a16:creationId xmlns:a16="http://schemas.microsoft.com/office/drawing/2014/main" id="{23EFAF39-6F49-4FF7-AC5F-570B77924C90}"/>
                  </a:ext>
                </a:extLst>
              </p:cNvPr>
              <p:cNvSpPr>
                <a:spLocks noChangeShapeType="1"/>
              </p:cNvSpPr>
              <p:nvPr/>
            </p:nvSpPr>
            <p:spPr bwMode="auto">
              <a:xfrm>
                <a:off x="1696" y="2190"/>
                <a:ext cx="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4" name="Line 2521">
                <a:extLst>
                  <a:ext uri="{FF2B5EF4-FFF2-40B4-BE49-F238E27FC236}">
                    <a16:creationId xmlns:a16="http://schemas.microsoft.com/office/drawing/2014/main" id="{C6353FA5-498C-4829-BF68-DDB5326BF458}"/>
                  </a:ext>
                </a:extLst>
              </p:cNvPr>
              <p:cNvSpPr>
                <a:spLocks noChangeShapeType="1"/>
              </p:cNvSpPr>
              <p:nvPr/>
            </p:nvSpPr>
            <p:spPr bwMode="auto">
              <a:xfrm flipH="1" flipV="1">
                <a:off x="1426" y="2310"/>
                <a:ext cx="39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5" name="Freeform 2522">
                <a:extLst>
                  <a:ext uri="{FF2B5EF4-FFF2-40B4-BE49-F238E27FC236}">
                    <a16:creationId xmlns:a16="http://schemas.microsoft.com/office/drawing/2014/main" id="{CE16B173-2DE5-4D9A-8B9A-A2A49D8BD4BA}"/>
                  </a:ext>
                </a:extLst>
              </p:cNvPr>
              <p:cNvSpPr>
                <a:spLocks/>
              </p:cNvSpPr>
              <p:nvPr/>
            </p:nvSpPr>
            <p:spPr bwMode="auto">
              <a:xfrm>
                <a:off x="1276" y="1950"/>
                <a:ext cx="180" cy="360"/>
              </a:xfrm>
              <a:custGeom>
                <a:avLst/>
                <a:gdLst>
                  <a:gd name="T0" fmla="*/ 180 w 180"/>
                  <a:gd name="T1" fmla="*/ 240 h 360"/>
                  <a:gd name="T2" fmla="*/ 0 w 180"/>
                  <a:gd name="T3" fmla="*/ 210 h 360"/>
                  <a:gd name="T4" fmla="*/ 60 w 180"/>
                  <a:gd name="T5" fmla="*/ 360 h 360"/>
                  <a:gd name="T6" fmla="*/ 180 w 180"/>
                  <a:gd name="T7" fmla="*/ 90 h 360"/>
                  <a:gd name="T8" fmla="*/ 90 w 180"/>
                  <a:gd name="T9" fmla="*/ 0 h 360"/>
                </a:gdLst>
                <a:ahLst/>
                <a:cxnLst>
                  <a:cxn ang="0">
                    <a:pos x="T0" y="T1"/>
                  </a:cxn>
                  <a:cxn ang="0">
                    <a:pos x="T2" y="T3"/>
                  </a:cxn>
                  <a:cxn ang="0">
                    <a:pos x="T4" y="T5"/>
                  </a:cxn>
                  <a:cxn ang="0">
                    <a:pos x="T6" y="T7"/>
                  </a:cxn>
                  <a:cxn ang="0">
                    <a:pos x="T8" y="T9"/>
                  </a:cxn>
                </a:cxnLst>
                <a:rect l="0" t="0" r="r" b="b"/>
                <a:pathLst>
                  <a:path w="180" h="360">
                    <a:moveTo>
                      <a:pt x="180" y="240"/>
                    </a:moveTo>
                    <a:lnTo>
                      <a:pt x="0" y="210"/>
                    </a:lnTo>
                    <a:lnTo>
                      <a:pt x="60" y="360"/>
                    </a:lnTo>
                    <a:lnTo>
                      <a:pt x="180" y="90"/>
                    </a:lnTo>
                    <a:lnTo>
                      <a:pt x="9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6" name="Line 2523">
                <a:extLst>
                  <a:ext uri="{FF2B5EF4-FFF2-40B4-BE49-F238E27FC236}">
                    <a16:creationId xmlns:a16="http://schemas.microsoft.com/office/drawing/2014/main" id="{50C011FA-A296-4545-9305-45168F16FC94}"/>
                  </a:ext>
                </a:extLst>
              </p:cNvPr>
              <p:cNvSpPr>
                <a:spLocks noChangeShapeType="1"/>
              </p:cNvSpPr>
              <p:nvPr/>
            </p:nvSpPr>
            <p:spPr bwMode="auto">
              <a:xfrm flipV="1">
                <a:off x="1276" y="204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7" name="Freeform 2524">
                <a:extLst>
                  <a:ext uri="{FF2B5EF4-FFF2-40B4-BE49-F238E27FC236}">
                    <a16:creationId xmlns:a16="http://schemas.microsoft.com/office/drawing/2014/main" id="{495D9B54-7C5E-4D22-AF86-7261036EE368}"/>
                  </a:ext>
                </a:extLst>
              </p:cNvPr>
              <p:cNvSpPr>
                <a:spLocks/>
              </p:cNvSpPr>
              <p:nvPr/>
            </p:nvSpPr>
            <p:spPr bwMode="auto">
              <a:xfrm>
                <a:off x="1606" y="1260"/>
                <a:ext cx="180" cy="330"/>
              </a:xfrm>
              <a:custGeom>
                <a:avLst/>
                <a:gdLst>
                  <a:gd name="T0" fmla="*/ 60 w 180"/>
                  <a:gd name="T1" fmla="*/ 0 h 330"/>
                  <a:gd name="T2" fmla="*/ 180 w 180"/>
                  <a:gd name="T3" fmla="*/ 30 h 330"/>
                  <a:gd name="T4" fmla="*/ 0 w 180"/>
                  <a:gd name="T5" fmla="*/ 120 h 330"/>
                  <a:gd name="T6" fmla="*/ 180 w 180"/>
                  <a:gd name="T7" fmla="*/ 330 h 330"/>
                </a:gdLst>
                <a:ahLst/>
                <a:cxnLst>
                  <a:cxn ang="0">
                    <a:pos x="T0" y="T1"/>
                  </a:cxn>
                  <a:cxn ang="0">
                    <a:pos x="T2" y="T3"/>
                  </a:cxn>
                  <a:cxn ang="0">
                    <a:pos x="T4" y="T5"/>
                  </a:cxn>
                  <a:cxn ang="0">
                    <a:pos x="T6" y="T7"/>
                  </a:cxn>
                </a:cxnLst>
                <a:rect l="0" t="0" r="r" b="b"/>
                <a:pathLst>
                  <a:path w="180" h="330">
                    <a:moveTo>
                      <a:pt x="60" y="0"/>
                    </a:moveTo>
                    <a:lnTo>
                      <a:pt x="180" y="30"/>
                    </a:lnTo>
                    <a:lnTo>
                      <a:pt x="0" y="120"/>
                    </a:lnTo>
                    <a:lnTo>
                      <a:pt x="18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8" name="Freeform 2525">
                <a:extLst>
                  <a:ext uri="{FF2B5EF4-FFF2-40B4-BE49-F238E27FC236}">
                    <a16:creationId xmlns:a16="http://schemas.microsoft.com/office/drawing/2014/main" id="{C46A8F1E-DF75-48DD-B8D6-94AB080E9845}"/>
                  </a:ext>
                </a:extLst>
              </p:cNvPr>
              <p:cNvSpPr>
                <a:spLocks/>
              </p:cNvSpPr>
              <p:nvPr/>
            </p:nvSpPr>
            <p:spPr bwMode="auto">
              <a:xfrm>
                <a:off x="1576" y="1530"/>
                <a:ext cx="180" cy="150"/>
              </a:xfrm>
              <a:custGeom>
                <a:avLst/>
                <a:gdLst>
                  <a:gd name="T0" fmla="*/ 60 w 180"/>
                  <a:gd name="T1" fmla="*/ 0 h 150"/>
                  <a:gd name="T2" fmla="*/ 180 w 180"/>
                  <a:gd name="T3" fmla="*/ 150 h 150"/>
                  <a:gd name="T4" fmla="*/ 0 w 180"/>
                  <a:gd name="T5" fmla="*/ 150 h 150"/>
                </a:gdLst>
                <a:ahLst/>
                <a:cxnLst>
                  <a:cxn ang="0">
                    <a:pos x="T0" y="T1"/>
                  </a:cxn>
                  <a:cxn ang="0">
                    <a:pos x="T2" y="T3"/>
                  </a:cxn>
                  <a:cxn ang="0">
                    <a:pos x="T4" y="T5"/>
                  </a:cxn>
                </a:cxnLst>
                <a:rect l="0" t="0" r="r" b="b"/>
                <a:pathLst>
                  <a:path w="180" h="150">
                    <a:moveTo>
                      <a:pt x="60" y="0"/>
                    </a:moveTo>
                    <a:lnTo>
                      <a:pt x="180" y="15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9" name="Freeform 2526">
                <a:extLst>
                  <a:ext uri="{FF2B5EF4-FFF2-40B4-BE49-F238E27FC236}">
                    <a16:creationId xmlns:a16="http://schemas.microsoft.com/office/drawing/2014/main" id="{C229B9CC-AA3D-4D7A-BC9F-253A5FA3A0C2}"/>
                  </a:ext>
                </a:extLst>
              </p:cNvPr>
              <p:cNvSpPr>
                <a:spLocks/>
              </p:cNvSpPr>
              <p:nvPr/>
            </p:nvSpPr>
            <p:spPr bwMode="auto">
              <a:xfrm>
                <a:off x="1276" y="1110"/>
                <a:ext cx="690" cy="300"/>
              </a:xfrm>
              <a:custGeom>
                <a:avLst/>
                <a:gdLst>
                  <a:gd name="T0" fmla="*/ 330 w 690"/>
                  <a:gd name="T1" fmla="*/ 270 h 300"/>
                  <a:gd name="T2" fmla="*/ 240 w 690"/>
                  <a:gd name="T3" fmla="*/ 150 h 300"/>
                  <a:gd name="T4" fmla="*/ 180 w 690"/>
                  <a:gd name="T5" fmla="*/ 300 h 300"/>
                  <a:gd name="T6" fmla="*/ 0 w 690"/>
                  <a:gd name="T7" fmla="*/ 210 h 300"/>
                  <a:gd name="T8" fmla="*/ 60 w 690"/>
                  <a:gd name="T9" fmla="*/ 90 h 300"/>
                  <a:gd name="T10" fmla="*/ 240 w 690"/>
                  <a:gd name="T11" fmla="*/ 150 h 300"/>
                  <a:gd name="T12" fmla="*/ 360 w 690"/>
                  <a:gd name="T13" fmla="*/ 30 h 300"/>
                  <a:gd name="T14" fmla="*/ 390 w 690"/>
                  <a:gd name="T15" fmla="*/ 150 h 300"/>
                  <a:gd name="T16" fmla="*/ 480 w 690"/>
                  <a:gd name="T17" fmla="*/ 30 h 300"/>
                  <a:gd name="T18" fmla="*/ 690 w 690"/>
                  <a:gd name="T19" fmla="*/ 120 h 300"/>
                  <a:gd name="T20" fmla="*/ 600 w 690"/>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300">
                    <a:moveTo>
                      <a:pt x="330" y="270"/>
                    </a:moveTo>
                    <a:lnTo>
                      <a:pt x="240" y="150"/>
                    </a:lnTo>
                    <a:lnTo>
                      <a:pt x="180" y="300"/>
                    </a:lnTo>
                    <a:lnTo>
                      <a:pt x="0" y="210"/>
                    </a:lnTo>
                    <a:lnTo>
                      <a:pt x="60" y="90"/>
                    </a:lnTo>
                    <a:lnTo>
                      <a:pt x="240" y="150"/>
                    </a:lnTo>
                    <a:lnTo>
                      <a:pt x="360" y="30"/>
                    </a:lnTo>
                    <a:lnTo>
                      <a:pt x="390" y="150"/>
                    </a:lnTo>
                    <a:lnTo>
                      <a:pt x="480" y="30"/>
                    </a:lnTo>
                    <a:lnTo>
                      <a:pt x="690" y="120"/>
                    </a:lnTo>
                    <a:lnTo>
                      <a:pt x="60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0" name="Freeform 2527">
                <a:extLst>
                  <a:ext uri="{FF2B5EF4-FFF2-40B4-BE49-F238E27FC236}">
                    <a16:creationId xmlns:a16="http://schemas.microsoft.com/office/drawing/2014/main" id="{60ED1592-A722-47DA-87C1-A680E82BEB5F}"/>
                  </a:ext>
                </a:extLst>
              </p:cNvPr>
              <p:cNvSpPr>
                <a:spLocks/>
              </p:cNvSpPr>
              <p:nvPr/>
            </p:nvSpPr>
            <p:spPr bwMode="auto">
              <a:xfrm>
                <a:off x="1276" y="600"/>
                <a:ext cx="480" cy="600"/>
              </a:xfrm>
              <a:custGeom>
                <a:avLst/>
                <a:gdLst>
                  <a:gd name="T0" fmla="*/ 60 w 480"/>
                  <a:gd name="T1" fmla="*/ 480 h 600"/>
                  <a:gd name="T2" fmla="*/ 180 w 480"/>
                  <a:gd name="T3" fmla="*/ 540 h 600"/>
                  <a:gd name="T4" fmla="*/ 300 w 480"/>
                  <a:gd name="T5" fmla="*/ 420 h 600"/>
                  <a:gd name="T6" fmla="*/ 330 w 480"/>
                  <a:gd name="T7" fmla="*/ 180 h 600"/>
                  <a:gd name="T8" fmla="*/ 390 w 480"/>
                  <a:gd name="T9" fmla="*/ 300 h 600"/>
                  <a:gd name="T10" fmla="*/ 480 w 480"/>
                  <a:gd name="T11" fmla="*/ 210 h 600"/>
                  <a:gd name="T12" fmla="*/ 420 w 480"/>
                  <a:gd name="T13" fmla="*/ 60 h 600"/>
                  <a:gd name="T14" fmla="*/ 300 w 480"/>
                  <a:gd name="T15" fmla="*/ 60 h 600"/>
                  <a:gd name="T16" fmla="*/ 210 w 480"/>
                  <a:gd name="T17" fmla="*/ 0 h 600"/>
                  <a:gd name="T18" fmla="*/ 150 w 480"/>
                  <a:gd name="T19" fmla="*/ 90 h 600"/>
                  <a:gd name="T20" fmla="*/ 180 w 480"/>
                  <a:gd name="T21" fmla="*/ 270 h 600"/>
                  <a:gd name="T22" fmla="*/ 30 w 480"/>
                  <a:gd name="T23" fmla="*/ 150 h 600"/>
                  <a:gd name="T24" fmla="*/ 0 w 480"/>
                  <a:gd name="T25" fmla="*/ 300 h 600"/>
                  <a:gd name="T26" fmla="*/ 120 w 480"/>
                  <a:gd name="T27" fmla="*/ 390 h 600"/>
                  <a:gd name="T28" fmla="*/ 60 w 480"/>
                  <a:gd name="T29" fmla="*/ 480 h 600"/>
                  <a:gd name="T30" fmla="*/ 60 w 480"/>
                  <a:gd name="T3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0" h="600">
                    <a:moveTo>
                      <a:pt x="60" y="480"/>
                    </a:moveTo>
                    <a:lnTo>
                      <a:pt x="180" y="540"/>
                    </a:lnTo>
                    <a:lnTo>
                      <a:pt x="300" y="420"/>
                    </a:lnTo>
                    <a:lnTo>
                      <a:pt x="330" y="180"/>
                    </a:lnTo>
                    <a:lnTo>
                      <a:pt x="390" y="300"/>
                    </a:lnTo>
                    <a:lnTo>
                      <a:pt x="480" y="210"/>
                    </a:lnTo>
                    <a:lnTo>
                      <a:pt x="420" y="60"/>
                    </a:lnTo>
                    <a:lnTo>
                      <a:pt x="300" y="60"/>
                    </a:lnTo>
                    <a:lnTo>
                      <a:pt x="210" y="0"/>
                    </a:lnTo>
                    <a:lnTo>
                      <a:pt x="150" y="90"/>
                    </a:lnTo>
                    <a:lnTo>
                      <a:pt x="180" y="270"/>
                    </a:lnTo>
                    <a:lnTo>
                      <a:pt x="30" y="150"/>
                    </a:lnTo>
                    <a:lnTo>
                      <a:pt x="0" y="300"/>
                    </a:lnTo>
                    <a:lnTo>
                      <a:pt x="120" y="390"/>
                    </a:lnTo>
                    <a:lnTo>
                      <a:pt x="60" y="480"/>
                    </a:lnTo>
                    <a:lnTo>
                      <a:pt x="60" y="6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05" name="Freeform 2528">
                <a:extLst>
                  <a:ext uri="{FF2B5EF4-FFF2-40B4-BE49-F238E27FC236}">
                    <a16:creationId xmlns:a16="http://schemas.microsoft.com/office/drawing/2014/main" id="{19B8F55A-A744-40AE-A0FB-261019CAEB14}"/>
                  </a:ext>
                </a:extLst>
              </p:cNvPr>
              <p:cNvSpPr>
                <a:spLocks/>
              </p:cNvSpPr>
              <p:nvPr/>
            </p:nvSpPr>
            <p:spPr bwMode="auto">
              <a:xfrm>
                <a:off x="1336" y="450"/>
                <a:ext cx="90" cy="240"/>
              </a:xfrm>
              <a:custGeom>
                <a:avLst/>
                <a:gdLst>
                  <a:gd name="T0" fmla="*/ 0 w 90"/>
                  <a:gd name="T1" fmla="*/ 120 h 240"/>
                  <a:gd name="T2" fmla="*/ 90 w 90"/>
                  <a:gd name="T3" fmla="*/ 240 h 240"/>
                  <a:gd name="T4" fmla="*/ 60 w 90"/>
                  <a:gd name="T5" fmla="*/ 0 h 240"/>
                </a:gdLst>
                <a:ahLst/>
                <a:cxnLst>
                  <a:cxn ang="0">
                    <a:pos x="T0" y="T1"/>
                  </a:cxn>
                  <a:cxn ang="0">
                    <a:pos x="T2" y="T3"/>
                  </a:cxn>
                  <a:cxn ang="0">
                    <a:pos x="T4" y="T5"/>
                  </a:cxn>
                </a:cxnLst>
                <a:rect l="0" t="0" r="r" b="b"/>
                <a:pathLst>
                  <a:path w="90" h="240">
                    <a:moveTo>
                      <a:pt x="0" y="120"/>
                    </a:moveTo>
                    <a:lnTo>
                      <a:pt x="90" y="24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06" name="Freeform 2529">
                <a:extLst>
                  <a:ext uri="{FF2B5EF4-FFF2-40B4-BE49-F238E27FC236}">
                    <a16:creationId xmlns:a16="http://schemas.microsoft.com/office/drawing/2014/main" id="{1534E0A8-EF7F-45EA-B31C-D1964DADCCA6}"/>
                  </a:ext>
                </a:extLst>
              </p:cNvPr>
              <p:cNvSpPr>
                <a:spLocks/>
              </p:cNvSpPr>
              <p:nvPr/>
            </p:nvSpPr>
            <p:spPr bwMode="auto">
              <a:xfrm>
                <a:off x="1426" y="690"/>
                <a:ext cx="180" cy="330"/>
              </a:xfrm>
              <a:custGeom>
                <a:avLst/>
                <a:gdLst>
                  <a:gd name="T0" fmla="*/ 180 w 180"/>
                  <a:gd name="T1" fmla="*/ 90 h 330"/>
                  <a:gd name="T2" fmla="*/ 30 w 180"/>
                  <a:gd name="T3" fmla="*/ 180 h 330"/>
                  <a:gd name="T4" fmla="*/ 150 w 180"/>
                  <a:gd name="T5" fmla="*/ 330 h 330"/>
                  <a:gd name="T6" fmla="*/ 0 w 180"/>
                  <a:gd name="T7" fmla="*/ 0 h 330"/>
                </a:gdLst>
                <a:ahLst/>
                <a:cxnLst>
                  <a:cxn ang="0">
                    <a:pos x="T0" y="T1"/>
                  </a:cxn>
                  <a:cxn ang="0">
                    <a:pos x="T2" y="T3"/>
                  </a:cxn>
                  <a:cxn ang="0">
                    <a:pos x="T4" y="T5"/>
                  </a:cxn>
                  <a:cxn ang="0">
                    <a:pos x="T6" y="T7"/>
                  </a:cxn>
                </a:cxnLst>
                <a:rect l="0" t="0" r="r" b="b"/>
                <a:pathLst>
                  <a:path w="180" h="330">
                    <a:moveTo>
                      <a:pt x="180" y="90"/>
                    </a:moveTo>
                    <a:lnTo>
                      <a:pt x="30" y="180"/>
                    </a:lnTo>
                    <a:lnTo>
                      <a:pt x="15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07" name="Freeform 2530">
                <a:extLst>
                  <a:ext uri="{FF2B5EF4-FFF2-40B4-BE49-F238E27FC236}">
                    <a16:creationId xmlns:a16="http://schemas.microsoft.com/office/drawing/2014/main" id="{5F849349-9207-462C-B3B0-4A289A04BD9C}"/>
                  </a:ext>
                </a:extLst>
              </p:cNvPr>
              <p:cNvSpPr>
                <a:spLocks/>
              </p:cNvSpPr>
              <p:nvPr/>
            </p:nvSpPr>
            <p:spPr bwMode="auto">
              <a:xfrm>
                <a:off x="1576" y="900"/>
                <a:ext cx="210" cy="240"/>
              </a:xfrm>
              <a:custGeom>
                <a:avLst/>
                <a:gdLst>
                  <a:gd name="T0" fmla="*/ 90 w 210"/>
                  <a:gd name="T1" fmla="*/ 0 h 240"/>
                  <a:gd name="T2" fmla="*/ 60 w 210"/>
                  <a:gd name="T3" fmla="*/ 240 h 240"/>
                  <a:gd name="T4" fmla="*/ 0 w 210"/>
                  <a:gd name="T5" fmla="*/ 120 h 240"/>
                  <a:gd name="T6" fmla="*/ 180 w 210"/>
                  <a:gd name="T7" fmla="*/ 240 h 240"/>
                  <a:gd name="T8" fmla="*/ 210 w 210"/>
                  <a:gd name="T9" fmla="*/ 60 h 240"/>
                  <a:gd name="T10" fmla="*/ 90 w 210"/>
                  <a:gd name="T11" fmla="*/ 0 h 240"/>
                </a:gdLst>
                <a:ahLst/>
                <a:cxnLst>
                  <a:cxn ang="0">
                    <a:pos x="T0" y="T1"/>
                  </a:cxn>
                  <a:cxn ang="0">
                    <a:pos x="T2" y="T3"/>
                  </a:cxn>
                  <a:cxn ang="0">
                    <a:pos x="T4" y="T5"/>
                  </a:cxn>
                  <a:cxn ang="0">
                    <a:pos x="T6" y="T7"/>
                  </a:cxn>
                  <a:cxn ang="0">
                    <a:pos x="T8" y="T9"/>
                  </a:cxn>
                  <a:cxn ang="0">
                    <a:pos x="T10" y="T11"/>
                  </a:cxn>
                </a:cxnLst>
                <a:rect l="0" t="0" r="r" b="b"/>
                <a:pathLst>
                  <a:path w="210" h="240">
                    <a:moveTo>
                      <a:pt x="90" y="0"/>
                    </a:moveTo>
                    <a:lnTo>
                      <a:pt x="60" y="240"/>
                    </a:lnTo>
                    <a:lnTo>
                      <a:pt x="0" y="120"/>
                    </a:lnTo>
                    <a:lnTo>
                      <a:pt x="180" y="240"/>
                    </a:lnTo>
                    <a:lnTo>
                      <a:pt x="210" y="6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08" name="Line 2531">
                <a:extLst>
                  <a:ext uri="{FF2B5EF4-FFF2-40B4-BE49-F238E27FC236}">
                    <a16:creationId xmlns:a16="http://schemas.microsoft.com/office/drawing/2014/main" id="{8DB003CE-83D0-46CD-8354-5A3F28640206}"/>
                  </a:ext>
                </a:extLst>
              </p:cNvPr>
              <p:cNvSpPr>
                <a:spLocks noChangeShapeType="1"/>
              </p:cNvSpPr>
              <p:nvPr/>
            </p:nvSpPr>
            <p:spPr bwMode="auto">
              <a:xfrm flipV="1">
                <a:off x="1576" y="960"/>
                <a:ext cx="21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09" name="Freeform 2532">
                <a:extLst>
                  <a:ext uri="{FF2B5EF4-FFF2-40B4-BE49-F238E27FC236}">
                    <a16:creationId xmlns:a16="http://schemas.microsoft.com/office/drawing/2014/main" id="{56225920-9BA8-445C-A48C-FB48F4F79AA7}"/>
                  </a:ext>
                </a:extLst>
              </p:cNvPr>
              <p:cNvSpPr>
                <a:spLocks/>
              </p:cNvSpPr>
              <p:nvPr/>
            </p:nvSpPr>
            <p:spPr bwMode="auto">
              <a:xfrm>
                <a:off x="1276" y="990"/>
                <a:ext cx="360" cy="330"/>
              </a:xfrm>
              <a:custGeom>
                <a:avLst/>
                <a:gdLst>
                  <a:gd name="T0" fmla="*/ 120 w 360"/>
                  <a:gd name="T1" fmla="*/ 0 h 330"/>
                  <a:gd name="T2" fmla="*/ 360 w 360"/>
                  <a:gd name="T3" fmla="*/ 150 h 330"/>
                  <a:gd name="T4" fmla="*/ 180 w 360"/>
                  <a:gd name="T5" fmla="*/ 150 h 330"/>
                  <a:gd name="T6" fmla="*/ 240 w 360"/>
                  <a:gd name="T7" fmla="*/ 270 h 330"/>
                  <a:gd name="T8" fmla="*/ 0 w 360"/>
                  <a:gd name="T9" fmla="*/ 330 h 330"/>
                </a:gdLst>
                <a:ahLst/>
                <a:cxnLst>
                  <a:cxn ang="0">
                    <a:pos x="T0" y="T1"/>
                  </a:cxn>
                  <a:cxn ang="0">
                    <a:pos x="T2" y="T3"/>
                  </a:cxn>
                  <a:cxn ang="0">
                    <a:pos x="T4" y="T5"/>
                  </a:cxn>
                  <a:cxn ang="0">
                    <a:pos x="T6" y="T7"/>
                  </a:cxn>
                  <a:cxn ang="0">
                    <a:pos x="T8" y="T9"/>
                  </a:cxn>
                </a:cxnLst>
                <a:rect l="0" t="0" r="r" b="b"/>
                <a:pathLst>
                  <a:path w="360" h="330">
                    <a:moveTo>
                      <a:pt x="120" y="0"/>
                    </a:moveTo>
                    <a:lnTo>
                      <a:pt x="360" y="150"/>
                    </a:lnTo>
                    <a:lnTo>
                      <a:pt x="180" y="150"/>
                    </a:lnTo>
                    <a:lnTo>
                      <a:pt x="24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11" name="Line 2533">
                <a:extLst>
                  <a:ext uri="{FF2B5EF4-FFF2-40B4-BE49-F238E27FC236}">
                    <a16:creationId xmlns:a16="http://schemas.microsoft.com/office/drawing/2014/main" id="{3DD23D77-BF38-4E3A-B3AD-7FC14BDAC59F}"/>
                  </a:ext>
                </a:extLst>
              </p:cNvPr>
              <p:cNvSpPr>
                <a:spLocks noChangeShapeType="1"/>
              </p:cNvSpPr>
              <p:nvPr/>
            </p:nvSpPr>
            <p:spPr bwMode="auto">
              <a:xfrm flipV="1">
                <a:off x="1336" y="1140"/>
                <a:ext cx="12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13" name="Freeform 2534">
                <a:extLst>
                  <a:ext uri="{FF2B5EF4-FFF2-40B4-BE49-F238E27FC236}">
                    <a16:creationId xmlns:a16="http://schemas.microsoft.com/office/drawing/2014/main" id="{BF0C4833-3F26-41BA-854D-B21C26DEC159}"/>
                  </a:ext>
                </a:extLst>
              </p:cNvPr>
              <p:cNvSpPr>
                <a:spLocks/>
              </p:cNvSpPr>
              <p:nvPr/>
            </p:nvSpPr>
            <p:spPr bwMode="auto">
              <a:xfrm>
                <a:off x="1336" y="1290"/>
                <a:ext cx="450" cy="600"/>
              </a:xfrm>
              <a:custGeom>
                <a:avLst/>
                <a:gdLst>
                  <a:gd name="T0" fmla="*/ 270 w 450"/>
                  <a:gd name="T1" fmla="*/ 510 h 600"/>
                  <a:gd name="T2" fmla="*/ 150 w 450"/>
                  <a:gd name="T3" fmla="*/ 600 h 600"/>
                  <a:gd name="T4" fmla="*/ 270 w 450"/>
                  <a:gd name="T5" fmla="*/ 90 h 600"/>
                  <a:gd name="T6" fmla="*/ 60 w 450"/>
                  <a:gd name="T7" fmla="*/ 330 h 600"/>
                  <a:gd name="T8" fmla="*/ 0 w 450"/>
                  <a:gd name="T9" fmla="*/ 210 h 600"/>
                  <a:gd name="T10" fmla="*/ 120 w 450"/>
                  <a:gd name="T11" fmla="*/ 120 h 600"/>
                  <a:gd name="T12" fmla="*/ 240 w 450"/>
                  <a:gd name="T13" fmla="*/ 390 h 600"/>
                  <a:gd name="T14" fmla="*/ 300 w 450"/>
                  <a:gd name="T15" fmla="*/ 240 h 600"/>
                  <a:gd name="T16" fmla="*/ 450 w 45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 h="600">
                    <a:moveTo>
                      <a:pt x="270" y="510"/>
                    </a:moveTo>
                    <a:lnTo>
                      <a:pt x="150" y="600"/>
                    </a:lnTo>
                    <a:lnTo>
                      <a:pt x="270" y="90"/>
                    </a:lnTo>
                    <a:lnTo>
                      <a:pt x="60" y="330"/>
                    </a:lnTo>
                    <a:lnTo>
                      <a:pt x="0" y="210"/>
                    </a:lnTo>
                    <a:lnTo>
                      <a:pt x="120" y="120"/>
                    </a:lnTo>
                    <a:lnTo>
                      <a:pt x="240" y="390"/>
                    </a:lnTo>
                    <a:lnTo>
                      <a:pt x="300" y="24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14" name="Freeform 2535">
                <a:extLst>
                  <a:ext uri="{FF2B5EF4-FFF2-40B4-BE49-F238E27FC236}">
                    <a16:creationId xmlns:a16="http://schemas.microsoft.com/office/drawing/2014/main" id="{F91C98CD-0761-4A54-83AE-AA361A1FEF61}"/>
                  </a:ext>
                </a:extLst>
              </p:cNvPr>
              <p:cNvSpPr>
                <a:spLocks/>
              </p:cNvSpPr>
              <p:nvPr/>
            </p:nvSpPr>
            <p:spPr bwMode="auto">
              <a:xfrm>
                <a:off x="1486" y="60"/>
                <a:ext cx="390" cy="540"/>
              </a:xfrm>
              <a:custGeom>
                <a:avLst/>
                <a:gdLst>
                  <a:gd name="T0" fmla="*/ 90 w 390"/>
                  <a:gd name="T1" fmla="*/ 210 h 540"/>
                  <a:gd name="T2" fmla="*/ 270 w 390"/>
                  <a:gd name="T3" fmla="*/ 0 h 540"/>
                  <a:gd name="T4" fmla="*/ 390 w 390"/>
                  <a:gd name="T5" fmla="*/ 90 h 540"/>
                  <a:gd name="T6" fmla="*/ 360 w 390"/>
                  <a:gd name="T7" fmla="*/ 240 h 540"/>
                  <a:gd name="T8" fmla="*/ 270 w 390"/>
                  <a:gd name="T9" fmla="*/ 210 h 540"/>
                  <a:gd name="T10" fmla="*/ 60 w 390"/>
                  <a:gd name="T11" fmla="*/ 360 h 540"/>
                  <a:gd name="T12" fmla="*/ 90 w 390"/>
                  <a:gd name="T13" fmla="*/ 210 h 540"/>
                  <a:gd name="T14" fmla="*/ 240 w 390"/>
                  <a:gd name="T15" fmla="*/ 300 h 540"/>
                  <a:gd name="T16" fmla="*/ 0 w 390"/>
                  <a:gd name="T1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40">
                    <a:moveTo>
                      <a:pt x="90" y="210"/>
                    </a:moveTo>
                    <a:lnTo>
                      <a:pt x="270" y="0"/>
                    </a:lnTo>
                    <a:lnTo>
                      <a:pt x="390" y="90"/>
                    </a:lnTo>
                    <a:lnTo>
                      <a:pt x="360" y="240"/>
                    </a:lnTo>
                    <a:lnTo>
                      <a:pt x="270" y="210"/>
                    </a:lnTo>
                    <a:lnTo>
                      <a:pt x="60" y="360"/>
                    </a:lnTo>
                    <a:lnTo>
                      <a:pt x="90" y="210"/>
                    </a:lnTo>
                    <a:lnTo>
                      <a:pt x="240" y="300"/>
                    </a:lnTo>
                    <a:lnTo>
                      <a:pt x="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15" name="Line 2536">
                <a:extLst>
                  <a:ext uri="{FF2B5EF4-FFF2-40B4-BE49-F238E27FC236}">
                    <a16:creationId xmlns:a16="http://schemas.microsoft.com/office/drawing/2014/main" id="{44AB6A2B-FA6E-4DB2-89B9-54AA302390E4}"/>
                  </a:ext>
                </a:extLst>
              </p:cNvPr>
              <p:cNvSpPr>
                <a:spLocks noChangeShapeType="1"/>
              </p:cNvSpPr>
              <p:nvPr/>
            </p:nvSpPr>
            <p:spPr bwMode="auto">
              <a:xfrm>
                <a:off x="1276" y="12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16" name="Freeform 2537">
                <a:extLst>
                  <a:ext uri="{FF2B5EF4-FFF2-40B4-BE49-F238E27FC236}">
                    <a16:creationId xmlns:a16="http://schemas.microsoft.com/office/drawing/2014/main" id="{3EEF28A6-0AAC-400B-A9DD-FC1FBAA937D0}"/>
                  </a:ext>
                </a:extLst>
              </p:cNvPr>
              <p:cNvSpPr>
                <a:spLocks/>
              </p:cNvSpPr>
              <p:nvPr/>
            </p:nvSpPr>
            <p:spPr bwMode="auto">
              <a:xfrm>
                <a:off x="1306" y="420"/>
                <a:ext cx="300" cy="570"/>
              </a:xfrm>
              <a:custGeom>
                <a:avLst/>
                <a:gdLst>
                  <a:gd name="T0" fmla="*/ 90 w 300"/>
                  <a:gd name="T1" fmla="*/ 30 h 570"/>
                  <a:gd name="T2" fmla="*/ 240 w 300"/>
                  <a:gd name="T3" fmla="*/ 0 h 570"/>
                  <a:gd name="T4" fmla="*/ 180 w 300"/>
                  <a:gd name="T5" fmla="*/ 180 h 570"/>
                  <a:gd name="T6" fmla="*/ 90 w 300"/>
                  <a:gd name="T7" fmla="*/ 30 h 570"/>
                  <a:gd name="T8" fmla="*/ 30 w 300"/>
                  <a:gd name="T9" fmla="*/ 150 h 570"/>
                  <a:gd name="T10" fmla="*/ 0 w 300"/>
                  <a:gd name="T11" fmla="*/ 330 h 570"/>
                  <a:gd name="T12" fmla="*/ 90 w 300"/>
                  <a:gd name="T13" fmla="*/ 570 h 570"/>
                  <a:gd name="T14" fmla="*/ 150 w 300"/>
                  <a:gd name="T15" fmla="*/ 450 h 570"/>
                  <a:gd name="T16" fmla="*/ 270 w 300"/>
                  <a:gd name="T17" fmla="*/ 240 h 570"/>
                  <a:gd name="T18" fmla="*/ 300 w 300"/>
                  <a:gd name="T19" fmla="*/ 120 h 570"/>
                  <a:gd name="T20" fmla="*/ 240 w 30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570">
                    <a:moveTo>
                      <a:pt x="90" y="30"/>
                    </a:moveTo>
                    <a:lnTo>
                      <a:pt x="240" y="0"/>
                    </a:lnTo>
                    <a:lnTo>
                      <a:pt x="180" y="180"/>
                    </a:lnTo>
                    <a:lnTo>
                      <a:pt x="90" y="30"/>
                    </a:lnTo>
                    <a:lnTo>
                      <a:pt x="30" y="150"/>
                    </a:lnTo>
                    <a:lnTo>
                      <a:pt x="0" y="330"/>
                    </a:lnTo>
                    <a:lnTo>
                      <a:pt x="90" y="570"/>
                    </a:lnTo>
                    <a:lnTo>
                      <a:pt x="150" y="450"/>
                    </a:lnTo>
                    <a:lnTo>
                      <a:pt x="270" y="240"/>
                    </a:lnTo>
                    <a:lnTo>
                      <a:pt x="300" y="12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7" name="Freeform 2538">
                <a:extLst>
                  <a:ext uri="{FF2B5EF4-FFF2-40B4-BE49-F238E27FC236}">
                    <a16:creationId xmlns:a16="http://schemas.microsoft.com/office/drawing/2014/main" id="{46EB1139-0F19-4AC9-8FCD-56B39E0AF7A9}"/>
                  </a:ext>
                </a:extLst>
              </p:cNvPr>
              <p:cNvSpPr>
                <a:spLocks/>
              </p:cNvSpPr>
              <p:nvPr/>
            </p:nvSpPr>
            <p:spPr bwMode="auto">
              <a:xfrm>
                <a:off x="1696" y="300"/>
                <a:ext cx="150" cy="360"/>
              </a:xfrm>
              <a:custGeom>
                <a:avLst/>
                <a:gdLst>
                  <a:gd name="T0" fmla="*/ 0 w 150"/>
                  <a:gd name="T1" fmla="*/ 360 h 360"/>
                  <a:gd name="T2" fmla="*/ 30 w 150"/>
                  <a:gd name="T3" fmla="*/ 180 h 360"/>
                  <a:gd name="T4" fmla="*/ 150 w 150"/>
                  <a:gd name="T5" fmla="*/ 0 h 360"/>
                  <a:gd name="T6" fmla="*/ 30 w 150"/>
                  <a:gd name="T7" fmla="*/ 60 h 360"/>
                </a:gdLst>
                <a:ahLst/>
                <a:cxnLst>
                  <a:cxn ang="0">
                    <a:pos x="T0" y="T1"/>
                  </a:cxn>
                  <a:cxn ang="0">
                    <a:pos x="T2" y="T3"/>
                  </a:cxn>
                  <a:cxn ang="0">
                    <a:pos x="T4" y="T5"/>
                  </a:cxn>
                  <a:cxn ang="0">
                    <a:pos x="T6" y="T7"/>
                  </a:cxn>
                </a:cxnLst>
                <a:rect l="0" t="0" r="r" b="b"/>
                <a:pathLst>
                  <a:path w="150" h="360">
                    <a:moveTo>
                      <a:pt x="0" y="360"/>
                    </a:moveTo>
                    <a:lnTo>
                      <a:pt x="30" y="180"/>
                    </a:lnTo>
                    <a:lnTo>
                      <a:pt x="150" y="0"/>
                    </a:lnTo>
                    <a:lnTo>
                      <a:pt x="3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8" name="Freeform 2539">
                <a:extLst>
                  <a:ext uri="{FF2B5EF4-FFF2-40B4-BE49-F238E27FC236}">
                    <a16:creationId xmlns:a16="http://schemas.microsoft.com/office/drawing/2014/main" id="{F306FEAE-1852-4B1A-B2B8-F8889913B9D7}"/>
                  </a:ext>
                </a:extLst>
              </p:cNvPr>
              <p:cNvSpPr>
                <a:spLocks/>
              </p:cNvSpPr>
              <p:nvPr/>
            </p:nvSpPr>
            <p:spPr bwMode="auto">
              <a:xfrm>
                <a:off x="1456" y="60"/>
                <a:ext cx="390" cy="240"/>
              </a:xfrm>
              <a:custGeom>
                <a:avLst/>
                <a:gdLst>
                  <a:gd name="T0" fmla="*/ 390 w 390"/>
                  <a:gd name="T1" fmla="*/ 210 h 240"/>
                  <a:gd name="T2" fmla="*/ 300 w 390"/>
                  <a:gd name="T3" fmla="*/ 0 h 240"/>
                  <a:gd name="T4" fmla="*/ 0 w 390"/>
                  <a:gd name="T5" fmla="*/ 240 h 240"/>
                </a:gdLst>
                <a:ahLst/>
                <a:cxnLst>
                  <a:cxn ang="0">
                    <a:pos x="T0" y="T1"/>
                  </a:cxn>
                  <a:cxn ang="0">
                    <a:pos x="T2" y="T3"/>
                  </a:cxn>
                  <a:cxn ang="0">
                    <a:pos x="T4" y="T5"/>
                  </a:cxn>
                </a:cxnLst>
                <a:rect l="0" t="0" r="r" b="b"/>
                <a:pathLst>
                  <a:path w="390" h="240">
                    <a:moveTo>
                      <a:pt x="390" y="210"/>
                    </a:moveTo>
                    <a:lnTo>
                      <a:pt x="300" y="0"/>
                    </a:lnTo>
                    <a:lnTo>
                      <a:pt x="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0" name="Freeform 2540">
                <a:extLst>
                  <a:ext uri="{FF2B5EF4-FFF2-40B4-BE49-F238E27FC236}">
                    <a16:creationId xmlns:a16="http://schemas.microsoft.com/office/drawing/2014/main" id="{F7053F5F-4E85-406E-B2FA-D6B4E8229327}"/>
                  </a:ext>
                </a:extLst>
              </p:cNvPr>
              <p:cNvSpPr>
                <a:spLocks/>
              </p:cNvSpPr>
              <p:nvPr/>
            </p:nvSpPr>
            <p:spPr bwMode="auto">
              <a:xfrm>
                <a:off x="3974" y="2700"/>
                <a:ext cx="480" cy="360"/>
              </a:xfrm>
              <a:custGeom>
                <a:avLst/>
                <a:gdLst>
                  <a:gd name="T0" fmla="*/ 0 w 480"/>
                  <a:gd name="T1" fmla="*/ 300 h 360"/>
                  <a:gd name="T2" fmla="*/ 30 w 480"/>
                  <a:gd name="T3" fmla="*/ 150 h 360"/>
                  <a:gd name="T4" fmla="*/ 180 w 480"/>
                  <a:gd name="T5" fmla="*/ 360 h 360"/>
                  <a:gd name="T6" fmla="*/ 330 w 480"/>
                  <a:gd name="T7" fmla="*/ 300 h 360"/>
                  <a:gd name="T8" fmla="*/ 330 w 480"/>
                  <a:gd name="T9" fmla="*/ 210 h 360"/>
                  <a:gd name="T10" fmla="*/ 150 w 480"/>
                  <a:gd name="T11" fmla="*/ 210 h 360"/>
                  <a:gd name="T12" fmla="*/ 420 w 480"/>
                  <a:gd name="T13" fmla="*/ 120 h 360"/>
                  <a:gd name="T14" fmla="*/ 450 w 480"/>
                  <a:gd name="T15" fmla="*/ 270 h 360"/>
                  <a:gd name="T16" fmla="*/ 480 w 480"/>
                  <a:gd name="T1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360">
                    <a:moveTo>
                      <a:pt x="0" y="300"/>
                    </a:moveTo>
                    <a:lnTo>
                      <a:pt x="30" y="150"/>
                    </a:lnTo>
                    <a:lnTo>
                      <a:pt x="180" y="360"/>
                    </a:lnTo>
                    <a:lnTo>
                      <a:pt x="330" y="300"/>
                    </a:lnTo>
                    <a:lnTo>
                      <a:pt x="330" y="210"/>
                    </a:lnTo>
                    <a:lnTo>
                      <a:pt x="150" y="210"/>
                    </a:lnTo>
                    <a:lnTo>
                      <a:pt x="420" y="120"/>
                    </a:lnTo>
                    <a:lnTo>
                      <a:pt x="450" y="270"/>
                    </a:lnTo>
                    <a:lnTo>
                      <a:pt x="4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4" name="Freeform 2541">
                <a:extLst>
                  <a:ext uri="{FF2B5EF4-FFF2-40B4-BE49-F238E27FC236}">
                    <a16:creationId xmlns:a16="http://schemas.microsoft.com/office/drawing/2014/main" id="{7797A3F2-C53C-4113-A7B0-5CFB364F8756}"/>
                  </a:ext>
                </a:extLst>
              </p:cNvPr>
              <p:cNvSpPr>
                <a:spLocks/>
              </p:cNvSpPr>
              <p:nvPr/>
            </p:nvSpPr>
            <p:spPr bwMode="auto">
              <a:xfrm>
                <a:off x="3824" y="1950"/>
                <a:ext cx="570" cy="1260"/>
              </a:xfrm>
              <a:custGeom>
                <a:avLst/>
                <a:gdLst>
                  <a:gd name="T0" fmla="*/ 540 w 570"/>
                  <a:gd name="T1" fmla="*/ 1200 h 1260"/>
                  <a:gd name="T2" fmla="*/ 300 w 570"/>
                  <a:gd name="T3" fmla="*/ 1260 h 1260"/>
                  <a:gd name="T4" fmla="*/ 210 w 570"/>
                  <a:gd name="T5" fmla="*/ 1170 h 1260"/>
                  <a:gd name="T6" fmla="*/ 90 w 570"/>
                  <a:gd name="T7" fmla="*/ 1140 h 1260"/>
                  <a:gd name="T8" fmla="*/ 0 w 570"/>
                  <a:gd name="T9" fmla="*/ 990 h 1260"/>
                  <a:gd name="T10" fmla="*/ 180 w 570"/>
                  <a:gd name="T11" fmla="*/ 900 h 1260"/>
                  <a:gd name="T12" fmla="*/ 180 w 570"/>
                  <a:gd name="T13" fmla="*/ 720 h 1260"/>
                  <a:gd name="T14" fmla="*/ 300 w 570"/>
                  <a:gd name="T15" fmla="*/ 960 h 1260"/>
                  <a:gd name="T16" fmla="*/ 300 w 570"/>
                  <a:gd name="T17" fmla="*/ 750 h 1260"/>
                  <a:gd name="T18" fmla="*/ 480 w 570"/>
                  <a:gd name="T19" fmla="*/ 570 h 1260"/>
                  <a:gd name="T20" fmla="*/ 270 w 570"/>
                  <a:gd name="T21" fmla="*/ 630 h 1260"/>
                  <a:gd name="T22" fmla="*/ 150 w 570"/>
                  <a:gd name="T23" fmla="*/ 600 h 1260"/>
                  <a:gd name="T24" fmla="*/ 360 w 570"/>
                  <a:gd name="T25" fmla="*/ 450 h 1260"/>
                  <a:gd name="T26" fmla="*/ 240 w 570"/>
                  <a:gd name="T27" fmla="*/ 300 h 1260"/>
                  <a:gd name="T28" fmla="*/ 120 w 570"/>
                  <a:gd name="T29" fmla="*/ 360 h 1260"/>
                  <a:gd name="T30" fmla="*/ 360 w 570"/>
                  <a:gd name="T31" fmla="*/ 0 h 1260"/>
                  <a:gd name="T32" fmla="*/ 450 w 570"/>
                  <a:gd name="T33" fmla="*/ 210 h 1260"/>
                  <a:gd name="T34" fmla="*/ 570 w 570"/>
                  <a:gd name="T35" fmla="*/ 60 h 1260"/>
                  <a:gd name="T36" fmla="*/ 540 w 570"/>
                  <a:gd name="T37" fmla="*/ 420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1260">
                    <a:moveTo>
                      <a:pt x="540" y="1200"/>
                    </a:moveTo>
                    <a:lnTo>
                      <a:pt x="300" y="1260"/>
                    </a:lnTo>
                    <a:lnTo>
                      <a:pt x="210" y="1170"/>
                    </a:lnTo>
                    <a:lnTo>
                      <a:pt x="90" y="1140"/>
                    </a:lnTo>
                    <a:lnTo>
                      <a:pt x="0" y="990"/>
                    </a:lnTo>
                    <a:lnTo>
                      <a:pt x="180" y="900"/>
                    </a:lnTo>
                    <a:lnTo>
                      <a:pt x="180" y="720"/>
                    </a:lnTo>
                    <a:lnTo>
                      <a:pt x="300" y="960"/>
                    </a:lnTo>
                    <a:lnTo>
                      <a:pt x="300" y="750"/>
                    </a:lnTo>
                    <a:lnTo>
                      <a:pt x="480" y="570"/>
                    </a:lnTo>
                    <a:lnTo>
                      <a:pt x="270" y="630"/>
                    </a:lnTo>
                    <a:lnTo>
                      <a:pt x="150" y="600"/>
                    </a:lnTo>
                    <a:lnTo>
                      <a:pt x="360" y="450"/>
                    </a:lnTo>
                    <a:lnTo>
                      <a:pt x="240" y="300"/>
                    </a:lnTo>
                    <a:lnTo>
                      <a:pt x="120" y="360"/>
                    </a:lnTo>
                    <a:lnTo>
                      <a:pt x="360" y="0"/>
                    </a:lnTo>
                    <a:lnTo>
                      <a:pt x="450" y="210"/>
                    </a:lnTo>
                    <a:lnTo>
                      <a:pt x="570" y="60"/>
                    </a:lnTo>
                    <a:lnTo>
                      <a:pt x="540"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5" name="Freeform 2542">
                <a:extLst>
                  <a:ext uri="{FF2B5EF4-FFF2-40B4-BE49-F238E27FC236}">
                    <a16:creationId xmlns:a16="http://schemas.microsoft.com/office/drawing/2014/main" id="{4D4B6E81-2613-4E4C-ABAF-8E9AA9B7198A}"/>
                  </a:ext>
                </a:extLst>
              </p:cNvPr>
              <p:cNvSpPr>
                <a:spLocks/>
              </p:cNvSpPr>
              <p:nvPr/>
            </p:nvSpPr>
            <p:spPr bwMode="auto">
              <a:xfrm>
                <a:off x="3585" y="1890"/>
                <a:ext cx="869" cy="1320"/>
              </a:xfrm>
              <a:custGeom>
                <a:avLst/>
                <a:gdLst>
                  <a:gd name="T0" fmla="*/ 869 w 869"/>
                  <a:gd name="T1" fmla="*/ 660 h 1320"/>
                  <a:gd name="T2" fmla="*/ 839 w 869"/>
                  <a:gd name="T3" fmla="*/ 300 h 1320"/>
                  <a:gd name="T4" fmla="*/ 809 w 869"/>
                  <a:gd name="T5" fmla="*/ 120 h 1320"/>
                  <a:gd name="T6" fmla="*/ 719 w 869"/>
                  <a:gd name="T7" fmla="*/ 0 h 1320"/>
                  <a:gd name="T8" fmla="*/ 599 w 869"/>
                  <a:gd name="T9" fmla="*/ 60 h 1320"/>
                  <a:gd name="T10" fmla="*/ 599 w 869"/>
                  <a:gd name="T11" fmla="*/ 150 h 1320"/>
                  <a:gd name="T12" fmla="*/ 509 w 869"/>
                  <a:gd name="T13" fmla="*/ 270 h 1320"/>
                  <a:gd name="T14" fmla="*/ 479 w 869"/>
                  <a:gd name="T15" fmla="*/ 360 h 1320"/>
                  <a:gd name="T16" fmla="*/ 599 w 869"/>
                  <a:gd name="T17" fmla="*/ 300 h 1320"/>
                  <a:gd name="T18" fmla="*/ 689 w 869"/>
                  <a:gd name="T19" fmla="*/ 270 h 1320"/>
                  <a:gd name="T20" fmla="*/ 659 w 869"/>
                  <a:gd name="T21" fmla="*/ 420 h 1320"/>
                  <a:gd name="T22" fmla="*/ 779 w 869"/>
                  <a:gd name="T23" fmla="*/ 480 h 1320"/>
                  <a:gd name="T24" fmla="*/ 869 w 869"/>
                  <a:gd name="T25" fmla="*/ 660 h 1320"/>
                  <a:gd name="T26" fmla="*/ 719 w 869"/>
                  <a:gd name="T27" fmla="*/ 630 h 1320"/>
                  <a:gd name="T28" fmla="*/ 599 w 869"/>
                  <a:gd name="T29" fmla="*/ 510 h 1320"/>
                  <a:gd name="T30" fmla="*/ 539 w 869"/>
                  <a:gd name="T31" fmla="*/ 600 h 1320"/>
                  <a:gd name="T32" fmla="*/ 509 w 869"/>
                  <a:gd name="T33" fmla="*/ 690 h 1320"/>
                  <a:gd name="T34" fmla="*/ 539 w 869"/>
                  <a:gd name="T35" fmla="*/ 810 h 1320"/>
                  <a:gd name="T36" fmla="*/ 269 w 869"/>
                  <a:gd name="T37" fmla="*/ 870 h 1320"/>
                  <a:gd name="T38" fmla="*/ 419 w 869"/>
                  <a:gd name="T39" fmla="*/ 960 h 1320"/>
                  <a:gd name="T40" fmla="*/ 539 w 869"/>
                  <a:gd name="T41" fmla="*/ 1020 h 1320"/>
                  <a:gd name="T42" fmla="*/ 599 w 869"/>
                  <a:gd name="T43" fmla="*/ 930 h 1320"/>
                  <a:gd name="T44" fmla="*/ 719 w 869"/>
                  <a:gd name="T45" fmla="*/ 840 h 1320"/>
                  <a:gd name="T46" fmla="*/ 779 w 869"/>
                  <a:gd name="T47" fmla="*/ 750 h 1320"/>
                  <a:gd name="T48" fmla="*/ 869 w 869"/>
                  <a:gd name="T49" fmla="*/ 810 h 1320"/>
                  <a:gd name="T50" fmla="*/ 809 w 869"/>
                  <a:gd name="T51" fmla="*/ 930 h 1320"/>
                  <a:gd name="T52" fmla="*/ 719 w 869"/>
                  <a:gd name="T53" fmla="*/ 1020 h 1320"/>
                  <a:gd name="T54" fmla="*/ 839 w 869"/>
                  <a:gd name="T55" fmla="*/ 1080 h 1320"/>
                  <a:gd name="T56" fmla="*/ 719 w 869"/>
                  <a:gd name="T57" fmla="*/ 1110 h 1320"/>
                  <a:gd name="T58" fmla="*/ 779 w 869"/>
                  <a:gd name="T59" fmla="*/ 1260 h 1320"/>
                  <a:gd name="T60" fmla="*/ 689 w 869"/>
                  <a:gd name="T61" fmla="*/ 1230 h 1320"/>
                  <a:gd name="T62" fmla="*/ 539 w 869"/>
                  <a:gd name="T63" fmla="*/ 1320 h 1320"/>
                  <a:gd name="T64" fmla="*/ 569 w 869"/>
                  <a:gd name="T65" fmla="*/ 1170 h 1320"/>
                  <a:gd name="T66" fmla="*/ 449 w 869"/>
                  <a:gd name="T67" fmla="*/ 1230 h 1320"/>
                  <a:gd name="T68" fmla="*/ 389 w 869"/>
                  <a:gd name="T69" fmla="*/ 1110 h 1320"/>
                  <a:gd name="T70" fmla="*/ 329 w 869"/>
                  <a:gd name="T71" fmla="*/ 1200 h 1320"/>
                  <a:gd name="T72" fmla="*/ 299 w 869"/>
                  <a:gd name="T73" fmla="*/ 960 h 1320"/>
                  <a:gd name="T74" fmla="*/ 239 w 869"/>
                  <a:gd name="T75" fmla="*/ 1050 h 1320"/>
                  <a:gd name="T76" fmla="*/ 269 w 869"/>
                  <a:gd name="T77" fmla="*/ 870 h 1320"/>
                  <a:gd name="T78" fmla="*/ 419 w 869"/>
                  <a:gd name="T79" fmla="*/ 780 h 1320"/>
                  <a:gd name="T80" fmla="*/ 239 w 869"/>
                  <a:gd name="T81" fmla="*/ 690 h 1320"/>
                  <a:gd name="T82" fmla="*/ 269 w 869"/>
                  <a:gd name="T83" fmla="*/ 870 h 1320"/>
                  <a:gd name="T84" fmla="*/ 389 w 869"/>
                  <a:gd name="T85" fmla="*/ 660 h 1320"/>
                  <a:gd name="T86" fmla="*/ 419 w 869"/>
                  <a:gd name="T87" fmla="*/ 540 h 1320"/>
                  <a:gd name="T88" fmla="*/ 359 w 869"/>
                  <a:gd name="T89" fmla="*/ 420 h 1320"/>
                  <a:gd name="T90" fmla="*/ 389 w 869"/>
                  <a:gd name="T91" fmla="*/ 270 h 1320"/>
                  <a:gd name="T92" fmla="*/ 239 w 869"/>
                  <a:gd name="T93" fmla="*/ 150 h 1320"/>
                  <a:gd name="T94" fmla="*/ 150 w 869"/>
                  <a:gd name="T95" fmla="*/ 270 h 1320"/>
                  <a:gd name="T96" fmla="*/ 0 w 869"/>
                  <a:gd name="T97" fmla="*/ 360 h 1320"/>
                  <a:gd name="T98" fmla="*/ 0 w 869"/>
                  <a:gd name="T99" fmla="*/ 510 h 1320"/>
                  <a:gd name="T100" fmla="*/ 120 w 869"/>
                  <a:gd name="T101" fmla="*/ 420 h 1320"/>
                  <a:gd name="T102" fmla="*/ 269 w 869"/>
                  <a:gd name="T103" fmla="*/ 300 h 1320"/>
                  <a:gd name="T104" fmla="*/ 239 w 869"/>
                  <a:gd name="T105" fmla="*/ 15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9" h="1320">
                    <a:moveTo>
                      <a:pt x="869" y="660"/>
                    </a:moveTo>
                    <a:lnTo>
                      <a:pt x="839" y="300"/>
                    </a:lnTo>
                    <a:lnTo>
                      <a:pt x="809" y="120"/>
                    </a:lnTo>
                    <a:lnTo>
                      <a:pt x="719" y="0"/>
                    </a:lnTo>
                    <a:lnTo>
                      <a:pt x="599" y="60"/>
                    </a:lnTo>
                    <a:lnTo>
                      <a:pt x="599" y="150"/>
                    </a:lnTo>
                    <a:lnTo>
                      <a:pt x="509" y="270"/>
                    </a:lnTo>
                    <a:lnTo>
                      <a:pt x="479" y="360"/>
                    </a:lnTo>
                    <a:lnTo>
                      <a:pt x="599" y="300"/>
                    </a:lnTo>
                    <a:lnTo>
                      <a:pt x="689" y="270"/>
                    </a:lnTo>
                    <a:lnTo>
                      <a:pt x="659" y="420"/>
                    </a:lnTo>
                    <a:lnTo>
                      <a:pt x="779" y="480"/>
                    </a:lnTo>
                    <a:lnTo>
                      <a:pt x="869" y="660"/>
                    </a:lnTo>
                    <a:lnTo>
                      <a:pt x="719" y="630"/>
                    </a:lnTo>
                    <a:lnTo>
                      <a:pt x="599" y="510"/>
                    </a:lnTo>
                    <a:lnTo>
                      <a:pt x="539" y="600"/>
                    </a:lnTo>
                    <a:lnTo>
                      <a:pt x="509" y="690"/>
                    </a:lnTo>
                    <a:lnTo>
                      <a:pt x="539" y="810"/>
                    </a:lnTo>
                    <a:lnTo>
                      <a:pt x="269" y="870"/>
                    </a:lnTo>
                    <a:lnTo>
                      <a:pt x="419" y="960"/>
                    </a:lnTo>
                    <a:lnTo>
                      <a:pt x="539" y="1020"/>
                    </a:lnTo>
                    <a:lnTo>
                      <a:pt x="599" y="930"/>
                    </a:lnTo>
                    <a:lnTo>
                      <a:pt x="719" y="840"/>
                    </a:lnTo>
                    <a:lnTo>
                      <a:pt x="779" y="750"/>
                    </a:lnTo>
                    <a:lnTo>
                      <a:pt x="869" y="810"/>
                    </a:lnTo>
                    <a:lnTo>
                      <a:pt x="809" y="930"/>
                    </a:lnTo>
                    <a:lnTo>
                      <a:pt x="719" y="1020"/>
                    </a:lnTo>
                    <a:lnTo>
                      <a:pt x="839" y="1080"/>
                    </a:lnTo>
                    <a:lnTo>
                      <a:pt x="719" y="1110"/>
                    </a:lnTo>
                    <a:lnTo>
                      <a:pt x="779" y="1260"/>
                    </a:lnTo>
                    <a:lnTo>
                      <a:pt x="689" y="1230"/>
                    </a:lnTo>
                    <a:lnTo>
                      <a:pt x="539" y="1320"/>
                    </a:lnTo>
                    <a:lnTo>
                      <a:pt x="569" y="1170"/>
                    </a:lnTo>
                    <a:lnTo>
                      <a:pt x="449" y="1230"/>
                    </a:lnTo>
                    <a:lnTo>
                      <a:pt x="389" y="1110"/>
                    </a:lnTo>
                    <a:lnTo>
                      <a:pt x="329" y="1200"/>
                    </a:lnTo>
                    <a:lnTo>
                      <a:pt x="299" y="960"/>
                    </a:lnTo>
                    <a:lnTo>
                      <a:pt x="239" y="1050"/>
                    </a:lnTo>
                    <a:lnTo>
                      <a:pt x="269" y="870"/>
                    </a:lnTo>
                    <a:lnTo>
                      <a:pt x="419" y="780"/>
                    </a:lnTo>
                    <a:lnTo>
                      <a:pt x="239" y="690"/>
                    </a:lnTo>
                    <a:lnTo>
                      <a:pt x="269" y="870"/>
                    </a:lnTo>
                    <a:lnTo>
                      <a:pt x="389" y="660"/>
                    </a:lnTo>
                    <a:lnTo>
                      <a:pt x="419" y="540"/>
                    </a:lnTo>
                    <a:lnTo>
                      <a:pt x="359" y="420"/>
                    </a:lnTo>
                    <a:lnTo>
                      <a:pt x="389" y="270"/>
                    </a:lnTo>
                    <a:lnTo>
                      <a:pt x="239" y="150"/>
                    </a:lnTo>
                    <a:lnTo>
                      <a:pt x="150" y="270"/>
                    </a:lnTo>
                    <a:lnTo>
                      <a:pt x="0" y="360"/>
                    </a:lnTo>
                    <a:lnTo>
                      <a:pt x="0" y="510"/>
                    </a:lnTo>
                    <a:lnTo>
                      <a:pt x="120" y="420"/>
                    </a:lnTo>
                    <a:lnTo>
                      <a:pt x="269" y="300"/>
                    </a:lnTo>
                    <a:lnTo>
                      <a:pt x="239"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6" name="Freeform 2543">
                <a:extLst>
                  <a:ext uri="{FF2B5EF4-FFF2-40B4-BE49-F238E27FC236}">
                    <a16:creationId xmlns:a16="http://schemas.microsoft.com/office/drawing/2014/main" id="{AFCA49BC-E7F8-4289-A242-C1C0DF8CE3AE}"/>
                  </a:ext>
                </a:extLst>
              </p:cNvPr>
              <p:cNvSpPr>
                <a:spLocks/>
              </p:cNvSpPr>
              <p:nvPr/>
            </p:nvSpPr>
            <p:spPr bwMode="auto">
              <a:xfrm>
                <a:off x="4004" y="2250"/>
                <a:ext cx="390" cy="570"/>
              </a:xfrm>
              <a:custGeom>
                <a:avLst/>
                <a:gdLst>
                  <a:gd name="T0" fmla="*/ 120 w 390"/>
                  <a:gd name="T1" fmla="*/ 450 h 570"/>
                  <a:gd name="T2" fmla="*/ 300 w 390"/>
                  <a:gd name="T3" fmla="*/ 480 h 570"/>
                  <a:gd name="T4" fmla="*/ 390 w 390"/>
                  <a:gd name="T5" fmla="*/ 570 h 570"/>
                  <a:gd name="T6" fmla="*/ 180 w 390"/>
                  <a:gd name="T7" fmla="*/ 570 h 570"/>
                  <a:gd name="T8" fmla="*/ 300 w 390"/>
                  <a:gd name="T9" fmla="*/ 270 h 570"/>
                  <a:gd name="T10" fmla="*/ 300 w 390"/>
                  <a:gd name="T11" fmla="*/ 480 h 570"/>
                  <a:gd name="T12" fmla="*/ 120 w 390"/>
                  <a:gd name="T13" fmla="*/ 240 h 570"/>
                  <a:gd name="T14" fmla="*/ 60 w 390"/>
                  <a:gd name="T15" fmla="*/ 0 h 570"/>
                  <a:gd name="T16" fmla="*/ 0 w 390"/>
                  <a:gd name="T17" fmla="*/ 18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70">
                    <a:moveTo>
                      <a:pt x="120" y="450"/>
                    </a:moveTo>
                    <a:lnTo>
                      <a:pt x="300" y="480"/>
                    </a:lnTo>
                    <a:lnTo>
                      <a:pt x="390" y="570"/>
                    </a:lnTo>
                    <a:lnTo>
                      <a:pt x="180" y="570"/>
                    </a:lnTo>
                    <a:lnTo>
                      <a:pt x="300" y="270"/>
                    </a:lnTo>
                    <a:lnTo>
                      <a:pt x="300" y="480"/>
                    </a:lnTo>
                    <a:lnTo>
                      <a:pt x="120" y="240"/>
                    </a:lnTo>
                    <a:lnTo>
                      <a:pt x="60" y="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7" name="Freeform 2544">
                <a:extLst>
                  <a:ext uri="{FF2B5EF4-FFF2-40B4-BE49-F238E27FC236}">
                    <a16:creationId xmlns:a16="http://schemas.microsoft.com/office/drawing/2014/main" id="{E0837AB2-87B8-4FB4-B738-2CA1F8EC0E7E}"/>
                  </a:ext>
                </a:extLst>
              </p:cNvPr>
              <p:cNvSpPr>
                <a:spLocks/>
              </p:cNvSpPr>
              <p:nvPr/>
            </p:nvSpPr>
            <p:spPr bwMode="auto">
              <a:xfrm>
                <a:off x="3884" y="2850"/>
                <a:ext cx="420" cy="210"/>
              </a:xfrm>
              <a:custGeom>
                <a:avLst/>
                <a:gdLst>
                  <a:gd name="T0" fmla="*/ 0 w 420"/>
                  <a:gd name="T1" fmla="*/ 0 h 210"/>
                  <a:gd name="T2" fmla="*/ 90 w 420"/>
                  <a:gd name="T3" fmla="*/ 150 h 210"/>
                  <a:gd name="T4" fmla="*/ 270 w 420"/>
                  <a:gd name="T5" fmla="*/ 210 h 210"/>
                  <a:gd name="T6" fmla="*/ 420 w 420"/>
                  <a:gd name="T7" fmla="*/ 60 h 210"/>
                </a:gdLst>
                <a:ahLst/>
                <a:cxnLst>
                  <a:cxn ang="0">
                    <a:pos x="T0" y="T1"/>
                  </a:cxn>
                  <a:cxn ang="0">
                    <a:pos x="T2" y="T3"/>
                  </a:cxn>
                  <a:cxn ang="0">
                    <a:pos x="T4" y="T5"/>
                  </a:cxn>
                  <a:cxn ang="0">
                    <a:pos x="T6" y="T7"/>
                  </a:cxn>
                </a:cxnLst>
                <a:rect l="0" t="0" r="r" b="b"/>
                <a:pathLst>
                  <a:path w="420" h="210">
                    <a:moveTo>
                      <a:pt x="0" y="0"/>
                    </a:moveTo>
                    <a:lnTo>
                      <a:pt x="90" y="150"/>
                    </a:lnTo>
                    <a:lnTo>
                      <a:pt x="270" y="210"/>
                    </a:lnTo>
                    <a:lnTo>
                      <a:pt x="4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8" name="Freeform 2545">
                <a:extLst>
                  <a:ext uri="{FF2B5EF4-FFF2-40B4-BE49-F238E27FC236}">
                    <a16:creationId xmlns:a16="http://schemas.microsoft.com/office/drawing/2014/main" id="{2658A0BF-AEB0-4558-A305-F23F5221C133}"/>
                  </a:ext>
                </a:extLst>
              </p:cNvPr>
              <p:cNvSpPr>
                <a:spLocks/>
              </p:cNvSpPr>
              <p:nvPr/>
            </p:nvSpPr>
            <p:spPr bwMode="auto">
              <a:xfrm>
                <a:off x="4124" y="2910"/>
                <a:ext cx="180" cy="210"/>
              </a:xfrm>
              <a:custGeom>
                <a:avLst/>
                <a:gdLst>
                  <a:gd name="T0" fmla="*/ 150 w 180"/>
                  <a:gd name="T1" fmla="*/ 210 h 210"/>
                  <a:gd name="T2" fmla="*/ 30 w 180"/>
                  <a:gd name="T3" fmla="*/ 150 h 210"/>
                  <a:gd name="T4" fmla="*/ 0 w 180"/>
                  <a:gd name="T5" fmla="*/ 0 h 210"/>
                  <a:gd name="T6" fmla="*/ 180 w 180"/>
                  <a:gd name="T7" fmla="*/ 90 h 210"/>
                </a:gdLst>
                <a:ahLst/>
                <a:cxnLst>
                  <a:cxn ang="0">
                    <a:pos x="T0" y="T1"/>
                  </a:cxn>
                  <a:cxn ang="0">
                    <a:pos x="T2" y="T3"/>
                  </a:cxn>
                  <a:cxn ang="0">
                    <a:pos x="T4" y="T5"/>
                  </a:cxn>
                  <a:cxn ang="0">
                    <a:pos x="T6" y="T7"/>
                  </a:cxn>
                </a:cxnLst>
                <a:rect l="0" t="0" r="r" b="b"/>
                <a:pathLst>
                  <a:path w="180" h="210">
                    <a:moveTo>
                      <a:pt x="150" y="210"/>
                    </a:moveTo>
                    <a:lnTo>
                      <a:pt x="30" y="150"/>
                    </a:lnTo>
                    <a:lnTo>
                      <a:pt x="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9" name="Line 2546">
                <a:extLst>
                  <a:ext uri="{FF2B5EF4-FFF2-40B4-BE49-F238E27FC236}">
                    <a16:creationId xmlns:a16="http://schemas.microsoft.com/office/drawing/2014/main" id="{20C26A7D-CC41-49F1-A7C9-AE7C32AC3F65}"/>
                  </a:ext>
                </a:extLst>
              </p:cNvPr>
              <p:cNvSpPr>
                <a:spLocks noChangeShapeType="1"/>
              </p:cNvSpPr>
              <p:nvPr/>
            </p:nvSpPr>
            <p:spPr bwMode="auto">
              <a:xfrm flipV="1">
                <a:off x="4364"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90" name="Freeform 2547">
                <a:extLst>
                  <a:ext uri="{FF2B5EF4-FFF2-40B4-BE49-F238E27FC236}">
                    <a16:creationId xmlns:a16="http://schemas.microsoft.com/office/drawing/2014/main" id="{F6EF3340-1530-4ED3-8080-FE48D39857FA}"/>
                  </a:ext>
                </a:extLst>
              </p:cNvPr>
              <p:cNvSpPr>
                <a:spLocks/>
              </p:cNvSpPr>
              <p:nvPr/>
            </p:nvSpPr>
            <p:spPr bwMode="auto">
              <a:xfrm>
                <a:off x="3944" y="2160"/>
                <a:ext cx="300" cy="150"/>
              </a:xfrm>
              <a:custGeom>
                <a:avLst/>
                <a:gdLst>
                  <a:gd name="T0" fmla="*/ 0 w 300"/>
                  <a:gd name="T1" fmla="*/ 150 h 150"/>
                  <a:gd name="T2" fmla="*/ 300 w 300"/>
                  <a:gd name="T3" fmla="*/ 150 h 150"/>
                  <a:gd name="T4" fmla="*/ 240 w 300"/>
                  <a:gd name="T5" fmla="*/ 30 h 150"/>
                  <a:gd name="T6" fmla="*/ 150 w 300"/>
                  <a:gd name="T7" fmla="*/ 0 h 150"/>
                  <a:gd name="T8" fmla="*/ 30 w 300"/>
                  <a:gd name="T9" fmla="*/ 0 h 150"/>
                </a:gdLst>
                <a:ahLst/>
                <a:cxnLst>
                  <a:cxn ang="0">
                    <a:pos x="T0" y="T1"/>
                  </a:cxn>
                  <a:cxn ang="0">
                    <a:pos x="T2" y="T3"/>
                  </a:cxn>
                  <a:cxn ang="0">
                    <a:pos x="T4" y="T5"/>
                  </a:cxn>
                  <a:cxn ang="0">
                    <a:pos x="T6" y="T7"/>
                  </a:cxn>
                  <a:cxn ang="0">
                    <a:pos x="T8" y="T9"/>
                  </a:cxn>
                </a:cxnLst>
                <a:rect l="0" t="0" r="r" b="b"/>
                <a:pathLst>
                  <a:path w="300" h="150">
                    <a:moveTo>
                      <a:pt x="0" y="150"/>
                    </a:moveTo>
                    <a:lnTo>
                      <a:pt x="300" y="150"/>
                    </a:lnTo>
                    <a:lnTo>
                      <a:pt x="240" y="30"/>
                    </a:lnTo>
                    <a:lnTo>
                      <a:pt x="150" y="0"/>
                    </a:lnTo>
                    <a:lnTo>
                      <a:pt x="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91" name="Freeform 2548">
                <a:extLst>
                  <a:ext uri="{FF2B5EF4-FFF2-40B4-BE49-F238E27FC236}">
                    <a16:creationId xmlns:a16="http://schemas.microsoft.com/office/drawing/2014/main" id="{0704B9DC-A907-49DB-BBEA-B59CCF654370}"/>
                  </a:ext>
                </a:extLst>
              </p:cNvPr>
              <p:cNvSpPr>
                <a:spLocks/>
              </p:cNvSpPr>
              <p:nvPr/>
            </p:nvSpPr>
            <p:spPr bwMode="auto">
              <a:xfrm>
                <a:off x="3914" y="510"/>
                <a:ext cx="180" cy="390"/>
              </a:xfrm>
              <a:custGeom>
                <a:avLst/>
                <a:gdLst>
                  <a:gd name="T0" fmla="*/ 0 w 180"/>
                  <a:gd name="T1" fmla="*/ 270 h 390"/>
                  <a:gd name="T2" fmla="*/ 180 w 180"/>
                  <a:gd name="T3" fmla="*/ 390 h 390"/>
                  <a:gd name="T4" fmla="*/ 30 w 180"/>
                  <a:gd name="T5" fmla="*/ 120 h 390"/>
                  <a:gd name="T6" fmla="*/ 150 w 180"/>
                  <a:gd name="T7" fmla="*/ 0 h 390"/>
                </a:gdLst>
                <a:ahLst/>
                <a:cxnLst>
                  <a:cxn ang="0">
                    <a:pos x="T0" y="T1"/>
                  </a:cxn>
                  <a:cxn ang="0">
                    <a:pos x="T2" y="T3"/>
                  </a:cxn>
                  <a:cxn ang="0">
                    <a:pos x="T4" y="T5"/>
                  </a:cxn>
                  <a:cxn ang="0">
                    <a:pos x="T6" y="T7"/>
                  </a:cxn>
                </a:cxnLst>
                <a:rect l="0" t="0" r="r" b="b"/>
                <a:pathLst>
                  <a:path w="180" h="390">
                    <a:moveTo>
                      <a:pt x="0" y="270"/>
                    </a:moveTo>
                    <a:lnTo>
                      <a:pt x="180" y="390"/>
                    </a:lnTo>
                    <a:lnTo>
                      <a:pt x="30" y="12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92" name="Freeform 2549">
                <a:extLst>
                  <a:ext uri="{FF2B5EF4-FFF2-40B4-BE49-F238E27FC236}">
                    <a16:creationId xmlns:a16="http://schemas.microsoft.com/office/drawing/2014/main" id="{9522B4F5-DCC2-418F-ACA0-3F43E82A7034}"/>
                  </a:ext>
                </a:extLst>
              </p:cNvPr>
              <p:cNvSpPr>
                <a:spLocks/>
              </p:cNvSpPr>
              <p:nvPr/>
            </p:nvSpPr>
            <p:spPr bwMode="auto">
              <a:xfrm>
                <a:off x="3974" y="870"/>
                <a:ext cx="300" cy="330"/>
              </a:xfrm>
              <a:custGeom>
                <a:avLst/>
                <a:gdLst>
                  <a:gd name="T0" fmla="*/ 300 w 300"/>
                  <a:gd name="T1" fmla="*/ 0 h 330"/>
                  <a:gd name="T2" fmla="*/ 240 w 300"/>
                  <a:gd name="T3" fmla="*/ 120 h 330"/>
                  <a:gd name="T4" fmla="*/ 180 w 300"/>
                  <a:gd name="T5" fmla="*/ 330 h 330"/>
                  <a:gd name="T6" fmla="*/ 0 w 300"/>
                  <a:gd name="T7" fmla="*/ 270 h 330"/>
                </a:gdLst>
                <a:ahLst/>
                <a:cxnLst>
                  <a:cxn ang="0">
                    <a:pos x="T0" y="T1"/>
                  </a:cxn>
                  <a:cxn ang="0">
                    <a:pos x="T2" y="T3"/>
                  </a:cxn>
                  <a:cxn ang="0">
                    <a:pos x="T4" y="T5"/>
                  </a:cxn>
                  <a:cxn ang="0">
                    <a:pos x="T6" y="T7"/>
                  </a:cxn>
                </a:cxnLst>
                <a:rect l="0" t="0" r="r" b="b"/>
                <a:pathLst>
                  <a:path w="300" h="330">
                    <a:moveTo>
                      <a:pt x="300" y="0"/>
                    </a:moveTo>
                    <a:lnTo>
                      <a:pt x="240" y="120"/>
                    </a:lnTo>
                    <a:lnTo>
                      <a:pt x="180" y="33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00" name="Freeform 2550">
                <a:extLst>
                  <a:ext uri="{FF2B5EF4-FFF2-40B4-BE49-F238E27FC236}">
                    <a16:creationId xmlns:a16="http://schemas.microsoft.com/office/drawing/2014/main" id="{FCE90A04-49EA-4168-8E1A-4E236C1E1ACF}"/>
                  </a:ext>
                </a:extLst>
              </p:cNvPr>
              <p:cNvSpPr>
                <a:spLocks/>
              </p:cNvSpPr>
              <p:nvPr/>
            </p:nvSpPr>
            <p:spPr bwMode="auto">
              <a:xfrm>
                <a:off x="3824" y="1050"/>
                <a:ext cx="600" cy="750"/>
              </a:xfrm>
              <a:custGeom>
                <a:avLst/>
                <a:gdLst>
                  <a:gd name="T0" fmla="*/ 600 w 600"/>
                  <a:gd name="T1" fmla="*/ 750 h 750"/>
                  <a:gd name="T2" fmla="*/ 570 w 600"/>
                  <a:gd name="T3" fmla="*/ 630 h 750"/>
                  <a:gd name="T4" fmla="*/ 330 w 600"/>
                  <a:gd name="T5" fmla="*/ 750 h 750"/>
                  <a:gd name="T6" fmla="*/ 270 w 600"/>
                  <a:gd name="T7" fmla="*/ 660 h 750"/>
                  <a:gd name="T8" fmla="*/ 180 w 600"/>
                  <a:gd name="T9" fmla="*/ 540 h 750"/>
                  <a:gd name="T10" fmla="*/ 150 w 600"/>
                  <a:gd name="T11" fmla="*/ 90 h 750"/>
                  <a:gd name="T12" fmla="*/ 0 w 600"/>
                  <a:gd name="T13" fmla="*/ 180 h 750"/>
                  <a:gd name="T14" fmla="*/ 210 w 600"/>
                  <a:gd name="T15" fmla="*/ 300 h 750"/>
                  <a:gd name="T16" fmla="*/ 240 w 600"/>
                  <a:gd name="T17"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0" h="750">
                    <a:moveTo>
                      <a:pt x="600" y="750"/>
                    </a:moveTo>
                    <a:lnTo>
                      <a:pt x="570" y="630"/>
                    </a:lnTo>
                    <a:lnTo>
                      <a:pt x="330" y="750"/>
                    </a:lnTo>
                    <a:lnTo>
                      <a:pt x="270" y="660"/>
                    </a:lnTo>
                    <a:lnTo>
                      <a:pt x="180" y="540"/>
                    </a:lnTo>
                    <a:lnTo>
                      <a:pt x="150" y="90"/>
                    </a:lnTo>
                    <a:lnTo>
                      <a:pt x="0" y="180"/>
                    </a:lnTo>
                    <a:lnTo>
                      <a:pt x="210" y="30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01" name="Freeform 2551">
                <a:extLst>
                  <a:ext uri="{FF2B5EF4-FFF2-40B4-BE49-F238E27FC236}">
                    <a16:creationId xmlns:a16="http://schemas.microsoft.com/office/drawing/2014/main" id="{7131B041-8550-4B7E-81D9-200B3ED33E89}"/>
                  </a:ext>
                </a:extLst>
              </p:cNvPr>
              <p:cNvSpPr>
                <a:spLocks/>
              </p:cNvSpPr>
              <p:nvPr/>
            </p:nvSpPr>
            <p:spPr bwMode="auto">
              <a:xfrm>
                <a:off x="3884" y="1530"/>
                <a:ext cx="450" cy="420"/>
              </a:xfrm>
              <a:custGeom>
                <a:avLst/>
                <a:gdLst>
                  <a:gd name="T0" fmla="*/ 270 w 450"/>
                  <a:gd name="T1" fmla="*/ 270 h 420"/>
                  <a:gd name="T2" fmla="*/ 60 w 450"/>
                  <a:gd name="T3" fmla="*/ 270 h 420"/>
                  <a:gd name="T4" fmla="*/ 120 w 450"/>
                  <a:gd name="T5" fmla="*/ 60 h 420"/>
                  <a:gd name="T6" fmla="*/ 0 w 450"/>
                  <a:gd name="T7" fmla="*/ 0 h 420"/>
                  <a:gd name="T8" fmla="*/ 300 w 450"/>
                  <a:gd name="T9" fmla="*/ 420 h 420"/>
                  <a:gd name="T10" fmla="*/ 450 w 450"/>
                  <a:gd name="T11" fmla="*/ 0 h 420"/>
                </a:gdLst>
                <a:ahLst/>
                <a:cxnLst>
                  <a:cxn ang="0">
                    <a:pos x="T0" y="T1"/>
                  </a:cxn>
                  <a:cxn ang="0">
                    <a:pos x="T2" y="T3"/>
                  </a:cxn>
                  <a:cxn ang="0">
                    <a:pos x="T4" y="T5"/>
                  </a:cxn>
                  <a:cxn ang="0">
                    <a:pos x="T6" y="T7"/>
                  </a:cxn>
                  <a:cxn ang="0">
                    <a:pos x="T8" y="T9"/>
                  </a:cxn>
                  <a:cxn ang="0">
                    <a:pos x="T10" y="T11"/>
                  </a:cxn>
                </a:cxnLst>
                <a:rect l="0" t="0" r="r" b="b"/>
                <a:pathLst>
                  <a:path w="450" h="420">
                    <a:moveTo>
                      <a:pt x="270" y="270"/>
                    </a:moveTo>
                    <a:lnTo>
                      <a:pt x="60" y="270"/>
                    </a:lnTo>
                    <a:lnTo>
                      <a:pt x="120" y="60"/>
                    </a:lnTo>
                    <a:lnTo>
                      <a:pt x="0" y="0"/>
                    </a:lnTo>
                    <a:lnTo>
                      <a:pt x="300" y="42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1" name="Freeform 2552">
                <a:extLst>
                  <a:ext uri="{FF2B5EF4-FFF2-40B4-BE49-F238E27FC236}">
                    <a16:creationId xmlns:a16="http://schemas.microsoft.com/office/drawing/2014/main" id="{23BDB408-1F82-49B0-A255-37582C9006EA}"/>
                  </a:ext>
                </a:extLst>
              </p:cNvPr>
              <p:cNvSpPr>
                <a:spLocks/>
              </p:cNvSpPr>
              <p:nvPr/>
            </p:nvSpPr>
            <p:spPr bwMode="auto">
              <a:xfrm>
                <a:off x="4004" y="1410"/>
                <a:ext cx="210" cy="210"/>
              </a:xfrm>
              <a:custGeom>
                <a:avLst/>
                <a:gdLst>
                  <a:gd name="T0" fmla="*/ 0 w 210"/>
                  <a:gd name="T1" fmla="*/ 180 h 210"/>
                  <a:gd name="T2" fmla="*/ 150 w 210"/>
                  <a:gd name="T3" fmla="*/ 0 h 210"/>
                  <a:gd name="T4" fmla="*/ 210 w 210"/>
                  <a:gd name="T5" fmla="*/ 210 h 210"/>
                </a:gdLst>
                <a:ahLst/>
                <a:cxnLst>
                  <a:cxn ang="0">
                    <a:pos x="T0" y="T1"/>
                  </a:cxn>
                  <a:cxn ang="0">
                    <a:pos x="T2" y="T3"/>
                  </a:cxn>
                  <a:cxn ang="0">
                    <a:pos x="T4" y="T5"/>
                  </a:cxn>
                </a:cxnLst>
                <a:rect l="0" t="0" r="r" b="b"/>
                <a:pathLst>
                  <a:path w="210" h="210">
                    <a:moveTo>
                      <a:pt x="0" y="180"/>
                    </a:moveTo>
                    <a:lnTo>
                      <a:pt x="150" y="0"/>
                    </a:lnTo>
                    <a:lnTo>
                      <a:pt x="21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2" name="Freeform 2553">
                <a:extLst>
                  <a:ext uri="{FF2B5EF4-FFF2-40B4-BE49-F238E27FC236}">
                    <a16:creationId xmlns:a16="http://schemas.microsoft.com/office/drawing/2014/main" id="{9D4D9BDE-92BC-4456-8511-E03204DFB33D}"/>
                  </a:ext>
                </a:extLst>
              </p:cNvPr>
              <p:cNvSpPr>
                <a:spLocks/>
              </p:cNvSpPr>
              <p:nvPr/>
            </p:nvSpPr>
            <p:spPr bwMode="auto">
              <a:xfrm>
                <a:off x="4004" y="1710"/>
                <a:ext cx="90" cy="450"/>
              </a:xfrm>
              <a:custGeom>
                <a:avLst/>
                <a:gdLst>
                  <a:gd name="T0" fmla="*/ 90 w 90"/>
                  <a:gd name="T1" fmla="*/ 0 h 450"/>
                  <a:gd name="T2" fmla="*/ 0 w 90"/>
                  <a:gd name="T3" fmla="*/ 240 h 450"/>
                  <a:gd name="T4" fmla="*/ 90 w 90"/>
                  <a:gd name="T5" fmla="*/ 450 h 450"/>
                </a:gdLst>
                <a:ahLst/>
                <a:cxnLst>
                  <a:cxn ang="0">
                    <a:pos x="T0" y="T1"/>
                  </a:cxn>
                  <a:cxn ang="0">
                    <a:pos x="T2" y="T3"/>
                  </a:cxn>
                  <a:cxn ang="0">
                    <a:pos x="T4" y="T5"/>
                  </a:cxn>
                </a:cxnLst>
                <a:rect l="0" t="0" r="r" b="b"/>
                <a:pathLst>
                  <a:path w="90" h="450">
                    <a:moveTo>
                      <a:pt x="90" y="0"/>
                    </a:moveTo>
                    <a:lnTo>
                      <a:pt x="0" y="240"/>
                    </a:lnTo>
                    <a:lnTo>
                      <a:pt x="90" y="4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3" name="Freeform 2554">
                <a:extLst>
                  <a:ext uri="{FF2B5EF4-FFF2-40B4-BE49-F238E27FC236}">
                    <a16:creationId xmlns:a16="http://schemas.microsoft.com/office/drawing/2014/main" id="{C1729F1D-9745-47F4-8938-C40D0B6037A8}"/>
                  </a:ext>
                </a:extLst>
              </p:cNvPr>
              <p:cNvSpPr>
                <a:spLocks/>
              </p:cNvSpPr>
              <p:nvPr/>
            </p:nvSpPr>
            <p:spPr bwMode="auto">
              <a:xfrm>
                <a:off x="4184" y="2190"/>
                <a:ext cx="180" cy="330"/>
              </a:xfrm>
              <a:custGeom>
                <a:avLst/>
                <a:gdLst>
                  <a:gd name="T0" fmla="*/ 120 w 180"/>
                  <a:gd name="T1" fmla="*/ 330 h 330"/>
                  <a:gd name="T2" fmla="*/ 180 w 180"/>
                  <a:gd name="T3" fmla="*/ 180 h 330"/>
                  <a:gd name="T4" fmla="*/ 0 w 180"/>
                  <a:gd name="T5" fmla="*/ 210 h 330"/>
                  <a:gd name="T6" fmla="*/ 0 w 180"/>
                  <a:gd name="T7" fmla="*/ 0 h 330"/>
                </a:gdLst>
                <a:ahLst/>
                <a:cxnLst>
                  <a:cxn ang="0">
                    <a:pos x="T0" y="T1"/>
                  </a:cxn>
                  <a:cxn ang="0">
                    <a:pos x="T2" y="T3"/>
                  </a:cxn>
                  <a:cxn ang="0">
                    <a:pos x="T4" y="T5"/>
                  </a:cxn>
                  <a:cxn ang="0">
                    <a:pos x="T6" y="T7"/>
                  </a:cxn>
                </a:cxnLst>
                <a:rect l="0" t="0" r="r" b="b"/>
                <a:pathLst>
                  <a:path w="180" h="330">
                    <a:moveTo>
                      <a:pt x="120" y="330"/>
                    </a:moveTo>
                    <a:lnTo>
                      <a:pt x="180" y="180"/>
                    </a:lnTo>
                    <a:lnTo>
                      <a:pt x="0" y="21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4" name="Line 2555">
                <a:extLst>
                  <a:ext uri="{FF2B5EF4-FFF2-40B4-BE49-F238E27FC236}">
                    <a16:creationId xmlns:a16="http://schemas.microsoft.com/office/drawing/2014/main" id="{0E832363-1FF1-4685-8905-711A18B3DDF3}"/>
                  </a:ext>
                </a:extLst>
              </p:cNvPr>
              <p:cNvSpPr>
                <a:spLocks noChangeShapeType="1"/>
              </p:cNvSpPr>
              <p:nvPr/>
            </p:nvSpPr>
            <p:spPr bwMode="auto">
              <a:xfrm>
                <a:off x="4004" y="2670"/>
                <a:ext cx="18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5" name="Freeform 2556">
                <a:extLst>
                  <a:ext uri="{FF2B5EF4-FFF2-40B4-BE49-F238E27FC236}">
                    <a16:creationId xmlns:a16="http://schemas.microsoft.com/office/drawing/2014/main" id="{E1A7C6DB-7EEE-4CE5-9A71-ECEAABE846FA}"/>
                  </a:ext>
                </a:extLst>
              </p:cNvPr>
              <p:cNvSpPr>
                <a:spLocks/>
              </p:cNvSpPr>
              <p:nvPr/>
            </p:nvSpPr>
            <p:spPr bwMode="auto">
              <a:xfrm>
                <a:off x="4244" y="2010"/>
                <a:ext cx="180" cy="300"/>
              </a:xfrm>
              <a:custGeom>
                <a:avLst/>
                <a:gdLst>
                  <a:gd name="T0" fmla="*/ 180 w 180"/>
                  <a:gd name="T1" fmla="*/ 180 h 300"/>
                  <a:gd name="T2" fmla="*/ 0 w 180"/>
                  <a:gd name="T3" fmla="*/ 300 h 300"/>
                  <a:gd name="T4" fmla="*/ 150 w 180"/>
                  <a:gd name="T5" fmla="*/ 0 h 300"/>
                </a:gdLst>
                <a:ahLst/>
                <a:cxnLst>
                  <a:cxn ang="0">
                    <a:pos x="T0" y="T1"/>
                  </a:cxn>
                  <a:cxn ang="0">
                    <a:pos x="T2" y="T3"/>
                  </a:cxn>
                  <a:cxn ang="0">
                    <a:pos x="T4" y="T5"/>
                  </a:cxn>
                </a:cxnLst>
                <a:rect l="0" t="0" r="r" b="b"/>
                <a:pathLst>
                  <a:path w="180" h="300">
                    <a:moveTo>
                      <a:pt x="180" y="180"/>
                    </a:moveTo>
                    <a:lnTo>
                      <a:pt x="0" y="30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6" name="Freeform 2557">
                <a:extLst>
                  <a:ext uri="{FF2B5EF4-FFF2-40B4-BE49-F238E27FC236}">
                    <a16:creationId xmlns:a16="http://schemas.microsoft.com/office/drawing/2014/main" id="{3E71FCB2-B169-4AA0-A94C-D9CBDC4E60D2}"/>
                  </a:ext>
                </a:extLst>
              </p:cNvPr>
              <p:cNvSpPr>
                <a:spLocks/>
              </p:cNvSpPr>
              <p:nvPr/>
            </p:nvSpPr>
            <p:spPr bwMode="auto">
              <a:xfrm>
                <a:off x="3974" y="1140"/>
                <a:ext cx="180" cy="270"/>
              </a:xfrm>
              <a:custGeom>
                <a:avLst/>
                <a:gdLst>
                  <a:gd name="T0" fmla="*/ 0 w 180"/>
                  <a:gd name="T1" fmla="*/ 0 h 270"/>
                  <a:gd name="T2" fmla="*/ 180 w 180"/>
                  <a:gd name="T3" fmla="*/ 270 h 270"/>
                  <a:gd name="T4" fmla="*/ 180 w 180"/>
                  <a:gd name="T5" fmla="*/ 60 h 270"/>
                </a:gdLst>
                <a:ahLst/>
                <a:cxnLst>
                  <a:cxn ang="0">
                    <a:pos x="T0" y="T1"/>
                  </a:cxn>
                  <a:cxn ang="0">
                    <a:pos x="T2" y="T3"/>
                  </a:cxn>
                  <a:cxn ang="0">
                    <a:pos x="T4" y="T5"/>
                  </a:cxn>
                </a:cxnLst>
                <a:rect l="0" t="0" r="r" b="b"/>
                <a:pathLst>
                  <a:path w="180" h="270">
                    <a:moveTo>
                      <a:pt x="0" y="0"/>
                    </a:moveTo>
                    <a:lnTo>
                      <a:pt x="180" y="270"/>
                    </a:lnTo>
                    <a:lnTo>
                      <a:pt x="18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7" name="Freeform 2558">
                <a:extLst>
                  <a:ext uri="{FF2B5EF4-FFF2-40B4-BE49-F238E27FC236}">
                    <a16:creationId xmlns:a16="http://schemas.microsoft.com/office/drawing/2014/main" id="{8F85CBE4-BC14-4C33-98C5-47F67EF4FF95}"/>
                  </a:ext>
                </a:extLst>
              </p:cNvPr>
              <p:cNvSpPr>
                <a:spLocks/>
              </p:cNvSpPr>
              <p:nvPr/>
            </p:nvSpPr>
            <p:spPr bwMode="auto">
              <a:xfrm>
                <a:off x="3884" y="60"/>
                <a:ext cx="540" cy="1830"/>
              </a:xfrm>
              <a:custGeom>
                <a:avLst/>
                <a:gdLst>
                  <a:gd name="T0" fmla="*/ 180 w 540"/>
                  <a:gd name="T1" fmla="*/ 990 h 1830"/>
                  <a:gd name="T2" fmla="*/ 330 w 540"/>
                  <a:gd name="T3" fmla="*/ 930 h 1830"/>
                  <a:gd name="T4" fmla="*/ 330 w 540"/>
                  <a:gd name="T5" fmla="*/ 1560 h 1830"/>
                  <a:gd name="T6" fmla="*/ 270 w 540"/>
                  <a:gd name="T7" fmla="*/ 1350 h 1830"/>
                  <a:gd name="T8" fmla="*/ 540 w 540"/>
                  <a:gd name="T9" fmla="*/ 1740 h 1830"/>
                  <a:gd name="T10" fmla="*/ 330 w 540"/>
                  <a:gd name="T11" fmla="*/ 1560 h 1830"/>
                  <a:gd name="T12" fmla="*/ 450 w 540"/>
                  <a:gd name="T13" fmla="*/ 1470 h 1830"/>
                  <a:gd name="T14" fmla="*/ 480 w 540"/>
                  <a:gd name="T15" fmla="*/ 1200 h 1830"/>
                  <a:gd name="T16" fmla="*/ 150 w 540"/>
                  <a:gd name="T17" fmla="*/ 1290 h 1830"/>
                  <a:gd name="T18" fmla="*/ 270 w 540"/>
                  <a:gd name="T19" fmla="*/ 1140 h 1830"/>
                  <a:gd name="T20" fmla="*/ 510 w 540"/>
                  <a:gd name="T21" fmla="*/ 960 h 1830"/>
                  <a:gd name="T22" fmla="*/ 180 w 540"/>
                  <a:gd name="T23" fmla="*/ 990 h 1830"/>
                  <a:gd name="T24" fmla="*/ 390 w 540"/>
                  <a:gd name="T25" fmla="*/ 810 h 1830"/>
                  <a:gd name="T26" fmla="*/ 360 w 540"/>
                  <a:gd name="T27" fmla="*/ 630 h 1830"/>
                  <a:gd name="T28" fmla="*/ 150 w 540"/>
                  <a:gd name="T29" fmla="*/ 630 h 1830"/>
                  <a:gd name="T30" fmla="*/ 270 w 540"/>
                  <a:gd name="T31" fmla="*/ 510 h 1830"/>
                  <a:gd name="T32" fmla="*/ 510 w 540"/>
                  <a:gd name="T33" fmla="*/ 600 h 1830"/>
                  <a:gd name="T34" fmla="*/ 480 w 540"/>
                  <a:gd name="T35" fmla="*/ 360 h 1830"/>
                  <a:gd name="T36" fmla="*/ 240 w 540"/>
                  <a:gd name="T37" fmla="*/ 360 h 1830"/>
                  <a:gd name="T38" fmla="*/ 60 w 540"/>
                  <a:gd name="T39" fmla="*/ 300 h 1830"/>
                  <a:gd name="T40" fmla="*/ 270 w 540"/>
                  <a:gd name="T41" fmla="*/ 210 h 1830"/>
                  <a:gd name="T42" fmla="*/ 90 w 540"/>
                  <a:gd name="T43" fmla="*/ 0 h 1830"/>
                  <a:gd name="T44" fmla="*/ 210 w 540"/>
                  <a:gd name="T45" fmla="*/ 60 h 1830"/>
                  <a:gd name="T46" fmla="*/ 510 w 540"/>
                  <a:gd name="T47" fmla="*/ 210 h 1830"/>
                  <a:gd name="T48" fmla="*/ 390 w 540"/>
                  <a:gd name="T49" fmla="*/ 240 h 1830"/>
                  <a:gd name="T50" fmla="*/ 270 w 540"/>
                  <a:gd name="T51" fmla="*/ 210 h 1830"/>
                  <a:gd name="T52" fmla="*/ 180 w 540"/>
                  <a:gd name="T53" fmla="*/ 240 h 1830"/>
                  <a:gd name="T54" fmla="*/ 60 w 540"/>
                  <a:gd name="T55" fmla="*/ 300 h 1830"/>
                  <a:gd name="T56" fmla="*/ 330 w 540"/>
                  <a:gd name="T57" fmla="*/ 390 h 1830"/>
                  <a:gd name="T58" fmla="*/ 480 w 540"/>
                  <a:gd name="T59" fmla="*/ 360 h 1830"/>
                  <a:gd name="T60" fmla="*/ 360 w 540"/>
                  <a:gd name="T61" fmla="*/ 630 h 1830"/>
                  <a:gd name="T62" fmla="*/ 90 w 540"/>
                  <a:gd name="T63" fmla="*/ 84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1830">
                    <a:moveTo>
                      <a:pt x="60" y="960"/>
                    </a:moveTo>
                    <a:lnTo>
                      <a:pt x="180" y="990"/>
                    </a:lnTo>
                    <a:lnTo>
                      <a:pt x="390" y="1080"/>
                    </a:lnTo>
                    <a:lnTo>
                      <a:pt x="330" y="930"/>
                    </a:lnTo>
                    <a:lnTo>
                      <a:pt x="0" y="1320"/>
                    </a:lnTo>
                    <a:lnTo>
                      <a:pt x="330" y="1560"/>
                    </a:lnTo>
                    <a:lnTo>
                      <a:pt x="450" y="1470"/>
                    </a:lnTo>
                    <a:lnTo>
                      <a:pt x="270" y="1350"/>
                    </a:lnTo>
                    <a:lnTo>
                      <a:pt x="210" y="1650"/>
                    </a:lnTo>
                    <a:lnTo>
                      <a:pt x="540" y="1740"/>
                    </a:lnTo>
                    <a:lnTo>
                      <a:pt x="420" y="1830"/>
                    </a:lnTo>
                    <a:lnTo>
                      <a:pt x="330" y="1560"/>
                    </a:lnTo>
                    <a:lnTo>
                      <a:pt x="510" y="1620"/>
                    </a:lnTo>
                    <a:lnTo>
                      <a:pt x="450" y="1470"/>
                    </a:lnTo>
                    <a:lnTo>
                      <a:pt x="420" y="1320"/>
                    </a:lnTo>
                    <a:lnTo>
                      <a:pt x="480" y="1200"/>
                    </a:lnTo>
                    <a:lnTo>
                      <a:pt x="270" y="1350"/>
                    </a:lnTo>
                    <a:lnTo>
                      <a:pt x="150" y="1290"/>
                    </a:lnTo>
                    <a:lnTo>
                      <a:pt x="330" y="1200"/>
                    </a:lnTo>
                    <a:lnTo>
                      <a:pt x="270" y="1140"/>
                    </a:lnTo>
                    <a:lnTo>
                      <a:pt x="390" y="1080"/>
                    </a:lnTo>
                    <a:lnTo>
                      <a:pt x="510" y="960"/>
                    </a:lnTo>
                    <a:lnTo>
                      <a:pt x="330" y="930"/>
                    </a:lnTo>
                    <a:lnTo>
                      <a:pt x="180" y="990"/>
                    </a:lnTo>
                    <a:lnTo>
                      <a:pt x="210" y="840"/>
                    </a:lnTo>
                    <a:lnTo>
                      <a:pt x="390" y="810"/>
                    </a:lnTo>
                    <a:lnTo>
                      <a:pt x="540" y="720"/>
                    </a:lnTo>
                    <a:lnTo>
                      <a:pt x="360" y="630"/>
                    </a:lnTo>
                    <a:lnTo>
                      <a:pt x="240" y="690"/>
                    </a:lnTo>
                    <a:lnTo>
                      <a:pt x="150" y="630"/>
                    </a:lnTo>
                    <a:lnTo>
                      <a:pt x="180" y="450"/>
                    </a:lnTo>
                    <a:lnTo>
                      <a:pt x="270" y="510"/>
                    </a:lnTo>
                    <a:lnTo>
                      <a:pt x="420" y="540"/>
                    </a:lnTo>
                    <a:lnTo>
                      <a:pt x="510" y="600"/>
                    </a:lnTo>
                    <a:lnTo>
                      <a:pt x="540" y="480"/>
                    </a:lnTo>
                    <a:lnTo>
                      <a:pt x="480" y="360"/>
                    </a:lnTo>
                    <a:lnTo>
                      <a:pt x="330" y="390"/>
                    </a:lnTo>
                    <a:lnTo>
                      <a:pt x="240" y="360"/>
                    </a:lnTo>
                    <a:lnTo>
                      <a:pt x="60" y="420"/>
                    </a:lnTo>
                    <a:lnTo>
                      <a:pt x="60" y="300"/>
                    </a:lnTo>
                    <a:lnTo>
                      <a:pt x="180" y="240"/>
                    </a:lnTo>
                    <a:lnTo>
                      <a:pt x="270" y="210"/>
                    </a:lnTo>
                    <a:lnTo>
                      <a:pt x="210" y="60"/>
                    </a:lnTo>
                    <a:lnTo>
                      <a:pt x="90" y="0"/>
                    </a:lnTo>
                    <a:lnTo>
                      <a:pt x="540" y="0"/>
                    </a:lnTo>
                    <a:lnTo>
                      <a:pt x="210" y="60"/>
                    </a:lnTo>
                    <a:lnTo>
                      <a:pt x="360" y="90"/>
                    </a:lnTo>
                    <a:lnTo>
                      <a:pt x="510" y="210"/>
                    </a:lnTo>
                    <a:lnTo>
                      <a:pt x="480" y="360"/>
                    </a:lnTo>
                    <a:lnTo>
                      <a:pt x="390" y="240"/>
                    </a:lnTo>
                    <a:lnTo>
                      <a:pt x="330" y="390"/>
                    </a:lnTo>
                    <a:lnTo>
                      <a:pt x="270" y="210"/>
                    </a:lnTo>
                    <a:lnTo>
                      <a:pt x="240" y="360"/>
                    </a:lnTo>
                    <a:lnTo>
                      <a:pt x="180" y="240"/>
                    </a:lnTo>
                    <a:lnTo>
                      <a:pt x="90" y="210"/>
                    </a:lnTo>
                    <a:lnTo>
                      <a:pt x="60" y="300"/>
                    </a:lnTo>
                    <a:lnTo>
                      <a:pt x="180" y="450"/>
                    </a:lnTo>
                    <a:lnTo>
                      <a:pt x="330" y="390"/>
                    </a:lnTo>
                    <a:lnTo>
                      <a:pt x="420" y="540"/>
                    </a:lnTo>
                    <a:lnTo>
                      <a:pt x="480" y="360"/>
                    </a:lnTo>
                    <a:lnTo>
                      <a:pt x="270" y="510"/>
                    </a:lnTo>
                    <a:lnTo>
                      <a:pt x="360" y="630"/>
                    </a:lnTo>
                    <a:lnTo>
                      <a:pt x="150" y="630"/>
                    </a:lnTo>
                    <a:lnTo>
                      <a:pt x="90" y="840"/>
                    </a:lnTo>
                    <a:lnTo>
                      <a:pt x="330" y="9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8" name="Freeform 2559">
                <a:extLst>
                  <a:ext uri="{FF2B5EF4-FFF2-40B4-BE49-F238E27FC236}">
                    <a16:creationId xmlns:a16="http://schemas.microsoft.com/office/drawing/2014/main" id="{F9F9EF03-306B-41C4-9747-DDD3656D2676}"/>
                  </a:ext>
                </a:extLst>
              </p:cNvPr>
              <p:cNvSpPr>
                <a:spLocks/>
              </p:cNvSpPr>
              <p:nvPr/>
            </p:nvSpPr>
            <p:spPr bwMode="auto">
              <a:xfrm>
                <a:off x="4244" y="600"/>
                <a:ext cx="150" cy="420"/>
              </a:xfrm>
              <a:custGeom>
                <a:avLst/>
                <a:gdLst>
                  <a:gd name="T0" fmla="*/ 30 w 150"/>
                  <a:gd name="T1" fmla="*/ 270 h 420"/>
                  <a:gd name="T2" fmla="*/ 150 w 150"/>
                  <a:gd name="T3" fmla="*/ 420 h 420"/>
                  <a:gd name="T4" fmla="*/ 60 w 150"/>
                  <a:gd name="T5" fmla="*/ 0 h 420"/>
                  <a:gd name="T6" fmla="*/ 0 w 150"/>
                  <a:gd name="T7" fmla="*/ 90 h 420"/>
                  <a:gd name="T8" fmla="*/ 30 w 150"/>
                  <a:gd name="T9" fmla="*/ 270 h 420"/>
                </a:gdLst>
                <a:ahLst/>
                <a:cxnLst>
                  <a:cxn ang="0">
                    <a:pos x="T0" y="T1"/>
                  </a:cxn>
                  <a:cxn ang="0">
                    <a:pos x="T2" y="T3"/>
                  </a:cxn>
                  <a:cxn ang="0">
                    <a:pos x="T4" y="T5"/>
                  </a:cxn>
                  <a:cxn ang="0">
                    <a:pos x="T6" y="T7"/>
                  </a:cxn>
                  <a:cxn ang="0">
                    <a:pos x="T8" y="T9"/>
                  </a:cxn>
                </a:cxnLst>
                <a:rect l="0" t="0" r="r" b="b"/>
                <a:pathLst>
                  <a:path w="150" h="420">
                    <a:moveTo>
                      <a:pt x="30" y="270"/>
                    </a:moveTo>
                    <a:lnTo>
                      <a:pt x="150" y="420"/>
                    </a:lnTo>
                    <a:lnTo>
                      <a:pt x="60" y="0"/>
                    </a:lnTo>
                    <a:lnTo>
                      <a:pt x="0" y="90"/>
                    </a:lnTo>
                    <a:lnTo>
                      <a:pt x="30" y="27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9" name="Freeform 2560">
                <a:extLst>
                  <a:ext uri="{FF2B5EF4-FFF2-40B4-BE49-F238E27FC236}">
                    <a16:creationId xmlns:a16="http://schemas.microsoft.com/office/drawing/2014/main" id="{D8982F24-99AC-46FB-9CAD-C8DF93F25F65}"/>
                  </a:ext>
                </a:extLst>
              </p:cNvPr>
              <p:cNvSpPr>
                <a:spLocks/>
              </p:cNvSpPr>
              <p:nvPr/>
            </p:nvSpPr>
            <p:spPr bwMode="auto">
              <a:xfrm>
                <a:off x="4094" y="570"/>
                <a:ext cx="180" cy="420"/>
              </a:xfrm>
              <a:custGeom>
                <a:avLst/>
                <a:gdLst>
                  <a:gd name="T0" fmla="*/ 180 w 180"/>
                  <a:gd name="T1" fmla="*/ 300 h 420"/>
                  <a:gd name="T2" fmla="*/ 30 w 180"/>
                  <a:gd name="T3" fmla="*/ 180 h 420"/>
                  <a:gd name="T4" fmla="*/ 0 w 180"/>
                  <a:gd name="T5" fmla="*/ 330 h 420"/>
                  <a:gd name="T6" fmla="*/ 120 w 180"/>
                  <a:gd name="T7" fmla="*/ 420 h 420"/>
                  <a:gd name="T8" fmla="*/ 60 w 180"/>
                  <a:gd name="T9" fmla="*/ 0 h 420"/>
                </a:gdLst>
                <a:ahLst/>
                <a:cxnLst>
                  <a:cxn ang="0">
                    <a:pos x="T0" y="T1"/>
                  </a:cxn>
                  <a:cxn ang="0">
                    <a:pos x="T2" y="T3"/>
                  </a:cxn>
                  <a:cxn ang="0">
                    <a:pos x="T4" y="T5"/>
                  </a:cxn>
                  <a:cxn ang="0">
                    <a:pos x="T6" y="T7"/>
                  </a:cxn>
                  <a:cxn ang="0">
                    <a:pos x="T8" y="T9"/>
                  </a:cxn>
                </a:cxnLst>
                <a:rect l="0" t="0" r="r" b="b"/>
                <a:pathLst>
                  <a:path w="180" h="420">
                    <a:moveTo>
                      <a:pt x="180" y="300"/>
                    </a:moveTo>
                    <a:lnTo>
                      <a:pt x="30" y="180"/>
                    </a:lnTo>
                    <a:lnTo>
                      <a:pt x="0" y="330"/>
                    </a:lnTo>
                    <a:lnTo>
                      <a:pt x="120" y="42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0" name="Freeform 2561">
                <a:extLst>
                  <a:ext uri="{FF2B5EF4-FFF2-40B4-BE49-F238E27FC236}">
                    <a16:creationId xmlns:a16="http://schemas.microsoft.com/office/drawing/2014/main" id="{82F915D6-160B-4ABC-A8B0-F66DD72D21B0}"/>
                  </a:ext>
                </a:extLst>
              </p:cNvPr>
              <p:cNvSpPr>
                <a:spLocks/>
              </p:cNvSpPr>
              <p:nvPr/>
            </p:nvSpPr>
            <p:spPr bwMode="auto">
              <a:xfrm>
                <a:off x="4244" y="60"/>
                <a:ext cx="180" cy="240"/>
              </a:xfrm>
              <a:custGeom>
                <a:avLst/>
                <a:gdLst>
                  <a:gd name="T0" fmla="*/ 30 w 180"/>
                  <a:gd name="T1" fmla="*/ 240 h 240"/>
                  <a:gd name="T2" fmla="*/ 0 w 180"/>
                  <a:gd name="T3" fmla="*/ 90 h 240"/>
                  <a:gd name="T4" fmla="*/ 180 w 180"/>
                  <a:gd name="T5" fmla="*/ 0 h 240"/>
                  <a:gd name="T6" fmla="*/ 150 w 180"/>
                  <a:gd name="T7" fmla="*/ 210 h 240"/>
                  <a:gd name="T8" fmla="*/ 30 w 180"/>
                  <a:gd name="T9" fmla="*/ 240 h 240"/>
                </a:gdLst>
                <a:ahLst/>
                <a:cxnLst>
                  <a:cxn ang="0">
                    <a:pos x="T0" y="T1"/>
                  </a:cxn>
                  <a:cxn ang="0">
                    <a:pos x="T2" y="T3"/>
                  </a:cxn>
                  <a:cxn ang="0">
                    <a:pos x="T4" y="T5"/>
                  </a:cxn>
                  <a:cxn ang="0">
                    <a:pos x="T6" y="T7"/>
                  </a:cxn>
                  <a:cxn ang="0">
                    <a:pos x="T8" y="T9"/>
                  </a:cxn>
                </a:cxnLst>
                <a:rect l="0" t="0" r="r" b="b"/>
                <a:pathLst>
                  <a:path w="180" h="240">
                    <a:moveTo>
                      <a:pt x="30" y="240"/>
                    </a:moveTo>
                    <a:lnTo>
                      <a:pt x="0" y="90"/>
                    </a:lnTo>
                    <a:lnTo>
                      <a:pt x="180" y="0"/>
                    </a:lnTo>
                    <a:lnTo>
                      <a:pt x="150" y="210"/>
                    </a:lnTo>
                    <a:lnTo>
                      <a:pt x="3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1" name="Line 2562">
                <a:extLst>
                  <a:ext uri="{FF2B5EF4-FFF2-40B4-BE49-F238E27FC236}">
                    <a16:creationId xmlns:a16="http://schemas.microsoft.com/office/drawing/2014/main" id="{454A40FB-2F8B-4D3A-A126-DAC453F5B747}"/>
                  </a:ext>
                </a:extLst>
              </p:cNvPr>
              <p:cNvSpPr>
                <a:spLocks noChangeShapeType="1"/>
              </p:cNvSpPr>
              <p:nvPr/>
            </p:nvSpPr>
            <p:spPr bwMode="auto">
              <a:xfrm flipH="1">
                <a:off x="4304" y="54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2" name="Freeform 2563">
                <a:extLst>
                  <a:ext uri="{FF2B5EF4-FFF2-40B4-BE49-F238E27FC236}">
                    <a16:creationId xmlns:a16="http://schemas.microsoft.com/office/drawing/2014/main" id="{065BEA44-6047-4E08-9E58-62E5D4C84CDF}"/>
                  </a:ext>
                </a:extLst>
              </p:cNvPr>
              <p:cNvSpPr>
                <a:spLocks/>
              </p:cNvSpPr>
              <p:nvPr/>
            </p:nvSpPr>
            <p:spPr bwMode="auto">
              <a:xfrm>
                <a:off x="2985" y="330"/>
                <a:ext cx="120" cy="210"/>
              </a:xfrm>
              <a:custGeom>
                <a:avLst/>
                <a:gdLst>
                  <a:gd name="T0" fmla="*/ 90 w 120"/>
                  <a:gd name="T1" fmla="*/ 0 h 210"/>
                  <a:gd name="T2" fmla="*/ 0 w 120"/>
                  <a:gd name="T3" fmla="*/ 210 h 210"/>
                  <a:gd name="T4" fmla="*/ 120 w 120"/>
                  <a:gd name="T5" fmla="*/ 180 h 210"/>
                  <a:gd name="T6" fmla="*/ 90 w 120"/>
                  <a:gd name="T7" fmla="*/ 0 h 210"/>
                </a:gdLst>
                <a:ahLst/>
                <a:cxnLst>
                  <a:cxn ang="0">
                    <a:pos x="T0" y="T1"/>
                  </a:cxn>
                  <a:cxn ang="0">
                    <a:pos x="T2" y="T3"/>
                  </a:cxn>
                  <a:cxn ang="0">
                    <a:pos x="T4" y="T5"/>
                  </a:cxn>
                  <a:cxn ang="0">
                    <a:pos x="T6" y="T7"/>
                  </a:cxn>
                </a:cxnLst>
                <a:rect l="0" t="0" r="r" b="b"/>
                <a:pathLst>
                  <a:path w="120" h="210">
                    <a:moveTo>
                      <a:pt x="90" y="0"/>
                    </a:moveTo>
                    <a:lnTo>
                      <a:pt x="0" y="210"/>
                    </a:lnTo>
                    <a:lnTo>
                      <a:pt x="120" y="18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3" name="Freeform 2564">
                <a:extLst>
                  <a:ext uri="{FF2B5EF4-FFF2-40B4-BE49-F238E27FC236}">
                    <a16:creationId xmlns:a16="http://schemas.microsoft.com/office/drawing/2014/main" id="{6A5CDCC4-5770-4C83-99A6-401CFB21D11F}"/>
                  </a:ext>
                </a:extLst>
              </p:cNvPr>
              <p:cNvSpPr>
                <a:spLocks/>
              </p:cNvSpPr>
              <p:nvPr/>
            </p:nvSpPr>
            <p:spPr bwMode="auto">
              <a:xfrm>
                <a:off x="3195" y="240"/>
                <a:ext cx="480" cy="270"/>
              </a:xfrm>
              <a:custGeom>
                <a:avLst/>
                <a:gdLst>
                  <a:gd name="T0" fmla="*/ 0 w 480"/>
                  <a:gd name="T1" fmla="*/ 0 h 270"/>
                  <a:gd name="T2" fmla="*/ 90 w 480"/>
                  <a:gd name="T3" fmla="*/ 240 h 270"/>
                  <a:gd name="T4" fmla="*/ 300 w 480"/>
                  <a:gd name="T5" fmla="*/ 150 h 270"/>
                  <a:gd name="T6" fmla="*/ 480 w 480"/>
                  <a:gd name="T7" fmla="*/ 210 h 270"/>
                  <a:gd name="T8" fmla="*/ 270 w 480"/>
                  <a:gd name="T9" fmla="*/ 270 h 270"/>
                  <a:gd name="T10" fmla="*/ 120 w 480"/>
                  <a:gd name="T11" fmla="*/ 60 h 270"/>
                </a:gdLst>
                <a:ahLst/>
                <a:cxnLst>
                  <a:cxn ang="0">
                    <a:pos x="T0" y="T1"/>
                  </a:cxn>
                  <a:cxn ang="0">
                    <a:pos x="T2" y="T3"/>
                  </a:cxn>
                  <a:cxn ang="0">
                    <a:pos x="T4" y="T5"/>
                  </a:cxn>
                  <a:cxn ang="0">
                    <a:pos x="T6" y="T7"/>
                  </a:cxn>
                  <a:cxn ang="0">
                    <a:pos x="T8" y="T9"/>
                  </a:cxn>
                  <a:cxn ang="0">
                    <a:pos x="T10" y="T11"/>
                  </a:cxn>
                </a:cxnLst>
                <a:rect l="0" t="0" r="r" b="b"/>
                <a:pathLst>
                  <a:path w="480" h="270">
                    <a:moveTo>
                      <a:pt x="0" y="0"/>
                    </a:moveTo>
                    <a:lnTo>
                      <a:pt x="90" y="240"/>
                    </a:lnTo>
                    <a:lnTo>
                      <a:pt x="300" y="150"/>
                    </a:lnTo>
                    <a:lnTo>
                      <a:pt x="480" y="210"/>
                    </a:lnTo>
                    <a:lnTo>
                      <a:pt x="270" y="270"/>
                    </a:lnTo>
                    <a:lnTo>
                      <a:pt x="1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4" name="Freeform 2565">
                <a:extLst>
                  <a:ext uri="{FF2B5EF4-FFF2-40B4-BE49-F238E27FC236}">
                    <a16:creationId xmlns:a16="http://schemas.microsoft.com/office/drawing/2014/main" id="{F483214C-3F93-4D87-BBCA-DAFDB5EB151F}"/>
                  </a:ext>
                </a:extLst>
              </p:cNvPr>
              <p:cNvSpPr>
                <a:spLocks/>
              </p:cNvSpPr>
              <p:nvPr/>
            </p:nvSpPr>
            <p:spPr bwMode="auto">
              <a:xfrm>
                <a:off x="2805" y="60"/>
                <a:ext cx="1289" cy="300"/>
              </a:xfrm>
              <a:custGeom>
                <a:avLst/>
                <a:gdLst>
                  <a:gd name="T0" fmla="*/ 1169 w 1289"/>
                  <a:gd name="T1" fmla="*/ 210 h 300"/>
                  <a:gd name="T2" fmla="*/ 1169 w 1289"/>
                  <a:gd name="T3" fmla="*/ 0 h 300"/>
                  <a:gd name="T4" fmla="*/ 1049 w 1289"/>
                  <a:gd name="T5" fmla="*/ 90 h 300"/>
                  <a:gd name="T6" fmla="*/ 1169 w 1289"/>
                  <a:gd name="T7" fmla="*/ 210 h 300"/>
                  <a:gd name="T8" fmla="*/ 1289 w 1289"/>
                  <a:gd name="T9" fmla="*/ 60 h 300"/>
                  <a:gd name="T10" fmla="*/ 1259 w 1289"/>
                  <a:gd name="T11" fmla="*/ 240 h 300"/>
                  <a:gd name="T12" fmla="*/ 1169 w 1289"/>
                  <a:gd name="T13" fmla="*/ 0 h 300"/>
                  <a:gd name="T14" fmla="*/ 870 w 1289"/>
                  <a:gd name="T15" fmla="*/ 30 h 300"/>
                  <a:gd name="T16" fmla="*/ 780 w 1289"/>
                  <a:gd name="T17" fmla="*/ 240 h 300"/>
                  <a:gd name="T18" fmla="*/ 660 w 1289"/>
                  <a:gd name="T19" fmla="*/ 90 h 300"/>
                  <a:gd name="T20" fmla="*/ 450 w 1289"/>
                  <a:gd name="T21" fmla="*/ 90 h 300"/>
                  <a:gd name="T22" fmla="*/ 630 w 1289"/>
                  <a:gd name="T23" fmla="*/ 210 h 300"/>
                  <a:gd name="T24" fmla="*/ 390 w 1289"/>
                  <a:gd name="T25" fmla="*/ 180 h 300"/>
                  <a:gd name="T26" fmla="*/ 270 w 1289"/>
                  <a:gd name="T27" fmla="*/ 30 h 300"/>
                  <a:gd name="T28" fmla="*/ 210 w 1289"/>
                  <a:gd name="T29" fmla="*/ 150 h 300"/>
                  <a:gd name="T30" fmla="*/ 90 w 1289"/>
                  <a:gd name="T31" fmla="*/ 210 h 300"/>
                  <a:gd name="T32" fmla="*/ 0 w 1289"/>
                  <a:gd name="T33" fmla="*/ 60 h 300"/>
                  <a:gd name="T34" fmla="*/ 150 w 1289"/>
                  <a:gd name="T35" fmla="*/ 30 h 300"/>
                  <a:gd name="T36" fmla="*/ 150 w 1289"/>
                  <a:gd name="T3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9" h="300">
                    <a:moveTo>
                      <a:pt x="1169" y="210"/>
                    </a:moveTo>
                    <a:lnTo>
                      <a:pt x="1169" y="0"/>
                    </a:lnTo>
                    <a:lnTo>
                      <a:pt x="1049" y="90"/>
                    </a:lnTo>
                    <a:lnTo>
                      <a:pt x="1169" y="210"/>
                    </a:lnTo>
                    <a:lnTo>
                      <a:pt x="1289" y="60"/>
                    </a:lnTo>
                    <a:lnTo>
                      <a:pt x="1259" y="240"/>
                    </a:lnTo>
                    <a:lnTo>
                      <a:pt x="1169" y="0"/>
                    </a:lnTo>
                    <a:lnTo>
                      <a:pt x="870" y="30"/>
                    </a:lnTo>
                    <a:lnTo>
                      <a:pt x="780" y="240"/>
                    </a:lnTo>
                    <a:lnTo>
                      <a:pt x="660" y="90"/>
                    </a:lnTo>
                    <a:lnTo>
                      <a:pt x="450" y="90"/>
                    </a:lnTo>
                    <a:lnTo>
                      <a:pt x="630" y="210"/>
                    </a:lnTo>
                    <a:lnTo>
                      <a:pt x="390" y="180"/>
                    </a:lnTo>
                    <a:lnTo>
                      <a:pt x="270" y="30"/>
                    </a:lnTo>
                    <a:lnTo>
                      <a:pt x="210" y="150"/>
                    </a:lnTo>
                    <a:lnTo>
                      <a:pt x="90" y="210"/>
                    </a:lnTo>
                    <a:lnTo>
                      <a:pt x="0" y="60"/>
                    </a:lnTo>
                    <a:lnTo>
                      <a:pt x="150" y="3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5" name="Freeform 2566">
                <a:extLst>
                  <a:ext uri="{FF2B5EF4-FFF2-40B4-BE49-F238E27FC236}">
                    <a16:creationId xmlns:a16="http://schemas.microsoft.com/office/drawing/2014/main" id="{398C1C72-DD44-475D-A9D3-87E592D86567}"/>
                  </a:ext>
                </a:extLst>
              </p:cNvPr>
              <p:cNvSpPr>
                <a:spLocks/>
              </p:cNvSpPr>
              <p:nvPr/>
            </p:nvSpPr>
            <p:spPr bwMode="auto">
              <a:xfrm>
                <a:off x="3675" y="90"/>
                <a:ext cx="269" cy="270"/>
              </a:xfrm>
              <a:custGeom>
                <a:avLst/>
                <a:gdLst>
                  <a:gd name="T0" fmla="*/ 0 w 269"/>
                  <a:gd name="T1" fmla="*/ 0 h 270"/>
                  <a:gd name="T2" fmla="*/ 179 w 269"/>
                  <a:gd name="T3" fmla="*/ 60 h 270"/>
                  <a:gd name="T4" fmla="*/ 269 w 269"/>
                  <a:gd name="T5" fmla="*/ 270 h 270"/>
                </a:gdLst>
                <a:ahLst/>
                <a:cxnLst>
                  <a:cxn ang="0">
                    <a:pos x="T0" y="T1"/>
                  </a:cxn>
                  <a:cxn ang="0">
                    <a:pos x="T2" y="T3"/>
                  </a:cxn>
                  <a:cxn ang="0">
                    <a:pos x="T4" y="T5"/>
                  </a:cxn>
                </a:cxnLst>
                <a:rect l="0" t="0" r="r" b="b"/>
                <a:pathLst>
                  <a:path w="269" h="270">
                    <a:moveTo>
                      <a:pt x="0" y="0"/>
                    </a:moveTo>
                    <a:lnTo>
                      <a:pt x="179" y="60"/>
                    </a:lnTo>
                    <a:lnTo>
                      <a:pt x="26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6" name="Freeform 2567">
                <a:extLst>
                  <a:ext uri="{FF2B5EF4-FFF2-40B4-BE49-F238E27FC236}">
                    <a16:creationId xmlns:a16="http://schemas.microsoft.com/office/drawing/2014/main" id="{D87C6563-DDD3-4FFC-B44E-09758EA1BF2F}"/>
                  </a:ext>
                </a:extLst>
              </p:cNvPr>
              <p:cNvSpPr>
                <a:spLocks/>
              </p:cNvSpPr>
              <p:nvPr/>
            </p:nvSpPr>
            <p:spPr bwMode="auto">
              <a:xfrm>
                <a:off x="3195" y="30"/>
                <a:ext cx="360" cy="60"/>
              </a:xfrm>
              <a:custGeom>
                <a:avLst/>
                <a:gdLst>
                  <a:gd name="T0" fmla="*/ 360 w 360"/>
                  <a:gd name="T1" fmla="*/ 0 h 60"/>
                  <a:gd name="T2" fmla="*/ 150 w 360"/>
                  <a:gd name="T3" fmla="*/ 60 h 60"/>
                  <a:gd name="T4" fmla="*/ 0 w 360"/>
                  <a:gd name="T5" fmla="*/ 0 h 60"/>
                </a:gdLst>
                <a:ahLst/>
                <a:cxnLst>
                  <a:cxn ang="0">
                    <a:pos x="T0" y="T1"/>
                  </a:cxn>
                  <a:cxn ang="0">
                    <a:pos x="T2" y="T3"/>
                  </a:cxn>
                  <a:cxn ang="0">
                    <a:pos x="T4" y="T5"/>
                  </a:cxn>
                </a:cxnLst>
                <a:rect l="0" t="0" r="r" b="b"/>
                <a:pathLst>
                  <a:path w="360" h="60">
                    <a:moveTo>
                      <a:pt x="360" y="0"/>
                    </a:moveTo>
                    <a:lnTo>
                      <a:pt x="15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7" name="Freeform 2568">
                <a:extLst>
                  <a:ext uri="{FF2B5EF4-FFF2-40B4-BE49-F238E27FC236}">
                    <a16:creationId xmlns:a16="http://schemas.microsoft.com/office/drawing/2014/main" id="{54D7EA88-4DE0-49CB-9431-AF6451DB9E9A}"/>
                  </a:ext>
                </a:extLst>
              </p:cNvPr>
              <p:cNvSpPr>
                <a:spLocks/>
              </p:cNvSpPr>
              <p:nvPr/>
            </p:nvSpPr>
            <p:spPr bwMode="auto">
              <a:xfrm>
                <a:off x="1846" y="210"/>
                <a:ext cx="389" cy="300"/>
              </a:xfrm>
              <a:custGeom>
                <a:avLst/>
                <a:gdLst>
                  <a:gd name="T0" fmla="*/ 120 w 389"/>
                  <a:gd name="T1" fmla="*/ 150 h 300"/>
                  <a:gd name="T2" fmla="*/ 0 w 389"/>
                  <a:gd name="T3" fmla="*/ 90 h 300"/>
                  <a:gd name="T4" fmla="*/ 60 w 389"/>
                  <a:gd name="T5" fmla="*/ 300 h 300"/>
                  <a:gd name="T6" fmla="*/ 269 w 389"/>
                  <a:gd name="T7" fmla="*/ 120 h 300"/>
                  <a:gd name="T8" fmla="*/ 389 w 389"/>
                  <a:gd name="T9" fmla="*/ 180 h 300"/>
                  <a:gd name="T10" fmla="*/ 210 w 389"/>
                  <a:gd name="T11" fmla="*/ 0 h 300"/>
                  <a:gd name="T12" fmla="*/ 0 w 389"/>
                  <a:gd name="T13" fmla="*/ 90 h 300"/>
                </a:gdLst>
                <a:ahLst/>
                <a:cxnLst>
                  <a:cxn ang="0">
                    <a:pos x="T0" y="T1"/>
                  </a:cxn>
                  <a:cxn ang="0">
                    <a:pos x="T2" y="T3"/>
                  </a:cxn>
                  <a:cxn ang="0">
                    <a:pos x="T4" y="T5"/>
                  </a:cxn>
                  <a:cxn ang="0">
                    <a:pos x="T6" y="T7"/>
                  </a:cxn>
                  <a:cxn ang="0">
                    <a:pos x="T8" y="T9"/>
                  </a:cxn>
                  <a:cxn ang="0">
                    <a:pos x="T10" y="T11"/>
                  </a:cxn>
                  <a:cxn ang="0">
                    <a:pos x="T12" y="T13"/>
                  </a:cxn>
                </a:cxnLst>
                <a:rect l="0" t="0" r="r" b="b"/>
                <a:pathLst>
                  <a:path w="389" h="300">
                    <a:moveTo>
                      <a:pt x="120" y="150"/>
                    </a:moveTo>
                    <a:lnTo>
                      <a:pt x="0" y="90"/>
                    </a:lnTo>
                    <a:lnTo>
                      <a:pt x="60" y="300"/>
                    </a:lnTo>
                    <a:lnTo>
                      <a:pt x="269" y="120"/>
                    </a:lnTo>
                    <a:lnTo>
                      <a:pt x="389" y="180"/>
                    </a:lnTo>
                    <a:lnTo>
                      <a:pt x="210" y="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8" name="Freeform 2569">
                <a:extLst>
                  <a:ext uri="{FF2B5EF4-FFF2-40B4-BE49-F238E27FC236}">
                    <a16:creationId xmlns:a16="http://schemas.microsoft.com/office/drawing/2014/main" id="{17A642A2-6867-420F-B133-2480EA407FFA}"/>
                  </a:ext>
                </a:extLst>
              </p:cNvPr>
              <p:cNvSpPr>
                <a:spLocks/>
              </p:cNvSpPr>
              <p:nvPr/>
            </p:nvSpPr>
            <p:spPr bwMode="auto">
              <a:xfrm>
                <a:off x="1966" y="60"/>
                <a:ext cx="149" cy="150"/>
              </a:xfrm>
              <a:custGeom>
                <a:avLst/>
                <a:gdLst>
                  <a:gd name="T0" fmla="*/ 0 w 149"/>
                  <a:gd name="T1" fmla="*/ 0 h 150"/>
                  <a:gd name="T2" fmla="*/ 90 w 149"/>
                  <a:gd name="T3" fmla="*/ 150 h 150"/>
                  <a:gd name="T4" fmla="*/ 149 w 149"/>
                  <a:gd name="T5" fmla="*/ 30 h 150"/>
                </a:gdLst>
                <a:ahLst/>
                <a:cxnLst>
                  <a:cxn ang="0">
                    <a:pos x="T0" y="T1"/>
                  </a:cxn>
                  <a:cxn ang="0">
                    <a:pos x="T2" y="T3"/>
                  </a:cxn>
                  <a:cxn ang="0">
                    <a:pos x="T4" y="T5"/>
                  </a:cxn>
                </a:cxnLst>
                <a:rect l="0" t="0" r="r" b="b"/>
                <a:pathLst>
                  <a:path w="149" h="150">
                    <a:moveTo>
                      <a:pt x="0" y="0"/>
                    </a:moveTo>
                    <a:lnTo>
                      <a:pt x="90" y="150"/>
                    </a:lnTo>
                    <a:lnTo>
                      <a:pt x="14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9" name="Freeform 2570">
                <a:extLst>
                  <a:ext uri="{FF2B5EF4-FFF2-40B4-BE49-F238E27FC236}">
                    <a16:creationId xmlns:a16="http://schemas.microsoft.com/office/drawing/2014/main" id="{D8159FA6-448A-4020-ADAC-FBD41D79ED8E}"/>
                  </a:ext>
                </a:extLst>
              </p:cNvPr>
              <p:cNvSpPr>
                <a:spLocks/>
              </p:cNvSpPr>
              <p:nvPr/>
            </p:nvSpPr>
            <p:spPr bwMode="auto">
              <a:xfrm>
                <a:off x="2056" y="210"/>
                <a:ext cx="1649" cy="1050"/>
              </a:xfrm>
              <a:custGeom>
                <a:avLst/>
                <a:gdLst>
                  <a:gd name="T0" fmla="*/ 0 w 1649"/>
                  <a:gd name="T1" fmla="*/ 0 h 1050"/>
                  <a:gd name="T2" fmla="*/ 179 w 1649"/>
                  <a:gd name="T3" fmla="*/ 30 h 1050"/>
                  <a:gd name="T4" fmla="*/ 299 w 1649"/>
                  <a:gd name="T5" fmla="*/ 120 h 1050"/>
                  <a:gd name="T6" fmla="*/ 269 w 1649"/>
                  <a:gd name="T7" fmla="*/ 240 h 1050"/>
                  <a:gd name="T8" fmla="*/ 479 w 1649"/>
                  <a:gd name="T9" fmla="*/ 180 h 1050"/>
                  <a:gd name="T10" fmla="*/ 449 w 1649"/>
                  <a:gd name="T11" fmla="*/ 300 h 1050"/>
                  <a:gd name="T12" fmla="*/ 269 w 1649"/>
                  <a:gd name="T13" fmla="*/ 240 h 1050"/>
                  <a:gd name="T14" fmla="*/ 359 w 1649"/>
                  <a:gd name="T15" fmla="*/ 360 h 1050"/>
                  <a:gd name="T16" fmla="*/ 449 w 1649"/>
                  <a:gd name="T17" fmla="*/ 300 h 1050"/>
                  <a:gd name="T18" fmla="*/ 839 w 1649"/>
                  <a:gd name="T19" fmla="*/ 240 h 1050"/>
                  <a:gd name="T20" fmla="*/ 749 w 1649"/>
                  <a:gd name="T21" fmla="*/ 330 h 1050"/>
                  <a:gd name="T22" fmla="*/ 689 w 1649"/>
                  <a:gd name="T23" fmla="*/ 420 h 1050"/>
                  <a:gd name="T24" fmla="*/ 539 w 1649"/>
                  <a:gd name="T25" fmla="*/ 510 h 1050"/>
                  <a:gd name="T26" fmla="*/ 539 w 1649"/>
                  <a:gd name="T27" fmla="*/ 660 h 1050"/>
                  <a:gd name="T28" fmla="*/ 659 w 1649"/>
                  <a:gd name="T29" fmla="*/ 570 h 1050"/>
                  <a:gd name="T30" fmla="*/ 809 w 1649"/>
                  <a:gd name="T31" fmla="*/ 450 h 1050"/>
                  <a:gd name="T32" fmla="*/ 1049 w 1649"/>
                  <a:gd name="T33" fmla="*/ 300 h 1050"/>
                  <a:gd name="T34" fmla="*/ 1139 w 1649"/>
                  <a:gd name="T35" fmla="*/ 360 h 1050"/>
                  <a:gd name="T36" fmla="*/ 1229 w 1649"/>
                  <a:gd name="T37" fmla="*/ 480 h 1050"/>
                  <a:gd name="T38" fmla="*/ 1319 w 1649"/>
                  <a:gd name="T39" fmla="*/ 360 h 1050"/>
                  <a:gd name="T40" fmla="*/ 1139 w 1649"/>
                  <a:gd name="T41" fmla="*/ 360 h 1050"/>
                  <a:gd name="T42" fmla="*/ 1139 w 1649"/>
                  <a:gd name="T43" fmla="*/ 511 h 1050"/>
                  <a:gd name="T44" fmla="*/ 1049 w 1649"/>
                  <a:gd name="T45" fmla="*/ 480 h 1050"/>
                  <a:gd name="T46" fmla="*/ 1019 w 1649"/>
                  <a:gd name="T47" fmla="*/ 570 h 1050"/>
                  <a:gd name="T48" fmla="*/ 1019 w 1649"/>
                  <a:gd name="T49" fmla="*/ 810 h 1050"/>
                  <a:gd name="T50" fmla="*/ 1139 w 1649"/>
                  <a:gd name="T51" fmla="*/ 720 h 1050"/>
                  <a:gd name="T52" fmla="*/ 1227 w 1649"/>
                  <a:gd name="T53" fmla="*/ 812 h 1050"/>
                  <a:gd name="T54" fmla="*/ 1199 w 1649"/>
                  <a:gd name="T55" fmla="*/ 630 h 1050"/>
                  <a:gd name="T56" fmla="*/ 1289 w 1649"/>
                  <a:gd name="T57" fmla="*/ 570 h 1050"/>
                  <a:gd name="T58" fmla="*/ 1409 w 1649"/>
                  <a:gd name="T59" fmla="*/ 630 h 1050"/>
                  <a:gd name="T60" fmla="*/ 1289 w 1649"/>
                  <a:gd name="T61" fmla="*/ 690 h 1050"/>
                  <a:gd name="T62" fmla="*/ 1379 w 1649"/>
                  <a:gd name="T63" fmla="*/ 750 h 1050"/>
                  <a:gd name="T64" fmla="*/ 1649 w 1649"/>
                  <a:gd name="T65" fmla="*/ 720 h 1050"/>
                  <a:gd name="T66" fmla="*/ 1529 w 1649"/>
                  <a:gd name="T67" fmla="*/ 780 h 1050"/>
                  <a:gd name="T68" fmla="*/ 1559 w 1649"/>
                  <a:gd name="T69" fmla="*/ 1050 h 1050"/>
                  <a:gd name="T70" fmla="*/ 1349 w 1649"/>
                  <a:gd name="T71" fmla="*/ 87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1050">
                    <a:moveTo>
                      <a:pt x="0" y="0"/>
                    </a:moveTo>
                    <a:lnTo>
                      <a:pt x="179" y="30"/>
                    </a:lnTo>
                    <a:lnTo>
                      <a:pt x="299" y="120"/>
                    </a:lnTo>
                    <a:lnTo>
                      <a:pt x="269" y="240"/>
                    </a:lnTo>
                    <a:lnTo>
                      <a:pt x="479" y="180"/>
                    </a:lnTo>
                    <a:lnTo>
                      <a:pt x="449" y="300"/>
                    </a:lnTo>
                    <a:lnTo>
                      <a:pt x="269" y="240"/>
                    </a:lnTo>
                    <a:lnTo>
                      <a:pt x="359" y="360"/>
                    </a:lnTo>
                    <a:lnTo>
                      <a:pt x="449" y="300"/>
                    </a:lnTo>
                    <a:lnTo>
                      <a:pt x="839" y="240"/>
                    </a:lnTo>
                    <a:lnTo>
                      <a:pt x="749" y="330"/>
                    </a:lnTo>
                    <a:lnTo>
                      <a:pt x="689" y="420"/>
                    </a:lnTo>
                    <a:lnTo>
                      <a:pt x="539" y="510"/>
                    </a:lnTo>
                    <a:lnTo>
                      <a:pt x="539" y="660"/>
                    </a:lnTo>
                    <a:lnTo>
                      <a:pt x="659" y="570"/>
                    </a:lnTo>
                    <a:lnTo>
                      <a:pt x="809" y="450"/>
                    </a:lnTo>
                    <a:lnTo>
                      <a:pt x="1049" y="300"/>
                    </a:lnTo>
                    <a:lnTo>
                      <a:pt x="1139" y="360"/>
                    </a:lnTo>
                    <a:lnTo>
                      <a:pt x="1229" y="480"/>
                    </a:lnTo>
                    <a:lnTo>
                      <a:pt x="1319" y="360"/>
                    </a:lnTo>
                    <a:lnTo>
                      <a:pt x="1139" y="360"/>
                    </a:lnTo>
                    <a:lnTo>
                      <a:pt x="1139" y="511"/>
                    </a:lnTo>
                    <a:lnTo>
                      <a:pt x="1049" y="480"/>
                    </a:lnTo>
                    <a:lnTo>
                      <a:pt x="1019" y="570"/>
                    </a:lnTo>
                    <a:lnTo>
                      <a:pt x="1019" y="810"/>
                    </a:lnTo>
                    <a:lnTo>
                      <a:pt x="1139" y="720"/>
                    </a:lnTo>
                    <a:lnTo>
                      <a:pt x="1227" y="812"/>
                    </a:lnTo>
                    <a:lnTo>
                      <a:pt x="1199" y="630"/>
                    </a:lnTo>
                    <a:lnTo>
                      <a:pt x="1289" y="570"/>
                    </a:lnTo>
                    <a:lnTo>
                      <a:pt x="1409" y="630"/>
                    </a:lnTo>
                    <a:lnTo>
                      <a:pt x="1289" y="690"/>
                    </a:lnTo>
                    <a:lnTo>
                      <a:pt x="1379" y="750"/>
                    </a:lnTo>
                    <a:lnTo>
                      <a:pt x="1649" y="720"/>
                    </a:lnTo>
                    <a:lnTo>
                      <a:pt x="1529" y="780"/>
                    </a:lnTo>
                    <a:lnTo>
                      <a:pt x="1559" y="1050"/>
                    </a:lnTo>
                    <a:lnTo>
                      <a:pt x="1349" y="8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30" name="Freeform 2571">
                <a:extLst>
                  <a:ext uri="{FF2B5EF4-FFF2-40B4-BE49-F238E27FC236}">
                    <a16:creationId xmlns:a16="http://schemas.microsoft.com/office/drawing/2014/main" id="{C81C050C-4B43-471F-9078-54899194D6F2}"/>
                  </a:ext>
                </a:extLst>
              </p:cNvPr>
              <p:cNvSpPr>
                <a:spLocks/>
              </p:cNvSpPr>
              <p:nvPr/>
            </p:nvSpPr>
            <p:spPr bwMode="auto">
              <a:xfrm>
                <a:off x="2505" y="300"/>
                <a:ext cx="270" cy="210"/>
              </a:xfrm>
              <a:custGeom>
                <a:avLst/>
                <a:gdLst>
                  <a:gd name="T0" fmla="*/ 120 w 270"/>
                  <a:gd name="T1" fmla="*/ 0 h 210"/>
                  <a:gd name="T2" fmla="*/ 270 w 270"/>
                  <a:gd name="T3" fmla="*/ 60 h 210"/>
                  <a:gd name="T4" fmla="*/ 0 w 270"/>
                  <a:gd name="T5" fmla="*/ 210 h 210"/>
                </a:gdLst>
                <a:ahLst/>
                <a:cxnLst>
                  <a:cxn ang="0">
                    <a:pos x="T0" y="T1"/>
                  </a:cxn>
                  <a:cxn ang="0">
                    <a:pos x="T2" y="T3"/>
                  </a:cxn>
                  <a:cxn ang="0">
                    <a:pos x="T4" y="T5"/>
                  </a:cxn>
                </a:cxnLst>
                <a:rect l="0" t="0" r="r" b="b"/>
                <a:pathLst>
                  <a:path w="270" h="210">
                    <a:moveTo>
                      <a:pt x="120" y="0"/>
                    </a:move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2" name="Freeform 2572">
                <a:extLst>
                  <a:ext uri="{FF2B5EF4-FFF2-40B4-BE49-F238E27FC236}">
                    <a16:creationId xmlns:a16="http://schemas.microsoft.com/office/drawing/2014/main" id="{74167054-0864-408A-8803-2F3A508A39AA}"/>
                  </a:ext>
                </a:extLst>
              </p:cNvPr>
              <p:cNvSpPr>
                <a:spLocks/>
              </p:cNvSpPr>
              <p:nvPr/>
            </p:nvSpPr>
            <p:spPr bwMode="auto">
              <a:xfrm>
                <a:off x="2775" y="360"/>
                <a:ext cx="180" cy="90"/>
              </a:xfrm>
              <a:custGeom>
                <a:avLst/>
                <a:gdLst>
                  <a:gd name="T0" fmla="*/ 120 w 180"/>
                  <a:gd name="T1" fmla="*/ 90 h 90"/>
                  <a:gd name="T2" fmla="*/ 0 w 180"/>
                  <a:gd name="T3" fmla="*/ 0 h 90"/>
                  <a:gd name="T4" fmla="*/ 180 w 180"/>
                  <a:gd name="T5" fmla="*/ 0 h 90"/>
                  <a:gd name="T6" fmla="*/ 120 w 180"/>
                  <a:gd name="T7" fmla="*/ 90 h 90"/>
                </a:gdLst>
                <a:ahLst/>
                <a:cxnLst>
                  <a:cxn ang="0">
                    <a:pos x="T0" y="T1"/>
                  </a:cxn>
                  <a:cxn ang="0">
                    <a:pos x="T2" y="T3"/>
                  </a:cxn>
                  <a:cxn ang="0">
                    <a:pos x="T4" y="T5"/>
                  </a:cxn>
                  <a:cxn ang="0">
                    <a:pos x="T6" y="T7"/>
                  </a:cxn>
                </a:cxnLst>
                <a:rect l="0" t="0" r="r" b="b"/>
                <a:pathLst>
                  <a:path w="180" h="90">
                    <a:moveTo>
                      <a:pt x="120" y="90"/>
                    </a:moveTo>
                    <a:lnTo>
                      <a:pt x="0" y="0"/>
                    </a:lnTo>
                    <a:lnTo>
                      <a:pt x="180" y="0"/>
                    </a:lnTo>
                    <a:lnTo>
                      <a:pt x="12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3" name="Freeform 2573">
                <a:extLst>
                  <a:ext uri="{FF2B5EF4-FFF2-40B4-BE49-F238E27FC236}">
                    <a16:creationId xmlns:a16="http://schemas.microsoft.com/office/drawing/2014/main" id="{89213BD6-A02C-41F4-A946-BFD9D9B621FC}"/>
                  </a:ext>
                </a:extLst>
              </p:cNvPr>
              <p:cNvSpPr>
                <a:spLocks/>
              </p:cNvSpPr>
              <p:nvPr/>
            </p:nvSpPr>
            <p:spPr bwMode="auto">
              <a:xfrm>
                <a:off x="2595" y="30"/>
                <a:ext cx="210" cy="150"/>
              </a:xfrm>
              <a:custGeom>
                <a:avLst/>
                <a:gdLst>
                  <a:gd name="T0" fmla="*/ 120 w 210"/>
                  <a:gd name="T1" fmla="*/ 60 h 150"/>
                  <a:gd name="T2" fmla="*/ 210 w 210"/>
                  <a:gd name="T3" fmla="*/ 90 h 150"/>
                  <a:gd name="T4" fmla="*/ 0 w 210"/>
                  <a:gd name="T5" fmla="*/ 150 h 150"/>
                  <a:gd name="T6" fmla="*/ 0 w 210"/>
                  <a:gd name="T7" fmla="*/ 0 h 150"/>
                  <a:gd name="T8" fmla="*/ 120 w 210"/>
                  <a:gd name="T9" fmla="*/ 60 h 150"/>
                </a:gdLst>
                <a:ahLst/>
                <a:cxnLst>
                  <a:cxn ang="0">
                    <a:pos x="T0" y="T1"/>
                  </a:cxn>
                  <a:cxn ang="0">
                    <a:pos x="T2" y="T3"/>
                  </a:cxn>
                  <a:cxn ang="0">
                    <a:pos x="T4" y="T5"/>
                  </a:cxn>
                  <a:cxn ang="0">
                    <a:pos x="T6" y="T7"/>
                  </a:cxn>
                  <a:cxn ang="0">
                    <a:pos x="T8" y="T9"/>
                  </a:cxn>
                </a:cxnLst>
                <a:rect l="0" t="0" r="r" b="b"/>
                <a:pathLst>
                  <a:path w="210" h="150">
                    <a:moveTo>
                      <a:pt x="120" y="60"/>
                    </a:moveTo>
                    <a:lnTo>
                      <a:pt x="210" y="90"/>
                    </a:lnTo>
                    <a:lnTo>
                      <a:pt x="0" y="150"/>
                    </a:lnTo>
                    <a:lnTo>
                      <a:pt x="0" y="0"/>
                    </a:lnTo>
                    <a:lnTo>
                      <a:pt x="120" y="6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4" name="Line 2574">
                <a:extLst>
                  <a:ext uri="{FF2B5EF4-FFF2-40B4-BE49-F238E27FC236}">
                    <a16:creationId xmlns:a16="http://schemas.microsoft.com/office/drawing/2014/main" id="{339D8F80-C1EC-4166-96E2-45EF48BEACF9}"/>
                  </a:ext>
                </a:extLst>
              </p:cNvPr>
              <p:cNvSpPr>
                <a:spLocks noChangeShapeType="1"/>
              </p:cNvSpPr>
              <p:nvPr/>
            </p:nvSpPr>
            <p:spPr bwMode="auto">
              <a:xfrm flipH="1">
                <a:off x="2385" y="1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5" name="Freeform 2575">
                <a:extLst>
                  <a:ext uri="{FF2B5EF4-FFF2-40B4-BE49-F238E27FC236}">
                    <a16:creationId xmlns:a16="http://schemas.microsoft.com/office/drawing/2014/main" id="{3A3CEF4A-BC88-4AC7-B6F6-31798E8917F5}"/>
                  </a:ext>
                </a:extLst>
              </p:cNvPr>
              <p:cNvSpPr>
                <a:spLocks/>
              </p:cNvSpPr>
              <p:nvPr/>
            </p:nvSpPr>
            <p:spPr bwMode="auto">
              <a:xfrm>
                <a:off x="1876" y="30"/>
                <a:ext cx="2398" cy="390"/>
              </a:xfrm>
              <a:custGeom>
                <a:avLst/>
                <a:gdLst>
                  <a:gd name="T0" fmla="*/ 509 w 2398"/>
                  <a:gd name="T1" fmla="*/ 60 h 390"/>
                  <a:gd name="T2" fmla="*/ 419 w 2398"/>
                  <a:gd name="T3" fmla="*/ 120 h 390"/>
                  <a:gd name="T4" fmla="*/ 239 w 2398"/>
                  <a:gd name="T5" fmla="*/ 60 h 390"/>
                  <a:gd name="T6" fmla="*/ 90 w 2398"/>
                  <a:gd name="T7" fmla="*/ 30 h 390"/>
                  <a:gd name="T8" fmla="*/ 0 w 2398"/>
                  <a:gd name="T9" fmla="*/ 120 h 390"/>
                  <a:gd name="T10" fmla="*/ 180 w 2398"/>
                  <a:gd name="T11" fmla="*/ 180 h 390"/>
                  <a:gd name="T12" fmla="*/ 90 w 2398"/>
                  <a:gd name="T13" fmla="*/ 330 h 390"/>
                  <a:gd name="T14" fmla="*/ 239 w 2398"/>
                  <a:gd name="T15" fmla="*/ 300 h 390"/>
                  <a:gd name="T16" fmla="*/ 239 w 2398"/>
                  <a:gd name="T17" fmla="*/ 60 h 390"/>
                  <a:gd name="T18" fmla="*/ 359 w 2398"/>
                  <a:gd name="T19" fmla="*/ 210 h 390"/>
                  <a:gd name="T20" fmla="*/ 359 w 2398"/>
                  <a:gd name="T21" fmla="*/ 360 h 390"/>
                  <a:gd name="T22" fmla="*/ 479 w 2398"/>
                  <a:gd name="T23" fmla="*/ 300 h 390"/>
                  <a:gd name="T24" fmla="*/ 419 w 2398"/>
                  <a:gd name="T25" fmla="*/ 120 h 390"/>
                  <a:gd name="T26" fmla="*/ 509 w 2398"/>
                  <a:gd name="T27" fmla="*/ 180 h 390"/>
                  <a:gd name="T28" fmla="*/ 509 w 2398"/>
                  <a:gd name="T29" fmla="*/ 60 h 390"/>
                  <a:gd name="T30" fmla="*/ 629 w 2398"/>
                  <a:gd name="T31" fmla="*/ 30 h 390"/>
                  <a:gd name="T32" fmla="*/ 719 w 2398"/>
                  <a:gd name="T33" fmla="*/ 0 h 390"/>
                  <a:gd name="T34" fmla="*/ 629 w 2398"/>
                  <a:gd name="T35" fmla="*/ 120 h 390"/>
                  <a:gd name="T36" fmla="*/ 719 w 2398"/>
                  <a:gd name="T37" fmla="*/ 150 h 390"/>
                  <a:gd name="T38" fmla="*/ 599 w 2398"/>
                  <a:gd name="T39" fmla="*/ 240 h 390"/>
                  <a:gd name="T40" fmla="*/ 659 w 2398"/>
                  <a:gd name="T41" fmla="*/ 360 h 390"/>
                  <a:gd name="T42" fmla="*/ 749 w 2398"/>
                  <a:gd name="T43" fmla="*/ 270 h 390"/>
                  <a:gd name="T44" fmla="*/ 839 w 2398"/>
                  <a:gd name="T45" fmla="*/ 60 h 390"/>
                  <a:gd name="T46" fmla="*/ 869 w 2398"/>
                  <a:gd name="T47" fmla="*/ 210 h 390"/>
                  <a:gd name="T48" fmla="*/ 929 w 2398"/>
                  <a:gd name="T49" fmla="*/ 90 h 390"/>
                  <a:gd name="T50" fmla="*/ 899 w 2398"/>
                  <a:gd name="T51" fmla="*/ 330 h 390"/>
                  <a:gd name="T52" fmla="*/ 1019 w 2398"/>
                  <a:gd name="T53" fmla="*/ 240 h 390"/>
                  <a:gd name="T54" fmla="*/ 1079 w 2398"/>
                  <a:gd name="T55" fmla="*/ 330 h 390"/>
                  <a:gd name="T56" fmla="*/ 1139 w 2398"/>
                  <a:gd name="T57" fmla="*/ 180 h 390"/>
                  <a:gd name="T58" fmla="*/ 1079 w 2398"/>
                  <a:gd name="T59" fmla="*/ 60 h 390"/>
                  <a:gd name="T60" fmla="*/ 1199 w 2398"/>
                  <a:gd name="T61" fmla="*/ 60 h 390"/>
                  <a:gd name="T62" fmla="*/ 1319 w 2398"/>
                  <a:gd name="T63" fmla="*/ 0 h 390"/>
                  <a:gd name="T64" fmla="*/ 1319 w 2398"/>
                  <a:gd name="T65" fmla="*/ 210 h 390"/>
                  <a:gd name="T66" fmla="*/ 1199 w 2398"/>
                  <a:gd name="T67" fmla="*/ 300 h 390"/>
                  <a:gd name="T68" fmla="*/ 1319 w 2398"/>
                  <a:gd name="T69" fmla="*/ 360 h 390"/>
                  <a:gd name="T70" fmla="*/ 1439 w 2398"/>
                  <a:gd name="T71" fmla="*/ 270 h 390"/>
                  <a:gd name="T72" fmla="*/ 1379 w 2398"/>
                  <a:gd name="T73" fmla="*/ 120 h 390"/>
                  <a:gd name="T74" fmla="*/ 1469 w 2398"/>
                  <a:gd name="T75" fmla="*/ 60 h 390"/>
                  <a:gd name="T76" fmla="*/ 1589 w 2398"/>
                  <a:gd name="T77" fmla="*/ 120 h 390"/>
                  <a:gd name="T78" fmla="*/ 1559 w 2398"/>
                  <a:gd name="T79" fmla="*/ 240 h 390"/>
                  <a:gd name="T80" fmla="*/ 1619 w 2398"/>
                  <a:gd name="T81" fmla="*/ 360 h 390"/>
                  <a:gd name="T82" fmla="*/ 1709 w 2398"/>
                  <a:gd name="T83" fmla="*/ 270 h 390"/>
                  <a:gd name="T84" fmla="*/ 1679 w 2398"/>
                  <a:gd name="T85" fmla="*/ 150 h 390"/>
                  <a:gd name="T86" fmla="*/ 1679 w 2398"/>
                  <a:gd name="T87" fmla="*/ 0 h 390"/>
                  <a:gd name="T88" fmla="*/ 1799 w 2398"/>
                  <a:gd name="T89" fmla="*/ 60 h 390"/>
                  <a:gd name="T90" fmla="*/ 1829 w 2398"/>
                  <a:gd name="T91" fmla="*/ 210 h 390"/>
                  <a:gd name="T92" fmla="*/ 1978 w 2398"/>
                  <a:gd name="T93" fmla="*/ 120 h 390"/>
                  <a:gd name="T94" fmla="*/ 1948 w 2398"/>
                  <a:gd name="T95" fmla="*/ 240 h 390"/>
                  <a:gd name="T96" fmla="*/ 1888 w 2398"/>
                  <a:gd name="T97" fmla="*/ 360 h 390"/>
                  <a:gd name="T98" fmla="*/ 2068 w 2398"/>
                  <a:gd name="T99" fmla="*/ 330 h 390"/>
                  <a:gd name="T100" fmla="*/ 2248 w 2398"/>
                  <a:gd name="T101" fmla="*/ 390 h 390"/>
                  <a:gd name="T102" fmla="*/ 2398 w 2398"/>
                  <a:gd name="T103" fmla="*/ 270 h 390"/>
                  <a:gd name="T104" fmla="*/ 2278 w 2398"/>
                  <a:gd name="T105" fmla="*/ 240 h 390"/>
                  <a:gd name="T106" fmla="*/ 2368 w 2398"/>
                  <a:gd name="T107" fmla="*/ 12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8" h="390">
                    <a:moveTo>
                      <a:pt x="509" y="60"/>
                    </a:moveTo>
                    <a:lnTo>
                      <a:pt x="419" y="120"/>
                    </a:lnTo>
                    <a:lnTo>
                      <a:pt x="239" y="60"/>
                    </a:lnTo>
                    <a:lnTo>
                      <a:pt x="90" y="30"/>
                    </a:lnTo>
                    <a:lnTo>
                      <a:pt x="0" y="120"/>
                    </a:lnTo>
                    <a:lnTo>
                      <a:pt x="180" y="180"/>
                    </a:lnTo>
                    <a:lnTo>
                      <a:pt x="90" y="330"/>
                    </a:lnTo>
                    <a:lnTo>
                      <a:pt x="239" y="300"/>
                    </a:lnTo>
                    <a:lnTo>
                      <a:pt x="239" y="60"/>
                    </a:lnTo>
                    <a:lnTo>
                      <a:pt x="359" y="210"/>
                    </a:lnTo>
                    <a:lnTo>
                      <a:pt x="359" y="360"/>
                    </a:lnTo>
                    <a:lnTo>
                      <a:pt x="479" y="300"/>
                    </a:lnTo>
                    <a:lnTo>
                      <a:pt x="419" y="120"/>
                    </a:lnTo>
                    <a:lnTo>
                      <a:pt x="509" y="180"/>
                    </a:lnTo>
                    <a:lnTo>
                      <a:pt x="509" y="60"/>
                    </a:lnTo>
                    <a:lnTo>
                      <a:pt x="629" y="30"/>
                    </a:lnTo>
                    <a:lnTo>
                      <a:pt x="719" y="0"/>
                    </a:lnTo>
                    <a:lnTo>
                      <a:pt x="629" y="120"/>
                    </a:lnTo>
                    <a:lnTo>
                      <a:pt x="719" y="150"/>
                    </a:lnTo>
                    <a:lnTo>
                      <a:pt x="599" y="240"/>
                    </a:lnTo>
                    <a:lnTo>
                      <a:pt x="659" y="360"/>
                    </a:lnTo>
                    <a:lnTo>
                      <a:pt x="749" y="270"/>
                    </a:lnTo>
                    <a:lnTo>
                      <a:pt x="839" y="60"/>
                    </a:lnTo>
                    <a:lnTo>
                      <a:pt x="869" y="210"/>
                    </a:lnTo>
                    <a:lnTo>
                      <a:pt x="929" y="90"/>
                    </a:lnTo>
                    <a:lnTo>
                      <a:pt x="899" y="330"/>
                    </a:lnTo>
                    <a:lnTo>
                      <a:pt x="1019" y="240"/>
                    </a:lnTo>
                    <a:lnTo>
                      <a:pt x="1079" y="330"/>
                    </a:lnTo>
                    <a:lnTo>
                      <a:pt x="1139" y="180"/>
                    </a:lnTo>
                    <a:lnTo>
                      <a:pt x="1079" y="60"/>
                    </a:lnTo>
                    <a:lnTo>
                      <a:pt x="1199" y="60"/>
                    </a:lnTo>
                    <a:lnTo>
                      <a:pt x="1319" y="0"/>
                    </a:lnTo>
                    <a:lnTo>
                      <a:pt x="1319" y="210"/>
                    </a:lnTo>
                    <a:lnTo>
                      <a:pt x="1199" y="300"/>
                    </a:lnTo>
                    <a:lnTo>
                      <a:pt x="1319" y="360"/>
                    </a:lnTo>
                    <a:lnTo>
                      <a:pt x="1439" y="270"/>
                    </a:lnTo>
                    <a:lnTo>
                      <a:pt x="1379" y="120"/>
                    </a:lnTo>
                    <a:lnTo>
                      <a:pt x="1469" y="60"/>
                    </a:lnTo>
                    <a:lnTo>
                      <a:pt x="1589" y="120"/>
                    </a:lnTo>
                    <a:lnTo>
                      <a:pt x="1559" y="240"/>
                    </a:lnTo>
                    <a:lnTo>
                      <a:pt x="1619" y="360"/>
                    </a:lnTo>
                    <a:lnTo>
                      <a:pt x="1709" y="270"/>
                    </a:lnTo>
                    <a:lnTo>
                      <a:pt x="1679" y="150"/>
                    </a:lnTo>
                    <a:lnTo>
                      <a:pt x="1679" y="0"/>
                    </a:lnTo>
                    <a:lnTo>
                      <a:pt x="1799" y="60"/>
                    </a:lnTo>
                    <a:lnTo>
                      <a:pt x="1829" y="210"/>
                    </a:lnTo>
                    <a:lnTo>
                      <a:pt x="1978" y="120"/>
                    </a:lnTo>
                    <a:lnTo>
                      <a:pt x="1948" y="240"/>
                    </a:lnTo>
                    <a:lnTo>
                      <a:pt x="1888" y="360"/>
                    </a:lnTo>
                    <a:lnTo>
                      <a:pt x="2068" y="330"/>
                    </a:lnTo>
                    <a:lnTo>
                      <a:pt x="2248" y="390"/>
                    </a:lnTo>
                    <a:lnTo>
                      <a:pt x="2398" y="270"/>
                    </a:lnTo>
                    <a:lnTo>
                      <a:pt x="2278" y="240"/>
                    </a:lnTo>
                    <a:lnTo>
                      <a:pt x="2368"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6" name="Line 2576">
                <a:extLst>
                  <a:ext uri="{FF2B5EF4-FFF2-40B4-BE49-F238E27FC236}">
                    <a16:creationId xmlns:a16="http://schemas.microsoft.com/office/drawing/2014/main" id="{B72CB075-BDDD-4E51-8428-24E7DC3501D2}"/>
                  </a:ext>
                </a:extLst>
              </p:cNvPr>
              <p:cNvSpPr>
                <a:spLocks noChangeShapeType="1"/>
              </p:cNvSpPr>
              <p:nvPr/>
            </p:nvSpPr>
            <p:spPr bwMode="auto">
              <a:xfrm flipV="1">
                <a:off x="2235" y="15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7" name="Freeform 2577">
                <a:extLst>
                  <a:ext uri="{FF2B5EF4-FFF2-40B4-BE49-F238E27FC236}">
                    <a16:creationId xmlns:a16="http://schemas.microsoft.com/office/drawing/2014/main" id="{D89A5735-1DE5-42FC-907F-2A05C8DB7F83}"/>
                  </a:ext>
                </a:extLst>
              </p:cNvPr>
              <p:cNvSpPr>
                <a:spLocks/>
              </p:cNvSpPr>
              <p:nvPr/>
            </p:nvSpPr>
            <p:spPr bwMode="auto">
              <a:xfrm>
                <a:off x="2355" y="210"/>
                <a:ext cx="180" cy="360"/>
              </a:xfrm>
              <a:custGeom>
                <a:avLst/>
                <a:gdLst>
                  <a:gd name="T0" fmla="*/ 180 w 180"/>
                  <a:gd name="T1" fmla="*/ 180 h 360"/>
                  <a:gd name="T2" fmla="*/ 0 w 180"/>
                  <a:gd name="T3" fmla="*/ 120 h 360"/>
                  <a:gd name="T4" fmla="*/ 30 w 180"/>
                  <a:gd name="T5" fmla="*/ 0 h 360"/>
                  <a:gd name="T6" fmla="*/ 120 w 180"/>
                  <a:gd name="T7" fmla="*/ 60 h 360"/>
                  <a:gd name="T8" fmla="*/ 60 w 180"/>
                  <a:gd name="T9" fmla="*/ 360 h 360"/>
                </a:gdLst>
                <a:ahLst/>
                <a:cxnLst>
                  <a:cxn ang="0">
                    <a:pos x="T0" y="T1"/>
                  </a:cxn>
                  <a:cxn ang="0">
                    <a:pos x="T2" y="T3"/>
                  </a:cxn>
                  <a:cxn ang="0">
                    <a:pos x="T4" y="T5"/>
                  </a:cxn>
                  <a:cxn ang="0">
                    <a:pos x="T6" y="T7"/>
                  </a:cxn>
                  <a:cxn ang="0">
                    <a:pos x="T8" y="T9"/>
                  </a:cxn>
                </a:cxnLst>
                <a:rect l="0" t="0" r="r" b="b"/>
                <a:pathLst>
                  <a:path w="180" h="360">
                    <a:moveTo>
                      <a:pt x="180" y="180"/>
                    </a:moveTo>
                    <a:lnTo>
                      <a:pt x="0" y="120"/>
                    </a:lnTo>
                    <a:lnTo>
                      <a:pt x="30" y="0"/>
                    </a:lnTo>
                    <a:lnTo>
                      <a:pt x="120" y="60"/>
                    </a:lnTo>
                    <a:lnTo>
                      <a:pt x="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8" name="Line 2578">
                <a:extLst>
                  <a:ext uri="{FF2B5EF4-FFF2-40B4-BE49-F238E27FC236}">
                    <a16:creationId xmlns:a16="http://schemas.microsoft.com/office/drawing/2014/main" id="{B7843786-A1CA-454C-A959-5D8EBC1ECA18}"/>
                  </a:ext>
                </a:extLst>
              </p:cNvPr>
              <p:cNvSpPr>
                <a:spLocks noChangeShapeType="1"/>
              </p:cNvSpPr>
              <p:nvPr/>
            </p:nvSpPr>
            <p:spPr bwMode="auto">
              <a:xfrm>
                <a:off x="2235" y="390"/>
                <a:ext cx="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9" name="Freeform 2579">
                <a:extLst>
                  <a:ext uri="{FF2B5EF4-FFF2-40B4-BE49-F238E27FC236}">
                    <a16:creationId xmlns:a16="http://schemas.microsoft.com/office/drawing/2014/main" id="{E0B567DE-8F9F-445F-BFF7-9B419A859AD8}"/>
                  </a:ext>
                </a:extLst>
              </p:cNvPr>
              <p:cNvSpPr>
                <a:spLocks/>
              </p:cNvSpPr>
              <p:nvPr/>
            </p:nvSpPr>
            <p:spPr bwMode="auto">
              <a:xfrm>
                <a:off x="2625" y="300"/>
                <a:ext cx="180" cy="330"/>
              </a:xfrm>
              <a:custGeom>
                <a:avLst/>
                <a:gdLst>
                  <a:gd name="T0" fmla="*/ 180 w 180"/>
                  <a:gd name="T1" fmla="*/ 240 h 330"/>
                  <a:gd name="T2" fmla="*/ 0 w 180"/>
                  <a:gd name="T3" fmla="*/ 0 h 330"/>
                  <a:gd name="T4" fmla="*/ 120 w 180"/>
                  <a:gd name="T5" fmla="*/ 330 h 330"/>
                </a:gdLst>
                <a:ahLst/>
                <a:cxnLst>
                  <a:cxn ang="0">
                    <a:pos x="T0" y="T1"/>
                  </a:cxn>
                  <a:cxn ang="0">
                    <a:pos x="T2" y="T3"/>
                  </a:cxn>
                  <a:cxn ang="0">
                    <a:pos x="T4" y="T5"/>
                  </a:cxn>
                </a:cxnLst>
                <a:rect l="0" t="0" r="r" b="b"/>
                <a:pathLst>
                  <a:path w="180" h="330">
                    <a:moveTo>
                      <a:pt x="180" y="240"/>
                    </a:moveTo>
                    <a:lnTo>
                      <a:pt x="0" y="0"/>
                    </a:lnTo>
                    <a:lnTo>
                      <a:pt x="12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0" name="Line 2580">
                <a:extLst>
                  <a:ext uri="{FF2B5EF4-FFF2-40B4-BE49-F238E27FC236}">
                    <a16:creationId xmlns:a16="http://schemas.microsoft.com/office/drawing/2014/main" id="{05E6F252-D32C-42EA-9E81-0CAD7EAFFD26}"/>
                  </a:ext>
                </a:extLst>
              </p:cNvPr>
              <p:cNvSpPr>
                <a:spLocks noChangeShapeType="1"/>
              </p:cNvSpPr>
              <p:nvPr/>
            </p:nvSpPr>
            <p:spPr bwMode="auto">
              <a:xfrm>
                <a:off x="2595" y="18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427" name="Group 2782">
              <a:extLst>
                <a:ext uri="{FF2B5EF4-FFF2-40B4-BE49-F238E27FC236}">
                  <a16:creationId xmlns:a16="http://schemas.microsoft.com/office/drawing/2014/main" id="{2D2E5724-F5C2-4D6A-BD35-77646394617B}"/>
                </a:ext>
              </a:extLst>
            </p:cNvPr>
            <p:cNvGrpSpPr>
              <a:grpSpLocks/>
            </p:cNvGrpSpPr>
            <p:nvPr/>
          </p:nvGrpSpPr>
          <p:grpSpPr bwMode="auto">
            <a:xfrm>
              <a:off x="1246" y="0"/>
              <a:ext cx="3268" cy="3210"/>
              <a:chOff x="1246" y="0"/>
              <a:chExt cx="3268" cy="3210"/>
            </a:xfrm>
          </p:grpSpPr>
          <p:sp>
            <p:nvSpPr>
              <p:cNvPr id="814" name="Freeform 2582">
                <a:extLst>
                  <a:ext uri="{FF2B5EF4-FFF2-40B4-BE49-F238E27FC236}">
                    <a16:creationId xmlns:a16="http://schemas.microsoft.com/office/drawing/2014/main" id="{A6353AA4-CA65-46FD-A39F-080FF090850C}"/>
                  </a:ext>
                </a:extLst>
              </p:cNvPr>
              <p:cNvSpPr>
                <a:spLocks/>
              </p:cNvSpPr>
              <p:nvPr/>
            </p:nvSpPr>
            <p:spPr bwMode="auto">
              <a:xfrm>
                <a:off x="2895" y="90"/>
                <a:ext cx="180" cy="240"/>
              </a:xfrm>
              <a:custGeom>
                <a:avLst/>
                <a:gdLst>
                  <a:gd name="T0" fmla="*/ 180 w 180"/>
                  <a:gd name="T1" fmla="*/ 0 h 240"/>
                  <a:gd name="T2" fmla="*/ 180 w 180"/>
                  <a:gd name="T3" fmla="*/ 240 h 240"/>
                  <a:gd name="T4" fmla="*/ 0 w 180"/>
                  <a:gd name="T5" fmla="*/ 180 h 240"/>
                </a:gdLst>
                <a:ahLst/>
                <a:cxnLst>
                  <a:cxn ang="0">
                    <a:pos x="T0" y="T1"/>
                  </a:cxn>
                  <a:cxn ang="0">
                    <a:pos x="T2" y="T3"/>
                  </a:cxn>
                  <a:cxn ang="0">
                    <a:pos x="T4" y="T5"/>
                  </a:cxn>
                </a:cxnLst>
                <a:rect l="0" t="0" r="r" b="b"/>
                <a:pathLst>
                  <a:path w="180" h="240">
                    <a:moveTo>
                      <a:pt x="180" y="0"/>
                    </a:moveTo>
                    <a:lnTo>
                      <a:pt x="180" y="24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5" name="Freeform 2583">
                <a:extLst>
                  <a:ext uri="{FF2B5EF4-FFF2-40B4-BE49-F238E27FC236}">
                    <a16:creationId xmlns:a16="http://schemas.microsoft.com/office/drawing/2014/main" id="{C0D73E56-5C48-4062-A164-37BDEF7CCA45}"/>
                  </a:ext>
                </a:extLst>
              </p:cNvPr>
              <p:cNvSpPr>
                <a:spLocks/>
              </p:cNvSpPr>
              <p:nvPr/>
            </p:nvSpPr>
            <p:spPr bwMode="auto">
              <a:xfrm>
                <a:off x="2805" y="120"/>
                <a:ext cx="450" cy="90"/>
              </a:xfrm>
              <a:custGeom>
                <a:avLst/>
                <a:gdLst>
                  <a:gd name="T0" fmla="*/ 0 w 450"/>
                  <a:gd name="T1" fmla="*/ 0 h 90"/>
                  <a:gd name="T2" fmla="*/ 210 w 450"/>
                  <a:gd name="T3" fmla="*/ 90 h 90"/>
                  <a:gd name="T4" fmla="*/ 450 w 450"/>
                  <a:gd name="T5" fmla="*/ 30 h 90"/>
                </a:gdLst>
                <a:ahLst/>
                <a:cxnLst>
                  <a:cxn ang="0">
                    <a:pos x="T0" y="T1"/>
                  </a:cxn>
                  <a:cxn ang="0">
                    <a:pos x="T2" y="T3"/>
                  </a:cxn>
                  <a:cxn ang="0">
                    <a:pos x="T4" y="T5"/>
                  </a:cxn>
                </a:cxnLst>
                <a:rect l="0" t="0" r="r" b="b"/>
                <a:pathLst>
                  <a:path w="450" h="90">
                    <a:moveTo>
                      <a:pt x="0" y="0"/>
                    </a:moveTo>
                    <a:lnTo>
                      <a:pt x="210" y="90"/>
                    </a:lnTo>
                    <a:lnTo>
                      <a:pt x="45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6" name="Freeform 2584">
                <a:extLst>
                  <a:ext uri="{FF2B5EF4-FFF2-40B4-BE49-F238E27FC236}">
                    <a16:creationId xmlns:a16="http://schemas.microsoft.com/office/drawing/2014/main" id="{8426E472-6682-4EB7-8788-5A575907EA4D}"/>
                  </a:ext>
                </a:extLst>
              </p:cNvPr>
              <p:cNvSpPr>
                <a:spLocks/>
              </p:cNvSpPr>
              <p:nvPr/>
            </p:nvSpPr>
            <p:spPr bwMode="auto">
              <a:xfrm>
                <a:off x="2955" y="270"/>
                <a:ext cx="480" cy="240"/>
              </a:xfrm>
              <a:custGeom>
                <a:avLst/>
                <a:gdLst>
                  <a:gd name="T0" fmla="*/ 480 w 480"/>
                  <a:gd name="T1" fmla="*/ 0 h 240"/>
                  <a:gd name="T2" fmla="*/ 330 w 480"/>
                  <a:gd name="T3" fmla="*/ 210 h 240"/>
                  <a:gd name="T4" fmla="*/ 0 w 480"/>
                  <a:gd name="T5" fmla="*/ 90 h 240"/>
                  <a:gd name="T6" fmla="*/ 150 w 480"/>
                  <a:gd name="T7" fmla="*/ 240 h 240"/>
                </a:gdLst>
                <a:ahLst/>
                <a:cxnLst>
                  <a:cxn ang="0">
                    <a:pos x="T0" y="T1"/>
                  </a:cxn>
                  <a:cxn ang="0">
                    <a:pos x="T2" y="T3"/>
                  </a:cxn>
                  <a:cxn ang="0">
                    <a:pos x="T4" y="T5"/>
                  </a:cxn>
                  <a:cxn ang="0">
                    <a:pos x="T6" y="T7"/>
                  </a:cxn>
                </a:cxnLst>
                <a:rect l="0" t="0" r="r" b="b"/>
                <a:pathLst>
                  <a:path w="480" h="240">
                    <a:moveTo>
                      <a:pt x="480" y="0"/>
                    </a:moveTo>
                    <a:lnTo>
                      <a:pt x="330" y="210"/>
                    </a:lnTo>
                    <a:lnTo>
                      <a:pt x="0" y="9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7" name="Line 2585">
                <a:extLst>
                  <a:ext uri="{FF2B5EF4-FFF2-40B4-BE49-F238E27FC236}">
                    <a16:creationId xmlns:a16="http://schemas.microsoft.com/office/drawing/2014/main" id="{748178D7-7AFD-4701-8BD3-CB6F571FB36B}"/>
                  </a:ext>
                </a:extLst>
              </p:cNvPr>
              <p:cNvSpPr>
                <a:spLocks noChangeShapeType="1"/>
              </p:cNvSpPr>
              <p:nvPr/>
            </p:nvSpPr>
            <p:spPr bwMode="auto">
              <a:xfrm flipV="1">
                <a:off x="3465" y="39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8" name="Freeform 2586">
                <a:extLst>
                  <a:ext uri="{FF2B5EF4-FFF2-40B4-BE49-F238E27FC236}">
                    <a16:creationId xmlns:a16="http://schemas.microsoft.com/office/drawing/2014/main" id="{8E576EE6-8646-460F-91B9-CEE5E6518E0F}"/>
                  </a:ext>
                </a:extLst>
              </p:cNvPr>
              <p:cNvSpPr>
                <a:spLocks/>
              </p:cNvSpPr>
              <p:nvPr/>
            </p:nvSpPr>
            <p:spPr bwMode="auto">
              <a:xfrm>
                <a:off x="3585" y="240"/>
                <a:ext cx="209" cy="270"/>
              </a:xfrm>
              <a:custGeom>
                <a:avLst/>
                <a:gdLst>
                  <a:gd name="T0" fmla="*/ 0 w 209"/>
                  <a:gd name="T1" fmla="*/ 60 h 270"/>
                  <a:gd name="T2" fmla="*/ 90 w 209"/>
                  <a:gd name="T3" fmla="*/ 210 h 270"/>
                  <a:gd name="T4" fmla="*/ 120 w 209"/>
                  <a:gd name="T5" fmla="*/ 0 h 270"/>
                  <a:gd name="T6" fmla="*/ 179 w 209"/>
                  <a:gd name="T7" fmla="*/ 150 h 270"/>
                  <a:gd name="T8" fmla="*/ 209 w 209"/>
                  <a:gd name="T9" fmla="*/ 270 h 270"/>
                </a:gdLst>
                <a:ahLst/>
                <a:cxnLst>
                  <a:cxn ang="0">
                    <a:pos x="T0" y="T1"/>
                  </a:cxn>
                  <a:cxn ang="0">
                    <a:pos x="T2" y="T3"/>
                  </a:cxn>
                  <a:cxn ang="0">
                    <a:pos x="T4" y="T5"/>
                  </a:cxn>
                  <a:cxn ang="0">
                    <a:pos x="T6" y="T7"/>
                  </a:cxn>
                  <a:cxn ang="0">
                    <a:pos x="T8" y="T9"/>
                  </a:cxn>
                </a:cxnLst>
                <a:rect l="0" t="0" r="r" b="b"/>
                <a:pathLst>
                  <a:path w="209" h="270">
                    <a:moveTo>
                      <a:pt x="0" y="60"/>
                    </a:moveTo>
                    <a:lnTo>
                      <a:pt x="90" y="210"/>
                    </a:lnTo>
                    <a:lnTo>
                      <a:pt x="120" y="0"/>
                    </a:lnTo>
                    <a:lnTo>
                      <a:pt x="179" y="150"/>
                    </a:lnTo>
                    <a:lnTo>
                      <a:pt x="20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9" name="Freeform 2587">
                <a:extLst>
                  <a:ext uri="{FF2B5EF4-FFF2-40B4-BE49-F238E27FC236}">
                    <a16:creationId xmlns:a16="http://schemas.microsoft.com/office/drawing/2014/main" id="{D3BA9BBD-FC1E-47AD-B75F-3A8BF0709A11}"/>
                  </a:ext>
                </a:extLst>
              </p:cNvPr>
              <p:cNvSpPr>
                <a:spLocks/>
              </p:cNvSpPr>
              <p:nvPr/>
            </p:nvSpPr>
            <p:spPr bwMode="auto">
              <a:xfrm>
                <a:off x="3555" y="90"/>
                <a:ext cx="389" cy="270"/>
              </a:xfrm>
              <a:custGeom>
                <a:avLst/>
                <a:gdLst>
                  <a:gd name="T0" fmla="*/ 150 w 389"/>
                  <a:gd name="T1" fmla="*/ 150 h 270"/>
                  <a:gd name="T2" fmla="*/ 0 w 389"/>
                  <a:gd name="T3" fmla="*/ 90 h 270"/>
                  <a:gd name="T4" fmla="*/ 120 w 389"/>
                  <a:gd name="T5" fmla="*/ 0 h 270"/>
                  <a:gd name="T6" fmla="*/ 269 w 389"/>
                  <a:gd name="T7" fmla="*/ 180 h 270"/>
                  <a:gd name="T8" fmla="*/ 389 w 389"/>
                  <a:gd name="T9" fmla="*/ 270 h 270"/>
                </a:gdLst>
                <a:ahLst/>
                <a:cxnLst>
                  <a:cxn ang="0">
                    <a:pos x="T0" y="T1"/>
                  </a:cxn>
                  <a:cxn ang="0">
                    <a:pos x="T2" y="T3"/>
                  </a:cxn>
                  <a:cxn ang="0">
                    <a:pos x="T4" y="T5"/>
                  </a:cxn>
                  <a:cxn ang="0">
                    <a:pos x="T6" y="T7"/>
                  </a:cxn>
                  <a:cxn ang="0">
                    <a:pos x="T8" y="T9"/>
                  </a:cxn>
                </a:cxnLst>
                <a:rect l="0" t="0" r="r" b="b"/>
                <a:pathLst>
                  <a:path w="389" h="270">
                    <a:moveTo>
                      <a:pt x="150" y="150"/>
                    </a:moveTo>
                    <a:lnTo>
                      <a:pt x="0" y="90"/>
                    </a:lnTo>
                    <a:lnTo>
                      <a:pt x="120" y="0"/>
                    </a:lnTo>
                    <a:lnTo>
                      <a:pt x="269" y="180"/>
                    </a:lnTo>
                    <a:lnTo>
                      <a:pt x="38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0" name="Freeform 2588">
                <a:extLst>
                  <a:ext uri="{FF2B5EF4-FFF2-40B4-BE49-F238E27FC236}">
                    <a16:creationId xmlns:a16="http://schemas.microsoft.com/office/drawing/2014/main" id="{38FA2102-B8B9-4988-A4C9-7343796F458A}"/>
                  </a:ext>
                </a:extLst>
              </p:cNvPr>
              <p:cNvSpPr>
                <a:spLocks/>
              </p:cNvSpPr>
              <p:nvPr/>
            </p:nvSpPr>
            <p:spPr bwMode="auto">
              <a:xfrm>
                <a:off x="3764" y="390"/>
                <a:ext cx="360" cy="360"/>
              </a:xfrm>
              <a:custGeom>
                <a:avLst/>
                <a:gdLst>
                  <a:gd name="T0" fmla="*/ 0 w 360"/>
                  <a:gd name="T1" fmla="*/ 0 h 360"/>
                  <a:gd name="T2" fmla="*/ 180 w 360"/>
                  <a:gd name="T3" fmla="*/ 90 h 360"/>
                  <a:gd name="T4" fmla="*/ 360 w 360"/>
                  <a:gd name="T5" fmla="*/ 360 h 360"/>
                </a:gdLst>
                <a:ahLst/>
                <a:cxnLst>
                  <a:cxn ang="0">
                    <a:pos x="T0" y="T1"/>
                  </a:cxn>
                  <a:cxn ang="0">
                    <a:pos x="T2" y="T3"/>
                  </a:cxn>
                  <a:cxn ang="0">
                    <a:pos x="T4" y="T5"/>
                  </a:cxn>
                </a:cxnLst>
                <a:rect l="0" t="0" r="r" b="b"/>
                <a:pathLst>
                  <a:path w="360" h="360">
                    <a:moveTo>
                      <a:pt x="0" y="0"/>
                    </a:moveTo>
                    <a:lnTo>
                      <a:pt x="180" y="90"/>
                    </a:lnTo>
                    <a:lnTo>
                      <a:pt x="3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1" name="Freeform 2589">
                <a:extLst>
                  <a:ext uri="{FF2B5EF4-FFF2-40B4-BE49-F238E27FC236}">
                    <a16:creationId xmlns:a16="http://schemas.microsoft.com/office/drawing/2014/main" id="{1A6C0ABA-07FA-4BB4-81D5-0F5D319EA0B1}"/>
                  </a:ext>
                </a:extLst>
              </p:cNvPr>
              <p:cNvSpPr>
                <a:spLocks/>
              </p:cNvSpPr>
              <p:nvPr/>
            </p:nvSpPr>
            <p:spPr bwMode="auto">
              <a:xfrm>
                <a:off x="3824" y="60"/>
                <a:ext cx="600" cy="240"/>
              </a:xfrm>
              <a:custGeom>
                <a:avLst/>
                <a:gdLst>
                  <a:gd name="T0" fmla="*/ 600 w 600"/>
                  <a:gd name="T1" fmla="*/ 0 h 240"/>
                  <a:gd name="T2" fmla="*/ 450 w 600"/>
                  <a:gd name="T3" fmla="*/ 240 h 240"/>
                  <a:gd name="T4" fmla="*/ 270 w 600"/>
                  <a:gd name="T5" fmla="*/ 60 h 240"/>
                  <a:gd name="T6" fmla="*/ 0 w 600"/>
                  <a:gd name="T7" fmla="*/ 210 h 240"/>
                </a:gdLst>
                <a:ahLst/>
                <a:cxnLst>
                  <a:cxn ang="0">
                    <a:pos x="T0" y="T1"/>
                  </a:cxn>
                  <a:cxn ang="0">
                    <a:pos x="T2" y="T3"/>
                  </a:cxn>
                  <a:cxn ang="0">
                    <a:pos x="T4" y="T5"/>
                  </a:cxn>
                  <a:cxn ang="0">
                    <a:pos x="T6" y="T7"/>
                  </a:cxn>
                </a:cxnLst>
                <a:rect l="0" t="0" r="r" b="b"/>
                <a:pathLst>
                  <a:path w="600" h="240">
                    <a:moveTo>
                      <a:pt x="600" y="0"/>
                    </a:moveTo>
                    <a:lnTo>
                      <a:pt x="450" y="240"/>
                    </a:ln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2" name="Freeform 2590">
                <a:extLst>
                  <a:ext uri="{FF2B5EF4-FFF2-40B4-BE49-F238E27FC236}">
                    <a16:creationId xmlns:a16="http://schemas.microsoft.com/office/drawing/2014/main" id="{ECC3E39A-9CFD-44A2-A572-451DD5434666}"/>
                  </a:ext>
                </a:extLst>
              </p:cNvPr>
              <p:cNvSpPr>
                <a:spLocks/>
              </p:cNvSpPr>
              <p:nvPr/>
            </p:nvSpPr>
            <p:spPr bwMode="auto">
              <a:xfrm>
                <a:off x="1576" y="2550"/>
                <a:ext cx="2338" cy="660"/>
              </a:xfrm>
              <a:custGeom>
                <a:avLst/>
                <a:gdLst>
                  <a:gd name="T0" fmla="*/ 30 w 2338"/>
                  <a:gd name="T1" fmla="*/ 420 h 660"/>
                  <a:gd name="T2" fmla="*/ 0 w 2338"/>
                  <a:gd name="T3" fmla="*/ 270 h 660"/>
                  <a:gd name="T4" fmla="*/ 150 w 2338"/>
                  <a:gd name="T5" fmla="*/ 510 h 660"/>
                  <a:gd name="T6" fmla="*/ 210 w 2338"/>
                  <a:gd name="T7" fmla="*/ 420 h 660"/>
                  <a:gd name="T8" fmla="*/ 210 w 2338"/>
                  <a:gd name="T9" fmla="*/ 120 h 660"/>
                  <a:gd name="T10" fmla="*/ 60 w 2338"/>
                  <a:gd name="T11" fmla="*/ 150 h 660"/>
                  <a:gd name="T12" fmla="*/ 120 w 2338"/>
                  <a:gd name="T13" fmla="*/ 0 h 660"/>
                  <a:gd name="T14" fmla="*/ 330 w 2338"/>
                  <a:gd name="T15" fmla="*/ 90 h 660"/>
                  <a:gd name="T16" fmla="*/ 420 w 2338"/>
                  <a:gd name="T17" fmla="*/ 210 h 660"/>
                  <a:gd name="T18" fmla="*/ 210 w 2338"/>
                  <a:gd name="T19" fmla="*/ 120 h 660"/>
                  <a:gd name="T20" fmla="*/ 270 w 2338"/>
                  <a:gd name="T21" fmla="*/ 240 h 660"/>
                  <a:gd name="T22" fmla="*/ 420 w 2338"/>
                  <a:gd name="T23" fmla="*/ 210 h 660"/>
                  <a:gd name="T24" fmla="*/ 510 w 2338"/>
                  <a:gd name="T25" fmla="*/ 120 h 660"/>
                  <a:gd name="T26" fmla="*/ 599 w 2338"/>
                  <a:gd name="T27" fmla="*/ 210 h 660"/>
                  <a:gd name="T28" fmla="*/ 809 w 2338"/>
                  <a:gd name="T29" fmla="*/ 150 h 660"/>
                  <a:gd name="T30" fmla="*/ 719 w 2338"/>
                  <a:gd name="T31" fmla="*/ 240 h 660"/>
                  <a:gd name="T32" fmla="*/ 510 w 2338"/>
                  <a:gd name="T33" fmla="*/ 480 h 660"/>
                  <a:gd name="T34" fmla="*/ 689 w 2338"/>
                  <a:gd name="T35" fmla="*/ 510 h 660"/>
                  <a:gd name="T36" fmla="*/ 689 w 2338"/>
                  <a:gd name="T37" fmla="*/ 660 h 660"/>
                  <a:gd name="T38" fmla="*/ 569 w 2338"/>
                  <a:gd name="T39" fmla="*/ 600 h 660"/>
                  <a:gd name="T40" fmla="*/ 300 w 2338"/>
                  <a:gd name="T41" fmla="*/ 570 h 660"/>
                  <a:gd name="T42" fmla="*/ 420 w 2338"/>
                  <a:gd name="T43" fmla="*/ 330 h 660"/>
                  <a:gd name="T44" fmla="*/ 569 w 2338"/>
                  <a:gd name="T45" fmla="*/ 360 h 660"/>
                  <a:gd name="T46" fmla="*/ 599 w 2338"/>
                  <a:gd name="T47" fmla="*/ 210 h 660"/>
                  <a:gd name="T48" fmla="*/ 749 w 2338"/>
                  <a:gd name="T49" fmla="*/ 420 h 660"/>
                  <a:gd name="T50" fmla="*/ 689 w 2338"/>
                  <a:gd name="T51" fmla="*/ 510 h 660"/>
                  <a:gd name="T52" fmla="*/ 809 w 2338"/>
                  <a:gd name="T53" fmla="*/ 600 h 660"/>
                  <a:gd name="T54" fmla="*/ 929 w 2338"/>
                  <a:gd name="T55" fmla="*/ 540 h 660"/>
                  <a:gd name="T56" fmla="*/ 1079 w 2338"/>
                  <a:gd name="T57" fmla="*/ 570 h 660"/>
                  <a:gd name="T58" fmla="*/ 1049 w 2338"/>
                  <a:gd name="T59" fmla="*/ 450 h 660"/>
                  <a:gd name="T60" fmla="*/ 959 w 2338"/>
                  <a:gd name="T61" fmla="*/ 420 h 660"/>
                  <a:gd name="T62" fmla="*/ 1049 w 2338"/>
                  <a:gd name="T63" fmla="*/ 300 h 660"/>
                  <a:gd name="T64" fmla="*/ 1169 w 2338"/>
                  <a:gd name="T65" fmla="*/ 360 h 660"/>
                  <a:gd name="T66" fmla="*/ 1259 w 2338"/>
                  <a:gd name="T67" fmla="*/ 390 h 660"/>
                  <a:gd name="T68" fmla="*/ 1199 w 2338"/>
                  <a:gd name="T69" fmla="*/ 510 h 660"/>
                  <a:gd name="T70" fmla="*/ 1349 w 2338"/>
                  <a:gd name="T71" fmla="*/ 540 h 660"/>
                  <a:gd name="T72" fmla="*/ 1409 w 2338"/>
                  <a:gd name="T73" fmla="*/ 360 h 660"/>
                  <a:gd name="T74" fmla="*/ 1469 w 2338"/>
                  <a:gd name="T75" fmla="*/ 480 h 660"/>
                  <a:gd name="T76" fmla="*/ 1529 w 2338"/>
                  <a:gd name="T77" fmla="*/ 360 h 660"/>
                  <a:gd name="T78" fmla="*/ 1529 w 2338"/>
                  <a:gd name="T79" fmla="*/ 600 h 660"/>
                  <a:gd name="T80" fmla="*/ 1409 w 2338"/>
                  <a:gd name="T81" fmla="*/ 630 h 660"/>
                  <a:gd name="T82" fmla="*/ 1649 w 2338"/>
                  <a:gd name="T83" fmla="*/ 300 h 660"/>
                  <a:gd name="T84" fmla="*/ 1649 w 2338"/>
                  <a:gd name="T85" fmla="*/ 510 h 660"/>
                  <a:gd name="T86" fmla="*/ 1709 w 2338"/>
                  <a:gd name="T87" fmla="*/ 420 h 660"/>
                  <a:gd name="T88" fmla="*/ 1799 w 2338"/>
                  <a:gd name="T89" fmla="*/ 360 h 660"/>
                  <a:gd name="T90" fmla="*/ 1799 w 2338"/>
                  <a:gd name="T91" fmla="*/ 480 h 660"/>
                  <a:gd name="T92" fmla="*/ 1739 w 2338"/>
                  <a:gd name="T93" fmla="*/ 600 h 660"/>
                  <a:gd name="T94" fmla="*/ 1889 w 2338"/>
                  <a:gd name="T95" fmla="*/ 540 h 660"/>
                  <a:gd name="T96" fmla="*/ 1949 w 2338"/>
                  <a:gd name="T97" fmla="*/ 660 h 660"/>
                  <a:gd name="T98" fmla="*/ 2039 w 2338"/>
                  <a:gd name="T99" fmla="*/ 570 h 660"/>
                  <a:gd name="T100" fmla="*/ 2009 w 2338"/>
                  <a:gd name="T101" fmla="*/ 450 h 660"/>
                  <a:gd name="T102" fmla="*/ 1919 w 2338"/>
                  <a:gd name="T103" fmla="*/ 420 h 660"/>
                  <a:gd name="T104" fmla="*/ 2009 w 2338"/>
                  <a:gd name="T105" fmla="*/ 300 h 660"/>
                  <a:gd name="T106" fmla="*/ 2129 w 2338"/>
                  <a:gd name="T107" fmla="*/ 360 h 660"/>
                  <a:gd name="T108" fmla="*/ 2159 w 2338"/>
                  <a:gd name="T109" fmla="*/ 510 h 660"/>
                  <a:gd name="T110" fmla="*/ 2338 w 2338"/>
                  <a:gd name="T111" fmla="*/ 540 h 660"/>
                  <a:gd name="T112" fmla="*/ 2218 w 2338"/>
                  <a:gd name="T113" fmla="*/ 660 h 660"/>
                  <a:gd name="T114" fmla="*/ 2248 w 2338"/>
                  <a:gd name="T115" fmla="*/ 390 h 660"/>
                  <a:gd name="T116" fmla="*/ 2069 w 2338"/>
                  <a:gd name="T117" fmla="*/ 24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8" h="660">
                    <a:moveTo>
                      <a:pt x="30" y="420"/>
                    </a:moveTo>
                    <a:lnTo>
                      <a:pt x="0" y="270"/>
                    </a:lnTo>
                    <a:lnTo>
                      <a:pt x="150" y="510"/>
                    </a:lnTo>
                    <a:lnTo>
                      <a:pt x="210" y="420"/>
                    </a:lnTo>
                    <a:lnTo>
                      <a:pt x="210" y="120"/>
                    </a:lnTo>
                    <a:lnTo>
                      <a:pt x="60" y="150"/>
                    </a:lnTo>
                    <a:lnTo>
                      <a:pt x="120" y="0"/>
                    </a:lnTo>
                    <a:lnTo>
                      <a:pt x="330" y="90"/>
                    </a:lnTo>
                    <a:lnTo>
                      <a:pt x="420" y="210"/>
                    </a:lnTo>
                    <a:lnTo>
                      <a:pt x="210" y="120"/>
                    </a:lnTo>
                    <a:lnTo>
                      <a:pt x="270" y="240"/>
                    </a:lnTo>
                    <a:lnTo>
                      <a:pt x="420" y="210"/>
                    </a:lnTo>
                    <a:lnTo>
                      <a:pt x="510" y="120"/>
                    </a:lnTo>
                    <a:lnTo>
                      <a:pt x="599" y="210"/>
                    </a:lnTo>
                    <a:lnTo>
                      <a:pt x="809" y="150"/>
                    </a:lnTo>
                    <a:lnTo>
                      <a:pt x="719" y="240"/>
                    </a:lnTo>
                    <a:lnTo>
                      <a:pt x="510" y="480"/>
                    </a:lnTo>
                    <a:lnTo>
                      <a:pt x="689" y="510"/>
                    </a:lnTo>
                    <a:lnTo>
                      <a:pt x="689" y="660"/>
                    </a:lnTo>
                    <a:lnTo>
                      <a:pt x="569" y="600"/>
                    </a:lnTo>
                    <a:lnTo>
                      <a:pt x="300" y="570"/>
                    </a:lnTo>
                    <a:lnTo>
                      <a:pt x="420" y="330"/>
                    </a:lnTo>
                    <a:lnTo>
                      <a:pt x="569" y="360"/>
                    </a:lnTo>
                    <a:lnTo>
                      <a:pt x="599" y="210"/>
                    </a:lnTo>
                    <a:lnTo>
                      <a:pt x="749" y="420"/>
                    </a:lnTo>
                    <a:lnTo>
                      <a:pt x="689" y="510"/>
                    </a:lnTo>
                    <a:lnTo>
                      <a:pt x="809" y="600"/>
                    </a:lnTo>
                    <a:lnTo>
                      <a:pt x="929" y="540"/>
                    </a:lnTo>
                    <a:lnTo>
                      <a:pt x="1079" y="570"/>
                    </a:lnTo>
                    <a:lnTo>
                      <a:pt x="1049" y="450"/>
                    </a:lnTo>
                    <a:lnTo>
                      <a:pt x="959" y="420"/>
                    </a:lnTo>
                    <a:lnTo>
                      <a:pt x="1049" y="300"/>
                    </a:lnTo>
                    <a:lnTo>
                      <a:pt x="1169" y="360"/>
                    </a:lnTo>
                    <a:lnTo>
                      <a:pt x="1259" y="390"/>
                    </a:lnTo>
                    <a:lnTo>
                      <a:pt x="1199" y="510"/>
                    </a:lnTo>
                    <a:lnTo>
                      <a:pt x="1349" y="540"/>
                    </a:lnTo>
                    <a:lnTo>
                      <a:pt x="1409" y="360"/>
                    </a:lnTo>
                    <a:lnTo>
                      <a:pt x="1469" y="480"/>
                    </a:lnTo>
                    <a:lnTo>
                      <a:pt x="1529" y="360"/>
                    </a:lnTo>
                    <a:lnTo>
                      <a:pt x="1529" y="600"/>
                    </a:lnTo>
                    <a:lnTo>
                      <a:pt x="1409" y="630"/>
                    </a:lnTo>
                    <a:lnTo>
                      <a:pt x="1649" y="300"/>
                    </a:lnTo>
                    <a:lnTo>
                      <a:pt x="1649" y="510"/>
                    </a:lnTo>
                    <a:lnTo>
                      <a:pt x="1709" y="420"/>
                    </a:lnTo>
                    <a:lnTo>
                      <a:pt x="1799" y="360"/>
                    </a:lnTo>
                    <a:lnTo>
                      <a:pt x="1799" y="480"/>
                    </a:lnTo>
                    <a:lnTo>
                      <a:pt x="1739" y="600"/>
                    </a:lnTo>
                    <a:lnTo>
                      <a:pt x="1889" y="540"/>
                    </a:lnTo>
                    <a:lnTo>
                      <a:pt x="1949" y="660"/>
                    </a:lnTo>
                    <a:lnTo>
                      <a:pt x="2039" y="570"/>
                    </a:lnTo>
                    <a:lnTo>
                      <a:pt x="2009" y="450"/>
                    </a:lnTo>
                    <a:lnTo>
                      <a:pt x="1919" y="420"/>
                    </a:lnTo>
                    <a:lnTo>
                      <a:pt x="2009" y="300"/>
                    </a:lnTo>
                    <a:lnTo>
                      <a:pt x="2129" y="360"/>
                    </a:lnTo>
                    <a:lnTo>
                      <a:pt x="2159" y="510"/>
                    </a:lnTo>
                    <a:lnTo>
                      <a:pt x="2338" y="540"/>
                    </a:lnTo>
                    <a:lnTo>
                      <a:pt x="2218" y="660"/>
                    </a:lnTo>
                    <a:lnTo>
                      <a:pt x="2248" y="390"/>
                    </a:lnTo>
                    <a:lnTo>
                      <a:pt x="2069"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3" name="Freeform 2591">
                <a:extLst>
                  <a:ext uri="{FF2B5EF4-FFF2-40B4-BE49-F238E27FC236}">
                    <a16:creationId xmlns:a16="http://schemas.microsoft.com/office/drawing/2014/main" id="{D35A2FD0-29B1-47CB-8CE5-0CB04135423B}"/>
                  </a:ext>
                </a:extLst>
              </p:cNvPr>
              <p:cNvSpPr>
                <a:spLocks/>
              </p:cNvSpPr>
              <p:nvPr/>
            </p:nvSpPr>
            <p:spPr bwMode="auto">
              <a:xfrm>
                <a:off x="3585" y="2760"/>
                <a:ext cx="269" cy="300"/>
              </a:xfrm>
              <a:custGeom>
                <a:avLst/>
                <a:gdLst>
                  <a:gd name="T0" fmla="*/ 269 w 269"/>
                  <a:gd name="T1" fmla="*/ 0 h 300"/>
                  <a:gd name="T2" fmla="*/ 120 w 269"/>
                  <a:gd name="T3" fmla="*/ 150 h 300"/>
                  <a:gd name="T4" fmla="*/ 0 w 269"/>
                  <a:gd name="T5" fmla="*/ 240 h 300"/>
                  <a:gd name="T6" fmla="*/ 150 w 269"/>
                  <a:gd name="T7" fmla="*/ 300 h 300"/>
                </a:gdLst>
                <a:ahLst/>
                <a:cxnLst>
                  <a:cxn ang="0">
                    <a:pos x="T0" y="T1"/>
                  </a:cxn>
                  <a:cxn ang="0">
                    <a:pos x="T2" y="T3"/>
                  </a:cxn>
                  <a:cxn ang="0">
                    <a:pos x="T4" y="T5"/>
                  </a:cxn>
                  <a:cxn ang="0">
                    <a:pos x="T6" y="T7"/>
                  </a:cxn>
                </a:cxnLst>
                <a:rect l="0" t="0" r="r" b="b"/>
                <a:pathLst>
                  <a:path w="269" h="300">
                    <a:moveTo>
                      <a:pt x="269" y="0"/>
                    </a:moveTo>
                    <a:lnTo>
                      <a:pt x="120" y="150"/>
                    </a:lnTo>
                    <a:lnTo>
                      <a:pt x="0" y="24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4" name="Freeform 2592">
                <a:extLst>
                  <a:ext uri="{FF2B5EF4-FFF2-40B4-BE49-F238E27FC236}">
                    <a16:creationId xmlns:a16="http://schemas.microsoft.com/office/drawing/2014/main" id="{0BFC128D-4860-476F-90DB-21CBB0C04A29}"/>
                  </a:ext>
                </a:extLst>
              </p:cNvPr>
              <p:cNvSpPr>
                <a:spLocks/>
              </p:cNvSpPr>
              <p:nvPr/>
            </p:nvSpPr>
            <p:spPr bwMode="auto">
              <a:xfrm>
                <a:off x="2835" y="2790"/>
                <a:ext cx="1289" cy="420"/>
              </a:xfrm>
              <a:custGeom>
                <a:avLst/>
                <a:gdLst>
                  <a:gd name="T0" fmla="*/ 210 w 1289"/>
                  <a:gd name="T1" fmla="*/ 240 h 420"/>
                  <a:gd name="T2" fmla="*/ 150 w 1289"/>
                  <a:gd name="T3" fmla="*/ 390 h 420"/>
                  <a:gd name="T4" fmla="*/ 90 w 1289"/>
                  <a:gd name="T5" fmla="*/ 300 h 420"/>
                  <a:gd name="T6" fmla="*/ 0 w 1289"/>
                  <a:gd name="T7" fmla="*/ 150 h 420"/>
                  <a:gd name="T8" fmla="*/ 150 w 1289"/>
                  <a:gd name="T9" fmla="*/ 120 h 420"/>
                  <a:gd name="T10" fmla="*/ 300 w 1289"/>
                  <a:gd name="T11" fmla="*/ 30 h 420"/>
                  <a:gd name="T12" fmla="*/ 390 w 1289"/>
                  <a:gd name="T13" fmla="*/ 60 h 420"/>
                  <a:gd name="T14" fmla="*/ 450 w 1289"/>
                  <a:gd name="T15" fmla="*/ 180 h 420"/>
                  <a:gd name="T16" fmla="*/ 480 w 1289"/>
                  <a:gd name="T17" fmla="*/ 30 h 420"/>
                  <a:gd name="T18" fmla="*/ 600 w 1289"/>
                  <a:gd name="T19" fmla="*/ 0 h 420"/>
                  <a:gd name="T20" fmla="*/ 540 w 1289"/>
                  <a:gd name="T21" fmla="*/ 120 h 420"/>
                  <a:gd name="T22" fmla="*/ 660 w 1289"/>
                  <a:gd name="T23" fmla="*/ 180 h 420"/>
                  <a:gd name="T24" fmla="*/ 630 w 1289"/>
                  <a:gd name="T25" fmla="*/ 300 h 420"/>
                  <a:gd name="T26" fmla="*/ 780 w 1289"/>
                  <a:gd name="T27" fmla="*/ 330 h 420"/>
                  <a:gd name="T28" fmla="*/ 959 w 1289"/>
                  <a:gd name="T29" fmla="*/ 420 h 420"/>
                  <a:gd name="T30" fmla="*/ 1289 w 1289"/>
                  <a:gd name="T3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9" h="420">
                    <a:moveTo>
                      <a:pt x="210" y="240"/>
                    </a:moveTo>
                    <a:lnTo>
                      <a:pt x="150" y="390"/>
                    </a:lnTo>
                    <a:lnTo>
                      <a:pt x="90" y="300"/>
                    </a:lnTo>
                    <a:lnTo>
                      <a:pt x="0" y="150"/>
                    </a:lnTo>
                    <a:lnTo>
                      <a:pt x="150" y="120"/>
                    </a:lnTo>
                    <a:lnTo>
                      <a:pt x="300" y="30"/>
                    </a:lnTo>
                    <a:lnTo>
                      <a:pt x="390" y="60"/>
                    </a:lnTo>
                    <a:lnTo>
                      <a:pt x="450" y="180"/>
                    </a:lnTo>
                    <a:lnTo>
                      <a:pt x="480" y="30"/>
                    </a:lnTo>
                    <a:lnTo>
                      <a:pt x="600" y="0"/>
                    </a:lnTo>
                    <a:lnTo>
                      <a:pt x="540" y="120"/>
                    </a:lnTo>
                    <a:lnTo>
                      <a:pt x="660" y="180"/>
                    </a:lnTo>
                    <a:lnTo>
                      <a:pt x="630" y="300"/>
                    </a:lnTo>
                    <a:lnTo>
                      <a:pt x="780" y="330"/>
                    </a:lnTo>
                    <a:lnTo>
                      <a:pt x="959" y="420"/>
                    </a:lnTo>
                    <a:lnTo>
                      <a:pt x="1289"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5" name="Freeform 2593">
                <a:extLst>
                  <a:ext uri="{FF2B5EF4-FFF2-40B4-BE49-F238E27FC236}">
                    <a16:creationId xmlns:a16="http://schemas.microsoft.com/office/drawing/2014/main" id="{3F9B8E08-CA50-497A-8F6A-ADDB96EF5FF5}"/>
                  </a:ext>
                </a:extLst>
              </p:cNvPr>
              <p:cNvSpPr>
                <a:spLocks/>
              </p:cNvSpPr>
              <p:nvPr/>
            </p:nvSpPr>
            <p:spPr bwMode="auto">
              <a:xfrm>
                <a:off x="1996" y="2130"/>
                <a:ext cx="629" cy="720"/>
              </a:xfrm>
              <a:custGeom>
                <a:avLst/>
                <a:gdLst>
                  <a:gd name="T0" fmla="*/ 629 w 629"/>
                  <a:gd name="T1" fmla="*/ 720 h 720"/>
                  <a:gd name="T2" fmla="*/ 479 w 629"/>
                  <a:gd name="T3" fmla="*/ 690 h 720"/>
                  <a:gd name="T4" fmla="*/ 599 w 629"/>
                  <a:gd name="T5" fmla="*/ 510 h 720"/>
                  <a:gd name="T6" fmla="*/ 389 w 629"/>
                  <a:gd name="T7" fmla="*/ 570 h 720"/>
                  <a:gd name="T8" fmla="*/ 269 w 629"/>
                  <a:gd name="T9" fmla="*/ 510 h 720"/>
                  <a:gd name="T10" fmla="*/ 90 w 629"/>
                  <a:gd name="T11" fmla="*/ 540 h 720"/>
                  <a:gd name="T12" fmla="*/ 0 w 629"/>
                  <a:gd name="T13" fmla="*/ 390 h 720"/>
                  <a:gd name="T14" fmla="*/ 0 w 629"/>
                  <a:gd name="T15" fmla="*/ 630 h 720"/>
                  <a:gd name="T16" fmla="*/ 90 w 629"/>
                  <a:gd name="T17" fmla="*/ 300 h 720"/>
                  <a:gd name="T18" fmla="*/ 0 w 629"/>
                  <a:gd name="T19" fmla="*/ 210 h 720"/>
                  <a:gd name="T20" fmla="*/ 0 w 629"/>
                  <a:gd name="T21" fmla="*/ 60 h 720"/>
                  <a:gd name="T22" fmla="*/ 60 w 629"/>
                  <a:gd name="T23" fmla="*/ 0 h 720"/>
                  <a:gd name="T24" fmla="*/ 149 w 629"/>
                  <a:gd name="T25" fmla="*/ 180 h 720"/>
                  <a:gd name="T26" fmla="*/ 329 w 629"/>
                  <a:gd name="T27" fmla="*/ 240 h 720"/>
                  <a:gd name="T28" fmla="*/ 359 w 629"/>
                  <a:gd name="T29" fmla="*/ 9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9" h="720">
                    <a:moveTo>
                      <a:pt x="629" y="720"/>
                    </a:moveTo>
                    <a:lnTo>
                      <a:pt x="479" y="690"/>
                    </a:lnTo>
                    <a:lnTo>
                      <a:pt x="599" y="510"/>
                    </a:ln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6" name="Freeform 2594">
                <a:extLst>
                  <a:ext uri="{FF2B5EF4-FFF2-40B4-BE49-F238E27FC236}">
                    <a16:creationId xmlns:a16="http://schemas.microsoft.com/office/drawing/2014/main" id="{072CF1B3-34A5-4EE9-AB6C-0E4BA85F50ED}"/>
                  </a:ext>
                </a:extLst>
              </p:cNvPr>
              <p:cNvSpPr>
                <a:spLocks/>
              </p:cNvSpPr>
              <p:nvPr/>
            </p:nvSpPr>
            <p:spPr bwMode="auto">
              <a:xfrm>
                <a:off x="2295" y="2640"/>
                <a:ext cx="780" cy="480"/>
              </a:xfrm>
              <a:custGeom>
                <a:avLst/>
                <a:gdLst>
                  <a:gd name="T0" fmla="*/ 330 w 780"/>
                  <a:gd name="T1" fmla="*/ 360 h 480"/>
                  <a:gd name="T2" fmla="*/ 210 w 780"/>
                  <a:gd name="T3" fmla="*/ 450 h 480"/>
                  <a:gd name="T4" fmla="*/ 120 w 780"/>
                  <a:gd name="T5" fmla="*/ 390 h 480"/>
                  <a:gd name="T6" fmla="*/ 120 w 780"/>
                  <a:gd name="T7" fmla="*/ 270 h 480"/>
                  <a:gd name="T8" fmla="*/ 180 w 780"/>
                  <a:gd name="T9" fmla="*/ 180 h 480"/>
                  <a:gd name="T10" fmla="*/ 0 w 780"/>
                  <a:gd name="T11" fmla="*/ 150 h 480"/>
                  <a:gd name="T12" fmla="*/ 30 w 780"/>
                  <a:gd name="T13" fmla="*/ 330 h 480"/>
                  <a:gd name="T14" fmla="*/ 120 w 780"/>
                  <a:gd name="T15" fmla="*/ 270 h 480"/>
                  <a:gd name="T16" fmla="*/ 240 w 780"/>
                  <a:gd name="T17" fmla="*/ 330 h 480"/>
                  <a:gd name="T18" fmla="*/ 360 w 780"/>
                  <a:gd name="T19" fmla="*/ 480 h 480"/>
                  <a:gd name="T20" fmla="*/ 480 w 780"/>
                  <a:gd name="T21" fmla="*/ 420 h 480"/>
                  <a:gd name="T22" fmla="*/ 330 w 780"/>
                  <a:gd name="T23" fmla="*/ 360 h 480"/>
                  <a:gd name="T24" fmla="*/ 450 w 780"/>
                  <a:gd name="T25" fmla="*/ 270 h 480"/>
                  <a:gd name="T26" fmla="*/ 510 w 780"/>
                  <a:gd name="T27" fmla="*/ 90 h 480"/>
                  <a:gd name="T28" fmla="*/ 690 w 780"/>
                  <a:gd name="T29" fmla="*/ 0 h 480"/>
                  <a:gd name="T30" fmla="*/ 450 w 780"/>
                  <a:gd name="T31" fmla="*/ 0 h 480"/>
                  <a:gd name="T32" fmla="*/ 780 w 780"/>
                  <a:gd name="T33" fmla="*/ 9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80">
                    <a:moveTo>
                      <a:pt x="330" y="360"/>
                    </a:moveTo>
                    <a:lnTo>
                      <a:pt x="210" y="450"/>
                    </a:lnTo>
                    <a:lnTo>
                      <a:pt x="120" y="390"/>
                    </a:lnTo>
                    <a:lnTo>
                      <a:pt x="120" y="270"/>
                    </a:lnTo>
                    <a:lnTo>
                      <a:pt x="180" y="180"/>
                    </a:lnTo>
                    <a:lnTo>
                      <a:pt x="0" y="150"/>
                    </a:lnTo>
                    <a:lnTo>
                      <a:pt x="30" y="330"/>
                    </a:lnTo>
                    <a:lnTo>
                      <a:pt x="120" y="270"/>
                    </a:lnTo>
                    <a:lnTo>
                      <a:pt x="240" y="330"/>
                    </a:lnTo>
                    <a:lnTo>
                      <a:pt x="360" y="480"/>
                    </a:lnTo>
                    <a:lnTo>
                      <a:pt x="480" y="420"/>
                    </a:lnTo>
                    <a:lnTo>
                      <a:pt x="330" y="360"/>
                    </a:lnTo>
                    <a:lnTo>
                      <a:pt x="450" y="270"/>
                    </a:lnTo>
                    <a:lnTo>
                      <a:pt x="510" y="90"/>
                    </a:lnTo>
                    <a:lnTo>
                      <a:pt x="690" y="0"/>
                    </a:lnTo>
                    <a:lnTo>
                      <a:pt x="450" y="0"/>
                    </a:lnTo>
                    <a:lnTo>
                      <a:pt x="7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7" name="Line 2595">
                <a:extLst>
                  <a:ext uri="{FF2B5EF4-FFF2-40B4-BE49-F238E27FC236}">
                    <a16:creationId xmlns:a16="http://schemas.microsoft.com/office/drawing/2014/main" id="{6649F0C5-1713-4D7A-AB6B-BCEAC49033A7}"/>
                  </a:ext>
                </a:extLst>
              </p:cNvPr>
              <p:cNvSpPr>
                <a:spLocks noChangeShapeType="1"/>
              </p:cNvSpPr>
              <p:nvPr/>
            </p:nvSpPr>
            <p:spPr bwMode="auto">
              <a:xfrm flipH="1" flipV="1">
                <a:off x="2325"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8" name="Freeform 2596">
                <a:extLst>
                  <a:ext uri="{FF2B5EF4-FFF2-40B4-BE49-F238E27FC236}">
                    <a16:creationId xmlns:a16="http://schemas.microsoft.com/office/drawing/2014/main" id="{D3749E8C-1DC5-4F92-9553-D602D60F7F74}"/>
                  </a:ext>
                </a:extLst>
              </p:cNvPr>
              <p:cNvSpPr>
                <a:spLocks/>
              </p:cNvSpPr>
              <p:nvPr/>
            </p:nvSpPr>
            <p:spPr bwMode="auto">
              <a:xfrm>
                <a:off x="2086" y="2820"/>
                <a:ext cx="449" cy="390"/>
              </a:xfrm>
              <a:custGeom>
                <a:avLst/>
                <a:gdLst>
                  <a:gd name="T0" fmla="*/ 179 w 449"/>
                  <a:gd name="T1" fmla="*/ 390 h 390"/>
                  <a:gd name="T2" fmla="*/ 329 w 449"/>
                  <a:gd name="T3" fmla="*/ 210 h 390"/>
                  <a:gd name="T4" fmla="*/ 449 w 449"/>
                  <a:gd name="T5" fmla="*/ 150 h 390"/>
                  <a:gd name="T6" fmla="*/ 389 w 449"/>
                  <a:gd name="T7" fmla="*/ 0 h 390"/>
                  <a:gd name="T8" fmla="*/ 0 w 449"/>
                  <a:gd name="T9" fmla="*/ 210 h 390"/>
                </a:gdLst>
                <a:ahLst/>
                <a:cxnLst>
                  <a:cxn ang="0">
                    <a:pos x="T0" y="T1"/>
                  </a:cxn>
                  <a:cxn ang="0">
                    <a:pos x="T2" y="T3"/>
                  </a:cxn>
                  <a:cxn ang="0">
                    <a:pos x="T4" y="T5"/>
                  </a:cxn>
                  <a:cxn ang="0">
                    <a:pos x="T6" y="T7"/>
                  </a:cxn>
                  <a:cxn ang="0">
                    <a:pos x="T8" y="T9"/>
                  </a:cxn>
                </a:cxnLst>
                <a:rect l="0" t="0" r="r" b="b"/>
                <a:pathLst>
                  <a:path w="449" h="390">
                    <a:moveTo>
                      <a:pt x="179" y="390"/>
                    </a:moveTo>
                    <a:lnTo>
                      <a:pt x="329" y="210"/>
                    </a:lnTo>
                    <a:lnTo>
                      <a:pt x="449" y="150"/>
                    </a:lnTo>
                    <a:lnTo>
                      <a:pt x="389" y="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29" name="Freeform 2597">
                <a:extLst>
                  <a:ext uri="{FF2B5EF4-FFF2-40B4-BE49-F238E27FC236}">
                    <a16:creationId xmlns:a16="http://schemas.microsoft.com/office/drawing/2014/main" id="{7D2BEA27-5CF3-442A-8D46-1B075C6C3F14}"/>
                  </a:ext>
                </a:extLst>
              </p:cNvPr>
              <p:cNvSpPr>
                <a:spLocks/>
              </p:cNvSpPr>
              <p:nvPr/>
            </p:nvSpPr>
            <p:spPr bwMode="auto">
              <a:xfrm>
                <a:off x="2685" y="2310"/>
                <a:ext cx="870" cy="600"/>
              </a:xfrm>
              <a:custGeom>
                <a:avLst/>
                <a:gdLst>
                  <a:gd name="T0" fmla="*/ 0 w 870"/>
                  <a:gd name="T1" fmla="*/ 480 h 600"/>
                  <a:gd name="T2" fmla="*/ 60 w 870"/>
                  <a:gd name="T3" fmla="*/ 600 h 600"/>
                  <a:gd name="T4" fmla="*/ 270 w 870"/>
                  <a:gd name="T5" fmla="*/ 480 h 600"/>
                  <a:gd name="T6" fmla="*/ 390 w 870"/>
                  <a:gd name="T7" fmla="*/ 420 h 600"/>
                  <a:gd name="T8" fmla="*/ 540 w 870"/>
                  <a:gd name="T9" fmla="*/ 420 h 600"/>
                  <a:gd name="T10" fmla="*/ 750 w 870"/>
                  <a:gd name="T11" fmla="*/ 480 h 600"/>
                  <a:gd name="T12" fmla="*/ 870 w 870"/>
                  <a:gd name="T13" fmla="*/ 330 h 600"/>
                  <a:gd name="T14" fmla="*/ 660 w 870"/>
                  <a:gd name="T15" fmla="*/ 390 h 600"/>
                  <a:gd name="T16" fmla="*/ 540 w 870"/>
                  <a:gd name="T17" fmla="*/ 330 h 600"/>
                  <a:gd name="T18" fmla="*/ 420 w 870"/>
                  <a:gd name="T1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600">
                    <a:moveTo>
                      <a:pt x="0" y="480"/>
                    </a:moveTo>
                    <a:lnTo>
                      <a:pt x="60" y="600"/>
                    </a:lnTo>
                    <a:lnTo>
                      <a:pt x="270" y="480"/>
                    </a:lnTo>
                    <a:lnTo>
                      <a:pt x="390" y="420"/>
                    </a:lnTo>
                    <a:lnTo>
                      <a:pt x="540" y="420"/>
                    </a:lnTo>
                    <a:lnTo>
                      <a:pt x="750" y="480"/>
                    </a:lnTo>
                    <a:lnTo>
                      <a:pt x="870" y="330"/>
                    </a:lnTo>
                    <a:lnTo>
                      <a:pt x="660" y="390"/>
                    </a:lnTo>
                    <a:lnTo>
                      <a:pt x="540" y="33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0" name="Line 2598">
                <a:extLst>
                  <a:ext uri="{FF2B5EF4-FFF2-40B4-BE49-F238E27FC236}">
                    <a16:creationId xmlns:a16="http://schemas.microsoft.com/office/drawing/2014/main" id="{CD361C04-D6C2-4140-982B-BA8D2C6B1962}"/>
                  </a:ext>
                </a:extLst>
              </p:cNvPr>
              <p:cNvSpPr>
                <a:spLocks noChangeShapeType="1"/>
              </p:cNvSpPr>
              <p:nvPr/>
            </p:nvSpPr>
            <p:spPr bwMode="auto">
              <a:xfrm flipH="1" flipV="1">
                <a:off x="2745" y="2910"/>
                <a:ext cx="3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1" name="Freeform 2599">
                <a:extLst>
                  <a:ext uri="{FF2B5EF4-FFF2-40B4-BE49-F238E27FC236}">
                    <a16:creationId xmlns:a16="http://schemas.microsoft.com/office/drawing/2014/main" id="{8FAD75CD-338E-43B1-BF1A-79794CE847AF}"/>
                  </a:ext>
                </a:extLst>
              </p:cNvPr>
              <p:cNvSpPr>
                <a:spLocks/>
              </p:cNvSpPr>
              <p:nvPr/>
            </p:nvSpPr>
            <p:spPr bwMode="auto">
              <a:xfrm>
                <a:off x="3105" y="3060"/>
                <a:ext cx="210" cy="90"/>
              </a:xfrm>
              <a:custGeom>
                <a:avLst/>
                <a:gdLst>
                  <a:gd name="T0" fmla="*/ 0 w 210"/>
                  <a:gd name="T1" fmla="*/ 90 h 90"/>
                  <a:gd name="T2" fmla="*/ 120 w 210"/>
                  <a:gd name="T3" fmla="*/ 0 h 90"/>
                  <a:gd name="T4" fmla="*/ 210 w 210"/>
                  <a:gd name="T5" fmla="*/ 90 h 90"/>
                </a:gdLst>
                <a:ahLst/>
                <a:cxnLst>
                  <a:cxn ang="0">
                    <a:pos x="T0" y="T1"/>
                  </a:cxn>
                  <a:cxn ang="0">
                    <a:pos x="T2" y="T3"/>
                  </a:cxn>
                  <a:cxn ang="0">
                    <a:pos x="T4" y="T5"/>
                  </a:cxn>
                </a:cxnLst>
                <a:rect l="0" t="0" r="r" b="b"/>
                <a:pathLst>
                  <a:path w="210" h="90">
                    <a:moveTo>
                      <a:pt x="0" y="90"/>
                    </a:moveTo>
                    <a:lnTo>
                      <a:pt x="120" y="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2" name="Line 2600">
                <a:extLst>
                  <a:ext uri="{FF2B5EF4-FFF2-40B4-BE49-F238E27FC236}">
                    <a16:creationId xmlns:a16="http://schemas.microsoft.com/office/drawing/2014/main" id="{3CBD3992-2DAA-4B9A-800C-8A08345D6B52}"/>
                  </a:ext>
                </a:extLst>
              </p:cNvPr>
              <p:cNvSpPr>
                <a:spLocks noChangeShapeType="1"/>
              </p:cNvSpPr>
              <p:nvPr/>
            </p:nvSpPr>
            <p:spPr bwMode="auto">
              <a:xfrm flipH="1" flipV="1">
                <a:off x="2805" y="2730"/>
                <a:ext cx="30"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3" name="Freeform 2601">
                <a:extLst>
                  <a:ext uri="{FF2B5EF4-FFF2-40B4-BE49-F238E27FC236}">
                    <a16:creationId xmlns:a16="http://schemas.microsoft.com/office/drawing/2014/main" id="{EB9E7A82-F990-4948-B1EB-D5B68B9AAAD9}"/>
                  </a:ext>
                </a:extLst>
              </p:cNvPr>
              <p:cNvSpPr>
                <a:spLocks/>
              </p:cNvSpPr>
              <p:nvPr/>
            </p:nvSpPr>
            <p:spPr bwMode="auto">
              <a:xfrm>
                <a:off x="3225" y="2730"/>
                <a:ext cx="90" cy="120"/>
              </a:xfrm>
              <a:custGeom>
                <a:avLst/>
                <a:gdLst>
                  <a:gd name="T0" fmla="*/ 0 w 90"/>
                  <a:gd name="T1" fmla="*/ 0 h 120"/>
                  <a:gd name="T2" fmla="*/ 90 w 90"/>
                  <a:gd name="T3" fmla="*/ 90 h 120"/>
                  <a:gd name="T4" fmla="*/ 0 w 90"/>
                  <a:gd name="T5" fmla="*/ 120 h 120"/>
                  <a:gd name="T6" fmla="*/ 0 w 90"/>
                  <a:gd name="T7" fmla="*/ 0 h 120"/>
                </a:gdLst>
                <a:ahLst/>
                <a:cxnLst>
                  <a:cxn ang="0">
                    <a:pos x="T0" y="T1"/>
                  </a:cxn>
                  <a:cxn ang="0">
                    <a:pos x="T2" y="T3"/>
                  </a:cxn>
                  <a:cxn ang="0">
                    <a:pos x="T4" y="T5"/>
                  </a:cxn>
                  <a:cxn ang="0">
                    <a:pos x="T6" y="T7"/>
                  </a:cxn>
                </a:cxnLst>
                <a:rect l="0" t="0" r="r" b="b"/>
                <a:pathLst>
                  <a:path w="90" h="120">
                    <a:moveTo>
                      <a:pt x="0" y="0"/>
                    </a:moveTo>
                    <a:lnTo>
                      <a:pt x="90" y="90"/>
                    </a:lnTo>
                    <a:lnTo>
                      <a:pt x="0" y="120"/>
                    </a:lnTo>
                    <a:lnTo>
                      <a:pt x="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4" name="Freeform 2602">
                <a:extLst>
                  <a:ext uri="{FF2B5EF4-FFF2-40B4-BE49-F238E27FC236}">
                    <a16:creationId xmlns:a16="http://schemas.microsoft.com/office/drawing/2014/main" id="{D276AB63-D346-4A36-A87E-567D82AC9741}"/>
                  </a:ext>
                </a:extLst>
              </p:cNvPr>
              <p:cNvSpPr>
                <a:spLocks/>
              </p:cNvSpPr>
              <p:nvPr/>
            </p:nvSpPr>
            <p:spPr bwMode="auto">
              <a:xfrm>
                <a:off x="3315" y="2820"/>
                <a:ext cx="270" cy="90"/>
              </a:xfrm>
              <a:custGeom>
                <a:avLst/>
                <a:gdLst>
                  <a:gd name="T0" fmla="*/ 60 w 270"/>
                  <a:gd name="T1" fmla="*/ 90 h 90"/>
                  <a:gd name="T2" fmla="*/ 0 w 270"/>
                  <a:gd name="T3" fmla="*/ 0 h 90"/>
                  <a:gd name="T4" fmla="*/ 270 w 270"/>
                  <a:gd name="T5" fmla="*/ 30 h 90"/>
                </a:gdLst>
                <a:ahLst/>
                <a:cxnLst>
                  <a:cxn ang="0">
                    <a:pos x="T0" y="T1"/>
                  </a:cxn>
                  <a:cxn ang="0">
                    <a:pos x="T2" y="T3"/>
                  </a:cxn>
                  <a:cxn ang="0">
                    <a:pos x="T4" y="T5"/>
                  </a:cxn>
                </a:cxnLst>
                <a:rect l="0" t="0" r="r" b="b"/>
                <a:pathLst>
                  <a:path w="270" h="90">
                    <a:moveTo>
                      <a:pt x="60" y="90"/>
                    </a:moveTo>
                    <a:lnTo>
                      <a:pt x="0" y="0"/>
                    </a:lnTo>
                    <a:lnTo>
                      <a:pt x="27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5" name="Freeform 2603">
                <a:extLst>
                  <a:ext uri="{FF2B5EF4-FFF2-40B4-BE49-F238E27FC236}">
                    <a16:creationId xmlns:a16="http://schemas.microsoft.com/office/drawing/2014/main" id="{0ADFEF26-26F3-4B78-8DA9-0E9A9F3A623D}"/>
                  </a:ext>
                </a:extLst>
              </p:cNvPr>
              <p:cNvSpPr>
                <a:spLocks/>
              </p:cNvSpPr>
              <p:nvPr/>
            </p:nvSpPr>
            <p:spPr bwMode="auto">
              <a:xfrm>
                <a:off x="2955" y="2730"/>
                <a:ext cx="540" cy="330"/>
              </a:xfrm>
              <a:custGeom>
                <a:avLst/>
                <a:gdLst>
                  <a:gd name="T0" fmla="*/ 540 w 540"/>
                  <a:gd name="T1" fmla="*/ 240 h 330"/>
                  <a:gd name="T2" fmla="*/ 420 w 540"/>
                  <a:gd name="T3" fmla="*/ 300 h 330"/>
                  <a:gd name="T4" fmla="*/ 270 w 540"/>
                  <a:gd name="T5" fmla="*/ 330 h 330"/>
                  <a:gd name="T6" fmla="*/ 150 w 540"/>
                  <a:gd name="T7" fmla="*/ 180 h 330"/>
                  <a:gd name="T8" fmla="*/ 180 w 540"/>
                  <a:gd name="T9" fmla="*/ 90 h 330"/>
                  <a:gd name="T10" fmla="*/ 120 w 540"/>
                  <a:gd name="T11" fmla="*/ 0 h 330"/>
                  <a:gd name="T12" fmla="*/ 30 w 540"/>
                  <a:gd name="T13" fmla="*/ 180 h 330"/>
                  <a:gd name="T14" fmla="*/ 0 w 540"/>
                  <a:gd name="T15" fmla="*/ 60 h 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330">
                    <a:moveTo>
                      <a:pt x="540" y="240"/>
                    </a:moveTo>
                    <a:lnTo>
                      <a:pt x="420" y="300"/>
                    </a:lnTo>
                    <a:lnTo>
                      <a:pt x="270" y="330"/>
                    </a:lnTo>
                    <a:lnTo>
                      <a:pt x="150" y="180"/>
                    </a:lnTo>
                    <a:lnTo>
                      <a:pt x="180" y="90"/>
                    </a:lnTo>
                    <a:lnTo>
                      <a:pt x="120" y="0"/>
                    </a:lnTo>
                    <a:lnTo>
                      <a:pt x="30" y="18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6" name="Line 2604">
                <a:extLst>
                  <a:ext uri="{FF2B5EF4-FFF2-40B4-BE49-F238E27FC236}">
                    <a16:creationId xmlns:a16="http://schemas.microsoft.com/office/drawing/2014/main" id="{B2B75E9F-538B-41E6-A72F-EAFE6098D54B}"/>
                  </a:ext>
                </a:extLst>
              </p:cNvPr>
              <p:cNvSpPr>
                <a:spLocks noChangeShapeType="1"/>
              </p:cNvSpPr>
              <p:nvPr/>
            </p:nvSpPr>
            <p:spPr bwMode="auto">
              <a:xfrm>
                <a:off x="3195" y="15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7" name="Freeform 2605">
                <a:extLst>
                  <a:ext uri="{FF2B5EF4-FFF2-40B4-BE49-F238E27FC236}">
                    <a16:creationId xmlns:a16="http://schemas.microsoft.com/office/drawing/2014/main" id="{D107EFF5-5541-4C06-9564-A8E8778ACAC8}"/>
                  </a:ext>
                </a:extLst>
              </p:cNvPr>
              <p:cNvSpPr>
                <a:spLocks/>
              </p:cNvSpPr>
              <p:nvPr/>
            </p:nvSpPr>
            <p:spPr bwMode="auto">
              <a:xfrm>
                <a:off x="2865" y="1620"/>
                <a:ext cx="180" cy="150"/>
              </a:xfrm>
              <a:custGeom>
                <a:avLst/>
                <a:gdLst>
                  <a:gd name="T0" fmla="*/ 0 w 180"/>
                  <a:gd name="T1" fmla="*/ 0 h 150"/>
                  <a:gd name="T2" fmla="*/ 180 w 180"/>
                  <a:gd name="T3" fmla="*/ 150 h 150"/>
                  <a:gd name="T4" fmla="*/ 120 w 180"/>
                  <a:gd name="T5" fmla="*/ 30 h 150"/>
                </a:gdLst>
                <a:ahLst/>
                <a:cxnLst>
                  <a:cxn ang="0">
                    <a:pos x="T0" y="T1"/>
                  </a:cxn>
                  <a:cxn ang="0">
                    <a:pos x="T2" y="T3"/>
                  </a:cxn>
                  <a:cxn ang="0">
                    <a:pos x="T4" y="T5"/>
                  </a:cxn>
                </a:cxnLst>
                <a:rect l="0" t="0" r="r" b="b"/>
                <a:pathLst>
                  <a:path w="180" h="150">
                    <a:moveTo>
                      <a:pt x="0" y="0"/>
                    </a:moveTo>
                    <a:lnTo>
                      <a:pt x="180" y="150"/>
                    </a:lnTo>
                    <a:lnTo>
                      <a:pt x="12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8" name="Line 2606">
                <a:extLst>
                  <a:ext uri="{FF2B5EF4-FFF2-40B4-BE49-F238E27FC236}">
                    <a16:creationId xmlns:a16="http://schemas.microsoft.com/office/drawing/2014/main" id="{C69C3138-A0B9-4F8E-9DD5-F66F84844A72}"/>
                  </a:ext>
                </a:extLst>
              </p:cNvPr>
              <p:cNvSpPr>
                <a:spLocks noChangeShapeType="1"/>
              </p:cNvSpPr>
              <p:nvPr/>
            </p:nvSpPr>
            <p:spPr bwMode="auto">
              <a:xfrm flipH="1" flipV="1">
                <a:off x="2985" y="16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39" name="Line 2607">
                <a:extLst>
                  <a:ext uri="{FF2B5EF4-FFF2-40B4-BE49-F238E27FC236}">
                    <a16:creationId xmlns:a16="http://schemas.microsoft.com/office/drawing/2014/main" id="{6D8F8E85-E1A2-4916-8582-8D21C53A477F}"/>
                  </a:ext>
                </a:extLst>
              </p:cNvPr>
              <p:cNvSpPr>
                <a:spLocks noChangeShapeType="1"/>
              </p:cNvSpPr>
              <p:nvPr/>
            </p:nvSpPr>
            <p:spPr bwMode="auto">
              <a:xfrm>
                <a:off x="2715"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0" name="Line 2608">
                <a:extLst>
                  <a:ext uri="{FF2B5EF4-FFF2-40B4-BE49-F238E27FC236}">
                    <a16:creationId xmlns:a16="http://schemas.microsoft.com/office/drawing/2014/main" id="{70610C81-2F6E-4BEC-95B0-A93760C7AA3B}"/>
                  </a:ext>
                </a:extLst>
              </p:cNvPr>
              <p:cNvSpPr>
                <a:spLocks noChangeShapeType="1"/>
              </p:cNvSpPr>
              <p:nvPr/>
            </p:nvSpPr>
            <p:spPr bwMode="auto">
              <a:xfrm>
                <a:off x="2685" y="150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1" name="Freeform 2609">
                <a:extLst>
                  <a:ext uri="{FF2B5EF4-FFF2-40B4-BE49-F238E27FC236}">
                    <a16:creationId xmlns:a16="http://schemas.microsoft.com/office/drawing/2014/main" id="{72D9DF88-39E3-4DC0-96B9-2EB79B5FB6DB}"/>
                  </a:ext>
                </a:extLst>
              </p:cNvPr>
              <p:cNvSpPr>
                <a:spLocks/>
              </p:cNvSpPr>
              <p:nvPr/>
            </p:nvSpPr>
            <p:spPr bwMode="auto">
              <a:xfrm>
                <a:off x="2715" y="1470"/>
                <a:ext cx="330" cy="210"/>
              </a:xfrm>
              <a:custGeom>
                <a:avLst/>
                <a:gdLst>
                  <a:gd name="T0" fmla="*/ 0 w 330"/>
                  <a:gd name="T1" fmla="*/ 150 h 210"/>
                  <a:gd name="T2" fmla="*/ 60 w 330"/>
                  <a:gd name="T3" fmla="*/ 210 h 210"/>
                  <a:gd name="T4" fmla="*/ 150 w 330"/>
                  <a:gd name="T5" fmla="*/ 150 h 210"/>
                  <a:gd name="T6" fmla="*/ 210 w 330"/>
                  <a:gd name="T7" fmla="*/ 60 h 210"/>
                  <a:gd name="T8" fmla="*/ 330 w 330"/>
                  <a:gd name="T9" fmla="*/ 0 h 210"/>
                </a:gdLst>
                <a:ahLst/>
                <a:cxnLst>
                  <a:cxn ang="0">
                    <a:pos x="T0" y="T1"/>
                  </a:cxn>
                  <a:cxn ang="0">
                    <a:pos x="T2" y="T3"/>
                  </a:cxn>
                  <a:cxn ang="0">
                    <a:pos x="T4" y="T5"/>
                  </a:cxn>
                  <a:cxn ang="0">
                    <a:pos x="T6" y="T7"/>
                  </a:cxn>
                  <a:cxn ang="0">
                    <a:pos x="T8" y="T9"/>
                  </a:cxn>
                </a:cxnLst>
                <a:rect l="0" t="0" r="r" b="b"/>
                <a:pathLst>
                  <a:path w="330" h="210">
                    <a:moveTo>
                      <a:pt x="0" y="150"/>
                    </a:moveTo>
                    <a:lnTo>
                      <a:pt x="60" y="210"/>
                    </a:lnTo>
                    <a:lnTo>
                      <a:pt x="150" y="150"/>
                    </a:lnTo>
                    <a:lnTo>
                      <a:pt x="210" y="60"/>
                    </a:lnTo>
                    <a:lnTo>
                      <a:pt x="3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2" name="Freeform 2610">
                <a:extLst>
                  <a:ext uri="{FF2B5EF4-FFF2-40B4-BE49-F238E27FC236}">
                    <a16:creationId xmlns:a16="http://schemas.microsoft.com/office/drawing/2014/main" id="{B51AFE81-3F03-48AB-AF5D-591ED35F2488}"/>
                  </a:ext>
                </a:extLst>
              </p:cNvPr>
              <p:cNvSpPr>
                <a:spLocks/>
              </p:cNvSpPr>
              <p:nvPr/>
            </p:nvSpPr>
            <p:spPr bwMode="auto">
              <a:xfrm>
                <a:off x="2835" y="1500"/>
                <a:ext cx="270" cy="150"/>
              </a:xfrm>
              <a:custGeom>
                <a:avLst/>
                <a:gdLst>
                  <a:gd name="T0" fmla="*/ 270 w 270"/>
                  <a:gd name="T1" fmla="*/ 90 h 150"/>
                  <a:gd name="T2" fmla="*/ 150 w 270"/>
                  <a:gd name="T3" fmla="*/ 150 h 150"/>
                  <a:gd name="T4" fmla="*/ 30 w 270"/>
                  <a:gd name="T5" fmla="*/ 120 h 150"/>
                  <a:gd name="T6" fmla="*/ 0 w 270"/>
                  <a:gd name="T7" fmla="*/ 0 h 150"/>
                </a:gdLst>
                <a:ahLst/>
                <a:cxnLst>
                  <a:cxn ang="0">
                    <a:pos x="T0" y="T1"/>
                  </a:cxn>
                  <a:cxn ang="0">
                    <a:pos x="T2" y="T3"/>
                  </a:cxn>
                  <a:cxn ang="0">
                    <a:pos x="T4" y="T5"/>
                  </a:cxn>
                  <a:cxn ang="0">
                    <a:pos x="T6" y="T7"/>
                  </a:cxn>
                </a:cxnLst>
                <a:rect l="0" t="0" r="r" b="b"/>
                <a:pathLst>
                  <a:path w="270" h="150">
                    <a:moveTo>
                      <a:pt x="270" y="90"/>
                    </a:moveTo>
                    <a:lnTo>
                      <a:pt x="150" y="150"/>
                    </a:lnTo>
                    <a:lnTo>
                      <a:pt x="3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3" name="Line 2611">
                <a:extLst>
                  <a:ext uri="{FF2B5EF4-FFF2-40B4-BE49-F238E27FC236}">
                    <a16:creationId xmlns:a16="http://schemas.microsoft.com/office/drawing/2014/main" id="{C4CDFC26-CFAB-44FC-9772-D33A6D8DBD7A}"/>
                  </a:ext>
                </a:extLst>
              </p:cNvPr>
              <p:cNvSpPr>
                <a:spLocks noChangeShapeType="1"/>
              </p:cNvSpPr>
              <p:nvPr/>
            </p:nvSpPr>
            <p:spPr bwMode="auto">
              <a:xfrm>
                <a:off x="3045" y="14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4" name="Line 2612">
                <a:extLst>
                  <a:ext uri="{FF2B5EF4-FFF2-40B4-BE49-F238E27FC236}">
                    <a16:creationId xmlns:a16="http://schemas.microsoft.com/office/drawing/2014/main" id="{B8ACA998-DCD6-4C2A-BCD7-44E5C729A729}"/>
                  </a:ext>
                </a:extLst>
              </p:cNvPr>
              <p:cNvSpPr>
                <a:spLocks noChangeShapeType="1"/>
              </p:cNvSpPr>
              <p:nvPr/>
            </p:nvSpPr>
            <p:spPr bwMode="auto">
              <a:xfrm>
                <a:off x="2775" y="141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5" name="Line 2613">
                <a:extLst>
                  <a:ext uri="{FF2B5EF4-FFF2-40B4-BE49-F238E27FC236}">
                    <a16:creationId xmlns:a16="http://schemas.microsoft.com/office/drawing/2014/main" id="{13B59959-E940-4D83-97B2-E631348A9923}"/>
                  </a:ext>
                </a:extLst>
              </p:cNvPr>
              <p:cNvSpPr>
                <a:spLocks noChangeShapeType="1"/>
              </p:cNvSpPr>
              <p:nvPr/>
            </p:nvSpPr>
            <p:spPr bwMode="auto">
              <a:xfrm flipV="1">
                <a:off x="2865" y="15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6" name="Freeform 2614">
                <a:extLst>
                  <a:ext uri="{FF2B5EF4-FFF2-40B4-BE49-F238E27FC236}">
                    <a16:creationId xmlns:a16="http://schemas.microsoft.com/office/drawing/2014/main" id="{479D1E4F-DD28-4973-BB55-EB6A59A6C249}"/>
                  </a:ext>
                </a:extLst>
              </p:cNvPr>
              <p:cNvSpPr>
                <a:spLocks/>
              </p:cNvSpPr>
              <p:nvPr/>
            </p:nvSpPr>
            <p:spPr bwMode="auto">
              <a:xfrm>
                <a:off x="2685" y="1500"/>
                <a:ext cx="180" cy="120"/>
              </a:xfrm>
              <a:custGeom>
                <a:avLst/>
                <a:gdLst>
                  <a:gd name="T0" fmla="*/ 150 w 180"/>
                  <a:gd name="T1" fmla="*/ 0 h 120"/>
                  <a:gd name="T2" fmla="*/ 0 w 180"/>
                  <a:gd name="T3" fmla="*/ 0 h 120"/>
                  <a:gd name="T4" fmla="*/ 30 w 180"/>
                  <a:gd name="T5" fmla="*/ 120 h 120"/>
                  <a:gd name="T6" fmla="*/ 180 w 180"/>
                  <a:gd name="T7" fmla="*/ 120 h 120"/>
                </a:gdLst>
                <a:ahLst/>
                <a:cxnLst>
                  <a:cxn ang="0">
                    <a:pos x="T0" y="T1"/>
                  </a:cxn>
                  <a:cxn ang="0">
                    <a:pos x="T2" y="T3"/>
                  </a:cxn>
                  <a:cxn ang="0">
                    <a:pos x="T4" y="T5"/>
                  </a:cxn>
                  <a:cxn ang="0">
                    <a:pos x="T6" y="T7"/>
                  </a:cxn>
                </a:cxnLst>
                <a:rect l="0" t="0" r="r" b="b"/>
                <a:pathLst>
                  <a:path w="180" h="120">
                    <a:moveTo>
                      <a:pt x="150" y="0"/>
                    </a:moveTo>
                    <a:lnTo>
                      <a:pt x="0" y="0"/>
                    </a:lnTo>
                    <a:lnTo>
                      <a:pt x="30" y="120"/>
                    </a:lnTo>
                    <a:lnTo>
                      <a:pt x="180"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7" name="Freeform 2615">
                <a:extLst>
                  <a:ext uri="{FF2B5EF4-FFF2-40B4-BE49-F238E27FC236}">
                    <a16:creationId xmlns:a16="http://schemas.microsoft.com/office/drawing/2014/main" id="{7ADF5555-3C12-46D1-B896-1FF95A7599D8}"/>
                  </a:ext>
                </a:extLst>
              </p:cNvPr>
              <p:cNvSpPr>
                <a:spLocks/>
              </p:cNvSpPr>
              <p:nvPr/>
            </p:nvSpPr>
            <p:spPr bwMode="auto">
              <a:xfrm>
                <a:off x="2554" y="125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8" name="Freeform 2616">
                <a:extLst>
                  <a:ext uri="{FF2B5EF4-FFF2-40B4-BE49-F238E27FC236}">
                    <a16:creationId xmlns:a16="http://schemas.microsoft.com/office/drawing/2014/main" id="{D89BB1BA-1565-4B2B-A02A-B4EDEE261B5C}"/>
                  </a:ext>
                </a:extLst>
              </p:cNvPr>
              <p:cNvSpPr>
                <a:spLocks/>
              </p:cNvSpPr>
              <p:nvPr/>
            </p:nvSpPr>
            <p:spPr bwMode="auto">
              <a:xfrm>
                <a:off x="2284"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49" name="Freeform 2617">
                <a:extLst>
                  <a:ext uri="{FF2B5EF4-FFF2-40B4-BE49-F238E27FC236}">
                    <a16:creationId xmlns:a16="http://schemas.microsoft.com/office/drawing/2014/main" id="{5E1F71CB-8492-4F88-8E4B-CC50E7F9CA38}"/>
                  </a:ext>
                </a:extLst>
              </p:cNvPr>
              <p:cNvSpPr>
                <a:spLocks/>
              </p:cNvSpPr>
              <p:nvPr/>
            </p:nvSpPr>
            <p:spPr bwMode="auto">
              <a:xfrm>
                <a:off x="3243"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0" name="Freeform 2618">
                <a:extLst>
                  <a:ext uri="{FF2B5EF4-FFF2-40B4-BE49-F238E27FC236}">
                    <a16:creationId xmlns:a16="http://schemas.microsoft.com/office/drawing/2014/main" id="{B0335AC8-3C38-49C0-998C-58569D345747}"/>
                  </a:ext>
                </a:extLst>
              </p:cNvPr>
              <p:cNvSpPr>
                <a:spLocks/>
              </p:cNvSpPr>
              <p:nvPr/>
            </p:nvSpPr>
            <p:spPr bwMode="auto">
              <a:xfrm>
                <a:off x="2254"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1" name="Freeform 2619">
                <a:extLst>
                  <a:ext uri="{FF2B5EF4-FFF2-40B4-BE49-F238E27FC236}">
                    <a16:creationId xmlns:a16="http://schemas.microsoft.com/office/drawing/2014/main" id="{5C530804-02F5-4081-9974-36E3047127A5}"/>
                  </a:ext>
                </a:extLst>
              </p:cNvPr>
              <p:cNvSpPr>
                <a:spLocks/>
              </p:cNvSpPr>
              <p:nvPr/>
            </p:nvSpPr>
            <p:spPr bwMode="auto">
              <a:xfrm>
                <a:off x="3213"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2" name="Oval 2620">
                <a:extLst>
                  <a:ext uri="{FF2B5EF4-FFF2-40B4-BE49-F238E27FC236}">
                    <a16:creationId xmlns:a16="http://schemas.microsoft.com/office/drawing/2014/main" id="{84017D75-AFC3-4FD9-A7A9-2445BA246646}"/>
                  </a:ext>
                </a:extLst>
              </p:cNvPr>
              <p:cNvSpPr>
                <a:spLocks noChangeArrowheads="1"/>
              </p:cNvSpPr>
              <p:nvPr/>
            </p:nvSpPr>
            <p:spPr bwMode="auto">
              <a:xfrm>
                <a:off x="4334"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3" name="Oval 2621">
                <a:extLst>
                  <a:ext uri="{FF2B5EF4-FFF2-40B4-BE49-F238E27FC236}">
                    <a16:creationId xmlns:a16="http://schemas.microsoft.com/office/drawing/2014/main" id="{F150BEF4-9DE4-47FE-8229-50F8E9F5C82A}"/>
                  </a:ext>
                </a:extLst>
              </p:cNvPr>
              <p:cNvSpPr>
                <a:spLocks noChangeArrowheads="1"/>
              </p:cNvSpPr>
              <p:nvPr/>
            </p:nvSpPr>
            <p:spPr bwMode="auto">
              <a:xfrm>
                <a:off x="427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4" name="Oval 2622">
                <a:extLst>
                  <a:ext uri="{FF2B5EF4-FFF2-40B4-BE49-F238E27FC236}">
                    <a16:creationId xmlns:a16="http://schemas.microsoft.com/office/drawing/2014/main" id="{1D8B5613-160D-4908-B011-C4E30C1EFDD1}"/>
                  </a:ext>
                </a:extLst>
              </p:cNvPr>
              <p:cNvSpPr>
                <a:spLocks noChangeArrowheads="1"/>
              </p:cNvSpPr>
              <p:nvPr/>
            </p:nvSpPr>
            <p:spPr bwMode="auto">
              <a:xfrm>
                <a:off x="4394"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5" name="Oval 2623">
                <a:extLst>
                  <a:ext uri="{FF2B5EF4-FFF2-40B4-BE49-F238E27FC236}">
                    <a16:creationId xmlns:a16="http://schemas.microsoft.com/office/drawing/2014/main" id="{672DAB95-47C8-4ABE-AED6-AD4803C7629A}"/>
                  </a:ext>
                </a:extLst>
              </p:cNvPr>
              <p:cNvSpPr>
                <a:spLocks noChangeArrowheads="1"/>
              </p:cNvSpPr>
              <p:nvPr/>
            </p:nvSpPr>
            <p:spPr bwMode="auto">
              <a:xfrm>
                <a:off x="436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6" name="Oval 2624">
                <a:extLst>
                  <a:ext uri="{FF2B5EF4-FFF2-40B4-BE49-F238E27FC236}">
                    <a16:creationId xmlns:a16="http://schemas.microsoft.com/office/drawing/2014/main" id="{A718F208-1C6A-4F3D-A700-18D52B2DD393}"/>
                  </a:ext>
                </a:extLst>
              </p:cNvPr>
              <p:cNvSpPr>
                <a:spLocks noChangeArrowheads="1"/>
              </p:cNvSpPr>
              <p:nvPr/>
            </p:nvSpPr>
            <p:spPr bwMode="auto">
              <a:xfrm>
                <a:off x="445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7" name="Oval 2625">
                <a:extLst>
                  <a:ext uri="{FF2B5EF4-FFF2-40B4-BE49-F238E27FC236}">
                    <a16:creationId xmlns:a16="http://schemas.microsoft.com/office/drawing/2014/main" id="{EDD50300-C5E0-4F92-A65B-50295CEE8D6A}"/>
                  </a:ext>
                </a:extLst>
              </p:cNvPr>
              <p:cNvSpPr>
                <a:spLocks noChangeArrowheads="1"/>
              </p:cNvSpPr>
              <p:nvPr/>
            </p:nvSpPr>
            <p:spPr bwMode="auto">
              <a:xfrm>
                <a:off x="442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8" name="Oval 2626">
                <a:extLst>
                  <a:ext uri="{FF2B5EF4-FFF2-40B4-BE49-F238E27FC236}">
                    <a16:creationId xmlns:a16="http://schemas.microsoft.com/office/drawing/2014/main" id="{4829EE47-2439-41C6-8160-57E163E71F7D}"/>
                  </a:ext>
                </a:extLst>
              </p:cNvPr>
              <p:cNvSpPr>
                <a:spLocks noChangeArrowheads="1"/>
              </p:cNvSpPr>
              <p:nvPr/>
            </p:nvSpPr>
            <p:spPr bwMode="auto">
              <a:xfrm>
                <a:off x="442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59" name="Oval 2627">
                <a:extLst>
                  <a:ext uri="{FF2B5EF4-FFF2-40B4-BE49-F238E27FC236}">
                    <a16:creationId xmlns:a16="http://schemas.microsoft.com/office/drawing/2014/main" id="{DCEFB3DC-DC47-46CB-8C2E-90436707581B}"/>
                  </a:ext>
                </a:extLst>
              </p:cNvPr>
              <p:cNvSpPr>
                <a:spLocks noChangeArrowheads="1"/>
              </p:cNvSpPr>
              <p:nvPr/>
            </p:nvSpPr>
            <p:spPr bwMode="auto">
              <a:xfrm>
                <a:off x="433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0" name="Oval 2628">
                <a:extLst>
                  <a:ext uri="{FF2B5EF4-FFF2-40B4-BE49-F238E27FC236}">
                    <a16:creationId xmlns:a16="http://schemas.microsoft.com/office/drawing/2014/main" id="{BDCEE42C-056A-4BA9-BB07-FB6B658E4089}"/>
                  </a:ext>
                </a:extLst>
              </p:cNvPr>
              <p:cNvSpPr>
                <a:spLocks noChangeArrowheads="1"/>
              </p:cNvSpPr>
              <p:nvPr/>
            </p:nvSpPr>
            <p:spPr bwMode="auto">
              <a:xfrm>
                <a:off x="4274"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1" name="Oval 2629">
                <a:extLst>
                  <a:ext uri="{FF2B5EF4-FFF2-40B4-BE49-F238E27FC236}">
                    <a16:creationId xmlns:a16="http://schemas.microsoft.com/office/drawing/2014/main" id="{CD47AF52-C539-434F-8A84-FF773CB19360}"/>
                  </a:ext>
                </a:extLst>
              </p:cNvPr>
              <p:cNvSpPr>
                <a:spLocks noChangeArrowheads="1"/>
              </p:cNvSpPr>
              <p:nvPr/>
            </p:nvSpPr>
            <p:spPr bwMode="auto">
              <a:xfrm>
                <a:off x="406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2" name="Oval 2630">
                <a:extLst>
                  <a:ext uri="{FF2B5EF4-FFF2-40B4-BE49-F238E27FC236}">
                    <a16:creationId xmlns:a16="http://schemas.microsoft.com/office/drawing/2014/main" id="{F87B47AA-864A-44C3-84C7-3A0E0CA20481}"/>
                  </a:ext>
                </a:extLst>
              </p:cNvPr>
              <p:cNvSpPr>
                <a:spLocks noChangeArrowheads="1"/>
              </p:cNvSpPr>
              <p:nvPr/>
            </p:nvSpPr>
            <p:spPr bwMode="auto">
              <a:xfrm>
                <a:off x="409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3" name="Oval 2631">
                <a:extLst>
                  <a:ext uri="{FF2B5EF4-FFF2-40B4-BE49-F238E27FC236}">
                    <a16:creationId xmlns:a16="http://schemas.microsoft.com/office/drawing/2014/main" id="{E49C1320-84C7-4108-A893-83DFE4ECA823}"/>
                  </a:ext>
                </a:extLst>
              </p:cNvPr>
              <p:cNvSpPr>
                <a:spLocks noChangeArrowheads="1"/>
              </p:cNvSpPr>
              <p:nvPr/>
            </p:nvSpPr>
            <p:spPr bwMode="auto">
              <a:xfrm>
                <a:off x="3974"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4" name="Oval 2632">
                <a:extLst>
                  <a:ext uri="{FF2B5EF4-FFF2-40B4-BE49-F238E27FC236}">
                    <a16:creationId xmlns:a16="http://schemas.microsoft.com/office/drawing/2014/main" id="{DE1D2B56-0565-44B7-9706-D882EB475EA5}"/>
                  </a:ext>
                </a:extLst>
              </p:cNvPr>
              <p:cNvSpPr>
                <a:spLocks noChangeArrowheads="1"/>
              </p:cNvSpPr>
              <p:nvPr/>
            </p:nvSpPr>
            <p:spPr bwMode="auto">
              <a:xfrm>
                <a:off x="3824"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5" name="Oval 2633">
                <a:extLst>
                  <a:ext uri="{FF2B5EF4-FFF2-40B4-BE49-F238E27FC236}">
                    <a16:creationId xmlns:a16="http://schemas.microsoft.com/office/drawing/2014/main" id="{03202B81-F5AA-46A8-AC9C-9E2D0CBE94DC}"/>
                  </a:ext>
                </a:extLst>
              </p:cNvPr>
              <p:cNvSpPr>
                <a:spLocks noChangeArrowheads="1"/>
              </p:cNvSpPr>
              <p:nvPr/>
            </p:nvSpPr>
            <p:spPr bwMode="auto">
              <a:xfrm>
                <a:off x="409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6" name="Oval 2634">
                <a:extLst>
                  <a:ext uri="{FF2B5EF4-FFF2-40B4-BE49-F238E27FC236}">
                    <a16:creationId xmlns:a16="http://schemas.microsoft.com/office/drawing/2014/main" id="{5EA6626E-BCEC-41DA-9391-0211765C76F0}"/>
                  </a:ext>
                </a:extLst>
              </p:cNvPr>
              <p:cNvSpPr>
                <a:spLocks noChangeArrowheads="1"/>
              </p:cNvSpPr>
              <p:nvPr/>
            </p:nvSpPr>
            <p:spPr bwMode="auto">
              <a:xfrm>
                <a:off x="4334"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7" name="Oval 2635">
                <a:extLst>
                  <a:ext uri="{FF2B5EF4-FFF2-40B4-BE49-F238E27FC236}">
                    <a16:creationId xmlns:a16="http://schemas.microsoft.com/office/drawing/2014/main" id="{311A147C-726F-41D2-B466-97003C21111E}"/>
                  </a:ext>
                </a:extLst>
              </p:cNvPr>
              <p:cNvSpPr>
                <a:spLocks noChangeArrowheads="1"/>
              </p:cNvSpPr>
              <p:nvPr/>
            </p:nvSpPr>
            <p:spPr bwMode="auto">
              <a:xfrm>
                <a:off x="439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8" name="Oval 2636">
                <a:extLst>
                  <a:ext uri="{FF2B5EF4-FFF2-40B4-BE49-F238E27FC236}">
                    <a16:creationId xmlns:a16="http://schemas.microsoft.com/office/drawing/2014/main" id="{7349E04C-B1E2-4ABF-89E8-996B8541674C}"/>
                  </a:ext>
                </a:extLst>
              </p:cNvPr>
              <p:cNvSpPr>
                <a:spLocks noChangeArrowheads="1"/>
              </p:cNvSpPr>
              <p:nvPr/>
            </p:nvSpPr>
            <p:spPr bwMode="auto">
              <a:xfrm>
                <a:off x="42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69" name="Oval 2637">
                <a:extLst>
                  <a:ext uri="{FF2B5EF4-FFF2-40B4-BE49-F238E27FC236}">
                    <a16:creationId xmlns:a16="http://schemas.microsoft.com/office/drawing/2014/main" id="{A1A4DB41-A7EF-4DD7-8F97-157DA9C3A60E}"/>
                  </a:ext>
                </a:extLst>
              </p:cNvPr>
              <p:cNvSpPr>
                <a:spLocks noChangeArrowheads="1"/>
              </p:cNvSpPr>
              <p:nvPr/>
            </p:nvSpPr>
            <p:spPr bwMode="auto">
              <a:xfrm>
                <a:off x="415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0" name="Oval 2638">
                <a:extLst>
                  <a:ext uri="{FF2B5EF4-FFF2-40B4-BE49-F238E27FC236}">
                    <a16:creationId xmlns:a16="http://schemas.microsoft.com/office/drawing/2014/main" id="{A17CFE4E-32D0-4B57-8637-48B1DCBFCD40}"/>
                  </a:ext>
                </a:extLst>
              </p:cNvPr>
              <p:cNvSpPr>
                <a:spLocks noChangeArrowheads="1"/>
              </p:cNvSpPr>
              <p:nvPr/>
            </p:nvSpPr>
            <p:spPr bwMode="auto">
              <a:xfrm>
                <a:off x="4364"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1" name="Oval 2639">
                <a:extLst>
                  <a:ext uri="{FF2B5EF4-FFF2-40B4-BE49-F238E27FC236}">
                    <a16:creationId xmlns:a16="http://schemas.microsoft.com/office/drawing/2014/main" id="{9B614591-4DC4-41D6-A017-B0B0FD28E98A}"/>
                  </a:ext>
                </a:extLst>
              </p:cNvPr>
              <p:cNvSpPr>
                <a:spLocks noChangeArrowheads="1"/>
              </p:cNvSpPr>
              <p:nvPr/>
            </p:nvSpPr>
            <p:spPr bwMode="auto">
              <a:xfrm>
                <a:off x="439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2" name="Oval 2640">
                <a:extLst>
                  <a:ext uri="{FF2B5EF4-FFF2-40B4-BE49-F238E27FC236}">
                    <a16:creationId xmlns:a16="http://schemas.microsoft.com/office/drawing/2014/main" id="{7F5BEDE8-E57C-4364-9E4C-F4FFB5FC2BB0}"/>
                  </a:ext>
                </a:extLst>
              </p:cNvPr>
              <p:cNvSpPr>
                <a:spLocks noChangeArrowheads="1"/>
              </p:cNvSpPr>
              <p:nvPr/>
            </p:nvSpPr>
            <p:spPr bwMode="auto">
              <a:xfrm>
                <a:off x="427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3" name="Oval 2641">
                <a:extLst>
                  <a:ext uri="{FF2B5EF4-FFF2-40B4-BE49-F238E27FC236}">
                    <a16:creationId xmlns:a16="http://schemas.microsoft.com/office/drawing/2014/main" id="{929494F5-F0F9-4726-BFB8-72F3F8D1A450}"/>
                  </a:ext>
                </a:extLst>
              </p:cNvPr>
              <p:cNvSpPr>
                <a:spLocks noChangeArrowheads="1"/>
              </p:cNvSpPr>
              <p:nvPr/>
            </p:nvSpPr>
            <p:spPr bwMode="auto">
              <a:xfrm>
                <a:off x="415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4" name="Oval 2642">
                <a:extLst>
                  <a:ext uri="{FF2B5EF4-FFF2-40B4-BE49-F238E27FC236}">
                    <a16:creationId xmlns:a16="http://schemas.microsoft.com/office/drawing/2014/main" id="{629BFC63-24B7-4A2D-9665-8E043400F663}"/>
                  </a:ext>
                </a:extLst>
              </p:cNvPr>
              <p:cNvSpPr>
                <a:spLocks noChangeArrowheads="1"/>
              </p:cNvSpPr>
              <p:nvPr/>
            </p:nvSpPr>
            <p:spPr bwMode="auto">
              <a:xfrm>
                <a:off x="412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5" name="Oval 2643">
                <a:extLst>
                  <a:ext uri="{FF2B5EF4-FFF2-40B4-BE49-F238E27FC236}">
                    <a16:creationId xmlns:a16="http://schemas.microsoft.com/office/drawing/2014/main" id="{E6EDCCE0-A1A0-4402-9CB1-167BFC8B8F49}"/>
                  </a:ext>
                </a:extLst>
              </p:cNvPr>
              <p:cNvSpPr>
                <a:spLocks noChangeArrowheads="1"/>
              </p:cNvSpPr>
              <p:nvPr/>
            </p:nvSpPr>
            <p:spPr bwMode="auto">
              <a:xfrm>
                <a:off x="4364"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6" name="Oval 2644">
                <a:extLst>
                  <a:ext uri="{FF2B5EF4-FFF2-40B4-BE49-F238E27FC236}">
                    <a16:creationId xmlns:a16="http://schemas.microsoft.com/office/drawing/2014/main" id="{4C888CEF-89A8-4972-BD56-46D041B2D8DD}"/>
                  </a:ext>
                </a:extLst>
              </p:cNvPr>
              <p:cNvSpPr>
                <a:spLocks noChangeArrowheads="1"/>
              </p:cNvSpPr>
              <p:nvPr/>
            </p:nvSpPr>
            <p:spPr bwMode="auto">
              <a:xfrm>
                <a:off x="430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7" name="Oval 2645">
                <a:extLst>
                  <a:ext uri="{FF2B5EF4-FFF2-40B4-BE49-F238E27FC236}">
                    <a16:creationId xmlns:a16="http://schemas.microsoft.com/office/drawing/2014/main" id="{4C9BA14E-B599-44D5-BDCC-974059B3FAFF}"/>
                  </a:ext>
                </a:extLst>
              </p:cNvPr>
              <p:cNvSpPr>
                <a:spLocks noChangeArrowheads="1"/>
              </p:cNvSpPr>
              <p:nvPr/>
            </p:nvSpPr>
            <p:spPr bwMode="auto">
              <a:xfrm>
                <a:off x="427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8" name="Oval 2646">
                <a:extLst>
                  <a:ext uri="{FF2B5EF4-FFF2-40B4-BE49-F238E27FC236}">
                    <a16:creationId xmlns:a16="http://schemas.microsoft.com/office/drawing/2014/main" id="{E8104CB3-DB5A-464E-BC08-6ECC73170E7E}"/>
                  </a:ext>
                </a:extLst>
              </p:cNvPr>
              <p:cNvSpPr>
                <a:spLocks noChangeArrowheads="1"/>
              </p:cNvSpPr>
              <p:nvPr/>
            </p:nvSpPr>
            <p:spPr bwMode="auto">
              <a:xfrm>
                <a:off x="433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79" name="Oval 2647">
                <a:extLst>
                  <a:ext uri="{FF2B5EF4-FFF2-40B4-BE49-F238E27FC236}">
                    <a16:creationId xmlns:a16="http://schemas.microsoft.com/office/drawing/2014/main" id="{F73913F2-226F-476E-BCF6-F1B41CD5C286}"/>
                  </a:ext>
                </a:extLst>
              </p:cNvPr>
              <p:cNvSpPr>
                <a:spLocks noChangeArrowheads="1"/>
              </p:cNvSpPr>
              <p:nvPr/>
            </p:nvSpPr>
            <p:spPr bwMode="auto">
              <a:xfrm>
                <a:off x="418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0" name="Oval 2648">
                <a:extLst>
                  <a:ext uri="{FF2B5EF4-FFF2-40B4-BE49-F238E27FC236}">
                    <a16:creationId xmlns:a16="http://schemas.microsoft.com/office/drawing/2014/main" id="{EDDB83B2-8958-4CAF-A302-D39D543FC59A}"/>
                  </a:ext>
                </a:extLst>
              </p:cNvPr>
              <p:cNvSpPr>
                <a:spLocks noChangeArrowheads="1"/>
              </p:cNvSpPr>
              <p:nvPr/>
            </p:nvSpPr>
            <p:spPr bwMode="auto">
              <a:xfrm>
                <a:off x="4124"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1" name="Oval 2649">
                <a:extLst>
                  <a:ext uri="{FF2B5EF4-FFF2-40B4-BE49-F238E27FC236}">
                    <a16:creationId xmlns:a16="http://schemas.microsoft.com/office/drawing/2014/main" id="{08B16074-9D42-49F1-8868-E4B385F0E95A}"/>
                  </a:ext>
                </a:extLst>
              </p:cNvPr>
              <p:cNvSpPr>
                <a:spLocks noChangeArrowheads="1"/>
              </p:cNvSpPr>
              <p:nvPr/>
            </p:nvSpPr>
            <p:spPr bwMode="auto">
              <a:xfrm>
                <a:off x="42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2" name="Oval 2650">
                <a:extLst>
                  <a:ext uri="{FF2B5EF4-FFF2-40B4-BE49-F238E27FC236}">
                    <a16:creationId xmlns:a16="http://schemas.microsoft.com/office/drawing/2014/main" id="{E87D9862-2E76-4395-B345-2BF5B9023CEF}"/>
                  </a:ext>
                </a:extLst>
              </p:cNvPr>
              <p:cNvSpPr>
                <a:spLocks noChangeArrowheads="1"/>
              </p:cNvSpPr>
              <p:nvPr/>
            </p:nvSpPr>
            <p:spPr bwMode="auto">
              <a:xfrm>
                <a:off x="4184"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3" name="Oval 2651">
                <a:extLst>
                  <a:ext uri="{FF2B5EF4-FFF2-40B4-BE49-F238E27FC236}">
                    <a16:creationId xmlns:a16="http://schemas.microsoft.com/office/drawing/2014/main" id="{AE344BE4-BA76-45BD-B022-C6B40AFB231B}"/>
                  </a:ext>
                </a:extLst>
              </p:cNvPr>
              <p:cNvSpPr>
                <a:spLocks noChangeArrowheads="1"/>
              </p:cNvSpPr>
              <p:nvPr/>
            </p:nvSpPr>
            <p:spPr bwMode="auto">
              <a:xfrm>
                <a:off x="436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4" name="Oval 2652">
                <a:extLst>
                  <a:ext uri="{FF2B5EF4-FFF2-40B4-BE49-F238E27FC236}">
                    <a16:creationId xmlns:a16="http://schemas.microsoft.com/office/drawing/2014/main" id="{A1B47822-6F26-4231-9181-566D153CBB6B}"/>
                  </a:ext>
                </a:extLst>
              </p:cNvPr>
              <p:cNvSpPr>
                <a:spLocks noChangeArrowheads="1"/>
              </p:cNvSpPr>
              <p:nvPr/>
            </p:nvSpPr>
            <p:spPr bwMode="auto">
              <a:xfrm>
                <a:off x="439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5" name="Oval 2653">
                <a:extLst>
                  <a:ext uri="{FF2B5EF4-FFF2-40B4-BE49-F238E27FC236}">
                    <a16:creationId xmlns:a16="http://schemas.microsoft.com/office/drawing/2014/main" id="{9B074F1B-6F31-4A50-B87A-AF4D03717367}"/>
                  </a:ext>
                </a:extLst>
              </p:cNvPr>
              <p:cNvSpPr>
                <a:spLocks noChangeArrowheads="1"/>
              </p:cNvSpPr>
              <p:nvPr/>
            </p:nvSpPr>
            <p:spPr bwMode="auto">
              <a:xfrm>
                <a:off x="436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6" name="Oval 2654">
                <a:extLst>
                  <a:ext uri="{FF2B5EF4-FFF2-40B4-BE49-F238E27FC236}">
                    <a16:creationId xmlns:a16="http://schemas.microsoft.com/office/drawing/2014/main" id="{B8433C76-BD7C-4233-939F-0DE3F5C4B05E}"/>
                  </a:ext>
                </a:extLst>
              </p:cNvPr>
              <p:cNvSpPr>
                <a:spLocks noChangeArrowheads="1"/>
              </p:cNvSpPr>
              <p:nvPr/>
            </p:nvSpPr>
            <p:spPr bwMode="auto">
              <a:xfrm>
                <a:off x="4394"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7" name="Oval 2655">
                <a:extLst>
                  <a:ext uri="{FF2B5EF4-FFF2-40B4-BE49-F238E27FC236}">
                    <a16:creationId xmlns:a16="http://schemas.microsoft.com/office/drawing/2014/main" id="{7A8330DE-05A7-4312-AA7E-A42AD66EC3D9}"/>
                  </a:ext>
                </a:extLst>
              </p:cNvPr>
              <p:cNvSpPr>
                <a:spLocks noChangeArrowheads="1"/>
              </p:cNvSpPr>
              <p:nvPr/>
            </p:nvSpPr>
            <p:spPr bwMode="auto">
              <a:xfrm>
                <a:off x="433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8" name="Oval 2656">
                <a:extLst>
                  <a:ext uri="{FF2B5EF4-FFF2-40B4-BE49-F238E27FC236}">
                    <a16:creationId xmlns:a16="http://schemas.microsoft.com/office/drawing/2014/main" id="{60E9E898-781C-4F7A-9C7C-64A8590AB90C}"/>
                  </a:ext>
                </a:extLst>
              </p:cNvPr>
              <p:cNvSpPr>
                <a:spLocks noChangeArrowheads="1"/>
              </p:cNvSpPr>
              <p:nvPr/>
            </p:nvSpPr>
            <p:spPr bwMode="auto">
              <a:xfrm>
                <a:off x="436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89" name="Oval 2657">
                <a:extLst>
                  <a:ext uri="{FF2B5EF4-FFF2-40B4-BE49-F238E27FC236}">
                    <a16:creationId xmlns:a16="http://schemas.microsoft.com/office/drawing/2014/main" id="{530361D2-70FF-4037-930D-B80EDEB56B8E}"/>
                  </a:ext>
                </a:extLst>
              </p:cNvPr>
              <p:cNvSpPr>
                <a:spLocks noChangeArrowheads="1"/>
              </p:cNvSpPr>
              <p:nvPr/>
            </p:nvSpPr>
            <p:spPr bwMode="auto">
              <a:xfrm>
                <a:off x="439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0" name="Oval 2658">
                <a:extLst>
                  <a:ext uri="{FF2B5EF4-FFF2-40B4-BE49-F238E27FC236}">
                    <a16:creationId xmlns:a16="http://schemas.microsoft.com/office/drawing/2014/main" id="{024C4F06-05FD-4C8B-946A-D0C5B974FA56}"/>
                  </a:ext>
                </a:extLst>
              </p:cNvPr>
              <p:cNvSpPr>
                <a:spLocks noChangeArrowheads="1"/>
              </p:cNvSpPr>
              <p:nvPr/>
            </p:nvSpPr>
            <p:spPr bwMode="auto">
              <a:xfrm>
                <a:off x="421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1" name="Oval 2659">
                <a:extLst>
                  <a:ext uri="{FF2B5EF4-FFF2-40B4-BE49-F238E27FC236}">
                    <a16:creationId xmlns:a16="http://schemas.microsoft.com/office/drawing/2014/main" id="{EB0D716B-BE64-40EF-BA73-54DD70BF3BA0}"/>
                  </a:ext>
                </a:extLst>
              </p:cNvPr>
              <p:cNvSpPr>
                <a:spLocks noChangeArrowheads="1"/>
              </p:cNvSpPr>
              <p:nvPr/>
            </p:nvSpPr>
            <p:spPr bwMode="auto">
              <a:xfrm>
                <a:off x="424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2" name="Oval 2660">
                <a:extLst>
                  <a:ext uri="{FF2B5EF4-FFF2-40B4-BE49-F238E27FC236}">
                    <a16:creationId xmlns:a16="http://schemas.microsoft.com/office/drawing/2014/main" id="{A47BBE90-0B9E-4191-A16C-613BCE4C0759}"/>
                  </a:ext>
                </a:extLst>
              </p:cNvPr>
              <p:cNvSpPr>
                <a:spLocks noChangeArrowheads="1"/>
              </p:cNvSpPr>
              <p:nvPr/>
            </p:nvSpPr>
            <p:spPr bwMode="auto">
              <a:xfrm>
                <a:off x="412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3" name="Oval 2661">
                <a:extLst>
                  <a:ext uri="{FF2B5EF4-FFF2-40B4-BE49-F238E27FC236}">
                    <a16:creationId xmlns:a16="http://schemas.microsoft.com/office/drawing/2014/main" id="{40F7FA1F-F023-43FC-9249-C469DD2ACBC2}"/>
                  </a:ext>
                </a:extLst>
              </p:cNvPr>
              <p:cNvSpPr>
                <a:spLocks noChangeArrowheads="1"/>
              </p:cNvSpPr>
              <p:nvPr/>
            </p:nvSpPr>
            <p:spPr bwMode="auto">
              <a:xfrm>
                <a:off x="409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4" name="Oval 2662">
                <a:extLst>
                  <a:ext uri="{FF2B5EF4-FFF2-40B4-BE49-F238E27FC236}">
                    <a16:creationId xmlns:a16="http://schemas.microsoft.com/office/drawing/2014/main" id="{5CFEA131-0FA1-444F-95C0-9D20F46DBAB2}"/>
                  </a:ext>
                </a:extLst>
              </p:cNvPr>
              <p:cNvSpPr>
                <a:spLocks noChangeArrowheads="1"/>
              </p:cNvSpPr>
              <p:nvPr/>
            </p:nvSpPr>
            <p:spPr bwMode="auto">
              <a:xfrm>
                <a:off x="4124"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5" name="Oval 2663">
                <a:extLst>
                  <a:ext uri="{FF2B5EF4-FFF2-40B4-BE49-F238E27FC236}">
                    <a16:creationId xmlns:a16="http://schemas.microsoft.com/office/drawing/2014/main" id="{A10B7911-72E0-434E-8D5D-60E1EF40C73F}"/>
                  </a:ext>
                </a:extLst>
              </p:cNvPr>
              <p:cNvSpPr>
                <a:spLocks noChangeArrowheads="1"/>
              </p:cNvSpPr>
              <p:nvPr/>
            </p:nvSpPr>
            <p:spPr bwMode="auto">
              <a:xfrm>
                <a:off x="403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6" name="Oval 2664">
                <a:extLst>
                  <a:ext uri="{FF2B5EF4-FFF2-40B4-BE49-F238E27FC236}">
                    <a16:creationId xmlns:a16="http://schemas.microsoft.com/office/drawing/2014/main" id="{C5A090A9-60FB-4E89-8EB7-8F0CD301C0FE}"/>
                  </a:ext>
                </a:extLst>
              </p:cNvPr>
              <p:cNvSpPr>
                <a:spLocks noChangeArrowheads="1"/>
              </p:cNvSpPr>
              <p:nvPr/>
            </p:nvSpPr>
            <p:spPr bwMode="auto">
              <a:xfrm>
                <a:off x="4064"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7" name="Oval 2665">
                <a:extLst>
                  <a:ext uri="{FF2B5EF4-FFF2-40B4-BE49-F238E27FC236}">
                    <a16:creationId xmlns:a16="http://schemas.microsoft.com/office/drawing/2014/main" id="{BF5106A0-7176-42C0-BC52-2E7D9EE2911B}"/>
                  </a:ext>
                </a:extLst>
              </p:cNvPr>
              <p:cNvSpPr>
                <a:spLocks noChangeArrowheads="1"/>
              </p:cNvSpPr>
              <p:nvPr/>
            </p:nvSpPr>
            <p:spPr bwMode="auto">
              <a:xfrm>
                <a:off x="394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8" name="Oval 2666">
                <a:extLst>
                  <a:ext uri="{FF2B5EF4-FFF2-40B4-BE49-F238E27FC236}">
                    <a16:creationId xmlns:a16="http://schemas.microsoft.com/office/drawing/2014/main" id="{D22AE656-E4C8-4CEA-849F-379A9775CC1E}"/>
                  </a:ext>
                </a:extLst>
              </p:cNvPr>
              <p:cNvSpPr>
                <a:spLocks noChangeArrowheads="1"/>
              </p:cNvSpPr>
              <p:nvPr/>
            </p:nvSpPr>
            <p:spPr bwMode="auto">
              <a:xfrm>
                <a:off x="382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99" name="Oval 2667">
                <a:extLst>
                  <a:ext uri="{FF2B5EF4-FFF2-40B4-BE49-F238E27FC236}">
                    <a16:creationId xmlns:a16="http://schemas.microsoft.com/office/drawing/2014/main" id="{7903CC69-8160-48B4-A295-D401E01E4619}"/>
                  </a:ext>
                </a:extLst>
              </p:cNvPr>
              <p:cNvSpPr>
                <a:spLocks noChangeArrowheads="1"/>
              </p:cNvSpPr>
              <p:nvPr/>
            </p:nvSpPr>
            <p:spPr bwMode="auto">
              <a:xfrm>
                <a:off x="36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0" name="Oval 2668">
                <a:extLst>
                  <a:ext uri="{FF2B5EF4-FFF2-40B4-BE49-F238E27FC236}">
                    <a16:creationId xmlns:a16="http://schemas.microsoft.com/office/drawing/2014/main" id="{5CB8CAE0-3155-4CDE-AF89-432A3395A6DD}"/>
                  </a:ext>
                </a:extLst>
              </p:cNvPr>
              <p:cNvSpPr>
                <a:spLocks noChangeArrowheads="1"/>
              </p:cNvSpPr>
              <p:nvPr/>
            </p:nvSpPr>
            <p:spPr bwMode="auto">
              <a:xfrm>
                <a:off x="367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1" name="Oval 2669">
                <a:extLst>
                  <a:ext uri="{FF2B5EF4-FFF2-40B4-BE49-F238E27FC236}">
                    <a16:creationId xmlns:a16="http://schemas.microsoft.com/office/drawing/2014/main" id="{686A4AED-F176-4C16-B9EF-1497338E67D9}"/>
                  </a:ext>
                </a:extLst>
              </p:cNvPr>
              <p:cNvSpPr>
                <a:spLocks noChangeArrowheads="1"/>
              </p:cNvSpPr>
              <p:nvPr/>
            </p:nvSpPr>
            <p:spPr bwMode="auto">
              <a:xfrm>
                <a:off x="379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2" name="Oval 2670">
                <a:extLst>
                  <a:ext uri="{FF2B5EF4-FFF2-40B4-BE49-F238E27FC236}">
                    <a16:creationId xmlns:a16="http://schemas.microsoft.com/office/drawing/2014/main" id="{A8B6ED46-D7BA-4B42-BC00-41B241AAE502}"/>
                  </a:ext>
                </a:extLst>
              </p:cNvPr>
              <p:cNvSpPr>
                <a:spLocks noChangeArrowheads="1"/>
              </p:cNvSpPr>
              <p:nvPr/>
            </p:nvSpPr>
            <p:spPr bwMode="auto">
              <a:xfrm>
                <a:off x="3735" y="3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3" name="Oval 2671">
                <a:extLst>
                  <a:ext uri="{FF2B5EF4-FFF2-40B4-BE49-F238E27FC236}">
                    <a16:creationId xmlns:a16="http://schemas.microsoft.com/office/drawing/2014/main" id="{A682349D-9FF7-4CF8-81E1-F90983A50FB4}"/>
                  </a:ext>
                </a:extLst>
              </p:cNvPr>
              <p:cNvSpPr>
                <a:spLocks noChangeArrowheads="1"/>
              </p:cNvSpPr>
              <p:nvPr/>
            </p:nvSpPr>
            <p:spPr bwMode="auto">
              <a:xfrm>
                <a:off x="376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4" name="Oval 2672">
                <a:extLst>
                  <a:ext uri="{FF2B5EF4-FFF2-40B4-BE49-F238E27FC236}">
                    <a16:creationId xmlns:a16="http://schemas.microsoft.com/office/drawing/2014/main" id="{DF949301-1BCF-4F79-9DB2-21EDBACD8323}"/>
                  </a:ext>
                </a:extLst>
              </p:cNvPr>
              <p:cNvSpPr>
                <a:spLocks noChangeArrowheads="1"/>
              </p:cNvSpPr>
              <p:nvPr/>
            </p:nvSpPr>
            <p:spPr bwMode="auto">
              <a:xfrm>
                <a:off x="379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5" name="Oval 2673">
                <a:extLst>
                  <a:ext uri="{FF2B5EF4-FFF2-40B4-BE49-F238E27FC236}">
                    <a16:creationId xmlns:a16="http://schemas.microsoft.com/office/drawing/2014/main" id="{2D33710A-E220-4C86-BCF7-6E6CFCC1C2C9}"/>
                  </a:ext>
                </a:extLst>
              </p:cNvPr>
              <p:cNvSpPr>
                <a:spLocks noChangeArrowheads="1"/>
              </p:cNvSpPr>
              <p:nvPr/>
            </p:nvSpPr>
            <p:spPr bwMode="auto">
              <a:xfrm>
                <a:off x="3735" y="7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6" name="Oval 2674">
                <a:extLst>
                  <a:ext uri="{FF2B5EF4-FFF2-40B4-BE49-F238E27FC236}">
                    <a16:creationId xmlns:a16="http://schemas.microsoft.com/office/drawing/2014/main" id="{0D861A3B-47EB-42E0-AD10-35A004568034}"/>
                  </a:ext>
                </a:extLst>
              </p:cNvPr>
              <p:cNvSpPr>
                <a:spLocks noChangeArrowheads="1"/>
              </p:cNvSpPr>
              <p:nvPr/>
            </p:nvSpPr>
            <p:spPr bwMode="auto">
              <a:xfrm>
                <a:off x="36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7" name="Oval 2675">
                <a:extLst>
                  <a:ext uri="{FF2B5EF4-FFF2-40B4-BE49-F238E27FC236}">
                    <a16:creationId xmlns:a16="http://schemas.microsoft.com/office/drawing/2014/main" id="{BAB74722-B64C-4529-8B3D-64617D12E07C}"/>
                  </a:ext>
                </a:extLst>
              </p:cNvPr>
              <p:cNvSpPr>
                <a:spLocks noChangeArrowheads="1"/>
              </p:cNvSpPr>
              <p:nvPr/>
            </p:nvSpPr>
            <p:spPr bwMode="auto">
              <a:xfrm>
                <a:off x="352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8" name="Oval 2676">
                <a:extLst>
                  <a:ext uri="{FF2B5EF4-FFF2-40B4-BE49-F238E27FC236}">
                    <a16:creationId xmlns:a16="http://schemas.microsoft.com/office/drawing/2014/main" id="{94710984-0AC4-470B-8365-A565CEEE68BB}"/>
                  </a:ext>
                </a:extLst>
              </p:cNvPr>
              <p:cNvSpPr>
                <a:spLocks noChangeArrowheads="1"/>
              </p:cNvSpPr>
              <p:nvPr/>
            </p:nvSpPr>
            <p:spPr bwMode="auto">
              <a:xfrm>
                <a:off x="343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09" name="Oval 2677">
                <a:extLst>
                  <a:ext uri="{FF2B5EF4-FFF2-40B4-BE49-F238E27FC236}">
                    <a16:creationId xmlns:a16="http://schemas.microsoft.com/office/drawing/2014/main" id="{4F34F260-94FC-4EE0-AA30-B7E6443D87DB}"/>
                  </a:ext>
                </a:extLst>
              </p:cNvPr>
              <p:cNvSpPr>
                <a:spLocks noChangeArrowheads="1"/>
              </p:cNvSpPr>
              <p:nvPr/>
            </p:nvSpPr>
            <p:spPr bwMode="auto">
              <a:xfrm>
                <a:off x="331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0" name="Oval 2678">
                <a:extLst>
                  <a:ext uri="{FF2B5EF4-FFF2-40B4-BE49-F238E27FC236}">
                    <a16:creationId xmlns:a16="http://schemas.microsoft.com/office/drawing/2014/main" id="{A6ECC631-000B-43CD-A330-07399A387F49}"/>
                  </a:ext>
                </a:extLst>
              </p:cNvPr>
              <p:cNvSpPr>
                <a:spLocks noChangeArrowheads="1"/>
              </p:cNvSpPr>
              <p:nvPr/>
            </p:nvSpPr>
            <p:spPr bwMode="auto">
              <a:xfrm>
                <a:off x="325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1" name="Oval 2679">
                <a:extLst>
                  <a:ext uri="{FF2B5EF4-FFF2-40B4-BE49-F238E27FC236}">
                    <a16:creationId xmlns:a16="http://schemas.microsoft.com/office/drawing/2014/main" id="{4AB5D541-6634-472A-816A-CE6820500D73}"/>
                  </a:ext>
                </a:extLst>
              </p:cNvPr>
              <p:cNvSpPr>
                <a:spLocks noChangeArrowheads="1"/>
              </p:cNvSpPr>
              <p:nvPr/>
            </p:nvSpPr>
            <p:spPr bwMode="auto">
              <a:xfrm>
                <a:off x="337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2" name="Oval 2680">
                <a:extLst>
                  <a:ext uri="{FF2B5EF4-FFF2-40B4-BE49-F238E27FC236}">
                    <a16:creationId xmlns:a16="http://schemas.microsoft.com/office/drawing/2014/main" id="{5736E07B-DB1F-4C5A-82A8-F989E1AF1DDF}"/>
                  </a:ext>
                </a:extLst>
              </p:cNvPr>
              <p:cNvSpPr>
                <a:spLocks noChangeArrowheads="1"/>
              </p:cNvSpPr>
              <p:nvPr/>
            </p:nvSpPr>
            <p:spPr bwMode="auto">
              <a:xfrm>
                <a:off x="367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3" name="Oval 2681">
                <a:extLst>
                  <a:ext uri="{FF2B5EF4-FFF2-40B4-BE49-F238E27FC236}">
                    <a16:creationId xmlns:a16="http://schemas.microsoft.com/office/drawing/2014/main" id="{C0B0D106-0864-4E43-B0BB-F4B89C77C47E}"/>
                  </a:ext>
                </a:extLst>
              </p:cNvPr>
              <p:cNvSpPr>
                <a:spLocks noChangeArrowheads="1"/>
              </p:cNvSpPr>
              <p:nvPr/>
            </p:nvSpPr>
            <p:spPr bwMode="auto">
              <a:xfrm>
                <a:off x="349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4" name="Oval 2682">
                <a:extLst>
                  <a:ext uri="{FF2B5EF4-FFF2-40B4-BE49-F238E27FC236}">
                    <a16:creationId xmlns:a16="http://schemas.microsoft.com/office/drawing/2014/main" id="{79519395-F075-4D71-95F8-2FF6206E029A}"/>
                  </a:ext>
                </a:extLst>
              </p:cNvPr>
              <p:cNvSpPr>
                <a:spLocks noChangeArrowheads="1"/>
              </p:cNvSpPr>
              <p:nvPr/>
            </p:nvSpPr>
            <p:spPr bwMode="auto">
              <a:xfrm>
                <a:off x="35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5" name="Oval 2683">
                <a:extLst>
                  <a:ext uri="{FF2B5EF4-FFF2-40B4-BE49-F238E27FC236}">
                    <a16:creationId xmlns:a16="http://schemas.microsoft.com/office/drawing/2014/main" id="{8CF333F5-367C-47AA-8CEE-45783AE55296}"/>
                  </a:ext>
                </a:extLst>
              </p:cNvPr>
              <p:cNvSpPr>
                <a:spLocks noChangeArrowheads="1"/>
              </p:cNvSpPr>
              <p:nvPr/>
            </p:nvSpPr>
            <p:spPr bwMode="auto">
              <a:xfrm>
                <a:off x="343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6" name="Oval 2684">
                <a:extLst>
                  <a:ext uri="{FF2B5EF4-FFF2-40B4-BE49-F238E27FC236}">
                    <a16:creationId xmlns:a16="http://schemas.microsoft.com/office/drawing/2014/main" id="{1E788334-76B8-4BF5-BB17-4EDA9DFBA949}"/>
                  </a:ext>
                </a:extLst>
              </p:cNvPr>
              <p:cNvSpPr>
                <a:spLocks noChangeArrowheads="1"/>
              </p:cNvSpPr>
              <p:nvPr/>
            </p:nvSpPr>
            <p:spPr bwMode="auto">
              <a:xfrm>
                <a:off x="364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7" name="Oval 2685">
                <a:extLst>
                  <a:ext uri="{FF2B5EF4-FFF2-40B4-BE49-F238E27FC236}">
                    <a16:creationId xmlns:a16="http://schemas.microsoft.com/office/drawing/2014/main" id="{068BB236-3D04-4F97-98E7-2B61D8914B6D}"/>
                  </a:ext>
                </a:extLst>
              </p:cNvPr>
              <p:cNvSpPr>
                <a:spLocks noChangeArrowheads="1"/>
              </p:cNvSpPr>
              <p:nvPr/>
            </p:nvSpPr>
            <p:spPr bwMode="auto">
              <a:xfrm>
                <a:off x="355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8" name="Oval 2686">
                <a:extLst>
                  <a:ext uri="{FF2B5EF4-FFF2-40B4-BE49-F238E27FC236}">
                    <a16:creationId xmlns:a16="http://schemas.microsoft.com/office/drawing/2014/main" id="{6C73385C-9C20-42B4-A2E4-8120A059B2E2}"/>
                  </a:ext>
                </a:extLst>
              </p:cNvPr>
              <p:cNvSpPr>
                <a:spLocks noChangeArrowheads="1"/>
              </p:cNvSpPr>
              <p:nvPr/>
            </p:nvSpPr>
            <p:spPr bwMode="auto">
              <a:xfrm>
                <a:off x="34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19" name="Oval 2687">
                <a:extLst>
                  <a:ext uri="{FF2B5EF4-FFF2-40B4-BE49-F238E27FC236}">
                    <a16:creationId xmlns:a16="http://schemas.microsoft.com/office/drawing/2014/main" id="{87EB6490-0844-4D77-8978-2B7141807297}"/>
                  </a:ext>
                </a:extLst>
              </p:cNvPr>
              <p:cNvSpPr>
                <a:spLocks noChangeArrowheads="1"/>
              </p:cNvSpPr>
              <p:nvPr/>
            </p:nvSpPr>
            <p:spPr bwMode="auto">
              <a:xfrm>
                <a:off x="31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0" name="Oval 2688">
                <a:extLst>
                  <a:ext uri="{FF2B5EF4-FFF2-40B4-BE49-F238E27FC236}">
                    <a16:creationId xmlns:a16="http://schemas.microsoft.com/office/drawing/2014/main" id="{331DB1C9-A427-4381-8973-EC980225D8B8}"/>
                  </a:ext>
                </a:extLst>
              </p:cNvPr>
              <p:cNvSpPr>
                <a:spLocks noChangeArrowheads="1"/>
              </p:cNvSpPr>
              <p:nvPr/>
            </p:nvSpPr>
            <p:spPr bwMode="auto">
              <a:xfrm>
                <a:off x="304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1" name="Oval 2689">
                <a:extLst>
                  <a:ext uri="{FF2B5EF4-FFF2-40B4-BE49-F238E27FC236}">
                    <a16:creationId xmlns:a16="http://schemas.microsoft.com/office/drawing/2014/main" id="{8D73FBE8-4304-4307-97D6-9A9407D4CF24}"/>
                  </a:ext>
                </a:extLst>
              </p:cNvPr>
              <p:cNvSpPr>
                <a:spLocks noChangeArrowheads="1"/>
              </p:cNvSpPr>
              <p:nvPr/>
            </p:nvSpPr>
            <p:spPr bwMode="auto">
              <a:xfrm>
                <a:off x="29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2" name="Oval 2690">
                <a:extLst>
                  <a:ext uri="{FF2B5EF4-FFF2-40B4-BE49-F238E27FC236}">
                    <a16:creationId xmlns:a16="http://schemas.microsoft.com/office/drawing/2014/main" id="{85C393DC-D00B-4CC3-948E-18D4983967AD}"/>
                  </a:ext>
                </a:extLst>
              </p:cNvPr>
              <p:cNvSpPr>
                <a:spLocks noChangeArrowheads="1"/>
              </p:cNvSpPr>
              <p:nvPr/>
            </p:nvSpPr>
            <p:spPr bwMode="auto">
              <a:xfrm>
                <a:off x="30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3" name="Oval 2691">
                <a:extLst>
                  <a:ext uri="{FF2B5EF4-FFF2-40B4-BE49-F238E27FC236}">
                    <a16:creationId xmlns:a16="http://schemas.microsoft.com/office/drawing/2014/main" id="{CD41E419-690C-4ADA-B7F3-8A889B3CE415}"/>
                  </a:ext>
                </a:extLst>
              </p:cNvPr>
              <p:cNvSpPr>
                <a:spLocks noChangeArrowheads="1"/>
              </p:cNvSpPr>
              <p:nvPr/>
            </p:nvSpPr>
            <p:spPr bwMode="auto">
              <a:xfrm>
                <a:off x="316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4" name="Oval 2692">
                <a:extLst>
                  <a:ext uri="{FF2B5EF4-FFF2-40B4-BE49-F238E27FC236}">
                    <a16:creationId xmlns:a16="http://schemas.microsoft.com/office/drawing/2014/main" id="{66F596D3-23BA-467C-814F-C4C4A9497513}"/>
                  </a:ext>
                </a:extLst>
              </p:cNvPr>
              <p:cNvSpPr>
                <a:spLocks noChangeArrowheads="1"/>
              </p:cNvSpPr>
              <p:nvPr/>
            </p:nvSpPr>
            <p:spPr bwMode="auto">
              <a:xfrm>
                <a:off x="334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5" name="Oval 2693">
                <a:extLst>
                  <a:ext uri="{FF2B5EF4-FFF2-40B4-BE49-F238E27FC236}">
                    <a16:creationId xmlns:a16="http://schemas.microsoft.com/office/drawing/2014/main" id="{3B758090-066F-4E4F-9869-ECB465021ED5}"/>
                  </a:ext>
                </a:extLst>
              </p:cNvPr>
              <p:cNvSpPr>
                <a:spLocks noChangeArrowheads="1"/>
              </p:cNvSpPr>
              <p:nvPr/>
            </p:nvSpPr>
            <p:spPr bwMode="auto">
              <a:xfrm>
                <a:off x="31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6" name="Oval 2694">
                <a:extLst>
                  <a:ext uri="{FF2B5EF4-FFF2-40B4-BE49-F238E27FC236}">
                    <a16:creationId xmlns:a16="http://schemas.microsoft.com/office/drawing/2014/main" id="{EE3CDC2D-4965-4EEC-B415-12E5E678C5B5}"/>
                  </a:ext>
                </a:extLst>
              </p:cNvPr>
              <p:cNvSpPr>
                <a:spLocks noChangeArrowheads="1"/>
              </p:cNvSpPr>
              <p:nvPr/>
            </p:nvSpPr>
            <p:spPr bwMode="auto">
              <a:xfrm>
                <a:off x="307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7" name="Oval 2695">
                <a:extLst>
                  <a:ext uri="{FF2B5EF4-FFF2-40B4-BE49-F238E27FC236}">
                    <a16:creationId xmlns:a16="http://schemas.microsoft.com/office/drawing/2014/main" id="{82DC530B-8570-4E50-9648-BAC4BB695537}"/>
                  </a:ext>
                </a:extLst>
              </p:cNvPr>
              <p:cNvSpPr>
                <a:spLocks noChangeArrowheads="1"/>
              </p:cNvSpPr>
              <p:nvPr/>
            </p:nvSpPr>
            <p:spPr bwMode="auto">
              <a:xfrm>
                <a:off x="30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8" name="Oval 2696">
                <a:extLst>
                  <a:ext uri="{FF2B5EF4-FFF2-40B4-BE49-F238E27FC236}">
                    <a16:creationId xmlns:a16="http://schemas.microsoft.com/office/drawing/2014/main" id="{9EF09D86-D091-4F27-BEE9-EFCF1117B198}"/>
                  </a:ext>
                </a:extLst>
              </p:cNvPr>
              <p:cNvSpPr>
                <a:spLocks noChangeArrowheads="1"/>
              </p:cNvSpPr>
              <p:nvPr/>
            </p:nvSpPr>
            <p:spPr bwMode="auto">
              <a:xfrm>
                <a:off x="292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29" name="Oval 2697">
                <a:extLst>
                  <a:ext uri="{FF2B5EF4-FFF2-40B4-BE49-F238E27FC236}">
                    <a16:creationId xmlns:a16="http://schemas.microsoft.com/office/drawing/2014/main" id="{D63FC409-9AEE-4099-8334-4BC5A9DC074D}"/>
                  </a:ext>
                </a:extLst>
              </p:cNvPr>
              <p:cNvSpPr>
                <a:spLocks noChangeArrowheads="1"/>
              </p:cNvSpPr>
              <p:nvPr/>
            </p:nvSpPr>
            <p:spPr bwMode="auto">
              <a:xfrm>
                <a:off x="298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0" name="Oval 2698">
                <a:extLst>
                  <a:ext uri="{FF2B5EF4-FFF2-40B4-BE49-F238E27FC236}">
                    <a16:creationId xmlns:a16="http://schemas.microsoft.com/office/drawing/2014/main" id="{67F414D9-4E65-47E6-9264-4B5806CAFDD0}"/>
                  </a:ext>
                </a:extLst>
              </p:cNvPr>
              <p:cNvSpPr>
                <a:spLocks noChangeArrowheads="1"/>
              </p:cNvSpPr>
              <p:nvPr/>
            </p:nvSpPr>
            <p:spPr bwMode="auto">
              <a:xfrm>
                <a:off x="316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1" name="Oval 2699">
                <a:extLst>
                  <a:ext uri="{FF2B5EF4-FFF2-40B4-BE49-F238E27FC236}">
                    <a16:creationId xmlns:a16="http://schemas.microsoft.com/office/drawing/2014/main" id="{921B55F4-667C-48CE-8C28-E1914A230E92}"/>
                  </a:ext>
                </a:extLst>
              </p:cNvPr>
              <p:cNvSpPr>
                <a:spLocks noChangeArrowheads="1"/>
              </p:cNvSpPr>
              <p:nvPr/>
            </p:nvSpPr>
            <p:spPr bwMode="auto">
              <a:xfrm>
                <a:off x="316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2" name="Oval 2700">
                <a:extLst>
                  <a:ext uri="{FF2B5EF4-FFF2-40B4-BE49-F238E27FC236}">
                    <a16:creationId xmlns:a16="http://schemas.microsoft.com/office/drawing/2014/main" id="{5F877A21-1D24-4498-B4B0-81DADEA09F1E}"/>
                  </a:ext>
                </a:extLst>
              </p:cNvPr>
              <p:cNvSpPr>
                <a:spLocks noChangeArrowheads="1"/>
              </p:cNvSpPr>
              <p:nvPr/>
            </p:nvSpPr>
            <p:spPr bwMode="auto">
              <a:xfrm>
                <a:off x="316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3" name="Oval 2701">
                <a:extLst>
                  <a:ext uri="{FF2B5EF4-FFF2-40B4-BE49-F238E27FC236}">
                    <a16:creationId xmlns:a16="http://schemas.microsoft.com/office/drawing/2014/main" id="{BAA5E2E3-2C7C-4C50-8448-2E3BC3AA83D1}"/>
                  </a:ext>
                </a:extLst>
              </p:cNvPr>
              <p:cNvSpPr>
                <a:spLocks noChangeArrowheads="1"/>
              </p:cNvSpPr>
              <p:nvPr/>
            </p:nvSpPr>
            <p:spPr bwMode="auto">
              <a:xfrm>
                <a:off x="316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4" name="Oval 2702">
                <a:extLst>
                  <a:ext uri="{FF2B5EF4-FFF2-40B4-BE49-F238E27FC236}">
                    <a16:creationId xmlns:a16="http://schemas.microsoft.com/office/drawing/2014/main" id="{56459B41-A4D6-4DCD-B65E-253F6969F617}"/>
                  </a:ext>
                </a:extLst>
              </p:cNvPr>
              <p:cNvSpPr>
                <a:spLocks noChangeArrowheads="1"/>
              </p:cNvSpPr>
              <p:nvPr/>
            </p:nvSpPr>
            <p:spPr bwMode="auto">
              <a:xfrm>
                <a:off x="29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5" name="Oval 2703">
                <a:extLst>
                  <a:ext uri="{FF2B5EF4-FFF2-40B4-BE49-F238E27FC236}">
                    <a16:creationId xmlns:a16="http://schemas.microsoft.com/office/drawing/2014/main" id="{32F17307-57E1-4DD5-8471-F228D5EA7501}"/>
                  </a:ext>
                </a:extLst>
              </p:cNvPr>
              <p:cNvSpPr>
                <a:spLocks noChangeArrowheads="1"/>
              </p:cNvSpPr>
              <p:nvPr/>
            </p:nvSpPr>
            <p:spPr bwMode="auto">
              <a:xfrm>
                <a:off x="289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6" name="Oval 2704">
                <a:extLst>
                  <a:ext uri="{FF2B5EF4-FFF2-40B4-BE49-F238E27FC236}">
                    <a16:creationId xmlns:a16="http://schemas.microsoft.com/office/drawing/2014/main" id="{F11161E6-220F-4A1F-9F79-CE9CFF487621}"/>
                  </a:ext>
                </a:extLst>
              </p:cNvPr>
              <p:cNvSpPr>
                <a:spLocks noChangeArrowheads="1"/>
              </p:cNvSpPr>
              <p:nvPr/>
            </p:nvSpPr>
            <p:spPr bwMode="auto">
              <a:xfrm>
                <a:off x="289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7" name="Oval 2705">
                <a:extLst>
                  <a:ext uri="{FF2B5EF4-FFF2-40B4-BE49-F238E27FC236}">
                    <a16:creationId xmlns:a16="http://schemas.microsoft.com/office/drawing/2014/main" id="{BA0142B8-AABC-4199-8335-81B48639C892}"/>
                  </a:ext>
                </a:extLst>
              </p:cNvPr>
              <p:cNvSpPr>
                <a:spLocks noChangeArrowheads="1"/>
              </p:cNvSpPr>
              <p:nvPr/>
            </p:nvSpPr>
            <p:spPr bwMode="auto">
              <a:xfrm>
                <a:off x="289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8" name="Oval 2706">
                <a:extLst>
                  <a:ext uri="{FF2B5EF4-FFF2-40B4-BE49-F238E27FC236}">
                    <a16:creationId xmlns:a16="http://schemas.microsoft.com/office/drawing/2014/main" id="{A40587B3-3225-4425-96FB-BD8CF1DFD283}"/>
                  </a:ext>
                </a:extLst>
              </p:cNvPr>
              <p:cNvSpPr>
                <a:spLocks noChangeArrowheads="1"/>
              </p:cNvSpPr>
              <p:nvPr/>
            </p:nvSpPr>
            <p:spPr bwMode="auto">
              <a:xfrm>
                <a:off x="277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39" name="Oval 2707">
                <a:extLst>
                  <a:ext uri="{FF2B5EF4-FFF2-40B4-BE49-F238E27FC236}">
                    <a16:creationId xmlns:a16="http://schemas.microsoft.com/office/drawing/2014/main" id="{381FA2F1-9E57-47B2-BE04-D1C89450FD08}"/>
                  </a:ext>
                </a:extLst>
              </p:cNvPr>
              <p:cNvSpPr>
                <a:spLocks noChangeArrowheads="1"/>
              </p:cNvSpPr>
              <p:nvPr/>
            </p:nvSpPr>
            <p:spPr bwMode="auto">
              <a:xfrm>
                <a:off x="2805"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0" name="Oval 2708">
                <a:extLst>
                  <a:ext uri="{FF2B5EF4-FFF2-40B4-BE49-F238E27FC236}">
                    <a16:creationId xmlns:a16="http://schemas.microsoft.com/office/drawing/2014/main" id="{F8CBDE0D-937A-45AF-A760-86379AED8EF7}"/>
                  </a:ext>
                </a:extLst>
              </p:cNvPr>
              <p:cNvSpPr>
                <a:spLocks noChangeArrowheads="1"/>
              </p:cNvSpPr>
              <p:nvPr/>
            </p:nvSpPr>
            <p:spPr bwMode="auto">
              <a:xfrm>
                <a:off x="286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1" name="Oval 2709">
                <a:extLst>
                  <a:ext uri="{FF2B5EF4-FFF2-40B4-BE49-F238E27FC236}">
                    <a16:creationId xmlns:a16="http://schemas.microsoft.com/office/drawing/2014/main" id="{41962FFE-86F8-4F7E-AB86-DEA5A71F1586}"/>
                  </a:ext>
                </a:extLst>
              </p:cNvPr>
              <p:cNvSpPr>
                <a:spLocks noChangeArrowheads="1"/>
              </p:cNvSpPr>
              <p:nvPr/>
            </p:nvSpPr>
            <p:spPr bwMode="auto">
              <a:xfrm>
                <a:off x="2775"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2" name="Oval 2710">
                <a:extLst>
                  <a:ext uri="{FF2B5EF4-FFF2-40B4-BE49-F238E27FC236}">
                    <a16:creationId xmlns:a16="http://schemas.microsoft.com/office/drawing/2014/main" id="{F255F69C-5086-4668-9E05-C47C0081FF14}"/>
                  </a:ext>
                </a:extLst>
              </p:cNvPr>
              <p:cNvSpPr>
                <a:spLocks noChangeArrowheads="1"/>
              </p:cNvSpPr>
              <p:nvPr/>
            </p:nvSpPr>
            <p:spPr bwMode="auto">
              <a:xfrm>
                <a:off x="283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3" name="Oval 2711">
                <a:extLst>
                  <a:ext uri="{FF2B5EF4-FFF2-40B4-BE49-F238E27FC236}">
                    <a16:creationId xmlns:a16="http://schemas.microsoft.com/office/drawing/2014/main" id="{E3FABC52-0C11-47DD-ADB9-00DA76D5C197}"/>
                  </a:ext>
                </a:extLst>
              </p:cNvPr>
              <p:cNvSpPr>
                <a:spLocks noChangeArrowheads="1"/>
              </p:cNvSpPr>
              <p:nvPr/>
            </p:nvSpPr>
            <p:spPr bwMode="auto">
              <a:xfrm>
                <a:off x="286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4" name="Oval 2712">
                <a:extLst>
                  <a:ext uri="{FF2B5EF4-FFF2-40B4-BE49-F238E27FC236}">
                    <a16:creationId xmlns:a16="http://schemas.microsoft.com/office/drawing/2014/main" id="{4E096390-F595-41D1-ACFE-38BBE5394656}"/>
                  </a:ext>
                </a:extLst>
              </p:cNvPr>
              <p:cNvSpPr>
                <a:spLocks noChangeArrowheads="1"/>
              </p:cNvSpPr>
              <p:nvPr/>
            </p:nvSpPr>
            <p:spPr bwMode="auto">
              <a:xfrm>
                <a:off x="2775"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5" name="Oval 2713">
                <a:extLst>
                  <a:ext uri="{FF2B5EF4-FFF2-40B4-BE49-F238E27FC236}">
                    <a16:creationId xmlns:a16="http://schemas.microsoft.com/office/drawing/2014/main" id="{E0D9E90B-B79E-486A-8FD9-A3BB2F25AF92}"/>
                  </a:ext>
                </a:extLst>
              </p:cNvPr>
              <p:cNvSpPr>
                <a:spLocks noChangeArrowheads="1"/>
              </p:cNvSpPr>
              <p:nvPr/>
            </p:nvSpPr>
            <p:spPr bwMode="auto">
              <a:xfrm>
                <a:off x="25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6" name="Oval 2714">
                <a:extLst>
                  <a:ext uri="{FF2B5EF4-FFF2-40B4-BE49-F238E27FC236}">
                    <a16:creationId xmlns:a16="http://schemas.microsoft.com/office/drawing/2014/main" id="{784F5722-959D-47CA-86DC-04C887B12219}"/>
                  </a:ext>
                </a:extLst>
              </p:cNvPr>
              <p:cNvSpPr>
                <a:spLocks noChangeArrowheads="1"/>
              </p:cNvSpPr>
              <p:nvPr/>
            </p:nvSpPr>
            <p:spPr bwMode="auto">
              <a:xfrm>
                <a:off x="256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7" name="Oval 2715">
                <a:extLst>
                  <a:ext uri="{FF2B5EF4-FFF2-40B4-BE49-F238E27FC236}">
                    <a16:creationId xmlns:a16="http://schemas.microsoft.com/office/drawing/2014/main" id="{674CE31F-F980-44C0-A705-DD8AFA845223}"/>
                  </a:ext>
                </a:extLst>
              </p:cNvPr>
              <p:cNvSpPr>
                <a:spLocks noChangeArrowheads="1"/>
              </p:cNvSpPr>
              <p:nvPr/>
            </p:nvSpPr>
            <p:spPr bwMode="auto">
              <a:xfrm>
                <a:off x="259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8" name="Oval 2716">
                <a:extLst>
                  <a:ext uri="{FF2B5EF4-FFF2-40B4-BE49-F238E27FC236}">
                    <a16:creationId xmlns:a16="http://schemas.microsoft.com/office/drawing/2014/main" id="{EA685621-1B4C-4CA9-8C52-6FBAAC008785}"/>
                  </a:ext>
                </a:extLst>
              </p:cNvPr>
              <p:cNvSpPr>
                <a:spLocks noChangeArrowheads="1"/>
              </p:cNvSpPr>
              <p:nvPr/>
            </p:nvSpPr>
            <p:spPr bwMode="auto">
              <a:xfrm>
                <a:off x="244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49" name="Oval 2717">
                <a:extLst>
                  <a:ext uri="{FF2B5EF4-FFF2-40B4-BE49-F238E27FC236}">
                    <a16:creationId xmlns:a16="http://schemas.microsoft.com/office/drawing/2014/main" id="{066DB62B-D00C-4C9E-89C7-833FA1D8093B}"/>
                  </a:ext>
                </a:extLst>
              </p:cNvPr>
              <p:cNvSpPr>
                <a:spLocks noChangeArrowheads="1"/>
              </p:cNvSpPr>
              <p:nvPr/>
            </p:nvSpPr>
            <p:spPr bwMode="auto">
              <a:xfrm>
                <a:off x="24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0" name="Oval 2718">
                <a:extLst>
                  <a:ext uri="{FF2B5EF4-FFF2-40B4-BE49-F238E27FC236}">
                    <a16:creationId xmlns:a16="http://schemas.microsoft.com/office/drawing/2014/main" id="{70311887-5E4B-45FC-881F-27D198CC250C}"/>
                  </a:ext>
                </a:extLst>
              </p:cNvPr>
              <p:cNvSpPr>
                <a:spLocks noChangeArrowheads="1"/>
              </p:cNvSpPr>
              <p:nvPr/>
            </p:nvSpPr>
            <p:spPr bwMode="auto">
              <a:xfrm>
                <a:off x="247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1" name="Oval 2719">
                <a:extLst>
                  <a:ext uri="{FF2B5EF4-FFF2-40B4-BE49-F238E27FC236}">
                    <a16:creationId xmlns:a16="http://schemas.microsoft.com/office/drawing/2014/main" id="{893CCC95-F03E-4E1B-AE3B-6AF001C70A22}"/>
                  </a:ext>
                </a:extLst>
              </p:cNvPr>
              <p:cNvSpPr>
                <a:spLocks noChangeArrowheads="1"/>
              </p:cNvSpPr>
              <p:nvPr/>
            </p:nvSpPr>
            <p:spPr bwMode="auto">
              <a:xfrm>
                <a:off x="2475"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2" name="Oval 2720">
                <a:extLst>
                  <a:ext uri="{FF2B5EF4-FFF2-40B4-BE49-F238E27FC236}">
                    <a16:creationId xmlns:a16="http://schemas.microsoft.com/office/drawing/2014/main" id="{5A290E28-0E3F-4BE3-8E1C-EBCB95055FB2}"/>
                  </a:ext>
                </a:extLst>
              </p:cNvPr>
              <p:cNvSpPr>
                <a:spLocks noChangeArrowheads="1"/>
              </p:cNvSpPr>
              <p:nvPr/>
            </p:nvSpPr>
            <p:spPr bwMode="auto">
              <a:xfrm>
                <a:off x="286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3" name="Oval 2721">
                <a:extLst>
                  <a:ext uri="{FF2B5EF4-FFF2-40B4-BE49-F238E27FC236}">
                    <a16:creationId xmlns:a16="http://schemas.microsoft.com/office/drawing/2014/main" id="{F83C13B7-DEFF-4422-B837-C9B022DB4457}"/>
                  </a:ext>
                </a:extLst>
              </p:cNvPr>
              <p:cNvSpPr>
                <a:spLocks noChangeArrowheads="1"/>
              </p:cNvSpPr>
              <p:nvPr/>
            </p:nvSpPr>
            <p:spPr bwMode="auto">
              <a:xfrm>
                <a:off x="268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4" name="Oval 2722">
                <a:extLst>
                  <a:ext uri="{FF2B5EF4-FFF2-40B4-BE49-F238E27FC236}">
                    <a16:creationId xmlns:a16="http://schemas.microsoft.com/office/drawing/2014/main" id="{0A68F44C-FA08-4D0B-B8F2-06B2F653C903}"/>
                  </a:ext>
                </a:extLst>
              </p:cNvPr>
              <p:cNvSpPr>
                <a:spLocks noChangeArrowheads="1"/>
              </p:cNvSpPr>
              <p:nvPr/>
            </p:nvSpPr>
            <p:spPr bwMode="auto">
              <a:xfrm>
                <a:off x="235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5" name="Oval 2723">
                <a:extLst>
                  <a:ext uri="{FF2B5EF4-FFF2-40B4-BE49-F238E27FC236}">
                    <a16:creationId xmlns:a16="http://schemas.microsoft.com/office/drawing/2014/main" id="{E4ECAD4D-2370-4BBA-8F38-C7511AE6FD86}"/>
                  </a:ext>
                </a:extLst>
              </p:cNvPr>
              <p:cNvSpPr>
                <a:spLocks noChangeArrowheads="1"/>
              </p:cNvSpPr>
              <p:nvPr/>
            </p:nvSpPr>
            <p:spPr bwMode="auto">
              <a:xfrm>
                <a:off x="235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6" name="Oval 2724">
                <a:extLst>
                  <a:ext uri="{FF2B5EF4-FFF2-40B4-BE49-F238E27FC236}">
                    <a16:creationId xmlns:a16="http://schemas.microsoft.com/office/drawing/2014/main" id="{DC22CC7D-FA0F-4D75-B53D-2907D07A6307}"/>
                  </a:ext>
                </a:extLst>
              </p:cNvPr>
              <p:cNvSpPr>
                <a:spLocks noChangeArrowheads="1"/>
              </p:cNvSpPr>
              <p:nvPr/>
            </p:nvSpPr>
            <p:spPr bwMode="auto">
              <a:xfrm>
                <a:off x="25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7" name="Oval 2725">
                <a:extLst>
                  <a:ext uri="{FF2B5EF4-FFF2-40B4-BE49-F238E27FC236}">
                    <a16:creationId xmlns:a16="http://schemas.microsoft.com/office/drawing/2014/main" id="{17A7CACF-36B9-44B4-9D42-BAD443442BA6}"/>
                  </a:ext>
                </a:extLst>
              </p:cNvPr>
              <p:cNvSpPr>
                <a:spLocks noChangeArrowheads="1"/>
              </p:cNvSpPr>
              <p:nvPr/>
            </p:nvSpPr>
            <p:spPr bwMode="auto">
              <a:xfrm>
                <a:off x="259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8" name="Oval 2726">
                <a:extLst>
                  <a:ext uri="{FF2B5EF4-FFF2-40B4-BE49-F238E27FC236}">
                    <a16:creationId xmlns:a16="http://schemas.microsoft.com/office/drawing/2014/main" id="{04AFB932-BE5C-4167-8FCE-63A8C17A2156}"/>
                  </a:ext>
                </a:extLst>
              </p:cNvPr>
              <p:cNvSpPr>
                <a:spLocks noChangeArrowheads="1"/>
              </p:cNvSpPr>
              <p:nvPr/>
            </p:nvSpPr>
            <p:spPr bwMode="auto">
              <a:xfrm>
                <a:off x="25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59" name="Oval 2727">
                <a:extLst>
                  <a:ext uri="{FF2B5EF4-FFF2-40B4-BE49-F238E27FC236}">
                    <a16:creationId xmlns:a16="http://schemas.microsoft.com/office/drawing/2014/main" id="{55C5F8DA-65AB-475D-ADD8-6EED3A1B6443}"/>
                  </a:ext>
                </a:extLst>
              </p:cNvPr>
              <p:cNvSpPr>
                <a:spLocks noChangeArrowheads="1"/>
              </p:cNvSpPr>
              <p:nvPr/>
            </p:nvSpPr>
            <p:spPr bwMode="auto">
              <a:xfrm>
                <a:off x="256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0" name="Oval 2728">
                <a:extLst>
                  <a:ext uri="{FF2B5EF4-FFF2-40B4-BE49-F238E27FC236}">
                    <a16:creationId xmlns:a16="http://schemas.microsoft.com/office/drawing/2014/main" id="{BDC88C72-50D0-4200-A572-CB1AC6FA652A}"/>
                  </a:ext>
                </a:extLst>
              </p:cNvPr>
              <p:cNvSpPr>
                <a:spLocks noChangeArrowheads="1"/>
              </p:cNvSpPr>
              <p:nvPr/>
            </p:nvSpPr>
            <p:spPr bwMode="auto">
              <a:xfrm>
                <a:off x="247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1" name="Oval 2729">
                <a:extLst>
                  <a:ext uri="{FF2B5EF4-FFF2-40B4-BE49-F238E27FC236}">
                    <a16:creationId xmlns:a16="http://schemas.microsoft.com/office/drawing/2014/main" id="{313E1D8D-3090-41DD-A32F-BFFFD3EFEE68}"/>
                  </a:ext>
                </a:extLst>
              </p:cNvPr>
              <p:cNvSpPr>
                <a:spLocks noChangeArrowheads="1"/>
              </p:cNvSpPr>
              <p:nvPr/>
            </p:nvSpPr>
            <p:spPr bwMode="auto">
              <a:xfrm>
                <a:off x="235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2" name="Oval 2730">
                <a:extLst>
                  <a:ext uri="{FF2B5EF4-FFF2-40B4-BE49-F238E27FC236}">
                    <a16:creationId xmlns:a16="http://schemas.microsoft.com/office/drawing/2014/main" id="{CD41C40A-B53B-46B3-9DBB-38FD356EA0E7}"/>
                  </a:ext>
                </a:extLst>
              </p:cNvPr>
              <p:cNvSpPr>
                <a:spLocks noChangeArrowheads="1"/>
              </p:cNvSpPr>
              <p:nvPr/>
            </p:nvSpPr>
            <p:spPr bwMode="auto">
              <a:xfrm>
                <a:off x="229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3" name="Oval 2731">
                <a:extLst>
                  <a:ext uri="{FF2B5EF4-FFF2-40B4-BE49-F238E27FC236}">
                    <a16:creationId xmlns:a16="http://schemas.microsoft.com/office/drawing/2014/main" id="{CD614A7C-3B1A-4EDE-A939-53B79A50A92A}"/>
                  </a:ext>
                </a:extLst>
              </p:cNvPr>
              <p:cNvSpPr>
                <a:spLocks noChangeArrowheads="1"/>
              </p:cNvSpPr>
              <p:nvPr/>
            </p:nvSpPr>
            <p:spPr bwMode="auto">
              <a:xfrm>
                <a:off x="226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4" name="Oval 2732">
                <a:extLst>
                  <a:ext uri="{FF2B5EF4-FFF2-40B4-BE49-F238E27FC236}">
                    <a16:creationId xmlns:a16="http://schemas.microsoft.com/office/drawing/2014/main" id="{6CA4BA7E-D93E-4BDF-879D-ED884083272C}"/>
                  </a:ext>
                </a:extLst>
              </p:cNvPr>
              <p:cNvSpPr>
                <a:spLocks noChangeArrowheads="1"/>
              </p:cNvSpPr>
              <p:nvPr/>
            </p:nvSpPr>
            <p:spPr bwMode="auto">
              <a:xfrm>
                <a:off x="229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5" name="Oval 2733">
                <a:extLst>
                  <a:ext uri="{FF2B5EF4-FFF2-40B4-BE49-F238E27FC236}">
                    <a16:creationId xmlns:a16="http://schemas.microsoft.com/office/drawing/2014/main" id="{40C9FBFB-EF8D-4684-9C9C-CFFE90AD64F9}"/>
                  </a:ext>
                </a:extLst>
              </p:cNvPr>
              <p:cNvSpPr>
                <a:spLocks noChangeArrowheads="1"/>
              </p:cNvSpPr>
              <p:nvPr/>
            </p:nvSpPr>
            <p:spPr bwMode="auto">
              <a:xfrm>
                <a:off x="235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6" name="Oval 2734">
                <a:extLst>
                  <a:ext uri="{FF2B5EF4-FFF2-40B4-BE49-F238E27FC236}">
                    <a16:creationId xmlns:a16="http://schemas.microsoft.com/office/drawing/2014/main" id="{84B0330D-3BCD-48B8-A938-1E3704AE60C8}"/>
                  </a:ext>
                </a:extLst>
              </p:cNvPr>
              <p:cNvSpPr>
                <a:spLocks noChangeArrowheads="1"/>
              </p:cNvSpPr>
              <p:nvPr/>
            </p:nvSpPr>
            <p:spPr bwMode="auto">
              <a:xfrm>
                <a:off x="244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7" name="Oval 2735">
                <a:extLst>
                  <a:ext uri="{FF2B5EF4-FFF2-40B4-BE49-F238E27FC236}">
                    <a16:creationId xmlns:a16="http://schemas.microsoft.com/office/drawing/2014/main" id="{002B1AEE-3D0D-4E3D-8A5A-A72877EEC3FB}"/>
                  </a:ext>
                </a:extLst>
              </p:cNvPr>
              <p:cNvSpPr>
                <a:spLocks noChangeArrowheads="1"/>
              </p:cNvSpPr>
              <p:nvPr/>
            </p:nvSpPr>
            <p:spPr bwMode="auto">
              <a:xfrm>
                <a:off x="268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8" name="Oval 2736">
                <a:extLst>
                  <a:ext uri="{FF2B5EF4-FFF2-40B4-BE49-F238E27FC236}">
                    <a16:creationId xmlns:a16="http://schemas.microsoft.com/office/drawing/2014/main" id="{A81EB663-A214-48BD-878E-20736233FBE5}"/>
                  </a:ext>
                </a:extLst>
              </p:cNvPr>
              <p:cNvSpPr>
                <a:spLocks noChangeArrowheads="1"/>
              </p:cNvSpPr>
              <p:nvPr/>
            </p:nvSpPr>
            <p:spPr bwMode="auto">
              <a:xfrm>
                <a:off x="253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69" name="Oval 2737">
                <a:extLst>
                  <a:ext uri="{FF2B5EF4-FFF2-40B4-BE49-F238E27FC236}">
                    <a16:creationId xmlns:a16="http://schemas.microsoft.com/office/drawing/2014/main" id="{B7F30DD0-3629-40B8-8455-FAC273582C25}"/>
                  </a:ext>
                </a:extLst>
              </p:cNvPr>
              <p:cNvSpPr>
                <a:spLocks noChangeArrowheads="1"/>
              </p:cNvSpPr>
              <p:nvPr/>
            </p:nvSpPr>
            <p:spPr bwMode="auto">
              <a:xfrm>
                <a:off x="25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0" name="Oval 2738">
                <a:extLst>
                  <a:ext uri="{FF2B5EF4-FFF2-40B4-BE49-F238E27FC236}">
                    <a16:creationId xmlns:a16="http://schemas.microsoft.com/office/drawing/2014/main" id="{561CFF2C-ADFD-4D35-A936-70D6DFB67CFB}"/>
                  </a:ext>
                </a:extLst>
              </p:cNvPr>
              <p:cNvSpPr>
                <a:spLocks noChangeArrowheads="1"/>
              </p:cNvSpPr>
              <p:nvPr/>
            </p:nvSpPr>
            <p:spPr bwMode="auto">
              <a:xfrm>
                <a:off x="247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1" name="Oval 2739">
                <a:extLst>
                  <a:ext uri="{FF2B5EF4-FFF2-40B4-BE49-F238E27FC236}">
                    <a16:creationId xmlns:a16="http://schemas.microsoft.com/office/drawing/2014/main" id="{CF30EA3D-9AEB-41A1-8C0A-3C84AAB6AFE5}"/>
                  </a:ext>
                </a:extLst>
              </p:cNvPr>
              <p:cNvSpPr>
                <a:spLocks noChangeArrowheads="1"/>
              </p:cNvSpPr>
              <p:nvPr/>
            </p:nvSpPr>
            <p:spPr bwMode="auto">
              <a:xfrm>
                <a:off x="250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2" name="Oval 2740">
                <a:extLst>
                  <a:ext uri="{FF2B5EF4-FFF2-40B4-BE49-F238E27FC236}">
                    <a16:creationId xmlns:a16="http://schemas.microsoft.com/office/drawing/2014/main" id="{41F35DDA-61DA-43B7-9B8B-B9F7B78898AB}"/>
                  </a:ext>
                </a:extLst>
              </p:cNvPr>
              <p:cNvSpPr>
                <a:spLocks noChangeArrowheads="1"/>
              </p:cNvSpPr>
              <p:nvPr/>
            </p:nvSpPr>
            <p:spPr bwMode="auto">
              <a:xfrm>
                <a:off x="232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3" name="Oval 2741">
                <a:extLst>
                  <a:ext uri="{FF2B5EF4-FFF2-40B4-BE49-F238E27FC236}">
                    <a16:creationId xmlns:a16="http://schemas.microsoft.com/office/drawing/2014/main" id="{FE192FB4-2C6B-4499-8441-DD0EBCD9B819}"/>
                  </a:ext>
                </a:extLst>
              </p:cNvPr>
              <p:cNvSpPr>
                <a:spLocks noChangeArrowheads="1"/>
              </p:cNvSpPr>
              <p:nvPr/>
            </p:nvSpPr>
            <p:spPr bwMode="auto">
              <a:xfrm>
                <a:off x="232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4" name="Oval 2742">
                <a:extLst>
                  <a:ext uri="{FF2B5EF4-FFF2-40B4-BE49-F238E27FC236}">
                    <a16:creationId xmlns:a16="http://schemas.microsoft.com/office/drawing/2014/main" id="{834E368C-7324-4495-9210-F253C50F9C6A}"/>
                  </a:ext>
                </a:extLst>
              </p:cNvPr>
              <p:cNvSpPr>
                <a:spLocks noChangeArrowheads="1"/>
              </p:cNvSpPr>
              <p:nvPr/>
            </p:nvSpPr>
            <p:spPr bwMode="auto">
              <a:xfrm>
                <a:off x="220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5" name="Oval 2743">
                <a:extLst>
                  <a:ext uri="{FF2B5EF4-FFF2-40B4-BE49-F238E27FC236}">
                    <a16:creationId xmlns:a16="http://schemas.microsoft.com/office/drawing/2014/main" id="{4621B94D-B913-49C1-88D0-52992828FA01}"/>
                  </a:ext>
                </a:extLst>
              </p:cNvPr>
              <p:cNvSpPr>
                <a:spLocks noChangeArrowheads="1"/>
              </p:cNvSpPr>
              <p:nvPr/>
            </p:nvSpPr>
            <p:spPr bwMode="auto">
              <a:xfrm>
                <a:off x="220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6" name="Oval 2744">
                <a:extLst>
                  <a:ext uri="{FF2B5EF4-FFF2-40B4-BE49-F238E27FC236}">
                    <a16:creationId xmlns:a16="http://schemas.microsoft.com/office/drawing/2014/main" id="{8123AE50-7434-4C9B-A2BB-AC5A5C7B0162}"/>
                  </a:ext>
                </a:extLst>
              </p:cNvPr>
              <p:cNvSpPr>
                <a:spLocks noChangeArrowheads="1"/>
              </p:cNvSpPr>
              <p:nvPr/>
            </p:nvSpPr>
            <p:spPr bwMode="auto">
              <a:xfrm>
                <a:off x="20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7" name="Oval 2745">
                <a:extLst>
                  <a:ext uri="{FF2B5EF4-FFF2-40B4-BE49-F238E27FC236}">
                    <a16:creationId xmlns:a16="http://schemas.microsoft.com/office/drawing/2014/main" id="{6A5E07FA-5387-432E-BA7F-CA2598978DB8}"/>
                  </a:ext>
                </a:extLst>
              </p:cNvPr>
              <p:cNvSpPr>
                <a:spLocks noChangeArrowheads="1"/>
              </p:cNvSpPr>
              <p:nvPr/>
            </p:nvSpPr>
            <p:spPr bwMode="auto">
              <a:xfrm>
                <a:off x="2086" y="9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8" name="Oval 2746">
                <a:extLst>
                  <a:ext uri="{FF2B5EF4-FFF2-40B4-BE49-F238E27FC236}">
                    <a16:creationId xmlns:a16="http://schemas.microsoft.com/office/drawing/2014/main" id="{34CE880C-D368-440F-BB77-A115A67A3F68}"/>
                  </a:ext>
                </a:extLst>
              </p:cNvPr>
              <p:cNvSpPr>
                <a:spLocks noChangeArrowheads="1"/>
              </p:cNvSpPr>
              <p:nvPr/>
            </p:nvSpPr>
            <p:spPr bwMode="auto">
              <a:xfrm>
                <a:off x="1936"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9" name="Oval 2747">
                <a:extLst>
                  <a:ext uri="{FF2B5EF4-FFF2-40B4-BE49-F238E27FC236}">
                    <a16:creationId xmlns:a16="http://schemas.microsoft.com/office/drawing/2014/main" id="{9537067B-E77D-4230-BE5B-3286A8CB8A5B}"/>
                  </a:ext>
                </a:extLst>
              </p:cNvPr>
              <p:cNvSpPr>
                <a:spLocks noChangeArrowheads="1"/>
              </p:cNvSpPr>
              <p:nvPr/>
            </p:nvSpPr>
            <p:spPr bwMode="auto">
              <a:xfrm>
                <a:off x="1936"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0" name="Oval 2748">
                <a:extLst>
                  <a:ext uri="{FF2B5EF4-FFF2-40B4-BE49-F238E27FC236}">
                    <a16:creationId xmlns:a16="http://schemas.microsoft.com/office/drawing/2014/main" id="{5982CD06-7643-42F9-8FCD-2E329A8AB47D}"/>
                  </a:ext>
                </a:extLst>
              </p:cNvPr>
              <p:cNvSpPr>
                <a:spLocks noChangeArrowheads="1"/>
              </p:cNvSpPr>
              <p:nvPr/>
            </p:nvSpPr>
            <p:spPr bwMode="auto">
              <a:xfrm>
                <a:off x="193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1" name="Oval 2749">
                <a:extLst>
                  <a:ext uri="{FF2B5EF4-FFF2-40B4-BE49-F238E27FC236}">
                    <a16:creationId xmlns:a16="http://schemas.microsoft.com/office/drawing/2014/main" id="{874ECFB3-ADF7-4E2E-B40F-3D1BEBEBE3A6}"/>
                  </a:ext>
                </a:extLst>
              </p:cNvPr>
              <p:cNvSpPr>
                <a:spLocks noChangeArrowheads="1"/>
              </p:cNvSpPr>
              <p:nvPr/>
            </p:nvSpPr>
            <p:spPr bwMode="auto">
              <a:xfrm>
                <a:off x="1876"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2" name="Oval 2750">
                <a:extLst>
                  <a:ext uri="{FF2B5EF4-FFF2-40B4-BE49-F238E27FC236}">
                    <a16:creationId xmlns:a16="http://schemas.microsoft.com/office/drawing/2014/main" id="{AA2040D6-66C9-4AF6-BE31-3177A842109C}"/>
                  </a:ext>
                </a:extLst>
              </p:cNvPr>
              <p:cNvSpPr>
                <a:spLocks noChangeArrowheads="1"/>
              </p:cNvSpPr>
              <p:nvPr/>
            </p:nvSpPr>
            <p:spPr bwMode="auto">
              <a:xfrm>
                <a:off x="2056" y="4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3" name="Oval 2751">
                <a:extLst>
                  <a:ext uri="{FF2B5EF4-FFF2-40B4-BE49-F238E27FC236}">
                    <a16:creationId xmlns:a16="http://schemas.microsoft.com/office/drawing/2014/main" id="{342625E1-F184-4483-838E-E35C185410FE}"/>
                  </a:ext>
                </a:extLst>
              </p:cNvPr>
              <p:cNvSpPr>
                <a:spLocks noChangeArrowheads="1"/>
              </p:cNvSpPr>
              <p:nvPr/>
            </p:nvSpPr>
            <p:spPr bwMode="auto">
              <a:xfrm>
                <a:off x="2086" y="3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4" name="Oval 2752">
                <a:extLst>
                  <a:ext uri="{FF2B5EF4-FFF2-40B4-BE49-F238E27FC236}">
                    <a16:creationId xmlns:a16="http://schemas.microsoft.com/office/drawing/2014/main" id="{BF305F7F-D7C3-4295-96E3-07DE8DD3741A}"/>
                  </a:ext>
                </a:extLst>
              </p:cNvPr>
              <p:cNvSpPr>
                <a:spLocks noChangeArrowheads="1"/>
              </p:cNvSpPr>
              <p:nvPr/>
            </p:nvSpPr>
            <p:spPr bwMode="auto">
              <a:xfrm>
                <a:off x="193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5" name="Oval 2753">
                <a:extLst>
                  <a:ext uri="{FF2B5EF4-FFF2-40B4-BE49-F238E27FC236}">
                    <a16:creationId xmlns:a16="http://schemas.microsoft.com/office/drawing/2014/main" id="{9E3BE3DE-EDA5-4622-8A14-7C02FB6EFE27}"/>
                  </a:ext>
                </a:extLst>
              </p:cNvPr>
              <p:cNvSpPr>
                <a:spLocks noChangeArrowheads="1"/>
              </p:cNvSpPr>
              <p:nvPr/>
            </p:nvSpPr>
            <p:spPr bwMode="auto">
              <a:xfrm>
                <a:off x="2026"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6" name="Oval 2754">
                <a:extLst>
                  <a:ext uri="{FF2B5EF4-FFF2-40B4-BE49-F238E27FC236}">
                    <a16:creationId xmlns:a16="http://schemas.microsoft.com/office/drawing/2014/main" id="{C38F8CE9-F4CE-410E-81EC-C8987307FAA0}"/>
                  </a:ext>
                </a:extLst>
              </p:cNvPr>
              <p:cNvSpPr>
                <a:spLocks noChangeArrowheads="1"/>
              </p:cNvSpPr>
              <p:nvPr/>
            </p:nvSpPr>
            <p:spPr bwMode="auto">
              <a:xfrm>
                <a:off x="2086" y="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7" name="Oval 2755">
                <a:extLst>
                  <a:ext uri="{FF2B5EF4-FFF2-40B4-BE49-F238E27FC236}">
                    <a16:creationId xmlns:a16="http://schemas.microsoft.com/office/drawing/2014/main" id="{84B336EA-C1FA-4EA3-99B3-E313E0495F4B}"/>
                  </a:ext>
                </a:extLst>
              </p:cNvPr>
              <p:cNvSpPr>
                <a:spLocks noChangeArrowheads="1"/>
              </p:cNvSpPr>
              <p:nvPr/>
            </p:nvSpPr>
            <p:spPr bwMode="auto">
              <a:xfrm>
                <a:off x="193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8" name="Oval 2756">
                <a:extLst>
                  <a:ext uri="{FF2B5EF4-FFF2-40B4-BE49-F238E27FC236}">
                    <a16:creationId xmlns:a16="http://schemas.microsoft.com/office/drawing/2014/main" id="{CA8BFC87-F3B8-4FD7-916B-E7D278C9DBD3}"/>
                  </a:ext>
                </a:extLst>
              </p:cNvPr>
              <p:cNvSpPr>
                <a:spLocks noChangeArrowheads="1"/>
              </p:cNvSpPr>
              <p:nvPr/>
            </p:nvSpPr>
            <p:spPr bwMode="auto">
              <a:xfrm>
                <a:off x="172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9" name="Oval 2757">
                <a:extLst>
                  <a:ext uri="{FF2B5EF4-FFF2-40B4-BE49-F238E27FC236}">
                    <a16:creationId xmlns:a16="http://schemas.microsoft.com/office/drawing/2014/main" id="{633FEEAE-433C-495D-9802-F50F42C899FD}"/>
                  </a:ext>
                </a:extLst>
              </p:cNvPr>
              <p:cNvSpPr>
                <a:spLocks noChangeArrowheads="1"/>
              </p:cNvSpPr>
              <p:nvPr/>
            </p:nvSpPr>
            <p:spPr bwMode="auto">
              <a:xfrm>
                <a:off x="157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0" name="Oval 2758">
                <a:extLst>
                  <a:ext uri="{FF2B5EF4-FFF2-40B4-BE49-F238E27FC236}">
                    <a16:creationId xmlns:a16="http://schemas.microsoft.com/office/drawing/2014/main" id="{5B06A448-63B4-4430-B152-6EED7A846079}"/>
                  </a:ext>
                </a:extLst>
              </p:cNvPr>
              <p:cNvSpPr>
                <a:spLocks noChangeArrowheads="1"/>
              </p:cNvSpPr>
              <p:nvPr/>
            </p:nvSpPr>
            <p:spPr bwMode="auto">
              <a:xfrm>
                <a:off x="154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1" name="Oval 2759">
                <a:extLst>
                  <a:ext uri="{FF2B5EF4-FFF2-40B4-BE49-F238E27FC236}">
                    <a16:creationId xmlns:a16="http://schemas.microsoft.com/office/drawing/2014/main" id="{EB0D8D16-A616-4A0A-B672-BA182F8EC3CC}"/>
                  </a:ext>
                </a:extLst>
              </p:cNvPr>
              <p:cNvSpPr>
                <a:spLocks noChangeArrowheads="1"/>
              </p:cNvSpPr>
              <p:nvPr/>
            </p:nvSpPr>
            <p:spPr bwMode="auto">
              <a:xfrm>
                <a:off x="142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2" name="Oval 2760">
                <a:extLst>
                  <a:ext uri="{FF2B5EF4-FFF2-40B4-BE49-F238E27FC236}">
                    <a16:creationId xmlns:a16="http://schemas.microsoft.com/office/drawing/2014/main" id="{2B65F412-4278-4168-ADEE-3A5582E239A3}"/>
                  </a:ext>
                </a:extLst>
              </p:cNvPr>
              <p:cNvSpPr>
                <a:spLocks noChangeArrowheads="1"/>
              </p:cNvSpPr>
              <p:nvPr/>
            </p:nvSpPr>
            <p:spPr bwMode="auto">
              <a:xfrm>
                <a:off x="130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3" name="Oval 2761">
                <a:extLst>
                  <a:ext uri="{FF2B5EF4-FFF2-40B4-BE49-F238E27FC236}">
                    <a16:creationId xmlns:a16="http://schemas.microsoft.com/office/drawing/2014/main" id="{B0194A1F-4152-4480-BF16-19EA6C83EE86}"/>
                  </a:ext>
                </a:extLst>
              </p:cNvPr>
              <p:cNvSpPr>
                <a:spLocks noChangeArrowheads="1"/>
              </p:cNvSpPr>
              <p:nvPr/>
            </p:nvSpPr>
            <p:spPr bwMode="auto">
              <a:xfrm>
                <a:off x="1246"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4" name="Oval 2762">
                <a:extLst>
                  <a:ext uri="{FF2B5EF4-FFF2-40B4-BE49-F238E27FC236}">
                    <a16:creationId xmlns:a16="http://schemas.microsoft.com/office/drawing/2014/main" id="{DBB27B78-3186-42A4-9F07-9369B4F24B20}"/>
                  </a:ext>
                </a:extLst>
              </p:cNvPr>
              <p:cNvSpPr>
                <a:spLocks noChangeArrowheads="1"/>
              </p:cNvSpPr>
              <p:nvPr/>
            </p:nvSpPr>
            <p:spPr bwMode="auto">
              <a:xfrm>
                <a:off x="139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5" name="Oval 2763">
                <a:extLst>
                  <a:ext uri="{FF2B5EF4-FFF2-40B4-BE49-F238E27FC236}">
                    <a16:creationId xmlns:a16="http://schemas.microsoft.com/office/drawing/2014/main" id="{E1D04A1D-8F36-484C-B5A3-7A2104268CE5}"/>
                  </a:ext>
                </a:extLst>
              </p:cNvPr>
              <p:cNvSpPr>
                <a:spLocks noChangeArrowheads="1"/>
              </p:cNvSpPr>
              <p:nvPr/>
            </p:nvSpPr>
            <p:spPr bwMode="auto">
              <a:xfrm>
                <a:off x="172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6" name="Oval 2764">
                <a:extLst>
                  <a:ext uri="{FF2B5EF4-FFF2-40B4-BE49-F238E27FC236}">
                    <a16:creationId xmlns:a16="http://schemas.microsoft.com/office/drawing/2014/main" id="{528DF04B-1B87-4CFA-93D7-08481AA4EAF4}"/>
                  </a:ext>
                </a:extLst>
              </p:cNvPr>
              <p:cNvSpPr>
                <a:spLocks noChangeArrowheads="1"/>
              </p:cNvSpPr>
              <p:nvPr/>
            </p:nvSpPr>
            <p:spPr bwMode="auto">
              <a:xfrm>
                <a:off x="169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7" name="Oval 2765">
                <a:extLst>
                  <a:ext uri="{FF2B5EF4-FFF2-40B4-BE49-F238E27FC236}">
                    <a16:creationId xmlns:a16="http://schemas.microsoft.com/office/drawing/2014/main" id="{691BA536-D9D0-4CB0-BBBC-7C203F043398}"/>
                  </a:ext>
                </a:extLst>
              </p:cNvPr>
              <p:cNvSpPr>
                <a:spLocks noChangeArrowheads="1"/>
              </p:cNvSpPr>
              <p:nvPr/>
            </p:nvSpPr>
            <p:spPr bwMode="auto">
              <a:xfrm>
                <a:off x="1696"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8" name="Oval 2766">
                <a:extLst>
                  <a:ext uri="{FF2B5EF4-FFF2-40B4-BE49-F238E27FC236}">
                    <a16:creationId xmlns:a16="http://schemas.microsoft.com/office/drawing/2014/main" id="{E70313AE-5AD4-4830-89B0-AC40F75C11F2}"/>
                  </a:ext>
                </a:extLst>
              </p:cNvPr>
              <p:cNvSpPr>
                <a:spLocks noChangeArrowheads="1"/>
              </p:cNvSpPr>
              <p:nvPr/>
            </p:nvSpPr>
            <p:spPr bwMode="auto">
              <a:xfrm>
                <a:off x="151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9" name="Oval 2767">
                <a:extLst>
                  <a:ext uri="{FF2B5EF4-FFF2-40B4-BE49-F238E27FC236}">
                    <a16:creationId xmlns:a16="http://schemas.microsoft.com/office/drawing/2014/main" id="{FDA4B44B-5357-4D12-B4FE-928E15D873AE}"/>
                  </a:ext>
                </a:extLst>
              </p:cNvPr>
              <p:cNvSpPr>
                <a:spLocks noChangeArrowheads="1"/>
              </p:cNvSpPr>
              <p:nvPr/>
            </p:nvSpPr>
            <p:spPr bwMode="auto">
              <a:xfrm>
                <a:off x="1576"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0" name="Oval 2768">
                <a:extLst>
                  <a:ext uri="{FF2B5EF4-FFF2-40B4-BE49-F238E27FC236}">
                    <a16:creationId xmlns:a16="http://schemas.microsoft.com/office/drawing/2014/main" id="{70DD5F83-205B-4FCD-B42E-92881CDBE9C8}"/>
                  </a:ext>
                </a:extLst>
              </p:cNvPr>
              <p:cNvSpPr>
                <a:spLocks noChangeArrowheads="1"/>
              </p:cNvSpPr>
              <p:nvPr/>
            </p:nvSpPr>
            <p:spPr bwMode="auto">
              <a:xfrm>
                <a:off x="154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1" name="Oval 2769">
                <a:extLst>
                  <a:ext uri="{FF2B5EF4-FFF2-40B4-BE49-F238E27FC236}">
                    <a16:creationId xmlns:a16="http://schemas.microsoft.com/office/drawing/2014/main" id="{836C8CFC-2FDE-4560-864F-74876793AC74}"/>
                  </a:ext>
                </a:extLst>
              </p:cNvPr>
              <p:cNvSpPr>
                <a:spLocks noChangeArrowheads="1"/>
              </p:cNvSpPr>
              <p:nvPr/>
            </p:nvSpPr>
            <p:spPr bwMode="auto">
              <a:xfrm>
                <a:off x="163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2" name="Oval 2770">
                <a:extLst>
                  <a:ext uri="{FF2B5EF4-FFF2-40B4-BE49-F238E27FC236}">
                    <a16:creationId xmlns:a16="http://schemas.microsoft.com/office/drawing/2014/main" id="{A244BEAD-62FF-412D-8121-3786222269EE}"/>
                  </a:ext>
                </a:extLst>
              </p:cNvPr>
              <p:cNvSpPr>
                <a:spLocks noChangeArrowheads="1"/>
              </p:cNvSpPr>
              <p:nvPr/>
            </p:nvSpPr>
            <p:spPr bwMode="auto">
              <a:xfrm>
                <a:off x="1546"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3" name="Oval 2771">
                <a:extLst>
                  <a:ext uri="{FF2B5EF4-FFF2-40B4-BE49-F238E27FC236}">
                    <a16:creationId xmlns:a16="http://schemas.microsoft.com/office/drawing/2014/main" id="{C3321514-651C-46FB-BAA5-3BA0ECA4B6BA}"/>
                  </a:ext>
                </a:extLst>
              </p:cNvPr>
              <p:cNvSpPr>
                <a:spLocks noChangeArrowheads="1"/>
              </p:cNvSpPr>
              <p:nvPr/>
            </p:nvSpPr>
            <p:spPr bwMode="auto">
              <a:xfrm>
                <a:off x="160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4" name="Oval 2772">
                <a:extLst>
                  <a:ext uri="{FF2B5EF4-FFF2-40B4-BE49-F238E27FC236}">
                    <a16:creationId xmlns:a16="http://schemas.microsoft.com/office/drawing/2014/main" id="{2CB96E5A-9F1A-49AC-A086-6CEAA940D25A}"/>
                  </a:ext>
                </a:extLst>
              </p:cNvPr>
              <p:cNvSpPr>
                <a:spLocks noChangeArrowheads="1"/>
              </p:cNvSpPr>
              <p:nvPr/>
            </p:nvSpPr>
            <p:spPr bwMode="auto">
              <a:xfrm>
                <a:off x="17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5" name="Oval 2773">
                <a:extLst>
                  <a:ext uri="{FF2B5EF4-FFF2-40B4-BE49-F238E27FC236}">
                    <a16:creationId xmlns:a16="http://schemas.microsoft.com/office/drawing/2014/main" id="{A5526F5E-A137-48FE-B00D-26BA4F8DDC47}"/>
                  </a:ext>
                </a:extLst>
              </p:cNvPr>
              <p:cNvSpPr>
                <a:spLocks noChangeArrowheads="1"/>
              </p:cNvSpPr>
              <p:nvPr/>
            </p:nvSpPr>
            <p:spPr bwMode="auto">
              <a:xfrm>
                <a:off x="1756"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6" name="Oval 2774">
                <a:extLst>
                  <a:ext uri="{FF2B5EF4-FFF2-40B4-BE49-F238E27FC236}">
                    <a16:creationId xmlns:a16="http://schemas.microsoft.com/office/drawing/2014/main" id="{9FE94C65-448B-49CB-87CC-526A3241C869}"/>
                  </a:ext>
                </a:extLst>
              </p:cNvPr>
              <p:cNvSpPr>
                <a:spLocks noChangeArrowheads="1"/>
              </p:cNvSpPr>
              <p:nvPr/>
            </p:nvSpPr>
            <p:spPr bwMode="auto">
              <a:xfrm>
                <a:off x="1756"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7" name="Oval 2775">
                <a:extLst>
                  <a:ext uri="{FF2B5EF4-FFF2-40B4-BE49-F238E27FC236}">
                    <a16:creationId xmlns:a16="http://schemas.microsoft.com/office/drawing/2014/main" id="{3D3E490B-D2A4-40BD-AE8B-BB542D5CAC68}"/>
                  </a:ext>
                </a:extLst>
              </p:cNvPr>
              <p:cNvSpPr>
                <a:spLocks noChangeArrowheads="1"/>
              </p:cNvSpPr>
              <p:nvPr/>
            </p:nvSpPr>
            <p:spPr bwMode="auto">
              <a:xfrm>
                <a:off x="184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8" name="Oval 2776">
                <a:extLst>
                  <a:ext uri="{FF2B5EF4-FFF2-40B4-BE49-F238E27FC236}">
                    <a16:creationId xmlns:a16="http://schemas.microsoft.com/office/drawing/2014/main" id="{7E49CDAC-70E1-4C99-BB91-90EA9E353A52}"/>
                  </a:ext>
                </a:extLst>
              </p:cNvPr>
              <p:cNvSpPr>
                <a:spLocks noChangeArrowheads="1"/>
              </p:cNvSpPr>
              <p:nvPr/>
            </p:nvSpPr>
            <p:spPr bwMode="auto">
              <a:xfrm>
                <a:off x="1726"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9" name="Oval 2777">
                <a:extLst>
                  <a:ext uri="{FF2B5EF4-FFF2-40B4-BE49-F238E27FC236}">
                    <a16:creationId xmlns:a16="http://schemas.microsoft.com/office/drawing/2014/main" id="{C1D72CD0-E379-4D12-88DC-DD5A2B9ACCAB}"/>
                  </a:ext>
                </a:extLst>
              </p:cNvPr>
              <p:cNvSpPr>
                <a:spLocks noChangeArrowheads="1"/>
              </p:cNvSpPr>
              <p:nvPr/>
            </p:nvSpPr>
            <p:spPr bwMode="auto">
              <a:xfrm>
                <a:off x="163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0" name="Oval 2778">
                <a:extLst>
                  <a:ext uri="{FF2B5EF4-FFF2-40B4-BE49-F238E27FC236}">
                    <a16:creationId xmlns:a16="http://schemas.microsoft.com/office/drawing/2014/main" id="{A3F057E8-4248-447B-8626-2C4D947F6E1F}"/>
                  </a:ext>
                </a:extLst>
              </p:cNvPr>
              <p:cNvSpPr>
                <a:spLocks noChangeArrowheads="1"/>
              </p:cNvSpPr>
              <p:nvPr/>
            </p:nvSpPr>
            <p:spPr bwMode="auto">
              <a:xfrm>
                <a:off x="148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1" name="Oval 2779">
                <a:extLst>
                  <a:ext uri="{FF2B5EF4-FFF2-40B4-BE49-F238E27FC236}">
                    <a16:creationId xmlns:a16="http://schemas.microsoft.com/office/drawing/2014/main" id="{1A7F55BD-DF82-4538-BB88-EB7DD8D4CF94}"/>
                  </a:ext>
                </a:extLst>
              </p:cNvPr>
              <p:cNvSpPr>
                <a:spLocks noChangeArrowheads="1"/>
              </p:cNvSpPr>
              <p:nvPr/>
            </p:nvSpPr>
            <p:spPr bwMode="auto">
              <a:xfrm>
                <a:off x="124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2" name="Oval 2780">
                <a:extLst>
                  <a:ext uri="{FF2B5EF4-FFF2-40B4-BE49-F238E27FC236}">
                    <a16:creationId xmlns:a16="http://schemas.microsoft.com/office/drawing/2014/main" id="{6C40FEB8-8097-4AAD-B779-32D54787DB53}"/>
                  </a:ext>
                </a:extLst>
              </p:cNvPr>
              <p:cNvSpPr>
                <a:spLocks noChangeArrowheads="1"/>
              </p:cNvSpPr>
              <p:nvPr/>
            </p:nvSpPr>
            <p:spPr bwMode="auto">
              <a:xfrm>
                <a:off x="1306"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3" name="Oval 2781">
                <a:extLst>
                  <a:ext uri="{FF2B5EF4-FFF2-40B4-BE49-F238E27FC236}">
                    <a16:creationId xmlns:a16="http://schemas.microsoft.com/office/drawing/2014/main" id="{2C856F3F-E9D6-4AC2-B495-B8150726AFCE}"/>
                  </a:ext>
                </a:extLst>
              </p:cNvPr>
              <p:cNvSpPr>
                <a:spLocks noChangeArrowheads="1"/>
              </p:cNvSpPr>
              <p:nvPr/>
            </p:nvSpPr>
            <p:spPr bwMode="auto">
              <a:xfrm>
                <a:off x="14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428" name="Group 2983">
              <a:extLst>
                <a:ext uri="{FF2B5EF4-FFF2-40B4-BE49-F238E27FC236}">
                  <a16:creationId xmlns:a16="http://schemas.microsoft.com/office/drawing/2014/main" id="{8A56498B-A42D-4618-8D99-B55A311E6582}"/>
                </a:ext>
              </a:extLst>
            </p:cNvPr>
            <p:cNvGrpSpPr>
              <a:grpSpLocks/>
            </p:cNvGrpSpPr>
            <p:nvPr/>
          </p:nvGrpSpPr>
          <p:grpSpPr bwMode="auto">
            <a:xfrm>
              <a:off x="1246" y="120"/>
              <a:ext cx="1979" cy="3120"/>
              <a:chOff x="1246" y="120"/>
              <a:chExt cx="1979" cy="3120"/>
            </a:xfrm>
          </p:grpSpPr>
          <p:sp>
            <p:nvSpPr>
              <p:cNvPr id="614" name="Oval 2783">
                <a:extLst>
                  <a:ext uri="{FF2B5EF4-FFF2-40B4-BE49-F238E27FC236}">
                    <a16:creationId xmlns:a16="http://schemas.microsoft.com/office/drawing/2014/main" id="{7671D647-C5D9-468A-AE0D-82488CDD5F31}"/>
                  </a:ext>
                </a:extLst>
              </p:cNvPr>
              <p:cNvSpPr>
                <a:spLocks noChangeArrowheads="1"/>
              </p:cNvSpPr>
              <p:nvPr/>
            </p:nvSpPr>
            <p:spPr bwMode="auto">
              <a:xfrm>
                <a:off x="142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5" name="Oval 2784">
                <a:extLst>
                  <a:ext uri="{FF2B5EF4-FFF2-40B4-BE49-F238E27FC236}">
                    <a16:creationId xmlns:a16="http://schemas.microsoft.com/office/drawing/2014/main" id="{E0E2FB97-ADBE-4E34-9B4E-406F8CBAF11D}"/>
                  </a:ext>
                </a:extLst>
              </p:cNvPr>
              <p:cNvSpPr>
                <a:spLocks noChangeArrowheads="1"/>
              </p:cNvSpPr>
              <p:nvPr/>
            </p:nvSpPr>
            <p:spPr bwMode="auto">
              <a:xfrm>
                <a:off x="1396"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6" name="Oval 2785">
                <a:extLst>
                  <a:ext uri="{FF2B5EF4-FFF2-40B4-BE49-F238E27FC236}">
                    <a16:creationId xmlns:a16="http://schemas.microsoft.com/office/drawing/2014/main" id="{6A14F4D4-F96E-457A-9483-DD8339A4880C}"/>
                  </a:ext>
                </a:extLst>
              </p:cNvPr>
              <p:cNvSpPr>
                <a:spLocks noChangeArrowheads="1"/>
              </p:cNvSpPr>
              <p:nvPr/>
            </p:nvSpPr>
            <p:spPr bwMode="auto">
              <a:xfrm>
                <a:off x="145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7" name="Oval 2786">
                <a:extLst>
                  <a:ext uri="{FF2B5EF4-FFF2-40B4-BE49-F238E27FC236}">
                    <a16:creationId xmlns:a16="http://schemas.microsoft.com/office/drawing/2014/main" id="{1EFEC4B6-49A1-4D20-BAEB-662CE3B60D58}"/>
                  </a:ext>
                </a:extLst>
              </p:cNvPr>
              <p:cNvSpPr>
                <a:spLocks noChangeArrowheads="1"/>
              </p:cNvSpPr>
              <p:nvPr/>
            </p:nvSpPr>
            <p:spPr bwMode="auto">
              <a:xfrm>
                <a:off x="1366"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8" name="Oval 2787">
                <a:extLst>
                  <a:ext uri="{FF2B5EF4-FFF2-40B4-BE49-F238E27FC236}">
                    <a16:creationId xmlns:a16="http://schemas.microsoft.com/office/drawing/2014/main" id="{E642753B-0593-4A58-B1D1-13C2419B2FBD}"/>
                  </a:ext>
                </a:extLst>
              </p:cNvPr>
              <p:cNvSpPr>
                <a:spLocks noChangeArrowheads="1"/>
              </p:cNvSpPr>
              <p:nvPr/>
            </p:nvSpPr>
            <p:spPr bwMode="auto">
              <a:xfrm>
                <a:off x="127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9" name="Oval 2788">
                <a:extLst>
                  <a:ext uri="{FF2B5EF4-FFF2-40B4-BE49-F238E27FC236}">
                    <a16:creationId xmlns:a16="http://schemas.microsoft.com/office/drawing/2014/main" id="{DCA9B4A5-52EE-4282-A706-D6D0F1302736}"/>
                  </a:ext>
                </a:extLst>
              </p:cNvPr>
              <p:cNvSpPr>
                <a:spLocks noChangeArrowheads="1"/>
              </p:cNvSpPr>
              <p:nvPr/>
            </p:nvSpPr>
            <p:spPr bwMode="auto">
              <a:xfrm>
                <a:off x="1306"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0" name="Oval 2789">
                <a:extLst>
                  <a:ext uri="{FF2B5EF4-FFF2-40B4-BE49-F238E27FC236}">
                    <a16:creationId xmlns:a16="http://schemas.microsoft.com/office/drawing/2014/main" id="{5FBCDD7D-4E95-4424-B56F-56DE0847E8D2}"/>
                  </a:ext>
                </a:extLst>
              </p:cNvPr>
              <p:cNvSpPr>
                <a:spLocks noChangeArrowheads="1"/>
              </p:cNvSpPr>
              <p:nvPr/>
            </p:nvSpPr>
            <p:spPr bwMode="auto">
              <a:xfrm>
                <a:off x="1276"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1" name="Oval 2790">
                <a:extLst>
                  <a:ext uri="{FF2B5EF4-FFF2-40B4-BE49-F238E27FC236}">
                    <a16:creationId xmlns:a16="http://schemas.microsoft.com/office/drawing/2014/main" id="{E201B909-4902-42F5-8250-38C40D35236D}"/>
                  </a:ext>
                </a:extLst>
              </p:cNvPr>
              <p:cNvSpPr>
                <a:spLocks noChangeArrowheads="1"/>
              </p:cNvSpPr>
              <p:nvPr/>
            </p:nvSpPr>
            <p:spPr bwMode="auto">
              <a:xfrm>
                <a:off x="124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2" name="Oval 2791">
                <a:extLst>
                  <a:ext uri="{FF2B5EF4-FFF2-40B4-BE49-F238E27FC236}">
                    <a16:creationId xmlns:a16="http://schemas.microsoft.com/office/drawing/2014/main" id="{520CAFF5-368F-4D8B-8044-89C3D5EE5749}"/>
                  </a:ext>
                </a:extLst>
              </p:cNvPr>
              <p:cNvSpPr>
                <a:spLocks noChangeArrowheads="1"/>
              </p:cNvSpPr>
              <p:nvPr/>
            </p:nvSpPr>
            <p:spPr bwMode="auto">
              <a:xfrm>
                <a:off x="1306"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3" name="Oval 2792">
                <a:extLst>
                  <a:ext uri="{FF2B5EF4-FFF2-40B4-BE49-F238E27FC236}">
                    <a16:creationId xmlns:a16="http://schemas.microsoft.com/office/drawing/2014/main" id="{21CC1D6B-2AAF-4C27-AD53-B2F1C658FFA6}"/>
                  </a:ext>
                </a:extLst>
              </p:cNvPr>
              <p:cNvSpPr>
                <a:spLocks noChangeArrowheads="1"/>
              </p:cNvSpPr>
              <p:nvPr/>
            </p:nvSpPr>
            <p:spPr bwMode="auto">
              <a:xfrm>
                <a:off x="1576"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4" name="Oval 2793">
                <a:extLst>
                  <a:ext uri="{FF2B5EF4-FFF2-40B4-BE49-F238E27FC236}">
                    <a16:creationId xmlns:a16="http://schemas.microsoft.com/office/drawing/2014/main" id="{6DDE942E-476F-4E40-BF06-32FA6DDA30FA}"/>
                  </a:ext>
                </a:extLst>
              </p:cNvPr>
              <p:cNvSpPr>
                <a:spLocks noChangeArrowheads="1"/>
              </p:cNvSpPr>
              <p:nvPr/>
            </p:nvSpPr>
            <p:spPr bwMode="auto">
              <a:xfrm>
                <a:off x="16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5" name="Oval 2794">
                <a:extLst>
                  <a:ext uri="{FF2B5EF4-FFF2-40B4-BE49-F238E27FC236}">
                    <a16:creationId xmlns:a16="http://schemas.microsoft.com/office/drawing/2014/main" id="{E007F1EE-5FF1-4BAB-96C4-9D77B9046F5F}"/>
                  </a:ext>
                </a:extLst>
              </p:cNvPr>
              <p:cNvSpPr>
                <a:spLocks noChangeArrowheads="1"/>
              </p:cNvSpPr>
              <p:nvPr/>
            </p:nvSpPr>
            <p:spPr bwMode="auto">
              <a:xfrm>
                <a:off x="1756"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6" name="Oval 2795">
                <a:extLst>
                  <a:ext uri="{FF2B5EF4-FFF2-40B4-BE49-F238E27FC236}">
                    <a16:creationId xmlns:a16="http://schemas.microsoft.com/office/drawing/2014/main" id="{08C67F43-7499-4E3C-9859-6DA828CB6555}"/>
                  </a:ext>
                </a:extLst>
              </p:cNvPr>
              <p:cNvSpPr>
                <a:spLocks noChangeArrowheads="1"/>
              </p:cNvSpPr>
              <p:nvPr/>
            </p:nvSpPr>
            <p:spPr bwMode="auto">
              <a:xfrm>
                <a:off x="172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7" name="Oval 2796">
                <a:extLst>
                  <a:ext uri="{FF2B5EF4-FFF2-40B4-BE49-F238E27FC236}">
                    <a16:creationId xmlns:a16="http://schemas.microsoft.com/office/drawing/2014/main" id="{370F866D-81D3-45EB-87D8-B76E48F98FB5}"/>
                  </a:ext>
                </a:extLst>
              </p:cNvPr>
              <p:cNvSpPr>
                <a:spLocks noChangeArrowheads="1"/>
              </p:cNvSpPr>
              <p:nvPr/>
            </p:nvSpPr>
            <p:spPr bwMode="auto">
              <a:xfrm>
                <a:off x="1726"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8" name="Oval 2797">
                <a:extLst>
                  <a:ext uri="{FF2B5EF4-FFF2-40B4-BE49-F238E27FC236}">
                    <a16:creationId xmlns:a16="http://schemas.microsoft.com/office/drawing/2014/main" id="{A98A5CA3-B1B7-439E-BAFF-459C537CF9BE}"/>
                  </a:ext>
                </a:extLst>
              </p:cNvPr>
              <p:cNvSpPr>
                <a:spLocks noChangeArrowheads="1"/>
              </p:cNvSpPr>
              <p:nvPr/>
            </p:nvSpPr>
            <p:spPr bwMode="auto">
              <a:xfrm>
                <a:off x="163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29" name="Oval 2798">
                <a:extLst>
                  <a:ext uri="{FF2B5EF4-FFF2-40B4-BE49-F238E27FC236}">
                    <a16:creationId xmlns:a16="http://schemas.microsoft.com/office/drawing/2014/main" id="{22287017-9D15-4D59-ABF7-FCD843DE9CE1}"/>
                  </a:ext>
                </a:extLst>
              </p:cNvPr>
              <p:cNvSpPr>
                <a:spLocks noChangeArrowheads="1"/>
              </p:cNvSpPr>
              <p:nvPr/>
            </p:nvSpPr>
            <p:spPr bwMode="auto">
              <a:xfrm>
                <a:off x="16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0" name="Oval 2799">
                <a:extLst>
                  <a:ext uri="{FF2B5EF4-FFF2-40B4-BE49-F238E27FC236}">
                    <a16:creationId xmlns:a16="http://schemas.microsoft.com/office/drawing/2014/main" id="{6724C46B-29EC-42D4-BA4A-99AE88991353}"/>
                  </a:ext>
                </a:extLst>
              </p:cNvPr>
              <p:cNvSpPr>
                <a:spLocks noChangeArrowheads="1"/>
              </p:cNvSpPr>
              <p:nvPr/>
            </p:nvSpPr>
            <p:spPr bwMode="auto">
              <a:xfrm>
                <a:off x="175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1" name="Oval 2800">
                <a:extLst>
                  <a:ext uri="{FF2B5EF4-FFF2-40B4-BE49-F238E27FC236}">
                    <a16:creationId xmlns:a16="http://schemas.microsoft.com/office/drawing/2014/main" id="{8A080BF7-F520-4E3E-8999-276E78B81CB8}"/>
                  </a:ext>
                </a:extLst>
              </p:cNvPr>
              <p:cNvSpPr>
                <a:spLocks noChangeArrowheads="1"/>
              </p:cNvSpPr>
              <p:nvPr/>
            </p:nvSpPr>
            <p:spPr bwMode="auto">
              <a:xfrm>
                <a:off x="154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2" name="Oval 2801">
                <a:extLst>
                  <a:ext uri="{FF2B5EF4-FFF2-40B4-BE49-F238E27FC236}">
                    <a16:creationId xmlns:a16="http://schemas.microsoft.com/office/drawing/2014/main" id="{E9E8A0BD-0EC2-4ADF-8F1A-4D28A25E76BE}"/>
                  </a:ext>
                </a:extLst>
              </p:cNvPr>
              <p:cNvSpPr>
                <a:spLocks noChangeArrowheads="1"/>
              </p:cNvSpPr>
              <p:nvPr/>
            </p:nvSpPr>
            <p:spPr bwMode="auto">
              <a:xfrm>
                <a:off x="15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3" name="Oval 2802">
                <a:extLst>
                  <a:ext uri="{FF2B5EF4-FFF2-40B4-BE49-F238E27FC236}">
                    <a16:creationId xmlns:a16="http://schemas.microsoft.com/office/drawing/2014/main" id="{65A27CC2-0826-4BD6-BBF7-9976DEE3360D}"/>
                  </a:ext>
                </a:extLst>
              </p:cNvPr>
              <p:cNvSpPr>
                <a:spLocks noChangeArrowheads="1"/>
              </p:cNvSpPr>
              <p:nvPr/>
            </p:nvSpPr>
            <p:spPr bwMode="auto">
              <a:xfrm>
                <a:off x="160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4" name="Oval 2803">
                <a:extLst>
                  <a:ext uri="{FF2B5EF4-FFF2-40B4-BE49-F238E27FC236}">
                    <a16:creationId xmlns:a16="http://schemas.microsoft.com/office/drawing/2014/main" id="{3F89931B-A5F2-4315-B02D-6E031FCB2689}"/>
                  </a:ext>
                </a:extLst>
              </p:cNvPr>
              <p:cNvSpPr>
                <a:spLocks noChangeArrowheads="1"/>
              </p:cNvSpPr>
              <p:nvPr/>
            </p:nvSpPr>
            <p:spPr bwMode="auto">
              <a:xfrm>
                <a:off x="1666"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5" name="Oval 2804">
                <a:extLst>
                  <a:ext uri="{FF2B5EF4-FFF2-40B4-BE49-F238E27FC236}">
                    <a16:creationId xmlns:a16="http://schemas.microsoft.com/office/drawing/2014/main" id="{3DE76186-AAA4-4AEF-9F6A-4DFC5BA37AD3}"/>
                  </a:ext>
                </a:extLst>
              </p:cNvPr>
              <p:cNvSpPr>
                <a:spLocks noChangeArrowheads="1"/>
              </p:cNvSpPr>
              <p:nvPr/>
            </p:nvSpPr>
            <p:spPr bwMode="auto">
              <a:xfrm>
                <a:off x="175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6" name="Oval 2805">
                <a:extLst>
                  <a:ext uri="{FF2B5EF4-FFF2-40B4-BE49-F238E27FC236}">
                    <a16:creationId xmlns:a16="http://schemas.microsoft.com/office/drawing/2014/main" id="{67C497FC-3DE1-4C10-9102-4432EB2A4E4E}"/>
                  </a:ext>
                </a:extLst>
              </p:cNvPr>
              <p:cNvSpPr>
                <a:spLocks noChangeArrowheads="1"/>
              </p:cNvSpPr>
              <p:nvPr/>
            </p:nvSpPr>
            <p:spPr bwMode="auto">
              <a:xfrm>
                <a:off x="169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7" name="Oval 2806">
                <a:extLst>
                  <a:ext uri="{FF2B5EF4-FFF2-40B4-BE49-F238E27FC236}">
                    <a16:creationId xmlns:a16="http://schemas.microsoft.com/office/drawing/2014/main" id="{C4E9D81B-128A-4166-B074-4EA2828EB838}"/>
                  </a:ext>
                </a:extLst>
              </p:cNvPr>
              <p:cNvSpPr>
                <a:spLocks noChangeArrowheads="1"/>
              </p:cNvSpPr>
              <p:nvPr/>
            </p:nvSpPr>
            <p:spPr bwMode="auto">
              <a:xfrm>
                <a:off x="1456"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8" name="Oval 2807">
                <a:extLst>
                  <a:ext uri="{FF2B5EF4-FFF2-40B4-BE49-F238E27FC236}">
                    <a16:creationId xmlns:a16="http://schemas.microsoft.com/office/drawing/2014/main" id="{6A591962-90CF-4D08-9EC1-9D8D4105B66C}"/>
                  </a:ext>
                </a:extLst>
              </p:cNvPr>
              <p:cNvSpPr>
                <a:spLocks noChangeArrowheads="1"/>
              </p:cNvSpPr>
              <p:nvPr/>
            </p:nvSpPr>
            <p:spPr bwMode="auto">
              <a:xfrm>
                <a:off x="142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39" name="Oval 2808">
                <a:extLst>
                  <a:ext uri="{FF2B5EF4-FFF2-40B4-BE49-F238E27FC236}">
                    <a16:creationId xmlns:a16="http://schemas.microsoft.com/office/drawing/2014/main" id="{3FC57260-504C-42EE-BBD6-37BF5D377DA8}"/>
                  </a:ext>
                </a:extLst>
              </p:cNvPr>
              <p:cNvSpPr>
                <a:spLocks noChangeArrowheads="1"/>
              </p:cNvSpPr>
              <p:nvPr/>
            </p:nvSpPr>
            <p:spPr bwMode="auto">
              <a:xfrm>
                <a:off x="127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0" name="Oval 2809">
                <a:extLst>
                  <a:ext uri="{FF2B5EF4-FFF2-40B4-BE49-F238E27FC236}">
                    <a16:creationId xmlns:a16="http://schemas.microsoft.com/office/drawing/2014/main" id="{8F6099C9-C8A5-4327-BE9E-A8CEC4B65706}"/>
                  </a:ext>
                </a:extLst>
              </p:cNvPr>
              <p:cNvSpPr>
                <a:spLocks noChangeArrowheads="1"/>
              </p:cNvSpPr>
              <p:nvPr/>
            </p:nvSpPr>
            <p:spPr bwMode="auto">
              <a:xfrm>
                <a:off x="130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1" name="Oval 2810">
                <a:extLst>
                  <a:ext uri="{FF2B5EF4-FFF2-40B4-BE49-F238E27FC236}">
                    <a16:creationId xmlns:a16="http://schemas.microsoft.com/office/drawing/2014/main" id="{9D13C72F-4361-4DE9-A281-D60633197432}"/>
                  </a:ext>
                </a:extLst>
              </p:cNvPr>
              <p:cNvSpPr>
                <a:spLocks noChangeArrowheads="1"/>
              </p:cNvSpPr>
              <p:nvPr/>
            </p:nvSpPr>
            <p:spPr bwMode="auto">
              <a:xfrm>
                <a:off x="127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2" name="Oval 2811">
                <a:extLst>
                  <a:ext uri="{FF2B5EF4-FFF2-40B4-BE49-F238E27FC236}">
                    <a16:creationId xmlns:a16="http://schemas.microsoft.com/office/drawing/2014/main" id="{3B8BDE32-C178-4C71-8DE9-56C6B69610CF}"/>
                  </a:ext>
                </a:extLst>
              </p:cNvPr>
              <p:cNvSpPr>
                <a:spLocks noChangeArrowheads="1"/>
              </p:cNvSpPr>
              <p:nvPr/>
            </p:nvSpPr>
            <p:spPr bwMode="auto">
              <a:xfrm>
                <a:off x="127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3" name="Oval 2812">
                <a:extLst>
                  <a:ext uri="{FF2B5EF4-FFF2-40B4-BE49-F238E27FC236}">
                    <a16:creationId xmlns:a16="http://schemas.microsoft.com/office/drawing/2014/main" id="{DA49BA94-D330-4B9D-AFC4-2E01711390AA}"/>
                  </a:ext>
                </a:extLst>
              </p:cNvPr>
              <p:cNvSpPr>
                <a:spLocks noChangeArrowheads="1"/>
              </p:cNvSpPr>
              <p:nvPr/>
            </p:nvSpPr>
            <p:spPr bwMode="auto">
              <a:xfrm>
                <a:off x="1246"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4" name="Oval 2813">
                <a:extLst>
                  <a:ext uri="{FF2B5EF4-FFF2-40B4-BE49-F238E27FC236}">
                    <a16:creationId xmlns:a16="http://schemas.microsoft.com/office/drawing/2014/main" id="{EABF858A-53A7-4EE9-B8B0-3A24BFB6E124}"/>
                  </a:ext>
                </a:extLst>
              </p:cNvPr>
              <p:cNvSpPr>
                <a:spLocks noChangeArrowheads="1"/>
              </p:cNvSpPr>
              <p:nvPr/>
            </p:nvSpPr>
            <p:spPr bwMode="auto">
              <a:xfrm>
                <a:off x="12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5" name="Oval 2814">
                <a:extLst>
                  <a:ext uri="{FF2B5EF4-FFF2-40B4-BE49-F238E27FC236}">
                    <a16:creationId xmlns:a16="http://schemas.microsoft.com/office/drawing/2014/main" id="{47720E1B-A35C-4D56-B817-08C742B6BEFE}"/>
                  </a:ext>
                </a:extLst>
              </p:cNvPr>
              <p:cNvSpPr>
                <a:spLocks noChangeArrowheads="1"/>
              </p:cNvSpPr>
              <p:nvPr/>
            </p:nvSpPr>
            <p:spPr bwMode="auto">
              <a:xfrm>
                <a:off x="133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6" name="Oval 2815">
                <a:extLst>
                  <a:ext uri="{FF2B5EF4-FFF2-40B4-BE49-F238E27FC236}">
                    <a16:creationId xmlns:a16="http://schemas.microsoft.com/office/drawing/2014/main" id="{D95634EE-39AB-4FA3-8939-C1638B68731E}"/>
                  </a:ext>
                </a:extLst>
              </p:cNvPr>
              <p:cNvSpPr>
                <a:spLocks noChangeArrowheads="1"/>
              </p:cNvSpPr>
              <p:nvPr/>
            </p:nvSpPr>
            <p:spPr bwMode="auto">
              <a:xfrm>
                <a:off x="130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7" name="Oval 2816">
                <a:extLst>
                  <a:ext uri="{FF2B5EF4-FFF2-40B4-BE49-F238E27FC236}">
                    <a16:creationId xmlns:a16="http://schemas.microsoft.com/office/drawing/2014/main" id="{B71DD0FA-E317-4DCF-B4A3-AC439751D2E8}"/>
                  </a:ext>
                </a:extLst>
              </p:cNvPr>
              <p:cNvSpPr>
                <a:spLocks noChangeArrowheads="1"/>
              </p:cNvSpPr>
              <p:nvPr/>
            </p:nvSpPr>
            <p:spPr bwMode="auto">
              <a:xfrm>
                <a:off x="145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8" name="Oval 2817">
                <a:extLst>
                  <a:ext uri="{FF2B5EF4-FFF2-40B4-BE49-F238E27FC236}">
                    <a16:creationId xmlns:a16="http://schemas.microsoft.com/office/drawing/2014/main" id="{226AF0AB-4791-417F-967E-13F304D7422E}"/>
                  </a:ext>
                </a:extLst>
              </p:cNvPr>
              <p:cNvSpPr>
                <a:spLocks noChangeArrowheads="1"/>
              </p:cNvSpPr>
              <p:nvPr/>
            </p:nvSpPr>
            <p:spPr bwMode="auto">
              <a:xfrm>
                <a:off x="133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49" name="Oval 2818">
                <a:extLst>
                  <a:ext uri="{FF2B5EF4-FFF2-40B4-BE49-F238E27FC236}">
                    <a16:creationId xmlns:a16="http://schemas.microsoft.com/office/drawing/2014/main" id="{83EFBA42-5CF4-458B-9AC8-9E0F2B363778}"/>
                  </a:ext>
                </a:extLst>
              </p:cNvPr>
              <p:cNvSpPr>
                <a:spLocks noChangeArrowheads="1"/>
              </p:cNvSpPr>
              <p:nvPr/>
            </p:nvSpPr>
            <p:spPr bwMode="auto">
              <a:xfrm>
                <a:off x="1516"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0" name="Oval 2819">
                <a:extLst>
                  <a:ext uri="{FF2B5EF4-FFF2-40B4-BE49-F238E27FC236}">
                    <a16:creationId xmlns:a16="http://schemas.microsoft.com/office/drawing/2014/main" id="{F07B70F7-4A3F-4805-A577-76A459DD33D8}"/>
                  </a:ext>
                </a:extLst>
              </p:cNvPr>
              <p:cNvSpPr>
                <a:spLocks noChangeArrowheads="1"/>
              </p:cNvSpPr>
              <p:nvPr/>
            </p:nvSpPr>
            <p:spPr bwMode="auto">
              <a:xfrm>
                <a:off x="178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1" name="Oval 2820">
                <a:extLst>
                  <a:ext uri="{FF2B5EF4-FFF2-40B4-BE49-F238E27FC236}">
                    <a16:creationId xmlns:a16="http://schemas.microsoft.com/office/drawing/2014/main" id="{C6FD4C59-0A37-4391-94B4-C7102F95C0B9}"/>
                  </a:ext>
                </a:extLst>
              </p:cNvPr>
              <p:cNvSpPr>
                <a:spLocks noChangeArrowheads="1"/>
              </p:cNvSpPr>
              <p:nvPr/>
            </p:nvSpPr>
            <p:spPr bwMode="auto">
              <a:xfrm>
                <a:off x="15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2" name="Oval 2821">
                <a:extLst>
                  <a:ext uri="{FF2B5EF4-FFF2-40B4-BE49-F238E27FC236}">
                    <a16:creationId xmlns:a16="http://schemas.microsoft.com/office/drawing/2014/main" id="{A28FCB86-EF3F-4C27-9C53-70DEBFD933FF}"/>
                  </a:ext>
                </a:extLst>
              </p:cNvPr>
              <p:cNvSpPr>
                <a:spLocks noChangeArrowheads="1"/>
              </p:cNvSpPr>
              <p:nvPr/>
            </p:nvSpPr>
            <p:spPr bwMode="auto">
              <a:xfrm>
                <a:off x="154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3" name="Oval 2822">
                <a:extLst>
                  <a:ext uri="{FF2B5EF4-FFF2-40B4-BE49-F238E27FC236}">
                    <a16:creationId xmlns:a16="http://schemas.microsoft.com/office/drawing/2014/main" id="{11D7E5A5-5EE8-411D-873B-B46B3CD8A34C}"/>
                  </a:ext>
                </a:extLst>
              </p:cNvPr>
              <p:cNvSpPr>
                <a:spLocks noChangeArrowheads="1"/>
              </p:cNvSpPr>
              <p:nvPr/>
            </p:nvSpPr>
            <p:spPr bwMode="auto">
              <a:xfrm>
                <a:off x="1666"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4" name="Oval 2823">
                <a:extLst>
                  <a:ext uri="{FF2B5EF4-FFF2-40B4-BE49-F238E27FC236}">
                    <a16:creationId xmlns:a16="http://schemas.microsoft.com/office/drawing/2014/main" id="{0E701E8C-6F0B-48E4-B797-D06BC158DF47}"/>
                  </a:ext>
                </a:extLst>
              </p:cNvPr>
              <p:cNvSpPr>
                <a:spLocks noChangeArrowheads="1"/>
              </p:cNvSpPr>
              <p:nvPr/>
            </p:nvSpPr>
            <p:spPr bwMode="auto">
              <a:xfrm>
                <a:off x="151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5" name="Oval 2824">
                <a:extLst>
                  <a:ext uri="{FF2B5EF4-FFF2-40B4-BE49-F238E27FC236}">
                    <a16:creationId xmlns:a16="http://schemas.microsoft.com/office/drawing/2014/main" id="{F404D14E-33B2-48F7-A780-45B034874AE9}"/>
                  </a:ext>
                </a:extLst>
              </p:cNvPr>
              <p:cNvSpPr>
                <a:spLocks noChangeArrowheads="1"/>
              </p:cNvSpPr>
              <p:nvPr/>
            </p:nvSpPr>
            <p:spPr bwMode="auto">
              <a:xfrm>
                <a:off x="145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6" name="Oval 2825">
                <a:extLst>
                  <a:ext uri="{FF2B5EF4-FFF2-40B4-BE49-F238E27FC236}">
                    <a16:creationId xmlns:a16="http://schemas.microsoft.com/office/drawing/2014/main" id="{7DB0CFD6-08DC-47A8-8B4A-F878CA814FA6}"/>
                  </a:ext>
                </a:extLst>
              </p:cNvPr>
              <p:cNvSpPr>
                <a:spLocks noChangeArrowheads="1"/>
              </p:cNvSpPr>
              <p:nvPr/>
            </p:nvSpPr>
            <p:spPr bwMode="auto">
              <a:xfrm>
                <a:off x="139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7" name="Oval 2826">
                <a:extLst>
                  <a:ext uri="{FF2B5EF4-FFF2-40B4-BE49-F238E27FC236}">
                    <a16:creationId xmlns:a16="http://schemas.microsoft.com/office/drawing/2014/main" id="{A11E5B38-2D10-40F1-92B9-597384650ED1}"/>
                  </a:ext>
                </a:extLst>
              </p:cNvPr>
              <p:cNvSpPr>
                <a:spLocks noChangeArrowheads="1"/>
              </p:cNvSpPr>
              <p:nvPr/>
            </p:nvSpPr>
            <p:spPr bwMode="auto">
              <a:xfrm>
                <a:off x="1456"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8" name="Oval 2827">
                <a:extLst>
                  <a:ext uri="{FF2B5EF4-FFF2-40B4-BE49-F238E27FC236}">
                    <a16:creationId xmlns:a16="http://schemas.microsoft.com/office/drawing/2014/main" id="{5D859CF8-81B6-42A6-93C8-6B716B71E250}"/>
                  </a:ext>
                </a:extLst>
              </p:cNvPr>
              <p:cNvSpPr>
                <a:spLocks noChangeArrowheads="1"/>
              </p:cNvSpPr>
              <p:nvPr/>
            </p:nvSpPr>
            <p:spPr bwMode="auto">
              <a:xfrm>
                <a:off x="151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59" name="Oval 2828">
                <a:extLst>
                  <a:ext uri="{FF2B5EF4-FFF2-40B4-BE49-F238E27FC236}">
                    <a16:creationId xmlns:a16="http://schemas.microsoft.com/office/drawing/2014/main" id="{D98DB927-5F20-4B18-BC1B-FAD5822F695B}"/>
                  </a:ext>
                </a:extLst>
              </p:cNvPr>
              <p:cNvSpPr>
                <a:spLocks noChangeArrowheads="1"/>
              </p:cNvSpPr>
              <p:nvPr/>
            </p:nvSpPr>
            <p:spPr bwMode="auto">
              <a:xfrm>
                <a:off x="145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0" name="Oval 2829">
                <a:extLst>
                  <a:ext uri="{FF2B5EF4-FFF2-40B4-BE49-F238E27FC236}">
                    <a16:creationId xmlns:a16="http://schemas.microsoft.com/office/drawing/2014/main" id="{0DCE1A8F-D762-4136-8E45-7F3A2E11E006}"/>
                  </a:ext>
                </a:extLst>
              </p:cNvPr>
              <p:cNvSpPr>
                <a:spLocks noChangeArrowheads="1"/>
              </p:cNvSpPr>
              <p:nvPr/>
            </p:nvSpPr>
            <p:spPr bwMode="auto">
              <a:xfrm>
                <a:off x="1426"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1" name="Oval 2830">
                <a:extLst>
                  <a:ext uri="{FF2B5EF4-FFF2-40B4-BE49-F238E27FC236}">
                    <a16:creationId xmlns:a16="http://schemas.microsoft.com/office/drawing/2014/main" id="{803D710B-D83F-4F0B-9C64-65FC283AA4D6}"/>
                  </a:ext>
                </a:extLst>
              </p:cNvPr>
              <p:cNvSpPr>
                <a:spLocks noChangeArrowheads="1"/>
              </p:cNvSpPr>
              <p:nvPr/>
            </p:nvSpPr>
            <p:spPr bwMode="auto">
              <a:xfrm>
                <a:off x="1336"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2" name="Oval 2831">
                <a:extLst>
                  <a:ext uri="{FF2B5EF4-FFF2-40B4-BE49-F238E27FC236}">
                    <a16:creationId xmlns:a16="http://schemas.microsoft.com/office/drawing/2014/main" id="{47A261A0-B651-4570-A233-CD516ECFA479}"/>
                  </a:ext>
                </a:extLst>
              </p:cNvPr>
              <p:cNvSpPr>
                <a:spLocks noChangeArrowheads="1"/>
              </p:cNvSpPr>
              <p:nvPr/>
            </p:nvSpPr>
            <p:spPr bwMode="auto">
              <a:xfrm>
                <a:off x="130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3" name="Oval 2832">
                <a:extLst>
                  <a:ext uri="{FF2B5EF4-FFF2-40B4-BE49-F238E27FC236}">
                    <a16:creationId xmlns:a16="http://schemas.microsoft.com/office/drawing/2014/main" id="{ACDE2246-438F-4783-9795-6DED745F8C3D}"/>
                  </a:ext>
                </a:extLst>
              </p:cNvPr>
              <p:cNvSpPr>
                <a:spLocks noChangeArrowheads="1"/>
              </p:cNvSpPr>
              <p:nvPr/>
            </p:nvSpPr>
            <p:spPr bwMode="auto">
              <a:xfrm>
                <a:off x="1366"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4" name="Oval 2833">
                <a:extLst>
                  <a:ext uri="{FF2B5EF4-FFF2-40B4-BE49-F238E27FC236}">
                    <a16:creationId xmlns:a16="http://schemas.microsoft.com/office/drawing/2014/main" id="{585000DC-035A-4754-AC78-6B87546801F0}"/>
                  </a:ext>
                </a:extLst>
              </p:cNvPr>
              <p:cNvSpPr>
                <a:spLocks noChangeArrowheads="1"/>
              </p:cNvSpPr>
              <p:nvPr/>
            </p:nvSpPr>
            <p:spPr bwMode="auto">
              <a:xfrm>
                <a:off x="1246"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5" name="Oval 2834">
                <a:extLst>
                  <a:ext uri="{FF2B5EF4-FFF2-40B4-BE49-F238E27FC236}">
                    <a16:creationId xmlns:a16="http://schemas.microsoft.com/office/drawing/2014/main" id="{44EF1E94-254F-472A-AB72-B7536362F5D4}"/>
                  </a:ext>
                </a:extLst>
              </p:cNvPr>
              <p:cNvSpPr>
                <a:spLocks noChangeArrowheads="1"/>
              </p:cNvSpPr>
              <p:nvPr/>
            </p:nvSpPr>
            <p:spPr bwMode="auto">
              <a:xfrm>
                <a:off x="142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6" name="Oval 2835">
                <a:extLst>
                  <a:ext uri="{FF2B5EF4-FFF2-40B4-BE49-F238E27FC236}">
                    <a16:creationId xmlns:a16="http://schemas.microsoft.com/office/drawing/2014/main" id="{17CA308B-E5A4-4B23-8F69-5A1EB4F75641}"/>
                  </a:ext>
                </a:extLst>
              </p:cNvPr>
              <p:cNvSpPr>
                <a:spLocks noChangeArrowheads="1"/>
              </p:cNvSpPr>
              <p:nvPr/>
            </p:nvSpPr>
            <p:spPr bwMode="auto">
              <a:xfrm>
                <a:off x="1306"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7" name="Oval 2836">
                <a:extLst>
                  <a:ext uri="{FF2B5EF4-FFF2-40B4-BE49-F238E27FC236}">
                    <a16:creationId xmlns:a16="http://schemas.microsoft.com/office/drawing/2014/main" id="{C602F906-03D4-4F2E-8CEB-D185C77F0E40}"/>
                  </a:ext>
                </a:extLst>
              </p:cNvPr>
              <p:cNvSpPr>
                <a:spLocks noChangeArrowheads="1"/>
              </p:cNvSpPr>
              <p:nvPr/>
            </p:nvSpPr>
            <p:spPr bwMode="auto">
              <a:xfrm>
                <a:off x="142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8" name="Oval 2837">
                <a:extLst>
                  <a:ext uri="{FF2B5EF4-FFF2-40B4-BE49-F238E27FC236}">
                    <a16:creationId xmlns:a16="http://schemas.microsoft.com/office/drawing/2014/main" id="{E992FBEE-BB00-4678-8B07-36EACAB43162}"/>
                  </a:ext>
                </a:extLst>
              </p:cNvPr>
              <p:cNvSpPr>
                <a:spLocks noChangeArrowheads="1"/>
              </p:cNvSpPr>
              <p:nvPr/>
            </p:nvSpPr>
            <p:spPr bwMode="auto">
              <a:xfrm>
                <a:off x="12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69" name="Oval 2838">
                <a:extLst>
                  <a:ext uri="{FF2B5EF4-FFF2-40B4-BE49-F238E27FC236}">
                    <a16:creationId xmlns:a16="http://schemas.microsoft.com/office/drawing/2014/main" id="{7A150AED-AD24-4FF6-813D-EF3C57B2FE91}"/>
                  </a:ext>
                </a:extLst>
              </p:cNvPr>
              <p:cNvSpPr>
                <a:spLocks noChangeArrowheads="1"/>
              </p:cNvSpPr>
              <p:nvPr/>
            </p:nvSpPr>
            <p:spPr bwMode="auto">
              <a:xfrm>
                <a:off x="166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0" name="Oval 2839">
                <a:extLst>
                  <a:ext uri="{FF2B5EF4-FFF2-40B4-BE49-F238E27FC236}">
                    <a16:creationId xmlns:a16="http://schemas.microsoft.com/office/drawing/2014/main" id="{C2AAB5C1-D3D3-49D7-8182-12F7A4A84759}"/>
                  </a:ext>
                </a:extLst>
              </p:cNvPr>
              <p:cNvSpPr>
                <a:spLocks noChangeArrowheads="1"/>
              </p:cNvSpPr>
              <p:nvPr/>
            </p:nvSpPr>
            <p:spPr bwMode="auto">
              <a:xfrm>
                <a:off x="172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1" name="Oval 2840">
                <a:extLst>
                  <a:ext uri="{FF2B5EF4-FFF2-40B4-BE49-F238E27FC236}">
                    <a16:creationId xmlns:a16="http://schemas.microsoft.com/office/drawing/2014/main" id="{C78CE588-BE6A-4E23-B188-0936471B45CC}"/>
                  </a:ext>
                </a:extLst>
              </p:cNvPr>
              <p:cNvSpPr>
                <a:spLocks noChangeArrowheads="1"/>
              </p:cNvSpPr>
              <p:nvPr/>
            </p:nvSpPr>
            <p:spPr bwMode="auto">
              <a:xfrm>
                <a:off x="1576"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2" name="Oval 2841">
                <a:extLst>
                  <a:ext uri="{FF2B5EF4-FFF2-40B4-BE49-F238E27FC236}">
                    <a16:creationId xmlns:a16="http://schemas.microsoft.com/office/drawing/2014/main" id="{AAAD80FB-2BEB-4197-8FBB-35A69EEE5B75}"/>
                  </a:ext>
                </a:extLst>
              </p:cNvPr>
              <p:cNvSpPr>
                <a:spLocks noChangeArrowheads="1"/>
              </p:cNvSpPr>
              <p:nvPr/>
            </p:nvSpPr>
            <p:spPr bwMode="auto">
              <a:xfrm>
                <a:off x="184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3" name="Oval 2842">
                <a:extLst>
                  <a:ext uri="{FF2B5EF4-FFF2-40B4-BE49-F238E27FC236}">
                    <a16:creationId xmlns:a16="http://schemas.microsoft.com/office/drawing/2014/main" id="{FD1311EA-EDF6-45DA-B26F-70DE27E15D9E}"/>
                  </a:ext>
                </a:extLst>
              </p:cNvPr>
              <p:cNvSpPr>
                <a:spLocks noChangeArrowheads="1"/>
              </p:cNvSpPr>
              <p:nvPr/>
            </p:nvSpPr>
            <p:spPr bwMode="auto">
              <a:xfrm>
                <a:off x="181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4" name="Oval 2843">
                <a:extLst>
                  <a:ext uri="{FF2B5EF4-FFF2-40B4-BE49-F238E27FC236}">
                    <a16:creationId xmlns:a16="http://schemas.microsoft.com/office/drawing/2014/main" id="{889C10AE-E34A-49D3-829E-EAB851CAFF23}"/>
                  </a:ext>
                </a:extLst>
              </p:cNvPr>
              <p:cNvSpPr>
                <a:spLocks noChangeArrowheads="1"/>
              </p:cNvSpPr>
              <p:nvPr/>
            </p:nvSpPr>
            <p:spPr bwMode="auto">
              <a:xfrm>
                <a:off x="1816"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5" name="Oval 2844">
                <a:extLst>
                  <a:ext uri="{FF2B5EF4-FFF2-40B4-BE49-F238E27FC236}">
                    <a16:creationId xmlns:a16="http://schemas.microsoft.com/office/drawing/2014/main" id="{0674F46A-8E38-435B-85E6-15441F448131}"/>
                  </a:ext>
                </a:extLst>
              </p:cNvPr>
              <p:cNvSpPr>
                <a:spLocks noChangeArrowheads="1"/>
              </p:cNvSpPr>
              <p:nvPr/>
            </p:nvSpPr>
            <p:spPr bwMode="auto">
              <a:xfrm>
                <a:off x="193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6" name="Oval 2845">
                <a:extLst>
                  <a:ext uri="{FF2B5EF4-FFF2-40B4-BE49-F238E27FC236}">
                    <a16:creationId xmlns:a16="http://schemas.microsoft.com/office/drawing/2014/main" id="{B11B5E02-0B60-4FDB-B9F2-5C4BAE778D44}"/>
                  </a:ext>
                </a:extLst>
              </p:cNvPr>
              <p:cNvSpPr>
                <a:spLocks noChangeArrowheads="1"/>
              </p:cNvSpPr>
              <p:nvPr/>
            </p:nvSpPr>
            <p:spPr bwMode="auto">
              <a:xfrm>
                <a:off x="2086" y="7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7" name="Oval 2846">
                <a:extLst>
                  <a:ext uri="{FF2B5EF4-FFF2-40B4-BE49-F238E27FC236}">
                    <a16:creationId xmlns:a16="http://schemas.microsoft.com/office/drawing/2014/main" id="{4D8F94B6-8B76-4346-9A42-97B8FE232795}"/>
                  </a:ext>
                </a:extLst>
              </p:cNvPr>
              <p:cNvSpPr>
                <a:spLocks noChangeArrowheads="1"/>
              </p:cNvSpPr>
              <p:nvPr/>
            </p:nvSpPr>
            <p:spPr bwMode="auto">
              <a:xfrm>
                <a:off x="211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8" name="Oval 2847">
                <a:extLst>
                  <a:ext uri="{FF2B5EF4-FFF2-40B4-BE49-F238E27FC236}">
                    <a16:creationId xmlns:a16="http://schemas.microsoft.com/office/drawing/2014/main" id="{C67C9B40-9E81-4745-9D8C-765F1BEA3F59}"/>
                  </a:ext>
                </a:extLst>
              </p:cNvPr>
              <p:cNvSpPr>
                <a:spLocks noChangeArrowheads="1"/>
              </p:cNvSpPr>
              <p:nvPr/>
            </p:nvSpPr>
            <p:spPr bwMode="auto">
              <a:xfrm>
                <a:off x="199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79" name="Oval 2848">
                <a:extLst>
                  <a:ext uri="{FF2B5EF4-FFF2-40B4-BE49-F238E27FC236}">
                    <a16:creationId xmlns:a16="http://schemas.microsoft.com/office/drawing/2014/main" id="{ED3817DD-74D4-49A2-85A2-F636E13A1633}"/>
                  </a:ext>
                </a:extLst>
              </p:cNvPr>
              <p:cNvSpPr>
                <a:spLocks noChangeArrowheads="1"/>
              </p:cNvSpPr>
              <p:nvPr/>
            </p:nvSpPr>
            <p:spPr bwMode="auto">
              <a:xfrm>
                <a:off x="202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0" name="Oval 2849">
                <a:extLst>
                  <a:ext uri="{FF2B5EF4-FFF2-40B4-BE49-F238E27FC236}">
                    <a16:creationId xmlns:a16="http://schemas.microsoft.com/office/drawing/2014/main" id="{A811533D-4D20-456F-8F93-4B8B392BA104}"/>
                  </a:ext>
                </a:extLst>
              </p:cNvPr>
              <p:cNvSpPr>
                <a:spLocks noChangeArrowheads="1"/>
              </p:cNvSpPr>
              <p:nvPr/>
            </p:nvSpPr>
            <p:spPr bwMode="auto">
              <a:xfrm>
                <a:off x="184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1" name="Oval 2850">
                <a:extLst>
                  <a:ext uri="{FF2B5EF4-FFF2-40B4-BE49-F238E27FC236}">
                    <a16:creationId xmlns:a16="http://schemas.microsoft.com/office/drawing/2014/main" id="{749270EE-7B83-4FC9-8481-4F1F124FEECE}"/>
                  </a:ext>
                </a:extLst>
              </p:cNvPr>
              <p:cNvSpPr>
                <a:spLocks noChangeArrowheads="1"/>
              </p:cNvSpPr>
              <p:nvPr/>
            </p:nvSpPr>
            <p:spPr bwMode="auto">
              <a:xfrm>
                <a:off x="1846"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2" name="Oval 2851">
                <a:extLst>
                  <a:ext uri="{FF2B5EF4-FFF2-40B4-BE49-F238E27FC236}">
                    <a16:creationId xmlns:a16="http://schemas.microsoft.com/office/drawing/2014/main" id="{BB564B9E-8FA7-4048-8A2B-0484D7CF296B}"/>
                  </a:ext>
                </a:extLst>
              </p:cNvPr>
              <p:cNvSpPr>
                <a:spLocks noChangeArrowheads="1"/>
              </p:cNvSpPr>
              <p:nvPr/>
            </p:nvSpPr>
            <p:spPr bwMode="auto">
              <a:xfrm>
                <a:off x="241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3" name="Oval 2852">
                <a:extLst>
                  <a:ext uri="{FF2B5EF4-FFF2-40B4-BE49-F238E27FC236}">
                    <a16:creationId xmlns:a16="http://schemas.microsoft.com/office/drawing/2014/main" id="{507D20B6-DDCC-4397-86B4-488C05F5D2F7}"/>
                  </a:ext>
                </a:extLst>
              </p:cNvPr>
              <p:cNvSpPr>
                <a:spLocks noChangeArrowheads="1"/>
              </p:cNvSpPr>
              <p:nvPr/>
            </p:nvSpPr>
            <p:spPr bwMode="auto">
              <a:xfrm>
                <a:off x="259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4" name="Oval 2853">
                <a:extLst>
                  <a:ext uri="{FF2B5EF4-FFF2-40B4-BE49-F238E27FC236}">
                    <a16:creationId xmlns:a16="http://schemas.microsoft.com/office/drawing/2014/main" id="{7328082D-2EE1-4A29-9A23-DE04614BF8FF}"/>
                  </a:ext>
                </a:extLst>
              </p:cNvPr>
              <p:cNvSpPr>
                <a:spLocks noChangeArrowheads="1"/>
              </p:cNvSpPr>
              <p:nvPr/>
            </p:nvSpPr>
            <p:spPr bwMode="auto">
              <a:xfrm>
                <a:off x="220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5" name="Oval 2854">
                <a:extLst>
                  <a:ext uri="{FF2B5EF4-FFF2-40B4-BE49-F238E27FC236}">
                    <a16:creationId xmlns:a16="http://schemas.microsoft.com/office/drawing/2014/main" id="{8ABF83D6-1A69-42F7-899C-B2510A3EF08F}"/>
                  </a:ext>
                </a:extLst>
              </p:cNvPr>
              <p:cNvSpPr>
                <a:spLocks noChangeArrowheads="1"/>
              </p:cNvSpPr>
              <p:nvPr/>
            </p:nvSpPr>
            <p:spPr bwMode="auto">
              <a:xfrm>
                <a:off x="253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6" name="Oval 2855">
                <a:extLst>
                  <a:ext uri="{FF2B5EF4-FFF2-40B4-BE49-F238E27FC236}">
                    <a16:creationId xmlns:a16="http://schemas.microsoft.com/office/drawing/2014/main" id="{18ADF8B8-8A2C-4A55-BE22-7ECD41678268}"/>
                  </a:ext>
                </a:extLst>
              </p:cNvPr>
              <p:cNvSpPr>
                <a:spLocks noChangeArrowheads="1"/>
              </p:cNvSpPr>
              <p:nvPr/>
            </p:nvSpPr>
            <p:spPr bwMode="auto">
              <a:xfrm>
                <a:off x="238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7" name="Oval 2856">
                <a:extLst>
                  <a:ext uri="{FF2B5EF4-FFF2-40B4-BE49-F238E27FC236}">
                    <a16:creationId xmlns:a16="http://schemas.microsoft.com/office/drawing/2014/main" id="{E0EE2E8A-EAA2-44FC-B2F6-76D4200088A8}"/>
                  </a:ext>
                </a:extLst>
              </p:cNvPr>
              <p:cNvSpPr>
                <a:spLocks noChangeArrowheads="1"/>
              </p:cNvSpPr>
              <p:nvPr/>
            </p:nvSpPr>
            <p:spPr bwMode="auto">
              <a:xfrm>
                <a:off x="241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8" name="Oval 2857">
                <a:extLst>
                  <a:ext uri="{FF2B5EF4-FFF2-40B4-BE49-F238E27FC236}">
                    <a16:creationId xmlns:a16="http://schemas.microsoft.com/office/drawing/2014/main" id="{AF39C10F-E177-40A5-9ABC-8B63A9B425F5}"/>
                  </a:ext>
                </a:extLst>
              </p:cNvPr>
              <p:cNvSpPr>
                <a:spLocks noChangeArrowheads="1"/>
              </p:cNvSpPr>
              <p:nvPr/>
            </p:nvSpPr>
            <p:spPr bwMode="auto">
              <a:xfrm>
                <a:off x="232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89" name="Oval 2858">
                <a:extLst>
                  <a:ext uri="{FF2B5EF4-FFF2-40B4-BE49-F238E27FC236}">
                    <a16:creationId xmlns:a16="http://schemas.microsoft.com/office/drawing/2014/main" id="{34257BA2-6A64-4F01-A4B4-11EE8F8873DF}"/>
                  </a:ext>
                </a:extLst>
              </p:cNvPr>
              <p:cNvSpPr>
                <a:spLocks noChangeArrowheads="1"/>
              </p:cNvSpPr>
              <p:nvPr/>
            </p:nvSpPr>
            <p:spPr bwMode="auto">
              <a:xfrm>
                <a:off x="229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0" name="Oval 2859">
                <a:extLst>
                  <a:ext uri="{FF2B5EF4-FFF2-40B4-BE49-F238E27FC236}">
                    <a16:creationId xmlns:a16="http://schemas.microsoft.com/office/drawing/2014/main" id="{24683E68-5FB5-4A0A-9890-A5CF4E7C07CD}"/>
                  </a:ext>
                </a:extLst>
              </p:cNvPr>
              <p:cNvSpPr>
                <a:spLocks noChangeArrowheads="1"/>
              </p:cNvSpPr>
              <p:nvPr/>
            </p:nvSpPr>
            <p:spPr bwMode="auto">
              <a:xfrm>
                <a:off x="220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1" name="Oval 2860">
                <a:extLst>
                  <a:ext uri="{FF2B5EF4-FFF2-40B4-BE49-F238E27FC236}">
                    <a16:creationId xmlns:a16="http://schemas.microsoft.com/office/drawing/2014/main" id="{7F6FD102-0BC4-440E-9AD7-77AB3650A418}"/>
                  </a:ext>
                </a:extLst>
              </p:cNvPr>
              <p:cNvSpPr>
                <a:spLocks noChangeArrowheads="1"/>
              </p:cNvSpPr>
              <p:nvPr/>
            </p:nvSpPr>
            <p:spPr bwMode="auto">
              <a:xfrm>
                <a:off x="22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2" name="Oval 2861">
                <a:extLst>
                  <a:ext uri="{FF2B5EF4-FFF2-40B4-BE49-F238E27FC236}">
                    <a16:creationId xmlns:a16="http://schemas.microsoft.com/office/drawing/2014/main" id="{5CA49242-7249-48E8-B701-DDB910824B19}"/>
                  </a:ext>
                </a:extLst>
              </p:cNvPr>
              <p:cNvSpPr>
                <a:spLocks noChangeArrowheads="1"/>
              </p:cNvSpPr>
              <p:nvPr/>
            </p:nvSpPr>
            <p:spPr bwMode="auto">
              <a:xfrm>
                <a:off x="220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3" name="Oval 2862">
                <a:extLst>
                  <a:ext uri="{FF2B5EF4-FFF2-40B4-BE49-F238E27FC236}">
                    <a16:creationId xmlns:a16="http://schemas.microsoft.com/office/drawing/2014/main" id="{20B3376F-FA55-41DA-A969-8A40931C5307}"/>
                  </a:ext>
                </a:extLst>
              </p:cNvPr>
              <p:cNvSpPr>
                <a:spLocks noChangeArrowheads="1"/>
              </p:cNvSpPr>
              <p:nvPr/>
            </p:nvSpPr>
            <p:spPr bwMode="auto">
              <a:xfrm>
                <a:off x="220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4" name="Oval 2863">
                <a:extLst>
                  <a:ext uri="{FF2B5EF4-FFF2-40B4-BE49-F238E27FC236}">
                    <a16:creationId xmlns:a16="http://schemas.microsoft.com/office/drawing/2014/main" id="{44A12276-0AC7-490B-BA54-64103FEDB04D}"/>
                  </a:ext>
                </a:extLst>
              </p:cNvPr>
              <p:cNvSpPr>
                <a:spLocks noChangeArrowheads="1"/>
              </p:cNvSpPr>
              <p:nvPr/>
            </p:nvSpPr>
            <p:spPr bwMode="auto">
              <a:xfrm>
                <a:off x="226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5" name="Oval 2864">
                <a:extLst>
                  <a:ext uri="{FF2B5EF4-FFF2-40B4-BE49-F238E27FC236}">
                    <a16:creationId xmlns:a16="http://schemas.microsoft.com/office/drawing/2014/main" id="{8F35BB06-00C1-4934-8A85-2AE3701380D1}"/>
                  </a:ext>
                </a:extLst>
              </p:cNvPr>
              <p:cNvSpPr>
                <a:spLocks noChangeArrowheads="1"/>
              </p:cNvSpPr>
              <p:nvPr/>
            </p:nvSpPr>
            <p:spPr bwMode="auto">
              <a:xfrm>
                <a:off x="271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6" name="Oval 2865">
                <a:extLst>
                  <a:ext uri="{FF2B5EF4-FFF2-40B4-BE49-F238E27FC236}">
                    <a16:creationId xmlns:a16="http://schemas.microsoft.com/office/drawing/2014/main" id="{C502F2AF-B941-42DB-BBA2-8D30136234FA}"/>
                  </a:ext>
                </a:extLst>
              </p:cNvPr>
              <p:cNvSpPr>
                <a:spLocks noChangeArrowheads="1"/>
              </p:cNvSpPr>
              <p:nvPr/>
            </p:nvSpPr>
            <p:spPr bwMode="auto">
              <a:xfrm>
                <a:off x="274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7" name="Oval 2866">
                <a:extLst>
                  <a:ext uri="{FF2B5EF4-FFF2-40B4-BE49-F238E27FC236}">
                    <a16:creationId xmlns:a16="http://schemas.microsoft.com/office/drawing/2014/main" id="{711032EC-9D13-4F59-B6B6-466B8F04D689}"/>
                  </a:ext>
                </a:extLst>
              </p:cNvPr>
              <p:cNvSpPr>
                <a:spLocks noChangeArrowheads="1"/>
              </p:cNvSpPr>
              <p:nvPr/>
            </p:nvSpPr>
            <p:spPr bwMode="auto">
              <a:xfrm>
                <a:off x="277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8" name="Oval 2867">
                <a:extLst>
                  <a:ext uri="{FF2B5EF4-FFF2-40B4-BE49-F238E27FC236}">
                    <a16:creationId xmlns:a16="http://schemas.microsoft.com/office/drawing/2014/main" id="{96AEB4CB-42FC-45E1-B2CB-C060BB40EB33}"/>
                  </a:ext>
                </a:extLst>
              </p:cNvPr>
              <p:cNvSpPr>
                <a:spLocks noChangeArrowheads="1"/>
              </p:cNvSpPr>
              <p:nvPr/>
            </p:nvSpPr>
            <p:spPr bwMode="auto">
              <a:xfrm>
                <a:off x="271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99" name="Oval 2868">
                <a:extLst>
                  <a:ext uri="{FF2B5EF4-FFF2-40B4-BE49-F238E27FC236}">
                    <a16:creationId xmlns:a16="http://schemas.microsoft.com/office/drawing/2014/main" id="{935D3007-E5C1-40F3-9E1E-3A3000D762E9}"/>
                  </a:ext>
                </a:extLst>
              </p:cNvPr>
              <p:cNvSpPr>
                <a:spLocks noChangeArrowheads="1"/>
              </p:cNvSpPr>
              <p:nvPr/>
            </p:nvSpPr>
            <p:spPr bwMode="auto">
              <a:xfrm>
                <a:off x="268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0" name="Oval 2869">
                <a:extLst>
                  <a:ext uri="{FF2B5EF4-FFF2-40B4-BE49-F238E27FC236}">
                    <a16:creationId xmlns:a16="http://schemas.microsoft.com/office/drawing/2014/main" id="{668CF2C7-386D-4762-95BF-1A4812F89257}"/>
                  </a:ext>
                </a:extLst>
              </p:cNvPr>
              <p:cNvSpPr>
                <a:spLocks noChangeArrowheads="1"/>
              </p:cNvSpPr>
              <p:nvPr/>
            </p:nvSpPr>
            <p:spPr bwMode="auto">
              <a:xfrm>
                <a:off x="271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1" name="Oval 2870">
                <a:extLst>
                  <a:ext uri="{FF2B5EF4-FFF2-40B4-BE49-F238E27FC236}">
                    <a16:creationId xmlns:a16="http://schemas.microsoft.com/office/drawing/2014/main" id="{CB57ED40-E7B8-4130-BC51-F9293A1A7AFA}"/>
                  </a:ext>
                </a:extLst>
              </p:cNvPr>
              <p:cNvSpPr>
                <a:spLocks noChangeArrowheads="1"/>
              </p:cNvSpPr>
              <p:nvPr/>
            </p:nvSpPr>
            <p:spPr bwMode="auto">
              <a:xfrm>
                <a:off x="292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2" name="Oval 2871">
                <a:extLst>
                  <a:ext uri="{FF2B5EF4-FFF2-40B4-BE49-F238E27FC236}">
                    <a16:creationId xmlns:a16="http://schemas.microsoft.com/office/drawing/2014/main" id="{BDC3D23D-1D23-4444-BDF1-DD0BB7FD827A}"/>
                  </a:ext>
                </a:extLst>
              </p:cNvPr>
              <p:cNvSpPr>
                <a:spLocks noChangeArrowheads="1"/>
              </p:cNvSpPr>
              <p:nvPr/>
            </p:nvSpPr>
            <p:spPr bwMode="auto">
              <a:xfrm>
                <a:off x="268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3" name="Oval 2872">
                <a:extLst>
                  <a:ext uri="{FF2B5EF4-FFF2-40B4-BE49-F238E27FC236}">
                    <a16:creationId xmlns:a16="http://schemas.microsoft.com/office/drawing/2014/main" id="{414E93AB-8EE5-4191-87FC-01A8F9837103}"/>
                  </a:ext>
                </a:extLst>
              </p:cNvPr>
              <p:cNvSpPr>
                <a:spLocks noChangeArrowheads="1"/>
              </p:cNvSpPr>
              <p:nvPr/>
            </p:nvSpPr>
            <p:spPr bwMode="auto">
              <a:xfrm>
                <a:off x="280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4" name="Oval 2873">
                <a:extLst>
                  <a:ext uri="{FF2B5EF4-FFF2-40B4-BE49-F238E27FC236}">
                    <a16:creationId xmlns:a16="http://schemas.microsoft.com/office/drawing/2014/main" id="{7472B1AB-3F8E-4421-98E3-6C0D69B13A74}"/>
                  </a:ext>
                </a:extLst>
              </p:cNvPr>
              <p:cNvSpPr>
                <a:spLocks noChangeArrowheads="1"/>
              </p:cNvSpPr>
              <p:nvPr/>
            </p:nvSpPr>
            <p:spPr bwMode="auto">
              <a:xfrm>
                <a:off x="301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5" name="Oval 2874">
                <a:extLst>
                  <a:ext uri="{FF2B5EF4-FFF2-40B4-BE49-F238E27FC236}">
                    <a16:creationId xmlns:a16="http://schemas.microsoft.com/office/drawing/2014/main" id="{27EF8261-D8E9-4538-A23F-0C315E0A5795}"/>
                  </a:ext>
                </a:extLst>
              </p:cNvPr>
              <p:cNvSpPr>
                <a:spLocks noChangeArrowheads="1"/>
              </p:cNvSpPr>
              <p:nvPr/>
            </p:nvSpPr>
            <p:spPr bwMode="auto">
              <a:xfrm>
                <a:off x="316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6" name="Oval 2875">
                <a:extLst>
                  <a:ext uri="{FF2B5EF4-FFF2-40B4-BE49-F238E27FC236}">
                    <a16:creationId xmlns:a16="http://schemas.microsoft.com/office/drawing/2014/main" id="{A891CA84-2834-47F2-A2C9-1E0082EAA28E}"/>
                  </a:ext>
                </a:extLst>
              </p:cNvPr>
              <p:cNvSpPr>
                <a:spLocks noChangeArrowheads="1"/>
              </p:cNvSpPr>
              <p:nvPr/>
            </p:nvSpPr>
            <p:spPr bwMode="auto">
              <a:xfrm>
                <a:off x="307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7" name="Oval 2876">
                <a:extLst>
                  <a:ext uri="{FF2B5EF4-FFF2-40B4-BE49-F238E27FC236}">
                    <a16:creationId xmlns:a16="http://schemas.microsoft.com/office/drawing/2014/main" id="{FEF93BA2-9500-453F-9077-8E61DD613BE2}"/>
                  </a:ext>
                </a:extLst>
              </p:cNvPr>
              <p:cNvSpPr>
                <a:spLocks noChangeArrowheads="1"/>
              </p:cNvSpPr>
              <p:nvPr/>
            </p:nvSpPr>
            <p:spPr bwMode="auto">
              <a:xfrm>
                <a:off x="295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8" name="Oval 2877">
                <a:extLst>
                  <a:ext uri="{FF2B5EF4-FFF2-40B4-BE49-F238E27FC236}">
                    <a16:creationId xmlns:a16="http://schemas.microsoft.com/office/drawing/2014/main" id="{382198B9-C6E8-46E6-B3D0-8A02E7D041C3}"/>
                  </a:ext>
                </a:extLst>
              </p:cNvPr>
              <p:cNvSpPr>
                <a:spLocks noChangeArrowheads="1"/>
              </p:cNvSpPr>
              <p:nvPr/>
            </p:nvSpPr>
            <p:spPr bwMode="auto">
              <a:xfrm>
                <a:off x="301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09" name="Oval 2878">
                <a:extLst>
                  <a:ext uri="{FF2B5EF4-FFF2-40B4-BE49-F238E27FC236}">
                    <a16:creationId xmlns:a16="http://schemas.microsoft.com/office/drawing/2014/main" id="{93C3C477-D1A9-47D8-879C-8136C81E0527}"/>
                  </a:ext>
                </a:extLst>
              </p:cNvPr>
              <p:cNvSpPr>
                <a:spLocks noChangeArrowheads="1"/>
              </p:cNvSpPr>
              <p:nvPr/>
            </p:nvSpPr>
            <p:spPr bwMode="auto">
              <a:xfrm>
                <a:off x="298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0" name="Oval 2879">
                <a:extLst>
                  <a:ext uri="{FF2B5EF4-FFF2-40B4-BE49-F238E27FC236}">
                    <a16:creationId xmlns:a16="http://schemas.microsoft.com/office/drawing/2014/main" id="{C5A03559-0F31-4537-B39A-16EAA1D2F73C}"/>
                  </a:ext>
                </a:extLst>
              </p:cNvPr>
              <p:cNvSpPr>
                <a:spLocks noChangeArrowheads="1"/>
              </p:cNvSpPr>
              <p:nvPr/>
            </p:nvSpPr>
            <p:spPr bwMode="auto">
              <a:xfrm>
                <a:off x="30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1" name="Oval 2880">
                <a:extLst>
                  <a:ext uri="{FF2B5EF4-FFF2-40B4-BE49-F238E27FC236}">
                    <a16:creationId xmlns:a16="http://schemas.microsoft.com/office/drawing/2014/main" id="{9146AD44-8F26-4A62-828F-BF9B9AF1C16B}"/>
                  </a:ext>
                </a:extLst>
              </p:cNvPr>
              <p:cNvSpPr>
                <a:spLocks noChangeArrowheads="1"/>
              </p:cNvSpPr>
              <p:nvPr/>
            </p:nvSpPr>
            <p:spPr bwMode="auto">
              <a:xfrm>
                <a:off x="310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2" name="Oval 2881">
                <a:extLst>
                  <a:ext uri="{FF2B5EF4-FFF2-40B4-BE49-F238E27FC236}">
                    <a16:creationId xmlns:a16="http://schemas.microsoft.com/office/drawing/2014/main" id="{6761EE45-07E5-46BE-B20D-79ACC559FAE1}"/>
                  </a:ext>
                </a:extLst>
              </p:cNvPr>
              <p:cNvSpPr>
                <a:spLocks noChangeArrowheads="1"/>
              </p:cNvSpPr>
              <p:nvPr/>
            </p:nvSpPr>
            <p:spPr bwMode="auto">
              <a:xfrm>
                <a:off x="310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3" name="Oval 2882">
                <a:extLst>
                  <a:ext uri="{FF2B5EF4-FFF2-40B4-BE49-F238E27FC236}">
                    <a16:creationId xmlns:a16="http://schemas.microsoft.com/office/drawing/2014/main" id="{A8B6253D-C518-4103-8F9F-6B5B1658F56C}"/>
                  </a:ext>
                </a:extLst>
              </p:cNvPr>
              <p:cNvSpPr>
                <a:spLocks noChangeArrowheads="1"/>
              </p:cNvSpPr>
              <p:nvPr/>
            </p:nvSpPr>
            <p:spPr bwMode="auto">
              <a:xfrm>
                <a:off x="29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4" name="Oval 2883">
                <a:extLst>
                  <a:ext uri="{FF2B5EF4-FFF2-40B4-BE49-F238E27FC236}">
                    <a16:creationId xmlns:a16="http://schemas.microsoft.com/office/drawing/2014/main" id="{7FA9202E-F6D4-4C8D-87D8-E3527BC2C3C0}"/>
                  </a:ext>
                </a:extLst>
              </p:cNvPr>
              <p:cNvSpPr>
                <a:spLocks noChangeArrowheads="1"/>
              </p:cNvSpPr>
              <p:nvPr/>
            </p:nvSpPr>
            <p:spPr bwMode="auto">
              <a:xfrm>
                <a:off x="280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5" name="Oval 2884">
                <a:extLst>
                  <a:ext uri="{FF2B5EF4-FFF2-40B4-BE49-F238E27FC236}">
                    <a16:creationId xmlns:a16="http://schemas.microsoft.com/office/drawing/2014/main" id="{73CD9A5D-BE2E-4434-9551-23476B7F678E}"/>
                  </a:ext>
                </a:extLst>
              </p:cNvPr>
              <p:cNvSpPr>
                <a:spLocks noChangeArrowheads="1"/>
              </p:cNvSpPr>
              <p:nvPr/>
            </p:nvSpPr>
            <p:spPr bwMode="auto">
              <a:xfrm>
                <a:off x="289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6" name="Oval 2885">
                <a:extLst>
                  <a:ext uri="{FF2B5EF4-FFF2-40B4-BE49-F238E27FC236}">
                    <a16:creationId xmlns:a16="http://schemas.microsoft.com/office/drawing/2014/main" id="{05E3AB58-1010-41FA-8F28-68FDD07FB469}"/>
                  </a:ext>
                </a:extLst>
              </p:cNvPr>
              <p:cNvSpPr>
                <a:spLocks noChangeArrowheads="1"/>
              </p:cNvSpPr>
              <p:nvPr/>
            </p:nvSpPr>
            <p:spPr bwMode="auto">
              <a:xfrm>
                <a:off x="292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7" name="Oval 2886">
                <a:extLst>
                  <a:ext uri="{FF2B5EF4-FFF2-40B4-BE49-F238E27FC236}">
                    <a16:creationId xmlns:a16="http://schemas.microsoft.com/office/drawing/2014/main" id="{5AC577B6-C2BB-436C-A347-59D6195FC567}"/>
                  </a:ext>
                </a:extLst>
              </p:cNvPr>
              <p:cNvSpPr>
                <a:spLocks noChangeArrowheads="1"/>
              </p:cNvSpPr>
              <p:nvPr/>
            </p:nvSpPr>
            <p:spPr bwMode="auto">
              <a:xfrm>
                <a:off x="283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8" name="Oval 2887">
                <a:extLst>
                  <a:ext uri="{FF2B5EF4-FFF2-40B4-BE49-F238E27FC236}">
                    <a16:creationId xmlns:a16="http://schemas.microsoft.com/office/drawing/2014/main" id="{82B0DFB0-97C6-471C-988C-FF4B2645A0A3}"/>
                  </a:ext>
                </a:extLst>
              </p:cNvPr>
              <p:cNvSpPr>
                <a:spLocks noChangeArrowheads="1"/>
              </p:cNvSpPr>
              <p:nvPr/>
            </p:nvSpPr>
            <p:spPr bwMode="auto">
              <a:xfrm>
                <a:off x="286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19" name="Oval 2888">
                <a:extLst>
                  <a:ext uri="{FF2B5EF4-FFF2-40B4-BE49-F238E27FC236}">
                    <a16:creationId xmlns:a16="http://schemas.microsoft.com/office/drawing/2014/main" id="{DFBC7672-C744-46EE-B4B9-856FF4F16FFC}"/>
                  </a:ext>
                </a:extLst>
              </p:cNvPr>
              <p:cNvSpPr>
                <a:spLocks noChangeArrowheads="1"/>
              </p:cNvSpPr>
              <p:nvPr/>
            </p:nvSpPr>
            <p:spPr bwMode="auto">
              <a:xfrm>
                <a:off x="30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0" name="Oval 2889">
                <a:extLst>
                  <a:ext uri="{FF2B5EF4-FFF2-40B4-BE49-F238E27FC236}">
                    <a16:creationId xmlns:a16="http://schemas.microsoft.com/office/drawing/2014/main" id="{19CC9B8E-78E3-4C7C-BE29-093D5D165F5B}"/>
                  </a:ext>
                </a:extLst>
              </p:cNvPr>
              <p:cNvSpPr>
                <a:spLocks noChangeArrowheads="1"/>
              </p:cNvSpPr>
              <p:nvPr/>
            </p:nvSpPr>
            <p:spPr bwMode="auto">
              <a:xfrm>
                <a:off x="295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1" name="Oval 2890">
                <a:extLst>
                  <a:ext uri="{FF2B5EF4-FFF2-40B4-BE49-F238E27FC236}">
                    <a16:creationId xmlns:a16="http://schemas.microsoft.com/office/drawing/2014/main" id="{11FFC26A-E3FF-443D-8630-2140D4DE117A}"/>
                  </a:ext>
                </a:extLst>
              </p:cNvPr>
              <p:cNvSpPr>
                <a:spLocks noChangeArrowheads="1"/>
              </p:cNvSpPr>
              <p:nvPr/>
            </p:nvSpPr>
            <p:spPr bwMode="auto">
              <a:xfrm>
                <a:off x="295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2" name="Oval 2891">
                <a:extLst>
                  <a:ext uri="{FF2B5EF4-FFF2-40B4-BE49-F238E27FC236}">
                    <a16:creationId xmlns:a16="http://schemas.microsoft.com/office/drawing/2014/main" id="{18F7A9E0-E091-42DD-A7CE-08A120E1E876}"/>
                  </a:ext>
                </a:extLst>
              </p:cNvPr>
              <p:cNvSpPr>
                <a:spLocks noChangeArrowheads="1"/>
              </p:cNvSpPr>
              <p:nvPr/>
            </p:nvSpPr>
            <p:spPr bwMode="auto">
              <a:xfrm>
                <a:off x="301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3" name="Oval 2892">
                <a:extLst>
                  <a:ext uri="{FF2B5EF4-FFF2-40B4-BE49-F238E27FC236}">
                    <a16:creationId xmlns:a16="http://schemas.microsoft.com/office/drawing/2014/main" id="{0A4F0822-4736-4030-B5E4-2E5D26C5A7C1}"/>
                  </a:ext>
                </a:extLst>
              </p:cNvPr>
              <p:cNvSpPr>
                <a:spLocks noChangeArrowheads="1"/>
              </p:cNvSpPr>
              <p:nvPr/>
            </p:nvSpPr>
            <p:spPr bwMode="auto">
              <a:xfrm>
                <a:off x="289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4" name="Oval 2893">
                <a:extLst>
                  <a:ext uri="{FF2B5EF4-FFF2-40B4-BE49-F238E27FC236}">
                    <a16:creationId xmlns:a16="http://schemas.microsoft.com/office/drawing/2014/main" id="{48EC253A-F9DA-40A1-B7BA-61E3210EDE85}"/>
                  </a:ext>
                </a:extLst>
              </p:cNvPr>
              <p:cNvSpPr>
                <a:spLocks noChangeArrowheads="1"/>
              </p:cNvSpPr>
              <p:nvPr/>
            </p:nvSpPr>
            <p:spPr bwMode="auto">
              <a:xfrm>
                <a:off x="307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5" name="Oval 2894">
                <a:extLst>
                  <a:ext uri="{FF2B5EF4-FFF2-40B4-BE49-F238E27FC236}">
                    <a16:creationId xmlns:a16="http://schemas.microsoft.com/office/drawing/2014/main" id="{DBC3912B-0682-4466-9AAC-302A80D163DB}"/>
                  </a:ext>
                </a:extLst>
              </p:cNvPr>
              <p:cNvSpPr>
                <a:spLocks noChangeArrowheads="1"/>
              </p:cNvSpPr>
              <p:nvPr/>
            </p:nvSpPr>
            <p:spPr bwMode="auto">
              <a:xfrm>
                <a:off x="310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6" name="Oval 2895">
                <a:extLst>
                  <a:ext uri="{FF2B5EF4-FFF2-40B4-BE49-F238E27FC236}">
                    <a16:creationId xmlns:a16="http://schemas.microsoft.com/office/drawing/2014/main" id="{7D2DB3A7-4C9D-4C39-BDA7-B465F83D76FE}"/>
                  </a:ext>
                </a:extLst>
              </p:cNvPr>
              <p:cNvSpPr>
                <a:spLocks noChangeArrowheads="1"/>
              </p:cNvSpPr>
              <p:nvPr/>
            </p:nvSpPr>
            <p:spPr bwMode="auto">
              <a:xfrm>
                <a:off x="30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7" name="Oval 2896">
                <a:extLst>
                  <a:ext uri="{FF2B5EF4-FFF2-40B4-BE49-F238E27FC236}">
                    <a16:creationId xmlns:a16="http://schemas.microsoft.com/office/drawing/2014/main" id="{43A33451-A770-4253-9362-D845C977391A}"/>
                  </a:ext>
                </a:extLst>
              </p:cNvPr>
              <p:cNvSpPr>
                <a:spLocks noChangeArrowheads="1"/>
              </p:cNvSpPr>
              <p:nvPr/>
            </p:nvSpPr>
            <p:spPr bwMode="auto">
              <a:xfrm>
                <a:off x="295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8" name="Oval 2897">
                <a:extLst>
                  <a:ext uri="{FF2B5EF4-FFF2-40B4-BE49-F238E27FC236}">
                    <a16:creationId xmlns:a16="http://schemas.microsoft.com/office/drawing/2014/main" id="{982A590F-50AD-475B-8F9D-6DA75CE96BC5}"/>
                  </a:ext>
                </a:extLst>
              </p:cNvPr>
              <p:cNvSpPr>
                <a:spLocks noChangeArrowheads="1"/>
              </p:cNvSpPr>
              <p:nvPr/>
            </p:nvSpPr>
            <p:spPr bwMode="auto">
              <a:xfrm>
                <a:off x="292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29" name="Oval 2898">
                <a:extLst>
                  <a:ext uri="{FF2B5EF4-FFF2-40B4-BE49-F238E27FC236}">
                    <a16:creationId xmlns:a16="http://schemas.microsoft.com/office/drawing/2014/main" id="{87E8D0A5-3C6C-4080-B9AF-0C76B5A64211}"/>
                  </a:ext>
                </a:extLst>
              </p:cNvPr>
              <p:cNvSpPr>
                <a:spLocks noChangeArrowheads="1"/>
              </p:cNvSpPr>
              <p:nvPr/>
            </p:nvSpPr>
            <p:spPr bwMode="auto">
              <a:xfrm>
                <a:off x="2835"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0" name="Oval 2899">
                <a:extLst>
                  <a:ext uri="{FF2B5EF4-FFF2-40B4-BE49-F238E27FC236}">
                    <a16:creationId xmlns:a16="http://schemas.microsoft.com/office/drawing/2014/main" id="{569E9AA4-6BE8-4E3E-A436-7EDC6A235AC6}"/>
                  </a:ext>
                </a:extLst>
              </p:cNvPr>
              <p:cNvSpPr>
                <a:spLocks noChangeArrowheads="1"/>
              </p:cNvSpPr>
              <p:nvPr/>
            </p:nvSpPr>
            <p:spPr bwMode="auto">
              <a:xfrm>
                <a:off x="277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1" name="Oval 2900">
                <a:extLst>
                  <a:ext uri="{FF2B5EF4-FFF2-40B4-BE49-F238E27FC236}">
                    <a16:creationId xmlns:a16="http://schemas.microsoft.com/office/drawing/2014/main" id="{350D50F7-D7EC-4840-9D51-C1D9A6EB9E30}"/>
                  </a:ext>
                </a:extLst>
              </p:cNvPr>
              <p:cNvSpPr>
                <a:spLocks noChangeArrowheads="1"/>
              </p:cNvSpPr>
              <p:nvPr/>
            </p:nvSpPr>
            <p:spPr bwMode="auto">
              <a:xfrm>
                <a:off x="271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2" name="Oval 2901">
                <a:extLst>
                  <a:ext uri="{FF2B5EF4-FFF2-40B4-BE49-F238E27FC236}">
                    <a16:creationId xmlns:a16="http://schemas.microsoft.com/office/drawing/2014/main" id="{E176A2B0-7F1B-4C00-AF5D-0F658F32E5AD}"/>
                  </a:ext>
                </a:extLst>
              </p:cNvPr>
              <p:cNvSpPr>
                <a:spLocks noChangeArrowheads="1"/>
              </p:cNvSpPr>
              <p:nvPr/>
            </p:nvSpPr>
            <p:spPr bwMode="auto">
              <a:xfrm>
                <a:off x="274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3" name="Oval 2902">
                <a:extLst>
                  <a:ext uri="{FF2B5EF4-FFF2-40B4-BE49-F238E27FC236}">
                    <a16:creationId xmlns:a16="http://schemas.microsoft.com/office/drawing/2014/main" id="{D3643F7D-6554-461C-8A71-891703A41DD4}"/>
                  </a:ext>
                </a:extLst>
              </p:cNvPr>
              <p:cNvSpPr>
                <a:spLocks noChangeArrowheads="1"/>
              </p:cNvSpPr>
              <p:nvPr/>
            </p:nvSpPr>
            <p:spPr bwMode="auto">
              <a:xfrm>
                <a:off x="2805"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4" name="Oval 2903">
                <a:extLst>
                  <a:ext uri="{FF2B5EF4-FFF2-40B4-BE49-F238E27FC236}">
                    <a16:creationId xmlns:a16="http://schemas.microsoft.com/office/drawing/2014/main" id="{890EDB7F-3D3B-46B6-8391-1E162272EF2D}"/>
                  </a:ext>
                </a:extLst>
              </p:cNvPr>
              <p:cNvSpPr>
                <a:spLocks noChangeArrowheads="1"/>
              </p:cNvSpPr>
              <p:nvPr/>
            </p:nvSpPr>
            <p:spPr bwMode="auto">
              <a:xfrm>
                <a:off x="27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5" name="Oval 2904">
                <a:extLst>
                  <a:ext uri="{FF2B5EF4-FFF2-40B4-BE49-F238E27FC236}">
                    <a16:creationId xmlns:a16="http://schemas.microsoft.com/office/drawing/2014/main" id="{14A15BED-C24A-45BA-BDCC-5B92C2B43324}"/>
                  </a:ext>
                </a:extLst>
              </p:cNvPr>
              <p:cNvSpPr>
                <a:spLocks noChangeArrowheads="1"/>
              </p:cNvSpPr>
              <p:nvPr/>
            </p:nvSpPr>
            <p:spPr bwMode="auto">
              <a:xfrm>
                <a:off x="2745"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6" name="Oval 2905">
                <a:extLst>
                  <a:ext uri="{FF2B5EF4-FFF2-40B4-BE49-F238E27FC236}">
                    <a16:creationId xmlns:a16="http://schemas.microsoft.com/office/drawing/2014/main" id="{7331AD6E-582F-4199-8B93-4B09739AD5BE}"/>
                  </a:ext>
                </a:extLst>
              </p:cNvPr>
              <p:cNvSpPr>
                <a:spLocks noChangeArrowheads="1"/>
              </p:cNvSpPr>
              <p:nvPr/>
            </p:nvSpPr>
            <p:spPr bwMode="auto">
              <a:xfrm>
                <a:off x="25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7" name="Oval 2906">
                <a:extLst>
                  <a:ext uri="{FF2B5EF4-FFF2-40B4-BE49-F238E27FC236}">
                    <a16:creationId xmlns:a16="http://schemas.microsoft.com/office/drawing/2014/main" id="{C48EA5EE-D5B1-4251-A013-AF3DD8FFF634}"/>
                  </a:ext>
                </a:extLst>
              </p:cNvPr>
              <p:cNvSpPr>
                <a:spLocks noChangeArrowheads="1"/>
              </p:cNvSpPr>
              <p:nvPr/>
            </p:nvSpPr>
            <p:spPr bwMode="auto">
              <a:xfrm>
                <a:off x="259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8" name="Oval 2907">
                <a:extLst>
                  <a:ext uri="{FF2B5EF4-FFF2-40B4-BE49-F238E27FC236}">
                    <a16:creationId xmlns:a16="http://schemas.microsoft.com/office/drawing/2014/main" id="{BADDC008-6EC0-449A-BB20-BA53A13AC285}"/>
                  </a:ext>
                </a:extLst>
              </p:cNvPr>
              <p:cNvSpPr>
                <a:spLocks noChangeArrowheads="1"/>
              </p:cNvSpPr>
              <p:nvPr/>
            </p:nvSpPr>
            <p:spPr bwMode="auto">
              <a:xfrm>
                <a:off x="262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39" name="Oval 2908">
                <a:extLst>
                  <a:ext uri="{FF2B5EF4-FFF2-40B4-BE49-F238E27FC236}">
                    <a16:creationId xmlns:a16="http://schemas.microsoft.com/office/drawing/2014/main" id="{407C8671-794F-4D41-8925-3ECBAD0E125C}"/>
                  </a:ext>
                </a:extLst>
              </p:cNvPr>
              <p:cNvSpPr>
                <a:spLocks noChangeArrowheads="1"/>
              </p:cNvSpPr>
              <p:nvPr/>
            </p:nvSpPr>
            <p:spPr bwMode="auto">
              <a:xfrm>
                <a:off x="2655"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0" name="Oval 2909">
                <a:extLst>
                  <a:ext uri="{FF2B5EF4-FFF2-40B4-BE49-F238E27FC236}">
                    <a16:creationId xmlns:a16="http://schemas.microsoft.com/office/drawing/2014/main" id="{EBF38F37-C93B-4A74-A4D1-F95680C5F2A9}"/>
                  </a:ext>
                </a:extLst>
              </p:cNvPr>
              <p:cNvSpPr>
                <a:spLocks noChangeArrowheads="1"/>
              </p:cNvSpPr>
              <p:nvPr/>
            </p:nvSpPr>
            <p:spPr bwMode="auto">
              <a:xfrm>
                <a:off x="271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1" name="Oval 2910">
                <a:extLst>
                  <a:ext uri="{FF2B5EF4-FFF2-40B4-BE49-F238E27FC236}">
                    <a16:creationId xmlns:a16="http://schemas.microsoft.com/office/drawing/2014/main" id="{2F45CD5B-01DC-4FEB-B89A-512A39E23D6F}"/>
                  </a:ext>
                </a:extLst>
              </p:cNvPr>
              <p:cNvSpPr>
                <a:spLocks noChangeArrowheads="1"/>
              </p:cNvSpPr>
              <p:nvPr/>
            </p:nvSpPr>
            <p:spPr bwMode="auto">
              <a:xfrm>
                <a:off x="262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2" name="Oval 2911">
                <a:extLst>
                  <a:ext uri="{FF2B5EF4-FFF2-40B4-BE49-F238E27FC236}">
                    <a16:creationId xmlns:a16="http://schemas.microsoft.com/office/drawing/2014/main" id="{83A1FFA5-17CD-4661-A565-3499DA718EC7}"/>
                  </a:ext>
                </a:extLst>
              </p:cNvPr>
              <p:cNvSpPr>
                <a:spLocks noChangeArrowheads="1"/>
              </p:cNvSpPr>
              <p:nvPr/>
            </p:nvSpPr>
            <p:spPr bwMode="auto">
              <a:xfrm>
                <a:off x="256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3" name="Oval 2912">
                <a:extLst>
                  <a:ext uri="{FF2B5EF4-FFF2-40B4-BE49-F238E27FC236}">
                    <a16:creationId xmlns:a16="http://schemas.microsoft.com/office/drawing/2014/main" id="{31411B18-4FAF-4807-A179-B319F72BC1B3}"/>
                  </a:ext>
                </a:extLst>
              </p:cNvPr>
              <p:cNvSpPr>
                <a:spLocks noChangeArrowheads="1"/>
              </p:cNvSpPr>
              <p:nvPr/>
            </p:nvSpPr>
            <p:spPr bwMode="auto">
              <a:xfrm>
                <a:off x="27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4" name="Oval 2913">
                <a:extLst>
                  <a:ext uri="{FF2B5EF4-FFF2-40B4-BE49-F238E27FC236}">
                    <a16:creationId xmlns:a16="http://schemas.microsoft.com/office/drawing/2014/main" id="{8B7179B0-5610-4EAF-A25C-2383E6819A01}"/>
                  </a:ext>
                </a:extLst>
              </p:cNvPr>
              <p:cNvSpPr>
                <a:spLocks noChangeArrowheads="1"/>
              </p:cNvSpPr>
              <p:nvPr/>
            </p:nvSpPr>
            <p:spPr bwMode="auto">
              <a:xfrm>
                <a:off x="265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5" name="Oval 2914">
                <a:extLst>
                  <a:ext uri="{FF2B5EF4-FFF2-40B4-BE49-F238E27FC236}">
                    <a16:creationId xmlns:a16="http://schemas.microsoft.com/office/drawing/2014/main" id="{6B79B665-6164-454C-8F7D-F695E37642EA}"/>
                  </a:ext>
                </a:extLst>
              </p:cNvPr>
              <p:cNvSpPr>
                <a:spLocks noChangeArrowheads="1"/>
              </p:cNvSpPr>
              <p:nvPr/>
            </p:nvSpPr>
            <p:spPr bwMode="auto">
              <a:xfrm>
                <a:off x="25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6" name="Oval 2915">
                <a:extLst>
                  <a:ext uri="{FF2B5EF4-FFF2-40B4-BE49-F238E27FC236}">
                    <a16:creationId xmlns:a16="http://schemas.microsoft.com/office/drawing/2014/main" id="{C65A8047-6F8D-4A7A-9DD2-29EC55524804}"/>
                  </a:ext>
                </a:extLst>
              </p:cNvPr>
              <p:cNvSpPr>
                <a:spLocks noChangeArrowheads="1"/>
              </p:cNvSpPr>
              <p:nvPr/>
            </p:nvSpPr>
            <p:spPr bwMode="auto">
              <a:xfrm>
                <a:off x="2805"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7" name="Oval 2916">
                <a:extLst>
                  <a:ext uri="{FF2B5EF4-FFF2-40B4-BE49-F238E27FC236}">
                    <a16:creationId xmlns:a16="http://schemas.microsoft.com/office/drawing/2014/main" id="{764D53D4-6EEA-4201-A10A-DEEBF6465466}"/>
                  </a:ext>
                </a:extLst>
              </p:cNvPr>
              <p:cNvSpPr>
                <a:spLocks noChangeArrowheads="1"/>
              </p:cNvSpPr>
              <p:nvPr/>
            </p:nvSpPr>
            <p:spPr bwMode="auto">
              <a:xfrm>
                <a:off x="307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8" name="Oval 2917">
                <a:extLst>
                  <a:ext uri="{FF2B5EF4-FFF2-40B4-BE49-F238E27FC236}">
                    <a16:creationId xmlns:a16="http://schemas.microsoft.com/office/drawing/2014/main" id="{DFB0D828-201A-48B2-8459-2F893B1C95D6}"/>
                  </a:ext>
                </a:extLst>
              </p:cNvPr>
              <p:cNvSpPr>
                <a:spLocks noChangeArrowheads="1"/>
              </p:cNvSpPr>
              <p:nvPr/>
            </p:nvSpPr>
            <p:spPr bwMode="auto">
              <a:xfrm>
                <a:off x="301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49" name="Oval 2918">
                <a:extLst>
                  <a:ext uri="{FF2B5EF4-FFF2-40B4-BE49-F238E27FC236}">
                    <a16:creationId xmlns:a16="http://schemas.microsoft.com/office/drawing/2014/main" id="{890CB6D9-822A-46AE-AA68-8D615CEC872F}"/>
                  </a:ext>
                </a:extLst>
              </p:cNvPr>
              <p:cNvSpPr>
                <a:spLocks noChangeArrowheads="1"/>
              </p:cNvSpPr>
              <p:nvPr/>
            </p:nvSpPr>
            <p:spPr bwMode="auto">
              <a:xfrm>
                <a:off x="289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0" name="Oval 2919">
                <a:extLst>
                  <a:ext uri="{FF2B5EF4-FFF2-40B4-BE49-F238E27FC236}">
                    <a16:creationId xmlns:a16="http://schemas.microsoft.com/office/drawing/2014/main" id="{9939FACE-718C-4B1C-A3D4-E804B059A379}"/>
                  </a:ext>
                </a:extLst>
              </p:cNvPr>
              <p:cNvSpPr>
                <a:spLocks noChangeArrowheads="1"/>
              </p:cNvSpPr>
              <p:nvPr/>
            </p:nvSpPr>
            <p:spPr bwMode="auto">
              <a:xfrm>
                <a:off x="274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1" name="Oval 2920">
                <a:extLst>
                  <a:ext uri="{FF2B5EF4-FFF2-40B4-BE49-F238E27FC236}">
                    <a16:creationId xmlns:a16="http://schemas.microsoft.com/office/drawing/2014/main" id="{04FEAF75-AA46-4C81-9A09-34F564DECF83}"/>
                  </a:ext>
                </a:extLst>
              </p:cNvPr>
              <p:cNvSpPr>
                <a:spLocks noChangeArrowheads="1"/>
              </p:cNvSpPr>
              <p:nvPr/>
            </p:nvSpPr>
            <p:spPr bwMode="auto">
              <a:xfrm>
                <a:off x="259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2" name="Oval 2921">
                <a:extLst>
                  <a:ext uri="{FF2B5EF4-FFF2-40B4-BE49-F238E27FC236}">
                    <a16:creationId xmlns:a16="http://schemas.microsoft.com/office/drawing/2014/main" id="{26E380A4-A995-4EEF-B523-CD67DB742617}"/>
                  </a:ext>
                </a:extLst>
              </p:cNvPr>
              <p:cNvSpPr>
                <a:spLocks noChangeArrowheads="1"/>
              </p:cNvSpPr>
              <p:nvPr/>
            </p:nvSpPr>
            <p:spPr bwMode="auto">
              <a:xfrm>
                <a:off x="262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3" name="Oval 2922">
                <a:extLst>
                  <a:ext uri="{FF2B5EF4-FFF2-40B4-BE49-F238E27FC236}">
                    <a16:creationId xmlns:a16="http://schemas.microsoft.com/office/drawing/2014/main" id="{734D9715-9FE8-440F-96F8-A802336C2EDE}"/>
                  </a:ext>
                </a:extLst>
              </p:cNvPr>
              <p:cNvSpPr>
                <a:spLocks noChangeArrowheads="1"/>
              </p:cNvSpPr>
              <p:nvPr/>
            </p:nvSpPr>
            <p:spPr bwMode="auto">
              <a:xfrm>
                <a:off x="2955" y="3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4" name="Oval 2923">
                <a:extLst>
                  <a:ext uri="{FF2B5EF4-FFF2-40B4-BE49-F238E27FC236}">
                    <a16:creationId xmlns:a16="http://schemas.microsoft.com/office/drawing/2014/main" id="{66BDDD89-8576-4535-8912-7C8E03739338}"/>
                  </a:ext>
                </a:extLst>
              </p:cNvPr>
              <p:cNvSpPr>
                <a:spLocks noChangeArrowheads="1"/>
              </p:cNvSpPr>
              <p:nvPr/>
            </p:nvSpPr>
            <p:spPr bwMode="auto">
              <a:xfrm>
                <a:off x="304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5" name="Oval 2924">
                <a:extLst>
                  <a:ext uri="{FF2B5EF4-FFF2-40B4-BE49-F238E27FC236}">
                    <a16:creationId xmlns:a16="http://schemas.microsoft.com/office/drawing/2014/main" id="{47B59E1B-D656-4933-AE89-11F30D9DF80B}"/>
                  </a:ext>
                </a:extLst>
              </p:cNvPr>
              <p:cNvSpPr>
                <a:spLocks noChangeArrowheads="1"/>
              </p:cNvSpPr>
              <p:nvPr/>
            </p:nvSpPr>
            <p:spPr bwMode="auto">
              <a:xfrm>
                <a:off x="286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6" name="Oval 2925">
                <a:extLst>
                  <a:ext uri="{FF2B5EF4-FFF2-40B4-BE49-F238E27FC236}">
                    <a16:creationId xmlns:a16="http://schemas.microsoft.com/office/drawing/2014/main" id="{377D79AE-55CE-4CCA-8061-35AEAC7FAB9E}"/>
                  </a:ext>
                </a:extLst>
              </p:cNvPr>
              <p:cNvSpPr>
                <a:spLocks noChangeArrowheads="1"/>
              </p:cNvSpPr>
              <p:nvPr/>
            </p:nvSpPr>
            <p:spPr bwMode="auto">
              <a:xfrm>
                <a:off x="274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7" name="Oval 2926">
                <a:extLst>
                  <a:ext uri="{FF2B5EF4-FFF2-40B4-BE49-F238E27FC236}">
                    <a16:creationId xmlns:a16="http://schemas.microsoft.com/office/drawing/2014/main" id="{2F431005-3161-4AA5-B44D-7AF7E4C479DB}"/>
                  </a:ext>
                </a:extLst>
              </p:cNvPr>
              <p:cNvSpPr>
                <a:spLocks noChangeArrowheads="1"/>
              </p:cNvSpPr>
              <p:nvPr/>
            </p:nvSpPr>
            <p:spPr bwMode="auto">
              <a:xfrm>
                <a:off x="283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8" name="Oval 2927">
                <a:extLst>
                  <a:ext uri="{FF2B5EF4-FFF2-40B4-BE49-F238E27FC236}">
                    <a16:creationId xmlns:a16="http://schemas.microsoft.com/office/drawing/2014/main" id="{6B102AF8-8E21-482A-8D56-D4A69590C2BB}"/>
                  </a:ext>
                </a:extLst>
              </p:cNvPr>
              <p:cNvSpPr>
                <a:spLocks noChangeArrowheads="1"/>
              </p:cNvSpPr>
              <p:nvPr/>
            </p:nvSpPr>
            <p:spPr bwMode="auto">
              <a:xfrm>
                <a:off x="277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59" name="Oval 2928">
                <a:extLst>
                  <a:ext uri="{FF2B5EF4-FFF2-40B4-BE49-F238E27FC236}">
                    <a16:creationId xmlns:a16="http://schemas.microsoft.com/office/drawing/2014/main" id="{437CFC16-60EE-4194-9A96-CF3FCE17ABC1}"/>
                  </a:ext>
                </a:extLst>
              </p:cNvPr>
              <p:cNvSpPr>
                <a:spLocks noChangeArrowheads="1"/>
              </p:cNvSpPr>
              <p:nvPr/>
            </p:nvSpPr>
            <p:spPr bwMode="auto">
              <a:xfrm>
                <a:off x="301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0" name="Oval 2929">
                <a:extLst>
                  <a:ext uri="{FF2B5EF4-FFF2-40B4-BE49-F238E27FC236}">
                    <a16:creationId xmlns:a16="http://schemas.microsoft.com/office/drawing/2014/main" id="{EC732DC0-55B9-497B-B9BC-17CD6CC6D4B5}"/>
                  </a:ext>
                </a:extLst>
              </p:cNvPr>
              <p:cNvSpPr>
                <a:spLocks noChangeArrowheads="1"/>
              </p:cNvSpPr>
              <p:nvPr/>
            </p:nvSpPr>
            <p:spPr bwMode="auto">
              <a:xfrm>
                <a:off x="3015"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1" name="Oval 2930">
                <a:extLst>
                  <a:ext uri="{FF2B5EF4-FFF2-40B4-BE49-F238E27FC236}">
                    <a16:creationId xmlns:a16="http://schemas.microsoft.com/office/drawing/2014/main" id="{29D83B15-1AA9-4627-B622-5B7DAF179AEA}"/>
                  </a:ext>
                </a:extLst>
              </p:cNvPr>
              <p:cNvSpPr>
                <a:spLocks noChangeArrowheads="1"/>
              </p:cNvSpPr>
              <p:nvPr/>
            </p:nvSpPr>
            <p:spPr bwMode="auto">
              <a:xfrm>
                <a:off x="283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2" name="Oval 2931">
                <a:extLst>
                  <a:ext uri="{FF2B5EF4-FFF2-40B4-BE49-F238E27FC236}">
                    <a16:creationId xmlns:a16="http://schemas.microsoft.com/office/drawing/2014/main" id="{5C03A77D-7A2D-498B-ABD3-2C5A35B3A0AB}"/>
                  </a:ext>
                </a:extLst>
              </p:cNvPr>
              <p:cNvSpPr>
                <a:spLocks noChangeArrowheads="1"/>
              </p:cNvSpPr>
              <p:nvPr/>
            </p:nvSpPr>
            <p:spPr bwMode="auto">
              <a:xfrm>
                <a:off x="274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3" name="Oval 2932">
                <a:extLst>
                  <a:ext uri="{FF2B5EF4-FFF2-40B4-BE49-F238E27FC236}">
                    <a16:creationId xmlns:a16="http://schemas.microsoft.com/office/drawing/2014/main" id="{F3248E3A-5AD6-407C-B144-C20768FC0EAE}"/>
                  </a:ext>
                </a:extLst>
              </p:cNvPr>
              <p:cNvSpPr>
                <a:spLocks noChangeArrowheads="1"/>
              </p:cNvSpPr>
              <p:nvPr/>
            </p:nvSpPr>
            <p:spPr bwMode="auto">
              <a:xfrm>
                <a:off x="25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4" name="Oval 2933">
                <a:extLst>
                  <a:ext uri="{FF2B5EF4-FFF2-40B4-BE49-F238E27FC236}">
                    <a16:creationId xmlns:a16="http://schemas.microsoft.com/office/drawing/2014/main" id="{4D873E9C-DCE5-4D3A-8FF7-DF4451FB98B9}"/>
                  </a:ext>
                </a:extLst>
              </p:cNvPr>
              <p:cNvSpPr>
                <a:spLocks noChangeArrowheads="1"/>
              </p:cNvSpPr>
              <p:nvPr/>
            </p:nvSpPr>
            <p:spPr bwMode="auto">
              <a:xfrm>
                <a:off x="24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5" name="Oval 2934">
                <a:extLst>
                  <a:ext uri="{FF2B5EF4-FFF2-40B4-BE49-F238E27FC236}">
                    <a16:creationId xmlns:a16="http://schemas.microsoft.com/office/drawing/2014/main" id="{1020E393-5B70-4433-8E39-DD38DCD15A05}"/>
                  </a:ext>
                </a:extLst>
              </p:cNvPr>
              <p:cNvSpPr>
                <a:spLocks noChangeArrowheads="1"/>
              </p:cNvSpPr>
              <p:nvPr/>
            </p:nvSpPr>
            <p:spPr bwMode="auto">
              <a:xfrm>
                <a:off x="238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6" name="Oval 2935">
                <a:extLst>
                  <a:ext uri="{FF2B5EF4-FFF2-40B4-BE49-F238E27FC236}">
                    <a16:creationId xmlns:a16="http://schemas.microsoft.com/office/drawing/2014/main" id="{847BE489-1968-43FF-AFCB-A75B55E1D256}"/>
                  </a:ext>
                </a:extLst>
              </p:cNvPr>
              <p:cNvSpPr>
                <a:spLocks noChangeArrowheads="1"/>
              </p:cNvSpPr>
              <p:nvPr/>
            </p:nvSpPr>
            <p:spPr bwMode="auto">
              <a:xfrm>
                <a:off x="256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7" name="Oval 2936">
                <a:extLst>
                  <a:ext uri="{FF2B5EF4-FFF2-40B4-BE49-F238E27FC236}">
                    <a16:creationId xmlns:a16="http://schemas.microsoft.com/office/drawing/2014/main" id="{C3EBAE8B-4193-4154-81D0-9E733D5ADFAA}"/>
                  </a:ext>
                </a:extLst>
              </p:cNvPr>
              <p:cNvSpPr>
                <a:spLocks noChangeArrowheads="1"/>
              </p:cNvSpPr>
              <p:nvPr/>
            </p:nvSpPr>
            <p:spPr bwMode="auto">
              <a:xfrm>
                <a:off x="232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8" name="Oval 2937">
                <a:extLst>
                  <a:ext uri="{FF2B5EF4-FFF2-40B4-BE49-F238E27FC236}">
                    <a16:creationId xmlns:a16="http://schemas.microsoft.com/office/drawing/2014/main" id="{73A91BDF-8328-42F1-86FC-EF8FA1EB872B}"/>
                  </a:ext>
                </a:extLst>
              </p:cNvPr>
              <p:cNvSpPr>
                <a:spLocks noChangeArrowheads="1"/>
              </p:cNvSpPr>
              <p:nvPr/>
            </p:nvSpPr>
            <p:spPr bwMode="auto">
              <a:xfrm>
                <a:off x="250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9" name="Oval 2938">
                <a:extLst>
                  <a:ext uri="{FF2B5EF4-FFF2-40B4-BE49-F238E27FC236}">
                    <a16:creationId xmlns:a16="http://schemas.microsoft.com/office/drawing/2014/main" id="{33A5BFC8-A804-4421-B1CD-852AC713FD04}"/>
                  </a:ext>
                </a:extLst>
              </p:cNvPr>
              <p:cNvSpPr>
                <a:spLocks noChangeArrowheads="1"/>
              </p:cNvSpPr>
              <p:nvPr/>
            </p:nvSpPr>
            <p:spPr bwMode="auto">
              <a:xfrm>
                <a:off x="238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0" name="Oval 2939">
                <a:extLst>
                  <a:ext uri="{FF2B5EF4-FFF2-40B4-BE49-F238E27FC236}">
                    <a16:creationId xmlns:a16="http://schemas.microsoft.com/office/drawing/2014/main" id="{6E6DCA74-A477-4D98-80BC-5095AD9286A5}"/>
                  </a:ext>
                </a:extLst>
              </p:cNvPr>
              <p:cNvSpPr>
                <a:spLocks noChangeArrowheads="1"/>
              </p:cNvSpPr>
              <p:nvPr/>
            </p:nvSpPr>
            <p:spPr bwMode="auto">
              <a:xfrm>
                <a:off x="244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1" name="Oval 2940">
                <a:extLst>
                  <a:ext uri="{FF2B5EF4-FFF2-40B4-BE49-F238E27FC236}">
                    <a16:creationId xmlns:a16="http://schemas.microsoft.com/office/drawing/2014/main" id="{57A1AA12-8E40-47A5-A45D-3E5003FC8EBC}"/>
                  </a:ext>
                </a:extLst>
              </p:cNvPr>
              <p:cNvSpPr>
                <a:spLocks noChangeArrowheads="1"/>
              </p:cNvSpPr>
              <p:nvPr/>
            </p:nvSpPr>
            <p:spPr bwMode="auto">
              <a:xfrm>
                <a:off x="250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2" name="Oval 2941">
                <a:extLst>
                  <a:ext uri="{FF2B5EF4-FFF2-40B4-BE49-F238E27FC236}">
                    <a16:creationId xmlns:a16="http://schemas.microsoft.com/office/drawing/2014/main" id="{0DB1AD4F-5193-420D-8FBC-311D064D5DCE}"/>
                  </a:ext>
                </a:extLst>
              </p:cNvPr>
              <p:cNvSpPr>
                <a:spLocks noChangeArrowheads="1"/>
              </p:cNvSpPr>
              <p:nvPr/>
            </p:nvSpPr>
            <p:spPr bwMode="auto">
              <a:xfrm>
                <a:off x="256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3" name="Oval 2942">
                <a:extLst>
                  <a:ext uri="{FF2B5EF4-FFF2-40B4-BE49-F238E27FC236}">
                    <a16:creationId xmlns:a16="http://schemas.microsoft.com/office/drawing/2014/main" id="{B1284EFF-D802-4D0A-B7CC-3D8B7AB40EAE}"/>
                  </a:ext>
                </a:extLst>
              </p:cNvPr>
              <p:cNvSpPr>
                <a:spLocks noChangeArrowheads="1"/>
              </p:cNvSpPr>
              <p:nvPr/>
            </p:nvSpPr>
            <p:spPr bwMode="auto">
              <a:xfrm>
                <a:off x="244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4" name="Oval 2943">
                <a:extLst>
                  <a:ext uri="{FF2B5EF4-FFF2-40B4-BE49-F238E27FC236}">
                    <a16:creationId xmlns:a16="http://schemas.microsoft.com/office/drawing/2014/main" id="{1DF5D90B-9F7C-421D-A5DA-D3D6312739A2}"/>
                  </a:ext>
                </a:extLst>
              </p:cNvPr>
              <p:cNvSpPr>
                <a:spLocks noChangeArrowheads="1"/>
              </p:cNvSpPr>
              <p:nvPr/>
            </p:nvSpPr>
            <p:spPr bwMode="auto">
              <a:xfrm>
                <a:off x="238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5" name="Oval 2944">
                <a:extLst>
                  <a:ext uri="{FF2B5EF4-FFF2-40B4-BE49-F238E27FC236}">
                    <a16:creationId xmlns:a16="http://schemas.microsoft.com/office/drawing/2014/main" id="{43F11398-72BE-4910-AA58-CD32E68179E4}"/>
                  </a:ext>
                </a:extLst>
              </p:cNvPr>
              <p:cNvSpPr>
                <a:spLocks noChangeArrowheads="1"/>
              </p:cNvSpPr>
              <p:nvPr/>
            </p:nvSpPr>
            <p:spPr bwMode="auto">
              <a:xfrm>
                <a:off x="238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6" name="Oval 2945">
                <a:extLst>
                  <a:ext uri="{FF2B5EF4-FFF2-40B4-BE49-F238E27FC236}">
                    <a16:creationId xmlns:a16="http://schemas.microsoft.com/office/drawing/2014/main" id="{1E970E54-8BD3-4BF4-8969-BA7BF7440AAD}"/>
                  </a:ext>
                </a:extLst>
              </p:cNvPr>
              <p:cNvSpPr>
                <a:spLocks noChangeArrowheads="1"/>
              </p:cNvSpPr>
              <p:nvPr/>
            </p:nvSpPr>
            <p:spPr bwMode="auto">
              <a:xfrm>
                <a:off x="250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7" name="Oval 2946">
                <a:extLst>
                  <a:ext uri="{FF2B5EF4-FFF2-40B4-BE49-F238E27FC236}">
                    <a16:creationId xmlns:a16="http://schemas.microsoft.com/office/drawing/2014/main" id="{E0664872-53BF-4CA0-8049-209C9F7A7533}"/>
                  </a:ext>
                </a:extLst>
              </p:cNvPr>
              <p:cNvSpPr>
                <a:spLocks noChangeArrowheads="1"/>
              </p:cNvSpPr>
              <p:nvPr/>
            </p:nvSpPr>
            <p:spPr bwMode="auto">
              <a:xfrm>
                <a:off x="232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8" name="Oval 2947">
                <a:extLst>
                  <a:ext uri="{FF2B5EF4-FFF2-40B4-BE49-F238E27FC236}">
                    <a16:creationId xmlns:a16="http://schemas.microsoft.com/office/drawing/2014/main" id="{BDC12770-35AE-4DE8-AB36-CB11AFBB3907}"/>
                  </a:ext>
                </a:extLst>
              </p:cNvPr>
              <p:cNvSpPr>
                <a:spLocks noChangeArrowheads="1"/>
              </p:cNvSpPr>
              <p:nvPr/>
            </p:nvSpPr>
            <p:spPr bwMode="auto">
              <a:xfrm>
                <a:off x="247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9" name="Oval 2948">
                <a:extLst>
                  <a:ext uri="{FF2B5EF4-FFF2-40B4-BE49-F238E27FC236}">
                    <a16:creationId xmlns:a16="http://schemas.microsoft.com/office/drawing/2014/main" id="{6055253D-7897-4EBC-9FB6-FA155F3A5BFD}"/>
                  </a:ext>
                </a:extLst>
              </p:cNvPr>
              <p:cNvSpPr>
                <a:spLocks noChangeArrowheads="1"/>
              </p:cNvSpPr>
              <p:nvPr/>
            </p:nvSpPr>
            <p:spPr bwMode="auto">
              <a:xfrm>
                <a:off x="244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0" name="Oval 2949">
                <a:extLst>
                  <a:ext uri="{FF2B5EF4-FFF2-40B4-BE49-F238E27FC236}">
                    <a16:creationId xmlns:a16="http://schemas.microsoft.com/office/drawing/2014/main" id="{3A13BBB4-7F39-43CB-8BFF-8642F92E7971}"/>
                  </a:ext>
                </a:extLst>
              </p:cNvPr>
              <p:cNvSpPr>
                <a:spLocks noChangeArrowheads="1"/>
              </p:cNvSpPr>
              <p:nvPr/>
            </p:nvSpPr>
            <p:spPr bwMode="auto">
              <a:xfrm>
                <a:off x="223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1" name="Oval 2950">
                <a:extLst>
                  <a:ext uri="{FF2B5EF4-FFF2-40B4-BE49-F238E27FC236}">
                    <a16:creationId xmlns:a16="http://schemas.microsoft.com/office/drawing/2014/main" id="{3CE4DDAF-348F-4B38-871D-B161D0C2A1AB}"/>
                  </a:ext>
                </a:extLst>
              </p:cNvPr>
              <p:cNvSpPr>
                <a:spLocks noChangeArrowheads="1"/>
              </p:cNvSpPr>
              <p:nvPr/>
            </p:nvSpPr>
            <p:spPr bwMode="auto">
              <a:xfrm>
                <a:off x="223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2" name="Oval 2951">
                <a:extLst>
                  <a:ext uri="{FF2B5EF4-FFF2-40B4-BE49-F238E27FC236}">
                    <a16:creationId xmlns:a16="http://schemas.microsoft.com/office/drawing/2014/main" id="{F84A47BE-A037-40BD-B513-AD39C39518D3}"/>
                  </a:ext>
                </a:extLst>
              </p:cNvPr>
              <p:cNvSpPr>
                <a:spLocks noChangeArrowheads="1"/>
              </p:cNvSpPr>
              <p:nvPr/>
            </p:nvSpPr>
            <p:spPr bwMode="auto">
              <a:xfrm>
                <a:off x="235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3" name="Oval 2952">
                <a:extLst>
                  <a:ext uri="{FF2B5EF4-FFF2-40B4-BE49-F238E27FC236}">
                    <a16:creationId xmlns:a16="http://schemas.microsoft.com/office/drawing/2014/main" id="{37964D36-4DDC-442F-B3D9-B7D194372C91}"/>
                  </a:ext>
                </a:extLst>
              </p:cNvPr>
              <p:cNvSpPr>
                <a:spLocks noChangeArrowheads="1"/>
              </p:cNvSpPr>
              <p:nvPr/>
            </p:nvSpPr>
            <p:spPr bwMode="auto">
              <a:xfrm>
                <a:off x="244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4" name="Oval 2953">
                <a:extLst>
                  <a:ext uri="{FF2B5EF4-FFF2-40B4-BE49-F238E27FC236}">
                    <a16:creationId xmlns:a16="http://schemas.microsoft.com/office/drawing/2014/main" id="{7023377A-0ECB-4BB7-80B6-02F451569353}"/>
                  </a:ext>
                </a:extLst>
              </p:cNvPr>
              <p:cNvSpPr>
                <a:spLocks noChangeArrowheads="1"/>
              </p:cNvSpPr>
              <p:nvPr/>
            </p:nvSpPr>
            <p:spPr bwMode="auto">
              <a:xfrm>
                <a:off x="250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5" name="Oval 2954">
                <a:extLst>
                  <a:ext uri="{FF2B5EF4-FFF2-40B4-BE49-F238E27FC236}">
                    <a16:creationId xmlns:a16="http://schemas.microsoft.com/office/drawing/2014/main" id="{3A43A65C-31E9-4BD7-A3EF-84CC877B24B6}"/>
                  </a:ext>
                </a:extLst>
              </p:cNvPr>
              <p:cNvSpPr>
                <a:spLocks noChangeArrowheads="1"/>
              </p:cNvSpPr>
              <p:nvPr/>
            </p:nvSpPr>
            <p:spPr bwMode="auto">
              <a:xfrm>
                <a:off x="247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6" name="Oval 2955">
                <a:extLst>
                  <a:ext uri="{FF2B5EF4-FFF2-40B4-BE49-F238E27FC236}">
                    <a16:creationId xmlns:a16="http://schemas.microsoft.com/office/drawing/2014/main" id="{D91424A7-B082-4495-B472-1A22932A6BA8}"/>
                  </a:ext>
                </a:extLst>
              </p:cNvPr>
              <p:cNvSpPr>
                <a:spLocks noChangeArrowheads="1"/>
              </p:cNvSpPr>
              <p:nvPr/>
            </p:nvSpPr>
            <p:spPr bwMode="auto">
              <a:xfrm>
                <a:off x="235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7" name="Oval 2956">
                <a:extLst>
                  <a:ext uri="{FF2B5EF4-FFF2-40B4-BE49-F238E27FC236}">
                    <a16:creationId xmlns:a16="http://schemas.microsoft.com/office/drawing/2014/main" id="{D0E9C410-2BD1-4089-B188-2C3AA27B892E}"/>
                  </a:ext>
                </a:extLst>
              </p:cNvPr>
              <p:cNvSpPr>
                <a:spLocks noChangeArrowheads="1"/>
              </p:cNvSpPr>
              <p:nvPr/>
            </p:nvSpPr>
            <p:spPr bwMode="auto">
              <a:xfrm>
                <a:off x="229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8" name="Oval 2957">
                <a:extLst>
                  <a:ext uri="{FF2B5EF4-FFF2-40B4-BE49-F238E27FC236}">
                    <a16:creationId xmlns:a16="http://schemas.microsoft.com/office/drawing/2014/main" id="{19878BA2-008E-4BB9-8302-EED4DCFE9D51}"/>
                  </a:ext>
                </a:extLst>
              </p:cNvPr>
              <p:cNvSpPr>
                <a:spLocks noChangeArrowheads="1"/>
              </p:cNvSpPr>
              <p:nvPr/>
            </p:nvSpPr>
            <p:spPr bwMode="auto">
              <a:xfrm>
                <a:off x="223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9" name="Oval 2958">
                <a:extLst>
                  <a:ext uri="{FF2B5EF4-FFF2-40B4-BE49-F238E27FC236}">
                    <a16:creationId xmlns:a16="http://schemas.microsoft.com/office/drawing/2014/main" id="{6C7F1EDD-62AD-4CBE-B665-31B77FBEFF79}"/>
                  </a:ext>
                </a:extLst>
              </p:cNvPr>
              <p:cNvSpPr>
                <a:spLocks noChangeArrowheads="1"/>
              </p:cNvSpPr>
              <p:nvPr/>
            </p:nvSpPr>
            <p:spPr bwMode="auto">
              <a:xfrm>
                <a:off x="223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0" name="Oval 2959">
                <a:extLst>
                  <a:ext uri="{FF2B5EF4-FFF2-40B4-BE49-F238E27FC236}">
                    <a16:creationId xmlns:a16="http://schemas.microsoft.com/office/drawing/2014/main" id="{991681CD-2516-423C-A02C-DB3482B63F3C}"/>
                  </a:ext>
                </a:extLst>
              </p:cNvPr>
              <p:cNvSpPr>
                <a:spLocks noChangeArrowheads="1"/>
              </p:cNvSpPr>
              <p:nvPr/>
            </p:nvSpPr>
            <p:spPr bwMode="auto">
              <a:xfrm>
                <a:off x="211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1" name="Oval 2960">
                <a:extLst>
                  <a:ext uri="{FF2B5EF4-FFF2-40B4-BE49-F238E27FC236}">
                    <a16:creationId xmlns:a16="http://schemas.microsoft.com/office/drawing/2014/main" id="{8E979391-2602-4F83-BF8D-D1F851528067}"/>
                  </a:ext>
                </a:extLst>
              </p:cNvPr>
              <p:cNvSpPr>
                <a:spLocks noChangeArrowheads="1"/>
              </p:cNvSpPr>
              <p:nvPr/>
            </p:nvSpPr>
            <p:spPr bwMode="auto">
              <a:xfrm>
                <a:off x="21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2" name="Oval 2961">
                <a:extLst>
                  <a:ext uri="{FF2B5EF4-FFF2-40B4-BE49-F238E27FC236}">
                    <a16:creationId xmlns:a16="http://schemas.microsoft.com/office/drawing/2014/main" id="{841DF5C3-D0EE-4AD8-91CE-6C537F8907B4}"/>
                  </a:ext>
                </a:extLst>
              </p:cNvPr>
              <p:cNvSpPr>
                <a:spLocks noChangeArrowheads="1"/>
              </p:cNvSpPr>
              <p:nvPr/>
            </p:nvSpPr>
            <p:spPr bwMode="auto">
              <a:xfrm>
                <a:off x="238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3" name="Oval 2962">
                <a:extLst>
                  <a:ext uri="{FF2B5EF4-FFF2-40B4-BE49-F238E27FC236}">
                    <a16:creationId xmlns:a16="http://schemas.microsoft.com/office/drawing/2014/main" id="{C232BC1B-110D-436E-A40B-9514C9E6EAE8}"/>
                  </a:ext>
                </a:extLst>
              </p:cNvPr>
              <p:cNvSpPr>
                <a:spLocks noChangeArrowheads="1"/>
              </p:cNvSpPr>
              <p:nvPr/>
            </p:nvSpPr>
            <p:spPr bwMode="auto">
              <a:xfrm>
                <a:off x="238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4" name="Oval 2963">
                <a:extLst>
                  <a:ext uri="{FF2B5EF4-FFF2-40B4-BE49-F238E27FC236}">
                    <a16:creationId xmlns:a16="http://schemas.microsoft.com/office/drawing/2014/main" id="{7E332B74-4C71-43B7-82AD-2B6856FEB14A}"/>
                  </a:ext>
                </a:extLst>
              </p:cNvPr>
              <p:cNvSpPr>
                <a:spLocks noChangeArrowheads="1"/>
              </p:cNvSpPr>
              <p:nvPr/>
            </p:nvSpPr>
            <p:spPr bwMode="auto">
              <a:xfrm>
                <a:off x="226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5" name="Oval 2964">
                <a:extLst>
                  <a:ext uri="{FF2B5EF4-FFF2-40B4-BE49-F238E27FC236}">
                    <a16:creationId xmlns:a16="http://schemas.microsoft.com/office/drawing/2014/main" id="{5DEAA63D-1D1D-442F-9DB6-4762B0E459CF}"/>
                  </a:ext>
                </a:extLst>
              </p:cNvPr>
              <p:cNvSpPr>
                <a:spLocks noChangeArrowheads="1"/>
              </p:cNvSpPr>
              <p:nvPr/>
            </p:nvSpPr>
            <p:spPr bwMode="auto">
              <a:xfrm>
                <a:off x="2145"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6" name="Oval 2965">
                <a:extLst>
                  <a:ext uri="{FF2B5EF4-FFF2-40B4-BE49-F238E27FC236}">
                    <a16:creationId xmlns:a16="http://schemas.microsoft.com/office/drawing/2014/main" id="{6A5A9C90-583C-4762-8A19-187A88515921}"/>
                  </a:ext>
                </a:extLst>
              </p:cNvPr>
              <p:cNvSpPr>
                <a:spLocks noChangeArrowheads="1"/>
              </p:cNvSpPr>
              <p:nvPr/>
            </p:nvSpPr>
            <p:spPr bwMode="auto">
              <a:xfrm>
                <a:off x="2056" y="30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7" name="Oval 2966">
                <a:extLst>
                  <a:ext uri="{FF2B5EF4-FFF2-40B4-BE49-F238E27FC236}">
                    <a16:creationId xmlns:a16="http://schemas.microsoft.com/office/drawing/2014/main" id="{F3B5DC74-C839-441F-B98F-97E5ACDBA0BC}"/>
                  </a:ext>
                </a:extLst>
              </p:cNvPr>
              <p:cNvSpPr>
                <a:spLocks noChangeArrowheads="1"/>
              </p:cNvSpPr>
              <p:nvPr/>
            </p:nvSpPr>
            <p:spPr bwMode="auto">
              <a:xfrm>
                <a:off x="1966" y="28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8" name="Oval 2967">
                <a:extLst>
                  <a:ext uri="{FF2B5EF4-FFF2-40B4-BE49-F238E27FC236}">
                    <a16:creationId xmlns:a16="http://schemas.microsoft.com/office/drawing/2014/main" id="{C1E065EB-1A6F-4E38-BA81-F8B03C352035}"/>
                  </a:ext>
                </a:extLst>
              </p:cNvPr>
              <p:cNvSpPr>
                <a:spLocks noChangeArrowheads="1"/>
              </p:cNvSpPr>
              <p:nvPr/>
            </p:nvSpPr>
            <p:spPr bwMode="auto">
              <a:xfrm>
                <a:off x="1966"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99" name="Oval 2968">
                <a:extLst>
                  <a:ext uri="{FF2B5EF4-FFF2-40B4-BE49-F238E27FC236}">
                    <a16:creationId xmlns:a16="http://schemas.microsoft.com/office/drawing/2014/main" id="{D93E2512-3A3D-4628-AF20-E8406869F103}"/>
                  </a:ext>
                </a:extLst>
              </p:cNvPr>
              <p:cNvSpPr>
                <a:spLocks noChangeArrowheads="1"/>
              </p:cNvSpPr>
              <p:nvPr/>
            </p:nvSpPr>
            <p:spPr bwMode="auto">
              <a:xfrm>
                <a:off x="2056" y="264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0" name="Oval 2969">
                <a:extLst>
                  <a:ext uri="{FF2B5EF4-FFF2-40B4-BE49-F238E27FC236}">
                    <a16:creationId xmlns:a16="http://schemas.microsoft.com/office/drawing/2014/main" id="{0AB1087A-0EAE-439E-8E29-A691D1C63ECB}"/>
                  </a:ext>
                </a:extLst>
              </p:cNvPr>
              <p:cNvSpPr>
                <a:spLocks noChangeArrowheads="1"/>
              </p:cNvSpPr>
              <p:nvPr/>
            </p:nvSpPr>
            <p:spPr bwMode="auto">
              <a:xfrm>
                <a:off x="211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1" name="Oval 2970">
                <a:extLst>
                  <a:ext uri="{FF2B5EF4-FFF2-40B4-BE49-F238E27FC236}">
                    <a16:creationId xmlns:a16="http://schemas.microsoft.com/office/drawing/2014/main" id="{30E3ADD8-B364-46BB-B991-46476ACE753B}"/>
                  </a:ext>
                </a:extLst>
              </p:cNvPr>
              <p:cNvSpPr>
                <a:spLocks noChangeArrowheads="1"/>
              </p:cNvSpPr>
              <p:nvPr/>
            </p:nvSpPr>
            <p:spPr bwMode="auto">
              <a:xfrm>
                <a:off x="196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2" name="Oval 2971">
                <a:extLst>
                  <a:ext uri="{FF2B5EF4-FFF2-40B4-BE49-F238E27FC236}">
                    <a16:creationId xmlns:a16="http://schemas.microsoft.com/office/drawing/2014/main" id="{B5A9D72B-8904-4EC5-AE6B-FF8C481C12D8}"/>
                  </a:ext>
                </a:extLst>
              </p:cNvPr>
              <p:cNvSpPr>
                <a:spLocks noChangeArrowheads="1"/>
              </p:cNvSpPr>
              <p:nvPr/>
            </p:nvSpPr>
            <p:spPr bwMode="auto">
              <a:xfrm>
                <a:off x="2056" y="24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3" name="Oval 2972">
                <a:extLst>
                  <a:ext uri="{FF2B5EF4-FFF2-40B4-BE49-F238E27FC236}">
                    <a16:creationId xmlns:a16="http://schemas.microsoft.com/office/drawing/2014/main" id="{88582D0A-AAA5-4778-9942-717EA1F92A2E}"/>
                  </a:ext>
                </a:extLst>
              </p:cNvPr>
              <p:cNvSpPr>
                <a:spLocks noChangeArrowheads="1"/>
              </p:cNvSpPr>
              <p:nvPr/>
            </p:nvSpPr>
            <p:spPr bwMode="auto">
              <a:xfrm>
                <a:off x="21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4" name="Oval 2973">
                <a:extLst>
                  <a:ext uri="{FF2B5EF4-FFF2-40B4-BE49-F238E27FC236}">
                    <a16:creationId xmlns:a16="http://schemas.microsoft.com/office/drawing/2014/main" id="{76B0B65B-9E37-45AB-9669-A6CAD22482E6}"/>
                  </a:ext>
                </a:extLst>
              </p:cNvPr>
              <p:cNvSpPr>
                <a:spLocks noChangeArrowheads="1"/>
              </p:cNvSpPr>
              <p:nvPr/>
            </p:nvSpPr>
            <p:spPr bwMode="auto">
              <a:xfrm>
                <a:off x="196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5" name="Oval 2974">
                <a:extLst>
                  <a:ext uri="{FF2B5EF4-FFF2-40B4-BE49-F238E27FC236}">
                    <a16:creationId xmlns:a16="http://schemas.microsoft.com/office/drawing/2014/main" id="{A5E85232-88EA-4A9E-8325-A9EC66D95616}"/>
                  </a:ext>
                </a:extLst>
              </p:cNvPr>
              <p:cNvSpPr>
                <a:spLocks noChangeArrowheads="1"/>
              </p:cNvSpPr>
              <p:nvPr/>
            </p:nvSpPr>
            <p:spPr bwMode="auto">
              <a:xfrm>
                <a:off x="187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6" name="Oval 2975">
                <a:extLst>
                  <a:ext uri="{FF2B5EF4-FFF2-40B4-BE49-F238E27FC236}">
                    <a16:creationId xmlns:a16="http://schemas.microsoft.com/office/drawing/2014/main" id="{5E576547-C22D-4BA7-8AB9-5FFD4A54E735}"/>
                  </a:ext>
                </a:extLst>
              </p:cNvPr>
              <p:cNvSpPr>
                <a:spLocks noChangeArrowheads="1"/>
              </p:cNvSpPr>
              <p:nvPr/>
            </p:nvSpPr>
            <p:spPr bwMode="auto">
              <a:xfrm>
                <a:off x="178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7" name="Oval 2976">
                <a:extLst>
                  <a:ext uri="{FF2B5EF4-FFF2-40B4-BE49-F238E27FC236}">
                    <a16:creationId xmlns:a16="http://schemas.microsoft.com/office/drawing/2014/main" id="{0DB31A8D-61B0-4573-BC6B-A88EF7AA1687}"/>
                  </a:ext>
                </a:extLst>
              </p:cNvPr>
              <p:cNvSpPr>
                <a:spLocks noChangeArrowheads="1"/>
              </p:cNvSpPr>
              <p:nvPr/>
            </p:nvSpPr>
            <p:spPr bwMode="auto">
              <a:xfrm>
                <a:off x="1756"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8" name="Oval 2977">
                <a:extLst>
                  <a:ext uri="{FF2B5EF4-FFF2-40B4-BE49-F238E27FC236}">
                    <a16:creationId xmlns:a16="http://schemas.microsoft.com/office/drawing/2014/main" id="{B4F00AF5-1B3A-4FB6-97EF-7E69DD16EE37}"/>
                  </a:ext>
                </a:extLst>
              </p:cNvPr>
              <p:cNvSpPr>
                <a:spLocks noChangeArrowheads="1"/>
              </p:cNvSpPr>
              <p:nvPr/>
            </p:nvSpPr>
            <p:spPr bwMode="auto">
              <a:xfrm>
                <a:off x="187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09" name="Oval 2978">
                <a:extLst>
                  <a:ext uri="{FF2B5EF4-FFF2-40B4-BE49-F238E27FC236}">
                    <a16:creationId xmlns:a16="http://schemas.microsoft.com/office/drawing/2014/main" id="{75C08D72-3823-4B32-8BA6-A7D606876C42}"/>
                  </a:ext>
                </a:extLst>
              </p:cNvPr>
              <p:cNvSpPr>
                <a:spLocks noChangeArrowheads="1"/>
              </p:cNvSpPr>
              <p:nvPr/>
            </p:nvSpPr>
            <p:spPr bwMode="auto">
              <a:xfrm>
                <a:off x="1816"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0" name="Oval 2979">
                <a:extLst>
                  <a:ext uri="{FF2B5EF4-FFF2-40B4-BE49-F238E27FC236}">
                    <a16:creationId xmlns:a16="http://schemas.microsoft.com/office/drawing/2014/main" id="{C65E9F93-CF9A-429D-94CD-053E6940BE14}"/>
                  </a:ext>
                </a:extLst>
              </p:cNvPr>
              <p:cNvSpPr>
                <a:spLocks noChangeArrowheads="1"/>
              </p:cNvSpPr>
              <p:nvPr/>
            </p:nvSpPr>
            <p:spPr bwMode="auto">
              <a:xfrm>
                <a:off x="18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1" name="Oval 2980">
                <a:extLst>
                  <a:ext uri="{FF2B5EF4-FFF2-40B4-BE49-F238E27FC236}">
                    <a16:creationId xmlns:a16="http://schemas.microsoft.com/office/drawing/2014/main" id="{85EFE4CB-9C72-46A7-AAD5-18E5AAFBE695}"/>
                  </a:ext>
                </a:extLst>
              </p:cNvPr>
              <p:cNvSpPr>
                <a:spLocks noChangeArrowheads="1"/>
              </p:cNvSpPr>
              <p:nvPr/>
            </p:nvSpPr>
            <p:spPr bwMode="auto">
              <a:xfrm>
                <a:off x="184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2" name="Oval 2981">
                <a:extLst>
                  <a:ext uri="{FF2B5EF4-FFF2-40B4-BE49-F238E27FC236}">
                    <a16:creationId xmlns:a16="http://schemas.microsoft.com/office/drawing/2014/main" id="{C515F245-BAB2-4982-907B-1E37FCABAE0F}"/>
                  </a:ext>
                </a:extLst>
              </p:cNvPr>
              <p:cNvSpPr>
                <a:spLocks noChangeArrowheads="1"/>
              </p:cNvSpPr>
              <p:nvPr/>
            </p:nvSpPr>
            <p:spPr bwMode="auto">
              <a:xfrm>
                <a:off x="229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813" name="Oval 2982">
                <a:extLst>
                  <a:ext uri="{FF2B5EF4-FFF2-40B4-BE49-F238E27FC236}">
                    <a16:creationId xmlns:a16="http://schemas.microsoft.com/office/drawing/2014/main" id="{7934D7C4-3762-47AC-BB1B-7AA118BBE94D}"/>
                  </a:ext>
                </a:extLst>
              </p:cNvPr>
              <p:cNvSpPr>
                <a:spLocks noChangeArrowheads="1"/>
              </p:cNvSpPr>
              <p:nvPr/>
            </p:nvSpPr>
            <p:spPr bwMode="auto">
              <a:xfrm>
                <a:off x="232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sp>
          <p:nvSpPr>
            <p:cNvPr id="429" name="Oval 2984">
              <a:extLst>
                <a:ext uri="{FF2B5EF4-FFF2-40B4-BE49-F238E27FC236}">
                  <a16:creationId xmlns:a16="http://schemas.microsoft.com/office/drawing/2014/main" id="{34FA26D1-7EB1-4B23-99CC-9AD615998185}"/>
                </a:ext>
              </a:extLst>
            </p:cNvPr>
            <p:cNvSpPr>
              <a:spLocks noChangeArrowheads="1"/>
            </p:cNvSpPr>
            <p:nvPr/>
          </p:nvSpPr>
          <p:spPr bwMode="auto">
            <a:xfrm>
              <a:off x="232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0" name="Oval 2985">
              <a:extLst>
                <a:ext uri="{FF2B5EF4-FFF2-40B4-BE49-F238E27FC236}">
                  <a16:creationId xmlns:a16="http://schemas.microsoft.com/office/drawing/2014/main" id="{FC2E818E-FFC1-4B21-B66C-21E90A66577E}"/>
                </a:ext>
              </a:extLst>
            </p:cNvPr>
            <p:cNvSpPr>
              <a:spLocks noChangeArrowheads="1"/>
            </p:cNvSpPr>
            <p:nvPr/>
          </p:nvSpPr>
          <p:spPr bwMode="auto">
            <a:xfrm>
              <a:off x="214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1" name="Oval 2986">
              <a:extLst>
                <a:ext uri="{FF2B5EF4-FFF2-40B4-BE49-F238E27FC236}">
                  <a16:creationId xmlns:a16="http://schemas.microsoft.com/office/drawing/2014/main" id="{5B70D8F7-4070-4148-93DD-97AC1B4D909F}"/>
                </a:ext>
              </a:extLst>
            </p:cNvPr>
            <p:cNvSpPr>
              <a:spLocks noChangeArrowheads="1"/>
            </p:cNvSpPr>
            <p:nvPr/>
          </p:nvSpPr>
          <p:spPr bwMode="auto">
            <a:xfrm>
              <a:off x="2026"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2" name="Oval 2987">
              <a:extLst>
                <a:ext uri="{FF2B5EF4-FFF2-40B4-BE49-F238E27FC236}">
                  <a16:creationId xmlns:a16="http://schemas.microsoft.com/office/drawing/2014/main" id="{398464ED-76E5-4A00-AF2F-49D48810A051}"/>
                </a:ext>
              </a:extLst>
            </p:cNvPr>
            <p:cNvSpPr>
              <a:spLocks noChangeArrowheads="1"/>
            </p:cNvSpPr>
            <p:nvPr/>
          </p:nvSpPr>
          <p:spPr bwMode="auto">
            <a:xfrm>
              <a:off x="18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3" name="Oval 2988">
              <a:extLst>
                <a:ext uri="{FF2B5EF4-FFF2-40B4-BE49-F238E27FC236}">
                  <a16:creationId xmlns:a16="http://schemas.microsoft.com/office/drawing/2014/main" id="{E7C8BA19-12D1-4E16-853F-CC4F007F9E22}"/>
                </a:ext>
              </a:extLst>
            </p:cNvPr>
            <p:cNvSpPr>
              <a:spLocks noChangeArrowheads="1"/>
            </p:cNvSpPr>
            <p:nvPr/>
          </p:nvSpPr>
          <p:spPr bwMode="auto">
            <a:xfrm>
              <a:off x="2056" y="19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4" name="Oval 2989">
              <a:extLst>
                <a:ext uri="{FF2B5EF4-FFF2-40B4-BE49-F238E27FC236}">
                  <a16:creationId xmlns:a16="http://schemas.microsoft.com/office/drawing/2014/main" id="{84C27314-444B-414B-BC77-B7CCE4751665}"/>
                </a:ext>
              </a:extLst>
            </p:cNvPr>
            <p:cNvSpPr>
              <a:spLocks noChangeArrowheads="1"/>
            </p:cNvSpPr>
            <p:nvPr/>
          </p:nvSpPr>
          <p:spPr bwMode="auto">
            <a:xfrm>
              <a:off x="199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5" name="Oval 2990">
              <a:extLst>
                <a:ext uri="{FF2B5EF4-FFF2-40B4-BE49-F238E27FC236}">
                  <a16:creationId xmlns:a16="http://schemas.microsoft.com/office/drawing/2014/main" id="{E6E7D4B8-BB80-4159-A2CB-A3469BEDA1F3}"/>
                </a:ext>
              </a:extLst>
            </p:cNvPr>
            <p:cNvSpPr>
              <a:spLocks noChangeArrowheads="1"/>
            </p:cNvSpPr>
            <p:nvPr/>
          </p:nvSpPr>
          <p:spPr bwMode="auto">
            <a:xfrm>
              <a:off x="21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6" name="Oval 2991">
              <a:extLst>
                <a:ext uri="{FF2B5EF4-FFF2-40B4-BE49-F238E27FC236}">
                  <a16:creationId xmlns:a16="http://schemas.microsoft.com/office/drawing/2014/main" id="{57ED6505-7FFF-42CC-8CFB-DA47431F6DF8}"/>
                </a:ext>
              </a:extLst>
            </p:cNvPr>
            <p:cNvSpPr>
              <a:spLocks noChangeArrowheads="1"/>
            </p:cNvSpPr>
            <p:nvPr/>
          </p:nvSpPr>
          <p:spPr bwMode="auto">
            <a:xfrm>
              <a:off x="2145"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7" name="Oval 2992">
              <a:extLst>
                <a:ext uri="{FF2B5EF4-FFF2-40B4-BE49-F238E27FC236}">
                  <a16:creationId xmlns:a16="http://schemas.microsoft.com/office/drawing/2014/main" id="{76203430-E3A3-4A94-A270-5E9B10BDBEB5}"/>
                </a:ext>
              </a:extLst>
            </p:cNvPr>
            <p:cNvSpPr>
              <a:spLocks noChangeArrowheads="1"/>
            </p:cNvSpPr>
            <p:nvPr/>
          </p:nvSpPr>
          <p:spPr bwMode="auto">
            <a:xfrm>
              <a:off x="220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8" name="Oval 2993">
              <a:extLst>
                <a:ext uri="{FF2B5EF4-FFF2-40B4-BE49-F238E27FC236}">
                  <a16:creationId xmlns:a16="http://schemas.microsoft.com/office/drawing/2014/main" id="{FD2E1C63-E12B-4B46-BF52-19F08540792E}"/>
                </a:ext>
              </a:extLst>
            </p:cNvPr>
            <p:cNvSpPr>
              <a:spLocks noChangeArrowheads="1"/>
            </p:cNvSpPr>
            <p:nvPr/>
          </p:nvSpPr>
          <p:spPr bwMode="auto">
            <a:xfrm>
              <a:off x="2086"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9" name="Oval 2994">
              <a:extLst>
                <a:ext uri="{FF2B5EF4-FFF2-40B4-BE49-F238E27FC236}">
                  <a16:creationId xmlns:a16="http://schemas.microsoft.com/office/drawing/2014/main" id="{5CE6B161-88AE-41B4-89D9-B54449BCFA5A}"/>
                </a:ext>
              </a:extLst>
            </p:cNvPr>
            <p:cNvSpPr>
              <a:spLocks noChangeArrowheads="1"/>
            </p:cNvSpPr>
            <p:nvPr/>
          </p:nvSpPr>
          <p:spPr bwMode="auto">
            <a:xfrm>
              <a:off x="2205"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0" name="Oval 2995">
              <a:extLst>
                <a:ext uri="{FF2B5EF4-FFF2-40B4-BE49-F238E27FC236}">
                  <a16:creationId xmlns:a16="http://schemas.microsoft.com/office/drawing/2014/main" id="{6ABA7A3B-F7B2-4665-9555-B27725F1CFD8}"/>
                </a:ext>
              </a:extLst>
            </p:cNvPr>
            <p:cNvSpPr>
              <a:spLocks noChangeArrowheads="1"/>
            </p:cNvSpPr>
            <p:nvPr/>
          </p:nvSpPr>
          <p:spPr bwMode="auto">
            <a:xfrm>
              <a:off x="21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1" name="Oval 2996">
              <a:extLst>
                <a:ext uri="{FF2B5EF4-FFF2-40B4-BE49-F238E27FC236}">
                  <a16:creationId xmlns:a16="http://schemas.microsoft.com/office/drawing/2014/main" id="{BCD14D4E-EAED-4C92-A662-AA071A9A199F}"/>
                </a:ext>
              </a:extLst>
            </p:cNvPr>
            <p:cNvSpPr>
              <a:spLocks noChangeArrowheads="1"/>
            </p:cNvSpPr>
            <p:nvPr/>
          </p:nvSpPr>
          <p:spPr bwMode="auto">
            <a:xfrm>
              <a:off x="2026"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2" name="Oval 2997">
              <a:extLst>
                <a:ext uri="{FF2B5EF4-FFF2-40B4-BE49-F238E27FC236}">
                  <a16:creationId xmlns:a16="http://schemas.microsoft.com/office/drawing/2014/main" id="{539BE7CE-C7C8-417D-BD9E-B591BD04A6E2}"/>
                </a:ext>
              </a:extLst>
            </p:cNvPr>
            <p:cNvSpPr>
              <a:spLocks noChangeArrowheads="1"/>
            </p:cNvSpPr>
            <p:nvPr/>
          </p:nvSpPr>
          <p:spPr bwMode="auto">
            <a:xfrm>
              <a:off x="199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3" name="Oval 2998">
              <a:extLst>
                <a:ext uri="{FF2B5EF4-FFF2-40B4-BE49-F238E27FC236}">
                  <a16:creationId xmlns:a16="http://schemas.microsoft.com/office/drawing/2014/main" id="{3F4D0696-2416-4E22-A6E7-72C43FE8051A}"/>
                </a:ext>
              </a:extLst>
            </p:cNvPr>
            <p:cNvSpPr>
              <a:spLocks noChangeArrowheads="1"/>
            </p:cNvSpPr>
            <p:nvPr/>
          </p:nvSpPr>
          <p:spPr bwMode="auto">
            <a:xfrm>
              <a:off x="19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4" name="Oval 2999">
              <a:extLst>
                <a:ext uri="{FF2B5EF4-FFF2-40B4-BE49-F238E27FC236}">
                  <a16:creationId xmlns:a16="http://schemas.microsoft.com/office/drawing/2014/main" id="{117D1869-14E4-4F13-9D9B-2620FBDBE6C8}"/>
                </a:ext>
              </a:extLst>
            </p:cNvPr>
            <p:cNvSpPr>
              <a:spLocks noChangeArrowheads="1"/>
            </p:cNvSpPr>
            <p:nvPr/>
          </p:nvSpPr>
          <p:spPr bwMode="auto">
            <a:xfrm>
              <a:off x="190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5" name="Oval 3000">
              <a:extLst>
                <a:ext uri="{FF2B5EF4-FFF2-40B4-BE49-F238E27FC236}">
                  <a16:creationId xmlns:a16="http://schemas.microsoft.com/office/drawing/2014/main" id="{5C53A68A-41AD-4112-A445-EB7BE0703797}"/>
                </a:ext>
              </a:extLst>
            </p:cNvPr>
            <p:cNvSpPr>
              <a:spLocks noChangeArrowheads="1"/>
            </p:cNvSpPr>
            <p:nvPr/>
          </p:nvSpPr>
          <p:spPr bwMode="auto">
            <a:xfrm>
              <a:off x="2026"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6" name="Oval 3001">
              <a:extLst>
                <a:ext uri="{FF2B5EF4-FFF2-40B4-BE49-F238E27FC236}">
                  <a16:creationId xmlns:a16="http://schemas.microsoft.com/office/drawing/2014/main" id="{540FA552-95CD-4569-B8B1-EA1934C8760E}"/>
                </a:ext>
              </a:extLst>
            </p:cNvPr>
            <p:cNvSpPr>
              <a:spLocks noChangeArrowheads="1"/>
            </p:cNvSpPr>
            <p:nvPr/>
          </p:nvSpPr>
          <p:spPr bwMode="auto">
            <a:xfrm>
              <a:off x="1846"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7" name="Oval 3002">
              <a:extLst>
                <a:ext uri="{FF2B5EF4-FFF2-40B4-BE49-F238E27FC236}">
                  <a16:creationId xmlns:a16="http://schemas.microsoft.com/office/drawing/2014/main" id="{494179A6-517F-4CA5-A623-6FEB27EEF3D6}"/>
                </a:ext>
              </a:extLst>
            </p:cNvPr>
            <p:cNvSpPr>
              <a:spLocks noChangeArrowheads="1"/>
            </p:cNvSpPr>
            <p:nvPr/>
          </p:nvSpPr>
          <p:spPr bwMode="auto">
            <a:xfrm>
              <a:off x="157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8" name="Oval 3003">
              <a:extLst>
                <a:ext uri="{FF2B5EF4-FFF2-40B4-BE49-F238E27FC236}">
                  <a16:creationId xmlns:a16="http://schemas.microsoft.com/office/drawing/2014/main" id="{969294E5-7F46-4689-973E-16505CD91418}"/>
                </a:ext>
              </a:extLst>
            </p:cNvPr>
            <p:cNvSpPr>
              <a:spLocks noChangeArrowheads="1"/>
            </p:cNvSpPr>
            <p:nvPr/>
          </p:nvSpPr>
          <p:spPr bwMode="auto">
            <a:xfrm>
              <a:off x="154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49" name="Oval 3004">
              <a:extLst>
                <a:ext uri="{FF2B5EF4-FFF2-40B4-BE49-F238E27FC236}">
                  <a16:creationId xmlns:a16="http://schemas.microsoft.com/office/drawing/2014/main" id="{1F1E3C82-03FB-40B6-BF07-FA7E8EB97AAE}"/>
                </a:ext>
              </a:extLst>
            </p:cNvPr>
            <p:cNvSpPr>
              <a:spLocks noChangeArrowheads="1"/>
            </p:cNvSpPr>
            <p:nvPr/>
          </p:nvSpPr>
          <p:spPr bwMode="auto">
            <a:xfrm>
              <a:off x="187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0" name="Oval 3005">
              <a:extLst>
                <a:ext uri="{FF2B5EF4-FFF2-40B4-BE49-F238E27FC236}">
                  <a16:creationId xmlns:a16="http://schemas.microsoft.com/office/drawing/2014/main" id="{A64B995F-BECF-425D-97F7-173DC901718B}"/>
                </a:ext>
              </a:extLst>
            </p:cNvPr>
            <p:cNvSpPr>
              <a:spLocks noChangeArrowheads="1"/>
            </p:cNvSpPr>
            <p:nvPr/>
          </p:nvSpPr>
          <p:spPr bwMode="auto">
            <a:xfrm>
              <a:off x="19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1" name="Oval 3006">
              <a:extLst>
                <a:ext uri="{FF2B5EF4-FFF2-40B4-BE49-F238E27FC236}">
                  <a16:creationId xmlns:a16="http://schemas.microsoft.com/office/drawing/2014/main" id="{9B94AA7C-E312-4086-ACD3-AE57FC0A8701}"/>
                </a:ext>
              </a:extLst>
            </p:cNvPr>
            <p:cNvSpPr>
              <a:spLocks noChangeArrowheads="1"/>
            </p:cNvSpPr>
            <p:nvPr/>
          </p:nvSpPr>
          <p:spPr bwMode="auto">
            <a:xfrm>
              <a:off x="226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2" name="Oval 3007">
              <a:extLst>
                <a:ext uri="{FF2B5EF4-FFF2-40B4-BE49-F238E27FC236}">
                  <a16:creationId xmlns:a16="http://schemas.microsoft.com/office/drawing/2014/main" id="{AA73DB3E-476E-4A17-B240-83A217E29956}"/>
                </a:ext>
              </a:extLst>
            </p:cNvPr>
            <p:cNvSpPr>
              <a:spLocks noChangeArrowheads="1"/>
            </p:cNvSpPr>
            <p:nvPr/>
          </p:nvSpPr>
          <p:spPr bwMode="auto">
            <a:xfrm>
              <a:off x="223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3" name="Oval 3008">
              <a:extLst>
                <a:ext uri="{FF2B5EF4-FFF2-40B4-BE49-F238E27FC236}">
                  <a16:creationId xmlns:a16="http://schemas.microsoft.com/office/drawing/2014/main" id="{8BA4C5D0-918A-46A3-9654-4A3A79ABFD82}"/>
                </a:ext>
              </a:extLst>
            </p:cNvPr>
            <p:cNvSpPr>
              <a:spLocks noChangeArrowheads="1"/>
            </p:cNvSpPr>
            <p:nvPr/>
          </p:nvSpPr>
          <p:spPr bwMode="auto">
            <a:xfrm>
              <a:off x="223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4" name="Oval 3009">
              <a:extLst>
                <a:ext uri="{FF2B5EF4-FFF2-40B4-BE49-F238E27FC236}">
                  <a16:creationId xmlns:a16="http://schemas.microsoft.com/office/drawing/2014/main" id="{81E81342-430B-4CEE-B767-C897C3A7EFA9}"/>
                </a:ext>
              </a:extLst>
            </p:cNvPr>
            <p:cNvSpPr>
              <a:spLocks noChangeArrowheads="1"/>
            </p:cNvSpPr>
            <p:nvPr/>
          </p:nvSpPr>
          <p:spPr bwMode="auto">
            <a:xfrm>
              <a:off x="241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5" name="Oval 3010">
              <a:extLst>
                <a:ext uri="{FF2B5EF4-FFF2-40B4-BE49-F238E27FC236}">
                  <a16:creationId xmlns:a16="http://schemas.microsoft.com/office/drawing/2014/main" id="{F7022CAA-8CEB-4046-9395-23A29D66A84B}"/>
                </a:ext>
              </a:extLst>
            </p:cNvPr>
            <p:cNvSpPr>
              <a:spLocks noChangeArrowheads="1"/>
            </p:cNvSpPr>
            <p:nvPr/>
          </p:nvSpPr>
          <p:spPr bwMode="auto">
            <a:xfrm>
              <a:off x="274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6" name="Oval 3011">
              <a:extLst>
                <a:ext uri="{FF2B5EF4-FFF2-40B4-BE49-F238E27FC236}">
                  <a16:creationId xmlns:a16="http://schemas.microsoft.com/office/drawing/2014/main" id="{B920D0CF-BF4F-44D1-854D-37CF1F65DF55}"/>
                </a:ext>
              </a:extLst>
            </p:cNvPr>
            <p:cNvSpPr>
              <a:spLocks noChangeArrowheads="1"/>
            </p:cNvSpPr>
            <p:nvPr/>
          </p:nvSpPr>
          <p:spPr bwMode="auto">
            <a:xfrm>
              <a:off x="265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7" name="Oval 3012">
              <a:extLst>
                <a:ext uri="{FF2B5EF4-FFF2-40B4-BE49-F238E27FC236}">
                  <a16:creationId xmlns:a16="http://schemas.microsoft.com/office/drawing/2014/main" id="{E95FAF5B-E359-4331-90A6-EA3EDAF5510E}"/>
                </a:ext>
              </a:extLst>
            </p:cNvPr>
            <p:cNvSpPr>
              <a:spLocks noChangeArrowheads="1"/>
            </p:cNvSpPr>
            <p:nvPr/>
          </p:nvSpPr>
          <p:spPr bwMode="auto">
            <a:xfrm>
              <a:off x="268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8" name="Oval 3013">
              <a:extLst>
                <a:ext uri="{FF2B5EF4-FFF2-40B4-BE49-F238E27FC236}">
                  <a16:creationId xmlns:a16="http://schemas.microsoft.com/office/drawing/2014/main" id="{7BF25D7D-EE0E-413F-B044-A05C3B47AE06}"/>
                </a:ext>
              </a:extLst>
            </p:cNvPr>
            <p:cNvSpPr>
              <a:spLocks noChangeArrowheads="1"/>
            </p:cNvSpPr>
            <p:nvPr/>
          </p:nvSpPr>
          <p:spPr bwMode="auto">
            <a:xfrm>
              <a:off x="262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59" name="Oval 3014">
              <a:extLst>
                <a:ext uri="{FF2B5EF4-FFF2-40B4-BE49-F238E27FC236}">
                  <a16:creationId xmlns:a16="http://schemas.microsoft.com/office/drawing/2014/main" id="{64411806-6743-424F-A540-DFE0188CA683}"/>
                </a:ext>
              </a:extLst>
            </p:cNvPr>
            <p:cNvSpPr>
              <a:spLocks noChangeArrowheads="1"/>
            </p:cNvSpPr>
            <p:nvPr/>
          </p:nvSpPr>
          <p:spPr bwMode="auto">
            <a:xfrm>
              <a:off x="262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0" name="Oval 3015">
              <a:extLst>
                <a:ext uri="{FF2B5EF4-FFF2-40B4-BE49-F238E27FC236}">
                  <a16:creationId xmlns:a16="http://schemas.microsoft.com/office/drawing/2014/main" id="{06E34710-7ED5-48B7-BF25-EF4D8FB373CD}"/>
                </a:ext>
              </a:extLst>
            </p:cNvPr>
            <p:cNvSpPr>
              <a:spLocks noChangeArrowheads="1"/>
            </p:cNvSpPr>
            <p:nvPr/>
          </p:nvSpPr>
          <p:spPr bwMode="auto">
            <a:xfrm>
              <a:off x="304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1" name="Oval 3016">
              <a:extLst>
                <a:ext uri="{FF2B5EF4-FFF2-40B4-BE49-F238E27FC236}">
                  <a16:creationId xmlns:a16="http://schemas.microsoft.com/office/drawing/2014/main" id="{ED89322C-2987-4C90-9006-63C532AFBA2B}"/>
                </a:ext>
              </a:extLst>
            </p:cNvPr>
            <p:cNvSpPr>
              <a:spLocks noChangeArrowheads="1"/>
            </p:cNvSpPr>
            <p:nvPr/>
          </p:nvSpPr>
          <p:spPr bwMode="auto">
            <a:xfrm>
              <a:off x="343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2" name="Oval 3017">
              <a:extLst>
                <a:ext uri="{FF2B5EF4-FFF2-40B4-BE49-F238E27FC236}">
                  <a16:creationId xmlns:a16="http://schemas.microsoft.com/office/drawing/2014/main" id="{1F294E33-C375-4C3B-AF5B-8C5EC6037A8E}"/>
                </a:ext>
              </a:extLst>
            </p:cNvPr>
            <p:cNvSpPr>
              <a:spLocks noChangeArrowheads="1"/>
            </p:cNvSpPr>
            <p:nvPr/>
          </p:nvSpPr>
          <p:spPr bwMode="auto">
            <a:xfrm>
              <a:off x="352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3" name="Oval 3018">
              <a:extLst>
                <a:ext uri="{FF2B5EF4-FFF2-40B4-BE49-F238E27FC236}">
                  <a16:creationId xmlns:a16="http://schemas.microsoft.com/office/drawing/2014/main" id="{10A6E7CD-BD10-4155-A69D-8805CD7AEFE7}"/>
                </a:ext>
              </a:extLst>
            </p:cNvPr>
            <p:cNvSpPr>
              <a:spLocks noChangeArrowheads="1"/>
            </p:cNvSpPr>
            <p:nvPr/>
          </p:nvSpPr>
          <p:spPr bwMode="auto">
            <a:xfrm>
              <a:off x="352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4" name="Oval 3019">
              <a:extLst>
                <a:ext uri="{FF2B5EF4-FFF2-40B4-BE49-F238E27FC236}">
                  <a16:creationId xmlns:a16="http://schemas.microsoft.com/office/drawing/2014/main" id="{71DCAC66-B038-4C66-87DD-B11B76E05546}"/>
                </a:ext>
              </a:extLst>
            </p:cNvPr>
            <p:cNvSpPr>
              <a:spLocks noChangeArrowheads="1"/>
            </p:cNvSpPr>
            <p:nvPr/>
          </p:nvSpPr>
          <p:spPr bwMode="auto">
            <a:xfrm>
              <a:off x="331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5" name="Oval 3020">
              <a:extLst>
                <a:ext uri="{FF2B5EF4-FFF2-40B4-BE49-F238E27FC236}">
                  <a16:creationId xmlns:a16="http://schemas.microsoft.com/office/drawing/2014/main" id="{D8F948FA-DAD0-4EF1-B829-1B5FA53C8D5C}"/>
                </a:ext>
              </a:extLst>
            </p:cNvPr>
            <p:cNvSpPr>
              <a:spLocks noChangeArrowheads="1"/>
            </p:cNvSpPr>
            <p:nvPr/>
          </p:nvSpPr>
          <p:spPr bwMode="auto">
            <a:xfrm>
              <a:off x="30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6" name="Oval 3021">
              <a:extLst>
                <a:ext uri="{FF2B5EF4-FFF2-40B4-BE49-F238E27FC236}">
                  <a16:creationId xmlns:a16="http://schemas.microsoft.com/office/drawing/2014/main" id="{D781A45B-0C79-4AA6-8426-345DD39F07A0}"/>
                </a:ext>
              </a:extLst>
            </p:cNvPr>
            <p:cNvSpPr>
              <a:spLocks noChangeArrowheads="1"/>
            </p:cNvSpPr>
            <p:nvPr/>
          </p:nvSpPr>
          <p:spPr bwMode="auto">
            <a:xfrm>
              <a:off x="292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7" name="Oval 3022">
              <a:extLst>
                <a:ext uri="{FF2B5EF4-FFF2-40B4-BE49-F238E27FC236}">
                  <a16:creationId xmlns:a16="http://schemas.microsoft.com/office/drawing/2014/main" id="{DC4389DE-E785-4152-9B78-D722B40974C7}"/>
                </a:ext>
              </a:extLst>
            </p:cNvPr>
            <p:cNvSpPr>
              <a:spLocks noChangeArrowheads="1"/>
            </p:cNvSpPr>
            <p:nvPr/>
          </p:nvSpPr>
          <p:spPr bwMode="auto">
            <a:xfrm>
              <a:off x="298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8" name="Oval 3023">
              <a:extLst>
                <a:ext uri="{FF2B5EF4-FFF2-40B4-BE49-F238E27FC236}">
                  <a16:creationId xmlns:a16="http://schemas.microsoft.com/office/drawing/2014/main" id="{08BAD623-1F08-47DC-8DA7-DB087D62DF95}"/>
                </a:ext>
              </a:extLst>
            </p:cNvPr>
            <p:cNvSpPr>
              <a:spLocks noChangeArrowheads="1"/>
            </p:cNvSpPr>
            <p:nvPr/>
          </p:nvSpPr>
          <p:spPr bwMode="auto">
            <a:xfrm>
              <a:off x="292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69" name="Oval 3024">
              <a:extLst>
                <a:ext uri="{FF2B5EF4-FFF2-40B4-BE49-F238E27FC236}">
                  <a16:creationId xmlns:a16="http://schemas.microsoft.com/office/drawing/2014/main" id="{8707C0F8-F685-41AC-899C-F66B0C114AC2}"/>
                </a:ext>
              </a:extLst>
            </p:cNvPr>
            <p:cNvSpPr>
              <a:spLocks noChangeArrowheads="1"/>
            </p:cNvSpPr>
            <p:nvPr/>
          </p:nvSpPr>
          <p:spPr bwMode="auto">
            <a:xfrm>
              <a:off x="328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0" name="Oval 3025">
              <a:extLst>
                <a:ext uri="{FF2B5EF4-FFF2-40B4-BE49-F238E27FC236}">
                  <a16:creationId xmlns:a16="http://schemas.microsoft.com/office/drawing/2014/main" id="{6CBCADD1-76E4-419B-ACCF-C148B42CD06A}"/>
                </a:ext>
              </a:extLst>
            </p:cNvPr>
            <p:cNvSpPr>
              <a:spLocks noChangeArrowheads="1"/>
            </p:cNvSpPr>
            <p:nvPr/>
          </p:nvSpPr>
          <p:spPr bwMode="auto">
            <a:xfrm>
              <a:off x="3255"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1" name="Oval 3026">
              <a:extLst>
                <a:ext uri="{FF2B5EF4-FFF2-40B4-BE49-F238E27FC236}">
                  <a16:creationId xmlns:a16="http://schemas.microsoft.com/office/drawing/2014/main" id="{D9D55E3B-5C04-441C-BE91-F95B94184E53}"/>
                </a:ext>
              </a:extLst>
            </p:cNvPr>
            <p:cNvSpPr>
              <a:spLocks noChangeArrowheads="1"/>
            </p:cNvSpPr>
            <p:nvPr/>
          </p:nvSpPr>
          <p:spPr bwMode="auto">
            <a:xfrm>
              <a:off x="340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2" name="Oval 3027">
              <a:extLst>
                <a:ext uri="{FF2B5EF4-FFF2-40B4-BE49-F238E27FC236}">
                  <a16:creationId xmlns:a16="http://schemas.microsoft.com/office/drawing/2014/main" id="{B703ED29-7530-43F0-B1F1-97599E50847A}"/>
                </a:ext>
              </a:extLst>
            </p:cNvPr>
            <p:cNvSpPr>
              <a:spLocks noChangeArrowheads="1"/>
            </p:cNvSpPr>
            <p:nvPr/>
          </p:nvSpPr>
          <p:spPr bwMode="auto">
            <a:xfrm>
              <a:off x="322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3" name="Oval 3028">
              <a:extLst>
                <a:ext uri="{FF2B5EF4-FFF2-40B4-BE49-F238E27FC236}">
                  <a16:creationId xmlns:a16="http://schemas.microsoft.com/office/drawing/2014/main" id="{E1436985-149C-4343-8AF0-8D0ED55D600C}"/>
                </a:ext>
              </a:extLst>
            </p:cNvPr>
            <p:cNvSpPr>
              <a:spLocks noChangeArrowheads="1"/>
            </p:cNvSpPr>
            <p:nvPr/>
          </p:nvSpPr>
          <p:spPr bwMode="auto">
            <a:xfrm>
              <a:off x="316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4" name="Oval 3029">
              <a:extLst>
                <a:ext uri="{FF2B5EF4-FFF2-40B4-BE49-F238E27FC236}">
                  <a16:creationId xmlns:a16="http://schemas.microsoft.com/office/drawing/2014/main" id="{57CD4BB1-9B5A-419D-954C-CAE9CEDDBE91}"/>
                </a:ext>
              </a:extLst>
            </p:cNvPr>
            <p:cNvSpPr>
              <a:spLocks noChangeArrowheads="1"/>
            </p:cNvSpPr>
            <p:nvPr/>
          </p:nvSpPr>
          <p:spPr bwMode="auto">
            <a:xfrm>
              <a:off x="31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5" name="Oval 3030">
              <a:extLst>
                <a:ext uri="{FF2B5EF4-FFF2-40B4-BE49-F238E27FC236}">
                  <a16:creationId xmlns:a16="http://schemas.microsoft.com/office/drawing/2014/main" id="{4DCB4EA1-8585-4D89-B900-9A7BFE55B937}"/>
                </a:ext>
              </a:extLst>
            </p:cNvPr>
            <p:cNvSpPr>
              <a:spLocks noChangeArrowheads="1"/>
            </p:cNvSpPr>
            <p:nvPr/>
          </p:nvSpPr>
          <p:spPr bwMode="auto">
            <a:xfrm>
              <a:off x="394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6" name="Oval 3031">
              <a:extLst>
                <a:ext uri="{FF2B5EF4-FFF2-40B4-BE49-F238E27FC236}">
                  <a16:creationId xmlns:a16="http://schemas.microsoft.com/office/drawing/2014/main" id="{808625A2-E254-4CBE-93CE-1ED4C7211D6D}"/>
                </a:ext>
              </a:extLst>
            </p:cNvPr>
            <p:cNvSpPr>
              <a:spLocks noChangeArrowheads="1"/>
            </p:cNvSpPr>
            <p:nvPr/>
          </p:nvSpPr>
          <p:spPr bwMode="auto">
            <a:xfrm>
              <a:off x="3914"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7" name="Oval 3032">
              <a:extLst>
                <a:ext uri="{FF2B5EF4-FFF2-40B4-BE49-F238E27FC236}">
                  <a16:creationId xmlns:a16="http://schemas.microsoft.com/office/drawing/2014/main" id="{237013E8-8E78-45BA-92E4-4B6443858096}"/>
                </a:ext>
              </a:extLst>
            </p:cNvPr>
            <p:cNvSpPr>
              <a:spLocks noChangeArrowheads="1"/>
            </p:cNvSpPr>
            <p:nvPr/>
          </p:nvSpPr>
          <p:spPr bwMode="auto">
            <a:xfrm>
              <a:off x="403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8" name="Oval 3033">
              <a:extLst>
                <a:ext uri="{FF2B5EF4-FFF2-40B4-BE49-F238E27FC236}">
                  <a16:creationId xmlns:a16="http://schemas.microsoft.com/office/drawing/2014/main" id="{44259E9C-800E-4CBE-8643-D0CFD6126734}"/>
                </a:ext>
              </a:extLst>
            </p:cNvPr>
            <p:cNvSpPr>
              <a:spLocks noChangeArrowheads="1"/>
            </p:cNvSpPr>
            <p:nvPr/>
          </p:nvSpPr>
          <p:spPr bwMode="auto">
            <a:xfrm>
              <a:off x="3914"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79" name="Oval 3034">
              <a:extLst>
                <a:ext uri="{FF2B5EF4-FFF2-40B4-BE49-F238E27FC236}">
                  <a16:creationId xmlns:a16="http://schemas.microsoft.com/office/drawing/2014/main" id="{8C0CA4AF-7A53-4CE0-BA52-EB9265BA00B2}"/>
                </a:ext>
              </a:extLst>
            </p:cNvPr>
            <p:cNvSpPr>
              <a:spLocks noChangeArrowheads="1"/>
            </p:cNvSpPr>
            <p:nvPr/>
          </p:nvSpPr>
          <p:spPr bwMode="auto">
            <a:xfrm>
              <a:off x="400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0" name="Oval 3035">
              <a:extLst>
                <a:ext uri="{FF2B5EF4-FFF2-40B4-BE49-F238E27FC236}">
                  <a16:creationId xmlns:a16="http://schemas.microsoft.com/office/drawing/2014/main" id="{2BA40E0D-CBFA-4305-AC9A-643AE6F0E98C}"/>
                </a:ext>
              </a:extLst>
            </p:cNvPr>
            <p:cNvSpPr>
              <a:spLocks noChangeArrowheads="1"/>
            </p:cNvSpPr>
            <p:nvPr/>
          </p:nvSpPr>
          <p:spPr bwMode="auto">
            <a:xfrm>
              <a:off x="388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1" name="Oval 3036">
              <a:extLst>
                <a:ext uri="{FF2B5EF4-FFF2-40B4-BE49-F238E27FC236}">
                  <a16:creationId xmlns:a16="http://schemas.microsoft.com/office/drawing/2014/main" id="{58758ADC-1DE0-455B-A9E5-EAFDEBEDB002}"/>
                </a:ext>
              </a:extLst>
            </p:cNvPr>
            <p:cNvSpPr>
              <a:spLocks noChangeArrowheads="1"/>
            </p:cNvSpPr>
            <p:nvPr/>
          </p:nvSpPr>
          <p:spPr bwMode="auto">
            <a:xfrm>
              <a:off x="367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2" name="Oval 3037">
              <a:extLst>
                <a:ext uri="{FF2B5EF4-FFF2-40B4-BE49-F238E27FC236}">
                  <a16:creationId xmlns:a16="http://schemas.microsoft.com/office/drawing/2014/main" id="{FC6032D5-2A9F-430E-B4EE-195EA49680AD}"/>
                </a:ext>
              </a:extLst>
            </p:cNvPr>
            <p:cNvSpPr>
              <a:spLocks noChangeArrowheads="1"/>
            </p:cNvSpPr>
            <p:nvPr/>
          </p:nvSpPr>
          <p:spPr bwMode="auto">
            <a:xfrm>
              <a:off x="364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3" name="Oval 3038">
              <a:extLst>
                <a:ext uri="{FF2B5EF4-FFF2-40B4-BE49-F238E27FC236}">
                  <a16:creationId xmlns:a16="http://schemas.microsoft.com/office/drawing/2014/main" id="{498B6619-239E-44B8-9B7B-7069D8AE3EB9}"/>
                </a:ext>
              </a:extLst>
            </p:cNvPr>
            <p:cNvSpPr>
              <a:spLocks noChangeArrowheads="1"/>
            </p:cNvSpPr>
            <p:nvPr/>
          </p:nvSpPr>
          <p:spPr bwMode="auto">
            <a:xfrm>
              <a:off x="364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4" name="Oval 3039">
              <a:extLst>
                <a:ext uri="{FF2B5EF4-FFF2-40B4-BE49-F238E27FC236}">
                  <a16:creationId xmlns:a16="http://schemas.microsoft.com/office/drawing/2014/main" id="{854AC58D-A334-47CC-986F-FE0B9C5938BD}"/>
                </a:ext>
              </a:extLst>
            </p:cNvPr>
            <p:cNvSpPr>
              <a:spLocks noChangeArrowheads="1"/>
            </p:cNvSpPr>
            <p:nvPr/>
          </p:nvSpPr>
          <p:spPr bwMode="auto">
            <a:xfrm>
              <a:off x="394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5" name="Oval 3040">
              <a:extLst>
                <a:ext uri="{FF2B5EF4-FFF2-40B4-BE49-F238E27FC236}">
                  <a16:creationId xmlns:a16="http://schemas.microsoft.com/office/drawing/2014/main" id="{9421137B-13E9-4ACE-B0CB-9C985DE40299}"/>
                </a:ext>
              </a:extLst>
            </p:cNvPr>
            <p:cNvSpPr>
              <a:spLocks noChangeArrowheads="1"/>
            </p:cNvSpPr>
            <p:nvPr/>
          </p:nvSpPr>
          <p:spPr bwMode="auto">
            <a:xfrm>
              <a:off x="3824"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6" name="Oval 3041">
              <a:extLst>
                <a:ext uri="{FF2B5EF4-FFF2-40B4-BE49-F238E27FC236}">
                  <a16:creationId xmlns:a16="http://schemas.microsoft.com/office/drawing/2014/main" id="{A5D32373-DB62-4572-BFC8-D4FF049684ED}"/>
                </a:ext>
              </a:extLst>
            </p:cNvPr>
            <p:cNvSpPr>
              <a:spLocks noChangeArrowheads="1"/>
            </p:cNvSpPr>
            <p:nvPr/>
          </p:nvSpPr>
          <p:spPr bwMode="auto">
            <a:xfrm>
              <a:off x="391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7" name="Oval 3042">
              <a:extLst>
                <a:ext uri="{FF2B5EF4-FFF2-40B4-BE49-F238E27FC236}">
                  <a16:creationId xmlns:a16="http://schemas.microsoft.com/office/drawing/2014/main" id="{C5F0B9B0-EEA5-4C1D-904E-4F11E16106A7}"/>
                </a:ext>
              </a:extLst>
            </p:cNvPr>
            <p:cNvSpPr>
              <a:spLocks noChangeArrowheads="1"/>
            </p:cNvSpPr>
            <p:nvPr/>
          </p:nvSpPr>
          <p:spPr bwMode="auto">
            <a:xfrm>
              <a:off x="376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8" name="Oval 3043">
              <a:extLst>
                <a:ext uri="{FF2B5EF4-FFF2-40B4-BE49-F238E27FC236}">
                  <a16:creationId xmlns:a16="http://schemas.microsoft.com/office/drawing/2014/main" id="{2163C1BE-111E-4FC8-9ED4-2AF9FDE8AB34}"/>
                </a:ext>
              </a:extLst>
            </p:cNvPr>
            <p:cNvSpPr>
              <a:spLocks noChangeArrowheads="1"/>
            </p:cNvSpPr>
            <p:nvPr/>
          </p:nvSpPr>
          <p:spPr bwMode="auto">
            <a:xfrm>
              <a:off x="403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89" name="Oval 3044">
              <a:extLst>
                <a:ext uri="{FF2B5EF4-FFF2-40B4-BE49-F238E27FC236}">
                  <a16:creationId xmlns:a16="http://schemas.microsoft.com/office/drawing/2014/main" id="{42BB35E6-C893-4CD0-AA4D-53B50BB88748}"/>
                </a:ext>
              </a:extLst>
            </p:cNvPr>
            <p:cNvSpPr>
              <a:spLocks noChangeArrowheads="1"/>
            </p:cNvSpPr>
            <p:nvPr/>
          </p:nvSpPr>
          <p:spPr bwMode="auto">
            <a:xfrm>
              <a:off x="39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0" name="Oval 3045">
              <a:extLst>
                <a:ext uri="{FF2B5EF4-FFF2-40B4-BE49-F238E27FC236}">
                  <a16:creationId xmlns:a16="http://schemas.microsoft.com/office/drawing/2014/main" id="{80C8595E-3CD1-4BE8-A888-E772CA877931}"/>
                </a:ext>
              </a:extLst>
            </p:cNvPr>
            <p:cNvSpPr>
              <a:spLocks noChangeArrowheads="1"/>
            </p:cNvSpPr>
            <p:nvPr/>
          </p:nvSpPr>
          <p:spPr bwMode="auto">
            <a:xfrm>
              <a:off x="3794"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1" name="Oval 3046">
              <a:extLst>
                <a:ext uri="{FF2B5EF4-FFF2-40B4-BE49-F238E27FC236}">
                  <a16:creationId xmlns:a16="http://schemas.microsoft.com/office/drawing/2014/main" id="{E727FBC8-47CB-4D7B-831D-C9552B8E008A}"/>
                </a:ext>
              </a:extLst>
            </p:cNvPr>
            <p:cNvSpPr>
              <a:spLocks noChangeArrowheads="1"/>
            </p:cNvSpPr>
            <p:nvPr/>
          </p:nvSpPr>
          <p:spPr bwMode="auto">
            <a:xfrm>
              <a:off x="376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2" name="Oval 3047">
              <a:extLst>
                <a:ext uri="{FF2B5EF4-FFF2-40B4-BE49-F238E27FC236}">
                  <a16:creationId xmlns:a16="http://schemas.microsoft.com/office/drawing/2014/main" id="{9D175AE7-B6BD-441F-9B87-E0B56803CEE9}"/>
                </a:ext>
              </a:extLst>
            </p:cNvPr>
            <p:cNvSpPr>
              <a:spLocks noChangeArrowheads="1"/>
            </p:cNvSpPr>
            <p:nvPr/>
          </p:nvSpPr>
          <p:spPr bwMode="auto">
            <a:xfrm>
              <a:off x="367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3" name="Oval 3048">
              <a:extLst>
                <a:ext uri="{FF2B5EF4-FFF2-40B4-BE49-F238E27FC236}">
                  <a16:creationId xmlns:a16="http://schemas.microsoft.com/office/drawing/2014/main" id="{A8F0D6D3-DD4A-4E9C-AEC7-7469C1CC29E9}"/>
                </a:ext>
              </a:extLst>
            </p:cNvPr>
            <p:cNvSpPr>
              <a:spLocks noChangeArrowheads="1"/>
            </p:cNvSpPr>
            <p:nvPr/>
          </p:nvSpPr>
          <p:spPr bwMode="auto">
            <a:xfrm>
              <a:off x="355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4" name="Oval 3049">
              <a:extLst>
                <a:ext uri="{FF2B5EF4-FFF2-40B4-BE49-F238E27FC236}">
                  <a16:creationId xmlns:a16="http://schemas.microsoft.com/office/drawing/2014/main" id="{7A96D5E5-D707-44CD-8647-1C977329440A}"/>
                </a:ext>
              </a:extLst>
            </p:cNvPr>
            <p:cNvSpPr>
              <a:spLocks noChangeArrowheads="1"/>
            </p:cNvSpPr>
            <p:nvPr/>
          </p:nvSpPr>
          <p:spPr bwMode="auto">
            <a:xfrm>
              <a:off x="34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5" name="Oval 3050">
              <a:extLst>
                <a:ext uri="{FF2B5EF4-FFF2-40B4-BE49-F238E27FC236}">
                  <a16:creationId xmlns:a16="http://schemas.microsoft.com/office/drawing/2014/main" id="{602E1476-EDD8-47AF-849B-23D7E6ADE656}"/>
                </a:ext>
              </a:extLst>
            </p:cNvPr>
            <p:cNvSpPr>
              <a:spLocks noChangeArrowheads="1"/>
            </p:cNvSpPr>
            <p:nvPr/>
          </p:nvSpPr>
          <p:spPr bwMode="auto">
            <a:xfrm>
              <a:off x="349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6" name="Oval 3051">
              <a:extLst>
                <a:ext uri="{FF2B5EF4-FFF2-40B4-BE49-F238E27FC236}">
                  <a16:creationId xmlns:a16="http://schemas.microsoft.com/office/drawing/2014/main" id="{DFB1C5B2-B745-4D59-AB68-738E21C14F2F}"/>
                </a:ext>
              </a:extLst>
            </p:cNvPr>
            <p:cNvSpPr>
              <a:spLocks noChangeArrowheads="1"/>
            </p:cNvSpPr>
            <p:nvPr/>
          </p:nvSpPr>
          <p:spPr bwMode="auto">
            <a:xfrm>
              <a:off x="3285" y="18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7" name="Oval 3052">
              <a:extLst>
                <a:ext uri="{FF2B5EF4-FFF2-40B4-BE49-F238E27FC236}">
                  <a16:creationId xmlns:a16="http://schemas.microsoft.com/office/drawing/2014/main" id="{3C972068-263B-4160-8098-0618613BD44E}"/>
                </a:ext>
              </a:extLst>
            </p:cNvPr>
            <p:cNvSpPr>
              <a:spLocks noChangeArrowheads="1"/>
            </p:cNvSpPr>
            <p:nvPr/>
          </p:nvSpPr>
          <p:spPr bwMode="auto">
            <a:xfrm>
              <a:off x="331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8" name="Oval 3053">
              <a:extLst>
                <a:ext uri="{FF2B5EF4-FFF2-40B4-BE49-F238E27FC236}">
                  <a16:creationId xmlns:a16="http://schemas.microsoft.com/office/drawing/2014/main" id="{701C8340-8011-4181-8C47-464CCA97D2FB}"/>
                </a:ext>
              </a:extLst>
            </p:cNvPr>
            <p:cNvSpPr>
              <a:spLocks noChangeArrowheads="1"/>
            </p:cNvSpPr>
            <p:nvPr/>
          </p:nvSpPr>
          <p:spPr bwMode="auto">
            <a:xfrm>
              <a:off x="32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99" name="Oval 3054">
              <a:extLst>
                <a:ext uri="{FF2B5EF4-FFF2-40B4-BE49-F238E27FC236}">
                  <a16:creationId xmlns:a16="http://schemas.microsoft.com/office/drawing/2014/main" id="{B0CEF0D8-10C1-4D7D-A030-A93ED00D1DF0}"/>
                </a:ext>
              </a:extLst>
            </p:cNvPr>
            <p:cNvSpPr>
              <a:spLocks noChangeArrowheads="1"/>
            </p:cNvSpPr>
            <p:nvPr/>
          </p:nvSpPr>
          <p:spPr bwMode="auto">
            <a:xfrm>
              <a:off x="325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0" name="Oval 3055">
              <a:extLst>
                <a:ext uri="{FF2B5EF4-FFF2-40B4-BE49-F238E27FC236}">
                  <a16:creationId xmlns:a16="http://schemas.microsoft.com/office/drawing/2014/main" id="{F3FCCE25-4A15-45B8-88C4-D6F65CB0EA2E}"/>
                </a:ext>
              </a:extLst>
            </p:cNvPr>
            <p:cNvSpPr>
              <a:spLocks noChangeArrowheads="1"/>
            </p:cNvSpPr>
            <p:nvPr/>
          </p:nvSpPr>
          <p:spPr bwMode="auto">
            <a:xfrm>
              <a:off x="337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1" name="Oval 3056">
              <a:extLst>
                <a:ext uri="{FF2B5EF4-FFF2-40B4-BE49-F238E27FC236}">
                  <a16:creationId xmlns:a16="http://schemas.microsoft.com/office/drawing/2014/main" id="{90A198F1-057B-4777-966F-ECC42FF17F83}"/>
                </a:ext>
              </a:extLst>
            </p:cNvPr>
            <p:cNvSpPr>
              <a:spLocks noChangeArrowheads="1"/>
            </p:cNvSpPr>
            <p:nvPr/>
          </p:nvSpPr>
          <p:spPr bwMode="auto">
            <a:xfrm>
              <a:off x="340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2" name="Oval 3057">
              <a:extLst>
                <a:ext uri="{FF2B5EF4-FFF2-40B4-BE49-F238E27FC236}">
                  <a16:creationId xmlns:a16="http://schemas.microsoft.com/office/drawing/2014/main" id="{143E704A-1A53-49C2-B906-C2C84CD26534}"/>
                </a:ext>
              </a:extLst>
            </p:cNvPr>
            <p:cNvSpPr>
              <a:spLocks noChangeArrowheads="1"/>
            </p:cNvSpPr>
            <p:nvPr/>
          </p:nvSpPr>
          <p:spPr bwMode="auto">
            <a:xfrm>
              <a:off x="337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3" name="Oval 3058">
              <a:extLst>
                <a:ext uri="{FF2B5EF4-FFF2-40B4-BE49-F238E27FC236}">
                  <a16:creationId xmlns:a16="http://schemas.microsoft.com/office/drawing/2014/main" id="{2D702A34-A4B0-43A2-8104-256061ED3C27}"/>
                </a:ext>
              </a:extLst>
            </p:cNvPr>
            <p:cNvSpPr>
              <a:spLocks noChangeArrowheads="1"/>
            </p:cNvSpPr>
            <p:nvPr/>
          </p:nvSpPr>
          <p:spPr bwMode="auto">
            <a:xfrm>
              <a:off x="34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4" name="Oval 3059">
              <a:extLst>
                <a:ext uri="{FF2B5EF4-FFF2-40B4-BE49-F238E27FC236}">
                  <a16:creationId xmlns:a16="http://schemas.microsoft.com/office/drawing/2014/main" id="{D50020A9-8EB9-413D-828C-342AE7B97DF7}"/>
                </a:ext>
              </a:extLst>
            </p:cNvPr>
            <p:cNvSpPr>
              <a:spLocks noChangeArrowheads="1"/>
            </p:cNvSpPr>
            <p:nvPr/>
          </p:nvSpPr>
          <p:spPr bwMode="auto">
            <a:xfrm>
              <a:off x="313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5" name="Oval 3060">
              <a:extLst>
                <a:ext uri="{FF2B5EF4-FFF2-40B4-BE49-F238E27FC236}">
                  <a16:creationId xmlns:a16="http://schemas.microsoft.com/office/drawing/2014/main" id="{1D3588AA-2450-4E54-A67C-B1F7BD1C28B2}"/>
                </a:ext>
              </a:extLst>
            </p:cNvPr>
            <p:cNvSpPr>
              <a:spLocks noChangeArrowheads="1"/>
            </p:cNvSpPr>
            <p:nvPr/>
          </p:nvSpPr>
          <p:spPr bwMode="auto">
            <a:xfrm>
              <a:off x="313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6" name="Oval 3061">
              <a:extLst>
                <a:ext uri="{FF2B5EF4-FFF2-40B4-BE49-F238E27FC236}">
                  <a16:creationId xmlns:a16="http://schemas.microsoft.com/office/drawing/2014/main" id="{756F13DE-5B43-4D75-AEFF-337A351992CD}"/>
                </a:ext>
              </a:extLst>
            </p:cNvPr>
            <p:cNvSpPr>
              <a:spLocks noChangeArrowheads="1"/>
            </p:cNvSpPr>
            <p:nvPr/>
          </p:nvSpPr>
          <p:spPr bwMode="auto">
            <a:xfrm>
              <a:off x="307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7" name="Oval 3062">
              <a:extLst>
                <a:ext uri="{FF2B5EF4-FFF2-40B4-BE49-F238E27FC236}">
                  <a16:creationId xmlns:a16="http://schemas.microsoft.com/office/drawing/2014/main" id="{88B5C2FB-FA75-45D4-9FED-6B250B9F861D}"/>
                </a:ext>
              </a:extLst>
            </p:cNvPr>
            <p:cNvSpPr>
              <a:spLocks noChangeArrowheads="1"/>
            </p:cNvSpPr>
            <p:nvPr/>
          </p:nvSpPr>
          <p:spPr bwMode="auto">
            <a:xfrm>
              <a:off x="328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8" name="Oval 3063">
              <a:extLst>
                <a:ext uri="{FF2B5EF4-FFF2-40B4-BE49-F238E27FC236}">
                  <a16:creationId xmlns:a16="http://schemas.microsoft.com/office/drawing/2014/main" id="{DC2F278A-5B1F-41B5-8273-D05E5F9CDACB}"/>
                </a:ext>
              </a:extLst>
            </p:cNvPr>
            <p:cNvSpPr>
              <a:spLocks noChangeArrowheads="1"/>
            </p:cNvSpPr>
            <p:nvPr/>
          </p:nvSpPr>
          <p:spPr bwMode="auto">
            <a:xfrm>
              <a:off x="337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09" name="Oval 3064">
              <a:extLst>
                <a:ext uri="{FF2B5EF4-FFF2-40B4-BE49-F238E27FC236}">
                  <a16:creationId xmlns:a16="http://schemas.microsoft.com/office/drawing/2014/main" id="{C1DAB2AE-451E-4E8E-9D61-DE58D61887C4}"/>
                </a:ext>
              </a:extLst>
            </p:cNvPr>
            <p:cNvSpPr>
              <a:spLocks noChangeArrowheads="1"/>
            </p:cNvSpPr>
            <p:nvPr/>
          </p:nvSpPr>
          <p:spPr bwMode="auto">
            <a:xfrm>
              <a:off x="3735"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0" name="Oval 3065">
              <a:extLst>
                <a:ext uri="{FF2B5EF4-FFF2-40B4-BE49-F238E27FC236}">
                  <a16:creationId xmlns:a16="http://schemas.microsoft.com/office/drawing/2014/main" id="{4A4507BE-E502-4D86-BBEE-754DC7C3CA2B}"/>
                </a:ext>
              </a:extLst>
            </p:cNvPr>
            <p:cNvSpPr>
              <a:spLocks noChangeArrowheads="1"/>
            </p:cNvSpPr>
            <p:nvPr/>
          </p:nvSpPr>
          <p:spPr bwMode="auto">
            <a:xfrm>
              <a:off x="358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1" name="Oval 3066">
              <a:extLst>
                <a:ext uri="{FF2B5EF4-FFF2-40B4-BE49-F238E27FC236}">
                  <a16:creationId xmlns:a16="http://schemas.microsoft.com/office/drawing/2014/main" id="{2CABA5FF-A60D-4B45-9FC0-20E72D843D73}"/>
                </a:ext>
              </a:extLst>
            </p:cNvPr>
            <p:cNvSpPr>
              <a:spLocks noChangeArrowheads="1"/>
            </p:cNvSpPr>
            <p:nvPr/>
          </p:nvSpPr>
          <p:spPr bwMode="auto">
            <a:xfrm>
              <a:off x="355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2" name="Oval 3067">
              <a:extLst>
                <a:ext uri="{FF2B5EF4-FFF2-40B4-BE49-F238E27FC236}">
                  <a16:creationId xmlns:a16="http://schemas.microsoft.com/office/drawing/2014/main" id="{77DCE0A1-AE4E-4875-97EB-B00767E62BA5}"/>
                </a:ext>
              </a:extLst>
            </p:cNvPr>
            <p:cNvSpPr>
              <a:spLocks noChangeArrowheads="1"/>
            </p:cNvSpPr>
            <p:nvPr/>
          </p:nvSpPr>
          <p:spPr bwMode="auto">
            <a:xfrm>
              <a:off x="349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3" name="Oval 3068">
              <a:extLst>
                <a:ext uri="{FF2B5EF4-FFF2-40B4-BE49-F238E27FC236}">
                  <a16:creationId xmlns:a16="http://schemas.microsoft.com/office/drawing/2014/main" id="{5178BFA8-7B9F-4C12-96D9-6FEAF3A3292E}"/>
                </a:ext>
              </a:extLst>
            </p:cNvPr>
            <p:cNvSpPr>
              <a:spLocks noChangeArrowheads="1"/>
            </p:cNvSpPr>
            <p:nvPr/>
          </p:nvSpPr>
          <p:spPr bwMode="auto">
            <a:xfrm>
              <a:off x="337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4" name="Oval 3069">
              <a:extLst>
                <a:ext uri="{FF2B5EF4-FFF2-40B4-BE49-F238E27FC236}">
                  <a16:creationId xmlns:a16="http://schemas.microsoft.com/office/drawing/2014/main" id="{955D8D7B-7DC8-423E-8424-5C1F725E8A91}"/>
                </a:ext>
              </a:extLst>
            </p:cNvPr>
            <p:cNvSpPr>
              <a:spLocks noChangeArrowheads="1"/>
            </p:cNvSpPr>
            <p:nvPr/>
          </p:nvSpPr>
          <p:spPr bwMode="auto">
            <a:xfrm>
              <a:off x="340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5" name="Oval 3070">
              <a:extLst>
                <a:ext uri="{FF2B5EF4-FFF2-40B4-BE49-F238E27FC236}">
                  <a16:creationId xmlns:a16="http://schemas.microsoft.com/office/drawing/2014/main" id="{46DABAE3-983E-4604-B3C6-F9CE105B4EA7}"/>
                </a:ext>
              </a:extLst>
            </p:cNvPr>
            <p:cNvSpPr>
              <a:spLocks noChangeArrowheads="1"/>
            </p:cNvSpPr>
            <p:nvPr/>
          </p:nvSpPr>
          <p:spPr bwMode="auto">
            <a:xfrm>
              <a:off x="325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6" name="Oval 3071">
              <a:extLst>
                <a:ext uri="{FF2B5EF4-FFF2-40B4-BE49-F238E27FC236}">
                  <a16:creationId xmlns:a16="http://schemas.microsoft.com/office/drawing/2014/main" id="{6725A89D-8B93-42FA-8458-9BE9C24B4D22}"/>
                </a:ext>
              </a:extLst>
            </p:cNvPr>
            <p:cNvSpPr>
              <a:spLocks noChangeArrowheads="1"/>
            </p:cNvSpPr>
            <p:nvPr/>
          </p:nvSpPr>
          <p:spPr bwMode="auto">
            <a:xfrm>
              <a:off x="322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7" name="Oval 3072">
              <a:extLst>
                <a:ext uri="{FF2B5EF4-FFF2-40B4-BE49-F238E27FC236}">
                  <a16:creationId xmlns:a16="http://schemas.microsoft.com/office/drawing/2014/main" id="{4850C937-8525-4BCC-8518-6248D2ADAD26}"/>
                </a:ext>
              </a:extLst>
            </p:cNvPr>
            <p:cNvSpPr>
              <a:spLocks noChangeArrowheads="1"/>
            </p:cNvSpPr>
            <p:nvPr/>
          </p:nvSpPr>
          <p:spPr bwMode="auto">
            <a:xfrm>
              <a:off x="331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8" name="Oval 3073">
              <a:extLst>
                <a:ext uri="{FF2B5EF4-FFF2-40B4-BE49-F238E27FC236}">
                  <a16:creationId xmlns:a16="http://schemas.microsoft.com/office/drawing/2014/main" id="{D4CDA193-DCD2-455A-895A-F376C679ADEB}"/>
                </a:ext>
              </a:extLst>
            </p:cNvPr>
            <p:cNvSpPr>
              <a:spLocks noChangeArrowheads="1"/>
            </p:cNvSpPr>
            <p:nvPr/>
          </p:nvSpPr>
          <p:spPr bwMode="auto">
            <a:xfrm>
              <a:off x="352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9" name="Oval 3074">
              <a:extLst>
                <a:ext uri="{FF2B5EF4-FFF2-40B4-BE49-F238E27FC236}">
                  <a16:creationId xmlns:a16="http://schemas.microsoft.com/office/drawing/2014/main" id="{280FD9A0-0B01-4E5D-9788-3560F7D73C56}"/>
                </a:ext>
              </a:extLst>
            </p:cNvPr>
            <p:cNvSpPr>
              <a:spLocks noChangeArrowheads="1"/>
            </p:cNvSpPr>
            <p:nvPr/>
          </p:nvSpPr>
          <p:spPr bwMode="auto">
            <a:xfrm>
              <a:off x="3914"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0" name="Oval 3075">
              <a:extLst>
                <a:ext uri="{FF2B5EF4-FFF2-40B4-BE49-F238E27FC236}">
                  <a16:creationId xmlns:a16="http://schemas.microsoft.com/office/drawing/2014/main" id="{D3163E40-6F52-4784-9031-9D7BC6E8C4CF}"/>
                </a:ext>
              </a:extLst>
            </p:cNvPr>
            <p:cNvSpPr>
              <a:spLocks noChangeArrowheads="1"/>
            </p:cNvSpPr>
            <p:nvPr/>
          </p:nvSpPr>
          <p:spPr bwMode="auto">
            <a:xfrm>
              <a:off x="4274"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1" name="Oval 3076">
              <a:extLst>
                <a:ext uri="{FF2B5EF4-FFF2-40B4-BE49-F238E27FC236}">
                  <a16:creationId xmlns:a16="http://schemas.microsoft.com/office/drawing/2014/main" id="{1D640816-BBC3-42D8-9475-3507F039C8CD}"/>
                </a:ext>
              </a:extLst>
            </p:cNvPr>
            <p:cNvSpPr>
              <a:spLocks noChangeArrowheads="1"/>
            </p:cNvSpPr>
            <p:nvPr/>
          </p:nvSpPr>
          <p:spPr bwMode="auto">
            <a:xfrm>
              <a:off x="4184"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2" name="Oval 3077">
              <a:extLst>
                <a:ext uri="{FF2B5EF4-FFF2-40B4-BE49-F238E27FC236}">
                  <a16:creationId xmlns:a16="http://schemas.microsoft.com/office/drawing/2014/main" id="{20FFB4B6-AD66-4080-8125-1A1287D421F3}"/>
                </a:ext>
              </a:extLst>
            </p:cNvPr>
            <p:cNvSpPr>
              <a:spLocks noChangeArrowheads="1"/>
            </p:cNvSpPr>
            <p:nvPr/>
          </p:nvSpPr>
          <p:spPr bwMode="auto">
            <a:xfrm>
              <a:off x="421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3" name="Oval 3078">
              <a:extLst>
                <a:ext uri="{FF2B5EF4-FFF2-40B4-BE49-F238E27FC236}">
                  <a16:creationId xmlns:a16="http://schemas.microsoft.com/office/drawing/2014/main" id="{EDC44741-1007-4851-BA0E-6BA57485DE32}"/>
                </a:ext>
              </a:extLst>
            </p:cNvPr>
            <p:cNvSpPr>
              <a:spLocks noChangeArrowheads="1"/>
            </p:cNvSpPr>
            <p:nvPr/>
          </p:nvSpPr>
          <p:spPr bwMode="auto">
            <a:xfrm>
              <a:off x="4244"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4" name="Oval 3079">
              <a:extLst>
                <a:ext uri="{FF2B5EF4-FFF2-40B4-BE49-F238E27FC236}">
                  <a16:creationId xmlns:a16="http://schemas.microsoft.com/office/drawing/2014/main" id="{FAD3140F-0FC7-476E-A141-F5725DAC7F4B}"/>
                </a:ext>
              </a:extLst>
            </p:cNvPr>
            <p:cNvSpPr>
              <a:spLocks noChangeArrowheads="1"/>
            </p:cNvSpPr>
            <p:nvPr/>
          </p:nvSpPr>
          <p:spPr bwMode="auto">
            <a:xfrm>
              <a:off x="4094"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5" name="Oval 3080">
              <a:extLst>
                <a:ext uri="{FF2B5EF4-FFF2-40B4-BE49-F238E27FC236}">
                  <a16:creationId xmlns:a16="http://schemas.microsoft.com/office/drawing/2014/main" id="{F526A900-7BAC-4B76-9173-5B6CD69DCAA6}"/>
                </a:ext>
              </a:extLst>
            </p:cNvPr>
            <p:cNvSpPr>
              <a:spLocks noChangeArrowheads="1"/>
            </p:cNvSpPr>
            <p:nvPr/>
          </p:nvSpPr>
          <p:spPr bwMode="auto">
            <a:xfrm>
              <a:off x="406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6" name="Oval 3081">
              <a:extLst>
                <a:ext uri="{FF2B5EF4-FFF2-40B4-BE49-F238E27FC236}">
                  <a16:creationId xmlns:a16="http://schemas.microsoft.com/office/drawing/2014/main" id="{0C81B3AC-491C-4529-86DF-14B842F1750E}"/>
                </a:ext>
              </a:extLst>
            </p:cNvPr>
            <p:cNvSpPr>
              <a:spLocks noChangeArrowheads="1"/>
            </p:cNvSpPr>
            <p:nvPr/>
          </p:nvSpPr>
          <p:spPr bwMode="auto">
            <a:xfrm>
              <a:off x="4004"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7" name="Oval 3082">
              <a:extLst>
                <a:ext uri="{FF2B5EF4-FFF2-40B4-BE49-F238E27FC236}">
                  <a16:creationId xmlns:a16="http://schemas.microsoft.com/office/drawing/2014/main" id="{B6FE8123-9676-43AC-B64A-2C2B9ADD044E}"/>
                </a:ext>
              </a:extLst>
            </p:cNvPr>
            <p:cNvSpPr>
              <a:spLocks noChangeArrowheads="1"/>
            </p:cNvSpPr>
            <p:nvPr/>
          </p:nvSpPr>
          <p:spPr bwMode="auto">
            <a:xfrm>
              <a:off x="385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8" name="Oval 3083">
              <a:extLst>
                <a:ext uri="{FF2B5EF4-FFF2-40B4-BE49-F238E27FC236}">
                  <a16:creationId xmlns:a16="http://schemas.microsoft.com/office/drawing/2014/main" id="{00464655-D056-46D0-BCAF-FBB98DC32CE6}"/>
                </a:ext>
              </a:extLst>
            </p:cNvPr>
            <p:cNvSpPr>
              <a:spLocks noChangeArrowheads="1"/>
            </p:cNvSpPr>
            <p:nvPr/>
          </p:nvSpPr>
          <p:spPr bwMode="auto">
            <a:xfrm>
              <a:off x="4184"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29" name="Oval 3084">
              <a:extLst>
                <a:ext uri="{FF2B5EF4-FFF2-40B4-BE49-F238E27FC236}">
                  <a16:creationId xmlns:a16="http://schemas.microsoft.com/office/drawing/2014/main" id="{C8B19355-1FCA-4E1E-81B1-78F26BF2219D}"/>
                </a:ext>
              </a:extLst>
            </p:cNvPr>
            <p:cNvSpPr>
              <a:spLocks noChangeArrowheads="1"/>
            </p:cNvSpPr>
            <p:nvPr/>
          </p:nvSpPr>
          <p:spPr bwMode="auto">
            <a:xfrm>
              <a:off x="412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0" name="Oval 3085">
              <a:extLst>
                <a:ext uri="{FF2B5EF4-FFF2-40B4-BE49-F238E27FC236}">
                  <a16:creationId xmlns:a16="http://schemas.microsoft.com/office/drawing/2014/main" id="{0D948192-156B-4532-9CC4-2FD19DCD666F}"/>
                </a:ext>
              </a:extLst>
            </p:cNvPr>
            <p:cNvSpPr>
              <a:spLocks noChangeArrowheads="1"/>
            </p:cNvSpPr>
            <p:nvPr/>
          </p:nvSpPr>
          <p:spPr bwMode="auto">
            <a:xfrm>
              <a:off x="4064"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1" name="Oval 3086">
              <a:extLst>
                <a:ext uri="{FF2B5EF4-FFF2-40B4-BE49-F238E27FC236}">
                  <a16:creationId xmlns:a16="http://schemas.microsoft.com/office/drawing/2014/main" id="{A791FDD0-FE0D-49CC-8E3B-FC3876F5BB92}"/>
                </a:ext>
              </a:extLst>
            </p:cNvPr>
            <p:cNvSpPr>
              <a:spLocks noChangeArrowheads="1"/>
            </p:cNvSpPr>
            <p:nvPr/>
          </p:nvSpPr>
          <p:spPr bwMode="auto">
            <a:xfrm>
              <a:off x="3974"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2" name="Oval 3087">
              <a:extLst>
                <a:ext uri="{FF2B5EF4-FFF2-40B4-BE49-F238E27FC236}">
                  <a16:creationId xmlns:a16="http://schemas.microsoft.com/office/drawing/2014/main" id="{4C23DCA9-D247-4F87-B766-2B142806DAC8}"/>
                </a:ext>
              </a:extLst>
            </p:cNvPr>
            <p:cNvSpPr>
              <a:spLocks noChangeArrowheads="1"/>
            </p:cNvSpPr>
            <p:nvPr/>
          </p:nvSpPr>
          <p:spPr bwMode="auto">
            <a:xfrm>
              <a:off x="385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3" name="Oval 3088">
              <a:extLst>
                <a:ext uri="{FF2B5EF4-FFF2-40B4-BE49-F238E27FC236}">
                  <a16:creationId xmlns:a16="http://schemas.microsoft.com/office/drawing/2014/main" id="{6565F0C5-7517-48FE-AEB8-8C6192057244}"/>
                </a:ext>
              </a:extLst>
            </p:cNvPr>
            <p:cNvSpPr>
              <a:spLocks noChangeArrowheads="1"/>
            </p:cNvSpPr>
            <p:nvPr/>
          </p:nvSpPr>
          <p:spPr bwMode="auto">
            <a:xfrm>
              <a:off x="367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4" name="Oval 3089">
              <a:extLst>
                <a:ext uri="{FF2B5EF4-FFF2-40B4-BE49-F238E27FC236}">
                  <a16:creationId xmlns:a16="http://schemas.microsoft.com/office/drawing/2014/main" id="{CFB48E2D-640A-4A62-BB2A-0F68807C4920}"/>
                </a:ext>
              </a:extLst>
            </p:cNvPr>
            <p:cNvSpPr>
              <a:spLocks noChangeArrowheads="1"/>
            </p:cNvSpPr>
            <p:nvPr/>
          </p:nvSpPr>
          <p:spPr bwMode="auto">
            <a:xfrm>
              <a:off x="367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5" name="Oval 3090">
              <a:extLst>
                <a:ext uri="{FF2B5EF4-FFF2-40B4-BE49-F238E27FC236}">
                  <a16:creationId xmlns:a16="http://schemas.microsoft.com/office/drawing/2014/main" id="{69E14CD6-7512-4A50-A857-CF26BEE09A37}"/>
                </a:ext>
              </a:extLst>
            </p:cNvPr>
            <p:cNvSpPr>
              <a:spLocks noChangeArrowheads="1"/>
            </p:cNvSpPr>
            <p:nvPr/>
          </p:nvSpPr>
          <p:spPr bwMode="auto">
            <a:xfrm>
              <a:off x="35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6" name="Oval 3091">
              <a:extLst>
                <a:ext uri="{FF2B5EF4-FFF2-40B4-BE49-F238E27FC236}">
                  <a16:creationId xmlns:a16="http://schemas.microsoft.com/office/drawing/2014/main" id="{72A1D4D9-F9EB-493C-86F6-8396A2706FB1}"/>
                </a:ext>
              </a:extLst>
            </p:cNvPr>
            <p:cNvSpPr>
              <a:spLocks noChangeArrowheads="1"/>
            </p:cNvSpPr>
            <p:nvPr/>
          </p:nvSpPr>
          <p:spPr bwMode="auto">
            <a:xfrm>
              <a:off x="355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7" name="Oval 3092">
              <a:extLst>
                <a:ext uri="{FF2B5EF4-FFF2-40B4-BE49-F238E27FC236}">
                  <a16:creationId xmlns:a16="http://schemas.microsoft.com/office/drawing/2014/main" id="{1B070D10-2FD5-4C09-AA54-19902C3A197F}"/>
                </a:ext>
              </a:extLst>
            </p:cNvPr>
            <p:cNvSpPr>
              <a:spLocks noChangeArrowheads="1"/>
            </p:cNvSpPr>
            <p:nvPr/>
          </p:nvSpPr>
          <p:spPr bwMode="auto">
            <a:xfrm>
              <a:off x="355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8" name="Oval 3093">
              <a:extLst>
                <a:ext uri="{FF2B5EF4-FFF2-40B4-BE49-F238E27FC236}">
                  <a16:creationId xmlns:a16="http://schemas.microsoft.com/office/drawing/2014/main" id="{CCD19FFD-2591-490C-BD0B-1CE5C4356A28}"/>
                </a:ext>
              </a:extLst>
            </p:cNvPr>
            <p:cNvSpPr>
              <a:spLocks noChangeArrowheads="1"/>
            </p:cNvSpPr>
            <p:nvPr/>
          </p:nvSpPr>
          <p:spPr bwMode="auto">
            <a:xfrm>
              <a:off x="358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9" name="Oval 3094">
              <a:extLst>
                <a:ext uri="{FF2B5EF4-FFF2-40B4-BE49-F238E27FC236}">
                  <a16:creationId xmlns:a16="http://schemas.microsoft.com/office/drawing/2014/main" id="{0D6E64C5-D8D5-427B-B42A-EA2435AE7FED}"/>
                </a:ext>
              </a:extLst>
            </p:cNvPr>
            <p:cNvSpPr>
              <a:spLocks noChangeArrowheads="1"/>
            </p:cNvSpPr>
            <p:nvPr/>
          </p:nvSpPr>
          <p:spPr bwMode="auto">
            <a:xfrm>
              <a:off x="343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0" name="Oval 3095">
              <a:extLst>
                <a:ext uri="{FF2B5EF4-FFF2-40B4-BE49-F238E27FC236}">
                  <a16:creationId xmlns:a16="http://schemas.microsoft.com/office/drawing/2014/main" id="{FF5ED523-D2FA-4AE7-A4E6-EDE98445A7D1}"/>
                </a:ext>
              </a:extLst>
            </p:cNvPr>
            <p:cNvSpPr>
              <a:spLocks noChangeArrowheads="1"/>
            </p:cNvSpPr>
            <p:nvPr/>
          </p:nvSpPr>
          <p:spPr bwMode="auto">
            <a:xfrm>
              <a:off x="340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1" name="Oval 3096">
              <a:extLst>
                <a:ext uri="{FF2B5EF4-FFF2-40B4-BE49-F238E27FC236}">
                  <a16:creationId xmlns:a16="http://schemas.microsoft.com/office/drawing/2014/main" id="{EBB5C9F5-3EBF-4D66-B53C-27C8EADC4F02}"/>
                </a:ext>
              </a:extLst>
            </p:cNvPr>
            <p:cNvSpPr>
              <a:spLocks noChangeArrowheads="1"/>
            </p:cNvSpPr>
            <p:nvPr/>
          </p:nvSpPr>
          <p:spPr bwMode="auto">
            <a:xfrm>
              <a:off x="331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2" name="Oval 3097">
              <a:extLst>
                <a:ext uri="{FF2B5EF4-FFF2-40B4-BE49-F238E27FC236}">
                  <a16:creationId xmlns:a16="http://schemas.microsoft.com/office/drawing/2014/main" id="{E2058997-E58F-4E2E-BC72-2DB356327C65}"/>
                </a:ext>
              </a:extLst>
            </p:cNvPr>
            <p:cNvSpPr>
              <a:spLocks noChangeArrowheads="1"/>
            </p:cNvSpPr>
            <p:nvPr/>
          </p:nvSpPr>
          <p:spPr bwMode="auto">
            <a:xfrm>
              <a:off x="340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3" name="Oval 3098">
              <a:extLst>
                <a:ext uri="{FF2B5EF4-FFF2-40B4-BE49-F238E27FC236}">
                  <a16:creationId xmlns:a16="http://schemas.microsoft.com/office/drawing/2014/main" id="{4BC610F3-4ACC-48E7-8E1E-FE7BE064BCD8}"/>
                </a:ext>
              </a:extLst>
            </p:cNvPr>
            <p:cNvSpPr>
              <a:spLocks noChangeArrowheads="1"/>
            </p:cNvSpPr>
            <p:nvPr/>
          </p:nvSpPr>
          <p:spPr bwMode="auto">
            <a:xfrm>
              <a:off x="328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4" name="Oval 3099">
              <a:extLst>
                <a:ext uri="{FF2B5EF4-FFF2-40B4-BE49-F238E27FC236}">
                  <a16:creationId xmlns:a16="http://schemas.microsoft.com/office/drawing/2014/main" id="{36BF593F-5C9E-45A8-A317-72C308D582C4}"/>
                </a:ext>
              </a:extLst>
            </p:cNvPr>
            <p:cNvSpPr>
              <a:spLocks noChangeArrowheads="1"/>
            </p:cNvSpPr>
            <p:nvPr/>
          </p:nvSpPr>
          <p:spPr bwMode="auto">
            <a:xfrm>
              <a:off x="334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5" name="Oval 3100">
              <a:extLst>
                <a:ext uri="{FF2B5EF4-FFF2-40B4-BE49-F238E27FC236}">
                  <a16:creationId xmlns:a16="http://schemas.microsoft.com/office/drawing/2014/main" id="{57B51D3E-0094-4EDB-B34E-CB442A54FA25}"/>
                </a:ext>
              </a:extLst>
            </p:cNvPr>
            <p:cNvSpPr>
              <a:spLocks noChangeArrowheads="1"/>
            </p:cNvSpPr>
            <p:nvPr/>
          </p:nvSpPr>
          <p:spPr bwMode="auto">
            <a:xfrm>
              <a:off x="334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6" name="Oval 3101">
              <a:extLst>
                <a:ext uri="{FF2B5EF4-FFF2-40B4-BE49-F238E27FC236}">
                  <a16:creationId xmlns:a16="http://schemas.microsoft.com/office/drawing/2014/main" id="{26AD79AF-1003-415D-9B7D-C1F0F813DE08}"/>
                </a:ext>
              </a:extLst>
            </p:cNvPr>
            <p:cNvSpPr>
              <a:spLocks noChangeArrowheads="1"/>
            </p:cNvSpPr>
            <p:nvPr/>
          </p:nvSpPr>
          <p:spPr bwMode="auto">
            <a:xfrm>
              <a:off x="325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7" name="Oval 3102">
              <a:extLst>
                <a:ext uri="{FF2B5EF4-FFF2-40B4-BE49-F238E27FC236}">
                  <a16:creationId xmlns:a16="http://schemas.microsoft.com/office/drawing/2014/main" id="{C2D2250C-8176-422F-97B1-E4332198CCE4}"/>
                </a:ext>
              </a:extLst>
            </p:cNvPr>
            <p:cNvSpPr>
              <a:spLocks noChangeArrowheads="1"/>
            </p:cNvSpPr>
            <p:nvPr/>
          </p:nvSpPr>
          <p:spPr bwMode="auto">
            <a:xfrm>
              <a:off x="319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8" name="Oval 3103">
              <a:extLst>
                <a:ext uri="{FF2B5EF4-FFF2-40B4-BE49-F238E27FC236}">
                  <a16:creationId xmlns:a16="http://schemas.microsoft.com/office/drawing/2014/main" id="{239B5E7F-B0E2-4BCA-9578-9AFE995D793F}"/>
                </a:ext>
              </a:extLst>
            </p:cNvPr>
            <p:cNvSpPr>
              <a:spLocks noChangeArrowheads="1"/>
            </p:cNvSpPr>
            <p:nvPr/>
          </p:nvSpPr>
          <p:spPr bwMode="auto">
            <a:xfrm>
              <a:off x="31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9" name="Oval 3104">
              <a:extLst>
                <a:ext uri="{FF2B5EF4-FFF2-40B4-BE49-F238E27FC236}">
                  <a16:creationId xmlns:a16="http://schemas.microsoft.com/office/drawing/2014/main" id="{ED7FB014-6E87-408F-ADF5-C4F987BC3D00}"/>
                </a:ext>
              </a:extLst>
            </p:cNvPr>
            <p:cNvSpPr>
              <a:spLocks noChangeArrowheads="1"/>
            </p:cNvSpPr>
            <p:nvPr/>
          </p:nvSpPr>
          <p:spPr bwMode="auto">
            <a:xfrm>
              <a:off x="319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0" name="Oval 3105">
              <a:extLst>
                <a:ext uri="{FF2B5EF4-FFF2-40B4-BE49-F238E27FC236}">
                  <a16:creationId xmlns:a16="http://schemas.microsoft.com/office/drawing/2014/main" id="{E1090F14-4649-4263-AFF9-D0B3EC8923D5}"/>
                </a:ext>
              </a:extLst>
            </p:cNvPr>
            <p:cNvSpPr>
              <a:spLocks noChangeArrowheads="1"/>
            </p:cNvSpPr>
            <p:nvPr/>
          </p:nvSpPr>
          <p:spPr bwMode="auto">
            <a:xfrm>
              <a:off x="319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1" name="Oval 3106">
              <a:extLst>
                <a:ext uri="{FF2B5EF4-FFF2-40B4-BE49-F238E27FC236}">
                  <a16:creationId xmlns:a16="http://schemas.microsoft.com/office/drawing/2014/main" id="{C75C2799-B961-4233-B967-9348CBBE69AA}"/>
                </a:ext>
              </a:extLst>
            </p:cNvPr>
            <p:cNvSpPr>
              <a:spLocks noChangeArrowheads="1"/>
            </p:cNvSpPr>
            <p:nvPr/>
          </p:nvSpPr>
          <p:spPr bwMode="auto">
            <a:xfrm>
              <a:off x="319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2" name="Oval 3107">
              <a:extLst>
                <a:ext uri="{FF2B5EF4-FFF2-40B4-BE49-F238E27FC236}">
                  <a16:creationId xmlns:a16="http://schemas.microsoft.com/office/drawing/2014/main" id="{911DCCDA-DBA0-4635-9A36-A67523B29C21}"/>
                </a:ext>
              </a:extLst>
            </p:cNvPr>
            <p:cNvSpPr>
              <a:spLocks noChangeArrowheads="1"/>
            </p:cNvSpPr>
            <p:nvPr/>
          </p:nvSpPr>
          <p:spPr bwMode="auto">
            <a:xfrm>
              <a:off x="31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3" name="Oval 3108">
              <a:extLst>
                <a:ext uri="{FF2B5EF4-FFF2-40B4-BE49-F238E27FC236}">
                  <a16:creationId xmlns:a16="http://schemas.microsoft.com/office/drawing/2014/main" id="{23CFC575-6F1E-4D68-8497-005918B8959E}"/>
                </a:ext>
              </a:extLst>
            </p:cNvPr>
            <p:cNvSpPr>
              <a:spLocks noChangeArrowheads="1"/>
            </p:cNvSpPr>
            <p:nvPr/>
          </p:nvSpPr>
          <p:spPr bwMode="auto">
            <a:xfrm>
              <a:off x="319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4" name="Oval 3109">
              <a:extLst>
                <a:ext uri="{FF2B5EF4-FFF2-40B4-BE49-F238E27FC236}">
                  <a16:creationId xmlns:a16="http://schemas.microsoft.com/office/drawing/2014/main" id="{00564BAD-ACE9-423F-BC46-B99D75CD9780}"/>
                </a:ext>
              </a:extLst>
            </p:cNvPr>
            <p:cNvSpPr>
              <a:spLocks noChangeArrowheads="1"/>
            </p:cNvSpPr>
            <p:nvPr/>
          </p:nvSpPr>
          <p:spPr bwMode="auto">
            <a:xfrm>
              <a:off x="319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5" name="Oval 3110">
              <a:extLst>
                <a:ext uri="{FF2B5EF4-FFF2-40B4-BE49-F238E27FC236}">
                  <a16:creationId xmlns:a16="http://schemas.microsoft.com/office/drawing/2014/main" id="{738A5835-5FB5-4681-B9B7-FBAF319FC619}"/>
                </a:ext>
              </a:extLst>
            </p:cNvPr>
            <p:cNvSpPr>
              <a:spLocks noChangeArrowheads="1"/>
            </p:cNvSpPr>
            <p:nvPr/>
          </p:nvSpPr>
          <p:spPr bwMode="auto">
            <a:xfrm>
              <a:off x="316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6" name="Oval 3111">
              <a:extLst>
                <a:ext uri="{FF2B5EF4-FFF2-40B4-BE49-F238E27FC236}">
                  <a16:creationId xmlns:a16="http://schemas.microsoft.com/office/drawing/2014/main" id="{AC4B630D-9233-4054-ACC4-9E561297F083}"/>
                </a:ext>
              </a:extLst>
            </p:cNvPr>
            <p:cNvSpPr>
              <a:spLocks noChangeArrowheads="1"/>
            </p:cNvSpPr>
            <p:nvPr/>
          </p:nvSpPr>
          <p:spPr bwMode="auto">
            <a:xfrm>
              <a:off x="328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7" name="Oval 3112">
              <a:extLst>
                <a:ext uri="{FF2B5EF4-FFF2-40B4-BE49-F238E27FC236}">
                  <a16:creationId xmlns:a16="http://schemas.microsoft.com/office/drawing/2014/main" id="{E5682F97-69FB-42BD-ADAC-C381ADBBB66B}"/>
                </a:ext>
              </a:extLst>
            </p:cNvPr>
            <p:cNvSpPr>
              <a:spLocks noChangeArrowheads="1"/>
            </p:cNvSpPr>
            <p:nvPr/>
          </p:nvSpPr>
          <p:spPr bwMode="auto">
            <a:xfrm>
              <a:off x="325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8" name="Oval 3113">
              <a:extLst>
                <a:ext uri="{FF2B5EF4-FFF2-40B4-BE49-F238E27FC236}">
                  <a16:creationId xmlns:a16="http://schemas.microsoft.com/office/drawing/2014/main" id="{5CFA2941-14C6-4DC6-888B-D60CF645C210}"/>
                </a:ext>
              </a:extLst>
            </p:cNvPr>
            <p:cNvSpPr>
              <a:spLocks noChangeArrowheads="1"/>
            </p:cNvSpPr>
            <p:nvPr/>
          </p:nvSpPr>
          <p:spPr bwMode="auto">
            <a:xfrm>
              <a:off x="328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9" name="Oval 3114">
              <a:extLst>
                <a:ext uri="{FF2B5EF4-FFF2-40B4-BE49-F238E27FC236}">
                  <a16:creationId xmlns:a16="http://schemas.microsoft.com/office/drawing/2014/main" id="{3EBA0AFB-5FA0-4DA0-9094-9A06FD721857}"/>
                </a:ext>
              </a:extLst>
            </p:cNvPr>
            <p:cNvSpPr>
              <a:spLocks noChangeArrowheads="1"/>
            </p:cNvSpPr>
            <p:nvPr/>
          </p:nvSpPr>
          <p:spPr bwMode="auto">
            <a:xfrm>
              <a:off x="352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0" name="Oval 3115">
              <a:extLst>
                <a:ext uri="{FF2B5EF4-FFF2-40B4-BE49-F238E27FC236}">
                  <a16:creationId xmlns:a16="http://schemas.microsoft.com/office/drawing/2014/main" id="{43805C02-178B-4DBB-BD24-1EF90F8966FE}"/>
                </a:ext>
              </a:extLst>
            </p:cNvPr>
            <p:cNvSpPr>
              <a:spLocks noChangeArrowheads="1"/>
            </p:cNvSpPr>
            <p:nvPr/>
          </p:nvSpPr>
          <p:spPr bwMode="auto">
            <a:xfrm>
              <a:off x="352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1" name="Oval 3116">
              <a:extLst>
                <a:ext uri="{FF2B5EF4-FFF2-40B4-BE49-F238E27FC236}">
                  <a16:creationId xmlns:a16="http://schemas.microsoft.com/office/drawing/2014/main" id="{CF384CE5-7790-495D-8012-C05030429A57}"/>
                </a:ext>
              </a:extLst>
            </p:cNvPr>
            <p:cNvSpPr>
              <a:spLocks noChangeArrowheads="1"/>
            </p:cNvSpPr>
            <p:nvPr/>
          </p:nvSpPr>
          <p:spPr bwMode="auto">
            <a:xfrm>
              <a:off x="346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2" name="Oval 3117">
              <a:extLst>
                <a:ext uri="{FF2B5EF4-FFF2-40B4-BE49-F238E27FC236}">
                  <a16:creationId xmlns:a16="http://schemas.microsoft.com/office/drawing/2014/main" id="{306860DB-BB56-4661-8712-2F928FD05FA7}"/>
                </a:ext>
              </a:extLst>
            </p:cNvPr>
            <p:cNvSpPr>
              <a:spLocks noChangeArrowheads="1"/>
            </p:cNvSpPr>
            <p:nvPr/>
          </p:nvSpPr>
          <p:spPr bwMode="auto">
            <a:xfrm>
              <a:off x="346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3" name="Oval 3118">
              <a:extLst>
                <a:ext uri="{FF2B5EF4-FFF2-40B4-BE49-F238E27FC236}">
                  <a16:creationId xmlns:a16="http://schemas.microsoft.com/office/drawing/2014/main" id="{836A1256-3561-4E70-994C-CBC84CE05BAC}"/>
                </a:ext>
              </a:extLst>
            </p:cNvPr>
            <p:cNvSpPr>
              <a:spLocks noChangeArrowheads="1"/>
            </p:cNvSpPr>
            <p:nvPr/>
          </p:nvSpPr>
          <p:spPr bwMode="auto">
            <a:xfrm>
              <a:off x="334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4" name="Oval 3119">
              <a:extLst>
                <a:ext uri="{FF2B5EF4-FFF2-40B4-BE49-F238E27FC236}">
                  <a16:creationId xmlns:a16="http://schemas.microsoft.com/office/drawing/2014/main" id="{8649123D-BA20-4790-9121-35894E4FFA55}"/>
                </a:ext>
              </a:extLst>
            </p:cNvPr>
            <p:cNvSpPr>
              <a:spLocks noChangeArrowheads="1"/>
            </p:cNvSpPr>
            <p:nvPr/>
          </p:nvSpPr>
          <p:spPr bwMode="auto">
            <a:xfrm>
              <a:off x="334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5" name="Oval 3120">
              <a:extLst>
                <a:ext uri="{FF2B5EF4-FFF2-40B4-BE49-F238E27FC236}">
                  <a16:creationId xmlns:a16="http://schemas.microsoft.com/office/drawing/2014/main" id="{E9F57B61-FD66-4467-BDC4-B14B69DFF429}"/>
                </a:ext>
              </a:extLst>
            </p:cNvPr>
            <p:cNvSpPr>
              <a:spLocks noChangeArrowheads="1"/>
            </p:cNvSpPr>
            <p:nvPr/>
          </p:nvSpPr>
          <p:spPr bwMode="auto">
            <a:xfrm>
              <a:off x="328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6" name="Oval 3121">
              <a:extLst>
                <a:ext uri="{FF2B5EF4-FFF2-40B4-BE49-F238E27FC236}">
                  <a16:creationId xmlns:a16="http://schemas.microsoft.com/office/drawing/2014/main" id="{F61879EA-6DA0-42B0-A9C5-2ACE906E8016}"/>
                </a:ext>
              </a:extLst>
            </p:cNvPr>
            <p:cNvSpPr>
              <a:spLocks noChangeArrowheads="1"/>
            </p:cNvSpPr>
            <p:nvPr/>
          </p:nvSpPr>
          <p:spPr bwMode="auto">
            <a:xfrm>
              <a:off x="337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7" name="Oval 3122">
              <a:extLst>
                <a:ext uri="{FF2B5EF4-FFF2-40B4-BE49-F238E27FC236}">
                  <a16:creationId xmlns:a16="http://schemas.microsoft.com/office/drawing/2014/main" id="{43BB7FEF-049F-463C-A884-BDAE64B7AE56}"/>
                </a:ext>
              </a:extLst>
            </p:cNvPr>
            <p:cNvSpPr>
              <a:spLocks noChangeArrowheads="1"/>
            </p:cNvSpPr>
            <p:nvPr/>
          </p:nvSpPr>
          <p:spPr bwMode="auto">
            <a:xfrm>
              <a:off x="340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8" name="Oval 3123">
              <a:extLst>
                <a:ext uri="{FF2B5EF4-FFF2-40B4-BE49-F238E27FC236}">
                  <a16:creationId xmlns:a16="http://schemas.microsoft.com/office/drawing/2014/main" id="{BE2B6D59-654D-4031-BA60-736795BBC49C}"/>
                </a:ext>
              </a:extLst>
            </p:cNvPr>
            <p:cNvSpPr>
              <a:spLocks noChangeArrowheads="1"/>
            </p:cNvSpPr>
            <p:nvPr/>
          </p:nvSpPr>
          <p:spPr bwMode="auto">
            <a:xfrm>
              <a:off x="36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69" name="Oval 3124">
              <a:extLst>
                <a:ext uri="{FF2B5EF4-FFF2-40B4-BE49-F238E27FC236}">
                  <a16:creationId xmlns:a16="http://schemas.microsoft.com/office/drawing/2014/main" id="{F46A6A81-7A6B-428D-9F5E-58B1F6B93901}"/>
                </a:ext>
              </a:extLst>
            </p:cNvPr>
            <p:cNvSpPr>
              <a:spLocks noChangeArrowheads="1"/>
            </p:cNvSpPr>
            <p:nvPr/>
          </p:nvSpPr>
          <p:spPr bwMode="auto">
            <a:xfrm>
              <a:off x="355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0" name="Oval 3125">
              <a:extLst>
                <a:ext uri="{FF2B5EF4-FFF2-40B4-BE49-F238E27FC236}">
                  <a16:creationId xmlns:a16="http://schemas.microsoft.com/office/drawing/2014/main" id="{C83D7F8E-F8B1-41CD-8D14-7730F0EE445E}"/>
                </a:ext>
              </a:extLst>
            </p:cNvPr>
            <p:cNvSpPr>
              <a:spLocks noChangeArrowheads="1"/>
            </p:cNvSpPr>
            <p:nvPr/>
          </p:nvSpPr>
          <p:spPr bwMode="auto">
            <a:xfrm>
              <a:off x="397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1" name="Oval 3126">
              <a:extLst>
                <a:ext uri="{FF2B5EF4-FFF2-40B4-BE49-F238E27FC236}">
                  <a16:creationId xmlns:a16="http://schemas.microsoft.com/office/drawing/2014/main" id="{B227D293-1691-44A4-935D-9E4D8EF9A354}"/>
                </a:ext>
              </a:extLst>
            </p:cNvPr>
            <p:cNvSpPr>
              <a:spLocks noChangeArrowheads="1"/>
            </p:cNvSpPr>
            <p:nvPr/>
          </p:nvSpPr>
          <p:spPr bwMode="auto">
            <a:xfrm>
              <a:off x="379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2" name="Oval 3127">
              <a:extLst>
                <a:ext uri="{FF2B5EF4-FFF2-40B4-BE49-F238E27FC236}">
                  <a16:creationId xmlns:a16="http://schemas.microsoft.com/office/drawing/2014/main" id="{DDC8CDF5-6DA6-48D1-99CE-F9CBB308D62D}"/>
                </a:ext>
              </a:extLst>
            </p:cNvPr>
            <p:cNvSpPr>
              <a:spLocks noChangeArrowheads="1"/>
            </p:cNvSpPr>
            <p:nvPr/>
          </p:nvSpPr>
          <p:spPr bwMode="auto">
            <a:xfrm>
              <a:off x="3914"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3" name="Oval 3128">
              <a:extLst>
                <a:ext uri="{FF2B5EF4-FFF2-40B4-BE49-F238E27FC236}">
                  <a16:creationId xmlns:a16="http://schemas.microsoft.com/office/drawing/2014/main" id="{13E4AD96-3DC7-49B0-A632-04F82D8D4C54}"/>
                </a:ext>
              </a:extLst>
            </p:cNvPr>
            <p:cNvSpPr>
              <a:spLocks noChangeArrowheads="1"/>
            </p:cNvSpPr>
            <p:nvPr/>
          </p:nvSpPr>
          <p:spPr bwMode="auto">
            <a:xfrm>
              <a:off x="391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4" name="Oval 3129">
              <a:extLst>
                <a:ext uri="{FF2B5EF4-FFF2-40B4-BE49-F238E27FC236}">
                  <a16:creationId xmlns:a16="http://schemas.microsoft.com/office/drawing/2014/main" id="{0535FE5C-52E9-43EB-BE7B-5D86F763A75D}"/>
                </a:ext>
              </a:extLst>
            </p:cNvPr>
            <p:cNvSpPr>
              <a:spLocks noChangeArrowheads="1"/>
            </p:cNvSpPr>
            <p:nvPr/>
          </p:nvSpPr>
          <p:spPr bwMode="auto">
            <a:xfrm>
              <a:off x="379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5" name="Oval 3130">
              <a:extLst>
                <a:ext uri="{FF2B5EF4-FFF2-40B4-BE49-F238E27FC236}">
                  <a16:creationId xmlns:a16="http://schemas.microsoft.com/office/drawing/2014/main" id="{0D9ABE27-A132-4F3C-A54A-7CE145CD1E8E}"/>
                </a:ext>
              </a:extLst>
            </p:cNvPr>
            <p:cNvSpPr>
              <a:spLocks noChangeArrowheads="1"/>
            </p:cNvSpPr>
            <p:nvPr/>
          </p:nvSpPr>
          <p:spPr bwMode="auto">
            <a:xfrm>
              <a:off x="3794"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6" name="Oval 3131">
              <a:extLst>
                <a:ext uri="{FF2B5EF4-FFF2-40B4-BE49-F238E27FC236}">
                  <a16:creationId xmlns:a16="http://schemas.microsoft.com/office/drawing/2014/main" id="{EEA50E3D-68D4-4C0A-9DC3-C9C12C25CBD4}"/>
                </a:ext>
              </a:extLst>
            </p:cNvPr>
            <p:cNvSpPr>
              <a:spLocks noChangeArrowheads="1"/>
            </p:cNvSpPr>
            <p:nvPr/>
          </p:nvSpPr>
          <p:spPr bwMode="auto">
            <a:xfrm>
              <a:off x="415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7" name="Oval 3132">
              <a:extLst>
                <a:ext uri="{FF2B5EF4-FFF2-40B4-BE49-F238E27FC236}">
                  <a16:creationId xmlns:a16="http://schemas.microsoft.com/office/drawing/2014/main" id="{954F54FA-DCFD-462D-9B53-4AE1B8695994}"/>
                </a:ext>
              </a:extLst>
            </p:cNvPr>
            <p:cNvSpPr>
              <a:spLocks noChangeArrowheads="1"/>
            </p:cNvSpPr>
            <p:nvPr/>
          </p:nvSpPr>
          <p:spPr bwMode="auto">
            <a:xfrm>
              <a:off x="406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8" name="Oval 3133">
              <a:extLst>
                <a:ext uri="{FF2B5EF4-FFF2-40B4-BE49-F238E27FC236}">
                  <a16:creationId xmlns:a16="http://schemas.microsoft.com/office/drawing/2014/main" id="{7E7B97E9-0689-4D7A-9D2E-4B423F57332E}"/>
                </a:ext>
              </a:extLst>
            </p:cNvPr>
            <p:cNvSpPr>
              <a:spLocks noChangeArrowheads="1"/>
            </p:cNvSpPr>
            <p:nvPr/>
          </p:nvSpPr>
          <p:spPr bwMode="auto">
            <a:xfrm>
              <a:off x="4034"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79" name="Oval 3134">
              <a:extLst>
                <a:ext uri="{FF2B5EF4-FFF2-40B4-BE49-F238E27FC236}">
                  <a16:creationId xmlns:a16="http://schemas.microsoft.com/office/drawing/2014/main" id="{06E55C9C-E347-4028-83D3-AEB63793BFA1}"/>
                </a:ext>
              </a:extLst>
            </p:cNvPr>
            <p:cNvSpPr>
              <a:spLocks noChangeArrowheads="1"/>
            </p:cNvSpPr>
            <p:nvPr/>
          </p:nvSpPr>
          <p:spPr bwMode="auto">
            <a:xfrm>
              <a:off x="3974"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0" name="Oval 3135">
              <a:extLst>
                <a:ext uri="{FF2B5EF4-FFF2-40B4-BE49-F238E27FC236}">
                  <a16:creationId xmlns:a16="http://schemas.microsoft.com/office/drawing/2014/main" id="{3CFE1A30-C004-4F62-B858-DA06B257CD13}"/>
                </a:ext>
              </a:extLst>
            </p:cNvPr>
            <p:cNvSpPr>
              <a:spLocks noChangeArrowheads="1"/>
            </p:cNvSpPr>
            <p:nvPr/>
          </p:nvSpPr>
          <p:spPr bwMode="auto">
            <a:xfrm>
              <a:off x="394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1" name="Oval 3136">
              <a:extLst>
                <a:ext uri="{FF2B5EF4-FFF2-40B4-BE49-F238E27FC236}">
                  <a16:creationId xmlns:a16="http://schemas.microsoft.com/office/drawing/2014/main" id="{C9B25F8F-CAE0-47A0-B6A9-12453AF1CAB0}"/>
                </a:ext>
              </a:extLst>
            </p:cNvPr>
            <p:cNvSpPr>
              <a:spLocks noChangeArrowheads="1"/>
            </p:cNvSpPr>
            <p:nvPr/>
          </p:nvSpPr>
          <p:spPr bwMode="auto">
            <a:xfrm>
              <a:off x="379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2" name="Oval 3137">
              <a:extLst>
                <a:ext uri="{FF2B5EF4-FFF2-40B4-BE49-F238E27FC236}">
                  <a16:creationId xmlns:a16="http://schemas.microsoft.com/office/drawing/2014/main" id="{0722A406-5257-441B-8919-CACDC4E1835E}"/>
                </a:ext>
              </a:extLst>
            </p:cNvPr>
            <p:cNvSpPr>
              <a:spLocks noChangeArrowheads="1"/>
            </p:cNvSpPr>
            <p:nvPr/>
          </p:nvSpPr>
          <p:spPr bwMode="auto">
            <a:xfrm>
              <a:off x="385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3" name="Oval 3138">
              <a:extLst>
                <a:ext uri="{FF2B5EF4-FFF2-40B4-BE49-F238E27FC236}">
                  <a16:creationId xmlns:a16="http://schemas.microsoft.com/office/drawing/2014/main" id="{B035C68F-E868-4568-A70E-DE5260D0811A}"/>
                </a:ext>
              </a:extLst>
            </p:cNvPr>
            <p:cNvSpPr>
              <a:spLocks noChangeArrowheads="1"/>
            </p:cNvSpPr>
            <p:nvPr/>
          </p:nvSpPr>
          <p:spPr bwMode="auto">
            <a:xfrm>
              <a:off x="3764"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4" name="Oval 3139">
              <a:extLst>
                <a:ext uri="{FF2B5EF4-FFF2-40B4-BE49-F238E27FC236}">
                  <a16:creationId xmlns:a16="http://schemas.microsoft.com/office/drawing/2014/main" id="{8A84DF82-A2C8-4F6F-A485-F5BEBE28FD73}"/>
                </a:ext>
              </a:extLst>
            </p:cNvPr>
            <p:cNvSpPr>
              <a:spLocks noChangeArrowheads="1"/>
            </p:cNvSpPr>
            <p:nvPr/>
          </p:nvSpPr>
          <p:spPr bwMode="auto">
            <a:xfrm>
              <a:off x="3705" y="24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5" name="Oval 3140">
              <a:extLst>
                <a:ext uri="{FF2B5EF4-FFF2-40B4-BE49-F238E27FC236}">
                  <a16:creationId xmlns:a16="http://schemas.microsoft.com/office/drawing/2014/main" id="{C4E1C615-5873-4996-A52C-96D1ACC0B7EE}"/>
                </a:ext>
              </a:extLst>
            </p:cNvPr>
            <p:cNvSpPr>
              <a:spLocks noChangeArrowheads="1"/>
            </p:cNvSpPr>
            <p:nvPr/>
          </p:nvSpPr>
          <p:spPr bwMode="auto">
            <a:xfrm>
              <a:off x="367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6" name="Oval 3141">
              <a:extLst>
                <a:ext uri="{FF2B5EF4-FFF2-40B4-BE49-F238E27FC236}">
                  <a16:creationId xmlns:a16="http://schemas.microsoft.com/office/drawing/2014/main" id="{1F393A63-60B3-40F7-99DD-4339E8CA4E92}"/>
                </a:ext>
              </a:extLst>
            </p:cNvPr>
            <p:cNvSpPr>
              <a:spLocks noChangeArrowheads="1"/>
            </p:cNvSpPr>
            <p:nvPr/>
          </p:nvSpPr>
          <p:spPr bwMode="auto">
            <a:xfrm>
              <a:off x="361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7" name="Oval 3142">
              <a:extLst>
                <a:ext uri="{FF2B5EF4-FFF2-40B4-BE49-F238E27FC236}">
                  <a16:creationId xmlns:a16="http://schemas.microsoft.com/office/drawing/2014/main" id="{5196CF86-D54E-4464-97DD-CB8659C8C242}"/>
                </a:ext>
              </a:extLst>
            </p:cNvPr>
            <p:cNvSpPr>
              <a:spLocks noChangeArrowheads="1"/>
            </p:cNvSpPr>
            <p:nvPr/>
          </p:nvSpPr>
          <p:spPr bwMode="auto">
            <a:xfrm>
              <a:off x="355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8" name="Oval 3143">
              <a:extLst>
                <a:ext uri="{FF2B5EF4-FFF2-40B4-BE49-F238E27FC236}">
                  <a16:creationId xmlns:a16="http://schemas.microsoft.com/office/drawing/2014/main" id="{901F603B-9797-44E6-9C58-15CEA7905359}"/>
                </a:ext>
              </a:extLst>
            </p:cNvPr>
            <p:cNvSpPr>
              <a:spLocks noChangeArrowheads="1"/>
            </p:cNvSpPr>
            <p:nvPr/>
          </p:nvSpPr>
          <p:spPr bwMode="auto">
            <a:xfrm>
              <a:off x="346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9" name="Oval 3144">
              <a:extLst>
                <a:ext uri="{FF2B5EF4-FFF2-40B4-BE49-F238E27FC236}">
                  <a16:creationId xmlns:a16="http://schemas.microsoft.com/office/drawing/2014/main" id="{E63AA6D8-D761-4523-BC41-1A6D5CB9DE94}"/>
                </a:ext>
              </a:extLst>
            </p:cNvPr>
            <p:cNvSpPr>
              <a:spLocks noChangeArrowheads="1"/>
            </p:cNvSpPr>
            <p:nvPr/>
          </p:nvSpPr>
          <p:spPr bwMode="auto">
            <a:xfrm>
              <a:off x="343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0" name="Oval 3145">
              <a:extLst>
                <a:ext uri="{FF2B5EF4-FFF2-40B4-BE49-F238E27FC236}">
                  <a16:creationId xmlns:a16="http://schemas.microsoft.com/office/drawing/2014/main" id="{C97CD5DC-C540-4051-960D-2350A072B97F}"/>
                </a:ext>
              </a:extLst>
            </p:cNvPr>
            <p:cNvSpPr>
              <a:spLocks noChangeArrowheads="1"/>
            </p:cNvSpPr>
            <p:nvPr/>
          </p:nvSpPr>
          <p:spPr bwMode="auto">
            <a:xfrm>
              <a:off x="39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1" name="Oval 3146">
              <a:extLst>
                <a:ext uri="{FF2B5EF4-FFF2-40B4-BE49-F238E27FC236}">
                  <a16:creationId xmlns:a16="http://schemas.microsoft.com/office/drawing/2014/main" id="{348DFB54-CB0A-4ED8-A868-501D0CD507A1}"/>
                </a:ext>
              </a:extLst>
            </p:cNvPr>
            <p:cNvSpPr>
              <a:spLocks noChangeArrowheads="1"/>
            </p:cNvSpPr>
            <p:nvPr/>
          </p:nvSpPr>
          <p:spPr bwMode="auto">
            <a:xfrm>
              <a:off x="382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2" name="Oval 3147">
              <a:extLst>
                <a:ext uri="{FF2B5EF4-FFF2-40B4-BE49-F238E27FC236}">
                  <a16:creationId xmlns:a16="http://schemas.microsoft.com/office/drawing/2014/main" id="{59717899-83DE-47C3-85CE-6120EC7AB9DE}"/>
                </a:ext>
              </a:extLst>
            </p:cNvPr>
            <p:cNvSpPr>
              <a:spLocks noChangeArrowheads="1"/>
            </p:cNvSpPr>
            <p:nvPr/>
          </p:nvSpPr>
          <p:spPr bwMode="auto">
            <a:xfrm>
              <a:off x="3705" y="21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3" name="Oval 3148">
              <a:extLst>
                <a:ext uri="{FF2B5EF4-FFF2-40B4-BE49-F238E27FC236}">
                  <a16:creationId xmlns:a16="http://schemas.microsoft.com/office/drawing/2014/main" id="{1D9F093E-3748-4313-A127-09EE35129FB0}"/>
                </a:ext>
              </a:extLst>
            </p:cNvPr>
            <p:cNvSpPr>
              <a:spLocks noChangeArrowheads="1"/>
            </p:cNvSpPr>
            <p:nvPr/>
          </p:nvSpPr>
          <p:spPr bwMode="auto">
            <a:xfrm>
              <a:off x="36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4" name="Oval 3149">
              <a:extLst>
                <a:ext uri="{FF2B5EF4-FFF2-40B4-BE49-F238E27FC236}">
                  <a16:creationId xmlns:a16="http://schemas.microsoft.com/office/drawing/2014/main" id="{52ACBA3D-F23A-4345-8369-2EED768AC518}"/>
                </a:ext>
              </a:extLst>
            </p:cNvPr>
            <p:cNvSpPr>
              <a:spLocks noChangeArrowheads="1"/>
            </p:cNvSpPr>
            <p:nvPr/>
          </p:nvSpPr>
          <p:spPr bwMode="auto">
            <a:xfrm>
              <a:off x="4154"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5" name="Oval 3150">
              <a:extLst>
                <a:ext uri="{FF2B5EF4-FFF2-40B4-BE49-F238E27FC236}">
                  <a16:creationId xmlns:a16="http://schemas.microsoft.com/office/drawing/2014/main" id="{CB12ED2C-2BE3-433E-A001-4488ABBE1172}"/>
                </a:ext>
              </a:extLst>
            </p:cNvPr>
            <p:cNvSpPr>
              <a:spLocks noChangeArrowheads="1"/>
            </p:cNvSpPr>
            <p:nvPr/>
          </p:nvSpPr>
          <p:spPr bwMode="auto">
            <a:xfrm>
              <a:off x="4274"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6" name="Oval 3151">
              <a:extLst>
                <a:ext uri="{FF2B5EF4-FFF2-40B4-BE49-F238E27FC236}">
                  <a16:creationId xmlns:a16="http://schemas.microsoft.com/office/drawing/2014/main" id="{11589D7C-D79C-4D4B-9F37-902AEBB65611}"/>
                </a:ext>
              </a:extLst>
            </p:cNvPr>
            <p:cNvSpPr>
              <a:spLocks noChangeArrowheads="1"/>
            </p:cNvSpPr>
            <p:nvPr/>
          </p:nvSpPr>
          <p:spPr bwMode="auto">
            <a:xfrm>
              <a:off x="409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7" name="Oval 3152">
              <a:extLst>
                <a:ext uri="{FF2B5EF4-FFF2-40B4-BE49-F238E27FC236}">
                  <a16:creationId xmlns:a16="http://schemas.microsoft.com/office/drawing/2014/main" id="{0A68C9F7-FE1D-44E8-9578-489CED4ABDC1}"/>
                </a:ext>
              </a:extLst>
            </p:cNvPr>
            <p:cNvSpPr>
              <a:spLocks noChangeArrowheads="1"/>
            </p:cNvSpPr>
            <p:nvPr/>
          </p:nvSpPr>
          <p:spPr bwMode="auto">
            <a:xfrm>
              <a:off x="397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8" name="Oval 3153">
              <a:extLst>
                <a:ext uri="{FF2B5EF4-FFF2-40B4-BE49-F238E27FC236}">
                  <a16:creationId xmlns:a16="http://schemas.microsoft.com/office/drawing/2014/main" id="{0A1399DD-57A7-422D-857A-B393769F78A6}"/>
                </a:ext>
              </a:extLst>
            </p:cNvPr>
            <p:cNvSpPr>
              <a:spLocks noChangeArrowheads="1"/>
            </p:cNvSpPr>
            <p:nvPr/>
          </p:nvSpPr>
          <p:spPr bwMode="auto">
            <a:xfrm>
              <a:off x="385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99" name="Oval 3154">
              <a:extLst>
                <a:ext uri="{FF2B5EF4-FFF2-40B4-BE49-F238E27FC236}">
                  <a16:creationId xmlns:a16="http://schemas.microsoft.com/office/drawing/2014/main" id="{DE3A452E-F582-49BB-A664-7B08FC59A4FC}"/>
                </a:ext>
              </a:extLst>
            </p:cNvPr>
            <p:cNvSpPr>
              <a:spLocks noChangeArrowheads="1"/>
            </p:cNvSpPr>
            <p:nvPr/>
          </p:nvSpPr>
          <p:spPr bwMode="auto">
            <a:xfrm>
              <a:off x="3794"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0" name="Oval 3155">
              <a:extLst>
                <a:ext uri="{FF2B5EF4-FFF2-40B4-BE49-F238E27FC236}">
                  <a16:creationId xmlns:a16="http://schemas.microsoft.com/office/drawing/2014/main" id="{019DF523-CF6C-49E5-8593-A7C8FC241DD3}"/>
                </a:ext>
              </a:extLst>
            </p:cNvPr>
            <p:cNvSpPr>
              <a:spLocks noChangeArrowheads="1"/>
            </p:cNvSpPr>
            <p:nvPr/>
          </p:nvSpPr>
          <p:spPr bwMode="auto">
            <a:xfrm>
              <a:off x="36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1" name="Oval 3156">
              <a:extLst>
                <a:ext uri="{FF2B5EF4-FFF2-40B4-BE49-F238E27FC236}">
                  <a16:creationId xmlns:a16="http://schemas.microsoft.com/office/drawing/2014/main" id="{F1DFAC09-AEFE-4C02-9E4C-526B7BCFE20E}"/>
                </a:ext>
              </a:extLst>
            </p:cNvPr>
            <p:cNvSpPr>
              <a:spLocks noChangeArrowheads="1"/>
            </p:cNvSpPr>
            <p:nvPr/>
          </p:nvSpPr>
          <p:spPr bwMode="auto">
            <a:xfrm>
              <a:off x="409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2" name="Oval 3157">
              <a:extLst>
                <a:ext uri="{FF2B5EF4-FFF2-40B4-BE49-F238E27FC236}">
                  <a16:creationId xmlns:a16="http://schemas.microsoft.com/office/drawing/2014/main" id="{C0FF0DCA-F60C-4D9E-AE68-076EDB7F572D}"/>
                </a:ext>
              </a:extLst>
            </p:cNvPr>
            <p:cNvSpPr>
              <a:spLocks noChangeArrowheads="1"/>
            </p:cNvSpPr>
            <p:nvPr/>
          </p:nvSpPr>
          <p:spPr bwMode="auto">
            <a:xfrm>
              <a:off x="400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3" name="Oval 3158">
              <a:extLst>
                <a:ext uri="{FF2B5EF4-FFF2-40B4-BE49-F238E27FC236}">
                  <a16:creationId xmlns:a16="http://schemas.microsoft.com/office/drawing/2014/main" id="{75BA3193-13CF-4F0D-9D99-B55A2F105B54}"/>
                </a:ext>
              </a:extLst>
            </p:cNvPr>
            <p:cNvSpPr>
              <a:spLocks noChangeArrowheads="1"/>
            </p:cNvSpPr>
            <p:nvPr/>
          </p:nvSpPr>
          <p:spPr bwMode="auto">
            <a:xfrm>
              <a:off x="415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4" name="Oval 3159">
              <a:extLst>
                <a:ext uri="{FF2B5EF4-FFF2-40B4-BE49-F238E27FC236}">
                  <a16:creationId xmlns:a16="http://schemas.microsoft.com/office/drawing/2014/main" id="{EBC93E8D-AE4D-42E5-A558-72BC4A8EEA78}"/>
                </a:ext>
              </a:extLst>
            </p:cNvPr>
            <p:cNvSpPr>
              <a:spLocks noChangeArrowheads="1"/>
            </p:cNvSpPr>
            <p:nvPr/>
          </p:nvSpPr>
          <p:spPr bwMode="auto">
            <a:xfrm>
              <a:off x="424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5" name="Oval 3160">
              <a:extLst>
                <a:ext uri="{FF2B5EF4-FFF2-40B4-BE49-F238E27FC236}">
                  <a16:creationId xmlns:a16="http://schemas.microsoft.com/office/drawing/2014/main" id="{5E84030D-4F95-4330-B45B-2A2F1EF6418F}"/>
                </a:ext>
              </a:extLst>
            </p:cNvPr>
            <p:cNvSpPr>
              <a:spLocks noChangeArrowheads="1"/>
            </p:cNvSpPr>
            <p:nvPr/>
          </p:nvSpPr>
          <p:spPr bwMode="auto">
            <a:xfrm>
              <a:off x="427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6" name="Oval 3161">
              <a:extLst>
                <a:ext uri="{FF2B5EF4-FFF2-40B4-BE49-F238E27FC236}">
                  <a16:creationId xmlns:a16="http://schemas.microsoft.com/office/drawing/2014/main" id="{1DAAEEC2-BA44-474E-923B-F6F4EAB173A5}"/>
                </a:ext>
              </a:extLst>
            </p:cNvPr>
            <p:cNvSpPr>
              <a:spLocks noChangeArrowheads="1"/>
            </p:cNvSpPr>
            <p:nvPr/>
          </p:nvSpPr>
          <p:spPr bwMode="auto">
            <a:xfrm>
              <a:off x="4124"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7" name="Oval 3162">
              <a:extLst>
                <a:ext uri="{FF2B5EF4-FFF2-40B4-BE49-F238E27FC236}">
                  <a16:creationId xmlns:a16="http://schemas.microsoft.com/office/drawing/2014/main" id="{EEA20D7E-7706-491D-910C-22999A233773}"/>
                </a:ext>
              </a:extLst>
            </p:cNvPr>
            <p:cNvSpPr>
              <a:spLocks noChangeArrowheads="1"/>
            </p:cNvSpPr>
            <p:nvPr/>
          </p:nvSpPr>
          <p:spPr bwMode="auto">
            <a:xfrm>
              <a:off x="394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8" name="Oval 3163">
              <a:extLst>
                <a:ext uri="{FF2B5EF4-FFF2-40B4-BE49-F238E27FC236}">
                  <a16:creationId xmlns:a16="http://schemas.microsoft.com/office/drawing/2014/main" id="{34222BA1-0A58-4105-AD02-0103678A78D8}"/>
                </a:ext>
              </a:extLst>
            </p:cNvPr>
            <p:cNvSpPr>
              <a:spLocks noChangeArrowheads="1"/>
            </p:cNvSpPr>
            <p:nvPr/>
          </p:nvSpPr>
          <p:spPr bwMode="auto">
            <a:xfrm>
              <a:off x="3884"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9" name="Oval 3164">
              <a:extLst>
                <a:ext uri="{FF2B5EF4-FFF2-40B4-BE49-F238E27FC236}">
                  <a16:creationId xmlns:a16="http://schemas.microsoft.com/office/drawing/2014/main" id="{60772D31-1C01-4F7F-A9D4-AB8F43417F50}"/>
                </a:ext>
              </a:extLst>
            </p:cNvPr>
            <p:cNvSpPr>
              <a:spLocks noChangeArrowheads="1"/>
            </p:cNvSpPr>
            <p:nvPr/>
          </p:nvSpPr>
          <p:spPr bwMode="auto">
            <a:xfrm>
              <a:off x="376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0" name="Oval 3165">
              <a:extLst>
                <a:ext uri="{FF2B5EF4-FFF2-40B4-BE49-F238E27FC236}">
                  <a16:creationId xmlns:a16="http://schemas.microsoft.com/office/drawing/2014/main" id="{43E2736F-DB1D-46A9-9A96-F0747823BFC7}"/>
                </a:ext>
              </a:extLst>
            </p:cNvPr>
            <p:cNvSpPr>
              <a:spLocks noChangeArrowheads="1"/>
            </p:cNvSpPr>
            <p:nvPr/>
          </p:nvSpPr>
          <p:spPr bwMode="auto">
            <a:xfrm>
              <a:off x="3705" y="30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1" name="Oval 3166">
              <a:extLst>
                <a:ext uri="{FF2B5EF4-FFF2-40B4-BE49-F238E27FC236}">
                  <a16:creationId xmlns:a16="http://schemas.microsoft.com/office/drawing/2014/main" id="{613D0789-B468-4635-B3DF-AC4EB14383EF}"/>
                </a:ext>
              </a:extLst>
            </p:cNvPr>
            <p:cNvSpPr>
              <a:spLocks noChangeArrowheads="1"/>
            </p:cNvSpPr>
            <p:nvPr/>
          </p:nvSpPr>
          <p:spPr bwMode="auto">
            <a:xfrm>
              <a:off x="349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2" name="Oval 3167">
              <a:extLst>
                <a:ext uri="{FF2B5EF4-FFF2-40B4-BE49-F238E27FC236}">
                  <a16:creationId xmlns:a16="http://schemas.microsoft.com/office/drawing/2014/main" id="{CC3FDA7A-78CB-4B05-A6BA-189D13DFAC3C}"/>
                </a:ext>
              </a:extLst>
            </p:cNvPr>
            <p:cNvSpPr>
              <a:spLocks noChangeArrowheads="1"/>
            </p:cNvSpPr>
            <p:nvPr/>
          </p:nvSpPr>
          <p:spPr bwMode="auto">
            <a:xfrm>
              <a:off x="358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13" name="Oval 3168">
              <a:extLst>
                <a:ext uri="{FF2B5EF4-FFF2-40B4-BE49-F238E27FC236}">
                  <a16:creationId xmlns:a16="http://schemas.microsoft.com/office/drawing/2014/main" id="{6E4D89A9-0D24-4174-934B-AE105F7D96C2}"/>
                </a:ext>
              </a:extLst>
            </p:cNvPr>
            <p:cNvSpPr>
              <a:spLocks noChangeArrowheads="1"/>
            </p:cNvSpPr>
            <p:nvPr/>
          </p:nvSpPr>
          <p:spPr bwMode="auto">
            <a:xfrm>
              <a:off x="355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46" name="Group 45">
            <a:extLst>
              <a:ext uri="{FF2B5EF4-FFF2-40B4-BE49-F238E27FC236}">
                <a16:creationId xmlns:a16="http://schemas.microsoft.com/office/drawing/2014/main" id="{1E49B75E-3447-4503-9AF1-23D735A4AB86}"/>
              </a:ext>
            </a:extLst>
          </p:cNvPr>
          <p:cNvGrpSpPr/>
          <p:nvPr/>
        </p:nvGrpSpPr>
        <p:grpSpPr>
          <a:xfrm>
            <a:off x="4057123" y="813489"/>
            <a:ext cx="8477739" cy="3556493"/>
            <a:chOff x="4057123" y="813489"/>
            <a:chExt cx="8477739" cy="3556493"/>
          </a:xfrm>
        </p:grpSpPr>
        <p:sp>
          <p:nvSpPr>
            <p:cNvPr id="1088" name="Oval 1087">
              <a:extLst>
                <a:ext uri="{FF2B5EF4-FFF2-40B4-BE49-F238E27FC236}">
                  <a16:creationId xmlns:a16="http://schemas.microsoft.com/office/drawing/2014/main" id="{ECAD525B-4872-45A5-8335-7C49D0894ACC}"/>
                </a:ext>
              </a:extLst>
            </p:cNvPr>
            <p:cNvSpPr/>
            <p:nvPr/>
          </p:nvSpPr>
          <p:spPr>
            <a:xfrm>
              <a:off x="8892109" y="1095567"/>
              <a:ext cx="3137312" cy="3137312"/>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89" name="Oval 1088">
              <a:extLst>
                <a:ext uri="{FF2B5EF4-FFF2-40B4-BE49-F238E27FC236}">
                  <a16:creationId xmlns:a16="http://schemas.microsoft.com/office/drawing/2014/main" id="{59247A2B-39D7-4499-AA91-1F4761F2FC59}"/>
                </a:ext>
              </a:extLst>
            </p:cNvPr>
            <p:cNvSpPr/>
            <p:nvPr/>
          </p:nvSpPr>
          <p:spPr>
            <a:xfrm>
              <a:off x="4555693" y="1095567"/>
              <a:ext cx="3137312" cy="3137312"/>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cxnSp>
          <p:nvCxnSpPr>
            <p:cNvPr id="1092" name="Straight Connector 1091">
              <a:extLst>
                <a:ext uri="{FF2B5EF4-FFF2-40B4-BE49-F238E27FC236}">
                  <a16:creationId xmlns:a16="http://schemas.microsoft.com/office/drawing/2014/main" id="{5DBBE87C-7CB6-4C63-A7FD-D517D55BB2C2}"/>
                </a:ext>
              </a:extLst>
            </p:cNvPr>
            <p:cNvCxnSpPr>
              <a:cxnSpLocks/>
            </p:cNvCxnSpPr>
            <p:nvPr/>
          </p:nvCxnSpPr>
          <p:spPr>
            <a:xfrm flipV="1">
              <a:off x="9960031" y="3507336"/>
              <a:ext cx="244913" cy="641928"/>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a:extLst>
                <a:ext uri="{FF2B5EF4-FFF2-40B4-BE49-F238E27FC236}">
                  <a16:creationId xmlns:a16="http://schemas.microsoft.com/office/drawing/2014/main" id="{216FFA75-92F8-4DA9-9A80-20C813A11805}"/>
                </a:ext>
              </a:extLst>
            </p:cNvPr>
            <p:cNvCxnSpPr>
              <a:cxnSpLocks/>
            </p:cNvCxnSpPr>
            <p:nvPr/>
          </p:nvCxnSpPr>
          <p:spPr>
            <a:xfrm flipV="1">
              <a:off x="10946551" y="1336566"/>
              <a:ext cx="313992" cy="435961"/>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a:extLst>
                <a:ext uri="{FF2B5EF4-FFF2-40B4-BE49-F238E27FC236}">
                  <a16:creationId xmlns:a16="http://schemas.microsoft.com/office/drawing/2014/main" id="{157D3BBD-EF22-47C3-8160-3EC3998D42B5}"/>
                </a:ext>
              </a:extLst>
            </p:cNvPr>
            <p:cNvCxnSpPr>
              <a:cxnSpLocks/>
            </p:cNvCxnSpPr>
            <p:nvPr/>
          </p:nvCxnSpPr>
          <p:spPr>
            <a:xfrm>
              <a:off x="4948184" y="1615530"/>
              <a:ext cx="392240" cy="410031"/>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098" name="Straight Connector 1097">
              <a:extLst>
                <a:ext uri="{FF2B5EF4-FFF2-40B4-BE49-F238E27FC236}">
                  <a16:creationId xmlns:a16="http://schemas.microsoft.com/office/drawing/2014/main" id="{935A090C-05C2-4802-8CE5-8CE5A7D10F2F}"/>
                </a:ext>
              </a:extLst>
            </p:cNvPr>
            <p:cNvCxnSpPr>
              <a:cxnSpLocks/>
            </p:cNvCxnSpPr>
            <p:nvPr/>
          </p:nvCxnSpPr>
          <p:spPr>
            <a:xfrm>
              <a:off x="4320200" y="2687454"/>
              <a:ext cx="5208576" cy="0"/>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a:extLst>
                <a:ext uri="{FF2B5EF4-FFF2-40B4-BE49-F238E27FC236}">
                  <a16:creationId xmlns:a16="http://schemas.microsoft.com/office/drawing/2014/main" id="{36C38D70-A718-46D1-BE37-ACE819CEBC41}"/>
                </a:ext>
              </a:extLst>
            </p:cNvPr>
            <p:cNvCxnSpPr>
              <a:cxnSpLocks/>
            </p:cNvCxnSpPr>
            <p:nvPr/>
          </p:nvCxnSpPr>
          <p:spPr>
            <a:xfrm>
              <a:off x="6965268" y="3463514"/>
              <a:ext cx="311525" cy="209913"/>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sp>
          <p:nvSpPr>
            <p:cNvPr id="1096" name="Oval 1095">
              <a:extLst>
                <a:ext uri="{FF2B5EF4-FFF2-40B4-BE49-F238E27FC236}">
                  <a16:creationId xmlns:a16="http://schemas.microsoft.com/office/drawing/2014/main" id="{7C897FA2-3D9D-475F-B3CD-3D4BAEB39A68}"/>
                </a:ext>
              </a:extLst>
            </p:cNvPr>
            <p:cNvSpPr/>
            <p:nvPr/>
          </p:nvSpPr>
          <p:spPr>
            <a:xfrm>
              <a:off x="4999941" y="1536192"/>
              <a:ext cx="2302523" cy="2302523"/>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97" name="Oval 1096">
              <a:extLst>
                <a:ext uri="{FF2B5EF4-FFF2-40B4-BE49-F238E27FC236}">
                  <a16:creationId xmlns:a16="http://schemas.microsoft.com/office/drawing/2014/main" id="{3A4264C7-DADB-4632-9B2D-C1E4B12AD17F}"/>
                </a:ext>
              </a:extLst>
            </p:cNvPr>
            <p:cNvSpPr/>
            <p:nvPr/>
          </p:nvSpPr>
          <p:spPr>
            <a:xfrm>
              <a:off x="9279485" y="1536192"/>
              <a:ext cx="2302523" cy="2302523"/>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pic>
          <p:nvPicPr>
            <p:cNvPr id="1101" name="Picture 1100">
              <a:extLst>
                <a:ext uri="{FF2B5EF4-FFF2-40B4-BE49-F238E27FC236}">
                  <a16:creationId xmlns:a16="http://schemas.microsoft.com/office/drawing/2014/main" id="{44417C28-4E19-43E7-889A-05DF7A6A4DE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838520" y="1294877"/>
              <a:ext cx="571661" cy="571661"/>
            </a:xfrm>
            <a:prstGeom prst="rect">
              <a:avLst/>
            </a:prstGeom>
          </p:spPr>
        </p:pic>
        <p:grpSp>
          <p:nvGrpSpPr>
            <p:cNvPr id="1104" name="Group 1103">
              <a:extLst>
                <a:ext uri="{FF2B5EF4-FFF2-40B4-BE49-F238E27FC236}">
                  <a16:creationId xmlns:a16="http://schemas.microsoft.com/office/drawing/2014/main" id="{47A56BC2-3CC5-442D-9C6B-67F149364611}"/>
                </a:ext>
              </a:extLst>
            </p:cNvPr>
            <p:cNvGrpSpPr/>
            <p:nvPr/>
          </p:nvGrpSpPr>
          <p:grpSpPr>
            <a:xfrm>
              <a:off x="5824406" y="2082895"/>
              <a:ext cx="618697" cy="448449"/>
              <a:chOff x="4207537" y="2273730"/>
              <a:chExt cx="598923" cy="434116"/>
            </a:xfrm>
          </p:grpSpPr>
          <p:grpSp>
            <p:nvGrpSpPr>
              <p:cNvPr id="1256" name="Group 1255">
                <a:extLst>
                  <a:ext uri="{FF2B5EF4-FFF2-40B4-BE49-F238E27FC236}">
                    <a16:creationId xmlns:a16="http://schemas.microsoft.com/office/drawing/2014/main" id="{61E86095-5A07-47CD-B083-E24BF108C1E3}"/>
                  </a:ext>
                </a:extLst>
              </p:cNvPr>
              <p:cNvGrpSpPr/>
              <p:nvPr/>
            </p:nvGrpSpPr>
            <p:grpSpPr>
              <a:xfrm>
                <a:off x="4207537" y="2273730"/>
                <a:ext cx="179387" cy="434116"/>
                <a:chOff x="2330274" y="3840316"/>
                <a:chExt cx="238125" cy="576262"/>
              </a:xfrm>
            </p:grpSpPr>
            <p:sp>
              <p:nvSpPr>
                <p:cNvPr id="1271" name="Freeform 201">
                  <a:extLst>
                    <a:ext uri="{FF2B5EF4-FFF2-40B4-BE49-F238E27FC236}">
                      <a16:creationId xmlns:a16="http://schemas.microsoft.com/office/drawing/2014/main" id="{2FE2E0FD-132B-4A4E-82F5-35CA856CA0C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2" name="Line 202">
                  <a:extLst>
                    <a:ext uri="{FF2B5EF4-FFF2-40B4-BE49-F238E27FC236}">
                      <a16:creationId xmlns:a16="http://schemas.microsoft.com/office/drawing/2014/main" id="{38D84CB1-9668-47AE-B041-8DACB8CFA5E6}"/>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3" name="Line 203">
                  <a:extLst>
                    <a:ext uri="{FF2B5EF4-FFF2-40B4-BE49-F238E27FC236}">
                      <a16:creationId xmlns:a16="http://schemas.microsoft.com/office/drawing/2014/main" id="{E5EDAB08-4A32-46F2-B305-33B9310835D2}"/>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4" name="Line 204">
                  <a:extLst>
                    <a:ext uri="{FF2B5EF4-FFF2-40B4-BE49-F238E27FC236}">
                      <a16:creationId xmlns:a16="http://schemas.microsoft.com/office/drawing/2014/main" id="{E01647F8-35DC-4CD3-B58E-D88A30D20941}"/>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5" name="Line 205">
                  <a:extLst>
                    <a:ext uri="{FF2B5EF4-FFF2-40B4-BE49-F238E27FC236}">
                      <a16:creationId xmlns:a16="http://schemas.microsoft.com/office/drawing/2014/main" id="{13389686-D13C-483C-B6C6-E4D13537B9B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6" name="Line 206">
                  <a:extLst>
                    <a:ext uri="{FF2B5EF4-FFF2-40B4-BE49-F238E27FC236}">
                      <a16:creationId xmlns:a16="http://schemas.microsoft.com/office/drawing/2014/main" id="{E9292C39-BC6E-48DE-9A69-5E8468660DF9}"/>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257" name="Group 1256">
                <a:extLst>
                  <a:ext uri="{FF2B5EF4-FFF2-40B4-BE49-F238E27FC236}">
                    <a16:creationId xmlns:a16="http://schemas.microsoft.com/office/drawing/2014/main" id="{BA60F742-40C5-4CB7-99A2-7BA56C8E1FC5}"/>
                  </a:ext>
                </a:extLst>
              </p:cNvPr>
              <p:cNvGrpSpPr/>
              <p:nvPr/>
            </p:nvGrpSpPr>
            <p:grpSpPr>
              <a:xfrm>
                <a:off x="4417305" y="2273730"/>
                <a:ext cx="179387" cy="434116"/>
                <a:chOff x="2330274" y="3840316"/>
                <a:chExt cx="238125" cy="576262"/>
              </a:xfrm>
            </p:grpSpPr>
            <p:sp>
              <p:nvSpPr>
                <p:cNvPr id="1265" name="Freeform 201">
                  <a:extLst>
                    <a:ext uri="{FF2B5EF4-FFF2-40B4-BE49-F238E27FC236}">
                      <a16:creationId xmlns:a16="http://schemas.microsoft.com/office/drawing/2014/main" id="{42945D40-FDC5-4AAF-967C-04C8DDA542B8}"/>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6" name="Line 202">
                  <a:extLst>
                    <a:ext uri="{FF2B5EF4-FFF2-40B4-BE49-F238E27FC236}">
                      <a16:creationId xmlns:a16="http://schemas.microsoft.com/office/drawing/2014/main" id="{E084FB88-D4B3-4760-B009-F2C82314F0A3}"/>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7" name="Line 203">
                  <a:extLst>
                    <a:ext uri="{FF2B5EF4-FFF2-40B4-BE49-F238E27FC236}">
                      <a16:creationId xmlns:a16="http://schemas.microsoft.com/office/drawing/2014/main" id="{D94B69DC-8982-4306-ABC1-A671A25596E7}"/>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8" name="Line 204">
                  <a:extLst>
                    <a:ext uri="{FF2B5EF4-FFF2-40B4-BE49-F238E27FC236}">
                      <a16:creationId xmlns:a16="http://schemas.microsoft.com/office/drawing/2014/main" id="{1B55105F-D4C3-4747-9FCF-23EB6FB41661}"/>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9" name="Line 205">
                  <a:extLst>
                    <a:ext uri="{FF2B5EF4-FFF2-40B4-BE49-F238E27FC236}">
                      <a16:creationId xmlns:a16="http://schemas.microsoft.com/office/drawing/2014/main" id="{DCC52C39-E98A-4F3E-93DC-0C0296A8EDEA}"/>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0" name="Line 206">
                  <a:extLst>
                    <a:ext uri="{FF2B5EF4-FFF2-40B4-BE49-F238E27FC236}">
                      <a16:creationId xmlns:a16="http://schemas.microsoft.com/office/drawing/2014/main" id="{E7141012-8FFF-4B3D-A62E-243FAB7DE38C}"/>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258" name="Group 1257">
                <a:extLst>
                  <a:ext uri="{FF2B5EF4-FFF2-40B4-BE49-F238E27FC236}">
                    <a16:creationId xmlns:a16="http://schemas.microsoft.com/office/drawing/2014/main" id="{DF0D1139-297F-4523-9687-60E57C67C561}"/>
                  </a:ext>
                </a:extLst>
              </p:cNvPr>
              <p:cNvGrpSpPr/>
              <p:nvPr/>
            </p:nvGrpSpPr>
            <p:grpSpPr>
              <a:xfrm>
                <a:off x="4627073" y="2273730"/>
                <a:ext cx="179387" cy="434116"/>
                <a:chOff x="2330274" y="3840316"/>
                <a:chExt cx="238125" cy="576262"/>
              </a:xfrm>
            </p:grpSpPr>
            <p:sp>
              <p:nvSpPr>
                <p:cNvPr id="1259" name="Freeform 201">
                  <a:extLst>
                    <a:ext uri="{FF2B5EF4-FFF2-40B4-BE49-F238E27FC236}">
                      <a16:creationId xmlns:a16="http://schemas.microsoft.com/office/drawing/2014/main" id="{C7033DA3-0F11-4609-BBAE-996B8130483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0" name="Line 202">
                  <a:extLst>
                    <a:ext uri="{FF2B5EF4-FFF2-40B4-BE49-F238E27FC236}">
                      <a16:creationId xmlns:a16="http://schemas.microsoft.com/office/drawing/2014/main" id="{F4508F68-6638-4449-9941-57406C505560}"/>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1" name="Line 203">
                  <a:extLst>
                    <a:ext uri="{FF2B5EF4-FFF2-40B4-BE49-F238E27FC236}">
                      <a16:creationId xmlns:a16="http://schemas.microsoft.com/office/drawing/2014/main" id="{04542A04-D945-44E3-8340-8C76E26CC895}"/>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2" name="Line 204">
                  <a:extLst>
                    <a:ext uri="{FF2B5EF4-FFF2-40B4-BE49-F238E27FC236}">
                      <a16:creationId xmlns:a16="http://schemas.microsoft.com/office/drawing/2014/main" id="{74E80F20-4F23-4DF7-A0AA-E661E24CD9BD}"/>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3" name="Line 205">
                  <a:extLst>
                    <a:ext uri="{FF2B5EF4-FFF2-40B4-BE49-F238E27FC236}">
                      <a16:creationId xmlns:a16="http://schemas.microsoft.com/office/drawing/2014/main" id="{49EC630A-F621-46D3-8750-60755D89AED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64" name="Line 206">
                  <a:extLst>
                    <a:ext uri="{FF2B5EF4-FFF2-40B4-BE49-F238E27FC236}">
                      <a16:creationId xmlns:a16="http://schemas.microsoft.com/office/drawing/2014/main" id="{A3F54C55-E099-45F1-A3A0-657D249524F7}"/>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nvGrpSpPr>
            <p:cNvPr id="1105" name="Group 1104">
              <a:extLst>
                <a:ext uri="{FF2B5EF4-FFF2-40B4-BE49-F238E27FC236}">
                  <a16:creationId xmlns:a16="http://schemas.microsoft.com/office/drawing/2014/main" id="{B6F5B938-05DD-4390-9F87-2676145DB7BB}"/>
                </a:ext>
              </a:extLst>
            </p:cNvPr>
            <p:cNvGrpSpPr/>
            <p:nvPr/>
          </p:nvGrpSpPr>
          <p:grpSpPr>
            <a:xfrm>
              <a:off x="5824406" y="2835347"/>
              <a:ext cx="618697" cy="448449"/>
              <a:chOff x="4207537" y="2273730"/>
              <a:chExt cx="598923" cy="434116"/>
            </a:xfrm>
          </p:grpSpPr>
          <p:grpSp>
            <p:nvGrpSpPr>
              <p:cNvPr id="1235" name="Group 1234">
                <a:extLst>
                  <a:ext uri="{FF2B5EF4-FFF2-40B4-BE49-F238E27FC236}">
                    <a16:creationId xmlns:a16="http://schemas.microsoft.com/office/drawing/2014/main" id="{A8770153-E754-4971-A655-8D4B13748BE2}"/>
                  </a:ext>
                </a:extLst>
              </p:cNvPr>
              <p:cNvGrpSpPr/>
              <p:nvPr/>
            </p:nvGrpSpPr>
            <p:grpSpPr>
              <a:xfrm>
                <a:off x="4207537" y="2273730"/>
                <a:ext cx="179387" cy="434116"/>
                <a:chOff x="2330274" y="3840316"/>
                <a:chExt cx="238125" cy="576262"/>
              </a:xfrm>
            </p:grpSpPr>
            <p:sp>
              <p:nvSpPr>
                <p:cNvPr id="1250" name="Freeform 201">
                  <a:extLst>
                    <a:ext uri="{FF2B5EF4-FFF2-40B4-BE49-F238E27FC236}">
                      <a16:creationId xmlns:a16="http://schemas.microsoft.com/office/drawing/2014/main" id="{7EAA6B92-B3B3-4200-8ECA-3472552C0D9F}"/>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51" name="Line 202">
                  <a:extLst>
                    <a:ext uri="{FF2B5EF4-FFF2-40B4-BE49-F238E27FC236}">
                      <a16:creationId xmlns:a16="http://schemas.microsoft.com/office/drawing/2014/main" id="{253B0655-ACC7-4E24-B743-5A229BFE78BA}"/>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52" name="Line 203">
                  <a:extLst>
                    <a:ext uri="{FF2B5EF4-FFF2-40B4-BE49-F238E27FC236}">
                      <a16:creationId xmlns:a16="http://schemas.microsoft.com/office/drawing/2014/main" id="{F98338A8-4AFD-4475-B4FD-62DC8A13B13C}"/>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53" name="Line 204">
                  <a:extLst>
                    <a:ext uri="{FF2B5EF4-FFF2-40B4-BE49-F238E27FC236}">
                      <a16:creationId xmlns:a16="http://schemas.microsoft.com/office/drawing/2014/main" id="{C1ACDE9B-B0C5-4BA2-8B98-4F5D070C5C06}"/>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54" name="Line 205">
                  <a:extLst>
                    <a:ext uri="{FF2B5EF4-FFF2-40B4-BE49-F238E27FC236}">
                      <a16:creationId xmlns:a16="http://schemas.microsoft.com/office/drawing/2014/main" id="{83636DAA-4AFC-4DB7-A393-29C5239BC174}"/>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55" name="Line 206">
                  <a:extLst>
                    <a:ext uri="{FF2B5EF4-FFF2-40B4-BE49-F238E27FC236}">
                      <a16:creationId xmlns:a16="http://schemas.microsoft.com/office/drawing/2014/main" id="{0FFBD438-4EBB-4595-9BE1-EBCE06AAAA5A}"/>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236" name="Group 1235">
                <a:extLst>
                  <a:ext uri="{FF2B5EF4-FFF2-40B4-BE49-F238E27FC236}">
                    <a16:creationId xmlns:a16="http://schemas.microsoft.com/office/drawing/2014/main" id="{59F60D86-2128-439E-B730-1788275FB9B3}"/>
                  </a:ext>
                </a:extLst>
              </p:cNvPr>
              <p:cNvGrpSpPr/>
              <p:nvPr/>
            </p:nvGrpSpPr>
            <p:grpSpPr>
              <a:xfrm>
                <a:off x="4417305" y="2273730"/>
                <a:ext cx="179387" cy="434116"/>
                <a:chOff x="2330274" y="3840316"/>
                <a:chExt cx="238125" cy="576262"/>
              </a:xfrm>
            </p:grpSpPr>
            <p:sp>
              <p:nvSpPr>
                <p:cNvPr id="1244" name="Freeform 201">
                  <a:extLst>
                    <a:ext uri="{FF2B5EF4-FFF2-40B4-BE49-F238E27FC236}">
                      <a16:creationId xmlns:a16="http://schemas.microsoft.com/office/drawing/2014/main" id="{D495000D-2C69-461F-8D1E-C41A01999F8B}"/>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5" name="Line 202">
                  <a:extLst>
                    <a:ext uri="{FF2B5EF4-FFF2-40B4-BE49-F238E27FC236}">
                      <a16:creationId xmlns:a16="http://schemas.microsoft.com/office/drawing/2014/main" id="{78202EAE-8B73-4675-897E-0717EF435B32}"/>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6" name="Line 203">
                  <a:extLst>
                    <a:ext uri="{FF2B5EF4-FFF2-40B4-BE49-F238E27FC236}">
                      <a16:creationId xmlns:a16="http://schemas.microsoft.com/office/drawing/2014/main" id="{F36490AD-22DF-4389-B8CD-7B00B69CEE6B}"/>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7" name="Line 204">
                  <a:extLst>
                    <a:ext uri="{FF2B5EF4-FFF2-40B4-BE49-F238E27FC236}">
                      <a16:creationId xmlns:a16="http://schemas.microsoft.com/office/drawing/2014/main" id="{C6683717-FE15-49A6-9FEF-7C2313C5A11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8" name="Line 205">
                  <a:extLst>
                    <a:ext uri="{FF2B5EF4-FFF2-40B4-BE49-F238E27FC236}">
                      <a16:creationId xmlns:a16="http://schemas.microsoft.com/office/drawing/2014/main" id="{E20FF068-2FC6-4F05-B748-6BB4137E4F75}"/>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9" name="Line 206">
                  <a:extLst>
                    <a:ext uri="{FF2B5EF4-FFF2-40B4-BE49-F238E27FC236}">
                      <a16:creationId xmlns:a16="http://schemas.microsoft.com/office/drawing/2014/main" id="{A0BA0995-3517-4F58-9089-519A8EB854DE}"/>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237" name="Group 1236">
                <a:extLst>
                  <a:ext uri="{FF2B5EF4-FFF2-40B4-BE49-F238E27FC236}">
                    <a16:creationId xmlns:a16="http://schemas.microsoft.com/office/drawing/2014/main" id="{7F1EF355-DC38-4A61-9605-4B68B1DFBAF7}"/>
                  </a:ext>
                </a:extLst>
              </p:cNvPr>
              <p:cNvGrpSpPr/>
              <p:nvPr/>
            </p:nvGrpSpPr>
            <p:grpSpPr>
              <a:xfrm>
                <a:off x="4627073" y="2273730"/>
                <a:ext cx="179387" cy="434116"/>
                <a:chOff x="2330274" y="3840316"/>
                <a:chExt cx="238125" cy="576262"/>
              </a:xfrm>
            </p:grpSpPr>
            <p:sp>
              <p:nvSpPr>
                <p:cNvPr id="1238" name="Freeform 201">
                  <a:extLst>
                    <a:ext uri="{FF2B5EF4-FFF2-40B4-BE49-F238E27FC236}">
                      <a16:creationId xmlns:a16="http://schemas.microsoft.com/office/drawing/2014/main" id="{81256F26-DBD2-4C57-8DDA-8BC56C6687DF}"/>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39" name="Line 202">
                  <a:extLst>
                    <a:ext uri="{FF2B5EF4-FFF2-40B4-BE49-F238E27FC236}">
                      <a16:creationId xmlns:a16="http://schemas.microsoft.com/office/drawing/2014/main" id="{820BA13E-B1E7-4EA8-ADC2-E239B86121E8}"/>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0" name="Line 203">
                  <a:extLst>
                    <a:ext uri="{FF2B5EF4-FFF2-40B4-BE49-F238E27FC236}">
                      <a16:creationId xmlns:a16="http://schemas.microsoft.com/office/drawing/2014/main" id="{F2940574-7E39-48EE-918A-DEFD80B8C40A}"/>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1" name="Line 204">
                  <a:extLst>
                    <a:ext uri="{FF2B5EF4-FFF2-40B4-BE49-F238E27FC236}">
                      <a16:creationId xmlns:a16="http://schemas.microsoft.com/office/drawing/2014/main" id="{245CF62F-3237-4072-8FC5-7A2D50D6DE4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2" name="Line 205">
                  <a:extLst>
                    <a:ext uri="{FF2B5EF4-FFF2-40B4-BE49-F238E27FC236}">
                      <a16:creationId xmlns:a16="http://schemas.microsoft.com/office/drawing/2014/main" id="{9855FF11-74AE-4FBA-A39B-0E1FC73B5287}"/>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43" name="Line 206">
                  <a:extLst>
                    <a:ext uri="{FF2B5EF4-FFF2-40B4-BE49-F238E27FC236}">
                      <a16:creationId xmlns:a16="http://schemas.microsoft.com/office/drawing/2014/main" id="{82A6E0FE-93AE-48A4-9E58-E25012F44D67}"/>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cxnSp>
          <p:nvCxnSpPr>
            <p:cNvPr id="1106" name="Connector: Elbow 1105">
              <a:extLst>
                <a:ext uri="{FF2B5EF4-FFF2-40B4-BE49-F238E27FC236}">
                  <a16:creationId xmlns:a16="http://schemas.microsoft.com/office/drawing/2014/main" id="{6A905F27-E115-4D43-B72E-382DA596C70B}"/>
                </a:ext>
              </a:extLst>
            </p:cNvPr>
            <p:cNvCxnSpPr>
              <a:cxnSpLocks/>
            </p:cNvCxnSpPr>
            <p:nvPr/>
          </p:nvCxnSpPr>
          <p:spPr>
            <a:xfrm rot="5400000">
              <a:off x="5543377" y="2405535"/>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107" name="Connector: Elbow 1106">
              <a:extLst>
                <a:ext uri="{FF2B5EF4-FFF2-40B4-BE49-F238E27FC236}">
                  <a16:creationId xmlns:a16="http://schemas.microsoft.com/office/drawing/2014/main" id="{0EF5A20C-5B1A-4905-B084-24225CD0DFDF}"/>
                </a:ext>
              </a:extLst>
            </p:cNvPr>
            <p:cNvCxnSpPr>
              <a:cxnSpLocks/>
            </p:cNvCxnSpPr>
            <p:nvPr/>
          </p:nvCxnSpPr>
          <p:spPr>
            <a:xfrm rot="16200000" flipV="1">
              <a:off x="5543377" y="2785822"/>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1109" name="Group 1108">
              <a:extLst>
                <a:ext uri="{FF2B5EF4-FFF2-40B4-BE49-F238E27FC236}">
                  <a16:creationId xmlns:a16="http://schemas.microsoft.com/office/drawing/2014/main" id="{AECD4B3B-E1C4-4C53-97B9-3152DA5320CE}"/>
                </a:ext>
              </a:extLst>
            </p:cNvPr>
            <p:cNvGrpSpPr/>
            <p:nvPr/>
          </p:nvGrpSpPr>
          <p:grpSpPr>
            <a:xfrm>
              <a:off x="5523369" y="2953858"/>
              <a:ext cx="226628" cy="226628"/>
              <a:chOff x="1358899" y="2193925"/>
              <a:chExt cx="390525" cy="390525"/>
            </a:xfrm>
          </p:grpSpPr>
          <p:sp>
            <p:nvSpPr>
              <p:cNvPr id="1227" name="Rectangle: Rounded Corners 1226">
                <a:extLst>
                  <a:ext uri="{FF2B5EF4-FFF2-40B4-BE49-F238E27FC236}">
                    <a16:creationId xmlns:a16="http://schemas.microsoft.com/office/drawing/2014/main" id="{D61E532E-A518-4A08-ABD0-BF2D3001B41E}"/>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228" name="Group 1227">
                <a:extLst>
                  <a:ext uri="{FF2B5EF4-FFF2-40B4-BE49-F238E27FC236}">
                    <a16:creationId xmlns:a16="http://schemas.microsoft.com/office/drawing/2014/main" id="{3FF39792-70C6-4D65-A763-362910EB3FE5}"/>
                  </a:ext>
                </a:extLst>
              </p:cNvPr>
              <p:cNvGrpSpPr/>
              <p:nvPr/>
            </p:nvGrpSpPr>
            <p:grpSpPr>
              <a:xfrm>
                <a:off x="1420588" y="2248963"/>
                <a:ext cx="267146" cy="280448"/>
                <a:chOff x="1401763" y="2228851"/>
                <a:chExt cx="307974" cy="323308"/>
              </a:xfrm>
            </p:grpSpPr>
            <p:grpSp>
              <p:nvGrpSpPr>
                <p:cNvPr id="1229" name="Group 1228">
                  <a:extLst>
                    <a:ext uri="{FF2B5EF4-FFF2-40B4-BE49-F238E27FC236}">
                      <a16:creationId xmlns:a16="http://schemas.microsoft.com/office/drawing/2014/main" id="{B6E05AB4-FB6C-4747-9145-D17C3D025016}"/>
                    </a:ext>
                  </a:extLst>
                </p:cNvPr>
                <p:cNvGrpSpPr/>
                <p:nvPr/>
              </p:nvGrpSpPr>
              <p:grpSpPr>
                <a:xfrm>
                  <a:off x="1482725" y="2295526"/>
                  <a:ext cx="227012" cy="256633"/>
                  <a:chOff x="1482725" y="2276476"/>
                  <a:chExt cx="227012" cy="256633"/>
                </a:xfrm>
                <a:solidFill>
                  <a:schemeClr val="bg2"/>
                </a:solidFill>
              </p:grpSpPr>
              <p:sp>
                <p:nvSpPr>
                  <p:cNvPr id="1233" name="Freeform 33">
                    <a:extLst>
                      <a:ext uri="{FF2B5EF4-FFF2-40B4-BE49-F238E27FC236}">
                        <a16:creationId xmlns:a16="http://schemas.microsoft.com/office/drawing/2014/main" id="{56594A31-7FCB-4AC9-BDCA-DF405BB12860}"/>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34" name="Freeform 33">
                    <a:extLst>
                      <a:ext uri="{FF2B5EF4-FFF2-40B4-BE49-F238E27FC236}">
                        <a16:creationId xmlns:a16="http://schemas.microsoft.com/office/drawing/2014/main" id="{305764C6-B6F0-4217-B153-5A3B48F957DA}"/>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230" name="Group 1229">
                  <a:extLst>
                    <a:ext uri="{FF2B5EF4-FFF2-40B4-BE49-F238E27FC236}">
                      <a16:creationId xmlns:a16="http://schemas.microsoft.com/office/drawing/2014/main" id="{8CCA174D-F24B-4373-BCE0-296E08397A3A}"/>
                    </a:ext>
                  </a:extLst>
                </p:cNvPr>
                <p:cNvGrpSpPr/>
                <p:nvPr/>
              </p:nvGrpSpPr>
              <p:grpSpPr>
                <a:xfrm flipH="1">
                  <a:off x="1401763" y="2228851"/>
                  <a:ext cx="227012" cy="256633"/>
                  <a:chOff x="1482725" y="2276476"/>
                  <a:chExt cx="227012" cy="256633"/>
                </a:xfrm>
              </p:grpSpPr>
              <p:sp>
                <p:nvSpPr>
                  <p:cNvPr id="1231" name="Freeform 33">
                    <a:extLst>
                      <a:ext uri="{FF2B5EF4-FFF2-40B4-BE49-F238E27FC236}">
                        <a16:creationId xmlns:a16="http://schemas.microsoft.com/office/drawing/2014/main" id="{36ADBDD9-7AE6-4006-846C-B40AB4941BC0}"/>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32" name="Freeform 33">
                    <a:extLst>
                      <a:ext uri="{FF2B5EF4-FFF2-40B4-BE49-F238E27FC236}">
                        <a16:creationId xmlns:a16="http://schemas.microsoft.com/office/drawing/2014/main" id="{0EE1E42B-4FF3-4245-8161-B50C47661233}"/>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grpSp>
          <p:nvGrpSpPr>
            <p:cNvPr id="1110" name="Group 1109">
              <a:extLst>
                <a:ext uri="{FF2B5EF4-FFF2-40B4-BE49-F238E27FC236}">
                  <a16:creationId xmlns:a16="http://schemas.microsoft.com/office/drawing/2014/main" id="{4F019E5E-ABFF-46CE-BA31-72A2FE604914}"/>
                </a:ext>
              </a:extLst>
            </p:cNvPr>
            <p:cNvGrpSpPr/>
            <p:nvPr/>
          </p:nvGrpSpPr>
          <p:grpSpPr>
            <a:xfrm>
              <a:off x="5523369" y="2210215"/>
              <a:ext cx="226628" cy="226628"/>
              <a:chOff x="1358899" y="2193925"/>
              <a:chExt cx="390525" cy="390525"/>
            </a:xfrm>
          </p:grpSpPr>
          <p:sp>
            <p:nvSpPr>
              <p:cNvPr id="1219" name="Rectangle: Rounded Corners 1218">
                <a:extLst>
                  <a:ext uri="{FF2B5EF4-FFF2-40B4-BE49-F238E27FC236}">
                    <a16:creationId xmlns:a16="http://schemas.microsoft.com/office/drawing/2014/main" id="{EFD23C50-4F7C-4F2F-81C0-5A333A79C420}"/>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220" name="Group 1219">
                <a:extLst>
                  <a:ext uri="{FF2B5EF4-FFF2-40B4-BE49-F238E27FC236}">
                    <a16:creationId xmlns:a16="http://schemas.microsoft.com/office/drawing/2014/main" id="{187B65E3-14B5-48DB-86A7-AB921EEDF4B6}"/>
                  </a:ext>
                </a:extLst>
              </p:cNvPr>
              <p:cNvGrpSpPr/>
              <p:nvPr/>
            </p:nvGrpSpPr>
            <p:grpSpPr>
              <a:xfrm>
                <a:off x="1420588" y="2248963"/>
                <a:ext cx="267146" cy="280448"/>
                <a:chOff x="1401763" y="2228851"/>
                <a:chExt cx="307974" cy="323308"/>
              </a:xfrm>
            </p:grpSpPr>
            <p:grpSp>
              <p:nvGrpSpPr>
                <p:cNvPr id="1221" name="Group 1220">
                  <a:extLst>
                    <a:ext uri="{FF2B5EF4-FFF2-40B4-BE49-F238E27FC236}">
                      <a16:creationId xmlns:a16="http://schemas.microsoft.com/office/drawing/2014/main" id="{18A525AD-1F3F-4B79-8AA9-312457F96445}"/>
                    </a:ext>
                  </a:extLst>
                </p:cNvPr>
                <p:cNvGrpSpPr/>
                <p:nvPr/>
              </p:nvGrpSpPr>
              <p:grpSpPr>
                <a:xfrm>
                  <a:off x="1482725" y="2295526"/>
                  <a:ext cx="227012" cy="256633"/>
                  <a:chOff x="1482725" y="2276476"/>
                  <a:chExt cx="227012" cy="256633"/>
                </a:xfrm>
                <a:solidFill>
                  <a:schemeClr val="bg2"/>
                </a:solidFill>
              </p:grpSpPr>
              <p:sp>
                <p:nvSpPr>
                  <p:cNvPr id="1225" name="Freeform 33">
                    <a:extLst>
                      <a:ext uri="{FF2B5EF4-FFF2-40B4-BE49-F238E27FC236}">
                        <a16:creationId xmlns:a16="http://schemas.microsoft.com/office/drawing/2014/main" id="{DE92D358-4019-401F-8080-274F10EF42F0}"/>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26" name="Freeform 33">
                    <a:extLst>
                      <a:ext uri="{FF2B5EF4-FFF2-40B4-BE49-F238E27FC236}">
                        <a16:creationId xmlns:a16="http://schemas.microsoft.com/office/drawing/2014/main" id="{FBD0BE17-0751-4F43-8BE1-ECC7A16531A6}"/>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222" name="Group 1221">
                  <a:extLst>
                    <a:ext uri="{FF2B5EF4-FFF2-40B4-BE49-F238E27FC236}">
                      <a16:creationId xmlns:a16="http://schemas.microsoft.com/office/drawing/2014/main" id="{71A611A0-89CF-47E5-84CC-39F5B5EA5E63}"/>
                    </a:ext>
                  </a:extLst>
                </p:cNvPr>
                <p:cNvGrpSpPr/>
                <p:nvPr/>
              </p:nvGrpSpPr>
              <p:grpSpPr>
                <a:xfrm flipH="1">
                  <a:off x="1401763" y="2228851"/>
                  <a:ext cx="227012" cy="256633"/>
                  <a:chOff x="1482725" y="2276476"/>
                  <a:chExt cx="227012" cy="256633"/>
                </a:xfrm>
              </p:grpSpPr>
              <p:sp>
                <p:nvSpPr>
                  <p:cNvPr id="1223" name="Freeform 33">
                    <a:extLst>
                      <a:ext uri="{FF2B5EF4-FFF2-40B4-BE49-F238E27FC236}">
                        <a16:creationId xmlns:a16="http://schemas.microsoft.com/office/drawing/2014/main" id="{E9318A66-9B67-47CB-B52C-C8E215680A1B}"/>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24" name="Freeform 33">
                    <a:extLst>
                      <a:ext uri="{FF2B5EF4-FFF2-40B4-BE49-F238E27FC236}">
                        <a16:creationId xmlns:a16="http://schemas.microsoft.com/office/drawing/2014/main" id="{C8430B40-52A8-41FB-8C9E-8EB21258EA1F}"/>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grpSp>
          <p:nvGrpSpPr>
            <p:cNvPr id="1111" name="Group 1110">
              <a:extLst>
                <a:ext uri="{FF2B5EF4-FFF2-40B4-BE49-F238E27FC236}">
                  <a16:creationId xmlns:a16="http://schemas.microsoft.com/office/drawing/2014/main" id="{C66F0EB7-59D0-454E-9C9F-A10FA97453C2}"/>
                </a:ext>
              </a:extLst>
            </p:cNvPr>
            <p:cNvGrpSpPr/>
            <p:nvPr/>
          </p:nvGrpSpPr>
          <p:grpSpPr>
            <a:xfrm>
              <a:off x="4897043" y="2465614"/>
              <a:ext cx="443632" cy="443680"/>
              <a:chOff x="542940" y="1857375"/>
              <a:chExt cx="914400" cy="914494"/>
            </a:xfrm>
          </p:grpSpPr>
          <p:sp>
            <p:nvSpPr>
              <p:cNvPr id="1181" name="Oval 1180">
                <a:extLst>
                  <a:ext uri="{FF2B5EF4-FFF2-40B4-BE49-F238E27FC236}">
                    <a16:creationId xmlns:a16="http://schemas.microsoft.com/office/drawing/2014/main" id="{F24A5F8A-AB0D-4769-A870-97672370BC86}"/>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182" name="Group 4">
                <a:extLst>
                  <a:ext uri="{FF2B5EF4-FFF2-40B4-BE49-F238E27FC236}">
                    <a16:creationId xmlns:a16="http://schemas.microsoft.com/office/drawing/2014/main" id="{46B5D687-8DB5-4778-B63C-8A4EA8F5E792}"/>
                  </a:ext>
                </a:extLst>
              </p:cNvPr>
              <p:cNvGrpSpPr>
                <a:grpSpLocks noChangeAspect="1"/>
              </p:cNvGrpSpPr>
              <p:nvPr/>
            </p:nvGrpSpPr>
            <p:grpSpPr bwMode="auto">
              <a:xfrm>
                <a:off x="543174" y="1857375"/>
                <a:ext cx="913932" cy="914494"/>
                <a:chOff x="1261" y="0"/>
                <a:chExt cx="3238" cy="3240"/>
              </a:xfrm>
              <a:solidFill>
                <a:schemeClr val="tx2"/>
              </a:solidFill>
            </p:grpSpPr>
            <p:sp>
              <p:nvSpPr>
                <p:cNvPr id="1183" name="Freeform 5">
                  <a:extLst>
                    <a:ext uri="{FF2B5EF4-FFF2-40B4-BE49-F238E27FC236}">
                      <a16:creationId xmlns:a16="http://schemas.microsoft.com/office/drawing/2014/main" id="{6236E3AF-9147-475B-A819-DE3762F44356}"/>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84" name="Freeform 6">
                  <a:extLst>
                    <a:ext uri="{FF2B5EF4-FFF2-40B4-BE49-F238E27FC236}">
                      <a16:creationId xmlns:a16="http://schemas.microsoft.com/office/drawing/2014/main" id="{B8AD4BE2-4A59-4491-A2E6-64836F2877D7}"/>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85" name="Freeform 7">
                  <a:extLst>
                    <a:ext uri="{FF2B5EF4-FFF2-40B4-BE49-F238E27FC236}">
                      <a16:creationId xmlns:a16="http://schemas.microsoft.com/office/drawing/2014/main" id="{5F00A554-3703-447B-A0FF-770525357AB5}"/>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86" name="Freeform 8">
                  <a:extLst>
                    <a:ext uri="{FF2B5EF4-FFF2-40B4-BE49-F238E27FC236}">
                      <a16:creationId xmlns:a16="http://schemas.microsoft.com/office/drawing/2014/main" id="{ED471BD7-7E74-4F23-9306-1B5CE5FE48A2}"/>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87" name="Freeform 9">
                  <a:extLst>
                    <a:ext uri="{FF2B5EF4-FFF2-40B4-BE49-F238E27FC236}">
                      <a16:creationId xmlns:a16="http://schemas.microsoft.com/office/drawing/2014/main" id="{AA1F5BB5-1C59-4475-8953-7261BE0A1A01}"/>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88" name="Freeform 10">
                  <a:extLst>
                    <a:ext uri="{FF2B5EF4-FFF2-40B4-BE49-F238E27FC236}">
                      <a16:creationId xmlns:a16="http://schemas.microsoft.com/office/drawing/2014/main" id="{5841E74F-3DEA-4EE6-A2FA-273BA8B392FF}"/>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89" name="Freeform 11">
                  <a:extLst>
                    <a:ext uri="{FF2B5EF4-FFF2-40B4-BE49-F238E27FC236}">
                      <a16:creationId xmlns:a16="http://schemas.microsoft.com/office/drawing/2014/main" id="{A096CEE8-FFE7-4856-BE46-FF46B32E019E}"/>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0" name="Freeform 12">
                  <a:extLst>
                    <a:ext uri="{FF2B5EF4-FFF2-40B4-BE49-F238E27FC236}">
                      <a16:creationId xmlns:a16="http://schemas.microsoft.com/office/drawing/2014/main" id="{9B768D9B-5689-4997-BDC7-8723C0C3CD13}"/>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1" name="Freeform 13">
                  <a:extLst>
                    <a:ext uri="{FF2B5EF4-FFF2-40B4-BE49-F238E27FC236}">
                      <a16:creationId xmlns:a16="http://schemas.microsoft.com/office/drawing/2014/main" id="{BC23CE1F-3C3F-46EA-BCD9-B957443C1429}"/>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2" name="Freeform 14">
                  <a:extLst>
                    <a:ext uri="{FF2B5EF4-FFF2-40B4-BE49-F238E27FC236}">
                      <a16:creationId xmlns:a16="http://schemas.microsoft.com/office/drawing/2014/main" id="{B1A87A2E-E200-4A7D-A9EB-5C6C9DF2DF5C}"/>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3" name="Freeform 15">
                  <a:extLst>
                    <a:ext uri="{FF2B5EF4-FFF2-40B4-BE49-F238E27FC236}">
                      <a16:creationId xmlns:a16="http://schemas.microsoft.com/office/drawing/2014/main" id="{697027CD-EA25-4D33-88DA-F51CFFCB0C96}"/>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4" name="Freeform 16">
                  <a:extLst>
                    <a:ext uri="{FF2B5EF4-FFF2-40B4-BE49-F238E27FC236}">
                      <a16:creationId xmlns:a16="http://schemas.microsoft.com/office/drawing/2014/main" id="{68681456-FA0E-4D07-B20E-A0C7C981E344}"/>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5" name="Freeform 17">
                  <a:extLst>
                    <a:ext uri="{FF2B5EF4-FFF2-40B4-BE49-F238E27FC236}">
                      <a16:creationId xmlns:a16="http://schemas.microsoft.com/office/drawing/2014/main" id="{2C9ACB2C-750B-4B1D-8102-06F7AD6267B8}"/>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6" name="Freeform 18">
                  <a:extLst>
                    <a:ext uri="{FF2B5EF4-FFF2-40B4-BE49-F238E27FC236}">
                      <a16:creationId xmlns:a16="http://schemas.microsoft.com/office/drawing/2014/main" id="{39767DE0-2EE9-42EF-8A69-404706E6B9AD}"/>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7" name="Freeform 19">
                  <a:extLst>
                    <a:ext uri="{FF2B5EF4-FFF2-40B4-BE49-F238E27FC236}">
                      <a16:creationId xmlns:a16="http://schemas.microsoft.com/office/drawing/2014/main" id="{0581ABE8-2B4F-4880-AEE9-FB11F8579AAB}"/>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8" name="Freeform 20">
                  <a:extLst>
                    <a:ext uri="{FF2B5EF4-FFF2-40B4-BE49-F238E27FC236}">
                      <a16:creationId xmlns:a16="http://schemas.microsoft.com/office/drawing/2014/main" id="{8B1224FB-9DFC-44A3-8B39-7AD04B21DE23}"/>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99" name="Freeform 21">
                  <a:extLst>
                    <a:ext uri="{FF2B5EF4-FFF2-40B4-BE49-F238E27FC236}">
                      <a16:creationId xmlns:a16="http://schemas.microsoft.com/office/drawing/2014/main" id="{89E512DD-C596-42B0-8C9A-72E2E993D56F}"/>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00" name="Freeform 22">
                  <a:extLst>
                    <a:ext uri="{FF2B5EF4-FFF2-40B4-BE49-F238E27FC236}">
                      <a16:creationId xmlns:a16="http://schemas.microsoft.com/office/drawing/2014/main" id="{CE2F261E-5446-43B8-B521-857FA9E27072}"/>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17" name="Freeform 23">
                  <a:extLst>
                    <a:ext uri="{FF2B5EF4-FFF2-40B4-BE49-F238E27FC236}">
                      <a16:creationId xmlns:a16="http://schemas.microsoft.com/office/drawing/2014/main" id="{02783F0C-E078-44DA-934E-0E3D34FDDBE3}"/>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18" name="Freeform 24">
                  <a:extLst>
                    <a:ext uri="{FF2B5EF4-FFF2-40B4-BE49-F238E27FC236}">
                      <a16:creationId xmlns:a16="http://schemas.microsoft.com/office/drawing/2014/main" id="{82D339B1-281D-408D-AD03-B44CC7EA7873}"/>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cxnSp>
          <p:nvCxnSpPr>
            <p:cNvPr id="1115" name="Straight Connector 1114">
              <a:extLst>
                <a:ext uri="{FF2B5EF4-FFF2-40B4-BE49-F238E27FC236}">
                  <a16:creationId xmlns:a16="http://schemas.microsoft.com/office/drawing/2014/main" id="{7A5DF334-5EE7-45D1-9527-DA6AA08979BF}"/>
                </a:ext>
              </a:extLst>
            </p:cNvPr>
            <p:cNvCxnSpPr>
              <a:cxnSpLocks/>
            </p:cNvCxnSpPr>
            <p:nvPr/>
          </p:nvCxnSpPr>
          <p:spPr>
            <a:xfrm>
              <a:off x="4398696" y="2686563"/>
              <a:ext cx="1235996" cy="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1116" name="Rectangle 1115">
              <a:extLst>
                <a:ext uri="{FF2B5EF4-FFF2-40B4-BE49-F238E27FC236}">
                  <a16:creationId xmlns:a16="http://schemas.microsoft.com/office/drawing/2014/main" id="{AFCAD661-E996-4E51-AD77-0FFAE33AE756}"/>
                </a:ext>
              </a:extLst>
            </p:cNvPr>
            <p:cNvSpPr/>
            <p:nvPr/>
          </p:nvSpPr>
          <p:spPr>
            <a:xfrm>
              <a:off x="4057123" y="813489"/>
              <a:ext cx="8477739" cy="355649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923" name="Oval 3922">
              <a:extLst>
                <a:ext uri="{FF2B5EF4-FFF2-40B4-BE49-F238E27FC236}">
                  <a16:creationId xmlns:a16="http://schemas.microsoft.com/office/drawing/2014/main" id="{EDD9DF60-CF4A-4E62-B605-9C62D47FA02B}"/>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924" name="Oval 3923">
              <a:extLst>
                <a:ext uri="{FF2B5EF4-FFF2-40B4-BE49-F238E27FC236}">
                  <a16:creationId xmlns:a16="http://schemas.microsoft.com/office/drawing/2014/main" id="{CEA2CAF9-7670-4FF3-BA60-DE9EBBE52AAA}"/>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925" name="Oval 3924">
              <a:extLst>
                <a:ext uri="{FF2B5EF4-FFF2-40B4-BE49-F238E27FC236}">
                  <a16:creationId xmlns:a16="http://schemas.microsoft.com/office/drawing/2014/main" id="{0BAA4953-69E6-499E-98FB-D128ECF8158A}"/>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926" name="Oval 3925">
              <a:extLst>
                <a:ext uri="{FF2B5EF4-FFF2-40B4-BE49-F238E27FC236}">
                  <a16:creationId xmlns:a16="http://schemas.microsoft.com/office/drawing/2014/main" id="{2267772E-7B12-4A53-8FB6-B31236801004}"/>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927" name="Oval 3926">
              <a:extLst>
                <a:ext uri="{FF2B5EF4-FFF2-40B4-BE49-F238E27FC236}">
                  <a16:creationId xmlns:a16="http://schemas.microsoft.com/office/drawing/2014/main" id="{5B6C467E-381D-4F00-9037-374784FBAAFF}"/>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928" name="Oval 3927">
              <a:extLst>
                <a:ext uri="{FF2B5EF4-FFF2-40B4-BE49-F238E27FC236}">
                  <a16:creationId xmlns:a16="http://schemas.microsoft.com/office/drawing/2014/main" id="{20ACE7DC-C8D3-4BA3-9211-1C64FB762854}"/>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075" name="Freeform: Shape 1074">
              <a:extLst>
                <a:ext uri="{FF2B5EF4-FFF2-40B4-BE49-F238E27FC236}">
                  <a16:creationId xmlns:a16="http://schemas.microsoft.com/office/drawing/2014/main" id="{0ACB2083-D75F-4AFC-B254-00D0DCD1D982}"/>
                </a:ext>
              </a:extLst>
            </p:cNvPr>
            <p:cNvSpPr>
              <a:spLocks noChangeArrowheads="1"/>
            </p:cNvSpPr>
            <p:nvPr>
              <p:custDataLst>
                <p:tags r:id="rId2"/>
              </p:custDataLst>
            </p:nvPr>
          </p:nvSpPr>
          <p:spPr bwMode="auto">
            <a:xfrm>
              <a:off x="4057123" y="813489"/>
              <a:ext cx="8477739" cy="3556492"/>
            </a:xfrm>
            <a:custGeom>
              <a:avLst/>
              <a:gdLst>
                <a:gd name="connsiteX0" fmla="*/ 4794585 w 6374240"/>
                <a:gd name="connsiteY0" fmla="*/ 259675 h 2674054"/>
                <a:gd name="connsiteX1" fmla="*/ 3655701 w 6374240"/>
                <a:gd name="connsiteY1" fmla="*/ 1395157 h 2674054"/>
                <a:gd name="connsiteX2" fmla="*/ 4794585 w 6374240"/>
                <a:gd name="connsiteY2" fmla="*/ 2530639 h 2674054"/>
                <a:gd name="connsiteX3" fmla="*/ 5933469 w 6374240"/>
                <a:gd name="connsiteY3" fmla="*/ 1395157 h 2674054"/>
                <a:gd name="connsiteX4" fmla="*/ 4794585 w 6374240"/>
                <a:gd name="connsiteY4" fmla="*/ 259675 h 2674054"/>
                <a:gd name="connsiteX5" fmla="*/ 1574605 w 6374240"/>
                <a:gd name="connsiteY5" fmla="*/ 259673 h 2674054"/>
                <a:gd name="connsiteX6" fmla="*/ 428923 w 6374240"/>
                <a:gd name="connsiteY6" fmla="*/ 1395156 h 2674054"/>
                <a:gd name="connsiteX7" fmla="*/ 1574605 w 6374240"/>
                <a:gd name="connsiteY7" fmla="*/ 2530639 h 2674054"/>
                <a:gd name="connsiteX8" fmla="*/ 2720287 w 6374240"/>
                <a:gd name="connsiteY8" fmla="*/ 1395156 h 2674054"/>
                <a:gd name="connsiteX9" fmla="*/ 1574605 w 6374240"/>
                <a:gd name="connsiteY9" fmla="*/ 259673 h 2674054"/>
                <a:gd name="connsiteX10" fmla="*/ 3181118 w 6374240"/>
                <a:gd name="connsiteY10" fmla="*/ 0 h 2674054"/>
                <a:gd name="connsiteX11" fmla="*/ 3925380 w 6374240"/>
                <a:gd name="connsiteY11" fmla="*/ 455668 h 2674054"/>
                <a:gd name="connsiteX12" fmla="*/ 4789683 w 6374240"/>
                <a:gd name="connsiteY12" fmla="*/ 119913 h 2674054"/>
                <a:gd name="connsiteX13" fmla="*/ 5822046 w 6374240"/>
                <a:gd name="connsiteY13" fmla="*/ 635538 h 2674054"/>
                <a:gd name="connsiteX14" fmla="*/ 6374240 w 6374240"/>
                <a:gd name="connsiteY14" fmla="*/ 1390988 h 2674054"/>
                <a:gd name="connsiteX15" fmla="*/ 5822046 w 6374240"/>
                <a:gd name="connsiteY15" fmla="*/ 2158429 h 2674054"/>
                <a:gd name="connsiteX16" fmla="*/ 4789683 w 6374240"/>
                <a:gd name="connsiteY16" fmla="*/ 2674054 h 2674054"/>
                <a:gd name="connsiteX17" fmla="*/ 3529240 w 6374240"/>
                <a:gd name="connsiteY17" fmla="*/ 1606831 h 2674054"/>
                <a:gd name="connsiteX18" fmla="*/ 3181118 w 6374240"/>
                <a:gd name="connsiteY18" fmla="*/ 1678778 h 2674054"/>
                <a:gd name="connsiteX19" fmla="*/ 2832996 w 6374240"/>
                <a:gd name="connsiteY19" fmla="*/ 1606831 h 2674054"/>
                <a:gd name="connsiteX20" fmla="*/ 1572553 w 6374240"/>
                <a:gd name="connsiteY20" fmla="*/ 2674054 h 2674054"/>
                <a:gd name="connsiteX21" fmla="*/ 540190 w 6374240"/>
                <a:gd name="connsiteY21" fmla="*/ 2158429 h 2674054"/>
                <a:gd name="connsiteX22" fmla="*/ 0 w 6374240"/>
                <a:gd name="connsiteY22" fmla="*/ 1390988 h 2674054"/>
                <a:gd name="connsiteX23" fmla="*/ 540190 w 6374240"/>
                <a:gd name="connsiteY23" fmla="*/ 635538 h 2674054"/>
                <a:gd name="connsiteX24" fmla="*/ 1572553 w 6374240"/>
                <a:gd name="connsiteY24" fmla="*/ 119913 h 2674054"/>
                <a:gd name="connsiteX25" fmla="*/ 2436856 w 6374240"/>
                <a:gd name="connsiteY25" fmla="*/ 455668 h 2674054"/>
                <a:gd name="connsiteX26" fmla="*/ 3181118 w 6374240"/>
                <a:gd name="connsiteY26" fmla="*/ 0 h 26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74240" h="2674054">
                  <a:moveTo>
                    <a:pt x="4794585" y="259675"/>
                  </a:moveTo>
                  <a:cubicBezTo>
                    <a:pt x="4165597" y="259675"/>
                    <a:pt x="3655701" y="768048"/>
                    <a:pt x="3655701" y="1395157"/>
                  </a:cubicBezTo>
                  <a:cubicBezTo>
                    <a:pt x="3655701" y="2022266"/>
                    <a:pt x="4165597" y="2530639"/>
                    <a:pt x="4794585" y="2530639"/>
                  </a:cubicBezTo>
                  <a:cubicBezTo>
                    <a:pt x="5423573" y="2530639"/>
                    <a:pt x="5933469" y="2022266"/>
                    <a:pt x="5933469" y="1395157"/>
                  </a:cubicBezTo>
                  <a:cubicBezTo>
                    <a:pt x="5933469" y="768048"/>
                    <a:pt x="5423573" y="259675"/>
                    <a:pt x="4794585" y="259675"/>
                  </a:cubicBezTo>
                  <a:close/>
                  <a:moveTo>
                    <a:pt x="1574605" y="259673"/>
                  </a:moveTo>
                  <a:cubicBezTo>
                    <a:pt x="941862" y="259673"/>
                    <a:pt x="428923" y="768046"/>
                    <a:pt x="428923" y="1395156"/>
                  </a:cubicBezTo>
                  <a:cubicBezTo>
                    <a:pt x="428923" y="2022266"/>
                    <a:pt x="941862" y="2530639"/>
                    <a:pt x="1574605" y="2530639"/>
                  </a:cubicBezTo>
                  <a:cubicBezTo>
                    <a:pt x="2207348" y="2530639"/>
                    <a:pt x="2720287" y="2022266"/>
                    <a:pt x="2720287" y="1395156"/>
                  </a:cubicBezTo>
                  <a:cubicBezTo>
                    <a:pt x="2720287" y="768046"/>
                    <a:pt x="2207348" y="259673"/>
                    <a:pt x="1574605" y="259673"/>
                  </a:cubicBezTo>
                  <a:close/>
                  <a:moveTo>
                    <a:pt x="3181118" y="0"/>
                  </a:moveTo>
                  <a:cubicBezTo>
                    <a:pt x="3505232" y="0"/>
                    <a:pt x="3793333" y="179869"/>
                    <a:pt x="3925380" y="455668"/>
                  </a:cubicBezTo>
                  <a:cubicBezTo>
                    <a:pt x="4153460" y="239825"/>
                    <a:pt x="4465570" y="119913"/>
                    <a:pt x="4789683" y="119913"/>
                  </a:cubicBezTo>
                  <a:cubicBezTo>
                    <a:pt x="5209831" y="119913"/>
                    <a:pt x="5593966" y="323764"/>
                    <a:pt x="5822046" y="635538"/>
                  </a:cubicBezTo>
                  <a:cubicBezTo>
                    <a:pt x="6146160" y="743459"/>
                    <a:pt x="6374240" y="1043241"/>
                    <a:pt x="6374240" y="1390988"/>
                  </a:cubicBezTo>
                  <a:cubicBezTo>
                    <a:pt x="6374240" y="1750726"/>
                    <a:pt x="6146160" y="2050508"/>
                    <a:pt x="5822046" y="2158429"/>
                  </a:cubicBezTo>
                  <a:cubicBezTo>
                    <a:pt x="5593966" y="2470202"/>
                    <a:pt x="5209831" y="2674054"/>
                    <a:pt x="4789683" y="2674054"/>
                  </a:cubicBezTo>
                  <a:cubicBezTo>
                    <a:pt x="4153460" y="2674054"/>
                    <a:pt x="3625274" y="2206394"/>
                    <a:pt x="3529240" y="1606831"/>
                  </a:cubicBezTo>
                  <a:cubicBezTo>
                    <a:pt x="3421202" y="1654796"/>
                    <a:pt x="3313164" y="1678778"/>
                    <a:pt x="3181118" y="1678778"/>
                  </a:cubicBezTo>
                  <a:cubicBezTo>
                    <a:pt x="3061076" y="1678778"/>
                    <a:pt x="2941034" y="1654796"/>
                    <a:pt x="2832996" y="1606831"/>
                  </a:cubicBezTo>
                  <a:cubicBezTo>
                    <a:pt x="2736962" y="2206394"/>
                    <a:pt x="2208776" y="2674054"/>
                    <a:pt x="1572553" y="2674054"/>
                  </a:cubicBezTo>
                  <a:cubicBezTo>
                    <a:pt x="1152405" y="2674054"/>
                    <a:pt x="780274" y="2470202"/>
                    <a:pt x="540190" y="2158429"/>
                  </a:cubicBezTo>
                  <a:cubicBezTo>
                    <a:pt x="228080" y="2050508"/>
                    <a:pt x="0" y="1750726"/>
                    <a:pt x="0" y="1390988"/>
                  </a:cubicBezTo>
                  <a:cubicBezTo>
                    <a:pt x="0" y="1043241"/>
                    <a:pt x="228080" y="743459"/>
                    <a:pt x="540190" y="635538"/>
                  </a:cubicBezTo>
                  <a:cubicBezTo>
                    <a:pt x="780274" y="323764"/>
                    <a:pt x="1152405" y="119913"/>
                    <a:pt x="1572553" y="119913"/>
                  </a:cubicBezTo>
                  <a:cubicBezTo>
                    <a:pt x="1908671" y="119913"/>
                    <a:pt x="2208776" y="239825"/>
                    <a:pt x="2436856" y="455668"/>
                  </a:cubicBezTo>
                  <a:cubicBezTo>
                    <a:pt x="2580907" y="179869"/>
                    <a:pt x="2857004" y="0"/>
                    <a:pt x="3181118" y="0"/>
                  </a:cubicBezTo>
                  <a:close/>
                </a:path>
              </a:pathLst>
            </a:cu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nvGrpSpPr>
            <p:cNvPr id="80" name="Group 79">
              <a:extLst>
                <a:ext uri="{FF2B5EF4-FFF2-40B4-BE49-F238E27FC236}">
                  <a16:creationId xmlns:a16="http://schemas.microsoft.com/office/drawing/2014/main" id="{CB48258F-BCF1-4975-B43F-1CDCFF07A832}"/>
                </a:ext>
              </a:extLst>
            </p:cNvPr>
            <p:cNvGrpSpPr/>
            <p:nvPr/>
          </p:nvGrpSpPr>
          <p:grpSpPr>
            <a:xfrm>
              <a:off x="4476347" y="2076545"/>
              <a:ext cx="447954" cy="664476"/>
              <a:chOff x="4507478" y="2076545"/>
              <a:chExt cx="447954" cy="664476"/>
            </a:xfrm>
          </p:grpSpPr>
          <p:sp>
            <p:nvSpPr>
              <p:cNvPr id="68" name="Oval 67">
                <a:extLst>
                  <a:ext uri="{FF2B5EF4-FFF2-40B4-BE49-F238E27FC236}">
                    <a16:creationId xmlns:a16="http://schemas.microsoft.com/office/drawing/2014/main" id="{D1606834-F94A-4513-A99C-B5631D4944A3}"/>
                  </a:ext>
                </a:extLst>
              </p:cNvPr>
              <p:cNvSpPr/>
              <p:nvPr/>
            </p:nvSpPr>
            <p:spPr>
              <a:xfrm>
                <a:off x="4676997" y="2632105"/>
                <a:ext cx="108916" cy="108916"/>
              </a:xfrm>
              <a:prstGeom prst="ellipse">
                <a:avLst/>
              </a:prstGeom>
              <a:solidFill>
                <a:schemeClr val="accent6"/>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79" name="Group 78">
                <a:extLst>
                  <a:ext uri="{FF2B5EF4-FFF2-40B4-BE49-F238E27FC236}">
                    <a16:creationId xmlns:a16="http://schemas.microsoft.com/office/drawing/2014/main" id="{AB57FE06-495C-4B6E-8970-09E086B4686E}"/>
                  </a:ext>
                </a:extLst>
              </p:cNvPr>
              <p:cNvGrpSpPr/>
              <p:nvPr/>
            </p:nvGrpSpPr>
            <p:grpSpPr>
              <a:xfrm>
                <a:off x="4507478" y="2076545"/>
                <a:ext cx="447954" cy="534751"/>
                <a:chOff x="4507478" y="2076545"/>
                <a:chExt cx="447954" cy="534751"/>
              </a:xfrm>
            </p:grpSpPr>
            <p:grpSp>
              <p:nvGrpSpPr>
                <p:cNvPr id="71" name="Group 70">
                  <a:extLst>
                    <a:ext uri="{FF2B5EF4-FFF2-40B4-BE49-F238E27FC236}">
                      <a16:creationId xmlns:a16="http://schemas.microsoft.com/office/drawing/2014/main" id="{235817DD-7C53-453A-B4BE-30AC9D85E71A}"/>
                    </a:ext>
                  </a:extLst>
                </p:cNvPr>
                <p:cNvGrpSpPr/>
                <p:nvPr/>
              </p:nvGrpSpPr>
              <p:grpSpPr>
                <a:xfrm>
                  <a:off x="4507478" y="2076545"/>
                  <a:ext cx="447954" cy="534751"/>
                  <a:chOff x="4501128" y="1906926"/>
                  <a:chExt cx="447954" cy="534751"/>
                </a:xfrm>
              </p:grpSpPr>
              <p:sp>
                <p:nvSpPr>
                  <p:cNvPr id="70" name="Isosceles Triangle 69">
                    <a:extLst>
                      <a:ext uri="{FF2B5EF4-FFF2-40B4-BE49-F238E27FC236}">
                        <a16:creationId xmlns:a16="http://schemas.microsoft.com/office/drawing/2014/main" id="{FF992B90-6E23-416C-A65F-3A5137202A8D}"/>
                      </a:ext>
                    </a:extLst>
                  </p:cNvPr>
                  <p:cNvSpPr/>
                  <p:nvPr/>
                </p:nvSpPr>
                <p:spPr>
                  <a:xfrm rot="10800000">
                    <a:off x="4576322" y="2187276"/>
                    <a:ext cx="295105" cy="254401"/>
                  </a:xfrm>
                  <a:prstGeom prst="triangl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69" name="Oval 68">
                    <a:extLst>
                      <a:ext uri="{FF2B5EF4-FFF2-40B4-BE49-F238E27FC236}">
                        <a16:creationId xmlns:a16="http://schemas.microsoft.com/office/drawing/2014/main" id="{CA2F0BA4-8A32-4813-B6AF-5B1DF5E36382}"/>
                      </a:ext>
                    </a:extLst>
                  </p:cNvPr>
                  <p:cNvSpPr/>
                  <p:nvPr/>
                </p:nvSpPr>
                <p:spPr>
                  <a:xfrm>
                    <a:off x="4501128" y="1906926"/>
                    <a:ext cx="447954" cy="447954"/>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grpSp>
              <p:nvGrpSpPr>
                <p:cNvPr id="73" name="Group 4">
                  <a:extLst>
                    <a:ext uri="{FF2B5EF4-FFF2-40B4-BE49-F238E27FC236}">
                      <a16:creationId xmlns:a16="http://schemas.microsoft.com/office/drawing/2014/main" id="{2F914A69-CC50-4F86-9582-7E70C9A3DD5B}"/>
                    </a:ext>
                  </a:extLst>
                </p:cNvPr>
                <p:cNvGrpSpPr>
                  <a:grpSpLocks noChangeAspect="1"/>
                </p:cNvGrpSpPr>
                <p:nvPr/>
              </p:nvGrpSpPr>
              <p:grpSpPr bwMode="auto">
                <a:xfrm>
                  <a:off x="4620142" y="2165010"/>
                  <a:ext cx="211726" cy="243171"/>
                  <a:chOff x="2778" y="1504"/>
                  <a:chExt cx="202" cy="232"/>
                </a:xfrm>
                <a:solidFill>
                  <a:schemeClr val="bg2"/>
                </a:solidFill>
              </p:grpSpPr>
              <p:sp>
                <p:nvSpPr>
                  <p:cNvPr id="75" name="Freeform 5">
                    <a:extLst>
                      <a:ext uri="{FF2B5EF4-FFF2-40B4-BE49-F238E27FC236}">
                        <a16:creationId xmlns:a16="http://schemas.microsoft.com/office/drawing/2014/main" id="{3F295323-C4E9-42BF-A79C-3987DA947122}"/>
                      </a:ext>
                    </a:extLst>
                  </p:cNvPr>
                  <p:cNvSpPr>
                    <a:spLocks noEditPoints="1"/>
                  </p:cNvSpPr>
                  <p:nvPr/>
                </p:nvSpPr>
                <p:spPr bwMode="auto">
                  <a:xfrm>
                    <a:off x="2823" y="1504"/>
                    <a:ext cx="110" cy="136"/>
                  </a:xfrm>
                  <a:custGeom>
                    <a:avLst/>
                    <a:gdLst>
                      <a:gd name="T0" fmla="*/ 8 w 53"/>
                      <a:gd name="T1" fmla="*/ 60 h 66"/>
                      <a:gd name="T2" fmla="*/ 14 w 53"/>
                      <a:gd name="T3" fmla="*/ 66 h 66"/>
                      <a:gd name="T4" fmla="*/ 39 w 53"/>
                      <a:gd name="T5" fmla="*/ 66 h 66"/>
                      <a:gd name="T6" fmla="*/ 45 w 53"/>
                      <a:gd name="T7" fmla="*/ 60 h 66"/>
                      <a:gd name="T8" fmla="*/ 45 w 53"/>
                      <a:gd name="T9" fmla="*/ 50 h 66"/>
                      <a:gd name="T10" fmla="*/ 53 w 53"/>
                      <a:gd name="T11" fmla="*/ 29 h 66"/>
                      <a:gd name="T12" fmla="*/ 27 w 53"/>
                      <a:gd name="T13" fmla="*/ 0 h 66"/>
                      <a:gd name="T14" fmla="*/ 0 w 53"/>
                      <a:gd name="T15" fmla="*/ 29 h 66"/>
                      <a:gd name="T16" fmla="*/ 8 w 53"/>
                      <a:gd name="T17" fmla="*/ 49 h 66"/>
                      <a:gd name="T18" fmla="*/ 8 w 53"/>
                      <a:gd name="T19" fmla="*/ 60 h 66"/>
                      <a:gd name="T20" fmla="*/ 27 w 53"/>
                      <a:gd name="T21" fmla="*/ 12 h 66"/>
                      <a:gd name="T22" fmla="*/ 41 w 53"/>
                      <a:gd name="T23" fmla="*/ 29 h 66"/>
                      <a:gd name="T24" fmla="*/ 35 w 53"/>
                      <a:gd name="T25" fmla="*/ 42 h 66"/>
                      <a:gd name="T26" fmla="*/ 33 w 53"/>
                      <a:gd name="T27" fmla="*/ 47 h 66"/>
                      <a:gd name="T28" fmla="*/ 33 w 53"/>
                      <a:gd name="T29" fmla="*/ 54 h 66"/>
                      <a:gd name="T30" fmla="*/ 20 w 53"/>
                      <a:gd name="T31" fmla="*/ 54 h 66"/>
                      <a:gd name="T32" fmla="*/ 20 w 53"/>
                      <a:gd name="T33" fmla="*/ 46 h 66"/>
                      <a:gd name="T34" fmla="*/ 18 w 53"/>
                      <a:gd name="T35" fmla="*/ 42 h 66"/>
                      <a:gd name="T36" fmla="*/ 12 w 53"/>
                      <a:gd name="T37" fmla="*/ 29 h 66"/>
                      <a:gd name="T38" fmla="*/ 27 w 53"/>
                      <a:gd name="T39"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66">
                        <a:moveTo>
                          <a:pt x="8" y="60"/>
                        </a:moveTo>
                        <a:cubicBezTo>
                          <a:pt x="8" y="64"/>
                          <a:pt x="10" y="66"/>
                          <a:pt x="14" y="66"/>
                        </a:cubicBezTo>
                        <a:cubicBezTo>
                          <a:pt x="39" y="66"/>
                          <a:pt x="39" y="66"/>
                          <a:pt x="39" y="66"/>
                        </a:cubicBezTo>
                        <a:cubicBezTo>
                          <a:pt x="42" y="66"/>
                          <a:pt x="45" y="64"/>
                          <a:pt x="45" y="60"/>
                        </a:cubicBezTo>
                        <a:cubicBezTo>
                          <a:pt x="45" y="50"/>
                          <a:pt x="45" y="50"/>
                          <a:pt x="45" y="50"/>
                        </a:cubicBezTo>
                        <a:cubicBezTo>
                          <a:pt x="50" y="44"/>
                          <a:pt x="53" y="37"/>
                          <a:pt x="53" y="29"/>
                        </a:cubicBezTo>
                        <a:cubicBezTo>
                          <a:pt x="53" y="13"/>
                          <a:pt x="41" y="0"/>
                          <a:pt x="27" y="0"/>
                        </a:cubicBezTo>
                        <a:cubicBezTo>
                          <a:pt x="12" y="0"/>
                          <a:pt x="0" y="13"/>
                          <a:pt x="0" y="29"/>
                        </a:cubicBezTo>
                        <a:cubicBezTo>
                          <a:pt x="0" y="36"/>
                          <a:pt x="3" y="43"/>
                          <a:pt x="8" y="49"/>
                        </a:cubicBezTo>
                        <a:lnTo>
                          <a:pt x="8" y="60"/>
                        </a:lnTo>
                        <a:close/>
                        <a:moveTo>
                          <a:pt x="27" y="12"/>
                        </a:moveTo>
                        <a:cubicBezTo>
                          <a:pt x="35" y="12"/>
                          <a:pt x="41" y="20"/>
                          <a:pt x="41" y="29"/>
                        </a:cubicBezTo>
                        <a:cubicBezTo>
                          <a:pt x="41" y="34"/>
                          <a:pt x="39" y="39"/>
                          <a:pt x="35" y="42"/>
                        </a:cubicBezTo>
                        <a:cubicBezTo>
                          <a:pt x="34" y="43"/>
                          <a:pt x="33" y="45"/>
                          <a:pt x="33" y="47"/>
                        </a:cubicBezTo>
                        <a:cubicBezTo>
                          <a:pt x="33" y="54"/>
                          <a:pt x="33" y="54"/>
                          <a:pt x="33" y="54"/>
                        </a:cubicBezTo>
                        <a:cubicBezTo>
                          <a:pt x="20" y="54"/>
                          <a:pt x="20" y="54"/>
                          <a:pt x="20" y="54"/>
                        </a:cubicBezTo>
                        <a:cubicBezTo>
                          <a:pt x="20" y="46"/>
                          <a:pt x="20" y="46"/>
                          <a:pt x="20" y="46"/>
                        </a:cubicBezTo>
                        <a:cubicBezTo>
                          <a:pt x="20" y="44"/>
                          <a:pt x="19" y="43"/>
                          <a:pt x="18" y="42"/>
                        </a:cubicBezTo>
                        <a:cubicBezTo>
                          <a:pt x="14" y="38"/>
                          <a:pt x="12" y="34"/>
                          <a:pt x="12" y="29"/>
                        </a:cubicBezTo>
                        <a:cubicBezTo>
                          <a:pt x="12" y="20"/>
                          <a:pt x="19" y="12"/>
                          <a:pt x="2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76" name="Oval 6">
                    <a:extLst>
                      <a:ext uri="{FF2B5EF4-FFF2-40B4-BE49-F238E27FC236}">
                        <a16:creationId xmlns:a16="http://schemas.microsoft.com/office/drawing/2014/main" id="{9A7825C4-F4EF-4AA1-BDE0-02CE85BF35B6}"/>
                      </a:ext>
                    </a:extLst>
                  </p:cNvPr>
                  <p:cNvSpPr>
                    <a:spLocks noChangeArrowheads="1"/>
                  </p:cNvSpPr>
                  <p:nvPr/>
                </p:nvSpPr>
                <p:spPr bwMode="auto">
                  <a:xfrm>
                    <a:off x="2852" y="1555"/>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77" name="Oval 7">
                    <a:extLst>
                      <a:ext uri="{FF2B5EF4-FFF2-40B4-BE49-F238E27FC236}">
                        <a16:creationId xmlns:a16="http://schemas.microsoft.com/office/drawing/2014/main" id="{A1C0B264-3F94-4D60-BC11-C176FDBD2716}"/>
                      </a:ext>
                    </a:extLst>
                  </p:cNvPr>
                  <p:cNvSpPr>
                    <a:spLocks noChangeArrowheads="1"/>
                  </p:cNvSpPr>
                  <p:nvPr/>
                </p:nvSpPr>
                <p:spPr bwMode="auto">
                  <a:xfrm>
                    <a:off x="2883" y="1555"/>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78" name="Freeform 8">
                    <a:extLst>
                      <a:ext uri="{FF2B5EF4-FFF2-40B4-BE49-F238E27FC236}">
                        <a16:creationId xmlns:a16="http://schemas.microsoft.com/office/drawing/2014/main" id="{582AEEBB-4081-41B6-A706-DDC5A64BCC26}"/>
                      </a:ext>
                    </a:extLst>
                  </p:cNvPr>
                  <p:cNvSpPr>
                    <a:spLocks/>
                  </p:cNvSpPr>
                  <p:nvPr/>
                </p:nvSpPr>
                <p:spPr bwMode="auto">
                  <a:xfrm>
                    <a:off x="2778" y="1617"/>
                    <a:ext cx="202" cy="119"/>
                  </a:xfrm>
                  <a:custGeom>
                    <a:avLst/>
                    <a:gdLst>
                      <a:gd name="T0" fmla="*/ 91 w 98"/>
                      <a:gd name="T1" fmla="*/ 22 h 58"/>
                      <a:gd name="T2" fmla="*/ 98 w 98"/>
                      <a:gd name="T3" fmla="*/ 15 h 58"/>
                      <a:gd name="T4" fmla="*/ 92 w 98"/>
                      <a:gd name="T5" fmla="*/ 9 h 58"/>
                      <a:gd name="T6" fmla="*/ 92 w 98"/>
                      <a:gd name="T7" fmla="*/ 6 h 58"/>
                      <a:gd name="T8" fmla="*/ 86 w 98"/>
                      <a:gd name="T9" fmla="*/ 0 h 58"/>
                      <a:gd name="T10" fmla="*/ 79 w 98"/>
                      <a:gd name="T11" fmla="*/ 6 h 58"/>
                      <a:gd name="T12" fmla="*/ 81 w 98"/>
                      <a:gd name="T13" fmla="*/ 10 h 58"/>
                      <a:gd name="T14" fmla="*/ 49 w 98"/>
                      <a:gd name="T15" fmla="*/ 24 h 58"/>
                      <a:gd name="T16" fmla="*/ 17 w 98"/>
                      <a:gd name="T17" fmla="*/ 10 h 58"/>
                      <a:gd name="T18" fmla="*/ 18 w 98"/>
                      <a:gd name="T19" fmla="*/ 6 h 58"/>
                      <a:gd name="T20" fmla="*/ 11 w 98"/>
                      <a:gd name="T21" fmla="*/ 0 h 58"/>
                      <a:gd name="T22" fmla="*/ 5 w 98"/>
                      <a:gd name="T23" fmla="*/ 6 h 58"/>
                      <a:gd name="T24" fmla="*/ 6 w 98"/>
                      <a:gd name="T25" fmla="*/ 9 h 58"/>
                      <a:gd name="T26" fmla="*/ 0 w 98"/>
                      <a:gd name="T27" fmla="*/ 15 h 58"/>
                      <a:gd name="T28" fmla="*/ 6 w 98"/>
                      <a:gd name="T29" fmla="*/ 22 h 58"/>
                      <a:gd name="T30" fmla="*/ 12 w 98"/>
                      <a:gd name="T31" fmla="*/ 19 h 58"/>
                      <a:gd name="T32" fmla="*/ 37 w 98"/>
                      <a:gd name="T33" fmla="*/ 29 h 58"/>
                      <a:gd name="T34" fmla="*/ 12 w 98"/>
                      <a:gd name="T35" fmla="*/ 40 h 58"/>
                      <a:gd name="T36" fmla="*/ 6 w 98"/>
                      <a:gd name="T37" fmla="*/ 36 h 58"/>
                      <a:gd name="T38" fmla="*/ 0 w 98"/>
                      <a:gd name="T39" fmla="*/ 42 h 58"/>
                      <a:gd name="T40" fmla="*/ 6 w 98"/>
                      <a:gd name="T41" fmla="*/ 48 h 58"/>
                      <a:gd name="T42" fmla="*/ 5 w 98"/>
                      <a:gd name="T43" fmla="*/ 51 h 58"/>
                      <a:gd name="T44" fmla="*/ 11 w 98"/>
                      <a:gd name="T45" fmla="*/ 58 h 58"/>
                      <a:gd name="T46" fmla="*/ 18 w 98"/>
                      <a:gd name="T47" fmla="*/ 51 h 58"/>
                      <a:gd name="T48" fmla="*/ 17 w 98"/>
                      <a:gd name="T49" fmla="*/ 48 h 58"/>
                      <a:gd name="T50" fmla="*/ 17 w 98"/>
                      <a:gd name="T51" fmla="*/ 48 h 58"/>
                      <a:gd name="T52" fmla="*/ 17 w 98"/>
                      <a:gd name="T53" fmla="*/ 48 h 58"/>
                      <a:gd name="T54" fmla="*/ 49 w 98"/>
                      <a:gd name="T55" fmla="*/ 34 h 58"/>
                      <a:gd name="T56" fmla="*/ 80 w 98"/>
                      <a:gd name="T57" fmla="*/ 48 h 58"/>
                      <a:gd name="T58" fmla="*/ 80 w 98"/>
                      <a:gd name="T59" fmla="*/ 48 h 58"/>
                      <a:gd name="T60" fmla="*/ 80 w 98"/>
                      <a:gd name="T61" fmla="*/ 48 h 58"/>
                      <a:gd name="T62" fmla="*/ 79 w 98"/>
                      <a:gd name="T63" fmla="*/ 51 h 58"/>
                      <a:gd name="T64" fmla="*/ 86 w 98"/>
                      <a:gd name="T65" fmla="*/ 58 h 58"/>
                      <a:gd name="T66" fmla="*/ 92 w 98"/>
                      <a:gd name="T67" fmla="*/ 51 h 58"/>
                      <a:gd name="T68" fmla="*/ 92 w 98"/>
                      <a:gd name="T69" fmla="*/ 48 h 58"/>
                      <a:gd name="T70" fmla="*/ 98 w 98"/>
                      <a:gd name="T71" fmla="*/ 42 h 58"/>
                      <a:gd name="T72" fmla="*/ 91 w 98"/>
                      <a:gd name="T73" fmla="*/ 36 h 58"/>
                      <a:gd name="T74" fmla="*/ 85 w 98"/>
                      <a:gd name="T75" fmla="*/ 40 h 58"/>
                      <a:gd name="T76" fmla="*/ 60 w 98"/>
                      <a:gd name="T77" fmla="*/ 29 h 58"/>
                      <a:gd name="T78" fmla="*/ 85 w 98"/>
                      <a:gd name="T79" fmla="*/ 19 h 58"/>
                      <a:gd name="T80" fmla="*/ 91 w 98"/>
                      <a:gd name="T81"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 h="58">
                        <a:moveTo>
                          <a:pt x="91" y="22"/>
                        </a:moveTo>
                        <a:cubicBezTo>
                          <a:pt x="95" y="22"/>
                          <a:pt x="98" y="19"/>
                          <a:pt x="98" y="15"/>
                        </a:cubicBezTo>
                        <a:cubicBezTo>
                          <a:pt x="98" y="12"/>
                          <a:pt x="95" y="9"/>
                          <a:pt x="92" y="9"/>
                        </a:cubicBezTo>
                        <a:cubicBezTo>
                          <a:pt x="92" y="8"/>
                          <a:pt x="92" y="7"/>
                          <a:pt x="92" y="6"/>
                        </a:cubicBezTo>
                        <a:cubicBezTo>
                          <a:pt x="92" y="3"/>
                          <a:pt x="90" y="0"/>
                          <a:pt x="86" y="0"/>
                        </a:cubicBezTo>
                        <a:cubicBezTo>
                          <a:pt x="82" y="0"/>
                          <a:pt x="79" y="3"/>
                          <a:pt x="79" y="6"/>
                        </a:cubicBezTo>
                        <a:cubicBezTo>
                          <a:pt x="79" y="8"/>
                          <a:pt x="80" y="9"/>
                          <a:pt x="81" y="10"/>
                        </a:cubicBezTo>
                        <a:cubicBezTo>
                          <a:pt x="49" y="24"/>
                          <a:pt x="49" y="24"/>
                          <a:pt x="49" y="24"/>
                        </a:cubicBezTo>
                        <a:cubicBezTo>
                          <a:pt x="17" y="10"/>
                          <a:pt x="17" y="10"/>
                          <a:pt x="17" y="10"/>
                        </a:cubicBezTo>
                        <a:cubicBezTo>
                          <a:pt x="17" y="9"/>
                          <a:pt x="18" y="8"/>
                          <a:pt x="18" y="6"/>
                        </a:cubicBezTo>
                        <a:cubicBezTo>
                          <a:pt x="18" y="3"/>
                          <a:pt x="15" y="0"/>
                          <a:pt x="11" y="0"/>
                        </a:cubicBezTo>
                        <a:cubicBezTo>
                          <a:pt x="8" y="0"/>
                          <a:pt x="5" y="3"/>
                          <a:pt x="5" y="6"/>
                        </a:cubicBezTo>
                        <a:cubicBezTo>
                          <a:pt x="5" y="7"/>
                          <a:pt x="5" y="8"/>
                          <a:pt x="6" y="9"/>
                        </a:cubicBezTo>
                        <a:cubicBezTo>
                          <a:pt x="2" y="9"/>
                          <a:pt x="0" y="12"/>
                          <a:pt x="0" y="15"/>
                        </a:cubicBezTo>
                        <a:cubicBezTo>
                          <a:pt x="0" y="19"/>
                          <a:pt x="3" y="22"/>
                          <a:pt x="6" y="22"/>
                        </a:cubicBezTo>
                        <a:cubicBezTo>
                          <a:pt x="9" y="22"/>
                          <a:pt x="11" y="21"/>
                          <a:pt x="12" y="19"/>
                        </a:cubicBezTo>
                        <a:cubicBezTo>
                          <a:pt x="37" y="29"/>
                          <a:pt x="37" y="29"/>
                          <a:pt x="37" y="29"/>
                        </a:cubicBezTo>
                        <a:cubicBezTo>
                          <a:pt x="12" y="40"/>
                          <a:pt x="12" y="40"/>
                          <a:pt x="12" y="40"/>
                        </a:cubicBezTo>
                        <a:cubicBezTo>
                          <a:pt x="12" y="37"/>
                          <a:pt x="9" y="36"/>
                          <a:pt x="6" y="36"/>
                        </a:cubicBezTo>
                        <a:cubicBezTo>
                          <a:pt x="3" y="36"/>
                          <a:pt x="0" y="38"/>
                          <a:pt x="0" y="42"/>
                        </a:cubicBezTo>
                        <a:cubicBezTo>
                          <a:pt x="0" y="45"/>
                          <a:pt x="2" y="48"/>
                          <a:pt x="6" y="48"/>
                        </a:cubicBezTo>
                        <a:cubicBezTo>
                          <a:pt x="5" y="49"/>
                          <a:pt x="5" y="50"/>
                          <a:pt x="5" y="51"/>
                        </a:cubicBezTo>
                        <a:cubicBezTo>
                          <a:pt x="5" y="55"/>
                          <a:pt x="8" y="58"/>
                          <a:pt x="11" y="58"/>
                        </a:cubicBezTo>
                        <a:cubicBezTo>
                          <a:pt x="15" y="58"/>
                          <a:pt x="18" y="55"/>
                          <a:pt x="18" y="51"/>
                        </a:cubicBezTo>
                        <a:cubicBezTo>
                          <a:pt x="18" y="50"/>
                          <a:pt x="18" y="49"/>
                          <a:pt x="17" y="48"/>
                        </a:cubicBezTo>
                        <a:cubicBezTo>
                          <a:pt x="17" y="48"/>
                          <a:pt x="17" y="48"/>
                          <a:pt x="17" y="48"/>
                        </a:cubicBezTo>
                        <a:cubicBezTo>
                          <a:pt x="17" y="48"/>
                          <a:pt x="17" y="48"/>
                          <a:pt x="17" y="48"/>
                        </a:cubicBezTo>
                        <a:cubicBezTo>
                          <a:pt x="49" y="34"/>
                          <a:pt x="49" y="34"/>
                          <a:pt x="49" y="34"/>
                        </a:cubicBezTo>
                        <a:cubicBezTo>
                          <a:pt x="80" y="48"/>
                          <a:pt x="80" y="48"/>
                          <a:pt x="80" y="48"/>
                        </a:cubicBezTo>
                        <a:cubicBezTo>
                          <a:pt x="80" y="48"/>
                          <a:pt x="80" y="48"/>
                          <a:pt x="80" y="48"/>
                        </a:cubicBezTo>
                        <a:cubicBezTo>
                          <a:pt x="80" y="48"/>
                          <a:pt x="80" y="48"/>
                          <a:pt x="80" y="48"/>
                        </a:cubicBezTo>
                        <a:cubicBezTo>
                          <a:pt x="80" y="49"/>
                          <a:pt x="79" y="50"/>
                          <a:pt x="79" y="51"/>
                        </a:cubicBezTo>
                        <a:cubicBezTo>
                          <a:pt x="79" y="55"/>
                          <a:pt x="82" y="58"/>
                          <a:pt x="86" y="58"/>
                        </a:cubicBezTo>
                        <a:cubicBezTo>
                          <a:pt x="90" y="58"/>
                          <a:pt x="92" y="55"/>
                          <a:pt x="92" y="51"/>
                        </a:cubicBezTo>
                        <a:cubicBezTo>
                          <a:pt x="92" y="50"/>
                          <a:pt x="92" y="49"/>
                          <a:pt x="92" y="48"/>
                        </a:cubicBezTo>
                        <a:cubicBezTo>
                          <a:pt x="95" y="48"/>
                          <a:pt x="98" y="45"/>
                          <a:pt x="98" y="42"/>
                        </a:cubicBezTo>
                        <a:cubicBezTo>
                          <a:pt x="98" y="38"/>
                          <a:pt x="95" y="36"/>
                          <a:pt x="91" y="36"/>
                        </a:cubicBezTo>
                        <a:cubicBezTo>
                          <a:pt x="88" y="36"/>
                          <a:pt x="86" y="37"/>
                          <a:pt x="85" y="40"/>
                        </a:cubicBezTo>
                        <a:cubicBezTo>
                          <a:pt x="60" y="29"/>
                          <a:pt x="60" y="29"/>
                          <a:pt x="60" y="29"/>
                        </a:cubicBezTo>
                        <a:cubicBezTo>
                          <a:pt x="85" y="19"/>
                          <a:pt x="85" y="19"/>
                          <a:pt x="85" y="19"/>
                        </a:cubicBezTo>
                        <a:cubicBezTo>
                          <a:pt x="87" y="21"/>
                          <a:pt x="89" y="22"/>
                          <a:pt x="9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sp>
          <p:nvSpPr>
            <p:cNvPr id="48" name="Rectangle: Rounded Corners 47">
              <a:extLst>
                <a:ext uri="{FF2B5EF4-FFF2-40B4-BE49-F238E27FC236}">
                  <a16:creationId xmlns:a16="http://schemas.microsoft.com/office/drawing/2014/main" id="{99626D04-BE39-4A25-B7E4-845F500AAF92}"/>
                </a:ext>
              </a:extLst>
            </p:cNvPr>
            <p:cNvSpPr/>
            <p:nvPr/>
          </p:nvSpPr>
          <p:spPr>
            <a:xfrm>
              <a:off x="5782923" y="2044203"/>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818" name="Rectangle: Rounded Corners 3817">
              <a:extLst>
                <a:ext uri="{FF2B5EF4-FFF2-40B4-BE49-F238E27FC236}">
                  <a16:creationId xmlns:a16="http://schemas.microsoft.com/office/drawing/2014/main" id="{6A7FEFA5-EE6D-4715-A902-EE1FE3BBBA21}"/>
                </a:ext>
              </a:extLst>
            </p:cNvPr>
            <p:cNvSpPr/>
            <p:nvPr/>
          </p:nvSpPr>
          <p:spPr>
            <a:xfrm>
              <a:off x="5782923" y="2790238"/>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819" name="Rectangle: Rounded Corners 3818">
              <a:extLst>
                <a:ext uri="{FF2B5EF4-FFF2-40B4-BE49-F238E27FC236}">
                  <a16:creationId xmlns:a16="http://schemas.microsoft.com/office/drawing/2014/main" id="{D9C6590D-A391-4AB9-9D24-DC6493A05C1F}"/>
                </a:ext>
              </a:extLst>
            </p:cNvPr>
            <p:cNvSpPr/>
            <p:nvPr/>
          </p:nvSpPr>
          <p:spPr>
            <a:xfrm>
              <a:off x="5487816" y="2914850"/>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3820" name="Rectangle: Rounded Corners 3819">
              <a:extLst>
                <a:ext uri="{FF2B5EF4-FFF2-40B4-BE49-F238E27FC236}">
                  <a16:creationId xmlns:a16="http://schemas.microsoft.com/office/drawing/2014/main" id="{26456287-3E49-4055-9D5E-3AB6E11B2178}"/>
                </a:ext>
              </a:extLst>
            </p:cNvPr>
            <p:cNvSpPr/>
            <p:nvPr/>
          </p:nvSpPr>
          <p:spPr>
            <a:xfrm>
              <a:off x="5487816" y="2169141"/>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cxnSp>
          <p:nvCxnSpPr>
            <p:cNvPr id="50" name="Straight Connector 49">
              <a:extLst>
                <a:ext uri="{FF2B5EF4-FFF2-40B4-BE49-F238E27FC236}">
                  <a16:creationId xmlns:a16="http://schemas.microsoft.com/office/drawing/2014/main" id="{F4F03C86-2FF0-49E6-8104-9537CE1FD5D0}"/>
                </a:ext>
              </a:extLst>
            </p:cNvPr>
            <p:cNvCxnSpPr>
              <a:stCxn id="48" idx="2"/>
              <a:endCxn id="3818" idx="0"/>
            </p:cNvCxnSpPr>
            <p:nvPr/>
          </p:nvCxnSpPr>
          <p:spPr>
            <a:xfrm>
              <a:off x="6137050" y="2571750"/>
              <a:ext cx="0" cy="218488"/>
            </a:xfrm>
            <a:prstGeom prst="line">
              <a:avLst/>
            </a:prstGeom>
            <a:noFill/>
            <a:ln cap="rnd">
              <a:solidFill>
                <a:schemeClr val="accent5"/>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3831" name="TextBox 3830">
              <a:extLst>
                <a:ext uri="{FF2B5EF4-FFF2-40B4-BE49-F238E27FC236}">
                  <a16:creationId xmlns:a16="http://schemas.microsoft.com/office/drawing/2014/main" id="{51262F29-0788-4DCF-A6BF-217C990B5CCF}"/>
                </a:ext>
              </a:extLst>
            </p:cNvPr>
            <p:cNvSpPr txBox="1"/>
            <p:nvPr/>
          </p:nvSpPr>
          <p:spPr>
            <a:xfrm>
              <a:off x="4856883" y="2425448"/>
              <a:ext cx="526416" cy="519728"/>
            </a:xfrm>
            <a:prstGeom prst="ellipse">
              <a:avLst/>
            </a:prstGeom>
            <a:noFill/>
            <a:ln>
              <a:solidFill>
                <a:schemeClr val="accent5">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62" name="Oval 61">
              <a:extLst>
                <a:ext uri="{FF2B5EF4-FFF2-40B4-BE49-F238E27FC236}">
                  <a16:creationId xmlns:a16="http://schemas.microsoft.com/office/drawing/2014/main" id="{E11EDA28-5997-4875-802F-B9185A7AF5BE}"/>
                </a:ext>
              </a:extLst>
            </p:cNvPr>
            <p:cNvSpPr/>
            <p:nvPr/>
          </p:nvSpPr>
          <p:spPr>
            <a:xfrm>
              <a:off x="4861357" y="2427829"/>
              <a:ext cx="517468" cy="517468"/>
            </a:xfrm>
            <a:prstGeom prst="ellipse">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41" name="Group 40">
              <a:extLst>
                <a:ext uri="{FF2B5EF4-FFF2-40B4-BE49-F238E27FC236}">
                  <a16:creationId xmlns:a16="http://schemas.microsoft.com/office/drawing/2014/main" id="{5B045896-7B7F-49C7-A721-992ABCE4AB14}"/>
                </a:ext>
              </a:extLst>
            </p:cNvPr>
            <p:cNvGrpSpPr/>
            <p:nvPr/>
          </p:nvGrpSpPr>
          <p:grpSpPr>
            <a:xfrm>
              <a:off x="5555760" y="1912187"/>
              <a:ext cx="666253" cy="1036712"/>
              <a:chOff x="5555760" y="1912187"/>
              <a:chExt cx="666253" cy="1036712"/>
            </a:xfrm>
          </p:grpSpPr>
          <p:pic>
            <p:nvPicPr>
              <p:cNvPr id="1279" name="Picture 1278">
                <a:extLst>
                  <a:ext uri="{FF2B5EF4-FFF2-40B4-BE49-F238E27FC236}">
                    <a16:creationId xmlns:a16="http://schemas.microsoft.com/office/drawing/2014/main" id="{A659622B-5935-42F1-BF74-A9A7D9083A7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555760" y="2040179"/>
                <a:ext cx="157900" cy="155766"/>
              </a:xfrm>
              <a:prstGeom prst="rect">
                <a:avLst/>
              </a:prstGeom>
            </p:spPr>
          </p:pic>
          <p:pic>
            <p:nvPicPr>
              <p:cNvPr id="1281" name="Picture 1280">
                <a:extLst>
                  <a:ext uri="{FF2B5EF4-FFF2-40B4-BE49-F238E27FC236}">
                    <a16:creationId xmlns:a16="http://schemas.microsoft.com/office/drawing/2014/main" id="{D5FF75AE-502E-4A9A-898F-E12791105A4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063827" y="1912187"/>
                <a:ext cx="157900" cy="157900"/>
              </a:xfrm>
              <a:prstGeom prst="rect">
                <a:avLst/>
              </a:prstGeom>
            </p:spPr>
          </p:pic>
          <p:pic>
            <p:nvPicPr>
              <p:cNvPr id="1282" name="Picture 1281">
                <a:extLst>
                  <a:ext uri="{FF2B5EF4-FFF2-40B4-BE49-F238E27FC236}">
                    <a16:creationId xmlns:a16="http://schemas.microsoft.com/office/drawing/2014/main" id="{169DB7B8-0B73-436D-9110-ED8A14A1DBA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558141" y="2793133"/>
                <a:ext cx="157900" cy="155766"/>
              </a:xfrm>
              <a:prstGeom prst="rect">
                <a:avLst/>
              </a:prstGeom>
            </p:spPr>
          </p:pic>
          <p:pic>
            <p:nvPicPr>
              <p:cNvPr id="1283" name="Picture 1282">
                <a:extLst>
                  <a:ext uri="{FF2B5EF4-FFF2-40B4-BE49-F238E27FC236}">
                    <a16:creationId xmlns:a16="http://schemas.microsoft.com/office/drawing/2014/main" id="{F7FE0CEF-D40F-47CE-9570-17A5230A4FF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064113" y="2655490"/>
                <a:ext cx="157900" cy="157900"/>
              </a:xfrm>
              <a:prstGeom prst="rect">
                <a:avLst/>
              </a:prstGeom>
            </p:spPr>
          </p:pic>
        </p:grpSp>
        <p:grpSp>
          <p:nvGrpSpPr>
            <p:cNvPr id="1302" name="Group 1301">
              <a:extLst>
                <a:ext uri="{FF2B5EF4-FFF2-40B4-BE49-F238E27FC236}">
                  <a16:creationId xmlns:a16="http://schemas.microsoft.com/office/drawing/2014/main" id="{756E6EA3-A222-4357-B3F1-2E5C46A85885}"/>
                </a:ext>
              </a:extLst>
            </p:cNvPr>
            <p:cNvGrpSpPr/>
            <p:nvPr/>
          </p:nvGrpSpPr>
          <p:grpSpPr>
            <a:xfrm>
              <a:off x="4844282" y="1560778"/>
              <a:ext cx="891129" cy="465927"/>
              <a:chOff x="3359209" y="303257"/>
              <a:chExt cx="891129" cy="465927"/>
            </a:xfrm>
          </p:grpSpPr>
          <p:sp>
            <p:nvSpPr>
              <p:cNvPr id="1303" name="Isosceles Triangle 1302">
                <a:extLst>
                  <a:ext uri="{FF2B5EF4-FFF2-40B4-BE49-F238E27FC236}">
                    <a16:creationId xmlns:a16="http://schemas.microsoft.com/office/drawing/2014/main" id="{DEA74633-A9F0-459A-BAD1-8A1D262076ED}"/>
                  </a:ext>
                </a:extLst>
              </p:cNvPr>
              <p:cNvSpPr/>
              <p:nvPr/>
            </p:nvSpPr>
            <p:spPr>
              <a:xfrm flipV="1">
                <a:off x="3995204" y="600121"/>
                <a:ext cx="196113" cy="169063"/>
              </a:xfrm>
              <a:prstGeom prst="triangle">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04" name="Rectangle: Rounded Corners 1303">
                <a:extLst>
                  <a:ext uri="{FF2B5EF4-FFF2-40B4-BE49-F238E27FC236}">
                    <a16:creationId xmlns:a16="http://schemas.microsoft.com/office/drawing/2014/main" id="{C30095A3-AFCD-4C20-947C-FC53E50C1B93}"/>
                  </a:ext>
                </a:extLst>
              </p:cNvPr>
              <p:cNvSpPr/>
              <p:nvPr/>
            </p:nvSpPr>
            <p:spPr>
              <a:xfrm>
                <a:off x="3359209" y="303257"/>
                <a:ext cx="891129" cy="37981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East-West</a:t>
                </a:r>
              </a:p>
            </p:txBody>
          </p:sp>
        </p:grpSp>
        <p:grpSp>
          <p:nvGrpSpPr>
            <p:cNvPr id="1305" name="Group 1304">
              <a:extLst>
                <a:ext uri="{FF2B5EF4-FFF2-40B4-BE49-F238E27FC236}">
                  <a16:creationId xmlns:a16="http://schemas.microsoft.com/office/drawing/2014/main" id="{CFCF9753-5652-4198-A71B-F8A05043CAD4}"/>
                </a:ext>
              </a:extLst>
            </p:cNvPr>
            <p:cNvGrpSpPr/>
            <p:nvPr/>
          </p:nvGrpSpPr>
          <p:grpSpPr>
            <a:xfrm flipH="1">
              <a:off x="6300162" y="1743106"/>
              <a:ext cx="988102" cy="379815"/>
              <a:chOff x="3719147" y="303257"/>
              <a:chExt cx="604759" cy="379815"/>
            </a:xfrm>
            <a:solidFill>
              <a:schemeClr val="accent5"/>
            </a:solidFill>
          </p:grpSpPr>
          <p:sp>
            <p:nvSpPr>
              <p:cNvPr id="1306" name="Isosceles Triangle 1305">
                <a:extLst>
                  <a:ext uri="{FF2B5EF4-FFF2-40B4-BE49-F238E27FC236}">
                    <a16:creationId xmlns:a16="http://schemas.microsoft.com/office/drawing/2014/main" id="{F997298E-5B4B-401E-8302-8FD471F8161F}"/>
                  </a:ext>
                </a:extLst>
              </p:cNvPr>
              <p:cNvSpPr/>
              <p:nvPr/>
            </p:nvSpPr>
            <p:spPr>
              <a:xfrm rot="16200000" flipV="1">
                <a:off x="4151235" y="445280"/>
                <a:ext cx="212595" cy="132747"/>
              </a:xfrm>
              <a:prstGeom prst="triangl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07" name="Rectangle: Rounded Corners 1306">
                <a:extLst>
                  <a:ext uri="{FF2B5EF4-FFF2-40B4-BE49-F238E27FC236}">
                    <a16:creationId xmlns:a16="http://schemas.microsoft.com/office/drawing/2014/main" id="{FC090F91-5D84-4721-8363-AE3A80A7593E}"/>
                  </a:ext>
                </a:extLst>
              </p:cNvPr>
              <p:cNvSpPr/>
              <p:nvPr/>
            </p:nvSpPr>
            <p:spPr>
              <a:xfrm>
                <a:off x="3719147" y="303257"/>
                <a:ext cx="531191" cy="37981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Process to Process</a:t>
                </a:r>
              </a:p>
            </p:txBody>
          </p:sp>
        </p:grpSp>
        <p:grpSp>
          <p:nvGrpSpPr>
            <p:cNvPr id="1308" name="Group 1307">
              <a:extLst>
                <a:ext uri="{FF2B5EF4-FFF2-40B4-BE49-F238E27FC236}">
                  <a16:creationId xmlns:a16="http://schemas.microsoft.com/office/drawing/2014/main" id="{E95483ED-DC07-4785-B185-01FC86D7258B}"/>
                </a:ext>
              </a:extLst>
            </p:cNvPr>
            <p:cNvGrpSpPr/>
            <p:nvPr/>
          </p:nvGrpSpPr>
          <p:grpSpPr>
            <a:xfrm>
              <a:off x="4191318" y="2974615"/>
              <a:ext cx="1038940" cy="547377"/>
              <a:chOff x="3211398" y="200071"/>
              <a:chExt cx="1038940" cy="547377"/>
            </a:xfrm>
          </p:grpSpPr>
          <p:sp>
            <p:nvSpPr>
              <p:cNvPr id="1309" name="Isosceles Triangle 1308">
                <a:extLst>
                  <a:ext uri="{FF2B5EF4-FFF2-40B4-BE49-F238E27FC236}">
                    <a16:creationId xmlns:a16="http://schemas.microsoft.com/office/drawing/2014/main" id="{80F01E6C-C6CC-40FD-939A-C112DCCD689F}"/>
                  </a:ext>
                </a:extLst>
              </p:cNvPr>
              <p:cNvSpPr/>
              <p:nvPr/>
            </p:nvSpPr>
            <p:spPr>
              <a:xfrm>
                <a:off x="3995204" y="200071"/>
                <a:ext cx="196113" cy="169063"/>
              </a:xfrm>
              <a:prstGeom prst="triangle">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10" name="Rectangle: Rounded Corners 1309">
                <a:extLst>
                  <a:ext uri="{FF2B5EF4-FFF2-40B4-BE49-F238E27FC236}">
                    <a16:creationId xmlns:a16="http://schemas.microsoft.com/office/drawing/2014/main" id="{4970F6A9-C162-4F87-8E45-724BD82A0300}"/>
                  </a:ext>
                </a:extLst>
              </p:cNvPr>
              <p:cNvSpPr/>
              <p:nvPr/>
            </p:nvSpPr>
            <p:spPr>
              <a:xfrm>
                <a:off x="3211398" y="303257"/>
                <a:ext cx="1038940" cy="444191"/>
              </a:xfrm>
              <a:prstGeom prst="round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North-South Perimeter</a:t>
                </a:r>
              </a:p>
            </p:txBody>
          </p:sp>
        </p:grpSp>
        <p:pic>
          <p:nvPicPr>
            <p:cNvPr id="1210" name="Picture 1209">
              <a:extLst>
                <a:ext uri="{FF2B5EF4-FFF2-40B4-BE49-F238E27FC236}">
                  <a16:creationId xmlns:a16="http://schemas.microsoft.com/office/drawing/2014/main" id="{E3DA7DE3-46AC-46C1-AE4F-1BBE5CDF415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166844" y="1305933"/>
              <a:ext cx="571661" cy="571661"/>
            </a:xfrm>
            <a:prstGeom prst="rect">
              <a:avLst/>
            </a:prstGeom>
          </p:spPr>
        </p:pic>
        <p:pic>
          <p:nvPicPr>
            <p:cNvPr id="1212" name="Picture 1211">
              <a:extLst>
                <a:ext uri="{FF2B5EF4-FFF2-40B4-BE49-F238E27FC236}">
                  <a16:creationId xmlns:a16="http://schemas.microsoft.com/office/drawing/2014/main" id="{5E0E5021-93C8-4D94-B981-C605C3556A44}"/>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166620" y="3503871"/>
              <a:ext cx="571661" cy="571661"/>
            </a:xfrm>
            <a:prstGeom prst="rect">
              <a:avLst/>
            </a:prstGeom>
          </p:spPr>
        </p:pic>
        <p:grpSp>
          <p:nvGrpSpPr>
            <p:cNvPr id="45" name="Group 44">
              <a:extLst>
                <a:ext uri="{FF2B5EF4-FFF2-40B4-BE49-F238E27FC236}">
                  <a16:creationId xmlns:a16="http://schemas.microsoft.com/office/drawing/2014/main" id="{AE333C18-42B2-48D4-B43B-6863811CDE58}"/>
                </a:ext>
              </a:extLst>
            </p:cNvPr>
            <p:cNvGrpSpPr/>
            <p:nvPr/>
          </p:nvGrpSpPr>
          <p:grpSpPr>
            <a:xfrm>
              <a:off x="8508630" y="1560778"/>
              <a:ext cx="3096946" cy="1961214"/>
              <a:chOff x="13127003" y="1560778"/>
              <a:chExt cx="3096946" cy="1961214"/>
            </a:xfrm>
          </p:grpSpPr>
          <p:grpSp>
            <p:nvGrpSpPr>
              <p:cNvPr id="1401" name="Group 1400">
                <a:extLst>
                  <a:ext uri="{FF2B5EF4-FFF2-40B4-BE49-F238E27FC236}">
                    <a16:creationId xmlns:a16="http://schemas.microsoft.com/office/drawing/2014/main" id="{B1A42D29-EF7D-4522-AFE3-2FDD31BF05C2}"/>
                  </a:ext>
                </a:extLst>
              </p:cNvPr>
              <p:cNvGrpSpPr/>
              <p:nvPr/>
            </p:nvGrpSpPr>
            <p:grpSpPr>
              <a:xfrm>
                <a:off x="14760091" y="2082895"/>
                <a:ext cx="618697" cy="448449"/>
                <a:chOff x="4207537" y="2273730"/>
                <a:chExt cx="598923" cy="434116"/>
              </a:xfrm>
            </p:grpSpPr>
            <p:grpSp>
              <p:nvGrpSpPr>
                <p:cNvPr id="1544" name="Group 1543">
                  <a:extLst>
                    <a:ext uri="{FF2B5EF4-FFF2-40B4-BE49-F238E27FC236}">
                      <a16:creationId xmlns:a16="http://schemas.microsoft.com/office/drawing/2014/main" id="{BC74036A-BB27-4026-8913-47CCE1265474}"/>
                    </a:ext>
                  </a:extLst>
                </p:cNvPr>
                <p:cNvGrpSpPr/>
                <p:nvPr/>
              </p:nvGrpSpPr>
              <p:grpSpPr>
                <a:xfrm>
                  <a:off x="4207537" y="2273730"/>
                  <a:ext cx="179387" cy="434116"/>
                  <a:chOff x="2330274" y="3840316"/>
                  <a:chExt cx="238125" cy="576262"/>
                </a:xfrm>
              </p:grpSpPr>
              <p:sp>
                <p:nvSpPr>
                  <p:cNvPr id="1559" name="Freeform 201">
                    <a:extLst>
                      <a:ext uri="{FF2B5EF4-FFF2-40B4-BE49-F238E27FC236}">
                        <a16:creationId xmlns:a16="http://schemas.microsoft.com/office/drawing/2014/main" id="{2E4388AE-8AF5-4BD9-92AD-69A03F5BC491}"/>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60" name="Line 202">
                    <a:extLst>
                      <a:ext uri="{FF2B5EF4-FFF2-40B4-BE49-F238E27FC236}">
                        <a16:creationId xmlns:a16="http://schemas.microsoft.com/office/drawing/2014/main" id="{95C49818-2FA9-461C-89AF-51C9AA0694F7}"/>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61" name="Line 203">
                    <a:extLst>
                      <a:ext uri="{FF2B5EF4-FFF2-40B4-BE49-F238E27FC236}">
                        <a16:creationId xmlns:a16="http://schemas.microsoft.com/office/drawing/2014/main" id="{409BB736-3782-47F4-A032-57101D171B7A}"/>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62" name="Line 204">
                    <a:extLst>
                      <a:ext uri="{FF2B5EF4-FFF2-40B4-BE49-F238E27FC236}">
                        <a16:creationId xmlns:a16="http://schemas.microsoft.com/office/drawing/2014/main" id="{3787E859-1A8A-4988-928B-79E5F7ACE81A}"/>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63" name="Line 205">
                    <a:extLst>
                      <a:ext uri="{FF2B5EF4-FFF2-40B4-BE49-F238E27FC236}">
                        <a16:creationId xmlns:a16="http://schemas.microsoft.com/office/drawing/2014/main" id="{B096C036-779D-4043-9359-79A865BACBF2}"/>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64" name="Line 206">
                    <a:extLst>
                      <a:ext uri="{FF2B5EF4-FFF2-40B4-BE49-F238E27FC236}">
                        <a16:creationId xmlns:a16="http://schemas.microsoft.com/office/drawing/2014/main" id="{25870EDD-C1E7-4D6B-BF24-2D3B99AC6297}"/>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545" name="Group 1544">
                  <a:extLst>
                    <a:ext uri="{FF2B5EF4-FFF2-40B4-BE49-F238E27FC236}">
                      <a16:creationId xmlns:a16="http://schemas.microsoft.com/office/drawing/2014/main" id="{EA480857-1971-4E3E-9FC1-15C43D83CA41}"/>
                    </a:ext>
                  </a:extLst>
                </p:cNvPr>
                <p:cNvGrpSpPr/>
                <p:nvPr/>
              </p:nvGrpSpPr>
              <p:grpSpPr>
                <a:xfrm>
                  <a:off x="4417305" y="2273730"/>
                  <a:ext cx="179387" cy="434116"/>
                  <a:chOff x="2330274" y="3840316"/>
                  <a:chExt cx="238125" cy="576262"/>
                </a:xfrm>
              </p:grpSpPr>
              <p:sp>
                <p:nvSpPr>
                  <p:cNvPr id="1553" name="Freeform 201">
                    <a:extLst>
                      <a:ext uri="{FF2B5EF4-FFF2-40B4-BE49-F238E27FC236}">
                        <a16:creationId xmlns:a16="http://schemas.microsoft.com/office/drawing/2014/main" id="{CE5FC2A9-5168-4823-A3C9-A1088BAE95D0}"/>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54" name="Line 202">
                    <a:extLst>
                      <a:ext uri="{FF2B5EF4-FFF2-40B4-BE49-F238E27FC236}">
                        <a16:creationId xmlns:a16="http://schemas.microsoft.com/office/drawing/2014/main" id="{9A136F8C-3F6F-4E0C-9F7F-84A9601733B0}"/>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55" name="Line 203">
                    <a:extLst>
                      <a:ext uri="{FF2B5EF4-FFF2-40B4-BE49-F238E27FC236}">
                        <a16:creationId xmlns:a16="http://schemas.microsoft.com/office/drawing/2014/main" id="{2B3356F6-EFCB-41DB-9DED-2E81A13AA90B}"/>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56" name="Line 204">
                    <a:extLst>
                      <a:ext uri="{FF2B5EF4-FFF2-40B4-BE49-F238E27FC236}">
                        <a16:creationId xmlns:a16="http://schemas.microsoft.com/office/drawing/2014/main" id="{55572E3D-7659-4E15-8185-760265A691A2}"/>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57" name="Line 205">
                    <a:extLst>
                      <a:ext uri="{FF2B5EF4-FFF2-40B4-BE49-F238E27FC236}">
                        <a16:creationId xmlns:a16="http://schemas.microsoft.com/office/drawing/2014/main" id="{DEF44EEA-1765-445C-8435-40EF654EAF9A}"/>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58" name="Line 206">
                    <a:extLst>
                      <a:ext uri="{FF2B5EF4-FFF2-40B4-BE49-F238E27FC236}">
                        <a16:creationId xmlns:a16="http://schemas.microsoft.com/office/drawing/2014/main" id="{9EA24A9C-27F2-455D-B990-636B74CFC3D5}"/>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546" name="Group 1545">
                  <a:extLst>
                    <a:ext uri="{FF2B5EF4-FFF2-40B4-BE49-F238E27FC236}">
                      <a16:creationId xmlns:a16="http://schemas.microsoft.com/office/drawing/2014/main" id="{8EB179BC-F639-4695-AA82-52416D1A7060}"/>
                    </a:ext>
                  </a:extLst>
                </p:cNvPr>
                <p:cNvGrpSpPr/>
                <p:nvPr/>
              </p:nvGrpSpPr>
              <p:grpSpPr>
                <a:xfrm>
                  <a:off x="4627073" y="2273730"/>
                  <a:ext cx="179387" cy="434116"/>
                  <a:chOff x="2330274" y="3840316"/>
                  <a:chExt cx="238125" cy="576262"/>
                </a:xfrm>
              </p:grpSpPr>
              <p:sp>
                <p:nvSpPr>
                  <p:cNvPr id="1547" name="Freeform 201">
                    <a:extLst>
                      <a:ext uri="{FF2B5EF4-FFF2-40B4-BE49-F238E27FC236}">
                        <a16:creationId xmlns:a16="http://schemas.microsoft.com/office/drawing/2014/main" id="{A28490BA-291F-410A-A9A6-C482E314222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48" name="Line 202">
                    <a:extLst>
                      <a:ext uri="{FF2B5EF4-FFF2-40B4-BE49-F238E27FC236}">
                        <a16:creationId xmlns:a16="http://schemas.microsoft.com/office/drawing/2014/main" id="{CAC40F72-C1D8-4526-891D-88DDFB288034}"/>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49" name="Line 203">
                    <a:extLst>
                      <a:ext uri="{FF2B5EF4-FFF2-40B4-BE49-F238E27FC236}">
                        <a16:creationId xmlns:a16="http://schemas.microsoft.com/office/drawing/2014/main" id="{341A8BBE-6383-4FB0-9944-9E06BD7D10C3}"/>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50" name="Line 204">
                    <a:extLst>
                      <a:ext uri="{FF2B5EF4-FFF2-40B4-BE49-F238E27FC236}">
                        <a16:creationId xmlns:a16="http://schemas.microsoft.com/office/drawing/2014/main" id="{F45FF648-674B-4AA9-AE32-8206BA1D9B23}"/>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51" name="Line 205">
                    <a:extLst>
                      <a:ext uri="{FF2B5EF4-FFF2-40B4-BE49-F238E27FC236}">
                        <a16:creationId xmlns:a16="http://schemas.microsoft.com/office/drawing/2014/main" id="{0E3F56AA-81D7-4D96-A5FA-92BDF0AD0DC7}"/>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52" name="Line 206">
                    <a:extLst>
                      <a:ext uri="{FF2B5EF4-FFF2-40B4-BE49-F238E27FC236}">
                        <a16:creationId xmlns:a16="http://schemas.microsoft.com/office/drawing/2014/main" id="{F928081B-3D02-4B8A-AC82-203D25A6A4B0}"/>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nvGrpSpPr>
              <p:cNvPr id="1402" name="Group 1401">
                <a:extLst>
                  <a:ext uri="{FF2B5EF4-FFF2-40B4-BE49-F238E27FC236}">
                    <a16:creationId xmlns:a16="http://schemas.microsoft.com/office/drawing/2014/main" id="{A86A258C-42DB-4FD8-8524-555E1D26D7F2}"/>
                  </a:ext>
                </a:extLst>
              </p:cNvPr>
              <p:cNvGrpSpPr/>
              <p:nvPr/>
            </p:nvGrpSpPr>
            <p:grpSpPr>
              <a:xfrm>
                <a:off x="14760091" y="2835347"/>
                <a:ext cx="618697" cy="448449"/>
                <a:chOff x="4207537" y="2273730"/>
                <a:chExt cx="598923" cy="434116"/>
              </a:xfrm>
            </p:grpSpPr>
            <p:grpSp>
              <p:nvGrpSpPr>
                <p:cNvPr id="1523" name="Group 1522">
                  <a:extLst>
                    <a:ext uri="{FF2B5EF4-FFF2-40B4-BE49-F238E27FC236}">
                      <a16:creationId xmlns:a16="http://schemas.microsoft.com/office/drawing/2014/main" id="{D6D51494-AB87-497D-8931-7D3EB4F30AE4}"/>
                    </a:ext>
                  </a:extLst>
                </p:cNvPr>
                <p:cNvGrpSpPr/>
                <p:nvPr/>
              </p:nvGrpSpPr>
              <p:grpSpPr>
                <a:xfrm>
                  <a:off x="4207537" y="2273730"/>
                  <a:ext cx="179387" cy="434116"/>
                  <a:chOff x="2330274" y="3840316"/>
                  <a:chExt cx="238125" cy="576262"/>
                </a:xfrm>
              </p:grpSpPr>
              <p:sp>
                <p:nvSpPr>
                  <p:cNvPr id="1538" name="Freeform 201">
                    <a:extLst>
                      <a:ext uri="{FF2B5EF4-FFF2-40B4-BE49-F238E27FC236}">
                        <a16:creationId xmlns:a16="http://schemas.microsoft.com/office/drawing/2014/main" id="{9D722F2E-282B-4E19-9330-9950FD15FB94}"/>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39" name="Line 202">
                    <a:extLst>
                      <a:ext uri="{FF2B5EF4-FFF2-40B4-BE49-F238E27FC236}">
                        <a16:creationId xmlns:a16="http://schemas.microsoft.com/office/drawing/2014/main" id="{E3BEB078-5F01-456F-95A2-413D62C05A88}"/>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40" name="Line 203">
                    <a:extLst>
                      <a:ext uri="{FF2B5EF4-FFF2-40B4-BE49-F238E27FC236}">
                        <a16:creationId xmlns:a16="http://schemas.microsoft.com/office/drawing/2014/main" id="{0EC84204-CCBB-49D8-9818-C841D2E402A2}"/>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41" name="Line 204">
                    <a:extLst>
                      <a:ext uri="{FF2B5EF4-FFF2-40B4-BE49-F238E27FC236}">
                        <a16:creationId xmlns:a16="http://schemas.microsoft.com/office/drawing/2014/main" id="{6AA3B364-E230-4BB0-AAF5-74D79F1BCA2E}"/>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42" name="Line 205">
                    <a:extLst>
                      <a:ext uri="{FF2B5EF4-FFF2-40B4-BE49-F238E27FC236}">
                        <a16:creationId xmlns:a16="http://schemas.microsoft.com/office/drawing/2014/main" id="{130E5B46-DFAE-4FF4-973C-F8373748D29A}"/>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43" name="Line 206">
                    <a:extLst>
                      <a:ext uri="{FF2B5EF4-FFF2-40B4-BE49-F238E27FC236}">
                        <a16:creationId xmlns:a16="http://schemas.microsoft.com/office/drawing/2014/main" id="{E069E31F-F6D5-44DB-A100-6BC106AD2042}"/>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524" name="Group 1523">
                  <a:extLst>
                    <a:ext uri="{FF2B5EF4-FFF2-40B4-BE49-F238E27FC236}">
                      <a16:creationId xmlns:a16="http://schemas.microsoft.com/office/drawing/2014/main" id="{450B3628-306D-49A1-832D-7DE5FF1A1989}"/>
                    </a:ext>
                  </a:extLst>
                </p:cNvPr>
                <p:cNvGrpSpPr/>
                <p:nvPr/>
              </p:nvGrpSpPr>
              <p:grpSpPr>
                <a:xfrm>
                  <a:off x="4417305" y="2273730"/>
                  <a:ext cx="179387" cy="434116"/>
                  <a:chOff x="2330274" y="3840316"/>
                  <a:chExt cx="238125" cy="576262"/>
                </a:xfrm>
              </p:grpSpPr>
              <p:sp>
                <p:nvSpPr>
                  <p:cNvPr id="1532" name="Freeform 201">
                    <a:extLst>
                      <a:ext uri="{FF2B5EF4-FFF2-40B4-BE49-F238E27FC236}">
                        <a16:creationId xmlns:a16="http://schemas.microsoft.com/office/drawing/2014/main" id="{55F05C52-31B5-44E0-B0B2-F9F69B86989E}"/>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33" name="Line 202">
                    <a:extLst>
                      <a:ext uri="{FF2B5EF4-FFF2-40B4-BE49-F238E27FC236}">
                        <a16:creationId xmlns:a16="http://schemas.microsoft.com/office/drawing/2014/main" id="{37E03C86-76DB-45DA-9F0C-A997230ABAB6}"/>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34" name="Line 203">
                    <a:extLst>
                      <a:ext uri="{FF2B5EF4-FFF2-40B4-BE49-F238E27FC236}">
                        <a16:creationId xmlns:a16="http://schemas.microsoft.com/office/drawing/2014/main" id="{326C8600-BC11-488E-BAB7-3F67EC73133F}"/>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35" name="Line 204">
                    <a:extLst>
                      <a:ext uri="{FF2B5EF4-FFF2-40B4-BE49-F238E27FC236}">
                        <a16:creationId xmlns:a16="http://schemas.microsoft.com/office/drawing/2014/main" id="{3CD92FBC-722F-432A-9B26-45E2AD2993DE}"/>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36" name="Line 205">
                    <a:extLst>
                      <a:ext uri="{FF2B5EF4-FFF2-40B4-BE49-F238E27FC236}">
                        <a16:creationId xmlns:a16="http://schemas.microsoft.com/office/drawing/2014/main" id="{E06828FD-B4F6-4DEE-9C46-6FE725B17AFE}"/>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37" name="Line 206">
                    <a:extLst>
                      <a:ext uri="{FF2B5EF4-FFF2-40B4-BE49-F238E27FC236}">
                        <a16:creationId xmlns:a16="http://schemas.microsoft.com/office/drawing/2014/main" id="{76F21121-3B28-4D94-919F-AEC81D574253}"/>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525" name="Group 1524">
                  <a:extLst>
                    <a:ext uri="{FF2B5EF4-FFF2-40B4-BE49-F238E27FC236}">
                      <a16:creationId xmlns:a16="http://schemas.microsoft.com/office/drawing/2014/main" id="{0AB98748-04C2-4A24-A0BE-E7551967CFDA}"/>
                    </a:ext>
                  </a:extLst>
                </p:cNvPr>
                <p:cNvGrpSpPr/>
                <p:nvPr/>
              </p:nvGrpSpPr>
              <p:grpSpPr>
                <a:xfrm>
                  <a:off x="4627073" y="2273730"/>
                  <a:ext cx="179387" cy="434116"/>
                  <a:chOff x="2330274" y="3840316"/>
                  <a:chExt cx="238125" cy="576262"/>
                </a:xfrm>
              </p:grpSpPr>
              <p:sp>
                <p:nvSpPr>
                  <p:cNvPr id="1526" name="Freeform 201">
                    <a:extLst>
                      <a:ext uri="{FF2B5EF4-FFF2-40B4-BE49-F238E27FC236}">
                        <a16:creationId xmlns:a16="http://schemas.microsoft.com/office/drawing/2014/main" id="{AD200E6D-00B1-41A2-A9DE-D044BAF1EE4B}"/>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27" name="Line 202">
                    <a:extLst>
                      <a:ext uri="{FF2B5EF4-FFF2-40B4-BE49-F238E27FC236}">
                        <a16:creationId xmlns:a16="http://schemas.microsoft.com/office/drawing/2014/main" id="{B53D312D-40A5-4C82-B779-BE63F1E9D803}"/>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28" name="Line 203">
                    <a:extLst>
                      <a:ext uri="{FF2B5EF4-FFF2-40B4-BE49-F238E27FC236}">
                        <a16:creationId xmlns:a16="http://schemas.microsoft.com/office/drawing/2014/main" id="{7AAE3110-24BA-4218-9CA6-DB9C661C40D8}"/>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29" name="Line 204">
                    <a:extLst>
                      <a:ext uri="{FF2B5EF4-FFF2-40B4-BE49-F238E27FC236}">
                        <a16:creationId xmlns:a16="http://schemas.microsoft.com/office/drawing/2014/main" id="{858DD5CF-B444-40B1-AA75-9F27EED0B2AC}"/>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30" name="Line 205">
                    <a:extLst>
                      <a:ext uri="{FF2B5EF4-FFF2-40B4-BE49-F238E27FC236}">
                        <a16:creationId xmlns:a16="http://schemas.microsoft.com/office/drawing/2014/main" id="{75AED1B7-AA6D-4C2E-86C9-8AC086179FC7}"/>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31" name="Line 206">
                    <a:extLst>
                      <a:ext uri="{FF2B5EF4-FFF2-40B4-BE49-F238E27FC236}">
                        <a16:creationId xmlns:a16="http://schemas.microsoft.com/office/drawing/2014/main" id="{19A8EE2E-6497-4A16-B73C-66C1076B2BD9}"/>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cxnSp>
            <p:nvCxnSpPr>
              <p:cNvPr id="1403" name="Connector: Elbow 1402">
                <a:extLst>
                  <a:ext uri="{FF2B5EF4-FFF2-40B4-BE49-F238E27FC236}">
                    <a16:creationId xmlns:a16="http://schemas.microsoft.com/office/drawing/2014/main" id="{C9A3B5D9-14AD-475D-B106-51D3353ADE6D}"/>
                  </a:ext>
                </a:extLst>
              </p:cNvPr>
              <p:cNvCxnSpPr>
                <a:cxnSpLocks/>
              </p:cNvCxnSpPr>
              <p:nvPr/>
            </p:nvCxnSpPr>
            <p:spPr>
              <a:xfrm rot="5400000">
                <a:off x="14479062" y="2405535"/>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404" name="Connector: Elbow 1403">
                <a:extLst>
                  <a:ext uri="{FF2B5EF4-FFF2-40B4-BE49-F238E27FC236}">
                    <a16:creationId xmlns:a16="http://schemas.microsoft.com/office/drawing/2014/main" id="{F54ACBA9-0A56-4343-80A7-9425E7450B2F}"/>
                  </a:ext>
                </a:extLst>
              </p:cNvPr>
              <p:cNvCxnSpPr>
                <a:cxnSpLocks/>
              </p:cNvCxnSpPr>
              <p:nvPr/>
            </p:nvCxnSpPr>
            <p:spPr>
              <a:xfrm rot="16200000" flipV="1">
                <a:off x="14479062" y="2785822"/>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1405" name="Group 1404">
                <a:extLst>
                  <a:ext uri="{FF2B5EF4-FFF2-40B4-BE49-F238E27FC236}">
                    <a16:creationId xmlns:a16="http://schemas.microsoft.com/office/drawing/2014/main" id="{2DA6BFB7-969C-4FAB-A55D-5B9FEF5F220A}"/>
                  </a:ext>
                </a:extLst>
              </p:cNvPr>
              <p:cNvGrpSpPr/>
              <p:nvPr/>
            </p:nvGrpSpPr>
            <p:grpSpPr>
              <a:xfrm>
                <a:off x="14459054" y="2953858"/>
                <a:ext cx="226628" cy="226628"/>
                <a:chOff x="1358899" y="2193925"/>
                <a:chExt cx="390525" cy="390525"/>
              </a:xfrm>
            </p:grpSpPr>
            <p:sp>
              <p:nvSpPr>
                <p:cNvPr id="1515" name="Rectangle: Rounded Corners 1514">
                  <a:extLst>
                    <a:ext uri="{FF2B5EF4-FFF2-40B4-BE49-F238E27FC236}">
                      <a16:creationId xmlns:a16="http://schemas.microsoft.com/office/drawing/2014/main" id="{407C2025-FBF9-4488-93B3-2E84470CF208}"/>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516" name="Group 1515">
                  <a:extLst>
                    <a:ext uri="{FF2B5EF4-FFF2-40B4-BE49-F238E27FC236}">
                      <a16:creationId xmlns:a16="http://schemas.microsoft.com/office/drawing/2014/main" id="{5B739F62-CB31-46F2-9400-6F03CCC09B51}"/>
                    </a:ext>
                  </a:extLst>
                </p:cNvPr>
                <p:cNvGrpSpPr/>
                <p:nvPr/>
              </p:nvGrpSpPr>
              <p:grpSpPr>
                <a:xfrm>
                  <a:off x="1420588" y="2248963"/>
                  <a:ext cx="267146" cy="280448"/>
                  <a:chOff x="1401763" y="2228851"/>
                  <a:chExt cx="307974" cy="323308"/>
                </a:xfrm>
              </p:grpSpPr>
              <p:grpSp>
                <p:nvGrpSpPr>
                  <p:cNvPr id="1517" name="Group 1516">
                    <a:extLst>
                      <a:ext uri="{FF2B5EF4-FFF2-40B4-BE49-F238E27FC236}">
                        <a16:creationId xmlns:a16="http://schemas.microsoft.com/office/drawing/2014/main" id="{C22292FB-BF46-4FA4-A117-612694268E13}"/>
                      </a:ext>
                    </a:extLst>
                  </p:cNvPr>
                  <p:cNvGrpSpPr/>
                  <p:nvPr/>
                </p:nvGrpSpPr>
                <p:grpSpPr>
                  <a:xfrm>
                    <a:off x="1482725" y="2295526"/>
                    <a:ext cx="227012" cy="256633"/>
                    <a:chOff x="1482725" y="2276476"/>
                    <a:chExt cx="227012" cy="256633"/>
                  </a:xfrm>
                  <a:solidFill>
                    <a:schemeClr val="bg2"/>
                  </a:solidFill>
                </p:grpSpPr>
                <p:sp>
                  <p:nvSpPr>
                    <p:cNvPr id="1521" name="Freeform 33">
                      <a:extLst>
                        <a:ext uri="{FF2B5EF4-FFF2-40B4-BE49-F238E27FC236}">
                          <a16:creationId xmlns:a16="http://schemas.microsoft.com/office/drawing/2014/main" id="{106F4060-E0A5-479E-AAEE-687988B752B7}"/>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22" name="Freeform 33">
                      <a:extLst>
                        <a:ext uri="{FF2B5EF4-FFF2-40B4-BE49-F238E27FC236}">
                          <a16:creationId xmlns:a16="http://schemas.microsoft.com/office/drawing/2014/main" id="{E5369B3C-B7B7-435A-A7BA-74F93FF83F3D}"/>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518" name="Group 1517">
                    <a:extLst>
                      <a:ext uri="{FF2B5EF4-FFF2-40B4-BE49-F238E27FC236}">
                        <a16:creationId xmlns:a16="http://schemas.microsoft.com/office/drawing/2014/main" id="{E4497A37-46BA-4589-AE1D-729B0C717EB2}"/>
                      </a:ext>
                    </a:extLst>
                  </p:cNvPr>
                  <p:cNvGrpSpPr/>
                  <p:nvPr/>
                </p:nvGrpSpPr>
                <p:grpSpPr>
                  <a:xfrm flipH="1">
                    <a:off x="1401763" y="2228851"/>
                    <a:ext cx="227012" cy="256633"/>
                    <a:chOff x="1482725" y="2276476"/>
                    <a:chExt cx="227012" cy="256633"/>
                  </a:xfrm>
                </p:grpSpPr>
                <p:sp>
                  <p:nvSpPr>
                    <p:cNvPr id="1519" name="Freeform 33">
                      <a:extLst>
                        <a:ext uri="{FF2B5EF4-FFF2-40B4-BE49-F238E27FC236}">
                          <a16:creationId xmlns:a16="http://schemas.microsoft.com/office/drawing/2014/main" id="{4CD4595C-9838-45FE-B027-8188B5FFB8A9}"/>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20" name="Freeform 33">
                      <a:extLst>
                        <a:ext uri="{FF2B5EF4-FFF2-40B4-BE49-F238E27FC236}">
                          <a16:creationId xmlns:a16="http://schemas.microsoft.com/office/drawing/2014/main" id="{54A2272D-4DD4-402E-926A-9905D8BF6C43}"/>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grpSp>
            <p:nvGrpSpPr>
              <p:cNvPr id="1406" name="Group 1405">
                <a:extLst>
                  <a:ext uri="{FF2B5EF4-FFF2-40B4-BE49-F238E27FC236}">
                    <a16:creationId xmlns:a16="http://schemas.microsoft.com/office/drawing/2014/main" id="{4D52520F-FA90-4AB3-99F3-B7EEB9465723}"/>
                  </a:ext>
                </a:extLst>
              </p:cNvPr>
              <p:cNvGrpSpPr/>
              <p:nvPr/>
            </p:nvGrpSpPr>
            <p:grpSpPr>
              <a:xfrm>
                <a:off x="14459054" y="2210215"/>
                <a:ext cx="226628" cy="226628"/>
                <a:chOff x="1358899" y="2193925"/>
                <a:chExt cx="390525" cy="390525"/>
              </a:xfrm>
            </p:grpSpPr>
            <p:sp>
              <p:nvSpPr>
                <p:cNvPr id="1507" name="Rectangle: Rounded Corners 1506">
                  <a:extLst>
                    <a:ext uri="{FF2B5EF4-FFF2-40B4-BE49-F238E27FC236}">
                      <a16:creationId xmlns:a16="http://schemas.microsoft.com/office/drawing/2014/main" id="{965A558D-F476-4B2E-9CA4-AB7D5CAB365A}"/>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508" name="Group 1507">
                  <a:extLst>
                    <a:ext uri="{FF2B5EF4-FFF2-40B4-BE49-F238E27FC236}">
                      <a16:creationId xmlns:a16="http://schemas.microsoft.com/office/drawing/2014/main" id="{1A2ADD61-6EC3-479B-BD11-48F65FA1BA78}"/>
                    </a:ext>
                  </a:extLst>
                </p:cNvPr>
                <p:cNvGrpSpPr/>
                <p:nvPr/>
              </p:nvGrpSpPr>
              <p:grpSpPr>
                <a:xfrm>
                  <a:off x="1420588" y="2248963"/>
                  <a:ext cx="267146" cy="280448"/>
                  <a:chOff x="1401763" y="2228851"/>
                  <a:chExt cx="307974" cy="323308"/>
                </a:xfrm>
              </p:grpSpPr>
              <p:grpSp>
                <p:nvGrpSpPr>
                  <p:cNvPr id="1509" name="Group 1508">
                    <a:extLst>
                      <a:ext uri="{FF2B5EF4-FFF2-40B4-BE49-F238E27FC236}">
                        <a16:creationId xmlns:a16="http://schemas.microsoft.com/office/drawing/2014/main" id="{B0AD5B78-B52B-4177-96F1-90A46B9B3DEC}"/>
                      </a:ext>
                    </a:extLst>
                  </p:cNvPr>
                  <p:cNvGrpSpPr/>
                  <p:nvPr/>
                </p:nvGrpSpPr>
                <p:grpSpPr>
                  <a:xfrm>
                    <a:off x="1482725" y="2295526"/>
                    <a:ext cx="227012" cy="256633"/>
                    <a:chOff x="1482725" y="2276476"/>
                    <a:chExt cx="227012" cy="256633"/>
                  </a:xfrm>
                  <a:solidFill>
                    <a:schemeClr val="bg2"/>
                  </a:solidFill>
                </p:grpSpPr>
                <p:sp>
                  <p:nvSpPr>
                    <p:cNvPr id="1513" name="Freeform 33">
                      <a:extLst>
                        <a:ext uri="{FF2B5EF4-FFF2-40B4-BE49-F238E27FC236}">
                          <a16:creationId xmlns:a16="http://schemas.microsoft.com/office/drawing/2014/main" id="{EE4D6D2B-D5BF-44F4-89B1-6804AC7BF7D4}"/>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14" name="Freeform 33">
                      <a:extLst>
                        <a:ext uri="{FF2B5EF4-FFF2-40B4-BE49-F238E27FC236}">
                          <a16:creationId xmlns:a16="http://schemas.microsoft.com/office/drawing/2014/main" id="{1513339E-D824-4219-B2DA-C70DAFD1FC92}"/>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1510" name="Group 1509">
                    <a:extLst>
                      <a:ext uri="{FF2B5EF4-FFF2-40B4-BE49-F238E27FC236}">
                        <a16:creationId xmlns:a16="http://schemas.microsoft.com/office/drawing/2014/main" id="{CAF04DC1-750D-4E60-87ED-D78B8EB334F4}"/>
                      </a:ext>
                    </a:extLst>
                  </p:cNvPr>
                  <p:cNvGrpSpPr/>
                  <p:nvPr/>
                </p:nvGrpSpPr>
                <p:grpSpPr>
                  <a:xfrm flipH="1">
                    <a:off x="1401763" y="2228851"/>
                    <a:ext cx="227012" cy="256633"/>
                    <a:chOff x="1482725" y="2276476"/>
                    <a:chExt cx="227012" cy="256633"/>
                  </a:xfrm>
                </p:grpSpPr>
                <p:sp>
                  <p:nvSpPr>
                    <p:cNvPr id="1511" name="Freeform 33">
                      <a:extLst>
                        <a:ext uri="{FF2B5EF4-FFF2-40B4-BE49-F238E27FC236}">
                          <a16:creationId xmlns:a16="http://schemas.microsoft.com/office/drawing/2014/main" id="{3E82B7D9-0A21-45C8-B3E6-96002FA06544}"/>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12" name="Freeform 33">
                      <a:extLst>
                        <a:ext uri="{FF2B5EF4-FFF2-40B4-BE49-F238E27FC236}">
                          <a16:creationId xmlns:a16="http://schemas.microsoft.com/office/drawing/2014/main" id="{63517602-2E71-4B3E-80EB-0CE34EDCC10C}"/>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grpSp>
            <p:nvGrpSpPr>
              <p:cNvPr id="1415" name="Group 1414">
                <a:extLst>
                  <a:ext uri="{FF2B5EF4-FFF2-40B4-BE49-F238E27FC236}">
                    <a16:creationId xmlns:a16="http://schemas.microsoft.com/office/drawing/2014/main" id="{CF7252FC-5EA3-457B-8DED-82A13CECAB9B}"/>
                  </a:ext>
                </a:extLst>
              </p:cNvPr>
              <p:cNvGrpSpPr/>
              <p:nvPr/>
            </p:nvGrpSpPr>
            <p:grpSpPr>
              <a:xfrm>
                <a:off x="13832728" y="2465614"/>
                <a:ext cx="443632" cy="443680"/>
                <a:chOff x="542940" y="1857375"/>
                <a:chExt cx="914400" cy="914494"/>
              </a:xfrm>
            </p:grpSpPr>
            <p:sp>
              <p:nvSpPr>
                <p:cNvPr id="1485" name="Oval 1484">
                  <a:extLst>
                    <a:ext uri="{FF2B5EF4-FFF2-40B4-BE49-F238E27FC236}">
                      <a16:creationId xmlns:a16="http://schemas.microsoft.com/office/drawing/2014/main" id="{E24A6D2B-15A2-4648-BBBC-59CD98CE3324}"/>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486" name="Group 4">
                  <a:extLst>
                    <a:ext uri="{FF2B5EF4-FFF2-40B4-BE49-F238E27FC236}">
                      <a16:creationId xmlns:a16="http://schemas.microsoft.com/office/drawing/2014/main" id="{BAB14D0A-D66D-4200-960B-0C79B759C7A1}"/>
                    </a:ext>
                  </a:extLst>
                </p:cNvPr>
                <p:cNvGrpSpPr>
                  <a:grpSpLocks noChangeAspect="1"/>
                </p:cNvGrpSpPr>
                <p:nvPr/>
              </p:nvGrpSpPr>
              <p:grpSpPr bwMode="auto">
                <a:xfrm>
                  <a:off x="543174" y="1857375"/>
                  <a:ext cx="913932" cy="914494"/>
                  <a:chOff x="1261" y="0"/>
                  <a:chExt cx="3238" cy="3240"/>
                </a:xfrm>
                <a:solidFill>
                  <a:schemeClr val="tx2"/>
                </a:solidFill>
              </p:grpSpPr>
              <p:sp>
                <p:nvSpPr>
                  <p:cNvPr id="1487" name="Freeform 5">
                    <a:extLst>
                      <a:ext uri="{FF2B5EF4-FFF2-40B4-BE49-F238E27FC236}">
                        <a16:creationId xmlns:a16="http://schemas.microsoft.com/office/drawing/2014/main" id="{38EBE0E2-DF07-4048-B62E-2344690136D3}"/>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88" name="Freeform 6">
                    <a:extLst>
                      <a:ext uri="{FF2B5EF4-FFF2-40B4-BE49-F238E27FC236}">
                        <a16:creationId xmlns:a16="http://schemas.microsoft.com/office/drawing/2014/main" id="{4B127766-85DC-458A-8494-E9CC57269249}"/>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89" name="Freeform 7">
                    <a:extLst>
                      <a:ext uri="{FF2B5EF4-FFF2-40B4-BE49-F238E27FC236}">
                        <a16:creationId xmlns:a16="http://schemas.microsoft.com/office/drawing/2014/main" id="{67E3B8ED-FE69-4F88-B0EC-1D0B8FCA0173}"/>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90" name="Freeform 8">
                    <a:extLst>
                      <a:ext uri="{FF2B5EF4-FFF2-40B4-BE49-F238E27FC236}">
                        <a16:creationId xmlns:a16="http://schemas.microsoft.com/office/drawing/2014/main" id="{1F661548-A12C-4D3C-9079-FC861568A0DF}"/>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91" name="Freeform 9">
                    <a:extLst>
                      <a:ext uri="{FF2B5EF4-FFF2-40B4-BE49-F238E27FC236}">
                        <a16:creationId xmlns:a16="http://schemas.microsoft.com/office/drawing/2014/main" id="{40657C21-AF75-4CE3-805D-C183B38E0992}"/>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92" name="Freeform 10">
                    <a:extLst>
                      <a:ext uri="{FF2B5EF4-FFF2-40B4-BE49-F238E27FC236}">
                        <a16:creationId xmlns:a16="http://schemas.microsoft.com/office/drawing/2014/main" id="{289E03F0-A501-402A-9477-3B498ACF37D6}"/>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93" name="Freeform 11">
                    <a:extLst>
                      <a:ext uri="{FF2B5EF4-FFF2-40B4-BE49-F238E27FC236}">
                        <a16:creationId xmlns:a16="http://schemas.microsoft.com/office/drawing/2014/main" id="{A491D75F-A738-4D58-A5E4-346B0B2ABB5D}"/>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94" name="Freeform 12">
                    <a:extLst>
                      <a:ext uri="{FF2B5EF4-FFF2-40B4-BE49-F238E27FC236}">
                        <a16:creationId xmlns:a16="http://schemas.microsoft.com/office/drawing/2014/main" id="{B2309077-D4BE-42A9-BE6B-9CBA5524B756}"/>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95" name="Freeform 13">
                    <a:extLst>
                      <a:ext uri="{FF2B5EF4-FFF2-40B4-BE49-F238E27FC236}">
                        <a16:creationId xmlns:a16="http://schemas.microsoft.com/office/drawing/2014/main" id="{9FF3FD9D-0992-4BE3-9813-12C833F943B4}"/>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96" name="Freeform 14">
                    <a:extLst>
                      <a:ext uri="{FF2B5EF4-FFF2-40B4-BE49-F238E27FC236}">
                        <a16:creationId xmlns:a16="http://schemas.microsoft.com/office/drawing/2014/main" id="{03E02D79-E962-44A2-8A3A-D1F16E672E53}"/>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97" name="Freeform 15">
                    <a:extLst>
                      <a:ext uri="{FF2B5EF4-FFF2-40B4-BE49-F238E27FC236}">
                        <a16:creationId xmlns:a16="http://schemas.microsoft.com/office/drawing/2014/main" id="{63825721-C57B-4F10-AFD8-7293EAE44EAF}"/>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98" name="Freeform 16">
                    <a:extLst>
                      <a:ext uri="{FF2B5EF4-FFF2-40B4-BE49-F238E27FC236}">
                        <a16:creationId xmlns:a16="http://schemas.microsoft.com/office/drawing/2014/main" id="{FC32E6C1-7860-4172-BBC8-F4EFFFD59AC8}"/>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99" name="Freeform 17">
                    <a:extLst>
                      <a:ext uri="{FF2B5EF4-FFF2-40B4-BE49-F238E27FC236}">
                        <a16:creationId xmlns:a16="http://schemas.microsoft.com/office/drawing/2014/main" id="{BE6CD4F3-CE9B-4A13-9BC9-AE36DA8E309B}"/>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00" name="Freeform 18">
                    <a:extLst>
                      <a:ext uri="{FF2B5EF4-FFF2-40B4-BE49-F238E27FC236}">
                        <a16:creationId xmlns:a16="http://schemas.microsoft.com/office/drawing/2014/main" id="{7CD73A6B-D08D-48D1-87CD-E95E529DAB76}"/>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01" name="Freeform 19">
                    <a:extLst>
                      <a:ext uri="{FF2B5EF4-FFF2-40B4-BE49-F238E27FC236}">
                        <a16:creationId xmlns:a16="http://schemas.microsoft.com/office/drawing/2014/main" id="{74265E48-88DA-475A-8CFB-617B781C8AA0}"/>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02" name="Freeform 20">
                    <a:extLst>
                      <a:ext uri="{FF2B5EF4-FFF2-40B4-BE49-F238E27FC236}">
                        <a16:creationId xmlns:a16="http://schemas.microsoft.com/office/drawing/2014/main" id="{93E0668A-9ABE-4248-888E-B569FF68ACB8}"/>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03" name="Freeform 21">
                    <a:extLst>
                      <a:ext uri="{FF2B5EF4-FFF2-40B4-BE49-F238E27FC236}">
                        <a16:creationId xmlns:a16="http://schemas.microsoft.com/office/drawing/2014/main" id="{39ACC2C5-3481-4431-A222-F4CCD5B7B1CC}"/>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04" name="Freeform 22">
                    <a:extLst>
                      <a:ext uri="{FF2B5EF4-FFF2-40B4-BE49-F238E27FC236}">
                        <a16:creationId xmlns:a16="http://schemas.microsoft.com/office/drawing/2014/main" id="{16C3C9B9-1C3C-4EFF-B2E3-8DB36EF0CA28}"/>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05" name="Freeform 23">
                    <a:extLst>
                      <a:ext uri="{FF2B5EF4-FFF2-40B4-BE49-F238E27FC236}">
                        <a16:creationId xmlns:a16="http://schemas.microsoft.com/office/drawing/2014/main" id="{1F7000D4-4BB5-4A00-9DE5-7E2DF5AC2E7E}"/>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06" name="Freeform 24">
                    <a:extLst>
                      <a:ext uri="{FF2B5EF4-FFF2-40B4-BE49-F238E27FC236}">
                        <a16:creationId xmlns:a16="http://schemas.microsoft.com/office/drawing/2014/main" id="{2F607021-E717-44E5-B478-47D90A8D8031}"/>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sp>
            <p:nvSpPr>
              <p:cNvPr id="1331" name="Rectangle: Rounded Corners 1330">
                <a:extLst>
                  <a:ext uri="{FF2B5EF4-FFF2-40B4-BE49-F238E27FC236}">
                    <a16:creationId xmlns:a16="http://schemas.microsoft.com/office/drawing/2014/main" id="{B192423F-8108-4DB3-B4AA-1B2AC61B0188}"/>
                  </a:ext>
                </a:extLst>
              </p:cNvPr>
              <p:cNvSpPr/>
              <p:nvPr/>
            </p:nvSpPr>
            <p:spPr>
              <a:xfrm>
                <a:off x="14718608" y="2044203"/>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32" name="Rectangle: Rounded Corners 1331">
                <a:extLst>
                  <a:ext uri="{FF2B5EF4-FFF2-40B4-BE49-F238E27FC236}">
                    <a16:creationId xmlns:a16="http://schemas.microsoft.com/office/drawing/2014/main" id="{A6DE1689-0A58-4B29-A769-97121BFD86EF}"/>
                  </a:ext>
                </a:extLst>
              </p:cNvPr>
              <p:cNvSpPr/>
              <p:nvPr/>
            </p:nvSpPr>
            <p:spPr>
              <a:xfrm>
                <a:off x="14718608" y="2790238"/>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33" name="Rectangle: Rounded Corners 1332">
                <a:extLst>
                  <a:ext uri="{FF2B5EF4-FFF2-40B4-BE49-F238E27FC236}">
                    <a16:creationId xmlns:a16="http://schemas.microsoft.com/office/drawing/2014/main" id="{36C0B4FB-71E7-4551-AE9A-718E2A16BBF6}"/>
                  </a:ext>
                </a:extLst>
              </p:cNvPr>
              <p:cNvSpPr/>
              <p:nvPr/>
            </p:nvSpPr>
            <p:spPr>
              <a:xfrm>
                <a:off x="14423501" y="2914850"/>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34" name="Rectangle: Rounded Corners 1333">
                <a:extLst>
                  <a:ext uri="{FF2B5EF4-FFF2-40B4-BE49-F238E27FC236}">
                    <a16:creationId xmlns:a16="http://schemas.microsoft.com/office/drawing/2014/main" id="{2F7F704C-8992-4142-A6E4-03DCA4D8E43B}"/>
                  </a:ext>
                </a:extLst>
              </p:cNvPr>
              <p:cNvSpPr/>
              <p:nvPr/>
            </p:nvSpPr>
            <p:spPr>
              <a:xfrm>
                <a:off x="14423501" y="2169141"/>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cxnSp>
            <p:nvCxnSpPr>
              <p:cNvPr id="1335" name="Straight Connector 1334">
                <a:extLst>
                  <a:ext uri="{FF2B5EF4-FFF2-40B4-BE49-F238E27FC236}">
                    <a16:creationId xmlns:a16="http://schemas.microsoft.com/office/drawing/2014/main" id="{7ADA55DD-B131-42D2-9B44-BAA9A6B90DCC}"/>
                  </a:ext>
                </a:extLst>
              </p:cNvPr>
              <p:cNvCxnSpPr>
                <a:stCxn id="1331" idx="2"/>
                <a:endCxn id="1332" idx="0"/>
              </p:cNvCxnSpPr>
              <p:nvPr/>
            </p:nvCxnSpPr>
            <p:spPr>
              <a:xfrm>
                <a:off x="15072735" y="2571750"/>
                <a:ext cx="0" cy="218488"/>
              </a:xfrm>
              <a:prstGeom prst="line">
                <a:avLst/>
              </a:prstGeom>
              <a:noFill/>
              <a:ln cap="rnd">
                <a:solidFill>
                  <a:schemeClr val="accent5"/>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1336" name="TextBox 1335">
                <a:extLst>
                  <a:ext uri="{FF2B5EF4-FFF2-40B4-BE49-F238E27FC236}">
                    <a16:creationId xmlns:a16="http://schemas.microsoft.com/office/drawing/2014/main" id="{2198837D-D385-4726-829D-3251A62F7076}"/>
                  </a:ext>
                </a:extLst>
              </p:cNvPr>
              <p:cNvSpPr txBox="1"/>
              <p:nvPr/>
            </p:nvSpPr>
            <p:spPr>
              <a:xfrm>
                <a:off x="13792568" y="2425448"/>
                <a:ext cx="526416" cy="519728"/>
              </a:xfrm>
              <a:prstGeom prst="ellipse">
                <a:avLst/>
              </a:prstGeom>
              <a:noFill/>
              <a:ln>
                <a:solidFill>
                  <a:schemeClr val="accent5">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37" name="Oval 1336">
                <a:extLst>
                  <a:ext uri="{FF2B5EF4-FFF2-40B4-BE49-F238E27FC236}">
                    <a16:creationId xmlns:a16="http://schemas.microsoft.com/office/drawing/2014/main" id="{7BEA92DE-3A03-4F2D-8DA1-5F3345D0154E}"/>
                  </a:ext>
                </a:extLst>
              </p:cNvPr>
              <p:cNvSpPr/>
              <p:nvPr/>
            </p:nvSpPr>
            <p:spPr>
              <a:xfrm>
                <a:off x="13797042" y="2427829"/>
                <a:ext cx="517468" cy="517468"/>
              </a:xfrm>
              <a:prstGeom prst="ellipse">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338" name="Group 1337">
                <a:extLst>
                  <a:ext uri="{FF2B5EF4-FFF2-40B4-BE49-F238E27FC236}">
                    <a16:creationId xmlns:a16="http://schemas.microsoft.com/office/drawing/2014/main" id="{35006E9A-108E-4FBE-AFD7-E264E573A770}"/>
                  </a:ext>
                </a:extLst>
              </p:cNvPr>
              <p:cNvGrpSpPr/>
              <p:nvPr/>
            </p:nvGrpSpPr>
            <p:grpSpPr>
              <a:xfrm>
                <a:off x="14491445" y="1912187"/>
                <a:ext cx="666253" cy="1036712"/>
                <a:chOff x="5555760" y="1912187"/>
                <a:chExt cx="666253" cy="1036712"/>
              </a:xfrm>
            </p:grpSpPr>
            <p:pic>
              <p:nvPicPr>
                <p:cNvPr id="1348" name="Picture 1347">
                  <a:extLst>
                    <a:ext uri="{FF2B5EF4-FFF2-40B4-BE49-F238E27FC236}">
                      <a16:creationId xmlns:a16="http://schemas.microsoft.com/office/drawing/2014/main" id="{BDBB7A1E-E647-431F-A76C-F51DF722DCD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555760" y="2040179"/>
                  <a:ext cx="157900" cy="155766"/>
                </a:xfrm>
                <a:prstGeom prst="rect">
                  <a:avLst/>
                </a:prstGeom>
              </p:spPr>
            </p:pic>
            <p:pic>
              <p:nvPicPr>
                <p:cNvPr id="1349" name="Picture 1348">
                  <a:extLst>
                    <a:ext uri="{FF2B5EF4-FFF2-40B4-BE49-F238E27FC236}">
                      <a16:creationId xmlns:a16="http://schemas.microsoft.com/office/drawing/2014/main" id="{80C0A5B6-FD85-4F1B-8EF0-E79F86DD3A99}"/>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063827" y="1912187"/>
                  <a:ext cx="157900" cy="157900"/>
                </a:xfrm>
                <a:prstGeom prst="rect">
                  <a:avLst/>
                </a:prstGeom>
              </p:spPr>
            </p:pic>
            <p:pic>
              <p:nvPicPr>
                <p:cNvPr id="1350" name="Picture 1349">
                  <a:extLst>
                    <a:ext uri="{FF2B5EF4-FFF2-40B4-BE49-F238E27FC236}">
                      <a16:creationId xmlns:a16="http://schemas.microsoft.com/office/drawing/2014/main" id="{F728F7B0-9E98-4FB6-8FBA-A83C1D6CFC2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558141" y="2793133"/>
                  <a:ext cx="157900" cy="155766"/>
                </a:xfrm>
                <a:prstGeom prst="rect">
                  <a:avLst/>
                </a:prstGeom>
              </p:spPr>
            </p:pic>
            <p:pic>
              <p:nvPicPr>
                <p:cNvPr id="1351" name="Picture 1350">
                  <a:extLst>
                    <a:ext uri="{FF2B5EF4-FFF2-40B4-BE49-F238E27FC236}">
                      <a16:creationId xmlns:a16="http://schemas.microsoft.com/office/drawing/2014/main" id="{1F13831E-A0A2-4663-AF79-0A38CAE8246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064113" y="2655490"/>
                  <a:ext cx="157900" cy="157900"/>
                </a:xfrm>
                <a:prstGeom prst="rect">
                  <a:avLst/>
                </a:prstGeom>
              </p:spPr>
            </p:pic>
          </p:grpSp>
          <p:grpSp>
            <p:nvGrpSpPr>
              <p:cNvPr id="1339" name="Group 1338">
                <a:extLst>
                  <a:ext uri="{FF2B5EF4-FFF2-40B4-BE49-F238E27FC236}">
                    <a16:creationId xmlns:a16="http://schemas.microsoft.com/office/drawing/2014/main" id="{CE557D6C-36E3-47AE-B82E-882DA678FE26}"/>
                  </a:ext>
                </a:extLst>
              </p:cNvPr>
              <p:cNvGrpSpPr/>
              <p:nvPr/>
            </p:nvGrpSpPr>
            <p:grpSpPr>
              <a:xfrm>
                <a:off x="13779976" y="1560778"/>
                <a:ext cx="891121" cy="465927"/>
                <a:chOff x="3359218" y="303257"/>
                <a:chExt cx="891121" cy="465927"/>
              </a:xfrm>
            </p:grpSpPr>
            <p:sp>
              <p:nvSpPr>
                <p:cNvPr id="1346" name="Isosceles Triangle 1345">
                  <a:extLst>
                    <a:ext uri="{FF2B5EF4-FFF2-40B4-BE49-F238E27FC236}">
                      <a16:creationId xmlns:a16="http://schemas.microsoft.com/office/drawing/2014/main" id="{125588EE-6A0C-46CB-9931-998998561653}"/>
                    </a:ext>
                  </a:extLst>
                </p:cNvPr>
                <p:cNvSpPr/>
                <p:nvPr/>
              </p:nvSpPr>
              <p:spPr>
                <a:xfrm flipV="1">
                  <a:off x="3995204" y="600121"/>
                  <a:ext cx="196113" cy="169063"/>
                </a:xfrm>
                <a:prstGeom prst="triangle">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47" name="Rectangle: Rounded Corners 1346">
                  <a:extLst>
                    <a:ext uri="{FF2B5EF4-FFF2-40B4-BE49-F238E27FC236}">
                      <a16:creationId xmlns:a16="http://schemas.microsoft.com/office/drawing/2014/main" id="{A80EE7C1-17B8-4517-8D4F-3AD4420CAC56}"/>
                    </a:ext>
                  </a:extLst>
                </p:cNvPr>
                <p:cNvSpPr/>
                <p:nvPr/>
              </p:nvSpPr>
              <p:spPr>
                <a:xfrm>
                  <a:off x="3359218" y="303257"/>
                  <a:ext cx="891121" cy="37981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East-West</a:t>
                  </a:r>
                </a:p>
              </p:txBody>
            </p:sp>
          </p:grpSp>
          <p:grpSp>
            <p:nvGrpSpPr>
              <p:cNvPr id="1340" name="Group 1339">
                <a:extLst>
                  <a:ext uri="{FF2B5EF4-FFF2-40B4-BE49-F238E27FC236}">
                    <a16:creationId xmlns:a16="http://schemas.microsoft.com/office/drawing/2014/main" id="{B22337A1-1D76-4A36-BC29-1F5D54FEACCB}"/>
                  </a:ext>
                </a:extLst>
              </p:cNvPr>
              <p:cNvGrpSpPr/>
              <p:nvPr/>
            </p:nvGrpSpPr>
            <p:grpSpPr>
              <a:xfrm flipH="1">
                <a:off x="15235847" y="1743106"/>
                <a:ext cx="988102" cy="379815"/>
                <a:chOff x="3719147" y="303257"/>
                <a:chExt cx="604759" cy="379815"/>
              </a:xfrm>
              <a:solidFill>
                <a:schemeClr val="accent5"/>
              </a:solidFill>
            </p:grpSpPr>
            <p:sp>
              <p:nvSpPr>
                <p:cNvPr id="1344" name="Isosceles Triangle 1343">
                  <a:extLst>
                    <a:ext uri="{FF2B5EF4-FFF2-40B4-BE49-F238E27FC236}">
                      <a16:creationId xmlns:a16="http://schemas.microsoft.com/office/drawing/2014/main" id="{AA2BB6DB-23A4-4A6C-9503-960192010E85}"/>
                    </a:ext>
                  </a:extLst>
                </p:cNvPr>
                <p:cNvSpPr/>
                <p:nvPr/>
              </p:nvSpPr>
              <p:spPr>
                <a:xfrm rot="16200000" flipV="1">
                  <a:off x="4151235" y="445280"/>
                  <a:ext cx="212595" cy="132747"/>
                </a:xfrm>
                <a:prstGeom prst="triangl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45" name="Rectangle: Rounded Corners 1344">
                  <a:extLst>
                    <a:ext uri="{FF2B5EF4-FFF2-40B4-BE49-F238E27FC236}">
                      <a16:creationId xmlns:a16="http://schemas.microsoft.com/office/drawing/2014/main" id="{E189E600-C189-4469-8051-038727A59774}"/>
                    </a:ext>
                  </a:extLst>
                </p:cNvPr>
                <p:cNvSpPr/>
                <p:nvPr/>
              </p:nvSpPr>
              <p:spPr>
                <a:xfrm>
                  <a:off x="3719147" y="303257"/>
                  <a:ext cx="531191" cy="37981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Process to Process</a:t>
                  </a:r>
                </a:p>
              </p:txBody>
            </p:sp>
          </p:grpSp>
          <p:grpSp>
            <p:nvGrpSpPr>
              <p:cNvPr id="1341" name="Group 1340">
                <a:extLst>
                  <a:ext uri="{FF2B5EF4-FFF2-40B4-BE49-F238E27FC236}">
                    <a16:creationId xmlns:a16="http://schemas.microsoft.com/office/drawing/2014/main" id="{0CC02CD7-2F1C-43D0-82D1-1D26F684DE72}"/>
                  </a:ext>
                </a:extLst>
              </p:cNvPr>
              <p:cNvGrpSpPr/>
              <p:nvPr/>
            </p:nvGrpSpPr>
            <p:grpSpPr>
              <a:xfrm>
                <a:off x="13127003" y="2974615"/>
                <a:ext cx="1038940" cy="547377"/>
                <a:chOff x="3211398" y="200071"/>
                <a:chExt cx="1038940" cy="547377"/>
              </a:xfrm>
            </p:grpSpPr>
            <p:sp>
              <p:nvSpPr>
                <p:cNvPr id="1342" name="Isosceles Triangle 1341">
                  <a:extLst>
                    <a:ext uri="{FF2B5EF4-FFF2-40B4-BE49-F238E27FC236}">
                      <a16:creationId xmlns:a16="http://schemas.microsoft.com/office/drawing/2014/main" id="{020EB0BB-F141-43C6-8B6A-D37E5D8680C9}"/>
                    </a:ext>
                  </a:extLst>
                </p:cNvPr>
                <p:cNvSpPr/>
                <p:nvPr/>
              </p:nvSpPr>
              <p:spPr>
                <a:xfrm>
                  <a:off x="3995204" y="200071"/>
                  <a:ext cx="196113" cy="169063"/>
                </a:xfrm>
                <a:prstGeom prst="triangle">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343" name="Rectangle: Rounded Corners 1342">
                  <a:extLst>
                    <a:ext uri="{FF2B5EF4-FFF2-40B4-BE49-F238E27FC236}">
                      <a16:creationId xmlns:a16="http://schemas.microsoft.com/office/drawing/2014/main" id="{BBE348E3-5AC2-489E-A04E-832152B7FE7F}"/>
                    </a:ext>
                  </a:extLst>
                </p:cNvPr>
                <p:cNvSpPr/>
                <p:nvPr/>
              </p:nvSpPr>
              <p:spPr>
                <a:xfrm>
                  <a:off x="3211398" y="303257"/>
                  <a:ext cx="1038940" cy="444191"/>
                </a:xfrm>
                <a:prstGeom prst="round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North-South</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Perimeter</a:t>
                  </a:r>
                </a:p>
              </p:txBody>
            </p:sp>
          </p:grpSp>
        </p:grpSp>
      </p:grpSp>
      <p:grpSp>
        <p:nvGrpSpPr>
          <p:cNvPr id="1201" name="Group 1200">
            <a:extLst>
              <a:ext uri="{FF2B5EF4-FFF2-40B4-BE49-F238E27FC236}">
                <a16:creationId xmlns:a16="http://schemas.microsoft.com/office/drawing/2014/main" id="{A54063F4-81D5-403B-B9AB-060A72F8DE7F}"/>
              </a:ext>
            </a:extLst>
          </p:cNvPr>
          <p:cNvGrpSpPr/>
          <p:nvPr/>
        </p:nvGrpSpPr>
        <p:grpSpPr>
          <a:xfrm>
            <a:off x="6593387" y="3286794"/>
            <a:ext cx="1993017" cy="486806"/>
            <a:chOff x="4755699" y="3092016"/>
            <a:chExt cx="2151216" cy="1240479"/>
          </a:xfrm>
        </p:grpSpPr>
        <p:sp>
          <p:nvSpPr>
            <p:cNvPr id="1202" name="Rectangle: Rounded Corners 1201">
              <a:extLst>
                <a:ext uri="{FF2B5EF4-FFF2-40B4-BE49-F238E27FC236}">
                  <a16:creationId xmlns:a16="http://schemas.microsoft.com/office/drawing/2014/main" id="{6863B459-687A-4D16-8908-35E3ECFFB6D1}"/>
                </a:ext>
              </a:extLst>
            </p:cNvPr>
            <p:cNvSpPr/>
            <p:nvPr/>
          </p:nvSpPr>
          <p:spPr>
            <a:xfrm>
              <a:off x="4755699" y="3217089"/>
              <a:ext cx="1579614" cy="1057592"/>
            </a:xfrm>
            <a:prstGeom prst="roundRect">
              <a:avLst>
                <a:gd name="adj" fmla="val 10749"/>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03" name="Isosceles Triangle 1202">
              <a:extLst>
                <a:ext uri="{FF2B5EF4-FFF2-40B4-BE49-F238E27FC236}">
                  <a16:creationId xmlns:a16="http://schemas.microsoft.com/office/drawing/2014/main" id="{16BFEE40-CF60-4C8A-A68C-E63BCC924303}"/>
                </a:ext>
              </a:extLst>
            </p:cNvPr>
            <p:cNvSpPr/>
            <p:nvPr/>
          </p:nvSpPr>
          <p:spPr>
            <a:xfrm rot="10800000" flipV="1">
              <a:off x="4859066" y="3092016"/>
              <a:ext cx="147754" cy="131304"/>
            </a:xfrm>
            <a:prstGeom prs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04" name="Rectangle 1203">
              <a:extLst>
                <a:ext uri="{FF2B5EF4-FFF2-40B4-BE49-F238E27FC236}">
                  <a16:creationId xmlns:a16="http://schemas.microsoft.com/office/drawing/2014/main" id="{FBBE6A86-2BF7-401D-8FB4-8D538C238DF1}"/>
                </a:ext>
              </a:extLst>
            </p:cNvPr>
            <p:cNvSpPr/>
            <p:nvPr/>
          </p:nvSpPr>
          <p:spPr>
            <a:xfrm>
              <a:off x="4775783" y="3273723"/>
              <a:ext cx="2131132" cy="1058772"/>
            </a:xfrm>
            <a:prstGeom prst="rect">
              <a:avLst/>
            </a:prstGeom>
          </p:spPr>
          <p:txBody>
            <a:bodyPr wrap="square" anchor="t">
              <a:spAutoFit/>
            </a:bodyPr>
            <a:lstStyle/>
            <a:p>
              <a:pPr marL="0" marR="0" lvl="0" indent="0" algn="l" defTabSz="457200" rtl="0" eaLnBrk="1" fontAlgn="base" latinLnBrk="0" hangingPunct="1">
                <a:lnSpc>
                  <a:spcPct val="100000"/>
                </a:lnSpc>
                <a:spcBef>
                  <a:spcPts val="60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Segmentation across </a:t>
              </a:r>
              <a:br>
                <a:rPr kumimoji="0" lang="en-US" sz="105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br>
              <a:r>
                <a:rPr kumimoji="0" lang="en-US" sz="105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multiple clouds</a:t>
              </a:r>
              <a:endParaRPr kumimoji="0" lang="en-US" sz="12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grpSp>
      <p:sp>
        <p:nvSpPr>
          <p:cNvPr id="425" name="Rectangle 424">
            <a:extLst>
              <a:ext uri="{FF2B5EF4-FFF2-40B4-BE49-F238E27FC236}">
                <a16:creationId xmlns:a16="http://schemas.microsoft.com/office/drawing/2014/main" id="{C6704652-CC5F-4B57-9BD0-0225BBE97049}"/>
              </a:ext>
            </a:extLst>
          </p:cNvPr>
          <p:cNvSpPr/>
          <p:nvPr/>
        </p:nvSpPr>
        <p:spPr>
          <a:xfrm>
            <a:off x="-1409" y="0"/>
            <a:ext cx="3048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01" name="GRID" hidden="1">
            <a:extLst>
              <a:ext uri="{FF2B5EF4-FFF2-40B4-BE49-F238E27FC236}">
                <a16:creationId xmlns:a16="http://schemas.microsoft.com/office/drawing/2014/main" id="{D22DE790-5C0A-4D6F-A8F7-BBFF046B80FE}"/>
              </a:ext>
            </a:extLst>
          </p:cNvPr>
          <p:cNvGrpSpPr/>
          <p:nvPr>
            <p:custDataLst>
              <p:tags r:id="rId1"/>
            </p:custDataLst>
          </p:nvPr>
        </p:nvGrpSpPr>
        <p:grpSpPr>
          <a:xfrm>
            <a:off x="0" y="-1"/>
            <a:ext cx="9144000" cy="5143501"/>
            <a:chOff x="0" y="-1"/>
            <a:chExt cx="12192000" cy="6858001"/>
          </a:xfrm>
        </p:grpSpPr>
        <p:grpSp>
          <p:nvGrpSpPr>
            <p:cNvPr id="102" name="Fourth" hidden="1">
              <a:extLst>
                <a:ext uri="{FF2B5EF4-FFF2-40B4-BE49-F238E27FC236}">
                  <a16:creationId xmlns:a16="http://schemas.microsoft.com/office/drawing/2014/main" id="{6B35FA0F-05FD-452A-9343-954D281D92E5}"/>
                </a:ext>
              </a:extLst>
            </p:cNvPr>
            <p:cNvGrpSpPr/>
            <p:nvPr userDrawn="1"/>
          </p:nvGrpSpPr>
          <p:grpSpPr>
            <a:xfrm>
              <a:off x="640080" y="6720840"/>
              <a:ext cx="10911840" cy="137160"/>
              <a:chOff x="640080" y="6720840"/>
              <a:chExt cx="10911840" cy="137160"/>
            </a:xfrm>
          </p:grpSpPr>
          <p:sp>
            <p:nvSpPr>
              <p:cNvPr id="142" name="Rectangle 141" hidden="1">
                <a:extLst>
                  <a:ext uri="{FF2B5EF4-FFF2-40B4-BE49-F238E27FC236}">
                    <a16:creationId xmlns:a16="http://schemas.microsoft.com/office/drawing/2014/main" id="{2BCF7AA5-9D57-432E-B31A-EC9FA3399E78}"/>
                  </a:ext>
                </a:extLst>
              </p:cNvPr>
              <p:cNvSpPr/>
              <p:nvPr userDrawn="1"/>
            </p:nvSpPr>
            <p:spPr>
              <a:xfrm>
                <a:off x="640080" y="6720840"/>
                <a:ext cx="3488019" cy="137160"/>
              </a:xfrm>
              <a:prstGeom prst="rect">
                <a:avLst/>
              </a:prstGeom>
              <a:solidFill>
                <a:srgbClr val="CBDB2F">
                  <a:alpha val="25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charset="0"/>
                  <a:cs typeface="+mn-cs"/>
                </a:endParaRPr>
              </a:p>
            </p:txBody>
          </p:sp>
          <p:sp>
            <p:nvSpPr>
              <p:cNvPr id="143" name="Rectangle 142" hidden="1">
                <a:extLst>
                  <a:ext uri="{FF2B5EF4-FFF2-40B4-BE49-F238E27FC236}">
                    <a16:creationId xmlns:a16="http://schemas.microsoft.com/office/drawing/2014/main" id="{04D50009-5E91-40BA-8F3C-7262811FFBC4}"/>
                  </a:ext>
                </a:extLst>
              </p:cNvPr>
              <p:cNvSpPr/>
              <p:nvPr userDrawn="1"/>
            </p:nvSpPr>
            <p:spPr>
              <a:xfrm>
                <a:off x="4351991" y="6720840"/>
                <a:ext cx="3488019" cy="137160"/>
              </a:xfrm>
              <a:prstGeom prst="rect">
                <a:avLst/>
              </a:prstGeom>
              <a:solidFill>
                <a:srgbClr val="CBDB2F">
                  <a:alpha val="25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charset="0"/>
                  <a:cs typeface="+mn-cs"/>
                </a:endParaRPr>
              </a:p>
            </p:txBody>
          </p:sp>
          <p:sp>
            <p:nvSpPr>
              <p:cNvPr id="144" name="Rectangle 143" hidden="1">
                <a:extLst>
                  <a:ext uri="{FF2B5EF4-FFF2-40B4-BE49-F238E27FC236}">
                    <a16:creationId xmlns:a16="http://schemas.microsoft.com/office/drawing/2014/main" id="{F3BFD037-6C37-40A9-95A8-74E16D69D269}"/>
                  </a:ext>
                </a:extLst>
              </p:cNvPr>
              <p:cNvSpPr/>
              <p:nvPr userDrawn="1"/>
            </p:nvSpPr>
            <p:spPr>
              <a:xfrm>
                <a:off x="8063901" y="6720840"/>
                <a:ext cx="3488019" cy="137160"/>
              </a:xfrm>
              <a:prstGeom prst="rect">
                <a:avLst/>
              </a:prstGeom>
              <a:solidFill>
                <a:srgbClr val="CBDB2F">
                  <a:alpha val="25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charset="0"/>
                  <a:cs typeface="+mn-cs"/>
                </a:endParaRPr>
              </a:p>
            </p:txBody>
          </p:sp>
        </p:grpSp>
        <p:grpSp>
          <p:nvGrpSpPr>
            <p:cNvPr id="103" name="Third" hidden="1">
              <a:extLst>
                <a:ext uri="{FF2B5EF4-FFF2-40B4-BE49-F238E27FC236}">
                  <a16:creationId xmlns:a16="http://schemas.microsoft.com/office/drawing/2014/main" id="{2DB05760-D842-4542-B151-B86EDB2F532F}"/>
                </a:ext>
              </a:extLst>
            </p:cNvPr>
            <p:cNvGrpSpPr/>
            <p:nvPr userDrawn="1"/>
          </p:nvGrpSpPr>
          <p:grpSpPr>
            <a:xfrm>
              <a:off x="640081" y="6583679"/>
              <a:ext cx="10911839" cy="137160"/>
              <a:chOff x="640081" y="6362113"/>
              <a:chExt cx="10911839" cy="137160"/>
            </a:xfrm>
          </p:grpSpPr>
          <p:sp>
            <p:nvSpPr>
              <p:cNvPr id="138" name="Rectangle 137" hidden="1">
                <a:extLst>
                  <a:ext uri="{FF2B5EF4-FFF2-40B4-BE49-F238E27FC236}">
                    <a16:creationId xmlns:a16="http://schemas.microsoft.com/office/drawing/2014/main" id="{D9305CA6-9308-4C1B-9E7E-216966DE2D3E}"/>
                  </a:ext>
                </a:extLst>
              </p:cNvPr>
              <p:cNvSpPr/>
              <p:nvPr userDrawn="1"/>
            </p:nvSpPr>
            <p:spPr>
              <a:xfrm>
                <a:off x="640081" y="6362113"/>
                <a:ext cx="2560042" cy="137160"/>
              </a:xfrm>
              <a:prstGeom prst="rect">
                <a:avLst/>
              </a:prstGeom>
              <a:solidFill>
                <a:srgbClr val="00A9E0">
                  <a:alpha val="25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charset="0"/>
                  <a:cs typeface="+mn-cs"/>
                </a:endParaRPr>
              </a:p>
            </p:txBody>
          </p:sp>
          <p:sp>
            <p:nvSpPr>
              <p:cNvPr id="139" name="Rectangle 138" hidden="1">
                <a:extLst>
                  <a:ext uri="{FF2B5EF4-FFF2-40B4-BE49-F238E27FC236}">
                    <a16:creationId xmlns:a16="http://schemas.microsoft.com/office/drawing/2014/main" id="{FE45EB8B-CE5D-49D0-851D-458A927D6AF6}"/>
                  </a:ext>
                </a:extLst>
              </p:cNvPr>
              <p:cNvSpPr/>
              <p:nvPr userDrawn="1"/>
            </p:nvSpPr>
            <p:spPr>
              <a:xfrm>
                <a:off x="3424011" y="6362113"/>
                <a:ext cx="2560042" cy="137160"/>
              </a:xfrm>
              <a:prstGeom prst="rect">
                <a:avLst/>
              </a:prstGeom>
              <a:solidFill>
                <a:srgbClr val="00A9E0">
                  <a:alpha val="25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charset="0"/>
                  <a:cs typeface="+mn-cs"/>
                </a:endParaRPr>
              </a:p>
            </p:txBody>
          </p:sp>
          <p:sp>
            <p:nvSpPr>
              <p:cNvPr id="140" name="Rectangle 139" hidden="1">
                <a:extLst>
                  <a:ext uri="{FF2B5EF4-FFF2-40B4-BE49-F238E27FC236}">
                    <a16:creationId xmlns:a16="http://schemas.microsoft.com/office/drawing/2014/main" id="{BCD2403D-CA0E-4526-A98D-5711A72358E2}"/>
                  </a:ext>
                </a:extLst>
              </p:cNvPr>
              <p:cNvSpPr/>
              <p:nvPr userDrawn="1"/>
            </p:nvSpPr>
            <p:spPr>
              <a:xfrm>
                <a:off x="6207942" y="6362113"/>
                <a:ext cx="2560042" cy="137160"/>
              </a:xfrm>
              <a:prstGeom prst="rect">
                <a:avLst/>
              </a:prstGeom>
              <a:solidFill>
                <a:srgbClr val="00A9E0">
                  <a:alpha val="25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charset="0"/>
                  <a:cs typeface="+mn-cs"/>
                </a:endParaRPr>
              </a:p>
            </p:txBody>
          </p:sp>
          <p:sp>
            <p:nvSpPr>
              <p:cNvPr id="141" name="Rectangle 140" hidden="1">
                <a:extLst>
                  <a:ext uri="{FF2B5EF4-FFF2-40B4-BE49-F238E27FC236}">
                    <a16:creationId xmlns:a16="http://schemas.microsoft.com/office/drawing/2014/main" id="{FC3E552A-879B-4ED0-BA4A-93E0AEAEC703}"/>
                  </a:ext>
                </a:extLst>
              </p:cNvPr>
              <p:cNvSpPr/>
              <p:nvPr userDrawn="1"/>
            </p:nvSpPr>
            <p:spPr>
              <a:xfrm>
                <a:off x="8991878" y="6362113"/>
                <a:ext cx="2560042" cy="137160"/>
              </a:xfrm>
              <a:prstGeom prst="rect">
                <a:avLst/>
              </a:prstGeom>
              <a:solidFill>
                <a:srgbClr val="00A9E0">
                  <a:alpha val="25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charset="0"/>
                  <a:cs typeface="+mn-cs"/>
                </a:endParaRPr>
              </a:p>
            </p:txBody>
          </p:sp>
        </p:grpSp>
        <p:grpSp>
          <p:nvGrpSpPr>
            <p:cNvPr id="104" name="12-Column" hidden="1">
              <a:extLst>
                <a:ext uri="{FF2B5EF4-FFF2-40B4-BE49-F238E27FC236}">
                  <a16:creationId xmlns:a16="http://schemas.microsoft.com/office/drawing/2014/main" id="{5DE2CA2A-6450-4DC0-8117-34B294471A7A}"/>
                </a:ext>
              </a:extLst>
            </p:cNvPr>
            <p:cNvGrpSpPr/>
            <p:nvPr userDrawn="1"/>
          </p:nvGrpSpPr>
          <p:grpSpPr>
            <a:xfrm>
              <a:off x="640080" y="1913206"/>
              <a:ext cx="10911840" cy="4304714"/>
              <a:chOff x="640080" y="640080"/>
              <a:chExt cx="10911840" cy="5577840"/>
            </a:xfrm>
            <a:solidFill>
              <a:srgbClr val="FFFFFF">
                <a:alpha val="15000"/>
              </a:srgbClr>
            </a:solidFill>
          </p:grpSpPr>
          <p:sp>
            <p:nvSpPr>
              <p:cNvPr id="126" name="Rectangle 125" hidden="1">
                <a:extLst>
                  <a:ext uri="{FF2B5EF4-FFF2-40B4-BE49-F238E27FC236}">
                    <a16:creationId xmlns:a16="http://schemas.microsoft.com/office/drawing/2014/main" id="{6D122622-247F-4300-89B9-C1174AC8B3B7}"/>
                  </a:ext>
                </a:extLst>
              </p:cNvPr>
              <p:cNvSpPr/>
              <p:nvPr userDrawn="1"/>
            </p:nvSpPr>
            <p:spPr>
              <a:xfrm>
                <a:off x="640080" y="640080"/>
                <a:ext cx="704088" cy="5577839"/>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latin typeface="Arial"/>
                  <a:ea typeface="ＭＳ Ｐゴシック" charset="0"/>
                  <a:cs typeface="+mn-cs"/>
                </a:endParaRPr>
              </a:p>
            </p:txBody>
          </p:sp>
          <p:sp>
            <p:nvSpPr>
              <p:cNvPr id="127" name="Rectangle 126" hidden="1">
                <a:extLst>
                  <a:ext uri="{FF2B5EF4-FFF2-40B4-BE49-F238E27FC236}">
                    <a16:creationId xmlns:a16="http://schemas.microsoft.com/office/drawing/2014/main" id="{ED94D4DA-0E79-4B13-A98B-4CDAF8AC4602}"/>
                  </a:ext>
                </a:extLst>
              </p:cNvPr>
              <p:cNvSpPr/>
              <p:nvPr userDrawn="1"/>
            </p:nvSpPr>
            <p:spPr>
              <a:xfrm>
                <a:off x="1568057" y="640080"/>
                <a:ext cx="704088" cy="5577839"/>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latin typeface="Arial"/>
                  <a:ea typeface="ＭＳ Ｐゴシック" charset="0"/>
                  <a:cs typeface="+mn-cs"/>
                </a:endParaRPr>
              </a:p>
            </p:txBody>
          </p:sp>
          <p:sp>
            <p:nvSpPr>
              <p:cNvPr id="128" name="Rectangle 127" hidden="1">
                <a:extLst>
                  <a:ext uri="{FF2B5EF4-FFF2-40B4-BE49-F238E27FC236}">
                    <a16:creationId xmlns:a16="http://schemas.microsoft.com/office/drawing/2014/main" id="{A0F8C039-6D13-4FC8-BACC-9F4674CF14AE}"/>
                  </a:ext>
                </a:extLst>
              </p:cNvPr>
              <p:cNvSpPr/>
              <p:nvPr userDrawn="1"/>
            </p:nvSpPr>
            <p:spPr>
              <a:xfrm>
                <a:off x="2496034" y="640080"/>
                <a:ext cx="704088" cy="5577839"/>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latin typeface="Arial"/>
                  <a:ea typeface="ＭＳ Ｐゴシック" charset="0"/>
                  <a:cs typeface="+mn-cs"/>
                </a:endParaRPr>
              </a:p>
            </p:txBody>
          </p:sp>
          <p:sp>
            <p:nvSpPr>
              <p:cNvPr id="129" name="Rectangle 128" hidden="1">
                <a:extLst>
                  <a:ext uri="{FF2B5EF4-FFF2-40B4-BE49-F238E27FC236}">
                    <a16:creationId xmlns:a16="http://schemas.microsoft.com/office/drawing/2014/main" id="{08B1C3C3-F462-439E-975C-48FB555B09DE}"/>
                  </a:ext>
                </a:extLst>
              </p:cNvPr>
              <p:cNvSpPr/>
              <p:nvPr userDrawn="1"/>
            </p:nvSpPr>
            <p:spPr>
              <a:xfrm>
                <a:off x="3424011" y="640080"/>
                <a:ext cx="704088" cy="5577839"/>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latin typeface="Arial"/>
                  <a:ea typeface="ＭＳ Ｐゴシック" charset="0"/>
                  <a:cs typeface="+mn-cs"/>
                </a:endParaRPr>
              </a:p>
            </p:txBody>
          </p:sp>
          <p:sp>
            <p:nvSpPr>
              <p:cNvPr id="130" name="Rectangle 129" hidden="1">
                <a:extLst>
                  <a:ext uri="{FF2B5EF4-FFF2-40B4-BE49-F238E27FC236}">
                    <a16:creationId xmlns:a16="http://schemas.microsoft.com/office/drawing/2014/main" id="{522E4091-9FA0-404F-8479-4063BE8B18D5}"/>
                  </a:ext>
                </a:extLst>
              </p:cNvPr>
              <p:cNvSpPr/>
              <p:nvPr userDrawn="1"/>
            </p:nvSpPr>
            <p:spPr>
              <a:xfrm>
                <a:off x="4351988" y="640080"/>
                <a:ext cx="704088" cy="5577839"/>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latin typeface="Arial"/>
                  <a:ea typeface="ＭＳ Ｐゴシック" charset="0"/>
                  <a:cs typeface="+mn-cs"/>
                </a:endParaRPr>
              </a:p>
            </p:txBody>
          </p:sp>
          <p:sp>
            <p:nvSpPr>
              <p:cNvPr id="131" name="Rectangle 130" hidden="1">
                <a:extLst>
                  <a:ext uri="{FF2B5EF4-FFF2-40B4-BE49-F238E27FC236}">
                    <a16:creationId xmlns:a16="http://schemas.microsoft.com/office/drawing/2014/main" id="{AA837BF1-AC0D-4FE4-B53D-33F3F0A7595B}"/>
                  </a:ext>
                </a:extLst>
              </p:cNvPr>
              <p:cNvSpPr/>
              <p:nvPr userDrawn="1"/>
            </p:nvSpPr>
            <p:spPr>
              <a:xfrm>
                <a:off x="5279965" y="640080"/>
                <a:ext cx="704088" cy="5577839"/>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latin typeface="Arial"/>
                  <a:ea typeface="ＭＳ Ｐゴシック" charset="0"/>
                  <a:cs typeface="+mn-cs"/>
                </a:endParaRPr>
              </a:p>
            </p:txBody>
          </p:sp>
          <p:sp>
            <p:nvSpPr>
              <p:cNvPr id="132" name="Rectangle 131" hidden="1">
                <a:extLst>
                  <a:ext uri="{FF2B5EF4-FFF2-40B4-BE49-F238E27FC236}">
                    <a16:creationId xmlns:a16="http://schemas.microsoft.com/office/drawing/2014/main" id="{959796AA-5880-4C90-B0FF-7F8F4E9F71C5}"/>
                  </a:ext>
                </a:extLst>
              </p:cNvPr>
              <p:cNvSpPr/>
              <p:nvPr userDrawn="1"/>
            </p:nvSpPr>
            <p:spPr>
              <a:xfrm>
                <a:off x="6207942" y="640080"/>
                <a:ext cx="704088" cy="5577839"/>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latin typeface="Arial"/>
                  <a:ea typeface="ＭＳ Ｐゴシック" charset="0"/>
                  <a:cs typeface="+mn-cs"/>
                </a:endParaRPr>
              </a:p>
            </p:txBody>
          </p:sp>
          <p:sp>
            <p:nvSpPr>
              <p:cNvPr id="133" name="Rectangle 132" hidden="1">
                <a:extLst>
                  <a:ext uri="{FF2B5EF4-FFF2-40B4-BE49-F238E27FC236}">
                    <a16:creationId xmlns:a16="http://schemas.microsoft.com/office/drawing/2014/main" id="{0FF33572-3D9B-4895-89D2-60C85ABE7664}"/>
                  </a:ext>
                </a:extLst>
              </p:cNvPr>
              <p:cNvSpPr/>
              <p:nvPr userDrawn="1"/>
            </p:nvSpPr>
            <p:spPr>
              <a:xfrm>
                <a:off x="7135919" y="640080"/>
                <a:ext cx="704088" cy="5577839"/>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latin typeface="Arial"/>
                  <a:ea typeface="ＭＳ Ｐゴシック" charset="0"/>
                  <a:cs typeface="+mn-cs"/>
                </a:endParaRPr>
              </a:p>
            </p:txBody>
          </p:sp>
          <p:sp>
            <p:nvSpPr>
              <p:cNvPr id="134" name="Rectangle 133" hidden="1">
                <a:extLst>
                  <a:ext uri="{FF2B5EF4-FFF2-40B4-BE49-F238E27FC236}">
                    <a16:creationId xmlns:a16="http://schemas.microsoft.com/office/drawing/2014/main" id="{08F49122-DCE0-492D-8447-F36CC5463EBB}"/>
                  </a:ext>
                </a:extLst>
              </p:cNvPr>
              <p:cNvSpPr/>
              <p:nvPr userDrawn="1"/>
            </p:nvSpPr>
            <p:spPr>
              <a:xfrm>
                <a:off x="8063896" y="640080"/>
                <a:ext cx="704088" cy="5577839"/>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latin typeface="Arial"/>
                  <a:ea typeface="ＭＳ Ｐゴシック" charset="0"/>
                  <a:cs typeface="+mn-cs"/>
                </a:endParaRPr>
              </a:p>
            </p:txBody>
          </p:sp>
          <p:sp>
            <p:nvSpPr>
              <p:cNvPr id="135" name="Rectangle 134" hidden="1">
                <a:extLst>
                  <a:ext uri="{FF2B5EF4-FFF2-40B4-BE49-F238E27FC236}">
                    <a16:creationId xmlns:a16="http://schemas.microsoft.com/office/drawing/2014/main" id="{C32CADEA-DE9F-4E37-8563-AD9301C85179}"/>
                  </a:ext>
                </a:extLst>
              </p:cNvPr>
              <p:cNvSpPr/>
              <p:nvPr userDrawn="1"/>
            </p:nvSpPr>
            <p:spPr>
              <a:xfrm>
                <a:off x="8991873" y="640080"/>
                <a:ext cx="704088" cy="5577839"/>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latin typeface="Arial"/>
                  <a:ea typeface="ＭＳ Ｐゴシック" charset="0"/>
                  <a:cs typeface="+mn-cs"/>
                </a:endParaRPr>
              </a:p>
            </p:txBody>
          </p:sp>
          <p:sp>
            <p:nvSpPr>
              <p:cNvPr id="136" name="Rectangle 135" hidden="1">
                <a:extLst>
                  <a:ext uri="{FF2B5EF4-FFF2-40B4-BE49-F238E27FC236}">
                    <a16:creationId xmlns:a16="http://schemas.microsoft.com/office/drawing/2014/main" id="{D7F59CF3-5560-4D74-B4B8-13111E7C2B83}"/>
                  </a:ext>
                </a:extLst>
              </p:cNvPr>
              <p:cNvSpPr/>
              <p:nvPr userDrawn="1"/>
            </p:nvSpPr>
            <p:spPr>
              <a:xfrm>
                <a:off x="9919850" y="640080"/>
                <a:ext cx="704088" cy="5577839"/>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latin typeface="Arial"/>
                  <a:ea typeface="ＭＳ Ｐゴシック" charset="0"/>
                  <a:cs typeface="+mn-cs"/>
                </a:endParaRPr>
              </a:p>
            </p:txBody>
          </p:sp>
          <p:sp>
            <p:nvSpPr>
              <p:cNvPr id="137" name="Rectangle 136" hidden="1">
                <a:extLst>
                  <a:ext uri="{FF2B5EF4-FFF2-40B4-BE49-F238E27FC236}">
                    <a16:creationId xmlns:a16="http://schemas.microsoft.com/office/drawing/2014/main" id="{1ED42D30-BF7E-49F8-AF73-CF711FF9338A}"/>
                  </a:ext>
                </a:extLst>
              </p:cNvPr>
              <p:cNvSpPr/>
              <p:nvPr userDrawn="1"/>
            </p:nvSpPr>
            <p:spPr>
              <a:xfrm>
                <a:off x="10847832" y="640081"/>
                <a:ext cx="704088" cy="5577839"/>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err="1">
                  <a:ln>
                    <a:noFill/>
                  </a:ln>
                  <a:solidFill>
                    <a:srgbClr val="000000"/>
                  </a:solidFill>
                  <a:effectLst/>
                  <a:uLnTx/>
                  <a:uFillTx/>
                  <a:latin typeface="Arial"/>
                  <a:ea typeface="ＭＳ Ｐゴシック" charset="0"/>
                  <a:cs typeface="+mn-cs"/>
                </a:endParaRPr>
              </a:p>
            </p:txBody>
          </p:sp>
        </p:grpSp>
        <p:grpSp>
          <p:nvGrpSpPr>
            <p:cNvPr id="105" name="Spacing" hidden="1">
              <a:extLst>
                <a:ext uri="{FF2B5EF4-FFF2-40B4-BE49-F238E27FC236}">
                  <a16:creationId xmlns:a16="http://schemas.microsoft.com/office/drawing/2014/main" id="{E3B8479E-002A-41A4-BF69-E3AF4B6565AD}"/>
                </a:ext>
              </a:extLst>
            </p:cNvPr>
            <p:cNvGrpSpPr/>
            <p:nvPr userDrawn="1"/>
          </p:nvGrpSpPr>
          <p:grpSpPr>
            <a:xfrm>
              <a:off x="0" y="1554480"/>
              <a:ext cx="12192000" cy="358726"/>
              <a:chOff x="0" y="1554480"/>
              <a:chExt cx="12192000" cy="358726"/>
            </a:xfrm>
          </p:grpSpPr>
          <p:cxnSp>
            <p:nvCxnSpPr>
              <p:cNvPr id="124" name="Straight Connector 123" hidden="1">
                <a:extLst>
                  <a:ext uri="{FF2B5EF4-FFF2-40B4-BE49-F238E27FC236}">
                    <a16:creationId xmlns:a16="http://schemas.microsoft.com/office/drawing/2014/main" id="{AAC039A6-241F-4677-A96A-FC5D698F8C24}"/>
                  </a:ext>
                </a:extLst>
              </p:cNvPr>
              <p:cNvCxnSpPr/>
              <p:nvPr userDrawn="1"/>
            </p:nvCxnSpPr>
            <p:spPr>
              <a:xfrm>
                <a:off x="0" y="1913206"/>
                <a:ext cx="12192000" cy="0"/>
              </a:xfrm>
              <a:prstGeom prst="line">
                <a:avLst/>
              </a:prstGeom>
              <a:noFill/>
              <a:ln w="12700" cap="flat" cmpd="sng" algn="ctr">
                <a:solidFill>
                  <a:srgbClr val="00A9E0"/>
                </a:solidFill>
                <a:prstDash val="solid"/>
                <a:miter lim="800000"/>
              </a:ln>
              <a:effectLst/>
            </p:spPr>
          </p:cxnSp>
          <p:cxnSp>
            <p:nvCxnSpPr>
              <p:cNvPr id="125" name="Straight Connector 124" hidden="1">
                <a:extLst>
                  <a:ext uri="{FF2B5EF4-FFF2-40B4-BE49-F238E27FC236}">
                    <a16:creationId xmlns:a16="http://schemas.microsoft.com/office/drawing/2014/main" id="{D15C552E-D7E5-4010-AB02-B78FD7BC90F7}"/>
                  </a:ext>
                </a:extLst>
              </p:cNvPr>
              <p:cNvCxnSpPr/>
              <p:nvPr userDrawn="1"/>
            </p:nvCxnSpPr>
            <p:spPr>
              <a:xfrm>
                <a:off x="0" y="1554480"/>
                <a:ext cx="12192000" cy="0"/>
              </a:xfrm>
              <a:prstGeom prst="line">
                <a:avLst/>
              </a:prstGeom>
              <a:noFill/>
              <a:ln w="12700" cap="flat" cmpd="sng" algn="ctr">
                <a:solidFill>
                  <a:srgbClr val="00A9E0"/>
                </a:solidFill>
                <a:prstDash val="solid"/>
                <a:miter lim="800000"/>
              </a:ln>
              <a:effectLst/>
            </p:spPr>
          </p:cxnSp>
        </p:grpSp>
        <p:grpSp>
          <p:nvGrpSpPr>
            <p:cNvPr id="106" name="Baseline" hidden="1">
              <a:extLst>
                <a:ext uri="{FF2B5EF4-FFF2-40B4-BE49-F238E27FC236}">
                  <a16:creationId xmlns:a16="http://schemas.microsoft.com/office/drawing/2014/main" id="{BC8CC895-6686-4AF9-A015-2918A681E995}"/>
                </a:ext>
              </a:extLst>
            </p:cNvPr>
            <p:cNvGrpSpPr/>
            <p:nvPr userDrawn="1"/>
          </p:nvGrpSpPr>
          <p:grpSpPr>
            <a:xfrm>
              <a:off x="0" y="2271932"/>
              <a:ext cx="12192000" cy="3587260"/>
              <a:chOff x="0" y="2271932"/>
              <a:chExt cx="12192000" cy="3587260"/>
            </a:xfrm>
          </p:grpSpPr>
          <p:cxnSp>
            <p:nvCxnSpPr>
              <p:cNvPr id="113" name="Straight Connector 112" hidden="1">
                <a:extLst>
                  <a:ext uri="{FF2B5EF4-FFF2-40B4-BE49-F238E27FC236}">
                    <a16:creationId xmlns:a16="http://schemas.microsoft.com/office/drawing/2014/main" id="{14361B6D-7935-45CF-952A-82AA3C152FC0}"/>
                  </a:ext>
                </a:extLst>
              </p:cNvPr>
              <p:cNvCxnSpPr/>
              <p:nvPr userDrawn="1"/>
            </p:nvCxnSpPr>
            <p:spPr>
              <a:xfrm>
                <a:off x="0" y="2630658"/>
                <a:ext cx="12192000" cy="0"/>
              </a:xfrm>
              <a:prstGeom prst="line">
                <a:avLst/>
              </a:prstGeom>
              <a:noFill/>
              <a:ln w="6350" cap="flat" cmpd="sng" algn="ctr">
                <a:solidFill>
                  <a:srgbClr val="4D4D4F"/>
                </a:solidFill>
                <a:prstDash val="solid"/>
                <a:miter lim="800000"/>
              </a:ln>
              <a:effectLst/>
            </p:spPr>
          </p:cxnSp>
          <p:cxnSp>
            <p:nvCxnSpPr>
              <p:cNvPr id="114" name="Straight Connector 113" hidden="1">
                <a:extLst>
                  <a:ext uri="{FF2B5EF4-FFF2-40B4-BE49-F238E27FC236}">
                    <a16:creationId xmlns:a16="http://schemas.microsoft.com/office/drawing/2014/main" id="{D0D5D862-A62C-4640-AA86-FA0CCB244348}"/>
                  </a:ext>
                </a:extLst>
              </p:cNvPr>
              <p:cNvCxnSpPr/>
              <p:nvPr userDrawn="1"/>
            </p:nvCxnSpPr>
            <p:spPr>
              <a:xfrm>
                <a:off x="0" y="2989384"/>
                <a:ext cx="12192000" cy="0"/>
              </a:xfrm>
              <a:prstGeom prst="line">
                <a:avLst/>
              </a:prstGeom>
              <a:noFill/>
              <a:ln w="6350" cap="flat" cmpd="sng" algn="ctr">
                <a:solidFill>
                  <a:srgbClr val="4D4D4F"/>
                </a:solidFill>
                <a:prstDash val="solid"/>
                <a:miter lim="800000"/>
              </a:ln>
              <a:effectLst/>
            </p:spPr>
          </p:cxnSp>
          <p:cxnSp>
            <p:nvCxnSpPr>
              <p:cNvPr id="115" name="Straight Connector 114" hidden="1">
                <a:extLst>
                  <a:ext uri="{FF2B5EF4-FFF2-40B4-BE49-F238E27FC236}">
                    <a16:creationId xmlns:a16="http://schemas.microsoft.com/office/drawing/2014/main" id="{AE7653D4-E069-4641-BE4C-D1E9CB93F9DD}"/>
                  </a:ext>
                </a:extLst>
              </p:cNvPr>
              <p:cNvCxnSpPr/>
              <p:nvPr userDrawn="1"/>
            </p:nvCxnSpPr>
            <p:spPr>
              <a:xfrm>
                <a:off x="0" y="3348110"/>
                <a:ext cx="12192000" cy="0"/>
              </a:xfrm>
              <a:prstGeom prst="line">
                <a:avLst/>
              </a:prstGeom>
              <a:noFill/>
              <a:ln w="6350" cap="flat" cmpd="sng" algn="ctr">
                <a:solidFill>
                  <a:srgbClr val="4D4D4F"/>
                </a:solidFill>
                <a:prstDash val="solid"/>
                <a:miter lim="800000"/>
              </a:ln>
              <a:effectLst/>
            </p:spPr>
          </p:cxnSp>
          <p:cxnSp>
            <p:nvCxnSpPr>
              <p:cNvPr id="116" name="Straight Connector 115" hidden="1">
                <a:extLst>
                  <a:ext uri="{FF2B5EF4-FFF2-40B4-BE49-F238E27FC236}">
                    <a16:creationId xmlns:a16="http://schemas.microsoft.com/office/drawing/2014/main" id="{CD3D40F6-AEFA-49CA-8A4C-B515FAE8AF69}"/>
                  </a:ext>
                </a:extLst>
              </p:cNvPr>
              <p:cNvCxnSpPr/>
              <p:nvPr userDrawn="1"/>
            </p:nvCxnSpPr>
            <p:spPr>
              <a:xfrm>
                <a:off x="0" y="3706836"/>
                <a:ext cx="12192000" cy="0"/>
              </a:xfrm>
              <a:prstGeom prst="line">
                <a:avLst/>
              </a:prstGeom>
              <a:noFill/>
              <a:ln w="6350" cap="flat" cmpd="sng" algn="ctr">
                <a:solidFill>
                  <a:srgbClr val="4D4D4F"/>
                </a:solidFill>
                <a:prstDash val="solid"/>
                <a:miter lim="800000"/>
              </a:ln>
              <a:effectLst/>
            </p:spPr>
          </p:cxnSp>
          <p:cxnSp>
            <p:nvCxnSpPr>
              <p:cNvPr id="117" name="Straight Connector 116" hidden="1">
                <a:extLst>
                  <a:ext uri="{FF2B5EF4-FFF2-40B4-BE49-F238E27FC236}">
                    <a16:creationId xmlns:a16="http://schemas.microsoft.com/office/drawing/2014/main" id="{AB7B2E16-9AE5-4480-AB37-F47C536CB9BF}"/>
                  </a:ext>
                </a:extLst>
              </p:cNvPr>
              <p:cNvCxnSpPr/>
              <p:nvPr userDrawn="1"/>
            </p:nvCxnSpPr>
            <p:spPr>
              <a:xfrm>
                <a:off x="0" y="4065562"/>
                <a:ext cx="12192000" cy="0"/>
              </a:xfrm>
              <a:prstGeom prst="line">
                <a:avLst/>
              </a:prstGeom>
              <a:noFill/>
              <a:ln w="6350" cap="flat" cmpd="sng" algn="ctr">
                <a:solidFill>
                  <a:srgbClr val="4D4D4F"/>
                </a:solidFill>
                <a:prstDash val="solid"/>
                <a:miter lim="800000"/>
              </a:ln>
              <a:effectLst/>
            </p:spPr>
          </p:cxnSp>
          <p:cxnSp>
            <p:nvCxnSpPr>
              <p:cNvPr id="118" name="Straight Connector 117" hidden="1">
                <a:extLst>
                  <a:ext uri="{FF2B5EF4-FFF2-40B4-BE49-F238E27FC236}">
                    <a16:creationId xmlns:a16="http://schemas.microsoft.com/office/drawing/2014/main" id="{19DE7B3B-ED80-4ADB-A3B0-69E22E7810C7}"/>
                  </a:ext>
                </a:extLst>
              </p:cNvPr>
              <p:cNvCxnSpPr/>
              <p:nvPr userDrawn="1"/>
            </p:nvCxnSpPr>
            <p:spPr>
              <a:xfrm>
                <a:off x="0" y="4424288"/>
                <a:ext cx="12192000" cy="0"/>
              </a:xfrm>
              <a:prstGeom prst="line">
                <a:avLst/>
              </a:prstGeom>
              <a:noFill/>
              <a:ln w="6350" cap="flat" cmpd="sng" algn="ctr">
                <a:solidFill>
                  <a:srgbClr val="4D4D4F"/>
                </a:solidFill>
                <a:prstDash val="solid"/>
                <a:miter lim="800000"/>
              </a:ln>
              <a:effectLst/>
            </p:spPr>
          </p:cxnSp>
          <p:cxnSp>
            <p:nvCxnSpPr>
              <p:cNvPr id="119" name="Straight Connector 118" hidden="1">
                <a:extLst>
                  <a:ext uri="{FF2B5EF4-FFF2-40B4-BE49-F238E27FC236}">
                    <a16:creationId xmlns:a16="http://schemas.microsoft.com/office/drawing/2014/main" id="{76D1DCA8-C76F-440B-AC70-BAEE169B9042}"/>
                  </a:ext>
                </a:extLst>
              </p:cNvPr>
              <p:cNvCxnSpPr/>
              <p:nvPr userDrawn="1"/>
            </p:nvCxnSpPr>
            <p:spPr>
              <a:xfrm>
                <a:off x="0" y="4783014"/>
                <a:ext cx="12192000" cy="0"/>
              </a:xfrm>
              <a:prstGeom prst="line">
                <a:avLst/>
              </a:prstGeom>
              <a:noFill/>
              <a:ln w="6350" cap="flat" cmpd="sng" algn="ctr">
                <a:solidFill>
                  <a:srgbClr val="4D4D4F"/>
                </a:solidFill>
                <a:prstDash val="solid"/>
                <a:miter lim="800000"/>
              </a:ln>
              <a:effectLst/>
            </p:spPr>
          </p:cxnSp>
          <p:cxnSp>
            <p:nvCxnSpPr>
              <p:cNvPr id="120" name="Straight Connector 119" hidden="1">
                <a:extLst>
                  <a:ext uri="{FF2B5EF4-FFF2-40B4-BE49-F238E27FC236}">
                    <a16:creationId xmlns:a16="http://schemas.microsoft.com/office/drawing/2014/main" id="{875BFEAA-A433-4641-B9E3-7A5277938617}"/>
                  </a:ext>
                </a:extLst>
              </p:cNvPr>
              <p:cNvCxnSpPr/>
              <p:nvPr userDrawn="1"/>
            </p:nvCxnSpPr>
            <p:spPr>
              <a:xfrm>
                <a:off x="0" y="5141740"/>
                <a:ext cx="12192000" cy="0"/>
              </a:xfrm>
              <a:prstGeom prst="line">
                <a:avLst/>
              </a:prstGeom>
              <a:noFill/>
              <a:ln w="6350" cap="flat" cmpd="sng" algn="ctr">
                <a:solidFill>
                  <a:srgbClr val="4D4D4F"/>
                </a:solidFill>
                <a:prstDash val="solid"/>
                <a:miter lim="800000"/>
              </a:ln>
              <a:effectLst/>
            </p:spPr>
          </p:cxnSp>
          <p:cxnSp>
            <p:nvCxnSpPr>
              <p:cNvPr id="121" name="Straight Connector 120" hidden="1">
                <a:extLst>
                  <a:ext uri="{FF2B5EF4-FFF2-40B4-BE49-F238E27FC236}">
                    <a16:creationId xmlns:a16="http://schemas.microsoft.com/office/drawing/2014/main" id="{40FCB70B-22FF-4005-BA67-3A999A824D0B}"/>
                  </a:ext>
                </a:extLst>
              </p:cNvPr>
              <p:cNvCxnSpPr/>
              <p:nvPr userDrawn="1"/>
            </p:nvCxnSpPr>
            <p:spPr>
              <a:xfrm>
                <a:off x="0" y="5500466"/>
                <a:ext cx="12192000" cy="0"/>
              </a:xfrm>
              <a:prstGeom prst="line">
                <a:avLst/>
              </a:prstGeom>
              <a:noFill/>
              <a:ln w="6350" cap="flat" cmpd="sng" algn="ctr">
                <a:solidFill>
                  <a:srgbClr val="4D4D4F"/>
                </a:solidFill>
                <a:prstDash val="solid"/>
                <a:miter lim="800000"/>
              </a:ln>
              <a:effectLst/>
            </p:spPr>
          </p:cxnSp>
          <p:cxnSp>
            <p:nvCxnSpPr>
              <p:cNvPr id="122" name="Straight Connector 121" hidden="1">
                <a:extLst>
                  <a:ext uri="{FF2B5EF4-FFF2-40B4-BE49-F238E27FC236}">
                    <a16:creationId xmlns:a16="http://schemas.microsoft.com/office/drawing/2014/main" id="{750E7E93-2885-484F-883C-E908023E2821}"/>
                  </a:ext>
                </a:extLst>
              </p:cNvPr>
              <p:cNvCxnSpPr/>
              <p:nvPr userDrawn="1"/>
            </p:nvCxnSpPr>
            <p:spPr>
              <a:xfrm>
                <a:off x="0" y="5859192"/>
                <a:ext cx="12192000" cy="0"/>
              </a:xfrm>
              <a:prstGeom prst="line">
                <a:avLst/>
              </a:prstGeom>
              <a:noFill/>
              <a:ln w="6350" cap="flat" cmpd="sng" algn="ctr">
                <a:solidFill>
                  <a:srgbClr val="4D4D4F"/>
                </a:solidFill>
                <a:prstDash val="solid"/>
                <a:miter lim="800000"/>
              </a:ln>
              <a:effectLst/>
            </p:spPr>
          </p:cxnSp>
          <p:cxnSp>
            <p:nvCxnSpPr>
              <p:cNvPr id="123" name="Straight Connector 122" hidden="1">
                <a:extLst>
                  <a:ext uri="{FF2B5EF4-FFF2-40B4-BE49-F238E27FC236}">
                    <a16:creationId xmlns:a16="http://schemas.microsoft.com/office/drawing/2014/main" id="{29598976-8F17-4653-8572-C96B1EEC83C7}"/>
                  </a:ext>
                </a:extLst>
              </p:cNvPr>
              <p:cNvCxnSpPr/>
              <p:nvPr userDrawn="1"/>
            </p:nvCxnSpPr>
            <p:spPr>
              <a:xfrm>
                <a:off x="0" y="2271932"/>
                <a:ext cx="12192000" cy="0"/>
              </a:xfrm>
              <a:prstGeom prst="line">
                <a:avLst/>
              </a:prstGeom>
              <a:noFill/>
              <a:ln w="6350" cap="flat" cmpd="sng" algn="ctr">
                <a:solidFill>
                  <a:srgbClr val="4D4D4F"/>
                </a:solidFill>
                <a:prstDash val="solid"/>
                <a:miter lim="800000"/>
              </a:ln>
              <a:effectLst/>
            </p:spPr>
          </p:cxnSp>
        </p:grpSp>
        <p:cxnSp>
          <p:nvCxnSpPr>
            <p:cNvPr id="107" name="Center" hidden="1">
              <a:extLst>
                <a:ext uri="{FF2B5EF4-FFF2-40B4-BE49-F238E27FC236}">
                  <a16:creationId xmlns:a16="http://schemas.microsoft.com/office/drawing/2014/main" id="{1B54F5C1-C0DD-4F3F-8BE3-197CA715A35A}"/>
                </a:ext>
              </a:extLst>
            </p:cNvPr>
            <p:cNvCxnSpPr/>
            <p:nvPr userDrawn="1"/>
          </p:nvCxnSpPr>
          <p:spPr>
            <a:xfrm rot="10800000" flipV="1">
              <a:off x="6096000" y="-1"/>
              <a:ext cx="0" cy="6858000"/>
            </a:xfrm>
            <a:prstGeom prst="line">
              <a:avLst/>
            </a:prstGeom>
            <a:noFill/>
            <a:ln w="12700" cap="flat" cmpd="sng" algn="ctr">
              <a:solidFill>
                <a:srgbClr val="00A9E0"/>
              </a:solidFill>
              <a:prstDash val="solid"/>
              <a:miter lim="800000"/>
            </a:ln>
            <a:effectLst/>
          </p:spPr>
        </p:cxnSp>
        <p:grpSp>
          <p:nvGrpSpPr>
            <p:cNvPr id="108" name="Margin" hidden="1">
              <a:extLst>
                <a:ext uri="{FF2B5EF4-FFF2-40B4-BE49-F238E27FC236}">
                  <a16:creationId xmlns:a16="http://schemas.microsoft.com/office/drawing/2014/main" id="{C48B894B-7FB7-47CF-92C3-0E2CA627281C}"/>
                </a:ext>
              </a:extLst>
            </p:cNvPr>
            <p:cNvGrpSpPr/>
            <p:nvPr userDrawn="1"/>
          </p:nvGrpSpPr>
          <p:grpSpPr>
            <a:xfrm>
              <a:off x="0" y="-1"/>
              <a:ext cx="12192000" cy="6858001"/>
              <a:chOff x="0" y="-1"/>
              <a:chExt cx="12192000" cy="6858001"/>
            </a:xfrm>
          </p:grpSpPr>
          <p:cxnSp>
            <p:nvCxnSpPr>
              <p:cNvPr id="109" name="Straight Connector 108" hidden="1">
                <a:extLst>
                  <a:ext uri="{FF2B5EF4-FFF2-40B4-BE49-F238E27FC236}">
                    <a16:creationId xmlns:a16="http://schemas.microsoft.com/office/drawing/2014/main" id="{431D5AB8-F6AD-4DBA-A2FB-B045C698E203}"/>
                  </a:ext>
                </a:extLst>
              </p:cNvPr>
              <p:cNvCxnSpPr/>
              <p:nvPr userDrawn="1"/>
            </p:nvCxnSpPr>
            <p:spPr>
              <a:xfrm rot="10800000">
                <a:off x="0" y="6217919"/>
                <a:ext cx="12192000" cy="0"/>
              </a:xfrm>
              <a:prstGeom prst="line">
                <a:avLst/>
              </a:prstGeom>
              <a:noFill/>
              <a:ln w="12700" cap="flat" cmpd="sng" algn="ctr">
                <a:solidFill>
                  <a:srgbClr val="CBDB2F"/>
                </a:solidFill>
                <a:prstDash val="solid"/>
                <a:miter lim="800000"/>
              </a:ln>
              <a:effectLst/>
            </p:spPr>
          </p:cxnSp>
          <p:cxnSp>
            <p:nvCxnSpPr>
              <p:cNvPr id="110" name="Straight Connector 109" hidden="1">
                <a:extLst>
                  <a:ext uri="{FF2B5EF4-FFF2-40B4-BE49-F238E27FC236}">
                    <a16:creationId xmlns:a16="http://schemas.microsoft.com/office/drawing/2014/main" id="{632EE679-1ABD-47EA-904A-9CC2D4335B8E}"/>
                  </a:ext>
                </a:extLst>
              </p:cNvPr>
              <p:cNvCxnSpPr/>
              <p:nvPr userDrawn="1"/>
            </p:nvCxnSpPr>
            <p:spPr>
              <a:xfrm>
                <a:off x="0" y="640080"/>
                <a:ext cx="12192000" cy="0"/>
              </a:xfrm>
              <a:prstGeom prst="line">
                <a:avLst/>
              </a:prstGeom>
              <a:noFill/>
              <a:ln w="12700" cap="flat" cmpd="sng" algn="ctr">
                <a:solidFill>
                  <a:srgbClr val="CBDB2F"/>
                </a:solidFill>
                <a:prstDash val="solid"/>
                <a:miter lim="800000"/>
              </a:ln>
              <a:effectLst/>
            </p:spPr>
          </p:cxnSp>
          <p:cxnSp>
            <p:nvCxnSpPr>
              <p:cNvPr id="111" name="Straight Connector 110" hidden="1">
                <a:extLst>
                  <a:ext uri="{FF2B5EF4-FFF2-40B4-BE49-F238E27FC236}">
                    <a16:creationId xmlns:a16="http://schemas.microsoft.com/office/drawing/2014/main" id="{C64337E0-6779-4E4D-B25C-561ED38FB866}"/>
                  </a:ext>
                </a:extLst>
              </p:cNvPr>
              <p:cNvCxnSpPr/>
              <p:nvPr userDrawn="1"/>
            </p:nvCxnSpPr>
            <p:spPr>
              <a:xfrm flipV="1">
                <a:off x="640080" y="0"/>
                <a:ext cx="0" cy="6858000"/>
              </a:xfrm>
              <a:prstGeom prst="line">
                <a:avLst/>
              </a:prstGeom>
              <a:noFill/>
              <a:ln w="12700" cap="flat" cmpd="sng" algn="ctr">
                <a:solidFill>
                  <a:srgbClr val="CBDB2F"/>
                </a:solidFill>
                <a:prstDash val="solid"/>
                <a:miter lim="800000"/>
              </a:ln>
              <a:effectLst/>
            </p:spPr>
          </p:cxnSp>
          <p:cxnSp>
            <p:nvCxnSpPr>
              <p:cNvPr id="112" name="Straight Connector 111" hidden="1">
                <a:extLst>
                  <a:ext uri="{FF2B5EF4-FFF2-40B4-BE49-F238E27FC236}">
                    <a16:creationId xmlns:a16="http://schemas.microsoft.com/office/drawing/2014/main" id="{D138D1B9-6B43-40F6-A22B-44D6BE8D048B}"/>
                  </a:ext>
                </a:extLst>
              </p:cNvPr>
              <p:cNvCxnSpPr/>
              <p:nvPr userDrawn="1"/>
            </p:nvCxnSpPr>
            <p:spPr>
              <a:xfrm rot="10800000" flipV="1">
                <a:off x="11551920" y="-1"/>
                <a:ext cx="0" cy="6858000"/>
              </a:xfrm>
              <a:prstGeom prst="line">
                <a:avLst/>
              </a:prstGeom>
              <a:noFill/>
              <a:ln w="12700" cap="flat" cmpd="sng" algn="ctr">
                <a:solidFill>
                  <a:srgbClr val="CBDB2F"/>
                </a:solidFill>
                <a:prstDash val="solid"/>
                <a:miter lim="800000"/>
              </a:ln>
              <a:effectLst/>
            </p:spPr>
          </p:cxnSp>
        </p:grpSp>
      </p:grpSp>
      <p:sp>
        <p:nvSpPr>
          <p:cNvPr id="1364" name="Oval 1363">
            <a:extLst>
              <a:ext uri="{FF2B5EF4-FFF2-40B4-BE49-F238E27FC236}">
                <a16:creationId xmlns:a16="http://schemas.microsoft.com/office/drawing/2014/main" id="{ACA69F00-2D12-4EC8-B66B-73945BFCCE60}"/>
              </a:ext>
            </a:extLst>
          </p:cNvPr>
          <p:cNvSpPr/>
          <p:nvPr/>
        </p:nvSpPr>
        <p:spPr>
          <a:xfrm>
            <a:off x="17827794" y="1095567"/>
            <a:ext cx="3137312" cy="3137312"/>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cxnSp>
        <p:nvCxnSpPr>
          <p:cNvPr id="1372" name="Straight Connector 1371">
            <a:extLst>
              <a:ext uri="{FF2B5EF4-FFF2-40B4-BE49-F238E27FC236}">
                <a16:creationId xmlns:a16="http://schemas.microsoft.com/office/drawing/2014/main" id="{119DFB49-4A8B-43E3-8229-81276E020A89}"/>
              </a:ext>
            </a:extLst>
          </p:cNvPr>
          <p:cNvCxnSpPr>
            <a:cxnSpLocks/>
          </p:cNvCxnSpPr>
          <p:nvPr/>
        </p:nvCxnSpPr>
        <p:spPr>
          <a:xfrm flipV="1">
            <a:off x="20196495" y="1855870"/>
            <a:ext cx="485880" cy="350729"/>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391" name="Straight Connector 1390">
            <a:extLst>
              <a:ext uri="{FF2B5EF4-FFF2-40B4-BE49-F238E27FC236}">
                <a16:creationId xmlns:a16="http://schemas.microsoft.com/office/drawing/2014/main" id="{ECC004CB-19E5-4A21-AAC9-94E2DF50E3C2}"/>
              </a:ext>
            </a:extLst>
          </p:cNvPr>
          <p:cNvCxnSpPr>
            <a:cxnSpLocks/>
          </p:cNvCxnSpPr>
          <p:nvPr/>
        </p:nvCxnSpPr>
        <p:spPr>
          <a:xfrm flipV="1">
            <a:off x="18895716" y="3507336"/>
            <a:ext cx="244913" cy="641928"/>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392" name="Straight Connector 1391">
            <a:extLst>
              <a:ext uri="{FF2B5EF4-FFF2-40B4-BE49-F238E27FC236}">
                <a16:creationId xmlns:a16="http://schemas.microsoft.com/office/drawing/2014/main" id="{8C694130-7C45-4117-937B-076E9B6F9FAE}"/>
              </a:ext>
            </a:extLst>
          </p:cNvPr>
          <p:cNvCxnSpPr>
            <a:cxnSpLocks/>
          </p:cNvCxnSpPr>
          <p:nvPr/>
        </p:nvCxnSpPr>
        <p:spPr>
          <a:xfrm flipV="1">
            <a:off x="19882236" y="1336566"/>
            <a:ext cx="313992" cy="435961"/>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sp>
        <p:nvSpPr>
          <p:cNvPr id="1396" name="Oval 1395">
            <a:extLst>
              <a:ext uri="{FF2B5EF4-FFF2-40B4-BE49-F238E27FC236}">
                <a16:creationId xmlns:a16="http://schemas.microsoft.com/office/drawing/2014/main" id="{39DEA812-371A-49A5-8A9A-AC268F9BB170}"/>
              </a:ext>
            </a:extLst>
          </p:cNvPr>
          <p:cNvSpPr/>
          <p:nvPr/>
        </p:nvSpPr>
        <p:spPr>
          <a:xfrm>
            <a:off x="18215170" y="1536192"/>
            <a:ext cx="2302523" cy="2302523"/>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cxnSp>
        <p:nvCxnSpPr>
          <p:cNvPr id="1399" name="Connector: Elbow 1398">
            <a:extLst>
              <a:ext uri="{FF2B5EF4-FFF2-40B4-BE49-F238E27FC236}">
                <a16:creationId xmlns:a16="http://schemas.microsoft.com/office/drawing/2014/main" id="{74FD4EE3-5856-4242-BA89-D799C16D3081}"/>
              </a:ext>
            </a:extLst>
          </p:cNvPr>
          <p:cNvCxnSpPr>
            <a:cxnSpLocks/>
          </p:cNvCxnSpPr>
          <p:nvPr/>
        </p:nvCxnSpPr>
        <p:spPr>
          <a:xfrm rot="5400000">
            <a:off x="18773483" y="2405535"/>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400" name="Connector: Elbow 1399">
            <a:extLst>
              <a:ext uri="{FF2B5EF4-FFF2-40B4-BE49-F238E27FC236}">
                <a16:creationId xmlns:a16="http://schemas.microsoft.com/office/drawing/2014/main" id="{70499530-BC80-4E51-B1B6-3E035C943B63}"/>
              </a:ext>
            </a:extLst>
          </p:cNvPr>
          <p:cNvCxnSpPr>
            <a:cxnSpLocks/>
          </p:cNvCxnSpPr>
          <p:nvPr/>
        </p:nvCxnSpPr>
        <p:spPr>
          <a:xfrm rot="16200000" flipV="1">
            <a:off x="18773483" y="2785822"/>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1416" name="Group 1415">
            <a:extLst>
              <a:ext uri="{FF2B5EF4-FFF2-40B4-BE49-F238E27FC236}">
                <a16:creationId xmlns:a16="http://schemas.microsoft.com/office/drawing/2014/main" id="{798DB714-5818-47FD-B280-B594A605DEEB}"/>
              </a:ext>
            </a:extLst>
          </p:cNvPr>
          <p:cNvGrpSpPr/>
          <p:nvPr/>
        </p:nvGrpSpPr>
        <p:grpSpPr>
          <a:xfrm>
            <a:off x="19054512" y="2082895"/>
            <a:ext cx="618697" cy="448449"/>
            <a:chOff x="4207537" y="2273730"/>
            <a:chExt cx="598923" cy="434116"/>
          </a:xfrm>
        </p:grpSpPr>
        <p:grpSp>
          <p:nvGrpSpPr>
            <p:cNvPr id="1464" name="Group 1463">
              <a:extLst>
                <a:ext uri="{FF2B5EF4-FFF2-40B4-BE49-F238E27FC236}">
                  <a16:creationId xmlns:a16="http://schemas.microsoft.com/office/drawing/2014/main" id="{D71DE74B-4664-4450-897D-C6E3BBA84F80}"/>
                </a:ext>
              </a:extLst>
            </p:cNvPr>
            <p:cNvGrpSpPr/>
            <p:nvPr/>
          </p:nvGrpSpPr>
          <p:grpSpPr>
            <a:xfrm>
              <a:off x="4207537" y="2273730"/>
              <a:ext cx="179387" cy="434116"/>
              <a:chOff x="2330274" y="3840316"/>
              <a:chExt cx="238125" cy="576262"/>
            </a:xfrm>
          </p:grpSpPr>
          <p:sp>
            <p:nvSpPr>
              <p:cNvPr id="1479" name="Freeform 201">
                <a:extLst>
                  <a:ext uri="{FF2B5EF4-FFF2-40B4-BE49-F238E27FC236}">
                    <a16:creationId xmlns:a16="http://schemas.microsoft.com/office/drawing/2014/main" id="{FBD5D027-A2FA-4D0C-9FAC-A01982039500}"/>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80" name="Line 202">
                <a:extLst>
                  <a:ext uri="{FF2B5EF4-FFF2-40B4-BE49-F238E27FC236}">
                    <a16:creationId xmlns:a16="http://schemas.microsoft.com/office/drawing/2014/main" id="{9D90AFAF-6BE7-4678-B844-83E918AAF9A0}"/>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81" name="Line 203">
                <a:extLst>
                  <a:ext uri="{FF2B5EF4-FFF2-40B4-BE49-F238E27FC236}">
                    <a16:creationId xmlns:a16="http://schemas.microsoft.com/office/drawing/2014/main" id="{203C95F6-AF42-486F-B5F8-277CF7012B74}"/>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82" name="Line 204">
                <a:extLst>
                  <a:ext uri="{FF2B5EF4-FFF2-40B4-BE49-F238E27FC236}">
                    <a16:creationId xmlns:a16="http://schemas.microsoft.com/office/drawing/2014/main" id="{835AA791-52B0-47C0-9F7D-01C07A366E3A}"/>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83" name="Line 205">
                <a:extLst>
                  <a:ext uri="{FF2B5EF4-FFF2-40B4-BE49-F238E27FC236}">
                    <a16:creationId xmlns:a16="http://schemas.microsoft.com/office/drawing/2014/main" id="{3C5672D5-E2D0-4049-B317-CEBC6A773223}"/>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84" name="Line 206">
                <a:extLst>
                  <a:ext uri="{FF2B5EF4-FFF2-40B4-BE49-F238E27FC236}">
                    <a16:creationId xmlns:a16="http://schemas.microsoft.com/office/drawing/2014/main" id="{0D6B0DF7-E22D-4A27-A558-6B541FD60EDA}"/>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465" name="Group 1464">
              <a:extLst>
                <a:ext uri="{FF2B5EF4-FFF2-40B4-BE49-F238E27FC236}">
                  <a16:creationId xmlns:a16="http://schemas.microsoft.com/office/drawing/2014/main" id="{AD67D507-2B66-4E9A-8155-F4F7A0E7FB00}"/>
                </a:ext>
              </a:extLst>
            </p:cNvPr>
            <p:cNvGrpSpPr/>
            <p:nvPr/>
          </p:nvGrpSpPr>
          <p:grpSpPr>
            <a:xfrm>
              <a:off x="4417305" y="2273730"/>
              <a:ext cx="179387" cy="434116"/>
              <a:chOff x="2330274" y="3840316"/>
              <a:chExt cx="238125" cy="576262"/>
            </a:xfrm>
          </p:grpSpPr>
          <p:sp>
            <p:nvSpPr>
              <p:cNvPr id="1473" name="Freeform 201">
                <a:extLst>
                  <a:ext uri="{FF2B5EF4-FFF2-40B4-BE49-F238E27FC236}">
                    <a16:creationId xmlns:a16="http://schemas.microsoft.com/office/drawing/2014/main" id="{3B01A43C-79A3-47AE-AC2A-1B0466AEC55C}"/>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74" name="Line 202">
                <a:extLst>
                  <a:ext uri="{FF2B5EF4-FFF2-40B4-BE49-F238E27FC236}">
                    <a16:creationId xmlns:a16="http://schemas.microsoft.com/office/drawing/2014/main" id="{2FB23012-8AFB-47B2-9D4F-515B456AFF00}"/>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75" name="Line 203">
                <a:extLst>
                  <a:ext uri="{FF2B5EF4-FFF2-40B4-BE49-F238E27FC236}">
                    <a16:creationId xmlns:a16="http://schemas.microsoft.com/office/drawing/2014/main" id="{44490FE4-3F0E-45A3-8AE0-A7FB0F3B8F0F}"/>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76" name="Line 204">
                <a:extLst>
                  <a:ext uri="{FF2B5EF4-FFF2-40B4-BE49-F238E27FC236}">
                    <a16:creationId xmlns:a16="http://schemas.microsoft.com/office/drawing/2014/main" id="{CF3D9C62-FA82-4A73-B908-960E60E77CFB}"/>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77" name="Line 205">
                <a:extLst>
                  <a:ext uri="{FF2B5EF4-FFF2-40B4-BE49-F238E27FC236}">
                    <a16:creationId xmlns:a16="http://schemas.microsoft.com/office/drawing/2014/main" id="{A0D0C15B-3FD0-4D46-A28E-57616464512D}"/>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78" name="Line 206">
                <a:extLst>
                  <a:ext uri="{FF2B5EF4-FFF2-40B4-BE49-F238E27FC236}">
                    <a16:creationId xmlns:a16="http://schemas.microsoft.com/office/drawing/2014/main" id="{D4BA16B3-1658-40CA-9C02-88DC6EC41B04}"/>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466" name="Group 1465">
              <a:extLst>
                <a:ext uri="{FF2B5EF4-FFF2-40B4-BE49-F238E27FC236}">
                  <a16:creationId xmlns:a16="http://schemas.microsoft.com/office/drawing/2014/main" id="{8763EDA5-72B9-44AA-8087-6A734D9EE7DC}"/>
                </a:ext>
              </a:extLst>
            </p:cNvPr>
            <p:cNvGrpSpPr/>
            <p:nvPr/>
          </p:nvGrpSpPr>
          <p:grpSpPr>
            <a:xfrm>
              <a:off x="4627073" y="2273730"/>
              <a:ext cx="179387" cy="434116"/>
              <a:chOff x="2330274" y="3840316"/>
              <a:chExt cx="238125" cy="576262"/>
            </a:xfrm>
          </p:grpSpPr>
          <p:sp>
            <p:nvSpPr>
              <p:cNvPr id="1467" name="Freeform 201">
                <a:extLst>
                  <a:ext uri="{FF2B5EF4-FFF2-40B4-BE49-F238E27FC236}">
                    <a16:creationId xmlns:a16="http://schemas.microsoft.com/office/drawing/2014/main" id="{2AAF8011-DBC8-486D-90AA-2B46420F1271}"/>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68" name="Line 202">
                <a:extLst>
                  <a:ext uri="{FF2B5EF4-FFF2-40B4-BE49-F238E27FC236}">
                    <a16:creationId xmlns:a16="http://schemas.microsoft.com/office/drawing/2014/main" id="{FE1B33CA-526E-4644-8478-0CD4497D92FC}"/>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69" name="Line 203">
                <a:extLst>
                  <a:ext uri="{FF2B5EF4-FFF2-40B4-BE49-F238E27FC236}">
                    <a16:creationId xmlns:a16="http://schemas.microsoft.com/office/drawing/2014/main" id="{A245C75F-E2E6-4DD3-8427-6CEA2A7D41FE}"/>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70" name="Line 204">
                <a:extLst>
                  <a:ext uri="{FF2B5EF4-FFF2-40B4-BE49-F238E27FC236}">
                    <a16:creationId xmlns:a16="http://schemas.microsoft.com/office/drawing/2014/main" id="{9A7DA78D-D224-4057-B982-4B1DCB4339A1}"/>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71" name="Line 205">
                <a:extLst>
                  <a:ext uri="{FF2B5EF4-FFF2-40B4-BE49-F238E27FC236}">
                    <a16:creationId xmlns:a16="http://schemas.microsoft.com/office/drawing/2014/main" id="{9AC6AFB3-94EF-4AB1-BA50-690FFC099CEB}"/>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72" name="Line 206">
                <a:extLst>
                  <a:ext uri="{FF2B5EF4-FFF2-40B4-BE49-F238E27FC236}">
                    <a16:creationId xmlns:a16="http://schemas.microsoft.com/office/drawing/2014/main" id="{637F9754-5F35-4218-B216-03E0CFBDF0E2}"/>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1418" name="Group 1417">
            <a:extLst>
              <a:ext uri="{FF2B5EF4-FFF2-40B4-BE49-F238E27FC236}">
                <a16:creationId xmlns:a16="http://schemas.microsoft.com/office/drawing/2014/main" id="{28B8875E-703A-484B-9EBC-8023D724E6A2}"/>
              </a:ext>
            </a:extLst>
          </p:cNvPr>
          <p:cNvGrpSpPr/>
          <p:nvPr/>
        </p:nvGrpSpPr>
        <p:grpSpPr>
          <a:xfrm>
            <a:off x="18152710" y="2465614"/>
            <a:ext cx="443632" cy="443680"/>
            <a:chOff x="542940" y="1857375"/>
            <a:chExt cx="914400" cy="914494"/>
          </a:xfrm>
        </p:grpSpPr>
        <p:sp>
          <p:nvSpPr>
            <p:cNvPr id="1442" name="Oval 1441">
              <a:extLst>
                <a:ext uri="{FF2B5EF4-FFF2-40B4-BE49-F238E27FC236}">
                  <a16:creationId xmlns:a16="http://schemas.microsoft.com/office/drawing/2014/main" id="{8C8F1A6C-EA4C-4718-8927-0516ECBFEC82}"/>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443" name="Group 4">
              <a:extLst>
                <a:ext uri="{FF2B5EF4-FFF2-40B4-BE49-F238E27FC236}">
                  <a16:creationId xmlns:a16="http://schemas.microsoft.com/office/drawing/2014/main" id="{B81F7C10-B063-44D5-A357-B7E0B9D90CF7}"/>
                </a:ext>
              </a:extLst>
            </p:cNvPr>
            <p:cNvGrpSpPr>
              <a:grpSpLocks noChangeAspect="1"/>
            </p:cNvGrpSpPr>
            <p:nvPr/>
          </p:nvGrpSpPr>
          <p:grpSpPr bwMode="auto">
            <a:xfrm>
              <a:off x="543174" y="1857375"/>
              <a:ext cx="913932" cy="914494"/>
              <a:chOff x="1261" y="0"/>
              <a:chExt cx="3238" cy="3240"/>
            </a:xfrm>
            <a:solidFill>
              <a:schemeClr val="tx2"/>
            </a:solidFill>
          </p:grpSpPr>
          <p:sp>
            <p:nvSpPr>
              <p:cNvPr id="1444" name="Freeform 5">
                <a:extLst>
                  <a:ext uri="{FF2B5EF4-FFF2-40B4-BE49-F238E27FC236}">
                    <a16:creationId xmlns:a16="http://schemas.microsoft.com/office/drawing/2014/main" id="{44E2E75A-28EB-44FB-ABE8-9A5360FF41D9}"/>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45" name="Freeform 6">
                <a:extLst>
                  <a:ext uri="{FF2B5EF4-FFF2-40B4-BE49-F238E27FC236}">
                    <a16:creationId xmlns:a16="http://schemas.microsoft.com/office/drawing/2014/main" id="{0EDA2AC7-FDAA-45BC-A0D3-732198A80E9A}"/>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46" name="Freeform 7">
                <a:extLst>
                  <a:ext uri="{FF2B5EF4-FFF2-40B4-BE49-F238E27FC236}">
                    <a16:creationId xmlns:a16="http://schemas.microsoft.com/office/drawing/2014/main" id="{4988403A-A239-46F2-8AE3-0BC4C035EFEB}"/>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47" name="Freeform 8">
                <a:extLst>
                  <a:ext uri="{FF2B5EF4-FFF2-40B4-BE49-F238E27FC236}">
                    <a16:creationId xmlns:a16="http://schemas.microsoft.com/office/drawing/2014/main" id="{ED3D1453-14FE-4FE5-B8DB-509B775491AB}"/>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48" name="Freeform 9">
                <a:extLst>
                  <a:ext uri="{FF2B5EF4-FFF2-40B4-BE49-F238E27FC236}">
                    <a16:creationId xmlns:a16="http://schemas.microsoft.com/office/drawing/2014/main" id="{FF3D6683-2CEF-4FD7-803E-9144230B67AE}"/>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49" name="Freeform 10">
                <a:extLst>
                  <a:ext uri="{FF2B5EF4-FFF2-40B4-BE49-F238E27FC236}">
                    <a16:creationId xmlns:a16="http://schemas.microsoft.com/office/drawing/2014/main" id="{20D4D66B-7790-4838-A06C-B34FEE700BF2}"/>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50" name="Freeform 11">
                <a:extLst>
                  <a:ext uri="{FF2B5EF4-FFF2-40B4-BE49-F238E27FC236}">
                    <a16:creationId xmlns:a16="http://schemas.microsoft.com/office/drawing/2014/main" id="{E7BCC200-8F93-4A91-8A53-BEA5A2A6729C}"/>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51" name="Freeform 12">
                <a:extLst>
                  <a:ext uri="{FF2B5EF4-FFF2-40B4-BE49-F238E27FC236}">
                    <a16:creationId xmlns:a16="http://schemas.microsoft.com/office/drawing/2014/main" id="{1B96B801-5C89-482C-90E7-2BD377C5355D}"/>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52" name="Freeform 13">
                <a:extLst>
                  <a:ext uri="{FF2B5EF4-FFF2-40B4-BE49-F238E27FC236}">
                    <a16:creationId xmlns:a16="http://schemas.microsoft.com/office/drawing/2014/main" id="{2481D195-4084-47DC-B81A-D4231FE2BABF}"/>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53" name="Freeform 14">
                <a:extLst>
                  <a:ext uri="{FF2B5EF4-FFF2-40B4-BE49-F238E27FC236}">
                    <a16:creationId xmlns:a16="http://schemas.microsoft.com/office/drawing/2014/main" id="{89BB28FE-1D1F-4608-9CBE-DBFBD36A5CF4}"/>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54" name="Freeform 15">
                <a:extLst>
                  <a:ext uri="{FF2B5EF4-FFF2-40B4-BE49-F238E27FC236}">
                    <a16:creationId xmlns:a16="http://schemas.microsoft.com/office/drawing/2014/main" id="{18E4AED2-AD20-47B4-B789-5DCA105466DE}"/>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55" name="Freeform 16">
                <a:extLst>
                  <a:ext uri="{FF2B5EF4-FFF2-40B4-BE49-F238E27FC236}">
                    <a16:creationId xmlns:a16="http://schemas.microsoft.com/office/drawing/2014/main" id="{1A185507-EFCE-4FD1-B4E5-959211CB80E7}"/>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56" name="Freeform 17">
                <a:extLst>
                  <a:ext uri="{FF2B5EF4-FFF2-40B4-BE49-F238E27FC236}">
                    <a16:creationId xmlns:a16="http://schemas.microsoft.com/office/drawing/2014/main" id="{F05544DA-9EFB-47E8-8A43-4358704B21B9}"/>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57" name="Freeform 18">
                <a:extLst>
                  <a:ext uri="{FF2B5EF4-FFF2-40B4-BE49-F238E27FC236}">
                    <a16:creationId xmlns:a16="http://schemas.microsoft.com/office/drawing/2014/main" id="{030F24F7-806A-481B-8579-434FDE224896}"/>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58" name="Freeform 19">
                <a:extLst>
                  <a:ext uri="{FF2B5EF4-FFF2-40B4-BE49-F238E27FC236}">
                    <a16:creationId xmlns:a16="http://schemas.microsoft.com/office/drawing/2014/main" id="{DFA4A4C9-D0F9-4F98-819A-A2A1FFD5CCA0}"/>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59" name="Freeform 20">
                <a:extLst>
                  <a:ext uri="{FF2B5EF4-FFF2-40B4-BE49-F238E27FC236}">
                    <a16:creationId xmlns:a16="http://schemas.microsoft.com/office/drawing/2014/main" id="{611E48DB-B7C9-4498-A5A2-2A391589D5C1}"/>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60" name="Freeform 21">
                <a:extLst>
                  <a:ext uri="{FF2B5EF4-FFF2-40B4-BE49-F238E27FC236}">
                    <a16:creationId xmlns:a16="http://schemas.microsoft.com/office/drawing/2014/main" id="{8B34F9F4-9C3B-45FC-86ED-D16B5D1105C1}"/>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61" name="Freeform 22">
                <a:extLst>
                  <a:ext uri="{FF2B5EF4-FFF2-40B4-BE49-F238E27FC236}">
                    <a16:creationId xmlns:a16="http://schemas.microsoft.com/office/drawing/2014/main" id="{72568A46-60CC-42E4-B976-FF980E215EDF}"/>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62" name="Freeform 23">
                <a:extLst>
                  <a:ext uri="{FF2B5EF4-FFF2-40B4-BE49-F238E27FC236}">
                    <a16:creationId xmlns:a16="http://schemas.microsoft.com/office/drawing/2014/main" id="{D13D1BBE-52F6-4D7C-9043-9C0A733CD67F}"/>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63" name="Freeform 24">
                <a:extLst>
                  <a:ext uri="{FF2B5EF4-FFF2-40B4-BE49-F238E27FC236}">
                    <a16:creationId xmlns:a16="http://schemas.microsoft.com/office/drawing/2014/main" id="{C62B14DF-0C38-4D3E-A04D-F82BBD383B64}"/>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1419" name="Group 1418">
            <a:extLst>
              <a:ext uri="{FF2B5EF4-FFF2-40B4-BE49-F238E27FC236}">
                <a16:creationId xmlns:a16="http://schemas.microsoft.com/office/drawing/2014/main" id="{1A5B0C10-4799-4091-9604-F85EF96376BD}"/>
              </a:ext>
            </a:extLst>
          </p:cNvPr>
          <p:cNvGrpSpPr/>
          <p:nvPr/>
        </p:nvGrpSpPr>
        <p:grpSpPr>
          <a:xfrm>
            <a:off x="19054512" y="2835347"/>
            <a:ext cx="618697" cy="448449"/>
            <a:chOff x="4207537" y="2273730"/>
            <a:chExt cx="598923" cy="434116"/>
          </a:xfrm>
        </p:grpSpPr>
        <p:grpSp>
          <p:nvGrpSpPr>
            <p:cNvPr id="1421" name="Group 1420">
              <a:extLst>
                <a:ext uri="{FF2B5EF4-FFF2-40B4-BE49-F238E27FC236}">
                  <a16:creationId xmlns:a16="http://schemas.microsoft.com/office/drawing/2014/main" id="{92EB4EA2-5BC9-49CC-8ABA-EAFCED568534}"/>
                </a:ext>
              </a:extLst>
            </p:cNvPr>
            <p:cNvGrpSpPr/>
            <p:nvPr/>
          </p:nvGrpSpPr>
          <p:grpSpPr>
            <a:xfrm>
              <a:off x="4207537" y="2273730"/>
              <a:ext cx="179387" cy="434116"/>
              <a:chOff x="2330274" y="3840316"/>
              <a:chExt cx="238125" cy="576262"/>
            </a:xfrm>
          </p:grpSpPr>
          <p:sp>
            <p:nvSpPr>
              <p:cNvPr id="1436" name="Freeform 201">
                <a:extLst>
                  <a:ext uri="{FF2B5EF4-FFF2-40B4-BE49-F238E27FC236}">
                    <a16:creationId xmlns:a16="http://schemas.microsoft.com/office/drawing/2014/main" id="{DA41F7DA-2BB7-4D78-B3C4-858B0F179028}"/>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37" name="Line 202">
                <a:extLst>
                  <a:ext uri="{FF2B5EF4-FFF2-40B4-BE49-F238E27FC236}">
                    <a16:creationId xmlns:a16="http://schemas.microsoft.com/office/drawing/2014/main" id="{548A8EEE-720D-4445-977F-1C8D4F05A605}"/>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38" name="Line 203">
                <a:extLst>
                  <a:ext uri="{FF2B5EF4-FFF2-40B4-BE49-F238E27FC236}">
                    <a16:creationId xmlns:a16="http://schemas.microsoft.com/office/drawing/2014/main" id="{6768BC38-58D6-444B-AD5D-51BEA7921076}"/>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39" name="Line 204">
                <a:extLst>
                  <a:ext uri="{FF2B5EF4-FFF2-40B4-BE49-F238E27FC236}">
                    <a16:creationId xmlns:a16="http://schemas.microsoft.com/office/drawing/2014/main" id="{7BDB3B5F-F922-4AC5-86D2-D102D52E247B}"/>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40" name="Line 205">
                <a:extLst>
                  <a:ext uri="{FF2B5EF4-FFF2-40B4-BE49-F238E27FC236}">
                    <a16:creationId xmlns:a16="http://schemas.microsoft.com/office/drawing/2014/main" id="{CAA910B3-D282-4F9C-BAE2-B7E842FB583B}"/>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41" name="Line 206">
                <a:extLst>
                  <a:ext uri="{FF2B5EF4-FFF2-40B4-BE49-F238E27FC236}">
                    <a16:creationId xmlns:a16="http://schemas.microsoft.com/office/drawing/2014/main" id="{B576D165-C681-4B6B-891C-FCC0204E01A2}"/>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422" name="Group 1421">
              <a:extLst>
                <a:ext uri="{FF2B5EF4-FFF2-40B4-BE49-F238E27FC236}">
                  <a16:creationId xmlns:a16="http://schemas.microsoft.com/office/drawing/2014/main" id="{453E3FEE-8C2C-492A-9AAC-090FA8ACF6B2}"/>
                </a:ext>
              </a:extLst>
            </p:cNvPr>
            <p:cNvGrpSpPr/>
            <p:nvPr/>
          </p:nvGrpSpPr>
          <p:grpSpPr>
            <a:xfrm>
              <a:off x="4417305" y="2273730"/>
              <a:ext cx="179387" cy="434116"/>
              <a:chOff x="2330274" y="3840316"/>
              <a:chExt cx="238125" cy="576262"/>
            </a:xfrm>
          </p:grpSpPr>
          <p:sp>
            <p:nvSpPr>
              <p:cNvPr id="1430" name="Freeform 201">
                <a:extLst>
                  <a:ext uri="{FF2B5EF4-FFF2-40B4-BE49-F238E27FC236}">
                    <a16:creationId xmlns:a16="http://schemas.microsoft.com/office/drawing/2014/main" id="{506ACFA2-1112-4F64-A0B5-D0D15E7609FE}"/>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31" name="Line 202">
                <a:extLst>
                  <a:ext uri="{FF2B5EF4-FFF2-40B4-BE49-F238E27FC236}">
                    <a16:creationId xmlns:a16="http://schemas.microsoft.com/office/drawing/2014/main" id="{A440CC0D-9081-4247-8B25-74426FA567D2}"/>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32" name="Line 203">
                <a:extLst>
                  <a:ext uri="{FF2B5EF4-FFF2-40B4-BE49-F238E27FC236}">
                    <a16:creationId xmlns:a16="http://schemas.microsoft.com/office/drawing/2014/main" id="{B052D523-105D-416E-B466-96F9698CD792}"/>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33" name="Line 204">
                <a:extLst>
                  <a:ext uri="{FF2B5EF4-FFF2-40B4-BE49-F238E27FC236}">
                    <a16:creationId xmlns:a16="http://schemas.microsoft.com/office/drawing/2014/main" id="{7DE1B266-1D58-4628-BD21-911473E1D41A}"/>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34" name="Line 205">
                <a:extLst>
                  <a:ext uri="{FF2B5EF4-FFF2-40B4-BE49-F238E27FC236}">
                    <a16:creationId xmlns:a16="http://schemas.microsoft.com/office/drawing/2014/main" id="{E366B397-D47C-4D66-ABA5-65F0B2EA0A04}"/>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35" name="Line 206">
                <a:extLst>
                  <a:ext uri="{FF2B5EF4-FFF2-40B4-BE49-F238E27FC236}">
                    <a16:creationId xmlns:a16="http://schemas.microsoft.com/office/drawing/2014/main" id="{2E618B25-EE35-478D-AEAE-C87D9D23ECA0}"/>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423" name="Group 1422">
              <a:extLst>
                <a:ext uri="{FF2B5EF4-FFF2-40B4-BE49-F238E27FC236}">
                  <a16:creationId xmlns:a16="http://schemas.microsoft.com/office/drawing/2014/main" id="{5979BFE2-439B-4C63-8F2F-9499568F0B3B}"/>
                </a:ext>
              </a:extLst>
            </p:cNvPr>
            <p:cNvGrpSpPr/>
            <p:nvPr/>
          </p:nvGrpSpPr>
          <p:grpSpPr>
            <a:xfrm>
              <a:off x="4627073" y="2273730"/>
              <a:ext cx="179387" cy="434116"/>
              <a:chOff x="2330274" y="3840316"/>
              <a:chExt cx="238125" cy="576262"/>
            </a:xfrm>
          </p:grpSpPr>
          <p:sp>
            <p:nvSpPr>
              <p:cNvPr id="1424" name="Freeform 201">
                <a:extLst>
                  <a:ext uri="{FF2B5EF4-FFF2-40B4-BE49-F238E27FC236}">
                    <a16:creationId xmlns:a16="http://schemas.microsoft.com/office/drawing/2014/main" id="{1A7BF198-CE65-4F0C-B972-CE7DC6290682}"/>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25" name="Line 202">
                <a:extLst>
                  <a:ext uri="{FF2B5EF4-FFF2-40B4-BE49-F238E27FC236}">
                    <a16:creationId xmlns:a16="http://schemas.microsoft.com/office/drawing/2014/main" id="{0EB23CEE-DDC7-47A7-B31E-298441410FC1}"/>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26" name="Line 203">
                <a:extLst>
                  <a:ext uri="{FF2B5EF4-FFF2-40B4-BE49-F238E27FC236}">
                    <a16:creationId xmlns:a16="http://schemas.microsoft.com/office/drawing/2014/main" id="{3339095A-823B-43FF-805B-C0C6D12948C1}"/>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27" name="Line 204">
                <a:extLst>
                  <a:ext uri="{FF2B5EF4-FFF2-40B4-BE49-F238E27FC236}">
                    <a16:creationId xmlns:a16="http://schemas.microsoft.com/office/drawing/2014/main" id="{70909319-921B-4354-ABC7-84F7ED9B4C13}"/>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28" name="Line 205">
                <a:extLst>
                  <a:ext uri="{FF2B5EF4-FFF2-40B4-BE49-F238E27FC236}">
                    <a16:creationId xmlns:a16="http://schemas.microsoft.com/office/drawing/2014/main" id="{9BE19B1A-4DB0-4B7C-885A-2E68F7BAB9BE}"/>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29" name="Line 206">
                <a:extLst>
                  <a:ext uri="{FF2B5EF4-FFF2-40B4-BE49-F238E27FC236}">
                    <a16:creationId xmlns:a16="http://schemas.microsoft.com/office/drawing/2014/main" id="{7ECF8FA0-28A5-4EC8-9326-05A8D2E50BBE}"/>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sp>
        <p:nvSpPr>
          <p:cNvPr id="1420" name="Rectangle 1419">
            <a:extLst>
              <a:ext uri="{FF2B5EF4-FFF2-40B4-BE49-F238E27FC236}">
                <a16:creationId xmlns:a16="http://schemas.microsoft.com/office/drawing/2014/main" id="{C9A8B896-9095-4198-87C9-32DA83B3BC33}"/>
              </a:ext>
            </a:extLst>
          </p:cNvPr>
          <p:cNvSpPr/>
          <p:nvPr/>
        </p:nvSpPr>
        <p:spPr>
          <a:xfrm>
            <a:off x="12992808" y="813489"/>
            <a:ext cx="8477739" cy="355649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3" name="TextBox 22">
            <a:extLst>
              <a:ext uri="{FF2B5EF4-FFF2-40B4-BE49-F238E27FC236}">
                <a16:creationId xmlns:a16="http://schemas.microsoft.com/office/drawing/2014/main" id="{CF3393CF-03E8-4CF0-A5FC-11D4DD9F6333}"/>
              </a:ext>
            </a:extLst>
          </p:cNvPr>
          <p:cNvSpPr txBox="1"/>
          <p:nvPr/>
        </p:nvSpPr>
        <p:spPr>
          <a:xfrm>
            <a:off x="386201" y="1341444"/>
            <a:ext cx="2709423" cy="1144929"/>
          </a:xfrm>
          <a:prstGeom prst="rect">
            <a:avLst/>
          </a:prstGeom>
          <a:noFill/>
        </p:spPr>
        <p:txBody>
          <a:bodyPr wrap="square" rtlCol="0" anchor="t">
            <a:spAutoFit/>
          </a:bodyPr>
          <a:lstStyle/>
          <a:p>
            <a:pPr marL="0" marR="0" lvl="0" indent="0" algn="l" defTabSz="685783" rtl="0" eaLnBrk="1" fontAlgn="base" latinLnBrk="0" hangingPunct="1">
              <a:lnSpc>
                <a:spcPct val="90000"/>
              </a:lnSpc>
              <a:spcBef>
                <a:spcPts val="600"/>
              </a:spcBef>
              <a:spcAft>
                <a:spcPct val="0"/>
              </a:spcAft>
              <a:buClrTx/>
              <a:buSzTx/>
              <a:buFontTx/>
              <a:buNone/>
              <a:tabLst/>
              <a:defRPr/>
            </a:pPr>
            <a:r>
              <a:rPr kumimoji="0" lang="en-US" sz="2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Segmentation: </a:t>
            </a:r>
            <a:r>
              <a:rPr kumimoji="0" lang="en-US" sz="2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Reduce the Attack Surface</a:t>
            </a:r>
          </a:p>
        </p:txBody>
      </p:sp>
      <p:sp>
        <p:nvSpPr>
          <p:cNvPr id="36" name="TextBox 35">
            <a:extLst>
              <a:ext uri="{FF2B5EF4-FFF2-40B4-BE49-F238E27FC236}">
                <a16:creationId xmlns:a16="http://schemas.microsoft.com/office/drawing/2014/main" id="{FCC2024E-4C1C-491C-89B0-E218DD07924A}"/>
              </a:ext>
            </a:extLst>
          </p:cNvPr>
          <p:cNvSpPr txBox="1"/>
          <p:nvPr/>
        </p:nvSpPr>
        <p:spPr>
          <a:xfrm>
            <a:off x="470129"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00BCEB">
                    <a:lumMod val="75000"/>
                  </a:srgbClr>
                </a:solidFill>
                <a:effectLst/>
                <a:uLnTx/>
                <a:uFillTx/>
                <a:latin typeface="CiscoSans ExtraLight" charset="0"/>
                <a:ea typeface="CiscoSans ExtraLight" charset="0"/>
                <a:cs typeface="CiscoSans ExtraLight" charset="0"/>
              </a:rPr>
              <a:t>01</a:t>
            </a:r>
          </a:p>
        </p:txBody>
      </p:sp>
      <p:sp>
        <p:nvSpPr>
          <p:cNvPr id="37" name="TextBox 36">
            <a:extLst>
              <a:ext uri="{FF2B5EF4-FFF2-40B4-BE49-F238E27FC236}">
                <a16:creationId xmlns:a16="http://schemas.microsoft.com/office/drawing/2014/main" id="{66B1CDC2-09F5-46B2-8C85-49C88B6107BE}"/>
              </a:ext>
            </a:extLst>
          </p:cNvPr>
          <p:cNvSpPr txBox="1"/>
          <p:nvPr/>
        </p:nvSpPr>
        <p:spPr>
          <a:xfrm>
            <a:off x="1624281"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00BCEB">
                    <a:lumMod val="75000"/>
                  </a:srgbClr>
                </a:solidFill>
                <a:effectLst/>
                <a:uLnTx/>
                <a:uFillTx/>
                <a:latin typeface="CiscoSans ExtraLight" charset="0"/>
                <a:ea typeface="CiscoSans ExtraLight" charset="0"/>
                <a:cs typeface="CiscoSans ExtraLight" charset="0"/>
              </a:rPr>
              <a:t>03</a:t>
            </a:r>
          </a:p>
        </p:txBody>
      </p:sp>
      <p:sp>
        <p:nvSpPr>
          <p:cNvPr id="38" name="TextBox 37">
            <a:extLst>
              <a:ext uri="{FF2B5EF4-FFF2-40B4-BE49-F238E27FC236}">
                <a16:creationId xmlns:a16="http://schemas.microsoft.com/office/drawing/2014/main" id="{973EDB0B-5B05-4D71-ABD7-10D5C483FEC6}"/>
              </a:ext>
            </a:extLst>
          </p:cNvPr>
          <p:cNvSpPr txBox="1"/>
          <p:nvPr/>
        </p:nvSpPr>
        <p:spPr>
          <a:xfrm>
            <a:off x="1047205"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02</a:t>
            </a:r>
          </a:p>
        </p:txBody>
      </p:sp>
      <p:grpSp>
        <p:nvGrpSpPr>
          <p:cNvPr id="29" name="Group 28">
            <a:extLst>
              <a:ext uri="{FF2B5EF4-FFF2-40B4-BE49-F238E27FC236}">
                <a16:creationId xmlns:a16="http://schemas.microsoft.com/office/drawing/2014/main" id="{87E70065-45E0-4FA6-AA09-27E3B9D1C080}"/>
              </a:ext>
            </a:extLst>
          </p:cNvPr>
          <p:cNvGrpSpPr/>
          <p:nvPr/>
        </p:nvGrpSpPr>
        <p:grpSpPr>
          <a:xfrm>
            <a:off x="1064458" y="710972"/>
            <a:ext cx="457390" cy="457390"/>
            <a:chOff x="1176043" y="485585"/>
            <a:chExt cx="457390" cy="457390"/>
          </a:xfrm>
        </p:grpSpPr>
        <p:sp>
          <p:nvSpPr>
            <p:cNvPr id="145" name="Oval 144">
              <a:extLst>
                <a:ext uri="{FF2B5EF4-FFF2-40B4-BE49-F238E27FC236}">
                  <a16:creationId xmlns:a16="http://schemas.microsoft.com/office/drawing/2014/main" id="{0E7507E6-D844-4F56-92A0-3B2CEB3CBC0D}"/>
                </a:ext>
              </a:extLst>
            </p:cNvPr>
            <p:cNvSpPr/>
            <p:nvPr/>
          </p:nvSpPr>
          <p:spPr>
            <a:xfrm>
              <a:off x="1176043" y="485585"/>
              <a:ext cx="457390" cy="4573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65" name="Group 64"/>
            <p:cNvGrpSpPr/>
            <p:nvPr/>
          </p:nvGrpSpPr>
          <p:grpSpPr>
            <a:xfrm>
              <a:off x="1230721" y="544915"/>
              <a:ext cx="349271" cy="349271"/>
              <a:chOff x="2581275" y="2152858"/>
              <a:chExt cx="933450" cy="933450"/>
            </a:xfrm>
          </p:grpSpPr>
          <p:sp>
            <p:nvSpPr>
              <p:cNvPr id="7" name="Freeform 5"/>
              <p:cNvSpPr>
                <a:spLocks/>
              </p:cNvSpPr>
              <p:nvPr/>
            </p:nvSpPr>
            <p:spPr bwMode="auto">
              <a:xfrm>
                <a:off x="2581275" y="2152858"/>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nvGrpSpPr>
              <p:cNvPr id="26" name="Group 25"/>
              <p:cNvGrpSpPr/>
              <p:nvPr/>
            </p:nvGrpSpPr>
            <p:grpSpPr>
              <a:xfrm>
                <a:off x="2728913" y="2324308"/>
                <a:ext cx="638175" cy="590551"/>
                <a:chOff x="2728913" y="2324100"/>
                <a:chExt cx="638175" cy="590551"/>
              </a:xfrm>
              <a:solidFill>
                <a:schemeClr val="accent1">
                  <a:lumMod val="75000"/>
                  <a:alpha val="40000"/>
                </a:schemeClr>
              </a:solidFill>
            </p:grpSpPr>
            <p:sp>
              <p:nvSpPr>
                <p:cNvPr id="8" name="Freeform 6"/>
                <p:cNvSpPr>
                  <a:spLocks noEditPoints="1"/>
                </p:cNvSpPr>
                <p:nvPr/>
              </p:nvSpPr>
              <p:spPr bwMode="auto">
                <a:xfrm>
                  <a:off x="2728913" y="2324100"/>
                  <a:ext cx="638175" cy="333375"/>
                </a:xfrm>
                <a:custGeom>
                  <a:avLst/>
                  <a:gdLst>
                    <a:gd name="T0" fmla="*/ 237 w 864"/>
                    <a:gd name="T1" fmla="*/ 452 h 452"/>
                    <a:gd name="T2" fmla="*/ 628 w 864"/>
                    <a:gd name="T3" fmla="*/ 452 h 452"/>
                    <a:gd name="T4" fmla="*/ 835 w 864"/>
                    <a:gd name="T5" fmla="*/ 452 h 452"/>
                    <a:gd name="T6" fmla="*/ 864 w 864"/>
                    <a:gd name="T7" fmla="*/ 412 h 452"/>
                    <a:gd name="T8" fmla="*/ 788 w 864"/>
                    <a:gd name="T9" fmla="*/ 188 h 452"/>
                    <a:gd name="T10" fmla="*/ 749 w 864"/>
                    <a:gd name="T11" fmla="*/ 139 h 452"/>
                    <a:gd name="T12" fmla="*/ 721 w 864"/>
                    <a:gd name="T13" fmla="*/ 111 h 452"/>
                    <a:gd name="T14" fmla="*/ 701 w 864"/>
                    <a:gd name="T15" fmla="*/ 94 h 452"/>
                    <a:gd name="T16" fmla="*/ 680 w 864"/>
                    <a:gd name="T17" fmla="*/ 79 h 452"/>
                    <a:gd name="T18" fmla="*/ 660 w 864"/>
                    <a:gd name="T19" fmla="*/ 65 h 452"/>
                    <a:gd name="T20" fmla="*/ 636 w 864"/>
                    <a:gd name="T21" fmla="*/ 51 h 452"/>
                    <a:gd name="T22" fmla="*/ 615 w 864"/>
                    <a:gd name="T23" fmla="*/ 41 h 452"/>
                    <a:gd name="T24" fmla="*/ 601 w 864"/>
                    <a:gd name="T25" fmla="*/ 35 h 452"/>
                    <a:gd name="T26" fmla="*/ 578 w 864"/>
                    <a:gd name="T27" fmla="*/ 26 h 452"/>
                    <a:gd name="T28" fmla="*/ 563 w 864"/>
                    <a:gd name="T29" fmla="*/ 21 h 452"/>
                    <a:gd name="T30" fmla="*/ 540 w 864"/>
                    <a:gd name="T31" fmla="*/ 14 h 452"/>
                    <a:gd name="T32" fmla="*/ 524 w 864"/>
                    <a:gd name="T33" fmla="*/ 10 h 452"/>
                    <a:gd name="T34" fmla="*/ 503 w 864"/>
                    <a:gd name="T35" fmla="*/ 6 h 452"/>
                    <a:gd name="T36" fmla="*/ 486 w 864"/>
                    <a:gd name="T37" fmla="*/ 4 h 452"/>
                    <a:gd name="T38" fmla="*/ 462 w 864"/>
                    <a:gd name="T39" fmla="*/ 1 h 452"/>
                    <a:gd name="T40" fmla="*/ 452 w 864"/>
                    <a:gd name="T41" fmla="*/ 0 h 452"/>
                    <a:gd name="T42" fmla="*/ 407 w 864"/>
                    <a:gd name="T43" fmla="*/ 1 h 452"/>
                    <a:gd name="T44" fmla="*/ 390 w 864"/>
                    <a:gd name="T45" fmla="*/ 2 h 452"/>
                    <a:gd name="T46" fmla="*/ 365 w 864"/>
                    <a:gd name="T47" fmla="*/ 5 h 452"/>
                    <a:gd name="T48" fmla="*/ 349 w 864"/>
                    <a:gd name="T49" fmla="*/ 8 h 452"/>
                    <a:gd name="T50" fmla="*/ 327 w 864"/>
                    <a:gd name="T51" fmla="*/ 13 h 452"/>
                    <a:gd name="T52" fmla="*/ 311 w 864"/>
                    <a:gd name="T53" fmla="*/ 18 h 452"/>
                    <a:gd name="T54" fmla="*/ 289 w 864"/>
                    <a:gd name="T55" fmla="*/ 25 h 452"/>
                    <a:gd name="T56" fmla="*/ 275 w 864"/>
                    <a:gd name="T57" fmla="*/ 30 h 452"/>
                    <a:gd name="T58" fmla="*/ 252 w 864"/>
                    <a:gd name="T59" fmla="*/ 40 h 452"/>
                    <a:gd name="T60" fmla="*/ 238 w 864"/>
                    <a:gd name="T61" fmla="*/ 46 h 452"/>
                    <a:gd name="T62" fmla="*/ 206 w 864"/>
                    <a:gd name="T63" fmla="*/ 64 h 452"/>
                    <a:gd name="T64" fmla="*/ 194 w 864"/>
                    <a:gd name="T65" fmla="*/ 72 h 452"/>
                    <a:gd name="T66" fmla="*/ 164 w 864"/>
                    <a:gd name="T67" fmla="*/ 94 h 452"/>
                    <a:gd name="T68" fmla="*/ 153 w 864"/>
                    <a:gd name="T69" fmla="*/ 103 h 452"/>
                    <a:gd name="T70" fmla="*/ 117 w 864"/>
                    <a:gd name="T71" fmla="*/ 138 h 452"/>
                    <a:gd name="T72" fmla="*/ 83 w 864"/>
                    <a:gd name="T73" fmla="*/ 178 h 452"/>
                    <a:gd name="T74" fmla="*/ 76 w 864"/>
                    <a:gd name="T75" fmla="*/ 188 h 452"/>
                    <a:gd name="T76" fmla="*/ 0 w 864"/>
                    <a:gd name="T77" fmla="*/ 423 h 452"/>
                    <a:gd name="T78" fmla="*/ 757 w 864"/>
                    <a:gd name="T79" fmla="*/ 214 h 452"/>
                    <a:gd name="T80" fmla="*/ 648 w 864"/>
                    <a:gd name="T81" fmla="*/ 258 h 452"/>
                    <a:gd name="T82" fmla="*/ 580 w 864"/>
                    <a:gd name="T83" fmla="*/ 69 h 452"/>
                    <a:gd name="T84" fmla="*/ 597 w 864"/>
                    <a:gd name="T85" fmla="*/ 77 h 452"/>
                    <a:gd name="T86" fmla="*/ 610 w 864"/>
                    <a:gd name="T87" fmla="*/ 83 h 452"/>
                    <a:gd name="T88" fmla="*/ 638 w 864"/>
                    <a:gd name="T89" fmla="*/ 220 h 452"/>
                    <a:gd name="T90" fmla="*/ 452 w 864"/>
                    <a:gd name="T91" fmla="*/ 43 h 452"/>
                    <a:gd name="T92" fmla="*/ 452 w 864"/>
                    <a:gd name="T93" fmla="*/ 244 h 452"/>
                    <a:gd name="T94" fmla="*/ 609 w 864"/>
                    <a:gd name="T95" fmla="*/ 267 h 452"/>
                    <a:gd name="T96" fmla="*/ 452 w 864"/>
                    <a:gd name="T97" fmla="*/ 284 h 452"/>
                    <a:gd name="T98" fmla="*/ 255 w 864"/>
                    <a:gd name="T99" fmla="*/ 267 h 452"/>
                    <a:gd name="T100" fmla="*/ 412 w 864"/>
                    <a:gd name="T101" fmla="*/ 43 h 452"/>
                    <a:gd name="T102" fmla="*/ 300 w 864"/>
                    <a:gd name="T103" fmla="*/ 146 h 452"/>
                    <a:gd name="T104" fmla="*/ 254 w 864"/>
                    <a:gd name="T105" fmla="*/ 83 h 452"/>
                    <a:gd name="T106" fmla="*/ 268 w 864"/>
                    <a:gd name="T107" fmla="*/ 77 h 452"/>
                    <a:gd name="T108" fmla="*/ 285 w 864"/>
                    <a:gd name="T109" fmla="*/ 69 h 452"/>
                    <a:gd name="T110" fmla="*/ 227 w 864"/>
                    <a:gd name="T111" fmla="*/ 220 h 452"/>
                    <a:gd name="T112" fmla="*/ 107 w 864"/>
                    <a:gd name="T113" fmla="*/ 214 h 452"/>
                    <a:gd name="T114" fmla="*/ 41 w 864"/>
                    <a:gd name="T115" fmla="*/ 41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4" h="452">
                      <a:moveTo>
                        <a:pt x="41" y="452"/>
                      </a:moveTo>
                      <a:cubicBezTo>
                        <a:pt x="197" y="452"/>
                        <a:pt x="197" y="452"/>
                        <a:pt x="197" y="452"/>
                      </a:cubicBezTo>
                      <a:cubicBezTo>
                        <a:pt x="237" y="452"/>
                        <a:pt x="237" y="452"/>
                        <a:pt x="237" y="452"/>
                      </a:cubicBezTo>
                      <a:cubicBezTo>
                        <a:pt x="412" y="452"/>
                        <a:pt x="412" y="452"/>
                        <a:pt x="412" y="452"/>
                      </a:cubicBezTo>
                      <a:cubicBezTo>
                        <a:pt x="452" y="452"/>
                        <a:pt x="452" y="452"/>
                        <a:pt x="452" y="452"/>
                      </a:cubicBezTo>
                      <a:cubicBezTo>
                        <a:pt x="628" y="452"/>
                        <a:pt x="628" y="452"/>
                        <a:pt x="628" y="452"/>
                      </a:cubicBezTo>
                      <a:cubicBezTo>
                        <a:pt x="668" y="452"/>
                        <a:pt x="668" y="452"/>
                        <a:pt x="668" y="452"/>
                      </a:cubicBezTo>
                      <a:cubicBezTo>
                        <a:pt x="823" y="452"/>
                        <a:pt x="823" y="452"/>
                        <a:pt x="823" y="452"/>
                      </a:cubicBezTo>
                      <a:cubicBezTo>
                        <a:pt x="835" y="452"/>
                        <a:pt x="835" y="452"/>
                        <a:pt x="835" y="452"/>
                      </a:cubicBezTo>
                      <a:cubicBezTo>
                        <a:pt x="851" y="452"/>
                        <a:pt x="864" y="439"/>
                        <a:pt x="864" y="423"/>
                      </a:cubicBezTo>
                      <a:cubicBezTo>
                        <a:pt x="864" y="412"/>
                        <a:pt x="864" y="412"/>
                        <a:pt x="864" y="412"/>
                      </a:cubicBezTo>
                      <a:cubicBezTo>
                        <a:pt x="864" y="412"/>
                        <a:pt x="864" y="412"/>
                        <a:pt x="864" y="412"/>
                      </a:cubicBezTo>
                      <a:cubicBezTo>
                        <a:pt x="860" y="329"/>
                        <a:pt x="833" y="252"/>
                        <a:pt x="788" y="188"/>
                      </a:cubicBezTo>
                      <a:cubicBezTo>
                        <a:pt x="788" y="188"/>
                        <a:pt x="788" y="188"/>
                        <a:pt x="788" y="188"/>
                      </a:cubicBezTo>
                      <a:cubicBezTo>
                        <a:pt x="788" y="188"/>
                        <a:pt x="788" y="188"/>
                        <a:pt x="788" y="188"/>
                      </a:cubicBezTo>
                      <a:cubicBezTo>
                        <a:pt x="786" y="184"/>
                        <a:pt x="783" y="181"/>
                        <a:pt x="781" y="178"/>
                      </a:cubicBezTo>
                      <a:cubicBezTo>
                        <a:pt x="778" y="173"/>
                        <a:pt x="778" y="173"/>
                        <a:pt x="778" y="173"/>
                      </a:cubicBezTo>
                      <a:cubicBezTo>
                        <a:pt x="769" y="161"/>
                        <a:pt x="759" y="150"/>
                        <a:pt x="749" y="139"/>
                      </a:cubicBezTo>
                      <a:cubicBezTo>
                        <a:pt x="749" y="138"/>
                        <a:pt x="748" y="138"/>
                        <a:pt x="748" y="138"/>
                      </a:cubicBezTo>
                      <a:cubicBezTo>
                        <a:pt x="739" y="128"/>
                        <a:pt x="730" y="119"/>
                        <a:pt x="721" y="111"/>
                      </a:cubicBezTo>
                      <a:cubicBezTo>
                        <a:pt x="721" y="111"/>
                        <a:pt x="721" y="111"/>
                        <a:pt x="721" y="111"/>
                      </a:cubicBezTo>
                      <a:cubicBezTo>
                        <a:pt x="718" y="108"/>
                        <a:pt x="715" y="105"/>
                        <a:pt x="711" y="103"/>
                      </a:cubicBezTo>
                      <a:cubicBezTo>
                        <a:pt x="711" y="102"/>
                        <a:pt x="711" y="102"/>
                        <a:pt x="710" y="102"/>
                      </a:cubicBezTo>
                      <a:cubicBezTo>
                        <a:pt x="707" y="99"/>
                        <a:pt x="704" y="97"/>
                        <a:pt x="701" y="94"/>
                      </a:cubicBezTo>
                      <a:cubicBezTo>
                        <a:pt x="701" y="94"/>
                        <a:pt x="701" y="94"/>
                        <a:pt x="701" y="94"/>
                      </a:cubicBezTo>
                      <a:cubicBezTo>
                        <a:pt x="694" y="89"/>
                        <a:pt x="687" y="84"/>
                        <a:pt x="681" y="79"/>
                      </a:cubicBezTo>
                      <a:cubicBezTo>
                        <a:pt x="680" y="79"/>
                        <a:pt x="680" y="79"/>
                        <a:pt x="680" y="79"/>
                      </a:cubicBezTo>
                      <a:cubicBezTo>
                        <a:pt x="677" y="76"/>
                        <a:pt x="674" y="74"/>
                        <a:pt x="671" y="72"/>
                      </a:cubicBezTo>
                      <a:cubicBezTo>
                        <a:pt x="669" y="71"/>
                        <a:pt x="668" y="71"/>
                        <a:pt x="667" y="70"/>
                      </a:cubicBezTo>
                      <a:cubicBezTo>
                        <a:pt x="665" y="68"/>
                        <a:pt x="663" y="67"/>
                        <a:pt x="660" y="65"/>
                      </a:cubicBezTo>
                      <a:cubicBezTo>
                        <a:pt x="659" y="65"/>
                        <a:pt x="659" y="65"/>
                        <a:pt x="658" y="64"/>
                      </a:cubicBezTo>
                      <a:cubicBezTo>
                        <a:pt x="651" y="60"/>
                        <a:pt x="644" y="56"/>
                        <a:pt x="637" y="52"/>
                      </a:cubicBezTo>
                      <a:cubicBezTo>
                        <a:pt x="636" y="52"/>
                        <a:pt x="636" y="51"/>
                        <a:pt x="636" y="51"/>
                      </a:cubicBezTo>
                      <a:cubicBezTo>
                        <a:pt x="633" y="50"/>
                        <a:pt x="629" y="48"/>
                        <a:pt x="626" y="46"/>
                      </a:cubicBezTo>
                      <a:cubicBezTo>
                        <a:pt x="625" y="46"/>
                        <a:pt x="624" y="45"/>
                        <a:pt x="624" y="45"/>
                      </a:cubicBezTo>
                      <a:cubicBezTo>
                        <a:pt x="621" y="44"/>
                        <a:pt x="618" y="42"/>
                        <a:pt x="615" y="41"/>
                      </a:cubicBezTo>
                      <a:cubicBezTo>
                        <a:pt x="614" y="40"/>
                        <a:pt x="613" y="40"/>
                        <a:pt x="612" y="40"/>
                      </a:cubicBezTo>
                      <a:cubicBezTo>
                        <a:pt x="609" y="38"/>
                        <a:pt x="606" y="36"/>
                        <a:pt x="602" y="35"/>
                      </a:cubicBezTo>
                      <a:cubicBezTo>
                        <a:pt x="602" y="35"/>
                        <a:pt x="602" y="35"/>
                        <a:pt x="601" y="35"/>
                      </a:cubicBezTo>
                      <a:cubicBezTo>
                        <a:pt x="597" y="33"/>
                        <a:pt x="594" y="31"/>
                        <a:pt x="590" y="30"/>
                      </a:cubicBezTo>
                      <a:cubicBezTo>
                        <a:pt x="589" y="30"/>
                        <a:pt x="589" y="30"/>
                        <a:pt x="588" y="29"/>
                      </a:cubicBezTo>
                      <a:cubicBezTo>
                        <a:pt x="585" y="28"/>
                        <a:pt x="582" y="27"/>
                        <a:pt x="578" y="26"/>
                      </a:cubicBezTo>
                      <a:cubicBezTo>
                        <a:pt x="577" y="25"/>
                        <a:pt x="576" y="25"/>
                        <a:pt x="575" y="25"/>
                      </a:cubicBezTo>
                      <a:cubicBezTo>
                        <a:pt x="572" y="24"/>
                        <a:pt x="569" y="23"/>
                        <a:pt x="567" y="22"/>
                      </a:cubicBezTo>
                      <a:cubicBezTo>
                        <a:pt x="565" y="21"/>
                        <a:pt x="564" y="21"/>
                        <a:pt x="563" y="21"/>
                      </a:cubicBezTo>
                      <a:cubicBezTo>
                        <a:pt x="560" y="20"/>
                        <a:pt x="557" y="19"/>
                        <a:pt x="554" y="18"/>
                      </a:cubicBezTo>
                      <a:cubicBezTo>
                        <a:pt x="553" y="17"/>
                        <a:pt x="552" y="17"/>
                        <a:pt x="552" y="17"/>
                      </a:cubicBezTo>
                      <a:cubicBezTo>
                        <a:pt x="548" y="16"/>
                        <a:pt x="544" y="15"/>
                        <a:pt x="540" y="14"/>
                      </a:cubicBezTo>
                      <a:cubicBezTo>
                        <a:pt x="539" y="14"/>
                        <a:pt x="538" y="13"/>
                        <a:pt x="538" y="13"/>
                      </a:cubicBezTo>
                      <a:cubicBezTo>
                        <a:pt x="535" y="12"/>
                        <a:pt x="531" y="12"/>
                        <a:pt x="528" y="11"/>
                      </a:cubicBezTo>
                      <a:cubicBezTo>
                        <a:pt x="526" y="11"/>
                        <a:pt x="525" y="10"/>
                        <a:pt x="524" y="10"/>
                      </a:cubicBezTo>
                      <a:cubicBezTo>
                        <a:pt x="521" y="9"/>
                        <a:pt x="518" y="9"/>
                        <a:pt x="516" y="8"/>
                      </a:cubicBezTo>
                      <a:cubicBezTo>
                        <a:pt x="514" y="8"/>
                        <a:pt x="513" y="8"/>
                        <a:pt x="511" y="8"/>
                      </a:cubicBezTo>
                      <a:cubicBezTo>
                        <a:pt x="509" y="7"/>
                        <a:pt x="506" y="7"/>
                        <a:pt x="503" y="6"/>
                      </a:cubicBezTo>
                      <a:cubicBezTo>
                        <a:pt x="502" y="6"/>
                        <a:pt x="500" y="6"/>
                        <a:pt x="499" y="5"/>
                      </a:cubicBezTo>
                      <a:cubicBezTo>
                        <a:pt x="495" y="5"/>
                        <a:pt x="491" y="4"/>
                        <a:pt x="487" y="4"/>
                      </a:cubicBezTo>
                      <a:cubicBezTo>
                        <a:pt x="487" y="4"/>
                        <a:pt x="486" y="4"/>
                        <a:pt x="486" y="4"/>
                      </a:cubicBezTo>
                      <a:cubicBezTo>
                        <a:pt x="482" y="3"/>
                        <a:pt x="478" y="3"/>
                        <a:pt x="475" y="2"/>
                      </a:cubicBezTo>
                      <a:cubicBezTo>
                        <a:pt x="473" y="2"/>
                        <a:pt x="472" y="2"/>
                        <a:pt x="471" y="2"/>
                      </a:cubicBezTo>
                      <a:cubicBezTo>
                        <a:pt x="468" y="2"/>
                        <a:pt x="465" y="2"/>
                        <a:pt x="462" y="1"/>
                      </a:cubicBezTo>
                      <a:cubicBezTo>
                        <a:pt x="461" y="1"/>
                        <a:pt x="459" y="1"/>
                        <a:pt x="458" y="1"/>
                      </a:cubicBezTo>
                      <a:cubicBezTo>
                        <a:pt x="456" y="1"/>
                        <a:pt x="454" y="1"/>
                        <a:pt x="452" y="1"/>
                      </a:cubicBezTo>
                      <a:cubicBezTo>
                        <a:pt x="452" y="0"/>
                        <a:pt x="452" y="0"/>
                        <a:pt x="452" y="0"/>
                      </a:cubicBezTo>
                      <a:cubicBezTo>
                        <a:pt x="412" y="0"/>
                        <a:pt x="412" y="0"/>
                        <a:pt x="412" y="0"/>
                      </a:cubicBezTo>
                      <a:cubicBezTo>
                        <a:pt x="412" y="1"/>
                        <a:pt x="412" y="1"/>
                        <a:pt x="412" y="1"/>
                      </a:cubicBezTo>
                      <a:cubicBezTo>
                        <a:pt x="410" y="1"/>
                        <a:pt x="409" y="1"/>
                        <a:pt x="407" y="1"/>
                      </a:cubicBezTo>
                      <a:cubicBezTo>
                        <a:pt x="405" y="1"/>
                        <a:pt x="404" y="1"/>
                        <a:pt x="402" y="1"/>
                      </a:cubicBezTo>
                      <a:cubicBezTo>
                        <a:pt x="400" y="2"/>
                        <a:pt x="397" y="2"/>
                        <a:pt x="394" y="2"/>
                      </a:cubicBezTo>
                      <a:cubicBezTo>
                        <a:pt x="393" y="2"/>
                        <a:pt x="391" y="2"/>
                        <a:pt x="390" y="2"/>
                      </a:cubicBezTo>
                      <a:cubicBezTo>
                        <a:pt x="386" y="3"/>
                        <a:pt x="383" y="3"/>
                        <a:pt x="379" y="4"/>
                      </a:cubicBezTo>
                      <a:cubicBezTo>
                        <a:pt x="378" y="4"/>
                        <a:pt x="378" y="4"/>
                        <a:pt x="378" y="4"/>
                      </a:cubicBezTo>
                      <a:cubicBezTo>
                        <a:pt x="373" y="4"/>
                        <a:pt x="369" y="5"/>
                        <a:pt x="365" y="5"/>
                      </a:cubicBezTo>
                      <a:cubicBezTo>
                        <a:pt x="364" y="6"/>
                        <a:pt x="363" y="6"/>
                        <a:pt x="362" y="6"/>
                      </a:cubicBezTo>
                      <a:cubicBezTo>
                        <a:pt x="359" y="7"/>
                        <a:pt x="356" y="7"/>
                        <a:pt x="353" y="8"/>
                      </a:cubicBezTo>
                      <a:cubicBezTo>
                        <a:pt x="352" y="8"/>
                        <a:pt x="350" y="8"/>
                        <a:pt x="349" y="8"/>
                      </a:cubicBezTo>
                      <a:cubicBezTo>
                        <a:pt x="346" y="9"/>
                        <a:pt x="343" y="9"/>
                        <a:pt x="340" y="10"/>
                      </a:cubicBezTo>
                      <a:cubicBezTo>
                        <a:pt x="339" y="10"/>
                        <a:pt x="338" y="11"/>
                        <a:pt x="337" y="11"/>
                      </a:cubicBezTo>
                      <a:cubicBezTo>
                        <a:pt x="333" y="12"/>
                        <a:pt x="330" y="12"/>
                        <a:pt x="327" y="13"/>
                      </a:cubicBezTo>
                      <a:cubicBezTo>
                        <a:pt x="326" y="13"/>
                        <a:pt x="325" y="14"/>
                        <a:pt x="325" y="14"/>
                      </a:cubicBezTo>
                      <a:cubicBezTo>
                        <a:pt x="321" y="15"/>
                        <a:pt x="317" y="16"/>
                        <a:pt x="313" y="17"/>
                      </a:cubicBezTo>
                      <a:cubicBezTo>
                        <a:pt x="312" y="17"/>
                        <a:pt x="311" y="17"/>
                        <a:pt x="311" y="18"/>
                      </a:cubicBezTo>
                      <a:cubicBezTo>
                        <a:pt x="307" y="19"/>
                        <a:pt x="304" y="20"/>
                        <a:pt x="301" y="21"/>
                      </a:cubicBezTo>
                      <a:cubicBezTo>
                        <a:pt x="300" y="21"/>
                        <a:pt x="299" y="21"/>
                        <a:pt x="298" y="22"/>
                      </a:cubicBezTo>
                      <a:cubicBezTo>
                        <a:pt x="295" y="23"/>
                        <a:pt x="292" y="24"/>
                        <a:pt x="289" y="25"/>
                      </a:cubicBezTo>
                      <a:cubicBezTo>
                        <a:pt x="288" y="25"/>
                        <a:pt x="287" y="25"/>
                        <a:pt x="286" y="26"/>
                      </a:cubicBezTo>
                      <a:cubicBezTo>
                        <a:pt x="283" y="27"/>
                        <a:pt x="280" y="28"/>
                        <a:pt x="276" y="29"/>
                      </a:cubicBezTo>
                      <a:cubicBezTo>
                        <a:pt x="276" y="30"/>
                        <a:pt x="275" y="30"/>
                        <a:pt x="275" y="30"/>
                      </a:cubicBezTo>
                      <a:cubicBezTo>
                        <a:pt x="271" y="31"/>
                        <a:pt x="267" y="33"/>
                        <a:pt x="263" y="35"/>
                      </a:cubicBezTo>
                      <a:cubicBezTo>
                        <a:pt x="263" y="35"/>
                        <a:pt x="263" y="35"/>
                        <a:pt x="262" y="35"/>
                      </a:cubicBezTo>
                      <a:cubicBezTo>
                        <a:pt x="259" y="36"/>
                        <a:pt x="256" y="38"/>
                        <a:pt x="252" y="40"/>
                      </a:cubicBezTo>
                      <a:cubicBezTo>
                        <a:pt x="251" y="40"/>
                        <a:pt x="251" y="40"/>
                        <a:pt x="250" y="41"/>
                      </a:cubicBezTo>
                      <a:cubicBezTo>
                        <a:pt x="247" y="42"/>
                        <a:pt x="243" y="44"/>
                        <a:pt x="240" y="45"/>
                      </a:cubicBezTo>
                      <a:cubicBezTo>
                        <a:pt x="240" y="46"/>
                        <a:pt x="239" y="46"/>
                        <a:pt x="238" y="46"/>
                      </a:cubicBezTo>
                      <a:cubicBezTo>
                        <a:pt x="235" y="48"/>
                        <a:pt x="232" y="50"/>
                        <a:pt x="229" y="51"/>
                      </a:cubicBezTo>
                      <a:cubicBezTo>
                        <a:pt x="228" y="51"/>
                        <a:pt x="228" y="52"/>
                        <a:pt x="228" y="52"/>
                      </a:cubicBezTo>
                      <a:cubicBezTo>
                        <a:pt x="220" y="56"/>
                        <a:pt x="213" y="60"/>
                        <a:pt x="206" y="64"/>
                      </a:cubicBezTo>
                      <a:cubicBezTo>
                        <a:pt x="206" y="65"/>
                        <a:pt x="205" y="65"/>
                        <a:pt x="205" y="65"/>
                      </a:cubicBezTo>
                      <a:cubicBezTo>
                        <a:pt x="202" y="67"/>
                        <a:pt x="200" y="68"/>
                        <a:pt x="197" y="70"/>
                      </a:cubicBezTo>
                      <a:cubicBezTo>
                        <a:pt x="196" y="70"/>
                        <a:pt x="195" y="71"/>
                        <a:pt x="194" y="72"/>
                      </a:cubicBezTo>
                      <a:cubicBezTo>
                        <a:pt x="191" y="74"/>
                        <a:pt x="188" y="76"/>
                        <a:pt x="184" y="79"/>
                      </a:cubicBezTo>
                      <a:cubicBezTo>
                        <a:pt x="184" y="79"/>
                        <a:pt x="184" y="79"/>
                        <a:pt x="184" y="79"/>
                      </a:cubicBezTo>
                      <a:cubicBezTo>
                        <a:pt x="177" y="84"/>
                        <a:pt x="170" y="89"/>
                        <a:pt x="164" y="94"/>
                      </a:cubicBezTo>
                      <a:cubicBezTo>
                        <a:pt x="163" y="94"/>
                        <a:pt x="163" y="94"/>
                        <a:pt x="163" y="94"/>
                      </a:cubicBezTo>
                      <a:cubicBezTo>
                        <a:pt x="160" y="97"/>
                        <a:pt x="157" y="99"/>
                        <a:pt x="154" y="102"/>
                      </a:cubicBezTo>
                      <a:cubicBezTo>
                        <a:pt x="154" y="102"/>
                        <a:pt x="153" y="102"/>
                        <a:pt x="153" y="103"/>
                      </a:cubicBezTo>
                      <a:cubicBezTo>
                        <a:pt x="150" y="105"/>
                        <a:pt x="147" y="108"/>
                        <a:pt x="144" y="111"/>
                      </a:cubicBezTo>
                      <a:cubicBezTo>
                        <a:pt x="144" y="111"/>
                        <a:pt x="144" y="111"/>
                        <a:pt x="144" y="111"/>
                      </a:cubicBezTo>
                      <a:cubicBezTo>
                        <a:pt x="134" y="119"/>
                        <a:pt x="125" y="128"/>
                        <a:pt x="117" y="138"/>
                      </a:cubicBezTo>
                      <a:cubicBezTo>
                        <a:pt x="116" y="138"/>
                        <a:pt x="116" y="138"/>
                        <a:pt x="116" y="139"/>
                      </a:cubicBezTo>
                      <a:cubicBezTo>
                        <a:pt x="104" y="151"/>
                        <a:pt x="94" y="164"/>
                        <a:pt x="84" y="177"/>
                      </a:cubicBezTo>
                      <a:cubicBezTo>
                        <a:pt x="83" y="178"/>
                        <a:pt x="83" y="178"/>
                        <a:pt x="83" y="178"/>
                      </a:cubicBezTo>
                      <a:cubicBezTo>
                        <a:pt x="81" y="181"/>
                        <a:pt x="79" y="184"/>
                        <a:pt x="76" y="188"/>
                      </a:cubicBezTo>
                      <a:cubicBezTo>
                        <a:pt x="76" y="188"/>
                        <a:pt x="76" y="188"/>
                        <a:pt x="76" y="188"/>
                      </a:cubicBezTo>
                      <a:cubicBezTo>
                        <a:pt x="76" y="188"/>
                        <a:pt x="76" y="188"/>
                        <a:pt x="76" y="188"/>
                      </a:cubicBezTo>
                      <a:cubicBezTo>
                        <a:pt x="32" y="252"/>
                        <a:pt x="5" y="329"/>
                        <a:pt x="1" y="412"/>
                      </a:cubicBezTo>
                      <a:cubicBezTo>
                        <a:pt x="0" y="412"/>
                        <a:pt x="0" y="412"/>
                        <a:pt x="0" y="412"/>
                      </a:cubicBezTo>
                      <a:cubicBezTo>
                        <a:pt x="0" y="423"/>
                        <a:pt x="0" y="423"/>
                        <a:pt x="0" y="423"/>
                      </a:cubicBezTo>
                      <a:cubicBezTo>
                        <a:pt x="0" y="439"/>
                        <a:pt x="13" y="452"/>
                        <a:pt x="29" y="452"/>
                      </a:cubicBezTo>
                      <a:lnTo>
                        <a:pt x="41" y="452"/>
                      </a:lnTo>
                      <a:close/>
                      <a:moveTo>
                        <a:pt x="757" y="214"/>
                      </a:moveTo>
                      <a:cubicBezTo>
                        <a:pt x="796" y="271"/>
                        <a:pt x="820" y="339"/>
                        <a:pt x="823" y="412"/>
                      </a:cubicBezTo>
                      <a:cubicBezTo>
                        <a:pt x="668" y="412"/>
                        <a:pt x="668" y="412"/>
                        <a:pt x="668" y="412"/>
                      </a:cubicBezTo>
                      <a:cubicBezTo>
                        <a:pt x="667" y="358"/>
                        <a:pt x="660" y="306"/>
                        <a:pt x="648" y="258"/>
                      </a:cubicBezTo>
                      <a:cubicBezTo>
                        <a:pt x="693" y="247"/>
                        <a:pt x="730" y="231"/>
                        <a:pt x="757" y="214"/>
                      </a:cubicBezTo>
                      <a:close/>
                      <a:moveTo>
                        <a:pt x="579" y="69"/>
                      </a:moveTo>
                      <a:cubicBezTo>
                        <a:pt x="579" y="69"/>
                        <a:pt x="579" y="69"/>
                        <a:pt x="580" y="69"/>
                      </a:cubicBezTo>
                      <a:cubicBezTo>
                        <a:pt x="582" y="70"/>
                        <a:pt x="585" y="71"/>
                        <a:pt x="588" y="73"/>
                      </a:cubicBezTo>
                      <a:cubicBezTo>
                        <a:pt x="589" y="73"/>
                        <a:pt x="589" y="73"/>
                        <a:pt x="590" y="74"/>
                      </a:cubicBezTo>
                      <a:cubicBezTo>
                        <a:pt x="592" y="75"/>
                        <a:pt x="595" y="76"/>
                        <a:pt x="597" y="77"/>
                      </a:cubicBezTo>
                      <a:cubicBezTo>
                        <a:pt x="598" y="77"/>
                        <a:pt x="599" y="78"/>
                        <a:pt x="600" y="78"/>
                      </a:cubicBezTo>
                      <a:cubicBezTo>
                        <a:pt x="602" y="79"/>
                        <a:pt x="603" y="80"/>
                        <a:pt x="605" y="80"/>
                      </a:cubicBezTo>
                      <a:cubicBezTo>
                        <a:pt x="607" y="81"/>
                        <a:pt x="608" y="82"/>
                        <a:pt x="610" y="83"/>
                      </a:cubicBezTo>
                      <a:cubicBezTo>
                        <a:pt x="611" y="83"/>
                        <a:pt x="611" y="84"/>
                        <a:pt x="612" y="84"/>
                      </a:cubicBezTo>
                      <a:cubicBezTo>
                        <a:pt x="658" y="108"/>
                        <a:pt x="700" y="141"/>
                        <a:pt x="733" y="181"/>
                      </a:cubicBezTo>
                      <a:cubicBezTo>
                        <a:pt x="710" y="196"/>
                        <a:pt x="678" y="209"/>
                        <a:pt x="638" y="220"/>
                      </a:cubicBezTo>
                      <a:cubicBezTo>
                        <a:pt x="617" y="153"/>
                        <a:pt x="587" y="97"/>
                        <a:pt x="551" y="59"/>
                      </a:cubicBezTo>
                      <a:cubicBezTo>
                        <a:pt x="560" y="62"/>
                        <a:pt x="570" y="65"/>
                        <a:pt x="579" y="69"/>
                      </a:cubicBezTo>
                      <a:close/>
                      <a:moveTo>
                        <a:pt x="452" y="43"/>
                      </a:moveTo>
                      <a:cubicBezTo>
                        <a:pt x="493" y="52"/>
                        <a:pt x="533" y="88"/>
                        <a:pt x="564" y="146"/>
                      </a:cubicBezTo>
                      <a:cubicBezTo>
                        <a:pt x="578" y="171"/>
                        <a:pt x="589" y="199"/>
                        <a:pt x="599" y="229"/>
                      </a:cubicBezTo>
                      <a:cubicBezTo>
                        <a:pt x="556" y="237"/>
                        <a:pt x="506" y="243"/>
                        <a:pt x="452" y="244"/>
                      </a:cubicBezTo>
                      <a:lnTo>
                        <a:pt x="452" y="43"/>
                      </a:lnTo>
                      <a:close/>
                      <a:moveTo>
                        <a:pt x="452" y="284"/>
                      </a:moveTo>
                      <a:cubicBezTo>
                        <a:pt x="509" y="283"/>
                        <a:pt x="562" y="277"/>
                        <a:pt x="609" y="267"/>
                      </a:cubicBezTo>
                      <a:cubicBezTo>
                        <a:pt x="620" y="312"/>
                        <a:pt x="627" y="361"/>
                        <a:pt x="628" y="412"/>
                      </a:cubicBezTo>
                      <a:cubicBezTo>
                        <a:pt x="452" y="412"/>
                        <a:pt x="452" y="412"/>
                        <a:pt x="452" y="412"/>
                      </a:cubicBezTo>
                      <a:lnTo>
                        <a:pt x="452" y="284"/>
                      </a:lnTo>
                      <a:close/>
                      <a:moveTo>
                        <a:pt x="412" y="412"/>
                      </a:moveTo>
                      <a:cubicBezTo>
                        <a:pt x="237" y="412"/>
                        <a:pt x="237" y="412"/>
                        <a:pt x="237" y="412"/>
                      </a:cubicBezTo>
                      <a:cubicBezTo>
                        <a:pt x="238" y="361"/>
                        <a:pt x="244" y="312"/>
                        <a:pt x="255" y="267"/>
                      </a:cubicBezTo>
                      <a:cubicBezTo>
                        <a:pt x="302" y="277"/>
                        <a:pt x="356" y="283"/>
                        <a:pt x="412" y="284"/>
                      </a:cubicBezTo>
                      <a:lnTo>
                        <a:pt x="412" y="412"/>
                      </a:lnTo>
                      <a:close/>
                      <a:moveTo>
                        <a:pt x="412" y="43"/>
                      </a:moveTo>
                      <a:cubicBezTo>
                        <a:pt x="412" y="244"/>
                        <a:pt x="412" y="244"/>
                        <a:pt x="412" y="244"/>
                      </a:cubicBezTo>
                      <a:cubicBezTo>
                        <a:pt x="358" y="243"/>
                        <a:pt x="309" y="237"/>
                        <a:pt x="266" y="229"/>
                      </a:cubicBezTo>
                      <a:cubicBezTo>
                        <a:pt x="275" y="199"/>
                        <a:pt x="287" y="171"/>
                        <a:pt x="300" y="146"/>
                      </a:cubicBezTo>
                      <a:cubicBezTo>
                        <a:pt x="332" y="88"/>
                        <a:pt x="372" y="52"/>
                        <a:pt x="412" y="43"/>
                      </a:cubicBezTo>
                      <a:close/>
                      <a:moveTo>
                        <a:pt x="253" y="84"/>
                      </a:moveTo>
                      <a:cubicBezTo>
                        <a:pt x="253" y="84"/>
                        <a:pt x="254" y="83"/>
                        <a:pt x="254" y="83"/>
                      </a:cubicBezTo>
                      <a:cubicBezTo>
                        <a:pt x="256" y="82"/>
                        <a:pt x="258" y="81"/>
                        <a:pt x="260" y="80"/>
                      </a:cubicBezTo>
                      <a:cubicBezTo>
                        <a:pt x="261" y="80"/>
                        <a:pt x="263" y="79"/>
                        <a:pt x="264" y="78"/>
                      </a:cubicBezTo>
                      <a:cubicBezTo>
                        <a:pt x="265" y="78"/>
                        <a:pt x="267" y="77"/>
                        <a:pt x="268" y="77"/>
                      </a:cubicBezTo>
                      <a:cubicBezTo>
                        <a:pt x="270" y="76"/>
                        <a:pt x="272" y="75"/>
                        <a:pt x="274" y="74"/>
                      </a:cubicBezTo>
                      <a:cubicBezTo>
                        <a:pt x="275" y="73"/>
                        <a:pt x="276" y="73"/>
                        <a:pt x="276" y="73"/>
                      </a:cubicBezTo>
                      <a:cubicBezTo>
                        <a:pt x="279" y="71"/>
                        <a:pt x="282" y="70"/>
                        <a:pt x="285" y="69"/>
                      </a:cubicBezTo>
                      <a:cubicBezTo>
                        <a:pt x="285" y="69"/>
                        <a:pt x="285" y="69"/>
                        <a:pt x="285" y="69"/>
                      </a:cubicBezTo>
                      <a:cubicBezTo>
                        <a:pt x="295" y="65"/>
                        <a:pt x="304" y="62"/>
                        <a:pt x="314" y="59"/>
                      </a:cubicBezTo>
                      <a:cubicBezTo>
                        <a:pt x="277" y="97"/>
                        <a:pt x="247" y="153"/>
                        <a:pt x="227" y="220"/>
                      </a:cubicBezTo>
                      <a:cubicBezTo>
                        <a:pt x="187" y="209"/>
                        <a:pt x="154" y="196"/>
                        <a:pt x="131" y="181"/>
                      </a:cubicBezTo>
                      <a:cubicBezTo>
                        <a:pt x="165" y="141"/>
                        <a:pt x="206" y="108"/>
                        <a:pt x="253" y="84"/>
                      </a:cubicBezTo>
                      <a:close/>
                      <a:moveTo>
                        <a:pt x="107" y="214"/>
                      </a:moveTo>
                      <a:cubicBezTo>
                        <a:pt x="135" y="231"/>
                        <a:pt x="172" y="247"/>
                        <a:pt x="216" y="258"/>
                      </a:cubicBezTo>
                      <a:cubicBezTo>
                        <a:pt x="205" y="306"/>
                        <a:pt x="198" y="358"/>
                        <a:pt x="197" y="412"/>
                      </a:cubicBezTo>
                      <a:cubicBezTo>
                        <a:pt x="41" y="412"/>
                        <a:pt x="41" y="412"/>
                        <a:pt x="41" y="412"/>
                      </a:cubicBezTo>
                      <a:cubicBezTo>
                        <a:pt x="45" y="339"/>
                        <a:pt x="69" y="271"/>
                        <a:pt x="107" y="21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9" name="Freeform 7"/>
                <p:cNvSpPr>
                  <a:spLocks/>
                </p:cNvSpPr>
                <p:nvPr/>
              </p:nvSpPr>
              <p:spPr bwMode="auto">
                <a:xfrm>
                  <a:off x="273843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0" name="Freeform 8"/>
                <p:cNvSpPr>
                  <a:spLocks/>
                </p:cNvSpPr>
                <p:nvPr/>
              </p:nvSpPr>
              <p:spPr bwMode="auto">
                <a:xfrm>
                  <a:off x="2846388" y="2674938"/>
                  <a:ext cx="77788" cy="77788"/>
                </a:xfrm>
                <a:custGeom>
                  <a:avLst/>
                  <a:gdLst>
                    <a:gd name="T0" fmla="*/ 75 w 104"/>
                    <a:gd name="T1" fmla="*/ 105 h 105"/>
                    <a:gd name="T2" fmla="*/ 28 w 104"/>
                    <a:gd name="T3" fmla="*/ 105 h 105"/>
                    <a:gd name="T4" fmla="*/ 0 w 104"/>
                    <a:gd name="T5" fmla="*/ 76 h 105"/>
                    <a:gd name="T6" fmla="*/ 0 w 104"/>
                    <a:gd name="T7" fmla="*/ 29 h 105"/>
                    <a:gd name="T8" fmla="*/ 28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8" y="105"/>
                        <a:pt x="28" y="105"/>
                        <a:pt x="28" y="105"/>
                      </a:cubicBezTo>
                      <a:cubicBezTo>
                        <a:pt x="12" y="105"/>
                        <a:pt x="0" y="92"/>
                        <a:pt x="0" y="76"/>
                      </a:cubicBezTo>
                      <a:cubicBezTo>
                        <a:pt x="0" y="29"/>
                        <a:pt x="0" y="29"/>
                        <a:pt x="0" y="29"/>
                      </a:cubicBezTo>
                      <a:cubicBezTo>
                        <a:pt x="0" y="13"/>
                        <a:pt x="12" y="0"/>
                        <a:pt x="28"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1" name="Freeform 9"/>
                <p:cNvSpPr>
                  <a:spLocks/>
                </p:cNvSpPr>
                <p:nvPr/>
              </p:nvSpPr>
              <p:spPr bwMode="auto">
                <a:xfrm>
                  <a:off x="295433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 name="Freeform 10"/>
                <p:cNvSpPr>
                  <a:spLocks/>
                </p:cNvSpPr>
                <p:nvPr/>
              </p:nvSpPr>
              <p:spPr bwMode="auto">
                <a:xfrm>
                  <a:off x="306228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4" name="Freeform 11"/>
                <p:cNvSpPr>
                  <a:spLocks/>
                </p:cNvSpPr>
                <p:nvPr/>
              </p:nvSpPr>
              <p:spPr bwMode="auto">
                <a:xfrm>
                  <a:off x="3170238" y="2674938"/>
                  <a:ext cx="77788" cy="77788"/>
                </a:xfrm>
                <a:custGeom>
                  <a:avLst/>
                  <a:gdLst>
                    <a:gd name="T0" fmla="*/ 76 w 104"/>
                    <a:gd name="T1" fmla="*/ 105 h 105"/>
                    <a:gd name="T2" fmla="*/ 29 w 104"/>
                    <a:gd name="T3" fmla="*/ 105 h 105"/>
                    <a:gd name="T4" fmla="*/ 0 w 104"/>
                    <a:gd name="T5" fmla="*/ 76 h 105"/>
                    <a:gd name="T6" fmla="*/ 0 w 104"/>
                    <a:gd name="T7" fmla="*/ 29 h 105"/>
                    <a:gd name="T8" fmla="*/ 29 w 104"/>
                    <a:gd name="T9" fmla="*/ 0 h 105"/>
                    <a:gd name="T10" fmla="*/ 76 w 104"/>
                    <a:gd name="T11" fmla="*/ 0 h 105"/>
                    <a:gd name="T12" fmla="*/ 104 w 104"/>
                    <a:gd name="T13" fmla="*/ 29 h 105"/>
                    <a:gd name="T14" fmla="*/ 104 w 104"/>
                    <a:gd name="T15" fmla="*/ 76 h 105"/>
                    <a:gd name="T16" fmla="*/ 76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4" y="13"/>
                        <a:pt x="104" y="29"/>
                      </a:cubicBezTo>
                      <a:cubicBezTo>
                        <a:pt x="104" y="76"/>
                        <a:pt x="104" y="76"/>
                        <a:pt x="104" y="76"/>
                      </a:cubicBezTo>
                      <a:cubicBezTo>
                        <a:pt x="104" y="92"/>
                        <a:pt x="92" y="105"/>
                        <a:pt x="76"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 name="Freeform 12"/>
                <p:cNvSpPr>
                  <a:spLocks/>
                </p:cNvSpPr>
                <p:nvPr/>
              </p:nvSpPr>
              <p:spPr bwMode="auto">
                <a:xfrm>
                  <a:off x="327818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6" name="Freeform 13"/>
                <p:cNvSpPr>
                  <a:spLocks/>
                </p:cNvSpPr>
                <p:nvPr/>
              </p:nvSpPr>
              <p:spPr bwMode="auto">
                <a:xfrm>
                  <a:off x="2789238" y="2776538"/>
                  <a:ext cx="65088" cy="65088"/>
                </a:xfrm>
                <a:custGeom>
                  <a:avLst/>
                  <a:gdLst>
                    <a:gd name="T0" fmla="*/ 58 w 87"/>
                    <a:gd name="T1" fmla="*/ 87 h 87"/>
                    <a:gd name="T2" fmla="*/ 28 w 87"/>
                    <a:gd name="T3" fmla="*/ 87 h 87"/>
                    <a:gd name="T4" fmla="*/ 0 w 87"/>
                    <a:gd name="T5" fmla="*/ 58 h 87"/>
                    <a:gd name="T6" fmla="*/ 0 w 87"/>
                    <a:gd name="T7" fmla="*/ 29 h 87"/>
                    <a:gd name="T8" fmla="*/ 28 w 87"/>
                    <a:gd name="T9" fmla="*/ 0 h 87"/>
                    <a:gd name="T10" fmla="*/ 58 w 87"/>
                    <a:gd name="T11" fmla="*/ 0 h 87"/>
                    <a:gd name="T12" fmla="*/ 87 w 87"/>
                    <a:gd name="T13" fmla="*/ 29 h 87"/>
                    <a:gd name="T14" fmla="*/ 87 w 87"/>
                    <a:gd name="T15" fmla="*/ 58 h 87"/>
                    <a:gd name="T16" fmla="*/ 58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8" y="87"/>
                      </a:moveTo>
                      <a:cubicBezTo>
                        <a:pt x="28" y="87"/>
                        <a:pt x="28" y="87"/>
                        <a:pt x="28" y="87"/>
                      </a:cubicBezTo>
                      <a:cubicBezTo>
                        <a:pt x="12" y="87"/>
                        <a:pt x="0" y="74"/>
                        <a:pt x="0" y="58"/>
                      </a:cubicBezTo>
                      <a:cubicBezTo>
                        <a:pt x="0" y="29"/>
                        <a:pt x="0" y="29"/>
                        <a:pt x="0" y="29"/>
                      </a:cubicBezTo>
                      <a:cubicBezTo>
                        <a:pt x="0" y="13"/>
                        <a:pt x="12" y="0"/>
                        <a:pt x="28" y="0"/>
                      </a:cubicBezTo>
                      <a:cubicBezTo>
                        <a:pt x="58" y="0"/>
                        <a:pt x="58" y="0"/>
                        <a:pt x="58" y="0"/>
                      </a:cubicBezTo>
                      <a:cubicBezTo>
                        <a:pt x="74" y="0"/>
                        <a:pt x="87" y="13"/>
                        <a:pt x="87" y="29"/>
                      </a:cubicBezTo>
                      <a:cubicBezTo>
                        <a:pt x="87" y="58"/>
                        <a:pt x="87" y="58"/>
                        <a:pt x="87" y="58"/>
                      </a:cubicBezTo>
                      <a:cubicBezTo>
                        <a:pt x="87" y="74"/>
                        <a:pt x="74" y="87"/>
                        <a:pt x="58"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7" name="Freeform 14"/>
                <p:cNvSpPr>
                  <a:spLocks/>
                </p:cNvSpPr>
                <p:nvPr/>
              </p:nvSpPr>
              <p:spPr bwMode="auto">
                <a:xfrm>
                  <a:off x="2901950" y="2776538"/>
                  <a:ext cx="65088" cy="65088"/>
                </a:xfrm>
                <a:custGeom>
                  <a:avLst/>
                  <a:gdLst>
                    <a:gd name="T0" fmla="*/ 59 w 88"/>
                    <a:gd name="T1" fmla="*/ 87 h 87"/>
                    <a:gd name="T2" fmla="*/ 29 w 88"/>
                    <a:gd name="T3" fmla="*/ 87 h 87"/>
                    <a:gd name="T4" fmla="*/ 0 w 88"/>
                    <a:gd name="T5" fmla="*/ 58 h 87"/>
                    <a:gd name="T6" fmla="*/ 0 w 88"/>
                    <a:gd name="T7" fmla="*/ 29 h 87"/>
                    <a:gd name="T8" fmla="*/ 29 w 88"/>
                    <a:gd name="T9" fmla="*/ 0 h 87"/>
                    <a:gd name="T10" fmla="*/ 59 w 88"/>
                    <a:gd name="T11" fmla="*/ 0 h 87"/>
                    <a:gd name="T12" fmla="*/ 88 w 88"/>
                    <a:gd name="T13" fmla="*/ 29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9"/>
                        <a:pt x="0" y="29"/>
                        <a:pt x="0" y="29"/>
                      </a:cubicBezTo>
                      <a:cubicBezTo>
                        <a:pt x="0" y="13"/>
                        <a:pt x="13" y="0"/>
                        <a:pt x="29" y="0"/>
                      </a:cubicBezTo>
                      <a:cubicBezTo>
                        <a:pt x="59" y="0"/>
                        <a:pt x="59" y="0"/>
                        <a:pt x="59" y="0"/>
                      </a:cubicBezTo>
                      <a:cubicBezTo>
                        <a:pt x="75" y="0"/>
                        <a:pt x="88" y="13"/>
                        <a:pt x="88" y="29"/>
                      </a:cubicBezTo>
                      <a:cubicBezTo>
                        <a:pt x="88" y="58"/>
                        <a:pt x="88" y="58"/>
                        <a:pt x="88" y="58"/>
                      </a:cubicBezTo>
                      <a:cubicBezTo>
                        <a:pt x="88" y="74"/>
                        <a:pt x="75" y="87"/>
                        <a:pt x="59" y="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8" name="Freeform 15"/>
                <p:cNvSpPr>
                  <a:spLocks/>
                </p:cNvSpPr>
                <p:nvPr/>
              </p:nvSpPr>
              <p:spPr bwMode="auto">
                <a:xfrm>
                  <a:off x="3014663"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9" name="Freeform 16"/>
                <p:cNvSpPr>
                  <a:spLocks/>
                </p:cNvSpPr>
                <p:nvPr/>
              </p:nvSpPr>
              <p:spPr bwMode="auto">
                <a:xfrm>
                  <a:off x="3127375"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0" name="Freeform 17"/>
                <p:cNvSpPr>
                  <a:spLocks/>
                </p:cNvSpPr>
                <p:nvPr/>
              </p:nvSpPr>
              <p:spPr bwMode="auto">
                <a:xfrm>
                  <a:off x="3240088" y="2778125"/>
                  <a:ext cx="65088" cy="63500"/>
                </a:xfrm>
                <a:custGeom>
                  <a:avLst/>
                  <a:gdLst>
                    <a:gd name="T0" fmla="*/ 59 w 87"/>
                    <a:gd name="T1" fmla="*/ 87 h 87"/>
                    <a:gd name="T2" fmla="*/ 29 w 87"/>
                    <a:gd name="T3" fmla="*/ 87 h 87"/>
                    <a:gd name="T4" fmla="*/ 0 w 87"/>
                    <a:gd name="T5" fmla="*/ 58 h 87"/>
                    <a:gd name="T6" fmla="*/ 0 w 87"/>
                    <a:gd name="T7" fmla="*/ 28 h 87"/>
                    <a:gd name="T8" fmla="*/ 29 w 87"/>
                    <a:gd name="T9" fmla="*/ 0 h 87"/>
                    <a:gd name="T10" fmla="*/ 59 w 87"/>
                    <a:gd name="T11" fmla="*/ 0 h 87"/>
                    <a:gd name="T12" fmla="*/ 87 w 87"/>
                    <a:gd name="T13" fmla="*/ 28 h 87"/>
                    <a:gd name="T14" fmla="*/ 87 w 87"/>
                    <a:gd name="T15" fmla="*/ 58 h 87"/>
                    <a:gd name="T16" fmla="*/ 59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7" y="13"/>
                        <a:pt x="87" y="28"/>
                      </a:cubicBezTo>
                      <a:cubicBezTo>
                        <a:pt x="87" y="58"/>
                        <a:pt x="87" y="58"/>
                        <a:pt x="87" y="58"/>
                      </a:cubicBezTo>
                      <a:cubicBezTo>
                        <a:pt x="87" y="74"/>
                        <a:pt x="75" y="87"/>
                        <a:pt x="59"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1" name="Freeform 18"/>
                <p:cNvSpPr>
                  <a:spLocks/>
                </p:cNvSpPr>
                <p:nvPr/>
              </p:nvSpPr>
              <p:spPr bwMode="auto">
                <a:xfrm>
                  <a:off x="2841625" y="2862263"/>
                  <a:ext cx="50800" cy="52388"/>
                </a:xfrm>
                <a:custGeom>
                  <a:avLst/>
                  <a:gdLst>
                    <a:gd name="T0" fmla="*/ 41 w 70"/>
                    <a:gd name="T1" fmla="*/ 70 h 70"/>
                    <a:gd name="T2" fmla="*/ 28 w 70"/>
                    <a:gd name="T3" fmla="*/ 70 h 70"/>
                    <a:gd name="T4" fmla="*/ 0 w 70"/>
                    <a:gd name="T5" fmla="*/ 41 h 70"/>
                    <a:gd name="T6" fmla="*/ 0 w 70"/>
                    <a:gd name="T7" fmla="*/ 29 h 70"/>
                    <a:gd name="T8" fmla="*/ 28 w 70"/>
                    <a:gd name="T9" fmla="*/ 0 h 70"/>
                    <a:gd name="T10" fmla="*/ 41 w 70"/>
                    <a:gd name="T11" fmla="*/ 0 h 70"/>
                    <a:gd name="T12" fmla="*/ 70 w 70"/>
                    <a:gd name="T13" fmla="*/ 29 h 70"/>
                    <a:gd name="T14" fmla="*/ 70 w 70"/>
                    <a:gd name="T15" fmla="*/ 41 h 70"/>
                    <a:gd name="T16" fmla="*/ 41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70" y="13"/>
                        <a:pt x="70" y="29"/>
                      </a:cubicBezTo>
                      <a:cubicBezTo>
                        <a:pt x="70" y="41"/>
                        <a:pt x="70" y="41"/>
                        <a:pt x="70" y="41"/>
                      </a:cubicBezTo>
                      <a:cubicBezTo>
                        <a:pt x="70" y="57"/>
                        <a:pt x="57" y="70"/>
                        <a:pt x="41"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2" name="Freeform 19"/>
                <p:cNvSpPr>
                  <a:spLocks/>
                </p:cNvSpPr>
                <p:nvPr/>
              </p:nvSpPr>
              <p:spPr bwMode="auto">
                <a:xfrm>
                  <a:off x="2962275" y="2862263"/>
                  <a:ext cx="50800" cy="52388"/>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69" y="13"/>
                        <a:pt x="69" y="29"/>
                      </a:cubicBezTo>
                      <a:cubicBezTo>
                        <a:pt x="69" y="41"/>
                        <a:pt x="69" y="41"/>
                        <a:pt x="69" y="41"/>
                      </a:cubicBezTo>
                      <a:cubicBezTo>
                        <a:pt x="69" y="57"/>
                        <a:pt x="57" y="70"/>
                        <a:pt x="41" y="7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4" name="Freeform 20"/>
                <p:cNvSpPr>
                  <a:spLocks/>
                </p:cNvSpPr>
                <p:nvPr/>
              </p:nvSpPr>
              <p:spPr bwMode="auto">
                <a:xfrm>
                  <a:off x="3081338" y="2863850"/>
                  <a:ext cx="52388" cy="50800"/>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2" y="70"/>
                        <a:pt x="0" y="57"/>
                        <a:pt x="0" y="41"/>
                      </a:cubicBezTo>
                      <a:cubicBezTo>
                        <a:pt x="0" y="29"/>
                        <a:pt x="0" y="29"/>
                        <a:pt x="0" y="29"/>
                      </a:cubicBezTo>
                      <a:cubicBezTo>
                        <a:pt x="0" y="13"/>
                        <a:pt x="12" y="0"/>
                        <a:pt x="28" y="0"/>
                      </a:cubicBezTo>
                      <a:cubicBezTo>
                        <a:pt x="41" y="0"/>
                        <a:pt x="41" y="0"/>
                        <a:pt x="41" y="0"/>
                      </a:cubicBezTo>
                      <a:cubicBezTo>
                        <a:pt x="56" y="0"/>
                        <a:pt x="69" y="13"/>
                        <a:pt x="69" y="29"/>
                      </a:cubicBezTo>
                      <a:cubicBezTo>
                        <a:pt x="69" y="41"/>
                        <a:pt x="69" y="41"/>
                        <a:pt x="69" y="41"/>
                      </a:cubicBezTo>
                      <a:cubicBezTo>
                        <a:pt x="69" y="57"/>
                        <a:pt x="56" y="70"/>
                        <a:pt x="41"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5" name="Freeform 21"/>
                <p:cNvSpPr>
                  <a:spLocks/>
                </p:cNvSpPr>
                <p:nvPr/>
              </p:nvSpPr>
              <p:spPr bwMode="auto">
                <a:xfrm>
                  <a:off x="3201988" y="2863850"/>
                  <a:ext cx="50800" cy="50800"/>
                </a:xfrm>
                <a:custGeom>
                  <a:avLst/>
                  <a:gdLst>
                    <a:gd name="T0" fmla="*/ 42 w 70"/>
                    <a:gd name="T1" fmla="*/ 70 h 70"/>
                    <a:gd name="T2" fmla="*/ 29 w 70"/>
                    <a:gd name="T3" fmla="*/ 70 h 70"/>
                    <a:gd name="T4" fmla="*/ 0 w 70"/>
                    <a:gd name="T5" fmla="*/ 41 h 70"/>
                    <a:gd name="T6" fmla="*/ 0 w 70"/>
                    <a:gd name="T7" fmla="*/ 29 h 70"/>
                    <a:gd name="T8" fmla="*/ 29 w 70"/>
                    <a:gd name="T9" fmla="*/ 0 h 70"/>
                    <a:gd name="T10" fmla="*/ 42 w 70"/>
                    <a:gd name="T11" fmla="*/ 0 h 70"/>
                    <a:gd name="T12" fmla="*/ 70 w 70"/>
                    <a:gd name="T13" fmla="*/ 29 h 70"/>
                    <a:gd name="T14" fmla="*/ 70 w 70"/>
                    <a:gd name="T15" fmla="*/ 41 h 70"/>
                    <a:gd name="T16" fmla="*/ 42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2" y="70"/>
                      </a:moveTo>
                      <a:cubicBezTo>
                        <a:pt x="29" y="70"/>
                        <a:pt x="29" y="70"/>
                        <a:pt x="29" y="70"/>
                      </a:cubicBezTo>
                      <a:cubicBezTo>
                        <a:pt x="13" y="70"/>
                        <a:pt x="0" y="57"/>
                        <a:pt x="0" y="41"/>
                      </a:cubicBezTo>
                      <a:cubicBezTo>
                        <a:pt x="0" y="29"/>
                        <a:pt x="0" y="29"/>
                        <a:pt x="0" y="29"/>
                      </a:cubicBezTo>
                      <a:cubicBezTo>
                        <a:pt x="0" y="13"/>
                        <a:pt x="13" y="0"/>
                        <a:pt x="29" y="0"/>
                      </a:cubicBezTo>
                      <a:cubicBezTo>
                        <a:pt x="42" y="0"/>
                        <a:pt x="42" y="0"/>
                        <a:pt x="42" y="0"/>
                      </a:cubicBezTo>
                      <a:cubicBezTo>
                        <a:pt x="57" y="0"/>
                        <a:pt x="70" y="13"/>
                        <a:pt x="70" y="29"/>
                      </a:cubicBezTo>
                      <a:cubicBezTo>
                        <a:pt x="70" y="41"/>
                        <a:pt x="70" y="41"/>
                        <a:pt x="70" y="41"/>
                      </a:cubicBezTo>
                      <a:cubicBezTo>
                        <a:pt x="70" y="57"/>
                        <a:pt x="57" y="70"/>
                        <a:pt x="42" y="7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grpSp>
        <p:nvGrpSpPr>
          <p:cNvPr id="28" name="Group 27">
            <a:extLst>
              <a:ext uri="{FF2B5EF4-FFF2-40B4-BE49-F238E27FC236}">
                <a16:creationId xmlns:a16="http://schemas.microsoft.com/office/drawing/2014/main" id="{D509A774-3AF6-49E0-B164-3495FD8AB9F8}"/>
              </a:ext>
            </a:extLst>
          </p:cNvPr>
          <p:cNvGrpSpPr/>
          <p:nvPr/>
        </p:nvGrpSpPr>
        <p:grpSpPr>
          <a:xfrm>
            <a:off x="485585" y="710972"/>
            <a:ext cx="457390" cy="457390"/>
            <a:chOff x="485585" y="485585"/>
            <a:chExt cx="457390" cy="457390"/>
          </a:xfrm>
        </p:grpSpPr>
        <p:sp>
          <p:nvSpPr>
            <p:cNvPr id="5" name="Oval 4">
              <a:extLst>
                <a:ext uri="{FF2B5EF4-FFF2-40B4-BE49-F238E27FC236}">
                  <a16:creationId xmlns:a16="http://schemas.microsoft.com/office/drawing/2014/main" id="{61C01907-C391-464F-908A-D62C0216549E}"/>
                </a:ext>
              </a:extLst>
            </p:cNvPr>
            <p:cNvSpPr/>
            <p:nvPr/>
          </p:nvSpPr>
          <p:spPr>
            <a:xfrm>
              <a:off x="485585"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56" name="Group 55"/>
            <p:cNvGrpSpPr>
              <a:grpSpLocks noChangeAspect="1"/>
            </p:cNvGrpSpPr>
            <p:nvPr/>
          </p:nvGrpSpPr>
          <p:grpSpPr>
            <a:xfrm>
              <a:off x="549267" y="560453"/>
              <a:ext cx="318407" cy="318194"/>
              <a:chOff x="2439988" y="-1801813"/>
              <a:chExt cx="2363788" cy="2362200"/>
            </a:xfrm>
          </p:grpSpPr>
          <p:sp>
            <p:nvSpPr>
              <p:cNvPr id="52" name="Oval 36"/>
              <p:cNvSpPr>
                <a:spLocks noChangeArrowheads="1"/>
              </p:cNvSpPr>
              <p:nvPr/>
            </p:nvSpPr>
            <p:spPr bwMode="auto">
              <a:xfrm>
                <a:off x="2439988" y="-1801813"/>
                <a:ext cx="2363788" cy="2362200"/>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51" name="Freeform 35"/>
              <p:cNvSpPr>
                <a:spLocks/>
              </p:cNvSpPr>
              <p:nvPr/>
            </p:nvSpPr>
            <p:spPr bwMode="auto">
              <a:xfrm>
                <a:off x="2624138" y="-979488"/>
                <a:ext cx="2163763" cy="1539875"/>
              </a:xfrm>
              <a:custGeom>
                <a:avLst/>
                <a:gdLst>
                  <a:gd name="T0" fmla="*/ 574 w 574"/>
                  <a:gd name="T1" fmla="*/ 141 h 409"/>
                  <a:gd name="T2" fmla="*/ 527 w 574"/>
                  <a:gd name="T3" fmla="*/ 94 h 409"/>
                  <a:gd name="T4" fmla="*/ 507 w 574"/>
                  <a:gd name="T5" fmla="*/ 66 h 409"/>
                  <a:gd name="T6" fmla="*/ 505 w 574"/>
                  <a:gd name="T7" fmla="*/ 63 h 409"/>
                  <a:gd name="T8" fmla="*/ 501 w 574"/>
                  <a:gd name="T9" fmla="*/ 61 h 409"/>
                  <a:gd name="T10" fmla="*/ 499 w 574"/>
                  <a:gd name="T11" fmla="*/ 59 h 409"/>
                  <a:gd name="T12" fmla="*/ 494 w 574"/>
                  <a:gd name="T13" fmla="*/ 57 h 409"/>
                  <a:gd name="T14" fmla="*/ 493 w 574"/>
                  <a:gd name="T15" fmla="*/ 56 h 409"/>
                  <a:gd name="T16" fmla="*/ 487 w 574"/>
                  <a:gd name="T17" fmla="*/ 54 h 409"/>
                  <a:gd name="T18" fmla="*/ 485 w 574"/>
                  <a:gd name="T19" fmla="*/ 53 h 409"/>
                  <a:gd name="T20" fmla="*/ 482 w 574"/>
                  <a:gd name="T21" fmla="*/ 49 h 409"/>
                  <a:gd name="T22" fmla="*/ 479 w 574"/>
                  <a:gd name="T23" fmla="*/ 45 h 409"/>
                  <a:gd name="T24" fmla="*/ 479 w 574"/>
                  <a:gd name="T25" fmla="*/ 45 h 409"/>
                  <a:gd name="T26" fmla="*/ 475 w 574"/>
                  <a:gd name="T27" fmla="*/ 41 h 409"/>
                  <a:gd name="T28" fmla="*/ 475 w 574"/>
                  <a:gd name="T29" fmla="*/ 41 h 409"/>
                  <a:gd name="T30" fmla="*/ 471 w 574"/>
                  <a:gd name="T31" fmla="*/ 37 h 409"/>
                  <a:gd name="T32" fmla="*/ 471 w 574"/>
                  <a:gd name="T33" fmla="*/ 37 h 409"/>
                  <a:gd name="T34" fmla="*/ 466 w 574"/>
                  <a:gd name="T35" fmla="*/ 33 h 409"/>
                  <a:gd name="T36" fmla="*/ 399 w 574"/>
                  <a:gd name="T37" fmla="*/ 10 h 409"/>
                  <a:gd name="T38" fmla="*/ 327 w 574"/>
                  <a:gd name="T39" fmla="*/ 38 h 409"/>
                  <a:gd name="T40" fmla="*/ 265 w 574"/>
                  <a:gd name="T41" fmla="*/ 0 h 409"/>
                  <a:gd name="T42" fmla="*/ 256 w 574"/>
                  <a:gd name="T43" fmla="*/ 1 h 409"/>
                  <a:gd name="T44" fmla="*/ 253 w 574"/>
                  <a:gd name="T45" fmla="*/ 1 h 409"/>
                  <a:gd name="T46" fmla="*/ 251 w 574"/>
                  <a:gd name="T47" fmla="*/ 1 h 409"/>
                  <a:gd name="T48" fmla="*/ 249 w 574"/>
                  <a:gd name="T49" fmla="*/ 2 h 409"/>
                  <a:gd name="T50" fmla="*/ 247 w 574"/>
                  <a:gd name="T51" fmla="*/ 3 h 409"/>
                  <a:gd name="T52" fmla="*/ 244 w 574"/>
                  <a:gd name="T53" fmla="*/ 3 h 409"/>
                  <a:gd name="T54" fmla="*/ 242 w 574"/>
                  <a:gd name="T55" fmla="*/ 4 h 409"/>
                  <a:gd name="T56" fmla="*/ 240 w 574"/>
                  <a:gd name="T57" fmla="*/ 5 h 409"/>
                  <a:gd name="T58" fmla="*/ 238 w 574"/>
                  <a:gd name="T59" fmla="*/ 5 h 409"/>
                  <a:gd name="T60" fmla="*/ 236 w 574"/>
                  <a:gd name="T61" fmla="*/ 6 h 409"/>
                  <a:gd name="T62" fmla="*/ 234 w 574"/>
                  <a:gd name="T63" fmla="*/ 7 h 409"/>
                  <a:gd name="T64" fmla="*/ 232 w 574"/>
                  <a:gd name="T65" fmla="*/ 8 h 409"/>
                  <a:gd name="T66" fmla="*/ 230 w 574"/>
                  <a:gd name="T67" fmla="*/ 10 h 409"/>
                  <a:gd name="T68" fmla="*/ 228 w 574"/>
                  <a:gd name="T69" fmla="*/ 11 h 409"/>
                  <a:gd name="T70" fmla="*/ 225 w 574"/>
                  <a:gd name="T71" fmla="*/ 13 h 409"/>
                  <a:gd name="T72" fmla="*/ 223 w 574"/>
                  <a:gd name="T73" fmla="*/ 14 h 409"/>
                  <a:gd name="T74" fmla="*/ 221 w 574"/>
                  <a:gd name="T75" fmla="*/ 16 h 409"/>
                  <a:gd name="T76" fmla="*/ 220 w 574"/>
                  <a:gd name="T77" fmla="*/ 17 h 409"/>
                  <a:gd name="T78" fmla="*/ 218 w 574"/>
                  <a:gd name="T79" fmla="*/ 19 h 409"/>
                  <a:gd name="T80" fmla="*/ 216 w 574"/>
                  <a:gd name="T81" fmla="*/ 20 h 409"/>
                  <a:gd name="T82" fmla="*/ 215 w 574"/>
                  <a:gd name="T83" fmla="*/ 22 h 409"/>
                  <a:gd name="T84" fmla="*/ 213 w 574"/>
                  <a:gd name="T85" fmla="*/ 23 h 409"/>
                  <a:gd name="T86" fmla="*/ 212 w 574"/>
                  <a:gd name="T87" fmla="*/ 25 h 409"/>
                  <a:gd name="T88" fmla="*/ 210 w 574"/>
                  <a:gd name="T89" fmla="*/ 26 h 409"/>
                  <a:gd name="T90" fmla="*/ 209 w 574"/>
                  <a:gd name="T91" fmla="*/ 29 h 409"/>
                  <a:gd name="T92" fmla="*/ 208 w 574"/>
                  <a:gd name="T93" fmla="*/ 30 h 409"/>
                  <a:gd name="T94" fmla="*/ 206 w 574"/>
                  <a:gd name="T95" fmla="*/ 33 h 409"/>
                  <a:gd name="T96" fmla="*/ 205 w 574"/>
                  <a:gd name="T97" fmla="*/ 34 h 409"/>
                  <a:gd name="T98" fmla="*/ 203 w 574"/>
                  <a:gd name="T99" fmla="*/ 38 h 409"/>
                  <a:gd name="T100" fmla="*/ 131 w 574"/>
                  <a:gd name="T101" fmla="*/ 10 h 409"/>
                  <a:gd name="T102" fmla="*/ 45 w 574"/>
                  <a:gd name="T103" fmla="*/ 53 h 409"/>
                  <a:gd name="T104" fmla="*/ 39 w 574"/>
                  <a:gd name="T105" fmla="*/ 55 h 409"/>
                  <a:gd name="T106" fmla="*/ 38 w 574"/>
                  <a:gd name="T107" fmla="*/ 56 h 409"/>
                  <a:gd name="T108" fmla="*/ 33 w 574"/>
                  <a:gd name="T109" fmla="*/ 58 h 409"/>
                  <a:gd name="T110" fmla="*/ 32 w 574"/>
                  <a:gd name="T111" fmla="*/ 59 h 409"/>
                  <a:gd name="T112" fmla="*/ 21 w 574"/>
                  <a:gd name="T113" fmla="*/ 67 h 409"/>
                  <a:gd name="T114" fmla="*/ 0 w 574"/>
                  <a:gd name="T115" fmla="*/ 116 h 409"/>
                  <a:gd name="T116" fmla="*/ 45 w 574"/>
                  <a:gd name="T117" fmla="*/ 180 h 409"/>
                  <a:gd name="T118" fmla="*/ 75 w 574"/>
                  <a:gd name="T119" fmla="*/ 207 h 409"/>
                  <a:gd name="T120" fmla="*/ 277 w 574"/>
                  <a:gd name="T121" fmla="*/ 409 h 409"/>
                  <a:gd name="T122" fmla="*/ 574 w 574"/>
                  <a:gd name="T123" fmla="*/ 14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4" h="409">
                    <a:moveTo>
                      <a:pt x="574" y="141"/>
                    </a:moveTo>
                    <a:cubicBezTo>
                      <a:pt x="527" y="94"/>
                      <a:pt x="527" y="94"/>
                      <a:pt x="527" y="94"/>
                    </a:cubicBezTo>
                    <a:cubicBezTo>
                      <a:pt x="523" y="83"/>
                      <a:pt x="516" y="73"/>
                      <a:pt x="507" y="66"/>
                    </a:cubicBezTo>
                    <a:cubicBezTo>
                      <a:pt x="506" y="65"/>
                      <a:pt x="505" y="64"/>
                      <a:pt x="505" y="63"/>
                    </a:cubicBezTo>
                    <a:cubicBezTo>
                      <a:pt x="504" y="63"/>
                      <a:pt x="502" y="62"/>
                      <a:pt x="501" y="61"/>
                    </a:cubicBezTo>
                    <a:cubicBezTo>
                      <a:pt x="500" y="60"/>
                      <a:pt x="500" y="60"/>
                      <a:pt x="499" y="59"/>
                    </a:cubicBezTo>
                    <a:cubicBezTo>
                      <a:pt x="497" y="58"/>
                      <a:pt x="496" y="58"/>
                      <a:pt x="494" y="57"/>
                    </a:cubicBezTo>
                    <a:cubicBezTo>
                      <a:pt x="494" y="57"/>
                      <a:pt x="493" y="56"/>
                      <a:pt x="493" y="56"/>
                    </a:cubicBezTo>
                    <a:cubicBezTo>
                      <a:pt x="491" y="55"/>
                      <a:pt x="489" y="54"/>
                      <a:pt x="487" y="54"/>
                    </a:cubicBezTo>
                    <a:cubicBezTo>
                      <a:pt x="486" y="53"/>
                      <a:pt x="486" y="53"/>
                      <a:pt x="485" y="53"/>
                    </a:cubicBezTo>
                    <a:cubicBezTo>
                      <a:pt x="484" y="52"/>
                      <a:pt x="483" y="51"/>
                      <a:pt x="482" y="49"/>
                    </a:cubicBezTo>
                    <a:cubicBezTo>
                      <a:pt x="481" y="48"/>
                      <a:pt x="480" y="47"/>
                      <a:pt x="479" y="45"/>
                    </a:cubicBezTo>
                    <a:cubicBezTo>
                      <a:pt x="479" y="45"/>
                      <a:pt x="479" y="45"/>
                      <a:pt x="479" y="45"/>
                    </a:cubicBezTo>
                    <a:cubicBezTo>
                      <a:pt x="477" y="44"/>
                      <a:pt x="476" y="42"/>
                      <a:pt x="475" y="41"/>
                    </a:cubicBezTo>
                    <a:cubicBezTo>
                      <a:pt x="475" y="41"/>
                      <a:pt x="475" y="41"/>
                      <a:pt x="475" y="41"/>
                    </a:cubicBezTo>
                    <a:cubicBezTo>
                      <a:pt x="473" y="39"/>
                      <a:pt x="472" y="38"/>
                      <a:pt x="471" y="37"/>
                    </a:cubicBezTo>
                    <a:cubicBezTo>
                      <a:pt x="471" y="37"/>
                      <a:pt x="471" y="37"/>
                      <a:pt x="471" y="37"/>
                    </a:cubicBezTo>
                    <a:cubicBezTo>
                      <a:pt x="469" y="36"/>
                      <a:pt x="468" y="34"/>
                      <a:pt x="466" y="33"/>
                    </a:cubicBezTo>
                    <a:cubicBezTo>
                      <a:pt x="448" y="18"/>
                      <a:pt x="425" y="10"/>
                      <a:pt x="399" y="10"/>
                    </a:cubicBezTo>
                    <a:cubicBezTo>
                      <a:pt x="372" y="10"/>
                      <a:pt x="346" y="20"/>
                      <a:pt x="327" y="38"/>
                    </a:cubicBezTo>
                    <a:cubicBezTo>
                      <a:pt x="316" y="15"/>
                      <a:pt x="292" y="0"/>
                      <a:pt x="265" y="0"/>
                    </a:cubicBezTo>
                    <a:cubicBezTo>
                      <a:pt x="262" y="0"/>
                      <a:pt x="259" y="0"/>
                      <a:pt x="256" y="1"/>
                    </a:cubicBezTo>
                    <a:cubicBezTo>
                      <a:pt x="255" y="1"/>
                      <a:pt x="254" y="1"/>
                      <a:pt x="253" y="1"/>
                    </a:cubicBezTo>
                    <a:cubicBezTo>
                      <a:pt x="252" y="1"/>
                      <a:pt x="252" y="1"/>
                      <a:pt x="251" y="1"/>
                    </a:cubicBezTo>
                    <a:cubicBezTo>
                      <a:pt x="250" y="2"/>
                      <a:pt x="249" y="2"/>
                      <a:pt x="249" y="2"/>
                    </a:cubicBezTo>
                    <a:cubicBezTo>
                      <a:pt x="248" y="2"/>
                      <a:pt x="247" y="2"/>
                      <a:pt x="247" y="3"/>
                    </a:cubicBezTo>
                    <a:cubicBezTo>
                      <a:pt x="246" y="3"/>
                      <a:pt x="245" y="3"/>
                      <a:pt x="244" y="3"/>
                    </a:cubicBezTo>
                    <a:cubicBezTo>
                      <a:pt x="244" y="3"/>
                      <a:pt x="243" y="4"/>
                      <a:pt x="242" y="4"/>
                    </a:cubicBezTo>
                    <a:cubicBezTo>
                      <a:pt x="242" y="4"/>
                      <a:pt x="241" y="4"/>
                      <a:pt x="240" y="5"/>
                    </a:cubicBezTo>
                    <a:cubicBezTo>
                      <a:pt x="239" y="5"/>
                      <a:pt x="239" y="5"/>
                      <a:pt x="238" y="5"/>
                    </a:cubicBezTo>
                    <a:cubicBezTo>
                      <a:pt x="237" y="6"/>
                      <a:pt x="237" y="6"/>
                      <a:pt x="236" y="6"/>
                    </a:cubicBezTo>
                    <a:cubicBezTo>
                      <a:pt x="235" y="7"/>
                      <a:pt x="235" y="7"/>
                      <a:pt x="234" y="7"/>
                    </a:cubicBezTo>
                    <a:cubicBezTo>
                      <a:pt x="233" y="8"/>
                      <a:pt x="233" y="8"/>
                      <a:pt x="232" y="8"/>
                    </a:cubicBezTo>
                    <a:cubicBezTo>
                      <a:pt x="231" y="9"/>
                      <a:pt x="231" y="9"/>
                      <a:pt x="230" y="10"/>
                    </a:cubicBezTo>
                    <a:cubicBezTo>
                      <a:pt x="229" y="10"/>
                      <a:pt x="229" y="10"/>
                      <a:pt x="228" y="11"/>
                    </a:cubicBezTo>
                    <a:cubicBezTo>
                      <a:pt x="227" y="11"/>
                      <a:pt x="226" y="12"/>
                      <a:pt x="225" y="13"/>
                    </a:cubicBezTo>
                    <a:cubicBezTo>
                      <a:pt x="224" y="13"/>
                      <a:pt x="224" y="14"/>
                      <a:pt x="223" y="14"/>
                    </a:cubicBezTo>
                    <a:cubicBezTo>
                      <a:pt x="223" y="15"/>
                      <a:pt x="222" y="15"/>
                      <a:pt x="221" y="16"/>
                    </a:cubicBezTo>
                    <a:cubicBezTo>
                      <a:pt x="221" y="16"/>
                      <a:pt x="220" y="16"/>
                      <a:pt x="220" y="17"/>
                    </a:cubicBezTo>
                    <a:cubicBezTo>
                      <a:pt x="219" y="17"/>
                      <a:pt x="218" y="18"/>
                      <a:pt x="218" y="19"/>
                    </a:cubicBezTo>
                    <a:cubicBezTo>
                      <a:pt x="217" y="19"/>
                      <a:pt x="217" y="19"/>
                      <a:pt x="216" y="20"/>
                    </a:cubicBezTo>
                    <a:cubicBezTo>
                      <a:pt x="216" y="21"/>
                      <a:pt x="215" y="21"/>
                      <a:pt x="215" y="22"/>
                    </a:cubicBezTo>
                    <a:cubicBezTo>
                      <a:pt x="214" y="22"/>
                      <a:pt x="214" y="23"/>
                      <a:pt x="213" y="23"/>
                    </a:cubicBezTo>
                    <a:cubicBezTo>
                      <a:pt x="213" y="24"/>
                      <a:pt x="212" y="24"/>
                      <a:pt x="212" y="25"/>
                    </a:cubicBezTo>
                    <a:cubicBezTo>
                      <a:pt x="211" y="26"/>
                      <a:pt x="211" y="26"/>
                      <a:pt x="210" y="26"/>
                    </a:cubicBezTo>
                    <a:cubicBezTo>
                      <a:pt x="210" y="27"/>
                      <a:pt x="209" y="28"/>
                      <a:pt x="209" y="29"/>
                    </a:cubicBezTo>
                    <a:cubicBezTo>
                      <a:pt x="208" y="29"/>
                      <a:pt x="208" y="30"/>
                      <a:pt x="208" y="30"/>
                    </a:cubicBezTo>
                    <a:cubicBezTo>
                      <a:pt x="207" y="31"/>
                      <a:pt x="207" y="32"/>
                      <a:pt x="206" y="33"/>
                    </a:cubicBezTo>
                    <a:cubicBezTo>
                      <a:pt x="206" y="33"/>
                      <a:pt x="206" y="33"/>
                      <a:pt x="205" y="34"/>
                    </a:cubicBezTo>
                    <a:cubicBezTo>
                      <a:pt x="205" y="35"/>
                      <a:pt x="204" y="36"/>
                      <a:pt x="203" y="38"/>
                    </a:cubicBezTo>
                    <a:cubicBezTo>
                      <a:pt x="184" y="20"/>
                      <a:pt x="159" y="10"/>
                      <a:pt x="131" y="10"/>
                    </a:cubicBezTo>
                    <a:cubicBezTo>
                      <a:pt x="96" y="10"/>
                      <a:pt x="65" y="27"/>
                      <a:pt x="45" y="53"/>
                    </a:cubicBezTo>
                    <a:cubicBezTo>
                      <a:pt x="43" y="53"/>
                      <a:pt x="41" y="54"/>
                      <a:pt x="39" y="55"/>
                    </a:cubicBezTo>
                    <a:cubicBezTo>
                      <a:pt x="39" y="55"/>
                      <a:pt x="38" y="56"/>
                      <a:pt x="38" y="56"/>
                    </a:cubicBezTo>
                    <a:cubicBezTo>
                      <a:pt x="36" y="57"/>
                      <a:pt x="35" y="57"/>
                      <a:pt x="33" y="58"/>
                    </a:cubicBezTo>
                    <a:cubicBezTo>
                      <a:pt x="33" y="59"/>
                      <a:pt x="33" y="59"/>
                      <a:pt x="32" y="59"/>
                    </a:cubicBezTo>
                    <a:cubicBezTo>
                      <a:pt x="28" y="61"/>
                      <a:pt x="25" y="64"/>
                      <a:pt x="21" y="67"/>
                    </a:cubicBezTo>
                    <a:cubicBezTo>
                      <a:pt x="8" y="79"/>
                      <a:pt x="0" y="97"/>
                      <a:pt x="0" y="116"/>
                    </a:cubicBezTo>
                    <a:cubicBezTo>
                      <a:pt x="0" y="146"/>
                      <a:pt x="19" y="171"/>
                      <a:pt x="45" y="180"/>
                    </a:cubicBezTo>
                    <a:cubicBezTo>
                      <a:pt x="53" y="191"/>
                      <a:pt x="63" y="200"/>
                      <a:pt x="75" y="207"/>
                    </a:cubicBezTo>
                    <a:cubicBezTo>
                      <a:pt x="277" y="409"/>
                      <a:pt x="277" y="409"/>
                      <a:pt x="277" y="409"/>
                    </a:cubicBezTo>
                    <a:cubicBezTo>
                      <a:pt x="429" y="403"/>
                      <a:pt x="553" y="289"/>
                      <a:pt x="574" y="141"/>
                    </a:cubicBezTo>
                    <a:close/>
                  </a:path>
                </a:pathLst>
              </a:custGeom>
              <a:solidFill>
                <a:srgbClr val="00B6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53" name="Freeform 34"/>
              <p:cNvSpPr>
                <a:spLocks/>
              </p:cNvSpPr>
              <p:nvPr/>
            </p:nvSpPr>
            <p:spPr bwMode="auto">
              <a:xfrm>
                <a:off x="2624138" y="-979488"/>
                <a:ext cx="2001838" cy="839788"/>
              </a:xfrm>
              <a:custGeom>
                <a:avLst/>
                <a:gdLst>
                  <a:gd name="T0" fmla="*/ 485 w 531"/>
                  <a:gd name="T1" fmla="*/ 53 h 223"/>
                  <a:gd name="T2" fmla="*/ 399 w 531"/>
                  <a:gd name="T3" fmla="*/ 10 h 223"/>
                  <a:gd name="T4" fmla="*/ 327 w 531"/>
                  <a:gd name="T5" fmla="*/ 38 h 223"/>
                  <a:gd name="T6" fmla="*/ 265 w 531"/>
                  <a:gd name="T7" fmla="*/ 0 h 223"/>
                  <a:gd name="T8" fmla="*/ 203 w 531"/>
                  <a:gd name="T9" fmla="*/ 38 h 223"/>
                  <a:gd name="T10" fmla="*/ 131 w 531"/>
                  <a:gd name="T11" fmla="*/ 10 h 223"/>
                  <a:gd name="T12" fmla="*/ 45 w 531"/>
                  <a:gd name="T13" fmla="*/ 53 h 223"/>
                  <a:gd name="T14" fmla="*/ 0 w 531"/>
                  <a:gd name="T15" fmla="*/ 116 h 223"/>
                  <a:gd name="T16" fmla="*/ 45 w 531"/>
                  <a:gd name="T17" fmla="*/ 180 h 223"/>
                  <a:gd name="T18" fmla="*/ 131 w 531"/>
                  <a:gd name="T19" fmla="*/ 223 h 223"/>
                  <a:gd name="T20" fmla="*/ 236 w 531"/>
                  <a:gd name="T21" fmla="*/ 134 h 223"/>
                  <a:gd name="T22" fmla="*/ 265 w 531"/>
                  <a:gd name="T23" fmla="*/ 140 h 223"/>
                  <a:gd name="T24" fmla="*/ 294 w 531"/>
                  <a:gd name="T25" fmla="*/ 134 h 223"/>
                  <a:gd name="T26" fmla="*/ 399 w 531"/>
                  <a:gd name="T27" fmla="*/ 223 h 223"/>
                  <a:gd name="T28" fmla="*/ 485 w 531"/>
                  <a:gd name="T29" fmla="*/ 180 h 223"/>
                  <a:gd name="T30" fmla="*/ 531 w 531"/>
                  <a:gd name="T31" fmla="*/ 116 h 223"/>
                  <a:gd name="T32" fmla="*/ 485 w 531"/>
                  <a:gd name="T33" fmla="*/ 5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1" h="223">
                    <a:moveTo>
                      <a:pt x="485" y="53"/>
                    </a:moveTo>
                    <a:cubicBezTo>
                      <a:pt x="466" y="27"/>
                      <a:pt x="434" y="10"/>
                      <a:pt x="399" y="10"/>
                    </a:cubicBezTo>
                    <a:cubicBezTo>
                      <a:pt x="372" y="10"/>
                      <a:pt x="346" y="20"/>
                      <a:pt x="327" y="38"/>
                    </a:cubicBezTo>
                    <a:cubicBezTo>
                      <a:pt x="316" y="15"/>
                      <a:pt x="292" y="0"/>
                      <a:pt x="265" y="0"/>
                    </a:cubicBezTo>
                    <a:cubicBezTo>
                      <a:pt x="238" y="0"/>
                      <a:pt x="215" y="15"/>
                      <a:pt x="203" y="38"/>
                    </a:cubicBezTo>
                    <a:cubicBezTo>
                      <a:pt x="184" y="20"/>
                      <a:pt x="159" y="10"/>
                      <a:pt x="131" y="10"/>
                    </a:cubicBezTo>
                    <a:cubicBezTo>
                      <a:pt x="96" y="10"/>
                      <a:pt x="65" y="27"/>
                      <a:pt x="45" y="53"/>
                    </a:cubicBezTo>
                    <a:cubicBezTo>
                      <a:pt x="19" y="62"/>
                      <a:pt x="0" y="87"/>
                      <a:pt x="0" y="116"/>
                    </a:cubicBezTo>
                    <a:cubicBezTo>
                      <a:pt x="0" y="146"/>
                      <a:pt x="19" y="171"/>
                      <a:pt x="45" y="180"/>
                    </a:cubicBezTo>
                    <a:cubicBezTo>
                      <a:pt x="65" y="206"/>
                      <a:pt x="96" y="223"/>
                      <a:pt x="131" y="223"/>
                    </a:cubicBezTo>
                    <a:cubicBezTo>
                      <a:pt x="184" y="223"/>
                      <a:pt x="228" y="184"/>
                      <a:pt x="236" y="134"/>
                    </a:cubicBezTo>
                    <a:cubicBezTo>
                      <a:pt x="245" y="138"/>
                      <a:pt x="255" y="140"/>
                      <a:pt x="265" y="140"/>
                    </a:cubicBezTo>
                    <a:cubicBezTo>
                      <a:pt x="276" y="140"/>
                      <a:pt x="285" y="138"/>
                      <a:pt x="294" y="134"/>
                    </a:cubicBezTo>
                    <a:cubicBezTo>
                      <a:pt x="302" y="184"/>
                      <a:pt x="346" y="223"/>
                      <a:pt x="399" y="223"/>
                    </a:cubicBezTo>
                    <a:cubicBezTo>
                      <a:pt x="434" y="223"/>
                      <a:pt x="466" y="206"/>
                      <a:pt x="485" y="180"/>
                    </a:cubicBezTo>
                    <a:cubicBezTo>
                      <a:pt x="512" y="171"/>
                      <a:pt x="531" y="146"/>
                      <a:pt x="531" y="116"/>
                    </a:cubicBezTo>
                    <a:cubicBezTo>
                      <a:pt x="531" y="87"/>
                      <a:pt x="512" y="62"/>
                      <a:pt x="485" y="53"/>
                    </a:cubicBezTo>
                    <a:close/>
                  </a:path>
                </a:pathLst>
              </a:custGeom>
              <a:solidFill>
                <a:srgbClr val="00A3CC"/>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54" name="Oval 32"/>
              <p:cNvSpPr>
                <a:spLocks noChangeArrowheads="1"/>
              </p:cNvSpPr>
              <p:nvPr/>
            </p:nvSpPr>
            <p:spPr bwMode="auto">
              <a:xfrm>
                <a:off x="2851151" y="-806451"/>
                <a:ext cx="534988" cy="530225"/>
              </a:xfrm>
              <a:prstGeom prst="ellipse">
                <a:avLst/>
              </a:prstGeom>
              <a:solidFill>
                <a:srgbClr val="00BCEB"/>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55" name="Oval 33"/>
              <p:cNvSpPr>
                <a:spLocks noChangeArrowheads="1"/>
              </p:cNvSpPr>
              <p:nvPr/>
            </p:nvSpPr>
            <p:spPr bwMode="auto">
              <a:xfrm>
                <a:off x="3863976" y="-806451"/>
                <a:ext cx="531813" cy="530225"/>
              </a:xfrm>
              <a:prstGeom prst="ellipse">
                <a:avLst/>
              </a:prstGeom>
              <a:solidFill>
                <a:srgbClr val="00BCEB"/>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nvGrpSpPr>
          <p:cNvPr id="12" name="Group 11">
            <a:extLst>
              <a:ext uri="{FF2B5EF4-FFF2-40B4-BE49-F238E27FC236}">
                <a16:creationId xmlns:a16="http://schemas.microsoft.com/office/drawing/2014/main" id="{00C164E4-AA47-44D6-A4CF-A840F3257CAD}"/>
              </a:ext>
            </a:extLst>
          </p:cNvPr>
          <p:cNvGrpSpPr/>
          <p:nvPr/>
        </p:nvGrpSpPr>
        <p:grpSpPr>
          <a:xfrm>
            <a:off x="1643331" y="710972"/>
            <a:ext cx="457390" cy="457390"/>
            <a:chOff x="1866501" y="485585"/>
            <a:chExt cx="457390" cy="457390"/>
          </a:xfrm>
        </p:grpSpPr>
        <p:sp>
          <p:nvSpPr>
            <p:cNvPr id="146" name="Oval 145">
              <a:extLst>
                <a:ext uri="{FF2B5EF4-FFF2-40B4-BE49-F238E27FC236}">
                  <a16:creationId xmlns:a16="http://schemas.microsoft.com/office/drawing/2014/main" id="{E7BA089C-A271-4556-8CB7-A3D326590ACE}"/>
                </a:ext>
              </a:extLst>
            </p:cNvPr>
            <p:cNvSpPr/>
            <p:nvPr/>
          </p:nvSpPr>
          <p:spPr>
            <a:xfrm>
              <a:off x="1866501"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64" name="Group 63"/>
            <p:cNvGrpSpPr/>
            <p:nvPr/>
          </p:nvGrpSpPr>
          <p:grpSpPr>
            <a:xfrm>
              <a:off x="1925765" y="544915"/>
              <a:ext cx="349271" cy="349271"/>
              <a:chOff x="2581275" y="3149114"/>
              <a:chExt cx="933450" cy="933450"/>
            </a:xfrm>
          </p:grpSpPr>
          <p:sp>
            <p:nvSpPr>
              <p:cNvPr id="30" name="Freeform 25"/>
              <p:cNvSpPr>
                <a:spLocks/>
              </p:cNvSpPr>
              <p:nvPr/>
            </p:nvSpPr>
            <p:spPr bwMode="auto">
              <a:xfrm>
                <a:off x="2581275" y="3149114"/>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60" name="Freeform 59"/>
              <p:cNvSpPr>
                <a:spLocks/>
              </p:cNvSpPr>
              <p:nvPr/>
            </p:nvSpPr>
            <p:spPr bwMode="auto">
              <a:xfrm>
                <a:off x="2912865" y="3411052"/>
                <a:ext cx="560585" cy="619125"/>
              </a:xfrm>
              <a:custGeom>
                <a:avLst/>
                <a:gdLst>
                  <a:gd name="connsiteX0" fmla="*/ 343475 w 560585"/>
                  <a:gd name="connsiteY0" fmla="*/ 0 h 619125"/>
                  <a:gd name="connsiteX1" fmla="*/ 560585 w 560585"/>
                  <a:gd name="connsiteY1" fmla="*/ 219427 h 619125"/>
                  <a:gd name="connsiteX2" fmla="*/ 435784 w 560585"/>
                  <a:gd name="connsiteY2" fmla="*/ 506087 h 619125"/>
                  <a:gd name="connsiteX3" fmla="*/ 236397 w 560585"/>
                  <a:gd name="connsiteY3" fmla="*/ 619125 h 619125"/>
                  <a:gd name="connsiteX4" fmla="*/ 87 w 560585"/>
                  <a:gd name="connsiteY4" fmla="*/ 393048 h 619125"/>
                  <a:gd name="connsiteX5" fmla="*/ 64 w 560585"/>
                  <a:gd name="connsiteY5" fmla="*/ 391571 h 619125"/>
                  <a:gd name="connsiteX6" fmla="*/ 0 w 560585"/>
                  <a:gd name="connsiteY6" fmla="*/ 387488 h 619125"/>
                  <a:gd name="connsiteX7" fmla="*/ 49858 w 560585"/>
                  <a:gd name="connsiteY7" fmla="*/ 430601 h 619125"/>
                  <a:gd name="connsiteX8" fmla="*/ 135135 w 560585"/>
                  <a:gd name="connsiteY8" fmla="*/ 463550 h 619125"/>
                  <a:gd name="connsiteX9" fmla="*/ 347860 w 560585"/>
                  <a:gd name="connsiteY9" fmla="*/ 204928 h 619125"/>
                  <a:gd name="connsiteX10" fmla="*/ 347860 w 560585"/>
                  <a:gd name="connsiteY10" fmla="*/ 14093 h 619125"/>
                  <a:gd name="connsiteX11" fmla="*/ 342392 w 560585"/>
                  <a:gd name="connsiteY11" fmla="*/ 938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0585" h="619125">
                    <a:moveTo>
                      <a:pt x="343475" y="0"/>
                    </a:moveTo>
                    <a:cubicBezTo>
                      <a:pt x="343475" y="0"/>
                      <a:pt x="343475" y="0"/>
                      <a:pt x="560585" y="219427"/>
                    </a:cubicBezTo>
                    <a:cubicBezTo>
                      <a:pt x="556893" y="323600"/>
                      <a:pt x="515539" y="427034"/>
                      <a:pt x="435784" y="506087"/>
                    </a:cubicBezTo>
                    <a:cubicBezTo>
                      <a:pt x="378922" y="563714"/>
                      <a:pt x="309506" y="601394"/>
                      <a:pt x="236397" y="619125"/>
                    </a:cubicBezTo>
                    <a:cubicBezTo>
                      <a:pt x="236397" y="619125"/>
                      <a:pt x="236397" y="619125"/>
                      <a:pt x="87" y="393048"/>
                    </a:cubicBezTo>
                    <a:cubicBezTo>
                      <a:pt x="87" y="393048"/>
                      <a:pt x="87" y="393048"/>
                      <a:pt x="64" y="391571"/>
                    </a:cubicBezTo>
                    <a:lnTo>
                      <a:pt x="0" y="387488"/>
                    </a:lnTo>
                    <a:lnTo>
                      <a:pt x="49858" y="430601"/>
                    </a:lnTo>
                    <a:cubicBezTo>
                      <a:pt x="75583" y="446143"/>
                      <a:pt x="104297" y="457471"/>
                      <a:pt x="135135" y="463550"/>
                    </a:cubicBezTo>
                    <a:cubicBezTo>
                      <a:pt x="258486" y="439235"/>
                      <a:pt x="347860" y="330924"/>
                      <a:pt x="347860" y="204928"/>
                    </a:cubicBezTo>
                    <a:cubicBezTo>
                      <a:pt x="347860" y="14093"/>
                      <a:pt x="347860" y="14093"/>
                      <a:pt x="347860" y="14093"/>
                    </a:cubicBezTo>
                    <a:lnTo>
                      <a:pt x="342392" y="938"/>
                    </a:lnTo>
                    <a:close/>
                  </a:path>
                </a:pathLst>
              </a:custGeom>
              <a:solidFill>
                <a:srgbClr val="00A2E1">
                  <a:alpha val="23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nvGrpSpPr>
              <p:cNvPr id="63" name="Group 62"/>
              <p:cNvGrpSpPr/>
              <p:nvPr/>
            </p:nvGrpSpPr>
            <p:grpSpPr>
              <a:xfrm>
                <a:off x="2835275" y="3350727"/>
                <a:ext cx="425450" cy="523875"/>
                <a:chOff x="2835275" y="3350727"/>
                <a:chExt cx="425450" cy="523875"/>
              </a:xfrm>
              <a:solidFill>
                <a:schemeClr val="accent1">
                  <a:lumMod val="75000"/>
                  <a:alpha val="40000"/>
                </a:schemeClr>
              </a:solidFill>
            </p:grpSpPr>
            <p:sp>
              <p:nvSpPr>
                <p:cNvPr id="61" name="Freeform 27"/>
                <p:cNvSpPr>
                  <a:spLocks/>
                </p:cNvSpPr>
                <p:nvPr/>
              </p:nvSpPr>
              <p:spPr bwMode="auto">
                <a:xfrm>
                  <a:off x="2835275" y="3350727"/>
                  <a:ext cx="425450" cy="523875"/>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58" name="Freeform 28"/>
                <p:cNvSpPr>
                  <a:spLocks/>
                </p:cNvSpPr>
                <p:nvPr/>
              </p:nvSpPr>
              <p:spPr bwMode="auto">
                <a:xfrm>
                  <a:off x="3048000" y="3350727"/>
                  <a:ext cx="212725" cy="523875"/>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1">
                    <a:lumMod val="75000"/>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sp>
        <p:nvSpPr>
          <p:cNvPr id="1293" name="Rectangle: Rounded Corners 30">
            <a:extLst>
              <a:ext uri="{FF2B5EF4-FFF2-40B4-BE49-F238E27FC236}">
                <a16:creationId xmlns:a16="http://schemas.microsoft.com/office/drawing/2014/main" id="{BDD1837A-886D-40A3-8B58-B970F3C1C40C}"/>
              </a:ext>
            </a:extLst>
          </p:cNvPr>
          <p:cNvSpPr/>
          <p:nvPr/>
        </p:nvSpPr>
        <p:spPr>
          <a:xfrm>
            <a:off x="480060" y="2780127"/>
            <a:ext cx="1224049" cy="269045"/>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94" name="Rectangle 1293">
            <a:extLst>
              <a:ext uri="{FF2B5EF4-FFF2-40B4-BE49-F238E27FC236}">
                <a16:creationId xmlns:a16="http://schemas.microsoft.com/office/drawing/2014/main" id="{67B3A002-29DF-4AAC-B80F-4975850276B9}"/>
              </a:ext>
            </a:extLst>
          </p:cNvPr>
          <p:cNvSpPr/>
          <p:nvPr/>
        </p:nvSpPr>
        <p:spPr>
          <a:xfrm>
            <a:off x="510757" y="2774515"/>
            <a:ext cx="1000595" cy="261610"/>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Cisco NGFW</a:t>
            </a:r>
            <a:endParaRPr kumimoji="0" lang="en-US" sz="1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sp>
        <p:nvSpPr>
          <p:cNvPr id="1295" name="Rectangle: Rounded Corners 30">
            <a:extLst>
              <a:ext uri="{FF2B5EF4-FFF2-40B4-BE49-F238E27FC236}">
                <a16:creationId xmlns:a16="http://schemas.microsoft.com/office/drawing/2014/main" id="{BDD1837A-886D-40A3-8B58-B970F3C1C40C}"/>
              </a:ext>
            </a:extLst>
          </p:cNvPr>
          <p:cNvSpPr/>
          <p:nvPr/>
        </p:nvSpPr>
        <p:spPr>
          <a:xfrm>
            <a:off x="453012" y="3582441"/>
            <a:ext cx="1224049" cy="269045"/>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296" name="Group 1295"/>
          <p:cNvGrpSpPr/>
          <p:nvPr/>
        </p:nvGrpSpPr>
        <p:grpSpPr>
          <a:xfrm>
            <a:off x="455159" y="3170348"/>
            <a:ext cx="1224049" cy="269045"/>
            <a:chOff x="455159" y="3170348"/>
            <a:chExt cx="1224049" cy="269045"/>
          </a:xfrm>
          <a:solidFill>
            <a:schemeClr val="accent2"/>
          </a:solidFill>
        </p:grpSpPr>
        <p:sp>
          <p:nvSpPr>
            <p:cNvPr id="1297" name="Rectangle: Rounded Corners 30">
              <a:extLst>
                <a:ext uri="{FF2B5EF4-FFF2-40B4-BE49-F238E27FC236}">
                  <a16:creationId xmlns:a16="http://schemas.microsoft.com/office/drawing/2014/main" id="{BDD1837A-886D-40A3-8B58-B970F3C1C40C}"/>
                </a:ext>
              </a:extLst>
            </p:cNvPr>
            <p:cNvSpPr/>
            <p:nvPr/>
          </p:nvSpPr>
          <p:spPr>
            <a:xfrm>
              <a:off x="455159" y="3170348"/>
              <a:ext cx="1224049" cy="26904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98" name="Rectangle 1297">
              <a:extLst>
                <a:ext uri="{FF2B5EF4-FFF2-40B4-BE49-F238E27FC236}">
                  <a16:creationId xmlns:a16="http://schemas.microsoft.com/office/drawing/2014/main" id="{67B3A002-29DF-4AAC-B80F-4975850276B9}"/>
                </a:ext>
              </a:extLst>
            </p:cNvPr>
            <p:cNvSpPr/>
            <p:nvPr/>
          </p:nvSpPr>
          <p:spPr>
            <a:xfrm>
              <a:off x="510757" y="3171720"/>
              <a:ext cx="808235" cy="261610"/>
            </a:xfrm>
            <a:prstGeom prst="rect">
              <a:avLst/>
            </a:prstGeom>
            <a:grpFill/>
          </p:spPr>
          <p:txBody>
            <a:bodyPr wrap="none"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Cisco ACI</a:t>
              </a:r>
              <a:endParaRPr kumimoji="0" lang="en-US" sz="1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grpSp>
      <p:sp>
        <p:nvSpPr>
          <p:cNvPr id="1299" name="Rectangle 1298">
            <a:extLst>
              <a:ext uri="{FF2B5EF4-FFF2-40B4-BE49-F238E27FC236}">
                <a16:creationId xmlns:a16="http://schemas.microsoft.com/office/drawing/2014/main" id="{67B3A002-29DF-4AAC-B80F-4975850276B9}"/>
              </a:ext>
            </a:extLst>
          </p:cNvPr>
          <p:cNvSpPr/>
          <p:nvPr/>
        </p:nvSpPr>
        <p:spPr>
          <a:xfrm>
            <a:off x="479719" y="3579357"/>
            <a:ext cx="1184940" cy="261610"/>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Cisco </a:t>
            </a:r>
            <a:r>
              <a:rPr kumimoji="0" lang="en-US" sz="1100" b="0" i="0" u="none" strike="noStrike" kern="1200" cap="none" spc="0" normalizeH="0" baseline="0" noProof="0" dirty="0" err="1">
                <a:ln>
                  <a:noFill/>
                </a:ln>
                <a:solidFill>
                  <a:srgbClr val="FFFFFF"/>
                </a:solidFill>
                <a:effectLst/>
                <a:uLnTx/>
                <a:uFillTx/>
                <a:latin typeface="CiscoSans ExtraLight" charset="0"/>
                <a:ea typeface="CiscoSans ExtraLight" charset="0"/>
                <a:cs typeface="CiscoSans ExtraLight" charset="0"/>
              </a:rPr>
              <a:t>Tetration</a:t>
            </a: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 </a:t>
            </a:r>
            <a:endParaRPr kumimoji="0" lang="en-US" sz="1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spTree>
    <p:extLst>
      <p:ext uri="{BB962C8B-B14F-4D97-AF65-F5344CB8AC3E}">
        <p14:creationId xmlns:p14="http://schemas.microsoft.com/office/powerpoint/2010/main" val="141721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withEffect">
                                  <p:stCondLst>
                                    <p:cond delay="0"/>
                                  </p:stCondLst>
                                  <p:childTnLst>
                                    <p:animMotion origin="layout" path="M 4.44444E-6 -4.32099E-6 L -0.46459 -4.32099E-6 " pathEditMode="relative" rAng="0" ptsTypes="AA">
                                      <p:cBhvr>
                                        <p:cTn id="6" dur="2500" fill="hold"/>
                                        <p:tgtEl>
                                          <p:spTgt spid="46"/>
                                        </p:tgtEl>
                                        <p:attrNameLst>
                                          <p:attrName>ppt_x</p:attrName>
                                          <p:attrName>ppt_y</p:attrName>
                                        </p:attrNameLst>
                                      </p:cBhvr>
                                      <p:rCtr x="-23229" y="0"/>
                                    </p:animMotion>
                                  </p:childTnLst>
                                </p:cTn>
                              </p:par>
                              <p:par>
                                <p:cTn id="7" presetID="10" presetClass="entr" presetSubtype="0" fill="hold" nodeType="withEffect">
                                  <p:stCondLst>
                                    <p:cond delay="2000"/>
                                  </p:stCondLst>
                                  <p:childTnLst>
                                    <p:set>
                                      <p:cBhvr>
                                        <p:cTn id="8" dur="1" fill="hold">
                                          <p:stCondLst>
                                            <p:cond delay="0"/>
                                          </p:stCondLst>
                                        </p:cTn>
                                        <p:tgtEl>
                                          <p:spTgt spid="1201"/>
                                        </p:tgtEl>
                                        <p:attrNameLst>
                                          <p:attrName>style.visibility</p:attrName>
                                        </p:attrNameLst>
                                      </p:cBhvr>
                                      <p:to>
                                        <p:strVal val="visible"/>
                                      </p:to>
                                    </p:set>
                                    <p:animEffect transition="in" filter="fade">
                                      <p:cBhvr>
                                        <p:cTn id="9" dur="250"/>
                                        <p:tgtEl>
                                          <p:spTgt spid="1201"/>
                                        </p:tgtEl>
                                      </p:cBhvr>
                                    </p:animEffect>
                                  </p:childTnLst>
                                </p:cTn>
                              </p:par>
                              <p:par>
                                <p:cTn id="10" presetID="6" presetClass="emph" presetSubtype="0" fill="hold" nodeType="withEffect">
                                  <p:stCondLst>
                                    <p:cond delay="1750"/>
                                  </p:stCondLst>
                                  <p:childTnLst>
                                    <p:animScale>
                                      <p:cBhvr>
                                        <p:cTn id="11" dur="10" fill="hold"/>
                                        <p:tgtEl>
                                          <p:spTgt spid="1201"/>
                                        </p:tgtEl>
                                      </p:cBhvr>
                                      <p:by x="1000" y="1000"/>
                                    </p:animScale>
                                  </p:childTnLst>
                                </p:cTn>
                              </p:par>
                              <p:par>
                                <p:cTn id="12" presetID="6" presetClass="emph" presetSubtype="0" decel="100000" fill="hold" nodeType="withEffect">
                                  <p:stCondLst>
                                    <p:cond delay="2000"/>
                                  </p:stCondLst>
                                  <p:childTnLst>
                                    <p:animScale>
                                      <p:cBhvr>
                                        <p:cTn id="13" dur="1000" fill="hold"/>
                                        <p:tgtEl>
                                          <p:spTgt spid="1201"/>
                                        </p:tgtEl>
                                      </p:cBhvr>
                                      <p:by x="9999000" y="9999000"/>
                                    </p:animScale>
                                  </p:childTnLst>
                                </p:cTn>
                              </p:par>
                              <p:par>
                                <p:cTn id="14" presetID="42" presetClass="path" presetSubtype="0" decel="100000" fill="hold" nodeType="withEffect">
                                  <p:stCondLst>
                                    <p:cond delay="2000"/>
                                  </p:stCondLst>
                                  <p:childTnLst>
                                    <p:animMotion origin="layout" path="M -3.88889E-6 2.46914E-7 L -0.075 -0.10926 " pathEditMode="relative" rAng="0" ptsTypes="AA">
                                      <p:cBhvr>
                                        <p:cTn id="15" dur="1000" spd="-100000" fill="hold"/>
                                        <p:tgtEl>
                                          <p:spTgt spid="1201"/>
                                        </p:tgtEl>
                                        <p:attrNameLst>
                                          <p:attrName>ppt_x</p:attrName>
                                          <p:attrName>ppt_y</p:attrName>
                                        </p:attrNameLst>
                                      </p:cBhvr>
                                      <p:rCtr x="-3750" y="-546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70" name="Group 2380">
            <a:extLst>
              <a:ext uri="{FF2B5EF4-FFF2-40B4-BE49-F238E27FC236}">
                <a16:creationId xmlns:a16="http://schemas.microsoft.com/office/drawing/2014/main" id="{82F7C7A7-AE86-4739-BA55-88C35B723801}"/>
              </a:ext>
            </a:extLst>
          </p:cNvPr>
          <p:cNvGrpSpPr>
            <a:grpSpLocks noChangeAspect="1"/>
          </p:cNvGrpSpPr>
          <p:nvPr/>
        </p:nvGrpSpPr>
        <p:grpSpPr bwMode="auto">
          <a:xfrm>
            <a:off x="3070118" y="-615394"/>
            <a:ext cx="6429375" cy="6374289"/>
            <a:chOff x="1246" y="0"/>
            <a:chExt cx="3268" cy="3240"/>
          </a:xfrm>
        </p:grpSpPr>
        <p:grpSp>
          <p:nvGrpSpPr>
            <p:cNvPr id="1171" name="Group 2581">
              <a:extLst>
                <a:ext uri="{FF2B5EF4-FFF2-40B4-BE49-F238E27FC236}">
                  <a16:creationId xmlns:a16="http://schemas.microsoft.com/office/drawing/2014/main" id="{DB785CAE-2263-40ED-8012-D6474EAF492F}"/>
                </a:ext>
              </a:extLst>
            </p:cNvPr>
            <p:cNvGrpSpPr>
              <a:grpSpLocks/>
            </p:cNvGrpSpPr>
            <p:nvPr/>
          </p:nvGrpSpPr>
          <p:grpSpPr bwMode="auto">
            <a:xfrm>
              <a:off x="1276" y="30"/>
              <a:ext cx="3178" cy="3180"/>
              <a:chOff x="1276" y="30"/>
              <a:chExt cx="3178" cy="3180"/>
            </a:xfrm>
          </p:grpSpPr>
          <p:sp>
            <p:nvSpPr>
              <p:cNvPr id="2076" name="Line 2381">
                <a:extLst>
                  <a:ext uri="{FF2B5EF4-FFF2-40B4-BE49-F238E27FC236}">
                    <a16:creationId xmlns:a16="http://schemas.microsoft.com/office/drawing/2014/main" id="{561AC2DA-4EB7-4F88-9456-15A8F485ED1E}"/>
                  </a:ext>
                </a:extLst>
              </p:cNvPr>
              <p:cNvSpPr>
                <a:spLocks noChangeShapeType="1"/>
              </p:cNvSpPr>
              <p:nvPr/>
            </p:nvSpPr>
            <p:spPr bwMode="auto">
              <a:xfrm>
                <a:off x="3045" y="147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77" name="Freeform 2382">
                <a:extLst>
                  <a:ext uri="{FF2B5EF4-FFF2-40B4-BE49-F238E27FC236}">
                    <a16:creationId xmlns:a16="http://schemas.microsoft.com/office/drawing/2014/main" id="{3823C336-9126-440A-9D84-F1F3E8971382}"/>
                  </a:ext>
                </a:extLst>
              </p:cNvPr>
              <p:cNvSpPr>
                <a:spLocks/>
              </p:cNvSpPr>
              <p:nvPr/>
            </p:nvSpPr>
            <p:spPr bwMode="auto">
              <a:xfrm>
                <a:off x="2625" y="1410"/>
                <a:ext cx="300" cy="210"/>
              </a:xfrm>
              <a:custGeom>
                <a:avLst/>
                <a:gdLst>
                  <a:gd name="T0" fmla="*/ 210 w 300"/>
                  <a:gd name="T1" fmla="*/ 90 h 210"/>
                  <a:gd name="T2" fmla="*/ 300 w 300"/>
                  <a:gd name="T3" fmla="*/ 30 h 210"/>
                  <a:gd name="T4" fmla="*/ 300 w 300"/>
                  <a:gd name="T5" fmla="*/ 120 h 210"/>
                  <a:gd name="T6" fmla="*/ 240 w 300"/>
                  <a:gd name="T7" fmla="*/ 210 h 210"/>
                  <a:gd name="T8" fmla="*/ 150 w 300"/>
                  <a:gd name="T9" fmla="*/ 150 h 210"/>
                  <a:gd name="T10" fmla="*/ 60 w 300"/>
                  <a:gd name="T11" fmla="*/ 90 h 210"/>
                  <a:gd name="T12" fmla="*/ 0 w 30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210" y="90"/>
                    </a:moveTo>
                    <a:lnTo>
                      <a:pt x="300" y="30"/>
                    </a:lnTo>
                    <a:lnTo>
                      <a:pt x="300" y="120"/>
                    </a:lnTo>
                    <a:lnTo>
                      <a:pt x="240" y="210"/>
                    </a:lnTo>
                    <a:lnTo>
                      <a:pt x="150" y="150"/>
                    </a:lnTo>
                    <a:lnTo>
                      <a:pt x="60" y="9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78" name="Freeform 2383">
                <a:extLst>
                  <a:ext uri="{FF2B5EF4-FFF2-40B4-BE49-F238E27FC236}">
                    <a16:creationId xmlns:a16="http://schemas.microsoft.com/office/drawing/2014/main" id="{A715D947-23EB-414D-86D3-CAEC4E1C3417}"/>
                  </a:ext>
                </a:extLst>
              </p:cNvPr>
              <p:cNvSpPr>
                <a:spLocks/>
              </p:cNvSpPr>
              <p:nvPr/>
            </p:nvSpPr>
            <p:spPr bwMode="auto">
              <a:xfrm>
                <a:off x="2535" y="1292"/>
                <a:ext cx="180" cy="208"/>
              </a:xfrm>
              <a:custGeom>
                <a:avLst/>
                <a:gdLst>
                  <a:gd name="T0" fmla="*/ 0 w 180"/>
                  <a:gd name="T1" fmla="*/ 149 h 208"/>
                  <a:gd name="T2" fmla="*/ 150 w 180"/>
                  <a:gd name="T3" fmla="*/ 208 h 208"/>
                  <a:gd name="T4" fmla="*/ 180 w 180"/>
                  <a:gd name="T5" fmla="*/ 0 h 208"/>
                </a:gdLst>
                <a:ahLst/>
                <a:cxnLst>
                  <a:cxn ang="0">
                    <a:pos x="T0" y="T1"/>
                  </a:cxn>
                  <a:cxn ang="0">
                    <a:pos x="T2" y="T3"/>
                  </a:cxn>
                  <a:cxn ang="0">
                    <a:pos x="T4" y="T5"/>
                  </a:cxn>
                </a:cxnLst>
                <a:rect l="0" t="0" r="r" b="b"/>
                <a:pathLst>
                  <a:path w="180" h="208">
                    <a:moveTo>
                      <a:pt x="0" y="149"/>
                    </a:moveTo>
                    <a:lnTo>
                      <a:pt x="150" y="208"/>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79" name="Line 2384">
                <a:extLst>
                  <a:ext uri="{FF2B5EF4-FFF2-40B4-BE49-F238E27FC236}">
                    <a16:creationId xmlns:a16="http://schemas.microsoft.com/office/drawing/2014/main" id="{727D6A53-D581-4C06-8078-B43D41484E91}"/>
                  </a:ext>
                </a:extLst>
              </p:cNvPr>
              <p:cNvSpPr>
                <a:spLocks noChangeShapeType="1"/>
              </p:cNvSpPr>
              <p:nvPr/>
            </p:nvSpPr>
            <p:spPr bwMode="auto">
              <a:xfrm flipH="1">
                <a:off x="2535" y="1620"/>
                <a:ext cx="18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80" name="Line 2385">
                <a:extLst>
                  <a:ext uri="{FF2B5EF4-FFF2-40B4-BE49-F238E27FC236}">
                    <a16:creationId xmlns:a16="http://schemas.microsoft.com/office/drawing/2014/main" id="{832434EE-45A4-4970-BBD9-9A537480D45D}"/>
                  </a:ext>
                </a:extLst>
              </p:cNvPr>
              <p:cNvSpPr>
                <a:spLocks noChangeShapeType="1"/>
              </p:cNvSpPr>
              <p:nvPr/>
            </p:nvSpPr>
            <p:spPr bwMode="auto">
              <a:xfrm>
                <a:off x="2595" y="156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81" name="Freeform 2386">
                <a:extLst>
                  <a:ext uri="{FF2B5EF4-FFF2-40B4-BE49-F238E27FC236}">
                    <a16:creationId xmlns:a16="http://schemas.microsoft.com/office/drawing/2014/main" id="{58F9D782-B229-4308-B9C4-8F159CBC7B8C}"/>
                  </a:ext>
                </a:extLst>
              </p:cNvPr>
              <p:cNvSpPr>
                <a:spLocks/>
              </p:cNvSpPr>
              <p:nvPr/>
            </p:nvSpPr>
            <p:spPr bwMode="auto">
              <a:xfrm>
                <a:off x="2535" y="1650"/>
                <a:ext cx="210" cy="330"/>
              </a:xfrm>
              <a:custGeom>
                <a:avLst/>
                <a:gdLst>
                  <a:gd name="T0" fmla="*/ 120 w 210"/>
                  <a:gd name="T1" fmla="*/ 60 h 330"/>
                  <a:gd name="T2" fmla="*/ 0 w 210"/>
                  <a:gd name="T3" fmla="*/ 0 h 330"/>
                  <a:gd name="T4" fmla="*/ 0 w 210"/>
                  <a:gd name="T5" fmla="*/ 330 h 330"/>
                  <a:gd name="T6" fmla="*/ 210 w 210"/>
                  <a:gd name="T7" fmla="*/ 270 h 330"/>
                  <a:gd name="T8" fmla="*/ 119 w 210"/>
                  <a:gd name="T9" fmla="*/ 182 h 330"/>
                </a:gdLst>
                <a:ahLst/>
                <a:cxnLst>
                  <a:cxn ang="0">
                    <a:pos x="T0" y="T1"/>
                  </a:cxn>
                  <a:cxn ang="0">
                    <a:pos x="T2" y="T3"/>
                  </a:cxn>
                  <a:cxn ang="0">
                    <a:pos x="T4" y="T5"/>
                  </a:cxn>
                  <a:cxn ang="0">
                    <a:pos x="T6" y="T7"/>
                  </a:cxn>
                  <a:cxn ang="0">
                    <a:pos x="T8" y="T9"/>
                  </a:cxn>
                </a:cxnLst>
                <a:rect l="0" t="0" r="r" b="b"/>
                <a:pathLst>
                  <a:path w="210" h="330">
                    <a:moveTo>
                      <a:pt x="120" y="60"/>
                    </a:moveTo>
                    <a:lnTo>
                      <a:pt x="0" y="0"/>
                    </a:lnTo>
                    <a:lnTo>
                      <a:pt x="0" y="330"/>
                    </a:lnTo>
                    <a:lnTo>
                      <a:pt x="210" y="270"/>
                    </a:lnTo>
                    <a:lnTo>
                      <a:pt x="119" y="18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82" name="Freeform 2387">
                <a:extLst>
                  <a:ext uri="{FF2B5EF4-FFF2-40B4-BE49-F238E27FC236}">
                    <a16:creationId xmlns:a16="http://schemas.microsoft.com/office/drawing/2014/main" id="{EE2CBF4B-036D-42A5-9746-3CCBFF497EEC}"/>
                  </a:ext>
                </a:extLst>
              </p:cNvPr>
              <p:cNvSpPr>
                <a:spLocks/>
              </p:cNvSpPr>
              <p:nvPr/>
            </p:nvSpPr>
            <p:spPr bwMode="auto">
              <a:xfrm>
                <a:off x="2654" y="1680"/>
                <a:ext cx="151" cy="152"/>
              </a:xfrm>
              <a:custGeom>
                <a:avLst/>
                <a:gdLst>
                  <a:gd name="T0" fmla="*/ 121 w 151"/>
                  <a:gd name="T1" fmla="*/ 0 h 152"/>
                  <a:gd name="T2" fmla="*/ 151 w 151"/>
                  <a:gd name="T3" fmla="*/ 120 h 152"/>
                  <a:gd name="T4" fmla="*/ 0 w 151"/>
                  <a:gd name="T5" fmla="*/ 152 h 152"/>
                  <a:gd name="T6" fmla="*/ 1 w 151"/>
                  <a:gd name="T7" fmla="*/ 30 h 152"/>
                  <a:gd name="T8" fmla="*/ 121 w 151"/>
                  <a:gd name="T9" fmla="*/ 0 h 152"/>
                </a:gdLst>
                <a:ahLst/>
                <a:cxnLst>
                  <a:cxn ang="0">
                    <a:pos x="T0" y="T1"/>
                  </a:cxn>
                  <a:cxn ang="0">
                    <a:pos x="T2" y="T3"/>
                  </a:cxn>
                  <a:cxn ang="0">
                    <a:pos x="T4" y="T5"/>
                  </a:cxn>
                  <a:cxn ang="0">
                    <a:pos x="T6" y="T7"/>
                  </a:cxn>
                  <a:cxn ang="0">
                    <a:pos x="T8" y="T9"/>
                  </a:cxn>
                </a:cxnLst>
                <a:rect l="0" t="0" r="r" b="b"/>
                <a:pathLst>
                  <a:path w="151" h="152">
                    <a:moveTo>
                      <a:pt x="121" y="0"/>
                    </a:moveTo>
                    <a:lnTo>
                      <a:pt x="151" y="120"/>
                    </a:lnTo>
                    <a:lnTo>
                      <a:pt x="0" y="152"/>
                    </a:lnTo>
                    <a:lnTo>
                      <a:pt x="1" y="30"/>
                    </a:lnTo>
                    <a:lnTo>
                      <a:pt x="121"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83" name="Freeform 2388">
                <a:extLst>
                  <a:ext uri="{FF2B5EF4-FFF2-40B4-BE49-F238E27FC236}">
                    <a16:creationId xmlns:a16="http://schemas.microsoft.com/office/drawing/2014/main" id="{03AEA47E-30BB-44B7-836D-A2AEBDB316E9}"/>
                  </a:ext>
                </a:extLst>
              </p:cNvPr>
              <p:cNvSpPr>
                <a:spLocks/>
              </p:cNvSpPr>
              <p:nvPr/>
            </p:nvSpPr>
            <p:spPr bwMode="auto">
              <a:xfrm>
                <a:off x="2805" y="1620"/>
                <a:ext cx="240" cy="270"/>
              </a:xfrm>
              <a:custGeom>
                <a:avLst/>
                <a:gdLst>
                  <a:gd name="T0" fmla="*/ 0 w 240"/>
                  <a:gd name="T1" fmla="*/ 180 h 270"/>
                  <a:gd name="T2" fmla="*/ 60 w 240"/>
                  <a:gd name="T3" fmla="*/ 0 h 270"/>
                  <a:gd name="T4" fmla="*/ 90 w 240"/>
                  <a:gd name="T5" fmla="*/ 90 h 270"/>
                  <a:gd name="T6" fmla="*/ 120 w 240"/>
                  <a:gd name="T7" fmla="*/ 180 h 270"/>
                  <a:gd name="T8" fmla="*/ 150 w 240"/>
                  <a:gd name="T9" fmla="*/ 270 h 270"/>
                  <a:gd name="T10" fmla="*/ 240 w 240"/>
                  <a:gd name="T11" fmla="*/ 150 h 270"/>
                </a:gdLst>
                <a:ahLst/>
                <a:cxnLst>
                  <a:cxn ang="0">
                    <a:pos x="T0" y="T1"/>
                  </a:cxn>
                  <a:cxn ang="0">
                    <a:pos x="T2" y="T3"/>
                  </a:cxn>
                  <a:cxn ang="0">
                    <a:pos x="T4" y="T5"/>
                  </a:cxn>
                  <a:cxn ang="0">
                    <a:pos x="T6" y="T7"/>
                  </a:cxn>
                  <a:cxn ang="0">
                    <a:pos x="T8" y="T9"/>
                  </a:cxn>
                  <a:cxn ang="0">
                    <a:pos x="T10" y="T11"/>
                  </a:cxn>
                </a:cxnLst>
                <a:rect l="0" t="0" r="r" b="b"/>
                <a:pathLst>
                  <a:path w="240" h="270">
                    <a:moveTo>
                      <a:pt x="0" y="180"/>
                    </a:moveTo>
                    <a:lnTo>
                      <a:pt x="60" y="0"/>
                    </a:lnTo>
                    <a:lnTo>
                      <a:pt x="90" y="90"/>
                    </a:lnTo>
                    <a:lnTo>
                      <a:pt x="120" y="180"/>
                    </a:lnTo>
                    <a:lnTo>
                      <a:pt x="150" y="270"/>
                    </a:lnTo>
                    <a:lnTo>
                      <a:pt x="24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84" name="Freeform 2389">
                <a:extLst>
                  <a:ext uri="{FF2B5EF4-FFF2-40B4-BE49-F238E27FC236}">
                    <a16:creationId xmlns:a16="http://schemas.microsoft.com/office/drawing/2014/main" id="{4F1CF12F-8F62-4F62-B91B-46034DE646E7}"/>
                  </a:ext>
                </a:extLst>
              </p:cNvPr>
              <p:cNvSpPr>
                <a:spLocks/>
              </p:cNvSpPr>
              <p:nvPr/>
            </p:nvSpPr>
            <p:spPr bwMode="auto">
              <a:xfrm>
                <a:off x="2688" y="1800"/>
                <a:ext cx="237" cy="270"/>
              </a:xfrm>
              <a:custGeom>
                <a:avLst/>
                <a:gdLst>
                  <a:gd name="T0" fmla="*/ 237 w 237"/>
                  <a:gd name="T1" fmla="*/ 0 h 270"/>
                  <a:gd name="T2" fmla="*/ 177 w 237"/>
                  <a:gd name="T3" fmla="*/ 122 h 270"/>
                  <a:gd name="T4" fmla="*/ 117 w 237"/>
                  <a:gd name="T5" fmla="*/ 0 h 270"/>
                  <a:gd name="T6" fmla="*/ 57 w 237"/>
                  <a:gd name="T7" fmla="*/ 120 h 270"/>
                  <a:gd name="T8" fmla="*/ 147 w 237"/>
                  <a:gd name="T9" fmla="*/ 270 h 270"/>
                  <a:gd name="T10" fmla="*/ 0 w 237"/>
                  <a:gd name="T11" fmla="*/ 213 h 270"/>
                </a:gdLst>
                <a:ahLst/>
                <a:cxnLst>
                  <a:cxn ang="0">
                    <a:pos x="T0" y="T1"/>
                  </a:cxn>
                  <a:cxn ang="0">
                    <a:pos x="T2" y="T3"/>
                  </a:cxn>
                  <a:cxn ang="0">
                    <a:pos x="T4" y="T5"/>
                  </a:cxn>
                  <a:cxn ang="0">
                    <a:pos x="T6" y="T7"/>
                  </a:cxn>
                  <a:cxn ang="0">
                    <a:pos x="T8" y="T9"/>
                  </a:cxn>
                  <a:cxn ang="0">
                    <a:pos x="T10" y="T11"/>
                  </a:cxn>
                </a:cxnLst>
                <a:rect l="0" t="0" r="r" b="b"/>
                <a:pathLst>
                  <a:path w="237" h="270">
                    <a:moveTo>
                      <a:pt x="237" y="0"/>
                    </a:moveTo>
                    <a:lnTo>
                      <a:pt x="177" y="122"/>
                    </a:lnTo>
                    <a:lnTo>
                      <a:pt x="117" y="0"/>
                    </a:lnTo>
                    <a:lnTo>
                      <a:pt x="57" y="120"/>
                    </a:lnTo>
                    <a:lnTo>
                      <a:pt x="147" y="270"/>
                    </a:lnTo>
                    <a:lnTo>
                      <a:pt x="0" y="21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85" name="Freeform 2390">
                <a:extLst>
                  <a:ext uri="{FF2B5EF4-FFF2-40B4-BE49-F238E27FC236}">
                    <a16:creationId xmlns:a16="http://schemas.microsoft.com/office/drawing/2014/main" id="{D6CD2351-A67E-4113-AAA4-48A053C4965D}"/>
                  </a:ext>
                </a:extLst>
              </p:cNvPr>
              <p:cNvSpPr>
                <a:spLocks/>
              </p:cNvSpPr>
              <p:nvPr/>
            </p:nvSpPr>
            <p:spPr bwMode="auto">
              <a:xfrm>
                <a:off x="2355" y="1440"/>
                <a:ext cx="390" cy="570"/>
              </a:xfrm>
              <a:custGeom>
                <a:avLst/>
                <a:gdLst>
                  <a:gd name="T0" fmla="*/ 390 w 390"/>
                  <a:gd name="T1" fmla="*/ 480 h 570"/>
                  <a:gd name="T2" fmla="*/ 330 w 390"/>
                  <a:gd name="T3" fmla="*/ 570 h 570"/>
                  <a:gd name="T4" fmla="*/ 180 w 390"/>
                  <a:gd name="T5" fmla="*/ 540 h 570"/>
                  <a:gd name="T6" fmla="*/ 300 w 390"/>
                  <a:gd name="T7" fmla="*/ 390 h 570"/>
                  <a:gd name="T8" fmla="*/ 120 w 390"/>
                  <a:gd name="T9" fmla="*/ 390 h 570"/>
                  <a:gd name="T10" fmla="*/ 180 w 390"/>
                  <a:gd name="T11" fmla="*/ 210 h 570"/>
                  <a:gd name="T12" fmla="*/ 60 w 390"/>
                  <a:gd name="T13" fmla="*/ 330 h 570"/>
                  <a:gd name="T14" fmla="*/ 0 w 390"/>
                  <a:gd name="T15" fmla="*/ 180 h 570"/>
                  <a:gd name="T16" fmla="*/ 60 w 390"/>
                  <a:gd name="T17" fmla="*/ 60 h 570"/>
                  <a:gd name="T18" fmla="*/ 240 w 390"/>
                  <a:gd name="T19" fmla="*/ 120 h 570"/>
                  <a:gd name="T20" fmla="*/ 180 w 39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570">
                    <a:moveTo>
                      <a:pt x="390" y="480"/>
                    </a:moveTo>
                    <a:lnTo>
                      <a:pt x="330" y="570"/>
                    </a:lnTo>
                    <a:lnTo>
                      <a:pt x="180" y="540"/>
                    </a:lnTo>
                    <a:lnTo>
                      <a:pt x="300" y="390"/>
                    </a:lnTo>
                    <a:lnTo>
                      <a:pt x="120" y="390"/>
                    </a:lnTo>
                    <a:lnTo>
                      <a:pt x="180" y="210"/>
                    </a:lnTo>
                    <a:lnTo>
                      <a:pt x="60" y="330"/>
                    </a:lnTo>
                    <a:lnTo>
                      <a:pt x="0" y="180"/>
                    </a:lnTo>
                    <a:lnTo>
                      <a:pt x="60" y="60"/>
                    </a:lnTo>
                    <a:lnTo>
                      <a:pt x="240" y="120"/>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86" name="Freeform 2391">
                <a:extLst>
                  <a:ext uri="{FF2B5EF4-FFF2-40B4-BE49-F238E27FC236}">
                    <a16:creationId xmlns:a16="http://schemas.microsoft.com/office/drawing/2014/main" id="{30B253D2-B27A-48B2-914F-5CF8A448F6C4}"/>
                  </a:ext>
                </a:extLst>
              </p:cNvPr>
              <p:cNvSpPr>
                <a:spLocks/>
              </p:cNvSpPr>
              <p:nvPr/>
            </p:nvSpPr>
            <p:spPr bwMode="auto">
              <a:xfrm>
                <a:off x="2355" y="1410"/>
                <a:ext cx="480" cy="420"/>
              </a:xfrm>
              <a:custGeom>
                <a:avLst/>
                <a:gdLst>
                  <a:gd name="T0" fmla="*/ 300 w 480"/>
                  <a:gd name="T1" fmla="*/ 420 h 420"/>
                  <a:gd name="T2" fmla="*/ 0 w 480"/>
                  <a:gd name="T3" fmla="*/ 210 h 420"/>
                  <a:gd name="T4" fmla="*/ 180 w 480"/>
                  <a:gd name="T5" fmla="*/ 240 h 420"/>
                  <a:gd name="T6" fmla="*/ 90 w 480"/>
                  <a:gd name="T7" fmla="*/ 0 h 420"/>
                  <a:gd name="T8" fmla="*/ 240 w 480"/>
                  <a:gd name="T9" fmla="*/ 150 h 420"/>
                  <a:gd name="T10" fmla="*/ 270 w 480"/>
                  <a:gd name="T11" fmla="*/ 0 h 420"/>
                  <a:gd name="T12" fmla="*/ 420 w 480"/>
                  <a:gd name="T13" fmla="*/ 0 h 420"/>
                  <a:gd name="T14" fmla="*/ 480 w 480"/>
                  <a:gd name="T15" fmla="*/ 9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0" h="420">
                    <a:moveTo>
                      <a:pt x="300" y="420"/>
                    </a:moveTo>
                    <a:lnTo>
                      <a:pt x="0" y="210"/>
                    </a:lnTo>
                    <a:lnTo>
                      <a:pt x="180" y="240"/>
                    </a:lnTo>
                    <a:lnTo>
                      <a:pt x="90" y="0"/>
                    </a:lnTo>
                    <a:lnTo>
                      <a:pt x="240" y="150"/>
                    </a:lnTo>
                    <a:lnTo>
                      <a:pt x="270" y="0"/>
                    </a:lnTo>
                    <a:lnTo>
                      <a:pt x="420" y="0"/>
                    </a:lnTo>
                    <a:lnTo>
                      <a:pt x="4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87" name="Freeform 2392">
                <a:extLst>
                  <a:ext uri="{FF2B5EF4-FFF2-40B4-BE49-F238E27FC236}">
                    <a16:creationId xmlns:a16="http://schemas.microsoft.com/office/drawing/2014/main" id="{6C706300-F380-4E96-9585-2C22C6D60D68}"/>
                  </a:ext>
                </a:extLst>
              </p:cNvPr>
              <p:cNvSpPr>
                <a:spLocks/>
              </p:cNvSpPr>
              <p:nvPr/>
            </p:nvSpPr>
            <p:spPr bwMode="auto">
              <a:xfrm>
                <a:off x="2925" y="1260"/>
                <a:ext cx="120" cy="300"/>
              </a:xfrm>
              <a:custGeom>
                <a:avLst/>
                <a:gdLst>
                  <a:gd name="T0" fmla="*/ 0 w 120"/>
                  <a:gd name="T1" fmla="*/ 0 h 300"/>
                  <a:gd name="T2" fmla="*/ 0 w 120"/>
                  <a:gd name="T3" fmla="*/ 180 h 300"/>
                  <a:gd name="T4" fmla="*/ 120 w 120"/>
                  <a:gd name="T5" fmla="*/ 90 h 300"/>
                  <a:gd name="T6" fmla="*/ 120 w 120"/>
                  <a:gd name="T7" fmla="*/ 210 h 300"/>
                  <a:gd name="T8" fmla="*/ 90 w 120"/>
                  <a:gd name="T9" fmla="*/ 300 h 300"/>
                </a:gdLst>
                <a:ahLst/>
                <a:cxnLst>
                  <a:cxn ang="0">
                    <a:pos x="T0" y="T1"/>
                  </a:cxn>
                  <a:cxn ang="0">
                    <a:pos x="T2" y="T3"/>
                  </a:cxn>
                  <a:cxn ang="0">
                    <a:pos x="T4" y="T5"/>
                  </a:cxn>
                  <a:cxn ang="0">
                    <a:pos x="T6" y="T7"/>
                  </a:cxn>
                  <a:cxn ang="0">
                    <a:pos x="T8" y="T9"/>
                  </a:cxn>
                </a:cxnLst>
                <a:rect l="0" t="0" r="r" b="b"/>
                <a:pathLst>
                  <a:path w="120" h="300">
                    <a:moveTo>
                      <a:pt x="0" y="0"/>
                    </a:moveTo>
                    <a:lnTo>
                      <a:pt x="0" y="180"/>
                    </a:lnTo>
                    <a:lnTo>
                      <a:pt x="120" y="90"/>
                    </a:lnTo>
                    <a:lnTo>
                      <a:pt x="120" y="210"/>
                    </a:lnTo>
                    <a:lnTo>
                      <a:pt x="9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88" name="Freeform 2393">
                <a:extLst>
                  <a:ext uri="{FF2B5EF4-FFF2-40B4-BE49-F238E27FC236}">
                    <a16:creationId xmlns:a16="http://schemas.microsoft.com/office/drawing/2014/main" id="{6D93456E-0080-43DB-8713-233C6E494B5F}"/>
                  </a:ext>
                </a:extLst>
              </p:cNvPr>
              <p:cNvSpPr>
                <a:spLocks/>
              </p:cNvSpPr>
              <p:nvPr/>
            </p:nvSpPr>
            <p:spPr bwMode="auto">
              <a:xfrm>
                <a:off x="2715" y="1292"/>
                <a:ext cx="330" cy="178"/>
              </a:xfrm>
              <a:custGeom>
                <a:avLst/>
                <a:gdLst>
                  <a:gd name="T0" fmla="*/ 0 w 330"/>
                  <a:gd name="T1" fmla="*/ 0 h 178"/>
                  <a:gd name="T2" fmla="*/ 60 w 330"/>
                  <a:gd name="T3" fmla="*/ 118 h 178"/>
                  <a:gd name="T4" fmla="*/ 150 w 330"/>
                  <a:gd name="T5" fmla="*/ 28 h 178"/>
                  <a:gd name="T6" fmla="*/ 330 w 330"/>
                  <a:gd name="T7" fmla="*/ 178 h 178"/>
                </a:gdLst>
                <a:ahLst/>
                <a:cxnLst>
                  <a:cxn ang="0">
                    <a:pos x="T0" y="T1"/>
                  </a:cxn>
                  <a:cxn ang="0">
                    <a:pos x="T2" y="T3"/>
                  </a:cxn>
                  <a:cxn ang="0">
                    <a:pos x="T4" y="T5"/>
                  </a:cxn>
                  <a:cxn ang="0">
                    <a:pos x="T6" y="T7"/>
                  </a:cxn>
                </a:cxnLst>
                <a:rect l="0" t="0" r="r" b="b"/>
                <a:pathLst>
                  <a:path w="330" h="178">
                    <a:moveTo>
                      <a:pt x="0" y="0"/>
                    </a:moveTo>
                    <a:lnTo>
                      <a:pt x="60" y="118"/>
                    </a:lnTo>
                    <a:lnTo>
                      <a:pt x="150" y="28"/>
                    </a:lnTo>
                    <a:lnTo>
                      <a:pt x="330" y="17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89" name="Line 2394">
                <a:extLst>
                  <a:ext uri="{FF2B5EF4-FFF2-40B4-BE49-F238E27FC236}">
                    <a16:creationId xmlns:a16="http://schemas.microsoft.com/office/drawing/2014/main" id="{E755AE5B-F039-47FA-B713-930E2586E68D}"/>
                  </a:ext>
                </a:extLst>
              </p:cNvPr>
              <p:cNvSpPr>
                <a:spLocks noChangeShapeType="1"/>
              </p:cNvSpPr>
              <p:nvPr/>
            </p:nvSpPr>
            <p:spPr bwMode="auto">
              <a:xfrm flipH="1">
                <a:off x="2925" y="1410"/>
                <a:ext cx="24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90" name="Freeform 2395">
                <a:extLst>
                  <a:ext uri="{FF2B5EF4-FFF2-40B4-BE49-F238E27FC236}">
                    <a16:creationId xmlns:a16="http://schemas.microsoft.com/office/drawing/2014/main" id="{B103D26B-EAD7-4AD1-B8DF-7F70C2CE407A}"/>
                  </a:ext>
                </a:extLst>
              </p:cNvPr>
              <p:cNvSpPr>
                <a:spLocks/>
              </p:cNvSpPr>
              <p:nvPr/>
            </p:nvSpPr>
            <p:spPr bwMode="auto">
              <a:xfrm>
                <a:off x="2086" y="2070"/>
                <a:ext cx="899" cy="720"/>
              </a:xfrm>
              <a:custGeom>
                <a:avLst/>
                <a:gdLst>
                  <a:gd name="T0" fmla="*/ 59 w 899"/>
                  <a:gd name="T1" fmla="*/ 240 h 720"/>
                  <a:gd name="T2" fmla="*/ 179 w 899"/>
                  <a:gd name="T3" fmla="*/ 390 h 720"/>
                  <a:gd name="T4" fmla="*/ 239 w 899"/>
                  <a:gd name="T5" fmla="*/ 300 h 720"/>
                  <a:gd name="T6" fmla="*/ 329 w 899"/>
                  <a:gd name="T7" fmla="*/ 360 h 720"/>
                  <a:gd name="T8" fmla="*/ 329 w 899"/>
                  <a:gd name="T9" fmla="*/ 240 h 720"/>
                  <a:gd name="T10" fmla="*/ 179 w 899"/>
                  <a:gd name="T11" fmla="*/ 181 h 720"/>
                  <a:gd name="T12" fmla="*/ 269 w 899"/>
                  <a:gd name="T13" fmla="*/ 150 h 720"/>
                  <a:gd name="T14" fmla="*/ 389 w 899"/>
                  <a:gd name="T15" fmla="*/ 120 h 720"/>
                  <a:gd name="T16" fmla="*/ 449 w 899"/>
                  <a:gd name="T17" fmla="*/ 300 h 720"/>
                  <a:gd name="T18" fmla="*/ 539 w 899"/>
                  <a:gd name="T19" fmla="*/ 180 h 720"/>
                  <a:gd name="T20" fmla="*/ 509 w 899"/>
                  <a:gd name="T21" fmla="*/ 60 h 720"/>
                  <a:gd name="T22" fmla="*/ 359 w 899"/>
                  <a:gd name="T23" fmla="*/ 30 h 720"/>
                  <a:gd name="T24" fmla="*/ 569 w 899"/>
                  <a:gd name="T25" fmla="*/ 0 h 720"/>
                  <a:gd name="T26" fmla="*/ 689 w 899"/>
                  <a:gd name="T27" fmla="*/ 90 h 720"/>
                  <a:gd name="T28" fmla="*/ 659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89 w 899"/>
                  <a:gd name="T41" fmla="*/ 390 h 720"/>
                  <a:gd name="T42" fmla="*/ 539 w 899"/>
                  <a:gd name="T43" fmla="*/ 330 h 720"/>
                  <a:gd name="T44" fmla="*/ 569 w 899"/>
                  <a:gd name="T45" fmla="*/ 450 h 720"/>
                  <a:gd name="T46" fmla="*/ 419 w 899"/>
                  <a:gd name="T47" fmla="*/ 420 h 720"/>
                  <a:gd name="T48" fmla="*/ 389 w 899"/>
                  <a:gd name="T49" fmla="*/ 540 h 720"/>
                  <a:gd name="T50" fmla="*/ 509 w 899"/>
                  <a:gd name="T51" fmla="*/ 570 h 720"/>
                  <a:gd name="T52" fmla="*/ 659 w 899"/>
                  <a:gd name="T53" fmla="*/ 570 h 720"/>
                  <a:gd name="T54" fmla="*/ 599 w 899"/>
                  <a:gd name="T55" fmla="*/ 720 h 720"/>
                  <a:gd name="T56" fmla="*/ 299 w 899"/>
                  <a:gd name="T57" fmla="*/ 630 h 720"/>
                  <a:gd name="T58" fmla="*/ 268 w 899"/>
                  <a:gd name="T59" fmla="*/ 482 h 720"/>
                  <a:gd name="T60" fmla="*/ 179 w 899"/>
                  <a:gd name="T61" fmla="*/ 570 h 720"/>
                  <a:gd name="T62" fmla="*/ 59 w 899"/>
                  <a:gd name="T63" fmla="*/ 480 h 720"/>
                  <a:gd name="T64" fmla="*/ 0 w 899"/>
                  <a:gd name="T65" fmla="*/ 360 h 720"/>
                  <a:gd name="T66" fmla="*/ 59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59" y="240"/>
                    </a:move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599" y="720"/>
                    </a:lnTo>
                    <a:lnTo>
                      <a:pt x="299" y="630"/>
                    </a:lnTo>
                    <a:lnTo>
                      <a:pt x="268" y="482"/>
                    </a:lnTo>
                    <a:lnTo>
                      <a:pt x="179" y="570"/>
                    </a:lnTo>
                    <a:lnTo>
                      <a:pt x="59" y="480"/>
                    </a:lnTo>
                    <a:lnTo>
                      <a:pt x="0" y="360"/>
                    </a:lnTo>
                    <a:lnTo>
                      <a:pt x="59"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91" name="Line 2396">
                <a:extLst>
                  <a:ext uri="{FF2B5EF4-FFF2-40B4-BE49-F238E27FC236}">
                    <a16:creationId xmlns:a16="http://schemas.microsoft.com/office/drawing/2014/main" id="{1C0AB04F-9289-4064-BFD3-4D6A63B59E82}"/>
                  </a:ext>
                </a:extLst>
              </p:cNvPr>
              <p:cNvSpPr>
                <a:spLocks noChangeShapeType="1"/>
              </p:cNvSpPr>
              <p:nvPr/>
            </p:nvSpPr>
            <p:spPr bwMode="auto">
              <a:xfrm flipH="1">
                <a:off x="2145" y="225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92" name="Freeform 2397">
                <a:extLst>
                  <a:ext uri="{FF2B5EF4-FFF2-40B4-BE49-F238E27FC236}">
                    <a16:creationId xmlns:a16="http://schemas.microsoft.com/office/drawing/2014/main" id="{4CD39026-51F8-4B55-93E6-65E87C655B65}"/>
                  </a:ext>
                </a:extLst>
              </p:cNvPr>
              <p:cNvSpPr>
                <a:spLocks/>
              </p:cNvSpPr>
              <p:nvPr/>
            </p:nvSpPr>
            <p:spPr bwMode="auto">
              <a:xfrm>
                <a:off x="2354" y="243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93" name="Freeform 2398">
                <a:extLst>
                  <a:ext uri="{FF2B5EF4-FFF2-40B4-BE49-F238E27FC236}">
                    <a16:creationId xmlns:a16="http://schemas.microsoft.com/office/drawing/2014/main" id="{AA2988F5-EE7A-4F85-A47A-693B3BAC7348}"/>
                  </a:ext>
                </a:extLst>
              </p:cNvPr>
              <p:cNvSpPr>
                <a:spLocks/>
              </p:cNvSpPr>
              <p:nvPr/>
            </p:nvSpPr>
            <p:spPr bwMode="auto">
              <a:xfrm>
                <a:off x="2415" y="1980"/>
                <a:ext cx="240" cy="330"/>
              </a:xfrm>
              <a:custGeom>
                <a:avLst/>
                <a:gdLst>
                  <a:gd name="T0" fmla="*/ 180 w 240"/>
                  <a:gd name="T1" fmla="*/ 150 h 330"/>
                  <a:gd name="T2" fmla="*/ 120 w 240"/>
                  <a:gd name="T3" fmla="*/ 0 h 330"/>
                  <a:gd name="T4" fmla="*/ 240 w 240"/>
                  <a:gd name="T5" fmla="*/ 90 h 330"/>
                  <a:gd name="T6" fmla="*/ 210 w 240"/>
                  <a:gd name="T7" fmla="*/ 270 h 330"/>
                  <a:gd name="T8" fmla="*/ 0 w 240"/>
                  <a:gd name="T9" fmla="*/ 330 h 330"/>
                </a:gdLst>
                <a:ahLst/>
                <a:cxnLst>
                  <a:cxn ang="0">
                    <a:pos x="T0" y="T1"/>
                  </a:cxn>
                  <a:cxn ang="0">
                    <a:pos x="T2" y="T3"/>
                  </a:cxn>
                  <a:cxn ang="0">
                    <a:pos x="T4" y="T5"/>
                  </a:cxn>
                  <a:cxn ang="0">
                    <a:pos x="T6" y="T7"/>
                  </a:cxn>
                  <a:cxn ang="0">
                    <a:pos x="T8" y="T9"/>
                  </a:cxn>
                </a:cxnLst>
                <a:rect l="0" t="0" r="r" b="b"/>
                <a:pathLst>
                  <a:path w="240" h="330">
                    <a:moveTo>
                      <a:pt x="180" y="150"/>
                    </a:moveTo>
                    <a:lnTo>
                      <a:pt x="120" y="0"/>
                    </a:lnTo>
                    <a:lnTo>
                      <a:pt x="240" y="90"/>
                    </a:lnTo>
                    <a:lnTo>
                      <a:pt x="21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94" name="Line 2399">
                <a:extLst>
                  <a:ext uri="{FF2B5EF4-FFF2-40B4-BE49-F238E27FC236}">
                    <a16:creationId xmlns:a16="http://schemas.microsoft.com/office/drawing/2014/main" id="{586072FD-4435-4A4C-901C-EC4F71E935C2}"/>
                  </a:ext>
                </a:extLst>
              </p:cNvPr>
              <p:cNvSpPr>
                <a:spLocks noChangeShapeType="1"/>
              </p:cNvSpPr>
              <p:nvPr/>
            </p:nvSpPr>
            <p:spPr bwMode="auto">
              <a:xfrm>
                <a:off x="247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95" name="Freeform 2400">
                <a:extLst>
                  <a:ext uri="{FF2B5EF4-FFF2-40B4-BE49-F238E27FC236}">
                    <a16:creationId xmlns:a16="http://schemas.microsoft.com/office/drawing/2014/main" id="{9573FD6A-06A1-4797-97AB-C2CB497B88F6}"/>
                  </a:ext>
                </a:extLst>
              </p:cNvPr>
              <p:cNvSpPr>
                <a:spLocks/>
              </p:cNvSpPr>
              <p:nvPr/>
            </p:nvSpPr>
            <p:spPr bwMode="auto">
              <a:xfrm>
                <a:off x="3045" y="207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96" name="Freeform 2401">
                <a:extLst>
                  <a:ext uri="{FF2B5EF4-FFF2-40B4-BE49-F238E27FC236}">
                    <a16:creationId xmlns:a16="http://schemas.microsoft.com/office/drawing/2014/main" id="{FF056338-C3F0-47D6-8E94-38B37AD15BB4}"/>
                  </a:ext>
                </a:extLst>
              </p:cNvPr>
              <p:cNvSpPr>
                <a:spLocks/>
              </p:cNvSpPr>
              <p:nvPr/>
            </p:nvSpPr>
            <p:spPr bwMode="auto">
              <a:xfrm>
                <a:off x="3105" y="222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97" name="Freeform 2402">
                <a:extLst>
                  <a:ext uri="{FF2B5EF4-FFF2-40B4-BE49-F238E27FC236}">
                    <a16:creationId xmlns:a16="http://schemas.microsoft.com/office/drawing/2014/main" id="{891CD186-3E9B-4097-A6C4-C6FD617BB6FF}"/>
                  </a:ext>
                </a:extLst>
              </p:cNvPr>
              <p:cNvSpPr>
                <a:spLocks/>
              </p:cNvSpPr>
              <p:nvPr/>
            </p:nvSpPr>
            <p:spPr bwMode="auto">
              <a:xfrm>
                <a:off x="2985" y="225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98" name="Freeform 2403">
                <a:extLst>
                  <a:ext uri="{FF2B5EF4-FFF2-40B4-BE49-F238E27FC236}">
                    <a16:creationId xmlns:a16="http://schemas.microsoft.com/office/drawing/2014/main" id="{A973DDEA-97E7-480F-99FD-B98F609788DA}"/>
                  </a:ext>
                </a:extLst>
              </p:cNvPr>
              <p:cNvSpPr>
                <a:spLocks/>
              </p:cNvSpPr>
              <p:nvPr/>
            </p:nvSpPr>
            <p:spPr bwMode="auto">
              <a:xfrm>
                <a:off x="3313" y="243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99" name="Freeform 2404">
                <a:extLst>
                  <a:ext uri="{FF2B5EF4-FFF2-40B4-BE49-F238E27FC236}">
                    <a16:creationId xmlns:a16="http://schemas.microsoft.com/office/drawing/2014/main" id="{65BD488B-128B-4CA3-A584-01E726FA03A8}"/>
                  </a:ext>
                </a:extLst>
              </p:cNvPr>
              <p:cNvSpPr>
                <a:spLocks/>
              </p:cNvSpPr>
              <p:nvPr/>
            </p:nvSpPr>
            <p:spPr bwMode="auto">
              <a:xfrm>
                <a:off x="3375" y="204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00" name="Line 2405">
                <a:extLst>
                  <a:ext uri="{FF2B5EF4-FFF2-40B4-BE49-F238E27FC236}">
                    <a16:creationId xmlns:a16="http://schemas.microsoft.com/office/drawing/2014/main" id="{7DE9EFA7-10E8-4C72-855E-1E9D90B95D4F}"/>
                  </a:ext>
                </a:extLst>
              </p:cNvPr>
              <p:cNvSpPr>
                <a:spLocks noChangeShapeType="1"/>
              </p:cNvSpPr>
              <p:nvPr/>
            </p:nvSpPr>
            <p:spPr bwMode="auto">
              <a:xfrm>
                <a:off x="343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01" name="Line 2406">
                <a:extLst>
                  <a:ext uri="{FF2B5EF4-FFF2-40B4-BE49-F238E27FC236}">
                    <a16:creationId xmlns:a16="http://schemas.microsoft.com/office/drawing/2014/main" id="{2FA87ECB-8D8F-4B33-893B-F688CD345CA2}"/>
                  </a:ext>
                </a:extLst>
              </p:cNvPr>
              <p:cNvSpPr>
                <a:spLocks noChangeShapeType="1"/>
              </p:cNvSpPr>
              <p:nvPr/>
            </p:nvSpPr>
            <p:spPr bwMode="auto">
              <a:xfrm>
                <a:off x="2955" y="18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02" name="Line 2407">
                <a:extLst>
                  <a:ext uri="{FF2B5EF4-FFF2-40B4-BE49-F238E27FC236}">
                    <a16:creationId xmlns:a16="http://schemas.microsoft.com/office/drawing/2014/main" id="{3BB4E2DA-4138-4D25-83A7-CDCCA6F3EC9A}"/>
                  </a:ext>
                </a:extLst>
              </p:cNvPr>
              <p:cNvSpPr>
                <a:spLocks noChangeShapeType="1"/>
              </p:cNvSpPr>
              <p:nvPr/>
            </p:nvSpPr>
            <p:spPr bwMode="auto">
              <a:xfrm>
                <a:off x="2655" y="18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03" name="Line 2408">
                <a:extLst>
                  <a:ext uri="{FF2B5EF4-FFF2-40B4-BE49-F238E27FC236}">
                    <a16:creationId xmlns:a16="http://schemas.microsoft.com/office/drawing/2014/main" id="{854B9D84-5CB7-4FD5-A582-1BA57D80FE8A}"/>
                  </a:ext>
                </a:extLst>
              </p:cNvPr>
              <p:cNvSpPr>
                <a:spLocks noChangeShapeType="1"/>
              </p:cNvSpPr>
              <p:nvPr/>
            </p:nvSpPr>
            <p:spPr bwMode="auto">
              <a:xfrm>
                <a:off x="3045" y="17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04" name="Line 2409">
                <a:extLst>
                  <a:ext uri="{FF2B5EF4-FFF2-40B4-BE49-F238E27FC236}">
                    <a16:creationId xmlns:a16="http://schemas.microsoft.com/office/drawing/2014/main" id="{F4880BD5-CE69-4686-AE00-5E831939ADCD}"/>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05" name="Line 2410">
                <a:extLst>
                  <a:ext uri="{FF2B5EF4-FFF2-40B4-BE49-F238E27FC236}">
                    <a16:creationId xmlns:a16="http://schemas.microsoft.com/office/drawing/2014/main" id="{97C39BBD-C8CD-4F85-B85E-CD395BC9C2D8}"/>
                  </a:ext>
                </a:extLst>
              </p:cNvPr>
              <p:cNvSpPr>
                <a:spLocks noChangeShapeType="1"/>
              </p:cNvSpPr>
              <p:nvPr/>
            </p:nvSpPr>
            <p:spPr bwMode="auto">
              <a:xfrm flipH="1" flipV="1">
                <a:off x="2415" y="1770"/>
                <a:ext cx="6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06" name="Line 2411">
                <a:extLst>
                  <a:ext uri="{FF2B5EF4-FFF2-40B4-BE49-F238E27FC236}">
                    <a16:creationId xmlns:a16="http://schemas.microsoft.com/office/drawing/2014/main" id="{3832769A-7C57-4A54-910F-721BD4772894}"/>
                  </a:ext>
                </a:extLst>
              </p:cNvPr>
              <p:cNvSpPr>
                <a:spLocks noChangeShapeType="1"/>
              </p:cNvSpPr>
              <p:nvPr/>
            </p:nvSpPr>
            <p:spPr bwMode="auto">
              <a:xfrm>
                <a:off x="2475" y="1830"/>
                <a:ext cx="21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07" name="Line 2412">
                <a:extLst>
                  <a:ext uri="{FF2B5EF4-FFF2-40B4-BE49-F238E27FC236}">
                    <a16:creationId xmlns:a16="http://schemas.microsoft.com/office/drawing/2014/main" id="{919AFCA3-0ED3-4C03-914E-D6FAC1F0B757}"/>
                  </a:ext>
                </a:extLst>
              </p:cNvPr>
              <p:cNvSpPr>
                <a:spLocks noChangeShapeType="1"/>
              </p:cNvSpPr>
              <p:nvPr/>
            </p:nvSpPr>
            <p:spPr bwMode="auto">
              <a:xfrm>
                <a:off x="2535" y="16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08" name="Line 2413">
                <a:extLst>
                  <a:ext uri="{FF2B5EF4-FFF2-40B4-BE49-F238E27FC236}">
                    <a16:creationId xmlns:a16="http://schemas.microsoft.com/office/drawing/2014/main" id="{23D63C69-F454-4FC5-81FB-243ABA19B59A}"/>
                  </a:ext>
                </a:extLst>
              </p:cNvPr>
              <p:cNvSpPr>
                <a:spLocks noChangeShapeType="1"/>
              </p:cNvSpPr>
              <p:nvPr/>
            </p:nvSpPr>
            <p:spPr bwMode="auto">
              <a:xfrm>
                <a:off x="3045" y="13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09" name="Line 2414">
                <a:extLst>
                  <a:ext uri="{FF2B5EF4-FFF2-40B4-BE49-F238E27FC236}">
                    <a16:creationId xmlns:a16="http://schemas.microsoft.com/office/drawing/2014/main" id="{6CCC87B2-5508-4D44-AF1D-18B82B87A822}"/>
                  </a:ext>
                </a:extLst>
              </p:cNvPr>
              <p:cNvSpPr>
                <a:spLocks noChangeShapeType="1"/>
              </p:cNvSpPr>
              <p:nvPr/>
            </p:nvSpPr>
            <p:spPr bwMode="auto">
              <a:xfrm>
                <a:off x="2925" y="12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10" name="Freeform 2415">
                <a:extLst>
                  <a:ext uri="{FF2B5EF4-FFF2-40B4-BE49-F238E27FC236}">
                    <a16:creationId xmlns:a16="http://schemas.microsoft.com/office/drawing/2014/main" id="{AEBC8278-20F9-4B19-B51B-43F15DBEC90D}"/>
                  </a:ext>
                </a:extLst>
              </p:cNvPr>
              <p:cNvSpPr>
                <a:spLocks/>
              </p:cNvSpPr>
              <p:nvPr/>
            </p:nvSpPr>
            <p:spPr bwMode="auto">
              <a:xfrm>
                <a:off x="2865" y="1710"/>
                <a:ext cx="240" cy="240"/>
              </a:xfrm>
              <a:custGeom>
                <a:avLst/>
                <a:gdLst>
                  <a:gd name="T0" fmla="*/ 240 w 240"/>
                  <a:gd name="T1" fmla="*/ 0 h 240"/>
                  <a:gd name="T2" fmla="*/ 210 w 240"/>
                  <a:gd name="T3" fmla="*/ 180 h 240"/>
                  <a:gd name="T4" fmla="*/ 180 w 240"/>
                  <a:gd name="T5" fmla="*/ 60 h 240"/>
                  <a:gd name="T6" fmla="*/ 150 w 240"/>
                  <a:gd name="T7" fmla="*/ 240 h 240"/>
                  <a:gd name="T8" fmla="*/ 90 w 240"/>
                  <a:gd name="T9" fmla="*/ 180 h 240"/>
                  <a:gd name="T10" fmla="*/ 0 w 240"/>
                  <a:gd name="T11" fmla="*/ 210 h 240"/>
                </a:gdLst>
                <a:ahLst/>
                <a:cxnLst>
                  <a:cxn ang="0">
                    <a:pos x="T0" y="T1"/>
                  </a:cxn>
                  <a:cxn ang="0">
                    <a:pos x="T2" y="T3"/>
                  </a:cxn>
                  <a:cxn ang="0">
                    <a:pos x="T4" y="T5"/>
                  </a:cxn>
                  <a:cxn ang="0">
                    <a:pos x="T6" y="T7"/>
                  </a:cxn>
                  <a:cxn ang="0">
                    <a:pos x="T8" y="T9"/>
                  </a:cxn>
                  <a:cxn ang="0">
                    <a:pos x="T10" y="T11"/>
                  </a:cxn>
                </a:cxnLst>
                <a:rect l="0" t="0" r="r" b="b"/>
                <a:pathLst>
                  <a:path w="240" h="240">
                    <a:moveTo>
                      <a:pt x="240" y="0"/>
                    </a:moveTo>
                    <a:lnTo>
                      <a:pt x="210" y="180"/>
                    </a:lnTo>
                    <a:lnTo>
                      <a:pt x="180" y="60"/>
                    </a:lnTo>
                    <a:lnTo>
                      <a:pt x="150" y="240"/>
                    </a:lnTo>
                    <a:lnTo>
                      <a:pt x="90" y="18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11" name="Line 2416">
                <a:extLst>
                  <a:ext uri="{FF2B5EF4-FFF2-40B4-BE49-F238E27FC236}">
                    <a16:creationId xmlns:a16="http://schemas.microsoft.com/office/drawing/2014/main" id="{45F4BB4F-FBB6-4F75-A226-E430EC18A9C5}"/>
                  </a:ext>
                </a:extLst>
              </p:cNvPr>
              <p:cNvSpPr>
                <a:spLocks noChangeShapeType="1"/>
              </p:cNvSpPr>
              <p:nvPr/>
            </p:nvSpPr>
            <p:spPr bwMode="auto">
              <a:xfrm>
                <a:off x="2865" y="19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12" name="Freeform 2417">
                <a:extLst>
                  <a:ext uri="{FF2B5EF4-FFF2-40B4-BE49-F238E27FC236}">
                    <a16:creationId xmlns:a16="http://schemas.microsoft.com/office/drawing/2014/main" id="{08F4D874-3720-45BE-A0B0-62BE24392DC7}"/>
                  </a:ext>
                </a:extLst>
              </p:cNvPr>
              <p:cNvSpPr>
                <a:spLocks/>
              </p:cNvSpPr>
              <p:nvPr/>
            </p:nvSpPr>
            <p:spPr bwMode="auto">
              <a:xfrm>
                <a:off x="3045" y="1770"/>
                <a:ext cx="180" cy="120"/>
              </a:xfrm>
              <a:custGeom>
                <a:avLst/>
                <a:gdLst>
                  <a:gd name="T0" fmla="*/ 150 w 180"/>
                  <a:gd name="T1" fmla="*/ 120 h 120"/>
                  <a:gd name="T2" fmla="*/ 180 w 180"/>
                  <a:gd name="T3" fmla="*/ 0 h 120"/>
                  <a:gd name="T4" fmla="*/ 30 w 180"/>
                  <a:gd name="T5" fmla="*/ 120 h 120"/>
                  <a:gd name="T6" fmla="*/ 150 w 180"/>
                  <a:gd name="T7" fmla="*/ 120 h 120"/>
                  <a:gd name="T8" fmla="*/ 0 w 180"/>
                  <a:gd name="T9" fmla="*/ 0 h 120"/>
                </a:gdLst>
                <a:ahLst/>
                <a:cxnLst>
                  <a:cxn ang="0">
                    <a:pos x="T0" y="T1"/>
                  </a:cxn>
                  <a:cxn ang="0">
                    <a:pos x="T2" y="T3"/>
                  </a:cxn>
                  <a:cxn ang="0">
                    <a:pos x="T4" y="T5"/>
                  </a:cxn>
                  <a:cxn ang="0">
                    <a:pos x="T6" y="T7"/>
                  </a:cxn>
                  <a:cxn ang="0">
                    <a:pos x="T8" y="T9"/>
                  </a:cxn>
                </a:cxnLst>
                <a:rect l="0" t="0" r="r" b="b"/>
                <a:pathLst>
                  <a:path w="180" h="120">
                    <a:moveTo>
                      <a:pt x="150" y="120"/>
                    </a:moveTo>
                    <a:lnTo>
                      <a:pt x="180" y="0"/>
                    </a:lnTo>
                    <a:lnTo>
                      <a:pt x="30" y="120"/>
                    </a:lnTo>
                    <a:lnTo>
                      <a:pt x="15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13" name="Freeform 2418">
                <a:extLst>
                  <a:ext uri="{FF2B5EF4-FFF2-40B4-BE49-F238E27FC236}">
                    <a16:creationId xmlns:a16="http://schemas.microsoft.com/office/drawing/2014/main" id="{C27B0C59-3460-48CE-9F1B-3DA0AA89C314}"/>
                  </a:ext>
                </a:extLst>
              </p:cNvPr>
              <p:cNvSpPr>
                <a:spLocks/>
              </p:cNvSpPr>
              <p:nvPr/>
            </p:nvSpPr>
            <p:spPr bwMode="auto">
              <a:xfrm>
                <a:off x="3105" y="1530"/>
                <a:ext cx="240" cy="360"/>
              </a:xfrm>
              <a:custGeom>
                <a:avLst/>
                <a:gdLst>
                  <a:gd name="T0" fmla="*/ 120 w 240"/>
                  <a:gd name="T1" fmla="*/ 240 h 360"/>
                  <a:gd name="T2" fmla="*/ 90 w 240"/>
                  <a:gd name="T3" fmla="*/ 120 h 360"/>
                  <a:gd name="T4" fmla="*/ 90 w 240"/>
                  <a:gd name="T5" fmla="*/ 0 h 360"/>
                  <a:gd name="T6" fmla="*/ 210 w 240"/>
                  <a:gd name="T7" fmla="*/ 30 h 360"/>
                  <a:gd name="T8" fmla="*/ 240 w 240"/>
                  <a:gd name="T9" fmla="*/ 180 h 360"/>
                  <a:gd name="T10" fmla="*/ 120 w 240"/>
                  <a:gd name="T11" fmla="*/ 240 h 360"/>
                  <a:gd name="T12" fmla="*/ 210 w 240"/>
                  <a:gd name="T13" fmla="*/ 330 h 360"/>
                  <a:gd name="T14" fmla="*/ 90 w 240"/>
                  <a:gd name="T15" fmla="*/ 360 h 360"/>
                  <a:gd name="T16" fmla="*/ 0 w 240"/>
                  <a:gd name="T17"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360">
                    <a:moveTo>
                      <a:pt x="120" y="240"/>
                    </a:moveTo>
                    <a:lnTo>
                      <a:pt x="90" y="120"/>
                    </a:lnTo>
                    <a:lnTo>
                      <a:pt x="90" y="0"/>
                    </a:lnTo>
                    <a:lnTo>
                      <a:pt x="210" y="30"/>
                    </a:lnTo>
                    <a:lnTo>
                      <a:pt x="240" y="180"/>
                    </a:lnTo>
                    <a:lnTo>
                      <a:pt x="120" y="240"/>
                    </a:lnTo>
                    <a:lnTo>
                      <a:pt x="210" y="330"/>
                    </a:lnTo>
                    <a:lnTo>
                      <a:pt x="90" y="36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14" name="Freeform 2419">
                <a:extLst>
                  <a:ext uri="{FF2B5EF4-FFF2-40B4-BE49-F238E27FC236}">
                    <a16:creationId xmlns:a16="http://schemas.microsoft.com/office/drawing/2014/main" id="{3B3D100A-EA41-4587-BB40-2B9D222FFABB}"/>
                  </a:ext>
                </a:extLst>
              </p:cNvPr>
              <p:cNvSpPr>
                <a:spLocks/>
              </p:cNvSpPr>
              <p:nvPr/>
            </p:nvSpPr>
            <p:spPr bwMode="auto">
              <a:xfrm>
                <a:off x="3105" y="1590"/>
                <a:ext cx="90" cy="120"/>
              </a:xfrm>
              <a:custGeom>
                <a:avLst/>
                <a:gdLst>
                  <a:gd name="T0" fmla="*/ 0 w 90"/>
                  <a:gd name="T1" fmla="*/ 120 h 120"/>
                  <a:gd name="T2" fmla="*/ 90 w 90"/>
                  <a:gd name="T3" fmla="*/ 60 h 120"/>
                  <a:gd name="T4" fmla="*/ 0 w 90"/>
                  <a:gd name="T5" fmla="*/ 0 h 120"/>
                </a:gdLst>
                <a:ahLst/>
                <a:cxnLst>
                  <a:cxn ang="0">
                    <a:pos x="T0" y="T1"/>
                  </a:cxn>
                  <a:cxn ang="0">
                    <a:pos x="T2" y="T3"/>
                  </a:cxn>
                  <a:cxn ang="0">
                    <a:pos x="T4" y="T5"/>
                  </a:cxn>
                </a:cxnLst>
                <a:rect l="0" t="0" r="r" b="b"/>
                <a:pathLst>
                  <a:path w="90" h="120">
                    <a:moveTo>
                      <a:pt x="0" y="120"/>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15" name="Line 2420">
                <a:extLst>
                  <a:ext uri="{FF2B5EF4-FFF2-40B4-BE49-F238E27FC236}">
                    <a16:creationId xmlns:a16="http://schemas.microsoft.com/office/drawing/2014/main" id="{531653E4-5275-4383-8B61-AA14A26F4FE3}"/>
                  </a:ext>
                </a:extLst>
              </p:cNvPr>
              <p:cNvSpPr>
                <a:spLocks noChangeShapeType="1"/>
              </p:cNvSpPr>
              <p:nvPr/>
            </p:nvSpPr>
            <p:spPr bwMode="auto">
              <a:xfrm>
                <a:off x="2595" y="15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16" name="Freeform 2421">
                <a:extLst>
                  <a:ext uri="{FF2B5EF4-FFF2-40B4-BE49-F238E27FC236}">
                    <a16:creationId xmlns:a16="http://schemas.microsoft.com/office/drawing/2014/main" id="{38CC303A-57CB-4CD3-846B-FB984B09C68F}"/>
                  </a:ext>
                </a:extLst>
              </p:cNvPr>
              <p:cNvSpPr>
                <a:spLocks/>
              </p:cNvSpPr>
              <p:nvPr/>
            </p:nvSpPr>
            <p:spPr bwMode="auto">
              <a:xfrm>
                <a:off x="2715" y="1230"/>
                <a:ext cx="450" cy="180"/>
              </a:xfrm>
              <a:custGeom>
                <a:avLst/>
                <a:gdLst>
                  <a:gd name="T0" fmla="*/ 450 w 450"/>
                  <a:gd name="T1" fmla="*/ 180 h 180"/>
                  <a:gd name="T2" fmla="*/ 450 w 450"/>
                  <a:gd name="T3" fmla="*/ 60 h 180"/>
                  <a:gd name="T4" fmla="*/ 330 w 450"/>
                  <a:gd name="T5" fmla="*/ 120 h 180"/>
                  <a:gd name="T6" fmla="*/ 210 w 450"/>
                  <a:gd name="T7" fmla="*/ 30 h 180"/>
                  <a:gd name="T8" fmla="*/ 90 w 450"/>
                  <a:gd name="T9" fmla="*/ 0 h 180"/>
                  <a:gd name="T10" fmla="*/ 150 w 450"/>
                  <a:gd name="T11" fmla="*/ 90 h 180"/>
                  <a:gd name="T12" fmla="*/ 0 w 450"/>
                  <a:gd name="T13" fmla="*/ 60 h 180"/>
                </a:gdLst>
                <a:ahLst/>
                <a:cxnLst>
                  <a:cxn ang="0">
                    <a:pos x="T0" y="T1"/>
                  </a:cxn>
                  <a:cxn ang="0">
                    <a:pos x="T2" y="T3"/>
                  </a:cxn>
                  <a:cxn ang="0">
                    <a:pos x="T4" y="T5"/>
                  </a:cxn>
                  <a:cxn ang="0">
                    <a:pos x="T6" y="T7"/>
                  </a:cxn>
                  <a:cxn ang="0">
                    <a:pos x="T8" y="T9"/>
                  </a:cxn>
                  <a:cxn ang="0">
                    <a:pos x="T10" y="T11"/>
                  </a:cxn>
                  <a:cxn ang="0">
                    <a:pos x="T12" y="T13"/>
                  </a:cxn>
                </a:cxnLst>
                <a:rect l="0" t="0" r="r" b="b"/>
                <a:pathLst>
                  <a:path w="450" h="180">
                    <a:moveTo>
                      <a:pt x="450" y="180"/>
                    </a:moveTo>
                    <a:lnTo>
                      <a:pt x="450" y="60"/>
                    </a:lnTo>
                    <a:lnTo>
                      <a:pt x="330" y="120"/>
                    </a:lnTo>
                    <a:lnTo>
                      <a:pt x="210" y="30"/>
                    </a:lnTo>
                    <a:lnTo>
                      <a:pt x="90" y="0"/>
                    </a:lnTo>
                    <a:lnTo>
                      <a:pt x="150" y="9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17" name="Freeform 2422">
                <a:extLst>
                  <a:ext uri="{FF2B5EF4-FFF2-40B4-BE49-F238E27FC236}">
                    <a16:creationId xmlns:a16="http://schemas.microsoft.com/office/drawing/2014/main" id="{4EDDF819-84BC-4F58-B3E4-515AC59D0DD1}"/>
                  </a:ext>
                </a:extLst>
              </p:cNvPr>
              <p:cNvSpPr>
                <a:spLocks/>
              </p:cNvSpPr>
              <p:nvPr/>
            </p:nvSpPr>
            <p:spPr bwMode="auto">
              <a:xfrm>
                <a:off x="3105" y="1440"/>
                <a:ext cx="180" cy="150"/>
              </a:xfrm>
              <a:custGeom>
                <a:avLst/>
                <a:gdLst>
                  <a:gd name="T0" fmla="*/ 180 w 180"/>
                  <a:gd name="T1" fmla="*/ 0 h 150"/>
                  <a:gd name="T2" fmla="*/ 90 w 180"/>
                  <a:gd name="T3" fmla="*/ 90 h 150"/>
                  <a:gd name="T4" fmla="*/ 0 w 180"/>
                  <a:gd name="T5" fmla="*/ 150 h 150"/>
                </a:gdLst>
                <a:ahLst/>
                <a:cxnLst>
                  <a:cxn ang="0">
                    <a:pos x="T0" y="T1"/>
                  </a:cxn>
                  <a:cxn ang="0">
                    <a:pos x="T2" y="T3"/>
                  </a:cxn>
                  <a:cxn ang="0">
                    <a:pos x="T4" y="T5"/>
                  </a:cxn>
                </a:cxnLst>
                <a:rect l="0" t="0" r="r" b="b"/>
                <a:pathLst>
                  <a:path w="180" h="150">
                    <a:moveTo>
                      <a:pt x="180" y="0"/>
                    </a:moveTo>
                    <a:lnTo>
                      <a:pt x="90" y="9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18" name="Freeform 2423">
                <a:extLst>
                  <a:ext uri="{FF2B5EF4-FFF2-40B4-BE49-F238E27FC236}">
                    <a16:creationId xmlns:a16="http://schemas.microsoft.com/office/drawing/2014/main" id="{2BEACA64-9E26-46B3-9C37-17BE0D937302}"/>
                  </a:ext>
                </a:extLst>
              </p:cNvPr>
              <p:cNvSpPr>
                <a:spLocks/>
              </p:cNvSpPr>
              <p:nvPr/>
            </p:nvSpPr>
            <p:spPr bwMode="auto">
              <a:xfrm>
                <a:off x="2925" y="1260"/>
                <a:ext cx="390" cy="390"/>
              </a:xfrm>
              <a:custGeom>
                <a:avLst/>
                <a:gdLst>
                  <a:gd name="T0" fmla="*/ 270 w 390"/>
                  <a:gd name="T1" fmla="*/ 390 h 390"/>
                  <a:gd name="T2" fmla="*/ 390 w 390"/>
                  <a:gd name="T3" fmla="*/ 300 h 390"/>
                  <a:gd name="T4" fmla="*/ 360 w 390"/>
                  <a:gd name="T5" fmla="*/ 180 h 390"/>
                  <a:gd name="T6" fmla="*/ 240 w 390"/>
                  <a:gd name="T7" fmla="*/ 30 h 390"/>
                  <a:gd name="T8" fmla="*/ 0 w 390"/>
                  <a:gd name="T9" fmla="*/ 0 h 390"/>
                </a:gdLst>
                <a:ahLst/>
                <a:cxnLst>
                  <a:cxn ang="0">
                    <a:pos x="T0" y="T1"/>
                  </a:cxn>
                  <a:cxn ang="0">
                    <a:pos x="T2" y="T3"/>
                  </a:cxn>
                  <a:cxn ang="0">
                    <a:pos x="T4" y="T5"/>
                  </a:cxn>
                  <a:cxn ang="0">
                    <a:pos x="T6" y="T7"/>
                  </a:cxn>
                  <a:cxn ang="0">
                    <a:pos x="T8" y="T9"/>
                  </a:cxn>
                </a:cxnLst>
                <a:rect l="0" t="0" r="r" b="b"/>
                <a:pathLst>
                  <a:path w="390" h="390">
                    <a:moveTo>
                      <a:pt x="270" y="390"/>
                    </a:moveTo>
                    <a:lnTo>
                      <a:pt x="390" y="300"/>
                    </a:lnTo>
                    <a:lnTo>
                      <a:pt x="360" y="180"/>
                    </a:lnTo>
                    <a:lnTo>
                      <a:pt x="24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19" name="Freeform 2424">
                <a:extLst>
                  <a:ext uri="{FF2B5EF4-FFF2-40B4-BE49-F238E27FC236}">
                    <a16:creationId xmlns:a16="http://schemas.microsoft.com/office/drawing/2014/main" id="{8499081E-A1AB-4F48-BFE9-B9BAC78C248E}"/>
                  </a:ext>
                </a:extLst>
              </p:cNvPr>
              <p:cNvSpPr>
                <a:spLocks/>
              </p:cNvSpPr>
              <p:nvPr/>
            </p:nvSpPr>
            <p:spPr bwMode="auto">
              <a:xfrm>
                <a:off x="2445" y="1230"/>
                <a:ext cx="360" cy="210"/>
              </a:xfrm>
              <a:custGeom>
                <a:avLst/>
                <a:gdLst>
                  <a:gd name="T0" fmla="*/ 90 w 360"/>
                  <a:gd name="T1" fmla="*/ 60 h 210"/>
                  <a:gd name="T2" fmla="*/ 0 w 360"/>
                  <a:gd name="T3" fmla="*/ 180 h 210"/>
                  <a:gd name="T4" fmla="*/ 90 w 360"/>
                  <a:gd name="T5" fmla="*/ 210 h 210"/>
                  <a:gd name="T6" fmla="*/ 180 w 360"/>
                  <a:gd name="T7" fmla="*/ 180 h 210"/>
                  <a:gd name="T8" fmla="*/ 90 w 360"/>
                  <a:gd name="T9" fmla="*/ 60 h 210"/>
                  <a:gd name="T10" fmla="*/ 270 w 360"/>
                  <a:gd name="T11" fmla="*/ 60 h 210"/>
                  <a:gd name="T12" fmla="*/ 360 w 36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60" h="210">
                    <a:moveTo>
                      <a:pt x="90" y="60"/>
                    </a:moveTo>
                    <a:lnTo>
                      <a:pt x="0" y="180"/>
                    </a:lnTo>
                    <a:lnTo>
                      <a:pt x="90" y="210"/>
                    </a:lnTo>
                    <a:lnTo>
                      <a:pt x="180" y="180"/>
                    </a:lnTo>
                    <a:lnTo>
                      <a:pt x="90" y="60"/>
                    </a:lnTo>
                    <a:lnTo>
                      <a:pt x="270" y="60"/>
                    </a:lnTo>
                    <a:lnTo>
                      <a:pt x="3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20" name="Line 2425">
                <a:extLst>
                  <a:ext uri="{FF2B5EF4-FFF2-40B4-BE49-F238E27FC236}">
                    <a16:creationId xmlns:a16="http://schemas.microsoft.com/office/drawing/2014/main" id="{18AC039B-9A64-4F17-A13F-3B2866E5B69B}"/>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21" name="Line 2426">
                <a:extLst>
                  <a:ext uri="{FF2B5EF4-FFF2-40B4-BE49-F238E27FC236}">
                    <a16:creationId xmlns:a16="http://schemas.microsoft.com/office/drawing/2014/main" id="{0F62DF9C-57AC-4A26-A985-3849134A16B2}"/>
                  </a:ext>
                </a:extLst>
              </p:cNvPr>
              <p:cNvSpPr>
                <a:spLocks noChangeShapeType="1"/>
              </p:cNvSpPr>
              <p:nvPr/>
            </p:nvSpPr>
            <p:spPr bwMode="auto">
              <a:xfrm flipH="1">
                <a:off x="3105" y="141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22" name="Freeform 2427">
                <a:extLst>
                  <a:ext uri="{FF2B5EF4-FFF2-40B4-BE49-F238E27FC236}">
                    <a16:creationId xmlns:a16="http://schemas.microsoft.com/office/drawing/2014/main" id="{65252C2C-5AF4-4617-92BF-45C231F5B247}"/>
                  </a:ext>
                </a:extLst>
              </p:cNvPr>
              <p:cNvSpPr>
                <a:spLocks/>
              </p:cNvSpPr>
              <p:nvPr/>
            </p:nvSpPr>
            <p:spPr bwMode="auto">
              <a:xfrm>
                <a:off x="2505" y="2490"/>
                <a:ext cx="450" cy="300"/>
              </a:xfrm>
              <a:custGeom>
                <a:avLst/>
                <a:gdLst>
                  <a:gd name="T0" fmla="*/ 180 w 450"/>
                  <a:gd name="T1" fmla="*/ 300 h 300"/>
                  <a:gd name="T2" fmla="*/ 300 w 450"/>
                  <a:gd name="T3" fmla="*/ 240 h 300"/>
                  <a:gd name="T4" fmla="*/ 450 w 450"/>
                  <a:gd name="T5" fmla="*/ 300 h 300"/>
                  <a:gd name="T6" fmla="*/ 360 w 450"/>
                  <a:gd name="T7" fmla="*/ 90 h 300"/>
                  <a:gd name="T8" fmla="*/ 240 w 450"/>
                  <a:gd name="T9" fmla="*/ 150 h 300"/>
                  <a:gd name="T10" fmla="*/ 0 w 450"/>
                  <a:gd name="T11" fmla="*/ 0 h 300"/>
                </a:gdLst>
                <a:ahLst/>
                <a:cxnLst>
                  <a:cxn ang="0">
                    <a:pos x="T0" y="T1"/>
                  </a:cxn>
                  <a:cxn ang="0">
                    <a:pos x="T2" y="T3"/>
                  </a:cxn>
                  <a:cxn ang="0">
                    <a:pos x="T4" y="T5"/>
                  </a:cxn>
                  <a:cxn ang="0">
                    <a:pos x="T6" y="T7"/>
                  </a:cxn>
                  <a:cxn ang="0">
                    <a:pos x="T8" y="T9"/>
                  </a:cxn>
                  <a:cxn ang="0">
                    <a:pos x="T10" y="T11"/>
                  </a:cxn>
                </a:cxnLst>
                <a:rect l="0" t="0" r="r" b="b"/>
                <a:pathLst>
                  <a:path w="450" h="300">
                    <a:moveTo>
                      <a:pt x="180" y="300"/>
                    </a:moveTo>
                    <a:lnTo>
                      <a:pt x="300" y="240"/>
                    </a:lnTo>
                    <a:lnTo>
                      <a:pt x="450" y="300"/>
                    </a:lnTo>
                    <a:lnTo>
                      <a:pt x="360" y="9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23" name="Line 2428">
                <a:extLst>
                  <a:ext uri="{FF2B5EF4-FFF2-40B4-BE49-F238E27FC236}">
                    <a16:creationId xmlns:a16="http://schemas.microsoft.com/office/drawing/2014/main" id="{DC893E91-41F9-454D-ABDF-8B86A28EEBBC}"/>
                  </a:ext>
                </a:extLst>
              </p:cNvPr>
              <p:cNvSpPr>
                <a:spLocks noChangeShapeType="1"/>
              </p:cNvSpPr>
              <p:nvPr/>
            </p:nvSpPr>
            <p:spPr bwMode="auto">
              <a:xfrm flipV="1">
                <a:off x="2925" y="243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24" name="Freeform 2429">
                <a:extLst>
                  <a:ext uri="{FF2B5EF4-FFF2-40B4-BE49-F238E27FC236}">
                    <a16:creationId xmlns:a16="http://schemas.microsoft.com/office/drawing/2014/main" id="{5B53BC3B-823F-42EA-B079-04D3F975990B}"/>
                  </a:ext>
                </a:extLst>
              </p:cNvPr>
              <p:cNvSpPr>
                <a:spLocks/>
              </p:cNvSpPr>
              <p:nvPr/>
            </p:nvSpPr>
            <p:spPr bwMode="auto">
              <a:xfrm>
                <a:off x="2835" y="2070"/>
                <a:ext cx="300" cy="240"/>
              </a:xfrm>
              <a:custGeom>
                <a:avLst/>
                <a:gdLst>
                  <a:gd name="T0" fmla="*/ 180 w 300"/>
                  <a:gd name="T1" fmla="*/ 0 h 240"/>
                  <a:gd name="T2" fmla="*/ 0 w 300"/>
                  <a:gd name="T3" fmla="*/ 0 h 240"/>
                  <a:gd name="T4" fmla="*/ 60 w 300"/>
                  <a:gd name="T5" fmla="*/ 120 h 240"/>
                  <a:gd name="T6" fmla="*/ 180 w 300"/>
                  <a:gd name="T7" fmla="*/ 0 h 240"/>
                  <a:gd name="T8" fmla="*/ 300 w 300"/>
                  <a:gd name="T9" fmla="*/ 150 h 240"/>
                  <a:gd name="T10" fmla="*/ 150 w 300"/>
                  <a:gd name="T11" fmla="*/ 240 h 240"/>
                </a:gdLst>
                <a:ahLst/>
                <a:cxnLst>
                  <a:cxn ang="0">
                    <a:pos x="T0" y="T1"/>
                  </a:cxn>
                  <a:cxn ang="0">
                    <a:pos x="T2" y="T3"/>
                  </a:cxn>
                  <a:cxn ang="0">
                    <a:pos x="T4" y="T5"/>
                  </a:cxn>
                  <a:cxn ang="0">
                    <a:pos x="T6" y="T7"/>
                  </a:cxn>
                  <a:cxn ang="0">
                    <a:pos x="T8" y="T9"/>
                  </a:cxn>
                  <a:cxn ang="0">
                    <a:pos x="T10" y="T11"/>
                  </a:cxn>
                </a:cxnLst>
                <a:rect l="0" t="0" r="r" b="b"/>
                <a:pathLst>
                  <a:path w="300" h="240">
                    <a:moveTo>
                      <a:pt x="180" y="0"/>
                    </a:moveTo>
                    <a:lnTo>
                      <a:pt x="0" y="0"/>
                    </a:lnTo>
                    <a:lnTo>
                      <a:pt x="60" y="120"/>
                    </a:lnTo>
                    <a:lnTo>
                      <a:pt x="180" y="0"/>
                    </a:lnTo>
                    <a:lnTo>
                      <a:pt x="300" y="15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25" name="Line 2430">
                <a:extLst>
                  <a:ext uri="{FF2B5EF4-FFF2-40B4-BE49-F238E27FC236}">
                    <a16:creationId xmlns:a16="http://schemas.microsoft.com/office/drawing/2014/main" id="{E7A53E4B-C745-4837-8D8D-3BA5984C9C1C}"/>
                  </a:ext>
                </a:extLst>
              </p:cNvPr>
              <p:cNvSpPr>
                <a:spLocks noChangeShapeType="1"/>
              </p:cNvSpPr>
              <p:nvPr/>
            </p:nvSpPr>
            <p:spPr bwMode="auto">
              <a:xfrm>
                <a:off x="3135" y="204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26" name="Freeform 2431">
                <a:extLst>
                  <a:ext uri="{FF2B5EF4-FFF2-40B4-BE49-F238E27FC236}">
                    <a16:creationId xmlns:a16="http://schemas.microsoft.com/office/drawing/2014/main" id="{D3128581-2739-4DC9-A540-4EF812117DA7}"/>
                  </a:ext>
                </a:extLst>
              </p:cNvPr>
              <p:cNvSpPr>
                <a:spLocks/>
              </p:cNvSpPr>
              <p:nvPr/>
            </p:nvSpPr>
            <p:spPr bwMode="auto">
              <a:xfrm>
                <a:off x="2655" y="2310"/>
                <a:ext cx="690" cy="420"/>
              </a:xfrm>
              <a:custGeom>
                <a:avLst/>
                <a:gdLst>
                  <a:gd name="T0" fmla="*/ 120 w 690"/>
                  <a:gd name="T1" fmla="*/ 150 h 420"/>
                  <a:gd name="T2" fmla="*/ 330 w 690"/>
                  <a:gd name="T3" fmla="*/ 0 h 420"/>
                  <a:gd name="T4" fmla="*/ 180 w 690"/>
                  <a:gd name="T5" fmla="*/ 30 h 420"/>
                  <a:gd name="T6" fmla="*/ 270 w 690"/>
                  <a:gd name="T7" fmla="*/ 180 h 420"/>
                  <a:gd name="T8" fmla="*/ 0 w 690"/>
                  <a:gd name="T9" fmla="*/ 210 h 420"/>
                  <a:gd name="T10" fmla="*/ 210 w 690"/>
                  <a:gd name="T11" fmla="*/ 270 h 420"/>
                  <a:gd name="T12" fmla="*/ 330 w 690"/>
                  <a:gd name="T13" fmla="*/ 330 h 420"/>
                  <a:gd name="T14" fmla="*/ 420 w 690"/>
                  <a:gd name="T15" fmla="*/ 420 h 420"/>
                  <a:gd name="T16" fmla="*/ 450 w 690"/>
                  <a:gd name="T17" fmla="*/ 240 h 420"/>
                  <a:gd name="T18" fmla="*/ 570 w 690"/>
                  <a:gd name="T19" fmla="*/ 420 h 420"/>
                  <a:gd name="T20" fmla="*/ 690 w 690"/>
                  <a:gd name="T21" fmla="*/ 39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420">
                    <a:moveTo>
                      <a:pt x="120" y="150"/>
                    </a:moveTo>
                    <a:lnTo>
                      <a:pt x="330" y="0"/>
                    </a:lnTo>
                    <a:lnTo>
                      <a:pt x="180" y="30"/>
                    </a:lnTo>
                    <a:lnTo>
                      <a:pt x="270" y="180"/>
                    </a:lnTo>
                    <a:lnTo>
                      <a:pt x="0" y="210"/>
                    </a:lnTo>
                    <a:lnTo>
                      <a:pt x="210" y="270"/>
                    </a:lnTo>
                    <a:lnTo>
                      <a:pt x="330" y="330"/>
                    </a:lnTo>
                    <a:lnTo>
                      <a:pt x="420" y="420"/>
                    </a:lnTo>
                    <a:lnTo>
                      <a:pt x="450" y="240"/>
                    </a:lnTo>
                    <a:lnTo>
                      <a:pt x="570" y="420"/>
                    </a:lnTo>
                    <a:lnTo>
                      <a:pt x="690" y="3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27" name="Freeform 2432">
                <a:extLst>
                  <a:ext uri="{FF2B5EF4-FFF2-40B4-BE49-F238E27FC236}">
                    <a16:creationId xmlns:a16="http://schemas.microsoft.com/office/drawing/2014/main" id="{2171726E-F356-4FB6-AFC1-3A7815474C95}"/>
                  </a:ext>
                </a:extLst>
              </p:cNvPr>
              <p:cNvSpPr>
                <a:spLocks/>
              </p:cNvSpPr>
              <p:nvPr/>
            </p:nvSpPr>
            <p:spPr bwMode="auto">
              <a:xfrm>
                <a:off x="3465" y="249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28" name="Freeform 2433">
                <a:extLst>
                  <a:ext uri="{FF2B5EF4-FFF2-40B4-BE49-F238E27FC236}">
                    <a16:creationId xmlns:a16="http://schemas.microsoft.com/office/drawing/2014/main" id="{9E8B50B6-759A-49DB-9F3D-08BCB9CA1852}"/>
                  </a:ext>
                </a:extLst>
              </p:cNvPr>
              <p:cNvSpPr>
                <a:spLocks/>
              </p:cNvSpPr>
              <p:nvPr/>
            </p:nvSpPr>
            <p:spPr bwMode="auto">
              <a:xfrm>
                <a:off x="3615" y="231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29" name="Line 2434">
                <a:extLst>
                  <a:ext uri="{FF2B5EF4-FFF2-40B4-BE49-F238E27FC236}">
                    <a16:creationId xmlns:a16="http://schemas.microsoft.com/office/drawing/2014/main" id="{7EC29512-1342-4146-8FE3-F8F2EEE46077}"/>
                  </a:ext>
                </a:extLst>
              </p:cNvPr>
              <p:cNvSpPr>
                <a:spLocks noChangeShapeType="1"/>
              </p:cNvSpPr>
              <p:nvPr/>
            </p:nvSpPr>
            <p:spPr bwMode="auto">
              <a:xfrm>
                <a:off x="3944" y="231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30" name="Freeform 2435">
                <a:extLst>
                  <a:ext uri="{FF2B5EF4-FFF2-40B4-BE49-F238E27FC236}">
                    <a16:creationId xmlns:a16="http://schemas.microsoft.com/office/drawing/2014/main" id="{6EFBCDF2-8107-41DA-ADAD-54D005788638}"/>
                  </a:ext>
                </a:extLst>
              </p:cNvPr>
              <p:cNvSpPr>
                <a:spLocks/>
              </p:cNvSpPr>
              <p:nvPr/>
            </p:nvSpPr>
            <p:spPr bwMode="auto">
              <a:xfrm>
                <a:off x="3735" y="216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31" name="Freeform 2436">
                <a:extLst>
                  <a:ext uri="{FF2B5EF4-FFF2-40B4-BE49-F238E27FC236}">
                    <a16:creationId xmlns:a16="http://schemas.microsoft.com/office/drawing/2014/main" id="{361965EE-EA6A-450E-9271-A8A1775515E5}"/>
                  </a:ext>
                </a:extLst>
              </p:cNvPr>
              <p:cNvSpPr>
                <a:spLocks/>
              </p:cNvSpPr>
              <p:nvPr/>
            </p:nvSpPr>
            <p:spPr bwMode="auto">
              <a:xfrm>
                <a:off x="1786" y="216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32" name="Freeform 2437">
                <a:extLst>
                  <a:ext uri="{FF2B5EF4-FFF2-40B4-BE49-F238E27FC236}">
                    <a16:creationId xmlns:a16="http://schemas.microsoft.com/office/drawing/2014/main" id="{182F57ED-AB6F-44A9-B9F2-746D31E5AA54}"/>
                  </a:ext>
                </a:extLst>
              </p:cNvPr>
              <p:cNvSpPr>
                <a:spLocks/>
              </p:cNvSpPr>
              <p:nvPr/>
            </p:nvSpPr>
            <p:spPr bwMode="auto">
              <a:xfrm>
                <a:off x="2056" y="2100"/>
                <a:ext cx="719" cy="690"/>
              </a:xfrm>
              <a:custGeom>
                <a:avLst/>
                <a:gdLst>
                  <a:gd name="T0" fmla="*/ 119 w 719"/>
                  <a:gd name="T1" fmla="*/ 120 h 690"/>
                  <a:gd name="T2" fmla="*/ 0 w 719"/>
                  <a:gd name="T3" fmla="*/ 30 h 690"/>
                  <a:gd name="T4" fmla="*/ 209 w 719"/>
                  <a:gd name="T5" fmla="*/ 0 h 690"/>
                  <a:gd name="T6" fmla="*/ 299 w 719"/>
                  <a:gd name="T7" fmla="*/ 120 h 690"/>
                  <a:gd name="T8" fmla="*/ 389 w 719"/>
                  <a:gd name="T9" fmla="*/ 0 h 690"/>
                  <a:gd name="T10" fmla="*/ 209 w 719"/>
                  <a:gd name="T11" fmla="*/ 0 h 690"/>
                  <a:gd name="T12" fmla="*/ 209 w 719"/>
                  <a:gd name="T13" fmla="*/ 151 h 690"/>
                  <a:gd name="T14" fmla="*/ 119 w 719"/>
                  <a:gd name="T15" fmla="*/ 120 h 690"/>
                  <a:gd name="T16" fmla="*/ 89 w 719"/>
                  <a:gd name="T17" fmla="*/ 210 h 690"/>
                  <a:gd name="T18" fmla="*/ 89 w 719"/>
                  <a:gd name="T19" fmla="*/ 450 h 690"/>
                  <a:gd name="T20" fmla="*/ 209 w 719"/>
                  <a:gd name="T21" fmla="*/ 360 h 690"/>
                  <a:gd name="T22" fmla="*/ 298 w 719"/>
                  <a:gd name="T23" fmla="*/ 452 h 690"/>
                  <a:gd name="T24" fmla="*/ 269 w 719"/>
                  <a:gd name="T25" fmla="*/ 270 h 690"/>
                  <a:gd name="T26" fmla="*/ 359 w 719"/>
                  <a:gd name="T27" fmla="*/ 210 h 690"/>
                  <a:gd name="T28" fmla="*/ 479 w 719"/>
                  <a:gd name="T29" fmla="*/ 270 h 690"/>
                  <a:gd name="T30" fmla="*/ 359 w 719"/>
                  <a:gd name="T31" fmla="*/ 330 h 690"/>
                  <a:gd name="T32" fmla="*/ 449 w 719"/>
                  <a:gd name="T33" fmla="*/ 390 h 690"/>
                  <a:gd name="T34" fmla="*/ 719 w 719"/>
                  <a:gd name="T35" fmla="*/ 360 h 690"/>
                  <a:gd name="T36" fmla="*/ 599 w 719"/>
                  <a:gd name="T37" fmla="*/ 420 h 690"/>
                  <a:gd name="T38" fmla="*/ 629 w 719"/>
                  <a:gd name="T39" fmla="*/ 690 h 690"/>
                  <a:gd name="T40" fmla="*/ 419 w 719"/>
                  <a:gd name="T41" fmla="*/ 51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69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29" y="69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33" name="Freeform 2438">
                <a:extLst>
                  <a:ext uri="{FF2B5EF4-FFF2-40B4-BE49-F238E27FC236}">
                    <a16:creationId xmlns:a16="http://schemas.microsoft.com/office/drawing/2014/main" id="{1873DA00-0FCC-43F4-9D74-0B08833ABD25}"/>
                  </a:ext>
                </a:extLst>
              </p:cNvPr>
              <p:cNvSpPr>
                <a:spLocks/>
              </p:cNvSpPr>
              <p:nvPr/>
            </p:nvSpPr>
            <p:spPr bwMode="auto">
              <a:xfrm>
                <a:off x="1786" y="219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34" name="Freeform 2439">
                <a:extLst>
                  <a:ext uri="{FF2B5EF4-FFF2-40B4-BE49-F238E27FC236}">
                    <a16:creationId xmlns:a16="http://schemas.microsoft.com/office/drawing/2014/main" id="{4108DDCA-2665-487F-AF6E-9E4F8B390E39}"/>
                  </a:ext>
                </a:extLst>
              </p:cNvPr>
              <p:cNvSpPr>
                <a:spLocks/>
              </p:cNvSpPr>
              <p:nvPr/>
            </p:nvSpPr>
            <p:spPr bwMode="auto">
              <a:xfrm>
                <a:off x="1906" y="252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35" name="Freeform 2440">
                <a:extLst>
                  <a:ext uri="{FF2B5EF4-FFF2-40B4-BE49-F238E27FC236}">
                    <a16:creationId xmlns:a16="http://schemas.microsoft.com/office/drawing/2014/main" id="{4286D2D4-99FC-4185-B841-2E1EC60F8CCC}"/>
                  </a:ext>
                </a:extLst>
              </p:cNvPr>
              <p:cNvSpPr>
                <a:spLocks/>
              </p:cNvSpPr>
              <p:nvPr/>
            </p:nvSpPr>
            <p:spPr bwMode="auto">
              <a:xfrm>
                <a:off x="2056" y="540"/>
                <a:ext cx="899" cy="750"/>
              </a:xfrm>
              <a:custGeom>
                <a:avLst/>
                <a:gdLst>
                  <a:gd name="T0" fmla="*/ 299 w 899"/>
                  <a:gd name="T1" fmla="*/ 630 h 750"/>
                  <a:gd name="T2" fmla="*/ 268 w 899"/>
                  <a:gd name="T3" fmla="*/ 482 h 750"/>
                  <a:gd name="T4" fmla="*/ 179 w 899"/>
                  <a:gd name="T5" fmla="*/ 570 h 750"/>
                  <a:gd name="T6" fmla="*/ 59 w 899"/>
                  <a:gd name="T7" fmla="*/ 480 h 750"/>
                  <a:gd name="T8" fmla="*/ 0 w 899"/>
                  <a:gd name="T9" fmla="*/ 360 h 750"/>
                  <a:gd name="T10" fmla="*/ 59 w 899"/>
                  <a:gd name="T11" fmla="*/ 240 h 750"/>
                  <a:gd name="T12" fmla="*/ 179 w 899"/>
                  <a:gd name="T13" fmla="*/ 390 h 750"/>
                  <a:gd name="T14" fmla="*/ 239 w 899"/>
                  <a:gd name="T15" fmla="*/ 300 h 750"/>
                  <a:gd name="T16" fmla="*/ 329 w 899"/>
                  <a:gd name="T17" fmla="*/ 360 h 750"/>
                  <a:gd name="T18" fmla="*/ 329 w 899"/>
                  <a:gd name="T19" fmla="*/ 240 h 750"/>
                  <a:gd name="T20" fmla="*/ 179 w 899"/>
                  <a:gd name="T21" fmla="*/ 181 h 750"/>
                  <a:gd name="T22" fmla="*/ 269 w 899"/>
                  <a:gd name="T23" fmla="*/ 150 h 750"/>
                  <a:gd name="T24" fmla="*/ 389 w 899"/>
                  <a:gd name="T25" fmla="*/ 120 h 750"/>
                  <a:gd name="T26" fmla="*/ 449 w 899"/>
                  <a:gd name="T27" fmla="*/ 300 h 750"/>
                  <a:gd name="T28" fmla="*/ 539 w 899"/>
                  <a:gd name="T29" fmla="*/ 180 h 750"/>
                  <a:gd name="T30" fmla="*/ 509 w 899"/>
                  <a:gd name="T31" fmla="*/ 60 h 750"/>
                  <a:gd name="T32" fmla="*/ 359 w 899"/>
                  <a:gd name="T33" fmla="*/ 30 h 750"/>
                  <a:gd name="T34" fmla="*/ 569 w 899"/>
                  <a:gd name="T35" fmla="*/ 0 h 750"/>
                  <a:gd name="T36" fmla="*/ 689 w 899"/>
                  <a:gd name="T37" fmla="*/ 90 h 750"/>
                  <a:gd name="T38" fmla="*/ 659 w 899"/>
                  <a:gd name="T39" fmla="*/ 240 h 750"/>
                  <a:gd name="T40" fmla="*/ 749 w 899"/>
                  <a:gd name="T41" fmla="*/ 270 h 750"/>
                  <a:gd name="T42" fmla="*/ 809 w 899"/>
                  <a:gd name="T43" fmla="*/ 120 h 750"/>
                  <a:gd name="T44" fmla="*/ 899 w 899"/>
                  <a:gd name="T45" fmla="*/ 240 h 750"/>
                  <a:gd name="T46" fmla="*/ 839 w 899"/>
                  <a:gd name="T47" fmla="*/ 420 h 750"/>
                  <a:gd name="T48" fmla="*/ 779 w 899"/>
                  <a:gd name="T49" fmla="*/ 510 h 750"/>
                  <a:gd name="T50" fmla="*/ 689 w 899"/>
                  <a:gd name="T51" fmla="*/ 390 h 750"/>
                  <a:gd name="T52" fmla="*/ 539 w 899"/>
                  <a:gd name="T53" fmla="*/ 330 h 750"/>
                  <a:gd name="T54" fmla="*/ 569 w 899"/>
                  <a:gd name="T55" fmla="*/ 450 h 750"/>
                  <a:gd name="T56" fmla="*/ 419 w 899"/>
                  <a:gd name="T57" fmla="*/ 420 h 750"/>
                  <a:gd name="T58" fmla="*/ 389 w 899"/>
                  <a:gd name="T59" fmla="*/ 540 h 750"/>
                  <a:gd name="T60" fmla="*/ 509 w 899"/>
                  <a:gd name="T61" fmla="*/ 570 h 750"/>
                  <a:gd name="T62" fmla="*/ 659 w 899"/>
                  <a:gd name="T63" fmla="*/ 570 h 750"/>
                  <a:gd name="T64" fmla="*/ 659 w 899"/>
                  <a:gd name="T65"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9" h="750">
                    <a:moveTo>
                      <a:pt x="299" y="630"/>
                    </a:moveTo>
                    <a:lnTo>
                      <a:pt x="268" y="482"/>
                    </a:lnTo>
                    <a:lnTo>
                      <a:pt x="179" y="570"/>
                    </a:lnTo>
                    <a:lnTo>
                      <a:pt x="59" y="480"/>
                    </a:lnTo>
                    <a:lnTo>
                      <a:pt x="0" y="360"/>
                    </a:lnTo>
                    <a:lnTo>
                      <a:pt x="59" y="240"/>
                    </a:ln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659" y="7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36" name="Line 2441">
                <a:extLst>
                  <a:ext uri="{FF2B5EF4-FFF2-40B4-BE49-F238E27FC236}">
                    <a16:creationId xmlns:a16="http://schemas.microsoft.com/office/drawing/2014/main" id="{4AFC30B4-3A0B-49C6-B3E1-D58003C8B128}"/>
                  </a:ext>
                </a:extLst>
              </p:cNvPr>
              <p:cNvSpPr>
                <a:spLocks noChangeShapeType="1"/>
              </p:cNvSpPr>
              <p:nvPr/>
            </p:nvSpPr>
            <p:spPr bwMode="auto">
              <a:xfrm flipH="1">
                <a:off x="2115" y="72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37" name="Freeform 2442">
                <a:extLst>
                  <a:ext uri="{FF2B5EF4-FFF2-40B4-BE49-F238E27FC236}">
                    <a16:creationId xmlns:a16="http://schemas.microsoft.com/office/drawing/2014/main" id="{E56F881A-BDD1-4154-93ED-7B333A2D9606}"/>
                  </a:ext>
                </a:extLst>
              </p:cNvPr>
              <p:cNvSpPr>
                <a:spLocks/>
              </p:cNvSpPr>
              <p:nvPr/>
            </p:nvSpPr>
            <p:spPr bwMode="auto">
              <a:xfrm>
                <a:off x="2324" y="90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38" name="Freeform 2443">
                <a:extLst>
                  <a:ext uri="{FF2B5EF4-FFF2-40B4-BE49-F238E27FC236}">
                    <a16:creationId xmlns:a16="http://schemas.microsoft.com/office/drawing/2014/main" id="{353B2A5C-E68A-429B-93C4-7F105A019F64}"/>
                  </a:ext>
                </a:extLst>
              </p:cNvPr>
              <p:cNvSpPr>
                <a:spLocks/>
              </p:cNvSpPr>
              <p:nvPr/>
            </p:nvSpPr>
            <p:spPr bwMode="auto">
              <a:xfrm>
                <a:off x="238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39" name="Line 2444">
                <a:extLst>
                  <a:ext uri="{FF2B5EF4-FFF2-40B4-BE49-F238E27FC236}">
                    <a16:creationId xmlns:a16="http://schemas.microsoft.com/office/drawing/2014/main" id="{C2F9B333-C089-4808-8BA6-87B4207ADE2F}"/>
                  </a:ext>
                </a:extLst>
              </p:cNvPr>
              <p:cNvSpPr>
                <a:spLocks noChangeShapeType="1"/>
              </p:cNvSpPr>
              <p:nvPr/>
            </p:nvSpPr>
            <p:spPr bwMode="auto">
              <a:xfrm>
                <a:off x="244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40" name="Freeform 2445">
                <a:extLst>
                  <a:ext uri="{FF2B5EF4-FFF2-40B4-BE49-F238E27FC236}">
                    <a16:creationId xmlns:a16="http://schemas.microsoft.com/office/drawing/2014/main" id="{0C7D62AE-A08B-415C-B02D-938D031008C1}"/>
                  </a:ext>
                </a:extLst>
              </p:cNvPr>
              <p:cNvSpPr>
                <a:spLocks/>
              </p:cNvSpPr>
              <p:nvPr/>
            </p:nvSpPr>
            <p:spPr bwMode="auto">
              <a:xfrm>
                <a:off x="1966" y="600"/>
                <a:ext cx="599" cy="630"/>
              </a:xfrm>
              <a:custGeom>
                <a:avLst/>
                <a:gdLst>
                  <a:gd name="T0" fmla="*/ 599 w 599"/>
                  <a:gd name="T1" fmla="*/ 510 h 630"/>
                  <a:gd name="T2" fmla="*/ 389 w 599"/>
                  <a:gd name="T3" fmla="*/ 570 h 630"/>
                  <a:gd name="T4" fmla="*/ 269 w 599"/>
                  <a:gd name="T5" fmla="*/ 510 h 630"/>
                  <a:gd name="T6" fmla="*/ 90 w 599"/>
                  <a:gd name="T7" fmla="*/ 540 h 630"/>
                  <a:gd name="T8" fmla="*/ 0 w 599"/>
                  <a:gd name="T9" fmla="*/ 390 h 630"/>
                  <a:gd name="T10" fmla="*/ 0 w 599"/>
                  <a:gd name="T11" fmla="*/ 630 h 630"/>
                  <a:gd name="T12" fmla="*/ 90 w 599"/>
                  <a:gd name="T13" fmla="*/ 300 h 630"/>
                  <a:gd name="T14" fmla="*/ 0 w 599"/>
                  <a:gd name="T15" fmla="*/ 210 h 630"/>
                  <a:gd name="T16" fmla="*/ 0 w 599"/>
                  <a:gd name="T17" fmla="*/ 60 h 630"/>
                  <a:gd name="T18" fmla="*/ 60 w 599"/>
                  <a:gd name="T19" fmla="*/ 0 h 630"/>
                  <a:gd name="T20" fmla="*/ 149 w 599"/>
                  <a:gd name="T21" fmla="*/ 180 h 630"/>
                  <a:gd name="T22" fmla="*/ 329 w 599"/>
                  <a:gd name="T23" fmla="*/ 240 h 630"/>
                  <a:gd name="T24" fmla="*/ 359 w 599"/>
                  <a:gd name="T25" fmla="*/ 9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9" h="630">
                    <a:moveTo>
                      <a:pt x="599" y="510"/>
                    </a:move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41" name="Freeform 2446">
                <a:extLst>
                  <a:ext uri="{FF2B5EF4-FFF2-40B4-BE49-F238E27FC236}">
                    <a16:creationId xmlns:a16="http://schemas.microsoft.com/office/drawing/2014/main" id="{9C7EEA64-B8E7-415F-BA52-E9473D4EEB8E}"/>
                  </a:ext>
                </a:extLst>
              </p:cNvPr>
              <p:cNvSpPr>
                <a:spLocks/>
              </p:cNvSpPr>
              <p:nvPr/>
            </p:nvSpPr>
            <p:spPr bwMode="auto">
              <a:xfrm>
                <a:off x="3015" y="54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42" name="Freeform 2447">
                <a:extLst>
                  <a:ext uri="{FF2B5EF4-FFF2-40B4-BE49-F238E27FC236}">
                    <a16:creationId xmlns:a16="http://schemas.microsoft.com/office/drawing/2014/main" id="{F868928B-4F48-4B94-B6FF-598B0BE62540}"/>
                  </a:ext>
                </a:extLst>
              </p:cNvPr>
              <p:cNvSpPr>
                <a:spLocks/>
              </p:cNvSpPr>
              <p:nvPr/>
            </p:nvSpPr>
            <p:spPr bwMode="auto">
              <a:xfrm>
                <a:off x="3075" y="69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43" name="Freeform 2448">
                <a:extLst>
                  <a:ext uri="{FF2B5EF4-FFF2-40B4-BE49-F238E27FC236}">
                    <a16:creationId xmlns:a16="http://schemas.microsoft.com/office/drawing/2014/main" id="{69757DE4-DD63-4E89-AB04-90B3AF191CB9}"/>
                  </a:ext>
                </a:extLst>
              </p:cNvPr>
              <p:cNvSpPr>
                <a:spLocks/>
              </p:cNvSpPr>
              <p:nvPr/>
            </p:nvSpPr>
            <p:spPr bwMode="auto">
              <a:xfrm>
                <a:off x="2955" y="72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44" name="Freeform 2449">
                <a:extLst>
                  <a:ext uri="{FF2B5EF4-FFF2-40B4-BE49-F238E27FC236}">
                    <a16:creationId xmlns:a16="http://schemas.microsoft.com/office/drawing/2014/main" id="{348C7B46-C327-4984-84F2-86BF8D5224DE}"/>
                  </a:ext>
                </a:extLst>
              </p:cNvPr>
              <p:cNvSpPr>
                <a:spLocks/>
              </p:cNvSpPr>
              <p:nvPr/>
            </p:nvSpPr>
            <p:spPr bwMode="auto">
              <a:xfrm>
                <a:off x="3283" y="90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45" name="Freeform 2450">
                <a:extLst>
                  <a:ext uri="{FF2B5EF4-FFF2-40B4-BE49-F238E27FC236}">
                    <a16:creationId xmlns:a16="http://schemas.microsoft.com/office/drawing/2014/main" id="{12AD5C6A-5C8E-4CD0-9B7A-1D79FB005ED5}"/>
                  </a:ext>
                </a:extLst>
              </p:cNvPr>
              <p:cNvSpPr>
                <a:spLocks/>
              </p:cNvSpPr>
              <p:nvPr/>
            </p:nvSpPr>
            <p:spPr bwMode="auto">
              <a:xfrm>
                <a:off x="334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46" name="Line 2451">
                <a:extLst>
                  <a:ext uri="{FF2B5EF4-FFF2-40B4-BE49-F238E27FC236}">
                    <a16:creationId xmlns:a16="http://schemas.microsoft.com/office/drawing/2014/main" id="{B1A50EC1-E51C-4A43-A8D4-A273BE4878D9}"/>
                  </a:ext>
                </a:extLst>
              </p:cNvPr>
              <p:cNvSpPr>
                <a:spLocks noChangeShapeType="1"/>
              </p:cNvSpPr>
              <p:nvPr/>
            </p:nvSpPr>
            <p:spPr bwMode="auto">
              <a:xfrm>
                <a:off x="340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47" name="Freeform 2452">
                <a:extLst>
                  <a:ext uri="{FF2B5EF4-FFF2-40B4-BE49-F238E27FC236}">
                    <a16:creationId xmlns:a16="http://schemas.microsoft.com/office/drawing/2014/main" id="{70CA2AB6-7498-473F-8300-129033E91BC9}"/>
                  </a:ext>
                </a:extLst>
              </p:cNvPr>
              <p:cNvSpPr>
                <a:spLocks/>
              </p:cNvSpPr>
              <p:nvPr/>
            </p:nvSpPr>
            <p:spPr bwMode="auto">
              <a:xfrm>
                <a:off x="3075" y="780"/>
                <a:ext cx="450" cy="390"/>
              </a:xfrm>
              <a:custGeom>
                <a:avLst/>
                <a:gdLst>
                  <a:gd name="T0" fmla="*/ 450 w 450"/>
                  <a:gd name="T1" fmla="*/ 330 h 390"/>
                  <a:gd name="T2" fmla="*/ 240 w 450"/>
                  <a:gd name="T3" fmla="*/ 390 h 390"/>
                  <a:gd name="T4" fmla="*/ 120 w 450"/>
                  <a:gd name="T5" fmla="*/ 330 h 390"/>
                  <a:gd name="T6" fmla="*/ 0 w 450"/>
                  <a:gd name="T7" fmla="*/ 0 h 390"/>
                </a:gdLst>
                <a:ahLst/>
                <a:cxnLst>
                  <a:cxn ang="0">
                    <a:pos x="T0" y="T1"/>
                  </a:cxn>
                  <a:cxn ang="0">
                    <a:pos x="T2" y="T3"/>
                  </a:cxn>
                  <a:cxn ang="0">
                    <a:pos x="T4" y="T5"/>
                  </a:cxn>
                  <a:cxn ang="0">
                    <a:pos x="T6" y="T7"/>
                  </a:cxn>
                </a:cxnLst>
                <a:rect l="0" t="0" r="r" b="b"/>
                <a:pathLst>
                  <a:path w="450" h="390">
                    <a:moveTo>
                      <a:pt x="450" y="330"/>
                    </a:moveTo>
                    <a:lnTo>
                      <a:pt x="240" y="390"/>
                    </a:lnTo>
                    <a:lnTo>
                      <a:pt x="12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48" name="Freeform 2453">
                <a:extLst>
                  <a:ext uri="{FF2B5EF4-FFF2-40B4-BE49-F238E27FC236}">
                    <a16:creationId xmlns:a16="http://schemas.microsoft.com/office/drawing/2014/main" id="{142AFCE5-8170-47C1-9409-C0C720D1BD8B}"/>
                  </a:ext>
                </a:extLst>
              </p:cNvPr>
              <p:cNvSpPr>
                <a:spLocks/>
              </p:cNvSpPr>
              <p:nvPr/>
            </p:nvSpPr>
            <p:spPr bwMode="auto">
              <a:xfrm>
                <a:off x="2475" y="960"/>
                <a:ext cx="570" cy="300"/>
              </a:xfrm>
              <a:custGeom>
                <a:avLst/>
                <a:gdLst>
                  <a:gd name="T0" fmla="*/ 0 w 570"/>
                  <a:gd name="T1" fmla="*/ 0 h 300"/>
                  <a:gd name="T2" fmla="*/ 240 w 570"/>
                  <a:gd name="T3" fmla="*/ 150 h 300"/>
                  <a:gd name="T4" fmla="*/ 360 w 570"/>
                  <a:gd name="T5" fmla="*/ 90 h 300"/>
                  <a:gd name="T6" fmla="*/ 450 w 570"/>
                  <a:gd name="T7" fmla="*/ 300 h 300"/>
                  <a:gd name="T8" fmla="*/ 570 w 570"/>
                  <a:gd name="T9" fmla="*/ 240 h 300"/>
                </a:gdLst>
                <a:ahLst/>
                <a:cxnLst>
                  <a:cxn ang="0">
                    <a:pos x="T0" y="T1"/>
                  </a:cxn>
                  <a:cxn ang="0">
                    <a:pos x="T2" y="T3"/>
                  </a:cxn>
                  <a:cxn ang="0">
                    <a:pos x="T4" y="T5"/>
                  </a:cxn>
                  <a:cxn ang="0">
                    <a:pos x="T6" y="T7"/>
                  </a:cxn>
                  <a:cxn ang="0">
                    <a:pos x="T8" y="T9"/>
                  </a:cxn>
                </a:cxnLst>
                <a:rect l="0" t="0" r="r" b="b"/>
                <a:pathLst>
                  <a:path w="570" h="300">
                    <a:moveTo>
                      <a:pt x="0" y="0"/>
                    </a:moveTo>
                    <a:lnTo>
                      <a:pt x="240" y="150"/>
                    </a:lnTo>
                    <a:lnTo>
                      <a:pt x="360" y="90"/>
                    </a:lnTo>
                    <a:lnTo>
                      <a:pt x="450" y="300"/>
                    </a:lnTo>
                    <a:lnTo>
                      <a:pt x="57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49" name="Line 2454">
                <a:extLst>
                  <a:ext uri="{FF2B5EF4-FFF2-40B4-BE49-F238E27FC236}">
                    <a16:creationId xmlns:a16="http://schemas.microsoft.com/office/drawing/2014/main" id="{AC3221A5-7F4A-4C38-BEE0-6B92B721A7EF}"/>
                  </a:ext>
                </a:extLst>
              </p:cNvPr>
              <p:cNvSpPr>
                <a:spLocks noChangeShapeType="1"/>
              </p:cNvSpPr>
              <p:nvPr/>
            </p:nvSpPr>
            <p:spPr bwMode="auto">
              <a:xfrm flipV="1">
                <a:off x="2895" y="90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50" name="Line 2455">
                <a:extLst>
                  <a:ext uri="{FF2B5EF4-FFF2-40B4-BE49-F238E27FC236}">
                    <a16:creationId xmlns:a16="http://schemas.microsoft.com/office/drawing/2014/main" id="{C6304F65-7133-46BC-8CA6-781504B9F666}"/>
                  </a:ext>
                </a:extLst>
              </p:cNvPr>
              <p:cNvSpPr>
                <a:spLocks noChangeShapeType="1"/>
              </p:cNvSpPr>
              <p:nvPr/>
            </p:nvSpPr>
            <p:spPr bwMode="auto">
              <a:xfrm>
                <a:off x="3105" y="51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51" name="Freeform 2456">
                <a:extLst>
                  <a:ext uri="{FF2B5EF4-FFF2-40B4-BE49-F238E27FC236}">
                    <a16:creationId xmlns:a16="http://schemas.microsoft.com/office/drawing/2014/main" id="{689EC593-1FAC-4F1E-8E0E-6A21C30E36FB}"/>
                  </a:ext>
                </a:extLst>
              </p:cNvPr>
              <p:cNvSpPr>
                <a:spLocks/>
              </p:cNvSpPr>
              <p:nvPr/>
            </p:nvSpPr>
            <p:spPr bwMode="auto">
              <a:xfrm>
                <a:off x="3435" y="96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52" name="Freeform 2457">
                <a:extLst>
                  <a:ext uri="{FF2B5EF4-FFF2-40B4-BE49-F238E27FC236}">
                    <a16:creationId xmlns:a16="http://schemas.microsoft.com/office/drawing/2014/main" id="{F61B847D-B0A9-4153-BF89-265A76A951E0}"/>
                  </a:ext>
                </a:extLst>
              </p:cNvPr>
              <p:cNvSpPr>
                <a:spLocks/>
              </p:cNvSpPr>
              <p:nvPr/>
            </p:nvSpPr>
            <p:spPr bwMode="auto">
              <a:xfrm>
                <a:off x="3585" y="78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53" name="Line 2458">
                <a:extLst>
                  <a:ext uri="{FF2B5EF4-FFF2-40B4-BE49-F238E27FC236}">
                    <a16:creationId xmlns:a16="http://schemas.microsoft.com/office/drawing/2014/main" id="{1E77DA00-555C-46DF-9CF0-EB2C22011682}"/>
                  </a:ext>
                </a:extLst>
              </p:cNvPr>
              <p:cNvSpPr>
                <a:spLocks noChangeShapeType="1"/>
              </p:cNvSpPr>
              <p:nvPr/>
            </p:nvSpPr>
            <p:spPr bwMode="auto">
              <a:xfrm>
                <a:off x="3914" y="78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54" name="Freeform 2459">
                <a:extLst>
                  <a:ext uri="{FF2B5EF4-FFF2-40B4-BE49-F238E27FC236}">
                    <a16:creationId xmlns:a16="http://schemas.microsoft.com/office/drawing/2014/main" id="{9D4D9E45-4971-4008-AED3-9D02D948A90D}"/>
                  </a:ext>
                </a:extLst>
              </p:cNvPr>
              <p:cNvSpPr>
                <a:spLocks/>
              </p:cNvSpPr>
              <p:nvPr/>
            </p:nvSpPr>
            <p:spPr bwMode="auto">
              <a:xfrm>
                <a:off x="3705" y="63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55" name="Freeform 2460">
                <a:extLst>
                  <a:ext uri="{FF2B5EF4-FFF2-40B4-BE49-F238E27FC236}">
                    <a16:creationId xmlns:a16="http://schemas.microsoft.com/office/drawing/2014/main" id="{FC2CCD63-12F3-4088-8B1A-4AE6726DB98B}"/>
                  </a:ext>
                </a:extLst>
              </p:cNvPr>
              <p:cNvSpPr>
                <a:spLocks/>
              </p:cNvSpPr>
              <p:nvPr/>
            </p:nvSpPr>
            <p:spPr bwMode="auto">
              <a:xfrm>
                <a:off x="1756" y="63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56" name="Freeform 2461">
                <a:extLst>
                  <a:ext uri="{FF2B5EF4-FFF2-40B4-BE49-F238E27FC236}">
                    <a16:creationId xmlns:a16="http://schemas.microsoft.com/office/drawing/2014/main" id="{2EDA1C03-6EEE-40DD-95E2-3B5A7449E5BA}"/>
                  </a:ext>
                </a:extLst>
              </p:cNvPr>
              <p:cNvSpPr>
                <a:spLocks/>
              </p:cNvSpPr>
              <p:nvPr/>
            </p:nvSpPr>
            <p:spPr bwMode="auto">
              <a:xfrm>
                <a:off x="2026" y="570"/>
                <a:ext cx="719" cy="720"/>
              </a:xfrm>
              <a:custGeom>
                <a:avLst/>
                <a:gdLst>
                  <a:gd name="T0" fmla="*/ 119 w 719"/>
                  <a:gd name="T1" fmla="*/ 120 h 720"/>
                  <a:gd name="T2" fmla="*/ 0 w 719"/>
                  <a:gd name="T3" fmla="*/ 30 h 720"/>
                  <a:gd name="T4" fmla="*/ 209 w 719"/>
                  <a:gd name="T5" fmla="*/ 0 h 720"/>
                  <a:gd name="T6" fmla="*/ 299 w 719"/>
                  <a:gd name="T7" fmla="*/ 120 h 720"/>
                  <a:gd name="T8" fmla="*/ 389 w 719"/>
                  <a:gd name="T9" fmla="*/ 0 h 720"/>
                  <a:gd name="T10" fmla="*/ 209 w 719"/>
                  <a:gd name="T11" fmla="*/ 0 h 720"/>
                  <a:gd name="T12" fmla="*/ 209 w 719"/>
                  <a:gd name="T13" fmla="*/ 151 h 720"/>
                  <a:gd name="T14" fmla="*/ 119 w 719"/>
                  <a:gd name="T15" fmla="*/ 120 h 720"/>
                  <a:gd name="T16" fmla="*/ 89 w 719"/>
                  <a:gd name="T17" fmla="*/ 210 h 720"/>
                  <a:gd name="T18" fmla="*/ 89 w 719"/>
                  <a:gd name="T19" fmla="*/ 450 h 720"/>
                  <a:gd name="T20" fmla="*/ 209 w 719"/>
                  <a:gd name="T21" fmla="*/ 360 h 720"/>
                  <a:gd name="T22" fmla="*/ 298 w 719"/>
                  <a:gd name="T23" fmla="*/ 452 h 720"/>
                  <a:gd name="T24" fmla="*/ 269 w 719"/>
                  <a:gd name="T25" fmla="*/ 270 h 720"/>
                  <a:gd name="T26" fmla="*/ 359 w 719"/>
                  <a:gd name="T27" fmla="*/ 210 h 720"/>
                  <a:gd name="T28" fmla="*/ 479 w 719"/>
                  <a:gd name="T29" fmla="*/ 270 h 720"/>
                  <a:gd name="T30" fmla="*/ 359 w 719"/>
                  <a:gd name="T31" fmla="*/ 330 h 720"/>
                  <a:gd name="T32" fmla="*/ 449 w 719"/>
                  <a:gd name="T33" fmla="*/ 390 h 720"/>
                  <a:gd name="T34" fmla="*/ 719 w 719"/>
                  <a:gd name="T35" fmla="*/ 360 h 720"/>
                  <a:gd name="T36" fmla="*/ 599 w 719"/>
                  <a:gd name="T37" fmla="*/ 420 h 720"/>
                  <a:gd name="T38" fmla="*/ 689 w 719"/>
                  <a:gd name="T39" fmla="*/ 720 h 720"/>
                  <a:gd name="T40" fmla="*/ 419 w 719"/>
                  <a:gd name="T41" fmla="*/ 51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72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89" y="72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57" name="Freeform 2462">
                <a:extLst>
                  <a:ext uri="{FF2B5EF4-FFF2-40B4-BE49-F238E27FC236}">
                    <a16:creationId xmlns:a16="http://schemas.microsoft.com/office/drawing/2014/main" id="{04A52AD2-A18B-4734-A644-37E65B7BF506}"/>
                  </a:ext>
                </a:extLst>
              </p:cNvPr>
              <p:cNvSpPr>
                <a:spLocks/>
              </p:cNvSpPr>
              <p:nvPr/>
            </p:nvSpPr>
            <p:spPr bwMode="auto">
              <a:xfrm>
                <a:off x="1756" y="66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58" name="Freeform 2463">
                <a:extLst>
                  <a:ext uri="{FF2B5EF4-FFF2-40B4-BE49-F238E27FC236}">
                    <a16:creationId xmlns:a16="http://schemas.microsoft.com/office/drawing/2014/main" id="{17F0FCF7-85A9-4D8F-AFC5-5595CE9D883E}"/>
                  </a:ext>
                </a:extLst>
              </p:cNvPr>
              <p:cNvSpPr>
                <a:spLocks/>
              </p:cNvSpPr>
              <p:nvPr/>
            </p:nvSpPr>
            <p:spPr bwMode="auto">
              <a:xfrm>
                <a:off x="1876" y="99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59" name="Freeform 2464">
                <a:extLst>
                  <a:ext uri="{FF2B5EF4-FFF2-40B4-BE49-F238E27FC236}">
                    <a16:creationId xmlns:a16="http://schemas.microsoft.com/office/drawing/2014/main" id="{42314C0C-0BA4-4795-BB11-4E8D9F8711DE}"/>
                  </a:ext>
                </a:extLst>
              </p:cNvPr>
              <p:cNvSpPr>
                <a:spLocks/>
              </p:cNvSpPr>
              <p:nvPr/>
            </p:nvSpPr>
            <p:spPr bwMode="auto">
              <a:xfrm>
                <a:off x="2355" y="1170"/>
                <a:ext cx="360" cy="120"/>
              </a:xfrm>
              <a:custGeom>
                <a:avLst/>
                <a:gdLst>
                  <a:gd name="T0" fmla="*/ 360 w 360"/>
                  <a:gd name="T1" fmla="*/ 120 h 120"/>
                  <a:gd name="T2" fmla="*/ 150 w 360"/>
                  <a:gd name="T3" fmla="*/ 30 h 120"/>
                  <a:gd name="T4" fmla="*/ 0 w 360"/>
                  <a:gd name="T5" fmla="*/ 0 h 120"/>
                </a:gdLst>
                <a:ahLst/>
                <a:cxnLst>
                  <a:cxn ang="0">
                    <a:pos x="T0" y="T1"/>
                  </a:cxn>
                  <a:cxn ang="0">
                    <a:pos x="T2" y="T3"/>
                  </a:cxn>
                  <a:cxn ang="0">
                    <a:pos x="T4" y="T5"/>
                  </a:cxn>
                </a:cxnLst>
                <a:rect l="0" t="0" r="r" b="b"/>
                <a:pathLst>
                  <a:path w="360" h="120">
                    <a:moveTo>
                      <a:pt x="360" y="120"/>
                    </a:moveTo>
                    <a:lnTo>
                      <a:pt x="15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60" name="Freeform 2465">
                <a:extLst>
                  <a:ext uri="{FF2B5EF4-FFF2-40B4-BE49-F238E27FC236}">
                    <a16:creationId xmlns:a16="http://schemas.microsoft.com/office/drawing/2014/main" id="{10E15FA7-2F83-45BD-A9F3-BDD4EF64A39B}"/>
                  </a:ext>
                </a:extLst>
              </p:cNvPr>
              <p:cNvSpPr>
                <a:spLocks/>
              </p:cNvSpPr>
              <p:nvPr/>
            </p:nvSpPr>
            <p:spPr bwMode="auto">
              <a:xfrm>
                <a:off x="2235" y="930"/>
                <a:ext cx="720" cy="360"/>
              </a:xfrm>
              <a:custGeom>
                <a:avLst/>
                <a:gdLst>
                  <a:gd name="T0" fmla="*/ 510 w 720"/>
                  <a:gd name="T1" fmla="*/ 0 h 360"/>
                  <a:gd name="T2" fmla="*/ 570 w 720"/>
                  <a:gd name="T3" fmla="*/ 300 h 360"/>
                  <a:gd name="T4" fmla="*/ 720 w 720"/>
                  <a:gd name="T5" fmla="*/ 180 h 360"/>
                  <a:gd name="T6" fmla="*/ 480 w 720"/>
                  <a:gd name="T7" fmla="*/ 180 h 360"/>
                  <a:gd name="T8" fmla="*/ 300 w 720"/>
                  <a:gd name="T9" fmla="*/ 360 h 360"/>
                  <a:gd name="T10" fmla="*/ 270 w 720"/>
                  <a:gd name="T11" fmla="*/ 270 h 360"/>
                  <a:gd name="T12" fmla="*/ 120 w 720"/>
                  <a:gd name="T13" fmla="*/ 360 h 360"/>
                  <a:gd name="T14" fmla="*/ 0 w 720"/>
                  <a:gd name="T15" fmla="*/ 301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0" h="360">
                    <a:moveTo>
                      <a:pt x="510" y="0"/>
                    </a:moveTo>
                    <a:lnTo>
                      <a:pt x="570" y="300"/>
                    </a:lnTo>
                    <a:lnTo>
                      <a:pt x="720" y="180"/>
                    </a:lnTo>
                    <a:lnTo>
                      <a:pt x="480" y="180"/>
                    </a:lnTo>
                    <a:lnTo>
                      <a:pt x="300" y="360"/>
                    </a:lnTo>
                    <a:lnTo>
                      <a:pt x="270" y="270"/>
                    </a:lnTo>
                    <a:lnTo>
                      <a:pt x="120" y="360"/>
                    </a:lnTo>
                    <a:lnTo>
                      <a:pt x="0" y="301"/>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61" name="Freeform 2466">
                <a:extLst>
                  <a:ext uri="{FF2B5EF4-FFF2-40B4-BE49-F238E27FC236}">
                    <a16:creationId xmlns:a16="http://schemas.microsoft.com/office/drawing/2014/main" id="{53485123-A17E-4124-BD34-F5058A232604}"/>
                  </a:ext>
                </a:extLst>
              </p:cNvPr>
              <p:cNvSpPr>
                <a:spLocks/>
              </p:cNvSpPr>
              <p:nvPr/>
            </p:nvSpPr>
            <p:spPr bwMode="auto">
              <a:xfrm>
                <a:off x="3045" y="1200"/>
                <a:ext cx="150" cy="90"/>
              </a:xfrm>
              <a:custGeom>
                <a:avLst/>
                <a:gdLst>
                  <a:gd name="T0" fmla="*/ 150 w 150"/>
                  <a:gd name="T1" fmla="*/ 0 h 90"/>
                  <a:gd name="T2" fmla="*/ 0 w 150"/>
                  <a:gd name="T3" fmla="*/ 0 h 90"/>
                  <a:gd name="T4" fmla="*/ 120 w 150"/>
                  <a:gd name="T5" fmla="*/ 90 h 90"/>
                  <a:gd name="T6" fmla="*/ 150 w 150"/>
                  <a:gd name="T7" fmla="*/ 0 h 90"/>
                </a:gdLst>
                <a:ahLst/>
                <a:cxnLst>
                  <a:cxn ang="0">
                    <a:pos x="T0" y="T1"/>
                  </a:cxn>
                  <a:cxn ang="0">
                    <a:pos x="T2" y="T3"/>
                  </a:cxn>
                  <a:cxn ang="0">
                    <a:pos x="T4" y="T5"/>
                  </a:cxn>
                  <a:cxn ang="0">
                    <a:pos x="T6" y="T7"/>
                  </a:cxn>
                </a:cxnLst>
                <a:rect l="0" t="0" r="r" b="b"/>
                <a:pathLst>
                  <a:path w="150" h="90">
                    <a:moveTo>
                      <a:pt x="150" y="0"/>
                    </a:moveTo>
                    <a:lnTo>
                      <a:pt x="0" y="0"/>
                    </a:lnTo>
                    <a:lnTo>
                      <a:pt x="120" y="90"/>
                    </a:lnTo>
                    <a:lnTo>
                      <a:pt x="15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62" name="Freeform 2467">
                <a:extLst>
                  <a:ext uri="{FF2B5EF4-FFF2-40B4-BE49-F238E27FC236}">
                    <a16:creationId xmlns:a16="http://schemas.microsoft.com/office/drawing/2014/main" id="{AA25D5C5-2580-40F4-BBBA-B0DB837C174D}"/>
                  </a:ext>
                </a:extLst>
              </p:cNvPr>
              <p:cNvSpPr>
                <a:spLocks/>
              </p:cNvSpPr>
              <p:nvPr/>
            </p:nvSpPr>
            <p:spPr bwMode="auto">
              <a:xfrm>
                <a:off x="1696" y="480"/>
                <a:ext cx="390" cy="360"/>
              </a:xfrm>
              <a:custGeom>
                <a:avLst/>
                <a:gdLst>
                  <a:gd name="T0" fmla="*/ 180 w 390"/>
                  <a:gd name="T1" fmla="*/ 360 h 360"/>
                  <a:gd name="T2" fmla="*/ 150 w 390"/>
                  <a:gd name="T3" fmla="*/ 150 h 360"/>
                  <a:gd name="T4" fmla="*/ 30 w 390"/>
                  <a:gd name="T5" fmla="*/ 0 h 360"/>
                  <a:gd name="T6" fmla="*/ 330 w 390"/>
                  <a:gd name="T7" fmla="*/ 120 h 360"/>
                  <a:gd name="T8" fmla="*/ 390 w 390"/>
                  <a:gd name="T9" fmla="*/ 0 h 360"/>
                  <a:gd name="T10" fmla="*/ 210 w 390"/>
                  <a:gd name="T11" fmla="*/ 30 h 360"/>
                  <a:gd name="T12" fmla="*/ 0 w 390"/>
                  <a:gd name="T13" fmla="*/ 180 h 360"/>
                  <a:gd name="T14" fmla="*/ 270 w 390"/>
                  <a:gd name="T15" fmla="*/ 33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360">
                    <a:moveTo>
                      <a:pt x="180" y="360"/>
                    </a:moveTo>
                    <a:lnTo>
                      <a:pt x="150" y="150"/>
                    </a:lnTo>
                    <a:lnTo>
                      <a:pt x="30" y="0"/>
                    </a:lnTo>
                    <a:lnTo>
                      <a:pt x="330" y="120"/>
                    </a:lnTo>
                    <a:lnTo>
                      <a:pt x="390" y="0"/>
                    </a:lnTo>
                    <a:lnTo>
                      <a:pt x="210" y="30"/>
                    </a:lnTo>
                    <a:lnTo>
                      <a:pt x="0" y="180"/>
                    </a:lnTo>
                    <a:lnTo>
                      <a:pt x="27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63" name="Line 2468">
                <a:extLst>
                  <a:ext uri="{FF2B5EF4-FFF2-40B4-BE49-F238E27FC236}">
                    <a16:creationId xmlns:a16="http://schemas.microsoft.com/office/drawing/2014/main" id="{6A71528E-0838-4F58-A950-707C4F8BD11D}"/>
                  </a:ext>
                </a:extLst>
              </p:cNvPr>
              <p:cNvSpPr>
                <a:spLocks noChangeShapeType="1"/>
              </p:cNvSpPr>
              <p:nvPr/>
            </p:nvSpPr>
            <p:spPr bwMode="auto">
              <a:xfrm flipV="1">
                <a:off x="1846" y="510"/>
                <a:ext cx="6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64" name="Freeform 2469">
                <a:extLst>
                  <a:ext uri="{FF2B5EF4-FFF2-40B4-BE49-F238E27FC236}">
                    <a16:creationId xmlns:a16="http://schemas.microsoft.com/office/drawing/2014/main" id="{A46C0761-4BCC-4D16-BA57-ED4C3B9AADAB}"/>
                  </a:ext>
                </a:extLst>
              </p:cNvPr>
              <p:cNvSpPr>
                <a:spLocks/>
              </p:cNvSpPr>
              <p:nvPr/>
            </p:nvSpPr>
            <p:spPr bwMode="auto">
              <a:xfrm>
                <a:off x="2086" y="450"/>
                <a:ext cx="239" cy="120"/>
              </a:xfrm>
              <a:custGeom>
                <a:avLst/>
                <a:gdLst>
                  <a:gd name="T0" fmla="*/ 239 w 239"/>
                  <a:gd name="T1" fmla="*/ 0 h 120"/>
                  <a:gd name="T2" fmla="*/ 0 w 239"/>
                  <a:gd name="T3" fmla="*/ 30 h 120"/>
                  <a:gd name="T4" fmla="*/ 149 w 239"/>
                  <a:gd name="T5" fmla="*/ 120 h 120"/>
                  <a:gd name="T6" fmla="*/ 239 w 239"/>
                  <a:gd name="T7" fmla="*/ 0 h 120"/>
                </a:gdLst>
                <a:ahLst/>
                <a:cxnLst>
                  <a:cxn ang="0">
                    <a:pos x="T0" y="T1"/>
                  </a:cxn>
                  <a:cxn ang="0">
                    <a:pos x="T2" y="T3"/>
                  </a:cxn>
                  <a:cxn ang="0">
                    <a:pos x="T4" y="T5"/>
                  </a:cxn>
                  <a:cxn ang="0">
                    <a:pos x="T6" y="T7"/>
                  </a:cxn>
                </a:cxnLst>
                <a:rect l="0" t="0" r="r" b="b"/>
                <a:pathLst>
                  <a:path w="239" h="120">
                    <a:moveTo>
                      <a:pt x="239" y="0"/>
                    </a:moveTo>
                    <a:lnTo>
                      <a:pt x="0" y="30"/>
                    </a:lnTo>
                    <a:lnTo>
                      <a:pt x="149" y="120"/>
                    </a:lnTo>
                    <a:lnTo>
                      <a:pt x="239"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65" name="Line 2470">
                <a:extLst>
                  <a:ext uri="{FF2B5EF4-FFF2-40B4-BE49-F238E27FC236}">
                    <a16:creationId xmlns:a16="http://schemas.microsoft.com/office/drawing/2014/main" id="{D8039BE9-7411-4E7D-B7A1-5E1EA7FF7BCA}"/>
                  </a:ext>
                </a:extLst>
              </p:cNvPr>
              <p:cNvSpPr>
                <a:spLocks noChangeShapeType="1"/>
              </p:cNvSpPr>
              <p:nvPr/>
            </p:nvSpPr>
            <p:spPr bwMode="auto">
              <a:xfrm>
                <a:off x="2625" y="540"/>
                <a:ext cx="18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66" name="Freeform 2471">
                <a:extLst>
                  <a:ext uri="{FF2B5EF4-FFF2-40B4-BE49-F238E27FC236}">
                    <a16:creationId xmlns:a16="http://schemas.microsoft.com/office/drawing/2014/main" id="{F8EF5315-2D00-41E9-8341-122B61B82C76}"/>
                  </a:ext>
                </a:extLst>
              </p:cNvPr>
              <p:cNvSpPr>
                <a:spLocks/>
              </p:cNvSpPr>
              <p:nvPr/>
            </p:nvSpPr>
            <p:spPr bwMode="auto">
              <a:xfrm>
                <a:off x="2805" y="450"/>
                <a:ext cx="300" cy="330"/>
              </a:xfrm>
              <a:custGeom>
                <a:avLst/>
                <a:gdLst>
                  <a:gd name="T0" fmla="*/ 90 w 300"/>
                  <a:gd name="T1" fmla="*/ 0 h 330"/>
                  <a:gd name="T2" fmla="*/ 180 w 300"/>
                  <a:gd name="T3" fmla="*/ 90 h 330"/>
                  <a:gd name="T4" fmla="*/ 0 w 300"/>
                  <a:gd name="T5" fmla="*/ 90 h 330"/>
                  <a:gd name="T6" fmla="*/ 60 w 300"/>
                  <a:gd name="T7" fmla="*/ 210 h 330"/>
                  <a:gd name="T8" fmla="*/ 180 w 300"/>
                  <a:gd name="T9" fmla="*/ 90 h 330"/>
                  <a:gd name="T10" fmla="*/ 300 w 300"/>
                  <a:gd name="T11" fmla="*/ 240 h 330"/>
                  <a:gd name="T12" fmla="*/ 150 w 300"/>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300" h="330">
                    <a:moveTo>
                      <a:pt x="90" y="0"/>
                    </a:moveTo>
                    <a:lnTo>
                      <a:pt x="180" y="90"/>
                    </a:lnTo>
                    <a:lnTo>
                      <a:pt x="0" y="90"/>
                    </a:lnTo>
                    <a:lnTo>
                      <a:pt x="60" y="210"/>
                    </a:lnTo>
                    <a:lnTo>
                      <a:pt x="180" y="90"/>
                    </a:lnTo>
                    <a:lnTo>
                      <a:pt x="300" y="240"/>
                    </a:lnTo>
                    <a:lnTo>
                      <a:pt x="15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67" name="Freeform 2472">
                <a:extLst>
                  <a:ext uri="{FF2B5EF4-FFF2-40B4-BE49-F238E27FC236}">
                    <a16:creationId xmlns:a16="http://schemas.microsoft.com/office/drawing/2014/main" id="{A5D6AD0C-DEB1-4861-BF87-F504299616C3}"/>
                  </a:ext>
                </a:extLst>
              </p:cNvPr>
              <p:cNvSpPr>
                <a:spLocks/>
              </p:cNvSpPr>
              <p:nvPr/>
            </p:nvSpPr>
            <p:spPr bwMode="auto">
              <a:xfrm>
                <a:off x="3195" y="480"/>
                <a:ext cx="180" cy="90"/>
              </a:xfrm>
              <a:custGeom>
                <a:avLst/>
                <a:gdLst>
                  <a:gd name="T0" fmla="*/ 0 w 180"/>
                  <a:gd name="T1" fmla="*/ 90 h 90"/>
                  <a:gd name="T2" fmla="*/ 90 w 180"/>
                  <a:gd name="T3" fmla="*/ 0 h 90"/>
                  <a:gd name="T4" fmla="*/ 180 w 180"/>
                  <a:gd name="T5" fmla="*/ 90 h 90"/>
                </a:gdLst>
                <a:ahLst/>
                <a:cxnLst>
                  <a:cxn ang="0">
                    <a:pos x="T0" y="T1"/>
                  </a:cxn>
                  <a:cxn ang="0">
                    <a:pos x="T2" y="T3"/>
                  </a:cxn>
                  <a:cxn ang="0">
                    <a:pos x="T4" y="T5"/>
                  </a:cxn>
                </a:cxnLst>
                <a:rect l="0" t="0" r="r" b="b"/>
                <a:pathLst>
                  <a:path w="180" h="90">
                    <a:moveTo>
                      <a:pt x="0" y="90"/>
                    </a:moveTo>
                    <a:lnTo>
                      <a:pt x="9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68" name="Freeform 2473">
                <a:extLst>
                  <a:ext uri="{FF2B5EF4-FFF2-40B4-BE49-F238E27FC236}">
                    <a16:creationId xmlns:a16="http://schemas.microsoft.com/office/drawing/2014/main" id="{C94B1659-ECF8-4089-8868-152CB42C18FF}"/>
                  </a:ext>
                </a:extLst>
              </p:cNvPr>
              <p:cNvSpPr>
                <a:spLocks/>
              </p:cNvSpPr>
              <p:nvPr/>
            </p:nvSpPr>
            <p:spPr bwMode="auto">
              <a:xfrm>
                <a:off x="3675" y="450"/>
                <a:ext cx="269" cy="210"/>
              </a:xfrm>
              <a:custGeom>
                <a:avLst/>
                <a:gdLst>
                  <a:gd name="T0" fmla="*/ 119 w 269"/>
                  <a:gd name="T1" fmla="*/ 60 h 210"/>
                  <a:gd name="T2" fmla="*/ 269 w 269"/>
                  <a:gd name="T3" fmla="*/ 30 h 210"/>
                  <a:gd name="T4" fmla="*/ 149 w 269"/>
                  <a:gd name="T5" fmla="*/ 210 h 210"/>
                  <a:gd name="T6" fmla="*/ 0 w 269"/>
                  <a:gd name="T7" fmla="*/ 0 h 210"/>
                  <a:gd name="T8" fmla="*/ 30 w 269"/>
                  <a:gd name="T9" fmla="*/ 180 h 210"/>
                </a:gdLst>
                <a:ahLst/>
                <a:cxnLst>
                  <a:cxn ang="0">
                    <a:pos x="T0" y="T1"/>
                  </a:cxn>
                  <a:cxn ang="0">
                    <a:pos x="T2" y="T3"/>
                  </a:cxn>
                  <a:cxn ang="0">
                    <a:pos x="T4" y="T5"/>
                  </a:cxn>
                  <a:cxn ang="0">
                    <a:pos x="T6" y="T7"/>
                  </a:cxn>
                  <a:cxn ang="0">
                    <a:pos x="T8" y="T9"/>
                  </a:cxn>
                </a:cxnLst>
                <a:rect l="0" t="0" r="r" b="b"/>
                <a:pathLst>
                  <a:path w="269" h="210">
                    <a:moveTo>
                      <a:pt x="119" y="60"/>
                    </a:moveTo>
                    <a:lnTo>
                      <a:pt x="269" y="30"/>
                    </a:lnTo>
                    <a:lnTo>
                      <a:pt x="149" y="210"/>
                    </a:lnTo>
                    <a:lnTo>
                      <a:pt x="0" y="0"/>
                    </a:lnTo>
                    <a:lnTo>
                      <a:pt x="3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69" name="Freeform 2474">
                <a:extLst>
                  <a:ext uri="{FF2B5EF4-FFF2-40B4-BE49-F238E27FC236}">
                    <a16:creationId xmlns:a16="http://schemas.microsoft.com/office/drawing/2014/main" id="{0745DFFF-9AA6-4CC5-A255-87BA5F82C8C9}"/>
                  </a:ext>
                </a:extLst>
              </p:cNvPr>
              <p:cNvSpPr>
                <a:spLocks/>
              </p:cNvSpPr>
              <p:nvPr/>
            </p:nvSpPr>
            <p:spPr bwMode="auto">
              <a:xfrm>
                <a:off x="1756"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70" name="Freeform 2475">
                <a:extLst>
                  <a:ext uri="{FF2B5EF4-FFF2-40B4-BE49-F238E27FC236}">
                    <a16:creationId xmlns:a16="http://schemas.microsoft.com/office/drawing/2014/main" id="{D44B3BA0-3780-4C15-92C0-BDF03082E29C}"/>
                  </a:ext>
                </a:extLst>
              </p:cNvPr>
              <p:cNvSpPr>
                <a:spLocks/>
              </p:cNvSpPr>
              <p:nvPr/>
            </p:nvSpPr>
            <p:spPr bwMode="auto">
              <a:xfrm>
                <a:off x="1936"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71" name="Freeform 2476">
                <a:extLst>
                  <a:ext uri="{FF2B5EF4-FFF2-40B4-BE49-F238E27FC236}">
                    <a16:creationId xmlns:a16="http://schemas.microsoft.com/office/drawing/2014/main" id="{6302EFE0-8003-4825-93A8-7C38FE602443}"/>
                  </a:ext>
                </a:extLst>
              </p:cNvPr>
              <p:cNvSpPr>
                <a:spLocks/>
              </p:cNvSpPr>
              <p:nvPr/>
            </p:nvSpPr>
            <p:spPr bwMode="auto">
              <a:xfrm>
                <a:off x="1876" y="1740"/>
                <a:ext cx="479" cy="270"/>
              </a:xfrm>
              <a:custGeom>
                <a:avLst/>
                <a:gdLst>
                  <a:gd name="T0" fmla="*/ 0 w 479"/>
                  <a:gd name="T1" fmla="*/ 90 h 270"/>
                  <a:gd name="T2" fmla="*/ 180 w 479"/>
                  <a:gd name="T3" fmla="*/ 30 h 270"/>
                  <a:gd name="T4" fmla="*/ 299 w 479"/>
                  <a:gd name="T5" fmla="*/ 150 h 270"/>
                  <a:gd name="T6" fmla="*/ 210 w 479"/>
                  <a:gd name="T7" fmla="*/ 270 h 270"/>
                  <a:gd name="T8" fmla="*/ 30 w 479"/>
                  <a:gd name="T9" fmla="*/ 270 h 270"/>
                  <a:gd name="T10" fmla="*/ 0 w 479"/>
                  <a:gd name="T11" fmla="*/ 90 h 270"/>
                  <a:gd name="T12" fmla="*/ 150 w 479"/>
                  <a:gd name="T13" fmla="*/ 150 h 270"/>
                  <a:gd name="T14" fmla="*/ 299 w 479"/>
                  <a:gd name="T15" fmla="*/ 0 h 270"/>
                  <a:gd name="T16" fmla="*/ 479 w 479"/>
                  <a:gd name="T17" fmla="*/ 210 h 270"/>
                  <a:gd name="T18" fmla="*/ 419 w 479"/>
                  <a:gd name="T19" fmla="*/ 6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70">
                    <a:moveTo>
                      <a:pt x="0" y="90"/>
                    </a:moveTo>
                    <a:lnTo>
                      <a:pt x="180" y="30"/>
                    </a:lnTo>
                    <a:lnTo>
                      <a:pt x="299" y="150"/>
                    </a:lnTo>
                    <a:lnTo>
                      <a:pt x="210" y="270"/>
                    </a:lnTo>
                    <a:lnTo>
                      <a:pt x="30" y="270"/>
                    </a:lnTo>
                    <a:lnTo>
                      <a:pt x="0" y="90"/>
                    </a:lnTo>
                    <a:lnTo>
                      <a:pt x="150" y="150"/>
                    </a:lnTo>
                    <a:lnTo>
                      <a:pt x="299" y="0"/>
                    </a:lnTo>
                    <a:lnTo>
                      <a:pt x="479" y="210"/>
                    </a:lnTo>
                    <a:lnTo>
                      <a:pt x="41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72" name="Freeform 2477">
                <a:extLst>
                  <a:ext uri="{FF2B5EF4-FFF2-40B4-BE49-F238E27FC236}">
                    <a16:creationId xmlns:a16="http://schemas.microsoft.com/office/drawing/2014/main" id="{A909F53E-F947-46FC-A466-382453816AD9}"/>
                  </a:ext>
                </a:extLst>
              </p:cNvPr>
              <p:cNvSpPr>
                <a:spLocks/>
              </p:cNvSpPr>
              <p:nvPr/>
            </p:nvSpPr>
            <p:spPr bwMode="auto">
              <a:xfrm>
                <a:off x="2026"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73" name="Freeform 2478">
                <a:extLst>
                  <a:ext uri="{FF2B5EF4-FFF2-40B4-BE49-F238E27FC236}">
                    <a16:creationId xmlns:a16="http://schemas.microsoft.com/office/drawing/2014/main" id="{77B290C9-EDE5-4701-AB53-3983A1877874}"/>
                  </a:ext>
                </a:extLst>
              </p:cNvPr>
              <p:cNvSpPr>
                <a:spLocks/>
              </p:cNvSpPr>
              <p:nvPr/>
            </p:nvSpPr>
            <p:spPr bwMode="auto">
              <a:xfrm>
                <a:off x="3405"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74" name="Freeform 2479">
                <a:extLst>
                  <a:ext uri="{FF2B5EF4-FFF2-40B4-BE49-F238E27FC236}">
                    <a16:creationId xmlns:a16="http://schemas.microsoft.com/office/drawing/2014/main" id="{D67EEFDD-9A33-41CF-90B7-9CE4B18AD8A9}"/>
                  </a:ext>
                </a:extLst>
              </p:cNvPr>
              <p:cNvSpPr>
                <a:spLocks/>
              </p:cNvSpPr>
              <p:nvPr/>
            </p:nvSpPr>
            <p:spPr bwMode="auto">
              <a:xfrm>
                <a:off x="3405" y="1290"/>
                <a:ext cx="300" cy="540"/>
              </a:xfrm>
              <a:custGeom>
                <a:avLst/>
                <a:gdLst>
                  <a:gd name="T0" fmla="*/ 0 w 300"/>
                  <a:gd name="T1" fmla="*/ 390 h 540"/>
                  <a:gd name="T2" fmla="*/ 180 w 300"/>
                  <a:gd name="T3" fmla="*/ 240 h 540"/>
                  <a:gd name="T4" fmla="*/ 0 w 300"/>
                  <a:gd name="T5" fmla="*/ 150 h 540"/>
                  <a:gd name="T6" fmla="*/ 120 w 300"/>
                  <a:gd name="T7" fmla="*/ 120 h 540"/>
                  <a:gd name="T8" fmla="*/ 300 w 300"/>
                  <a:gd name="T9" fmla="*/ 180 h 540"/>
                  <a:gd name="T10" fmla="*/ 270 w 300"/>
                  <a:gd name="T11" fmla="*/ 30 h 540"/>
                  <a:gd name="T12" fmla="*/ 120 w 300"/>
                  <a:gd name="T13" fmla="*/ 120 h 540"/>
                  <a:gd name="T14" fmla="*/ 30 w 300"/>
                  <a:gd name="T15" fmla="*/ 0 h 540"/>
                  <a:gd name="T16" fmla="*/ 0 w 300"/>
                  <a:gd name="T17" fmla="*/ 150 h 540"/>
                  <a:gd name="T18" fmla="*/ 30 w 300"/>
                  <a:gd name="T19" fmla="*/ 300 h 540"/>
                  <a:gd name="T20" fmla="*/ 0 w 300"/>
                  <a:gd name="T21" fmla="*/ 390 h 540"/>
                  <a:gd name="T22" fmla="*/ 120 w 300"/>
                  <a:gd name="T23"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0" h="540">
                    <a:moveTo>
                      <a:pt x="0" y="390"/>
                    </a:moveTo>
                    <a:lnTo>
                      <a:pt x="180" y="240"/>
                    </a:lnTo>
                    <a:lnTo>
                      <a:pt x="0" y="150"/>
                    </a:lnTo>
                    <a:lnTo>
                      <a:pt x="120" y="120"/>
                    </a:lnTo>
                    <a:lnTo>
                      <a:pt x="300" y="180"/>
                    </a:lnTo>
                    <a:lnTo>
                      <a:pt x="270" y="30"/>
                    </a:lnTo>
                    <a:lnTo>
                      <a:pt x="120" y="120"/>
                    </a:lnTo>
                    <a:lnTo>
                      <a:pt x="30" y="0"/>
                    </a:lnTo>
                    <a:lnTo>
                      <a:pt x="0" y="150"/>
                    </a:lnTo>
                    <a:lnTo>
                      <a:pt x="30" y="300"/>
                    </a:lnTo>
                    <a:lnTo>
                      <a:pt x="0" y="390"/>
                    </a:lnTo>
                    <a:lnTo>
                      <a:pt x="12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75" name="Freeform 2480">
                <a:extLst>
                  <a:ext uri="{FF2B5EF4-FFF2-40B4-BE49-F238E27FC236}">
                    <a16:creationId xmlns:a16="http://schemas.microsoft.com/office/drawing/2014/main" id="{2A697A62-6848-4AE8-A739-784C15EF4368}"/>
                  </a:ext>
                </a:extLst>
              </p:cNvPr>
              <p:cNvSpPr>
                <a:spLocks/>
              </p:cNvSpPr>
              <p:nvPr/>
            </p:nvSpPr>
            <p:spPr bwMode="auto">
              <a:xfrm>
                <a:off x="3585"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76" name="Freeform 2481">
                <a:extLst>
                  <a:ext uri="{FF2B5EF4-FFF2-40B4-BE49-F238E27FC236}">
                    <a16:creationId xmlns:a16="http://schemas.microsoft.com/office/drawing/2014/main" id="{1BB07CCF-F329-40F8-9E77-53BF4C5CFCD5}"/>
                  </a:ext>
                </a:extLst>
              </p:cNvPr>
              <p:cNvSpPr>
                <a:spLocks/>
              </p:cNvSpPr>
              <p:nvPr/>
            </p:nvSpPr>
            <p:spPr bwMode="auto">
              <a:xfrm>
                <a:off x="3405" y="1320"/>
                <a:ext cx="599" cy="750"/>
              </a:xfrm>
              <a:custGeom>
                <a:avLst/>
                <a:gdLst>
                  <a:gd name="T0" fmla="*/ 300 w 599"/>
                  <a:gd name="T1" fmla="*/ 150 h 750"/>
                  <a:gd name="T2" fmla="*/ 479 w 599"/>
                  <a:gd name="T3" fmla="*/ 210 h 750"/>
                  <a:gd name="T4" fmla="*/ 479 w 599"/>
                  <a:gd name="T5" fmla="*/ 60 h 750"/>
                  <a:gd name="T6" fmla="*/ 359 w 599"/>
                  <a:gd name="T7" fmla="*/ 300 h 750"/>
                  <a:gd name="T8" fmla="*/ 419 w 599"/>
                  <a:gd name="T9" fmla="*/ 420 h 750"/>
                  <a:gd name="T10" fmla="*/ 539 w 599"/>
                  <a:gd name="T11" fmla="*/ 480 h 750"/>
                  <a:gd name="T12" fmla="*/ 479 w 599"/>
                  <a:gd name="T13" fmla="*/ 210 h 750"/>
                  <a:gd name="T14" fmla="*/ 419 w 599"/>
                  <a:gd name="T15" fmla="*/ 420 h 750"/>
                  <a:gd name="T16" fmla="*/ 419 w 599"/>
                  <a:gd name="T17" fmla="*/ 570 h 750"/>
                  <a:gd name="T18" fmla="*/ 599 w 599"/>
                  <a:gd name="T19" fmla="*/ 630 h 750"/>
                  <a:gd name="T20" fmla="*/ 300 w 599"/>
                  <a:gd name="T21" fmla="*/ 660 h 750"/>
                  <a:gd name="T22" fmla="*/ 270 w 599"/>
                  <a:gd name="T23" fmla="*/ 570 h 750"/>
                  <a:gd name="T24" fmla="*/ 210 w 599"/>
                  <a:gd name="T25" fmla="*/ 750 h 750"/>
                  <a:gd name="T26" fmla="*/ 0 w 599"/>
                  <a:gd name="T27" fmla="*/ 600 h 750"/>
                  <a:gd name="T28" fmla="*/ 120 w 599"/>
                  <a:gd name="T29" fmla="*/ 510 h 750"/>
                  <a:gd name="T30" fmla="*/ 180 w 599"/>
                  <a:gd name="T31" fmla="*/ 360 h 750"/>
                  <a:gd name="T32" fmla="*/ 300 w 599"/>
                  <a:gd name="T33" fmla="*/ 450 h 750"/>
                  <a:gd name="T34" fmla="*/ 359 w 599"/>
                  <a:gd name="T35" fmla="*/ 300 h 750"/>
                  <a:gd name="T36" fmla="*/ 180 w 599"/>
                  <a:gd name="T37" fmla="*/ 210 h 750"/>
                  <a:gd name="T38" fmla="*/ 300 w 599"/>
                  <a:gd name="T39" fmla="*/ 150 h 750"/>
                  <a:gd name="T40" fmla="*/ 389 w 599"/>
                  <a:gd name="T41" fmla="*/ 90 h 750"/>
                  <a:gd name="T42" fmla="*/ 270 w 599"/>
                  <a:gd name="T43" fmla="*/ 0 h 750"/>
                  <a:gd name="T44" fmla="*/ 479 w 599"/>
                  <a:gd name="T45" fmla="*/ 6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9" h="750">
                    <a:moveTo>
                      <a:pt x="300" y="150"/>
                    </a:moveTo>
                    <a:lnTo>
                      <a:pt x="479" y="210"/>
                    </a:lnTo>
                    <a:lnTo>
                      <a:pt x="479" y="60"/>
                    </a:lnTo>
                    <a:lnTo>
                      <a:pt x="359" y="300"/>
                    </a:lnTo>
                    <a:lnTo>
                      <a:pt x="419" y="420"/>
                    </a:lnTo>
                    <a:lnTo>
                      <a:pt x="539" y="480"/>
                    </a:lnTo>
                    <a:lnTo>
                      <a:pt x="479" y="210"/>
                    </a:lnTo>
                    <a:lnTo>
                      <a:pt x="419" y="420"/>
                    </a:lnTo>
                    <a:lnTo>
                      <a:pt x="419" y="570"/>
                    </a:lnTo>
                    <a:lnTo>
                      <a:pt x="599" y="630"/>
                    </a:lnTo>
                    <a:lnTo>
                      <a:pt x="300" y="660"/>
                    </a:lnTo>
                    <a:lnTo>
                      <a:pt x="270" y="570"/>
                    </a:lnTo>
                    <a:lnTo>
                      <a:pt x="210" y="750"/>
                    </a:lnTo>
                    <a:lnTo>
                      <a:pt x="0" y="600"/>
                    </a:lnTo>
                    <a:lnTo>
                      <a:pt x="120" y="510"/>
                    </a:lnTo>
                    <a:lnTo>
                      <a:pt x="180" y="360"/>
                    </a:lnTo>
                    <a:lnTo>
                      <a:pt x="300" y="450"/>
                    </a:lnTo>
                    <a:lnTo>
                      <a:pt x="359" y="300"/>
                    </a:lnTo>
                    <a:lnTo>
                      <a:pt x="180" y="210"/>
                    </a:lnTo>
                    <a:lnTo>
                      <a:pt x="300" y="150"/>
                    </a:lnTo>
                    <a:lnTo>
                      <a:pt x="389" y="90"/>
                    </a:lnTo>
                    <a:lnTo>
                      <a:pt x="270" y="0"/>
                    </a:lnTo>
                    <a:lnTo>
                      <a:pt x="47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77" name="Freeform 2482">
                <a:extLst>
                  <a:ext uri="{FF2B5EF4-FFF2-40B4-BE49-F238E27FC236}">
                    <a16:creationId xmlns:a16="http://schemas.microsoft.com/office/drawing/2014/main" id="{5078D779-D948-4D73-8E5E-A63848B87D8A}"/>
                  </a:ext>
                </a:extLst>
              </p:cNvPr>
              <p:cNvSpPr>
                <a:spLocks/>
              </p:cNvSpPr>
              <p:nvPr/>
            </p:nvSpPr>
            <p:spPr bwMode="auto">
              <a:xfrm>
                <a:off x="3525" y="1770"/>
                <a:ext cx="299" cy="210"/>
              </a:xfrm>
              <a:custGeom>
                <a:avLst/>
                <a:gdLst>
                  <a:gd name="T0" fmla="*/ 0 w 299"/>
                  <a:gd name="T1" fmla="*/ 60 h 210"/>
                  <a:gd name="T2" fmla="*/ 180 w 299"/>
                  <a:gd name="T3" fmla="*/ 0 h 210"/>
                  <a:gd name="T4" fmla="*/ 299 w 299"/>
                  <a:gd name="T5" fmla="*/ 120 h 210"/>
                  <a:gd name="T6" fmla="*/ 180 w 299"/>
                  <a:gd name="T7" fmla="*/ 210 h 210"/>
                </a:gdLst>
                <a:ahLst/>
                <a:cxnLst>
                  <a:cxn ang="0">
                    <a:pos x="T0" y="T1"/>
                  </a:cxn>
                  <a:cxn ang="0">
                    <a:pos x="T2" y="T3"/>
                  </a:cxn>
                  <a:cxn ang="0">
                    <a:pos x="T4" y="T5"/>
                  </a:cxn>
                  <a:cxn ang="0">
                    <a:pos x="T6" y="T7"/>
                  </a:cxn>
                </a:cxnLst>
                <a:rect l="0" t="0" r="r" b="b"/>
                <a:pathLst>
                  <a:path w="299" h="210">
                    <a:moveTo>
                      <a:pt x="0" y="60"/>
                    </a:moveTo>
                    <a:lnTo>
                      <a:pt x="180" y="0"/>
                    </a:lnTo>
                    <a:lnTo>
                      <a:pt x="299" y="120"/>
                    </a:lnTo>
                    <a:lnTo>
                      <a:pt x="18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78" name="Freeform 2483">
                <a:extLst>
                  <a:ext uri="{FF2B5EF4-FFF2-40B4-BE49-F238E27FC236}">
                    <a16:creationId xmlns:a16="http://schemas.microsoft.com/office/drawing/2014/main" id="{C8F96E47-C13A-46E1-9F61-5ABD20ACBDEF}"/>
                  </a:ext>
                </a:extLst>
              </p:cNvPr>
              <p:cNvSpPr>
                <a:spLocks/>
              </p:cNvSpPr>
              <p:nvPr/>
            </p:nvSpPr>
            <p:spPr bwMode="auto">
              <a:xfrm>
                <a:off x="3675"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79" name="Line 2484">
                <a:extLst>
                  <a:ext uri="{FF2B5EF4-FFF2-40B4-BE49-F238E27FC236}">
                    <a16:creationId xmlns:a16="http://schemas.microsoft.com/office/drawing/2014/main" id="{DF67989C-7165-45A1-A95C-7AC0EFE95000}"/>
                  </a:ext>
                </a:extLst>
              </p:cNvPr>
              <p:cNvSpPr>
                <a:spLocks noChangeShapeType="1"/>
              </p:cNvSpPr>
              <p:nvPr/>
            </p:nvSpPr>
            <p:spPr bwMode="auto">
              <a:xfrm flipV="1">
                <a:off x="1786" y="1233"/>
                <a:ext cx="181" cy="5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80" name="Line 2485">
                <a:extLst>
                  <a:ext uri="{FF2B5EF4-FFF2-40B4-BE49-F238E27FC236}">
                    <a16:creationId xmlns:a16="http://schemas.microsoft.com/office/drawing/2014/main" id="{242122C7-350C-4544-B055-F877E8CC25FE}"/>
                  </a:ext>
                </a:extLst>
              </p:cNvPr>
              <p:cNvSpPr>
                <a:spLocks noChangeShapeType="1"/>
              </p:cNvSpPr>
              <p:nvPr/>
            </p:nvSpPr>
            <p:spPr bwMode="auto">
              <a:xfrm flipH="1">
                <a:off x="1936" y="1233"/>
                <a:ext cx="31"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81" name="Freeform 2486">
                <a:extLst>
                  <a:ext uri="{FF2B5EF4-FFF2-40B4-BE49-F238E27FC236}">
                    <a16:creationId xmlns:a16="http://schemas.microsoft.com/office/drawing/2014/main" id="{3FA5F9D6-8B9F-43FA-8A61-80AE344A9F6D}"/>
                  </a:ext>
                </a:extLst>
              </p:cNvPr>
              <p:cNvSpPr>
                <a:spLocks/>
              </p:cNvSpPr>
              <p:nvPr/>
            </p:nvSpPr>
            <p:spPr bwMode="auto">
              <a:xfrm>
                <a:off x="2235" y="1231"/>
                <a:ext cx="210" cy="302"/>
              </a:xfrm>
              <a:custGeom>
                <a:avLst/>
                <a:gdLst>
                  <a:gd name="T0" fmla="*/ 0 w 210"/>
                  <a:gd name="T1" fmla="*/ 0 h 302"/>
                  <a:gd name="T2" fmla="*/ 180 w 210"/>
                  <a:gd name="T3" fmla="*/ 269 h 302"/>
                  <a:gd name="T4" fmla="*/ 2 w 210"/>
                  <a:gd name="T5" fmla="*/ 302 h 302"/>
                  <a:gd name="T6" fmla="*/ 210 w 210"/>
                  <a:gd name="T7" fmla="*/ 179 h 302"/>
                </a:gdLst>
                <a:ahLst/>
                <a:cxnLst>
                  <a:cxn ang="0">
                    <a:pos x="T0" y="T1"/>
                  </a:cxn>
                  <a:cxn ang="0">
                    <a:pos x="T2" y="T3"/>
                  </a:cxn>
                  <a:cxn ang="0">
                    <a:pos x="T4" y="T5"/>
                  </a:cxn>
                  <a:cxn ang="0">
                    <a:pos x="T6" y="T7"/>
                  </a:cxn>
                </a:cxnLst>
                <a:rect l="0" t="0" r="r" b="b"/>
                <a:pathLst>
                  <a:path w="210" h="302">
                    <a:moveTo>
                      <a:pt x="0" y="0"/>
                    </a:moveTo>
                    <a:lnTo>
                      <a:pt x="180" y="269"/>
                    </a:lnTo>
                    <a:lnTo>
                      <a:pt x="2" y="302"/>
                    </a:lnTo>
                    <a:lnTo>
                      <a:pt x="210" y="17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82" name="Line 2487">
                <a:extLst>
                  <a:ext uri="{FF2B5EF4-FFF2-40B4-BE49-F238E27FC236}">
                    <a16:creationId xmlns:a16="http://schemas.microsoft.com/office/drawing/2014/main" id="{6FEA2A0C-4209-4668-B703-5268F9406CB6}"/>
                  </a:ext>
                </a:extLst>
              </p:cNvPr>
              <p:cNvSpPr>
                <a:spLocks noChangeShapeType="1"/>
              </p:cNvSpPr>
              <p:nvPr/>
            </p:nvSpPr>
            <p:spPr bwMode="auto">
              <a:xfrm>
                <a:off x="2235" y="1380"/>
                <a:ext cx="21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83" name="Freeform 2488">
                <a:extLst>
                  <a:ext uri="{FF2B5EF4-FFF2-40B4-BE49-F238E27FC236}">
                    <a16:creationId xmlns:a16="http://schemas.microsoft.com/office/drawing/2014/main" id="{76A35D54-9729-4E54-B6EC-E23749E28CC1}"/>
                  </a:ext>
                </a:extLst>
              </p:cNvPr>
              <p:cNvSpPr>
                <a:spLocks/>
              </p:cNvSpPr>
              <p:nvPr/>
            </p:nvSpPr>
            <p:spPr bwMode="auto">
              <a:xfrm>
                <a:off x="1756" y="1140"/>
                <a:ext cx="599" cy="870"/>
              </a:xfrm>
              <a:custGeom>
                <a:avLst/>
                <a:gdLst>
                  <a:gd name="T0" fmla="*/ 300 w 599"/>
                  <a:gd name="T1" fmla="*/ 0 h 870"/>
                  <a:gd name="T2" fmla="*/ 479 w 599"/>
                  <a:gd name="T3" fmla="*/ 91 h 870"/>
                  <a:gd name="T4" fmla="*/ 300 w 599"/>
                  <a:gd name="T5" fmla="*/ 330 h 870"/>
                  <a:gd name="T6" fmla="*/ 479 w 599"/>
                  <a:gd name="T7" fmla="*/ 390 h 870"/>
                  <a:gd name="T8" fmla="*/ 479 w 599"/>
                  <a:gd name="T9" fmla="*/ 240 h 870"/>
                  <a:gd name="T10" fmla="*/ 359 w 599"/>
                  <a:gd name="T11" fmla="*/ 480 h 870"/>
                  <a:gd name="T12" fmla="*/ 419 w 599"/>
                  <a:gd name="T13" fmla="*/ 600 h 870"/>
                  <a:gd name="T14" fmla="*/ 539 w 599"/>
                  <a:gd name="T15" fmla="*/ 660 h 870"/>
                  <a:gd name="T16" fmla="*/ 479 w 599"/>
                  <a:gd name="T17" fmla="*/ 390 h 870"/>
                  <a:gd name="T18" fmla="*/ 419 w 599"/>
                  <a:gd name="T19" fmla="*/ 600 h 870"/>
                  <a:gd name="T20" fmla="*/ 419 w 599"/>
                  <a:gd name="T21" fmla="*/ 750 h 870"/>
                  <a:gd name="T22" fmla="*/ 599 w 599"/>
                  <a:gd name="T23" fmla="*/ 810 h 870"/>
                  <a:gd name="T24" fmla="*/ 330 w 599"/>
                  <a:gd name="T25" fmla="*/ 870 h 870"/>
                  <a:gd name="T26" fmla="*/ 270 w 599"/>
                  <a:gd name="T27" fmla="*/ 750 h 870"/>
                  <a:gd name="T28" fmla="*/ 150 w 599"/>
                  <a:gd name="T29" fmla="*/ 870 h 870"/>
                  <a:gd name="T30" fmla="*/ 0 w 599"/>
                  <a:gd name="T31" fmla="*/ 780 h 870"/>
                  <a:gd name="T32" fmla="*/ 120 w 599"/>
                  <a:gd name="T33" fmla="*/ 690 h 870"/>
                  <a:gd name="T34" fmla="*/ 180 w 599"/>
                  <a:gd name="T35" fmla="*/ 540 h 870"/>
                  <a:gd name="T36" fmla="*/ 300 w 599"/>
                  <a:gd name="T37" fmla="*/ 630 h 870"/>
                  <a:gd name="T38" fmla="*/ 359 w 599"/>
                  <a:gd name="T39" fmla="*/ 480 h 870"/>
                  <a:gd name="T40" fmla="*/ 180 w 599"/>
                  <a:gd name="T41" fmla="*/ 390 h 870"/>
                  <a:gd name="T42" fmla="*/ 300 w 599"/>
                  <a:gd name="T43" fmla="*/ 330 h 870"/>
                  <a:gd name="T44" fmla="*/ 389 w 599"/>
                  <a:gd name="T45" fmla="*/ 270 h 870"/>
                  <a:gd name="T46" fmla="*/ 270 w 599"/>
                  <a:gd name="T47" fmla="*/ 180 h 870"/>
                  <a:gd name="T48" fmla="*/ 479 w 599"/>
                  <a:gd name="T49" fmla="*/ 240 h 870"/>
                  <a:gd name="T50" fmla="*/ 479 w 599"/>
                  <a:gd name="T51" fmla="*/ 90 h 870"/>
                  <a:gd name="T52" fmla="*/ 210 w 599"/>
                  <a:gd name="T53" fmla="*/ 9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9" h="870">
                    <a:moveTo>
                      <a:pt x="300" y="0"/>
                    </a:moveTo>
                    <a:lnTo>
                      <a:pt x="479" y="91"/>
                    </a:lnTo>
                    <a:lnTo>
                      <a:pt x="300" y="330"/>
                    </a:lnTo>
                    <a:lnTo>
                      <a:pt x="479" y="390"/>
                    </a:lnTo>
                    <a:lnTo>
                      <a:pt x="479" y="240"/>
                    </a:lnTo>
                    <a:lnTo>
                      <a:pt x="359" y="480"/>
                    </a:lnTo>
                    <a:lnTo>
                      <a:pt x="419" y="600"/>
                    </a:lnTo>
                    <a:lnTo>
                      <a:pt x="539" y="660"/>
                    </a:lnTo>
                    <a:lnTo>
                      <a:pt x="479" y="390"/>
                    </a:lnTo>
                    <a:lnTo>
                      <a:pt x="419" y="600"/>
                    </a:lnTo>
                    <a:lnTo>
                      <a:pt x="419" y="750"/>
                    </a:lnTo>
                    <a:lnTo>
                      <a:pt x="599" y="810"/>
                    </a:lnTo>
                    <a:lnTo>
                      <a:pt x="330" y="870"/>
                    </a:lnTo>
                    <a:lnTo>
                      <a:pt x="270" y="750"/>
                    </a:lnTo>
                    <a:lnTo>
                      <a:pt x="150" y="870"/>
                    </a:lnTo>
                    <a:lnTo>
                      <a:pt x="0" y="780"/>
                    </a:lnTo>
                    <a:lnTo>
                      <a:pt x="120" y="690"/>
                    </a:lnTo>
                    <a:lnTo>
                      <a:pt x="180" y="540"/>
                    </a:lnTo>
                    <a:lnTo>
                      <a:pt x="300" y="630"/>
                    </a:lnTo>
                    <a:lnTo>
                      <a:pt x="359" y="480"/>
                    </a:lnTo>
                    <a:lnTo>
                      <a:pt x="180" y="390"/>
                    </a:lnTo>
                    <a:lnTo>
                      <a:pt x="300" y="330"/>
                    </a:lnTo>
                    <a:lnTo>
                      <a:pt x="389" y="270"/>
                    </a:lnTo>
                    <a:lnTo>
                      <a:pt x="270" y="180"/>
                    </a:lnTo>
                    <a:lnTo>
                      <a:pt x="479" y="240"/>
                    </a:lnTo>
                    <a:lnTo>
                      <a:pt x="479" y="9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84" name="Line 2489">
                <a:extLst>
                  <a:ext uri="{FF2B5EF4-FFF2-40B4-BE49-F238E27FC236}">
                    <a16:creationId xmlns:a16="http://schemas.microsoft.com/office/drawing/2014/main" id="{5F26BD0F-34AC-4A0A-9860-DD6278F78AD0}"/>
                  </a:ext>
                </a:extLst>
              </p:cNvPr>
              <p:cNvSpPr>
                <a:spLocks noChangeShapeType="1"/>
              </p:cNvSpPr>
              <p:nvPr/>
            </p:nvSpPr>
            <p:spPr bwMode="auto">
              <a:xfrm flipV="1">
                <a:off x="2026" y="1110"/>
                <a:ext cx="209"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85" name="Freeform 2490">
                <a:extLst>
                  <a:ext uri="{FF2B5EF4-FFF2-40B4-BE49-F238E27FC236}">
                    <a16:creationId xmlns:a16="http://schemas.microsoft.com/office/drawing/2014/main" id="{DAD56251-D431-4FA2-97B8-BC1CB51EC2EA}"/>
                  </a:ext>
                </a:extLst>
              </p:cNvPr>
              <p:cNvSpPr>
                <a:spLocks/>
              </p:cNvSpPr>
              <p:nvPr/>
            </p:nvSpPr>
            <p:spPr bwMode="auto">
              <a:xfrm>
                <a:off x="1276" y="1290"/>
                <a:ext cx="780" cy="1080"/>
              </a:xfrm>
              <a:custGeom>
                <a:avLst/>
                <a:gdLst>
                  <a:gd name="T0" fmla="*/ 630 w 780"/>
                  <a:gd name="T1" fmla="*/ 1080 h 1080"/>
                  <a:gd name="T2" fmla="*/ 600 w 780"/>
                  <a:gd name="T3" fmla="*/ 870 h 1080"/>
                  <a:gd name="T4" fmla="*/ 480 w 780"/>
                  <a:gd name="T5" fmla="*/ 630 h 1080"/>
                  <a:gd name="T6" fmla="*/ 390 w 780"/>
                  <a:gd name="T7" fmla="*/ 720 h 1080"/>
                  <a:gd name="T8" fmla="*/ 270 w 780"/>
                  <a:gd name="T9" fmla="*/ 870 h 1080"/>
                  <a:gd name="T10" fmla="*/ 180 w 780"/>
                  <a:gd name="T11" fmla="*/ 750 h 1080"/>
                  <a:gd name="T12" fmla="*/ 210 w 780"/>
                  <a:gd name="T13" fmla="*/ 600 h 1080"/>
                  <a:gd name="T14" fmla="*/ 90 w 780"/>
                  <a:gd name="T15" fmla="*/ 660 h 1080"/>
                  <a:gd name="T16" fmla="*/ 0 w 780"/>
                  <a:gd name="T17" fmla="*/ 870 h 1080"/>
                  <a:gd name="T18" fmla="*/ 60 w 780"/>
                  <a:gd name="T19" fmla="*/ 510 h 1080"/>
                  <a:gd name="T20" fmla="*/ 0 w 780"/>
                  <a:gd name="T21" fmla="*/ 420 h 1080"/>
                  <a:gd name="T22" fmla="*/ 120 w 780"/>
                  <a:gd name="T23" fmla="*/ 330 h 1080"/>
                  <a:gd name="T24" fmla="*/ 300 w 780"/>
                  <a:gd name="T25" fmla="*/ 390 h 1080"/>
                  <a:gd name="T26" fmla="*/ 330 w 780"/>
                  <a:gd name="T27" fmla="*/ 510 h 1080"/>
                  <a:gd name="T28" fmla="*/ 480 w 780"/>
                  <a:gd name="T29" fmla="*/ 390 h 1080"/>
                  <a:gd name="T30" fmla="*/ 660 w 780"/>
                  <a:gd name="T31" fmla="*/ 240 h 1080"/>
                  <a:gd name="T32" fmla="*/ 480 w 780"/>
                  <a:gd name="T33" fmla="*/ 150 h 1080"/>
                  <a:gd name="T34" fmla="*/ 600 w 780"/>
                  <a:gd name="T35" fmla="*/ 120 h 1080"/>
                  <a:gd name="T36" fmla="*/ 780 w 780"/>
                  <a:gd name="T37" fmla="*/ 180 h 1080"/>
                  <a:gd name="T38" fmla="*/ 750 w 780"/>
                  <a:gd name="T39" fmla="*/ 30 h 1080"/>
                  <a:gd name="T40" fmla="*/ 600 w 780"/>
                  <a:gd name="T41" fmla="*/ 120 h 1080"/>
                  <a:gd name="T42" fmla="*/ 510 w 780"/>
                  <a:gd name="T43" fmla="*/ 0 h 1080"/>
                  <a:gd name="T44" fmla="*/ 480 w 780"/>
                  <a:gd name="T45" fmla="*/ 150 h 1080"/>
                  <a:gd name="T46" fmla="*/ 510 w 780"/>
                  <a:gd name="T47" fmla="*/ 300 h 1080"/>
                  <a:gd name="T48" fmla="*/ 480 w 780"/>
                  <a:gd name="T49" fmla="*/ 390 h 1080"/>
                  <a:gd name="T50" fmla="*/ 600 w 780"/>
                  <a:gd name="T51" fmla="*/ 54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1080">
                    <a:moveTo>
                      <a:pt x="630" y="1080"/>
                    </a:moveTo>
                    <a:lnTo>
                      <a:pt x="600" y="870"/>
                    </a:lnTo>
                    <a:lnTo>
                      <a:pt x="480" y="630"/>
                    </a:lnTo>
                    <a:lnTo>
                      <a:pt x="390" y="720"/>
                    </a:lnTo>
                    <a:lnTo>
                      <a:pt x="270" y="870"/>
                    </a:lnTo>
                    <a:lnTo>
                      <a:pt x="180" y="750"/>
                    </a:lnTo>
                    <a:lnTo>
                      <a:pt x="210" y="600"/>
                    </a:lnTo>
                    <a:lnTo>
                      <a:pt x="90" y="660"/>
                    </a:lnTo>
                    <a:lnTo>
                      <a:pt x="0" y="870"/>
                    </a:lnTo>
                    <a:lnTo>
                      <a:pt x="60" y="510"/>
                    </a:lnTo>
                    <a:lnTo>
                      <a:pt x="0" y="420"/>
                    </a:lnTo>
                    <a:lnTo>
                      <a:pt x="120" y="330"/>
                    </a:lnTo>
                    <a:lnTo>
                      <a:pt x="300" y="390"/>
                    </a:lnTo>
                    <a:lnTo>
                      <a:pt x="330" y="510"/>
                    </a:lnTo>
                    <a:lnTo>
                      <a:pt x="480" y="390"/>
                    </a:lnTo>
                    <a:lnTo>
                      <a:pt x="660" y="240"/>
                    </a:lnTo>
                    <a:lnTo>
                      <a:pt x="480" y="150"/>
                    </a:lnTo>
                    <a:lnTo>
                      <a:pt x="600" y="120"/>
                    </a:lnTo>
                    <a:lnTo>
                      <a:pt x="780" y="180"/>
                    </a:lnTo>
                    <a:lnTo>
                      <a:pt x="750" y="30"/>
                    </a:lnTo>
                    <a:lnTo>
                      <a:pt x="600" y="120"/>
                    </a:lnTo>
                    <a:lnTo>
                      <a:pt x="510" y="0"/>
                    </a:lnTo>
                    <a:lnTo>
                      <a:pt x="480" y="150"/>
                    </a:lnTo>
                    <a:lnTo>
                      <a:pt x="510" y="300"/>
                    </a:lnTo>
                    <a:lnTo>
                      <a:pt x="480" y="390"/>
                    </a:lnTo>
                    <a:lnTo>
                      <a:pt x="60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86" name="Line 2491">
                <a:extLst>
                  <a:ext uri="{FF2B5EF4-FFF2-40B4-BE49-F238E27FC236}">
                    <a16:creationId xmlns:a16="http://schemas.microsoft.com/office/drawing/2014/main" id="{42798DC2-6A24-43FC-BC85-099F2504B6AA}"/>
                  </a:ext>
                </a:extLst>
              </p:cNvPr>
              <p:cNvSpPr>
                <a:spLocks noChangeShapeType="1"/>
              </p:cNvSpPr>
              <p:nvPr/>
            </p:nvSpPr>
            <p:spPr bwMode="auto">
              <a:xfrm>
                <a:off x="1909" y="2013"/>
                <a:ext cx="87" cy="17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87" name="Freeform 2492">
                <a:extLst>
                  <a:ext uri="{FF2B5EF4-FFF2-40B4-BE49-F238E27FC236}">
                    <a16:creationId xmlns:a16="http://schemas.microsoft.com/office/drawing/2014/main" id="{27C2E296-607A-4DDC-A4B7-D0023C3729C5}"/>
                  </a:ext>
                </a:extLst>
              </p:cNvPr>
              <p:cNvSpPr>
                <a:spLocks/>
              </p:cNvSpPr>
              <p:nvPr/>
            </p:nvSpPr>
            <p:spPr bwMode="auto">
              <a:xfrm>
                <a:off x="1876" y="1890"/>
                <a:ext cx="210" cy="270"/>
              </a:xfrm>
              <a:custGeom>
                <a:avLst/>
                <a:gdLst>
                  <a:gd name="T0" fmla="*/ 210 w 210"/>
                  <a:gd name="T1" fmla="*/ 120 h 270"/>
                  <a:gd name="T2" fmla="*/ 0 w 210"/>
                  <a:gd name="T3" fmla="*/ 270 h 270"/>
                  <a:gd name="T4" fmla="*/ 150 w 210"/>
                  <a:gd name="T5" fmla="*/ 0 h 270"/>
                </a:gdLst>
                <a:ahLst/>
                <a:cxnLst>
                  <a:cxn ang="0">
                    <a:pos x="T0" y="T1"/>
                  </a:cxn>
                  <a:cxn ang="0">
                    <a:pos x="T2" y="T3"/>
                  </a:cxn>
                  <a:cxn ang="0">
                    <a:pos x="T4" y="T5"/>
                  </a:cxn>
                </a:cxnLst>
                <a:rect l="0" t="0" r="r" b="b"/>
                <a:pathLst>
                  <a:path w="210" h="270">
                    <a:moveTo>
                      <a:pt x="210" y="120"/>
                    </a:moveTo>
                    <a:lnTo>
                      <a:pt x="0" y="27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88" name="Freeform 2493">
                <a:extLst>
                  <a:ext uri="{FF2B5EF4-FFF2-40B4-BE49-F238E27FC236}">
                    <a16:creationId xmlns:a16="http://schemas.microsoft.com/office/drawing/2014/main" id="{C8E7537C-D325-4DC0-9FF4-44D4B7A23732}"/>
                  </a:ext>
                </a:extLst>
              </p:cNvPr>
              <p:cNvSpPr>
                <a:spLocks/>
              </p:cNvSpPr>
              <p:nvPr/>
            </p:nvSpPr>
            <p:spPr bwMode="auto">
              <a:xfrm>
                <a:off x="2175" y="1620"/>
                <a:ext cx="360" cy="483"/>
              </a:xfrm>
              <a:custGeom>
                <a:avLst/>
                <a:gdLst>
                  <a:gd name="T0" fmla="*/ 0 w 432"/>
                  <a:gd name="T1" fmla="*/ 146 h 579"/>
                  <a:gd name="T2" fmla="*/ 216 w 432"/>
                  <a:gd name="T3" fmla="*/ 0 h 579"/>
                  <a:gd name="T4" fmla="*/ 144 w 432"/>
                  <a:gd name="T5" fmla="*/ 216 h 579"/>
                  <a:gd name="T6" fmla="*/ 360 w 432"/>
                  <a:gd name="T7" fmla="*/ 252 h 579"/>
                  <a:gd name="T8" fmla="*/ 324 w 432"/>
                  <a:gd name="T9" fmla="*/ 578 h 579"/>
                  <a:gd name="T10" fmla="*/ 432 w 432"/>
                  <a:gd name="T11" fmla="*/ 432 h 579"/>
                  <a:gd name="T12" fmla="*/ 220 w 432"/>
                  <a:gd name="T13" fmla="*/ 399 h 579"/>
                  <a:gd name="T14" fmla="*/ 112 w 432"/>
                  <a:gd name="T15" fmla="*/ 579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579">
                    <a:moveTo>
                      <a:pt x="0" y="146"/>
                    </a:moveTo>
                    <a:cubicBezTo>
                      <a:pt x="216" y="0"/>
                      <a:pt x="216" y="0"/>
                      <a:pt x="216" y="0"/>
                    </a:cubicBezTo>
                    <a:cubicBezTo>
                      <a:pt x="144" y="216"/>
                      <a:pt x="144" y="216"/>
                      <a:pt x="144" y="216"/>
                    </a:cubicBezTo>
                    <a:cubicBezTo>
                      <a:pt x="360" y="252"/>
                      <a:pt x="360" y="252"/>
                      <a:pt x="360" y="252"/>
                    </a:cubicBezTo>
                    <a:cubicBezTo>
                      <a:pt x="324" y="578"/>
                      <a:pt x="324" y="578"/>
                      <a:pt x="324" y="578"/>
                    </a:cubicBezTo>
                    <a:cubicBezTo>
                      <a:pt x="432" y="432"/>
                      <a:pt x="432" y="432"/>
                      <a:pt x="432" y="432"/>
                    </a:cubicBezTo>
                    <a:cubicBezTo>
                      <a:pt x="220" y="399"/>
                      <a:pt x="220" y="399"/>
                      <a:pt x="220" y="399"/>
                    </a:cubicBezTo>
                    <a:cubicBezTo>
                      <a:pt x="220" y="399"/>
                      <a:pt x="108" y="576"/>
                      <a:pt x="112" y="579"/>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89" name="Freeform 2494">
                <a:extLst>
                  <a:ext uri="{FF2B5EF4-FFF2-40B4-BE49-F238E27FC236}">
                    <a16:creationId xmlns:a16="http://schemas.microsoft.com/office/drawing/2014/main" id="{232F962F-7B7F-4212-9427-6C23F1884A3A}"/>
                  </a:ext>
                </a:extLst>
              </p:cNvPr>
              <p:cNvSpPr>
                <a:spLocks/>
              </p:cNvSpPr>
              <p:nvPr/>
            </p:nvSpPr>
            <p:spPr bwMode="auto">
              <a:xfrm>
                <a:off x="2175" y="1800"/>
                <a:ext cx="120" cy="303"/>
              </a:xfrm>
              <a:custGeom>
                <a:avLst/>
                <a:gdLst>
                  <a:gd name="T0" fmla="*/ 0 w 120"/>
                  <a:gd name="T1" fmla="*/ 90 h 303"/>
                  <a:gd name="T2" fmla="*/ 120 w 120"/>
                  <a:gd name="T3" fmla="*/ 0 h 303"/>
                  <a:gd name="T4" fmla="*/ 94 w 120"/>
                  <a:gd name="T5" fmla="*/ 303 h 303"/>
                </a:gdLst>
                <a:ahLst/>
                <a:cxnLst>
                  <a:cxn ang="0">
                    <a:pos x="T0" y="T1"/>
                  </a:cxn>
                  <a:cxn ang="0">
                    <a:pos x="T2" y="T3"/>
                  </a:cxn>
                  <a:cxn ang="0">
                    <a:pos x="T4" y="T5"/>
                  </a:cxn>
                </a:cxnLst>
                <a:rect l="0" t="0" r="r" b="b"/>
                <a:pathLst>
                  <a:path w="120" h="303">
                    <a:moveTo>
                      <a:pt x="0" y="90"/>
                    </a:moveTo>
                    <a:lnTo>
                      <a:pt x="120" y="0"/>
                    </a:lnTo>
                    <a:lnTo>
                      <a:pt x="94" y="30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90" name="Freeform 2495">
                <a:extLst>
                  <a:ext uri="{FF2B5EF4-FFF2-40B4-BE49-F238E27FC236}">
                    <a16:creationId xmlns:a16="http://schemas.microsoft.com/office/drawing/2014/main" id="{5485FEAC-06A1-4CCD-A017-21662C235B0D}"/>
                  </a:ext>
                </a:extLst>
              </p:cNvPr>
              <p:cNvSpPr>
                <a:spLocks/>
              </p:cNvSpPr>
              <p:nvPr/>
            </p:nvSpPr>
            <p:spPr bwMode="auto">
              <a:xfrm>
                <a:off x="2625" y="1922"/>
                <a:ext cx="1110" cy="868"/>
              </a:xfrm>
              <a:custGeom>
                <a:avLst/>
                <a:gdLst>
                  <a:gd name="T0" fmla="*/ 240 w 1110"/>
                  <a:gd name="T1" fmla="*/ 0 h 868"/>
                  <a:gd name="T2" fmla="*/ 210 w 1110"/>
                  <a:gd name="T3" fmla="*/ 148 h 868"/>
                  <a:gd name="T4" fmla="*/ 150 w 1110"/>
                  <a:gd name="T5" fmla="*/ 238 h 868"/>
                  <a:gd name="T6" fmla="*/ 0 w 1110"/>
                  <a:gd name="T7" fmla="*/ 328 h 868"/>
                  <a:gd name="T8" fmla="*/ 0 w 1110"/>
                  <a:gd name="T9" fmla="*/ 478 h 868"/>
                  <a:gd name="T10" fmla="*/ 120 w 1110"/>
                  <a:gd name="T11" fmla="*/ 388 h 868"/>
                  <a:gd name="T12" fmla="*/ 270 w 1110"/>
                  <a:gd name="T13" fmla="*/ 268 h 868"/>
                  <a:gd name="T14" fmla="*/ 510 w 1110"/>
                  <a:gd name="T15" fmla="*/ 118 h 868"/>
                  <a:gd name="T16" fmla="*/ 600 w 1110"/>
                  <a:gd name="T17" fmla="*/ 178 h 868"/>
                  <a:gd name="T18" fmla="*/ 690 w 1110"/>
                  <a:gd name="T19" fmla="*/ 298 h 868"/>
                  <a:gd name="T20" fmla="*/ 780 w 1110"/>
                  <a:gd name="T21" fmla="*/ 178 h 868"/>
                  <a:gd name="T22" fmla="*/ 600 w 1110"/>
                  <a:gd name="T23" fmla="*/ 178 h 868"/>
                  <a:gd name="T24" fmla="*/ 600 w 1110"/>
                  <a:gd name="T25" fmla="*/ 329 h 868"/>
                  <a:gd name="T26" fmla="*/ 510 w 1110"/>
                  <a:gd name="T27" fmla="*/ 298 h 868"/>
                  <a:gd name="T28" fmla="*/ 480 w 1110"/>
                  <a:gd name="T29" fmla="*/ 388 h 868"/>
                  <a:gd name="T30" fmla="*/ 480 w 1110"/>
                  <a:gd name="T31" fmla="*/ 628 h 868"/>
                  <a:gd name="T32" fmla="*/ 600 w 1110"/>
                  <a:gd name="T33" fmla="*/ 538 h 868"/>
                  <a:gd name="T34" fmla="*/ 688 w 1110"/>
                  <a:gd name="T35" fmla="*/ 630 h 868"/>
                  <a:gd name="T36" fmla="*/ 660 w 1110"/>
                  <a:gd name="T37" fmla="*/ 448 h 868"/>
                  <a:gd name="T38" fmla="*/ 750 w 1110"/>
                  <a:gd name="T39" fmla="*/ 388 h 868"/>
                  <a:gd name="T40" fmla="*/ 870 w 1110"/>
                  <a:gd name="T41" fmla="*/ 448 h 868"/>
                  <a:gd name="T42" fmla="*/ 750 w 1110"/>
                  <a:gd name="T43" fmla="*/ 508 h 868"/>
                  <a:gd name="T44" fmla="*/ 840 w 1110"/>
                  <a:gd name="T45" fmla="*/ 568 h 868"/>
                  <a:gd name="T46" fmla="*/ 1110 w 1110"/>
                  <a:gd name="T47" fmla="*/ 538 h 868"/>
                  <a:gd name="T48" fmla="*/ 990 w 1110"/>
                  <a:gd name="T49" fmla="*/ 598 h 868"/>
                  <a:gd name="T50" fmla="*/ 1020 w 1110"/>
                  <a:gd name="T51" fmla="*/ 868 h 868"/>
                  <a:gd name="T52" fmla="*/ 810 w 1110"/>
                  <a:gd name="T53" fmla="*/ 68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0" h="868">
                    <a:moveTo>
                      <a:pt x="240" y="0"/>
                    </a:moveTo>
                    <a:lnTo>
                      <a:pt x="210" y="148"/>
                    </a:lnTo>
                    <a:lnTo>
                      <a:pt x="150" y="238"/>
                    </a:lnTo>
                    <a:lnTo>
                      <a:pt x="0" y="328"/>
                    </a:lnTo>
                    <a:lnTo>
                      <a:pt x="0" y="478"/>
                    </a:lnTo>
                    <a:lnTo>
                      <a:pt x="120" y="388"/>
                    </a:lnTo>
                    <a:lnTo>
                      <a:pt x="270" y="268"/>
                    </a:lnTo>
                    <a:lnTo>
                      <a:pt x="510" y="118"/>
                    </a:lnTo>
                    <a:lnTo>
                      <a:pt x="600" y="178"/>
                    </a:lnTo>
                    <a:lnTo>
                      <a:pt x="690" y="298"/>
                    </a:lnTo>
                    <a:lnTo>
                      <a:pt x="780" y="178"/>
                    </a:lnTo>
                    <a:lnTo>
                      <a:pt x="600" y="178"/>
                    </a:lnTo>
                    <a:lnTo>
                      <a:pt x="600" y="329"/>
                    </a:lnTo>
                    <a:lnTo>
                      <a:pt x="510" y="298"/>
                    </a:lnTo>
                    <a:lnTo>
                      <a:pt x="480" y="388"/>
                    </a:lnTo>
                    <a:lnTo>
                      <a:pt x="480" y="628"/>
                    </a:lnTo>
                    <a:lnTo>
                      <a:pt x="600" y="538"/>
                    </a:lnTo>
                    <a:lnTo>
                      <a:pt x="688" y="630"/>
                    </a:lnTo>
                    <a:lnTo>
                      <a:pt x="660" y="448"/>
                    </a:lnTo>
                    <a:lnTo>
                      <a:pt x="750" y="388"/>
                    </a:lnTo>
                    <a:lnTo>
                      <a:pt x="870" y="448"/>
                    </a:lnTo>
                    <a:lnTo>
                      <a:pt x="750" y="508"/>
                    </a:lnTo>
                    <a:lnTo>
                      <a:pt x="840" y="568"/>
                    </a:lnTo>
                    <a:lnTo>
                      <a:pt x="1110" y="538"/>
                    </a:lnTo>
                    <a:lnTo>
                      <a:pt x="990" y="598"/>
                    </a:lnTo>
                    <a:lnTo>
                      <a:pt x="1020" y="868"/>
                    </a:lnTo>
                    <a:lnTo>
                      <a:pt x="810" y="6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91" name="Line 2496">
                <a:extLst>
                  <a:ext uri="{FF2B5EF4-FFF2-40B4-BE49-F238E27FC236}">
                    <a16:creationId xmlns:a16="http://schemas.microsoft.com/office/drawing/2014/main" id="{84A5A1C3-347A-4F3D-940A-0A52F528FCE3}"/>
                  </a:ext>
                </a:extLst>
              </p:cNvPr>
              <p:cNvSpPr>
                <a:spLocks noChangeShapeType="1"/>
              </p:cNvSpPr>
              <p:nvPr/>
            </p:nvSpPr>
            <p:spPr bwMode="auto">
              <a:xfrm flipV="1">
                <a:off x="2835" y="195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92" name="Line 2497">
                <a:extLst>
                  <a:ext uri="{FF2B5EF4-FFF2-40B4-BE49-F238E27FC236}">
                    <a16:creationId xmlns:a16="http://schemas.microsoft.com/office/drawing/2014/main" id="{F14EFF86-7B80-4019-8C2F-3BB5637A6600}"/>
                  </a:ext>
                </a:extLst>
              </p:cNvPr>
              <p:cNvSpPr>
                <a:spLocks noChangeShapeType="1"/>
              </p:cNvSpPr>
              <p:nvPr/>
            </p:nvSpPr>
            <p:spPr bwMode="auto">
              <a:xfrm flipH="1" flipV="1">
                <a:off x="2865" y="1922"/>
                <a:ext cx="152" cy="15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93" name="Freeform 2498">
                <a:extLst>
                  <a:ext uri="{FF2B5EF4-FFF2-40B4-BE49-F238E27FC236}">
                    <a16:creationId xmlns:a16="http://schemas.microsoft.com/office/drawing/2014/main" id="{6CB3488E-BE19-4DB8-93C7-7DB22DBD23AD}"/>
                  </a:ext>
                </a:extLst>
              </p:cNvPr>
              <p:cNvSpPr>
                <a:spLocks/>
              </p:cNvSpPr>
              <p:nvPr/>
            </p:nvSpPr>
            <p:spPr bwMode="auto">
              <a:xfrm>
                <a:off x="3077" y="1713"/>
                <a:ext cx="328" cy="390"/>
              </a:xfrm>
              <a:custGeom>
                <a:avLst/>
                <a:gdLst>
                  <a:gd name="T0" fmla="*/ 271 w 328"/>
                  <a:gd name="T1" fmla="*/ 0 h 390"/>
                  <a:gd name="T2" fmla="*/ 238 w 328"/>
                  <a:gd name="T3" fmla="*/ 147 h 390"/>
                  <a:gd name="T4" fmla="*/ 151 w 328"/>
                  <a:gd name="T5" fmla="*/ 390 h 390"/>
                  <a:gd name="T6" fmla="*/ 328 w 328"/>
                  <a:gd name="T7" fmla="*/ 207 h 390"/>
                  <a:gd name="T8" fmla="*/ 328 w 328"/>
                  <a:gd name="T9" fmla="*/ 389 h 390"/>
                  <a:gd name="T10" fmla="*/ 118 w 328"/>
                  <a:gd name="T11" fmla="*/ 177 h 390"/>
                  <a:gd name="T12" fmla="*/ 58 w 328"/>
                  <a:gd name="T13" fmla="*/ 327 h 390"/>
                  <a:gd name="T14" fmla="*/ 0 w 328"/>
                  <a:gd name="T15" fmla="*/ 180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90">
                    <a:moveTo>
                      <a:pt x="271" y="0"/>
                    </a:moveTo>
                    <a:lnTo>
                      <a:pt x="238" y="147"/>
                    </a:lnTo>
                    <a:lnTo>
                      <a:pt x="151" y="390"/>
                    </a:lnTo>
                    <a:lnTo>
                      <a:pt x="328" y="207"/>
                    </a:lnTo>
                    <a:lnTo>
                      <a:pt x="328" y="389"/>
                    </a:lnTo>
                    <a:lnTo>
                      <a:pt x="118" y="177"/>
                    </a:lnTo>
                    <a:lnTo>
                      <a:pt x="58" y="327"/>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94" name="Line 2499">
                <a:extLst>
                  <a:ext uri="{FF2B5EF4-FFF2-40B4-BE49-F238E27FC236}">
                    <a16:creationId xmlns:a16="http://schemas.microsoft.com/office/drawing/2014/main" id="{D6225D24-85E2-46F4-8F3C-E8B1A5A845A2}"/>
                  </a:ext>
                </a:extLst>
              </p:cNvPr>
              <p:cNvSpPr>
                <a:spLocks noChangeShapeType="1"/>
              </p:cNvSpPr>
              <p:nvPr/>
            </p:nvSpPr>
            <p:spPr bwMode="auto">
              <a:xfrm flipH="1" flipV="1">
                <a:off x="3348" y="1713"/>
                <a:ext cx="177" cy="11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95" name="Line 2500">
                <a:extLst>
                  <a:ext uri="{FF2B5EF4-FFF2-40B4-BE49-F238E27FC236}">
                    <a16:creationId xmlns:a16="http://schemas.microsoft.com/office/drawing/2014/main" id="{8BDF9326-A5DB-4CFF-98A8-164FCD831270}"/>
                  </a:ext>
                </a:extLst>
              </p:cNvPr>
              <p:cNvSpPr>
                <a:spLocks noChangeShapeType="1"/>
              </p:cNvSpPr>
              <p:nvPr/>
            </p:nvSpPr>
            <p:spPr bwMode="auto">
              <a:xfrm flipV="1">
                <a:off x="3315" y="1442"/>
                <a:ext cx="88" cy="118"/>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96" name="Freeform 2501">
                <a:extLst>
                  <a:ext uri="{FF2B5EF4-FFF2-40B4-BE49-F238E27FC236}">
                    <a16:creationId xmlns:a16="http://schemas.microsoft.com/office/drawing/2014/main" id="{1DD92157-23CC-470E-8C86-9D8F35DA8039}"/>
                  </a:ext>
                </a:extLst>
              </p:cNvPr>
              <p:cNvSpPr>
                <a:spLocks/>
              </p:cNvSpPr>
              <p:nvPr/>
            </p:nvSpPr>
            <p:spPr bwMode="auto">
              <a:xfrm>
                <a:off x="2625" y="780"/>
                <a:ext cx="690" cy="630"/>
              </a:xfrm>
              <a:custGeom>
                <a:avLst/>
                <a:gdLst>
                  <a:gd name="T0" fmla="*/ 660 w 690"/>
                  <a:gd name="T1" fmla="*/ 630 h 630"/>
                  <a:gd name="T2" fmla="*/ 690 w 690"/>
                  <a:gd name="T3" fmla="*/ 390 h 630"/>
                  <a:gd name="T4" fmla="*/ 570 w 690"/>
                  <a:gd name="T5" fmla="*/ 420 h 630"/>
                  <a:gd name="T6" fmla="*/ 450 w 690"/>
                  <a:gd name="T7" fmla="*/ 240 h 630"/>
                  <a:gd name="T8" fmla="*/ 420 w 690"/>
                  <a:gd name="T9" fmla="*/ 420 h 630"/>
                  <a:gd name="T10" fmla="*/ 330 w 690"/>
                  <a:gd name="T11" fmla="*/ 330 h 630"/>
                  <a:gd name="T12" fmla="*/ 210 w 690"/>
                  <a:gd name="T13" fmla="*/ 270 h 630"/>
                  <a:gd name="T14" fmla="*/ 0 w 690"/>
                  <a:gd name="T15" fmla="*/ 210 h 630"/>
                  <a:gd name="T16" fmla="*/ 270 w 690"/>
                  <a:gd name="T17" fmla="*/ 180 h 630"/>
                  <a:gd name="T18" fmla="*/ 180 w 690"/>
                  <a:gd name="T19" fmla="*/ 30 h 630"/>
                  <a:gd name="T20" fmla="*/ 330 w 690"/>
                  <a:gd name="T21" fmla="*/ 0 h 630"/>
                  <a:gd name="T22" fmla="*/ 120 w 690"/>
                  <a:gd name="T23" fmla="*/ 15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0" h="630">
                    <a:moveTo>
                      <a:pt x="660" y="630"/>
                    </a:moveTo>
                    <a:lnTo>
                      <a:pt x="690" y="390"/>
                    </a:lnTo>
                    <a:lnTo>
                      <a:pt x="570" y="420"/>
                    </a:lnTo>
                    <a:lnTo>
                      <a:pt x="450" y="240"/>
                    </a:lnTo>
                    <a:lnTo>
                      <a:pt x="420" y="420"/>
                    </a:lnTo>
                    <a:lnTo>
                      <a:pt x="330" y="330"/>
                    </a:lnTo>
                    <a:lnTo>
                      <a:pt x="210" y="270"/>
                    </a:lnTo>
                    <a:lnTo>
                      <a:pt x="0" y="210"/>
                    </a:lnTo>
                    <a:lnTo>
                      <a:pt x="270" y="180"/>
                    </a:lnTo>
                    <a:lnTo>
                      <a:pt x="180" y="30"/>
                    </a:lnTo>
                    <a:lnTo>
                      <a:pt x="330"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97" name="Line 2502">
                <a:extLst>
                  <a:ext uri="{FF2B5EF4-FFF2-40B4-BE49-F238E27FC236}">
                    <a16:creationId xmlns:a16="http://schemas.microsoft.com/office/drawing/2014/main" id="{FD910D94-1C6A-4362-8028-16B58D6E8697}"/>
                  </a:ext>
                </a:extLst>
              </p:cNvPr>
              <p:cNvSpPr>
                <a:spLocks noChangeShapeType="1"/>
              </p:cNvSpPr>
              <p:nvPr/>
            </p:nvSpPr>
            <p:spPr bwMode="auto">
              <a:xfrm flipH="1">
                <a:off x="3285" y="1290"/>
                <a:ext cx="15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98" name="Freeform 2503">
                <a:extLst>
                  <a:ext uri="{FF2B5EF4-FFF2-40B4-BE49-F238E27FC236}">
                    <a16:creationId xmlns:a16="http://schemas.microsoft.com/office/drawing/2014/main" id="{5EDC8E10-0E96-4F9F-8A46-080474914C74}"/>
                  </a:ext>
                </a:extLst>
              </p:cNvPr>
              <p:cNvSpPr>
                <a:spLocks/>
              </p:cNvSpPr>
              <p:nvPr/>
            </p:nvSpPr>
            <p:spPr bwMode="auto">
              <a:xfrm>
                <a:off x="3315" y="1082"/>
                <a:ext cx="120" cy="208"/>
              </a:xfrm>
              <a:custGeom>
                <a:avLst/>
                <a:gdLst>
                  <a:gd name="T0" fmla="*/ 120 w 120"/>
                  <a:gd name="T1" fmla="*/ 208 h 208"/>
                  <a:gd name="T2" fmla="*/ 90 w 120"/>
                  <a:gd name="T3" fmla="*/ 0 h 208"/>
                  <a:gd name="T4" fmla="*/ 0 w 120"/>
                  <a:gd name="T5" fmla="*/ 88 h 208"/>
                </a:gdLst>
                <a:ahLst/>
                <a:cxnLst>
                  <a:cxn ang="0">
                    <a:pos x="T0" y="T1"/>
                  </a:cxn>
                  <a:cxn ang="0">
                    <a:pos x="T2" y="T3"/>
                  </a:cxn>
                  <a:cxn ang="0">
                    <a:pos x="T4" y="T5"/>
                  </a:cxn>
                </a:cxnLst>
                <a:rect l="0" t="0" r="r" b="b"/>
                <a:pathLst>
                  <a:path w="120" h="208">
                    <a:moveTo>
                      <a:pt x="120" y="208"/>
                    </a:moveTo>
                    <a:lnTo>
                      <a:pt x="90" y="0"/>
                    </a:lnTo>
                    <a:lnTo>
                      <a:pt x="0" y="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99" name="Freeform 2504">
                <a:extLst>
                  <a:ext uri="{FF2B5EF4-FFF2-40B4-BE49-F238E27FC236}">
                    <a16:creationId xmlns:a16="http://schemas.microsoft.com/office/drawing/2014/main" id="{061780A0-A220-464B-803A-AEF30CC79B77}"/>
                  </a:ext>
                </a:extLst>
              </p:cNvPr>
              <p:cNvSpPr>
                <a:spLocks/>
              </p:cNvSpPr>
              <p:nvPr/>
            </p:nvSpPr>
            <p:spPr bwMode="auto">
              <a:xfrm>
                <a:off x="3195" y="1200"/>
                <a:ext cx="240" cy="242"/>
              </a:xfrm>
              <a:custGeom>
                <a:avLst/>
                <a:gdLst>
                  <a:gd name="T0" fmla="*/ 240 w 240"/>
                  <a:gd name="T1" fmla="*/ 90 h 242"/>
                  <a:gd name="T2" fmla="*/ 0 w 240"/>
                  <a:gd name="T3" fmla="*/ 0 h 242"/>
                  <a:gd name="T4" fmla="*/ 208 w 240"/>
                  <a:gd name="T5" fmla="*/ 242 h 242"/>
                </a:gdLst>
                <a:ahLst/>
                <a:cxnLst>
                  <a:cxn ang="0">
                    <a:pos x="T0" y="T1"/>
                  </a:cxn>
                  <a:cxn ang="0">
                    <a:pos x="T2" y="T3"/>
                  </a:cxn>
                  <a:cxn ang="0">
                    <a:pos x="T4" y="T5"/>
                  </a:cxn>
                </a:cxnLst>
                <a:rect l="0" t="0" r="r" b="b"/>
                <a:pathLst>
                  <a:path w="240" h="242">
                    <a:moveTo>
                      <a:pt x="240" y="90"/>
                    </a:moveTo>
                    <a:lnTo>
                      <a:pt x="0" y="0"/>
                    </a:lnTo>
                    <a:lnTo>
                      <a:pt x="208" y="24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00" name="Line 2505">
                <a:extLst>
                  <a:ext uri="{FF2B5EF4-FFF2-40B4-BE49-F238E27FC236}">
                    <a16:creationId xmlns:a16="http://schemas.microsoft.com/office/drawing/2014/main" id="{6252BE83-EB6E-4FE8-8B07-FAAD94A69019}"/>
                  </a:ext>
                </a:extLst>
              </p:cNvPr>
              <p:cNvSpPr>
                <a:spLocks noChangeShapeType="1"/>
              </p:cNvSpPr>
              <p:nvPr/>
            </p:nvSpPr>
            <p:spPr bwMode="auto">
              <a:xfrm flipH="1">
                <a:off x="3585" y="1260"/>
                <a:ext cx="30" cy="272"/>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01" name="Freeform 2506">
                <a:extLst>
                  <a:ext uri="{FF2B5EF4-FFF2-40B4-BE49-F238E27FC236}">
                    <a16:creationId xmlns:a16="http://schemas.microsoft.com/office/drawing/2014/main" id="{89AB159E-1C8B-4CFF-86D8-0A757387C2B9}"/>
                  </a:ext>
                </a:extLst>
              </p:cNvPr>
              <p:cNvSpPr>
                <a:spLocks/>
              </p:cNvSpPr>
              <p:nvPr/>
            </p:nvSpPr>
            <p:spPr bwMode="auto">
              <a:xfrm>
                <a:off x="3555" y="450"/>
                <a:ext cx="449" cy="1140"/>
              </a:xfrm>
              <a:custGeom>
                <a:avLst/>
                <a:gdLst>
                  <a:gd name="T0" fmla="*/ 449 w 449"/>
                  <a:gd name="T1" fmla="*/ 1140 h 1140"/>
                  <a:gd name="T2" fmla="*/ 329 w 449"/>
                  <a:gd name="T3" fmla="*/ 930 h 1140"/>
                  <a:gd name="T4" fmla="*/ 419 w 449"/>
                  <a:gd name="T5" fmla="*/ 690 h 1140"/>
                  <a:gd name="T6" fmla="*/ 239 w 449"/>
                  <a:gd name="T7" fmla="*/ 600 h 1140"/>
                  <a:gd name="T8" fmla="*/ 269 w 449"/>
                  <a:gd name="T9" fmla="*/ 780 h 1140"/>
                  <a:gd name="T10" fmla="*/ 389 w 449"/>
                  <a:gd name="T11" fmla="*/ 570 h 1140"/>
                  <a:gd name="T12" fmla="*/ 419 w 449"/>
                  <a:gd name="T13" fmla="*/ 450 h 1140"/>
                  <a:gd name="T14" fmla="*/ 359 w 449"/>
                  <a:gd name="T15" fmla="*/ 330 h 1140"/>
                  <a:gd name="T16" fmla="*/ 389 w 449"/>
                  <a:gd name="T17" fmla="*/ 180 h 1140"/>
                  <a:gd name="T18" fmla="*/ 239 w 449"/>
                  <a:gd name="T19" fmla="*/ 60 h 1140"/>
                  <a:gd name="T20" fmla="*/ 150 w 449"/>
                  <a:gd name="T21" fmla="*/ 180 h 1140"/>
                  <a:gd name="T22" fmla="*/ 0 w 449"/>
                  <a:gd name="T23" fmla="*/ 270 h 1140"/>
                  <a:gd name="T24" fmla="*/ 0 w 449"/>
                  <a:gd name="T25" fmla="*/ 420 h 1140"/>
                  <a:gd name="T26" fmla="*/ 120 w 449"/>
                  <a:gd name="T27" fmla="*/ 330 h 1140"/>
                  <a:gd name="T28" fmla="*/ 269 w 449"/>
                  <a:gd name="T29" fmla="*/ 210 h 1140"/>
                  <a:gd name="T30" fmla="*/ 239 w 449"/>
                  <a:gd name="T31" fmla="*/ 60 h 1140"/>
                  <a:gd name="T32" fmla="*/ 120 w 449"/>
                  <a:gd name="T33" fmla="*/ 0 h 1140"/>
                  <a:gd name="T34" fmla="*/ 30 w 449"/>
                  <a:gd name="T35" fmla="*/ 9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1140">
                    <a:moveTo>
                      <a:pt x="449" y="1140"/>
                    </a:moveTo>
                    <a:lnTo>
                      <a:pt x="329" y="930"/>
                    </a:lnTo>
                    <a:lnTo>
                      <a:pt x="419" y="690"/>
                    </a:lnTo>
                    <a:lnTo>
                      <a:pt x="239" y="600"/>
                    </a:lnTo>
                    <a:lnTo>
                      <a:pt x="269" y="780"/>
                    </a:lnTo>
                    <a:lnTo>
                      <a:pt x="389" y="570"/>
                    </a:lnTo>
                    <a:lnTo>
                      <a:pt x="419" y="450"/>
                    </a:lnTo>
                    <a:lnTo>
                      <a:pt x="359" y="330"/>
                    </a:lnTo>
                    <a:lnTo>
                      <a:pt x="389" y="180"/>
                    </a:lnTo>
                    <a:lnTo>
                      <a:pt x="239" y="60"/>
                    </a:lnTo>
                    <a:lnTo>
                      <a:pt x="150" y="180"/>
                    </a:lnTo>
                    <a:lnTo>
                      <a:pt x="0" y="270"/>
                    </a:lnTo>
                    <a:lnTo>
                      <a:pt x="0" y="420"/>
                    </a:lnTo>
                    <a:lnTo>
                      <a:pt x="120" y="330"/>
                    </a:lnTo>
                    <a:lnTo>
                      <a:pt x="269" y="210"/>
                    </a:lnTo>
                    <a:lnTo>
                      <a:pt x="239" y="60"/>
                    </a:lnTo>
                    <a:lnTo>
                      <a:pt x="120" y="0"/>
                    </a:lnTo>
                    <a:lnTo>
                      <a:pt x="3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02" name="Line 2507">
                <a:extLst>
                  <a:ext uri="{FF2B5EF4-FFF2-40B4-BE49-F238E27FC236}">
                    <a16:creationId xmlns:a16="http://schemas.microsoft.com/office/drawing/2014/main" id="{6580F2A6-856D-4FFB-B2BC-3FD81BDD657A}"/>
                  </a:ext>
                </a:extLst>
              </p:cNvPr>
              <p:cNvSpPr>
                <a:spLocks noChangeShapeType="1"/>
              </p:cNvSpPr>
              <p:nvPr/>
            </p:nvSpPr>
            <p:spPr bwMode="auto">
              <a:xfrm>
                <a:off x="4004"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03" name="Freeform 2508">
                <a:extLst>
                  <a:ext uri="{FF2B5EF4-FFF2-40B4-BE49-F238E27FC236}">
                    <a16:creationId xmlns:a16="http://schemas.microsoft.com/office/drawing/2014/main" id="{958130FA-B1EE-4223-8F09-0B103516DB35}"/>
                  </a:ext>
                </a:extLst>
              </p:cNvPr>
              <p:cNvSpPr>
                <a:spLocks/>
              </p:cNvSpPr>
              <p:nvPr/>
            </p:nvSpPr>
            <p:spPr bwMode="auto">
              <a:xfrm>
                <a:off x="3525" y="1740"/>
                <a:ext cx="659" cy="423"/>
              </a:xfrm>
              <a:custGeom>
                <a:avLst/>
                <a:gdLst>
                  <a:gd name="T0" fmla="*/ 300 w 659"/>
                  <a:gd name="T1" fmla="*/ 303 h 423"/>
                  <a:gd name="T2" fmla="*/ 299 w 659"/>
                  <a:gd name="T3" fmla="*/ 150 h 423"/>
                  <a:gd name="T4" fmla="*/ 451 w 659"/>
                  <a:gd name="T5" fmla="*/ 423 h 423"/>
                  <a:gd name="T6" fmla="*/ 483 w 659"/>
                  <a:gd name="T7" fmla="*/ 213 h 423"/>
                  <a:gd name="T8" fmla="*/ 659 w 659"/>
                  <a:gd name="T9" fmla="*/ 300 h 423"/>
                  <a:gd name="T10" fmla="*/ 419 w 659"/>
                  <a:gd name="T11" fmla="*/ 60 h 423"/>
                  <a:gd name="T12" fmla="*/ 479 w 659"/>
                  <a:gd name="T13" fmla="*/ 210 h 423"/>
                  <a:gd name="T14" fmla="*/ 299 w 659"/>
                  <a:gd name="T15" fmla="*/ 0 h 423"/>
                  <a:gd name="T16" fmla="*/ 150 w 659"/>
                  <a:gd name="T17" fmla="*/ 150 h 423"/>
                  <a:gd name="T18" fmla="*/ 0 w 659"/>
                  <a:gd name="T19" fmla="*/ 9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9" h="423">
                    <a:moveTo>
                      <a:pt x="300" y="303"/>
                    </a:moveTo>
                    <a:lnTo>
                      <a:pt x="299" y="150"/>
                    </a:lnTo>
                    <a:lnTo>
                      <a:pt x="451" y="423"/>
                    </a:lnTo>
                    <a:lnTo>
                      <a:pt x="483" y="213"/>
                    </a:lnTo>
                    <a:lnTo>
                      <a:pt x="659" y="300"/>
                    </a:lnTo>
                    <a:lnTo>
                      <a:pt x="419" y="60"/>
                    </a:lnTo>
                    <a:lnTo>
                      <a:pt x="479" y="210"/>
                    </a:lnTo>
                    <a:lnTo>
                      <a:pt x="299" y="0"/>
                    </a:lnTo>
                    <a:lnTo>
                      <a:pt x="150" y="15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04" name="Freeform 2509">
                <a:extLst>
                  <a:ext uri="{FF2B5EF4-FFF2-40B4-BE49-F238E27FC236}">
                    <a16:creationId xmlns:a16="http://schemas.microsoft.com/office/drawing/2014/main" id="{6D921947-4DA8-4551-8265-DBD6BE001552}"/>
                  </a:ext>
                </a:extLst>
              </p:cNvPr>
              <p:cNvSpPr>
                <a:spLocks/>
              </p:cNvSpPr>
              <p:nvPr/>
            </p:nvSpPr>
            <p:spPr bwMode="auto">
              <a:xfrm>
                <a:off x="3315" y="1860"/>
                <a:ext cx="393" cy="123"/>
              </a:xfrm>
              <a:custGeom>
                <a:avLst/>
                <a:gdLst>
                  <a:gd name="T0" fmla="*/ 393 w 393"/>
                  <a:gd name="T1" fmla="*/ 123 h 123"/>
                  <a:gd name="T2" fmla="*/ 90 w 393"/>
                  <a:gd name="T3" fmla="*/ 60 h 123"/>
                  <a:gd name="T4" fmla="*/ 0 w 393"/>
                  <a:gd name="T5" fmla="*/ 0 h 123"/>
                </a:gdLst>
                <a:ahLst/>
                <a:cxnLst>
                  <a:cxn ang="0">
                    <a:pos x="T0" y="T1"/>
                  </a:cxn>
                  <a:cxn ang="0">
                    <a:pos x="T2" y="T3"/>
                  </a:cxn>
                  <a:cxn ang="0">
                    <a:pos x="T4" y="T5"/>
                  </a:cxn>
                </a:cxnLst>
                <a:rect l="0" t="0" r="r" b="b"/>
                <a:pathLst>
                  <a:path w="393" h="123">
                    <a:moveTo>
                      <a:pt x="393" y="123"/>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05" name="Freeform 2510">
                <a:extLst>
                  <a:ext uri="{FF2B5EF4-FFF2-40B4-BE49-F238E27FC236}">
                    <a16:creationId xmlns:a16="http://schemas.microsoft.com/office/drawing/2014/main" id="{E3EA3289-7151-4AE6-9F35-48A6FF1C0D13}"/>
                  </a:ext>
                </a:extLst>
              </p:cNvPr>
              <p:cNvSpPr>
                <a:spLocks/>
              </p:cNvSpPr>
              <p:nvPr/>
            </p:nvSpPr>
            <p:spPr bwMode="auto">
              <a:xfrm>
                <a:off x="1276" y="60"/>
                <a:ext cx="690" cy="600"/>
              </a:xfrm>
              <a:custGeom>
                <a:avLst/>
                <a:gdLst>
                  <a:gd name="T0" fmla="*/ 690 w 690"/>
                  <a:gd name="T1" fmla="*/ 600 h 600"/>
                  <a:gd name="T2" fmla="*/ 630 w 690"/>
                  <a:gd name="T3" fmla="*/ 450 h 600"/>
                  <a:gd name="T4" fmla="*/ 480 w 690"/>
                  <a:gd name="T5" fmla="*/ 210 h 600"/>
                  <a:gd name="T6" fmla="*/ 330 w 690"/>
                  <a:gd name="T7" fmla="*/ 0 h 600"/>
                  <a:gd name="T8" fmla="*/ 150 w 690"/>
                  <a:gd name="T9" fmla="*/ 90 h 600"/>
                  <a:gd name="T10" fmla="*/ 60 w 690"/>
                  <a:gd name="T11" fmla="*/ 210 h 600"/>
                  <a:gd name="T12" fmla="*/ 300 w 690"/>
                  <a:gd name="T13" fmla="*/ 210 h 600"/>
                  <a:gd name="T14" fmla="*/ 330 w 690"/>
                  <a:gd name="T15" fmla="*/ 0 h 600"/>
                  <a:gd name="T16" fmla="*/ 0 w 690"/>
                  <a:gd name="T17" fmla="*/ 60 h 600"/>
                  <a:gd name="T18" fmla="*/ 150 w 690"/>
                  <a:gd name="T19" fmla="*/ 90 h 600"/>
                  <a:gd name="T20" fmla="*/ 180 w 690"/>
                  <a:gd name="T21" fmla="*/ 240 h 600"/>
                  <a:gd name="T22" fmla="*/ 60 w 690"/>
                  <a:gd name="T23" fmla="*/ 210 h 600"/>
                  <a:gd name="T24" fmla="*/ 30 w 690"/>
                  <a:gd name="T25" fmla="*/ 360 h 600"/>
                  <a:gd name="T26" fmla="*/ 60 w 690"/>
                  <a:gd name="T27" fmla="*/ 51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0" h="600">
                    <a:moveTo>
                      <a:pt x="690" y="600"/>
                    </a:moveTo>
                    <a:lnTo>
                      <a:pt x="630" y="450"/>
                    </a:lnTo>
                    <a:lnTo>
                      <a:pt x="480" y="210"/>
                    </a:lnTo>
                    <a:lnTo>
                      <a:pt x="330" y="0"/>
                    </a:lnTo>
                    <a:lnTo>
                      <a:pt x="150" y="90"/>
                    </a:lnTo>
                    <a:lnTo>
                      <a:pt x="60" y="210"/>
                    </a:lnTo>
                    <a:lnTo>
                      <a:pt x="300" y="210"/>
                    </a:lnTo>
                    <a:lnTo>
                      <a:pt x="330" y="0"/>
                    </a:lnTo>
                    <a:lnTo>
                      <a:pt x="0" y="60"/>
                    </a:lnTo>
                    <a:lnTo>
                      <a:pt x="150" y="90"/>
                    </a:lnTo>
                    <a:lnTo>
                      <a:pt x="180" y="240"/>
                    </a:lnTo>
                    <a:lnTo>
                      <a:pt x="60" y="210"/>
                    </a:lnTo>
                    <a:lnTo>
                      <a:pt x="30" y="360"/>
                    </a:lnTo>
                    <a:lnTo>
                      <a:pt x="60"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06" name="Freeform 2511">
                <a:extLst>
                  <a:ext uri="{FF2B5EF4-FFF2-40B4-BE49-F238E27FC236}">
                    <a16:creationId xmlns:a16="http://schemas.microsoft.com/office/drawing/2014/main" id="{A44D8F6C-A724-4B1B-A3B8-7CE99358E112}"/>
                  </a:ext>
                </a:extLst>
              </p:cNvPr>
              <p:cNvSpPr>
                <a:spLocks/>
              </p:cNvSpPr>
              <p:nvPr/>
            </p:nvSpPr>
            <p:spPr bwMode="auto">
              <a:xfrm>
                <a:off x="1306" y="2700"/>
                <a:ext cx="600" cy="510"/>
              </a:xfrm>
              <a:custGeom>
                <a:avLst/>
                <a:gdLst>
                  <a:gd name="T0" fmla="*/ 540 w 600"/>
                  <a:gd name="T1" fmla="*/ 90 h 510"/>
                  <a:gd name="T2" fmla="*/ 600 w 600"/>
                  <a:gd name="T3" fmla="*/ 270 h 510"/>
                  <a:gd name="T4" fmla="*/ 480 w 600"/>
                  <a:gd name="T5" fmla="*/ 270 h 510"/>
                  <a:gd name="T6" fmla="*/ 570 w 600"/>
                  <a:gd name="T7" fmla="*/ 420 h 510"/>
                  <a:gd name="T8" fmla="*/ 510 w 600"/>
                  <a:gd name="T9" fmla="*/ 510 h 510"/>
                  <a:gd name="T10" fmla="*/ 420 w 600"/>
                  <a:gd name="T11" fmla="*/ 360 h 510"/>
                  <a:gd name="T12" fmla="*/ 240 w 600"/>
                  <a:gd name="T13" fmla="*/ 450 h 510"/>
                  <a:gd name="T14" fmla="*/ 300 w 600"/>
                  <a:gd name="T15" fmla="*/ 270 h 510"/>
                  <a:gd name="T16" fmla="*/ 150 w 600"/>
                  <a:gd name="T17" fmla="*/ 420 h 510"/>
                  <a:gd name="T18" fmla="*/ 180 w 600"/>
                  <a:gd name="T19" fmla="*/ 300 h 510"/>
                  <a:gd name="T20" fmla="*/ 30 w 600"/>
                  <a:gd name="T21" fmla="*/ 360 h 510"/>
                  <a:gd name="T22" fmla="*/ 0 w 600"/>
                  <a:gd name="T23" fmla="*/ 510 h 510"/>
                  <a:gd name="T24" fmla="*/ 180 w 600"/>
                  <a:gd name="T25" fmla="*/ 210 h 510"/>
                  <a:gd name="T26" fmla="*/ 60 w 600"/>
                  <a:gd name="T27" fmla="*/ 120 h 510"/>
                  <a:gd name="T28" fmla="*/ 0 w 600"/>
                  <a:gd name="T29" fmla="*/ 210 h 510"/>
                  <a:gd name="T30" fmla="*/ 0 w 600"/>
                  <a:gd name="T31" fmla="*/ 0 h 510"/>
                  <a:gd name="T32" fmla="*/ 180 w 600"/>
                  <a:gd name="T33" fmla="*/ 30 h 510"/>
                  <a:gd name="T34" fmla="*/ 270 w 600"/>
                  <a:gd name="T35" fmla="*/ 120 h 510"/>
                  <a:gd name="T36" fmla="*/ 390 w 600"/>
                  <a:gd name="T37" fmla="*/ 150 h 510"/>
                  <a:gd name="T38" fmla="*/ 540 w 600"/>
                  <a:gd name="T39" fmla="*/ 9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0" h="510">
                    <a:moveTo>
                      <a:pt x="540" y="90"/>
                    </a:moveTo>
                    <a:lnTo>
                      <a:pt x="600" y="270"/>
                    </a:lnTo>
                    <a:lnTo>
                      <a:pt x="480" y="270"/>
                    </a:lnTo>
                    <a:lnTo>
                      <a:pt x="570" y="420"/>
                    </a:lnTo>
                    <a:lnTo>
                      <a:pt x="510" y="510"/>
                    </a:lnTo>
                    <a:lnTo>
                      <a:pt x="420" y="360"/>
                    </a:lnTo>
                    <a:lnTo>
                      <a:pt x="240" y="450"/>
                    </a:lnTo>
                    <a:lnTo>
                      <a:pt x="300" y="270"/>
                    </a:lnTo>
                    <a:lnTo>
                      <a:pt x="150" y="420"/>
                    </a:lnTo>
                    <a:lnTo>
                      <a:pt x="180" y="300"/>
                    </a:lnTo>
                    <a:lnTo>
                      <a:pt x="30" y="360"/>
                    </a:lnTo>
                    <a:lnTo>
                      <a:pt x="0" y="510"/>
                    </a:lnTo>
                    <a:lnTo>
                      <a:pt x="180" y="210"/>
                    </a:lnTo>
                    <a:lnTo>
                      <a:pt x="60" y="120"/>
                    </a:lnTo>
                    <a:lnTo>
                      <a:pt x="0" y="210"/>
                    </a:lnTo>
                    <a:lnTo>
                      <a:pt x="0" y="0"/>
                    </a:lnTo>
                    <a:lnTo>
                      <a:pt x="180" y="30"/>
                    </a:lnTo>
                    <a:lnTo>
                      <a:pt x="270" y="120"/>
                    </a:lnTo>
                    <a:lnTo>
                      <a:pt x="390" y="150"/>
                    </a:lnTo>
                    <a:lnTo>
                      <a:pt x="54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07" name="Freeform 2512">
                <a:extLst>
                  <a:ext uri="{FF2B5EF4-FFF2-40B4-BE49-F238E27FC236}">
                    <a16:creationId xmlns:a16="http://schemas.microsoft.com/office/drawing/2014/main" id="{2DC8DED6-0835-4CF6-A642-BA0C73F67266}"/>
                  </a:ext>
                </a:extLst>
              </p:cNvPr>
              <p:cNvSpPr>
                <a:spLocks/>
              </p:cNvSpPr>
              <p:nvPr/>
            </p:nvSpPr>
            <p:spPr bwMode="auto">
              <a:xfrm>
                <a:off x="1636" y="2700"/>
                <a:ext cx="539" cy="360"/>
              </a:xfrm>
              <a:custGeom>
                <a:avLst/>
                <a:gdLst>
                  <a:gd name="T0" fmla="*/ 90 w 539"/>
                  <a:gd name="T1" fmla="*/ 360 h 360"/>
                  <a:gd name="T2" fmla="*/ 60 w 539"/>
                  <a:gd name="T3" fmla="*/ 150 h 360"/>
                  <a:gd name="T4" fmla="*/ 0 w 539"/>
                  <a:gd name="T5" fmla="*/ 0 h 360"/>
                  <a:gd name="T6" fmla="*/ 210 w 539"/>
                  <a:gd name="T7" fmla="*/ 90 h 360"/>
                  <a:gd name="T8" fmla="*/ 360 w 539"/>
                  <a:gd name="T9" fmla="*/ 180 h 360"/>
                  <a:gd name="T10" fmla="*/ 270 w 539"/>
                  <a:gd name="T11" fmla="*/ 270 h 360"/>
                  <a:gd name="T12" fmla="*/ 450 w 539"/>
                  <a:gd name="T13" fmla="*/ 330 h 360"/>
                  <a:gd name="T14" fmla="*/ 509 w 539"/>
                  <a:gd name="T15" fmla="*/ 210 h 360"/>
                  <a:gd name="T16" fmla="*/ 360 w 539"/>
                  <a:gd name="T17" fmla="*/ 60 h 360"/>
                  <a:gd name="T18" fmla="*/ 539 w 539"/>
                  <a:gd name="T1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360">
                    <a:moveTo>
                      <a:pt x="90" y="360"/>
                    </a:moveTo>
                    <a:lnTo>
                      <a:pt x="60" y="150"/>
                    </a:lnTo>
                    <a:lnTo>
                      <a:pt x="0" y="0"/>
                    </a:lnTo>
                    <a:lnTo>
                      <a:pt x="210" y="90"/>
                    </a:lnTo>
                    <a:lnTo>
                      <a:pt x="360" y="180"/>
                    </a:lnTo>
                    <a:lnTo>
                      <a:pt x="270" y="270"/>
                    </a:lnTo>
                    <a:lnTo>
                      <a:pt x="450" y="330"/>
                    </a:lnTo>
                    <a:lnTo>
                      <a:pt x="509" y="210"/>
                    </a:lnTo>
                    <a:lnTo>
                      <a:pt x="360" y="60"/>
                    </a:lnTo>
                    <a:lnTo>
                      <a:pt x="53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08" name="Freeform 2513">
                <a:extLst>
                  <a:ext uri="{FF2B5EF4-FFF2-40B4-BE49-F238E27FC236}">
                    <a16:creationId xmlns:a16="http://schemas.microsoft.com/office/drawing/2014/main" id="{D90AE37F-A429-488E-9E14-12F56C70CF7D}"/>
                  </a:ext>
                </a:extLst>
              </p:cNvPr>
              <p:cNvSpPr>
                <a:spLocks/>
              </p:cNvSpPr>
              <p:nvPr/>
            </p:nvSpPr>
            <p:spPr bwMode="auto">
              <a:xfrm>
                <a:off x="1456" y="3120"/>
                <a:ext cx="360" cy="90"/>
              </a:xfrm>
              <a:custGeom>
                <a:avLst/>
                <a:gdLst>
                  <a:gd name="T0" fmla="*/ 360 w 360"/>
                  <a:gd name="T1" fmla="*/ 90 h 90"/>
                  <a:gd name="T2" fmla="*/ 90 w 360"/>
                  <a:gd name="T3" fmla="*/ 30 h 90"/>
                  <a:gd name="T4" fmla="*/ 0 w 360"/>
                  <a:gd name="T5" fmla="*/ 0 h 90"/>
                </a:gdLst>
                <a:ahLst/>
                <a:cxnLst>
                  <a:cxn ang="0">
                    <a:pos x="T0" y="T1"/>
                  </a:cxn>
                  <a:cxn ang="0">
                    <a:pos x="T2" y="T3"/>
                  </a:cxn>
                  <a:cxn ang="0">
                    <a:pos x="T4" y="T5"/>
                  </a:cxn>
                </a:cxnLst>
                <a:rect l="0" t="0" r="r" b="b"/>
                <a:pathLst>
                  <a:path w="360" h="90">
                    <a:moveTo>
                      <a:pt x="360" y="90"/>
                    </a:moveTo>
                    <a:lnTo>
                      <a:pt x="9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09" name="Freeform 2514">
                <a:extLst>
                  <a:ext uri="{FF2B5EF4-FFF2-40B4-BE49-F238E27FC236}">
                    <a16:creationId xmlns:a16="http://schemas.microsoft.com/office/drawing/2014/main" id="{C43E2FE6-04FC-4305-9B02-1164CE0E300E}"/>
                  </a:ext>
                </a:extLst>
              </p:cNvPr>
              <p:cNvSpPr>
                <a:spLocks/>
              </p:cNvSpPr>
              <p:nvPr/>
            </p:nvSpPr>
            <p:spPr bwMode="auto">
              <a:xfrm>
                <a:off x="1306" y="2820"/>
                <a:ext cx="270" cy="240"/>
              </a:xfrm>
              <a:custGeom>
                <a:avLst/>
                <a:gdLst>
                  <a:gd name="T0" fmla="*/ 30 w 270"/>
                  <a:gd name="T1" fmla="*/ 240 h 240"/>
                  <a:gd name="T2" fmla="*/ 0 w 270"/>
                  <a:gd name="T3" fmla="*/ 90 h 240"/>
                  <a:gd name="T4" fmla="*/ 270 w 270"/>
                  <a:gd name="T5" fmla="*/ 0 h 240"/>
                </a:gdLst>
                <a:ahLst/>
                <a:cxnLst>
                  <a:cxn ang="0">
                    <a:pos x="T0" y="T1"/>
                  </a:cxn>
                  <a:cxn ang="0">
                    <a:pos x="T2" y="T3"/>
                  </a:cxn>
                  <a:cxn ang="0">
                    <a:pos x="T4" y="T5"/>
                  </a:cxn>
                </a:cxnLst>
                <a:rect l="0" t="0" r="r" b="b"/>
                <a:pathLst>
                  <a:path w="270" h="240">
                    <a:moveTo>
                      <a:pt x="30" y="240"/>
                    </a:moveTo>
                    <a:lnTo>
                      <a:pt x="0" y="90"/>
                    </a:lnTo>
                    <a:lnTo>
                      <a:pt x="27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10" name="Freeform 2515">
                <a:extLst>
                  <a:ext uri="{FF2B5EF4-FFF2-40B4-BE49-F238E27FC236}">
                    <a16:creationId xmlns:a16="http://schemas.microsoft.com/office/drawing/2014/main" id="{45BF7D21-D020-462F-9071-02DD03D22075}"/>
                  </a:ext>
                </a:extLst>
              </p:cNvPr>
              <p:cNvSpPr>
                <a:spLocks/>
              </p:cNvSpPr>
              <p:nvPr/>
            </p:nvSpPr>
            <p:spPr bwMode="auto">
              <a:xfrm>
                <a:off x="1486" y="2490"/>
                <a:ext cx="210" cy="240"/>
              </a:xfrm>
              <a:custGeom>
                <a:avLst/>
                <a:gdLst>
                  <a:gd name="T0" fmla="*/ 0 w 210"/>
                  <a:gd name="T1" fmla="*/ 240 h 240"/>
                  <a:gd name="T2" fmla="*/ 150 w 210"/>
                  <a:gd name="T3" fmla="*/ 210 h 240"/>
                  <a:gd name="T4" fmla="*/ 120 w 210"/>
                  <a:gd name="T5" fmla="*/ 0 h 240"/>
                  <a:gd name="T6" fmla="*/ 210 w 210"/>
                  <a:gd name="T7" fmla="*/ 60 h 240"/>
                </a:gdLst>
                <a:ahLst/>
                <a:cxnLst>
                  <a:cxn ang="0">
                    <a:pos x="T0" y="T1"/>
                  </a:cxn>
                  <a:cxn ang="0">
                    <a:pos x="T2" y="T3"/>
                  </a:cxn>
                  <a:cxn ang="0">
                    <a:pos x="T4" y="T5"/>
                  </a:cxn>
                  <a:cxn ang="0">
                    <a:pos x="T6" y="T7"/>
                  </a:cxn>
                </a:cxnLst>
                <a:rect l="0" t="0" r="r" b="b"/>
                <a:pathLst>
                  <a:path w="210" h="240">
                    <a:moveTo>
                      <a:pt x="0" y="240"/>
                    </a:moveTo>
                    <a:lnTo>
                      <a:pt x="150" y="210"/>
                    </a:lnTo>
                    <a:lnTo>
                      <a:pt x="120" y="0"/>
                    </a:lnTo>
                    <a:lnTo>
                      <a:pt x="21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11" name="Freeform 2516">
                <a:extLst>
                  <a:ext uri="{FF2B5EF4-FFF2-40B4-BE49-F238E27FC236}">
                    <a16:creationId xmlns:a16="http://schemas.microsoft.com/office/drawing/2014/main" id="{6220F378-A082-4015-8114-6575BFA4D52D}"/>
                  </a:ext>
                </a:extLst>
              </p:cNvPr>
              <p:cNvSpPr>
                <a:spLocks/>
              </p:cNvSpPr>
              <p:nvPr/>
            </p:nvSpPr>
            <p:spPr bwMode="auto">
              <a:xfrm>
                <a:off x="1276" y="2190"/>
                <a:ext cx="510" cy="630"/>
              </a:xfrm>
              <a:custGeom>
                <a:avLst/>
                <a:gdLst>
                  <a:gd name="T0" fmla="*/ 270 w 510"/>
                  <a:gd name="T1" fmla="*/ 450 h 630"/>
                  <a:gd name="T2" fmla="*/ 0 w 510"/>
                  <a:gd name="T3" fmla="*/ 390 h 630"/>
                  <a:gd name="T4" fmla="*/ 30 w 510"/>
                  <a:gd name="T5" fmla="*/ 300 h 630"/>
                  <a:gd name="T6" fmla="*/ 210 w 510"/>
                  <a:gd name="T7" fmla="*/ 330 h 630"/>
                  <a:gd name="T8" fmla="*/ 150 w 510"/>
                  <a:gd name="T9" fmla="*/ 120 h 630"/>
                  <a:gd name="T10" fmla="*/ 90 w 510"/>
                  <a:gd name="T11" fmla="*/ 210 h 630"/>
                  <a:gd name="T12" fmla="*/ 60 w 510"/>
                  <a:gd name="T13" fmla="*/ 120 h 630"/>
                  <a:gd name="T14" fmla="*/ 180 w 510"/>
                  <a:gd name="T15" fmla="*/ 0 h 630"/>
                  <a:gd name="T16" fmla="*/ 300 w 510"/>
                  <a:gd name="T17" fmla="*/ 120 h 630"/>
                  <a:gd name="T18" fmla="*/ 510 w 510"/>
                  <a:gd name="T19" fmla="*/ 150 h 630"/>
                  <a:gd name="T20" fmla="*/ 330 w 510"/>
                  <a:gd name="T21" fmla="*/ 300 h 630"/>
                  <a:gd name="T22" fmla="*/ 270 w 510"/>
                  <a:gd name="T23" fmla="*/ 450 h 630"/>
                  <a:gd name="T24" fmla="*/ 30 w 510"/>
                  <a:gd name="T25" fmla="*/ 510 h 630"/>
                  <a:gd name="T26" fmla="*/ 300 w 510"/>
                  <a:gd name="T27" fmla="*/ 120 h 630"/>
                  <a:gd name="T28" fmla="*/ 30 w 510"/>
                  <a:gd name="T29" fmla="*/ 300 h 630"/>
                  <a:gd name="T30" fmla="*/ 90 w 510"/>
                  <a:gd name="T31" fmla="*/ 210 h 630"/>
                  <a:gd name="T32" fmla="*/ 330 w 510"/>
                  <a:gd name="T33" fmla="*/ 300 h 630"/>
                  <a:gd name="T34" fmla="*/ 210 w 510"/>
                  <a:gd name="T35" fmla="*/ 330 h 630"/>
                  <a:gd name="T36" fmla="*/ 270 w 510"/>
                  <a:gd name="T37" fmla="*/ 450 h 630"/>
                  <a:gd name="T38" fmla="*/ 210 w 510"/>
                  <a:gd name="T39" fmla="*/ 540 h 630"/>
                  <a:gd name="T40" fmla="*/ 90 w 510"/>
                  <a:gd name="T41"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0" h="630">
                    <a:moveTo>
                      <a:pt x="270" y="450"/>
                    </a:moveTo>
                    <a:lnTo>
                      <a:pt x="0" y="390"/>
                    </a:lnTo>
                    <a:lnTo>
                      <a:pt x="30" y="300"/>
                    </a:lnTo>
                    <a:lnTo>
                      <a:pt x="210" y="330"/>
                    </a:lnTo>
                    <a:lnTo>
                      <a:pt x="150" y="120"/>
                    </a:lnTo>
                    <a:lnTo>
                      <a:pt x="90" y="210"/>
                    </a:lnTo>
                    <a:lnTo>
                      <a:pt x="60" y="120"/>
                    </a:lnTo>
                    <a:lnTo>
                      <a:pt x="180" y="0"/>
                    </a:lnTo>
                    <a:lnTo>
                      <a:pt x="300" y="120"/>
                    </a:lnTo>
                    <a:lnTo>
                      <a:pt x="510" y="150"/>
                    </a:lnTo>
                    <a:lnTo>
                      <a:pt x="330" y="300"/>
                    </a:lnTo>
                    <a:lnTo>
                      <a:pt x="270" y="450"/>
                    </a:lnTo>
                    <a:lnTo>
                      <a:pt x="30" y="510"/>
                    </a:lnTo>
                    <a:lnTo>
                      <a:pt x="300" y="120"/>
                    </a:lnTo>
                    <a:lnTo>
                      <a:pt x="30" y="300"/>
                    </a:lnTo>
                    <a:lnTo>
                      <a:pt x="90" y="210"/>
                    </a:lnTo>
                    <a:lnTo>
                      <a:pt x="330" y="300"/>
                    </a:lnTo>
                    <a:lnTo>
                      <a:pt x="210" y="330"/>
                    </a:lnTo>
                    <a:lnTo>
                      <a:pt x="270" y="450"/>
                    </a:lnTo>
                    <a:lnTo>
                      <a:pt x="210" y="540"/>
                    </a:lnTo>
                    <a:lnTo>
                      <a:pt x="90" y="6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12" name="Freeform 2517">
                <a:extLst>
                  <a:ext uri="{FF2B5EF4-FFF2-40B4-BE49-F238E27FC236}">
                    <a16:creationId xmlns:a16="http://schemas.microsoft.com/office/drawing/2014/main" id="{117F628F-83E4-4AA8-9D99-C27EDEC19441}"/>
                  </a:ext>
                </a:extLst>
              </p:cNvPr>
              <p:cNvSpPr>
                <a:spLocks/>
              </p:cNvSpPr>
              <p:nvPr/>
            </p:nvSpPr>
            <p:spPr bwMode="auto">
              <a:xfrm>
                <a:off x="1576" y="2190"/>
                <a:ext cx="420" cy="480"/>
              </a:xfrm>
              <a:custGeom>
                <a:avLst/>
                <a:gdLst>
                  <a:gd name="T0" fmla="*/ 420 w 420"/>
                  <a:gd name="T1" fmla="*/ 150 h 480"/>
                  <a:gd name="T2" fmla="*/ 120 w 420"/>
                  <a:gd name="T3" fmla="*/ 0 h 480"/>
                  <a:gd name="T4" fmla="*/ 0 w 420"/>
                  <a:gd name="T5" fmla="*/ 120 h 480"/>
                  <a:gd name="T6" fmla="*/ 240 w 420"/>
                  <a:gd name="T7" fmla="*/ 300 h 480"/>
                  <a:gd name="T8" fmla="*/ 120 w 420"/>
                  <a:gd name="T9" fmla="*/ 360 h 480"/>
                  <a:gd name="T10" fmla="*/ 210 w 420"/>
                  <a:gd name="T11" fmla="*/ 480 h 480"/>
                </a:gdLst>
                <a:ahLst/>
                <a:cxnLst>
                  <a:cxn ang="0">
                    <a:pos x="T0" y="T1"/>
                  </a:cxn>
                  <a:cxn ang="0">
                    <a:pos x="T2" y="T3"/>
                  </a:cxn>
                  <a:cxn ang="0">
                    <a:pos x="T4" y="T5"/>
                  </a:cxn>
                  <a:cxn ang="0">
                    <a:pos x="T6" y="T7"/>
                  </a:cxn>
                  <a:cxn ang="0">
                    <a:pos x="T8" y="T9"/>
                  </a:cxn>
                  <a:cxn ang="0">
                    <a:pos x="T10" y="T11"/>
                  </a:cxn>
                </a:cxnLst>
                <a:rect l="0" t="0" r="r" b="b"/>
                <a:pathLst>
                  <a:path w="420" h="480">
                    <a:moveTo>
                      <a:pt x="420" y="150"/>
                    </a:moveTo>
                    <a:lnTo>
                      <a:pt x="120" y="0"/>
                    </a:lnTo>
                    <a:lnTo>
                      <a:pt x="0" y="120"/>
                    </a:lnTo>
                    <a:lnTo>
                      <a:pt x="240" y="300"/>
                    </a:lnTo>
                    <a:lnTo>
                      <a:pt x="120" y="360"/>
                    </a:lnTo>
                    <a:lnTo>
                      <a:pt x="210" y="4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13" name="Freeform 2518">
                <a:extLst>
                  <a:ext uri="{FF2B5EF4-FFF2-40B4-BE49-F238E27FC236}">
                    <a16:creationId xmlns:a16="http://schemas.microsoft.com/office/drawing/2014/main" id="{4D2AA35D-29E0-43A8-9DF5-18829A295EE9}"/>
                  </a:ext>
                </a:extLst>
              </p:cNvPr>
              <p:cNvSpPr>
                <a:spLocks/>
              </p:cNvSpPr>
              <p:nvPr/>
            </p:nvSpPr>
            <p:spPr bwMode="auto">
              <a:xfrm>
                <a:off x="1336" y="1620"/>
                <a:ext cx="420" cy="690"/>
              </a:xfrm>
              <a:custGeom>
                <a:avLst/>
                <a:gdLst>
                  <a:gd name="T0" fmla="*/ 240 w 420"/>
                  <a:gd name="T1" fmla="*/ 690 h 690"/>
                  <a:gd name="T2" fmla="*/ 210 w 420"/>
                  <a:gd name="T3" fmla="*/ 540 h 690"/>
                  <a:gd name="T4" fmla="*/ 150 w 420"/>
                  <a:gd name="T5" fmla="*/ 270 h 690"/>
                  <a:gd name="T6" fmla="*/ 60 w 420"/>
                  <a:gd name="T7" fmla="*/ 0 h 690"/>
                  <a:gd name="T8" fmla="*/ 0 w 420"/>
                  <a:gd name="T9" fmla="*/ 180 h 690"/>
                  <a:gd name="T10" fmla="*/ 150 w 420"/>
                  <a:gd name="T11" fmla="*/ 270 h 690"/>
                  <a:gd name="T12" fmla="*/ 330 w 420"/>
                  <a:gd name="T13" fmla="*/ 390 h 690"/>
                  <a:gd name="T14" fmla="*/ 270 w 420"/>
                  <a:gd name="T15" fmla="*/ 180 h 690"/>
                  <a:gd name="T16" fmla="*/ 420 w 420"/>
                  <a:gd name="T17" fmla="*/ 30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690">
                    <a:moveTo>
                      <a:pt x="240" y="690"/>
                    </a:moveTo>
                    <a:lnTo>
                      <a:pt x="210" y="540"/>
                    </a:lnTo>
                    <a:lnTo>
                      <a:pt x="150" y="270"/>
                    </a:lnTo>
                    <a:lnTo>
                      <a:pt x="60" y="0"/>
                    </a:lnTo>
                    <a:lnTo>
                      <a:pt x="0" y="180"/>
                    </a:lnTo>
                    <a:lnTo>
                      <a:pt x="150" y="270"/>
                    </a:lnTo>
                    <a:lnTo>
                      <a:pt x="330" y="390"/>
                    </a:lnTo>
                    <a:lnTo>
                      <a:pt x="270" y="180"/>
                    </a:lnTo>
                    <a:lnTo>
                      <a:pt x="42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14" name="Freeform 2519">
                <a:extLst>
                  <a:ext uri="{FF2B5EF4-FFF2-40B4-BE49-F238E27FC236}">
                    <a16:creationId xmlns:a16="http://schemas.microsoft.com/office/drawing/2014/main" id="{0261C770-3174-456E-9BF0-0B8C42BBFFA0}"/>
                  </a:ext>
                </a:extLst>
              </p:cNvPr>
              <p:cNvSpPr>
                <a:spLocks/>
              </p:cNvSpPr>
              <p:nvPr/>
            </p:nvSpPr>
            <p:spPr bwMode="auto">
              <a:xfrm>
                <a:off x="1666" y="2010"/>
                <a:ext cx="420" cy="180"/>
              </a:xfrm>
              <a:custGeom>
                <a:avLst/>
                <a:gdLst>
                  <a:gd name="T0" fmla="*/ 210 w 420"/>
                  <a:gd name="T1" fmla="*/ 150 h 180"/>
                  <a:gd name="T2" fmla="*/ 0 w 420"/>
                  <a:gd name="T3" fmla="*/ 0 h 180"/>
                  <a:gd name="T4" fmla="*/ 30 w 420"/>
                  <a:gd name="T5" fmla="*/ 180 h 180"/>
                  <a:gd name="T6" fmla="*/ 243 w 420"/>
                  <a:gd name="T7" fmla="*/ 3 h 180"/>
                  <a:gd name="T8" fmla="*/ 390 w 420"/>
                  <a:gd name="T9" fmla="*/ 120 h 180"/>
                  <a:gd name="T10" fmla="*/ 420 w 420"/>
                  <a:gd name="T11" fmla="*/ 0 h 180"/>
                </a:gdLst>
                <a:ahLst/>
                <a:cxnLst>
                  <a:cxn ang="0">
                    <a:pos x="T0" y="T1"/>
                  </a:cxn>
                  <a:cxn ang="0">
                    <a:pos x="T2" y="T3"/>
                  </a:cxn>
                  <a:cxn ang="0">
                    <a:pos x="T4" y="T5"/>
                  </a:cxn>
                  <a:cxn ang="0">
                    <a:pos x="T6" y="T7"/>
                  </a:cxn>
                  <a:cxn ang="0">
                    <a:pos x="T8" y="T9"/>
                  </a:cxn>
                  <a:cxn ang="0">
                    <a:pos x="T10" y="T11"/>
                  </a:cxn>
                </a:cxnLst>
                <a:rect l="0" t="0" r="r" b="b"/>
                <a:pathLst>
                  <a:path w="420" h="180">
                    <a:moveTo>
                      <a:pt x="210" y="150"/>
                    </a:moveTo>
                    <a:lnTo>
                      <a:pt x="0" y="0"/>
                    </a:lnTo>
                    <a:lnTo>
                      <a:pt x="30" y="180"/>
                    </a:lnTo>
                    <a:lnTo>
                      <a:pt x="243" y="3"/>
                    </a:lnTo>
                    <a:lnTo>
                      <a:pt x="390" y="12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15" name="Line 2520">
                <a:extLst>
                  <a:ext uri="{FF2B5EF4-FFF2-40B4-BE49-F238E27FC236}">
                    <a16:creationId xmlns:a16="http://schemas.microsoft.com/office/drawing/2014/main" id="{F5778DD7-13AB-4F7A-A5D1-00064611FA09}"/>
                  </a:ext>
                </a:extLst>
              </p:cNvPr>
              <p:cNvSpPr>
                <a:spLocks noChangeShapeType="1"/>
              </p:cNvSpPr>
              <p:nvPr/>
            </p:nvSpPr>
            <p:spPr bwMode="auto">
              <a:xfrm>
                <a:off x="1696" y="2190"/>
                <a:ext cx="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16" name="Line 2521">
                <a:extLst>
                  <a:ext uri="{FF2B5EF4-FFF2-40B4-BE49-F238E27FC236}">
                    <a16:creationId xmlns:a16="http://schemas.microsoft.com/office/drawing/2014/main" id="{BC417F9E-D147-4977-A26D-2A4F4549B37A}"/>
                  </a:ext>
                </a:extLst>
              </p:cNvPr>
              <p:cNvSpPr>
                <a:spLocks noChangeShapeType="1"/>
              </p:cNvSpPr>
              <p:nvPr/>
            </p:nvSpPr>
            <p:spPr bwMode="auto">
              <a:xfrm flipH="1" flipV="1">
                <a:off x="1426" y="2310"/>
                <a:ext cx="39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17" name="Freeform 2522">
                <a:extLst>
                  <a:ext uri="{FF2B5EF4-FFF2-40B4-BE49-F238E27FC236}">
                    <a16:creationId xmlns:a16="http://schemas.microsoft.com/office/drawing/2014/main" id="{FDE4CAF0-4D65-4B7B-A183-AE15DD95183D}"/>
                  </a:ext>
                </a:extLst>
              </p:cNvPr>
              <p:cNvSpPr>
                <a:spLocks/>
              </p:cNvSpPr>
              <p:nvPr/>
            </p:nvSpPr>
            <p:spPr bwMode="auto">
              <a:xfrm>
                <a:off x="1276" y="1950"/>
                <a:ext cx="180" cy="360"/>
              </a:xfrm>
              <a:custGeom>
                <a:avLst/>
                <a:gdLst>
                  <a:gd name="T0" fmla="*/ 180 w 180"/>
                  <a:gd name="T1" fmla="*/ 240 h 360"/>
                  <a:gd name="T2" fmla="*/ 0 w 180"/>
                  <a:gd name="T3" fmla="*/ 210 h 360"/>
                  <a:gd name="T4" fmla="*/ 60 w 180"/>
                  <a:gd name="T5" fmla="*/ 360 h 360"/>
                  <a:gd name="T6" fmla="*/ 180 w 180"/>
                  <a:gd name="T7" fmla="*/ 90 h 360"/>
                  <a:gd name="T8" fmla="*/ 90 w 180"/>
                  <a:gd name="T9" fmla="*/ 0 h 360"/>
                </a:gdLst>
                <a:ahLst/>
                <a:cxnLst>
                  <a:cxn ang="0">
                    <a:pos x="T0" y="T1"/>
                  </a:cxn>
                  <a:cxn ang="0">
                    <a:pos x="T2" y="T3"/>
                  </a:cxn>
                  <a:cxn ang="0">
                    <a:pos x="T4" y="T5"/>
                  </a:cxn>
                  <a:cxn ang="0">
                    <a:pos x="T6" y="T7"/>
                  </a:cxn>
                  <a:cxn ang="0">
                    <a:pos x="T8" y="T9"/>
                  </a:cxn>
                </a:cxnLst>
                <a:rect l="0" t="0" r="r" b="b"/>
                <a:pathLst>
                  <a:path w="180" h="360">
                    <a:moveTo>
                      <a:pt x="180" y="240"/>
                    </a:moveTo>
                    <a:lnTo>
                      <a:pt x="0" y="210"/>
                    </a:lnTo>
                    <a:lnTo>
                      <a:pt x="60" y="360"/>
                    </a:lnTo>
                    <a:lnTo>
                      <a:pt x="180" y="90"/>
                    </a:lnTo>
                    <a:lnTo>
                      <a:pt x="9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18" name="Line 2523">
                <a:extLst>
                  <a:ext uri="{FF2B5EF4-FFF2-40B4-BE49-F238E27FC236}">
                    <a16:creationId xmlns:a16="http://schemas.microsoft.com/office/drawing/2014/main" id="{C470D70C-AF58-4207-8A5D-6FE661034F3F}"/>
                  </a:ext>
                </a:extLst>
              </p:cNvPr>
              <p:cNvSpPr>
                <a:spLocks noChangeShapeType="1"/>
              </p:cNvSpPr>
              <p:nvPr/>
            </p:nvSpPr>
            <p:spPr bwMode="auto">
              <a:xfrm flipV="1">
                <a:off x="1276" y="204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19" name="Freeform 2524">
                <a:extLst>
                  <a:ext uri="{FF2B5EF4-FFF2-40B4-BE49-F238E27FC236}">
                    <a16:creationId xmlns:a16="http://schemas.microsoft.com/office/drawing/2014/main" id="{2D3093A1-783E-4150-BBD0-113E0AFE5C0D}"/>
                  </a:ext>
                </a:extLst>
              </p:cNvPr>
              <p:cNvSpPr>
                <a:spLocks/>
              </p:cNvSpPr>
              <p:nvPr/>
            </p:nvSpPr>
            <p:spPr bwMode="auto">
              <a:xfrm>
                <a:off x="1606" y="1260"/>
                <a:ext cx="180" cy="330"/>
              </a:xfrm>
              <a:custGeom>
                <a:avLst/>
                <a:gdLst>
                  <a:gd name="T0" fmla="*/ 60 w 180"/>
                  <a:gd name="T1" fmla="*/ 0 h 330"/>
                  <a:gd name="T2" fmla="*/ 180 w 180"/>
                  <a:gd name="T3" fmla="*/ 30 h 330"/>
                  <a:gd name="T4" fmla="*/ 0 w 180"/>
                  <a:gd name="T5" fmla="*/ 120 h 330"/>
                  <a:gd name="T6" fmla="*/ 180 w 180"/>
                  <a:gd name="T7" fmla="*/ 330 h 330"/>
                </a:gdLst>
                <a:ahLst/>
                <a:cxnLst>
                  <a:cxn ang="0">
                    <a:pos x="T0" y="T1"/>
                  </a:cxn>
                  <a:cxn ang="0">
                    <a:pos x="T2" y="T3"/>
                  </a:cxn>
                  <a:cxn ang="0">
                    <a:pos x="T4" y="T5"/>
                  </a:cxn>
                  <a:cxn ang="0">
                    <a:pos x="T6" y="T7"/>
                  </a:cxn>
                </a:cxnLst>
                <a:rect l="0" t="0" r="r" b="b"/>
                <a:pathLst>
                  <a:path w="180" h="330">
                    <a:moveTo>
                      <a:pt x="60" y="0"/>
                    </a:moveTo>
                    <a:lnTo>
                      <a:pt x="180" y="30"/>
                    </a:lnTo>
                    <a:lnTo>
                      <a:pt x="0" y="120"/>
                    </a:lnTo>
                    <a:lnTo>
                      <a:pt x="18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20" name="Freeform 2525">
                <a:extLst>
                  <a:ext uri="{FF2B5EF4-FFF2-40B4-BE49-F238E27FC236}">
                    <a16:creationId xmlns:a16="http://schemas.microsoft.com/office/drawing/2014/main" id="{F64F5372-E8BE-4888-AAA7-5410E0139A3D}"/>
                  </a:ext>
                </a:extLst>
              </p:cNvPr>
              <p:cNvSpPr>
                <a:spLocks/>
              </p:cNvSpPr>
              <p:nvPr/>
            </p:nvSpPr>
            <p:spPr bwMode="auto">
              <a:xfrm>
                <a:off x="1576" y="1530"/>
                <a:ext cx="180" cy="150"/>
              </a:xfrm>
              <a:custGeom>
                <a:avLst/>
                <a:gdLst>
                  <a:gd name="T0" fmla="*/ 60 w 180"/>
                  <a:gd name="T1" fmla="*/ 0 h 150"/>
                  <a:gd name="T2" fmla="*/ 180 w 180"/>
                  <a:gd name="T3" fmla="*/ 150 h 150"/>
                  <a:gd name="T4" fmla="*/ 0 w 180"/>
                  <a:gd name="T5" fmla="*/ 150 h 150"/>
                </a:gdLst>
                <a:ahLst/>
                <a:cxnLst>
                  <a:cxn ang="0">
                    <a:pos x="T0" y="T1"/>
                  </a:cxn>
                  <a:cxn ang="0">
                    <a:pos x="T2" y="T3"/>
                  </a:cxn>
                  <a:cxn ang="0">
                    <a:pos x="T4" y="T5"/>
                  </a:cxn>
                </a:cxnLst>
                <a:rect l="0" t="0" r="r" b="b"/>
                <a:pathLst>
                  <a:path w="180" h="150">
                    <a:moveTo>
                      <a:pt x="60" y="0"/>
                    </a:moveTo>
                    <a:lnTo>
                      <a:pt x="180" y="15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21" name="Freeform 2526">
                <a:extLst>
                  <a:ext uri="{FF2B5EF4-FFF2-40B4-BE49-F238E27FC236}">
                    <a16:creationId xmlns:a16="http://schemas.microsoft.com/office/drawing/2014/main" id="{9D49B17B-88D9-4368-804C-969E70CAED32}"/>
                  </a:ext>
                </a:extLst>
              </p:cNvPr>
              <p:cNvSpPr>
                <a:spLocks/>
              </p:cNvSpPr>
              <p:nvPr/>
            </p:nvSpPr>
            <p:spPr bwMode="auto">
              <a:xfrm>
                <a:off x="1276" y="1110"/>
                <a:ext cx="690" cy="300"/>
              </a:xfrm>
              <a:custGeom>
                <a:avLst/>
                <a:gdLst>
                  <a:gd name="T0" fmla="*/ 330 w 690"/>
                  <a:gd name="T1" fmla="*/ 270 h 300"/>
                  <a:gd name="T2" fmla="*/ 240 w 690"/>
                  <a:gd name="T3" fmla="*/ 150 h 300"/>
                  <a:gd name="T4" fmla="*/ 180 w 690"/>
                  <a:gd name="T5" fmla="*/ 300 h 300"/>
                  <a:gd name="T6" fmla="*/ 0 w 690"/>
                  <a:gd name="T7" fmla="*/ 210 h 300"/>
                  <a:gd name="T8" fmla="*/ 60 w 690"/>
                  <a:gd name="T9" fmla="*/ 90 h 300"/>
                  <a:gd name="T10" fmla="*/ 240 w 690"/>
                  <a:gd name="T11" fmla="*/ 150 h 300"/>
                  <a:gd name="T12" fmla="*/ 360 w 690"/>
                  <a:gd name="T13" fmla="*/ 30 h 300"/>
                  <a:gd name="T14" fmla="*/ 390 w 690"/>
                  <a:gd name="T15" fmla="*/ 150 h 300"/>
                  <a:gd name="T16" fmla="*/ 480 w 690"/>
                  <a:gd name="T17" fmla="*/ 30 h 300"/>
                  <a:gd name="T18" fmla="*/ 690 w 690"/>
                  <a:gd name="T19" fmla="*/ 120 h 300"/>
                  <a:gd name="T20" fmla="*/ 600 w 690"/>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300">
                    <a:moveTo>
                      <a:pt x="330" y="270"/>
                    </a:moveTo>
                    <a:lnTo>
                      <a:pt x="240" y="150"/>
                    </a:lnTo>
                    <a:lnTo>
                      <a:pt x="180" y="300"/>
                    </a:lnTo>
                    <a:lnTo>
                      <a:pt x="0" y="210"/>
                    </a:lnTo>
                    <a:lnTo>
                      <a:pt x="60" y="90"/>
                    </a:lnTo>
                    <a:lnTo>
                      <a:pt x="240" y="150"/>
                    </a:lnTo>
                    <a:lnTo>
                      <a:pt x="360" y="30"/>
                    </a:lnTo>
                    <a:lnTo>
                      <a:pt x="390" y="150"/>
                    </a:lnTo>
                    <a:lnTo>
                      <a:pt x="480" y="30"/>
                    </a:lnTo>
                    <a:lnTo>
                      <a:pt x="690" y="120"/>
                    </a:lnTo>
                    <a:lnTo>
                      <a:pt x="60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22" name="Freeform 2527">
                <a:extLst>
                  <a:ext uri="{FF2B5EF4-FFF2-40B4-BE49-F238E27FC236}">
                    <a16:creationId xmlns:a16="http://schemas.microsoft.com/office/drawing/2014/main" id="{21155431-E607-4749-87AC-6F22BFFFE019}"/>
                  </a:ext>
                </a:extLst>
              </p:cNvPr>
              <p:cNvSpPr>
                <a:spLocks/>
              </p:cNvSpPr>
              <p:nvPr/>
            </p:nvSpPr>
            <p:spPr bwMode="auto">
              <a:xfrm>
                <a:off x="1276" y="600"/>
                <a:ext cx="480" cy="600"/>
              </a:xfrm>
              <a:custGeom>
                <a:avLst/>
                <a:gdLst>
                  <a:gd name="T0" fmla="*/ 60 w 480"/>
                  <a:gd name="T1" fmla="*/ 480 h 600"/>
                  <a:gd name="T2" fmla="*/ 180 w 480"/>
                  <a:gd name="T3" fmla="*/ 540 h 600"/>
                  <a:gd name="T4" fmla="*/ 300 w 480"/>
                  <a:gd name="T5" fmla="*/ 420 h 600"/>
                  <a:gd name="T6" fmla="*/ 330 w 480"/>
                  <a:gd name="T7" fmla="*/ 180 h 600"/>
                  <a:gd name="T8" fmla="*/ 390 w 480"/>
                  <a:gd name="T9" fmla="*/ 300 h 600"/>
                  <a:gd name="T10" fmla="*/ 480 w 480"/>
                  <a:gd name="T11" fmla="*/ 210 h 600"/>
                  <a:gd name="T12" fmla="*/ 420 w 480"/>
                  <a:gd name="T13" fmla="*/ 60 h 600"/>
                  <a:gd name="T14" fmla="*/ 300 w 480"/>
                  <a:gd name="T15" fmla="*/ 60 h 600"/>
                  <a:gd name="T16" fmla="*/ 210 w 480"/>
                  <a:gd name="T17" fmla="*/ 0 h 600"/>
                  <a:gd name="T18" fmla="*/ 150 w 480"/>
                  <a:gd name="T19" fmla="*/ 90 h 600"/>
                  <a:gd name="T20" fmla="*/ 180 w 480"/>
                  <a:gd name="T21" fmla="*/ 270 h 600"/>
                  <a:gd name="T22" fmla="*/ 30 w 480"/>
                  <a:gd name="T23" fmla="*/ 150 h 600"/>
                  <a:gd name="T24" fmla="*/ 0 w 480"/>
                  <a:gd name="T25" fmla="*/ 300 h 600"/>
                  <a:gd name="T26" fmla="*/ 120 w 480"/>
                  <a:gd name="T27" fmla="*/ 390 h 600"/>
                  <a:gd name="T28" fmla="*/ 60 w 480"/>
                  <a:gd name="T29" fmla="*/ 480 h 600"/>
                  <a:gd name="T30" fmla="*/ 60 w 480"/>
                  <a:gd name="T3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0" h="600">
                    <a:moveTo>
                      <a:pt x="60" y="480"/>
                    </a:moveTo>
                    <a:lnTo>
                      <a:pt x="180" y="540"/>
                    </a:lnTo>
                    <a:lnTo>
                      <a:pt x="300" y="420"/>
                    </a:lnTo>
                    <a:lnTo>
                      <a:pt x="330" y="180"/>
                    </a:lnTo>
                    <a:lnTo>
                      <a:pt x="390" y="300"/>
                    </a:lnTo>
                    <a:lnTo>
                      <a:pt x="480" y="210"/>
                    </a:lnTo>
                    <a:lnTo>
                      <a:pt x="420" y="60"/>
                    </a:lnTo>
                    <a:lnTo>
                      <a:pt x="300" y="60"/>
                    </a:lnTo>
                    <a:lnTo>
                      <a:pt x="210" y="0"/>
                    </a:lnTo>
                    <a:lnTo>
                      <a:pt x="150" y="90"/>
                    </a:lnTo>
                    <a:lnTo>
                      <a:pt x="180" y="270"/>
                    </a:lnTo>
                    <a:lnTo>
                      <a:pt x="30" y="150"/>
                    </a:lnTo>
                    <a:lnTo>
                      <a:pt x="0" y="300"/>
                    </a:lnTo>
                    <a:lnTo>
                      <a:pt x="120" y="390"/>
                    </a:lnTo>
                    <a:lnTo>
                      <a:pt x="60" y="480"/>
                    </a:lnTo>
                    <a:lnTo>
                      <a:pt x="60" y="6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23" name="Freeform 2528">
                <a:extLst>
                  <a:ext uri="{FF2B5EF4-FFF2-40B4-BE49-F238E27FC236}">
                    <a16:creationId xmlns:a16="http://schemas.microsoft.com/office/drawing/2014/main" id="{9D16F2B9-7C7E-4625-96F2-D3A5FD883720}"/>
                  </a:ext>
                </a:extLst>
              </p:cNvPr>
              <p:cNvSpPr>
                <a:spLocks/>
              </p:cNvSpPr>
              <p:nvPr/>
            </p:nvSpPr>
            <p:spPr bwMode="auto">
              <a:xfrm>
                <a:off x="1336" y="450"/>
                <a:ext cx="90" cy="240"/>
              </a:xfrm>
              <a:custGeom>
                <a:avLst/>
                <a:gdLst>
                  <a:gd name="T0" fmla="*/ 0 w 90"/>
                  <a:gd name="T1" fmla="*/ 120 h 240"/>
                  <a:gd name="T2" fmla="*/ 90 w 90"/>
                  <a:gd name="T3" fmla="*/ 240 h 240"/>
                  <a:gd name="T4" fmla="*/ 60 w 90"/>
                  <a:gd name="T5" fmla="*/ 0 h 240"/>
                </a:gdLst>
                <a:ahLst/>
                <a:cxnLst>
                  <a:cxn ang="0">
                    <a:pos x="T0" y="T1"/>
                  </a:cxn>
                  <a:cxn ang="0">
                    <a:pos x="T2" y="T3"/>
                  </a:cxn>
                  <a:cxn ang="0">
                    <a:pos x="T4" y="T5"/>
                  </a:cxn>
                </a:cxnLst>
                <a:rect l="0" t="0" r="r" b="b"/>
                <a:pathLst>
                  <a:path w="90" h="240">
                    <a:moveTo>
                      <a:pt x="0" y="120"/>
                    </a:moveTo>
                    <a:lnTo>
                      <a:pt x="90" y="24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24" name="Freeform 2529">
                <a:extLst>
                  <a:ext uri="{FF2B5EF4-FFF2-40B4-BE49-F238E27FC236}">
                    <a16:creationId xmlns:a16="http://schemas.microsoft.com/office/drawing/2014/main" id="{043B2C7F-0655-4F43-8E1F-E688ABA925E2}"/>
                  </a:ext>
                </a:extLst>
              </p:cNvPr>
              <p:cNvSpPr>
                <a:spLocks/>
              </p:cNvSpPr>
              <p:nvPr/>
            </p:nvSpPr>
            <p:spPr bwMode="auto">
              <a:xfrm>
                <a:off x="1426" y="690"/>
                <a:ext cx="180" cy="330"/>
              </a:xfrm>
              <a:custGeom>
                <a:avLst/>
                <a:gdLst>
                  <a:gd name="T0" fmla="*/ 180 w 180"/>
                  <a:gd name="T1" fmla="*/ 90 h 330"/>
                  <a:gd name="T2" fmla="*/ 30 w 180"/>
                  <a:gd name="T3" fmla="*/ 180 h 330"/>
                  <a:gd name="T4" fmla="*/ 150 w 180"/>
                  <a:gd name="T5" fmla="*/ 330 h 330"/>
                  <a:gd name="T6" fmla="*/ 0 w 180"/>
                  <a:gd name="T7" fmla="*/ 0 h 330"/>
                </a:gdLst>
                <a:ahLst/>
                <a:cxnLst>
                  <a:cxn ang="0">
                    <a:pos x="T0" y="T1"/>
                  </a:cxn>
                  <a:cxn ang="0">
                    <a:pos x="T2" y="T3"/>
                  </a:cxn>
                  <a:cxn ang="0">
                    <a:pos x="T4" y="T5"/>
                  </a:cxn>
                  <a:cxn ang="0">
                    <a:pos x="T6" y="T7"/>
                  </a:cxn>
                </a:cxnLst>
                <a:rect l="0" t="0" r="r" b="b"/>
                <a:pathLst>
                  <a:path w="180" h="330">
                    <a:moveTo>
                      <a:pt x="180" y="90"/>
                    </a:moveTo>
                    <a:lnTo>
                      <a:pt x="30" y="180"/>
                    </a:lnTo>
                    <a:lnTo>
                      <a:pt x="15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25" name="Freeform 2530">
                <a:extLst>
                  <a:ext uri="{FF2B5EF4-FFF2-40B4-BE49-F238E27FC236}">
                    <a16:creationId xmlns:a16="http://schemas.microsoft.com/office/drawing/2014/main" id="{EF1DE996-A87D-4527-9BFC-6F0DE1559AF9}"/>
                  </a:ext>
                </a:extLst>
              </p:cNvPr>
              <p:cNvSpPr>
                <a:spLocks/>
              </p:cNvSpPr>
              <p:nvPr/>
            </p:nvSpPr>
            <p:spPr bwMode="auto">
              <a:xfrm>
                <a:off x="1576" y="900"/>
                <a:ext cx="210" cy="240"/>
              </a:xfrm>
              <a:custGeom>
                <a:avLst/>
                <a:gdLst>
                  <a:gd name="T0" fmla="*/ 90 w 210"/>
                  <a:gd name="T1" fmla="*/ 0 h 240"/>
                  <a:gd name="T2" fmla="*/ 60 w 210"/>
                  <a:gd name="T3" fmla="*/ 240 h 240"/>
                  <a:gd name="T4" fmla="*/ 0 w 210"/>
                  <a:gd name="T5" fmla="*/ 120 h 240"/>
                  <a:gd name="T6" fmla="*/ 180 w 210"/>
                  <a:gd name="T7" fmla="*/ 240 h 240"/>
                  <a:gd name="T8" fmla="*/ 210 w 210"/>
                  <a:gd name="T9" fmla="*/ 60 h 240"/>
                  <a:gd name="T10" fmla="*/ 90 w 210"/>
                  <a:gd name="T11" fmla="*/ 0 h 240"/>
                </a:gdLst>
                <a:ahLst/>
                <a:cxnLst>
                  <a:cxn ang="0">
                    <a:pos x="T0" y="T1"/>
                  </a:cxn>
                  <a:cxn ang="0">
                    <a:pos x="T2" y="T3"/>
                  </a:cxn>
                  <a:cxn ang="0">
                    <a:pos x="T4" y="T5"/>
                  </a:cxn>
                  <a:cxn ang="0">
                    <a:pos x="T6" y="T7"/>
                  </a:cxn>
                  <a:cxn ang="0">
                    <a:pos x="T8" y="T9"/>
                  </a:cxn>
                  <a:cxn ang="0">
                    <a:pos x="T10" y="T11"/>
                  </a:cxn>
                </a:cxnLst>
                <a:rect l="0" t="0" r="r" b="b"/>
                <a:pathLst>
                  <a:path w="210" h="240">
                    <a:moveTo>
                      <a:pt x="90" y="0"/>
                    </a:moveTo>
                    <a:lnTo>
                      <a:pt x="60" y="240"/>
                    </a:lnTo>
                    <a:lnTo>
                      <a:pt x="0" y="120"/>
                    </a:lnTo>
                    <a:lnTo>
                      <a:pt x="180" y="240"/>
                    </a:lnTo>
                    <a:lnTo>
                      <a:pt x="210" y="6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26" name="Line 2531">
                <a:extLst>
                  <a:ext uri="{FF2B5EF4-FFF2-40B4-BE49-F238E27FC236}">
                    <a16:creationId xmlns:a16="http://schemas.microsoft.com/office/drawing/2014/main" id="{50A8A580-882F-48A4-ACAF-597311EBB3F0}"/>
                  </a:ext>
                </a:extLst>
              </p:cNvPr>
              <p:cNvSpPr>
                <a:spLocks noChangeShapeType="1"/>
              </p:cNvSpPr>
              <p:nvPr/>
            </p:nvSpPr>
            <p:spPr bwMode="auto">
              <a:xfrm flipV="1">
                <a:off x="1576" y="960"/>
                <a:ext cx="21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27" name="Freeform 2532">
                <a:extLst>
                  <a:ext uri="{FF2B5EF4-FFF2-40B4-BE49-F238E27FC236}">
                    <a16:creationId xmlns:a16="http://schemas.microsoft.com/office/drawing/2014/main" id="{29D6CE6B-1010-4CF7-AA14-64193AA6444E}"/>
                  </a:ext>
                </a:extLst>
              </p:cNvPr>
              <p:cNvSpPr>
                <a:spLocks/>
              </p:cNvSpPr>
              <p:nvPr/>
            </p:nvSpPr>
            <p:spPr bwMode="auto">
              <a:xfrm>
                <a:off x="1276" y="990"/>
                <a:ext cx="360" cy="330"/>
              </a:xfrm>
              <a:custGeom>
                <a:avLst/>
                <a:gdLst>
                  <a:gd name="T0" fmla="*/ 120 w 360"/>
                  <a:gd name="T1" fmla="*/ 0 h 330"/>
                  <a:gd name="T2" fmla="*/ 360 w 360"/>
                  <a:gd name="T3" fmla="*/ 150 h 330"/>
                  <a:gd name="T4" fmla="*/ 180 w 360"/>
                  <a:gd name="T5" fmla="*/ 150 h 330"/>
                  <a:gd name="T6" fmla="*/ 240 w 360"/>
                  <a:gd name="T7" fmla="*/ 270 h 330"/>
                  <a:gd name="T8" fmla="*/ 0 w 360"/>
                  <a:gd name="T9" fmla="*/ 330 h 330"/>
                </a:gdLst>
                <a:ahLst/>
                <a:cxnLst>
                  <a:cxn ang="0">
                    <a:pos x="T0" y="T1"/>
                  </a:cxn>
                  <a:cxn ang="0">
                    <a:pos x="T2" y="T3"/>
                  </a:cxn>
                  <a:cxn ang="0">
                    <a:pos x="T4" y="T5"/>
                  </a:cxn>
                  <a:cxn ang="0">
                    <a:pos x="T6" y="T7"/>
                  </a:cxn>
                  <a:cxn ang="0">
                    <a:pos x="T8" y="T9"/>
                  </a:cxn>
                </a:cxnLst>
                <a:rect l="0" t="0" r="r" b="b"/>
                <a:pathLst>
                  <a:path w="360" h="330">
                    <a:moveTo>
                      <a:pt x="120" y="0"/>
                    </a:moveTo>
                    <a:lnTo>
                      <a:pt x="360" y="150"/>
                    </a:lnTo>
                    <a:lnTo>
                      <a:pt x="180" y="150"/>
                    </a:lnTo>
                    <a:lnTo>
                      <a:pt x="24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28" name="Line 2533">
                <a:extLst>
                  <a:ext uri="{FF2B5EF4-FFF2-40B4-BE49-F238E27FC236}">
                    <a16:creationId xmlns:a16="http://schemas.microsoft.com/office/drawing/2014/main" id="{519DDF6F-4516-4C08-83B8-3D1F0509898A}"/>
                  </a:ext>
                </a:extLst>
              </p:cNvPr>
              <p:cNvSpPr>
                <a:spLocks noChangeShapeType="1"/>
              </p:cNvSpPr>
              <p:nvPr/>
            </p:nvSpPr>
            <p:spPr bwMode="auto">
              <a:xfrm flipV="1">
                <a:off x="1336" y="1140"/>
                <a:ext cx="12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29" name="Freeform 2534">
                <a:extLst>
                  <a:ext uri="{FF2B5EF4-FFF2-40B4-BE49-F238E27FC236}">
                    <a16:creationId xmlns:a16="http://schemas.microsoft.com/office/drawing/2014/main" id="{3E090BC5-F4FD-49C8-89A7-B38EFB2D0266}"/>
                  </a:ext>
                </a:extLst>
              </p:cNvPr>
              <p:cNvSpPr>
                <a:spLocks/>
              </p:cNvSpPr>
              <p:nvPr/>
            </p:nvSpPr>
            <p:spPr bwMode="auto">
              <a:xfrm>
                <a:off x="1336" y="1290"/>
                <a:ext cx="450" cy="600"/>
              </a:xfrm>
              <a:custGeom>
                <a:avLst/>
                <a:gdLst>
                  <a:gd name="T0" fmla="*/ 270 w 450"/>
                  <a:gd name="T1" fmla="*/ 510 h 600"/>
                  <a:gd name="T2" fmla="*/ 150 w 450"/>
                  <a:gd name="T3" fmla="*/ 600 h 600"/>
                  <a:gd name="T4" fmla="*/ 270 w 450"/>
                  <a:gd name="T5" fmla="*/ 90 h 600"/>
                  <a:gd name="T6" fmla="*/ 60 w 450"/>
                  <a:gd name="T7" fmla="*/ 330 h 600"/>
                  <a:gd name="T8" fmla="*/ 0 w 450"/>
                  <a:gd name="T9" fmla="*/ 210 h 600"/>
                  <a:gd name="T10" fmla="*/ 120 w 450"/>
                  <a:gd name="T11" fmla="*/ 120 h 600"/>
                  <a:gd name="T12" fmla="*/ 240 w 450"/>
                  <a:gd name="T13" fmla="*/ 390 h 600"/>
                  <a:gd name="T14" fmla="*/ 300 w 450"/>
                  <a:gd name="T15" fmla="*/ 240 h 600"/>
                  <a:gd name="T16" fmla="*/ 450 w 45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 h="600">
                    <a:moveTo>
                      <a:pt x="270" y="510"/>
                    </a:moveTo>
                    <a:lnTo>
                      <a:pt x="150" y="600"/>
                    </a:lnTo>
                    <a:lnTo>
                      <a:pt x="270" y="90"/>
                    </a:lnTo>
                    <a:lnTo>
                      <a:pt x="60" y="330"/>
                    </a:lnTo>
                    <a:lnTo>
                      <a:pt x="0" y="210"/>
                    </a:lnTo>
                    <a:lnTo>
                      <a:pt x="120" y="120"/>
                    </a:lnTo>
                    <a:lnTo>
                      <a:pt x="240" y="390"/>
                    </a:lnTo>
                    <a:lnTo>
                      <a:pt x="300" y="24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30" name="Freeform 2535">
                <a:extLst>
                  <a:ext uri="{FF2B5EF4-FFF2-40B4-BE49-F238E27FC236}">
                    <a16:creationId xmlns:a16="http://schemas.microsoft.com/office/drawing/2014/main" id="{02543500-5E76-4BA6-A3AF-5AFCCD4F4503}"/>
                  </a:ext>
                </a:extLst>
              </p:cNvPr>
              <p:cNvSpPr>
                <a:spLocks/>
              </p:cNvSpPr>
              <p:nvPr/>
            </p:nvSpPr>
            <p:spPr bwMode="auto">
              <a:xfrm>
                <a:off x="1486" y="60"/>
                <a:ext cx="390" cy="540"/>
              </a:xfrm>
              <a:custGeom>
                <a:avLst/>
                <a:gdLst>
                  <a:gd name="T0" fmla="*/ 90 w 390"/>
                  <a:gd name="T1" fmla="*/ 210 h 540"/>
                  <a:gd name="T2" fmla="*/ 270 w 390"/>
                  <a:gd name="T3" fmla="*/ 0 h 540"/>
                  <a:gd name="T4" fmla="*/ 390 w 390"/>
                  <a:gd name="T5" fmla="*/ 90 h 540"/>
                  <a:gd name="T6" fmla="*/ 360 w 390"/>
                  <a:gd name="T7" fmla="*/ 240 h 540"/>
                  <a:gd name="T8" fmla="*/ 270 w 390"/>
                  <a:gd name="T9" fmla="*/ 210 h 540"/>
                  <a:gd name="T10" fmla="*/ 60 w 390"/>
                  <a:gd name="T11" fmla="*/ 360 h 540"/>
                  <a:gd name="T12" fmla="*/ 90 w 390"/>
                  <a:gd name="T13" fmla="*/ 210 h 540"/>
                  <a:gd name="T14" fmla="*/ 240 w 390"/>
                  <a:gd name="T15" fmla="*/ 300 h 540"/>
                  <a:gd name="T16" fmla="*/ 0 w 390"/>
                  <a:gd name="T1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40">
                    <a:moveTo>
                      <a:pt x="90" y="210"/>
                    </a:moveTo>
                    <a:lnTo>
                      <a:pt x="270" y="0"/>
                    </a:lnTo>
                    <a:lnTo>
                      <a:pt x="390" y="90"/>
                    </a:lnTo>
                    <a:lnTo>
                      <a:pt x="360" y="240"/>
                    </a:lnTo>
                    <a:lnTo>
                      <a:pt x="270" y="210"/>
                    </a:lnTo>
                    <a:lnTo>
                      <a:pt x="60" y="360"/>
                    </a:lnTo>
                    <a:lnTo>
                      <a:pt x="90" y="210"/>
                    </a:lnTo>
                    <a:lnTo>
                      <a:pt x="240" y="300"/>
                    </a:lnTo>
                    <a:lnTo>
                      <a:pt x="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31" name="Line 2536">
                <a:extLst>
                  <a:ext uri="{FF2B5EF4-FFF2-40B4-BE49-F238E27FC236}">
                    <a16:creationId xmlns:a16="http://schemas.microsoft.com/office/drawing/2014/main" id="{4B5E591A-81C9-40A1-BD4D-B7CBEEB37E0F}"/>
                  </a:ext>
                </a:extLst>
              </p:cNvPr>
              <p:cNvSpPr>
                <a:spLocks noChangeShapeType="1"/>
              </p:cNvSpPr>
              <p:nvPr/>
            </p:nvSpPr>
            <p:spPr bwMode="auto">
              <a:xfrm>
                <a:off x="1276" y="12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32" name="Freeform 2537">
                <a:extLst>
                  <a:ext uri="{FF2B5EF4-FFF2-40B4-BE49-F238E27FC236}">
                    <a16:creationId xmlns:a16="http://schemas.microsoft.com/office/drawing/2014/main" id="{5E133BFD-44A9-4999-BC2E-F69DA584E512}"/>
                  </a:ext>
                </a:extLst>
              </p:cNvPr>
              <p:cNvSpPr>
                <a:spLocks/>
              </p:cNvSpPr>
              <p:nvPr/>
            </p:nvSpPr>
            <p:spPr bwMode="auto">
              <a:xfrm>
                <a:off x="1306" y="420"/>
                <a:ext cx="300" cy="570"/>
              </a:xfrm>
              <a:custGeom>
                <a:avLst/>
                <a:gdLst>
                  <a:gd name="T0" fmla="*/ 90 w 300"/>
                  <a:gd name="T1" fmla="*/ 30 h 570"/>
                  <a:gd name="T2" fmla="*/ 240 w 300"/>
                  <a:gd name="T3" fmla="*/ 0 h 570"/>
                  <a:gd name="T4" fmla="*/ 180 w 300"/>
                  <a:gd name="T5" fmla="*/ 180 h 570"/>
                  <a:gd name="T6" fmla="*/ 90 w 300"/>
                  <a:gd name="T7" fmla="*/ 30 h 570"/>
                  <a:gd name="T8" fmla="*/ 30 w 300"/>
                  <a:gd name="T9" fmla="*/ 150 h 570"/>
                  <a:gd name="T10" fmla="*/ 0 w 300"/>
                  <a:gd name="T11" fmla="*/ 330 h 570"/>
                  <a:gd name="T12" fmla="*/ 90 w 300"/>
                  <a:gd name="T13" fmla="*/ 570 h 570"/>
                  <a:gd name="T14" fmla="*/ 150 w 300"/>
                  <a:gd name="T15" fmla="*/ 450 h 570"/>
                  <a:gd name="T16" fmla="*/ 270 w 300"/>
                  <a:gd name="T17" fmla="*/ 240 h 570"/>
                  <a:gd name="T18" fmla="*/ 300 w 300"/>
                  <a:gd name="T19" fmla="*/ 120 h 570"/>
                  <a:gd name="T20" fmla="*/ 240 w 30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570">
                    <a:moveTo>
                      <a:pt x="90" y="30"/>
                    </a:moveTo>
                    <a:lnTo>
                      <a:pt x="240" y="0"/>
                    </a:lnTo>
                    <a:lnTo>
                      <a:pt x="180" y="180"/>
                    </a:lnTo>
                    <a:lnTo>
                      <a:pt x="90" y="30"/>
                    </a:lnTo>
                    <a:lnTo>
                      <a:pt x="30" y="150"/>
                    </a:lnTo>
                    <a:lnTo>
                      <a:pt x="0" y="330"/>
                    </a:lnTo>
                    <a:lnTo>
                      <a:pt x="90" y="570"/>
                    </a:lnTo>
                    <a:lnTo>
                      <a:pt x="150" y="450"/>
                    </a:lnTo>
                    <a:lnTo>
                      <a:pt x="270" y="240"/>
                    </a:lnTo>
                    <a:lnTo>
                      <a:pt x="300" y="12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33" name="Freeform 2538">
                <a:extLst>
                  <a:ext uri="{FF2B5EF4-FFF2-40B4-BE49-F238E27FC236}">
                    <a16:creationId xmlns:a16="http://schemas.microsoft.com/office/drawing/2014/main" id="{FFA3E831-2F6F-40DC-846C-6FF14AC8C364}"/>
                  </a:ext>
                </a:extLst>
              </p:cNvPr>
              <p:cNvSpPr>
                <a:spLocks/>
              </p:cNvSpPr>
              <p:nvPr/>
            </p:nvSpPr>
            <p:spPr bwMode="auto">
              <a:xfrm>
                <a:off x="1696" y="300"/>
                <a:ext cx="150" cy="360"/>
              </a:xfrm>
              <a:custGeom>
                <a:avLst/>
                <a:gdLst>
                  <a:gd name="T0" fmla="*/ 0 w 150"/>
                  <a:gd name="T1" fmla="*/ 360 h 360"/>
                  <a:gd name="T2" fmla="*/ 30 w 150"/>
                  <a:gd name="T3" fmla="*/ 180 h 360"/>
                  <a:gd name="T4" fmla="*/ 150 w 150"/>
                  <a:gd name="T5" fmla="*/ 0 h 360"/>
                  <a:gd name="T6" fmla="*/ 30 w 150"/>
                  <a:gd name="T7" fmla="*/ 60 h 360"/>
                </a:gdLst>
                <a:ahLst/>
                <a:cxnLst>
                  <a:cxn ang="0">
                    <a:pos x="T0" y="T1"/>
                  </a:cxn>
                  <a:cxn ang="0">
                    <a:pos x="T2" y="T3"/>
                  </a:cxn>
                  <a:cxn ang="0">
                    <a:pos x="T4" y="T5"/>
                  </a:cxn>
                  <a:cxn ang="0">
                    <a:pos x="T6" y="T7"/>
                  </a:cxn>
                </a:cxnLst>
                <a:rect l="0" t="0" r="r" b="b"/>
                <a:pathLst>
                  <a:path w="150" h="360">
                    <a:moveTo>
                      <a:pt x="0" y="360"/>
                    </a:moveTo>
                    <a:lnTo>
                      <a:pt x="30" y="180"/>
                    </a:lnTo>
                    <a:lnTo>
                      <a:pt x="150" y="0"/>
                    </a:lnTo>
                    <a:lnTo>
                      <a:pt x="3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34" name="Freeform 2539">
                <a:extLst>
                  <a:ext uri="{FF2B5EF4-FFF2-40B4-BE49-F238E27FC236}">
                    <a16:creationId xmlns:a16="http://schemas.microsoft.com/office/drawing/2014/main" id="{10B5CA0E-87D7-416F-A269-421ADE9CCC02}"/>
                  </a:ext>
                </a:extLst>
              </p:cNvPr>
              <p:cNvSpPr>
                <a:spLocks/>
              </p:cNvSpPr>
              <p:nvPr/>
            </p:nvSpPr>
            <p:spPr bwMode="auto">
              <a:xfrm>
                <a:off x="1456" y="60"/>
                <a:ext cx="390" cy="240"/>
              </a:xfrm>
              <a:custGeom>
                <a:avLst/>
                <a:gdLst>
                  <a:gd name="T0" fmla="*/ 390 w 390"/>
                  <a:gd name="T1" fmla="*/ 210 h 240"/>
                  <a:gd name="T2" fmla="*/ 300 w 390"/>
                  <a:gd name="T3" fmla="*/ 0 h 240"/>
                  <a:gd name="T4" fmla="*/ 0 w 390"/>
                  <a:gd name="T5" fmla="*/ 240 h 240"/>
                </a:gdLst>
                <a:ahLst/>
                <a:cxnLst>
                  <a:cxn ang="0">
                    <a:pos x="T0" y="T1"/>
                  </a:cxn>
                  <a:cxn ang="0">
                    <a:pos x="T2" y="T3"/>
                  </a:cxn>
                  <a:cxn ang="0">
                    <a:pos x="T4" y="T5"/>
                  </a:cxn>
                </a:cxnLst>
                <a:rect l="0" t="0" r="r" b="b"/>
                <a:pathLst>
                  <a:path w="390" h="240">
                    <a:moveTo>
                      <a:pt x="390" y="210"/>
                    </a:moveTo>
                    <a:lnTo>
                      <a:pt x="300" y="0"/>
                    </a:lnTo>
                    <a:lnTo>
                      <a:pt x="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35" name="Freeform 2540">
                <a:extLst>
                  <a:ext uri="{FF2B5EF4-FFF2-40B4-BE49-F238E27FC236}">
                    <a16:creationId xmlns:a16="http://schemas.microsoft.com/office/drawing/2014/main" id="{DAA7C601-4158-4132-9DFB-7B047F571FBA}"/>
                  </a:ext>
                </a:extLst>
              </p:cNvPr>
              <p:cNvSpPr>
                <a:spLocks/>
              </p:cNvSpPr>
              <p:nvPr/>
            </p:nvSpPr>
            <p:spPr bwMode="auto">
              <a:xfrm>
                <a:off x="3974" y="2700"/>
                <a:ext cx="480" cy="360"/>
              </a:xfrm>
              <a:custGeom>
                <a:avLst/>
                <a:gdLst>
                  <a:gd name="T0" fmla="*/ 0 w 480"/>
                  <a:gd name="T1" fmla="*/ 300 h 360"/>
                  <a:gd name="T2" fmla="*/ 30 w 480"/>
                  <a:gd name="T3" fmla="*/ 150 h 360"/>
                  <a:gd name="T4" fmla="*/ 180 w 480"/>
                  <a:gd name="T5" fmla="*/ 360 h 360"/>
                  <a:gd name="T6" fmla="*/ 330 w 480"/>
                  <a:gd name="T7" fmla="*/ 300 h 360"/>
                  <a:gd name="T8" fmla="*/ 330 w 480"/>
                  <a:gd name="T9" fmla="*/ 210 h 360"/>
                  <a:gd name="T10" fmla="*/ 150 w 480"/>
                  <a:gd name="T11" fmla="*/ 210 h 360"/>
                  <a:gd name="T12" fmla="*/ 420 w 480"/>
                  <a:gd name="T13" fmla="*/ 120 h 360"/>
                  <a:gd name="T14" fmla="*/ 450 w 480"/>
                  <a:gd name="T15" fmla="*/ 270 h 360"/>
                  <a:gd name="T16" fmla="*/ 480 w 480"/>
                  <a:gd name="T1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360">
                    <a:moveTo>
                      <a:pt x="0" y="300"/>
                    </a:moveTo>
                    <a:lnTo>
                      <a:pt x="30" y="150"/>
                    </a:lnTo>
                    <a:lnTo>
                      <a:pt x="180" y="360"/>
                    </a:lnTo>
                    <a:lnTo>
                      <a:pt x="330" y="300"/>
                    </a:lnTo>
                    <a:lnTo>
                      <a:pt x="330" y="210"/>
                    </a:lnTo>
                    <a:lnTo>
                      <a:pt x="150" y="210"/>
                    </a:lnTo>
                    <a:lnTo>
                      <a:pt x="420" y="120"/>
                    </a:lnTo>
                    <a:lnTo>
                      <a:pt x="450" y="270"/>
                    </a:lnTo>
                    <a:lnTo>
                      <a:pt x="4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36" name="Freeform 2541">
                <a:extLst>
                  <a:ext uri="{FF2B5EF4-FFF2-40B4-BE49-F238E27FC236}">
                    <a16:creationId xmlns:a16="http://schemas.microsoft.com/office/drawing/2014/main" id="{62B243AD-A1E6-425C-A5E2-7B255A66CC0E}"/>
                  </a:ext>
                </a:extLst>
              </p:cNvPr>
              <p:cNvSpPr>
                <a:spLocks/>
              </p:cNvSpPr>
              <p:nvPr/>
            </p:nvSpPr>
            <p:spPr bwMode="auto">
              <a:xfrm>
                <a:off x="3824" y="1950"/>
                <a:ext cx="570" cy="1260"/>
              </a:xfrm>
              <a:custGeom>
                <a:avLst/>
                <a:gdLst>
                  <a:gd name="T0" fmla="*/ 540 w 570"/>
                  <a:gd name="T1" fmla="*/ 1200 h 1260"/>
                  <a:gd name="T2" fmla="*/ 300 w 570"/>
                  <a:gd name="T3" fmla="*/ 1260 h 1260"/>
                  <a:gd name="T4" fmla="*/ 210 w 570"/>
                  <a:gd name="T5" fmla="*/ 1170 h 1260"/>
                  <a:gd name="T6" fmla="*/ 90 w 570"/>
                  <a:gd name="T7" fmla="*/ 1140 h 1260"/>
                  <a:gd name="T8" fmla="*/ 0 w 570"/>
                  <a:gd name="T9" fmla="*/ 990 h 1260"/>
                  <a:gd name="T10" fmla="*/ 180 w 570"/>
                  <a:gd name="T11" fmla="*/ 900 h 1260"/>
                  <a:gd name="T12" fmla="*/ 180 w 570"/>
                  <a:gd name="T13" fmla="*/ 720 h 1260"/>
                  <a:gd name="T14" fmla="*/ 300 w 570"/>
                  <a:gd name="T15" fmla="*/ 960 h 1260"/>
                  <a:gd name="T16" fmla="*/ 300 w 570"/>
                  <a:gd name="T17" fmla="*/ 750 h 1260"/>
                  <a:gd name="T18" fmla="*/ 480 w 570"/>
                  <a:gd name="T19" fmla="*/ 570 h 1260"/>
                  <a:gd name="T20" fmla="*/ 270 w 570"/>
                  <a:gd name="T21" fmla="*/ 630 h 1260"/>
                  <a:gd name="T22" fmla="*/ 150 w 570"/>
                  <a:gd name="T23" fmla="*/ 600 h 1260"/>
                  <a:gd name="T24" fmla="*/ 360 w 570"/>
                  <a:gd name="T25" fmla="*/ 450 h 1260"/>
                  <a:gd name="T26" fmla="*/ 240 w 570"/>
                  <a:gd name="T27" fmla="*/ 300 h 1260"/>
                  <a:gd name="T28" fmla="*/ 120 w 570"/>
                  <a:gd name="T29" fmla="*/ 360 h 1260"/>
                  <a:gd name="T30" fmla="*/ 360 w 570"/>
                  <a:gd name="T31" fmla="*/ 0 h 1260"/>
                  <a:gd name="T32" fmla="*/ 450 w 570"/>
                  <a:gd name="T33" fmla="*/ 210 h 1260"/>
                  <a:gd name="T34" fmla="*/ 570 w 570"/>
                  <a:gd name="T35" fmla="*/ 60 h 1260"/>
                  <a:gd name="T36" fmla="*/ 540 w 570"/>
                  <a:gd name="T37" fmla="*/ 420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1260">
                    <a:moveTo>
                      <a:pt x="540" y="1200"/>
                    </a:moveTo>
                    <a:lnTo>
                      <a:pt x="300" y="1260"/>
                    </a:lnTo>
                    <a:lnTo>
                      <a:pt x="210" y="1170"/>
                    </a:lnTo>
                    <a:lnTo>
                      <a:pt x="90" y="1140"/>
                    </a:lnTo>
                    <a:lnTo>
                      <a:pt x="0" y="990"/>
                    </a:lnTo>
                    <a:lnTo>
                      <a:pt x="180" y="900"/>
                    </a:lnTo>
                    <a:lnTo>
                      <a:pt x="180" y="720"/>
                    </a:lnTo>
                    <a:lnTo>
                      <a:pt x="300" y="960"/>
                    </a:lnTo>
                    <a:lnTo>
                      <a:pt x="300" y="750"/>
                    </a:lnTo>
                    <a:lnTo>
                      <a:pt x="480" y="570"/>
                    </a:lnTo>
                    <a:lnTo>
                      <a:pt x="270" y="630"/>
                    </a:lnTo>
                    <a:lnTo>
                      <a:pt x="150" y="600"/>
                    </a:lnTo>
                    <a:lnTo>
                      <a:pt x="360" y="450"/>
                    </a:lnTo>
                    <a:lnTo>
                      <a:pt x="240" y="300"/>
                    </a:lnTo>
                    <a:lnTo>
                      <a:pt x="120" y="360"/>
                    </a:lnTo>
                    <a:lnTo>
                      <a:pt x="360" y="0"/>
                    </a:lnTo>
                    <a:lnTo>
                      <a:pt x="450" y="210"/>
                    </a:lnTo>
                    <a:lnTo>
                      <a:pt x="570" y="60"/>
                    </a:lnTo>
                    <a:lnTo>
                      <a:pt x="540"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37" name="Freeform 2542">
                <a:extLst>
                  <a:ext uri="{FF2B5EF4-FFF2-40B4-BE49-F238E27FC236}">
                    <a16:creationId xmlns:a16="http://schemas.microsoft.com/office/drawing/2014/main" id="{5503428A-592C-46E1-8BB1-CD054FEFA42D}"/>
                  </a:ext>
                </a:extLst>
              </p:cNvPr>
              <p:cNvSpPr>
                <a:spLocks/>
              </p:cNvSpPr>
              <p:nvPr/>
            </p:nvSpPr>
            <p:spPr bwMode="auto">
              <a:xfrm>
                <a:off x="3585" y="1890"/>
                <a:ext cx="869" cy="1320"/>
              </a:xfrm>
              <a:custGeom>
                <a:avLst/>
                <a:gdLst>
                  <a:gd name="T0" fmla="*/ 869 w 869"/>
                  <a:gd name="T1" fmla="*/ 660 h 1320"/>
                  <a:gd name="T2" fmla="*/ 839 w 869"/>
                  <a:gd name="T3" fmla="*/ 300 h 1320"/>
                  <a:gd name="T4" fmla="*/ 809 w 869"/>
                  <a:gd name="T5" fmla="*/ 120 h 1320"/>
                  <a:gd name="T6" fmla="*/ 719 w 869"/>
                  <a:gd name="T7" fmla="*/ 0 h 1320"/>
                  <a:gd name="T8" fmla="*/ 599 w 869"/>
                  <a:gd name="T9" fmla="*/ 60 h 1320"/>
                  <a:gd name="T10" fmla="*/ 599 w 869"/>
                  <a:gd name="T11" fmla="*/ 150 h 1320"/>
                  <a:gd name="T12" fmla="*/ 509 w 869"/>
                  <a:gd name="T13" fmla="*/ 270 h 1320"/>
                  <a:gd name="T14" fmla="*/ 479 w 869"/>
                  <a:gd name="T15" fmla="*/ 360 h 1320"/>
                  <a:gd name="T16" fmla="*/ 599 w 869"/>
                  <a:gd name="T17" fmla="*/ 300 h 1320"/>
                  <a:gd name="T18" fmla="*/ 689 w 869"/>
                  <a:gd name="T19" fmla="*/ 270 h 1320"/>
                  <a:gd name="T20" fmla="*/ 659 w 869"/>
                  <a:gd name="T21" fmla="*/ 420 h 1320"/>
                  <a:gd name="T22" fmla="*/ 779 w 869"/>
                  <a:gd name="T23" fmla="*/ 480 h 1320"/>
                  <a:gd name="T24" fmla="*/ 869 w 869"/>
                  <a:gd name="T25" fmla="*/ 660 h 1320"/>
                  <a:gd name="T26" fmla="*/ 719 w 869"/>
                  <a:gd name="T27" fmla="*/ 630 h 1320"/>
                  <a:gd name="T28" fmla="*/ 599 w 869"/>
                  <a:gd name="T29" fmla="*/ 510 h 1320"/>
                  <a:gd name="T30" fmla="*/ 539 w 869"/>
                  <a:gd name="T31" fmla="*/ 600 h 1320"/>
                  <a:gd name="T32" fmla="*/ 509 w 869"/>
                  <a:gd name="T33" fmla="*/ 690 h 1320"/>
                  <a:gd name="T34" fmla="*/ 539 w 869"/>
                  <a:gd name="T35" fmla="*/ 810 h 1320"/>
                  <a:gd name="T36" fmla="*/ 269 w 869"/>
                  <a:gd name="T37" fmla="*/ 870 h 1320"/>
                  <a:gd name="T38" fmla="*/ 419 w 869"/>
                  <a:gd name="T39" fmla="*/ 960 h 1320"/>
                  <a:gd name="T40" fmla="*/ 539 w 869"/>
                  <a:gd name="T41" fmla="*/ 1020 h 1320"/>
                  <a:gd name="T42" fmla="*/ 599 w 869"/>
                  <a:gd name="T43" fmla="*/ 930 h 1320"/>
                  <a:gd name="T44" fmla="*/ 719 w 869"/>
                  <a:gd name="T45" fmla="*/ 840 h 1320"/>
                  <a:gd name="T46" fmla="*/ 779 w 869"/>
                  <a:gd name="T47" fmla="*/ 750 h 1320"/>
                  <a:gd name="T48" fmla="*/ 869 w 869"/>
                  <a:gd name="T49" fmla="*/ 810 h 1320"/>
                  <a:gd name="T50" fmla="*/ 809 w 869"/>
                  <a:gd name="T51" fmla="*/ 930 h 1320"/>
                  <a:gd name="T52" fmla="*/ 719 w 869"/>
                  <a:gd name="T53" fmla="*/ 1020 h 1320"/>
                  <a:gd name="T54" fmla="*/ 839 w 869"/>
                  <a:gd name="T55" fmla="*/ 1080 h 1320"/>
                  <a:gd name="T56" fmla="*/ 719 w 869"/>
                  <a:gd name="T57" fmla="*/ 1110 h 1320"/>
                  <a:gd name="T58" fmla="*/ 779 w 869"/>
                  <a:gd name="T59" fmla="*/ 1260 h 1320"/>
                  <a:gd name="T60" fmla="*/ 689 w 869"/>
                  <a:gd name="T61" fmla="*/ 1230 h 1320"/>
                  <a:gd name="T62" fmla="*/ 539 w 869"/>
                  <a:gd name="T63" fmla="*/ 1320 h 1320"/>
                  <a:gd name="T64" fmla="*/ 569 w 869"/>
                  <a:gd name="T65" fmla="*/ 1170 h 1320"/>
                  <a:gd name="T66" fmla="*/ 449 w 869"/>
                  <a:gd name="T67" fmla="*/ 1230 h 1320"/>
                  <a:gd name="T68" fmla="*/ 389 w 869"/>
                  <a:gd name="T69" fmla="*/ 1110 h 1320"/>
                  <a:gd name="T70" fmla="*/ 329 w 869"/>
                  <a:gd name="T71" fmla="*/ 1200 h 1320"/>
                  <a:gd name="T72" fmla="*/ 299 w 869"/>
                  <a:gd name="T73" fmla="*/ 960 h 1320"/>
                  <a:gd name="T74" fmla="*/ 239 w 869"/>
                  <a:gd name="T75" fmla="*/ 1050 h 1320"/>
                  <a:gd name="T76" fmla="*/ 269 w 869"/>
                  <a:gd name="T77" fmla="*/ 870 h 1320"/>
                  <a:gd name="T78" fmla="*/ 419 w 869"/>
                  <a:gd name="T79" fmla="*/ 780 h 1320"/>
                  <a:gd name="T80" fmla="*/ 239 w 869"/>
                  <a:gd name="T81" fmla="*/ 690 h 1320"/>
                  <a:gd name="T82" fmla="*/ 269 w 869"/>
                  <a:gd name="T83" fmla="*/ 870 h 1320"/>
                  <a:gd name="T84" fmla="*/ 389 w 869"/>
                  <a:gd name="T85" fmla="*/ 660 h 1320"/>
                  <a:gd name="T86" fmla="*/ 419 w 869"/>
                  <a:gd name="T87" fmla="*/ 540 h 1320"/>
                  <a:gd name="T88" fmla="*/ 359 w 869"/>
                  <a:gd name="T89" fmla="*/ 420 h 1320"/>
                  <a:gd name="T90" fmla="*/ 389 w 869"/>
                  <a:gd name="T91" fmla="*/ 270 h 1320"/>
                  <a:gd name="T92" fmla="*/ 239 w 869"/>
                  <a:gd name="T93" fmla="*/ 150 h 1320"/>
                  <a:gd name="T94" fmla="*/ 150 w 869"/>
                  <a:gd name="T95" fmla="*/ 270 h 1320"/>
                  <a:gd name="T96" fmla="*/ 0 w 869"/>
                  <a:gd name="T97" fmla="*/ 360 h 1320"/>
                  <a:gd name="T98" fmla="*/ 0 w 869"/>
                  <a:gd name="T99" fmla="*/ 510 h 1320"/>
                  <a:gd name="T100" fmla="*/ 120 w 869"/>
                  <a:gd name="T101" fmla="*/ 420 h 1320"/>
                  <a:gd name="T102" fmla="*/ 269 w 869"/>
                  <a:gd name="T103" fmla="*/ 300 h 1320"/>
                  <a:gd name="T104" fmla="*/ 239 w 869"/>
                  <a:gd name="T105" fmla="*/ 15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9" h="1320">
                    <a:moveTo>
                      <a:pt x="869" y="660"/>
                    </a:moveTo>
                    <a:lnTo>
                      <a:pt x="839" y="300"/>
                    </a:lnTo>
                    <a:lnTo>
                      <a:pt x="809" y="120"/>
                    </a:lnTo>
                    <a:lnTo>
                      <a:pt x="719" y="0"/>
                    </a:lnTo>
                    <a:lnTo>
                      <a:pt x="599" y="60"/>
                    </a:lnTo>
                    <a:lnTo>
                      <a:pt x="599" y="150"/>
                    </a:lnTo>
                    <a:lnTo>
                      <a:pt x="509" y="270"/>
                    </a:lnTo>
                    <a:lnTo>
                      <a:pt x="479" y="360"/>
                    </a:lnTo>
                    <a:lnTo>
                      <a:pt x="599" y="300"/>
                    </a:lnTo>
                    <a:lnTo>
                      <a:pt x="689" y="270"/>
                    </a:lnTo>
                    <a:lnTo>
                      <a:pt x="659" y="420"/>
                    </a:lnTo>
                    <a:lnTo>
                      <a:pt x="779" y="480"/>
                    </a:lnTo>
                    <a:lnTo>
                      <a:pt x="869" y="660"/>
                    </a:lnTo>
                    <a:lnTo>
                      <a:pt x="719" y="630"/>
                    </a:lnTo>
                    <a:lnTo>
                      <a:pt x="599" y="510"/>
                    </a:lnTo>
                    <a:lnTo>
                      <a:pt x="539" y="600"/>
                    </a:lnTo>
                    <a:lnTo>
                      <a:pt x="509" y="690"/>
                    </a:lnTo>
                    <a:lnTo>
                      <a:pt x="539" y="810"/>
                    </a:lnTo>
                    <a:lnTo>
                      <a:pt x="269" y="870"/>
                    </a:lnTo>
                    <a:lnTo>
                      <a:pt x="419" y="960"/>
                    </a:lnTo>
                    <a:lnTo>
                      <a:pt x="539" y="1020"/>
                    </a:lnTo>
                    <a:lnTo>
                      <a:pt x="599" y="930"/>
                    </a:lnTo>
                    <a:lnTo>
                      <a:pt x="719" y="840"/>
                    </a:lnTo>
                    <a:lnTo>
                      <a:pt x="779" y="750"/>
                    </a:lnTo>
                    <a:lnTo>
                      <a:pt x="869" y="810"/>
                    </a:lnTo>
                    <a:lnTo>
                      <a:pt x="809" y="930"/>
                    </a:lnTo>
                    <a:lnTo>
                      <a:pt x="719" y="1020"/>
                    </a:lnTo>
                    <a:lnTo>
                      <a:pt x="839" y="1080"/>
                    </a:lnTo>
                    <a:lnTo>
                      <a:pt x="719" y="1110"/>
                    </a:lnTo>
                    <a:lnTo>
                      <a:pt x="779" y="1260"/>
                    </a:lnTo>
                    <a:lnTo>
                      <a:pt x="689" y="1230"/>
                    </a:lnTo>
                    <a:lnTo>
                      <a:pt x="539" y="1320"/>
                    </a:lnTo>
                    <a:lnTo>
                      <a:pt x="569" y="1170"/>
                    </a:lnTo>
                    <a:lnTo>
                      <a:pt x="449" y="1230"/>
                    </a:lnTo>
                    <a:lnTo>
                      <a:pt x="389" y="1110"/>
                    </a:lnTo>
                    <a:lnTo>
                      <a:pt x="329" y="1200"/>
                    </a:lnTo>
                    <a:lnTo>
                      <a:pt x="299" y="960"/>
                    </a:lnTo>
                    <a:lnTo>
                      <a:pt x="239" y="1050"/>
                    </a:lnTo>
                    <a:lnTo>
                      <a:pt x="269" y="870"/>
                    </a:lnTo>
                    <a:lnTo>
                      <a:pt x="419" y="780"/>
                    </a:lnTo>
                    <a:lnTo>
                      <a:pt x="239" y="690"/>
                    </a:lnTo>
                    <a:lnTo>
                      <a:pt x="269" y="870"/>
                    </a:lnTo>
                    <a:lnTo>
                      <a:pt x="389" y="660"/>
                    </a:lnTo>
                    <a:lnTo>
                      <a:pt x="419" y="540"/>
                    </a:lnTo>
                    <a:lnTo>
                      <a:pt x="359" y="420"/>
                    </a:lnTo>
                    <a:lnTo>
                      <a:pt x="389" y="270"/>
                    </a:lnTo>
                    <a:lnTo>
                      <a:pt x="239" y="150"/>
                    </a:lnTo>
                    <a:lnTo>
                      <a:pt x="150" y="270"/>
                    </a:lnTo>
                    <a:lnTo>
                      <a:pt x="0" y="360"/>
                    </a:lnTo>
                    <a:lnTo>
                      <a:pt x="0" y="510"/>
                    </a:lnTo>
                    <a:lnTo>
                      <a:pt x="120" y="420"/>
                    </a:lnTo>
                    <a:lnTo>
                      <a:pt x="269" y="300"/>
                    </a:lnTo>
                    <a:lnTo>
                      <a:pt x="239"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38" name="Freeform 2543">
                <a:extLst>
                  <a:ext uri="{FF2B5EF4-FFF2-40B4-BE49-F238E27FC236}">
                    <a16:creationId xmlns:a16="http://schemas.microsoft.com/office/drawing/2014/main" id="{0DFB338B-B300-4025-B89E-59B660022B81}"/>
                  </a:ext>
                </a:extLst>
              </p:cNvPr>
              <p:cNvSpPr>
                <a:spLocks/>
              </p:cNvSpPr>
              <p:nvPr/>
            </p:nvSpPr>
            <p:spPr bwMode="auto">
              <a:xfrm>
                <a:off x="4004" y="2250"/>
                <a:ext cx="390" cy="570"/>
              </a:xfrm>
              <a:custGeom>
                <a:avLst/>
                <a:gdLst>
                  <a:gd name="T0" fmla="*/ 120 w 390"/>
                  <a:gd name="T1" fmla="*/ 450 h 570"/>
                  <a:gd name="T2" fmla="*/ 300 w 390"/>
                  <a:gd name="T3" fmla="*/ 480 h 570"/>
                  <a:gd name="T4" fmla="*/ 390 w 390"/>
                  <a:gd name="T5" fmla="*/ 570 h 570"/>
                  <a:gd name="T6" fmla="*/ 180 w 390"/>
                  <a:gd name="T7" fmla="*/ 570 h 570"/>
                  <a:gd name="T8" fmla="*/ 300 w 390"/>
                  <a:gd name="T9" fmla="*/ 270 h 570"/>
                  <a:gd name="T10" fmla="*/ 300 w 390"/>
                  <a:gd name="T11" fmla="*/ 480 h 570"/>
                  <a:gd name="T12" fmla="*/ 120 w 390"/>
                  <a:gd name="T13" fmla="*/ 240 h 570"/>
                  <a:gd name="T14" fmla="*/ 60 w 390"/>
                  <a:gd name="T15" fmla="*/ 0 h 570"/>
                  <a:gd name="T16" fmla="*/ 0 w 390"/>
                  <a:gd name="T17" fmla="*/ 18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70">
                    <a:moveTo>
                      <a:pt x="120" y="450"/>
                    </a:moveTo>
                    <a:lnTo>
                      <a:pt x="300" y="480"/>
                    </a:lnTo>
                    <a:lnTo>
                      <a:pt x="390" y="570"/>
                    </a:lnTo>
                    <a:lnTo>
                      <a:pt x="180" y="570"/>
                    </a:lnTo>
                    <a:lnTo>
                      <a:pt x="300" y="270"/>
                    </a:lnTo>
                    <a:lnTo>
                      <a:pt x="300" y="480"/>
                    </a:lnTo>
                    <a:lnTo>
                      <a:pt x="120" y="240"/>
                    </a:lnTo>
                    <a:lnTo>
                      <a:pt x="60" y="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39" name="Freeform 2544">
                <a:extLst>
                  <a:ext uri="{FF2B5EF4-FFF2-40B4-BE49-F238E27FC236}">
                    <a16:creationId xmlns:a16="http://schemas.microsoft.com/office/drawing/2014/main" id="{B2D73979-39F0-405F-980E-8066F4B4A0EF}"/>
                  </a:ext>
                </a:extLst>
              </p:cNvPr>
              <p:cNvSpPr>
                <a:spLocks/>
              </p:cNvSpPr>
              <p:nvPr/>
            </p:nvSpPr>
            <p:spPr bwMode="auto">
              <a:xfrm>
                <a:off x="3884" y="2850"/>
                <a:ext cx="420" cy="210"/>
              </a:xfrm>
              <a:custGeom>
                <a:avLst/>
                <a:gdLst>
                  <a:gd name="T0" fmla="*/ 0 w 420"/>
                  <a:gd name="T1" fmla="*/ 0 h 210"/>
                  <a:gd name="T2" fmla="*/ 90 w 420"/>
                  <a:gd name="T3" fmla="*/ 150 h 210"/>
                  <a:gd name="T4" fmla="*/ 270 w 420"/>
                  <a:gd name="T5" fmla="*/ 210 h 210"/>
                  <a:gd name="T6" fmla="*/ 420 w 420"/>
                  <a:gd name="T7" fmla="*/ 60 h 210"/>
                </a:gdLst>
                <a:ahLst/>
                <a:cxnLst>
                  <a:cxn ang="0">
                    <a:pos x="T0" y="T1"/>
                  </a:cxn>
                  <a:cxn ang="0">
                    <a:pos x="T2" y="T3"/>
                  </a:cxn>
                  <a:cxn ang="0">
                    <a:pos x="T4" y="T5"/>
                  </a:cxn>
                  <a:cxn ang="0">
                    <a:pos x="T6" y="T7"/>
                  </a:cxn>
                </a:cxnLst>
                <a:rect l="0" t="0" r="r" b="b"/>
                <a:pathLst>
                  <a:path w="420" h="210">
                    <a:moveTo>
                      <a:pt x="0" y="0"/>
                    </a:moveTo>
                    <a:lnTo>
                      <a:pt x="90" y="150"/>
                    </a:lnTo>
                    <a:lnTo>
                      <a:pt x="270" y="210"/>
                    </a:lnTo>
                    <a:lnTo>
                      <a:pt x="4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40" name="Freeform 2545">
                <a:extLst>
                  <a:ext uri="{FF2B5EF4-FFF2-40B4-BE49-F238E27FC236}">
                    <a16:creationId xmlns:a16="http://schemas.microsoft.com/office/drawing/2014/main" id="{830A7BE0-88ED-426D-86A8-C4FD17E4F055}"/>
                  </a:ext>
                </a:extLst>
              </p:cNvPr>
              <p:cNvSpPr>
                <a:spLocks/>
              </p:cNvSpPr>
              <p:nvPr/>
            </p:nvSpPr>
            <p:spPr bwMode="auto">
              <a:xfrm>
                <a:off x="4124" y="2910"/>
                <a:ext cx="180" cy="210"/>
              </a:xfrm>
              <a:custGeom>
                <a:avLst/>
                <a:gdLst>
                  <a:gd name="T0" fmla="*/ 150 w 180"/>
                  <a:gd name="T1" fmla="*/ 210 h 210"/>
                  <a:gd name="T2" fmla="*/ 30 w 180"/>
                  <a:gd name="T3" fmla="*/ 150 h 210"/>
                  <a:gd name="T4" fmla="*/ 0 w 180"/>
                  <a:gd name="T5" fmla="*/ 0 h 210"/>
                  <a:gd name="T6" fmla="*/ 180 w 180"/>
                  <a:gd name="T7" fmla="*/ 90 h 210"/>
                </a:gdLst>
                <a:ahLst/>
                <a:cxnLst>
                  <a:cxn ang="0">
                    <a:pos x="T0" y="T1"/>
                  </a:cxn>
                  <a:cxn ang="0">
                    <a:pos x="T2" y="T3"/>
                  </a:cxn>
                  <a:cxn ang="0">
                    <a:pos x="T4" y="T5"/>
                  </a:cxn>
                  <a:cxn ang="0">
                    <a:pos x="T6" y="T7"/>
                  </a:cxn>
                </a:cxnLst>
                <a:rect l="0" t="0" r="r" b="b"/>
                <a:pathLst>
                  <a:path w="180" h="210">
                    <a:moveTo>
                      <a:pt x="150" y="210"/>
                    </a:moveTo>
                    <a:lnTo>
                      <a:pt x="30" y="150"/>
                    </a:lnTo>
                    <a:lnTo>
                      <a:pt x="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41" name="Line 2546">
                <a:extLst>
                  <a:ext uri="{FF2B5EF4-FFF2-40B4-BE49-F238E27FC236}">
                    <a16:creationId xmlns:a16="http://schemas.microsoft.com/office/drawing/2014/main" id="{441B092E-CE95-4EE7-AA6F-64B6DF247862}"/>
                  </a:ext>
                </a:extLst>
              </p:cNvPr>
              <p:cNvSpPr>
                <a:spLocks noChangeShapeType="1"/>
              </p:cNvSpPr>
              <p:nvPr/>
            </p:nvSpPr>
            <p:spPr bwMode="auto">
              <a:xfrm flipV="1">
                <a:off x="4364"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42" name="Freeform 2547">
                <a:extLst>
                  <a:ext uri="{FF2B5EF4-FFF2-40B4-BE49-F238E27FC236}">
                    <a16:creationId xmlns:a16="http://schemas.microsoft.com/office/drawing/2014/main" id="{02242821-88E6-453B-B082-0CAA88C3BA4E}"/>
                  </a:ext>
                </a:extLst>
              </p:cNvPr>
              <p:cNvSpPr>
                <a:spLocks/>
              </p:cNvSpPr>
              <p:nvPr/>
            </p:nvSpPr>
            <p:spPr bwMode="auto">
              <a:xfrm>
                <a:off x="3944" y="2160"/>
                <a:ext cx="300" cy="150"/>
              </a:xfrm>
              <a:custGeom>
                <a:avLst/>
                <a:gdLst>
                  <a:gd name="T0" fmla="*/ 0 w 300"/>
                  <a:gd name="T1" fmla="*/ 150 h 150"/>
                  <a:gd name="T2" fmla="*/ 300 w 300"/>
                  <a:gd name="T3" fmla="*/ 150 h 150"/>
                  <a:gd name="T4" fmla="*/ 240 w 300"/>
                  <a:gd name="T5" fmla="*/ 30 h 150"/>
                  <a:gd name="T6" fmla="*/ 150 w 300"/>
                  <a:gd name="T7" fmla="*/ 0 h 150"/>
                  <a:gd name="T8" fmla="*/ 30 w 300"/>
                  <a:gd name="T9" fmla="*/ 0 h 150"/>
                </a:gdLst>
                <a:ahLst/>
                <a:cxnLst>
                  <a:cxn ang="0">
                    <a:pos x="T0" y="T1"/>
                  </a:cxn>
                  <a:cxn ang="0">
                    <a:pos x="T2" y="T3"/>
                  </a:cxn>
                  <a:cxn ang="0">
                    <a:pos x="T4" y="T5"/>
                  </a:cxn>
                  <a:cxn ang="0">
                    <a:pos x="T6" y="T7"/>
                  </a:cxn>
                  <a:cxn ang="0">
                    <a:pos x="T8" y="T9"/>
                  </a:cxn>
                </a:cxnLst>
                <a:rect l="0" t="0" r="r" b="b"/>
                <a:pathLst>
                  <a:path w="300" h="150">
                    <a:moveTo>
                      <a:pt x="0" y="150"/>
                    </a:moveTo>
                    <a:lnTo>
                      <a:pt x="300" y="150"/>
                    </a:lnTo>
                    <a:lnTo>
                      <a:pt x="240" y="30"/>
                    </a:lnTo>
                    <a:lnTo>
                      <a:pt x="150" y="0"/>
                    </a:lnTo>
                    <a:lnTo>
                      <a:pt x="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43" name="Freeform 2548">
                <a:extLst>
                  <a:ext uri="{FF2B5EF4-FFF2-40B4-BE49-F238E27FC236}">
                    <a16:creationId xmlns:a16="http://schemas.microsoft.com/office/drawing/2014/main" id="{4774E924-925A-4789-A32A-5BA7C2BECC3F}"/>
                  </a:ext>
                </a:extLst>
              </p:cNvPr>
              <p:cNvSpPr>
                <a:spLocks/>
              </p:cNvSpPr>
              <p:nvPr/>
            </p:nvSpPr>
            <p:spPr bwMode="auto">
              <a:xfrm>
                <a:off x="3914" y="510"/>
                <a:ext cx="180" cy="390"/>
              </a:xfrm>
              <a:custGeom>
                <a:avLst/>
                <a:gdLst>
                  <a:gd name="T0" fmla="*/ 0 w 180"/>
                  <a:gd name="T1" fmla="*/ 270 h 390"/>
                  <a:gd name="T2" fmla="*/ 180 w 180"/>
                  <a:gd name="T3" fmla="*/ 390 h 390"/>
                  <a:gd name="T4" fmla="*/ 30 w 180"/>
                  <a:gd name="T5" fmla="*/ 120 h 390"/>
                  <a:gd name="T6" fmla="*/ 150 w 180"/>
                  <a:gd name="T7" fmla="*/ 0 h 390"/>
                </a:gdLst>
                <a:ahLst/>
                <a:cxnLst>
                  <a:cxn ang="0">
                    <a:pos x="T0" y="T1"/>
                  </a:cxn>
                  <a:cxn ang="0">
                    <a:pos x="T2" y="T3"/>
                  </a:cxn>
                  <a:cxn ang="0">
                    <a:pos x="T4" y="T5"/>
                  </a:cxn>
                  <a:cxn ang="0">
                    <a:pos x="T6" y="T7"/>
                  </a:cxn>
                </a:cxnLst>
                <a:rect l="0" t="0" r="r" b="b"/>
                <a:pathLst>
                  <a:path w="180" h="390">
                    <a:moveTo>
                      <a:pt x="0" y="270"/>
                    </a:moveTo>
                    <a:lnTo>
                      <a:pt x="180" y="390"/>
                    </a:lnTo>
                    <a:lnTo>
                      <a:pt x="30" y="12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44" name="Freeform 2549">
                <a:extLst>
                  <a:ext uri="{FF2B5EF4-FFF2-40B4-BE49-F238E27FC236}">
                    <a16:creationId xmlns:a16="http://schemas.microsoft.com/office/drawing/2014/main" id="{496908C0-A3BD-4F19-A8B7-0CE74E5DCEAD}"/>
                  </a:ext>
                </a:extLst>
              </p:cNvPr>
              <p:cNvSpPr>
                <a:spLocks/>
              </p:cNvSpPr>
              <p:nvPr/>
            </p:nvSpPr>
            <p:spPr bwMode="auto">
              <a:xfrm>
                <a:off x="3974" y="870"/>
                <a:ext cx="300" cy="330"/>
              </a:xfrm>
              <a:custGeom>
                <a:avLst/>
                <a:gdLst>
                  <a:gd name="T0" fmla="*/ 300 w 300"/>
                  <a:gd name="T1" fmla="*/ 0 h 330"/>
                  <a:gd name="T2" fmla="*/ 240 w 300"/>
                  <a:gd name="T3" fmla="*/ 120 h 330"/>
                  <a:gd name="T4" fmla="*/ 180 w 300"/>
                  <a:gd name="T5" fmla="*/ 330 h 330"/>
                  <a:gd name="T6" fmla="*/ 0 w 300"/>
                  <a:gd name="T7" fmla="*/ 270 h 330"/>
                </a:gdLst>
                <a:ahLst/>
                <a:cxnLst>
                  <a:cxn ang="0">
                    <a:pos x="T0" y="T1"/>
                  </a:cxn>
                  <a:cxn ang="0">
                    <a:pos x="T2" y="T3"/>
                  </a:cxn>
                  <a:cxn ang="0">
                    <a:pos x="T4" y="T5"/>
                  </a:cxn>
                  <a:cxn ang="0">
                    <a:pos x="T6" y="T7"/>
                  </a:cxn>
                </a:cxnLst>
                <a:rect l="0" t="0" r="r" b="b"/>
                <a:pathLst>
                  <a:path w="300" h="330">
                    <a:moveTo>
                      <a:pt x="300" y="0"/>
                    </a:moveTo>
                    <a:lnTo>
                      <a:pt x="240" y="120"/>
                    </a:lnTo>
                    <a:lnTo>
                      <a:pt x="180" y="33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45" name="Freeform 2550">
                <a:extLst>
                  <a:ext uri="{FF2B5EF4-FFF2-40B4-BE49-F238E27FC236}">
                    <a16:creationId xmlns:a16="http://schemas.microsoft.com/office/drawing/2014/main" id="{8080663B-3307-43DB-BE61-1A4D7490CF85}"/>
                  </a:ext>
                </a:extLst>
              </p:cNvPr>
              <p:cNvSpPr>
                <a:spLocks/>
              </p:cNvSpPr>
              <p:nvPr/>
            </p:nvSpPr>
            <p:spPr bwMode="auto">
              <a:xfrm>
                <a:off x="3824" y="1050"/>
                <a:ext cx="600" cy="750"/>
              </a:xfrm>
              <a:custGeom>
                <a:avLst/>
                <a:gdLst>
                  <a:gd name="T0" fmla="*/ 600 w 600"/>
                  <a:gd name="T1" fmla="*/ 750 h 750"/>
                  <a:gd name="T2" fmla="*/ 570 w 600"/>
                  <a:gd name="T3" fmla="*/ 630 h 750"/>
                  <a:gd name="T4" fmla="*/ 330 w 600"/>
                  <a:gd name="T5" fmla="*/ 750 h 750"/>
                  <a:gd name="T6" fmla="*/ 270 w 600"/>
                  <a:gd name="T7" fmla="*/ 660 h 750"/>
                  <a:gd name="T8" fmla="*/ 180 w 600"/>
                  <a:gd name="T9" fmla="*/ 540 h 750"/>
                  <a:gd name="T10" fmla="*/ 150 w 600"/>
                  <a:gd name="T11" fmla="*/ 90 h 750"/>
                  <a:gd name="T12" fmla="*/ 0 w 600"/>
                  <a:gd name="T13" fmla="*/ 180 h 750"/>
                  <a:gd name="T14" fmla="*/ 210 w 600"/>
                  <a:gd name="T15" fmla="*/ 300 h 750"/>
                  <a:gd name="T16" fmla="*/ 240 w 600"/>
                  <a:gd name="T17"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0" h="750">
                    <a:moveTo>
                      <a:pt x="600" y="750"/>
                    </a:moveTo>
                    <a:lnTo>
                      <a:pt x="570" y="630"/>
                    </a:lnTo>
                    <a:lnTo>
                      <a:pt x="330" y="750"/>
                    </a:lnTo>
                    <a:lnTo>
                      <a:pt x="270" y="660"/>
                    </a:lnTo>
                    <a:lnTo>
                      <a:pt x="180" y="540"/>
                    </a:lnTo>
                    <a:lnTo>
                      <a:pt x="150" y="90"/>
                    </a:lnTo>
                    <a:lnTo>
                      <a:pt x="0" y="180"/>
                    </a:lnTo>
                    <a:lnTo>
                      <a:pt x="210" y="30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46" name="Freeform 2551">
                <a:extLst>
                  <a:ext uri="{FF2B5EF4-FFF2-40B4-BE49-F238E27FC236}">
                    <a16:creationId xmlns:a16="http://schemas.microsoft.com/office/drawing/2014/main" id="{88E053C0-6DF0-4843-8E52-C9EAA2EBDB40}"/>
                  </a:ext>
                </a:extLst>
              </p:cNvPr>
              <p:cNvSpPr>
                <a:spLocks/>
              </p:cNvSpPr>
              <p:nvPr/>
            </p:nvSpPr>
            <p:spPr bwMode="auto">
              <a:xfrm>
                <a:off x="3884" y="1530"/>
                <a:ext cx="450" cy="420"/>
              </a:xfrm>
              <a:custGeom>
                <a:avLst/>
                <a:gdLst>
                  <a:gd name="T0" fmla="*/ 270 w 450"/>
                  <a:gd name="T1" fmla="*/ 270 h 420"/>
                  <a:gd name="T2" fmla="*/ 60 w 450"/>
                  <a:gd name="T3" fmla="*/ 270 h 420"/>
                  <a:gd name="T4" fmla="*/ 120 w 450"/>
                  <a:gd name="T5" fmla="*/ 60 h 420"/>
                  <a:gd name="T6" fmla="*/ 0 w 450"/>
                  <a:gd name="T7" fmla="*/ 0 h 420"/>
                  <a:gd name="T8" fmla="*/ 300 w 450"/>
                  <a:gd name="T9" fmla="*/ 420 h 420"/>
                  <a:gd name="T10" fmla="*/ 450 w 450"/>
                  <a:gd name="T11" fmla="*/ 0 h 420"/>
                </a:gdLst>
                <a:ahLst/>
                <a:cxnLst>
                  <a:cxn ang="0">
                    <a:pos x="T0" y="T1"/>
                  </a:cxn>
                  <a:cxn ang="0">
                    <a:pos x="T2" y="T3"/>
                  </a:cxn>
                  <a:cxn ang="0">
                    <a:pos x="T4" y="T5"/>
                  </a:cxn>
                  <a:cxn ang="0">
                    <a:pos x="T6" y="T7"/>
                  </a:cxn>
                  <a:cxn ang="0">
                    <a:pos x="T8" y="T9"/>
                  </a:cxn>
                  <a:cxn ang="0">
                    <a:pos x="T10" y="T11"/>
                  </a:cxn>
                </a:cxnLst>
                <a:rect l="0" t="0" r="r" b="b"/>
                <a:pathLst>
                  <a:path w="450" h="420">
                    <a:moveTo>
                      <a:pt x="270" y="270"/>
                    </a:moveTo>
                    <a:lnTo>
                      <a:pt x="60" y="270"/>
                    </a:lnTo>
                    <a:lnTo>
                      <a:pt x="120" y="60"/>
                    </a:lnTo>
                    <a:lnTo>
                      <a:pt x="0" y="0"/>
                    </a:lnTo>
                    <a:lnTo>
                      <a:pt x="300" y="42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47" name="Freeform 2552">
                <a:extLst>
                  <a:ext uri="{FF2B5EF4-FFF2-40B4-BE49-F238E27FC236}">
                    <a16:creationId xmlns:a16="http://schemas.microsoft.com/office/drawing/2014/main" id="{8B0B0D3F-72A1-4616-8C5B-A013DEC1FE15}"/>
                  </a:ext>
                </a:extLst>
              </p:cNvPr>
              <p:cNvSpPr>
                <a:spLocks/>
              </p:cNvSpPr>
              <p:nvPr/>
            </p:nvSpPr>
            <p:spPr bwMode="auto">
              <a:xfrm>
                <a:off x="4004" y="1410"/>
                <a:ext cx="210" cy="210"/>
              </a:xfrm>
              <a:custGeom>
                <a:avLst/>
                <a:gdLst>
                  <a:gd name="T0" fmla="*/ 0 w 210"/>
                  <a:gd name="T1" fmla="*/ 180 h 210"/>
                  <a:gd name="T2" fmla="*/ 150 w 210"/>
                  <a:gd name="T3" fmla="*/ 0 h 210"/>
                  <a:gd name="T4" fmla="*/ 210 w 210"/>
                  <a:gd name="T5" fmla="*/ 210 h 210"/>
                </a:gdLst>
                <a:ahLst/>
                <a:cxnLst>
                  <a:cxn ang="0">
                    <a:pos x="T0" y="T1"/>
                  </a:cxn>
                  <a:cxn ang="0">
                    <a:pos x="T2" y="T3"/>
                  </a:cxn>
                  <a:cxn ang="0">
                    <a:pos x="T4" y="T5"/>
                  </a:cxn>
                </a:cxnLst>
                <a:rect l="0" t="0" r="r" b="b"/>
                <a:pathLst>
                  <a:path w="210" h="210">
                    <a:moveTo>
                      <a:pt x="0" y="180"/>
                    </a:moveTo>
                    <a:lnTo>
                      <a:pt x="150" y="0"/>
                    </a:lnTo>
                    <a:lnTo>
                      <a:pt x="21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48" name="Freeform 2553">
                <a:extLst>
                  <a:ext uri="{FF2B5EF4-FFF2-40B4-BE49-F238E27FC236}">
                    <a16:creationId xmlns:a16="http://schemas.microsoft.com/office/drawing/2014/main" id="{2FF1053D-1680-4366-8BBE-0273EF66A956}"/>
                  </a:ext>
                </a:extLst>
              </p:cNvPr>
              <p:cNvSpPr>
                <a:spLocks/>
              </p:cNvSpPr>
              <p:nvPr/>
            </p:nvSpPr>
            <p:spPr bwMode="auto">
              <a:xfrm>
                <a:off x="4004" y="1710"/>
                <a:ext cx="90" cy="450"/>
              </a:xfrm>
              <a:custGeom>
                <a:avLst/>
                <a:gdLst>
                  <a:gd name="T0" fmla="*/ 90 w 90"/>
                  <a:gd name="T1" fmla="*/ 0 h 450"/>
                  <a:gd name="T2" fmla="*/ 0 w 90"/>
                  <a:gd name="T3" fmla="*/ 240 h 450"/>
                  <a:gd name="T4" fmla="*/ 90 w 90"/>
                  <a:gd name="T5" fmla="*/ 450 h 450"/>
                </a:gdLst>
                <a:ahLst/>
                <a:cxnLst>
                  <a:cxn ang="0">
                    <a:pos x="T0" y="T1"/>
                  </a:cxn>
                  <a:cxn ang="0">
                    <a:pos x="T2" y="T3"/>
                  </a:cxn>
                  <a:cxn ang="0">
                    <a:pos x="T4" y="T5"/>
                  </a:cxn>
                </a:cxnLst>
                <a:rect l="0" t="0" r="r" b="b"/>
                <a:pathLst>
                  <a:path w="90" h="450">
                    <a:moveTo>
                      <a:pt x="90" y="0"/>
                    </a:moveTo>
                    <a:lnTo>
                      <a:pt x="0" y="240"/>
                    </a:lnTo>
                    <a:lnTo>
                      <a:pt x="90" y="4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49" name="Freeform 2554">
                <a:extLst>
                  <a:ext uri="{FF2B5EF4-FFF2-40B4-BE49-F238E27FC236}">
                    <a16:creationId xmlns:a16="http://schemas.microsoft.com/office/drawing/2014/main" id="{CF97071E-C79F-40F1-A98F-1AC373B8A03A}"/>
                  </a:ext>
                </a:extLst>
              </p:cNvPr>
              <p:cNvSpPr>
                <a:spLocks/>
              </p:cNvSpPr>
              <p:nvPr/>
            </p:nvSpPr>
            <p:spPr bwMode="auto">
              <a:xfrm>
                <a:off x="4184" y="2190"/>
                <a:ext cx="180" cy="330"/>
              </a:xfrm>
              <a:custGeom>
                <a:avLst/>
                <a:gdLst>
                  <a:gd name="T0" fmla="*/ 120 w 180"/>
                  <a:gd name="T1" fmla="*/ 330 h 330"/>
                  <a:gd name="T2" fmla="*/ 180 w 180"/>
                  <a:gd name="T3" fmla="*/ 180 h 330"/>
                  <a:gd name="T4" fmla="*/ 0 w 180"/>
                  <a:gd name="T5" fmla="*/ 210 h 330"/>
                  <a:gd name="T6" fmla="*/ 0 w 180"/>
                  <a:gd name="T7" fmla="*/ 0 h 330"/>
                </a:gdLst>
                <a:ahLst/>
                <a:cxnLst>
                  <a:cxn ang="0">
                    <a:pos x="T0" y="T1"/>
                  </a:cxn>
                  <a:cxn ang="0">
                    <a:pos x="T2" y="T3"/>
                  </a:cxn>
                  <a:cxn ang="0">
                    <a:pos x="T4" y="T5"/>
                  </a:cxn>
                  <a:cxn ang="0">
                    <a:pos x="T6" y="T7"/>
                  </a:cxn>
                </a:cxnLst>
                <a:rect l="0" t="0" r="r" b="b"/>
                <a:pathLst>
                  <a:path w="180" h="330">
                    <a:moveTo>
                      <a:pt x="120" y="330"/>
                    </a:moveTo>
                    <a:lnTo>
                      <a:pt x="180" y="180"/>
                    </a:lnTo>
                    <a:lnTo>
                      <a:pt x="0" y="21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50" name="Line 2555">
                <a:extLst>
                  <a:ext uri="{FF2B5EF4-FFF2-40B4-BE49-F238E27FC236}">
                    <a16:creationId xmlns:a16="http://schemas.microsoft.com/office/drawing/2014/main" id="{2162DD71-63BA-4190-AFD9-4B7F51B771BC}"/>
                  </a:ext>
                </a:extLst>
              </p:cNvPr>
              <p:cNvSpPr>
                <a:spLocks noChangeShapeType="1"/>
              </p:cNvSpPr>
              <p:nvPr/>
            </p:nvSpPr>
            <p:spPr bwMode="auto">
              <a:xfrm>
                <a:off x="4004" y="2670"/>
                <a:ext cx="18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51" name="Freeform 2556">
                <a:extLst>
                  <a:ext uri="{FF2B5EF4-FFF2-40B4-BE49-F238E27FC236}">
                    <a16:creationId xmlns:a16="http://schemas.microsoft.com/office/drawing/2014/main" id="{F57F8B56-F144-42CE-A59A-AFDA9F6482C1}"/>
                  </a:ext>
                </a:extLst>
              </p:cNvPr>
              <p:cNvSpPr>
                <a:spLocks/>
              </p:cNvSpPr>
              <p:nvPr/>
            </p:nvSpPr>
            <p:spPr bwMode="auto">
              <a:xfrm>
                <a:off x="4244" y="2010"/>
                <a:ext cx="180" cy="300"/>
              </a:xfrm>
              <a:custGeom>
                <a:avLst/>
                <a:gdLst>
                  <a:gd name="T0" fmla="*/ 180 w 180"/>
                  <a:gd name="T1" fmla="*/ 180 h 300"/>
                  <a:gd name="T2" fmla="*/ 0 w 180"/>
                  <a:gd name="T3" fmla="*/ 300 h 300"/>
                  <a:gd name="T4" fmla="*/ 150 w 180"/>
                  <a:gd name="T5" fmla="*/ 0 h 300"/>
                </a:gdLst>
                <a:ahLst/>
                <a:cxnLst>
                  <a:cxn ang="0">
                    <a:pos x="T0" y="T1"/>
                  </a:cxn>
                  <a:cxn ang="0">
                    <a:pos x="T2" y="T3"/>
                  </a:cxn>
                  <a:cxn ang="0">
                    <a:pos x="T4" y="T5"/>
                  </a:cxn>
                </a:cxnLst>
                <a:rect l="0" t="0" r="r" b="b"/>
                <a:pathLst>
                  <a:path w="180" h="300">
                    <a:moveTo>
                      <a:pt x="180" y="180"/>
                    </a:moveTo>
                    <a:lnTo>
                      <a:pt x="0" y="30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52" name="Freeform 2557">
                <a:extLst>
                  <a:ext uri="{FF2B5EF4-FFF2-40B4-BE49-F238E27FC236}">
                    <a16:creationId xmlns:a16="http://schemas.microsoft.com/office/drawing/2014/main" id="{95FC69E8-C887-4A28-BA5F-E1F70B2630EA}"/>
                  </a:ext>
                </a:extLst>
              </p:cNvPr>
              <p:cNvSpPr>
                <a:spLocks/>
              </p:cNvSpPr>
              <p:nvPr/>
            </p:nvSpPr>
            <p:spPr bwMode="auto">
              <a:xfrm>
                <a:off x="3974" y="1140"/>
                <a:ext cx="180" cy="270"/>
              </a:xfrm>
              <a:custGeom>
                <a:avLst/>
                <a:gdLst>
                  <a:gd name="T0" fmla="*/ 0 w 180"/>
                  <a:gd name="T1" fmla="*/ 0 h 270"/>
                  <a:gd name="T2" fmla="*/ 180 w 180"/>
                  <a:gd name="T3" fmla="*/ 270 h 270"/>
                  <a:gd name="T4" fmla="*/ 180 w 180"/>
                  <a:gd name="T5" fmla="*/ 60 h 270"/>
                </a:gdLst>
                <a:ahLst/>
                <a:cxnLst>
                  <a:cxn ang="0">
                    <a:pos x="T0" y="T1"/>
                  </a:cxn>
                  <a:cxn ang="0">
                    <a:pos x="T2" y="T3"/>
                  </a:cxn>
                  <a:cxn ang="0">
                    <a:pos x="T4" y="T5"/>
                  </a:cxn>
                </a:cxnLst>
                <a:rect l="0" t="0" r="r" b="b"/>
                <a:pathLst>
                  <a:path w="180" h="270">
                    <a:moveTo>
                      <a:pt x="0" y="0"/>
                    </a:moveTo>
                    <a:lnTo>
                      <a:pt x="180" y="270"/>
                    </a:lnTo>
                    <a:lnTo>
                      <a:pt x="18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53" name="Freeform 2558">
                <a:extLst>
                  <a:ext uri="{FF2B5EF4-FFF2-40B4-BE49-F238E27FC236}">
                    <a16:creationId xmlns:a16="http://schemas.microsoft.com/office/drawing/2014/main" id="{E048E346-64CB-4E5E-BC89-9E567C5D6812}"/>
                  </a:ext>
                </a:extLst>
              </p:cNvPr>
              <p:cNvSpPr>
                <a:spLocks/>
              </p:cNvSpPr>
              <p:nvPr/>
            </p:nvSpPr>
            <p:spPr bwMode="auto">
              <a:xfrm>
                <a:off x="3884" y="60"/>
                <a:ext cx="540" cy="1830"/>
              </a:xfrm>
              <a:custGeom>
                <a:avLst/>
                <a:gdLst>
                  <a:gd name="T0" fmla="*/ 180 w 540"/>
                  <a:gd name="T1" fmla="*/ 990 h 1830"/>
                  <a:gd name="T2" fmla="*/ 330 w 540"/>
                  <a:gd name="T3" fmla="*/ 930 h 1830"/>
                  <a:gd name="T4" fmla="*/ 330 w 540"/>
                  <a:gd name="T5" fmla="*/ 1560 h 1830"/>
                  <a:gd name="T6" fmla="*/ 270 w 540"/>
                  <a:gd name="T7" fmla="*/ 1350 h 1830"/>
                  <a:gd name="T8" fmla="*/ 540 w 540"/>
                  <a:gd name="T9" fmla="*/ 1740 h 1830"/>
                  <a:gd name="T10" fmla="*/ 330 w 540"/>
                  <a:gd name="T11" fmla="*/ 1560 h 1830"/>
                  <a:gd name="T12" fmla="*/ 450 w 540"/>
                  <a:gd name="T13" fmla="*/ 1470 h 1830"/>
                  <a:gd name="T14" fmla="*/ 480 w 540"/>
                  <a:gd name="T15" fmla="*/ 1200 h 1830"/>
                  <a:gd name="T16" fmla="*/ 150 w 540"/>
                  <a:gd name="T17" fmla="*/ 1290 h 1830"/>
                  <a:gd name="T18" fmla="*/ 270 w 540"/>
                  <a:gd name="T19" fmla="*/ 1140 h 1830"/>
                  <a:gd name="T20" fmla="*/ 510 w 540"/>
                  <a:gd name="T21" fmla="*/ 960 h 1830"/>
                  <a:gd name="T22" fmla="*/ 180 w 540"/>
                  <a:gd name="T23" fmla="*/ 990 h 1830"/>
                  <a:gd name="T24" fmla="*/ 390 w 540"/>
                  <a:gd name="T25" fmla="*/ 810 h 1830"/>
                  <a:gd name="T26" fmla="*/ 360 w 540"/>
                  <a:gd name="T27" fmla="*/ 630 h 1830"/>
                  <a:gd name="T28" fmla="*/ 150 w 540"/>
                  <a:gd name="T29" fmla="*/ 630 h 1830"/>
                  <a:gd name="T30" fmla="*/ 270 w 540"/>
                  <a:gd name="T31" fmla="*/ 510 h 1830"/>
                  <a:gd name="T32" fmla="*/ 510 w 540"/>
                  <a:gd name="T33" fmla="*/ 600 h 1830"/>
                  <a:gd name="T34" fmla="*/ 480 w 540"/>
                  <a:gd name="T35" fmla="*/ 360 h 1830"/>
                  <a:gd name="T36" fmla="*/ 240 w 540"/>
                  <a:gd name="T37" fmla="*/ 360 h 1830"/>
                  <a:gd name="T38" fmla="*/ 60 w 540"/>
                  <a:gd name="T39" fmla="*/ 300 h 1830"/>
                  <a:gd name="T40" fmla="*/ 270 w 540"/>
                  <a:gd name="T41" fmla="*/ 210 h 1830"/>
                  <a:gd name="T42" fmla="*/ 90 w 540"/>
                  <a:gd name="T43" fmla="*/ 0 h 1830"/>
                  <a:gd name="T44" fmla="*/ 210 w 540"/>
                  <a:gd name="T45" fmla="*/ 60 h 1830"/>
                  <a:gd name="T46" fmla="*/ 510 w 540"/>
                  <a:gd name="T47" fmla="*/ 210 h 1830"/>
                  <a:gd name="T48" fmla="*/ 390 w 540"/>
                  <a:gd name="T49" fmla="*/ 240 h 1830"/>
                  <a:gd name="T50" fmla="*/ 270 w 540"/>
                  <a:gd name="T51" fmla="*/ 210 h 1830"/>
                  <a:gd name="T52" fmla="*/ 180 w 540"/>
                  <a:gd name="T53" fmla="*/ 240 h 1830"/>
                  <a:gd name="T54" fmla="*/ 60 w 540"/>
                  <a:gd name="T55" fmla="*/ 300 h 1830"/>
                  <a:gd name="T56" fmla="*/ 330 w 540"/>
                  <a:gd name="T57" fmla="*/ 390 h 1830"/>
                  <a:gd name="T58" fmla="*/ 480 w 540"/>
                  <a:gd name="T59" fmla="*/ 360 h 1830"/>
                  <a:gd name="T60" fmla="*/ 360 w 540"/>
                  <a:gd name="T61" fmla="*/ 630 h 1830"/>
                  <a:gd name="T62" fmla="*/ 90 w 540"/>
                  <a:gd name="T63" fmla="*/ 84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1830">
                    <a:moveTo>
                      <a:pt x="60" y="960"/>
                    </a:moveTo>
                    <a:lnTo>
                      <a:pt x="180" y="990"/>
                    </a:lnTo>
                    <a:lnTo>
                      <a:pt x="390" y="1080"/>
                    </a:lnTo>
                    <a:lnTo>
                      <a:pt x="330" y="930"/>
                    </a:lnTo>
                    <a:lnTo>
                      <a:pt x="0" y="1320"/>
                    </a:lnTo>
                    <a:lnTo>
                      <a:pt x="330" y="1560"/>
                    </a:lnTo>
                    <a:lnTo>
                      <a:pt x="450" y="1470"/>
                    </a:lnTo>
                    <a:lnTo>
                      <a:pt x="270" y="1350"/>
                    </a:lnTo>
                    <a:lnTo>
                      <a:pt x="210" y="1650"/>
                    </a:lnTo>
                    <a:lnTo>
                      <a:pt x="540" y="1740"/>
                    </a:lnTo>
                    <a:lnTo>
                      <a:pt x="420" y="1830"/>
                    </a:lnTo>
                    <a:lnTo>
                      <a:pt x="330" y="1560"/>
                    </a:lnTo>
                    <a:lnTo>
                      <a:pt x="510" y="1620"/>
                    </a:lnTo>
                    <a:lnTo>
                      <a:pt x="450" y="1470"/>
                    </a:lnTo>
                    <a:lnTo>
                      <a:pt x="420" y="1320"/>
                    </a:lnTo>
                    <a:lnTo>
                      <a:pt x="480" y="1200"/>
                    </a:lnTo>
                    <a:lnTo>
                      <a:pt x="270" y="1350"/>
                    </a:lnTo>
                    <a:lnTo>
                      <a:pt x="150" y="1290"/>
                    </a:lnTo>
                    <a:lnTo>
                      <a:pt x="330" y="1200"/>
                    </a:lnTo>
                    <a:lnTo>
                      <a:pt x="270" y="1140"/>
                    </a:lnTo>
                    <a:lnTo>
                      <a:pt x="390" y="1080"/>
                    </a:lnTo>
                    <a:lnTo>
                      <a:pt x="510" y="960"/>
                    </a:lnTo>
                    <a:lnTo>
                      <a:pt x="330" y="930"/>
                    </a:lnTo>
                    <a:lnTo>
                      <a:pt x="180" y="990"/>
                    </a:lnTo>
                    <a:lnTo>
                      <a:pt x="210" y="840"/>
                    </a:lnTo>
                    <a:lnTo>
                      <a:pt x="390" y="810"/>
                    </a:lnTo>
                    <a:lnTo>
                      <a:pt x="540" y="720"/>
                    </a:lnTo>
                    <a:lnTo>
                      <a:pt x="360" y="630"/>
                    </a:lnTo>
                    <a:lnTo>
                      <a:pt x="240" y="690"/>
                    </a:lnTo>
                    <a:lnTo>
                      <a:pt x="150" y="630"/>
                    </a:lnTo>
                    <a:lnTo>
                      <a:pt x="180" y="450"/>
                    </a:lnTo>
                    <a:lnTo>
                      <a:pt x="270" y="510"/>
                    </a:lnTo>
                    <a:lnTo>
                      <a:pt x="420" y="540"/>
                    </a:lnTo>
                    <a:lnTo>
                      <a:pt x="510" y="600"/>
                    </a:lnTo>
                    <a:lnTo>
                      <a:pt x="540" y="480"/>
                    </a:lnTo>
                    <a:lnTo>
                      <a:pt x="480" y="360"/>
                    </a:lnTo>
                    <a:lnTo>
                      <a:pt x="330" y="390"/>
                    </a:lnTo>
                    <a:lnTo>
                      <a:pt x="240" y="360"/>
                    </a:lnTo>
                    <a:lnTo>
                      <a:pt x="60" y="420"/>
                    </a:lnTo>
                    <a:lnTo>
                      <a:pt x="60" y="300"/>
                    </a:lnTo>
                    <a:lnTo>
                      <a:pt x="180" y="240"/>
                    </a:lnTo>
                    <a:lnTo>
                      <a:pt x="270" y="210"/>
                    </a:lnTo>
                    <a:lnTo>
                      <a:pt x="210" y="60"/>
                    </a:lnTo>
                    <a:lnTo>
                      <a:pt x="90" y="0"/>
                    </a:lnTo>
                    <a:lnTo>
                      <a:pt x="540" y="0"/>
                    </a:lnTo>
                    <a:lnTo>
                      <a:pt x="210" y="60"/>
                    </a:lnTo>
                    <a:lnTo>
                      <a:pt x="360" y="90"/>
                    </a:lnTo>
                    <a:lnTo>
                      <a:pt x="510" y="210"/>
                    </a:lnTo>
                    <a:lnTo>
                      <a:pt x="480" y="360"/>
                    </a:lnTo>
                    <a:lnTo>
                      <a:pt x="390" y="240"/>
                    </a:lnTo>
                    <a:lnTo>
                      <a:pt x="330" y="390"/>
                    </a:lnTo>
                    <a:lnTo>
                      <a:pt x="270" y="210"/>
                    </a:lnTo>
                    <a:lnTo>
                      <a:pt x="240" y="360"/>
                    </a:lnTo>
                    <a:lnTo>
                      <a:pt x="180" y="240"/>
                    </a:lnTo>
                    <a:lnTo>
                      <a:pt x="90" y="210"/>
                    </a:lnTo>
                    <a:lnTo>
                      <a:pt x="60" y="300"/>
                    </a:lnTo>
                    <a:lnTo>
                      <a:pt x="180" y="450"/>
                    </a:lnTo>
                    <a:lnTo>
                      <a:pt x="330" y="390"/>
                    </a:lnTo>
                    <a:lnTo>
                      <a:pt x="420" y="540"/>
                    </a:lnTo>
                    <a:lnTo>
                      <a:pt x="480" y="360"/>
                    </a:lnTo>
                    <a:lnTo>
                      <a:pt x="270" y="510"/>
                    </a:lnTo>
                    <a:lnTo>
                      <a:pt x="360" y="630"/>
                    </a:lnTo>
                    <a:lnTo>
                      <a:pt x="150" y="630"/>
                    </a:lnTo>
                    <a:lnTo>
                      <a:pt x="90" y="840"/>
                    </a:lnTo>
                    <a:lnTo>
                      <a:pt x="330" y="9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54" name="Freeform 2559">
                <a:extLst>
                  <a:ext uri="{FF2B5EF4-FFF2-40B4-BE49-F238E27FC236}">
                    <a16:creationId xmlns:a16="http://schemas.microsoft.com/office/drawing/2014/main" id="{82113F57-2D00-4449-A7EC-FF96D2C29FF9}"/>
                  </a:ext>
                </a:extLst>
              </p:cNvPr>
              <p:cNvSpPr>
                <a:spLocks/>
              </p:cNvSpPr>
              <p:nvPr/>
            </p:nvSpPr>
            <p:spPr bwMode="auto">
              <a:xfrm>
                <a:off x="4244" y="600"/>
                <a:ext cx="150" cy="420"/>
              </a:xfrm>
              <a:custGeom>
                <a:avLst/>
                <a:gdLst>
                  <a:gd name="T0" fmla="*/ 30 w 150"/>
                  <a:gd name="T1" fmla="*/ 270 h 420"/>
                  <a:gd name="T2" fmla="*/ 150 w 150"/>
                  <a:gd name="T3" fmla="*/ 420 h 420"/>
                  <a:gd name="T4" fmla="*/ 60 w 150"/>
                  <a:gd name="T5" fmla="*/ 0 h 420"/>
                  <a:gd name="T6" fmla="*/ 0 w 150"/>
                  <a:gd name="T7" fmla="*/ 90 h 420"/>
                  <a:gd name="T8" fmla="*/ 30 w 150"/>
                  <a:gd name="T9" fmla="*/ 270 h 420"/>
                </a:gdLst>
                <a:ahLst/>
                <a:cxnLst>
                  <a:cxn ang="0">
                    <a:pos x="T0" y="T1"/>
                  </a:cxn>
                  <a:cxn ang="0">
                    <a:pos x="T2" y="T3"/>
                  </a:cxn>
                  <a:cxn ang="0">
                    <a:pos x="T4" y="T5"/>
                  </a:cxn>
                  <a:cxn ang="0">
                    <a:pos x="T6" y="T7"/>
                  </a:cxn>
                  <a:cxn ang="0">
                    <a:pos x="T8" y="T9"/>
                  </a:cxn>
                </a:cxnLst>
                <a:rect l="0" t="0" r="r" b="b"/>
                <a:pathLst>
                  <a:path w="150" h="420">
                    <a:moveTo>
                      <a:pt x="30" y="270"/>
                    </a:moveTo>
                    <a:lnTo>
                      <a:pt x="150" y="420"/>
                    </a:lnTo>
                    <a:lnTo>
                      <a:pt x="60" y="0"/>
                    </a:lnTo>
                    <a:lnTo>
                      <a:pt x="0" y="90"/>
                    </a:lnTo>
                    <a:lnTo>
                      <a:pt x="30" y="27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55" name="Freeform 2560">
                <a:extLst>
                  <a:ext uri="{FF2B5EF4-FFF2-40B4-BE49-F238E27FC236}">
                    <a16:creationId xmlns:a16="http://schemas.microsoft.com/office/drawing/2014/main" id="{9542068C-C3BC-4A55-9F25-25139FFF5661}"/>
                  </a:ext>
                </a:extLst>
              </p:cNvPr>
              <p:cNvSpPr>
                <a:spLocks/>
              </p:cNvSpPr>
              <p:nvPr/>
            </p:nvSpPr>
            <p:spPr bwMode="auto">
              <a:xfrm>
                <a:off x="4094" y="570"/>
                <a:ext cx="180" cy="420"/>
              </a:xfrm>
              <a:custGeom>
                <a:avLst/>
                <a:gdLst>
                  <a:gd name="T0" fmla="*/ 180 w 180"/>
                  <a:gd name="T1" fmla="*/ 300 h 420"/>
                  <a:gd name="T2" fmla="*/ 30 w 180"/>
                  <a:gd name="T3" fmla="*/ 180 h 420"/>
                  <a:gd name="T4" fmla="*/ 0 w 180"/>
                  <a:gd name="T5" fmla="*/ 330 h 420"/>
                  <a:gd name="T6" fmla="*/ 120 w 180"/>
                  <a:gd name="T7" fmla="*/ 420 h 420"/>
                  <a:gd name="T8" fmla="*/ 60 w 180"/>
                  <a:gd name="T9" fmla="*/ 0 h 420"/>
                </a:gdLst>
                <a:ahLst/>
                <a:cxnLst>
                  <a:cxn ang="0">
                    <a:pos x="T0" y="T1"/>
                  </a:cxn>
                  <a:cxn ang="0">
                    <a:pos x="T2" y="T3"/>
                  </a:cxn>
                  <a:cxn ang="0">
                    <a:pos x="T4" y="T5"/>
                  </a:cxn>
                  <a:cxn ang="0">
                    <a:pos x="T6" y="T7"/>
                  </a:cxn>
                  <a:cxn ang="0">
                    <a:pos x="T8" y="T9"/>
                  </a:cxn>
                </a:cxnLst>
                <a:rect l="0" t="0" r="r" b="b"/>
                <a:pathLst>
                  <a:path w="180" h="420">
                    <a:moveTo>
                      <a:pt x="180" y="300"/>
                    </a:moveTo>
                    <a:lnTo>
                      <a:pt x="30" y="180"/>
                    </a:lnTo>
                    <a:lnTo>
                      <a:pt x="0" y="330"/>
                    </a:lnTo>
                    <a:lnTo>
                      <a:pt x="120" y="42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56" name="Freeform 2561">
                <a:extLst>
                  <a:ext uri="{FF2B5EF4-FFF2-40B4-BE49-F238E27FC236}">
                    <a16:creationId xmlns:a16="http://schemas.microsoft.com/office/drawing/2014/main" id="{E0DCAC8E-7FB4-460F-9B80-2BD3CED54129}"/>
                  </a:ext>
                </a:extLst>
              </p:cNvPr>
              <p:cNvSpPr>
                <a:spLocks/>
              </p:cNvSpPr>
              <p:nvPr/>
            </p:nvSpPr>
            <p:spPr bwMode="auto">
              <a:xfrm>
                <a:off x="4244" y="60"/>
                <a:ext cx="180" cy="240"/>
              </a:xfrm>
              <a:custGeom>
                <a:avLst/>
                <a:gdLst>
                  <a:gd name="T0" fmla="*/ 30 w 180"/>
                  <a:gd name="T1" fmla="*/ 240 h 240"/>
                  <a:gd name="T2" fmla="*/ 0 w 180"/>
                  <a:gd name="T3" fmla="*/ 90 h 240"/>
                  <a:gd name="T4" fmla="*/ 180 w 180"/>
                  <a:gd name="T5" fmla="*/ 0 h 240"/>
                  <a:gd name="T6" fmla="*/ 150 w 180"/>
                  <a:gd name="T7" fmla="*/ 210 h 240"/>
                  <a:gd name="T8" fmla="*/ 30 w 180"/>
                  <a:gd name="T9" fmla="*/ 240 h 240"/>
                </a:gdLst>
                <a:ahLst/>
                <a:cxnLst>
                  <a:cxn ang="0">
                    <a:pos x="T0" y="T1"/>
                  </a:cxn>
                  <a:cxn ang="0">
                    <a:pos x="T2" y="T3"/>
                  </a:cxn>
                  <a:cxn ang="0">
                    <a:pos x="T4" y="T5"/>
                  </a:cxn>
                  <a:cxn ang="0">
                    <a:pos x="T6" y="T7"/>
                  </a:cxn>
                  <a:cxn ang="0">
                    <a:pos x="T8" y="T9"/>
                  </a:cxn>
                </a:cxnLst>
                <a:rect l="0" t="0" r="r" b="b"/>
                <a:pathLst>
                  <a:path w="180" h="240">
                    <a:moveTo>
                      <a:pt x="30" y="240"/>
                    </a:moveTo>
                    <a:lnTo>
                      <a:pt x="0" y="90"/>
                    </a:lnTo>
                    <a:lnTo>
                      <a:pt x="180" y="0"/>
                    </a:lnTo>
                    <a:lnTo>
                      <a:pt x="150" y="210"/>
                    </a:lnTo>
                    <a:lnTo>
                      <a:pt x="3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57" name="Line 2562">
                <a:extLst>
                  <a:ext uri="{FF2B5EF4-FFF2-40B4-BE49-F238E27FC236}">
                    <a16:creationId xmlns:a16="http://schemas.microsoft.com/office/drawing/2014/main" id="{7A1B351F-2F0A-48AC-BB3D-D6CED8AF3C2C}"/>
                  </a:ext>
                </a:extLst>
              </p:cNvPr>
              <p:cNvSpPr>
                <a:spLocks noChangeShapeType="1"/>
              </p:cNvSpPr>
              <p:nvPr/>
            </p:nvSpPr>
            <p:spPr bwMode="auto">
              <a:xfrm flipH="1">
                <a:off x="4304" y="54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58" name="Freeform 2563">
                <a:extLst>
                  <a:ext uri="{FF2B5EF4-FFF2-40B4-BE49-F238E27FC236}">
                    <a16:creationId xmlns:a16="http://schemas.microsoft.com/office/drawing/2014/main" id="{E5AAE17E-BB47-4D93-9FFE-8B29B60D39D9}"/>
                  </a:ext>
                </a:extLst>
              </p:cNvPr>
              <p:cNvSpPr>
                <a:spLocks/>
              </p:cNvSpPr>
              <p:nvPr/>
            </p:nvSpPr>
            <p:spPr bwMode="auto">
              <a:xfrm>
                <a:off x="2985" y="330"/>
                <a:ext cx="120" cy="210"/>
              </a:xfrm>
              <a:custGeom>
                <a:avLst/>
                <a:gdLst>
                  <a:gd name="T0" fmla="*/ 90 w 120"/>
                  <a:gd name="T1" fmla="*/ 0 h 210"/>
                  <a:gd name="T2" fmla="*/ 0 w 120"/>
                  <a:gd name="T3" fmla="*/ 210 h 210"/>
                  <a:gd name="T4" fmla="*/ 120 w 120"/>
                  <a:gd name="T5" fmla="*/ 180 h 210"/>
                  <a:gd name="T6" fmla="*/ 90 w 120"/>
                  <a:gd name="T7" fmla="*/ 0 h 210"/>
                </a:gdLst>
                <a:ahLst/>
                <a:cxnLst>
                  <a:cxn ang="0">
                    <a:pos x="T0" y="T1"/>
                  </a:cxn>
                  <a:cxn ang="0">
                    <a:pos x="T2" y="T3"/>
                  </a:cxn>
                  <a:cxn ang="0">
                    <a:pos x="T4" y="T5"/>
                  </a:cxn>
                  <a:cxn ang="0">
                    <a:pos x="T6" y="T7"/>
                  </a:cxn>
                </a:cxnLst>
                <a:rect l="0" t="0" r="r" b="b"/>
                <a:pathLst>
                  <a:path w="120" h="210">
                    <a:moveTo>
                      <a:pt x="90" y="0"/>
                    </a:moveTo>
                    <a:lnTo>
                      <a:pt x="0" y="210"/>
                    </a:lnTo>
                    <a:lnTo>
                      <a:pt x="120" y="18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59" name="Freeform 2564">
                <a:extLst>
                  <a:ext uri="{FF2B5EF4-FFF2-40B4-BE49-F238E27FC236}">
                    <a16:creationId xmlns:a16="http://schemas.microsoft.com/office/drawing/2014/main" id="{5B419CDA-4389-4CA8-9531-C81B372298AF}"/>
                  </a:ext>
                </a:extLst>
              </p:cNvPr>
              <p:cNvSpPr>
                <a:spLocks/>
              </p:cNvSpPr>
              <p:nvPr/>
            </p:nvSpPr>
            <p:spPr bwMode="auto">
              <a:xfrm>
                <a:off x="3195" y="240"/>
                <a:ext cx="480" cy="270"/>
              </a:xfrm>
              <a:custGeom>
                <a:avLst/>
                <a:gdLst>
                  <a:gd name="T0" fmla="*/ 0 w 480"/>
                  <a:gd name="T1" fmla="*/ 0 h 270"/>
                  <a:gd name="T2" fmla="*/ 90 w 480"/>
                  <a:gd name="T3" fmla="*/ 240 h 270"/>
                  <a:gd name="T4" fmla="*/ 300 w 480"/>
                  <a:gd name="T5" fmla="*/ 150 h 270"/>
                  <a:gd name="T6" fmla="*/ 480 w 480"/>
                  <a:gd name="T7" fmla="*/ 210 h 270"/>
                  <a:gd name="T8" fmla="*/ 270 w 480"/>
                  <a:gd name="T9" fmla="*/ 270 h 270"/>
                  <a:gd name="T10" fmla="*/ 120 w 480"/>
                  <a:gd name="T11" fmla="*/ 60 h 270"/>
                </a:gdLst>
                <a:ahLst/>
                <a:cxnLst>
                  <a:cxn ang="0">
                    <a:pos x="T0" y="T1"/>
                  </a:cxn>
                  <a:cxn ang="0">
                    <a:pos x="T2" y="T3"/>
                  </a:cxn>
                  <a:cxn ang="0">
                    <a:pos x="T4" y="T5"/>
                  </a:cxn>
                  <a:cxn ang="0">
                    <a:pos x="T6" y="T7"/>
                  </a:cxn>
                  <a:cxn ang="0">
                    <a:pos x="T8" y="T9"/>
                  </a:cxn>
                  <a:cxn ang="0">
                    <a:pos x="T10" y="T11"/>
                  </a:cxn>
                </a:cxnLst>
                <a:rect l="0" t="0" r="r" b="b"/>
                <a:pathLst>
                  <a:path w="480" h="270">
                    <a:moveTo>
                      <a:pt x="0" y="0"/>
                    </a:moveTo>
                    <a:lnTo>
                      <a:pt x="90" y="240"/>
                    </a:lnTo>
                    <a:lnTo>
                      <a:pt x="300" y="150"/>
                    </a:lnTo>
                    <a:lnTo>
                      <a:pt x="480" y="210"/>
                    </a:lnTo>
                    <a:lnTo>
                      <a:pt x="270" y="270"/>
                    </a:lnTo>
                    <a:lnTo>
                      <a:pt x="1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60" name="Freeform 2565">
                <a:extLst>
                  <a:ext uri="{FF2B5EF4-FFF2-40B4-BE49-F238E27FC236}">
                    <a16:creationId xmlns:a16="http://schemas.microsoft.com/office/drawing/2014/main" id="{11EBD19F-9813-4263-B06E-81E9FE79A336}"/>
                  </a:ext>
                </a:extLst>
              </p:cNvPr>
              <p:cNvSpPr>
                <a:spLocks/>
              </p:cNvSpPr>
              <p:nvPr/>
            </p:nvSpPr>
            <p:spPr bwMode="auto">
              <a:xfrm>
                <a:off x="2805" y="60"/>
                <a:ext cx="1289" cy="300"/>
              </a:xfrm>
              <a:custGeom>
                <a:avLst/>
                <a:gdLst>
                  <a:gd name="T0" fmla="*/ 1169 w 1289"/>
                  <a:gd name="T1" fmla="*/ 210 h 300"/>
                  <a:gd name="T2" fmla="*/ 1169 w 1289"/>
                  <a:gd name="T3" fmla="*/ 0 h 300"/>
                  <a:gd name="T4" fmla="*/ 1049 w 1289"/>
                  <a:gd name="T5" fmla="*/ 90 h 300"/>
                  <a:gd name="T6" fmla="*/ 1169 w 1289"/>
                  <a:gd name="T7" fmla="*/ 210 h 300"/>
                  <a:gd name="T8" fmla="*/ 1289 w 1289"/>
                  <a:gd name="T9" fmla="*/ 60 h 300"/>
                  <a:gd name="T10" fmla="*/ 1259 w 1289"/>
                  <a:gd name="T11" fmla="*/ 240 h 300"/>
                  <a:gd name="T12" fmla="*/ 1169 w 1289"/>
                  <a:gd name="T13" fmla="*/ 0 h 300"/>
                  <a:gd name="T14" fmla="*/ 870 w 1289"/>
                  <a:gd name="T15" fmla="*/ 30 h 300"/>
                  <a:gd name="T16" fmla="*/ 780 w 1289"/>
                  <a:gd name="T17" fmla="*/ 240 h 300"/>
                  <a:gd name="T18" fmla="*/ 660 w 1289"/>
                  <a:gd name="T19" fmla="*/ 90 h 300"/>
                  <a:gd name="T20" fmla="*/ 450 w 1289"/>
                  <a:gd name="T21" fmla="*/ 90 h 300"/>
                  <a:gd name="T22" fmla="*/ 630 w 1289"/>
                  <a:gd name="T23" fmla="*/ 210 h 300"/>
                  <a:gd name="T24" fmla="*/ 390 w 1289"/>
                  <a:gd name="T25" fmla="*/ 180 h 300"/>
                  <a:gd name="T26" fmla="*/ 270 w 1289"/>
                  <a:gd name="T27" fmla="*/ 30 h 300"/>
                  <a:gd name="T28" fmla="*/ 210 w 1289"/>
                  <a:gd name="T29" fmla="*/ 150 h 300"/>
                  <a:gd name="T30" fmla="*/ 90 w 1289"/>
                  <a:gd name="T31" fmla="*/ 210 h 300"/>
                  <a:gd name="T32" fmla="*/ 0 w 1289"/>
                  <a:gd name="T33" fmla="*/ 60 h 300"/>
                  <a:gd name="T34" fmla="*/ 150 w 1289"/>
                  <a:gd name="T35" fmla="*/ 30 h 300"/>
                  <a:gd name="T36" fmla="*/ 150 w 1289"/>
                  <a:gd name="T3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9" h="300">
                    <a:moveTo>
                      <a:pt x="1169" y="210"/>
                    </a:moveTo>
                    <a:lnTo>
                      <a:pt x="1169" y="0"/>
                    </a:lnTo>
                    <a:lnTo>
                      <a:pt x="1049" y="90"/>
                    </a:lnTo>
                    <a:lnTo>
                      <a:pt x="1169" y="210"/>
                    </a:lnTo>
                    <a:lnTo>
                      <a:pt x="1289" y="60"/>
                    </a:lnTo>
                    <a:lnTo>
                      <a:pt x="1259" y="240"/>
                    </a:lnTo>
                    <a:lnTo>
                      <a:pt x="1169" y="0"/>
                    </a:lnTo>
                    <a:lnTo>
                      <a:pt x="870" y="30"/>
                    </a:lnTo>
                    <a:lnTo>
                      <a:pt x="780" y="240"/>
                    </a:lnTo>
                    <a:lnTo>
                      <a:pt x="660" y="90"/>
                    </a:lnTo>
                    <a:lnTo>
                      <a:pt x="450" y="90"/>
                    </a:lnTo>
                    <a:lnTo>
                      <a:pt x="630" y="210"/>
                    </a:lnTo>
                    <a:lnTo>
                      <a:pt x="390" y="180"/>
                    </a:lnTo>
                    <a:lnTo>
                      <a:pt x="270" y="30"/>
                    </a:lnTo>
                    <a:lnTo>
                      <a:pt x="210" y="150"/>
                    </a:lnTo>
                    <a:lnTo>
                      <a:pt x="90" y="210"/>
                    </a:lnTo>
                    <a:lnTo>
                      <a:pt x="0" y="60"/>
                    </a:lnTo>
                    <a:lnTo>
                      <a:pt x="150" y="3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61" name="Freeform 2566">
                <a:extLst>
                  <a:ext uri="{FF2B5EF4-FFF2-40B4-BE49-F238E27FC236}">
                    <a16:creationId xmlns:a16="http://schemas.microsoft.com/office/drawing/2014/main" id="{042F9792-1CFA-42D8-9D55-483EAA4B6381}"/>
                  </a:ext>
                </a:extLst>
              </p:cNvPr>
              <p:cNvSpPr>
                <a:spLocks/>
              </p:cNvSpPr>
              <p:nvPr/>
            </p:nvSpPr>
            <p:spPr bwMode="auto">
              <a:xfrm>
                <a:off x="3675" y="90"/>
                <a:ext cx="269" cy="270"/>
              </a:xfrm>
              <a:custGeom>
                <a:avLst/>
                <a:gdLst>
                  <a:gd name="T0" fmla="*/ 0 w 269"/>
                  <a:gd name="T1" fmla="*/ 0 h 270"/>
                  <a:gd name="T2" fmla="*/ 179 w 269"/>
                  <a:gd name="T3" fmla="*/ 60 h 270"/>
                  <a:gd name="T4" fmla="*/ 269 w 269"/>
                  <a:gd name="T5" fmla="*/ 270 h 270"/>
                </a:gdLst>
                <a:ahLst/>
                <a:cxnLst>
                  <a:cxn ang="0">
                    <a:pos x="T0" y="T1"/>
                  </a:cxn>
                  <a:cxn ang="0">
                    <a:pos x="T2" y="T3"/>
                  </a:cxn>
                  <a:cxn ang="0">
                    <a:pos x="T4" y="T5"/>
                  </a:cxn>
                </a:cxnLst>
                <a:rect l="0" t="0" r="r" b="b"/>
                <a:pathLst>
                  <a:path w="269" h="270">
                    <a:moveTo>
                      <a:pt x="0" y="0"/>
                    </a:moveTo>
                    <a:lnTo>
                      <a:pt x="179" y="60"/>
                    </a:lnTo>
                    <a:lnTo>
                      <a:pt x="26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62" name="Freeform 2567">
                <a:extLst>
                  <a:ext uri="{FF2B5EF4-FFF2-40B4-BE49-F238E27FC236}">
                    <a16:creationId xmlns:a16="http://schemas.microsoft.com/office/drawing/2014/main" id="{05E8010D-62DE-4A0E-BE7F-079F9953D444}"/>
                  </a:ext>
                </a:extLst>
              </p:cNvPr>
              <p:cNvSpPr>
                <a:spLocks/>
              </p:cNvSpPr>
              <p:nvPr/>
            </p:nvSpPr>
            <p:spPr bwMode="auto">
              <a:xfrm>
                <a:off x="3195" y="30"/>
                <a:ext cx="360" cy="60"/>
              </a:xfrm>
              <a:custGeom>
                <a:avLst/>
                <a:gdLst>
                  <a:gd name="T0" fmla="*/ 360 w 360"/>
                  <a:gd name="T1" fmla="*/ 0 h 60"/>
                  <a:gd name="T2" fmla="*/ 150 w 360"/>
                  <a:gd name="T3" fmla="*/ 60 h 60"/>
                  <a:gd name="T4" fmla="*/ 0 w 360"/>
                  <a:gd name="T5" fmla="*/ 0 h 60"/>
                </a:gdLst>
                <a:ahLst/>
                <a:cxnLst>
                  <a:cxn ang="0">
                    <a:pos x="T0" y="T1"/>
                  </a:cxn>
                  <a:cxn ang="0">
                    <a:pos x="T2" y="T3"/>
                  </a:cxn>
                  <a:cxn ang="0">
                    <a:pos x="T4" y="T5"/>
                  </a:cxn>
                </a:cxnLst>
                <a:rect l="0" t="0" r="r" b="b"/>
                <a:pathLst>
                  <a:path w="360" h="60">
                    <a:moveTo>
                      <a:pt x="360" y="0"/>
                    </a:moveTo>
                    <a:lnTo>
                      <a:pt x="15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63" name="Freeform 2568">
                <a:extLst>
                  <a:ext uri="{FF2B5EF4-FFF2-40B4-BE49-F238E27FC236}">
                    <a16:creationId xmlns:a16="http://schemas.microsoft.com/office/drawing/2014/main" id="{6BC1D1C4-B485-4C23-A506-3B120F1971CB}"/>
                  </a:ext>
                </a:extLst>
              </p:cNvPr>
              <p:cNvSpPr>
                <a:spLocks/>
              </p:cNvSpPr>
              <p:nvPr/>
            </p:nvSpPr>
            <p:spPr bwMode="auto">
              <a:xfrm>
                <a:off x="1846" y="210"/>
                <a:ext cx="389" cy="300"/>
              </a:xfrm>
              <a:custGeom>
                <a:avLst/>
                <a:gdLst>
                  <a:gd name="T0" fmla="*/ 120 w 389"/>
                  <a:gd name="T1" fmla="*/ 150 h 300"/>
                  <a:gd name="T2" fmla="*/ 0 w 389"/>
                  <a:gd name="T3" fmla="*/ 90 h 300"/>
                  <a:gd name="T4" fmla="*/ 60 w 389"/>
                  <a:gd name="T5" fmla="*/ 300 h 300"/>
                  <a:gd name="T6" fmla="*/ 269 w 389"/>
                  <a:gd name="T7" fmla="*/ 120 h 300"/>
                  <a:gd name="T8" fmla="*/ 389 w 389"/>
                  <a:gd name="T9" fmla="*/ 180 h 300"/>
                  <a:gd name="T10" fmla="*/ 210 w 389"/>
                  <a:gd name="T11" fmla="*/ 0 h 300"/>
                  <a:gd name="T12" fmla="*/ 0 w 389"/>
                  <a:gd name="T13" fmla="*/ 90 h 300"/>
                </a:gdLst>
                <a:ahLst/>
                <a:cxnLst>
                  <a:cxn ang="0">
                    <a:pos x="T0" y="T1"/>
                  </a:cxn>
                  <a:cxn ang="0">
                    <a:pos x="T2" y="T3"/>
                  </a:cxn>
                  <a:cxn ang="0">
                    <a:pos x="T4" y="T5"/>
                  </a:cxn>
                  <a:cxn ang="0">
                    <a:pos x="T6" y="T7"/>
                  </a:cxn>
                  <a:cxn ang="0">
                    <a:pos x="T8" y="T9"/>
                  </a:cxn>
                  <a:cxn ang="0">
                    <a:pos x="T10" y="T11"/>
                  </a:cxn>
                  <a:cxn ang="0">
                    <a:pos x="T12" y="T13"/>
                  </a:cxn>
                </a:cxnLst>
                <a:rect l="0" t="0" r="r" b="b"/>
                <a:pathLst>
                  <a:path w="389" h="300">
                    <a:moveTo>
                      <a:pt x="120" y="150"/>
                    </a:moveTo>
                    <a:lnTo>
                      <a:pt x="0" y="90"/>
                    </a:lnTo>
                    <a:lnTo>
                      <a:pt x="60" y="300"/>
                    </a:lnTo>
                    <a:lnTo>
                      <a:pt x="269" y="120"/>
                    </a:lnTo>
                    <a:lnTo>
                      <a:pt x="389" y="180"/>
                    </a:lnTo>
                    <a:lnTo>
                      <a:pt x="210" y="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64" name="Freeform 2569">
                <a:extLst>
                  <a:ext uri="{FF2B5EF4-FFF2-40B4-BE49-F238E27FC236}">
                    <a16:creationId xmlns:a16="http://schemas.microsoft.com/office/drawing/2014/main" id="{62CE9145-9183-4601-A11D-D965341710BB}"/>
                  </a:ext>
                </a:extLst>
              </p:cNvPr>
              <p:cNvSpPr>
                <a:spLocks/>
              </p:cNvSpPr>
              <p:nvPr/>
            </p:nvSpPr>
            <p:spPr bwMode="auto">
              <a:xfrm>
                <a:off x="1966" y="60"/>
                <a:ext cx="149" cy="150"/>
              </a:xfrm>
              <a:custGeom>
                <a:avLst/>
                <a:gdLst>
                  <a:gd name="T0" fmla="*/ 0 w 149"/>
                  <a:gd name="T1" fmla="*/ 0 h 150"/>
                  <a:gd name="T2" fmla="*/ 90 w 149"/>
                  <a:gd name="T3" fmla="*/ 150 h 150"/>
                  <a:gd name="T4" fmla="*/ 149 w 149"/>
                  <a:gd name="T5" fmla="*/ 30 h 150"/>
                </a:gdLst>
                <a:ahLst/>
                <a:cxnLst>
                  <a:cxn ang="0">
                    <a:pos x="T0" y="T1"/>
                  </a:cxn>
                  <a:cxn ang="0">
                    <a:pos x="T2" y="T3"/>
                  </a:cxn>
                  <a:cxn ang="0">
                    <a:pos x="T4" y="T5"/>
                  </a:cxn>
                </a:cxnLst>
                <a:rect l="0" t="0" r="r" b="b"/>
                <a:pathLst>
                  <a:path w="149" h="150">
                    <a:moveTo>
                      <a:pt x="0" y="0"/>
                    </a:moveTo>
                    <a:lnTo>
                      <a:pt x="90" y="150"/>
                    </a:lnTo>
                    <a:lnTo>
                      <a:pt x="14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65" name="Freeform 2570">
                <a:extLst>
                  <a:ext uri="{FF2B5EF4-FFF2-40B4-BE49-F238E27FC236}">
                    <a16:creationId xmlns:a16="http://schemas.microsoft.com/office/drawing/2014/main" id="{27814163-E354-45D2-94A2-2FDED766AA4C}"/>
                  </a:ext>
                </a:extLst>
              </p:cNvPr>
              <p:cNvSpPr>
                <a:spLocks/>
              </p:cNvSpPr>
              <p:nvPr/>
            </p:nvSpPr>
            <p:spPr bwMode="auto">
              <a:xfrm>
                <a:off x="2056" y="210"/>
                <a:ext cx="1649" cy="1050"/>
              </a:xfrm>
              <a:custGeom>
                <a:avLst/>
                <a:gdLst>
                  <a:gd name="T0" fmla="*/ 0 w 1649"/>
                  <a:gd name="T1" fmla="*/ 0 h 1050"/>
                  <a:gd name="T2" fmla="*/ 179 w 1649"/>
                  <a:gd name="T3" fmla="*/ 30 h 1050"/>
                  <a:gd name="T4" fmla="*/ 299 w 1649"/>
                  <a:gd name="T5" fmla="*/ 120 h 1050"/>
                  <a:gd name="T6" fmla="*/ 269 w 1649"/>
                  <a:gd name="T7" fmla="*/ 240 h 1050"/>
                  <a:gd name="T8" fmla="*/ 479 w 1649"/>
                  <a:gd name="T9" fmla="*/ 180 h 1050"/>
                  <a:gd name="T10" fmla="*/ 449 w 1649"/>
                  <a:gd name="T11" fmla="*/ 300 h 1050"/>
                  <a:gd name="T12" fmla="*/ 269 w 1649"/>
                  <a:gd name="T13" fmla="*/ 240 h 1050"/>
                  <a:gd name="T14" fmla="*/ 359 w 1649"/>
                  <a:gd name="T15" fmla="*/ 360 h 1050"/>
                  <a:gd name="T16" fmla="*/ 449 w 1649"/>
                  <a:gd name="T17" fmla="*/ 300 h 1050"/>
                  <a:gd name="T18" fmla="*/ 839 w 1649"/>
                  <a:gd name="T19" fmla="*/ 240 h 1050"/>
                  <a:gd name="T20" fmla="*/ 749 w 1649"/>
                  <a:gd name="T21" fmla="*/ 330 h 1050"/>
                  <a:gd name="T22" fmla="*/ 689 w 1649"/>
                  <a:gd name="T23" fmla="*/ 420 h 1050"/>
                  <a:gd name="T24" fmla="*/ 539 w 1649"/>
                  <a:gd name="T25" fmla="*/ 510 h 1050"/>
                  <a:gd name="T26" fmla="*/ 539 w 1649"/>
                  <a:gd name="T27" fmla="*/ 660 h 1050"/>
                  <a:gd name="T28" fmla="*/ 659 w 1649"/>
                  <a:gd name="T29" fmla="*/ 570 h 1050"/>
                  <a:gd name="T30" fmla="*/ 809 w 1649"/>
                  <a:gd name="T31" fmla="*/ 450 h 1050"/>
                  <a:gd name="T32" fmla="*/ 1049 w 1649"/>
                  <a:gd name="T33" fmla="*/ 300 h 1050"/>
                  <a:gd name="T34" fmla="*/ 1139 w 1649"/>
                  <a:gd name="T35" fmla="*/ 360 h 1050"/>
                  <a:gd name="T36" fmla="*/ 1229 w 1649"/>
                  <a:gd name="T37" fmla="*/ 480 h 1050"/>
                  <a:gd name="T38" fmla="*/ 1319 w 1649"/>
                  <a:gd name="T39" fmla="*/ 360 h 1050"/>
                  <a:gd name="T40" fmla="*/ 1139 w 1649"/>
                  <a:gd name="T41" fmla="*/ 360 h 1050"/>
                  <a:gd name="T42" fmla="*/ 1139 w 1649"/>
                  <a:gd name="T43" fmla="*/ 511 h 1050"/>
                  <a:gd name="T44" fmla="*/ 1049 w 1649"/>
                  <a:gd name="T45" fmla="*/ 480 h 1050"/>
                  <a:gd name="T46" fmla="*/ 1019 w 1649"/>
                  <a:gd name="T47" fmla="*/ 570 h 1050"/>
                  <a:gd name="T48" fmla="*/ 1019 w 1649"/>
                  <a:gd name="T49" fmla="*/ 810 h 1050"/>
                  <a:gd name="T50" fmla="*/ 1139 w 1649"/>
                  <a:gd name="T51" fmla="*/ 720 h 1050"/>
                  <a:gd name="T52" fmla="*/ 1227 w 1649"/>
                  <a:gd name="T53" fmla="*/ 812 h 1050"/>
                  <a:gd name="T54" fmla="*/ 1199 w 1649"/>
                  <a:gd name="T55" fmla="*/ 630 h 1050"/>
                  <a:gd name="T56" fmla="*/ 1289 w 1649"/>
                  <a:gd name="T57" fmla="*/ 570 h 1050"/>
                  <a:gd name="T58" fmla="*/ 1409 w 1649"/>
                  <a:gd name="T59" fmla="*/ 630 h 1050"/>
                  <a:gd name="T60" fmla="*/ 1289 w 1649"/>
                  <a:gd name="T61" fmla="*/ 690 h 1050"/>
                  <a:gd name="T62" fmla="*/ 1379 w 1649"/>
                  <a:gd name="T63" fmla="*/ 750 h 1050"/>
                  <a:gd name="T64" fmla="*/ 1649 w 1649"/>
                  <a:gd name="T65" fmla="*/ 720 h 1050"/>
                  <a:gd name="T66" fmla="*/ 1529 w 1649"/>
                  <a:gd name="T67" fmla="*/ 780 h 1050"/>
                  <a:gd name="T68" fmla="*/ 1559 w 1649"/>
                  <a:gd name="T69" fmla="*/ 1050 h 1050"/>
                  <a:gd name="T70" fmla="*/ 1349 w 1649"/>
                  <a:gd name="T71" fmla="*/ 87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1050">
                    <a:moveTo>
                      <a:pt x="0" y="0"/>
                    </a:moveTo>
                    <a:lnTo>
                      <a:pt x="179" y="30"/>
                    </a:lnTo>
                    <a:lnTo>
                      <a:pt x="299" y="120"/>
                    </a:lnTo>
                    <a:lnTo>
                      <a:pt x="269" y="240"/>
                    </a:lnTo>
                    <a:lnTo>
                      <a:pt x="479" y="180"/>
                    </a:lnTo>
                    <a:lnTo>
                      <a:pt x="449" y="300"/>
                    </a:lnTo>
                    <a:lnTo>
                      <a:pt x="269" y="240"/>
                    </a:lnTo>
                    <a:lnTo>
                      <a:pt x="359" y="360"/>
                    </a:lnTo>
                    <a:lnTo>
                      <a:pt x="449" y="300"/>
                    </a:lnTo>
                    <a:lnTo>
                      <a:pt x="839" y="240"/>
                    </a:lnTo>
                    <a:lnTo>
                      <a:pt x="749" y="330"/>
                    </a:lnTo>
                    <a:lnTo>
                      <a:pt x="689" y="420"/>
                    </a:lnTo>
                    <a:lnTo>
                      <a:pt x="539" y="510"/>
                    </a:lnTo>
                    <a:lnTo>
                      <a:pt x="539" y="660"/>
                    </a:lnTo>
                    <a:lnTo>
                      <a:pt x="659" y="570"/>
                    </a:lnTo>
                    <a:lnTo>
                      <a:pt x="809" y="450"/>
                    </a:lnTo>
                    <a:lnTo>
                      <a:pt x="1049" y="300"/>
                    </a:lnTo>
                    <a:lnTo>
                      <a:pt x="1139" y="360"/>
                    </a:lnTo>
                    <a:lnTo>
                      <a:pt x="1229" y="480"/>
                    </a:lnTo>
                    <a:lnTo>
                      <a:pt x="1319" y="360"/>
                    </a:lnTo>
                    <a:lnTo>
                      <a:pt x="1139" y="360"/>
                    </a:lnTo>
                    <a:lnTo>
                      <a:pt x="1139" y="511"/>
                    </a:lnTo>
                    <a:lnTo>
                      <a:pt x="1049" y="480"/>
                    </a:lnTo>
                    <a:lnTo>
                      <a:pt x="1019" y="570"/>
                    </a:lnTo>
                    <a:lnTo>
                      <a:pt x="1019" y="810"/>
                    </a:lnTo>
                    <a:lnTo>
                      <a:pt x="1139" y="720"/>
                    </a:lnTo>
                    <a:lnTo>
                      <a:pt x="1227" y="812"/>
                    </a:lnTo>
                    <a:lnTo>
                      <a:pt x="1199" y="630"/>
                    </a:lnTo>
                    <a:lnTo>
                      <a:pt x="1289" y="570"/>
                    </a:lnTo>
                    <a:lnTo>
                      <a:pt x="1409" y="630"/>
                    </a:lnTo>
                    <a:lnTo>
                      <a:pt x="1289" y="690"/>
                    </a:lnTo>
                    <a:lnTo>
                      <a:pt x="1379" y="750"/>
                    </a:lnTo>
                    <a:lnTo>
                      <a:pt x="1649" y="720"/>
                    </a:lnTo>
                    <a:lnTo>
                      <a:pt x="1529" y="780"/>
                    </a:lnTo>
                    <a:lnTo>
                      <a:pt x="1559" y="1050"/>
                    </a:lnTo>
                    <a:lnTo>
                      <a:pt x="1349" y="8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66" name="Freeform 2571">
                <a:extLst>
                  <a:ext uri="{FF2B5EF4-FFF2-40B4-BE49-F238E27FC236}">
                    <a16:creationId xmlns:a16="http://schemas.microsoft.com/office/drawing/2014/main" id="{1AAE4900-99E8-4C63-ACD6-D6F5869D90FB}"/>
                  </a:ext>
                </a:extLst>
              </p:cNvPr>
              <p:cNvSpPr>
                <a:spLocks/>
              </p:cNvSpPr>
              <p:nvPr/>
            </p:nvSpPr>
            <p:spPr bwMode="auto">
              <a:xfrm>
                <a:off x="2505" y="300"/>
                <a:ext cx="270" cy="210"/>
              </a:xfrm>
              <a:custGeom>
                <a:avLst/>
                <a:gdLst>
                  <a:gd name="T0" fmla="*/ 120 w 270"/>
                  <a:gd name="T1" fmla="*/ 0 h 210"/>
                  <a:gd name="T2" fmla="*/ 270 w 270"/>
                  <a:gd name="T3" fmla="*/ 60 h 210"/>
                  <a:gd name="T4" fmla="*/ 0 w 270"/>
                  <a:gd name="T5" fmla="*/ 210 h 210"/>
                </a:gdLst>
                <a:ahLst/>
                <a:cxnLst>
                  <a:cxn ang="0">
                    <a:pos x="T0" y="T1"/>
                  </a:cxn>
                  <a:cxn ang="0">
                    <a:pos x="T2" y="T3"/>
                  </a:cxn>
                  <a:cxn ang="0">
                    <a:pos x="T4" y="T5"/>
                  </a:cxn>
                </a:cxnLst>
                <a:rect l="0" t="0" r="r" b="b"/>
                <a:pathLst>
                  <a:path w="270" h="210">
                    <a:moveTo>
                      <a:pt x="120" y="0"/>
                    </a:move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67" name="Freeform 2572">
                <a:extLst>
                  <a:ext uri="{FF2B5EF4-FFF2-40B4-BE49-F238E27FC236}">
                    <a16:creationId xmlns:a16="http://schemas.microsoft.com/office/drawing/2014/main" id="{AF94AC7A-FA2A-422A-B6E2-09870087C40F}"/>
                  </a:ext>
                </a:extLst>
              </p:cNvPr>
              <p:cNvSpPr>
                <a:spLocks/>
              </p:cNvSpPr>
              <p:nvPr/>
            </p:nvSpPr>
            <p:spPr bwMode="auto">
              <a:xfrm>
                <a:off x="2775" y="360"/>
                <a:ext cx="180" cy="90"/>
              </a:xfrm>
              <a:custGeom>
                <a:avLst/>
                <a:gdLst>
                  <a:gd name="T0" fmla="*/ 120 w 180"/>
                  <a:gd name="T1" fmla="*/ 90 h 90"/>
                  <a:gd name="T2" fmla="*/ 0 w 180"/>
                  <a:gd name="T3" fmla="*/ 0 h 90"/>
                  <a:gd name="T4" fmla="*/ 180 w 180"/>
                  <a:gd name="T5" fmla="*/ 0 h 90"/>
                  <a:gd name="T6" fmla="*/ 120 w 180"/>
                  <a:gd name="T7" fmla="*/ 90 h 90"/>
                </a:gdLst>
                <a:ahLst/>
                <a:cxnLst>
                  <a:cxn ang="0">
                    <a:pos x="T0" y="T1"/>
                  </a:cxn>
                  <a:cxn ang="0">
                    <a:pos x="T2" y="T3"/>
                  </a:cxn>
                  <a:cxn ang="0">
                    <a:pos x="T4" y="T5"/>
                  </a:cxn>
                  <a:cxn ang="0">
                    <a:pos x="T6" y="T7"/>
                  </a:cxn>
                </a:cxnLst>
                <a:rect l="0" t="0" r="r" b="b"/>
                <a:pathLst>
                  <a:path w="180" h="90">
                    <a:moveTo>
                      <a:pt x="120" y="90"/>
                    </a:moveTo>
                    <a:lnTo>
                      <a:pt x="0" y="0"/>
                    </a:lnTo>
                    <a:lnTo>
                      <a:pt x="180" y="0"/>
                    </a:lnTo>
                    <a:lnTo>
                      <a:pt x="12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68" name="Freeform 2573">
                <a:extLst>
                  <a:ext uri="{FF2B5EF4-FFF2-40B4-BE49-F238E27FC236}">
                    <a16:creationId xmlns:a16="http://schemas.microsoft.com/office/drawing/2014/main" id="{841F8078-52C8-4FBA-A4EE-579DE235E6A8}"/>
                  </a:ext>
                </a:extLst>
              </p:cNvPr>
              <p:cNvSpPr>
                <a:spLocks/>
              </p:cNvSpPr>
              <p:nvPr/>
            </p:nvSpPr>
            <p:spPr bwMode="auto">
              <a:xfrm>
                <a:off x="2595" y="30"/>
                <a:ext cx="210" cy="150"/>
              </a:xfrm>
              <a:custGeom>
                <a:avLst/>
                <a:gdLst>
                  <a:gd name="T0" fmla="*/ 120 w 210"/>
                  <a:gd name="T1" fmla="*/ 60 h 150"/>
                  <a:gd name="T2" fmla="*/ 210 w 210"/>
                  <a:gd name="T3" fmla="*/ 90 h 150"/>
                  <a:gd name="T4" fmla="*/ 0 w 210"/>
                  <a:gd name="T5" fmla="*/ 150 h 150"/>
                  <a:gd name="T6" fmla="*/ 0 w 210"/>
                  <a:gd name="T7" fmla="*/ 0 h 150"/>
                  <a:gd name="T8" fmla="*/ 120 w 210"/>
                  <a:gd name="T9" fmla="*/ 60 h 150"/>
                </a:gdLst>
                <a:ahLst/>
                <a:cxnLst>
                  <a:cxn ang="0">
                    <a:pos x="T0" y="T1"/>
                  </a:cxn>
                  <a:cxn ang="0">
                    <a:pos x="T2" y="T3"/>
                  </a:cxn>
                  <a:cxn ang="0">
                    <a:pos x="T4" y="T5"/>
                  </a:cxn>
                  <a:cxn ang="0">
                    <a:pos x="T6" y="T7"/>
                  </a:cxn>
                  <a:cxn ang="0">
                    <a:pos x="T8" y="T9"/>
                  </a:cxn>
                </a:cxnLst>
                <a:rect l="0" t="0" r="r" b="b"/>
                <a:pathLst>
                  <a:path w="210" h="150">
                    <a:moveTo>
                      <a:pt x="120" y="60"/>
                    </a:moveTo>
                    <a:lnTo>
                      <a:pt x="210" y="90"/>
                    </a:lnTo>
                    <a:lnTo>
                      <a:pt x="0" y="150"/>
                    </a:lnTo>
                    <a:lnTo>
                      <a:pt x="0" y="0"/>
                    </a:lnTo>
                    <a:lnTo>
                      <a:pt x="120" y="6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69" name="Line 2574">
                <a:extLst>
                  <a:ext uri="{FF2B5EF4-FFF2-40B4-BE49-F238E27FC236}">
                    <a16:creationId xmlns:a16="http://schemas.microsoft.com/office/drawing/2014/main" id="{A206CF01-A981-4331-8171-28F95CC25720}"/>
                  </a:ext>
                </a:extLst>
              </p:cNvPr>
              <p:cNvSpPr>
                <a:spLocks noChangeShapeType="1"/>
              </p:cNvSpPr>
              <p:nvPr/>
            </p:nvSpPr>
            <p:spPr bwMode="auto">
              <a:xfrm flipH="1">
                <a:off x="2385" y="1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70" name="Freeform 2575">
                <a:extLst>
                  <a:ext uri="{FF2B5EF4-FFF2-40B4-BE49-F238E27FC236}">
                    <a16:creationId xmlns:a16="http://schemas.microsoft.com/office/drawing/2014/main" id="{968658FF-46F1-4AE0-A4FA-2CB63A0EF984}"/>
                  </a:ext>
                </a:extLst>
              </p:cNvPr>
              <p:cNvSpPr>
                <a:spLocks/>
              </p:cNvSpPr>
              <p:nvPr/>
            </p:nvSpPr>
            <p:spPr bwMode="auto">
              <a:xfrm>
                <a:off x="1876" y="30"/>
                <a:ext cx="2398" cy="390"/>
              </a:xfrm>
              <a:custGeom>
                <a:avLst/>
                <a:gdLst>
                  <a:gd name="T0" fmla="*/ 509 w 2398"/>
                  <a:gd name="T1" fmla="*/ 60 h 390"/>
                  <a:gd name="T2" fmla="*/ 419 w 2398"/>
                  <a:gd name="T3" fmla="*/ 120 h 390"/>
                  <a:gd name="T4" fmla="*/ 239 w 2398"/>
                  <a:gd name="T5" fmla="*/ 60 h 390"/>
                  <a:gd name="T6" fmla="*/ 90 w 2398"/>
                  <a:gd name="T7" fmla="*/ 30 h 390"/>
                  <a:gd name="T8" fmla="*/ 0 w 2398"/>
                  <a:gd name="T9" fmla="*/ 120 h 390"/>
                  <a:gd name="T10" fmla="*/ 180 w 2398"/>
                  <a:gd name="T11" fmla="*/ 180 h 390"/>
                  <a:gd name="T12" fmla="*/ 90 w 2398"/>
                  <a:gd name="T13" fmla="*/ 330 h 390"/>
                  <a:gd name="T14" fmla="*/ 239 w 2398"/>
                  <a:gd name="T15" fmla="*/ 300 h 390"/>
                  <a:gd name="T16" fmla="*/ 239 w 2398"/>
                  <a:gd name="T17" fmla="*/ 60 h 390"/>
                  <a:gd name="T18" fmla="*/ 359 w 2398"/>
                  <a:gd name="T19" fmla="*/ 210 h 390"/>
                  <a:gd name="T20" fmla="*/ 359 w 2398"/>
                  <a:gd name="T21" fmla="*/ 360 h 390"/>
                  <a:gd name="T22" fmla="*/ 479 w 2398"/>
                  <a:gd name="T23" fmla="*/ 300 h 390"/>
                  <a:gd name="T24" fmla="*/ 419 w 2398"/>
                  <a:gd name="T25" fmla="*/ 120 h 390"/>
                  <a:gd name="T26" fmla="*/ 509 w 2398"/>
                  <a:gd name="T27" fmla="*/ 180 h 390"/>
                  <a:gd name="T28" fmla="*/ 509 w 2398"/>
                  <a:gd name="T29" fmla="*/ 60 h 390"/>
                  <a:gd name="T30" fmla="*/ 629 w 2398"/>
                  <a:gd name="T31" fmla="*/ 30 h 390"/>
                  <a:gd name="T32" fmla="*/ 719 w 2398"/>
                  <a:gd name="T33" fmla="*/ 0 h 390"/>
                  <a:gd name="T34" fmla="*/ 629 w 2398"/>
                  <a:gd name="T35" fmla="*/ 120 h 390"/>
                  <a:gd name="T36" fmla="*/ 719 w 2398"/>
                  <a:gd name="T37" fmla="*/ 150 h 390"/>
                  <a:gd name="T38" fmla="*/ 599 w 2398"/>
                  <a:gd name="T39" fmla="*/ 240 h 390"/>
                  <a:gd name="T40" fmla="*/ 659 w 2398"/>
                  <a:gd name="T41" fmla="*/ 360 h 390"/>
                  <a:gd name="T42" fmla="*/ 749 w 2398"/>
                  <a:gd name="T43" fmla="*/ 270 h 390"/>
                  <a:gd name="T44" fmla="*/ 839 w 2398"/>
                  <a:gd name="T45" fmla="*/ 60 h 390"/>
                  <a:gd name="T46" fmla="*/ 869 w 2398"/>
                  <a:gd name="T47" fmla="*/ 210 h 390"/>
                  <a:gd name="T48" fmla="*/ 929 w 2398"/>
                  <a:gd name="T49" fmla="*/ 90 h 390"/>
                  <a:gd name="T50" fmla="*/ 899 w 2398"/>
                  <a:gd name="T51" fmla="*/ 330 h 390"/>
                  <a:gd name="T52" fmla="*/ 1019 w 2398"/>
                  <a:gd name="T53" fmla="*/ 240 h 390"/>
                  <a:gd name="T54" fmla="*/ 1079 w 2398"/>
                  <a:gd name="T55" fmla="*/ 330 h 390"/>
                  <a:gd name="T56" fmla="*/ 1139 w 2398"/>
                  <a:gd name="T57" fmla="*/ 180 h 390"/>
                  <a:gd name="T58" fmla="*/ 1079 w 2398"/>
                  <a:gd name="T59" fmla="*/ 60 h 390"/>
                  <a:gd name="T60" fmla="*/ 1199 w 2398"/>
                  <a:gd name="T61" fmla="*/ 60 h 390"/>
                  <a:gd name="T62" fmla="*/ 1319 w 2398"/>
                  <a:gd name="T63" fmla="*/ 0 h 390"/>
                  <a:gd name="T64" fmla="*/ 1319 w 2398"/>
                  <a:gd name="T65" fmla="*/ 210 h 390"/>
                  <a:gd name="T66" fmla="*/ 1199 w 2398"/>
                  <a:gd name="T67" fmla="*/ 300 h 390"/>
                  <a:gd name="T68" fmla="*/ 1319 w 2398"/>
                  <a:gd name="T69" fmla="*/ 360 h 390"/>
                  <a:gd name="T70" fmla="*/ 1439 w 2398"/>
                  <a:gd name="T71" fmla="*/ 270 h 390"/>
                  <a:gd name="T72" fmla="*/ 1379 w 2398"/>
                  <a:gd name="T73" fmla="*/ 120 h 390"/>
                  <a:gd name="T74" fmla="*/ 1469 w 2398"/>
                  <a:gd name="T75" fmla="*/ 60 h 390"/>
                  <a:gd name="T76" fmla="*/ 1589 w 2398"/>
                  <a:gd name="T77" fmla="*/ 120 h 390"/>
                  <a:gd name="T78" fmla="*/ 1559 w 2398"/>
                  <a:gd name="T79" fmla="*/ 240 h 390"/>
                  <a:gd name="T80" fmla="*/ 1619 w 2398"/>
                  <a:gd name="T81" fmla="*/ 360 h 390"/>
                  <a:gd name="T82" fmla="*/ 1709 w 2398"/>
                  <a:gd name="T83" fmla="*/ 270 h 390"/>
                  <a:gd name="T84" fmla="*/ 1679 w 2398"/>
                  <a:gd name="T85" fmla="*/ 150 h 390"/>
                  <a:gd name="T86" fmla="*/ 1679 w 2398"/>
                  <a:gd name="T87" fmla="*/ 0 h 390"/>
                  <a:gd name="T88" fmla="*/ 1799 w 2398"/>
                  <a:gd name="T89" fmla="*/ 60 h 390"/>
                  <a:gd name="T90" fmla="*/ 1829 w 2398"/>
                  <a:gd name="T91" fmla="*/ 210 h 390"/>
                  <a:gd name="T92" fmla="*/ 1978 w 2398"/>
                  <a:gd name="T93" fmla="*/ 120 h 390"/>
                  <a:gd name="T94" fmla="*/ 1948 w 2398"/>
                  <a:gd name="T95" fmla="*/ 240 h 390"/>
                  <a:gd name="T96" fmla="*/ 1888 w 2398"/>
                  <a:gd name="T97" fmla="*/ 360 h 390"/>
                  <a:gd name="T98" fmla="*/ 2068 w 2398"/>
                  <a:gd name="T99" fmla="*/ 330 h 390"/>
                  <a:gd name="T100" fmla="*/ 2248 w 2398"/>
                  <a:gd name="T101" fmla="*/ 390 h 390"/>
                  <a:gd name="T102" fmla="*/ 2398 w 2398"/>
                  <a:gd name="T103" fmla="*/ 270 h 390"/>
                  <a:gd name="T104" fmla="*/ 2278 w 2398"/>
                  <a:gd name="T105" fmla="*/ 240 h 390"/>
                  <a:gd name="T106" fmla="*/ 2368 w 2398"/>
                  <a:gd name="T107" fmla="*/ 12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8" h="390">
                    <a:moveTo>
                      <a:pt x="509" y="60"/>
                    </a:moveTo>
                    <a:lnTo>
                      <a:pt x="419" y="120"/>
                    </a:lnTo>
                    <a:lnTo>
                      <a:pt x="239" y="60"/>
                    </a:lnTo>
                    <a:lnTo>
                      <a:pt x="90" y="30"/>
                    </a:lnTo>
                    <a:lnTo>
                      <a:pt x="0" y="120"/>
                    </a:lnTo>
                    <a:lnTo>
                      <a:pt x="180" y="180"/>
                    </a:lnTo>
                    <a:lnTo>
                      <a:pt x="90" y="330"/>
                    </a:lnTo>
                    <a:lnTo>
                      <a:pt x="239" y="300"/>
                    </a:lnTo>
                    <a:lnTo>
                      <a:pt x="239" y="60"/>
                    </a:lnTo>
                    <a:lnTo>
                      <a:pt x="359" y="210"/>
                    </a:lnTo>
                    <a:lnTo>
                      <a:pt x="359" y="360"/>
                    </a:lnTo>
                    <a:lnTo>
                      <a:pt x="479" y="300"/>
                    </a:lnTo>
                    <a:lnTo>
                      <a:pt x="419" y="120"/>
                    </a:lnTo>
                    <a:lnTo>
                      <a:pt x="509" y="180"/>
                    </a:lnTo>
                    <a:lnTo>
                      <a:pt x="509" y="60"/>
                    </a:lnTo>
                    <a:lnTo>
                      <a:pt x="629" y="30"/>
                    </a:lnTo>
                    <a:lnTo>
                      <a:pt x="719" y="0"/>
                    </a:lnTo>
                    <a:lnTo>
                      <a:pt x="629" y="120"/>
                    </a:lnTo>
                    <a:lnTo>
                      <a:pt x="719" y="150"/>
                    </a:lnTo>
                    <a:lnTo>
                      <a:pt x="599" y="240"/>
                    </a:lnTo>
                    <a:lnTo>
                      <a:pt x="659" y="360"/>
                    </a:lnTo>
                    <a:lnTo>
                      <a:pt x="749" y="270"/>
                    </a:lnTo>
                    <a:lnTo>
                      <a:pt x="839" y="60"/>
                    </a:lnTo>
                    <a:lnTo>
                      <a:pt x="869" y="210"/>
                    </a:lnTo>
                    <a:lnTo>
                      <a:pt x="929" y="90"/>
                    </a:lnTo>
                    <a:lnTo>
                      <a:pt x="899" y="330"/>
                    </a:lnTo>
                    <a:lnTo>
                      <a:pt x="1019" y="240"/>
                    </a:lnTo>
                    <a:lnTo>
                      <a:pt x="1079" y="330"/>
                    </a:lnTo>
                    <a:lnTo>
                      <a:pt x="1139" y="180"/>
                    </a:lnTo>
                    <a:lnTo>
                      <a:pt x="1079" y="60"/>
                    </a:lnTo>
                    <a:lnTo>
                      <a:pt x="1199" y="60"/>
                    </a:lnTo>
                    <a:lnTo>
                      <a:pt x="1319" y="0"/>
                    </a:lnTo>
                    <a:lnTo>
                      <a:pt x="1319" y="210"/>
                    </a:lnTo>
                    <a:lnTo>
                      <a:pt x="1199" y="300"/>
                    </a:lnTo>
                    <a:lnTo>
                      <a:pt x="1319" y="360"/>
                    </a:lnTo>
                    <a:lnTo>
                      <a:pt x="1439" y="270"/>
                    </a:lnTo>
                    <a:lnTo>
                      <a:pt x="1379" y="120"/>
                    </a:lnTo>
                    <a:lnTo>
                      <a:pt x="1469" y="60"/>
                    </a:lnTo>
                    <a:lnTo>
                      <a:pt x="1589" y="120"/>
                    </a:lnTo>
                    <a:lnTo>
                      <a:pt x="1559" y="240"/>
                    </a:lnTo>
                    <a:lnTo>
                      <a:pt x="1619" y="360"/>
                    </a:lnTo>
                    <a:lnTo>
                      <a:pt x="1709" y="270"/>
                    </a:lnTo>
                    <a:lnTo>
                      <a:pt x="1679" y="150"/>
                    </a:lnTo>
                    <a:lnTo>
                      <a:pt x="1679" y="0"/>
                    </a:lnTo>
                    <a:lnTo>
                      <a:pt x="1799" y="60"/>
                    </a:lnTo>
                    <a:lnTo>
                      <a:pt x="1829" y="210"/>
                    </a:lnTo>
                    <a:lnTo>
                      <a:pt x="1978" y="120"/>
                    </a:lnTo>
                    <a:lnTo>
                      <a:pt x="1948" y="240"/>
                    </a:lnTo>
                    <a:lnTo>
                      <a:pt x="1888" y="360"/>
                    </a:lnTo>
                    <a:lnTo>
                      <a:pt x="2068" y="330"/>
                    </a:lnTo>
                    <a:lnTo>
                      <a:pt x="2248" y="390"/>
                    </a:lnTo>
                    <a:lnTo>
                      <a:pt x="2398" y="270"/>
                    </a:lnTo>
                    <a:lnTo>
                      <a:pt x="2278" y="240"/>
                    </a:lnTo>
                    <a:lnTo>
                      <a:pt x="2368"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71" name="Line 2576">
                <a:extLst>
                  <a:ext uri="{FF2B5EF4-FFF2-40B4-BE49-F238E27FC236}">
                    <a16:creationId xmlns:a16="http://schemas.microsoft.com/office/drawing/2014/main" id="{508846B5-2AC8-4752-A761-35FC4EA065ED}"/>
                  </a:ext>
                </a:extLst>
              </p:cNvPr>
              <p:cNvSpPr>
                <a:spLocks noChangeShapeType="1"/>
              </p:cNvSpPr>
              <p:nvPr/>
            </p:nvSpPr>
            <p:spPr bwMode="auto">
              <a:xfrm flipV="1">
                <a:off x="2235" y="15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72" name="Freeform 2577">
                <a:extLst>
                  <a:ext uri="{FF2B5EF4-FFF2-40B4-BE49-F238E27FC236}">
                    <a16:creationId xmlns:a16="http://schemas.microsoft.com/office/drawing/2014/main" id="{10CA7799-D997-4919-993B-FE83844A105F}"/>
                  </a:ext>
                </a:extLst>
              </p:cNvPr>
              <p:cNvSpPr>
                <a:spLocks/>
              </p:cNvSpPr>
              <p:nvPr/>
            </p:nvSpPr>
            <p:spPr bwMode="auto">
              <a:xfrm>
                <a:off x="2355" y="210"/>
                <a:ext cx="180" cy="360"/>
              </a:xfrm>
              <a:custGeom>
                <a:avLst/>
                <a:gdLst>
                  <a:gd name="T0" fmla="*/ 180 w 180"/>
                  <a:gd name="T1" fmla="*/ 180 h 360"/>
                  <a:gd name="T2" fmla="*/ 0 w 180"/>
                  <a:gd name="T3" fmla="*/ 120 h 360"/>
                  <a:gd name="T4" fmla="*/ 30 w 180"/>
                  <a:gd name="T5" fmla="*/ 0 h 360"/>
                  <a:gd name="T6" fmla="*/ 120 w 180"/>
                  <a:gd name="T7" fmla="*/ 60 h 360"/>
                  <a:gd name="T8" fmla="*/ 60 w 180"/>
                  <a:gd name="T9" fmla="*/ 360 h 360"/>
                </a:gdLst>
                <a:ahLst/>
                <a:cxnLst>
                  <a:cxn ang="0">
                    <a:pos x="T0" y="T1"/>
                  </a:cxn>
                  <a:cxn ang="0">
                    <a:pos x="T2" y="T3"/>
                  </a:cxn>
                  <a:cxn ang="0">
                    <a:pos x="T4" y="T5"/>
                  </a:cxn>
                  <a:cxn ang="0">
                    <a:pos x="T6" y="T7"/>
                  </a:cxn>
                  <a:cxn ang="0">
                    <a:pos x="T8" y="T9"/>
                  </a:cxn>
                </a:cxnLst>
                <a:rect l="0" t="0" r="r" b="b"/>
                <a:pathLst>
                  <a:path w="180" h="360">
                    <a:moveTo>
                      <a:pt x="180" y="180"/>
                    </a:moveTo>
                    <a:lnTo>
                      <a:pt x="0" y="120"/>
                    </a:lnTo>
                    <a:lnTo>
                      <a:pt x="30" y="0"/>
                    </a:lnTo>
                    <a:lnTo>
                      <a:pt x="120" y="60"/>
                    </a:lnTo>
                    <a:lnTo>
                      <a:pt x="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73" name="Line 2578">
                <a:extLst>
                  <a:ext uri="{FF2B5EF4-FFF2-40B4-BE49-F238E27FC236}">
                    <a16:creationId xmlns:a16="http://schemas.microsoft.com/office/drawing/2014/main" id="{C8EDE68F-20D0-4A72-B696-FBBE20E6AA54}"/>
                  </a:ext>
                </a:extLst>
              </p:cNvPr>
              <p:cNvSpPr>
                <a:spLocks noChangeShapeType="1"/>
              </p:cNvSpPr>
              <p:nvPr/>
            </p:nvSpPr>
            <p:spPr bwMode="auto">
              <a:xfrm>
                <a:off x="2235" y="390"/>
                <a:ext cx="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74" name="Freeform 2579">
                <a:extLst>
                  <a:ext uri="{FF2B5EF4-FFF2-40B4-BE49-F238E27FC236}">
                    <a16:creationId xmlns:a16="http://schemas.microsoft.com/office/drawing/2014/main" id="{17FD72ED-E536-4DEA-B6CE-BADDB2F64098}"/>
                  </a:ext>
                </a:extLst>
              </p:cNvPr>
              <p:cNvSpPr>
                <a:spLocks/>
              </p:cNvSpPr>
              <p:nvPr/>
            </p:nvSpPr>
            <p:spPr bwMode="auto">
              <a:xfrm>
                <a:off x="2625" y="300"/>
                <a:ext cx="180" cy="330"/>
              </a:xfrm>
              <a:custGeom>
                <a:avLst/>
                <a:gdLst>
                  <a:gd name="T0" fmla="*/ 180 w 180"/>
                  <a:gd name="T1" fmla="*/ 240 h 330"/>
                  <a:gd name="T2" fmla="*/ 0 w 180"/>
                  <a:gd name="T3" fmla="*/ 0 h 330"/>
                  <a:gd name="T4" fmla="*/ 120 w 180"/>
                  <a:gd name="T5" fmla="*/ 330 h 330"/>
                </a:gdLst>
                <a:ahLst/>
                <a:cxnLst>
                  <a:cxn ang="0">
                    <a:pos x="T0" y="T1"/>
                  </a:cxn>
                  <a:cxn ang="0">
                    <a:pos x="T2" y="T3"/>
                  </a:cxn>
                  <a:cxn ang="0">
                    <a:pos x="T4" y="T5"/>
                  </a:cxn>
                </a:cxnLst>
                <a:rect l="0" t="0" r="r" b="b"/>
                <a:pathLst>
                  <a:path w="180" h="330">
                    <a:moveTo>
                      <a:pt x="180" y="240"/>
                    </a:moveTo>
                    <a:lnTo>
                      <a:pt x="0" y="0"/>
                    </a:lnTo>
                    <a:lnTo>
                      <a:pt x="12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75" name="Line 2580">
                <a:extLst>
                  <a:ext uri="{FF2B5EF4-FFF2-40B4-BE49-F238E27FC236}">
                    <a16:creationId xmlns:a16="http://schemas.microsoft.com/office/drawing/2014/main" id="{8C93E01A-74EC-4962-B0B8-4921F805787F}"/>
                  </a:ext>
                </a:extLst>
              </p:cNvPr>
              <p:cNvSpPr>
                <a:spLocks noChangeShapeType="1"/>
              </p:cNvSpPr>
              <p:nvPr/>
            </p:nvSpPr>
            <p:spPr bwMode="auto">
              <a:xfrm>
                <a:off x="2595" y="18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172" name="Group 2782">
              <a:extLst>
                <a:ext uri="{FF2B5EF4-FFF2-40B4-BE49-F238E27FC236}">
                  <a16:creationId xmlns:a16="http://schemas.microsoft.com/office/drawing/2014/main" id="{D205878B-4F11-4D01-9AE4-8F0470288E6D}"/>
                </a:ext>
              </a:extLst>
            </p:cNvPr>
            <p:cNvGrpSpPr>
              <a:grpSpLocks/>
            </p:cNvGrpSpPr>
            <p:nvPr/>
          </p:nvGrpSpPr>
          <p:grpSpPr bwMode="auto">
            <a:xfrm>
              <a:off x="1246" y="0"/>
              <a:ext cx="3268" cy="3210"/>
              <a:chOff x="1246" y="0"/>
              <a:chExt cx="3268" cy="3210"/>
            </a:xfrm>
          </p:grpSpPr>
          <p:sp>
            <p:nvSpPr>
              <p:cNvPr id="1876" name="Freeform 2582">
                <a:extLst>
                  <a:ext uri="{FF2B5EF4-FFF2-40B4-BE49-F238E27FC236}">
                    <a16:creationId xmlns:a16="http://schemas.microsoft.com/office/drawing/2014/main" id="{3D7CA739-E80F-4AF2-AD10-870618E0F232}"/>
                  </a:ext>
                </a:extLst>
              </p:cNvPr>
              <p:cNvSpPr>
                <a:spLocks/>
              </p:cNvSpPr>
              <p:nvPr/>
            </p:nvSpPr>
            <p:spPr bwMode="auto">
              <a:xfrm>
                <a:off x="2895" y="90"/>
                <a:ext cx="180" cy="240"/>
              </a:xfrm>
              <a:custGeom>
                <a:avLst/>
                <a:gdLst>
                  <a:gd name="T0" fmla="*/ 180 w 180"/>
                  <a:gd name="T1" fmla="*/ 0 h 240"/>
                  <a:gd name="T2" fmla="*/ 180 w 180"/>
                  <a:gd name="T3" fmla="*/ 240 h 240"/>
                  <a:gd name="T4" fmla="*/ 0 w 180"/>
                  <a:gd name="T5" fmla="*/ 180 h 240"/>
                </a:gdLst>
                <a:ahLst/>
                <a:cxnLst>
                  <a:cxn ang="0">
                    <a:pos x="T0" y="T1"/>
                  </a:cxn>
                  <a:cxn ang="0">
                    <a:pos x="T2" y="T3"/>
                  </a:cxn>
                  <a:cxn ang="0">
                    <a:pos x="T4" y="T5"/>
                  </a:cxn>
                </a:cxnLst>
                <a:rect l="0" t="0" r="r" b="b"/>
                <a:pathLst>
                  <a:path w="180" h="240">
                    <a:moveTo>
                      <a:pt x="180" y="0"/>
                    </a:moveTo>
                    <a:lnTo>
                      <a:pt x="180" y="24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77" name="Freeform 2583">
                <a:extLst>
                  <a:ext uri="{FF2B5EF4-FFF2-40B4-BE49-F238E27FC236}">
                    <a16:creationId xmlns:a16="http://schemas.microsoft.com/office/drawing/2014/main" id="{866111C3-5998-4CCB-AC1F-08C9ACBDB9FD}"/>
                  </a:ext>
                </a:extLst>
              </p:cNvPr>
              <p:cNvSpPr>
                <a:spLocks/>
              </p:cNvSpPr>
              <p:nvPr/>
            </p:nvSpPr>
            <p:spPr bwMode="auto">
              <a:xfrm>
                <a:off x="2805" y="120"/>
                <a:ext cx="450" cy="90"/>
              </a:xfrm>
              <a:custGeom>
                <a:avLst/>
                <a:gdLst>
                  <a:gd name="T0" fmla="*/ 0 w 450"/>
                  <a:gd name="T1" fmla="*/ 0 h 90"/>
                  <a:gd name="T2" fmla="*/ 210 w 450"/>
                  <a:gd name="T3" fmla="*/ 90 h 90"/>
                  <a:gd name="T4" fmla="*/ 450 w 450"/>
                  <a:gd name="T5" fmla="*/ 30 h 90"/>
                </a:gdLst>
                <a:ahLst/>
                <a:cxnLst>
                  <a:cxn ang="0">
                    <a:pos x="T0" y="T1"/>
                  </a:cxn>
                  <a:cxn ang="0">
                    <a:pos x="T2" y="T3"/>
                  </a:cxn>
                  <a:cxn ang="0">
                    <a:pos x="T4" y="T5"/>
                  </a:cxn>
                </a:cxnLst>
                <a:rect l="0" t="0" r="r" b="b"/>
                <a:pathLst>
                  <a:path w="450" h="90">
                    <a:moveTo>
                      <a:pt x="0" y="0"/>
                    </a:moveTo>
                    <a:lnTo>
                      <a:pt x="210" y="90"/>
                    </a:lnTo>
                    <a:lnTo>
                      <a:pt x="45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78" name="Freeform 2584">
                <a:extLst>
                  <a:ext uri="{FF2B5EF4-FFF2-40B4-BE49-F238E27FC236}">
                    <a16:creationId xmlns:a16="http://schemas.microsoft.com/office/drawing/2014/main" id="{94941F99-CF32-412D-8DFC-5BD07E4A92C5}"/>
                  </a:ext>
                </a:extLst>
              </p:cNvPr>
              <p:cNvSpPr>
                <a:spLocks/>
              </p:cNvSpPr>
              <p:nvPr/>
            </p:nvSpPr>
            <p:spPr bwMode="auto">
              <a:xfrm>
                <a:off x="2955" y="270"/>
                <a:ext cx="480" cy="240"/>
              </a:xfrm>
              <a:custGeom>
                <a:avLst/>
                <a:gdLst>
                  <a:gd name="T0" fmla="*/ 480 w 480"/>
                  <a:gd name="T1" fmla="*/ 0 h 240"/>
                  <a:gd name="T2" fmla="*/ 330 w 480"/>
                  <a:gd name="T3" fmla="*/ 210 h 240"/>
                  <a:gd name="T4" fmla="*/ 0 w 480"/>
                  <a:gd name="T5" fmla="*/ 90 h 240"/>
                  <a:gd name="T6" fmla="*/ 150 w 480"/>
                  <a:gd name="T7" fmla="*/ 240 h 240"/>
                </a:gdLst>
                <a:ahLst/>
                <a:cxnLst>
                  <a:cxn ang="0">
                    <a:pos x="T0" y="T1"/>
                  </a:cxn>
                  <a:cxn ang="0">
                    <a:pos x="T2" y="T3"/>
                  </a:cxn>
                  <a:cxn ang="0">
                    <a:pos x="T4" y="T5"/>
                  </a:cxn>
                  <a:cxn ang="0">
                    <a:pos x="T6" y="T7"/>
                  </a:cxn>
                </a:cxnLst>
                <a:rect l="0" t="0" r="r" b="b"/>
                <a:pathLst>
                  <a:path w="480" h="240">
                    <a:moveTo>
                      <a:pt x="480" y="0"/>
                    </a:moveTo>
                    <a:lnTo>
                      <a:pt x="330" y="210"/>
                    </a:lnTo>
                    <a:lnTo>
                      <a:pt x="0" y="9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79" name="Line 2585">
                <a:extLst>
                  <a:ext uri="{FF2B5EF4-FFF2-40B4-BE49-F238E27FC236}">
                    <a16:creationId xmlns:a16="http://schemas.microsoft.com/office/drawing/2014/main" id="{BC5182C0-2F5F-4DFB-96F6-0160EB402B86}"/>
                  </a:ext>
                </a:extLst>
              </p:cNvPr>
              <p:cNvSpPr>
                <a:spLocks noChangeShapeType="1"/>
              </p:cNvSpPr>
              <p:nvPr/>
            </p:nvSpPr>
            <p:spPr bwMode="auto">
              <a:xfrm flipV="1">
                <a:off x="3465" y="39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80" name="Freeform 2586">
                <a:extLst>
                  <a:ext uri="{FF2B5EF4-FFF2-40B4-BE49-F238E27FC236}">
                    <a16:creationId xmlns:a16="http://schemas.microsoft.com/office/drawing/2014/main" id="{45FA09CC-3C69-4854-9415-BB8048B19E97}"/>
                  </a:ext>
                </a:extLst>
              </p:cNvPr>
              <p:cNvSpPr>
                <a:spLocks/>
              </p:cNvSpPr>
              <p:nvPr/>
            </p:nvSpPr>
            <p:spPr bwMode="auto">
              <a:xfrm>
                <a:off x="3585" y="240"/>
                <a:ext cx="209" cy="270"/>
              </a:xfrm>
              <a:custGeom>
                <a:avLst/>
                <a:gdLst>
                  <a:gd name="T0" fmla="*/ 0 w 209"/>
                  <a:gd name="T1" fmla="*/ 60 h 270"/>
                  <a:gd name="T2" fmla="*/ 90 w 209"/>
                  <a:gd name="T3" fmla="*/ 210 h 270"/>
                  <a:gd name="T4" fmla="*/ 120 w 209"/>
                  <a:gd name="T5" fmla="*/ 0 h 270"/>
                  <a:gd name="T6" fmla="*/ 179 w 209"/>
                  <a:gd name="T7" fmla="*/ 150 h 270"/>
                  <a:gd name="T8" fmla="*/ 209 w 209"/>
                  <a:gd name="T9" fmla="*/ 270 h 270"/>
                </a:gdLst>
                <a:ahLst/>
                <a:cxnLst>
                  <a:cxn ang="0">
                    <a:pos x="T0" y="T1"/>
                  </a:cxn>
                  <a:cxn ang="0">
                    <a:pos x="T2" y="T3"/>
                  </a:cxn>
                  <a:cxn ang="0">
                    <a:pos x="T4" y="T5"/>
                  </a:cxn>
                  <a:cxn ang="0">
                    <a:pos x="T6" y="T7"/>
                  </a:cxn>
                  <a:cxn ang="0">
                    <a:pos x="T8" y="T9"/>
                  </a:cxn>
                </a:cxnLst>
                <a:rect l="0" t="0" r="r" b="b"/>
                <a:pathLst>
                  <a:path w="209" h="270">
                    <a:moveTo>
                      <a:pt x="0" y="60"/>
                    </a:moveTo>
                    <a:lnTo>
                      <a:pt x="90" y="210"/>
                    </a:lnTo>
                    <a:lnTo>
                      <a:pt x="120" y="0"/>
                    </a:lnTo>
                    <a:lnTo>
                      <a:pt x="179" y="150"/>
                    </a:lnTo>
                    <a:lnTo>
                      <a:pt x="20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81" name="Freeform 2587">
                <a:extLst>
                  <a:ext uri="{FF2B5EF4-FFF2-40B4-BE49-F238E27FC236}">
                    <a16:creationId xmlns:a16="http://schemas.microsoft.com/office/drawing/2014/main" id="{0456B534-79A9-4C5E-9A65-10309405DB4E}"/>
                  </a:ext>
                </a:extLst>
              </p:cNvPr>
              <p:cNvSpPr>
                <a:spLocks/>
              </p:cNvSpPr>
              <p:nvPr/>
            </p:nvSpPr>
            <p:spPr bwMode="auto">
              <a:xfrm>
                <a:off x="3555" y="90"/>
                <a:ext cx="389" cy="270"/>
              </a:xfrm>
              <a:custGeom>
                <a:avLst/>
                <a:gdLst>
                  <a:gd name="T0" fmla="*/ 150 w 389"/>
                  <a:gd name="T1" fmla="*/ 150 h 270"/>
                  <a:gd name="T2" fmla="*/ 0 w 389"/>
                  <a:gd name="T3" fmla="*/ 90 h 270"/>
                  <a:gd name="T4" fmla="*/ 120 w 389"/>
                  <a:gd name="T5" fmla="*/ 0 h 270"/>
                  <a:gd name="T6" fmla="*/ 269 w 389"/>
                  <a:gd name="T7" fmla="*/ 180 h 270"/>
                  <a:gd name="T8" fmla="*/ 389 w 389"/>
                  <a:gd name="T9" fmla="*/ 270 h 270"/>
                </a:gdLst>
                <a:ahLst/>
                <a:cxnLst>
                  <a:cxn ang="0">
                    <a:pos x="T0" y="T1"/>
                  </a:cxn>
                  <a:cxn ang="0">
                    <a:pos x="T2" y="T3"/>
                  </a:cxn>
                  <a:cxn ang="0">
                    <a:pos x="T4" y="T5"/>
                  </a:cxn>
                  <a:cxn ang="0">
                    <a:pos x="T6" y="T7"/>
                  </a:cxn>
                  <a:cxn ang="0">
                    <a:pos x="T8" y="T9"/>
                  </a:cxn>
                </a:cxnLst>
                <a:rect l="0" t="0" r="r" b="b"/>
                <a:pathLst>
                  <a:path w="389" h="270">
                    <a:moveTo>
                      <a:pt x="150" y="150"/>
                    </a:moveTo>
                    <a:lnTo>
                      <a:pt x="0" y="90"/>
                    </a:lnTo>
                    <a:lnTo>
                      <a:pt x="120" y="0"/>
                    </a:lnTo>
                    <a:lnTo>
                      <a:pt x="269" y="180"/>
                    </a:lnTo>
                    <a:lnTo>
                      <a:pt x="38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82" name="Freeform 2588">
                <a:extLst>
                  <a:ext uri="{FF2B5EF4-FFF2-40B4-BE49-F238E27FC236}">
                    <a16:creationId xmlns:a16="http://schemas.microsoft.com/office/drawing/2014/main" id="{26FB5D7A-1044-43D7-BDEF-61B82F058052}"/>
                  </a:ext>
                </a:extLst>
              </p:cNvPr>
              <p:cNvSpPr>
                <a:spLocks/>
              </p:cNvSpPr>
              <p:nvPr/>
            </p:nvSpPr>
            <p:spPr bwMode="auto">
              <a:xfrm>
                <a:off x="3764" y="390"/>
                <a:ext cx="360" cy="360"/>
              </a:xfrm>
              <a:custGeom>
                <a:avLst/>
                <a:gdLst>
                  <a:gd name="T0" fmla="*/ 0 w 360"/>
                  <a:gd name="T1" fmla="*/ 0 h 360"/>
                  <a:gd name="T2" fmla="*/ 180 w 360"/>
                  <a:gd name="T3" fmla="*/ 90 h 360"/>
                  <a:gd name="T4" fmla="*/ 360 w 360"/>
                  <a:gd name="T5" fmla="*/ 360 h 360"/>
                </a:gdLst>
                <a:ahLst/>
                <a:cxnLst>
                  <a:cxn ang="0">
                    <a:pos x="T0" y="T1"/>
                  </a:cxn>
                  <a:cxn ang="0">
                    <a:pos x="T2" y="T3"/>
                  </a:cxn>
                  <a:cxn ang="0">
                    <a:pos x="T4" y="T5"/>
                  </a:cxn>
                </a:cxnLst>
                <a:rect l="0" t="0" r="r" b="b"/>
                <a:pathLst>
                  <a:path w="360" h="360">
                    <a:moveTo>
                      <a:pt x="0" y="0"/>
                    </a:moveTo>
                    <a:lnTo>
                      <a:pt x="180" y="90"/>
                    </a:lnTo>
                    <a:lnTo>
                      <a:pt x="3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83" name="Freeform 2589">
                <a:extLst>
                  <a:ext uri="{FF2B5EF4-FFF2-40B4-BE49-F238E27FC236}">
                    <a16:creationId xmlns:a16="http://schemas.microsoft.com/office/drawing/2014/main" id="{2975FD1E-15A6-426D-9584-29864529AFD7}"/>
                  </a:ext>
                </a:extLst>
              </p:cNvPr>
              <p:cNvSpPr>
                <a:spLocks/>
              </p:cNvSpPr>
              <p:nvPr/>
            </p:nvSpPr>
            <p:spPr bwMode="auto">
              <a:xfrm>
                <a:off x="3824" y="60"/>
                <a:ext cx="600" cy="240"/>
              </a:xfrm>
              <a:custGeom>
                <a:avLst/>
                <a:gdLst>
                  <a:gd name="T0" fmla="*/ 600 w 600"/>
                  <a:gd name="T1" fmla="*/ 0 h 240"/>
                  <a:gd name="T2" fmla="*/ 450 w 600"/>
                  <a:gd name="T3" fmla="*/ 240 h 240"/>
                  <a:gd name="T4" fmla="*/ 270 w 600"/>
                  <a:gd name="T5" fmla="*/ 60 h 240"/>
                  <a:gd name="T6" fmla="*/ 0 w 600"/>
                  <a:gd name="T7" fmla="*/ 210 h 240"/>
                </a:gdLst>
                <a:ahLst/>
                <a:cxnLst>
                  <a:cxn ang="0">
                    <a:pos x="T0" y="T1"/>
                  </a:cxn>
                  <a:cxn ang="0">
                    <a:pos x="T2" y="T3"/>
                  </a:cxn>
                  <a:cxn ang="0">
                    <a:pos x="T4" y="T5"/>
                  </a:cxn>
                  <a:cxn ang="0">
                    <a:pos x="T6" y="T7"/>
                  </a:cxn>
                </a:cxnLst>
                <a:rect l="0" t="0" r="r" b="b"/>
                <a:pathLst>
                  <a:path w="600" h="240">
                    <a:moveTo>
                      <a:pt x="600" y="0"/>
                    </a:moveTo>
                    <a:lnTo>
                      <a:pt x="450" y="240"/>
                    </a:ln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84" name="Freeform 2590">
                <a:extLst>
                  <a:ext uri="{FF2B5EF4-FFF2-40B4-BE49-F238E27FC236}">
                    <a16:creationId xmlns:a16="http://schemas.microsoft.com/office/drawing/2014/main" id="{2B3CF24A-0FBB-42D1-926E-31507E86EB64}"/>
                  </a:ext>
                </a:extLst>
              </p:cNvPr>
              <p:cNvSpPr>
                <a:spLocks/>
              </p:cNvSpPr>
              <p:nvPr/>
            </p:nvSpPr>
            <p:spPr bwMode="auto">
              <a:xfrm>
                <a:off x="1576" y="2550"/>
                <a:ext cx="2338" cy="660"/>
              </a:xfrm>
              <a:custGeom>
                <a:avLst/>
                <a:gdLst>
                  <a:gd name="T0" fmla="*/ 30 w 2338"/>
                  <a:gd name="T1" fmla="*/ 420 h 660"/>
                  <a:gd name="T2" fmla="*/ 0 w 2338"/>
                  <a:gd name="T3" fmla="*/ 270 h 660"/>
                  <a:gd name="T4" fmla="*/ 150 w 2338"/>
                  <a:gd name="T5" fmla="*/ 510 h 660"/>
                  <a:gd name="T6" fmla="*/ 210 w 2338"/>
                  <a:gd name="T7" fmla="*/ 420 h 660"/>
                  <a:gd name="T8" fmla="*/ 210 w 2338"/>
                  <a:gd name="T9" fmla="*/ 120 h 660"/>
                  <a:gd name="T10" fmla="*/ 60 w 2338"/>
                  <a:gd name="T11" fmla="*/ 150 h 660"/>
                  <a:gd name="T12" fmla="*/ 120 w 2338"/>
                  <a:gd name="T13" fmla="*/ 0 h 660"/>
                  <a:gd name="T14" fmla="*/ 330 w 2338"/>
                  <a:gd name="T15" fmla="*/ 90 h 660"/>
                  <a:gd name="T16" fmla="*/ 420 w 2338"/>
                  <a:gd name="T17" fmla="*/ 210 h 660"/>
                  <a:gd name="T18" fmla="*/ 210 w 2338"/>
                  <a:gd name="T19" fmla="*/ 120 h 660"/>
                  <a:gd name="T20" fmla="*/ 270 w 2338"/>
                  <a:gd name="T21" fmla="*/ 240 h 660"/>
                  <a:gd name="T22" fmla="*/ 420 w 2338"/>
                  <a:gd name="T23" fmla="*/ 210 h 660"/>
                  <a:gd name="T24" fmla="*/ 510 w 2338"/>
                  <a:gd name="T25" fmla="*/ 120 h 660"/>
                  <a:gd name="T26" fmla="*/ 599 w 2338"/>
                  <a:gd name="T27" fmla="*/ 210 h 660"/>
                  <a:gd name="T28" fmla="*/ 809 w 2338"/>
                  <a:gd name="T29" fmla="*/ 150 h 660"/>
                  <a:gd name="T30" fmla="*/ 719 w 2338"/>
                  <a:gd name="T31" fmla="*/ 240 h 660"/>
                  <a:gd name="T32" fmla="*/ 510 w 2338"/>
                  <a:gd name="T33" fmla="*/ 480 h 660"/>
                  <a:gd name="T34" fmla="*/ 689 w 2338"/>
                  <a:gd name="T35" fmla="*/ 510 h 660"/>
                  <a:gd name="T36" fmla="*/ 689 w 2338"/>
                  <a:gd name="T37" fmla="*/ 660 h 660"/>
                  <a:gd name="T38" fmla="*/ 569 w 2338"/>
                  <a:gd name="T39" fmla="*/ 600 h 660"/>
                  <a:gd name="T40" fmla="*/ 300 w 2338"/>
                  <a:gd name="T41" fmla="*/ 570 h 660"/>
                  <a:gd name="T42" fmla="*/ 420 w 2338"/>
                  <a:gd name="T43" fmla="*/ 330 h 660"/>
                  <a:gd name="T44" fmla="*/ 569 w 2338"/>
                  <a:gd name="T45" fmla="*/ 360 h 660"/>
                  <a:gd name="T46" fmla="*/ 599 w 2338"/>
                  <a:gd name="T47" fmla="*/ 210 h 660"/>
                  <a:gd name="T48" fmla="*/ 749 w 2338"/>
                  <a:gd name="T49" fmla="*/ 420 h 660"/>
                  <a:gd name="T50" fmla="*/ 689 w 2338"/>
                  <a:gd name="T51" fmla="*/ 510 h 660"/>
                  <a:gd name="T52" fmla="*/ 809 w 2338"/>
                  <a:gd name="T53" fmla="*/ 600 h 660"/>
                  <a:gd name="T54" fmla="*/ 929 w 2338"/>
                  <a:gd name="T55" fmla="*/ 540 h 660"/>
                  <a:gd name="T56" fmla="*/ 1079 w 2338"/>
                  <a:gd name="T57" fmla="*/ 570 h 660"/>
                  <a:gd name="T58" fmla="*/ 1049 w 2338"/>
                  <a:gd name="T59" fmla="*/ 450 h 660"/>
                  <a:gd name="T60" fmla="*/ 959 w 2338"/>
                  <a:gd name="T61" fmla="*/ 420 h 660"/>
                  <a:gd name="T62" fmla="*/ 1049 w 2338"/>
                  <a:gd name="T63" fmla="*/ 300 h 660"/>
                  <a:gd name="T64" fmla="*/ 1169 w 2338"/>
                  <a:gd name="T65" fmla="*/ 360 h 660"/>
                  <a:gd name="T66" fmla="*/ 1259 w 2338"/>
                  <a:gd name="T67" fmla="*/ 390 h 660"/>
                  <a:gd name="T68" fmla="*/ 1199 w 2338"/>
                  <a:gd name="T69" fmla="*/ 510 h 660"/>
                  <a:gd name="T70" fmla="*/ 1349 w 2338"/>
                  <a:gd name="T71" fmla="*/ 540 h 660"/>
                  <a:gd name="T72" fmla="*/ 1409 w 2338"/>
                  <a:gd name="T73" fmla="*/ 360 h 660"/>
                  <a:gd name="T74" fmla="*/ 1469 w 2338"/>
                  <a:gd name="T75" fmla="*/ 480 h 660"/>
                  <a:gd name="T76" fmla="*/ 1529 w 2338"/>
                  <a:gd name="T77" fmla="*/ 360 h 660"/>
                  <a:gd name="T78" fmla="*/ 1529 w 2338"/>
                  <a:gd name="T79" fmla="*/ 600 h 660"/>
                  <a:gd name="T80" fmla="*/ 1409 w 2338"/>
                  <a:gd name="T81" fmla="*/ 630 h 660"/>
                  <a:gd name="T82" fmla="*/ 1649 w 2338"/>
                  <a:gd name="T83" fmla="*/ 300 h 660"/>
                  <a:gd name="T84" fmla="*/ 1649 w 2338"/>
                  <a:gd name="T85" fmla="*/ 510 h 660"/>
                  <a:gd name="T86" fmla="*/ 1709 w 2338"/>
                  <a:gd name="T87" fmla="*/ 420 h 660"/>
                  <a:gd name="T88" fmla="*/ 1799 w 2338"/>
                  <a:gd name="T89" fmla="*/ 360 h 660"/>
                  <a:gd name="T90" fmla="*/ 1799 w 2338"/>
                  <a:gd name="T91" fmla="*/ 480 h 660"/>
                  <a:gd name="T92" fmla="*/ 1739 w 2338"/>
                  <a:gd name="T93" fmla="*/ 600 h 660"/>
                  <a:gd name="T94" fmla="*/ 1889 w 2338"/>
                  <a:gd name="T95" fmla="*/ 540 h 660"/>
                  <a:gd name="T96" fmla="*/ 1949 w 2338"/>
                  <a:gd name="T97" fmla="*/ 660 h 660"/>
                  <a:gd name="T98" fmla="*/ 2039 w 2338"/>
                  <a:gd name="T99" fmla="*/ 570 h 660"/>
                  <a:gd name="T100" fmla="*/ 2009 w 2338"/>
                  <a:gd name="T101" fmla="*/ 450 h 660"/>
                  <a:gd name="T102" fmla="*/ 1919 w 2338"/>
                  <a:gd name="T103" fmla="*/ 420 h 660"/>
                  <a:gd name="T104" fmla="*/ 2009 w 2338"/>
                  <a:gd name="T105" fmla="*/ 300 h 660"/>
                  <a:gd name="T106" fmla="*/ 2129 w 2338"/>
                  <a:gd name="T107" fmla="*/ 360 h 660"/>
                  <a:gd name="T108" fmla="*/ 2159 w 2338"/>
                  <a:gd name="T109" fmla="*/ 510 h 660"/>
                  <a:gd name="T110" fmla="*/ 2338 w 2338"/>
                  <a:gd name="T111" fmla="*/ 540 h 660"/>
                  <a:gd name="T112" fmla="*/ 2218 w 2338"/>
                  <a:gd name="T113" fmla="*/ 660 h 660"/>
                  <a:gd name="T114" fmla="*/ 2248 w 2338"/>
                  <a:gd name="T115" fmla="*/ 390 h 660"/>
                  <a:gd name="T116" fmla="*/ 2069 w 2338"/>
                  <a:gd name="T117" fmla="*/ 24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8" h="660">
                    <a:moveTo>
                      <a:pt x="30" y="420"/>
                    </a:moveTo>
                    <a:lnTo>
                      <a:pt x="0" y="270"/>
                    </a:lnTo>
                    <a:lnTo>
                      <a:pt x="150" y="510"/>
                    </a:lnTo>
                    <a:lnTo>
                      <a:pt x="210" y="420"/>
                    </a:lnTo>
                    <a:lnTo>
                      <a:pt x="210" y="120"/>
                    </a:lnTo>
                    <a:lnTo>
                      <a:pt x="60" y="150"/>
                    </a:lnTo>
                    <a:lnTo>
                      <a:pt x="120" y="0"/>
                    </a:lnTo>
                    <a:lnTo>
                      <a:pt x="330" y="90"/>
                    </a:lnTo>
                    <a:lnTo>
                      <a:pt x="420" y="210"/>
                    </a:lnTo>
                    <a:lnTo>
                      <a:pt x="210" y="120"/>
                    </a:lnTo>
                    <a:lnTo>
                      <a:pt x="270" y="240"/>
                    </a:lnTo>
                    <a:lnTo>
                      <a:pt x="420" y="210"/>
                    </a:lnTo>
                    <a:lnTo>
                      <a:pt x="510" y="120"/>
                    </a:lnTo>
                    <a:lnTo>
                      <a:pt x="599" y="210"/>
                    </a:lnTo>
                    <a:lnTo>
                      <a:pt x="809" y="150"/>
                    </a:lnTo>
                    <a:lnTo>
                      <a:pt x="719" y="240"/>
                    </a:lnTo>
                    <a:lnTo>
                      <a:pt x="510" y="480"/>
                    </a:lnTo>
                    <a:lnTo>
                      <a:pt x="689" y="510"/>
                    </a:lnTo>
                    <a:lnTo>
                      <a:pt x="689" y="660"/>
                    </a:lnTo>
                    <a:lnTo>
                      <a:pt x="569" y="600"/>
                    </a:lnTo>
                    <a:lnTo>
                      <a:pt x="300" y="570"/>
                    </a:lnTo>
                    <a:lnTo>
                      <a:pt x="420" y="330"/>
                    </a:lnTo>
                    <a:lnTo>
                      <a:pt x="569" y="360"/>
                    </a:lnTo>
                    <a:lnTo>
                      <a:pt x="599" y="210"/>
                    </a:lnTo>
                    <a:lnTo>
                      <a:pt x="749" y="420"/>
                    </a:lnTo>
                    <a:lnTo>
                      <a:pt x="689" y="510"/>
                    </a:lnTo>
                    <a:lnTo>
                      <a:pt x="809" y="600"/>
                    </a:lnTo>
                    <a:lnTo>
                      <a:pt x="929" y="540"/>
                    </a:lnTo>
                    <a:lnTo>
                      <a:pt x="1079" y="570"/>
                    </a:lnTo>
                    <a:lnTo>
                      <a:pt x="1049" y="450"/>
                    </a:lnTo>
                    <a:lnTo>
                      <a:pt x="959" y="420"/>
                    </a:lnTo>
                    <a:lnTo>
                      <a:pt x="1049" y="300"/>
                    </a:lnTo>
                    <a:lnTo>
                      <a:pt x="1169" y="360"/>
                    </a:lnTo>
                    <a:lnTo>
                      <a:pt x="1259" y="390"/>
                    </a:lnTo>
                    <a:lnTo>
                      <a:pt x="1199" y="510"/>
                    </a:lnTo>
                    <a:lnTo>
                      <a:pt x="1349" y="540"/>
                    </a:lnTo>
                    <a:lnTo>
                      <a:pt x="1409" y="360"/>
                    </a:lnTo>
                    <a:lnTo>
                      <a:pt x="1469" y="480"/>
                    </a:lnTo>
                    <a:lnTo>
                      <a:pt x="1529" y="360"/>
                    </a:lnTo>
                    <a:lnTo>
                      <a:pt x="1529" y="600"/>
                    </a:lnTo>
                    <a:lnTo>
                      <a:pt x="1409" y="630"/>
                    </a:lnTo>
                    <a:lnTo>
                      <a:pt x="1649" y="300"/>
                    </a:lnTo>
                    <a:lnTo>
                      <a:pt x="1649" y="510"/>
                    </a:lnTo>
                    <a:lnTo>
                      <a:pt x="1709" y="420"/>
                    </a:lnTo>
                    <a:lnTo>
                      <a:pt x="1799" y="360"/>
                    </a:lnTo>
                    <a:lnTo>
                      <a:pt x="1799" y="480"/>
                    </a:lnTo>
                    <a:lnTo>
                      <a:pt x="1739" y="600"/>
                    </a:lnTo>
                    <a:lnTo>
                      <a:pt x="1889" y="540"/>
                    </a:lnTo>
                    <a:lnTo>
                      <a:pt x="1949" y="660"/>
                    </a:lnTo>
                    <a:lnTo>
                      <a:pt x="2039" y="570"/>
                    </a:lnTo>
                    <a:lnTo>
                      <a:pt x="2009" y="450"/>
                    </a:lnTo>
                    <a:lnTo>
                      <a:pt x="1919" y="420"/>
                    </a:lnTo>
                    <a:lnTo>
                      <a:pt x="2009" y="300"/>
                    </a:lnTo>
                    <a:lnTo>
                      <a:pt x="2129" y="360"/>
                    </a:lnTo>
                    <a:lnTo>
                      <a:pt x="2159" y="510"/>
                    </a:lnTo>
                    <a:lnTo>
                      <a:pt x="2338" y="540"/>
                    </a:lnTo>
                    <a:lnTo>
                      <a:pt x="2218" y="660"/>
                    </a:lnTo>
                    <a:lnTo>
                      <a:pt x="2248" y="390"/>
                    </a:lnTo>
                    <a:lnTo>
                      <a:pt x="2069"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85" name="Freeform 2591">
                <a:extLst>
                  <a:ext uri="{FF2B5EF4-FFF2-40B4-BE49-F238E27FC236}">
                    <a16:creationId xmlns:a16="http://schemas.microsoft.com/office/drawing/2014/main" id="{CB05369D-3475-48B3-A819-9A86A70EE484}"/>
                  </a:ext>
                </a:extLst>
              </p:cNvPr>
              <p:cNvSpPr>
                <a:spLocks/>
              </p:cNvSpPr>
              <p:nvPr/>
            </p:nvSpPr>
            <p:spPr bwMode="auto">
              <a:xfrm>
                <a:off x="3585" y="2760"/>
                <a:ext cx="269" cy="300"/>
              </a:xfrm>
              <a:custGeom>
                <a:avLst/>
                <a:gdLst>
                  <a:gd name="T0" fmla="*/ 269 w 269"/>
                  <a:gd name="T1" fmla="*/ 0 h 300"/>
                  <a:gd name="T2" fmla="*/ 120 w 269"/>
                  <a:gd name="T3" fmla="*/ 150 h 300"/>
                  <a:gd name="T4" fmla="*/ 0 w 269"/>
                  <a:gd name="T5" fmla="*/ 240 h 300"/>
                  <a:gd name="T6" fmla="*/ 150 w 269"/>
                  <a:gd name="T7" fmla="*/ 300 h 300"/>
                </a:gdLst>
                <a:ahLst/>
                <a:cxnLst>
                  <a:cxn ang="0">
                    <a:pos x="T0" y="T1"/>
                  </a:cxn>
                  <a:cxn ang="0">
                    <a:pos x="T2" y="T3"/>
                  </a:cxn>
                  <a:cxn ang="0">
                    <a:pos x="T4" y="T5"/>
                  </a:cxn>
                  <a:cxn ang="0">
                    <a:pos x="T6" y="T7"/>
                  </a:cxn>
                </a:cxnLst>
                <a:rect l="0" t="0" r="r" b="b"/>
                <a:pathLst>
                  <a:path w="269" h="300">
                    <a:moveTo>
                      <a:pt x="269" y="0"/>
                    </a:moveTo>
                    <a:lnTo>
                      <a:pt x="120" y="150"/>
                    </a:lnTo>
                    <a:lnTo>
                      <a:pt x="0" y="24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86" name="Freeform 2592">
                <a:extLst>
                  <a:ext uri="{FF2B5EF4-FFF2-40B4-BE49-F238E27FC236}">
                    <a16:creationId xmlns:a16="http://schemas.microsoft.com/office/drawing/2014/main" id="{01786787-2872-4BFC-AAD8-AC4A054BA95F}"/>
                  </a:ext>
                </a:extLst>
              </p:cNvPr>
              <p:cNvSpPr>
                <a:spLocks/>
              </p:cNvSpPr>
              <p:nvPr/>
            </p:nvSpPr>
            <p:spPr bwMode="auto">
              <a:xfrm>
                <a:off x="2835" y="2790"/>
                <a:ext cx="1289" cy="420"/>
              </a:xfrm>
              <a:custGeom>
                <a:avLst/>
                <a:gdLst>
                  <a:gd name="T0" fmla="*/ 210 w 1289"/>
                  <a:gd name="T1" fmla="*/ 240 h 420"/>
                  <a:gd name="T2" fmla="*/ 150 w 1289"/>
                  <a:gd name="T3" fmla="*/ 390 h 420"/>
                  <a:gd name="T4" fmla="*/ 90 w 1289"/>
                  <a:gd name="T5" fmla="*/ 300 h 420"/>
                  <a:gd name="T6" fmla="*/ 0 w 1289"/>
                  <a:gd name="T7" fmla="*/ 150 h 420"/>
                  <a:gd name="T8" fmla="*/ 150 w 1289"/>
                  <a:gd name="T9" fmla="*/ 120 h 420"/>
                  <a:gd name="T10" fmla="*/ 300 w 1289"/>
                  <a:gd name="T11" fmla="*/ 30 h 420"/>
                  <a:gd name="T12" fmla="*/ 390 w 1289"/>
                  <a:gd name="T13" fmla="*/ 60 h 420"/>
                  <a:gd name="T14" fmla="*/ 450 w 1289"/>
                  <a:gd name="T15" fmla="*/ 180 h 420"/>
                  <a:gd name="T16" fmla="*/ 480 w 1289"/>
                  <a:gd name="T17" fmla="*/ 30 h 420"/>
                  <a:gd name="T18" fmla="*/ 600 w 1289"/>
                  <a:gd name="T19" fmla="*/ 0 h 420"/>
                  <a:gd name="T20" fmla="*/ 540 w 1289"/>
                  <a:gd name="T21" fmla="*/ 120 h 420"/>
                  <a:gd name="T22" fmla="*/ 660 w 1289"/>
                  <a:gd name="T23" fmla="*/ 180 h 420"/>
                  <a:gd name="T24" fmla="*/ 630 w 1289"/>
                  <a:gd name="T25" fmla="*/ 300 h 420"/>
                  <a:gd name="T26" fmla="*/ 780 w 1289"/>
                  <a:gd name="T27" fmla="*/ 330 h 420"/>
                  <a:gd name="T28" fmla="*/ 959 w 1289"/>
                  <a:gd name="T29" fmla="*/ 420 h 420"/>
                  <a:gd name="T30" fmla="*/ 1289 w 1289"/>
                  <a:gd name="T3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9" h="420">
                    <a:moveTo>
                      <a:pt x="210" y="240"/>
                    </a:moveTo>
                    <a:lnTo>
                      <a:pt x="150" y="390"/>
                    </a:lnTo>
                    <a:lnTo>
                      <a:pt x="90" y="300"/>
                    </a:lnTo>
                    <a:lnTo>
                      <a:pt x="0" y="150"/>
                    </a:lnTo>
                    <a:lnTo>
                      <a:pt x="150" y="120"/>
                    </a:lnTo>
                    <a:lnTo>
                      <a:pt x="300" y="30"/>
                    </a:lnTo>
                    <a:lnTo>
                      <a:pt x="390" y="60"/>
                    </a:lnTo>
                    <a:lnTo>
                      <a:pt x="450" y="180"/>
                    </a:lnTo>
                    <a:lnTo>
                      <a:pt x="480" y="30"/>
                    </a:lnTo>
                    <a:lnTo>
                      <a:pt x="600" y="0"/>
                    </a:lnTo>
                    <a:lnTo>
                      <a:pt x="540" y="120"/>
                    </a:lnTo>
                    <a:lnTo>
                      <a:pt x="660" y="180"/>
                    </a:lnTo>
                    <a:lnTo>
                      <a:pt x="630" y="300"/>
                    </a:lnTo>
                    <a:lnTo>
                      <a:pt x="780" y="330"/>
                    </a:lnTo>
                    <a:lnTo>
                      <a:pt x="959" y="420"/>
                    </a:lnTo>
                    <a:lnTo>
                      <a:pt x="1289"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87" name="Freeform 2593">
                <a:extLst>
                  <a:ext uri="{FF2B5EF4-FFF2-40B4-BE49-F238E27FC236}">
                    <a16:creationId xmlns:a16="http://schemas.microsoft.com/office/drawing/2014/main" id="{4233F968-1A36-4E77-BF07-0600241E40E0}"/>
                  </a:ext>
                </a:extLst>
              </p:cNvPr>
              <p:cNvSpPr>
                <a:spLocks/>
              </p:cNvSpPr>
              <p:nvPr/>
            </p:nvSpPr>
            <p:spPr bwMode="auto">
              <a:xfrm>
                <a:off x="1996" y="2130"/>
                <a:ext cx="629" cy="720"/>
              </a:xfrm>
              <a:custGeom>
                <a:avLst/>
                <a:gdLst>
                  <a:gd name="T0" fmla="*/ 629 w 629"/>
                  <a:gd name="T1" fmla="*/ 720 h 720"/>
                  <a:gd name="T2" fmla="*/ 479 w 629"/>
                  <a:gd name="T3" fmla="*/ 690 h 720"/>
                  <a:gd name="T4" fmla="*/ 599 w 629"/>
                  <a:gd name="T5" fmla="*/ 510 h 720"/>
                  <a:gd name="T6" fmla="*/ 389 w 629"/>
                  <a:gd name="T7" fmla="*/ 570 h 720"/>
                  <a:gd name="T8" fmla="*/ 269 w 629"/>
                  <a:gd name="T9" fmla="*/ 510 h 720"/>
                  <a:gd name="T10" fmla="*/ 90 w 629"/>
                  <a:gd name="T11" fmla="*/ 540 h 720"/>
                  <a:gd name="T12" fmla="*/ 0 w 629"/>
                  <a:gd name="T13" fmla="*/ 390 h 720"/>
                  <a:gd name="T14" fmla="*/ 0 w 629"/>
                  <a:gd name="T15" fmla="*/ 630 h 720"/>
                  <a:gd name="T16" fmla="*/ 90 w 629"/>
                  <a:gd name="T17" fmla="*/ 300 h 720"/>
                  <a:gd name="T18" fmla="*/ 0 w 629"/>
                  <a:gd name="T19" fmla="*/ 210 h 720"/>
                  <a:gd name="T20" fmla="*/ 0 w 629"/>
                  <a:gd name="T21" fmla="*/ 60 h 720"/>
                  <a:gd name="T22" fmla="*/ 60 w 629"/>
                  <a:gd name="T23" fmla="*/ 0 h 720"/>
                  <a:gd name="T24" fmla="*/ 149 w 629"/>
                  <a:gd name="T25" fmla="*/ 180 h 720"/>
                  <a:gd name="T26" fmla="*/ 329 w 629"/>
                  <a:gd name="T27" fmla="*/ 240 h 720"/>
                  <a:gd name="T28" fmla="*/ 359 w 629"/>
                  <a:gd name="T29" fmla="*/ 9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9" h="720">
                    <a:moveTo>
                      <a:pt x="629" y="720"/>
                    </a:moveTo>
                    <a:lnTo>
                      <a:pt x="479" y="690"/>
                    </a:lnTo>
                    <a:lnTo>
                      <a:pt x="599" y="510"/>
                    </a:ln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88" name="Freeform 2594">
                <a:extLst>
                  <a:ext uri="{FF2B5EF4-FFF2-40B4-BE49-F238E27FC236}">
                    <a16:creationId xmlns:a16="http://schemas.microsoft.com/office/drawing/2014/main" id="{860A7890-3ADB-4A34-B209-80F71F84CC61}"/>
                  </a:ext>
                </a:extLst>
              </p:cNvPr>
              <p:cNvSpPr>
                <a:spLocks/>
              </p:cNvSpPr>
              <p:nvPr/>
            </p:nvSpPr>
            <p:spPr bwMode="auto">
              <a:xfrm>
                <a:off x="2295" y="2640"/>
                <a:ext cx="780" cy="480"/>
              </a:xfrm>
              <a:custGeom>
                <a:avLst/>
                <a:gdLst>
                  <a:gd name="T0" fmla="*/ 330 w 780"/>
                  <a:gd name="T1" fmla="*/ 360 h 480"/>
                  <a:gd name="T2" fmla="*/ 210 w 780"/>
                  <a:gd name="T3" fmla="*/ 450 h 480"/>
                  <a:gd name="T4" fmla="*/ 120 w 780"/>
                  <a:gd name="T5" fmla="*/ 390 h 480"/>
                  <a:gd name="T6" fmla="*/ 120 w 780"/>
                  <a:gd name="T7" fmla="*/ 270 h 480"/>
                  <a:gd name="T8" fmla="*/ 180 w 780"/>
                  <a:gd name="T9" fmla="*/ 180 h 480"/>
                  <a:gd name="T10" fmla="*/ 0 w 780"/>
                  <a:gd name="T11" fmla="*/ 150 h 480"/>
                  <a:gd name="T12" fmla="*/ 30 w 780"/>
                  <a:gd name="T13" fmla="*/ 330 h 480"/>
                  <a:gd name="T14" fmla="*/ 120 w 780"/>
                  <a:gd name="T15" fmla="*/ 270 h 480"/>
                  <a:gd name="T16" fmla="*/ 240 w 780"/>
                  <a:gd name="T17" fmla="*/ 330 h 480"/>
                  <a:gd name="T18" fmla="*/ 360 w 780"/>
                  <a:gd name="T19" fmla="*/ 480 h 480"/>
                  <a:gd name="T20" fmla="*/ 480 w 780"/>
                  <a:gd name="T21" fmla="*/ 420 h 480"/>
                  <a:gd name="T22" fmla="*/ 330 w 780"/>
                  <a:gd name="T23" fmla="*/ 360 h 480"/>
                  <a:gd name="T24" fmla="*/ 450 w 780"/>
                  <a:gd name="T25" fmla="*/ 270 h 480"/>
                  <a:gd name="T26" fmla="*/ 510 w 780"/>
                  <a:gd name="T27" fmla="*/ 90 h 480"/>
                  <a:gd name="T28" fmla="*/ 690 w 780"/>
                  <a:gd name="T29" fmla="*/ 0 h 480"/>
                  <a:gd name="T30" fmla="*/ 450 w 780"/>
                  <a:gd name="T31" fmla="*/ 0 h 480"/>
                  <a:gd name="T32" fmla="*/ 780 w 780"/>
                  <a:gd name="T33" fmla="*/ 9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80">
                    <a:moveTo>
                      <a:pt x="330" y="360"/>
                    </a:moveTo>
                    <a:lnTo>
                      <a:pt x="210" y="450"/>
                    </a:lnTo>
                    <a:lnTo>
                      <a:pt x="120" y="390"/>
                    </a:lnTo>
                    <a:lnTo>
                      <a:pt x="120" y="270"/>
                    </a:lnTo>
                    <a:lnTo>
                      <a:pt x="180" y="180"/>
                    </a:lnTo>
                    <a:lnTo>
                      <a:pt x="0" y="150"/>
                    </a:lnTo>
                    <a:lnTo>
                      <a:pt x="30" y="330"/>
                    </a:lnTo>
                    <a:lnTo>
                      <a:pt x="120" y="270"/>
                    </a:lnTo>
                    <a:lnTo>
                      <a:pt x="240" y="330"/>
                    </a:lnTo>
                    <a:lnTo>
                      <a:pt x="360" y="480"/>
                    </a:lnTo>
                    <a:lnTo>
                      <a:pt x="480" y="420"/>
                    </a:lnTo>
                    <a:lnTo>
                      <a:pt x="330" y="360"/>
                    </a:lnTo>
                    <a:lnTo>
                      <a:pt x="450" y="270"/>
                    </a:lnTo>
                    <a:lnTo>
                      <a:pt x="510" y="90"/>
                    </a:lnTo>
                    <a:lnTo>
                      <a:pt x="690" y="0"/>
                    </a:lnTo>
                    <a:lnTo>
                      <a:pt x="450" y="0"/>
                    </a:lnTo>
                    <a:lnTo>
                      <a:pt x="7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89" name="Line 2595">
                <a:extLst>
                  <a:ext uri="{FF2B5EF4-FFF2-40B4-BE49-F238E27FC236}">
                    <a16:creationId xmlns:a16="http://schemas.microsoft.com/office/drawing/2014/main" id="{E1E8AC4B-FF1B-4C16-BB86-BEAEC291CFC0}"/>
                  </a:ext>
                </a:extLst>
              </p:cNvPr>
              <p:cNvSpPr>
                <a:spLocks noChangeShapeType="1"/>
              </p:cNvSpPr>
              <p:nvPr/>
            </p:nvSpPr>
            <p:spPr bwMode="auto">
              <a:xfrm flipH="1" flipV="1">
                <a:off x="2325"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90" name="Freeform 2596">
                <a:extLst>
                  <a:ext uri="{FF2B5EF4-FFF2-40B4-BE49-F238E27FC236}">
                    <a16:creationId xmlns:a16="http://schemas.microsoft.com/office/drawing/2014/main" id="{27CBF037-7193-4DCB-A690-AFDDA9E5E55D}"/>
                  </a:ext>
                </a:extLst>
              </p:cNvPr>
              <p:cNvSpPr>
                <a:spLocks/>
              </p:cNvSpPr>
              <p:nvPr/>
            </p:nvSpPr>
            <p:spPr bwMode="auto">
              <a:xfrm>
                <a:off x="2086" y="2820"/>
                <a:ext cx="449" cy="390"/>
              </a:xfrm>
              <a:custGeom>
                <a:avLst/>
                <a:gdLst>
                  <a:gd name="T0" fmla="*/ 179 w 449"/>
                  <a:gd name="T1" fmla="*/ 390 h 390"/>
                  <a:gd name="T2" fmla="*/ 329 w 449"/>
                  <a:gd name="T3" fmla="*/ 210 h 390"/>
                  <a:gd name="T4" fmla="*/ 449 w 449"/>
                  <a:gd name="T5" fmla="*/ 150 h 390"/>
                  <a:gd name="T6" fmla="*/ 389 w 449"/>
                  <a:gd name="T7" fmla="*/ 0 h 390"/>
                  <a:gd name="T8" fmla="*/ 0 w 449"/>
                  <a:gd name="T9" fmla="*/ 210 h 390"/>
                </a:gdLst>
                <a:ahLst/>
                <a:cxnLst>
                  <a:cxn ang="0">
                    <a:pos x="T0" y="T1"/>
                  </a:cxn>
                  <a:cxn ang="0">
                    <a:pos x="T2" y="T3"/>
                  </a:cxn>
                  <a:cxn ang="0">
                    <a:pos x="T4" y="T5"/>
                  </a:cxn>
                  <a:cxn ang="0">
                    <a:pos x="T6" y="T7"/>
                  </a:cxn>
                  <a:cxn ang="0">
                    <a:pos x="T8" y="T9"/>
                  </a:cxn>
                </a:cxnLst>
                <a:rect l="0" t="0" r="r" b="b"/>
                <a:pathLst>
                  <a:path w="449" h="390">
                    <a:moveTo>
                      <a:pt x="179" y="390"/>
                    </a:moveTo>
                    <a:lnTo>
                      <a:pt x="329" y="210"/>
                    </a:lnTo>
                    <a:lnTo>
                      <a:pt x="449" y="150"/>
                    </a:lnTo>
                    <a:lnTo>
                      <a:pt x="389" y="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91" name="Freeform 2597">
                <a:extLst>
                  <a:ext uri="{FF2B5EF4-FFF2-40B4-BE49-F238E27FC236}">
                    <a16:creationId xmlns:a16="http://schemas.microsoft.com/office/drawing/2014/main" id="{BE5ADD86-3513-4E77-9559-ACEC0B3F65BD}"/>
                  </a:ext>
                </a:extLst>
              </p:cNvPr>
              <p:cNvSpPr>
                <a:spLocks/>
              </p:cNvSpPr>
              <p:nvPr/>
            </p:nvSpPr>
            <p:spPr bwMode="auto">
              <a:xfrm>
                <a:off x="2685" y="2310"/>
                <a:ext cx="870" cy="600"/>
              </a:xfrm>
              <a:custGeom>
                <a:avLst/>
                <a:gdLst>
                  <a:gd name="T0" fmla="*/ 0 w 870"/>
                  <a:gd name="T1" fmla="*/ 480 h 600"/>
                  <a:gd name="T2" fmla="*/ 60 w 870"/>
                  <a:gd name="T3" fmla="*/ 600 h 600"/>
                  <a:gd name="T4" fmla="*/ 270 w 870"/>
                  <a:gd name="T5" fmla="*/ 480 h 600"/>
                  <a:gd name="T6" fmla="*/ 390 w 870"/>
                  <a:gd name="T7" fmla="*/ 420 h 600"/>
                  <a:gd name="T8" fmla="*/ 540 w 870"/>
                  <a:gd name="T9" fmla="*/ 420 h 600"/>
                  <a:gd name="T10" fmla="*/ 750 w 870"/>
                  <a:gd name="T11" fmla="*/ 480 h 600"/>
                  <a:gd name="T12" fmla="*/ 870 w 870"/>
                  <a:gd name="T13" fmla="*/ 330 h 600"/>
                  <a:gd name="T14" fmla="*/ 660 w 870"/>
                  <a:gd name="T15" fmla="*/ 390 h 600"/>
                  <a:gd name="T16" fmla="*/ 540 w 870"/>
                  <a:gd name="T17" fmla="*/ 330 h 600"/>
                  <a:gd name="T18" fmla="*/ 420 w 870"/>
                  <a:gd name="T1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600">
                    <a:moveTo>
                      <a:pt x="0" y="480"/>
                    </a:moveTo>
                    <a:lnTo>
                      <a:pt x="60" y="600"/>
                    </a:lnTo>
                    <a:lnTo>
                      <a:pt x="270" y="480"/>
                    </a:lnTo>
                    <a:lnTo>
                      <a:pt x="390" y="420"/>
                    </a:lnTo>
                    <a:lnTo>
                      <a:pt x="540" y="420"/>
                    </a:lnTo>
                    <a:lnTo>
                      <a:pt x="750" y="480"/>
                    </a:lnTo>
                    <a:lnTo>
                      <a:pt x="870" y="330"/>
                    </a:lnTo>
                    <a:lnTo>
                      <a:pt x="660" y="390"/>
                    </a:lnTo>
                    <a:lnTo>
                      <a:pt x="540" y="33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92" name="Line 2598">
                <a:extLst>
                  <a:ext uri="{FF2B5EF4-FFF2-40B4-BE49-F238E27FC236}">
                    <a16:creationId xmlns:a16="http://schemas.microsoft.com/office/drawing/2014/main" id="{CD7D5531-FC08-4DD9-B305-C7E804DB34AF}"/>
                  </a:ext>
                </a:extLst>
              </p:cNvPr>
              <p:cNvSpPr>
                <a:spLocks noChangeShapeType="1"/>
              </p:cNvSpPr>
              <p:nvPr/>
            </p:nvSpPr>
            <p:spPr bwMode="auto">
              <a:xfrm flipH="1" flipV="1">
                <a:off x="2745" y="2910"/>
                <a:ext cx="3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93" name="Freeform 2599">
                <a:extLst>
                  <a:ext uri="{FF2B5EF4-FFF2-40B4-BE49-F238E27FC236}">
                    <a16:creationId xmlns:a16="http://schemas.microsoft.com/office/drawing/2014/main" id="{81CDB16D-2D00-4F46-AF3F-0F6AAD3D3AF0}"/>
                  </a:ext>
                </a:extLst>
              </p:cNvPr>
              <p:cNvSpPr>
                <a:spLocks/>
              </p:cNvSpPr>
              <p:nvPr/>
            </p:nvSpPr>
            <p:spPr bwMode="auto">
              <a:xfrm>
                <a:off x="3105" y="3060"/>
                <a:ext cx="210" cy="90"/>
              </a:xfrm>
              <a:custGeom>
                <a:avLst/>
                <a:gdLst>
                  <a:gd name="T0" fmla="*/ 0 w 210"/>
                  <a:gd name="T1" fmla="*/ 90 h 90"/>
                  <a:gd name="T2" fmla="*/ 120 w 210"/>
                  <a:gd name="T3" fmla="*/ 0 h 90"/>
                  <a:gd name="T4" fmla="*/ 210 w 210"/>
                  <a:gd name="T5" fmla="*/ 90 h 90"/>
                </a:gdLst>
                <a:ahLst/>
                <a:cxnLst>
                  <a:cxn ang="0">
                    <a:pos x="T0" y="T1"/>
                  </a:cxn>
                  <a:cxn ang="0">
                    <a:pos x="T2" y="T3"/>
                  </a:cxn>
                  <a:cxn ang="0">
                    <a:pos x="T4" y="T5"/>
                  </a:cxn>
                </a:cxnLst>
                <a:rect l="0" t="0" r="r" b="b"/>
                <a:pathLst>
                  <a:path w="210" h="90">
                    <a:moveTo>
                      <a:pt x="0" y="90"/>
                    </a:moveTo>
                    <a:lnTo>
                      <a:pt x="120" y="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94" name="Line 2600">
                <a:extLst>
                  <a:ext uri="{FF2B5EF4-FFF2-40B4-BE49-F238E27FC236}">
                    <a16:creationId xmlns:a16="http://schemas.microsoft.com/office/drawing/2014/main" id="{4CB9F71E-7416-4D1C-8A00-DD7EEB863571}"/>
                  </a:ext>
                </a:extLst>
              </p:cNvPr>
              <p:cNvSpPr>
                <a:spLocks noChangeShapeType="1"/>
              </p:cNvSpPr>
              <p:nvPr/>
            </p:nvSpPr>
            <p:spPr bwMode="auto">
              <a:xfrm flipH="1" flipV="1">
                <a:off x="2805" y="2730"/>
                <a:ext cx="30"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95" name="Freeform 2601">
                <a:extLst>
                  <a:ext uri="{FF2B5EF4-FFF2-40B4-BE49-F238E27FC236}">
                    <a16:creationId xmlns:a16="http://schemas.microsoft.com/office/drawing/2014/main" id="{059AF175-E78A-4A77-BA9E-C05AB288FC3E}"/>
                  </a:ext>
                </a:extLst>
              </p:cNvPr>
              <p:cNvSpPr>
                <a:spLocks/>
              </p:cNvSpPr>
              <p:nvPr/>
            </p:nvSpPr>
            <p:spPr bwMode="auto">
              <a:xfrm>
                <a:off x="3225" y="2730"/>
                <a:ext cx="90" cy="120"/>
              </a:xfrm>
              <a:custGeom>
                <a:avLst/>
                <a:gdLst>
                  <a:gd name="T0" fmla="*/ 0 w 90"/>
                  <a:gd name="T1" fmla="*/ 0 h 120"/>
                  <a:gd name="T2" fmla="*/ 90 w 90"/>
                  <a:gd name="T3" fmla="*/ 90 h 120"/>
                  <a:gd name="T4" fmla="*/ 0 w 90"/>
                  <a:gd name="T5" fmla="*/ 120 h 120"/>
                  <a:gd name="T6" fmla="*/ 0 w 90"/>
                  <a:gd name="T7" fmla="*/ 0 h 120"/>
                </a:gdLst>
                <a:ahLst/>
                <a:cxnLst>
                  <a:cxn ang="0">
                    <a:pos x="T0" y="T1"/>
                  </a:cxn>
                  <a:cxn ang="0">
                    <a:pos x="T2" y="T3"/>
                  </a:cxn>
                  <a:cxn ang="0">
                    <a:pos x="T4" y="T5"/>
                  </a:cxn>
                  <a:cxn ang="0">
                    <a:pos x="T6" y="T7"/>
                  </a:cxn>
                </a:cxnLst>
                <a:rect l="0" t="0" r="r" b="b"/>
                <a:pathLst>
                  <a:path w="90" h="120">
                    <a:moveTo>
                      <a:pt x="0" y="0"/>
                    </a:moveTo>
                    <a:lnTo>
                      <a:pt x="90" y="90"/>
                    </a:lnTo>
                    <a:lnTo>
                      <a:pt x="0" y="120"/>
                    </a:lnTo>
                    <a:lnTo>
                      <a:pt x="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96" name="Freeform 2602">
                <a:extLst>
                  <a:ext uri="{FF2B5EF4-FFF2-40B4-BE49-F238E27FC236}">
                    <a16:creationId xmlns:a16="http://schemas.microsoft.com/office/drawing/2014/main" id="{F11A5CFC-0F18-4D73-B9D5-215814067E20}"/>
                  </a:ext>
                </a:extLst>
              </p:cNvPr>
              <p:cNvSpPr>
                <a:spLocks/>
              </p:cNvSpPr>
              <p:nvPr/>
            </p:nvSpPr>
            <p:spPr bwMode="auto">
              <a:xfrm>
                <a:off x="3315" y="2820"/>
                <a:ext cx="270" cy="90"/>
              </a:xfrm>
              <a:custGeom>
                <a:avLst/>
                <a:gdLst>
                  <a:gd name="T0" fmla="*/ 60 w 270"/>
                  <a:gd name="T1" fmla="*/ 90 h 90"/>
                  <a:gd name="T2" fmla="*/ 0 w 270"/>
                  <a:gd name="T3" fmla="*/ 0 h 90"/>
                  <a:gd name="T4" fmla="*/ 270 w 270"/>
                  <a:gd name="T5" fmla="*/ 30 h 90"/>
                </a:gdLst>
                <a:ahLst/>
                <a:cxnLst>
                  <a:cxn ang="0">
                    <a:pos x="T0" y="T1"/>
                  </a:cxn>
                  <a:cxn ang="0">
                    <a:pos x="T2" y="T3"/>
                  </a:cxn>
                  <a:cxn ang="0">
                    <a:pos x="T4" y="T5"/>
                  </a:cxn>
                </a:cxnLst>
                <a:rect l="0" t="0" r="r" b="b"/>
                <a:pathLst>
                  <a:path w="270" h="90">
                    <a:moveTo>
                      <a:pt x="60" y="90"/>
                    </a:moveTo>
                    <a:lnTo>
                      <a:pt x="0" y="0"/>
                    </a:lnTo>
                    <a:lnTo>
                      <a:pt x="27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97" name="Freeform 2603">
                <a:extLst>
                  <a:ext uri="{FF2B5EF4-FFF2-40B4-BE49-F238E27FC236}">
                    <a16:creationId xmlns:a16="http://schemas.microsoft.com/office/drawing/2014/main" id="{96CA7514-EAEF-4FC3-ABE6-7C1BF0600A4A}"/>
                  </a:ext>
                </a:extLst>
              </p:cNvPr>
              <p:cNvSpPr>
                <a:spLocks/>
              </p:cNvSpPr>
              <p:nvPr/>
            </p:nvSpPr>
            <p:spPr bwMode="auto">
              <a:xfrm>
                <a:off x="2955" y="2730"/>
                <a:ext cx="540" cy="330"/>
              </a:xfrm>
              <a:custGeom>
                <a:avLst/>
                <a:gdLst>
                  <a:gd name="T0" fmla="*/ 540 w 540"/>
                  <a:gd name="T1" fmla="*/ 240 h 330"/>
                  <a:gd name="T2" fmla="*/ 420 w 540"/>
                  <a:gd name="T3" fmla="*/ 300 h 330"/>
                  <a:gd name="T4" fmla="*/ 270 w 540"/>
                  <a:gd name="T5" fmla="*/ 330 h 330"/>
                  <a:gd name="T6" fmla="*/ 150 w 540"/>
                  <a:gd name="T7" fmla="*/ 180 h 330"/>
                  <a:gd name="T8" fmla="*/ 180 w 540"/>
                  <a:gd name="T9" fmla="*/ 90 h 330"/>
                  <a:gd name="T10" fmla="*/ 120 w 540"/>
                  <a:gd name="T11" fmla="*/ 0 h 330"/>
                  <a:gd name="T12" fmla="*/ 30 w 540"/>
                  <a:gd name="T13" fmla="*/ 180 h 330"/>
                  <a:gd name="T14" fmla="*/ 0 w 540"/>
                  <a:gd name="T15" fmla="*/ 60 h 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330">
                    <a:moveTo>
                      <a:pt x="540" y="240"/>
                    </a:moveTo>
                    <a:lnTo>
                      <a:pt x="420" y="300"/>
                    </a:lnTo>
                    <a:lnTo>
                      <a:pt x="270" y="330"/>
                    </a:lnTo>
                    <a:lnTo>
                      <a:pt x="150" y="180"/>
                    </a:lnTo>
                    <a:lnTo>
                      <a:pt x="180" y="90"/>
                    </a:lnTo>
                    <a:lnTo>
                      <a:pt x="120" y="0"/>
                    </a:lnTo>
                    <a:lnTo>
                      <a:pt x="30" y="18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98" name="Line 2604">
                <a:extLst>
                  <a:ext uri="{FF2B5EF4-FFF2-40B4-BE49-F238E27FC236}">
                    <a16:creationId xmlns:a16="http://schemas.microsoft.com/office/drawing/2014/main" id="{7EFBBDC0-1C4E-4AB1-A2E1-5CA9C2B7A3B9}"/>
                  </a:ext>
                </a:extLst>
              </p:cNvPr>
              <p:cNvSpPr>
                <a:spLocks noChangeShapeType="1"/>
              </p:cNvSpPr>
              <p:nvPr/>
            </p:nvSpPr>
            <p:spPr bwMode="auto">
              <a:xfrm>
                <a:off x="3195" y="15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99" name="Freeform 2605">
                <a:extLst>
                  <a:ext uri="{FF2B5EF4-FFF2-40B4-BE49-F238E27FC236}">
                    <a16:creationId xmlns:a16="http://schemas.microsoft.com/office/drawing/2014/main" id="{A0CDCCA3-966B-4B67-8215-800EA379DF8E}"/>
                  </a:ext>
                </a:extLst>
              </p:cNvPr>
              <p:cNvSpPr>
                <a:spLocks/>
              </p:cNvSpPr>
              <p:nvPr/>
            </p:nvSpPr>
            <p:spPr bwMode="auto">
              <a:xfrm>
                <a:off x="2865" y="1620"/>
                <a:ext cx="180" cy="150"/>
              </a:xfrm>
              <a:custGeom>
                <a:avLst/>
                <a:gdLst>
                  <a:gd name="T0" fmla="*/ 0 w 180"/>
                  <a:gd name="T1" fmla="*/ 0 h 150"/>
                  <a:gd name="T2" fmla="*/ 180 w 180"/>
                  <a:gd name="T3" fmla="*/ 150 h 150"/>
                  <a:gd name="T4" fmla="*/ 120 w 180"/>
                  <a:gd name="T5" fmla="*/ 30 h 150"/>
                </a:gdLst>
                <a:ahLst/>
                <a:cxnLst>
                  <a:cxn ang="0">
                    <a:pos x="T0" y="T1"/>
                  </a:cxn>
                  <a:cxn ang="0">
                    <a:pos x="T2" y="T3"/>
                  </a:cxn>
                  <a:cxn ang="0">
                    <a:pos x="T4" y="T5"/>
                  </a:cxn>
                </a:cxnLst>
                <a:rect l="0" t="0" r="r" b="b"/>
                <a:pathLst>
                  <a:path w="180" h="150">
                    <a:moveTo>
                      <a:pt x="0" y="0"/>
                    </a:moveTo>
                    <a:lnTo>
                      <a:pt x="180" y="150"/>
                    </a:lnTo>
                    <a:lnTo>
                      <a:pt x="12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00" name="Line 2606">
                <a:extLst>
                  <a:ext uri="{FF2B5EF4-FFF2-40B4-BE49-F238E27FC236}">
                    <a16:creationId xmlns:a16="http://schemas.microsoft.com/office/drawing/2014/main" id="{862FA753-1775-49DA-801C-685920BCA306}"/>
                  </a:ext>
                </a:extLst>
              </p:cNvPr>
              <p:cNvSpPr>
                <a:spLocks noChangeShapeType="1"/>
              </p:cNvSpPr>
              <p:nvPr/>
            </p:nvSpPr>
            <p:spPr bwMode="auto">
              <a:xfrm flipH="1" flipV="1">
                <a:off x="2985" y="16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01" name="Line 2607">
                <a:extLst>
                  <a:ext uri="{FF2B5EF4-FFF2-40B4-BE49-F238E27FC236}">
                    <a16:creationId xmlns:a16="http://schemas.microsoft.com/office/drawing/2014/main" id="{25B34F93-E547-4ED1-8363-189F9B4DFCBB}"/>
                  </a:ext>
                </a:extLst>
              </p:cNvPr>
              <p:cNvSpPr>
                <a:spLocks noChangeShapeType="1"/>
              </p:cNvSpPr>
              <p:nvPr/>
            </p:nvSpPr>
            <p:spPr bwMode="auto">
              <a:xfrm>
                <a:off x="2715"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02" name="Line 2608">
                <a:extLst>
                  <a:ext uri="{FF2B5EF4-FFF2-40B4-BE49-F238E27FC236}">
                    <a16:creationId xmlns:a16="http://schemas.microsoft.com/office/drawing/2014/main" id="{99AFF0EC-0219-4735-BE87-9B163E57EE1A}"/>
                  </a:ext>
                </a:extLst>
              </p:cNvPr>
              <p:cNvSpPr>
                <a:spLocks noChangeShapeType="1"/>
              </p:cNvSpPr>
              <p:nvPr/>
            </p:nvSpPr>
            <p:spPr bwMode="auto">
              <a:xfrm>
                <a:off x="2685" y="150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03" name="Freeform 2609">
                <a:extLst>
                  <a:ext uri="{FF2B5EF4-FFF2-40B4-BE49-F238E27FC236}">
                    <a16:creationId xmlns:a16="http://schemas.microsoft.com/office/drawing/2014/main" id="{B858FE7A-975C-4B9C-A36E-715F1B182B45}"/>
                  </a:ext>
                </a:extLst>
              </p:cNvPr>
              <p:cNvSpPr>
                <a:spLocks/>
              </p:cNvSpPr>
              <p:nvPr/>
            </p:nvSpPr>
            <p:spPr bwMode="auto">
              <a:xfrm>
                <a:off x="2715" y="1470"/>
                <a:ext cx="330" cy="210"/>
              </a:xfrm>
              <a:custGeom>
                <a:avLst/>
                <a:gdLst>
                  <a:gd name="T0" fmla="*/ 0 w 330"/>
                  <a:gd name="T1" fmla="*/ 150 h 210"/>
                  <a:gd name="T2" fmla="*/ 60 w 330"/>
                  <a:gd name="T3" fmla="*/ 210 h 210"/>
                  <a:gd name="T4" fmla="*/ 150 w 330"/>
                  <a:gd name="T5" fmla="*/ 150 h 210"/>
                  <a:gd name="T6" fmla="*/ 210 w 330"/>
                  <a:gd name="T7" fmla="*/ 60 h 210"/>
                  <a:gd name="T8" fmla="*/ 330 w 330"/>
                  <a:gd name="T9" fmla="*/ 0 h 210"/>
                </a:gdLst>
                <a:ahLst/>
                <a:cxnLst>
                  <a:cxn ang="0">
                    <a:pos x="T0" y="T1"/>
                  </a:cxn>
                  <a:cxn ang="0">
                    <a:pos x="T2" y="T3"/>
                  </a:cxn>
                  <a:cxn ang="0">
                    <a:pos x="T4" y="T5"/>
                  </a:cxn>
                  <a:cxn ang="0">
                    <a:pos x="T6" y="T7"/>
                  </a:cxn>
                  <a:cxn ang="0">
                    <a:pos x="T8" y="T9"/>
                  </a:cxn>
                </a:cxnLst>
                <a:rect l="0" t="0" r="r" b="b"/>
                <a:pathLst>
                  <a:path w="330" h="210">
                    <a:moveTo>
                      <a:pt x="0" y="150"/>
                    </a:moveTo>
                    <a:lnTo>
                      <a:pt x="60" y="210"/>
                    </a:lnTo>
                    <a:lnTo>
                      <a:pt x="150" y="150"/>
                    </a:lnTo>
                    <a:lnTo>
                      <a:pt x="210" y="60"/>
                    </a:lnTo>
                    <a:lnTo>
                      <a:pt x="3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04" name="Freeform 2610">
                <a:extLst>
                  <a:ext uri="{FF2B5EF4-FFF2-40B4-BE49-F238E27FC236}">
                    <a16:creationId xmlns:a16="http://schemas.microsoft.com/office/drawing/2014/main" id="{816A1565-D8AE-4064-A8D1-A30E959AE427}"/>
                  </a:ext>
                </a:extLst>
              </p:cNvPr>
              <p:cNvSpPr>
                <a:spLocks/>
              </p:cNvSpPr>
              <p:nvPr/>
            </p:nvSpPr>
            <p:spPr bwMode="auto">
              <a:xfrm>
                <a:off x="2835" y="1500"/>
                <a:ext cx="270" cy="150"/>
              </a:xfrm>
              <a:custGeom>
                <a:avLst/>
                <a:gdLst>
                  <a:gd name="T0" fmla="*/ 270 w 270"/>
                  <a:gd name="T1" fmla="*/ 90 h 150"/>
                  <a:gd name="T2" fmla="*/ 150 w 270"/>
                  <a:gd name="T3" fmla="*/ 150 h 150"/>
                  <a:gd name="T4" fmla="*/ 30 w 270"/>
                  <a:gd name="T5" fmla="*/ 120 h 150"/>
                  <a:gd name="T6" fmla="*/ 0 w 270"/>
                  <a:gd name="T7" fmla="*/ 0 h 150"/>
                </a:gdLst>
                <a:ahLst/>
                <a:cxnLst>
                  <a:cxn ang="0">
                    <a:pos x="T0" y="T1"/>
                  </a:cxn>
                  <a:cxn ang="0">
                    <a:pos x="T2" y="T3"/>
                  </a:cxn>
                  <a:cxn ang="0">
                    <a:pos x="T4" y="T5"/>
                  </a:cxn>
                  <a:cxn ang="0">
                    <a:pos x="T6" y="T7"/>
                  </a:cxn>
                </a:cxnLst>
                <a:rect l="0" t="0" r="r" b="b"/>
                <a:pathLst>
                  <a:path w="270" h="150">
                    <a:moveTo>
                      <a:pt x="270" y="90"/>
                    </a:moveTo>
                    <a:lnTo>
                      <a:pt x="150" y="150"/>
                    </a:lnTo>
                    <a:lnTo>
                      <a:pt x="3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05" name="Line 2611">
                <a:extLst>
                  <a:ext uri="{FF2B5EF4-FFF2-40B4-BE49-F238E27FC236}">
                    <a16:creationId xmlns:a16="http://schemas.microsoft.com/office/drawing/2014/main" id="{BAFBA718-E738-4D7F-9B4C-42841982849A}"/>
                  </a:ext>
                </a:extLst>
              </p:cNvPr>
              <p:cNvSpPr>
                <a:spLocks noChangeShapeType="1"/>
              </p:cNvSpPr>
              <p:nvPr/>
            </p:nvSpPr>
            <p:spPr bwMode="auto">
              <a:xfrm>
                <a:off x="3045" y="14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06" name="Line 2612">
                <a:extLst>
                  <a:ext uri="{FF2B5EF4-FFF2-40B4-BE49-F238E27FC236}">
                    <a16:creationId xmlns:a16="http://schemas.microsoft.com/office/drawing/2014/main" id="{F685FBDA-DE2B-4788-A1E3-F0035728EE04}"/>
                  </a:ext>
                </a:extLst>
              </p:cNvPr>
              <p:cNvSpPr>
                <a:spLocks noChangeShapeType="1"/>
              </p:cNvSpPr>
              <p:nvPr/>
            </p:nvSpPr>
            <p:spPr bwMode="auto">
              <a:xfrm>
                <a:off x="2775" y="141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07" name="Line 2613">
                <a:extLst>
                  <a:ext uri="{FF2B5EF4-FFF2-40B4-BE49-F238E27FC236}">
                    <a16:creationId xmlns:a16="http://schemas.microsoft.com/office/drawing/2014/main" id="{2E6E3753-9435-4771-BF15-3BCCD09157CE}"/>
                  </a:ext>
                </a:extLst>
              </p:cNvPr>
              <p:cNvSpPr>
                <a:spLocks noChangeShapeType="1"/>
              </p:cNvSpPr>
              <p:nvPr/>
            </p:nvSpPr>
            <p:spPr bwMode="auto">
              <a:xfrm flipV="1">
                <a:off x="2865" y="15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08" name="Freeform 2614">
                <a:extLst>
                  <a:ext uri="{FF2B5EF4-FFF2-40B4-BE49-F238E27FC236}">
                    <a16:creationId xmlns:a16="http://schemas.microsoft.com/office/drawing/2014/main" id="{1FE0B83C-B294-4FD6-AD75-7F2B4B40B656}"/>
                  </a:ext>
                </a:extLst>
              </p:cNvPr>
              <p:cNvSpPr>
                <a:spLocks/>
              </p:cNvSpPr>
              <p:nvPr/>
            </p:nvSpPr>
            <p:spPr bwMode="auto">
              <a:xfrm>
                <a:off x="2685" y="1500"/>
                <a:ext cx="180" cy="120"/>
              </a:xfrm>
              <a:custGeom>
                <a:avLst/>
                <a:gdLst>
                  <a:gd name="T0" fmla="*/ 150 w 180"/>
                  <a:gd name="T1" fmla="*/ 0 h 120"/>
                  <a:gd name="T2" fmla="*/ 0 w 180"/>
                  <a:gd name="T3" fmla="*/ 0 h 120"/>
                  <a:gd name="T4" fmla="*/ 30 w 180"/>
                  <a:gd name="T5" fmla="*/ 120 h 120"/>
                  <a:gd name="T6" fmla="*/ 180 w 180"/>
                  <a:gd name="T7" fmla="*/ 120 h 120"/>
                </a:gdLst>
                <a:ahLst/>
                <a:cxnLst>
                  <a:cxn ang="0">
                    <a:pos x="T0" y="T1"/>
                  </a:cxn>
                  <a:cxn ang="0">
                    <a:pos x="T2" y="T3"/>
                  </a:cxn>
                  <a:cxn ang="0">
                    <a:pos x="T4" y="T5"/>
                  </a:cxn>
                  <a:cxn ang="0">
                    <a:pos x="T6" y="T7"/>
                  </a:cxn>
                </a:cxnLst>
                <a:rect l="0" t="0" r="r" b="b"/>
                <a:pathLst>
                  <a:path w="180" h="120">
                    <a:moveTo>
                      <a:pt x="150" y="0"/>
                    </a:moveTo>
                    <a:lnTo>
                      <a:pt x="0" y="0"/>
                    </a:lnTo>
                    <a:lnTo>
                      <a:pt x="30" y="120"/>
                    </a:lnTo>
                    <a:lnTo>
                      <a:pt x="180"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09" name="Freeform 2615">
                <a:extLst>
                  <a:ext uri="{FF2B5EF4-FFF2-40B4-BE49-F238E27FC236}">
                    <a16:creationId xmlns:a16="http://schemas.microsoft.com/office/drawing/2014/main" id="{3B726357-5F84-4354-BAAC-DEB47BE34C21}"/>
                  </a:ext>
                </a:extLst>
              </p:cNvPr>
              <p:cNvSpPr>
                <a:spLocks/>
              </p:cNvSpPr>
              <p:nvPr/>
            </p:nvSpPr>
            <p:spPr bwMode="auto">
              <a:xfrm>
                <a:off x="2554" y="125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10" name="Freeform 2616">
                <a:extLst>
                  <a:ext uri="{FF2B5EF4-FFF2-40B4-BE49-F238E27FC236}">
                    <a16:creationId xmlns:a16="http://schemas.microsoft.com/office/drawing/2014/main" id="{8E1F2C90-31AD-47B1-83F8-5BF8BC6168FA}"/>
                  </a:ext>
                </a:extLst>
              </p:cNvPr>
              <p:cNvSpPr>
                <a:spLocks/>
              </p:cNvSpPr>
              <p:nvPr/>
            </p:nvSpPr>
            <p:spPr bwMode="auto">
              <a:xfrm>
                <a:off x="2284"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11" name="Freeform 2617">
                <a:extLst>
                  <a:ext uri="{FF2B5EF4-FFF2-40B4-BE49-F238E27FC236}">
                    <a16:creationId xmlns:a16="http://schemas.microsoft.com/office/drawing/2014/main" id="{61D628F3-0317-4C41-8304-E097AABCCE97}"/>
                  </a:ext>
                </a:extLst>
              </p:cNvPr>
              <p:cNvSpPr>
                <a:spLocks/>
              </p:cNvSpPr>
              <p:nvPr/>
            </p:nvSpPr>
            <p:spPr bwMode="auto">
              <a:xfrm>
                <a:off x="3243"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12" name="Freeform 2618">
                <a:extLst>
                  <a:ext uri="{FF2B5EF4-FFF2-40B4-BE49-F238E27FC236}">
                    <a16:creationId xmlns:a16="http://schemas.microsoft.com/office/drawing/2014/main" id="{6D55ED96-362C-4946-ABAA-4EA81594E3DE}"/>
                  </a:ext>
                </a:extLst>
              </p:cNvPr>
              <p:cNvSpPr>
                <a:spLocks/>
              </p:cNvSpPr>
              <p:nvPr/>
            </p:nvSpPr>
            <p:spPr bwMode="auto">
              <a:xfrm>
                <a:off x="2254"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13" name="Freeform 2619">
                <a:extLst>
                  <a:ext uri="{FF2B5EF4-FFF2-40B4-BE49-F238E27FC236}">
                    <a16:creationId xmlns:a16="http://schemas.microsoft.com/office/drawing/2014/main" id="{BBC4199C-896A-44F4-B1F0-73627A15FD4A}"/>
                  </a:ext>
                </a:extLst>
              </p:cNvPr>
              <p:cNvSpPr>
                <a:spLocks/>
              </p:cNvSpPr>
              <p:nvPr/>
            </p:nvSpPr>
            <p:spPr bwMode="auto">
              <a:xfrm>
                <a:off x="3213"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14" name="Oval 2620">
                <a:extLst>
                  <a:ext uri="{FF2B5EF4-FFF2-40B4-BE49-F238E27FC236}">
                    <a16:creationId xmlns:a16="http://schemas.microsoft.com/office/drawing/2014/main" id="{43AEFA7A-17BB-4550-94EA-47FB283A2E83}"/>
                  </a:ext>
                </a:extLst>
              </p:cNvPr>
              <p:cNvSpPr>
                <a:spLocks noChangeArrowheads="1"/>
              </p:cNvSpPr>
              <p:nvPr/>
            </p:nvSpPr>
            <p:spPr bwMode="auto">
              <a:xfrm>
                <a:off x="4334"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15" name="Oval 2621">
                <a:extLst>
                  <a:ext uri="{FF2B5EF4-FFF2-40B4-BE49-F238E27FC236}">
                    <a16:creationId xmlns:a16="http://schemas.microsoft.com/office/drawing/2014/main" id="{958A86DD-84FE-49EA-84AE-070AA0128A84}"/>
                  </a:ext>
                </a:extLst>
              </p:cNvPr>
              <p:cNvSpPr>
                <a:spLocks noChangeArrowheads="1"/>
              </p:cNvSpPr>
              <p:nvPr/>
            </p:nvSpPr>
            <p:spPr bwMode="auto">
              <a:xfrm>
                <a:off x="427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16" name="Oval 2622">
                <a:extLst>
                  <a:ext uri="{FF2B5EF4-FFF2-40B4-BE49-F238E27FC236}">
                    <a16:creationId xmlns:a16="http://schemas.microsoft.com/office/drawing/2014/main" id="{EE2A8111-9FEB-4606-A06C-0185235F2704}"/>
                  </a:ext>
                </a:extLst>
              </p:cNvPr>
              <p:cNvSpPr>
                <a:spLocks noChangeArrowheads="1"/>
              </p:cNvSpPr>
              <p:nvPr/>
            </p:nvSpPr>
            <p:spPr bwMode="auto">
              <a:xfrm>
                <a:off x="4394"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17" name="Oval 2623">
                <a:extLst>
                  <a:ext uri="{FF2B5EF4-FFF2-40B4-BE49-F238E27FC236}">
                    <a16:creationId xmlns:a16="http://schemas.microsoft.com/office/drawing/2014/main" id="{148D297F-8BC5-4E78-8371-D46235233ECC}"/>
                  </a:ext>
                </a:extLst>
              </p:cNvPr>
              <p:cNvSpPr>
                <a:spLocks noChangeArrowheads="1"/>
              </p:cNvSpPr>
              <p:nvPr/>
            </p:nvSpPr>
            <p:spPr bwMode="auto">
              <a:xfrm>
                <a:off x="436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18" name="Oval 2624">
                <a:extLst>
                  <a:ext uri="{FF2B5EF4-FFF2-40B4-BE49-F238E27FC236}">
                    <a16:creationId xmlns:a16="http://schemas.microsoft.com/office/drawing/2014/main" id="{5AD45979-DD91-4688-B607-E34BC0996FDA}"/>
                  </a:ext>
                </a:extLst>
              </p:cNvPr>
              <p:cNvSpPr>
                <a:spLocks noChangeArrowheads="1"/>
              </p:cNvSpPr>
              <p:nvPr/>
            </p:nvSpPr>
            <p:spPr bwMode="auto">
              <a:xfrm>
                <a:off x="445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19" name="Oval 2625">
                <a:extLst>
                  <a:ext uri="{FF2B5EF4-FFF2-40B4-BE49-F238E27FC236}">
                    <a16:creationId xmlns:a16="http://schemas.microsoft.com/office/drawing/2014/main" id="{B6B3126D-8A74-4540-B4FB-70CBBF0849A7}"/>
                  </a:ext>
                </a:extLst>
              </p:cNvPr>
              <p:cNvSpPr>
                <a:spLocks noChangeArrowheads="1"/>
              </p:cNvSpPr>
              <p:nvPr/>
            </p:nvSpPr>
            <p:spPr bwMode="auto">
              <a:xfrm>
                <a:off x="442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20" name="Oval 2626">
                <a:extLst>
                  <a:ext uri="{FF2B5EF4-FFF2-40B4-BE49-F238E27FC236}">
                    <a16:creationId xmlns:a16="http://schemas.microsoft.com/office/drawing/2014/main" id="{352C1EF4-CE3F-43FC-BD17-1EE9DAB79BF8}"/>
                  </a:ext>
                </a:extLst>
              </p:cNvPr>
              <p:cNvSpPr>
                <a:spLocks noChangeArrowheads="1"/>
              </p:cNvSpPr>
              <p:nvPr/>
            </p:nvSpPr>
            <p:spPr bwMode="auto">
              <a:xfrm>
                <a:off x="442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21" name="Oval 2627">
                <a:extLst>
                  <a:ext uri="{FF2B5EF4-FFF2-40B4-BE49-F238E27FC236}">
                    <a16:creationId xmlns:a16="http://schemas.microsoft.com/office/drawing/2014/main" id="{91006559-1AE8-41D3-BC97-74D7B774DD51}"/>
                  </a:ext>
                </a:extLst>
              </p:cNvPr>
              <p:cNvSpPr>
                <a:spLocks noChangeArrowheads="1"/>
              </p:cNvSpPr>
              <p:nvPr/>
            </p:nvSpPr>
            <p:spPr bwMode="auto">
              <a:xfrm>
                <a:off x="433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22" name="Oval 2628">
                <a:extLst>
                  <a:ext uri="{FF2B5EF4-FFF2-40B4-BE49-F238E27FC236}">
                    <a16:creationId xmlns:a16="http://schemas.microsoft.com/office/drawing/2014/main" id="{E97756A8-277E-4EA8-81B6-39FE23391C10}"/>
                  </a:ext>
                </a:extLst>
              </p:cNvPr>
              <p:cNvSpPr>
                <a:spLocks noChangeArrowheads="1"/>
              </p:cNvSpPr>
              <p:nvPr/>
            </p:nvSpPr>
            <p:spPr bwMode="auto">
              <a:xfrm>
                <a:off x="4274"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23" name="Oval 2629">
                <a:extLst>
                  <a:ext uri="{FF2B5EF4-FFF2-40B4-BE49-F238E27FC236}">
                    <a16:creationId xmlns:a16="http://schemas.microsoft.com/office/drawing/2014/main" id="{6D00CA16-1FFB-498E-B5D4-0B88913C7335}"/>
                  </a:ext>
                </a:extLst>
              </p:cNvPr>
              <p:cNvSpPr>
                <a:spLocks noChangeArrowheads="1"/>
              </p:cNvSpPr>
              <p:nvPr/>
            </p:nvSpPr>
            <p:spPr bwMode="auto">
              <a:xfrm>
                <a:off x="406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24" name="Oval 2630">
                <a:extLst>
                  <a:ext uri="{FF2B5EF4-FFF2-40B4-BE49-F238E27FC236}">
                    <a16:creationId xmlns:a16="http://schemas.microsoft.com/office/drawing/2014/main" id="{6975F794-308E-4B0D-B42B-067746BDDFAD}"/>
                  </a:ext>
                </a:extLst>
              </p:cNvPr>
              <p:cNvSpPr>
                <a:spLocks noChangeArrowheads="1"/>
              </p:cNvSpPr>
              <p:nvPr/>
            </p:nvSpPr>
            <p:spPr bwMode="auto">
              <a:xfrm>
                <a:off x="409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25" name="Oval 2631">
                <a:extLst>
                  <a:ext uri="{FF2B5EF4-FFF2-40B4-BE49-F238E27FC236}">
                    <a16:creationId xmlns:a16="http://schemas.microsoft.com/office/drawing/2014/main" id="{F16ECCE1-F511-483B-A30C-99513060B136}"/>
                  </a:ext>
                </a:extLst>
              </p:cNvPr>
              <p:cNvSpPr>
                <a:spLocks noChangeArrowheads="1"/>
              </p:cNvSpPr>
              <p:nvPr/>
            </p:nvSpPr>
            <p:spPr bwMode="auto">
              <a:xfrm>
                <a:off x="3974"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26" name="Oval 2632">
                <a:extLst>
                  <a:ext uri="{FF2B5EF4-FFF2-40B4-BE49-F238E27FC236}">
                    <a16:creationId xmlns:a16="http://schemas.microsoft.com/office/drawing/2014/main" id="{BFDA0525-7BD5-4042-B2AF-9078BBA4257B}"/>
                  </a:ext>
                </a:extLst>
              </p:cNvPr>
              <p:cNvSpPr>
                <a:spLocks noChangeArrowheads="1"/>
              </p:cNvSpPr>
              <p:nvPr/>
            </p:nvSpPr>
            <p:spPr bwMode="auto">
              <a:xfrm>
                <a:off x="3824"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27" name="Oval 2633">
                <a:extLst>
                  <a:ext uri="{FF2B5EF4-FFF2-40B4-BE49-F238E27FC236}">
                    <a16:creationId xmlns:a16="http://schemas.microsoft.com/office/drawing/2014/main" id="{746E56F0-129A-4A2F-9EDA-C739650FDEE7}"/>
                  </a:ext>
                </a:extLst>
              </p:cNvPr>
              <p:cNvSpPr>
                <a:spLocks noChangeArrowheads="1"/>
              </p:cNvSpPr>
              <p:nvPr/>
            </p:nvSpPr>
            <p:spPr bwMode="auto">
              <a:xfrm>
                <a:off x="409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28" name="Oval 2634">
                <a:extLst>
                  <a:ext uri="{FF2B5EF4-FFF2-40B4-BE49-F238E27FC236}">
                    <a16:creationId xmlns:a16="http://schemas.microsoft.com/office/drawing/2014/main" id="{233EDA46-5CD5-4E98-9C86-F7780A3F1C31}"/>
                  </a:ext>
                </a:extLst>
              </p:cNvPr>
              <p:cNvSpPr>
                <a:spLocks noChangeArrowheads="1"/>
              </p:cNvSpPr>
              <p:nvPr/>
            </p:nvSpPr>
            <p:spPr bwMode="auto">
              <a:xfrm>
                <a:off x="4334"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29" name="Oval 2635">
                <a:extLst>
                  <a:ext uri="{FF2B5EF4-FFF2-40B4-BE49-F238E27FC236}">
                    <a16:creationId xmlns:a16="http://schemas.microsoft.com/office/drawing/2014/main" id="{B1BC7A52-90A4-4E51-8986-D97E6B655A96}"/>
                  </a:ext>
                </a:extLst>
              </p:cNvPr>
              <p:cNvSpPr>
                <a:spLocks noChangeArrowheads="1"/>
              </p:cNvSpPr>
              <p:nvPr/>
            </p:nvSpPr>
            <p:spPr bwMode="auto">
              <a:xfrm>
                <a:off x="439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30" name="Oval 2636">
                <a:extLst>
                  <a:ext uri="{FF2B5EF4-FFF2-40B4-BE49-F238E27FC236}">
                    <a16:creationId xmlns:a16="http://schemas.microsoft.com/office/drawing/2014/main" id="{37F910DC-E250-4E33-9AED-612A8BD9DDFE}"/>
                  </a:ext>
                </a:extLst>
              </p:cNvPr>
              <p:cNvSpPr>
                <a:spLocks noChangeArrowheads="1"/>
              </p:cNvSpPr>
              <p:nvPr/>
            </p:nvSpPr>
            <p:spPr bwMode="auto">
              <a:xfrm>
                <a:off x="42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31" name="Oval 2637">
                <a:extLst>
                  <a:ext uri="{FF2B5EF4-FFF2-40B4-BE49-F238E27FC236}">
                    <a16:creationId xmlns:a16="http://schemas.microsoft.com/office/drawing/2014/main" id="{27E59533-8A7F-461C-BA74-80917F72E91A}"/>
                  </a:ext>
                </a:extLst>
              </p:cNvPr>
              <p:cNvSpPr>
                <a:spLocks noChangeArrowheads="1"/>
              </p:cNvSpPr>
              <p:nvPr/>
            </p:nvSpPr>
            <p:spPr bwMode="auto">
              <a:xfrm>
                <a:off x="415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32" name="Oval 2638">
                <a:extLst>
                  <a:ext uri="{FF2B5EF4-FFF2-40B4-BE49-F238E27FC236}">
                    <a16:creationId xmlns:a16="http://schemas.microsoft.com/office/drawing/2014/main" id="{75F0DA55-9BDB-48E8-8D98-2C6E78130E70}"/>
                  </a:ext>
                </a:extLst>
              </p:cNvPr>
              <p:cNvSpPr>
                <a:spLocks noChangeArrowheads="1"/>
              </p:cNvSpPr>
              <p:nvPr/>
            </p:nvSpPr>
            <p:spPr bwMode="auto">
              <a:xfrm>
                <a:off x="4364"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33" name="Oval 2639">
                <a:extLst>
                  <a:ext uri="{FF2B5EF4-FFF2-40B4-BE49-F238E27FC236}">
                    <a16:creationId xmlns:a16="http://schemas.microsoft.com/office/drawing/2014/main" id="{BE3E2C18-E7D0-4A9F-B735-2FC494FE3BAE}"/>
                  </a:ext>
                </a:extLst>
              </p:cNvPr>
              <p:cNvSpPr>
                <a:spLocks noChangeArrowheads="1"/>
              </p:cNvSpPr>
              <p:nvPr/>
            </p:nvSpPr>
            <p:spPr bwMode="auto">
              <a:xfrm>
                <a:off x="439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34" name="Oval 2640">
                <a:extLst>
                  <a:ext uri="{FF2B5EF4-FFF2-40B4-BE49-F238E27FC236}">
                    <a16:creationId xmlns:a16="http://schemas.microsoft.com/office/drawing/2014/main" id="{6D9895FD-E5DC-45C8-A7B5-73D4BE941315}"/>
                  </a:ext>
                </a:extLst>
              </p:cNvPr>
              <p:cNvSpPr>
                <a:spLocks noChangeArrowheads="1"/>
              </p:cNvSpPr>
              <p:nvPr/>
            </p:nvSpPr>
            <p:spPr bwMode="auto">
              <a:xfrm>
                <a:off x="427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35" name="Oval 2641">
                <a:extLst>
                  <a:ext uri="{FF2B5EF4-FFF2-40B4-BE49-F238E27FC236}">
                    <a16:creationId xmlns:a16="http://schemas.microsoft.com/office/drawing/2014/main" id="{53C93F88-791A-4385-8015-81C7292E8513}"/>
                  </a:ext>
                </a:extLst>
              </p:cNvPr>
              <p:cNvSpPr>
                <a:spLocks noChangeArrowheads="1"/>
              </p:cNvSpPr>
              <p:nvPr/>
            </p:nvSpPr>
            <p:spPr bwMode="auto">
              <a:xfrm>
                <a:off x="415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36" name="Oval 2642">
                <a:extLst>
                  <a:ext uri="{FF2B5EF4-FFF2-40B4-BE49-F238E27FC236}">
                    <a16:creationId xmlns:a16="http://schemas.microsoft.com/office/drawing/2014/main" id="{9C2DF644-61B3-4B27-934B-8CF13CCCE525}"/>
                  </a:ext>
                </a:extLst>
              </p:cNvPr>
              <p:cNvSpPr>
                <a:spLocks noChangeArrowheads="1"/>
              </p:cNvSpPr>
              <p:nvPr/>
            </p:nvSpPr>
            <p:spPr bwMode="auto">
              <a:xfrm>
                <a:off x="412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37" name="Oval 2643">
                <a:extLst>
                  <a:ext uri="{FF2B5EF4-FFF2-40B4-BE49-F238E27FC236}">
                    <a16:creationId xmlns:a16="http://schemas.microsoft.com/office/drawing/2014/main" id="{81B2B54C-D995-4DBA-9A34-FC3E98B0F1B9}"/>
                  </a:ext>
                </a:extLst>
              </p:cNvPr>
              <p:cNvSpPr>
                <a:spLocks noChangeArrowheads="1"/>
              </p:cNvSpPr>
              <p:nvPr/>
            </p:nvSpPr>
            <p:spPr bwMode="auto">
              <a:xfrm>
                <a:off x="4364"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38" name="Oval 2644">
                <a:extLst>
                  <a:ext uri="{FF2B5EF4-FFF2-40B4-BE49-F238E27FC236}">
                    <a16:creationId xmlns:a16="http://schemas.microsoft.com/office/drawing/2014/main" id="{026A9222-9C94-4CD7-B7C1-7487193D510D}"/>
                  </a:ext>
                </a:extLst>
              </p:cNvPr>
              <p:cNvSpPr>
                <a:spLocks noChangeArrowheads="1"/>
              </p:cNvSpPr>
              <p:nvPr/>
            </p:nvSpPr>
            <p:spPr bwMode="auto">
              <a:xfrm>
                <a:off x="430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39" name="Oval 2645">
                <a:extLst>
                  <a:ext uri="{FF2B5EF4-FFF2-40B4-BE49-F238E27FC236}">
                    <a16:creationId xmlns:a16="http://schemas.microsoft.com/office/drawing/2014/main" id="{10925028-C06C-4FD0-98BA-3ABFB3138491}"/>
                  </a:ext>
                </a:extLst>
              </p:cNvPr>
              <p:cNvSpPr>
                <a:spLocks noChangeArrowheads="1"/>
              </p:cNvSpPr>
              <p:nvPr/>
            </p:nvSpPr>
            <p:spPr bwMode="auto">
              <a:xfrm>
                <a:off x="427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40" name="Oval 2646">
                <a:extLst>
                  <a:ext uri="{FF2B5EF4-FFF2-40B4-BE49-F238E27FC236}">
                    <a16:creationId xmlns:a16="http://schemas.microsoft.com/office/drawing/2014/main" id="{28BFC067-133F-463D-BBAC-196B9D12F818}"/>
                  </a:ext>
                </a:extLst>
              </p:cNvPr>
              <p:cNvSpPr>
                <a:spLocks noChangeArrowheads="1"/>
              </p:cNvSpPr>
              <p:nvPr/>
            </p:nvSpPr>
            <p:spPr bwMode="auto">
              <a:xfrm>
                <a:off x="433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41" name="Oval 2647">
                <a:extLst>
                  <a:ext uri="{FF2B5EF4-FFF2-40B4-BE49-F238E27FC236}">
                    <a16:creationId xmlns:a16="http://schemas.microsoft.com/office/drawing/2014/main" id="{2B11D5C0-99D3-4ACD-ACA9-55BC2F5B1EEC}"/>
                  </a:ext>
                </a:extLst>
              </p:cNvPr>
              <p:cNvSpPr>
                <a:spLocks noChangeArrowheads="1"/>
              </p:cNvSpPr>
              <p:nvPr/>
            </p:nvSpPr>
            <p:spPr bwMode="auto">
              <a:xfrm>
                <a:off x="418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42" name="Oval 2648">
                <a:extLst>
                  <a:ext uri="{FF2B5EF4-FFF2-40B4-BE49-F238E27FC236}">
                    <a16:creationId xmlns:a16="http://schemas.microsoft.com/office/drawing/2014/main" id="{5D039957-84D5-489E-8154-81EF26EA1878}"/>
                  </a:ext>
                </a:extLst>
              </p:cNvPr>
              <p:cNvSpPr>
                <a:spLocks noChangeArrowheads="1"/>
              </p:cNvSpPr>
              <p:nvPr/>
            </p:nvSpPr>
            <p:spPr bwMode="auto">
              <a:xfrm>
                <a:off x="4124"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43" name="Oval 2649">
                <a:extLst>
                  <a:ext uri="{FF2B5EF4-FFF2-40B4-BE49-F238E27FC236}">
                    <a16:creationId xmlns:a16="http://schemas.microsoft.com/office/drawing/2014/main" id="{D7630523-97DB-4A9C-BEDC-7DAF15697412}"/>
                  </a:ext>
                </a:extLst>
              </p:cNvPr>
              <p:cNvSpPr>
                <a:spLocks noChangeArrowheads="1"/>
              </p:cNvSpPr>
              <p:nvPr/>
            </p:nvSpPr>
            <p:spPr bwMode="auto">
              <a:xfrm>
                <a:off x="42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44" name="Oval 2650">
                <a:extLst>
                  <a:ext uri="{FF2B5EF4-FFF2-40B4-BE49-F238E27FC236}">
                    <a16:creationId xmlns:a16="http://schemas.microsoft.com/office/drawing/2014/main" id="{9E02D80E-728C-4F60-B950-7CE88E9C7003}"/>
                  </a:ext>
                </a:extLst>
              </p:cNvPr>
              <p:cNvSpPr>
                <a:spLocks noChangeArrowheads="1"/>
              </p:cNvSpPr>
              <p:nvPr/>
            </p:nvSpPr>
            <p:spPr bwMode="auto">
              <a:xfrm>
                <a:off x="4184"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45" name="Oval 2651">
                <a:extLst>
                  <a:ext uri="{FF2B5EF4-FFF2-40B4-BE49-F238E27FC236}">
                    <a16:creationId xmlns:a16="http://schemas.microsoft.com/office/drawing/2014/main" id="{3A472EDF-7CC7-45C2-830F-01704FF43AD5}"/>
                  </a:ext>
                </a:extLst>
              </p:cNvPr>
              <p:cNvSpPr>
                <a:spLocks noChangeArrowheads="1"/>
              </p:cNvSpPr>
              <p:nvPr/>
            </p:nvSpPr>
            <p:spPr bwMode="auto">
              <a:xfrm>
                <a:off x="436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46" name="Oval 2652">
                <a:extLst>
                  <a:ext uri="{FF2B5EF4-FFF2-40B4-BE49-F238E27FC236}">
                    <a16:creationId xmlns:a16="http://schemas.microsoft.com/office/drawing/2014/main" id="{4957A2AE-DECC-4145-95C6-D92CD9E62AAB}"/>
                  </a:ext>
                </a:extLst>
              </p:cNvPr>
              <p:cNvSpPr>
                <a:spLocks noChangeArrowheads="1"/>
              </p:cNvSpPr>
              <p:nvPr/>
            </p:nvSpPr>
            <p:spPr bwMode="auto">
              <a:xfrm>
                <a:off x="439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47" name="Oval 2653">
                <a:extLst>
                  <a:ext uri="{FF2B5EF4-FFF2-40B4-BE49-F238E27FC236}">
                    <a16:creationId xmlns:a16="http://schemas.microsoft.com/office/drawing/2014/main" id="{596F444E-629F-4A42-AE43-9C8931907752}"/>
                  </a:ext>
                </a:extLst>
              </p:cNvPr>
              <p:cNvSpPr>
                <a:spLocks noChangeArrowheads="1"/>
              </p:cNvSpPr>
              <p:nvPr/>
            </p:nvSpPr>
            <p:spPr bwMode="auto">
              <a:xfrm>
                <a:off x="436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48" name="Oval 2654">
                <a:extLst>
                  <a:ext uri="{FF2B5EF4-FFF2-40B4-BE49-F238E27FC236}">
                    <a16:creationId xmlns:a16="http://schemas.microsoft.com/office/drawing/2014/main" id="{EF51B406-724C-4776-B033-FB30372D69D1}"/>
                  </a:ext>
                </a:extLst>
              </p:cNvPr>
              <p:cNvSpPr>
                <a:spLocks noChangeArrowheads="1"/>
              </p:cNvSpPr>
              <p:nvPr/>
            </p:nvSpPr>
            <p:spPr bwMode="auto">
              <a:xfrm>
                <a:off x="4394"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49" name="Oval 2655">
                <a:extLst>
                  <a:ext uri="{FF2B5EF4-FFF2-40B4-BE49-F238E27FC236}">
                    <a16:creationId xmlns:a16="http://schemas.microsoft.com/office/drawing/2014/main" id="{45BE9FC5-AED1-453F-BF2E-46A7F165D8D4}"/>
                  </a:ext>
                </a:extLst>
              </p:cNvPr>
              <p:cNvSpPr>
                <a:spLocks noChangeArrowheads="1"/>
              </p:cNvSpPr>
              <p:nvPr/>
            </p:nvSpPr>
            <p:spPr bwMode="auto">
              <a:xfrm>
                <a:off x="433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50" name="Oval 2656">
                <a:extLst>
                  <a:ext uri="{FF2B5EF4-FFF2-40B4-BE49-F238E27FC236}">
                    <a16:creationId xmlns:a16="http://schemas.microsoft.com/office/drawing/2014/main" id="{FD9E8D66-A6B4-4BBF-A8E5-1DA540E1331B}"/>
                  </a:ext>
                </a:extLst>
              </p:cNvPr>
              <p:cNvSpPr>
                <a:spLocks noChangeArrowheads="1"/>
              </p:cNvSpPr>
              <p:nvPr/>
            </p:nvSpPr>
            <p:spPr bwMode="auto">
              <a:xfrm>
                <a:off x="436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51" name="Oval 2657">
                <a:extLst>
                  <a:ext uri="{FF2B5EF4-FFF2-40B4-BE49-F238E27FC236}">
                    <a16:creationId xmlns:a16="http://schemas.microsoft.com/office/drawing/2014/main" id="{643E4958-5F16-44EA-9019-622AC6F91EF6}"/>
                  </a:ext>
                </a:extLst>
              </p:cNvPr>
              <p:cNvSpPr>
                <a:spLocks noChangeArrowheads="1"/>
              </p:cNvSpPr>
              <p:nvPr/>
            </p:nvSpPr>
            <p:spPr bwMode="auto">
              <a:xfrm>
                <a:off x="439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52" name="Oval 2658">
                <a:extLst>
                  <a:ext uri="{FF2B5EF4-FFF2-40B4-BE49-F238E27FC236}">
                    <a16:creationId xmlns:a16="http://schemas.microsoft.com/office/drawing/2014/main" id="{D74DFE2C-E0AF-4084-81B6-72645471253F}"/>
                  </a:ext>
                </a:extLst>
              </p:cNvPr>
              <p:cNvSpPr>
                <a:spLocks noChangeArrowheads="1"/>
              </p:cNvSpPr>
              <p:nvPr/>
            </p:nvSpPr>
            <p:spPr bwMode="auto">
              <a:xfrm>
                <a:off x="421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53" name="Oval 2659">
                <a:extLst>
                  <a:ext uri="{FF2B5EF4-FFF2-40B4-BE49-F238E27FC236}">
                    <a16:creationId xmlns:a16="http://schemas.microsoft.com/office/drawing/2014/main" id="{E6CD4D5A-BF7A-452E-9224-F7602514C385}"/>
                  </a:ext>
                </a:extLst>
              </p:cNvPr>
              <p:cNvSpPr>
                <a:spLocks noChangeArrowheads="1"/>
              </p:cNvSpPr>
              <p:nvPr/>
            </p:nvSpPr>
            <p:spPr bwMode="auto">
              <a:xfrm>
                <a:off x="424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54" name="Oval 2660">
                <a:extLst>
                  <a:ext uri="{FF2B5EF4-FFF2-40B4-BE49-F238E27FC236}">
                    <a16:creationId xmlns:a16="http://schemas.microsoft.com/office/drawing/2014/main" id="{48B25ABF-A777-440E-BCF5-AD716414A5CB}"/>
                  </a:ext>
                </a:extLst>
              </p:cNvPr>
              <p:cNvSpPr>
                <a:spLocks noChangeArrowheads="1"/>
              </p:cNvSpPr>
              <p:nvPr/>
            </p:nvSpPr>
            <p:spPr bwMode="auto">
              <a:xfrm>
                <a:off x="412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55" name="Oval 2661">
                <a:extLst>
                  <a:ext uri="{FF2B5EF4-FFF2-40B4-BE49-F238E27FC236}">
                    <a16:creationId xmlns:a16="http://schemas.microsoft.com/office/drawing/2014/main" id="{3C25CAC9-EE3F-473A-BF15-DB8C52AAB286}"/>
                  </a:ext>
                </a:extLst>
              </p:cNvPr>
              <p:cNvSpPr>
                <a:spLocks noChangeArrowheads="1"/>
              </p:cNvSpPr>
              <p:nvPr/>
            </p:nvSpPr>
            <p:spPr bwMode="auto">
              <a:xfrm>
                <a:off x="409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56" name="Oval 2662">
                <a:extLst>
                  <a:ext uri="{FF2B5EF4-FFF2-40B4-BE49-F238E27FC236}">
                    <a16:creationId xmlns:a16="http://schemas.microsoft.com/office/drawing/2014/main" id="{018A8C3A-2DE0-4CA7-B036-6C48872D4CE7}"/>
                  </a:ext>
                </a:extLst>
              </p:cNvPr>
              <p:cNvSpPr>
                <a:spLocks noChangeArrowheads="1"/>
              </p:cNvSpPr>
              <p:nvPr/>
            </p:nvSpPr>
            <p:spPr bwMode="auto">
              <a:xfrm>
                <a:off x="4124"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57" name="Oval 2663">
                <a:extLst>
                  <a:ext uri="{FF2B5EF4-FFF2-40B4-BE49-F238E27FC236}">
                    <a16:creationId xmlns:a16="http://schemas.microsoft.com/office/drawing/2014/main" id="{8291993C-F9E6-43A8-A025-914D41C2071D}"/>
                  </a:ext>
                </a:extLst>
              </p:cNvPr>
              <p:cNvSpPr>
                <a:spLocks noChangeArrowheads="1"/>
              </p:cNvSpPr>
              <p:nvPr/>
            </p:nvSpPr>
            <p:spPr bwMode="auto">
              <a:xfrm>
                <a:off x="403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58" name="Oval 2664">
                <a:extLst>
                  <a:ext uri="{FF2B5EF4-FFF2-40B4-BE49-F238E27FC236}">
                    <a16:creationId xmlns:a16="http://schemas.microsoft.com/office/drawing/2014/main" id="{E5A8D686-6C53-4AAD-8729-91E30ADB7A2D}"/>
                  </a:ext>
                </a:extLst>
              </p:cNvPr>
              <p:cNvSpPr>
                <a:spLocks noChangeArrowheads="1"/>
              </p:cNvSpPr>
              <p:nvPr/>
            </p:nvSpPr>
            <p:spPr bwMode="auto">
              <a:xfrm>
                <a:off x="4064"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59" name="Oval 2665">
                <a:extLst>
                  <a:ext uri="{FF2B5EF4-FFF2-40B4-BE49-F238E27FC236}">
                    <a16:creationId xmlns:a16="http://schemas.microsoft.com/office/drawing/2014/main" id="{0AAED2ED-FB3D-48B3-BE27-C8684289D021}"/>
                  </a:ext>
                </a:extLst>
              </p:cNvPr>
              <p:cNvSpPr>
                <a:spLocks noChangeArrowheads="1"/>
              </p:cNvSpPr>
              <p:nvPr/>
            </p:nvSpPr>
            <p:spPr bwMode="auto">
              <a:xfrm>
                <a:off x="394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60" name="Oval 2666">
                <a:extLst>
                  <a:ext uri="{FF2B5EF4-FFF2-40B4-BE49-F238E27FC236}">
                    <a16:creationId xmlns:a16="http://schemas.microsoft.com/office/drawing/2014/main" id="{A8517FAE-F330-4058-9A18-FC903C4AAA7F}"/>
                  </a:ext>
                </a:extLst>
              </p:cNvPr>
              <p:cNvSpPr>
                <a:spLocks noChangeArrowheads="1"/>
              </p:cNvSpPr>
              <p:nvPr/>
            </p:nvSpPr>
            <p:spPr bwMode="auto">
              <a:xfrm>
                <a:off x="382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61" name="Oval 2667">
                <a:extLst>
                  <a:ext uri="{FF2B5EF4-FFF2-40B4-BE49-F238E27FC236}">
                    <a16:creationId xmlns:a16="http://schemas.microsoft.com/office/drawing/2014/main" id="{F5DF2534-7E90-4A66-BDB2-FEDD04C1F94F}"/>
                  </a:ext>
                </a:extLst>
              </p:cNvPr>
              <p:cNvSpPr>
                <a:spLocks noChangeArrowheads="1"/>
              </p:cNvSpPr>
              <p:nvPr/>
            </p:nvSpPr>
            <p:spPr bwMode="auto">
              <a:xfrm>
                <a:off x="36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62" name="Oval 2668">
                <a:extLst>
                  <a:ext uri="{FF2B5EF4-FFF2-40B4-BE49-F238E27FC236}">
                    <a16:creationId xmlns:a16="http://schemas.microsoft.com/office/drawing/2014/main" id="{91F60926-EC07-470D-BA7B-2CAE84BB85A2}"/>
                  </a:ext>
                </a:extLst>
              </p:cNvPr>
              <p:cNvSpPr>
                <a:spLocks noChangeArrowheads="1"/>
              </p:cNvSpPr>
              <p:nvPr/>
            </p:nvSpPr>
            <p:spPr bwMode="auto">
              <a:xfrm>
                <a:off x="367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63" name="Oval 2669">
                <a:extLst>
                  <a:ext uri="{FF2B5EF4-FFF2-40B4-BE49-F238E27FC236}">
                    <a16:creationId xmlns:a16="http://schemas.microsoft.com/office/drawing/2014/main" id="{5DADD6EA-5293-4482-B7B9-17C7AFE701BF}"/>
                  </a:ext>
                </a:extLst>
              </p:cNvPr>
              <p:cNvSpPr>
                <a:spLocks noChangeArrowheads="1"/>
              </p:cNvSpPr>
              <p:nvPr/>
            </p:nvSpPr>
            <p:spPr bwMode="auto">
              <a:xfrm>
                <a:off x="379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64" name="Oval 2670">
                <a:extLst>
                  <a:ext uri="{FF2B5EF4-FFF2-40B4-BE49-F238E27FC236}">
                    <a16:creationId xmlns:a16="http://schemas.microsoft.com/office/drawing/2014/main" id="{C52B8852-3EC5-48BC-A1F5-732D92F09BD0}"/>
                  </a:ext>
                </a:extLst>
              </p:cNvPr>
              <p:cNvSpPr>
                <a:spLocks noChangeArrowheads="1"/>
              </p:cNvSpPr>
              <p:nvPr/>
            </p:nvSpPr>
            <p:spPr bwMode="auto">
              <a:xfrm>
                <a:off x="3735" y="3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65" name="Oval 2671">
                <a:extLst>
                  <a:ext uri="{FF2B5EF4-FFF2-40B4-BE49-F238E27FC236}">
                    <a16:creationId xmlns:a16="http://schemas.microsoft.com/office/drawing/2014/main" id="{04BB40C3-FEA2-4FB9-A55F-C6C6AE3193AB}"/>
                  </a:ext>
                </a:extLst>
              </p:cNvPr>
              <p:cNvSpPr>
                <a:spLocks noChangeArrowheads="1"/>
              </p:cNvSpPr>
              <p:nvPr/>
            </p:nvSpPr>
            <p:spPr bwMode="auto">
              <a:xfrm>
                <a:off x="376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66" name="Oval 2672">
                <a:extLst>
                  <a:ext uri="{FF2B5EF4-FFF2-40B4-BE49-F238E27FC236}">
                    <a16:creationId xmlns:a16="http://schemas.microsoft.com/office/drawing/2014/main" id="{6A728BC0-41C7-4CC3-B829-EBBB518F3D09}"/>
                  </a:ext>
                </a:extLst>
              </p:cNvPr>
              <p:cNvSpPr>
                <a:spLocks noChangeArrowheads="1"/>
              </p:cNvSpPr>
              <p:nvPr/>
            </p:nvSpPr>
            <p:spPr bwMode="auto">
              <a:xfrm>
                <a:off x="379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67" name="Oval 2673">
                <a:extLst>
                  <a:ext uri="{FF2B5EF4-FFF2-40B4-BE49-F238E27FC236}">
                    <a16:creationId xmlns:a16="http://schemas.microsoft.com/office/drawing/2014/main" id="{0ABD8E16-6527-4BFE-B806-0FCEB86DF3BA}"/>
                  </a:ext>
                </a:extLst>
              </p:cNvPr>
              <p:cNvSpPr>
                <a:spLocks noChangeArrowheads="1"/>
              </p:cNvSpPr>
              <p:nvPr/>
            </p:nvSpPr>
            <p:spPr bwMode="auto">
              <a:xfrm>
                <a:off x="3735" y="7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68" name="Oval 2674">
                <a:extLst>
                  <a:ext uri="{FF2B5EF4-FFF2-40B4-BE49-F238E27FC236}">
                    <a16:creationId xmlns:a16="http://schemas.microsoft.com/office/drawing/2014/main" id="{9A49B88A-7E35-4DDE-AE1C-442FDFF48020}"/>
                  </a:ext>
                </a:extLst>
              </p:cNvPr>
              <p:cNvSpPr>
                <a:spLocks noChangeArrowheads="1"/>
              </p:cNvSpPr>
              <p:nvPr/>
            </p:nvSpPr>
            <p:spPr bwMode="auto">
              <a:xfrm>
                <a:off x="36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69" name="Oval 2675">
                <a:extLst>
                  <a:ext uri="{FF2B5EF4-FFF2-40B4-BE49-F238E27FC236}">
                    <a16:creationId xmlns:a16="http://schemas.microsoft.com/office/drawing/2014/main" id="{18D999C8-D45F-4C66-90E6-AFA333EC977A}"/>
                  </a:ext>
                </a:extLst>
              </p:cNvPr>
              <p:cNvSpPr>
                <a:spLocks noChangeArrowheads="1"/>
              </p:cNvSpPr>
              <p:nvPr/>
            </p:nvSpPr>
            <p:spPr bwMode="auto">
              <a:xfrm>
                <a:off x="352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70" name="Oval 2676">
                <a:extLst>
                  <a:ext uri="{FF2B5EF4-FFF2-40B4-BE49-F238E27FC236}">
                    <a16:creationId xmlns:a16="http://schemas.microsoft.com/office/drawing/2014/main" id="{CEB5BC7D-7B9A-40CA-BE86-A1993BB52020}"/>
                  </a:ext>
                </a:extLst>
              </p:cNvPr>
              <p:cNvSpPr>
                <a:spLocks noChangeArrowheads="1"/>
              </p:cNvSpPr>
              <p:nvPr/>
            </p:nvSpPr>
            <p:spPr bwMode="auto">
              <a:xfrm>
                <a:off x="343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71" name="Oval 2677">
                <a:extLst>
                  <a:ext uri="{FF2B5EF4-FFF2-40B4-BE49-F238E27FC236}">
                    <a16:creationId xmlns:a16="http://schemas.microsoft.com/office/drawing/2014/main" id="{FA3A90CA-E436-478F-84E5-93EA9AC7EDE9}"/>
                  </a:ext>
                </a:extLst>
              </p:cNvPr>
              <p:cNvSpPr>
                <a:spLocks noChangeArrowheads="1"/>
              </p:cNvSpPr>
              <p:nvPr/>
            </p:nvSpPr>
            <p:spPr bwMode="auto">
              <a:xfrm>
                <a:off x="331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72" name="Oval 2678">
                <a:extLst>
                  <a:ext uri="{FF2B5EF4-FFF2-40B4-BE49-F238E27FC236}">
                    <a16:creationId xmlns:a16="http://schemas.microsoft.com/office/drawing/2014/main" id="{8C089465-B848-4A7B-ADB1-FFD680D8EA32}"/>
                  </a:ext>
                </a:extLst>
              </p:cNvPr>
              <p:cNvSpPr>
                <a:spLocks noChangeArrowheads="1"/>
              </p:cNvSpPr>
              <p:nvPr/>
            </p:nvSpPr>
            <p:spPr bwMode="auto">
              <a:xfrm>
                <a:off x="325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73" name="Oval 2679">
                <a:extLst>
                  <a:ext uri="{FF2B5EF4-FFF2-40B4-BE49-F238E27FC236}">
                    <a16:creationId xmlns:a16="http://schemas.microsoft.com/office/drawing/2014/main" id="{9F808E6A-C1B6-45C9-AB57-40068D4E75C8}"/>
                  </a:ext>
                </a:extLst>
              </p:cNvPr>
              <p:cNvSpPr>
                <a:spLocks noChangeArrowheads="1"/>
              </p:cNvSpPr>
              <p:nvPr/>
            </p:nvSpPr>
            <p:spPr bwMode="auto">
              <a:xfrm>
                <a:off x="337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74" name="Oval 2680">
                <a:extLst>
                  <a:ext uri="{FF2B5EF4-FFF2-40B4-BE49-F238E27FC236}">
                    <a16:creationId xmlns:a16="http://schemas.microsoft.com/office/drawing/2014/main" id="{671DABEF-91BD-4E70-B251-BFFA670B99F3}"/>
                  </a:ext>
                </a:extLst>
              </p:cNvPr>
              <p:cNvSpPr>
                <a:spLocks noChangeArrowheads="1"/>
              </p:cNvSpPr>
              <p:nvPr/>
            </p:nvSpPr>
            <p:spPr bwMode="auto">
              <a:xfrm>
                <a:off x="367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75" name="Oval 2681">
                <a:extLst>
                  <a:ext uri="{FF2B5EF4-FFF2-40B4-BE49-F238E27FC236}">
                    <a16:creationId xmlns:a16="http://schemas.microsoft.com/office/drawing/2014/main" id="{5A4FCEB4-BAD0-4511-9B43-7F8D735E5D35}"/>
                  </a:ext>
                </a:extLst>
              </p:cNvPr>
              <p:cNvSpPr>
                <a:spLocks noChangeArrowheads="1"/>
              </p:cNvSpPr>
              <p:nvPr/>
            </p:nvSpPr>
            <p:spPr bwMode="auto">
              <a:xfrm>
                <a:off x="349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76" name="Oval 2682">
                <a:extLst>
                  <a:ext uri="{FF2B5EF4-FFF2-40B4-BE49-F238E27FC236}">
                    <a16:creationId xmlns:a16="http://schemas.microsoft.com/office/drawing/2014/main" id="{37687617-342B-4A7E-BF6A-D0852764E389}"/>
                  </a:ext>
                </a:extLst>
              </p:cNvPr>
              <p:cNvSpPr>
                <a:spLocks noChangeArrowheads="1"/>
              </p:cNvSpPr>
              <p:nvPr/>
            </p:nvSpPr>
            <p:spPr bwMode="auto">
              <a:xfrm>
                <a:off x="35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77" name="Oval 2683">
                <a:extLst>
                  <a:ext uri="{FF2B5EF4-FFF2-40B4-BE49-F238E27FC236}">
                    <a16:creationId xmlns:a16="http://schemas.microsoft.com/office/drawing/2014/main" id="{2A499AE5-5BA1-48FF-9F60-71B934770004}"/>
                  </a:ext>
                </a:extLst>
              </p:cNvPr>
              <p:cNvSpPr>
                <a:spLocks noChangeArrowheads="1"/>
              </p:cNvSpPr>
              <p:nvPr/>
            </p:nvSpPr>
            <p:spPr bwMode="auto">
              <a:xfrm>
                <a:off x="343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78" name="Oval 2684">
                <a:extLst>
                  <a:ext uri="{FF2B5EF4-FFF2-40B4-BE49-F238E27FC236}">
                    <a16:creationId xmlns:a16="http://schemas.microsoft.com/office/drawing/2014/main" id="{D9E07416-6376-4BF2-9517-5A29851E06F2}"/>
                  </a:ext>
                </a:extLst>
              </p:cNvPr>
              <p:cNvSpPr>
                <a:spLocks noChangeArrowheads="1"/>
              </p:cNvSpPr>
              <p:nvPr/>
            </p:nvSpPr>
            <p:spPr bwMode="auto">
              <a:xfrm>
                <a:off x="364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79" name="Oval 2685">
                <a:extLst>
                  <a:ext uri="{FF2B5EF4-FFF2-40B4-BE49-F238E27FC236}">
                    <a16:creationId xmlns:a16="http://schemas.microsoft.com/office/drawing/2014/main" id="{17A0D022-9673-4839-A835-192F5C168194}"/>
                  </a:ext>
                </a:extLst>
              </p:cNvPr>
              <p:cNvSpPr>
                <a:spLocks noChangeArrowheads="1"/>
              </p:cNvSpPr>
              <p:nvPr/>
            </p:nvSpPr>
            <p:spPr bwMode="auto">
              <a:xfrm>
                <a:off x="355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80" name="Oval 2686">
                <a:extLst>
                  <a:ext uri="{FF2B5EF4-FFF2-40B4-BE49-F238E27FC236}">
                    <a16:creationId xmlns:a16="http://schemas.microsoft.com/office/drawing/2014/main" id="{07E8A377-4EC0-4FC7-B64F-03B2E0D87311}"/>
                  </a:ext>
                </a:extLst>
              </p:cNvPr>
              <p:cNvSpPr>
                <a:spLocks noChangeArrowheads="1"/>
              </p:cNvSpPr>
              <p:nvPr/>
            </p:nvSpPr>
            <p:spPr bwMode="auto">
              <a:xfrm>
                <a:off x="34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81" name="Oval 2687">
                <a:extLst>
                  <a:ext uri="{FF2B5EF4-FFF2-40B4-BE49-F238E27FC236}">
                    <a16:creationId xmlns:a16="http://schemas.microsoft.com/office/drawing/2014/main" id="{22082AB6-99DE-45D8-8995-69BE97B8045A}"/>
                  </a:ext>
                </a:extLst>
              </p:cNvPr>
              <p:cNvSpPr>
                <a:spLocks noChangeArrowheads="1"/>
              </p:cNvSpPr>
              <p:nvPr/>
            </p:nvSpPr>
            <p:spPr bwMode="auto">
              <a:xfrm>
                <a:off x="31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82" name="Oval 2688">
                <a:extLst>
                  <a:ext uri="{FF2B5EF4-FFF2-40B4-BE49-F238E27FC236}">
                    <a16:creationId xmlns:a16="http://schemas.microsoft.com/office/drawing/2014/main" id="{50CD0437-A940-4C6A-877A-93623667C446}"/>
                  </a:ext>
                </a:extLst>
              </p:cNvPr>
              <p:cNvSpPr>
                <a:spLocks noChangeArrowheads="1"/>
              </p:cNvSpPr>
              <p:nvPr/>
            </p:nvSpPr>
            <p:spPr bwMode="auto">
              <a:xfrm>
                <a:off x="304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83" name="Oval 2689">
                <a:extLst>
                  <a:ext uri="{FF2B5EF4-FFF2-40B4-BE49-F238E27FC236}">
                    <a16:creationId xmlns:a16="http://schemas.microsoft.com/office/drawing/2014/main" id="{EE4948A4-E23F-467A-B1CC-5BBFF63D5EFB}"/>
                  </a:ext>
                </a:extLst>
              </p:cNvPr>
              <p:cNvSpPr>
                <a:spLocks noChangeArrowheads="1"/>
              </p:cNvSpPr>
              <p:nvPr/>
            </p:nvSpPr>
            <p:spPr bwMode="auto">
              <a:xfrm>
                <a:off x="29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84" name="Oval 2690">
                <a:extLst>
                  <a:ext uri="{FF2B5EF4-FFF2-40B4-BE49-F238E27FC236}">
                    <a16:creationId xmlns:a16="http://schemas.microsoft.com/office/drawing/2014/main" id="{90CD6C64-FAB0-4573-838E-12E1FB29F75D}"/>
                  </a:ext>
                </a:extLst>
              </p:cNvPr>
              <p:cNvSpPr>
                <a:spLocks noChangeArrowheads="1"/>
              </p:cNvSpPr>
              <p:nvPr/>
            </p:nvSpPr>
            <p:spPr bwMode="auto">
              <a:xfrm>
                <a:off x="30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85" name="Oval 2691">
                <a:extLst>
                  <a:ext uri="{FF2B5EF4-FFF2-40B4-BE49-F238E27FC236}">
                    <a16:creationId xmlns:a16="http://schemas.microsoft.com/office/drawing/2014/main" id="{CA0180D3-8190-42AC-9E5B-186F56F80077}"/>
                  </a:ext>
                </a:extLst>
              </p:cNvPr>
              <p:cNvSpPr>
                <a:spLocks noChangeArrowheads="1"/>
              </p:cNvSpPr>
              <p:nvPr/>
            </p:nvSpPr>
            <p:spPr bwMode="auto">
              <a:xfrm>
                <a:off x="316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86" name="Oval 2692">
                <a:extLst>
                  <a:ext uri="{FF2B5EF4-FFF2-40B4-BE49-F238E27FC236}">
                    <a16:creationId xmlns:a16="http://schemas.microsoft.com/office/drawing/2014/main" id="{6204D7E6-0952-46B2-ACC8-C67FD58B131F}"/>
                  </a:ext>
                </a:extLst>
              </p:cNvPr>
              <p:cNvSpPr>
                <a:spLocks noChangeArrowheads="1"/>
              </p:cNvSpPr>
              <p:nvPr/>
            </p:nvSpPr>
            <p:spPr bwMode="auto">
              <a:xfrm>
                <a:off x="334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87" name="Oval 2693">
                <a:extLst>
                  <a:ext uri="{FF2B5EF4-FFF2-40B4-BE49-F238E27FC236}">
                    <a16:creationId xmlns:a16="http://schemas.microsoft.com/office/drawing/2014/main" id="{1349F0B4-4DBF-43AC-BDCF-0FB2395C15A9}"/>
                  </a:ext>
                </a:extLst>
              </p:cNvPr>
              <p:cNvSpPr>
                <a:spLocks noChangeArrowheads="1"/>
              </p:cNvSpPr>
              <p:nvPr/>
            </p:nvSpPr>
            <p:spPr bwMode="auto">
              <a:xfrm>
                <a:off x="31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88" name="Oval 2694">
                <a:extLst>
                  <a:ext uri="{FF2B5EF4-FFF2-40B4-BE49-F238E27FC236}">
                    <a16:creationId xmlns:a16="http://schemas.microsoft.com/office/drawing/2014/main" id="{16995F67-F4EB-43F3-A91B-909407B2E41A}"/>
                  </a:ext>
                </a:extLst>
              </p:cNvPr>
              <p:cNvSpPr>
                <a:spLocks noChangeArrowheads="1"/>
              </p:cNvSpPr>
              <p:nvPr/>
            </p:nvSpPr>
            <p:spPr bwMode="auto">
              <a:xfrm>
                <a:off x="307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89" name="Oval 2695">
                <a:extLst>
                  <a:ext uri="{FF2B5EF4-FFF2-40B4-BE49-F238E27FC236}">
                    <a16:creationId xmlns:a16="http://schemas.microsoft.com/office/drawing/2014/main" id="{F9C1EE07-1A36-4918-AD5C-CD1ED9AD07E1}"/>
                  </a:ext>
                </a:extLst>
              </p:cNvPr>
              <p:cNvSpPr>
                <a:spLocks noChangeArrowheads="1"/>
              </p:cNvSpPr>
              <p:nvPr/>
            </p:nvSpPr>
            <p:spPr bwMode="auto">
              <a:xfrm>
                <a:off x="30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90" name="Oval 2696">
                <a:extLst>
                  <a:ext uri="{FF2B5EF4-FFF2-40B4-BE49-F238E27FC236}">
                    <a16:creationId xmlns:a16="http://schemas.microsoft.com/office/drawing/2014/main" id="{A0BCEE79-A501-4DEE-B1F5-A6C8567D5980}"/>
                  </a:ext>
                </a:extLst>
              </p:cNvPr>
              <p:cNvSpPr>
                <a:spLocks noChangeArrowheads="1"/>
              </p:cNvSpPr>
              <p:nvPr/>
            </p:nvSpPr>
            <p:spPr bwMode="auto">
              <a:xfrm>
                <a:off x="292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91" name="Oval 2697">
                <a:extLst>
                  <a:ext uri="{FF2B5EF4-FFF2-40B4-BE49-F238E27FC236}">
                    <a16:creationId xmlns:a16="http://schemas.microsoft.com/office/drawing/2014/main" id="{66C54FF4-DB19-4ED4-B8AD-15DDCADE9447}"/>
                  </a:ext>
                </a:extLst>
              </p:cNvPr>
              <p:cNvSpPr>
                <a:spLocks noChangeArrowheads="1"/>
              </p:cNvSpPr>
              <p:nvPr/>
            </p:nvSpPr>
            <p:spPr bwMode="auto">
              <a:xfrm>
                <a:off x="298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92" name="Oval 2698">
                <a:extLst>
                  <a:ext uri="{FF2B5EF4-FFF2-40B4-BE49-F238E27FC236}">
                    <a16:creationId xmlns:a16="http://schemas.microsoft.com/office/drawing/2014/main" id="{18C131B1-86D9-45B5-ABF1-1BC5FBDFBCB9}"/>
                  </a:ext>
                </a:extLst>
              </p:cNvPr>
              <p:cNvSpPr>
                <a:spLocks noChangeArrowheads="1"/>
              </p:cNvSpPr>
              <p:nvPr/>
            </p:nvSpPr>
            <p:spPr bwMode="auto">
              <a:xfrm>
                <a:off x="316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93" name="Oval 2699">
                <a:extLst>
                  <a:ext uri="{FF2B5EF4-FFF2-40B4-BE49-F238E27FC236}">
                    <a16:creationId xmlns:a16="http://schemas.microsoft.com/office/drawing/2014/main" id="{50CD7F28-6FBA-402D-B125-764996790A68}"/>
                  </a:ext>
                </a:extLst>
              </p:cNvPr>
              <p:cNvSpPr>
                <a:spLocks noChangeArrowheads="1"/>
              </p:cNvSpPr>
              <p:nvPr/>
            </p:nvSpPr>
            <p:spPr bwMode="auto">
              <a:xfrm>
                <a:off x="316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94" name="Oval 2700">
                <a:extLst>
                  <a:ext uri="{FF2B5EF4-FFF2-40B4-BE49-F238E27FC236}">
                    <a16:creationId xmlns:a16="http://schemas.microsoft.com/office/drawing/2014/main" id="{8B7DCC56-19CC-449A-9F92-5FD916534259}"/>
                  </a:ext>
                </a:extLst>
              </p:cNvPr>
              <p:cNvSpPr>
                <a:spLocks noChangeArrowheads="1"/>
              </p:cNvSpPr>
              <p:nvPr/>
            </p:nvSpPr>
            <p:spPr bwMode="auto">
              <a:xfrm>
                <a:off x="316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95" name="Oval 2701">
                <a:extLst>
                  <a:ext uri="{FF2B5EF4-FFF2-40B4-BE49-F238E27FC236}">
                    <a16:creationId xmlns:a16="http://schemas.microsoft.com/office/drawing/2014/main" id="{FA0EFABC-6AA7-45C9-9D59-720BFE47C960}"/>
                  </a:ext>
                </a:extLst>
              </p:cNvPr>
              <p:cNvSpPr>
                <a:spLocks noChangeArrowheads="1"/>
              </p:cNvSpPr>
              <p:nvPr/>
            </p:nvSpPr>
            <p:spPr bwMode="auto">
              <a:xfrm>
                <a:off x="316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96" name="Oval 2702">
                <a:extLst>
                  <a:ext uri="{FF2B5EF4-FFF2-40B4-BE49-F238E27FC236}">
                    <a16:creationId xmlns:a16="http://schemas.microsoft.com/office/drawing/2014/main" id="{8CCA3D95-3547-4852-A5C8-A3B3F23A3A52}"/>
                  </a:ext>
                </a:extLst>
              </p:cNvPr>
              <p:cNvSpPr>
                <a:spLocks noChangeArrowheads="1"/>
              </p:cNvSpPr>
              <p:nvPr/>
            </p:nvSpPr>
            <p:spPr bwMode="auto">
              <a:xfrm>
                <a:off x="29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97" name="Oval 2703">
                <a:extLst>
                  <a:ext uri="{FF2B5EF4-FFF2-40B4-BE49-F238E27FC236}">
                    <a16:creationId xmlns:a16="http://schemas.microsoft.com/office/drawing/2014/main" id="{F72B4BBB-F82F-473A-B854-8B71B24AAEDC}"/>
                  </a:ext>
                </a:extLst>
              </p:cNvPr>
              <p:cNvSpPr>
                <a:spLocks noChangeArrowheads="1"/>
              </p:cNvSpPr>
              <p:nvPr/>
            </p:nvSpPr>
            <p:spPr bwMode="auto">
              <a:xfrm>
                <a:off x="289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98" name="Oval 2704">
                <a:extLst>
                  <a:ext uri="{FF2B5EF4-FFF2-40B4-BE49-F238E27FC236}">
                    <a16:creationId xmlns:a16="http://schemas.microsoft.com/office/drawing/2014/main" id="{216E9EE8-1ACA-4EC6-926E-5011DB98C1CE}"/>
                  </a:ext>
                </a:extLst>
              </p:cNvPr>
              <p:cNvSpPr>
                <a:spLocks noChangeArrowheads="1"/>
              </p:cNvSpPr>
              <p:nvPr/>
            </p:nvSpPr>
            <p:spPr bwMode="auto">
              <a:xfrm>
                <a:off x="289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99" name="Oval 2705">
                <a:extLst>
                  <a:ext uri="{FF2B5EF4-FFF2-40B4-BE49-F238E27FC236}">
                    <a16:creationId xmlns:a16="http://schemas.microsoft.com/office/drawing/2014/main" id="{862288A8-0962-4871-A77B-CE553350AC85}"/>
                  </a:ext>
                </a:extLst>
              </p:cNvPr>
              <p:cNvSpPr>
                <a:spLocks noChangeArrowheads="1"/>
              </p:cNvSpPr>
              <p:nvPr/>
            </p:nvSpPr>
            <p:spPr bwMode="auto">
              <a:xfrm>
                <a:off x="289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00" name="Oval 2706">
                <a:extLst>
                  <a:ext uri="{FF2B5EF4-FFF2-40B4-BE49-F238E27FC236}">
                    <a16:creationId xmlns:a16="http://schemas.microsoft.com/office/drawing/2014/main" id="{C2C9FB45-5565-40F0-8FB3-E4D7712BAA00}"/>
                  </a:ext>
                </a:extLst>
              </p:cNvPr>
              <p:cNvSpPr>
                <a:spLocks noChangeArrowheads="1"/>
              </p:cNvSpPr>
              <p:nvPr/>
            </p:nvSpPr>
            <p:spPr bwMode="auto">
              <a:xfrm>
                <a:off x="277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01" name="Oval 2707">
                <a:extLst>
                  <a:ext uri="{FF2B5EF4-FFF2-40B4-BE49-F238E27FC236}">
                    <a16:creationId xmlns:a16="http://schemas.microsoft.com/office/drawing/2014/main" id="{457413A8-FDFC-4B89-A23C-4C22199C91CD}"/>
                  </a:ext>
                </a:extLst>
              </p:cNvPr>
              <p:cNvSpPr>
                <a:spLocks noChangeArrowheads="1"/>
              </p:cNvSpPr>
              <p:nvPr/>
            </p:nvSpPr>
            <p:spPr bwMode="auto">
              <a:xfrm>
                <a:off x="2805"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02" name="Oval 2708">
                <a:extLst>
                  <a:ext uri="{FF2B5EF4-FFF2-40B4-BE49-F238E27FC236}">
                    <a16:creationId xmlns:a16="http://schemas.microsoft.com/office/drawing/2014/main" id="{A8B74876-A356-416D-B8AE-E8B58BFF5A89}"/>
                  </a:ext>
                </a:extLst>
              </p:cNvPr>
              <p:cNvSpPr>
                <a:spLocks noChangeArrowheads="1"/>
              </p:cNvSpPr>
              <p:nvPr/>
            </p:nvSpPr>
            <p:spPr bwMode="auto">
              <a:xfrm>
                <a:off x="286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03" name="Oval 2709">
                <a:extLst>
                  <a:ext uri="{FF2B5EF4-FFF2-40B4-BE49-F238E27FC236}">
                    <a16:creationId xmlns:a16="http://schemas.microsoft.com/office/drawing/2014/main" id="{B401AE06-C0D8-4251-9878-04269BA0FC04}"/>
                  </a:ext>
                </a:extLst>
              </p:cNvPr>
              <p:cNvSpPr>
                <a:spLocks noChangeArrowheads="1"/>
              </p:cNvSpPr>
              <p:nvPr/>
            </p:nvSpPr>
            <p:spPr bwMode="auto">
              <a:xfrm>
                <a:off x="2775"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04" name="Oval 2710">
                <a:extLst>
                  <a:ext uri="{FF2B5EF4-FFF2-40B4-BE49-F238E27FC236}">
                    <a16:creationId xmlns:a16="http://schemas.microsoft.com/office/drawing/2014/main" id="{CB75164F-3150-4748-BF5F-B4FF25D3C931}"/>
                  </a:ext>
                </a:extLst>
              </p:cNvPr>
              <p:cNvSpPr>
                <a:spLocks noChangeArrowheads="1"/>
              </p:cNvSpPr>
              <p:nvPr/>
            </p:nvSpPr>
            <p:spPr bwMode="auto">
              <a:xfrm>
                <a:off x="283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05" name="Oval 2711">
                <a:extLst>
                  <a:ext uri="{FF2B5EF4-FFF2-40B4-BE49-F238E27FC236}">
                    <a16:creationId xmlns:a16="http://schemas.microsoft.com/office/drawing/2014/main" id="{10F3722A-440A-45AA-B54B-F8B8D642020F}"/>
                  </a:ext>
                </a:extLst>
              </p:cNvPr>
              <p:cNvSpPr>
                <a:spLocks noChangeArrowheads="1"/>
              </p:cNvSpPr>
              <p:nvPr/>
            </p:nvSpPr>
            <p:spPr bwMode="auto">
              <a:xfrm>
                <a:off x="286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06" name="Oval 2712">
                <a:extLst>
                  <a:ext uri="{FF2B5EF4-FFF2-40B4-BE49-F238E27FC236}">
                    <a16:creationId xmlns:a16="http://schemas.microsoft.com/office/drawing/2014/main" id="{9BE75F09-F5A7-47C6-B280-93628C0748F4}"/>
                  </a:ext>
                </a:extLst>
              </p:cNvPr>
              <p:cNvSpPr>
                <a:spLocks noChangeArrowheads="1"/>
              </p:cNvSpPr>
              <p:nvPr/>
            </p:nvSpPr>
            <p:spPr bwMode="auto">
              <a:xfrm>
                <a:off x="2775"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07" name="Oval 2713">
                <a:extLst>
                  <a:ext uri="{FF2B5EF4-FFF2-40B4-BE49-F238E27FC236}">
                    <a16:creationId xmlns:a16="http://schemas.microsoft.com/office/drawing/2014/main" id="{7B06CCB1-1162-41C2-82D2-AFCBC44C4C6E}"/>
                  </a:ext>
                </a:extLst>
              </p:cNvPr>
              <p:cNvSpPr>
                <a:spLocks noChangeArrowheads="1"/>
              </p:cNvSpPr>
              <p:nvPr/>
            </p:nvSpPr>
            <p:spPr bwMode="auto">
              <a:xfrm>
                <a:off x="25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08" name="Oval 2714">
                <a:extLst>
                  <a:ext uri="{FF2B5EF4-FFF2-40B4-BE49-F238E27FC236}">
                    <a16:creationId xmlns:a16="http://schemas.microsoft.com/office/drawing/2014/main" id="{F089EA5B-0CB1-40CD-A1E2-9F13ED2CE170}"/>
                  </a:ext>
                </a:extLst>
              </p:cNvPr>
              <p:cNvSpPr>
                <a:spLocks noChangeArrowheads="1"/>
              </p:cNvSpPr>
              <p:nvPr/>
            </p:nvSpPr>
            <p:spPr bwMode="auto">
              <a:xfrm>
                <a:off x="256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09" name="Oval 2715">
                <a:extLst>
                  <a:ext uri="{FF2B5EF4-FFF2-40B4-BE49-F238E27FC236}">
                    <a16:creationId xmlns:a16="http://schemas.microsoft.com/office/drawing/2014/main" id="{E13C454A-CCA4-4A4E-8368-E17BD8471013}"/>
                  </a:ext>
                </a:extLst>
              </p:cNvPr>
              <p:cNvSpPr>
                <a:spLocks noChangeArrowheads="1"/>
              </p:cNvSpPr>
              <p:nvPr/>
            </p:nvSpPr>
            <p:spPr bwMode="auto">
              <a:xfrm>
                <a:off x="259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10" name="Oval 2716">
                <a:extLst>
                  <a:ext uri="{FF2B5EF4-FFF2-40B4-BE49-F238E27FC236}">
                    <a16:creationId xmlns:a16="http://schemas.microsoft.com/office/drawing/2014/main" id="{E9F4ECDE-782E-4F0B-9A36-1941C8233592}"/>
                  </a:ext>
                </a:extLst>
              </p:cNvPr>
              <p:cNvSpPr>
                <a:spLocks noChangeArrowheads="1"/>
              </p:cNvSpPr>
              <p:nvPr/>
            </p:nvSpPr>
            <p:spPr bwMode="auto">
              <a:xfrm>
                <a:off x="244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11" name="Oval 2717">
                <a:extLst>
                  <a:ext uri="{FF2B5EF4-FFF2-40B4-BE49-F238E27FC236}">
                    <a16:creationId xmlns:a16="http://schemas.microsoft.com/office/drawing/2014/main" id="{C581297F-99F7-4888-813B-D3F54CC73BB4}"/>
                  </a:ext>
                </a:extLst>
              </p:cNvPr>
              <p:cNvSpPr>
                <a:spLocks noChangeArrowheads="1"/>
              </p:cNvSpPr>
              <p:nvPr/>
            </p:nvSpPr>
            <p:spPr bwMode="auto">
              <a:xfrm>
                <a:off x="24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12" name="Oval 2718">
                <a:extLst>
                  <a:ext uri="{FF2B5EF4-FFF2-40B4-BE49-F238E27FC236}">
                    <a16:creationId xmlns:a16="http://schemas.microsoft.com/office/drawing/2014/main" id="{ABD68DDB-D749-4D32-9A5E-6AF41CD69F16}"/>
                  </a:ext>
                </a:extLst>
              </p:cNvPr>
              <p:cNvSpPr>
                <a:spLocks noChangeArrowheads="1"/>
              </p:cNvSpPr>
              <p:nvPr/>
            </p:nvSpPr>
            <p:spPr bwMode="auto">
              <a:xfrm>
                <a:off x="247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13" name="Oval 2719">
                <a:extLst>
                  <a:ext uri="{FF2B5EF4-FFF2-40B4-BE49-F238E27FC236}">
                    <a16:creationId xmlns:a16="http://schemas.microsoft.com/office/drawing/2014/main" id="{0564950A-B5C7-49E8-9649-9A787ECE776C}"/>
                  </a:ext>
                </a:extLst>
              </p:cNvPr>
              <p:cNvSpPr>
                <a:spLocks noChangeArrowheads="1"/>
              </p:cNvSpPr>
              <p:nvPr/>
            </p:nvSpPr>
            <p:spPr bwMode="auto">
              <a:xfrm>
                <a:off x="2475"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14" name="Oval 2720">
                <a:extLst>
                  <a:ext uri="{FF2B5EF4-FFF2-40B4-BE49-F238E27FC236}">
                    <a16:creationId xmlns:a16="http://schemas.microsoft.com/office/drawing/2014/main" id="{1CC759AC-9071-463F-9B45-DB20B1F4CB6E}"/>
                  </a:ext>
                </a:extLst>
              </p:cNvPr>
              <p:cNvSpPr>
                <a:spLocks noChangeArrowheads="1"/>
              </p:cNvSpPr>
              <p:nvPr/>
            </p:nvSpPr>
            <p:spPr bwMode="auto">
              <a:xfrm>
                <a:off x="286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15" name="Oval 2721">
                <a:extLst>
                  <a:ext uri="{FF2B5EF4-FFF2-40B4-BE49-F238E27FC236}">
                    <a16:creationId xmlns:a16="http://schemas.microsoft.com/office/drawing/2014/main" id="{A57DAFDE-95E6-433E-BDE7-1C8CED9E4EFC}"/>
                  </a:ext>
                </a:extLst>
              </p:cNvPr>
              <p:cNvSpPr>
                <a:spLocks noChangeArrowheads="1"/>
              </p:cNvSpPr>
              <p:nvPr/>
            </p:nvSpPr>
            <p:spPr bwMode="auto">
              <a:xfrm>
                <a:off x="268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16" name="Oval 2722">
                <a:extLst>
                  <a:ext uri="{FF2B5EF4-FFF2-40B4-BE49-F238E27FC236}">
                    <a16:creationId xmlns:a16="http://schemas.microsoft.com/office/drawing/2014/main" id="{0E6DC3C1-5BE7-4551-A71C-B4037DD20C61}"/>
                  </a:ext>
                </a:extLst>
              </p:cNvPr>
              <p:cNvSpPr>
                <a:spLocks noChangeArrowheads="1"/>
              </p:cNvSpPr>
              <p:nvPr/>
            </p:nvSpPr>
            <p:spPr bwMode="auto">
              <a:xfrm>
                <a:off x="235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17" name="Oval 2723">
                <a:extLst>
                  <a:ext uri="{FF2B5EF4-FFF2-40B4-BE49-F238E27FC236}">
                    <a16:creationId xmlns:a16="http://schemas.microsoft.com/office/drawing/2014/main" id="{414E664D-9CB8-4EFC-965F-099B7401FE55}"/>
                  </a:ext>
                </a:extLst>
              </p:cNvPr>
              <p:cNvSpPr>
                <a:spLocks noChangeArrowheads="1"/>
              </p:cNvSpPr>
              <p:nvPr/>
            </p:nvSpPr>
            <p:spPr bwMode="auto">
              <a:xfrm>
                <a:off x="235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18" name="Oval 2724">
                <a:extLst>
                  <a:ext uri="{FF2B5EF4-FFF2-40B4-BE49-F238E27FC236}">
                    <a16:creationId xmlns:a16="http://schemas.microsoft.com/office/drawing/2014/main" id="{BB4B333C-0F5A-4097-9660-CAE6144826E4}"/>
                  </a:ext>
                </a:extLst>
              </p:cNvPr>
              <p:cNvSpPr>
                <a:spLocks noChangeArrowheads="1"/>
              </p:cNvSpPr>
              <p:nvPr/>
            </p:nvSpPr>
            <p:spPr bwMode="auto">
              <a:xfrm>
                <a:off x="25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19" name="Oval 2725">
                <a:extLst>
                  <a:ext uri="{FF2B5EF4-FFF2-40B4-BE49-F238E27FC236}">
                    <a16:creationId xmlns:a16="http://schemas.microsoft.com/office/drawing/2014/main" id="{08539EAB-B509-4D19-9F3E-38F96EB87B9F}"/>
                  </a:ext>
                </a:extLst>
              </p:cNvPr>
              <p:cNvSpPr>
                <a:spLocks noChangeArrowheads="1"/>
              </p:cNvSpPr>
              <p:nvPr/>
            </p:nvSpPr>
            <p:spPr bwMode="auto">
              <a:xfrm>
                <a:off x="259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20" name="Oval 2726">
                <a:extLst>
                  <a:ext uri="{FF2B5EF4-FFF2-40B4-BE49-F238E27FC236}">
                    <a16:creationId xmlns:a16="http://schemas.microsoft.com/office/drawing/2014/main" id="{4AC90C2F-09B2-4850-BF15-F876880F3646}"/>
                  </a:ext>
                </a:extLst>
              </p:cNvPr>
              <p:cNvSpPr>
                <a:spLocks noChangeArrowheads="1"/>
              </p:cNvSpPr>
              <p:nvPr/>
            </p:nvSpPr>
            <p:spPr bwMode="auto">
              <a:xfrm>
                <a:off x="25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21" name="Oval 2727">
                <a:extLst>
                  <a:ext uri="{FF2B5EF4-FFF2-40B4-BE49-F238E27FC236}">
                    <a16:creationId xmlns:a16="http://schemas.microsoft.com/office/drawing/2014/main" id="{423BB707-1F5E-4B49-BB16-96986B8A7DEE}"/>
                  </a:ext>
                </a:extLst>
              </p:cNvPr>
              <p:cNvSpPr>
                <a:spLocks noChangeArrowheads="1"/>
              </p:cNvSpPr>
              <p:nvPr/>
            </p:nvSpPr>
            <p:spPr bwMode="auto">
              <a:xfrm>
                <a:off x="256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22" name="Oval 2728">
                <a:extLst>
                  <a:ext uri="{FF2B5EF4-FFF2-40B4-BE49-F238E27FC236}">
                    <a16:creationId xmlns:a16="http://schemas.microsoft.com/office/drawing/2014/main" id="{6F9BDEDE-53B5-4D5B-B4FB-0E4975A5F830}"/>
                  </a:ext>
                </a:extLst>
              </p:cNvPr>
              <p:cNvSpPr>
                <a:spLocks noChangeArrowheads="1"/>
              </p:cNvSpPr>
              <p:nvPr/>
            </p:nvSpPr>
            <p:spPr bwMode="auto">
              <a:xfrm>
                <a:off x="247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23" name="Oval 2729">
                <a:extLst>
                  <a:ext uri="{FF2B5EF4-FFF2-40B4-BE49-F238E27FC236}">
                    <a16:creationId xmlns:a16="http://schemas.microsoft.com/office/drawing/2014/main" id="{F9A19108-54FB-46DF-97B9-15D41A3CB38F}"/>
                  </a:ext>
                </a:extLst>
              </p:cNvPr>
              <p:cNvSpPr>
                <a:spLocks noChangeArrowheads="1"/>
              </p:cNvSpPr>
              <p:nvPr/>
            </p:nvSpPr>
            <p:spPr bwMode="auto">
              <a:xfrm>
                <a:off x="235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24" name="Oval 2730">
                <a:extLst>
                  <a:ext uri="{FF2B5EF4-FFF2-40B4-BE49-F238E27FC236}">
                    <a16:creationId xmlns:a16="http://schemas.microsoft.com/office/drawing/2014/main" id="{F4B59F6F-4600-4F94-AEFB-AA3590CDA445}"/>
                  </a:ext>
                </a:extLst>
              </p:cNvPr>
              <p:cNvSpPr>
                <a:spLocks noChangeArrowheads="1"/>
              </p:cNvSpPr>
              <p:nvPr/>
            </p:nvSpPr>
            <p:spPr bwMode="auto">
              <a:xfrm>
                <a:off x="229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25" name="Oval 2731">
                <a:extLst>
                  <a:ext uri="{FF2B5EF4-FFF2-40B4-BE49-F238E27FC236}">
                    <a16:creationId xmlns:a16="http://schemas.microsoft.com/office/drawing/2014/main" id="{8D7A4FB3-E3FB-4CF8-8C1E-D13F094845FA}"/>
                  </a:ext>
                </a:extLst>
              </p:cNvPr>
              <p:cNvSpPr>
                <a:spLocks noChangeArrowheads="1"/>
              </p:cNvSpPr>
              <p:nvPr/>
            </p:nvSpPr>
            <p:spPr bwMode="auto">
              <a:xfrm>
                <a:off x="226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26" name="Oval 2732">
                <a:extLst>
                  <a:ext uri="{FF2B5EF4-FFF2-40B4-BE49-F238E27FC236}">
                    <a16:creationId xmlns:a16="http://schemas.microsoft.com/office/drawing/2014/main" id="{19513192-6F1E-491C-8E21-3F0084FA484E}"/>
                  </a:ext>
                </a:extLst>
              </p:cNvPr>
              <p:cNvSpPr>
                <a:spLocks noChangeArrowheads="1"/>
              </p:cNvSpPr>
              <p:nvPr/>
            </p:nvSpPr>
            <p:spPr bwMode="auto">
              <a:xfrm>
                <a:off x="229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27" name="Oval 2733">
                <a:extLst>
                  <a:ext uri="{FF2B5EF4-FFF2-40B4-BE49-F238E27FC236}">
                    <a16:creationId xmlns:a16="http://schemas.microsoft.com/office/drawing/2014/main" id="{E071C4A4-C5E8-478C-B7B6-A25D53D98DFC}"/>
                  </a:ext>
                </a:extLst>
              </p:cNvPr>
              <p:cNvSpPr>
                <a:spLocks noChangeArrowheads="1"/>
              </p:cNvSpPr>
              <p:nvPr/>
            </p:nvSpPr>
            <p:spPr bwMode="auto">
              <a:xfrm>
                <a:off x="235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28" name="Oval 2734">
                <a:extLst>
                  <a:ext uri="{FF2B5EF4-FFF2-40B4-BE49-F238E27FC236}">
                    <a16:creationId xmlns:a16="http://schemas.microsoft.com/office/drawing/2014/main" id="{C5F029B8-0D49-49C8-A0E6-D485BD1A5AD4}"/>
                  </a:ext>
                </a:extLst>
              </p:cNvPr>
              <p:cNvSpPr>
                <a:spLocks noChangeArrowheads="1"/>
              </p:cNvSpPr>
              <p:nvPr/>
            </p:nvSpPr>
            <p:spPr bwMode="auto">
              <a:xfrm>
                <a:off x="244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29" name="Oval 2735">
                <a:extLst>
                  <a:ext uri="{FF2B5EF4-FFF2-40B4-BE49-F238E27FC236}">
                    <a16:creationId xmlns:a16="http://schemas.microsoft.com/office/drawing/2014/main" id="{9C51EFAE-BB37-4E94-804A-9F766044131B}"/>
                  </a:ext>
                </a:extLst>
              </p:cNvPr>
              <p:cNvSpPr>
                <a:spLocks noChangeArrowheads="1"/>
              </p:cNvSpPr>
              <p:nvPr/>
            </p:nvSpPr>
            <p:spPr bwMode="auto">
              <a:xfrm>
                <a:off x="268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30" name="Oval 2736">
                <a:extLst>
                  <a:ext uri="{FF2B5EF4-FFF2-40B4-BE49-F238E27FC236}">
                    <a16:creationId xmlns:a16="http://schemas.microsoft.com/office/drawing/2014/main" id="{43FDCB73-9CAF-4128-8F73-5477F96F9721}"/>
                  </a:ext>
                </a:extLst>
              </p:cNvPr>
              <p:cNvSpPr>
                <a:spLocks noChangeArrowheads="1"/>
              </p:cNvSpPr>
              <p:nvPr/>
            </p:nvSpPr>
            <p:spPr bwMode="auto">
              <a:xfrm>
                <a:off x="253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31" name="Oval 2737">
                <a:extLst>
                  <a:ext uri="{FF2B5EF4-FFF2-40B4-BE49-F238E27FC236}">
                    <a16:creationId xmlns:a16="http://schemas.microsoft.com/office/drawing/2014/main" id="{A6B69D8C-7744-4696-95EE-02BB64213A8C}"/>
                  </a:ext>
                </a:extLst>
              </p:cNvPr>
              <p:cNvSpPr>
                <a:spLocks noChangeArrowheads="1"/>
              </p:cNvSpPr>
              <p:nvPr/>
            </p:nvSpPr>
            <p:spPr bwMode="auto">
              <a:xfrm>
                <a:off x="25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32" name="Oval 2738">
                <a:extLst>
                  <a:ext uri="{FF2B5EF4-FFF2-40B4-BE49-F238E27FC236}">
                    <a16:creationId xmlns:a16="http://schemas.microsoft.com/office/drawing/2014/main" id="{EE66F44C-26E2-4666-A04D-CA5A766D20BC}"/>
                  </a:ext>
                </a:extLst>
              </p:cNvPr>
              <p:cNvSpPr>
                <a:spLocks noChangeArrowheads="1"/>
              </p:cNvSpPr>
              <p:nvPr/>
            </p:nvSpPr>
            <p:spPr bwMode="auto">
              <a:xfrm>
                <a:off x="247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33" name="Oval 2739">
                <a:extLst>
                  <a:ext uri="{FF2B5EF4-FFF2-40B4-BE49-F238E27FC236}">
                    <a16:creationId xmlns:a16="http://schemas.microsoft.com/office/drawing/2014/main" id="{D352888D-BA15-4442-BA4E-C24B0B5E7AC1}"/>
                  </a:ext>
                </a:extLst>
              </p:cNvPr>
              <p:cNvSpPr>
                <a:spLocks noChangeArrowheads="1"/>
              </p:cNvSpPr>
              <p:nvPr/>
            </p:nvSpPr>
            <p:spPr bwMode="auto">
              <a:xfrm>
                <a:off x="250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34" name="Oval 2740">
                <a:extLst>
                  <a:ext uri="{FF2B5EF4-FFF2-40B4-BE49-F238E27FC236}">
                    <a16:creationId xmlns:a16="http://schemas.microsoft.com/office/drawing/2014/main" id="{A90D1BD7-8297-427C-879B-1B1C2CD4A5D8}"/>
                  </a:ext>
                </a:extLst>
              </p:cNvPr>
              <p:cNvSpPr>
                <a:spLocks noChangeArrowheads="1"/>
              </p:cNvSpPr>
              <p:nvPr/>
            </p:nvSpPr>
            <p:spPr bwMode="auto">
              <a:xfrm>
                <a:off x="232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35" name="Oval 2741">
                <a:extLst>
                  <a:ext uri="{FF2B5EF4-FFF2-40B4-BE49-F238E27FC236}">
                    <a16:creationId xmlns:a16="http://schemas.microsoft.com/office/drawing/2014/main" id="{084A4494-8EE9-4F8F-AE0F-DE9C775E4338}"/>
                  </a:ext>
                </a:extLst>
              </p:cNvPr>
              <p:cNvSpPr>
                <a:spLocks noChangeArrowheads="1"/>
              </p:cNvSpPr>
              <p:nvPr/>
            </p:nvSpPr>
            <p:spPr bwMode="auto">
              <a:xfrm>
                <a:off x="232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36" name="Oval 2742">
                <a:extLst>
                  <a:ext uri="{FF2B5EF4-FFF2-40B4-BE49-F238E27FC236}">
                    <a16:creationId xmlns:a16="http://schemas.microsoft.com/office/drawing/2014/main" id="{0F66853F-57E2-4169-A08E-FFF8507DCC61}"/>
                  </a:ext>
                </a:extLst>
              </p:cNvPr>
              <p:cNvSpPr>
                <a:spLocks noChangeArrowheads="1"/>
              </p:cNvSpPr>
              <p:nvPr/>
            </p:nvSpPr>
            <p:spPr bwMode="auto">
              <a:xfrm>
                <a:off x="220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37" name="Oval 2743">
                <a:extLst>
                  <a:ext uri="{FF2B5EF4-FFF2-40B4-BE49-F238E27FC236}">
                    <a16:creationId xmlns:a16="http://schemas.microsoft.com/office/drawing/2014/main" id="{583FDBDF-689A-4F22-B73D-7687DB0C5C47}"/>
                  </a:ext>
                </a:extLst>
              </p:cNvPr>
              <p:cNvSpPr>
                <a:spLocks noChangeArrowheads="1"/>
              </p:cNvSpPr>
              <p:nvPr/>
            </p:nvSpPr>
            <p:spPr bwMode="auto">
              <a:xfrm>
                <a:off x="220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38" name="Oval 2744">
                <a:extLst>
                  <a:ext uri="{FF2B5EF4-FFF2-40B4-BE49-F238E27FC236}">
                    <a16:creationId xmlns:a16="http://schemas.microsoft.com/office/drawing/2014/main" id="{F3D0A5E8-1575-4BD6-B43C-9740FFACE2A9}"/>
                  </a:ext>
                </a:extLst>
              </p:cNvPr>
              <p:cNvSpPr>
                <a:spLocks noChangeArrowheads="1"/>
              </p:cNvSpPr>
              <p:nvPr/>
            </p:nvSpPr>
            <p:spPr bwMode="auto">
              <a:xfrm>
                <a:off x="20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39" name="Oval 2745">
                <a:extLst>
                  <a:ext uri="{FF2B5EF4-FFF2-40B4-BE49-F238E27FC236}">
                    <a16:creationId xmlns:a16="http://schemas.microsoft.com/office/drawing/2014/main" id="{83EA92F8-5AA0-4956-88BA-3959503577D9}"/>
                  </a:ext>
                </a:extLst>
              </p:cNvPr>
              <p:cNvSpPr>
                <a:spLocks noChangeArrowheads="1"/>
              </p:cNvSpPr>
              <p:nvPr/>
            </p:nvSpPr>
            <p:spPr bwMode="auto">
              <a:xfrm>
                <a:off x="2086" y="9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40" name="Oval 2746">
                <a:extLst>
                  <a:ext uri="{FF2B5EF4-FFF2-40B4-BE49-F238E27FC236}">
                    <a16:creationId xmlns:a16="http://schemas.microsoft.com/office/drawing/2014/main" id="{810A59B8-36BB-4E9E-94E1-0A68B22DF433}"/>
                  </a:ext>
                </a:extLst>
              </p:cNvPr>
              <p:cNvSpPr>
                <a:spLocks noChangeArrowheads="1"/>
              </p:cNvSpPr>
              <p:nvPr/>
            </p:nvSpPr>
            <p:spPr bwMode="auto">
              <a:xfrm>
                <a:off x="1936"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41" name="Oval 2747">
                <a:extLst>
                  <a:ext uri="{FF2B5EF4-FFF2-40B4-BE49-F238E27FC236}">
                    <a16:creationId xmlns:a16="http://schemas.microsoft.com/office/drawing/2014/main" id="{27FA2064-0217-4564-BEF1-4B99914FC641}"/>
                  </a:ext>
                </a:extLst>
              </p:cNvPr>
              <p:cNvSpPr>
                <a:spLocks noChangeArrowheads="1"/>
              </p:cNvSpPr>
              <p:nvPr/>
            </p:nvSpPr>
            <p:spPr bwMode="auto">
              <a:xfrm>
                <a:off x="1936"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42" name="Oval 2748">
                <a:extLst>
                  <a:ext uri="{FF2B5EF4-FFF2-40B4-BE49-F238E27FC236}">
                    <a16:creationId xmlns:a16="http://schemas.microsoft.com/office/drawing/2014/main" id="{B32EEE05-8DD0-4324-B196-FA603A7F853B}"/>
                  </a:ext>
                </a:extLst>
              </p:cNvPr>
              <p:cNvSpPr>
                <a:spLocks noChangeArrowheads="1"/>
              </p:cNvSpPr>
              <p:nvPr/>
            </p:nvSpPr>
            <p:spPr bwMode="auto">
              <a:xfrm>
                <a:off x="193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43" name="Oval 2749">
                <a:extLst>
                  <a:ext uri="{FF2B5EF4-FFF2-40B4-BE49-F238E27FC236}">
                    <a16:creationId xmlns:a16="http://schemas.microsoft.com/office/drawing/2014/main" id="{BBA62B90-54A4-4F6C-B4D7-F8754BE0DD34}"/>
                  </a:ext>
                </a:extLst>
              </p:cNvPr>
              <p:cNvSpPr>
                <a:spLocks noChangeArrowheads="1"/>
              </p:cNvSpPr>
              <p:nvPr/>
            </p:nvSpPr>
            <p:spPr bwMode="auto">
              <a:xfrm>
                <a:off x="1876"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44" name="Oval 2750">
                <a:extLst>
                  <a:ext uri="{FF2B5EF4-FFF2-40B4-BE49-F238E27FC236}">
                    <a16:creationId xmlns:a16="http://schemas.microsoft.com/office/drawing/2014/main" id="{FC47D657-A96E-4295-81B9-A77D90DEF61A}"/>
                  </a:ext>
                </a:extLst>
              </p:cNvPr>
              <p:cNvSpPr>
                <a:spLocks noChangeArrowheads="1"/>
              </p:cNvSpPr>
              <p:nvPr/>
            </p:nvSpPr>
            <p:spPr bwMode="auto">
              <a:xfrm>
                <a:off x="2056" y="4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45" name="Oval 2751">
                <a:extLst>
                  <a:ext uri="{FF2B5EF4-FFF2-40B4-BE49-F238E27FC236}">
                    <a16:creationId xmlns:a16="http://schemas.microsoft.com/office/drawing/2014/main" id="{1F598564-5E9D-4F68-B7D1-EE972BC543C4}"/>
                  </a:ext>
                </a:extLst>
              </p:cNvPr>
              <p:cNvSpPr>
                <a:spLocks noChangeArrowheads="1"/>
              </p:cNvSpPr>
              <p:nvPr/>
            </p:nvSpPr>
            <p:spPr bwMode="auto">
              <a:xfrm>
                <a:off x="2086" y="3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46" name="Oval 2752">
                <a:extLst>
                  <a:ext uri="{FF2B5EF4-FFF2-40B4-BE49-F238E27FC236}">
                    <a16:creationId xmlns:a16="http://schemas.microsoft.com/office/drawing/2014/main" id="{E778EBC0-37B0-4C2E-861D-7E6047A387E8}"/>
                  </a:ext>
                </a:extLst>
              </p:cNvPr>
              <p:cNvSpPr>
                <a:spLocks noChangeArrowheads="1"/>
              </p:cNvSpPr>
              <p:nvPr/>
            </p:nvSpPr>
            <p:spPr bwMode="auto">
              <a:xfrm>
                <a:off x="193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47" name="Oval 2753">
                <a:extLst>
                  <a:ext uri="{FF2B5EF4-FFF2-40B4-BE49-F238E27FC236}">
                    <a16:creationId xmlns:a16="http://schemas.microsoft.com/office/drawing/2014/main" id="{84760E69-82B1-45E5-9530-D7101C8B83BE}"/>
                  </a:ext>
                </a:extLst>
              </p:cNvPr>
              <p:cNvSpPr>
                <a:spLocks noChangeArrowheads="1"/>
              </p:cNvSpPr>
              <p:nvPr/>
            </p:nvSpPr>
            <p:spPr bwMode="auto">
              <a:xfrm>
                <a:off x="2026"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48" name="Oval 2754">
                <a:extLst>
                  <a:ext uri="{FF2B5EF4-FFF2-40B4-BE49-F238E27FC236}">
                    <a16:creationId xmlns:a16="http://schemas.microsoft.com/office/drawing/2014/main" id="{1232C3DE-8BC8-4A53-AC51-122BBC9E85F5}"/>
                  </a:ext>
                </a:extLst>
              </p:cNvPr>
              <p:cNvSpPr>
                <a:spLocks noChangeArrowheads="1"/>
              </p:cNvSpPr>
              <p:nvPr/>
            </p:nvSpPr>
            <p:spPr bwMode="auto">
              <a:xfrm>
                <a:off x="2086" y="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49" name="Oval 2755">
                <a:extLst>
                  <a:ext uri="{FF2B5EF4-FFF2-40B4-BE49-F238E27FC236}">
                    <a16:creationId xmlns:a16="http://schemas.microsoft.com/office/drawing/2014/main" id="{76DF2130-7D90-4FE9-9D56-2A6CC63A8CE7}"/>
                  </a:ext>
                </a:extLst>
              </p:cNvPr>
              <p:cNvSpPr>
                <a:spLocks noChangeArrowheads="1"/>
              </p:cNvSpPr>
              <p:nvPr/>
            </p:nvSpPr>
            <p:spPr bwMode="auto">
              <a:xfrm>
                <a:off x="193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50" name="Oval 2756">
                <a:extLst>
                  <a:ext uri="{FF2B5EF4-FFF2-40B4-BE49-F238E27FC236}">
                    <a16:creationId xmlns:a16="http://schemas.microsoft.com/office/drawing/2014/main" id="{10C1D165-BD0E-4FC3-8ADC-0898EFE0A4C8}"/>
                  </a:ext>
                </a:extLst>
              </p:cNvPr>
              <p:cNvSpPr>
                <a:spLocks noChangeArrowheads="1"/>
              </p:cNvSpPr>
              <p:nvPr/>
            </p:nvSpPr>
            <p:spPr bwMode="auto">
              <a:xfrm>
                <a:off x="172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51" name="Oval 2757">
                <a:extLst>
                  <a:ext uri="{FF2B5EF4-FFF2-40B4-BE49-F238E27FC236}">
                    <a16:creationId xmlns:a16="http://schemas.microsoft.com/office/drawing/2014/main" id="{0EDFF0D3-6335-4EF0-962A-AAF384249C3C}"/>
                  </a:ext>
                </a:extLst>
              </p:cNvPr>
              <p:cNvSpPr>
                <a:spLocks noChangeArrowheads="1"/>
              </p:cNvSpPr>
              <p:nvPr/>
            </p:nvSpPr>
            <p:spPr bwMode="auto">
              <a:xfrm>
                <a:off x="157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52" name="Oval 2758">
                <a:extLst>
                  <a:ext uri="{FF2B5EF4-FFF2-40B4-BE49-F238E27FC236}">
                    <a16:creationId xmlns:a16="http://schemas.microsoft.com/office/drawing/2014/main" id="{40E9CED2-E1EE-4996-8FA1-3CBDE12D52CC}"/>
                  </a:ext>
                </a:extLst>
              </p:cNvPr>
              <p:cNvSpPr>
                <a:spLocks noChangeArrowheads="1"/>
              </p:cNvSpPr>
              <p:nvPr/>
            </p:nvSpPr>
            <p:spPr bwMode="auto">
              <a:xfrm>
                <a:off x="154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53" name="Oval 2759">
                <a:extLst>
                  <a:ext uri="{FF2B5EF4-FFF2-40B4-BE49-F238E27FC236}">
                    <a16:creationId xmlns:a16="http://schemas.microsoft.com/office/drawing/2014/main" id="{7A3B8F91-B182-4BD0-BC19-4C580CB3DB8B}"/>
                  </a:ext>
                </a:extLst>
              </p:cNvPr>
              <p:cNvSpPr>
                <a:spLocks noChangeArrowheads="1"/>
              </p:cNvSpPr>
              <p:nvPr/>
            </p:nvSpPr>
            <p:spPr bwMode="auto">
              <a:xfrm>
                <a:off x="142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54" name="Oval 2760">
                <a:extLst>
                  <a:ext uri="{FF2B5EF4-FFF2-40B4-BE49-F238E27FC236}">
                    <a16:creationId xmlns:a16="http://schemas.microsoft.com/office/drawing/2014/main" id="{BFE7E4AC-D470-4623-AF57-240F0ADA12BF}"/>
                  </a:ext>
                </a:extLst>
              </p:cNvPr>
              <p:cNvSpPr>
                <a:spLocks noChangeArrowheads="1"/>
              </p:cNvSpPr>
              <p:nvPr/>
            </p:nvSpPr>
            <p:spPr bwMode="auto">
              <a:xfrm>
                <a:off x="130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55" name="Oval 2761">
                <a:extLst>
                  <a:ext uri="{FF2B5EF4-FFF2-40B4-BE49-F238E27FC236}">
                    <a16:creationId xmlns:a16="http://schemas.microsoft.com/office/drawing/2014/main" id="{B0D42680-ED91-40B3-A0CB-EB5855C073B2}"/>
                  </a:ext>
                </a:extLst>
              </p:cNvPr>
              <p:cNvSpPr>
                <a:spLocks noChangeArrowheads="1"/>
              </p:cNvSpPr>
              <p:nvPr/>
            </p:nvSpPr>
            <p:spPr bwMode="auto">
              <a:xfrm>
                <a:off x="1246"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56" name="Oval 2762">
                <a:extLst>
                  <a:ext uri="{FF2B5EF4-FFF2-40B4-BE49-F238E27FC236}">
                    <a16:creationId xmlns:a16="http://schemas.microsoft.com/office/drawing/2014/main" id="{B1202A08-4D98-45DA-ABC2-91E6E8C0BE59}"/>
                  </a:ext>
                </a:extLst>
              </p:cNvPr>
              <p:cNvSpPr>
                <a:spLocks noChangeArrowheads="1"/>
              </p:cNvSpPr>
              <p:nvPr/>
            </p:nvSpPr>
            <p:spPr bwMode="auto">
              <a:xfrm>
                <a:off x="139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57" name="Oval 2763">
                <a:extLst>
                  <a:ext uri="{FF2B5EF4-FFF2-40B4-BE49-F238E27FC236}">
                    <a16:creationId xmlns:a16="http://schemas.microsoft.com/office/drawing/2014/main" id="{6A651780-87A3-4A30-A211-00190484E13F}"/>
                  </a:ext>
                </a:extLst>
              </p:cNvPr>
              <p:cNvSpPr>
                <a:spLocks noChangeArrowheads="1"/>
              </p:cNvSpPr>
              <p:nvPr/>
            </p:nvSpPr>
            <p:spPr bwMode="auto">
              <a:xfrm>
                <a:off x="172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58" name="Oval 2764">
                <a:extLst>
                  <a:ext uri="{FF2B5EF4-FFF2-40B4-BE49-F238E27FC236}">
                    <a16:creationId xmlns:a16="http://schemas.microsoft.com/office/drawing/2014/main" id="{A447D4D5-9BDA-46EA-9650-DF4EEB5164AF}"/>
                  </a:ext>
                </a:extLst>
              </p:cNvPr>
              <p:cNvSpPr>
                <a:spLocks noChangeArrowheads="1"/>
              </p:cNvSpPr>
              <p:nvPr/>
            </p:nvSpPr>
            <p:spPr bwMode="auto">
              <a:xfrm>
                <a:off x="169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59" name="Oval 2765">
                <a:extLst>
                  <a:ext uri="{FF2B5EF4-FFF2-40B4-BE49-F238E27FC236}">
                    <a16:creationId xmlns:a16="http://schemas.microsoft.com/office/drawing/2014/main" id="{881D8EE6-7C2E-42D6-AE1B-ACD037BAE49E}"/>
                  </a:ext>
                </a:extLst>
              </p:cNvPr>
              <p:cNvSpPr>
                <a:spLocks noChangeArrowheads="1"/>
              </p:cNvSpPr>
              <p:nvPr/>
            </p:nvSpPr>
            <p:spPr bwMode="auto">
              <a:xfrm>
                <a:off x="1696"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60" name="Oval 2766">
                <a:extLst>
                  <a:ext uri="{FF2B5EF4-FFF2-40B4-BE49-F238E27FC236}">
                    <a16:creationId xmlns:a16="http://schemas.microsoft.com/office/drawing/2014/main" id="{1ED53F96-850C-464C-888D-089CB7D05258}"/>
                  </a:ext>
                </a:extLst>
              </p:cNvPr>
              <p:cNvSpPr>
                <a:spLocks noChangeArrowheads="1"/>
              </p:cNvSpPr>
              <p:nvPr/>
            </p:nvSpPr>
            <p:spPr bwMode="auto">
              <a:xfrm>
                <a:off x="151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61" name="Oval 2767">
                <a:extLst>
                  <a:ext uri="{FF2B5EF4-FFF2-40B4-BE49-F238E27FC236}">
                    <a16:creationId xmlns:a16="http://schemas.microsoft.com/office/drawing/2014/main" id="{1316EC31-7F37-4E9C-85CF-3E9BA7F34559}"/>
                  </a:ext>
                </a:extLst>
              </p:cNvPr>
              <p:cNvSpPr>
                <a:spLocks noChangeArrowheads="1"/>
              </p:cNvSpPr>
              <p:nvPr/>
            </p:nvSpPr>
            <p:spPr bwMode="auto">
              <a:xfrm>
                <a:off x="1576"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62" name="Oval 2768">
                <a:extLst>
                  <a:ext uri="{FF2B5EF4-FFF2-40B4-BE49-F238E27FC236}">
                    <a16:creationId xmlns:a16="http://schemas.microsoft.com/office/drawing/2014/main" id="{7F572435-6AE8-493D-B68E-86EDBBABA299}"/>
                  </a:ext>
                </a:extLst>
              </p:cNvPr>
              <p:cNvSpPr>
                <a:spLocks noChangeArrowheads="1"/>
              </p:cNvSpPr>
              <p:nvPr/>
            </p:nvSpPr>
            <p:spPr bwMode="auto">
              <a:xfrm>
                <a:off x="154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63" name="Oval 2769">
                <a:extLst>
                  <a:ext uri="{FF2B5EF4-FFF2-40B4-BE49-F238E27FC236}">
                    <a16:creationId xmlns:a16="http://schemas.microsoft.com/office/drawing/2014/main" id="{CAA89C8D-3487-4146-80E3-507B282A06DD}"/>
                  </a:ext>
                </a:extLst>
              </p:cNvPr>
              <p:cNvSpPr>
                <a:spLocks noChangeArrowheads="1"/>
              </p:cNvSpPr>
              <p:nvPr/>
            </p:nvSpPr>
            <p:spPr bwMode="auto">
              <a:xfrm>
                <a:off x="163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64" name="Oval 2770">
                <a:extLst>
                  <a:ext uri="{FF2B5EF4-FFF2-40B4-BE49-F238E27FC236}">
                    <a16:creationId xmlns:a16="http://schemas.microsoft.com/office/drawing/2014/main" id="{35431F48-769B-47AB-B334-7048564F5847}"/>
                  </a:ext>
                </a:extLst>
              </p:cNvPr>
              <p:cNvSpPr>
                <a:spLocks noChangeArrowheads="1"/>
              </p:cNvSpPr>
              <p:nvPr/>
            </p:nvSpPr>
            <p:spPr bwMode="auto">
              <a:xfrm>
                <a:off x="1546"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65" name="Oval 2771">
                <a:extLst>
                  <a:ext uri="{FF2B5EF4-FFF2-40B4-BE49-F238E27FC236}">
                    <a16:creationId xmlns:a16="http://schemas.microsoft.com/office/drawing/2014/main" id="{3034CED6-A586-4330-9003-D6B80326E449}"/>
                  </a:ext>
                </a:extLst>
              </p:cNvPr>
              <p:cNvSpPr>
                <a:spLocks noChangeArrowheads="1"/>
              </p:cNvSpPr>
              <p:nvPr/>
            </p:nvSpPr>
            <p:spPr bwMode="auto">
              <a:xfrm>
                <a:off x="160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66" name="Oval 2772">
                <a:extLst>
                  <a:ext uri="{FF2B5EF4-FFF2-40B4-BE49-F238E27FC236}">
                    <a16:creationId xmlns:a16="http://schemas.microsoft.com/office/drawing/2014/main" id="{D2908229-8AFD-449A-AA98-36F1F4ED3DE4}"/>
                  </a:ext>
                </a:extLst>
              </p:cNvPr>
              <p:cNvSpPr>
                <a:spLocks noChangeArrowheads="1"/>
              </p:cNvSpPr>
              <p:nvPr/>
            </p:nvSpPr>
            <p:spPr bwMode="auto">
              <a:xfrm>
                <a:off x="17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67" name="Oval 2773">
                <a:extLst>
                  <a:ext uri="{FF2B5EF4-FFF2-40B4-BE49-F238E27FC236}">
                    <a16:creationId xmlns:a16="http://schemas.microsoft.com/office/drawing/2014/main" id="{614A05D1-99CA-422F-AC29-39107524BBCB}"/>
                  </a:ext>
                </a:extLst>
              </p:cNvPr>
              <p:cNvSpPr>
                <a:spLocks noChangeArrowheads="1"/>
              </p:cNvSpPr>
              <p:nvPr/>
            </p:nvSpPr>
            <p:spPr bwMode="auto">
              <a:xfrm>
                <a:off x="1756"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68" name="Oval 2774">
                <a:extLst>
                  <a:ext uri="{FF2B5EF4-FFF2-40B4-BE49-F238E27FC236}">
                    <a16:creationId xmlns:a16="http://schemas.microsoft.com/office/drawing/2014/main" id="{59692DFB-A4C2-48D7-92EB-DE41096C6691}"/>
                  </a:ext>
                </a:extLst>
              </p:cNvPr>
              <p:cNvSpPr>
                <a:spLocks noChangeArrowheads="1"/>
              </p:cNvSpPr>
              <p:nvPr/>
            </p:nvSpPr>
            <p:spPr bwMode="auto">
              <a:xfrm>
                <a:off x="1756"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69" name="Oval 2775">
                <a:extLst>
                  <a:ext uri="{FF2B5EF4-FFF2-40B4-BE49-F238E27FC236}">
                    <a16:creationId xmlns:a16="http://schemas.microsoft.com/office/drawing/2014/main" id="{0CC968B5-AB13-4169-B34C-62F65CFCFCE0}"/>
                  </a:ext>
                </a:extLst>
              </p:cNvPr>
              <p:cNvSpPr>
                <a:spLocks noChangeArrowheads="1"/>
              </p:cNvSpPr>
              <p:nvPr/>
            </p:nvSpPr>
            <p:spPr bwMode="auto">
              <a:xfrm>
                <a:off x="184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70" name="Oval 2776">
                <a:extLst>
                  <a:ext uri="{FF2B5EF4-FFF2-40B4-BE49-F238E27FC236}">
                    <a16:creationId xmlns:a16="http://schemas.microsoft.com/office/drawing/2014/main" id="{2E69DF96-9938-4FBA-92B5-4042D648ABEE}"/>
                  </a:ext>
                </a:extLst>
              </p:cNvPr>
              <p:cNvSpPr>
                <a:spLocks noChangeArrowheads="1"/>
              </p:cNvSpPr>
              <p:nvPr/>
            </p:nvSpPr>
            <p:spPr bwMode="auto">
              <a:xfrm>
                <a:off x="1726"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71" name="Oval 2777">
                <a:extLst>
                  <a:ext uri="{FF2B5EF4-FFF2-40B4-BE49-F238E27FC236}">
                    <a16:creationId xmlns:a16="http://schemas.microsoft.com/office/drawing/2014/main" id="{8BAC9FF4-93A5-4EEE-9CCA-27858BA896DA}"/>
                  </a:ext>
                </a:extLst>
              </p:cNvPr>
              <p:cNvSpPr>
                <a:spLocks noChangeArrowheads="1"/>
              </p:cNvSpPr>
              <p:nvPr/>
            </p:nvSpPr>
            <p:spPr bwMode="auto">
              <a:xfrm>
                <a:off x="163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72" name="Oval 2778">
                <a:extLst>
                  <a:ext uri="{FF2B5EF4-FFF2-40B4-BE49-F238E27FC236}">
                    <a16:creationId xmlns:a16="http://schemas.microsoft.com/office/drawing/2014/main" id="{AC16837F-1758-4E6B-A8CD-93AEA0BE4A06}"/>
                  </a:ext>
                </a:extLst>
              </p:cNvPr>
              <p:cNvSpPr>
                <a:spLocks noChangeArrowheads="1"/>
              </p:cNvSpPr>
              <p:nvPr/>
            </p:nvSpPr>
            <p:spPr bwMode="auto">
              <a:xfrm>
                <a:off x="148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73" name="Oval 2779">
                <a:extLst>
                  <a:ext uri="{FF2B5EF4-FFF2-40B4-BE49-F238E27FC236}">
                    <a16:creationId xmlns:a16="http://schemas.microsoft.com/office/drawing/2014/main" id="{C07AEDC1-4342-4C83-A94E-943892BF48A0}"/>
                  </a:ext>
                </a:extLst>
              </p:cNvPr>
              <p:cNvSpPr>
                <a:spLocks noChangeArrowheads="1"/>
              </p:cNvSpPr>
              <p:nvPr/>
            </p:nvSpPr>
            <p:spPr bwMode="auto">
              <a:xfrm>
                <a:off x="124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74" name="Oval 2780">
                <a:extLst>
                  <a:ext uri="{FF2B5EF4-FFF2-40B4-BE49-F238E27FC236}">
                    <a16:creationId xmlns:a16="http://schemas.microsoft.com/office/drawing/2014/main" id="{740C4C3F-43AE-420C-86C4-4319923A611F}"/>
                  </a:ext>
                </a:extLst>
              </p:cNvPr>
              <p:cNvSpPr>
                <a:spLocks noChangeArrowheads="1"/>
              </p:cNvSpPr>
              <p:nvPr/>
            </p:nvSpPr>
            <p:spPr bwMode="auto">
              <a:xfrm>
                <a:off x="1306"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75" name="Oval 2781">
                <a:extLst>
                  <a:ext uri="{FF2B5EF4-FFF2-40B4-BE49-F238E27FC236}">
                    <a16:creationId xmlns:a16="http://schemas.microsoft.com/office/drawing/2014/main" id="{D79BED70-B7D2-45E4-9AE4-AA542D648379}"/>
                  </a:ext>
                </a:extLst>
              </p:cNvPr>
              <p:cNvSpPr>
                <a:spLocks noChangeArrowheads="1"/>
              </p:cNvSpPr>
              <p:nvPr/>
            </p:nvSpPr>
            <p:spPr bwMode="auto">
              <a:xfrm>
                <a:off x="14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173" name="Group 2983">
              <a:extLst>
                <a:ext uri="{FF2B5EF4-FFF2-40B4-BE49-F238E27FC236}">
                  <a16:creationId xmlns:a16="http://schemas.microsoft.com/office/drawing/2014/main" id="{021CA1A4-1AEF-4AC0-A096-3C4A1ACAC14B}"/>
                </a:ext>
              </a:extLst>
            </p:cNvPr>
            <p:cNvGrpSpPr>
              <a:grpSpLocks/>
            </p:cNvGrpSpPr>
            <p:nvPr/>
          </p:nvGrpSpPr>
          <p:grpSpPr bwMode="auto">
            <a:xfrm>
              <a:off x="1246" y="120"/>
              <a:ext cx="1979" cy="3120"/>
              <a:chOff x="1246" y="120"/>
              <a:chExt cx="1979" cy="3120"/>
            </a:xfrm>
          </p:grpSpPr>
          <p:sp>
            <p:nvSpPr>
              <p:cNvPr id="1456" name="Oval 2783">
                <a:extLst>
                  <a:ext uri="{FF2B5EF4-FFF2-40B4-BE49-F238E27FC236}">
                    <a16:creationId xmlns:a16="http://schemas.microsoft.com/office/drawing/2014/main" id="{E1E78C5C-1DB8-4230-A988-3E0E69C186AA}"/>
                  </a:ext>
                </a:extLst>
              </p:cNvPr>
              <p:cNvSpPr>
                <a:spLocks noChangeArrowheads="1"/>
              </p:cNvSpPr>
              <p:nvPr/>
            </p:nvSpPr>
            <p:spPr bwMode="auto">
              <a:xfrm>
                <a:off x="142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7" name="Oval 2784">
                <a:extLst>
                  <a:ext uri="{FF2B5EF4-FFF2-40B4-BE49-F238E27FC236}">
                    <a16:creationId xmlns:a16="http://schemas.microsoft.com/office/drawing/2014/main" id="{7033EC60-77C8-4F27-A35D-0FAC073A7D2E}"/>
                  </a:ext>
                </a:extLst>
              </p:cNvPr>
              <p:cNvSpPr>
                <a:spLocks noChangeArrowheads="1"/>
              </p:cNvSpPr>
              <p:nvPr/>
            </p:nvSpPr>
            <p:spPr bwMode="auto">
              <a:xfrm>
                <a:off x="1396"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8" name="Oval 2785">
                <a:extLst>
                  <a:ext uri="{FF2B5EF4-FFF2-40B4-BE49-F238E27FC236}">
                    <a16:creationId xmlns:a16="http://schemas.microsoft.com/office/drawing/2014/main" id="{F9C3C3FC-7CF4-463C-9303-104B7FD9113C}"/>
                  </a:ext>
                </a:extLst>
              </p:cNvPr>
              <p:cNvSpPr>
                <a:spLocks noChangeArrowheads="1"/>
              </p:cNvSpPr>
              <p:nvPr/>
            </p:nvSpPr>
            <p:spPr bwMode="auto">
              <a:xfrm>
                <a:off x="145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9" name="Oval 2786">
                <a:extLst>
                  <a:ext uri="{FF2B5EF4-FFF2-40B4-BE49-F238E27FC236}">
                    <a16:creationId xmlns:a16="http://schemas.microsoft.com/office/drawing/2014/main" id="{79C2EF25-7F74-4B01-9BDE-097383402D72}"/>
                  </a:ext>
                </a:extLst>
              </p:cNvPr>
              <p:cNvSpPr>
                <a:spLocks noChangeArrowheads="1"/>
              </p:cNvSpPr>
              <p:nvPr/>
            </p:nvSpPr>
            <p:spPr bwMode="auto">
              <a:xfrm>
                <a:off x="1366"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0" name="Oval 2787">
                <a:extLst>
                  <a:ext uri="{FF2B5EF4-FFF2-40B4-BE49-F238E27FC236}">
                    <a16:creationId xmlns:a16="http://schemas.microsoft.com/office/drawing/2014/main" id="{6F4510A1-134B-4D1A-9341-2814BB9BEE7F}"/>
                  </a:ext>
                </a:extLst>
              </p:cNvPr>
              <p:cNvSpPr>
                <a:spLocks noChangeArrowheads="1"/>
              </p:cNvSpPr>
              <p:nvPr/>
            </p:nvSpPr>
            <p:spPr bwMode="auto">
              <a:xfrm>
                <a:off x="127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1" name="Oval 2788">
                <a:extLst>
                  <a:ext uri="{FF2B5EF4-FFF2-40B4-BE49-F238E27FC236}">
                    <a16:creationId xmlns:a16="http://schemas.microsoft.com/office/drawing/2014/main" id="{FC738CB4-CE67-47B9-B6DB-D197B2F5B8C9}"/>
                  </a:ext>
                </a:extLst>
              </p:cNvPr>
              <p:cNvSpPr>
                <a:spLocks noChangeArrowheads="1"/>
              </p:cNvSpPr>
              <p:nvPr/>
            </p:nvSpPr>
            <p:spPr bwMode="auto">
              <a:xfrm>
                <a:off x="1306"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2" name="Oval 2789">
                <a:extLst>
                  <a:ext uri="{FF2B5EF4-FFF2-40B4-BE49-F238E27FC236}">
                    <a16:creationId xmlns:a16="http://schemas.microsoft.com/office/drawing/2014/main" id="{A3D8C147-6D35-4E19-BAC5-DEDBFB0BABFF}"/>
                  </a:ext>
                </a:extLst>
              </p:cNvPr>
              <p:cNvSpPr>
                <a:spLocks noChangeArrowheads="1"/>
              </p:cNvSpPr>
              <p:nvPr/>
            </p:nvSpPr>
            <p:spPr bwMode="auto">
              <a:xfrm>
                <a:off x="1276"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3" name="Oval 2790">
                <a:extLst>
                  <a:ext uri="{FF2B5EF4-FFF2-40B4-BE49-F238E27FC236}">
                    <a16:creationId xmlns:a16="http://schemas.microsoft.com/office/drawing/2014/main" id="{F47A010D-240E-45E6-9E14-A8BB00B1800E}"/>
                  </a:ext>
                </a:extLst>
              </p:cNvPr>
              <p:cNvSpPr>
                <a:spLocks noChangeArrowheads="1"/>
              </p:cNvSpPr>
              <p:nvPr/>
            </p:nvSpPr>
            <p:spPr bwMode="auto">
              <a:xfrm>
                <a:off x="124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4" name="Oval 2791">
                <a:extLst>
                  <a:ext uri="{FF2B5EF4-FFF2-40B4-BE49-F238E27FC236}">
                    <a16:creationId xmlns:a16="http://schemas.microsoft.com/office/drawing/2014/main" id="{785B3F92-C235-4507-BD0C-F3B3ACC048B0}"/>
                  </a:ext>
                </a:extLst>
              </p:cNvPr>
              <p:cNvSpPr>
                <a:spLocks noChangeArrowheads="1"/>
              </p:cNvSpPr>
              <p:nvPr/>
            </p:nvSpPr>
            <p:spPr bwMode="auto">
              <a:xfrm>
                <a:off x="1306"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5" name="Oval 2792">
                <a:extLst>
                  <a:ext uri="{FF2B5EF4-FFF2-40B4-BE49-F238E27FC236}">
                    <a16:creationId xmlns:a16="http://schemas.microsoft.com/office/drawing/2014/main" id="{04E332B4-66A7-489F-8988-938F979963D7}"/>
                  </a:ext>
                </a:extLst>
              </p:cNvPr>
              <p:cNvSpPr>
                <a:spLocks noChangeArrowheads="1"/>
              </p:cNvSpPr>
              <p:nvPr/>
            </p:nvSpPr>
            <p:spPr bwMode="auto">
              <a:xfrm>
                <a:off x="1576"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6" name="Oval 2793">
                <a:extLst>
                  <a:ext uri="{FF2B5EF4-FFF2-40B4-BE49-F238E27FC236}">
                    <a16:creationId xmlns:a16="http://schemas.microsoft.com/office/drawing/2014/main" id="{201C55DB-49AC-4BAC-93CA-F5417E3490BC}"/>
                  </a:ext>
                </a:extLst>
              </p:cNvPr>
              <p:cNvSpPr>
                <a:spLocks noChangeArrowheads="1"/>
              </p:cNvSpPr>
              <p:nvPr/>
            </p:nvSpPr>
            <p:spPr bwMode="auto">
              <a:xfrm>
                <a:off x="16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7" name="Oval 2794">
                <a:extLst>
                  <a:ext uri="{FF2B5EF4-FFF2-40B4-BE49-F238E27FC236}">
                    <a16:creationId xmlns:a16="http://schemas.microsoft.com/office/drawing/2014/main" id="{7E934274-7CDD-4F44-A075-6B18541C008C}"/>
                  </a:ext>
                </a:extLst>
              </p:cNvPr>
              <p:cNvSpPr>
                <a:spLocks noChangeArrowheads="1"/>
              </p:cNvSpPr>
              <p:nvPr/>
            </p:nvSpPr>
            <p:spPr bwMode="auto">
              <a:xfrm>
                <a:off x="1756"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8" name="Oval 2795">
                <a:extLst>
                  <a:ext uri="{FF2B5EF4-FFF2-40B4-BE49-F238E27FC236}">
                    <a16:creationId xmlns:a16="http://schemas.microsoft.com/office/drawing/2014/main" id="{FB8313FB-6336-4826-9D25-08DC179B8CF8}"/>
                  </a:ext>
                </a:extLst>
              </p:cNvPr>
              <p:cNvSpPr>
                <a:spLocks noChangeArrowheads="1"/>
              </p:cNvSpPr>
              <p:nvPr/>
            </p:nvSpPr>
            <p:spPr bwMode="auto">
              <a:xfrm>
                <a:off x="172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69" name="Oval 2796">
                <a:extLst>
                  <a:ext uri="{FF2B5EF4-FFF2-40B4-BE49-F238E27FC236}">
                    <a16:creationId xmlns:a16="http://schemas.microsoft.com/office/drawing/2014/main" id="{8643DBC7-D2F9-4477-A0FB-12E3F49D3295}"/>
                  </a:ext>
                </a:extLst>
              </p:cNvPr>
              <p:cNvSpPr>
                <a:spLocks noChangeArrowheads="1"/>
              </p:cNvSpPr>
              <p:nvPr/>
            </p:nvSpPr>
            <p:spPr bwMode="auto">
              <a:xfrm>
                <a:off x="1726"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0" name="Oval 2797">
                <a:extLst>
                  <a:ext uri="{FF2B5EF4-FFF2-40B4-BE49-F238E27FC236}">
                    <a16:creationId xmlns:a16="http://schemas.microsoft.com/office/drawing/2014/main" id="{920800A8-3993-49F4-B63F-B16B166AACFD}"/>
                  </a:ext>
                </a:extLst>
              </p:cNvPr>
              <p:cNvSpPr>
                <a:spLocks noChangeArrowheads="1"/>
              </p:cNvSpPr>
              <p:nvPr/>
            </p:nvSpPr>
            <p:spPr bwMode="auto">
              <a:xfrm>
                <a:off x="163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1" name="Oval 2798">
                <a:extLst>
                  <a:ext uri="{FF2B5EF4-FFF2-40B4-BE49-F238E27FC236}">
                    <a16:creationId xmlns:a16="http://schemas.microsoft.com/office/drawing/2014/main" id="{12897FB5-56EF-4059-A7C8-6FD5D4928216}"/>
                  </a:ext>
                </a:extLst>
              </p:cNvPr>
              <p:cNvSpPr>
                <a:spLocks noChangeArrowheads="1"/>
              </p:cNvSpPr>
              <p:nvPr/>
            </p:nvSpPr>
            <p:spPr bwMode="auto">
              <a:xfrm>
                <a:off x="16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2" name="Oval 2799">
                <a:extLst>
                  <a:ext uri="{FF2B5EF4-FFF2-40B4-BE49-F238E27FC236}">
                    <a16:creationId xmlns:a16="http://schemas.microsoft.com/office/drawing/2014/main" id="{CF8FB5E9-8743-4863-A1E7-83A31768E0C7}"/>
                  </a:ext>
                </a:extLst>
              </p:cNvPr>
              <p:cNvSpPr>
                <a:spLocks noChangeArrowheads="1"/>
              </p:cNvSpPr>
              <p:nvPr/>
            </p:nvSpPr>
            <p:spPr bwMode="auto">
              <a:xfrm>
                <a:off x="175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3" name="Oval 2800">
                <a:extLst>
                  <a:ext uri="{FF2B5EF4-FFF2-40B4-BE49-F238E27FC236}">
                    <a16:creationId xmlns:a16="http://schemas.microsoft.com/office/drawing/2014/main" id="{B6550818-38DB-4B43-8E44-B71469BA5A49}"/>
                  </a:ext>
                </a:extLst>
              </p:cNvPr>
              <p:cNvSpPr>
                <a:spLocks noChangeArrowheads="1"/>
              </p:cNvSpPr>
              <p:nvPr/>
            </p:nvSpPr>
            <p:spPr bwMode="auto">
              <a:xfrm>
                <a:off x="154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4" name="Oval 2801">
                <a:extLst>
                  <a:ext uri="{FF2B5EF4-FFF2-40B4-BE49-F238E27FC236}">
                    <a16:creationId xmlns:a16="http://schemas.microsoft.com/office/drawing/2014/main" id="{2D450700-039E-4FCA-8902-5B87F7009E9E}"/>
                  </a:ext>
                </a:extLst>
              </p:cNvPr>
              <p:cNvSpPr>
                <a:spLocks noChangeArrowheads="1"/>
              </p:cNvSpPr>
              <p:nvPr/>
            </p:nvSpPr>
            <p:spPr bwMode="auto">
              <a:xfrm>
                <a:off x="15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5" name="Oval 2802">
                <a:extLst>
                  <a:ext uri="{FF2B5EF4-FFF2-40B4-BE49-F238E27FC236}">
                    <a16:creationId xmlns:a16="http://schemas.microsoft.com/office/drawing/2014/main" id="{FAA30DD0-1AFB-4FA9-B737-5D999F918323}"/>
                  </a:ext>
                </a:extLst>
              </p:cNvPr>
              <p:cNvSpPr>
                <a:spLocks noChangeArrowheads="1"/>
              </p:cNvSpPr>
              <p:nvPr/>
            </p:nvSpPr>
            <p:spPr bwMode="auto">
              <a:xfrm>
                <a:off x="160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6" name="Oval 2803">
                <a:extLst>
                  <a:ext uri="{FF2B5EF4-FFF2-40B4-BE49-F238E27FC236}">
                    <a16:creationId xmlns:a16="http://schemas.microsoft.com/office/drawing/2014/main" id="{C21A5BD1-E5C0-4CEB-A7C8-53DA8A9FF036}"/>
                  </a:ext>
                </a:extLst>
              </p:cNvPr>
              <p:cNvSpPr>
                <a:spLocks noChangeArrowheads="1"/>
              </p:cNvSpPr>
              <p:nvPr/>
            </p:nvSpPr>
            <p:spPr bwMode="auto">
              <a:xfrm>
                <a:off x="1666"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7" name="Oval 2804">
                <a:extLst>
                  <a:ext uri="{FF2B5EF4-FFF2-40B4-BE49-F238E27FC236}">
                    <a16:creationId xmlns:a16="http://schemas.microsoft.com/office/drawing/2014/main" id="{C3C880C4-B824-4BB0-B81F-2DF6FBC732B4}"/>
                  </a:ext>
                </a:extLst>
              </p:cNvPr>
              <p:cNvSpPr>
                <a:spLocks noChangeArrowheads="1"/>
              </p:cNvSpPr>
              <p:nvPr/>
            </p:nvSpPr>
            <p:spPr bwMode="auto">
              <a:xfrm>
                <a:off x="175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8" name="Oval 2805">
                <a:extLst>
                  <a:ext uri="{FF2B5EF4-FFF2-40B4-BE49-F238E27FC236}">
                    <a16:creationId xmlns:a16="http://schemas.microsoft.com/office/drawing/2014/main" id="{7FA11DE8-48F4-4E18-BCA3-7F4D91E0D80A}"/>
                  </a:ext>
                </a:extLst>
              </p:cNvPr>
              <p:cNvSpPr>
                <a:spLocks noChangeArrowheads="1"/>
              </p:cNvSpPr>
              <p:nvPr/>
            </p:nvSpPr>
            <p:spPr bwMode="auto">
              <a:xfrm>
                <a:off x="169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79" name="Oval 2806">
                <a:extLst>
                  <a:ext uri="{FF2B5EF4-FFF2-40B4-BE49-F238E27FC236}">
                    <a16:creationId xmlns:a16="http://schemas.microsoft.com/office/drawing/2014/main" id="{2E0F2EB3-9C87-4071-A35F-57921ECA9B2A}"/>
                  </a:ext>
                </a:extLst>
              </p:cNvPr>
              <p:cNvSpPr>
                <a:spLocks noChangeArrowheads="1"/>
              </p:cNvSpPr>
              <p:nvPr/>
            </p:nvSpPr>
            <p:spPr bwMode="auto">
              <a:xfrm>
                <a:off x="1456"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0" name="Oval 2807">
                <a:extLst>
                  <a:ext uri="{FF2B5EF4-FFF2-40B4-BE49-F238E27FC236}">
                    <a16:creationId xmlns:a16="http://schemas.microsoft.com/office/drawing/2014/main" id="{14140369-BC3F-428E-8766-1BCA7B1FADFE}"/>
                  </a:ext>
                </a:extLst>
              </p:cNvPr>
              <p:cNvSpPr>
                <a:spLocks noChangeArrowheads="1"/>
              </p:cNvSpPr>
              <p:nvPr/>
            </p:nvSpPr>
            <p:spPr bwMode="auto">
              <a:xfrm>
                <a:off x="142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1" name="Oval 2808">
                <a:extLst>
                  <a:ext uri="{FF2B5EF4-FFF2-40B4-BE49-F238E27FC236}">
                    <a16:creationId xmlns:a16="http://schemas.microsoft.com/office/drawing/2014/main" id="{8ED890AB-0F5B-481C-AD65-7015733E990B}"/>
                  </a:ext>
                </a:extLst>
              </p:cNvPr>
              <p:cNvSpPr>
                <a:spLocks noChangeArrowheads="1"/>
              </p:cNvSpPr>
              <p:nvPr/>
            </p:nvSpPr>
            <p:spPr bwMode="auto">
              <a:xfrm>
                <a:off x="127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2" name="Oval 2809">
                <a:extLst>
                  <a:ext uri="{FF2B5EF4-FFF2-40B4-BE49-F238E27FC236}">
                    <a16:creationId xmlns:a16="http://schemas.microsoft.com/office/drawing/2014/main" id="{9E70D45A-ECBF-4C7F-B815-C2DCA2A2BEE9}"/>
                  </a:ext>
                </a:extLst>
              </p:cNvPr>
              <p:cNvSpPr>
                <a:spLocks noChangeArrowheads="1"/>
              </p:cNvSpPr>
              <p:nvPr/>
            </p:nvSpPr>
            <p:spPr bwMode="auto">
              <a:xfrm>
                <a:off x="130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3" name="Oval 2810">
                <a:extLst>
                  <a:ext uri="{FF2B5EF4-FFF2-40B4-BE49-F238E27FC236}">
                    <a16:creationId xmlns:a16="http://schemas.microsoft.com/office/drawing/2014/main" id="{A95C570B-B03B-45ED-AB4F-8548DB870F09}"/>
                  </a:ext>
                </a:extLst>
              </p:cNvPr>
              <p:cNvSpPr>
                <a:spLocks noChangeArrowheads="1"/>
              </p:cNvSpPr>
              <p:nvPr/>
            </p:nvSpPr>
            <p:spPr bwMode="auto">
              <a:xfrm>
                <a:off x="127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4" name="Oval 2811">
                <a:extLst>
                  <a:ext uri="{FF2B5EF4-FFF2-40B4-BE49-F238E27FC236}">
                    <a16:creationId xmlns:a16="http://schemas.microsoft.com/office/drawing/2014/main" id="{5E7CDE7E-9467-45F5-996A-19FC9BB42FDB}"/>
                  </a:ext>
                </a:extLst>
              </p:cNvPr>
              <p:cNvSpPr>
                <a:spLocks noChangeArrowheads="1"/>
              </p:cNvSpPr>
              <p:nvPr/>
            </p:nvSpPr>
            <p:spPr bwMode="auto">
              <a:xfrm>
                <a:off x="127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5" name="Oval 2812">
                <a:extLst>
                  <a:ext uri="{FF2B5EF4-FFF2-40B4-BE49-F238E27FC236}">
                    <a16:creationId xmlns:a16="http://schemas.microsoft.com/office/drawing/2014/main" id="{F83E0924-0745-40DF-846F-EC62F6BC1BB2}"/>
                  </a:ext>
                </a:extLst>
              </p:cNvPr>
              <p:cNvSpPr>
                <a:spLocks noChangeArrowheads="1"/>
              </p:cNvSpPr>
              <p:nvPr/>
            </p:nvSpPr>
            <p:spPr bwMode="auto">
              <a:xfrm>
                <a:off x="1246"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6" name="Oval 2813">
                <a:extLst>
                  <a:ext uri="{FF2B5EF4-FFF2-40B4-BE49-F238E27FC236}">
                    <a16:creationId xmlns:a16="http://schemas.microsoft.com/office/drawing/2014/main" id="{A2203D0A-A348-48AF-B446-08DAB4A98D44}"/>
                  </a:ext>
                </a:extLst>
              </p:cNvPr>
              <p:cNvSpPr>
                <a:spLocks noChangeArrowheads="1"/>
              </p:cNvSpPr>
              <p:nvPr/>
            </p:nvSpPr>
            <p:spPr bwMode="auto">
              <a:xfrm>
                <a:off x="12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7" name="Oval 2814">
                <a:extLst>
                  <a:ext uri="{FF2B5EF4-FFF2-40B4-BE49-F238E27FC236}">
                    <a16:creationId xmlns:a16="http://schemas.microsoft.com/office/drawing/2014/main" id="{F382C2F3-0D5C-4AFE-871E-6474EF86697F}"/>
                  </a:ext>
                </a:extLst>
              </p:cNvPr>
              <p:cNvSpPr>
                <a:spLocks noChangeArrowheads="1"/>
              </p:cNvSpPr>
              <p:nvPr/>
            </p:nvSpPr>
            <p:spPr bwMode="auto">
              <a:xfrm>
                <a:off x="133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8" name="Oval 2815">
                <a:extLst>
                  <a:ext uri="{FF2B5EF4-FFF2-40B4-BE49-F238E27FC236}">
                    <a16:creationId xmlns:a16="http://schemas.microsoft.com/office/drawing/2014/main" id="{FDD32D31-90F4-488D-ADA3-96A2B7B786FA}"/>
                  </a:ext>
                </a:extLst>
              </p:cNvPr>
              <p:cNvSpPr>
                <a:spLocks noChangeArrowheads="1"/>
              </p:cNvSpPr>
              <p:nvPr/>
            </p:nvSpPr>
            <p:spPr bwMode="auto">
              <a:xfrm>
                <a:off x="130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9" name="Oval 2816">
                <a:extLst>
                  <a:ext uri="{FF2B5EF4-FFF2-40B4-BE49-F238E27FC236}">
                    <a16:creationId xmlns:a16="http://schemas.microsoft.com/office/drawing/2014/main" id="{3095DDB4-94F4-4FD3-ABF8-CD0C292DD898}"/>
                  </a:ext>
                </a:extLst>
              </p:cNvPr>
              <p:cNvSpPr>
                <a:spLocks noChangeArrowheads="1"/>
              </p:cNvSpPr>
              <p:nvPr/>
            </p:nvSpPr>
            <p:spPr bwMode="auto">
              <a:xfrm>
                <a:off x="145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0" name="Oval 2817">
                <a:extLst>
                  <a:ext uri="{FF2B5EF4-FFF2-40B4-BE49-F238E27FC236}">
                    <a16:creationId xmlns:a16="http://schemas.microsoft.com/office/drawing/2014/main" id="{7A18A6F0-70DA-421D-B100-E86CB5916E90}"/>
                  </a:ext>
                </a:extLst>
              </p:cNvPr>
              <p:cNvSpPr>
                <a:spLocks noChangeArrowheads="1"/>
              </p:cNvSpPr>
              <p:nvPr/>
            </p:nvSpPr>
            <p:spPr bwMode="auto">
              <a:xfrm>
                <a:off x="133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1" name="Oval 2818">
                <a:extLst>
                  <a:ext uri="{FF2B5EF4-FFF2-40B4-BE49-F238E27FC236}">
                    <a16:creationId xmlns:a16="http://schemas.microsoft.com/office/drawing/2014/main" id="{11DA110C-E2D7-4646-919A-846DF8B1FFF7}"/>
                  </a:ext>
                </a:extLst>
              </p:cNvPr>
              <p:cNvSpPr>
                <a:spLocks noChangeArrowheads="1"/>
              </p:cNvSpPr>
              <p:nvPr/>
            </p:nvSpPr>
            <p:spPr bwMode="auto">
              <a:xfrm>
                <a:off x="1516"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2" name="Oval 2819">
                <a:extLst>
                  <a:ext uri="{FF2B5EF4-FFF2-40B4-BE49-F238E27FC236}">
                    <a16:creationId xmlns:a16="http://schemas.microsoft.com/office/drawing/2014/main" id="{8E2C1014-4BD4-45FD-AFBD-673EF4DA1A50}"/>
                  </a:ext>
                </a:extLst>
              </p:cNvPr>
              <p:cNvSpPr>
                <a:spLocks noChangeArrowheads="1"/>
              </p:cNvSpPr>
              <p:nvPr/>
            </p:nvSpPr>
            <p:spPr bwMode="auto">
              <a:xfrm>
                <a:off x="178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3" name="Oval 2820">
                <a:extLst>
                  <a:ext uri="{FF2B5EF4-FFF2-40B4-BE49-F238E27FC236}">
                    <a16:creationId xmlns:a16="http://schemas.microsoft.com/office/drawing/2014/main" id="{7E69203A-96B4-4FAE-A2D3-79E372893BD5}"/>
                  </a:ext>
                </a:extLst>
              </p:cNvPr>
              <p:cNvSpPr>
                <a:spLocks noChangeArrowheads="1"/>
              </p:cNvSpPr>
              <p:nvPr/>
            </p:nvSpPr>
            <p:spPr bwMode="auto">
              <a:xfrm>
                <a:off x="15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4" name="Oval 2821">
                <a:extLst>
                  <a:ext uri="{FF2B5EF4-FFF2-40B4-BE49-F238E27FC236}">
                    <a16:creationId xmlns:a16="http://schemas.microsoft.com/office/drawing/2014/main" id="{E76C03CE-935C-44C5-837B-E35D9C827D90}"/>
                  </a:ext>
                </a:extLst>
              </p:cNvPr>
              <p:cNvSpPr>
                <a:spLocks noChangeArrowheads="1"/>
              </p:cNvSpPr>
              <p:nvPr/>
            </p:nvSpPr>
            <p:spPr bwMode="auto">
              <a:xfrm>
                <a:off x="154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5" name="Oval 2822">
                <a:extLst>
                  <a:ext uri="{FF2B5EF4-FFF2-40B4-BE49-F238E27FC236}">
                    <a16:creationId xmlns:a16="http://schemas.microsoft.com/office/drawing/2014/main" id="{6E3B56CA-32F3-44B5-B065-D1B2585836E8}"/>
                  </a:ext>
                </a:extLst>
              </p:cNvPr>
              <p:cNvSpPr>
                <a:spLocks noChangeArrowheads="1"/>
              </p:cNvSpPr>
              <p:nvPr/>
            </p:nvSpPr>
            <p:spPr bwMode="auto">
              <a:xfrm>
                <a:off x="1666"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6" name="Oval 2823">
                <a:extLst>
                  <a:ext uri="{FF2B5EF4-FFF2-40B4-BE49-F238E27FC236}">
                    <a16:creationId xmlns:a16="http://schemas.microsoft.com/office/drawing/2014/main" id="{3DD56641-2D31-451A-83F2-53D7AB6A9A8C}"/>
                  </a:ext>
                </a:extLst>
              </p:cNvPr>
              <p:cNvSpPr>
                <a:spLocks noChangeArrowheads="1"/>
              </p:cNvSpPr>
              <p:nvPr/>
            </p:nvSpPr>
            <p:spPr bwMode="auto">
              <a:xfrm>
                <a:off x="151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7" name="Oval 2824">
                <a:extLst>
                  <a:ext uri="{FF2B5EF4-FFF2-40B4-BE49-F238E27FC236}">
                    <a16:creationId xmlns:a16="http://schemas.microsoft.com/office/drawing/2014/main" id="{AB08EBC6-4953-4537-B5EF-6377EC1109F5}"/>
                  </a:ext>
                </a:extLst>
              </p:cNvPr>
              <p:cNvSpPr>
                <a:spLocks noChangeArrowheads="1"/>
              </p:cNvSpPr>
              <p:nvPr/>
            </p:nvSpPr>
            <p:spPr bwMode="auto">
              <a:xfrm>
                <a:off x="145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8" name="Oval 2825">
                <a:extLst>
                  <a:ext uri="{FF2B5EF4-FFF2-40B4-BE49-F238E27FC236}">
                    <a16:creationId xmlns:a16="http://schemas.microsoft.com/office/drawing/2014/main" id="{6C60F5D6-98DA-4C09-B3FA-6A5231E08799}"/>
                  </a:ext>
                </a:extLst>
              </p:cNvPr>
              <p:cNvSpPr>
                <a:spLocks noChangeArrowheads="1"/>
              </p:cNvSpPr>
              <p:nvPr/>
            </p:nvSpPr>
            <p:spPr bwMode="auto">
              <a:xfrm>
                <a:off x="139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9" name="Oval 2826">
                <a:extLst>
                  <a:ext uri="{FF2B5EF4-FFF2-40B4-BE49-F238E27FC236}">
                    <a16:creationId xmlns:a16="http://schemas.microsoft.com/office/drawing/2014/main" id="{B0AF5D70-1B5D-406A-80B2-971CD538A1F1}"/>
                  </a:ext>
                </a:extLst>
              </p:cNvPr>
              <p:cNvSpPr>
                <a:spLocks noChangeArrowheads="1"/>
              </p:cNvSpPr>
              <p:nvPr/>
            </p:nvSpPr>
            <p:spPr bwMode="auto">
              <a:xfrm>
                <a:off x="1456"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0" name="Oval 2827">
                <a:extLst>
                  <a:ext uri="{FF2B5EF4-FFF2-40B4-BE49-F238E27FC236}">
                    <a16:creationId xmlns:a16="http://schemas.microsoft.com/office/drawing/2014/main" id="{097F338D-252E-4E69-8C0E-2909CB460CCD}"/>
                  </a:ext>
                </a:extLst>
              </p:cNvPr>
              <p:cNvSpPr>
                <a:spLocks noChangeArrowheads="1"/>
              </p:cNvSpPr>
              <p:nvPr/>
            </p:nvSpPr>
            <p:spPr bwMode="auto">
              <a:xfrm>
                <a:off x="151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1" name="Oval 2828">
                <a:extLst>
                  <a:ext uri="{FF2B5EF4-FFF2-40B4-BE49-F238E27FC236}">
                    <a16:creationId xmlns:a16="http://schemas.microsoft.com/office/drawing/2014/main" id="{85A329AE-BF5A-48B0-AD20-E5ED89C8681A}"/>
                  </a:ext>
                </a:extLst>
              </p:cNvPr>
              <p:cNvSpPr>
                <a:spLocks noChangeArrowheads="1"/>
              </p:cNvSpPr>
              <p:nvPr/>
            </p:nvSpPr>
            <p:spPr bwMode="auto">
              <a:xfrm>
                <a:off x="145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2" name="Oval 2829">
                <a:extLst>
                  <a:ext uri="{FF2B5EF4-FFF2-40B4-BE49-F238E27FC236}">
                    <a16:creationId xmlns:a16="http://schemas.microsoft.com/office/drawing/2014/main" id="{3A7DE630-E475-49FA-8565-3BA6121144CC}"/>
                  </a:ext>
                </a:extLst>
              </p:cNvPr>
              <p:cNvSpPr>
                <a:spLocks noChangeArrowheads="1"/>
              </p:cNvSpPr>
              <p:nvPr/>
            </p:nvSpPr>
            <p:spPr bwMode="auto">
              <a:xfrm>
                <a:off x="1426"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3" name="Oval 2830">
                <a:extLst>
                  <a:ext uri="{FF2B5EF4-FFF2-40B4-BE49-F238E27FC236}">
                    <a16:creationId xmlns:a16="http://schemas.microsoft.com/office/drawing/2014/main" id="{8D941414-E63E-4C11-A8E7-897FD8768782}"/>
                  </a:ext>
                </a:extLst>
              </p:cNvPr>
              <p:cNvSpPr>
                <a:spLocks noChangeArrowheads="1"/>
              </p:cNvSpPr>
              <p:nvPr/>
            </p:nvSpPr>
            <p:spPr bwMode="auto">
              <a:xfrm>
                <a:off x="1336"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4" name="Oval 2831">
                <a:extLst>
                  <a:ext uri="{FF2B5EF4-FFF2-40B4-BE49-F238E27FC236}">
                    <a16:creationId xmlns:a16="http://schemas.microsoft.com/office/drawing/2014/main" id="{B9962529-D91B-4B1D-88EE-477858C85E20}"/>
                  </a:ext>
                </a:extLst>
              </p:cNvPr>
              <p:cNvSpPr>
                <a:spLocks noChangeArrowheads="1"/>
              </p:cNvSpPr>
              <p:nvPr/>
            </p:nvSpPr>
            <p:spPr bwMode="auto">
              <a:xfrm>
                <a:off x="130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5" name="Oval 2832">
                <a:extLst>
                  <a:ext uri="{FF2B5EF4-FFF2-40B4-BE49-F238E27FC236}">
                    <a16:creationId xmlns:a16="http://schemas.microsoft.com/office/drawing/2014/main" id="{696EAFD7-973C-4EAA-A44D-EACAFDB22CD6}"/>
                  </a:ext>
                </a:extLst>
              </p:cNvPr>
              <p:cNvSpPr>
                <a:spLocks noChangeArrowheads="1"/>
              </p:cNvSpPr>
              <p:nvPr/>
            </p:nvSpPr>
            <p:spPr bwMode="auto">
              <a:xfrm>
                <a:off x="1366"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6" name="Oval 2833">
                <a:extLst>
                  <a:ext uri="{FF2B5EF4-FFF2-40B4-BE49-F238E27FC236}">
                    <a16:creationId xmlns:a16="http://schemas.microsoft.com/office/drawing/2014/main" id="{A9D8016D-4FBD-4CA8-99B1-F1648CD06F6E}"/>
                  </a:ext>
                </a:extLst>
              </p:cNvPr>
              <p:cNvSpPr>
                <a:spLocks noChangeArrowheads="1"/>
              </p:cNvSpPr>
              <p:nvPr/>
            </p:nvSpPr>
            <p:spPr bwMode="auto">
              <a:xfrm>
                <a:off x="1246"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7" name="Oval 2834">
                <a:extLst>
                  <a:ext uri="{FF2B5EF4-FFF2-40B4-BE49-F238E27FC236}">
                    <a16:creationId xmlns:a16="http://schemas.microsoft.com/office/drawing/2014/main" id="{8E9F9F09-3E7E-40FD-BD9D-596CAD58EE03}"/>
                  </a:ext>
                </a:extLst>
              </p:cNvPr>
              <p:cNvSpPr>
                <a:spLocks noChangeArrowheads="1"/>
              </p:cNvSpPr>
              <p:nvPr/>
            </p:nvSpPr>
            <p:spPr bwMode="auto">
              <a:xfrm>
                <a:off x="142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8" name="Oval 2835">
                <a:extLst>
                  <a:ext uri="{FF2B5EF4-FFF2-40B4-BE49-F238E27FC236}">
                    <a16:creationId xmlns:a16="http://schemas.microsoft.com/office/drawing/2014/main" id="{FDB7568E-5C2F-43AA-B19A-85F25B0473BE}"/>
                  </a:ext>
                </a:extLst>
              </p:cNvPr>
              <p:cNvSpPr>
                <a:spLocks noChangeArrowheads="1"/>
              </p:cNvSpPr>
              <p:nvPr/>
            </p:nvSpPr>
            <p:spPr bwMode="auto">
              <a:xfrm>
                <a:off x="1306"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9" name="Oval 2836">
                <a:extLst>
                  <a:ext uri="{FF2B5EF4-FFF2-40B4-BE49-F238E27FC236}">
                    <a16:creationId xmlns:a16="http://schemas.microsoft.com/office/drawing/2014/main" id="{90E7DF33-6D31-4BBA-8143-DFF40F247D0D}"/>
                  </a:ext>
                </a:extLst>
              </p:cNvPr>
              <p:cNvSpPr>
                <a:spLocks noChangeArrowheads="1"/>
              </p:cNvSpPr>
              <p:nvPr/>
            </p:nvSpPr>
            <p:spPr bwMode="auto">
              <a:xfrm>
                <a:off x="142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0" name="Oval 2837">
                <a:extLst>
                  <a:ext uri="{FF2B5EF4-FFF2-40B4-BE49-F238E27FC236}">
                    <a16:creationId xmlns:a16="http://schemas.microsoft.com/office/drawing/2014/main" id="{A8E63A16-6677-48A9-B00B-FE3219BCC8F9}"/>
                  </a:ext>
                </a:extLst>
              </p:cNvPr>
              <p:cNvSpPr>
                <a:spLocks noChangeArrowheads="1"/>
              </p:cNvSpPr>
              <p:nvPr/>
            </p:nvSpPr>
            <p:spPr bwMode="auto">
              <a:xfrm>
                <a:off x="12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1" name="Oval 2838">
                <a:extLst>
                  <a:ext uri="{FF2B5EF4-FFF2-40B4-BE49-F238E27FC236}">
                    <a16:creationId xmlns:a16="http://schemas.microsoft.com/office/drawing/2014/main" id="{347808CC-3696-4C5C-9467-E80638EEBF9E}"/>
                  </a:ext>
                </a:extLst>
              </p:cNvPr>
              <p:cNvSpPr>
                <a:spLocks noChangeArrowheads="1"/>
              </p:cNvSpPr>
              <p:nvPr/>
            </p:nvSpPr>
            <p:spPr bwMode="auto">
              <a:xfrm>
                <a:off x="166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2" name="Oval 2839">
                <a:extLst>
                  <a:ext uri="{FF2B5EF4-FFF2-40B4-BE49-F238E27FC236}">
                    <a16:creationId xmlns:a16="http://schemas.microsoft.com/office/drawing/2014/main" id="{CBF9A9D8-1953-4824-9CCE-60C7DDF80926}"/>
                  </a:ext>
                </a:extLst>
              </p:cNvPr>
              <p:cNvSpPr>
                <a:spLocks noChangeArrowheads="1"/>
              </p:cNvSpPr>
              <p:nvPr/>
            </p:nvSpPr>
            <p:spPr bwMode="auto">
              <a:xfrm>
                <a:off x="172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3" name="Oval 2840">
                <a:extLst>
                  <a:ext uri="{FF2B5EF4-FFF2-40B4-BE49-F238E27FC236}">
                    <a16:creationId xmlns:a16="http://schemas.microsoft.com/office/drawing/2014/main" id="{0C07D226-2361-40E5-A34D-C5A9C3806435}"/>
                  </a:ext>
                </a:extLst>
              </p:cNvPr>
              <p:cNvSpPr>
                <a:spLocks noChangeArrowheads="1"/>
              </p:cNvSpPr>
              <p:nvPr/>
            </p:nvSpPr>
            <p:spPr bwMode="auto">
              <a:xfrm>
                <a:off x="1576"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4" name="Oval 2841">
                <a:extLst>
                  <a:ext uri="{FF2B5EF4-FFF2-40B4-BE49-F238E27FC236}">
                    <a16:creationId xmlns:a16="http://schemas.microsoft.com/office/drawing/2014/main" id="{1B699846-4BE9-4B6B-BA34-A799BF03BD39}"/>
                  </a:ext>
                </a:extLst>
              </p:cNvPr>
              <p:cNvSpPr>
                <a:spLocks noChangeArrowheads="1"/>
              </p:cNvSpPr>
              <p:nvPr/>
            </p:nvSpPr>
            <p:spPr bwMode="auto">
              <a:xfrm>
                <a:off x="184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5" name="Oval 2842">
                <a:extLst>
                  <a:ext uri="{FF2B5EF4-FFF2-40B4-BE49-F238E27FC236}">
                    <a16:creationId xmlns:a16="http://schemas.microsoft.com/office/drawing/2014/main" id="{FAABD5B5-D983-4B00-B97A-D87E306C5C4B}"/>
                  </a:ext>
                </a:extLst>
              </p:cNvPr>
              <p:cNvSpPr>
                <a:spLocks noChangeArrowheads="1"/>
              </p:cNvSpPr>
              <p:nvPr/>
            </p:nvSpPr>
            <p:spPr bwMode="auto">
              <a:xfrm>
                <a:off x="181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6" name="Oval 2843">
                <a:extLst>
                  <a:ext uri="{FF2B5EF4-FFF2-40B4-BE49-F238E27FC236}">
                    <a16:creationId xmlns:a16="http://schemas.microsoft.com/office/drawing/2014/main" id="{81975BFC-8ADF-49C4-ACF4-3B586E045584}"/>
                  </a:ext>
                </a:extLst>
              </p:cNvPr>
              <p:cNvSpPr>
                <a:spLocks noChangeArrowheads="1"/>
              </p:cNvSpPr>
              <p:nvPr/>
            </p:nvSpPr>
            <p:spPr bwMode="auto">
              <a:xfrm>
                <a:off x="1816"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7" name="Oval 2844">
                <a:extLst>
                  <a:ext uri="{FF2B5EF4-FFF2-40B4-BE49-F238E27FC236}">
                    <a16:creationId xmlns:a16="http://schemas.microsoft.com/office/drawing/2014/main" id="{79C48F3F-7335-4A05-84B2-8AE22E6A4549}"/>
                  </a:ext>
                </a:extLst>
              </p:cNvPr>
              <p:cNvSpPr>
                <a:spLocks noChangeArrowheads="1"/>
              </p:cNvSpPr>
              <p:nvPr/>
            </p:nvSpPr>
            <p:spPr bwMode="auto">
              <a:xfrm>
                <a:off x="193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8" name="Oval 2845">
                <a:extLst>
                  <a:ext uri="{FF2B5EF4-FFF2-40B4-BE49-F238E27FC236}">
                    <a16:creationId xmlns:a16="http://schemas.microsoft.com/office/drawing/2014/main" id="{9552D8A9-2E0E-47C2-A913-86843C156966}"/>
                  </a:ext>
                </a:extLst>
              </p:cNvPr>
              <p:cNvSpPr>
                <a:spLocks noChangeArrowheads="1"/>
              </p:cNvSpPr>
              <p:nvPr/>
            </p:nvSpPr>
            <p:spPr bwMode="auto">
              <a:xfrm>
                <a:off x="2086" y="7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9" name="Oval 2846">
                <a:extLst>
                  <a:ext uri="{FF2B5EF4-FFF2-40B4-BE49-F238E27FC236}">
                    <a16:creationId xmlns:a16="http://schemas.microsoft.com/office/drawing/2014/main" id="{63452479-84DD-4711-94CB-9ACAF2CAEFF7}"/>
                  </a:ext>
                </a:extLst>
              </p:cNvPr>
              <p:cNvSpPr>
                <a:spLocks noChangeArrowheads="1"/>
              </p:cNvSpPr>
              <p:nvPr/>
            </p:nvSpPr>
            <p:spPr bwMode="auto">
              <a:xfrm>
                <a:off x="211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0" name="Oval 2847">
                <a:extLst>
                  <a:ext uri="{FF2B5EF4-FFF2-40B4-BE49-F238E27FC236}">
                    <a16:creationId xmlns:a16="http://schemas.microsoft.com/office/drawing/2014/main" id="{0DD7D80F-940A-44EA-8B8C-843FE9C6126F}"/>
                  </a:ext>
                </a:extLst>
              </p:cNvPr>
              <p:cNvSpPr>
                <a:spLocks noChangeArrowheads="1"/>
              </p:cNvSpPr>
              <p:nvPr/>
            </p:nvSpPr>
            <p:spPr bwMode="auto">
              <a:xfrm>
                <a:off x="199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1" name="Oval 2848">
                <a:extLst>
                  <a:ext uri="{FF2B5EF4-FFF2-40B4-BE49-F238E27FC236}">
                    <a16:creationId xmlns:a16="http://schemas.microsoft.com/office/drawing/2014/main" id="{630FDC64-90E5-4640-B83C-F9F361F66619}"/>
                  </a:ext>
                </a:extLst>
              </p:cNvPr>
              <p:cNvSpPr>
                <a:spLocks noChangeArrowheads="1"/>
              </p:cNvSpPr>
              <p:nvPr/>
            </p:nvSpPr>
            <p:spPr bwMode="auto">
              <a:xfrm>
                <a:off x="202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2" name="Oval 2849">
                <a:extLst>
                  <a:ext uri="{FF2B5EF4-FFF2-40B4-BE49-F238E27FC236}">
                    <a16:creationId xmlns:a16="http://schemas.microsoft.com/office/drawing/2014/main" id="{E6FF2E00-2F18-4516-BF1C-829147C509E4}"/>
                  </a:ext>
                </a:extLst>
              </p:cNvPr>
              <p:cNvSpPr>
                <a:spLocks noChangeArrowheads="1"/>
              </p:cNvSpPr>
              <p:nvPr/>
            </p:nvSpPr>
            <p:spPr bwMode="auto">
              <a:xfrm>
                <a:off x="184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3" name="Oval 2850">
                <a:extLst>
                  <a:ext uri="{FF2B5EF4-FFF2-40B4-BE49-F238E27FC236}">
                    <a16:creationId xmlns:a16="http://schemas.microsoft.com/office/drawing/2014/main" id="{3902C5D4-F5D0-49F7-8B28-AC949F08B850}"/>
                  </a:ext>
                </a:extLst>
              </p:cNvPr>
              <p:cNvSpPr>
                <a:spLocks noChangeArrowheads="1"/>
              </p:cNvSpPr>
              <p:nvPr/>
            </p:nvSpPr>
            <p:spPr bwMode="auto">
              <a:xfrm>
                <a:off x="1846"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4" name="Oval 2851">
                <a:extLst>
                  <a:ext uri="{FF2B5EF4-FFF2-40B4-BE49-F238E27FC236}">
                    <a16:creationId xmlns:a16="http://schemas.microsoft.com/office/drawing/2014/main" id="{8B7AFCCC-AEDD-4CF9-B521-1A4CE9A4A9E3}"/>
                  </a:ext>
                </a:extLst>
              </p:cNvPr>
              <p:cNvSpPr>
                <a:spLocks noChangeArrowheads="1"/>
              </p:cNvSpPr>
              <p:nvPr/>
            </p:nvSpPr>
            <p:spPr bwMode="auto">
              <a:xfrm>
                <a:off x="241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5" name="Oval 2852">
                <a:extLst>
                  <a:ext uri="{FF2B5EF4-FFF2-40B4-BE49-F238E27FC236}">
                    <a16:creationId xmlns:a16="http://schemas.microsoft.com/office/drawing/2014/main" id="{041F452C-CE78-4424-9191-838B80AD2236}"/>
                  </a:ext>
                </a:extLst>
              </p:cNvPr>
              <p:cNvSpPr>
                <a:spLocks noChangeArrowheads="1"/>
              </p:cNvSpPr>
              <p:nvPr/>
            </p:nvSpPr>
            <p:spPr bwMode="auto">
              <a:xfrm>
                <a:off x="259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6" name="Oval 2853">
                <a:extLst>
                  <a:ext uri="{FF2B5EF4-FFF2-40B4-BE49-F238E27FC236}">
                    <a16:creationId xmlns:a16="http://schemas.microsoft.com/office/drawing/2014/main" id="{DAAB08AF-6A7C-4E97-A471-3EA834E8F3F5}"/>
                  </a:ext>
                </a:extLst>
              </p:cNvPr>
              <p:cNvSpPr>
                <a:spLocks noChangeArrowheads="1"/>
              </p:cNvSpPr>
              <p:nvPr/>
            </p:nvSpPr>
            <p:spPr bwMode="auto">
              <a:xfrm>
                <a:off x="220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7" name="Oval 2854">
                <a:extLst>
                  <a:ext uri="{FF2B5EF4-FFF2-40B4-BE49-F238E27FC236}">
                    <a16:creationId xmlns:a16="http://schemas.microsoft.com/office/drawing/2014/main" id="{327E9B24-5E6C-4211-8844-175C15369894}"/>
                  </a:ext>
                </a:extLst>
              </p:cNvPr>
              <p:cNvSpPr>
                <a:spLocks noChangeArrowheads="1"/>
              </p:cNvSpPr>
              <p:nvPr/>
            </p:nvSpPr>
            <p:spPr bwMode="auto">
              <a:xfrm>
                <a:off x="253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8" name="Oval 2855">
                <a:extLst>
                  <a:ext uri="{FF2B5EF4-FFF2-40B4-BE49-F238E27FC236}">
                    <a16:creationId xmlns:a16="http://schemas.microsoft.com/office/drawing/2014/main" id="{3428E417-CBF6-4C2A-AC0E-C13A1DFDAA59}"/>
                  </a:ext>
                </a:extLst>
              </p:cNvPr>
              <p:cNvSpPr>
                <a:spLocks noChangeArrowheads="1"/>
              </p:cNvSpPr>
              <p:nvPr/>
            </p:nvSpPr>
            <p:spPr bwMode="auto">
              <a:xfrm>
                <a:off x="238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9" name="Oval 2856">
                <a:extLst>
                  <a:ext uri="{FF2B5EF4-FFF2-40B4-BE49-F238E27FC236}">
                    <a16:creationId xmlns:a16="http://schemas.microsoft.com/office/drawing/2014/main" id="{A1871FFC-E59D-4BE3-82A2-43CE6BF47971}"/>
                  </a:ext>
                </a:extLst>
              </p:cNvPr>
              <p:cNvSpPr>
                <a:spLocks noChangeArrowheads="1"/>
              </p:cNvSpPr>
              <p:nvPr/>
            </p:nvSpPr>
            <p:spPr bwMode="auto">
              <a:xfrm>
                <a:off x="241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0" name="Oval 2857">
                <a:extLst>
                  <a:ext uri="{FF2B5EF4-FFF2-40B4-BE49-F238E27FC236}">
                    <a16:creationId xmlns:a16="http://schemas.microsoft.com/office/drawing/2014/main" id="{F238EB9F-67D7-4AD9-B0E2-EB419D3339ED}"/>
                  </a:ext>
                </a:extLst>
              </p:cNvPr>
              <p:cNvSpPr>
                <a:spLocks noChangeArrowheads="1"/>
              </p:cNvSpPr>
              <p:nvPr/>
            </p:nvSpPr>
            <p:spPr bwMode="auto">
              <a:xfrm>
                <a:off x="232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1" name="Oval 2858">
                <a:extLst>
                  <a:ext uri="{FF2B5EF4-FFF2-40B4-BE49-F238E27FC236}">
                    <a16:creationId xmlns:a16="http://schemas.microsoft.com/office/drawing/2014/main" id="{2ADF3E50-BAC5-4738-A0AC-F8EFE74C08D7}"/>
                  </a:ext>
                </a:extLst>
              </p:cNvPr>
              <p:cNvSpPr>
                <a:spLocks noChangeArrowheads="1"/>
              </p:cNvSpPr>
              <p:nvPr/>
            </p:nvSpPr>
            <p:spPr bwMode="auto">
              <a:xfrm>
                <a:off x="229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2" name="Oval 2859">
                <a:extLst>
                  <a:ext uri="{FF2B5EF4-FFF2-40B4-BE49-F238E27FC236}">
                    <a16:creationId xmlns:a16="http://schemas.microsoft.com/office/drawing/2014/main" id="{9EA36AA2-3C7B-49FF-9DE7-67E96DD30F6F}"/>
                  </a:ext>
                </a:extLst>
              </p:cNvPr>
              <p:cNvSpPr>
                <a:spLocks noChangeArrowheads="1"/>
              </p:cNvSpPr>
              <p:nvPr/>
            </p:nvSpPr>
            <p:spPr bwMode="auto">
              <a:xfrm>
                <a:off x="220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3" name="Oval 2860">
                <a:extLst>
                  <a:ext uri="{FF2B5EF4-FFF2-40B4-BE49-F238E27FC236}">
                    <a16:creationId xmlns:a16="http://schemas.microsoft.com/office/drawing/2014/main" id="{D370360F-7E0D-4EF0-92B3-4A10DDB28EDA}"/>
                  </a:ext>
                </a:extLst>
              </p:cNvPr>
              <p:cNvSpPr>
                <a:spLocks noChangeArrowheads="1"/>
              </p:cNvSpPr>
              <p:nvPr/>
            </p:nvSpPr>
            <p:spPr bwMode="auto">
              <a:xfrm>
                <a:off x="22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4" name="Oval 2861">
                <a:extLst>
                  <a:ext uri="{FF2B5EF4-FFF2-40B4-BE49-F238E27FC236}">
                    <a16:creationId xmlns:a16="http://schemas.microsoft.com/office/drawing/2014/main" id="{C570BA3E-1340-4C50-BC89-D5D9B7DEFC81}"/>
                  </a:ext>
                </a:extLst>
              </p:cNvPr>
              <p:cNvSpPr>
                <a:spLocks noChangeArrowheads="1"/>
              </p:cNvSpPr>
              <p:nvPr/>
            </p:nvSpPr>
            <p:spPr bwMode="auto">
              <a:xfrm>
                <a:off x="220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5" name="Oval 2862">
                <a:extLst>
                  <a:ext uri="{FF2B5EF4-FFF2-40B4-BE49-F238E27FC236}">
                    <a16:creationId xmlns:a16="http://schemas.microsoft.com/office/drawing/2014/main" id="{A99AAEAA-26AF-4603-B769-D37067545FC2}"/>
                  </a:ext>
                </a:extLst>
              </p:cNvPr>
              <p:cNvSpPr>
                <a:spLocks noChangeArrowheads="1"/>
              </p:cNvSpPr>
              <p:nvPr/>
            </p:nvSpPr>
            <p:spPr bwMode="auto">
              <a:xfrm>
                <a:off x="220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6" name="Oval 2863">
                <a:extLst>
                  <a:ext uri="{FF2B5EF4-FFF2-40B4-BE49-F238E27FC236}">
                    <a16:creationId xmlns:a16="http://schemas.microsoft.com/office/drawing/2014/main" id="{CF76603F-C118-4547-81E5-188FF70169F6}"/>
                  </a:ext>
                </a:extLst>
              </p:cNvPr>
              <p:cNvSpPr>
                <a:spLocks noChangeArrowheads="1"/>
              </p:cNvSpPr>
              <p:nvPr/>
            </p:nvSpPr>
            <p:spPr bwMode="auto">
              <a:xfrm>
                <a:off x="226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7" name="Oval 2864">
                <a:extLst>
                  <a:ext uri="{FF2B5EF4-FFF2-40B4-BE49-F238E27FC236}">
                    <a16:creationId xmlns:a16="http://schemas.microsoft.com/office/drawing/2014/main" id="{E21136C1-2DD0-4942-AFAF-32A812AB4A9E}"/>
                  </a:ext>
                </a:extLst>
              </p:cNvPr>
              <p:cNvSpPr>
                <a:spLocks noChangeArrowheads="1"/>
              </p:cNvSpPr>
              <p:nvPr/>
            </p:nvSpPr>
            <p:spPr bwMode="auto">
              <a:xfrm>
                <a:off x="271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8" name="Oval 2865">
                <a:extLst>
                  <a:ext uri="{FF2B5EF4-FFF2-40B4-BE49-F238E27FC236}">
                    <a16:creationId xmlns:a16="http://schemas.microsoft.com/office/drawing/2014/main" id="{C7A6C5DB-F0A8-4250-810E-6C3902D4CD96}"/>
                  </a:ext>
                </a:extLst>
              </p:cNvPr>
              <p:cNvSpPr>
                <a:spLocks noChangeArrowheads="1"/>
              </p:cNvSpPr>
              <p:nvPr/>
            </p:nvSpPr>
            <p:spPr bwMode="auto">
              <a:xfrm>
                <a:off x="274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9" name="Oval 2866">
                <a:extLst>
                  <a:ext uri="{FF2B5EF4-FFF2-40B4-BE49-F238E27FC236}">
                    <a16:creationId xmlns:a16="http://schemas.microsoft.com/office/drawing/2014/main" id="{0239F1C8-88BF-4BC0-9CE7-4C8A1EFF83F2}"/>
                  </a:ext>
                </a:extLst>
              </p:cNvPr>
              <p:cNvSpPr>
                <a:spLocks noChangeArrowheads="1"/>
              </p:cNvSpPr>
              <p:nvPr/>
            </p:nvSpPr>
            <p:spPr bwMode="auto">
              <a:xfrm>
                <a:off x="277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0" name="Oval 2867">
                <a:extLst>
                  <a:ext uri="{FF2B5EF4-FFF2-40B4-BE49-F238E27FC236}">
                    <a16:creationId xmlns:a16="http://schemas.microsoft.com/office/drawing/2014/main" id="{E885F045-6A09-4475-BA5D-81E43342FCD2}"/>
                  </a:ext>
                </a:extLst>
              </p:cNvPr>
              <p:cNvSpPr>
                <a:spLocks noChangeArrowheads="1"/>
              </p:cNvSpPr>
              <p:nvPr/>
            </p:nvSpPr>
            <p:spPr bwMode="auto">
              <a:xfrm>
                <a:off x="271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1" name="Oval 2868">
                <a:extLst>
                  <a:ext uri="{FF2B5EF4-FFF2-40B4-BE49-F238E27FC236}">
                    <a16:creationId xmlns:a16="http://schemas.microsoft.com/office/drawing/2014/main" id="{C9AC7CD3-C703-4777-BB72-9334CA483A28}"/>
                  </a:ext>
                </a:extLst>
              </p:cNvPr>
              <p:cNvSpPr>
                <a:spLocks noChangeArrowheads="1"/>
              </p:cNvSpPr>
              <p:nvPr/>
            </p:nvSpPr>
            <p:spPr bwMode="auto">
              <a:xfrm>
                <a:off x="268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2" name="Oval 2869">
                <a:extLst>
                  <a:ext uri="{FF2B5EF4-FFF2-40B4-BE49-F238E27FC236}">
                    <a16:creationId xmlns:a16="http://schemas.microsoft.com/office/drawing/2014/main" id="{C5A0043A-5A54-4498-8DAD-6E2E23FB6B92}"/>
                  </a:ext>
                </a:extLst>
              </p:cNvPr>
              <p:cNvSpPr>
                <a:spLocks noChangeArrowheads="1"/>
              </p:cNvSpPr>
              <p:nvPr/>
            </p:nvSpPr>
            <p:spPr bwMode="auto">
              <a:xfrm>
                <a:off x="271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3" name="Oval 2870">
                <a:extLst>
                  <a:ext uri="{FF2B5EF4-FFF2-40B4-BE49-F238E27FC236}">
                    <a16:creationId xmlns:a16="http://schemas.microsoft.com/office/drawing/2014/main" id="{081B4777-B435-4A93-B3AB-45A42805F647}"/>
                  </a:ext>
                </a:extLst>
              </p:cNvPr>
              <p:cNvSpPr>
                <a:spLocks noChangeArrowheads="1"/>
              </p:cNvSpPr>
              <p:nvPr/>
            </p:nvSpPr>
            <p:spPr bwMode="auto">
              <a:xfrm>
                <a:off x="292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4" name="Oval 2871">
                <a:extLst>
                  <a:ext uri="{FF2B5EF4-FFF2-40B4-BE49-F238E27FC236}">
                    <a16:creationId xmlns:a16="http://schemas.microsoft.com/office/drawing/2014/main" id="{30C368DC-9336-415B-8E07-C8753F541078}"/>
                  </a:ext>
                </a:extLst>
              </p:cNvPr>
              <p:cNvSpPr>
                <a:spLocks noChangeArrowheads="1"/>
              </p:cNvSpPr>
              <p:nvPr/>
            </p:nvSpPr>
            <p:spPr bwMode="auto">
              <a:xfrm>
                <a:off x="268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5" name="Oval 2872">
                <a:extLst>
                  <a:ext uri="{FF2B5EF4-FFF2-40B4-BE49-F238E27FC236}">
                    <a16:creationId xmlns:a16="http://schemas.microsoft.com/office/drawing/2014/main" id="{DB5C3526-CDFD-40CB-BDDB-34C7F7B3BE03}"/>
                  </a:ext>
                </a:extLst>
              </p:cNvPr>
              <p:cNvSpPr>
                <a:spLocks noChangeArrowheads="1"/>
              </p:cNvSpPr>
              <p:nvPr/>
            </p:nvSpPr>
            <p:spPr bwMode="auto">
              <a:xfrm>
                <a:off x="280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6" name="Oval 2873">
                <a:extLst>
                  <a:ext uri="{FF2B5EF4-FFF2-40B4-BE49-F238E27FC236}">
                    <a16:creationId xmlns:a16="http://schemas.microsoft.com/office/drawing/2014/main" id="{4294AC80-4654-40A6-9B30-4DB90FE0D784}"/>
                  </a:ext>
                </a:extLst>
              </p:cNvPr>
              <p:cNvSpPr>
                <a:spLocks noChangeArrowheads="1"/>
              </p:cNvSpPr>
              <p:nvPr/>
            </p:nvSpPr>
            <p:spPr bwMode="auto">
              <a:xfrm>
                <a:off x="301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7" name="Oval 2874">
                <a:extLst>
                  <a:ext uri="{FF2B5EF4-FFF2-40B4-BE49-F238E27FC236}">
                    <a16:creationId xmlns:a16="http://schemas.microsoft.com/office/drawing/2014/main" id="{FB2A3116-1D66-4AB2-B8DE-C346EB5CE370}"/>
                  </a:ext>
                </a:extLst>
              </p:cNvPr>
              <p:cNvSpPr>
                <a:spLocks noChangeArrowheads="1"/>
              </p:cNvSpPr>
              <p:nvPr/>
            </p:nvSpPr>
            <p:spPr bwMode="auto">
              <a:xfrm>
                <a:off x="316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04" name="Oval 2875">
                <a:extLst>
                  <a:ext uri="{FF2B5EF4-FFF2-40B4-BE49-F238E27FC236}">
                    <a16:creationId xmlns:a16="http://schemas.microsoft.com/office/drawing/2014/main" id="{3689DB52-58D1-4ABF-BF14-FA0D5946FA99}"/>
                  </a:ext>
                </a:extLst>
              </p:cNvPr>
              <p:cNvSpPr>
                <a:spLocks noChangeArrowheads="1"/>
              </p:cNvSpPr>
              <p:nvPr/>
            </p:nvSpPr>
            <p:spPr bwMode="auto">
              <a:xfrm>
                <a:off x="307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56" name="Oval 2876">
                <a:extLst>
                  <a:ext uri="{FF2B5EF4-FFF2-40B4-BE49-F238E27FC236}">
                    <a16:creationId xmlns:a16="http://schemas.microsoft.com/office/drawing/2014/main" id="{14D1C531-0079-42F7-B578-C38F7583A02B}"/>
                  </a:ext>
                </a:extLst>
              </p:cNvPr>
              <p:cNvSpPr>
                <a:spLocks noChangeArrowheads="1"/>
              </p:cNvSpPr>
              <p:nvPr/>
            </p:nvSpPr>
            <p:spPr bwMode="auto">
              <a:xfrm>
                <a:off x="295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57" name="Oval 2877">
                <a:extLst>
                  <a:ext uri="{FF2B5EF4-FFF2-40B4-BE49-F238E27FC236}">
                    <a16:creationId xmlns:a16="http://schemas.microsoft.com/office/drawing/2014/main" id="{2C3C5F42-D9BE-4443-86CE-CD80CF744085}"/>
                  </a:ext>
                </a:extLst>
              </p:cNvPr>
              <p:cNvSpPr>
                <a:spLocks noChangeArrowheads="1"/>
              </p:cNvSpPr>
              <p:nvPr/>
            </p:nvSpPr>
            <p:spPr bwMode="auto">
              <a:xfrm>
                <a:off x="301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58" name="Oval 2878">
                <a:extLst>
                  <a:ext uri="{FF2B5EF4-FFF2-40B4-BE49-F238E27FC236}">
                    <a16:creationId xmlns:a16="http://schemas.microsoft.com/office/drawing/2014/main" id="{1B9B0CB3-865A-4770-9837-7F8090321A37}"/>
                  </a:ext>
                </a:extLst>
              </p:cNvPr>
              <p:cNvSpPr>
                <a:spLocks noChangeArrowheads="1"/>
              </p:cNvSpPr>
              <p:nvPr/>
            </p:nvSpPr>
            <p:spPr bwMode="auto">
              <a:xfrm>
                <a:off x="298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59" name="Oval 2879">
                <a:extLst>
                  <a:ext uri="{FF2B5EF4-FFF2-40B4-BE49-F238E27FC236}">
                    <a16:creationId xmlns:a16="http://schemas.microsoft.com/office/drawing/2014/main" id="{49C859D8-4EBF-473F-BBA6-3374AFB7EDAE}"/>
                  </a:ext>
                </a:extLst>
              </p:cNvPr>
              <p:cNvSpPr>
                <a:spLocks noChangeArrowheads="1"/>
              </p:cNvSpPr>
              <p:nvPr/>
            </p:nvSpPr>
            <p:spPr bwMode="auto">
              <a:xfrm>
                <a:off x="30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60" name="Oval 2880">
                <a:extLst>
                  <a:ext uri="{FF2B5EF4-FFF2-40B4-BE49-F238E27FC236}">
                    <a16:creationId xmlns:a16="http://schemas.microsoft.com/office/drawing/2014/main" id="{668E7927-B4C9-4991-9290-6CB017388713}"/>
                  </a:ext>
                </a:extLst>
              </p:cNvPr>
              <p:cNvSpPr>
                <a:spLocks noChangeArrowheads="1"/>
              </p:cNvSpPr>
              <p:nvPr/>
            </p:nvSpPr>
            <p:spPr bwMode="auto">
              <a:xfrm>
                <a:off x="310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71" name="Oval 2881">
                <a:extLst>
                  <a:ext uri="{FF2B5EF4-FFF2-40B4-BE49-F238E27FC236}">
                    <a16:creationId xmlns:a16="http://schemas.microsoft.com/office/drawing/2014/main" id="{51FE45BB-CA1A-45D9-972F-D1DCDECAD569}"/>
                  </a:ext>
                </a:extLst>
              </p:cNvPr>
              <p:cNvSpPr>
                <a:spLocks noChangeArrowheads="1"/>
              </p:cNvSpPr>
              <p:nvPr/>
            </p:nvSpPr>
            <p:spPr bwMode="auto">
              <a:xfrm>
                <a:off x="310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88" name="Oval 2882">
                <a:extLst>
                  <a:ext uri="{FF2B5EF4-FFF2-40B4-BE49-F238E27FC236}">
                    <a16:creationId xmlns:a16="http://schemas.microsoft.com/office/drawing/2014/main" id="{F3A76124-BF44-418A-946A-459DD098B9B6}"/>
                  </a:ext>
                </a:extLst>
              </p:cNvPr>
              <p:cNvSpPr>
                <a:spLocks noChangeArrowheads="1"/>
              </p:cNvSpPr>
              <p:nvPr/>
            </p:nvSpPr>
            <p:spPr bwMode="auto">
              <a:xfrm>
                <a:off x="29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89" name="Oval 2883">
                <a:extLst>
                  <a:ext uri="{FF2B5EF4-FFF2-40B4-BE49-F238E27FC236}">
                    <a16:creationId xmlns:a16="http://schemas.microsoft.com/office/drawing/2014/main" id="{42AC1D10-003B-4968-B232-D2ABFB1CFDBF}"/>
                  </a:ext>
                </a:extLst>
              </p:cNvPr>
              <p:cNvSpPr>
                <a:spLocks noChangeArrowheads="1"/>
              </p:cNvSpPr>
              <p:nvPr/>
            </p:nvSpPr>
            <p:spPr bwMode="auto">
              <a:xfrm>
                <a:off x="280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90" name="Oval 2884">
                <a:extLst>
                  <a:ext uri="{FF2B5EF4-FFF2-40B4-BE49-F238E27FC236}">
                    <a16:creationId xmlns:a16="http://schemas.microsoft.com/office/drawing/2014/main" id="{5D88ADFD-9801-4794-B4E1-D04BF7E9DCDE}"/>
                  </a:ext>
                </a:extLst>
              </p:cNvPr>
              <p:cNvSpPr>
                <a:spLocks noChangeArrowheads="1"/>
              </p:cNvSpPr>
              <p:nvPr/>
            </p:nvSpPr>
            <p:spPr bwMode="auto">
              <a:xfrm>
                <a:off x="289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91" name="Oval 2885">
                <a:extLst>
                  <a:ext uri="{FF2B5EF4-FFF2-40B4-BE49-F238E27FC236}">
                    <a16:creationId xmlns:a16="http://schemas.microsoft.com/office/drawing/2014/main" id="{C2FF543B-060C-4409-9826-5525E9A09303}"/>
                  </a:ext>
                </a:extLst>
              </p:cNvPr>
              <p:cNvSpPr>
                <a:spLocks noChangeArrowheads="1"/>
              </p:cNvSpPr>
              <p:nvPr/>
            </p:nvSpPr>
            <p:spPr bwMode="auto">
              <a:xfrm>
                <a:off x="292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92" name="Oval 2886">
                <a:extLst>
                  <a:ext uri="{FF2B5EF4-FFF2-40B4-BE49-F238E27FC236}">
                    <a16:creationId xmlns:a16="http://schemas.microsoft.com/office/drawing/2014/main" id="{0897084D-0BC7-4160-B3ED-929B5CDA585F}"/>
                  </a:ext>
                </a:extLst>
              </p:cNvPr>
              <p:cNvSpPr>
                <a:spLocks noChangeArrowheads="1"/>
              </p:cNvSpPr>
              <p:nvPr/>
            </p:nvSpPr>
            <p:spPr bwMode="auto">
              <a:xfrm>
                <a:off x="283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24" name="Oval 2887">
                <a:extLst>
                  <a:ext uri="{FF2B5EF4-FFF2-40B4-BE49-F238E27FC236}">
                    <a16:creationId xmlns:a16="http://schemas.microsoft.com/office/drawing/2014/main" id="{F5D71069-EB36-40C0-BB36-9A92A8A83FDC}"/>
                  </a:ext>
                </a:extLst>
              </p:cNvPr>
              <p:cNvSpPr>
                <a:spLocks noChangeArrowheads="1"/>
              </p:cNvSpPr>
              <p:nvPr/>
            </p:nvSpPr>
            <p:spPr bwMode="auto">
              <a:xfrm>
                <a:off x="286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31" name="Oval 2888">
                <a:extLst>
                  <a:ext uri="{FF2B5EF4-FFF2-40B4-BE49-F238E27FC236}">
                    <a16:creationId xmlns:a16="http://schemas.microsoft.com/office/drawing/2014/main" id="{A68C0EF1-8A7D-4FA8-92B5-03E1E00BA163}"/>
                  </a:ext>
                </a:extLst>
              </p:cNvPr>
              <p:cNvSpPr>
                <a:spLocks noChangeArrowheads="1"/>
              </p:cNvSpPr>
              <p:nvPr/>
            </p:nvSpPr>
            <p:spPr bwMode="auto">
              <a:xfrm>
                <a:off x="30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82" name="Oval 2889">
                <a:extLst>
                  <a:ext uri="{FF2B5EF4-FFF2-40B4-BE49-F238E27FC236}">
                    <a16:creationId xmlns:a16="http://schemas.microsoft.com/office/drawing/2014/main" id="{6A17B033-6026-416A-A314-B304E9F19590}"/>
                  </a:ext>
                </a:extLst>
              </p:cNvPr>
              <p:cNvSpPr>
                <a:spLocks noChangeArrowheads="1"/>
              </p:cNvSpPr>
              <p:nvPr/>
            </p:nvSpPr>
            <p:spPr bwMode="auto">
              <a:xfrm>
                <a:off x="295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83" name="Oval 2890">
                <a:extLst>
                  <a:ext uri="{FF2B5EF4-FFF2-40B4-BE49-F238E27FC236}">
                    <a16:creationId xmlns:a16="http://schemas.microsoft.com/office/drawing/2014/main" id="{45CE1BF9-4FFD-4AFA-BB93-97A4C020AE34}"/>
                  </a:ext>
                </a:extLst>
              </p:cNvPr>
              <p:cNvSpPr>
                <a:spLocks noChangeArrowheads="1"/>
              </p:cNvSpPr>
              <p:nvPr/>
            </p:nvSpPr>
            <p:spPr bwMode="auto">
              <a:xfrm>
                <a:off x="295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84" name="Oval 2891">
                <a:extLst>
                  <a:ext uri="{FF2B5EF4-FFF2-40B4-BE49-F238E27FC236}">
                    <a16:creationId xmlns:a16="http://schemas.microsoft.com/office/drawing/2014/main" id="{5031B087-BCA9-49C3-A43D-3A535ACAEFDB}"/>
                  </a:ext>
                </a:extLst>
              </p:cNvPr>
              <p:cNvSpPr>
                <a:spLocks noChangeArrowheads="1"/>
              </p:cNvSpPr>
              <p:nvPr/>
            </p:nvSpPr>
            <p:spPr bwMode="auto">
              <a:xfrm>
                <a:off x="301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85" name="Oval 2892">
                <a:extLst>
                  <a:ext uri="{FF2B5EF4-FFF2-40B4-BE49-F238E27FC236}">
                    <a16:creationId xmlns:a16="http://schemas.microsoft.com/office/drawing/2014/main" id="{08596AC9-98AE-4E5A-B9B7-B21BD0D8DE2E}"/>
                  </a:ext>
                </a:extLst>
              </p:cNvPr>
              <p:cNvSpPr>
                <a:spLocks noChangeArrowheads="1"/>
              </p:cNvSpPr>
              <p:nvPr/>
            </p:nvSpPr>
            <p:spPr bwMode="auto">
              <a:xfrm>
                <a:off x="289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86" name="Oval 2893">
                <a:extLst>
                  <a:ext uri="{FF2B5EF4-FFF2-40B4-BE49-F238E27FC236}">
                    <a16:creationId xmlns:a16="http://schemas.microsoft.com/office/drawing/2014/main" id="{2F6A7E44-21E3-435F-8090-AA296E4EE9B9}"/>
                  </a:ext>
                </a:extLst>
              </p:cNvPr>
              <p:cNvSpPr>
                <a:spLocks noChangeArrowheads="1"/>
              </p:cNvSpPr>
              <p:nvPr/>
            </p:nvSpPr>
            <p:spPr bwMode="auto">
              <a:xfrm>
                <a:off x="307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87" name="Oval 2894">
                <a:extLst>
                  <a:ext uri="{FF2B5EF4-FFF2-40B4-BE49-F238E27FC236}">
                    <a16:creationId xmlns:a16="http://schemas.microsoft.com/office/drawing/2014/main" id="{02F0AB4A-B2E0-4CDD-985D-6E5DF4DD56CA}"/>
                  </a:ext>
                </a:extLst>
              </p:cNvPr>
              <p:cNvSpPr>
                <a:spLocks noChangeArrowheads="1"/>
              </p:cNvSpPr>
              <p:nvPr/>
            </p:nvSpPr>
            <p:spPr bwMode="auto">
              <a:xfrm>
                <a:off x="310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88" name="Oval 2895">
                <a:extLst>
                  <a:ext uri="{FF2B5EF4-FFF2-40B4-BE49-F238E27FC236}">
                    <a16:creationId xmlns:a16="http://schemas.microsoft.com/office/drawing/2014/main" id="{C4456D11-FB70-45FF-814A-CD2FE46B0D24}"/>
                  </a:ext>
                </a:extLst>
              </p:cNvPr>
              <p:cNvSpPr>
                <a:spLocks noChangeArrowheads="1"/>
              </p:cNvSpPr>
              <p:nvPr/>
            </p:nvSpPr>
            <p:spPr bwMode="auto">
              <a:xfrm>
                <a:off x="30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89" name="Oval 2896">
                <a:extLst>
                  <a:ext uri="{FF2B5EF4-FFF2-40B4-BE49-F238E27FC236}">
                    <a16:creationId xmlns:a16="http://schemas.microsoft.com/office/drawing/2014/main" id="{FB7722C0-DD91-4FC1-AAC8-354CAF5A453D}"/>
                  </a:ext>
                </a:extLst>
              </p:cNvPr>
              <p:cNvSpPr>
                <a:spLocks noChangeArrowheads="1"/>
              </p:cNvSpPr>
              <p:nvPr/>
            </p:nvSpPr>
            <p:spPr bwMode="auto">
              <a:xfrm>
                <a:off x="295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90" name="Oval 2897">
                <a:extLst>
                  <a:ext uri="{FF2B5EF4-FFF2-40B4-BE49-F238E27FC236}">
                    <a16:creationId xmlns:a16="http://schemas.microsoft.com/office/drawing/2014/main" id="{C58C8D47-C861-4126-AE27-2C9F490D7522}"/>
                  </a:ext>
                </a:extLst>
              </p:cNvPr>
              <p:cNvSpPr>
                <a:spLocks noChangeArrowheads="1"/>
              </p:cNvSpPr>
              <p:nvPr/>
            </p:nvSpPr>
            <p:spPr bwMode="auto">
              <a:xfrm>
                <a:off x="292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91" name="Oval 2898">
                <a:extLst>
                  <a:ext uri="{FF2B5EF4-FFF2-40B4-BE49-F238E27FC236}">
                    <a16:creationId xmlns:a16="http://schemas.microsoft.com/office/drawing/2014/main" id="{877F844A-3ECB-49A5-93DE-8EB9CC62EA79}"/>
                  </a:ext>
                </a:extLst>
              </p:cNvPr>
              <p:cNvSpPr>
                <a:spLocks noChangeArrowheads="1"/>
              </p:cNvSpPr>
              <p:nvPr/>
            </p:nvSpPr>
            <p:spPr bwMode="auto">
              <a:xfrm>
                <a:off x="2835"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92" name="Oval 2899">
                <a:extLst>
                  <a:ext uri="{FF2B5EF4-FFF2-40B4-BE49-F238E27FC236}">
                    <a16:creationId xmlns:a16="http://schemas.microsoft.com/office/drawing/2014/main" id="{76DB8475-7624-4C33-A294-7DE6D590FBC7}"/>
                  </a:ext>
                </a:extLst>
              </p:cNvPr>
              <p:cNvSpPr>
                <a:spLocks noChangeArrowheads="1"/>
              </p:cNvSpPr>
              <p:nvPr/>
            </p:nvSpPr>
            <p:spPr bwMode="auto">
              <a:xfrm>
                <a:off x="277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93" name="Oval 2900">
                <a:extLst>
                  <a:ext uri="{FF2B5EF4-FFF2-40B4-BE49-F238E27FC236}">
                    <a16:creationId xmlns:a16="http://schemas.microsoft.com/office/drawing/2014/main" id="{60AC2E3A-B1E2-4580-A3B8-4C0F3FAA2BE2}"/>
                  </a:ext>
                </a:extLst>
              </p:cNvPr>
              <p:cNvSpPr>
                <a:spLocks noChangeArrowheads="1"/>
              </p:cNvSpPr>
              <p:nvPr/>
            </p:nvSpPr>
            <p:spPr bwMode="auto">
              <a:xfrm>
                <a:off x="271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94" name="Oval 2901">
                <a:extLst>
                  <a:ext uri="{FF2B5EF4-FFF2-40B4-BE49-F238E27FC236}">
                    <a16:creationId xmlns:a16="http://schemas.microsoft.com/office/drawing/2014/main" id="{01737939-3CA1-480F-B0BB-3DABC3251888}"/>
                  </a:ext>
                </a:extLst>
              </p:cNvPr>
              <p:cNvSpPr>
                <a:spLocks noChangeArrowheads="1"/>
              </p:cNvSpPr>
              <p:nvPr/>
            </p:nvSpPr>
            <p:spPr bwMode="auto">
              <a:xfrm>
                <a:off x="274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95" name="Oval 2902">
                <a:extLst>
                  <a:ext uri="{FF2B5EF4-FFF2-40B4-BE49-F238E27FC236}">
                    <a16:creationId xmlns:a16="http://schemas.microsoft.com/office/drawing/2014/main" id="{D513B697-046F-4359-AF53-7983824F15E6}"/>
                  </a:ext>
                </a:extLst>
              </p:cNvPr>
              <p:cNvSpPr>
                <a:spLocks noChangeArrowheads="1"/>
              </p:cNvSpPr>
              <p:nvPr/>
            </p:nvSpPr>
            <p:spPr bwMode="auto">
              <a:xfrm>
                <a:off x="2805"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96" name="Oval 2903">
                <a:extLst>
                  <a:ext uri="{FF2B5EF4-FFF2-40B4-BE49-F238E27FC236}">
                    <a16:creationId xmlns:a16="http://schemas.microsoft.com/office/drawing/2014/main" id="{3E9E5CB2-DAFB-434F-ADD2-647C510A5055}"/>
                  </a:ext>
                </a:extLst>
              </p:cNvPr>
              <p:cNvSpPr>
                <a:spLocks noChangeArrowheads="1"/>
              </p:cNvSpPr>
              <p:nvPr/>
            </p:nvSpPr>
            <p:spPr bwMode="auto">
              <a:xfrm>
                <a:off x="27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97" name="Oval 2904">
                <a:extLst>
                  <a:ext uri="{FF2B5EF4-FFF2-40B4-BE49-F238E27FC236}">
                    <a16:creationId xmlns:a16="http://schemas.microsoft.com/office/drawing/2014/main" id="{EB2ADE4D-45D1-4F3E-8BE5-E772117FF7FA}"/>
                  </a:ext>
                </a:extLst>
              </p:cNvPr>
              <p:cNvSpPr>
                <a:spLocks noChangeArrowheads="1"/>
              </p:cNvSpPr>
              <p:nvPr/>
            </p:nvSpPr>
            <p:spPr bwMode="auto">
              <a:xfrm>
                <a:off x="2745"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98" name="Oval 2905">
                <a:extLst>
                  <a:ext uri="{FF2B5EF4-FFF2-40B4-BE49-F238E27FC236}">
                    <a16:creationId xmlns:a16="http://schemas.microsoft.com/office/drawing/2014/main" id="{8AC3C9CD-FDA4-4D56-B8C5-01A9AC04C994}"/>
                  </a:ext>
                </a:extLst>
              </p:cNvPr>
              <p:cNvSpPr>
                <a:spLocks noChangeArrowheads="1"/>
              </p:cNvSpPr>
              <p:nvPr/>
            </p:nvSpPr>
            <p:spPr bwMode="auto">
              <a:xfrm>
                <a:off x="25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99" name="Oval 2906">
                <a:extLst>
                  <a:ext uri="{FF2B5EF4-FFF2-40B4-BE49-F238E27FC236}">
                    <a16:creationId xmlns:a16="http://schemas.microsoft.com/office/drawing/2014/main" id="{4F3B5B2D-D2FB-4F36-B35C-F606D7206A1A}"/>
                  </a:ext>
                </a:extLst>
              </p:cNvPr>
              <p:cNvSpPr>
                <a:spLocks noChangeArrowheads="1"/>
              </p:cNvSpPr>
              <p:nvPr/>
            </p:nvSpPr>
            <p:spPr bwMode="auto">
              <a:xfrm>
                <a:off x="259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00" name="Oval 2907">
                <a:extLst>
                  <a:ext uri="{FF2B5EF4-FFF2-40B4-BE49-F238E27FC236}">
                    <a16:creationId xmlns:a16="http://schemas.microsoft.com/office/drawing/2014/main" id="{36CB2822-7588-4330-98E2-1238449A89CF}"/>
                  </a:ext>
                </a:extLst>
              </p:cNvPr>
              <p:cNvSpPr>
                <a:spLocks noChangeArrowheads="1"/>
              </p:cNvSpPr>
              <p:nvPr/>
            </p:nvSpPr>
            <p:spPr bwMode="auto">
              <a:xfrm>
                <a:off x="262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01" name="Oval 2908">
                <a:extLst>
                  <a:ext uri="{FF2B5EF4-FFF2-40B4-BE49-F238E27FC236}">
                    <a16:creationId xmlns:a16="http://schemas.microsoft.com/office/drawing/2014/main" id="{B4CE37B5-EB37-4ECF-9979-3F18304DACA5}"/>
                  </a:ext>
                </a:extLst>
              </p:cNvPr>
              <p:cNvSpPr>
                <a:spLocks noChangeArrowheads="1"/>
              </p:cNvSpPr>
              <p:nvPr/>
            </p:nvSpPr>
            <p:spPr bwMode="auto">
              <a:xfrm>
                <a:off x="2655"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02" name="Oval 2909">
                <a:extLst>
                  <a:ext uri="{FF2B5EF4-FFF2-40B4-BE49-F238E27FC236}">
                    <a16:creationId xmlns:a16="http://schemas.microsoft.com/office/drawing/2014/main" id="{7AECE153-BB34-4E57-9CD4-472C64FE951A}"/>
                  </a:ext>
                </a:extLst>
              </p:cNvPr>
              <p:cNvSpPr>
                <a:spLocks noChangeArrowheads="1"/>
              </p:cNvSpPr>
              <p:nvPr/>
            </p:nvSpPr>
            <p:spPr bwMode="auto">
              <a:xfrm>
                <a:off x="271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03" name="Oval 2910">
                <a:extLst>
                  <a:ext uri="{FF2B5EF4-FFF2-40B4-BE49-F238E27FC236}">
                    <a16:creationId xmlns:a16="http://schemas.microsoft.com/office/drawing/2014/main" id="{6176A2DB-4F18-4703-BB43-29B4482FA6FA}"/>
                  </a:ext>
                </a:extLst>
              </p:cNvPr>
              <p:cNvSpPr>
                <a:spLocks noChangeArrowheads="1"/>
              </p:cNvSpPr>
              <p:nvPr/>
            </p:nvSpPr>
            <p:spPr bwMode="auto">
              <a:xfrm>
                <a:off x="262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04" name="Oval 2911">
                <a:extLst>
                  <a:ext uri="{FF2B5EF4-FFF2-40B4-BE49-F238E27FC236}">
                    <a16:creationId xmlns:a16="http://schemas.microsoft.com/office/drawing/2014/main" id="{0F201B5C-145A-4285-9792-C716EC89388A}"/>
                  </a:ext>
                </a:extLst>
              </p:cNvPr>
              <p:cNvSpPr>
                <a:spLocks noChangeArrowheads="1"/>
              </p:cNvSpPr>
              <p:nvPr/>
            </p:nvSpPr>
            <p:spPr bwMode="auto">
              <a:xfrm>
                <a:off x="256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05" name="Oval 2912">
                <a:extLst>
                  <a:ext uri="{FF2B5EF4-FFF2-40B4-BE49-F238E27FC236}">
                    <a16:creationId xmlns:a16="http://schemas.microsoft.com/office/drawing/2014/main" id="{E431D9CE-7A83-4C1D-97CC-3F379928AD38}"/>
                  </a:ext>
                </a:extLst>
              </p:cNvPr>
              <p:cNvSpPr>
                <a:spLocks noChangeArrowheads="1"/>
              </p:cNvSpPr>
              <p:nvPr/>
            </p:nvSpPr>
            <p:spPr bwMode="auto">
              <a:xfrm>
                <a:off x="27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06" name="Oval 2913">
                <a:extLst>
                  <a:ext uri="{FF2B5EF4-FFF2-40B4-BE49-F238E27FC236}">
                    <a16:creationId xmlns:a16="http://schemas.microsoft.com/office/drawing/2014/main" id="{FA78EB2D-AB7D-4126-8C7B-BE17EAFE79BC}"/>
                  </a:ext>
                </a:extLst>
              </p:cNvPr>
              <p:cNvSpPr>
                <a:spLocks noChangeArrowheads="1"/>
              </p:cNvSpPr>
              <p:nvPr/>
            </p:nvSpPr>
            <p:spPr bwMode="auto">
              <a:xfrm>
                <a:off x="265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07" name="Oval 2914">
                <a:extLst>
                  <a:ext uri="{FF2B5EF4-FFF2-40B4-BE49-F238E27FC236}">
                    <a16:creationId xmlns:a16="http://schemas.microsoft.com/office/drawing/2014/main" id="{463BCF88-0902-423A-8290-0F6AC33011A4}"/>
                  </a:ext>
                </a:extLst>
              </p:cNvPr>
              <p:cNvSpPr>
                <a:spLocks noChangeArrowheads="1"/>
              </p:cNvSpPr>
              <p:nvPr/>
            </p:nvSpPr>
            <p:spPr bwMode="auto">
              <a:xfrm>
                <a:off x="25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08" name="Oval 2915">
                <a:extLst>
                  <a:ext uri="{FF2B5EF4-FFF2-40B4-BE49-F238E27FC236}">
                    <a16:creationId xmlns:a16="http://schemas.microsoft.com/office/drawing/2014/main" id="{5979ACBC-8115-4E84-81C4-9D530902D80B}"/>
                  </a:ext>
                </a:extLst>
              </p:cNvPr>
              <p:cNvSpPr>
                <a:spLocks noChangeArrowheads="1"/>
              </p:cNvSpPr>
              <p:nvPr/>
            </p:nvSpPr>
            <p:spPr bwMode="auto">
              <a:xfrm>
                <a:off x="2805"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09" name="Oval 2916">
                <a:extLst>
                  <a:ext uri="{FF2B5EF4-FFF2-40B4-BE49-F238E27FC236}">
                    <a16:creationId xmlns:a16="http://schemas.microsoft.com/office/drawing/2014/main" id="{2742BDE9-4CDB-4121-B7E8-43F7018884C0}"/>
                  </a:ext>
                </a:extLst>
              </p:cNvPr>
              <p:cNvSpPr>
                <a:spLocks noChangeArrowheads="1"/>
              </p:cNvSpPr>
              <p:nvPr/>
            </p:nvSpPr>
            <p:spPr bwMode="auto">
              <a:xfrm>
                <a:off x="307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10" name="Oval 2917">
                <a:extLst>
                  <a:ext uri="{FF2B5EF4-FFF2-40B4-BE49-F238E27FC236}">
                    <a16:creationId xmlns:a16="http://schemas.microsoft.com/office/drawing/2014/main" id="{0B346CC4-1FC8-4C37-86CF-FEF5707F9DA3}"/>
                  </a:ext>
                </a:extLst>
              </p:cNvPr>
              <p:cNvSpPr>
                <a:spLocks noChangeArrowheads="1"/>
              </p:cNvSpPr>
              <p:nvPr/>
            </p:nvSpPr>
            <p:spPr bwMode="auto">
              <a:xfrm>
                <a:off x="301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11" name="Oval 2918">
                <a:extLst>
                  <a:ext uri="{FF2B5EF4-FFF2-40B4-BE49-F238E27FC236}">
                    <a16:creationId xmlns:a16="http://schemas.microsoft.com/office/drawing/2014/main" id="{0D93FA92-9772-4A60-9339-4916A947CAF7}"/>
                  </a:ext>
                </a:extLst>
              </p:cNvPr>
              <p:cNvSpPr>
                <a:spLocks noChangeArrowheads="1"/>
              </p:cNvSpPr>
              <p:nvPr/>
            </p:nvSpPr>
            <p:spPr bwMode="auto">
              <a:xfrm>
                <a:off x="289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12" name="Oval 2919">
                <a:extLst>
                  <a:ext uri="{FF2B5EF4-FFF2-40B4-BE49-F238E27FC236}">
                    <a16:creationId xmlns:a16="http://schemas.microsoft.com/office/drawing/2014/main" id="{7DFDB30C-1230-41D4-BACB-97C39E203C88}"/>
                  </a:ext>
                </a:extLst>
              </p:cNvPr>
              <p:cNvSpPr>
                <a:spLocks noChangeArrowheads="1"/>
              </p:cNvSpPr>
              <p:nvPr/>
            </p:nvSpPr>
            <p:spPr bwMode="auto">
              <a:xfrm>
                <a:off x="274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13" name="Oval 2920">
                <a:extLst>
                  <a:ext uri="{FF2B5EF4-FFF2-40B4-BE49-F238E27FC236}">
                    <a16:creationId xmlns:a16="http://schemas.microsoft.com/office/drawing/2014/main" id="{3D66C53F-1F48-44C6-B7AB-84CAC8DDA43D}"/>
                  </a:ext>
                </a:extLst>
              </p:cNvPr>
              <p:cNvSpPr>
                <a:spLocks noChangeArrowheads="1"/>
              </p:cNvSpPr>
              <p:nvPr/>
            </p:nvSpPr>
            <p:spPr bwMode="auto">
              <a:xfrm>
                <a:off x="259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14" name="Oval 2921">
                <a:extLst>
                  <a:ext uri="{FF2B5EF4-FFF2-40B4-BE49-F238E27FC236}">
                    <a16:creationId xmlns:a16="http://schemas.microsoft.com/office/drawing/2014/main" id="{02CC6D1D-9449-4133-8979-D23FEFBF128A}"/>
                  </a:ext>
                </a:extLst>
              </p:cNvPr>
              <p:cNvSpPr>
                <a:spLocks noChangeArrowheads="1"/>
              </p:cNvSpPr>
              <p:nvPr/>
            </p:nvSpPr>
            <p:spPr bwMode="auto">
              <a:xfrm>
                <a:off x="262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15" name="Oval 2922">
                <a:extLst>
                  <a:ext uri="{FF2B5EF4-FFF2-40B4-BE49-F238E27FC236}">
                    <a16:creationId xmlns:a16="http://schemas.microsoft.com/office/drawing/2014/main" id="{B3791699-68F8-4BD4-A256-01AC18D89DC2}"/>
                  </a:ext>
                </a:extLst>
              </p:cNvPr>
              <p:cNvSpPr>
                <a:spLocks noChangeArrowheads="1"/>
              </p:cNvSpPr>
              <p:nvPr/>
            </p:nvSpPr>
            <p:spPr bwMode="auto">
              <a:xfrm>
                <a:off x="2955" y="3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16" name="Oval 2923">
                <a:extLst>
                  <a:ext uri="{FF2B5EF4-FFF2-40B4-BE49-F238E27FC236}">
                    <a16:creationId xmlns:a16="http://schemas.microsoft.com/office/drawing/2014/main" id="{90A0A584-C57F-413E-91BD-9A2906BE76CE}"/>
                  </a:ext>
                </a:extLst>
              </p:cNvPr>
              <p:cNvSpPr>
                <a:spLocks noChangeArrowheads="1"/>
              </p:cNvSpPr>
              <p:nvPr/>
            </p:nvSpPr>
            <p:spPr bwMode="auto">
              <a:xfrm>
                <a:off x="304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17" name="Oval 2924">
                <a:extLst>
                  <a:ext uri="{FF2B5EF4-FFF2-40B4-BE49-F238E27FC236}">
                    <a16:creationId xmlns:a16="http://schemas.microsoft.com/office/drawing/2014/main" id="{E84E4AFB-A7E7-4FED-9D3D-D272371A2341}"/>
                  </a:ext>
                </a:extLst>
              </p:cNvPr>
              <p:cNvSpPr>
                <a:spLocks noChangeArrowheads="1"/>
              </p:cNvSpPr>
              <p:nvPr/>
            </p:nvSpPr>
            <p:spPr bwMode="auto">
              <a:xfrm>
                <a:off x="286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18" name="Oval 2925">
                <a:extLst>
                  <a:ext uri="{FF2B5EF4-FFF2-40B4-BE49-F238E27FC236}">
                    <a16:creationId xmlns:a16="http://schemas.microsoft.com/office/drawing/2014/main" id="{46BAA42D-6FF7-4BB6-BFA3-62FA95BC9F86}"/>
                  </a:ext>
                </a:extLst>
              </p:cNvPr>
              <p:cNvSpPr>
                <a:spLocks noChangeArrowheads="1"/>
              </p:cNvSpPr>
              <p:nvPr/>
            </p:nvSpPr>
            <p:spPr bwMode="auto">
              <a:xfrm>
                <a:off x="274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19" name="Oval 2926">
                <a:extLst>
                  <a:ext uri="{FF2B5EF4-FFF2-40B4-BE49-F238E27FC236}">
                    <a16:creationId xmlns:a16="http://schemas.microsoft.com/office/drawing/2014/main" id="{1975853B-B899-4657-9549-25F481B990BE}"/>
                  </a:ext>
                </a:extLst>
              </p:cNvPr>
              <p:cNvSpPr>
                <a:spLocks noChangeArrowheads="1"/>
              </p:cNvSpPr>
              <p:nvPr/>
            </p:nvSpPr>
            <p:spPr bwMode="auto">
              <a:xfrm>
                <a:off x="283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20" name="Oval 2927">
                <a:extLst>
                  <a:ext uri="{FF2B5EF4-FFF2-40B4-BE49-F238E27FC236}">
                    <a16:creationId xmlns:a16="http://schemas.microsoft.com/office/drawing/2014/main" id="{C4E59A45-A418-4C3B-A0EF-8D336C18B927}"/>
                  </a:ext>
                </a:extLst>
              </p:cNvPr>
              <p:cNvSpPr>
                <a:spLocks noChangeArrowheads="1"/>
              </p:cNvSpPr>
              <p:nvPr/>
            </p:nvSpPr>
            <p:spPr bwMode="auto">
              <a:xfrm>
                <a:off x="277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21" name="Oval 2928">
                <a:extLst>
                  <a:ext uri="{FF2B5EF4-FFF2-40B4-BE49-F238E27FC236}">
                    <a16:creationId xmlns:a16="http://schemas.microsoft.com/office/drawing/2014/main" id="{983E36D0-375A-4953-BF54-0E7A7796ED2A}"/>
                  </a:ext>
                </a:extLst>
              </p:cNvPr>
              <p:cNvSpPr>
                <a:spLocks noChangeArrowheads="1"/>
              </p:cNvSpPr>
              <p:nvPr/>
            </p:nvSpPr>
            <p:spPr bwMode="auto">
              <a:xfrm>
                <a:off x="301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22" name="Oval 2929">
                <a:extLst>
                  <a:ext uri="{FF2B5EF4-FFF2-40B4-BE49-F238E27FC236}">
                    <a16:creationId xmlns:a16="http://schemas.microsoft.com/office/drawing/2014/main" id="{F2389354-F089-4118-8D43-4D59774B4052}"/>
                  </a:ext>
                </a:extLst>
              </p:cNvPr>
              <p:cNvSpPr>
                <a:spLocks noChangeArrowheads="1"/>
              </p:cNvSpPr>
              <p:nvPr/>
            </p:nvSpPr>
            <p:spPr bwMode="auto">
              <a:xfrm>
                <a:off x="3015"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23" name="Oval 2930">
                <a:extLst>
                  <a:ext uri="{FF2B5EF4-FFF2-40B4-BE49-F238E27FC236}">
                    <a16:creationId xmlns:a16="http://schemas.microsoft.com/office/drawing/2014/main" id="{9C6A8535-5A4F-4E7D-A281-7E4F9B578A5F}"/>
                  </a:ext>
                </a:extLst>
              </p:cNvPr>
              <p:cNvSpPr>
                <a:spLocks noChangeArrowheads="1"/>
              </p:cNvSpPr>
              <p:nvPr/>
            </p:nvSpPr>
            <p:spPr bwMode="auto">
              <a:xfrm>
                <a:off x="283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24" name="Oval 2931">
                <a:extLst>
                  <a:ext uri="{FF2B5EF4-FFF2-40B4-BE49-F238E27FC236}">
                    <a16:creationId xmlns:a16="http://schemas.microsoft.com/office/drawing/2014/main" id="{3E7C2547-0702-461D-9C6E-F709DF6A21A1}"/>
                  </a:ext>
                </a:extLst>
              </p:cNvPr>
              <p:cNvSpPr>
                <a:spLocks noChangeArrowheads="1"/>
              </p:cNvSpPr>
              <p:nvPr/>
            </p:nvSpPr>
            <p:spPr bwMode="auto">
              <a:xfrm>
                <a:off x="274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25" name="Oval 2932">
                <a:extLst>
                  <a:ext uri="{FF2B5EF4-FFF2-40B4-BE49-F238E27FC236}">
                    <a16:creationId xmlns:a16="http://schemas.microsoft.com/office/drawing/2014/main" id="{F18DB318-8253-432D-8F67-F28952429A33}"/>
                  </a:ext>
                </a:extLst>
              </p:cNvPr>
              <p:cNvSpPr>
                <a:spLocks noChangeArrowheads="1"/>
              </p:cNvSpPr>
              <p:nvPr/>
            </p:nvSpPr>
            <p:spPr bwMode="auto">
              <a:xfrm>
                <a:off x="25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26" name="Oval 2933">
                <a:extLst>
                  <a:ext uri="{FF2B5EF4-FFF2-40B4-BE49-F238E27FC236}">
                    <a16:creationId xmlns:a16="http://schemas.microsoft.com/office/drawing/2014/main" id="{69574703-3F13-4E82-9489-1D7AA7AF7A61}"/>
                  </a:ext>
                </a:extLst>
              </p:cNvPr>
              <p:cNvSpPr>
                <a:spLocks noChangeArrowheads="1"/>
              </p:cNvSpPr>
              <p:nvPr/>
            </p:nvSpPr>
            <p:spPr bwMode="auto">
              <a:xfrm>
                <a:off x="24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27" name="Oval 2934">
                <a:extLst>
                  <a:ext uri="{FF2B5EF4-FFF2-40B4-BE49-F238E27FC236}">
                    <a16:creationId xmlns:a16="http://schemas.microsoft.com/office/drawing/2014/main" id="{B42B9696-E34E-4092-BE53-95724D7EA33F}"/>
                  </a:ext>
                </a:extLst>
              </p:cNvPr>
              <p:cNvSpPr>
                <a:spLocks noChangeArrowheads="1"/>
              </p:cNvSpPr>
              <p:nvPr/>
            </p:nvSpPr>
            <p:spPr bwMode="auto">
              <a:xfrm>
                <a:off x="238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28" name="Oval 2935">
                <a:extLst>
                  <a:ext uri="{FF2B5EF4-FFF2-40B4-BE49-F238E27FC236}">
                    <a16:creationId xmlns:a16="http://schemas.microsoft.com/office/drawing/2014/main" id="{645C7FC8-5DE1-424A-8876-6E2968004E18}"/>
                  </a:ext>
                </a:extLst>
              </p:cNvPr>
              <p:cNvSpPr>
                <a:spLocks noChangeArrowheads="1"/>
              </p:cNvSpPr>
              <p:nvPr/>
            </p:nvSpPr>
            <p:spPr bwMode="auto">
              <a:xfrm>
                <a:off x="256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29" name="Oval 2936">
                <a:extLst>
                  <a:ext uri="{FF2B5EF4-FFF2-40B4-BE49-F238E27FC236}">
                    <a16:creationId xmlns:a16="http://schemas.microsoft.com/office/drawing/2014/main" id="{2D464BDD-6294-411F-A71D-466245C58EBC}"/>
                  </a:ext>
                </a:extLst>
              </p:cNvPr>
              <p:cNvSpPr>
                <a:spLocks noChangeArrowheads="1"/>
              </p:cNvSpPr>
              <p:nvPr/>
            </p:nvSpPr>
            <p:spPr bwMode="auto">
              <a:xfrm>
                <a:off x="232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30" name="Oval 2937">
                <a:extLst>
                  <a:ext uri="{FF2B5EF4-FFF2-40B4-BE49-F238E27FC236}">
                    <a16:creationId xmlns:a16="http://schemas.microsoft.com/office/drawing/2014/main" id="{FD990A0A-AAFD-4E3D-88F3-EFB45B203663}"/>
                  </a:ext>
                </a:extLst>
              </p:cNvPr>
              <p:cNvSpPr>
                <a:spLocks noChangeArrowheads="1"/>
              </p:cNvSpPr>
              <p:nvPr/>
            </p:nvSpPr>
            <p:spPr bwMode="auto">
              <a:xfrm>
                <a:off x="250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31" name="Oval 2938">
                <a:extLst>
                  <a:ext uri="{FF2B5EF4-FFF2-40B4-BE49-F238E27FC236}">
                    <a16:creationId xmlns:a16="http://schemas.microsoft.com/office/drawing/2014/main" id="{0D29F591-92C3-45BC-95A2-FBA3C53B3A5C}"/>
                  </a:ext>
                </a:extLst>
              </p:cNvPr>
              <p:cNvSpPr>
                <a:spLocks noChangeArrowheads="1"/>
              </p:cNvSpPr>
              <p:nvPr/>
            </p:nvSpPr>
            <p:spPr bwMode="auto">
              <a:xfrm>
                <a:off x="238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32" name="Oval 2939">
                <a:extLst>
                  <a:ext uri="{FF2B5EF4-FFF2-40B4-BE49-F238E27FC236}">
                    <a16:creationId xmlns:a16="http://schemas.microsoft.com/office/drawing/2014/main" id="{DD9D2704-1C85-4CBC-B444-965CE7F5B23D}"/>
                  </a:ext>
                </a:extLst>
              </p:cNvPr>
              <p:cNvSpPr>
                <a:spLocks noChangeArrowheads="1"/>
              </p:cNvSpPr>
              <p:nvPr/>
            </p:nvSpPr>
            <p:spPr bwMode="auto">
              <a:xfrm>
                <a:off x="244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33" name="Oval 2940">
                <a:extLst>
                  <a:ext uri="{FF2B5EF4-FFF2-40B4-BE49-F238E27FC236}">
                    <a16:creationId xmlns:a16="http://schemas.microsoft.com/office/drawing/2014/main" id="{5463F269-E8BD-48CE-A85C-55F2F72692D6}"/>
                  </a:ext>
                </a:extLst>
              </p:cNvPr>
              <p:cNvSpPr>
                <a:spLocks noChangeArrowheads="1"/>
              </p:cNvSpPr>
              <p:nvPr/>
            </p:nvSpPr>
            <p:spPr bwMode="auto">
              <a:xfrm>
                <a:off x="250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34" name="Oval 2941">
                <a:extLst>
                  <a:ext uri="{FF2B5EF4-FFF2-40B4-BE49-F238E27FC236}">
                    <a16:creationId xmlns:a16="http://schemas.microsoft.com/office/drawing/2014/main" id="{8ECF416E-C6C9-41AB-A08A-FE0806F50005}"/>
                  </a:ext>
                </a:extLst>
              </p:cNvPr>
              <p:cNvSpPr>
                <a:spLocks noChangeArrowheads="1"/>
              </p:cNvSpPr>
              <p:nvPr/>
            </p:nvSpPr>
            <p:spPr bwMode="auto">
              <a:xfrm>
                <a:off x="256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35" name="Oval 2942">
                <a:extLst>
                  <a:ext uri="{FF2B5EF4-FFF2-40B4-BE49-F238E27FC236}">
                    <a16:creationId xmlns:a16="http://schemas.microsoft.com/office/drawing/2014/main" id="{93EEA242-DA80-4D68-857B-F781CA4BB806}"/>
                  </a:ext>
                </a:extLst>
              </p:cNvPr>
              <p:cNvSpPr>
                <a:spLocks noChangeArrowheads="1"/>
              </p:cNvSpPr>
              <p:nvPr/>
            </p:nvSpPr>
            <p:spPr bwMode="auto">
              <a:xfrm>
                <a:off x="244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36" name="Oval 2943">
                <a:extLst>
                  <a:ext uri="{FF2B5EF4-FFF2-40B4-BE49-F238E27FC236}">
                    <a16:creationId xmlns:a16="http://schemas.microsoft.com/office/drawing/2014/main" id="{DB4E5920-CEA6-4FAE-956B-BFE47A2EA62F}"/>
                  </a:ext>
                </a:extLst>
              </p:cNvPr>
              <p:cNvSpPr>
                <a:spLocks noChangeArrowheads="1"/>
              </p:cNvSpPr>
              <p:nvPr/>
            </p:nvSpPr>
            <p:spPr bwMode="auto">
              <a:xfrm>
                <a:off x="238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37" name="Oval 2944">
                <a:extLst>
                  <a:ext uri="{FF2B5EF4-FFF2-40B4-BE49-F238E27FC236}">
                    <a16:creationId xmlns:a16="http://schemas.microsoft.com/office/drawing/2014/main" id="{9E57B7CB-19E8-405F-9AEB-23350D6CC314}"/>
                  </a:ext>
                </a:extLst>
              </p:cNvPr>
              <p:cNvSpPr>
                <a:spLocks noChangeArrowheads="1"/>
              </p:cNvSpPr>
              <p:nvPr/>
            </p:nvSpPr>
            <p:spPr bwMode="auto">
              <a:xfrm>
                <a:off x="238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38" name="Oval 2945">
                <a:extLst>
                  <a:ext uri="{FF2B5EF4-FFF2-40B4-BE49-F238E27FC236}">
                    <a16:creationId xmlns:a16="http://schemas.microsoft.com/office/drawing/2014/main" id="{5406DC17-1DC4-4A81-9FC4-D09057B5B967}"/>
                  </a:ext>
                </a:extLst>
              </p:cNvPr>
              <p:cNvSpPr>
                <a:spLocks noChangeArrowheads="1"/>
              </p:cNvSpPr>
              <p:nvPr/>
            </p:nvSpPr>
            <p:spPr bwMode="auto">
              <a:xfrm>
                <a:off x="250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39" name="Oval 2946">
                <a:extLst>
                  <a:ext uri="{FF2B5EF4-FFF2-40B4-BE49-F238E27FC236}">
                    <a16:creationId xmlns:a16="http://schemas.microsoft.com/office/drawing/2014/main" id="{28D79913-7598-4275-B4A9-8EC361804195}"/>
                  </a:ext>
                </a:extLst>
              </p:cNvPr>
              <p:cNvSpPr>
                <a:spLocks noChangeArrowheads="1"/>
              </p:cNvSpPr>
              <p:nvPr/>
            </p:nvSpPr>
            <p:spPr bwMode="auto">
              <a:xfrm>
                <a:off x="232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40" name="Oval 2947">
                <a:extLst>
                  <a:ext uri="{FF2B5EF4-FFF2-40B4-BE49-F238E27FC236}">
                    <a16:creationId xmlns:a16="http://schemas.microsoft.com/office/drawing/2014/main" id="{C7D527E8-F4A7-4A3B-9EA3-100D95FA9DA7}"/>
                  </a:ext>
                </a:extLst>
              </p:cNvPr>
              <p:cNvSpPr>
                <a:spLocks noChangeArrowheads="1"/>
              </p:cNvSpPr>
              <p:nvPr/>
            </p:nvSpPr>
            <p:spPr bwMode="auto">
              <a:xfrm>
                <a:off x="247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41" name="Oval 2948">
                <a:extLst>
                  <a:ext uri="{FF2B5EF4-FFF2-40B4-BE49-F238E27FC236}">
                    <a16:creationId xmlns:a16="http://schemas.microsoft.com/office/drawing/2014/main" id="{59351185-BB05-4B4C-9CF9-75C541D44578}"/>
                  </a:ext>
                </a:extLst>
              </p:cNvPr>
              <p:cNvSpPr>
                <a:spLocks noChangeArrowheads="1"/>
              </p:cNvSpPr>
              <p:nvPr/>
            </p:nvSpPr>
            <p:spPr bwMode="auto">
              <a:xfrm>
                <a:off x="244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42" name="Oval 2949">
                <a:extLst>
                  <a:ext uri="{FF2B5EF4-FFF2-40B4-BE49-F238E27FC236}">
                    <a16:creationId xmlns:a16="http://schemas.microsoft.com/office/drawing/2014/main" id="{015427B4-EF14-40FC-A6B0-0AA7E9AC7A94}"/>
                  </a:ext>
                </a:extLst>
              </p:cNvPr>
              <p:cNvSpPr>
                <a:spLocks noChangeArrowheads="1"/>
              </p:cNvSpPr>
              <p:nvPr/>
            </p:nvSpPr>
            <p:spPr bwMode="auto">
              <a:xfrm>
                <a:off x="223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43" name="Oval 2950">
                <a:extLst>
                  <a:ext uri="{FF2B5EF4-FFF2-40B4-BE49-F238E27FC236}">
                    <a16:creationId xmlns:a16="http://schemas.microsoft.com/office/drawing/2014/main" id="{A33AA62E-8192-4D82-A9E3-67B0473CEA0C}"/>
                  </a:ext>
                </a:extLst>
              </p:cNvPr>
              <p:cNvSpPr>
                <a:spLocks noChangeArrowheads="1"/>
              </p:cNvSpPr>
              <p:nvPr/>
            </p:nvSpPr>
            <p:spPr bwMode="auto">
              <a:xfrm>
                <a:off x="223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44" name="Oval 2951">
                <a:extLst>
                  <a:ext uri="{FF2B5EF4-FFF2-40B4-BE49-F238E27FC236}">
                    <a16:creationId xmlns:a16="http://schemas.microsoft.com/office/drawing/2014/main" id="{3D75DE99-D9C8-4AEC-B12F-3821CD16D3B5}"/>
                  </a:ext>
                </a:extLst>
              </p:cNvPr>
              <p:cNvSpPr>
                <a:spLocks noChangeArrowheads="1"/>
              </p:cNvSpPr>
              <p:nvPr/>
            </p:nvSpPr>
            <p:spPr bwMode="auto">
              <a:xfrm>
                <a:off x="235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45" name="Oval 2952">
                <a:extLst>
                  <a:ext uri="{FF2B5EF4-FFF2-40B4-BE49-F238E27FC236}">
                    <a16:creationId xmlns:a16="http://schemas.microsoft.com/office/drawing/2014/main" id="{9D5CB013-ED9B-4730-A079-345DD9F0D032}"/>
                  </a:ext>
                </a:extLst>
              </p:cNvPr>
              <p:cNvSpPr>
                <a:spLocks noChangeArrowheads="1"/>
              </p:cNvSpPr>
              <p:nvPr/>
            </p:nvSpPr>
            <p:spPr bwMode="auto">
              <a:xfrm>
                <a:off x="244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46" name="Oval 2953">
                <a:extLst>
                  <a:ext uri="{FF2B5EF4-FFF2-40B4-BE49-F238E27FC236}">
                    <a16:creationId xmlns:a16="http://schemas.microsoft.com/office/drawing/2014/main" id="{75093769-E1AA-4086-8121-CA5F485E9DA9}"/>
                  </a:ext>
                </a:extLst>
              </p:cNvPr>
              <p:cNvSpPr>
                <a:spLocks noChangeArrowheads="1"/>
              </p:cNvSpPr>
              <p:nvPr/>
            </p:nvSpPr>
            <p:spPr bwMode="auto">
              <a:xfrm>
                <a:off x="250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47" name="Oval 2954">
                <a:extLst>
                  <a:ext uri="{FF2B5EF4-FFF2-40B4-BE49-F238E27FC236}">
                    <a16:creationId xmlns:a16="http://schemas.microsoft.com/office/drawing/2014/main" id="{5002CEC7-49E3-49CF-ABE0-2A7B451318FF}"/>
                  </a:ext>
                </a:extLst>
              </p:cNvPr>
              <p:cNvSpPr>
                <a:spLocks noChangeArrowheads="1"/>
              </p:cNvSpPr>
              <p:nvPr/>
            </p:nvSpPr>
            <p:spPr bwMode="auto">
              <a:xfrm>
                <a:off x="247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48" name="Oval 2955">
                <a:extLst>
                  <a:ext uri="{FF2B5EF4-FFF2-40B4-BE49-F238E27FC236}">
                    <a16:creationId xmlns:a16="http://schemas.microsoft.com/office/drawing/2014/main" id="{EFB9D9DE-13FE-41BD-97AF-65132CDBD2E4}"/>
                  </a:ext>
                </a:extLst>
              </p:cNvPr>
              <p:cNvSpPr>
                <a:spLocks noChangeArrowheads="1"/>
              </p:cNvSpPr>
              <p:nvPr/>
            </p:nvSpPr>
            <p:spPr bwMode="auto">
              <a:xfrm>
                <a:off x="235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49" name="Oval 2956">
                <a:extLst>
                  <a:ext uri="{FF2B5EF4-FFF2-40B4-BE49-F238E27FC236}">
                    <a16:creationId xmlns:a16="http://schemas.microsoft.com/office/drawing/2014/main" id="{45208DA4-3689-4DF1-ACFB-B9CA5CC49233}"/>
                  </a:ext>
                </a:extLst>
              </p:cNvPr>
              <p:cNvSpPr>
                <a:spLocks noChangeArrowheads="1"/>
              </p:cNvSpPr>
              <p:nvPr/>
            </p:nvSpPr>
            <p:spPr bwMode="auto">
              <a:xfrm>
                <a:off x="229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50" name="Oval 2957">
                <a:extLst>
                  <a:ext uri="{FF2B5EF4-FFF2-40B4-BE49-F238E27FC236}">
                    <a16:creationId xmlns:a16="http://schemas.microsoft.com/office/drawing/2014/main" id="{E0444AB0-24D3-4827-BB1D-51E5B29C47BE}"/>
                  </a:ext>
                </a:extLst>
              </p:cNvPr>
              <p:cNvSpPr>
                <a:spLocks noChangeArrowheads="1"/>
              </p:cNvSpPr>
              <p:nvPr/>
            </p:nvSpPr>
            <p:spPr bwMode="auto">
              <a:xfrm>
                <a:off x="223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51" name="Oval 2958">
                <a:extLst>
                  <a:ext uri="{FF2B5EF4-FFF2-40B4-BE49-F238E27FC236}">
                    <a16:creationId xmlns:a16="http://schemas.microsoft.com/office/drawing/2014/main" id="{86C2DB8A-7200-4334-9437-E28F1FD6E1A2}"/>
                  </a:ext>
                </a:extLst>
              </p:cNvPr>
              <p:cNvSpPr>
                <a:spLocks noChangeArrowheads="1"/>
              </p:cNvSpPr>
              <p:nvPr/>
            </p:nvSpPr>
            <p:spPr bwMode="auto">
              <a:xfrm>
                <a:off x="223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52" name="Oval 2959">
                <a:extLst>
                  <a:ext uri="{FF2B5EF4-FFF2-40B4-BE49-F238E27FC236}">
                    <a16:creationId xmlns:a16="http://schemas.microsoft.com/office/drawing/2014/main" id="{CEC1B451-C10C-4660-BFB0-912524F4939E}"/>
                  </a:ext>
                </a:extLst>
              </p:cNvPr>
              <p:cNvSpPr>
                <a:spLocks noChangeArrowheads="1"/>
              </p:cNvSpPr>
              <p:nvPr/>
            </p:nvSpPr>
            <p:spPr bwMode="auto">
              <a:xfrm>
                <a:off x="211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53" name="Oval 2960">
                <a:extLst>
                  <a:ext uri="{FF2B5EF4-FFF2-40B4-BE49-F238E27FC236}">
                    <a16:creationId xmlns:a16="http://schemas.microsoft.com/office/drawing/2014/main" id="{38B84215-185D-45E8-B620-6543C46D1CBD}"/>
                  </a:ext>
                </a:extLst>
              </p:cNvPr>
              <p:cNvSpPr>
                <a:spLocks noChangeArrowheads="1"/>
              </p:cNvSpPr>
              <p:nvPr/>
            </p:nvSpPr>
            <p:spPr bwMode="auto">
              <a:xfrm>
                <a:off x="21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54" name="Oval 2961">
                <a:extLst>
                  <a:ext uri="{FF2B5EF4-FFF2-40B4-BE49-F238E27FC236}">
                    <a16:creationId xmlns:a16="http://schemas.microsoft.com/office/drawing/2014/main" id="{93772C92-C3D4-49E6-9900-B244493C2825}"/>
                  </a:ext>
                </a:extLst>
              </p:cNvPr>
              <p:cNvSpPr>
                <a:spLocks noChangeArrowheads="1"/>
              </p:cNvSpPr>
              <p:nvPr/>
            </p:nvSpPr>
            <p:spPr bwMode="auto">
              <a:xfrm>
                <a:off x="238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55" name="Oval 2962">
                <a:extLst>
                  <a:ext uri="{FF2B5EF4-FFF2-40B4-BE49-F238E27FC236}">
                    <a16:creationId xmlns:a16="http://schemas.microsoft.com/office/drawing/2014/main" id="{DA583ED3-D9A6-40DD-B7C5-6E607EE18C8D}"/>
                  </a:ext>
                </a:extLst>
              </p:cNvPr>
              <p:cNvSpPr>
                <a:spLocks noChangeArrowheads="1"/>
              </p:cNvSpPr>
              <p:nvPr/>
            </p:nvSpPr>
            <p:spPr bwMode="auto">
              <a:xfrm>
                <a:off x="238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56" name="Oval 2963">
                <a:extLst>
                  <a:ext uri="{FF2B5EF4-FFF2-40B4-BE49-F238E27FC236}">
                    <a16:creationId xmlns:a16="http://schemas.microsoft.com/office/drawing/2014/main" id="{EEFFCD70-59E9-40AC-ACE0-6EE4644BE95A}"/>
                  </a:ext>
                </a:extLst>
              </p:cNvPr>
              <p:cNvSpPr>
                <a:spLocks noChangeArrowheads="1"/>
              </p:cNvSpPr>
              <p:nvPr/>
            </p:nvSpPr>
            <p:spPr bwMode="auto">
              <a:xfrm>
                <a:off x="226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57" name="Oval 2964">
                <a:extLst>
                  <a:ext uri="{FF2B5EF4-FFF2-40B4-BE49-F238E27FC236}">
                    <a16:creationId xmlns:a16="http://schemas.microsoft.com/office/drawing/2014/main" id="{66CDCCEF-2E33-452F-8BCA-40478208292B}"/>
                  </a:ext>
                </a:extLst>
              </p:cNvPr>
              <p:cNvSpPr>
                <a:spLocks noChangeArrowheads="1"/>
              </p:cNvSpPr>
              <p:nvPr/>
            </p:nvSpPr>
            <p:spPr bwMode="auto">
              <a:xfrm>
                <a:off x="2145"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58" name="Oval 2965">
                <a:extLst>
                  <a:ext uri="{FF2B5EF4-FFF2-40B4-BE49-F238E27FC236}">
                    <a16:creationId xmlns:a16="http://schemas.microsoft.com/office/drawing/2014/main" id="{359CCEFF-E3A3-401B-9A8A-8AE5D132AE71}"/>
                  </a:ext>
                </a:extLst>
              </p:cNvPr>
              <p:cNvSpPr>
                <a:spLocks noChangeArrowheads="1"/>
              </p:cNvSpPr>
              <p:nvPr/>
            </p:nvSpPr>
            <p:spPr bwMode="auto">
              <a:xfrm>
                <a:off x="2056" y="30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59" name="Oval 2966">
                <a:extLst>
                  <a:ext uri="{FF2B5EF4-FFF2-40B4-BE49-F238E27FC236}">
                    <a16:creationId xmlns:a16="http://schemas.microsoft.com/office/drawing/2014/main" id="{0E138DE3-1F10-4BEB-AD04-56A74F24F4B6}"/>
                  </a:ext>
                </a:extLst>
              </p:cNvPr>
              <p:cNvSpPr>
                <a:spLocks noChangeArrowheads="1"/>
              </p:cNvSpPr>
              <p:nvPr/>
            </p:nvSpPr>
            <p:spPr bwMode="auto">
              <a:xfrm>
                <a:off x="1966" y="28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60" name="Oval 2967">
                <a:extLst>
                  <a:ext uri="{FF2B5EF4-FFF2-40B4-BE49-F238E27FC236}">
                    <a16:creationId xmlns:a16="http://schemas.microsoft.com/office/drawing/2014/main" id="{53CACD45-1343-49BB-8D00-778DD1994B67}"/>
                  </a:ext>
                </a:extLst>
              </p:cNvPr>
              <p:cNvSpPr>
                <a:spLocks noChangeArrowheads="1"/>
              </p:cNvSpPr>
              <p:nvPr/>
            </p:nvSpPr>
            <p:spPr bwMode="auto">
              <a:xfrm>
                <a:off x="1966"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61" name="Oval 2968">
                <a:extLst>
                  <a:ext uri="{FF2B5EF4-FFF2-40B4-BE49-F238E27FC236}">
                    <a16:creationId xmlns:a16="http://schemas.microsoft.com/office/drawing/2014/main" id="{20714497-8E6C-455F-8ABD-2D6FBE8E0DDA}"/>
                  </a:ext>
                </a:extLst>
              </p:cNvPr>
              <p:cNvSpPr>
                <a:spLocks noChangeArrowheads="1"/>
              </p:cNvSpPr>
              <p:nvPr/>
            </p:nvSpPr>
            <p:spPr bwMode="auto">
              <a:xfrm>
                <a:off x="2056" y="264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62" name="Oval 2969">
                <a:extLst>
                  <a:ext uri="{FF2B5EF4-FFF2-40B4-BE49-F238E27FC236}">
                    <a16:creationId xmlns:a16="http://schemas.microsoft.com/office/drawing/2014/main" id="{91040611-7671-4145-AC94-D0CCA90D0037}"/>
                  </a:ext>
                </a:extLst>
              </p:cNvPr>
              <p:cNvSpPr>
                <a:spLocks noChangeArrowheads="1"/>
              </p:cNvSpPr>
              <p:nvPr/>
            </p:nvSpPr>
            <p:spPr bwMode="auto">
              <a:xfrm>
                <a:off x="211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63" name="Oval 2970">
                <a:extLst>
                  <a:ext uri="{FF2B5EF4-FFF2-40B4-BE49-F238E27FC236}">
                    <a16:creationId xmlns:a16="http://schemas.microsoft.com/office/drawing/2014/main" id="{E94D95AA-1C69-43D0-B680-CFFA29499D4A}"/>
                  </a:ext>
                </a:extLst>
              </p:cNvPr>
              <p:cNvSpPr>
                <a:spLocks noChangeArrowheads="1"/>
              </p:cNvSpPr>
              <p:nvPr/>
            </p:nvSpPr>
            <p:spPr bwMode="auto">
              <a:xfrm>
                <a:off x="196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64" name="Oval 2971">
                <a:extLst>
                  <a:ext uri="{FF2B5EF4-FFF2-40B4-BE49-F238E27FC236}">
                    <a16:creationId xmlns:a16="http://schemas.microsoft.com/office/drawing/2014/main" id="{EA299207-4FE5-407C-B3E2-1844E86E860B}"/>
                  </a:ext>
                </a:extLst>
              </p:cNvPr>
              <p:cNvSpPr>
                <a:spLocks noChangeArrowheads="1"/>
              </p:cNvSpPr>
              <p:nvPr/>
            </p:nvSpPr>
            <p:spPr bwMode="auto">
              <a:xfrm>
                <a:off x="2056" y="24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65" name="Oval 2972">
                <a:extLst>
                  <a:ext uri="{FF2B5EF4-FFF2-40B4-BE49-F238E27FC236}">
                    <a16:creationId xmlns:a16="http://schemas.microsoft.com/office/drawing/2014/main" id="{E9CE8D31-6CC2-4BC2-9751-9684147605C3}"/>
                  </a:ext>
                </a:extLst>
              </p:cNvPr>
              <p:cNvSpPr>
                <a:spLocks noChangeArrowheads="1"/>
              </p:cNvSpPr>
              <p:nvPr/>
            </p:nvSpPr>
            <p:spPr bwMode="auto">
              <a:xfrm>
                <a:off x="21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66" name="Oval 2973">
                <a:extLst>
                  <a:ext uri="{FF2B5EF4-FFF2-40B4-BE49-F238E27FC236}">
                    <a16:creationId xmlns:a16="http://schemas.microsoft.com/office/drawing/2014/main" id="{B8AC8C21-F7E9-4EDB-B478-530D582C5330}"/>
                  </a:ext>
                </a:extLst>
              </p:cNvPr>
              <p:cNvSpPr>
                <a:spLocks noChangeArrowheads="1"/>
              </p:cNvSpPr>
              <p:nvPr/>
            </p:nvSpPr>
            <p:spPr bwMode="auto">
              <a:xfrm>
                <a:off x="196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67" name="Oval 2974">
                <a:extLst>
                  <a:ext uri="{FF2B5EF4-FFF2-40B4-BE49-F238E27FC236}">
                    <a16:creationId xmlns:a16="http://schemas.microsoft.com/office/drawing/2014/main" id="{EA7869A5-F8D1-4288-B108-0D200751F0D4}"/>
                  </a:ext>
                </a:extLst>
              </p:cNvPr>
              <p:cNvSpPr>
                <a:spLocks noChangeArrowheads="1"/>
              </p:cNvSpPr>
              <p:nvPr/>
            </p:nvSpPr>
            <p:spPr bwMode="auto">
              <a:xfrm>
                <a:off x="187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68" name="Oval 2975">
                <a:extLst>
                  <a:ext uri="{FF2B5EF4-FFF2-40B4-BE49-F238E27FC236}">
                    <a16:creationId xmlns:a16="http://schemas.microsoft.com/office/drawing/2014/main" id="{288B7A68-4D2D-4A1F-B6F4-0744347EE426}"/>
                  </a:ext>
                </a:extLst>
              </p:cNvPr>
              <p:cNvSpPr>
                <a:spLocks noChangeArrowheads="1"/>
              </p:cNvSpPr>
              <p:nvPr/>
            </p:nvSpPr>
            <p:spPr bwMode="auto">
              <a:xfrm>
                <a:off x="178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69" name="Oval 2976">
                <a:extLst>
                  <a:ext uri="{FF2B5EF4-FFF2-40B4-BE49-F238E27FC236}">
                    <a16:creationId xmlns:a16="http://schemas.microsoft.com/office/drawing/2014/main" id="{3F6A4CB9-D50A-4A8E-B2EC-DEB58F94E17B}"/>
                  </a:ext>
                </a:extLst>
              </p:cNvPr>
              <p:cNvSpPr>
                <a:spLocks noChangeArrowheads="1"/>
              </p:cNvSpPr>
              <p:nvPr/>
            </p:nvSpPr>
            <p:spPr bwMode="auto">
              <a:xfrm>
                <a:off x="1756"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70" name="Oval 2977">
                <a:extLst>
                  <a:ext uri="{FF2B5EF4-FFF2-40B4-BE49-F238E27FC236}">
                    <a16:creationId xmlns:a16="http://schemas.microsoft.com/office/drawing/2014/main" id="{AFE9D92E-BC45-436C-8D02-899EDC66DFF1}"/>
                  </a:ext>
                </a:extLst>
              </p:cNvPr>
              <p:cNvSpPr>
                <a:spLocks noChangeArrowheads="1"/>
              </p:cNvSpPr>
              <p:nvPr/>
            </p:nvSpPr>
            <p:spPr bwMode="auto">
              <a:xfrm>
                <a:off x="187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71" name="Oval 2978">
                <a:extLst>
                  <a:ext uri="{FF2B5EF4-FFF2-40B4-BE49-F238E27FC236}">
                    <a16:creationId xmlns:a16="http://schemas.microsoft.com/office/drawing/2014/main" id="{503A20C7-AC61-42C7-B613-BE6F8A311BB1}"/>
                  </a:ext>
                </a:extLst>
              </p:cNvPr>
              <p:cNvSpPr>
                <a:spLocks noChangeArrowheads="1"/>
              </p:cNvSpPr>
              <p:nvPr/>
            </p:nvSpPr>
            <p:spPr bwMode="auto">
              <a:xfrm>
                <a:off x="1816"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72" name="Oval 2979">
                <a:extLst>
                  <a:ext uri="{FF2B5EF4-FFF2-40B4-BE49-F238E27FC236}">
                    <a16:creationId xmlns:a16="http://schemas.microsoft.com/office/drawing/2014/main" id="{B6B79099-9635-4CD3-A065-C90B6A8D02C7}"/>
                  </a:ext>
                </a:extLst>
              </p:cNvPr>
              <p:cNvSpPr>
                <a:spLocks noChangeArrowheads="1"/>
              </p:cNvSpPr>
              <p:nvPr/>
            </p:nvSpPr>
            <p:spPr bwMode="auto">
              <a:xfrm>
                <a:off x="18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73" name="Oval 2980">
                <a:extLst>
                  <a:ext uri="{FF2B5EF4-FFF2-40B4-BE49-F238E27FC236}">
                    <a16:creationId xmlns:a16="http://schemas.microsoft.com/office/drawing/2014/main" id="{54B9D5B3-E60F-4584-BC95-6F9B56A3B37B}"/>
                  </a:ext>
                </a:extLst>
              </p:cNvPr>
              <p:cNvSpPr>
                <a:spLocks noChangeArrowheads="1"/>
              </p:cNvSpPr>
              <p:nvPr/>
            </p:nvSpPr>
            <p:spPr bwMode="auto">
              <a:xfrm>
                <a:off x="184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74" name="Oval 2981">
                <a:extLst>
                  <a:ext uri="{FF2B5EF4-FFF2-40B4-BE49-F238E27FC236}">
                    <a16:creationId xmlns:a16="http://schemas.microsoft.com/office/drawing/2014/main" id="{A5CB2276-7532-449E-9358-A447FD732B25}"/>
                  </a:ext>
                </a:extLst>
              </p:cNvPr>
              <p:cNvSpPr>
                <a:spLocks noChangeArrowheads="1"/>
              </p:cNvSpPr>
              <p:nvPr/>
            </p:nvSpPr>
            <p:spPr bwMode="auto">
              <a:xfrm>
                <a:off x="229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75" name="Oval 2982">
                <a:extLst>
                  <a:ext uri="{FF2B5EF4-FFF2-40B4-BE49-F238E27FC236}">
                    <a16:creationId xmlns:a16="http://schemas.microsoft.com/office/drawing/2014/main" id="{8F63CD09-60DE-41CC-B681-42A581F868D1}"/>
                  </a:ext>
                </a:extLst>
              </p:cNvPr>
              <p:cNvSpPr>
                <a:spLocks noChangeArrowheads="1"/>
              </p:cNvSpPr>
              <p:nvPr/>
            </p:nvSpPr>
            <p:spPr bwMode="auto">
              <a:xfrm>
                <a:off x="232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sp>
          <p:nvSpPr>
            <p:cNvPr id="1174" name="Oval 2984">
              <a:extLst>
                <a:ext uri="{FF2B5EF4-FFF2-40B4-BE49-F238E27FC236}">
                  <a16:creationId xmlns:a16="http://schemas.microsoft.com/office/drawing/2014/main" id="{9500D530-8982-4E27-9C76-88DA68E37E66}"/>
                </a:ext>
              </a:extLst>
            </p:cNvPr>
            <p:cNvSpPr>
              <a:spLocks noChangeArrowheads="1"/>
            </p:cNvSpPr>
            <p:nvPr/>
          </p:nvSpPr>
          <p:spPr bwMode="auto">
            <a:xfrm>
              <a:off x="232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5" name="Oval 2985">
              <a:extLst>
                <a:ext uri="{FF2B5EF4-FFF2-40B4-BE49-F238E27FC236}">
                  <a16:creationId xmlns:a16="http://schemas.microsoft.com/office/drawing/2014/main" id="{57F19978-FA24-48D6-9144-823D8A4E9B65}"/>
                </a:ext>
              </a:extLst>
            </p:cNvPr>
            <p:cNvSpPr>
              <a:spLocks noChangeArrowheads="1"/>
            </p:cNvSpPr>
            <p:nvPr/>
          </p:nvSpPr>
          <p:spPr bwMode="auto">
            <a:xfrm>
              <a:off x="214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6" name="Oval 2986">
              <a:extLst>
                <a:ext uri="{FF2B5EF4-FFF2-40B4-BE49-F238E27FC236}">
                  <a16:creationId xmlns:a16="http://schemas.microsoft.com/office/drawing/2014/main" id="{4D86C99C-4561-4356-8ADB-A6ACE679F39E}"/>
                </a:ext>
              </a:extLst>
            </p:cNvPr>
            <p:cNvSpPr>
              <a:spLocks noChangeArrowheads="1"/>
            </p:cNvSpPr>
            <p:nvPr/>
          </p:nvSpPr>
          <p:spPr bwMode="auto">
            <a:xfrm>
              <a:off x="2026"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7" name="Oval 2987">
              <a:extLst>
                <a:ext uri="{FF2B5EF4-FFF2-40B4-BE49-F238E27FC236}">
                  <a16:creationId xmlns:a16="http://schemas.microsoft.com/office/drawing/2014/main" id="{EDB13EB3-47C5-4A77-9DBA-CEDEFBCE8239}"/>
                </a:ext>
              </a:extLst>
            </p:cNvPr>
            <p:cNvSpPr>
              <a:spLocks noChangeArrowheads="1"/>
            </p:cNvSpPr>
            <p:nvPr/>
          </p:nvSpPr>
          <p:spPr bwMode="auto">
            <a:xfrm>
              <a:off x="18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8" name="Oval 2988">
              <a:extLst>
                <a:ext uri="{FF2B5EF4-FFF2-40B4-BE49-F238E27FC236}">
                  <a16:creationId xmlns:a16="http://schemas.microsoft.com/office/drawing/2014/main" id="{83970082-FBFE-4C92-BDA9-09F4EFE14951}"/>
                </a:ext>
              </a:extLst>
            </p:cNvPr>
            <p:cNvSpPr>
              <a:spLocks noChangeArrowheads="1"/>
            </p:cNvSpPr>
            <p:nvPr/>
          </p:nvSpPr>
          <p:spPr bwMode="auto">
            <a:xfrm>
              <a:off x="2056" y="19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9" name="Oval 2989">
              <a:extLst>
                <a:ext uri="{FF2B5EF4-FFF2-40B4-BE49-F238E27FC236}">
                  <a16:creationId xmlns:a16="http://schemas.microsoft.com/office/drawing/2014/main" id="{C23952AF-68F0-430A-8EA3-C4C764A70084}"/>
                </a:ext>
              </a:extLst>
            </p:cNvPr>
            <p:cNvSpPr>
              <a:spLocks noChangeArrowheads="1"/>
            </p:cNvSpPr>
            <p:nvPr/>
          </p:nvSpPr>
          <p:spPr bwMode="auto">
            <a:xfrm>
              <a:off x="199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0" name="Oval 2990">
              <a:extLst>
                <a:ext uri="{FF2B5EF4-FFF2-40B4-BE49-F238E27FC236}">
                  <a16:creationId xmlns:a16="http://schemas.microsoft.com/office/drawing/2014/main" id="{084D9878-B2C6-4152-BB71-B09958821EB3}"/>
                </a:ext>
              </a:extLst>
            </p:cNvPr>
            <p:cNvSpPr>
              <a:spLocks noChangeArrowheads="1"/>
            </p:cNvSpPr>
            <p:nvPr/>
          </p:nvSpPr>
          <p:spPr bwMode="auto">
            <a:xfrm>
              <a:off x="21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1" name="Oval 2991">
              <a:extLst>
                <a:ext uri="{FF2B5EF4-FFF2-40B4-BE49-F238E27FC236}">
                  <a16:creationId xmlns:a16="http://schemas.microsoft.com/office/drawing/2014/main" id="{50ADF4EC-371F-456D-B426-D147BE029027}"/>
                </a:ext>
              </a:extLst>
            </p:cNvPr>
            <p:cNvSpPr>
              <a:spLocks noChangeArrowheads="1"/>
            </p:cNvSpPr>
            <p:nvPr/>
          </p:nvSpPr>
          <p:spPr bwMode="auto">
            <a:xfrm>
              <a:off x="2145"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2" name="Oval 2992">
              <a:extLst>
                <a:ext uri="{FF2B5EF4-FFF2-40B4-BE49-F238E27FC236}">
                  <a16:creationId xmlns:a16="http://schemas.microsoft.com/office/drawing/2014/main" id="{E5F64D02-F83C-4284-ADD1-0FCFCB639524}"/>
                </a:ext>
              </a:extLst>
            </p:cNvPr>
            <p:cNvSpPr>
              <a:spLocks noChangeArrowheads="1"/>
            </p:cNvSpPr>
            <p:nvPr/>
          </p:nvSpPr>
          <p:spPr bwMode="auto">
            <a:xfrm>
              <a:off x="220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3" name="Oval 2993">
              <a:extLst>
                <a:ext uri="{FF2B5EF4-FFF2-40B4-BE49-F238E27FC236}">
                  <a16:creationId xmlns:a16="http://schemas.microsoft.com/office/drawing/2014/main" id="{6E2CB56D-8E3C-40F3-9A3B-CEF21AE6BC6D}"/>
                </a:ext>
              </a:extLst>
            </p:cNvPr>
            <p:cNvSpPr>
              <a:spLocks noChangeArrowheads="1"/>
            </p:cNvSpPr>
            <p:nvPr/>
          </p:nvSpPr>
          <p:spPr bwMode="auto">
            <a:xfrm>
              <a:off x="2086"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4" name="Oval 2994">
              <a:extLst>
                <a:ext uri="{FF2B5EF4-FFF2-40B4-BE49-F238E27FC236}">
                  <a16:creationId xmlns:a16="http://schemas.microsoft.com/office/drawing/2014/main" id="{1B4F4EFA-B74C-4099-AD31-F7CA0D12C482}"/>
                </a:ext>
              </a:extLst>
            </p:cNvPr>
            <p:cNvSpPr>
              <a:spLocks noChangeArrowheads="1"/>
            </p:cNvSpPr>
            <p:nvPr/>
          </p:nvSpPr>
          <p:spPr bwMode="auto">
            <a:xfrm>
              <a:off x="2205"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5" name="Oval 2995">
              <a:extLst>
                <a:ext uri="{FF2B5EF4-FFF2-40B4-BE49-F238E27FC236}">
                  <a16:creationId xmlns:a16="http://schemas.microsoft.com/office/drawing/2014/main" id="{B8028D33-1DD8-4919-8844-01D4925967B4}"/>
                </a:ext>
              </a:extLst>
            </p:cNvPr>
            <p:cNvSpPr>
              <a:spLocks noChangeArrowheads="1"/>
            </p:cNvSpPr>
            <p:nvPr/>
          </p:nvSpPr>
          <p:spPr bwMode="auto">
            <a:xfrm>
              <a:off x="21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9" name="Oval 2996">
              <a:extLst>
                <a:ext uri="{FF2B5EF4-FFF2-40B4-BE49-F238E27FC236}">
                  <a16:creationId xmlns:a16="http://schemas.microsoft.com/office/drawing/2014/main" id="{0D1A9683-2A35-42D3-8EC5-9F8EAB72863F}"/>
                </a:ext>
              </a:extLst>
            </p:cNvPr>
            <p:cNvSpPr>
              <a:spLocks noChangeArrowheads="1"/>
            </p:cNvSpPr>
            <p:nvPr/>
          </p:nvSpPr>
          <p:spPr bwMode="auto">
            <a:xfrm>
              <a:off x="2026"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1" name="Oval 2997">
              <a:extLst>
                <a:ext uri="{FF2B5EF4-FFF2-40B4-BE49-F238E27FC236}">
                  <a16:creationId xmlns:a16="http://schemas.microsoft.com/office/drawing/2014/main" id="{E8189B4D-E45B-4AD7-AC06-4DDE0B25CA5C}"/>
                </a:ext>
              </a:extLst>
            </p:cNvPr>
            <p:cNvSpPr>
              <a:spLocks noChangeArrowheads="1"/>
            </p:cNvSpPr>
            <p:nvPr/>
          </p:nvSpPr>
          <p:spPr bwMode="auto">
            <a:xfrm>
              <a:off x="199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05" name="Oval 2998">
              <a:extLst>
                <a:ext uri="{FF2B5EF4-FFF2-40B4-BE49-F238E27FC236}">
                  <a16:creationId xmlns:a16="http://schemas.microsoft.com/office/drawing/2014/main" id="{866E21B5-A51C-4282-B802-4B19CEFBFFB1}"/>
                </a:ext>
              </a:extLst>
            </p:cNvPr>
            <p:cNvSpPr>
              <a:spLocks noChangeArrowheads="1"/>
            </p:cNvSpPr>
            <p:nvPr/>
          </p:nvSpPr>
          <p:spPr bwMode="auto">
            <a:xfrm>
              <a:off x="19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06" name="Oval 2999">
              <a:extLst>
                <a:ext uri="{FF2B5EF4-FFF2-40B4-BE49-F238E27FC236}">
                  <a16:creationId xmlns:a16="http://schemas.microsoft.com/office/drawing/2014/main" id="{40AB0010-5224-4FD0-A6FA-167A72B5F01F}"/>
                </a:ext>
              </a:extLst>
            </p:cNvPr>
            <p:cNvSpPr>
              <a:spLocks noChangeArrowheads="1"/>
            </p:cNvSpPr>
            <p:nvPr/>
          </p:nvSpPr>
          <p:spPr bwMode="auto">
            <a:xfrm>
              <a:off x="190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07" name="Oval 3000">
              <a:extLst>
                <a:ext uri="{FF2B5EF4-FFF2-40B4-BE49-F238E27FC236}">
                  <a16:creationId xmlns:a16="http://schemas.microsoft.com/office/drawing/2014/main" id="{2530992D-C037-4E91-8089-DB2813A3D9A4}"/>
                </a:ext>
              </a:extLst>
            </p:cNvPr>
            <p:cNvSpPr>
              <a:spLocks noChangeArrowheads="1"/>
            </p:cNvSpPr>
            <p:nvPr/>
          </p:nvSpPr>
          <p:spPr bwMode="auto">
            <a:xfrm>
              <a:off x="2026"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08" name="Oval 3001">
              <a:extLst>
                <a:ext uri="{FF2B5EF4-FFF2-40B4-BE49-F238E27FC236}">
                  <a16:creationId xmlns:a16="http://schemas.microsoft.com/office/drawing/2014/main" id="{F0C5C20D-D092-4ABB-AE65-E532B25B4E8E}"/>
                </a:ext>
              </a:extLst>
            </p:cNvPr>
            <p:cNvSpPr>
              <a:spLocks noChangeArrowheads="1"/>
            </p:cNvSpPr>
            <p:nvPr/>
          </p:nvSpPr>
          <p:spPr bwMode="auto">
            <a:xfrm>
              <a:off x="1846"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09" name="Oval 3002">
              <a:extLst>
                <a:ext uri="{FF2B5EF4-FFF2-40B4-BE49-F238E27FC236}">
                  <a16:creationId xmlns:a16="http://schemas.microsoft.com/office/drawing/2014/main" id="{9A9AF857-4D3B-40B2-A14E-AE1186F69000}"/>
                </a:ext>
              </a:extLst>
            </p:cNvPr>
            <p:cNvSpPr>
              <a:spLocks noChangeArrowheads="1"/>
            </p:cNvSpPr>
            <p:nvPr/>
          </p:nvSpPr>
          <p:spPr bwMode="auto">
            <a:xfrm>
              <a:off x="157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10" name="Oval 3003">
              <a:extLst>
                <a:ext uri="{FF2B5EF4-FFF2-40B4-BE49-F238E27FC236}">
                  <a16:creationId xmlns:a16="http://schemas.microsoft.com/office/drawing/2014/main" id="{0EEFB347-0691-4B30-9991-A6425A5A6291}"/>
                </a:ext>
              </a:extLst>
            </p:cNvPr>
            <p:cNvSpPr>
              <a:spLocks noChangeArrowheads="1"/>
            </p:cNvSpPr>
            <p:nvPr/>
          </p:nvSpPr>
          <p:spPr bwMode="auto">
            <a:xfrm>
              <a:off x="154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11" name="Oval 3004">
              <a:extLst>
                <a:ext uri="{FF2B5EF4-FFF2-40B4-BE49-F238E27FC236}">
                  <a16:creationId xmlns:a16="http://schemas.microsoft.com/office/drawing/2014/main" id="{F04BC1DA-E4B3-4EEE-9293-A760E5E0F5DD}"/>
                </a:ext>
              </a:extLst>
            </p:cNvPr>
            <p:cNvSpPr>
              <a:spLocks noChangeArrowheads="1"/>
            </p:cNvSpPr>
            <p:nvPr/>
          </p:nvSpPr>
          <p:spPr bwMode="auto">
            <a:xfrm>
              <a:off x="187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12" name="Oval 3005">
              <a:extLst>
                <a:ext uri="{FF2B5EF4-FFF2-40B4-BE49-F238E27FC236}">
                  <a16:creationId xmlns:a16="http://schemas.microsoft.com/office/drawing/2014/main" id="{AD6FA906-C44C-4BFD-9B07-2422BBDC03D9}"/>
                </a:ext>
              </a:extLst>
            </p:cNvPr>
            <p:cNvSpPr>
              <a:spLocks noChangeArrowheads="1"/>
            </p:cNvSpPr>
            <p:nvPr/>
          </p:nvSpPr>
          <p:spPr bwMode="auto">
            <a:xfrm>
              <a:off x="19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13" name="Oval 3006">
              <a:extLst>
                <a:ext uri="{FF2B5EF4-FFF2-40B4-BE49-F238E27FC236}">
                  <a16:creationId xmlns:a16="http://schemas.microsoft.com/office/drawing/2014/main" id="{E163DD39-0782-4CAF-A57A-36500BCF711B}"/>
                </a:ext>
              </a:extLst>
            </p:cNvPr>
            <p:cNvSpPr>
              <a:spLocks noChangeArrowheads="1"/>
            </p:cNvSpPr>
            <p:nvPr/>
          </p:nvSpPr>
          <p:spPr bwMode="auto">
            <a:xfrm>
              <a:off x="226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14" name="Oval 3007">
              <a:extLst>
                <a:ext uri="{FF2B5EF4-FFF2-40B4-BE49-F238E27FC236}">
                  <a16:creationId xmlns:a16="http://schemas.microsoft.com/office/drawing/2014/main" id="{B4788852-E7BA-42C0-8D45-600424C92EAA}"/>
                </a:ext>
              </a:extLst>
            </p:cNvPr>
            <p:cNvSpPr>
              <a:spLocks noChangeArrowheads="1"/>
            </p:cNvSpPr>
            <p:nvPr/>
          </p:nvSpPr>
          <p:spPr bwMode="auto">
            <a:xfrm>
              <a:off x="223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15" name="Oval 3008">
              <a:extLst>
                <a:ext uri="{FF2B5EF4-FFF2-40B4-BE49-F238E27FC236}">
                  <a16:creationId xmlns:a16="http://schemas.microsoft.com/office/drawing/2014/main" id="{EC3FC1C8-3103-4FBE-8E3D-11F627C75873}"/>
                </a:ext>
              </a:extLst>
            </p:cNvPr>
            <p:cNvSpPr>
              <a:spLocks noChangeArrowheads="1"/>
            </p:cNvSpPr>
            <p:nvPr/>
          </p:nvSpPr>
          <p:spPr bwMode="auto">
            <a:xfrm>
              <a:off x="223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16" name="Oval 3009">
              <a:extLst>
                <a:ext uri="{FF2B5EF4-FFF2-40B4-BE49-F238E27FC236}">
                  <a16:creationId xmlns:a16="http://schemas.microsoft.com/office/drawing/2014/main" id="{72E36381-BF7D-41DF-8D91-14B362D3AF16}"/>
                </a:ext>
              </a:extLst>
            </p:cNvPr>
            <p:cNvSpPr>
              <a:spLocks noChangeArrowheads="1"/>
            </p:cNvSpPr>
            <p:nvPr/>
          </p:nvSpPr>
          <p:spPr bwMode="auto">
            <a:xfrm>
              <a:off x="241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0" name="Oval 3010">
              <a:extLst>
                <a:ext uri="{FF2B5EF4-FFF2-40B4-BE49-F238E27FC236}">
                  <a16:creationId xmlns:a16="http://schemas.microsoft.com/office/drawing/2014/main" id="{A7F19276-0BFE-4A4C-AE04-5AD732D67A02}"/>
                </a:ext>
              </a:extLst>
            </p:cNvPr>
            <p:cNvSpPr>
              <a:spLocks noChangeArrowheads="1"/>
            </p:cNvSpPr>
            <p:nvPr/>
          </p:nvSpPr>
          <p:spPr bwMode="auto">
            <a:xfrm>
              <a:off x="274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1" name="Oval 3011">
              <a:extLst>
                <a:ext uri="{FF2B5EF4-FFF2-40B4-BE49-F238E27FC236}">
                  <a16:creationId xmlns:a16="http://schemas.microsoft.com/office/drawing/2014/main" id="{AAACAA53-C5D9-4DF7-875E-17FA4AA45208}"/>
                </a:ext>
              </a:extLst>
            </p:cNvPr>
            <p:cNvSpPr>
              <a:spLocks noChangeArrowheads="1"/>
            </p:cNvSpPr>
            <p:nvPr/>
          </p:nvSpPr>
          <p:spPr bwMode="auto">
            <a:xfrm>
              <a:off x="265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2" name="Oval 3012">
              <a:extLst>
                <a:ext uri="{FF2B5EF4-FFF2-40B4-BE49-F238E27FC236}">
                  <a16:creationId xmlns:a16="http://schemas.microsoft.com/office/drawing/2014/main" id="{30E31D73-B15D-4150-AB13-209EDFED04CF}"/>
                </a:ext>
              </a:extLst>
            </p:cNvPr>
            <p:cNvSpPr>
              <a:spLocks noChangeArrowheads="1"/>
            </p:cNvSpPr>
            <p:nvPr/>
          </p:nvSpPr>
          <p:spPr bwMode="auto">
            <a:xfrm>
              <a:off x="268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3" name="Oval 3013">
              <a:extLst>
                <a:ext uri="{FF2B5EF4-FFF2-40B4-BE49-F238E27FC236}">
                  <a16:creationId xmlns:a16="http://schemas.microsoft.com/office/drawing/2014/main" id="{46FCDB53-5107-4DE3-8689-850C7A9BFAE5}"/>
                </a:ext>
              </a:extLst>
            </p:cNvPr>
            <p:cNvSpPr>
              <a:spLocks noChangeArrowheads="1"/>
            </p:cNvSpPr>
            <p:nvPr/>
          </p:nvSpPr>
          <p:spPr bwMode="auto">
            <a:xfrm>
              <a:off x="262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4" name="Oval 3014">
              <a:extLst>
                <a:ext uri="{FF2B5EF4-FFF2-40B4-BE49-F238E27FC236}">
                  <a16:creationId xmlns:a16="http://schemas.microsoft.com/office/drawing/2014/main" id="{B039AB0B-882F-41F1-9FD1-FDBFD46A153C}"/>
                </a:ext>
              </a:extLst>
            </p:cNvPr>
            <p:cNvSpPr>
              <a:spLocks noChangeArrowheads="1"/>
            </p:cNvSpPr>
            <p:nvPr/>
          </p:nvSpPr>
          <p:spPr bwMode="auto">
            <a:xfrm>
              <a:off x="262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5" name="Oval 3015">
              <a:extLst>
                <a:ext uri="{FF2B5EF4-FFF2-40B4-BE49-F238E27FC236}">
                  <a16:creationId xmlns:a16="http://schemas.microsoft.com/office/drawing/2014/main" id="{5CCFC928-3A0F-4B96-B5EC-549284EDF0C1}"/>
                </a:ext>
              </a:extLst>
            </p:cNvPr>
            <p:cNvSpPr>
              <a:spLocks noChangeArrowheads="1"/>
            </p:cNvSpPr>
            <p:nvPr/>
          </p:nvSpPr>
          <p:spPr bwMode="auto">
            <a:xfrm>
              <a:off x="304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6" name="Oval 3016">
              <a:extLst>
                <a:ext uri="{FF2B5EF4-FFF2-40B4-BE49-F238E27FC236}">
                  <a16:creationId xmlns:a16="http://schemas.microsoft.com/office/drawing/2014/main" id="{4A771F9C-0E01-426C-9B57-BC48D90F88D1}"/>
                </a:ext>
              </a:extLst>
            </p:cNvPr>
            <p:cNvSpPr>
              <a:spLocks noChangeArrowheads="1"/>
            </p:cNvSpPr>
            <p:nvPr/>
          </p:nvSpPr>
          <p:spPr bwMode="auto">
            <a:xfrm>
              <a:off x="343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7" name="Oval 3017">
              <a:extLst>
                <a:ext uri="{FF2B5EF4-FFF2-40B4-BE49-F238E27FC236}">
                  <a16:creationId xmlns:a16="http://schemas.microsoft.com/office/drawing/2014/main" id="{A064E3D3-4111-4107-BABC-CAF395967E8B}"/>
                </a:ext>
              </a:extLst>
            </p:cNvPr>
            <p:cNvSpPr>
              <a:spLocks noChangeArrowheads="1"/>
            </p:cNvSpPr>
            <p:nvPr/>
          </p:nvSpPr>
          <p:spPr bwMode="auto">
            <a:xfrm>
              <a:off x="352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8" name="Oval 3018">
              <a:extLst>
                <a:ext uri="{FF2B5EF4-FFF2-40B4-BE49-F238E27FC236}">
                  <a16:creationId xmlns:a16="http://schemas.microsoft.com/office/drawing/2014/main" id="{8408403E-A473-44CE-BD95-8E96A1BE4EE9}"/>
                </a:ext>
              </a:extLst>
            </p:cNvPr>
            <p:cNvSpPr>
              <a:spLocks noChangeArrowheads="1"/>
            </p:cNvSpPr>
            <p:nvPr/>
          </p:nvSpPr>
          <p:spPr bwMode="auto">
            <a:xfrm>
              <a:off x="352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9" name="Oval 3019">
              <a:extLst>
                <a:ext uri="{FF2B5EF4-FFF2-40B4-BE49-F238E27FC236}">
                  <a16:creationId xmlns:a16="http://schemas.microsoft.com/office/drawing/2014/main" id="{E7862206-14B2-49E1-B6F7-2C689AFA2551}"/>
                </a:ext>
              </a:extLst>
            </p:cNvPr>
            <p:cNvSpPr>
              <a:spLocks noChangeArrowheads="1"/>
            </p:cNvSpPr>
            <p:nvPr/>
          </p:nvSpPr>
          <p:spPr bwMode="auto">
            <a:xfrm>
              <a:off x="331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0" name="Oval 3020">
              <a:extLst>
                <a:ext uri="{FF2B5EF4-FFF2-40B4-BE49-F238E27FC236}">
                  <a16:creationId xmlns:a16="http://schemas.microsoft.com/office/drawing/2014/main" id="{BB1959B1-5A5D-46FC-9B29-9B38541AB4E3}"/>
                </a:ext>
              </a:extLst>
            </p:cNvPr>
            <p:cNvSpPr>
              <a:spLocks noChangeArrowheads="1"/>
            </p:cNvSpPr>
            <p:nvPr/>
          </p:nvSpPr>
          <p:spPr bwMode="auto">
            <a:xfrm>
              <a:off x="30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1" name="Oval 3021">
              <a:extLst>
                <a:ext uri="{FF2B5EF4-FFF2-40B4-BE49-F238E27FC236}">
                  <a16:creationId xmlns:a16="http://schemas.microsoft.com/office/drawing/2014/main" id="{7ADBD7E1-19C9-4165-9FFF-A23477538537}"/>
                </a:ext>
              </a:extLst>
            </p:cNvPr>
            <p:cNvSpPr>
              <a:spLocks noChangeArrowheads="1"/>
            </p:cNvSpPr>
            <p:nvPr/>
          </p:nvSpPr>
          <p:spPr bwMode="auto">
            <a:xfrm>
              <a:off x="292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2" name="Oval 3022">
              <a:extLst>
                <a:ext uri="{FF2B5EF4-FFF2-40B4-BE49-F238E27FC236}">
                  <a16:creationId xmlns:a16="http://schemas.microsoft.com/office/drawing/2014/main" id="{DEFE29A3-422C-41C4-AB77-7E21D059A05B}"/>
                </a:ext>
              </a:extLst>
            </p:cNvPr>
            <p:cNvSpPr>
              <a:spLocks noChangeArrowheads="1"/>
            </p:cNvSpPr>
            <p:nvPr/>
          </p:nvSpPr>
          <p:spPr bwMode="auto">
            <a:xfrm>
              <a:off x="298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3" name="Oval 3023">
              <a:extLst>
                <a:ext uri="{FF2B5EF4-FFF2-40B4-BE49-F238E27FC236}">
                  <a16:creationId xmlns:a16="http://schemas.microsoft.com/office/drawing/2014/main" id="{08769F48-72C9-4FF8-BB9D-5EE866B0B8DD}"/>
                </a:ext>
              </a:extLst>
            </p:cNvPr>
            <p:cNvSpPr>
              <a:spLocks noChangeArrowheads="1"/>
            </p:cNvSpPr>
            <p:nvPr/>
          </p:nvSpPr>
          <p:spPr bwMode="auto">
            <a:xfrm>
              <a:off x="292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8" name="Oval 3024">
              <a:extLst>
                <a:ext uri="{FF2B5EF4-FFF2-40B4-BE49-F238E27FC236}">
                  <a16:creationId xmlns:a16="http://schemas.microsoft.com/office/drawing/2014/main" id="{20A30467-FB52-48CF-8A45-1E4D8CDE8AB8}"/>
                </a:ext>
              </a:extLst>
            </p:cNvPr>
            <p:cNvSpPr>
              <a:spLocks noChangeArrowheads="1"/>
            </p:cNvSpPr>
            <p:nvPr/>
          </p:nvSpPr>
          <p:spPr bwMode="auto">
            <a:xfrm>
              <a:off x="328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9" name="Oval 3025">
              <a:extLst>
                <a:ext uri="{FF2B5EF4-FFF2-40B4-BE49-F238E27FC236}">
                  <a16:creationId xmlns:a16="http://schemas.microsoft.com/office/drawing/2014/main" id="{A9107CBA-FD44-443B-B797-DB0B2CB3E757}"/>
                </a:ext>
              </a:extLst>
            </p:cNvPr>
            <p:cNvSpPr>
              <a:spLocks noChangeArrowheads="1"/>
            </p:cNvSpPr>
            <p:nvPr/>
          </p:nvSpPr>
          <p:spPr bwMode="auto">
            <a:xfrm>
              <a:off x="3255"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0" name="Oval 3026">
              <a:extLst>
                <a:ext uri="{FF2B5EF4-FFF2-40B4-BE49-F238E27FC236}">
                  <a16:creationId xmlns:a16="http://schemas.microsoft.com/office/drawing/2014/main" id="{72FAA3C7-78E5-4A37-A027-49CBF0F3CE58}"/>
                </a:ext>
              </a:extLst>
            </p:cNvPr>
            <p:cNvSpPr>
              <a:spLocks noChangeArrowheads="1"/>
            </p:cNvSpPr>
            <p:nvPr/>
          </p:nvSpPr>
          <p:spPr bwMode="auto">
            <a:xfrm>
              <a:off x="340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1" name="Oval 3027">
              <a:extLst>
                <a:ext uri="{FF2B5EF4-FFF2-40B4-BE49-F238E27FC236}">
                  <a16:creationId xmlns:a16="http://schemas.microsoft.com/office/drawing/2014/main" id="{35907E48-2587-4DE1-ABF4-F3B2FB31D1A4}"/>
                </a:ext>
              </a:extLst>
            </p:cNvPr>
            <p:cNvSpPr>
              <a:spLocks noChangeArrowheads="1"/>
            </p:cNvSpPr>
            <p:nvPr/>
          </p:nvSpPr>
          <p:spPr bwMode="auto">
            <a:xfrm>
              <a:off x="322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2" name="Oval 3028">
              <a:extLst>
                <a:ext uri="{FF2B5EF4-FFF2-40B4-BE49-F238E27FC236}">
                  <a16:creationId xmlns:a16="http://schemas.microsoft.com/office/drawing/2014/main" id="{115DD06F-83B6-40E2-90AB-64D243E58EDC}"/>
                </a:ext>
              </a:extLst>
            </p:cNvPr>
            <p:cNvSpPr>
              <a:spLocks noChangeArrowheads="1"/>
            </p:cNvSpPr>
            <p:nvPr/>
          </p:nvSpPr>
          <p:spPr bwMode="auto">
            <a:xfrm>
              <a:off x="316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3" name="Oval 3029">
              <a:extLst>
                <a:ext uri="{FF2B5EF4-FFF2-40B4-BE49-F238E27FC236}">
                  <a16:creationId xmlns:a16="http://schemas.microsoft.com/office/drawing/2014/main" id="{002BD6F7-6155-46FD-8783-45234BB57A4D}"/>
                </a:ext>
              </a:extLst>
            </p:cNvPr>
            <p:cNvSpPr>
              <a:spLocks noChangeArrowheads="1"/>
            </p:cNvSpPr>
            <p:nvPr/>
          </p:nvSpPr>
          <p:spPr bwMode="auto">
            <a:xfrm>
              <a:off x="31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4" name="Oval 3030">
              <a:extLst>
                <a:ext uri="{FF2B5EF4-FFF2-40B4-BE49-F238E27FC236}">
                  <a16:creationId xmlns:a16="http://schemas.microsoft.com/office/drawing/2014/main" id="{7ADEAC61-8DBD-417D-94A8-A6ADD1755146}"/>
                </a:ext>
              </a:extLst>
            </p:cNvPr>
            <p:cNvSpPr>
              <a:spLocks noChangeArrowheads="1"/>
            </p:cNvSpPr>
            <p:nvPr/>
          </p:nvSpPr>
          <p:spPr bwMode="auto">
            <a:xfrm>
              <a:off x="394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5" name="Oval 3031">
              <a:extLst>
                <a:ext uri="{FF2B5EF4-FFF2-40B4-BE49-F238E27FC236}">
                  <a16:creationId xmlns:a16="http://schemas.microsoft.com/office/drawing/2014/main" id="{D72734BD-1D26-4C7D-83FA-6F3EADFD2130}"/>
                </a:ext>
              </a:extLst>
            </p:cNvPr>
            <p:cNvSpPr>
              <a:spLocks noChangeArrowheads="1"/>
            </p:cNvSpPr>
            <p:nvPr/>
          </p:nvSpPr>
          <p:spPr bwMode="auto">
            <a:xfrm>
              <a:off x="3914"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6" name="Oval 3032">
              <a:extLst>
                <a:ext uri="{FF2B5EF4-FFF2-40B4-BE49-F238E27FC236}">
                  <a16:creationId xmlns:a16="http://schemas.microsoft.com/office/drawing/2014/main" id="{AF358932-AFC0-45DD-B2E5-2CE9E83AD242}"/>
                </a:ext>
              </a:extLst>
            </p:cNvPr>
            <p:cNvSpPr>
              <a:spLocks noChangeArrowheads="1"/>
            </p:cNvSpPr>
            <p:nvPr/>
          </p:nvSpPr>
          <p:spPr bwMode="auto">
            <a:xfrm>
              <a:off x="403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7" name="Oval 3033">
              <a:extLst>
                <a:ext uri="{FF2B5EF4-FFF2-40B4-BE49-F238E27FC236}">
                  <a16:creationId xmlns:a16="http://schemas.microsoft.com/office/drawing/2014/main" id="{5A694E28-B52F-48A3-AA1A-6F87B8CCA92F}"/>
                </a:ext>
              </a:extLst>
            </p:cNvPr>
            <p:cNvSpPr>
              <a:spLocks noChangeArrowheads="1"/>
            </p:cNvSpPr>
            <p:nvPr/>
          </p:nvSpPr>
          <p:spPr bwMode="auto">
            <a:xfrm>
              <a:off x="3914"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8" name="Oval 3034">
              <a:extLst>
                <a:ext uri="{FF2B5EF4-FFF2-40B4-BE49-F238E27FC236}">
                  <a16:creationId xmlns:a16="http://schemas.microsoft.com/office/drawing/2014/main" id="{CF018908-33F9-4946-A44D-EFBBDB208272}"/>
                </a:ext>
              </a:extLst>
            </p:cNvPr>
            <p:cNvSpPr>
              <a:spLocks noChangeArrowheads="1"/>
            </p:cNvSpPr>
            <p:nvPr/>
          </p:nvSpPr>
          <p:spPr bwMode="auto">
            <a:xfrm>
              <a:off x="400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89" name="Oval 3035">
              <a:extLst>
                <a:ext uri="{FF2B5EF4-FFF2-40B4-BE49-F238E27FC236}">
                  <a16:creationId xmlns:a16="http://schemas.microsoft.com/office/drawing/2014/main" id="{D5F078E1-C68E-4CAD-8D90-848D0FF05893}"/>
                </a:ext>
              </a:extLst>
            </p:cNvPr>
            <p:cNvSpPr>
              <a:spLocks noChangeArrowheads="1"/>
            </p:cNvSpPr>
            <p:nvPr/>
          </p:nvSpPr>
          <p:spPr bwMode="auto">
            <a:xfrm>
              <a:off x="388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90" name="Oval 3036">
              <a:extLst>
                <a:ext uri="{FF2B5EF4-FFF2-40B4-BE49-F238E27FC236}">
                  <a16:creationId xmlns:a16="http://schemas.microsoft.com/office/drawing/2014/main" id="{4DDAC7CD-DF77-4E2B-8BBB-D7147246C45A}"/>
                </a:ext>
              </a:extLst>
            </p:cNvPr>
            <p:cNvSpPr>
              <a:spLocks noChangeArrowheads="1"/>
            </p:cNvSpPr>
            <p:nvPr/>
          </p:nvSpPr>
          <p:spPr bwMode="auto">
            <a:xfrm>
              <a:off x="367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91" name="Oval 3037">
              <a:extLst>
                <a:ext uri="{FF2B5EF4-FFF2-40B4-BE49-F238E27FC236}">
                  <a16:creationId xmlns:a16="http://schemas.microsoft.com/office/drawing/2014/main" id="{7154E91A-816D-45CE-B98D-4229B7F4685A}"/>
                </a:ext>
              </a:extLst>
            </p:cNvPr>
            <p:cNvSpPr>
              <a:spLocks noChangeArrowheads="1"/>
            </p:cNvSpPr>
            <p:nvPr/>
          </p:nvSpPr>
          <p:spPr bwMode="auto">
            <a:xfrm>
              <a:off x="364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92" name="Oval 3038">
              <a:extLst>
                <a:ext uri="{FF2B5EF4-FFF2-40B4-BE49-F238E27FC236}">
                  <a16:creationId xmlns:a16="http://schemas.microsoft.com/office/drawing/2014/main" id="{D89D67B8-7C42-442C-A9C0-8DCF3D4E0260}"/>
                </a:ext>
              </a:extLst>
            </p:cNvPr>
            <p:cNvSpPr>
              <a:spLocks noChangeArrowheads="1"/>
            </p:cNvSpPr>
            <p:nvPr/>
          </p:nvSpPr>
          <p:spPr bwMode="auto">
            <a:xfrm>
              <a:off x="364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93" name="Oval 3039">
              <a:extLst>
                <a:ext uri="{FF2B5EF4-FFF2-40B4-BE49-F238E27FC236}">
                  <a16:creationId xmlns:a16="http://schemas.microsoft.com/office/drawing/2014/main" id="{E01A662E-A440-4733-AAEB-248A6E85C351}"/>
                </a:ext>
              </a:extLst>
            </p:cNvPr>
            <p:cNvSpPr>
              <a:spLocks noChangeArrowheads="1"/>
            </p:cNvSpPr>
            <p:nvPr/>
          </p:nvSpPr>
          <p:spPr bwMode="auto">
            <a:xfrm>
              <a:off x="394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94" name="Oval 3040">
              <a:extLst>
                <a:ext uri="{FF2B5EF4-FFF2-40B4-BE49-F238E27FC236}">
                  <a16:creationId xmlns:a16="http://schemas.microsoft.com/office/drawing/2014/main" id="{4A2E997F-B3ED-438F-A77B-B45DA4A4B6A2}"/>
                </a:ext>
              </a:extLst>
            </p:cNvPr>
            <p:cNvSpPr>
              <a:spLocks noChangeArrowheads="1"/>
            </p:cNvSpPr>
            <p:nvPr/>
          </p:nvSpPr>
          <p:spPr bwMode="auto">
            <a:xfrm>
              <a:off x="3824"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95" name="Oval 3041">
              <a:extLst>
                <a:ext uri="{FF2B5EF4-FFF2-40B4-BE49-F238E27FC236}">
                  <a16:creationId xmlns:a16="http://schemas.microsoft.com/office/drawing/2014/main" id="{453ED0A3-CEBE-4408-B52B-D91FDCA197F5}"/>
                </a:ext>
              </a:extLst>
            </p:cNvPr>
            <p:cNvSpPr>
              <a:spLocks noChangeArrowheads="1"/>
            </p:cNvSpPr>
            <p:nvPr/>
          </p:nvSpPr>
          <p:spPr bwMode="auto">
            <a:xfrm>
              <a:off x="391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96" name="Oval 3042">
              <a:extLst>
                <a:ext uri="{FF2B5EF4-FFF2-40B4-BE49-F238E27FC236}">
                  <a16:creationId xmlns:a16="http://schemas.microsoft.com/office/drawing/2014/main" id="{1E815F3B-A83E-4233-8846-8EE1712B93BE}"/>
                </a:ext>
              </a:extLst>
            </p:cNvPr>
            <p:cNvSpPr>
              <a:spLocks noChangeArrowheads="1"/>
            </p:cNvSpPr>
            <p:nvPr/>
          </p:nvSpPr>
          <p:spPr bwMode="auto">
            <a:xfrm>
              <a:off x="376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97" name="Oval 3043">
              <a:extLst>
                <a:ext uri="{FF2B5EF4-FFF2-40B4-BE49-F238E27FC236}">
                  <a16:creationId xmlns:a16="http://schemas.microsoft.com/office/drawing/2014/main" id="{78B1C3E4-2DC8-4B82-851D-F419A958CC79}"/>
                </a:ext>
              </a:extLst>
            </p:cNvPr>
            <p:cNvSpPr>
              <a:spLocks noChangeArrowheads="1"/>
            </p:cNvSpPr>
            <p:nvPr/>
          </p:nvSpPr>
          <p:spPr bwMode="auto">
            <a:xfrm>
              <a:off x="403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98" name="Oval 3044">
              <a:extLst>
                <a:ext uri="{FF2B5EF4-FFF2-40B4-BE49-F238E27FC236}">
                  <a16:creationId xmlns:a16="http://schemas.microsoft.com/office/drawing/2014/main" id="{3773A0FB-600F-4C8B-8F5C-049B4CFF33B8}"/>
                </a:ext>
              </a:extLst>
            </p:cNvPr>
            <p:cNvSpPr>
              <a:spLocks noChangeArrowheads="1"/>
            </p:cNvSpPr>
            <p:nvPr/>
          </p:nvSpPr>
          <p:spPr bwMode="auto">
            <a:xfrm>
              <a:off x="39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99" name="Oval 3045">
              <a:extLst>
                <a:ext uri="{FF2B5EF4-FFF2-40B4-BE49-F238E27FC236}">
                  <a16:creationId xmlns:a16="http://schemas.microsoft.com/office/drawing/2014/main" id="{C6E3737E-671A-4EE1-9435-EB79C9CBF7CC}"/>
                </a:ext>
              </a:extLst>
            </p:cNvPr>
            <p:cNvSpPr>
              <a:spLocks noChangeArrowheads="1"/>
            </p:cNvSpPr>
            <p:nvPr/>
          </p:nvSpPr>
          <p:spPr bwMode="auto">
            <a:xfrm>
              <a:off x="3794"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00" name="Oval 3046">
              <a:extLst>
                <a:ext uri="{FF2B5EF4-FFF2-40B4-BE49-F238E27FC236}">
                  <a16:creationId xmlns:a16="http://schemas.microsoft.com/office/drawing/2014/main" id="{90BFE6FC-AE44-42F3-9E80-BC4DE1732676}"/>
                </a:ext>
              </a:extLst>
            </p:cNvPr>
            <p:cNvSpPr>
              <a:spLocks noChangeArrowheads="1"/>
            </p:cNvSpPr>
            <p:nvPr/>
          </p:nvSpPr>
          <p:spPr bwMode="auto">
            <a:xfrm>
              <a:off x="376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01" name="Oval 3047">
              <a:extLst>
                <a:ext uri="{FF2B5EF4-FFF2-40B4-BE49-F238E27FC236}">
                  <a16:creationId xmlns:a16="http://schemas.microsoft.com/office/drawing/2014/main" id="{AB366E25-6837-4343-A5E1-CCE7A83F652F}"/>
                </a:ext>
              </a:extLst>
            </p:cNvPr>
            <p:cNvSpPr>
              <a:spLocks noChangeArrowheads="1"/>
            </p:cNvSpPr>
            <p:nvPr/>
          </p:nvSpPr>
          <p:spPr bwMode="auto">
            <a:xfrm>
              <a:off x="367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02" name="Oval 3048">
              <a:extLst>
                <a:ext uri="{FF2B5EF4-FFF2-40B4-BE49-F238E27FC236}">
                  <a16:creationId xmlns:a16="http://schemas.microsoft.com/office/drawing/2014/main" id="{B60D0953-2DB4-405B-8A94-A5C6926755F2}"/>
                </a:ext>
              </a:extLst>
            </p:cNvPr>
            <p:cNvSpPr>
              <a:spLocks noChangeArrowheads="1"/>
            </p:cNvSpPr>
            <p:nvPr/>
          </p:nvSpPr>
          <p:spPr bwMode="auto">
            <a:xfrm>
              <a:off x="355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03" name="Oval 3049">
              <a:extLst>
                <a:ext uri="{FF2B5EF4-FFF2-40B4-BE49-F238E27FC236}">
                  <a16:creationId xmlns:a16="http://schemas.microsoft.com/office/drawing/2014/main" id="{CD190E26-C26B-4E30-AD57-181E6D2F2495}"/>
                </a:ext>
              </a:extLst>
            </p:cNvPr>
            <p:cNvSpPr>
              <a:spLocks noChangeArrowheads="1"/>
            </p:cNvSpPr>
            <p:nvPr/>
          </p:nvSpPr>
          <p:spPr bwMode="auto">
            <a:xfrm>
              <a:off x="34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04" name="Oval 3050">
              <a:extLst>
                <a:ext uri="{FF2B5EF4-FFF2-40B4-BE49-F238E27FC236}">
                  <a16:creationId xmlns:a16="http://schemas.microsoft.com/office/drawing/2014/main" id="{10BA7405-46FB-4738-BF1E-6D26AB2662CC}"/>
                </a:ext>
              </a:extLst>
            </p:cNvPr>
            <p:cNvSpPr>
              <a:spLocks noChangeArrowheads="1"/>
            </p:cNvSpPr>
            <p:nvPr/>
          </p:nvSpPr>
          <p:spPr bwMode="auto">
            <a:xfrm>
              <a:off x="349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05" name="Oval 3051">
              <a:extLst>
                <a:ext uri="{FF2B5EF4-FFF2-40B4-BE49-F238E27FC236}">
                  <a16:creationId xmlns:a16="http://schemas.microsoft.com/office/drawing/2014/main" id="{F3707D5D-B6D5-42E0-BC47-5FEB6E46AB79}"/>
                </a:ext>
              </a:extLst>
            </p:cNvPr>
            <p:cNvSpPr>
              <a:spLocks noChangeArrowheads="1"/>
            </p:cNvSpPr>
            <p:nvPr/>
          </p:nvSpPr>
          <p:spPr bwMode="auto">
            <a:xfrm>
              <a:off x="3285" y="18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06" name="Oval 3052">
              <a:extLst>
                <a:ext uri="{FF2B5EF4-FFF2-40B4-BE49-F238E27FC236}">
                  <a16:creationId xmlns:a16="http://schemas.microsoft.com/office/drawing/2014/main" id="{B346A4A2-DEF6-4113-B25D-E504ED6C8649}"/>
                </a:ext>
              </a:extLst>
            </p:cNvPr>
            <p:cNvSpPr>
              <a:spLocks noChangeArrowheads="1"/>
            </p:cNvSpPr>
            <p:nvPr/>
          </p:nvSpPr>
          <p:spPr bwMode="auto">
            <a:xfrm>
              <a:off x="331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07" name="Oval 3053">
              <a:extLst>
                <a:ext uri="{FF2B5EF4-FFF2-40B4-BE49-F238E27FC236}">
                  <a16:creationId xmlns:a16="http://schemas.microsoft.com/office/drawing/2014/main" id="{E17A61DB-3E2E-4C65-B90D-DD3905F5C127}"/>
                </a:ext>
              </a:extLst>
            </p:cNvPr>
            <p:cNvSpPr>
              <a:spLocks noChangeArrowheads="1"/>
            </p:cNvSpPr>
            <p:nvPr/>
          </p:nvSpPr>
          <p:spPr bwMode="auto">
            <a:xfrm>
              <a:off x="32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08" name="Oval 3054">
              <a:extLst>
                <a:ext uri="{FF2B5EF4-FFF2-40B4-BE49-F238E27FC236}">
                  <a16:creationId xmlns:a16="http://schemas.microsoft.com/office/drawing/2014/main" id="{D333479C-1CDD-4460-80AD-5E3C55620DE6}"/>
                </a:ext>
              </a:extLst>
            </p:cNvPr>
            <p:cNvSpPr>
              <a:spLocks noChangeArrowheads="1"/>
            </p:cNvSpPr>
            <p:nvPr/>
          </p:nvSpPr>
          <p:spPr bwMode="auto">
            <a:xfrm>
              <a:off x="325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09" name="Oval 3055">
              <a:extLst>
                <a:ext uri="{FF2B5EF4-FFF2-40B4-BE49-F238E27FC236}">
                  <a16:creationId xmlns:a16="http://schemas.microsoft.com/office/drawing/2014/main" id="{BB034BF3-F0EB-49BA-B4F5-A1C31ED70A6A}"/>
                </a:ext>
              </a:extLst>
            </p:cNvPr>
            <p:cNvSpPr>
              <a:spLocks noChangeArrowheads="1"/>
            </p:cNvSpPr>
            <p:nvPr/>
          </p:nvSpPr>
          <p:spPr bwMode="auto">
            <a:xfrm>
              <a:off x="337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0" name="Oval 3056">
              <a:extLst>
                <a:ext uri="{FF2B5EF4-FFF2-40B4-BE49-F238E27FC236}">
                  <a16:creationId xmlns:a16="http://schemas.microsoft.com/office/drawing/2014/main" id="{8FCF93A6-DDAC-476F-A61B-BC5C16D70D0F}"/>
                </a:ext>
              </a:extLst>
            </p:cNvPr>
            <p:cNvSpPr>
              <a:spLocks noChangeArrowheads="1"/>
            </p:cNvSpPr>
            <p:nvPr/>
          </p:nvSpPr>
          <p:spPr bwMode="auto">
            <a:xfrm>
              <a:off x="340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1" name="Oval 3057">
              <a:extLst>
                <a:ext uri="{FF2B5EF4-FFF2-40B4-BE49-F238E27FC236}">
                  <a16:creationId xmlns:a16="http://schemas.microsoft.com/office/drawing/2014/main" id="{EF534FBD-4C6D-4224-B92A-B78B308C9A20}"/>
                </a:ext>
              </a:extLst>
            </p:cNvPr>
            <p:cNvSpPr>
              <a:spLocks noChangeArrowheads="1"/>
            </p:cNvSpPr>
            <p:nvPr/>
          </p:nvSpPr>
          <p:spPr bwMode="auto">
            <a:xfrm>
              <a:off x="337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2" name="Oval 3058">
              <a:extLst>
                <a:ext uri="{FF2B5EF4-FFF2-40B4-BE49-F238E27FC236}">
                  <a16:creationId xmlns:a16="http://schemas.microsoft.com/office/drawing/2014/main" id="{2FCDB075-10DE-4B18-97CC-8CE7AB725B1D}"/>
                </a:ext>
              </a:extLst>
            </p:cNvPr>
            <p:cNvSpPr>
              <a:spLocks noChangeArrowheads="1"/>
            </p:cNvSpPr>
            <p:nvPr/>
          </p:nvSpPr>
          <p:spPr bwMode="auto">
            <a:xfrm>
              <a:off x="34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3" name="Oval 3059">
              <a:extLst>
                <a:ext uri="{FF2B5EF4-FFF2-40B4-BE49-F238E27FC236}">
                  <a16:creationId xmlns:a16="http://schemas.microsoft.com/office/drawing/2014/main" id="{B854DF27-6376-4B83-9300-58676E0F2A27}"/>
                </a:ext>
              </a:extLst>
            </p:cNvPr>
            <p:cNvSpPr>
              <a:spLocks noChangeArrowheads="1"/>
            </p:cNvSpPr>
            <p:nvPr/>
          </p:nvSpPr>
          <p:spPr bwMode="auto">
            <a:xfrm>
              <a:off x="313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4" name="Oval 3060">
              <a:extLst>
                <a:ext uri="{FF2B5EF4-FFF2-40B4-BE49-F238E27FC236}">
                  <a16:creationId xmlns:a16="http://schemas.microsoft.com/office/drawing/2014/main" id="{CAD59EF6-084D-43D7-B102-DAFE62E81004}"/>
                </a:ext>
              </a:extLst>
            </p:cNvPr>
            <p:cNvSpPr>
              <a:spLocks noChangeArrowheads="1"/>
            </p:cNvSpPr>
            <p:nvPr/>
          </p:nvSpPr>
          <p:spPr bwMode="auto">
            <a:xfrm>
              <a:off x="313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5" name="Oval 3061">
              <a:extLst>
                <a:ext uri="{FF2B5EF4-FFF2-40B4-BE49-F238E27FC236}">
                  <a16:creationId xmlns:a16="http://schemas.microsoft.com/office/drawing/2014/main" id="{27C8D38D-1DC9-4643-8B6A-1216139E00FC}"/>
                </a:ext>
              </a:extLst>
            </p:cNvPr>
            <p:cNvSpPr>
              <a:spLocks noChangeArrowheads="1"/>
            </p:cNvSpPr>
            <p:nvPr/>
          </p:nvSpPr>
          <p:spPr bwMode="auto">
            <a:xfrm>
              <a:off x="307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6" name="Oval 3062">
              <a:extLst>
                <a:ext uri="{FF2B5EF4-FFF2-40B4-BE49-F238E27FC236}">
                  <a16:creationId xmlns:a16="http://schemas.microsoft.com/office/drawing/2014/main" id="{A526D4C1-D466-41CD-AE41-3939BB7B8D4B}"/>
                </a:ext>
              </a:extLst>
            </p:cNvPr>
            <p:cNvSpPr>
              <a:spLocks noChangeArrowheads="1"/>
            </p:cNvSpPr>
            <p:nvPr/>
          </p:nvSpPr>
          <p:spPr bwMode="auto">
            <a:xfrm>
              <a:off x="328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7" name="Oval 3063">
              <a:extLst>
                <a:ext uri="{FF2B5EF4-FFF2-40B4-BE49-F238E27FC236}">
                  <a16:creationId xmlns:a16="http://schemas.microsoft.com/office/drawing/2014/main" id="{585261FA-0B88-4A01-B732-FDA696797AC3}"/>
                </a:ext>
              </a:extLst>
            </p:cNvPr>
            <p:cNvSpPr>
              <a:spLocks noChangeArrowheads="1"/>
            </p:cNvSpPr>
            <p:nvPr/>
          </p:nvSpPr>
          <p:spPr bwMode="auto">
            <a:xfrm>
              <a:off x="337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8" name="Oval 3064">
              <a:extLst>
                <a:ext uri="{FF2B5EF4-FFF2-40B4-BE49-F238E27FC236}">
                  <a16:creationId xmlns:a16="http://schemas.microsoft.com/office/drawing/2014/main" id="{A2F25416-67D2-4603-83AF-8A5F94E56545}"/>
                </a:ext>
              </a:extLst>
            </p:cNvPr>
            <p:cNvSpPr>
              <a:spLocks noChangeArrowheads="1"/>
            </p:cNvSpPr>
            <p:nvPr/>
          </p:nvSpPr>
          <p:spPr bwMode="auto">
            <a:xfrm>
              <a:off x="3735"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19" name="Oval 3065">
              <a:extLst>
                <a:ext uri="{FF2B5EF4-FFF2-40B4-BE49-F238E27FC236}">
                  <a16:creationId xmlns:a16="http://schemas.microsoft.com/office/drawing/2014/main" id="{AE137BA4-225F-43DA-934E-74972AC24A19}"/>
                </a:ext>
              </a:extLst>
            </p:cNvPr>
            <p:cNvSpPr>
              <a:spLocks noChangeArrowheads="1"/>
            </p:cNvSpPr>
            <p:nvPr/>
          </p:nvSpPr>
          <p:spPr bwMode="auto">
            <a:xfrm>
              <a:off x="358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0" name="Oval 3066">
              <a:extLst>
                <a:ext uri="{FF2B5EF4-FFF2-40B4-BE49-F238E27FC236}">
                  <a16:creationId xmlns:a16="http://schemas.microsoft.com/office/drawing/2014/main" id="{1D5AA2AF-333B-4EE5-A110-9EA74DFF9DA5}"/>
                </a:ext>
              </a:extLst>
            </p:cNvPr>
            <p:cNvSpPr>
              <a:spLocks noChangeArrowheads="1"/>
            </p:cNvSpPr>
            <p:nvPr/>
          </p:nvSpPr>
          <p:spPr bwMode="auto">
            <a:xfrm>
              <a:off x="355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1" name="Oval 3067">
              <a:extLst>
                <a:ext uri="{FF2B5EF4-FFF2-40B4-BE49-F238E27FC236}">
                  <a16:creationId xmlns:a16="http://schemas.microsoft.com/office/drawing/2014/main" id="{B5853DC1-5B08-4A75-9C32-266F00E19320}"/>
                </a:ext>
              </a:extLst>
            </p:cNvPr>
            <p:cNvSpPr>
              <a:spLocks noChangeArrowheads="1"/>
            </p:cNvSpPr>
            <p:nvPr/>
          </p:nvSpPr>
          <p:spPr bwMode="auto">
            <a:xfrm>
              <a:off x="349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2" name="Oval 3068">
              <a:extLst>
                <a:ext uri="{FF2B5EF4-FFF2-40B4-BE49-F238E27FC236}">
                  <a16:creationId xmlns:a16="http://schemas.microsoft.com/office/drawing/2014/main" id="{19C0AD98-292F-4A8C-B93E-0B581363F32C}"/>
                </a:ext>
              </a:extLst>
            </p:cNvPr>
            <p:cNvSpPr>
              <a:spLocks noChangeArrowheads="1"/>
            </p:cNvSpPr>
            <p:nvPr/>
          </p:nvSpPr>
          <p:spPr bwMode="auto">
            <a:xfrm>
              <a:off x="337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3" name="Oval 3069">
              <a:extLst>
                <a:ext uri="{FF2B5EF4-FFF2-40B4-BE49-F238E27FC236}">
                  <a16:creationId xmlns:a16="http://schemas.microsoft.com/office/drawing/2014/main" id="{C7832E40-E97F-4F88-AB63-C6B3F2D38BC1}"/>
                </a:ext>
              </a:extLst>
            </p:cNvPr>
            <p:cNvSpPr>
              <a:spLocks noChangeArrowheads="1"/>
            </p:cNvSpPr>
            <p:nvPr/>
          </p:nvSpPr>
          <p:spPr bwMode="auto">
            <a:xfrm>
              <a:off x="340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4" name="Oval 3070">
              <a:extLst>
                <a:ext uri="{FF2B5EF4-FFF2-40B4-BE49-F238E27FC236}">
                  <a16:creationId xmlns:a16="http://schemas.microsoft.com/office/drawing/2014/main" id="{E51CD788-A0C1-4590-95A8-B2BCE0157123}"/>
                </a:ext>
              </a:extLst>
            </p:cNvPr>
            <p:cNvSpPr>
              <a:spLocks noChangeArrowheads="1"/>
            </p:cNvSpPr>
            <p:nvPr/>
          </p:nvSpPr>
          <p:spPr bwMode="auto">
            <a:xfrm>
              <a:off x="325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5" name="Oval 3071">
              <a:extLst>
                <a:ext uri="{FF2B5EF4-FFF2-40B4-BE49-F238E27FC236}">
                  <a16:creationId xmlns:a16="http://schemas.microsoft.com/office/drawing/2014/main" id="{1AF534D8-1784-49C5-95AB-40964B580889}"/>
                </a:ext>
              </a:extLst>
            </p:cNvPr>
            <p:cNvSpPr>
              <a:spLocks noChangeArrowheads="1"/>
            </p:cNvSpPr>
            <p:nvPr/>
          </p:nvSpPr>
          <p:spPr bwMode="auto">
            <a:xfrm>
              <a:off x="322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6" name="Oval 3072">
              <a:extLst>
                <a:ext uri="{FF2B5EF4-FFF2-40B4-BE49-F238E27FC236}">
                  <a16:creationId xmlns:a16="http://schemas.microsoft.com/office/drawing/2014/main" id="{152D6B12-5B32-42C6-9A96-EE71F57D284A}"/>
                </a:ext>
              </a:extLst>
            </p:cNvPr>
            <p:cNvSpPr>
              <a:spLocks noChangeArrowheads="1"/>
            </p:cNvSpPr>
            <p:nvPr/>
          </p:nvSpPr>
          <p:spPr bwMode="auto">
            <a:xfrm>
              <a:off x="331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7" name="Oval 3073">
              <a:extLst>
                <a:ext uri="{FF2B5EF4-FFF2-40B4-BE49-F238E27FC236}">
                  <a16:creationId xmlns:a16="http://schemas.microsoft.com/office/drawing/2014/main" id="{F8696911-5078-4221-A19D-4402C3B74900}"/>
                </a:ext>
              </a:extLst>
            </p:cNvPr>
            <p:cNvSpPr>
              <a:spLocks noChangeArrowheads="1"/>
            </p:cNvSpPr>
            <p:nvPr/>
          </p:nvSpPr>
          <p:spPr bwMode="auto">
            <a:xfrm>
              <a:off x="352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8" name="Oval 3074">
              <a:extLst>
                <a:ext uri="{FF2B5EF4-FFF2-40B4-BE49-F238E27FC236}">
                  <a16:creationId xmlns:a16="http://schemas.microsoft.com/office/drawing/2014/main" id="{163EA82B-51AE-4853-A87F-0ADC35F5D223}"/>
                </a:ext>
              </a:extLst>
            </p:cNvPr>
            <p:cNvSpPr>
              <a:spLocks noChangeArrowheads="1"/>
            </p:cNvSpPr>
            <p:nvPr/>
          </p:nvSpPr>
          <p:spPr bwMode="auto">
            <a:xfrm>
              <a:off x="3914"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29" name="Oval 3075">
              <a:extLst>
                <a:ext uri="{FF2B5EF4-FFF2-40B4-BE49-F238E27FC236}">
                  <a16:creationId xmlns:a16="http://schemas.microsoft.com/office/drawing/2014/main" id="{2832E620-3F57-469E-A7A0-4B3BD9C6936D}"/>
                </a:ext>
              </a:extLst>
            </p:cNvPr>
            <p:cNvSpPr>
              <a:spLocks noChangeArrowheads="1"/>
            </p:cNvSpPr>
            <p:nvPr/>
          </p:nvSpPr>
          <p:spPr bwMode="auto">
            <a:xfrm>
              <a:off x="4274"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30" name="Oval 3076">
              <a:extLst>
                <a:ext uri="{FF2B5EF4-FFF2-40B4-BE49-F238E27FC236}">
                  <a16:creationId xmlns:a16="http://schemas.microsoft.com/office/drawing/2014/main" id="{1FC9FFDD-6014-4F40-8CF2-E792B895077B}"/>
                </a:ext>
              </a:extLst>
            </p:cNvPr>
            <p:cNvSpPr>
              <a:spLocks noChangeArrowheads="1"/>
            </p:cNvSpPr>
            <p:nvPr/>
          </p:nvSpPr>
          <p:spPr bwMode="auto">
            <a:xfrm>
              <a:off x="4184"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31" name="Oval 3077">
              <a:extLst>
                <a:ext uri="{FF2B5EF4-FFF2-40B4-BE49-F238E27FC236}">
                  <a16:creationId xmlns:a16="http://schemas.microsoft.com/office/drawing/2014/main" id="{A9491362-F128-4F33-AC7E-D54B34193580}"/>
                </a:ext>
              </a:extLst>
            </p:cNvPr>
            <p:cNvSpPr>
              <a:spLocks noChangeArrowheads="1"/>
            </p:cNvSpPr>
            <p:nvPr/>
          </p:nvSpPr>
          <p:spPr bwMode="auto">
            <a:xfrm>
              <a:off x="421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32" name="Oval 3078">
              <a:extLst>
                <a:ext uri="{FF2B5EF4-FFF2-40B4-BE49-F238E27FC236}">
                  <a16:creationId xmlns:a16="http://schemas.microsoft.com/office/drawing/2014/main" id="{EDD1B3CD-D8AC-4081-ACC0-F001CADD4369}"/>
                </a:ext>
              </a:extLst>
            </p:cNvPr>
            <p:cNvSpPr>
              <a:spLocks noChangeArrowheads="1"/>
            </p:cNvSpPr>
            <p:nvPr/>
          </p:nvSpPr>
          <p:spPr bwMode="auto">
            <a:xfrm>
              <a:off x="4244"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33" name="Oval 3079">
              <a:extLst>
                <a:ext uri="{FF2B5EF4-FFF2-40B4-BE49-F238E27FC236}">
                  <a16:creationId xmlns:a16="http://schemas.microsoft.com/office/drawing/2014/main" id="{65F5413A-E309-46A0-A923-244FD32AFDE1}"/>
                </a:ext>
              </a:extLst>
            </p:cNvPr>
            <p:cNvSpPr>
              <a:spLocks noChangeArrowheads="1"/>
            </p:cNvSpPr>
            <p:nvPr/>
          </p:nvSpPr>
          <p:spPr bwMode="auto">
            <a:xfrm>
              <a:off x="4094"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34" name="Oval 3080">
              <a:extLst>
                <a:ext uri="{FF2B5EF4-FFF2-40B4-BE49-F238E27FC236}">
                  <a16:creationId xmlns:a16="http://schemas.microsoft.com/office/drawing/2014/main" id="{4D1A0374-F7A8-4B4C-B3F8-9AE7BE7615C8}"/>
                </a:ext>
              </a:extLst>
            </p:cNvPr>
            <p:cNvSpPr>
              <a:spLocks noChangeArrowheads="1"/>
            </p:cNvSpPr>
            <p:nvPr/>
          </p:nvSpPr>
          <p:spPr bwMode="auto">
            <a:xfrm>
              <a:off x="406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35" name="Oval 3081">
              <a:extLst>
                <a:ext uri="{FF2B5EF4-FFF2-40B4-BE49-F238E27FC236}">
                  <a16:creationId xmlns:a16="http://schemas.microsoft.com/office/drawing/2014/main" id="{B6558604-BD5D-4AE2-B91C-7FF8C1511E14}"/>
                </a:ext>
              </a:extLst>
            </p:cNvPr>
            <p:cNvSpPr>
              <a:spLocks noChangeArrowheads="1"/>
            </p:cNvSpPr>
            <p:nvPr/>
          </p:nvSpPr>
          <p:spPr bwMode="auto">
            <a:xfrm>
              <a:off x="4004"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36" name="Oval 3082">
              <a:extLst>
                <a:ext uri="{FF2B5EF4-FFF2-40B4-BE49-F238E27FC236}">
                  <a16:creationId xmlns:a16="http://schemas.microsoft.com/office/drawing/2014/main" id="{720EA43F-034A-42C9-8650-3B4F303F07B1}"/>
                </a:ext>
              </a:extLst>
            </p:cNvPr>
            <p:cNvSpPr>
              <a:spLocks noChangeArrowheads="1"/>
            </p:cNvSpPr>
            <p:nvPr/>
          </p:nvSpPr>
          <p:spPr bwMode="auto">
            <a:xfrm>
              <a:off x="385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37" name="Oval 3083">
              <a:extLst>
                <a:ext uri="{FF2B5EF4-FFF2-40B4-BE49-F238E27FC236}">
                  <a16:creationId xmlns:a16="http://schemas.microsoft.com/office/drawing/2014/main" id="{348E1703-3666-48E7-AA0D-AA553A8CC4A5}"/>
                </a:ext>
              </a:extLst>
            </p:cNvPr>
            <p:cNvSpPr>
              <a:spLocks noChangeArrowheads="1"/>
            </p:cNvSpPr>
            <p:nvPr/>
          </p:nvSpPr>
          <p:spPr bwMode="auto">
            <a:xfrm>
              <a:off x="4184"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38" name="Oval 3084">
              <a:extLst>
                <a:ext uri="{FF2B5EF4-FFF2-40B4-BE49-F238E27FC236}">
                  <a16:creationId xmlns:a16="http://schemas.microsoft.com/office/drawing/2014/main" id="{607077DF-68AD-4839-B6CB-EA8846041DF6}"/>
                </a:ext>
              </a:extLst>
            </p:cNvPr>
            <p:cNvSpPr>
              <a:spLocks noChangeArrowheads="1"/>
            </p:cNvSpPr>
            <p:nvPr/>
          </p:nvSpPr>
          <p:spPr bwMode="auto">
            <a:xfrm>
              <a:off x="412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39" name="Oval 3085">
              <a:extLst>
                <a:ext uri="{FF2B5EF4-FFF2-40B4-BE49-F238E27FC236}">
                  <a16:creationId xmlns:a16="http://schemas.microsoft.com/office/drawing/2014/main" id="{77C700FA-534E-4761-B75A-8E4E1FD691E0}"/>
                </a:ext>
              </a:extLst>
            </p:cNvPr>
            <p:cNvSpPr>
              <a:spLocks noChangeArrowheads="1"/>
            </p:cNvSpPr>
            <p:nvPr/>
          </p:nvSpPr>
          <p:spPr bwMode="auto">
            <a:xfrm>
              <a:off x="4064"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0" name="Oval 3086">
              <a:extLst>
                <a:ext uri="{FF2B5EF4-FFF2-40B4-BE49-F238E27FC236}">
                  <a16:creationId xmlns:a16="http://schemas.microsoft.com/office/drawing/2014/main" id="{0E50D755-BC6B-46F4-A5D1-0E685196D04A}"/>
                </a:ext>
              </a:extLst>
            </p:cNvPr>
            <p:cNvSpPr>
              <a:spLocks noChangeArrowheads="1"/>
            </p:cNvSpPr>
            <p:nvPr/>
          </p:nvSpPr>
          <p:spPr bwMode="auto">
            <a:xfrm>
              <a:off x="3974"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1" name="Oval 3087">
              <a:extLst>
                <a:ext uri="{FF2B5EF4-FFF2-40B4-BE49-F238E27FC236}">
                  <a16:creationId xmlns:a16="http://schemas.microsoft.com/office/drawing/2014/main" id="{10A0E559-C2B8-48EF-B875-C7118345EE7F}"/>
                </a:ext>
              </a:extLst>
            </p:cNvPr>
            <p:cNvSpPr>
              <a:spLocks noChangeArrowheads="1"/>
            </p:cNvSpPr>
            <p:nvPr/>
          </p:nvSpPr>
          <p:spPr bwMode="auto">
            <a:xfrm>
              <a:off x="385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2" name="Oval 3088">
              <a:extLst>
                <a:ext uri="{FF2B5EF4-FFF2-40B4-BE49-F238E27FC236}">
                  <a16:creationId xmlns:a16="http://schemas.microsoft.com/office/drawing/2014/main" id="{5EEDD85A-8DE1-471E-A1A8-02879FDB0323}"/>
                </a:ext>
              </a:extLst>
            </p:cNvPr>
            <p:cNvSpPr>
              <a:spLocks noChangeArrowheads="1"/>
            </p:cNvSpPr>
            <p:nvPr/>
          </p:nvSpPr>
          <p:spPr bwMode="auto">
            <a:xfrm>
              <a:off x="367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3" name="Oval 3089">
              <a:extLst>
                <a:ext uri="{FF2B5EF4-FFF2-40B4-BE49-F238E27FC236}">
                  <a16:creationId xmlns:a16="http://schemas.microsoft.com/office/drawing/2014/main" id="{903FB619-F169-4771-ADDA-8D05D07C6FF4}"/>
                </a:ext>
              </a:extLst>
            </p:cNvPr>
            <p:cNvSpPr>
              <a:spLocks noChangeArrowheads="1"/>
            </p:cNvSpPr>
            <p:nvPr/>
          </p:nvSpPr>
          <p:spPr bwMode="auto">
            <a:xfrm>
              <a:off x="367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4" name="Oval 3090">
              <a:extLst>
                <a:ext uri="{FF2B5EF4-FFF2-40B4-BE49-F238E27FC236}">
                  <a16:creationId xmlns:a16="http://schemas.microsoft.com/office/drawing/2014/main" id="{CE6C0784-EBCA-446C-9E49-561E71D8BFBA}"/>
                </a:ext>
              </a:extLst>
            </p:cNvPr>
            <p:cNvSpPr>
              <a:spLocks noChangeArrowheads="1"/>
            </p:cNvSpPr>
            <p:nvPr/>
          </p:nvSpPr>
          <p:spPr bwMode="auto">
            <a:xfrm>
              <a:off x="35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5" name="Oval 3091">
              <a:extLst>
                <a:ext uri="{FF2B5EF4-FFF2-40B4-BE49-F238E27FC236}">
                  <a16:creationId xmlns:a16="http://schemas.microsoft.com/office/drawing/2014/main" id="{F90320C3-609A-45F5-A131-433B7FA74729}"/>
                </a:ext>
              </a:extLst>
            </p:cNvPr>
            <p:cNvSpPr>
              <a:spLocks noChangeArrowheads="1"/>
            </p:cNvSpPr>
            <p:nvPr/>
          </p:nvSpPr>
          <p:spPr bwMode="auto">
            <a:xfrm>
              <a:off x="355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6" name="Oval 3092">
              <a:extLst>
                <a:ext uri="{FF2B5EF4-FFF2-40B4-BE49-F238E27FC236}">
                  <a16:creationId xmlns:a16="http://schemas.microsoft.com/office/drawing/2014/main" id="{DC4F83AE-023C-4B8B-B66F-98D514511BAA}"/>
                </a:ext>
              </a:extLst>
            </p:cNvPr>
            <p:cNvSpPr>
              <a:spLocks noChangeArrowheads="1"/>
            </p:cNvSpPr>
            <p:nvPr/>
          </p:nvSpPr>
          <p:spPr bwMode="auto">
            <a:xfrm>
              <a:off x="355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7" name="Oval 3093">
              <a:extLst>
                <a:ext uri="{FF2B5EF4-FFF2-40B4-BE49-F238E27FC236}">
                  <a16:creationId xmlns:a16="http://schemas.microsoft.com/office/drawing/2014/main" id="{282952BA-D28D-485F-B7EA-539EC1881A9A}"/>
                </a:ext>
              </a:extLst>
            </p:cNvPr>
            <p:cNvSpPr>
              <a:spLocks noChangeArrowheads="1"/>
            </p:cNvSpPr>
            <p:nvPr/>
          </p:nvSpPr>
          <p:spPr bwMode="auto">
            <a:xfrm>
              <a:off x="358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8" name="Oval 3094">
              <a:extLst>
                <a:ext uri="{FF2B5EF4-FFF2-40B4-BE49-F238E27FC236}">
                  <a16:creationId xmlns:a16="http://schemas.microsoft.com/office/drawing/2014/main" id="{93BBD0DA-687C-4E82-880A-1D54B79B1AFD}"/>
                </a:ext>
              </a:extLst>
            </p:cNvPr>
            <p:cNvSpPr>
              <a:spLocks noChangeArrowheads="1"/>
            </p:cNvSpPr>
            <p:nvPr/>
          </p:nvSpPr>
          <p:spPr bwMode="auto">
            <a:xfrm>
              <a:off x="343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9" name="Oval 3095">
              <a:extLst>
                <a:ext uri="{FF2B5EF4-FFF2-40B4-BE49-F238E27FC236}">
                  <a16:creationId xmlns:a16="http://schemas.microsoft.com/office/drawing/2014/main" id="{A2867236-98D8-4ED2-A8DE-19B865443C55}"/>
                </a:ext>
              </a:extLst>
            </p:cNvPr>
            <p:cNvSpPr>
              <a:spLocks noChangeArrowheads="1"/>
            </p:cNvSpPr>
            <p:nvPr/>
          </p:nvSpPr>
          <p:spPr bwMode="auto">
            <a:xfrm>
              <a:off x="340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0" name="Oval 3096">
              <a:extLst>
                <a:ext uri="{FF2B5EF4-FFF2-40B4-BE49-F238E27FC236}">
                  <a16:creationId xmlns:a16="http://schemas.microsoft.com/office/drawing/2014/main" id="{B87D556D-B50A-4BDB-AC7F-57BE15E0F84C}"/>
                </a:ext>
              </a:extLst>
            </p:cNvPr>
            <p:cNvSpPr>
              <a:spLocks noChangeArrowheads="1"/>
            </p:cNvSpPr>
            <p:nvPr/>
          </p:nvSpPr>
          <p:spPr bwMode="auto">
            <a:xfrm>
              <a:off x="331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1" name="Oval 3097">
              <a:extLst>
                <a:ext uri="{FF2B5EF4-FFF2-40B4-BE49-F238E27FC236}">
                  <a16:creationId xmlns:a16="http://schemas.microsoft.com/office/drawing/2014/main" id="{C57D5EFE-80DF-4F0C-BC2D-9E1C67D5661F}"/>
                </a:ext>
              </a:extLst>
            </p:cNvPr>
            <p:cNvSpPr>
              <a:spLocks noChangeArrowheads="1"/>
            </p:cNvSpPr>
            <p:nvPr/>
          </p:nvSpPr>
          <p:spPr bwMode="auto">
            <a:xfrm>
              <a:off x="340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2" name="Oval 3098">
              <a:extLst>
                <a:ext uri="{FF2B5EF4-FFF2-40B4-BE49-F238E27FC236}">
                  <a16:creationId xmlns:a16="http://schemas.microsoft.com/office/drawing/2014/main" id="{FBEEC2DA-E9E2-4E57-B9A9-ED3ACE661C30}"/>
                </a:ext>
              </a:extLst>
            </p:cNvPr>
            <p:cNvSpPr>
              <a:spLocks noChangeArrowheads="1"/>
            </p:cNvSpPr>
            <p:nvPr/>
          </p:nvSpPr>
          <p:spPr bwMode="auto">
            <a:xfrm>
              <a:off x="328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3" name="Oval 3099">
              <a:extLst>
                <a:ext uri="{FF2B5EF4-FFF2-40B4-BE49-F238E27FC236}">
                  <a16:creationId xmlns:a16="http://schemas.microsoft.com/office/drawing/2014/main" id="{1CEEDB65-5768-45DB-954B-D8D1FEEB73B8}"/>
                </a:ext>
              </a:extLst>
            </p:cNvPr>
            <p:cNvSpPr>
              <a:spLocks noChangeArrowheads="1"/>
            </p:cNvSpPr>
            <p:nvPr/>
          </p:nvSpPr>
          <p:spPr bwMode="auto">
            <a:xfrm>
              <a:off x="334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4" name="Oval 3100">
              <a:extLst>
                <a:ext uri="{FF2B5EF4-FFF2-40B4-BE49-F238E27FC236}">
                  <a16:creationId xmlns:a16="http://schemas.microsoft.com/office/drawing/2014/main" id="{29D417F9-4BD8-401C-97D1-0F89F45A4B81}"/>
                </a:ext>
              </a:extLst>
            </p:cNvPr>
            <p:cNvSpPr>
              <a:spLocks noChangeArrowheads="1"/>
            </p:cNvSpPr>
            <p:nvPr/>
          </p:nvSpPr>
          <p:spPr bwMode="auto">
            <a:xfrm>
              <a:off x="334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5" name="Oval 3101">
              <a:extLst>
                <a:ext uri="{FF2B5EF4-FFF2-40B4-BE49-F238E27FC236}">
                  <a16:creationId xmlns:a16="http://schemas.microsoft.com/office/drawing/2014/main" id="{110968E8-9A3E-44A1-BC91-F73A35EAE2CB}"/>
                </a:ext>
              </a:extLst>
            </p:cNvPr>
            <p:cNvSpPr>
              <a:spLocks noChangeArrowheads="1"/>
            </p:cNvSpPr>
            <p:nvPr/>
          </p:nvSpPr>
          <p:spPr bwMode="auto">
            <a:xfrm>
              <a:off x="325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6" name="Oval 3102">
              <a:extLst>
                <a:ext uri="{FF2B5EF4-FFF2-40B4-BE49-F238E27FC236}">
                  <a16:creationId xmlns:a16="http://schemas.microsoft.com/office/drawing/2014/main" id="{EAE9F142-A0FD-416B-9F0E-B0130B126DF7}"/>
                </a:ext>
              </a:extLst>
            </p:cNvPr>
            <p:cNvSpPr>
              <a:spLocks noChangeArrowheads="1"/>
            </p:cNvSpPr>
            <p:nvPr/>
          </p:nvSpPr>
          <p:spPr bwMode="auto">
            <a:xfrm>
              <a:off x="319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7" name="Oval 3103">
              <a:extLst>
                <a:ext uri="{FF2B5EF4-FFF2-40B4-BE49-F238E27FC236}">
                  <a16:creationId xmlns:a16="http://schemas.microsoft.com/office/drawing/2014/main" id="{6636C85F-B6DC-4808-8E08-5764813A18F0}"/>
                </a:ext>
              </a:extLst>
            </p:cNvPr>
            <p:cNvSpPr>
              <a:spLocks noChangeArrowheads="1"/>
            </p:cNvSpPr>
            <p:nvPr/>
          </p:nvSpPr>
          <p:spPr bwMode="auto">
            <a:xfrm>
              <a:off x="31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8" name="Oval 3104">
              <a:extLst>
                <a:ext uri="{FF2B5EF4-FFF2-40B4-BE49-F238E27FC236}">
                  <a16:creationId xmlns:a16="http://schemas.microsoft.com/office/drawing/2014/main" id="{B05D47B6-E5CF-494F-A5F3-2E715ED148A5}"/>
                </a:ext>
              </a:extLst>
            </p:cNvPr>
            <p:cNvSpPr>
              <a:spLocks noChangeArrowheads="1"/>
            </p:cNvSpPr>
            <p:nvPr/>
          </p:nvSpPr>
          <p:spPr bwMode="auto">
            <a:xfrm>
              <a:off x="319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9" name="Oval 3105">
              <a:extLst>
                <a:ext uri="{FF2B5EF4-FFF2-40B4-BE49-F238E27FC236}">
                  <a16:creationId xmlns:a16="http://schemas.microsoft.com/office/drawing/2014/main" id="{28F2FF9B-9416-47AD-838F-12134D63A9B0}"/>
                </a:ext>
              </a:extLst>
            </p:cNvPr>
            <p:cNvSpPr>
              <a:spLocks noChangeArrowheads="1"/>
            </p:cNvSpPr>
            <p:nvPr/>
          </p:nvSpPr>
          <p:spPr bwMode="auto">
            <a:xfrm>
              <a:off x="319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0" name="Oval 3106">
              <a:extLst>
                <a:ext uri="{FF2B5EF4-FFF2-40B4-BE49-F238E27FC236}">
                  <a16:creationId xmlns:a16="http://schemas.microsoft.com/office/drawing/2014/main" id="{4429DA74-A73D-4B4E-80B0-8E7C04CF33E0}"/>
                </a:ext>
              </a:extLst>
            </p:cNvPr>
            <p:cNvSpPr>
              <a:spLocks noChangeArrowheads="1"/>
            </p:cNvSpPr>
            <p:nvPr/>
          </p:nvSpPr>
          <p:spPr bwMode="auto">
            <a:xfrm>
              <a:off x="319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3" name="Oval 3107">
              <a:extLst>
                <a:ext uri="{FF2B5EF4-FFF2-40B4-BE49-F238E27FC236}">
                  <a16:creationId xmlns:a16="http://schemas.microsoft.com/office/drawing/2014/main" id="{A38F96C2-305A-42F3-8856-D5C9AF75A509}"/>
                </a:ext>
              </a:extLst>
            </p:cNvPr>
            <p:cNvSpPr>
              <a:spLocks noChangeArrowheads="1"/>
            </p:cNvSpPr>
            <p:nvPr/>
          </p:nvSpPr>
          <p:spPr bwMode="auto">
            <a:xfrm>
              <a:off x="31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4" name="Oval 3108">
              <a:extLst>
                <a:ext uri="{FF2B5EF4-FFF2-40B4-BE49-F238E27FC236}">
                  <a16:creationId xmlns:a16="http://schemas.microsoft.com/office/drawing/2014/main" id="{09A7E847-53A7-4A74-A2F0-AF4445DB3006}"/>
                </a:ext>
              </a:extLst>
            </p:cNvPr>
            <p:cNvSpPr>
              <a:spLocks noChangeArrowheads="1"/>
            </p:cNvSpPr>
            <p:nvPr/>
          </p:nvSpPr>
          <p:spPr bwMode="auto">
            <a:xfrm>
              <a:off x="319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7" name="Oval 3109">
              <a:extLst>
                <a:ext uri="{FF2B5EF4-FFF2-40B4-BE49-F238E27FC236}">
                  <a16:creationId xmlns:a16="http://schemas.microsoft.com/office/drawing/2014/main" id="{F461D41A-03B1-4550-ABAD-AC53C7E496F0}"/>
                </a:ext>
              </a:extLst>
            </p:cNvPr>
            <p:cNvSpPr>
              <a:spLocks noChangeArrowheads="1"/>
            </p:cNvSpPr>
            <p:nvPr/>
          </p:nvSpPr>
          <p:spPr bwMode="auto">
            <a:xfrm>
              <a:off x="319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71" name="Oval 3110">
              <a:extLst>
                <a:ext uri="{FF2B5EF4-FFF2-40B4-BE49-F238E27FC236}">
                  <a16:creationId xmlns:a16="http://schemas.microsoft.com/office/drawing/2014/main" id="{5C4325AF-B60D-47F5-B98B-DD6413173BA5}"/>
                </a:ext>
              </a:extLst>
            </p:cNvPr>
            <p:cNvSpPr>
              <a:spLocks noChangeArrowheads="1"/>
            </p:cNvSpPr>
            <p:nvPr/>
          </p:nvSpPr>
          <p:spPr bwMode="auto">
            <a:xfrm>
              <a:off x="316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72" name="Oval 3111">
              <a:extLst>
                <a:ext uri="{FF2B5EF4-FFF2-40B4-BE49-F238E27FC236}">
                  <a16:creationId xmlns:a16="http://schemas.microsoft.com/office/drawing/2014/main" id="{E7F06166-DED2-4453-8E5B-AA0281D253C6}"/>
                </a:ext>
              </a:extLst>
            </p:cNvPr>
            <p:cNvSpPr>
              <a:spLocks noChangeArrowheads="1"/>
            </p:cNvSpPr>
            <p:nvPr/>
          </p:nvSpPr>
          <p:spPr bwMode="auto">
            <a:xfrm>
              <a:off x="328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91" name="Oval 3112">
              <a:extLst>
                <a:ext uri="{FF2B5EF4-FFF2-40B4-BE49-F238E27FC236}">
                  <a16:creationId xmlns:a16="http://schemas.microsoft.com/office/drawing/2014/main" id="{3AF36463-321A-43D2-B3B3-6F944E242A9C}"/>
                </a:ext>
              </a:extLst>
            </p:cNvPr>
            <p:cNvSpPr>
              <a:spLocks noChangeArrowheads="1"/>
            </p:cNvSpPr>
            <p:nvPr/>
          </p:nvSpPr>
          <p:spPr bwMode="auto">
            <a:xfrm>
              <a:off x="325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92" name="Oval 3113">
              <a:extLst>
                <a:ext uri="{FF2B5EF4-FFF2-40B4-BE49-F238E27FC236}">
                  <a16:creationId xmlns:a16="http://schemas.microsoft.com/office/drawing/2014/main" id="{78872DF9-E08B-4AA2-93EC-6F059D57E494}"/>
                </a:ext>
              </a:extLst>
            </p:cNvPr>
            <p:cNvSpPr>
              <a:spLocks noChangeArrowheads="1"/>
            </p:cNvSpPr>
            <p:nvPr/>
          </p:nvSpPr>
          <p:spPr bwMode="auto">
            <a:xfrm>
              <a:off x="328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93" name="Oval 3114">
              <a:extLst>
                <a:ext uri="{FF2B5EF4-FFF2-40B4-BE49-F238E27FC236}">
                  <a16:creationId xmlns:a16="http://schemas.microsoft.com/office/drawing/2014/main" id="{49519D0F-AFB5-4FF7-9372-26F259C2F968}"/>
                </a:ext>
              </a:extLst>
            </p:cNvPr>
            <p:cNvSpPr>
              <a:spLocks noChangeArrowheads="1"/>
            </p:cNvSpPr>
            <p:nvPr/>
          </p:nvSpPr>
          <p:spPr bwMode="auto">
            <a:xfrm>
              <a:off x="352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94" name="Oval 3115">
              <a:extLst>
                <a:ext uri="{FF2B5EF4-FFF2-40B4-BE49-F238E27FC236}">
                  <a16:creationId xmlns:a16="http://schemas.microsoft.com/office/drawing/2014/main" id="{8F2C56B0-DF60-4978-9693-9B0CBF588E87}"/>
                </a:ext>
              </a:extLst>
            </p:cNvPr>
            <p:cNvSpPr>
              <a:spLocks noChangeArrowheads="1"/>
            </p:cNvSpPr>
            <p:nvPr/>
          </p:nvSpPr>
          <p:spPr bwMode="auto">
            <a:xfrm>
              <a:off x="352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95" name="Oval 3116">
              <a:extLst>
                <a:ext uri="{FF2B5EF4-FFF2-40B4-BE49-F238E27FC236}">
                  <a16:creationId xmlns:a16="http://schemas.microsoft.com/office/drawing/2014/main" id="{59165CBC-7638-4EF8-A858-42E4FFED0798}"/>
                </a:ext>
              </a:extLst>
            </p:cNvPr>
            <p:cNvSpPr>
              <a:spLocks noChangeArrowheads="1"/>
            </p:cNvSpPr>
            <p:nvPr/>
          </p:nvSpPr>
          <p:spPr bwMode="auto">
            <a:xfrm>
              <a:off x="346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96" name="Oval 3117">
              <a:extLst>
                <a:ext uri="{FF2B5EF4-FFF2-40B4-BE49-F238E27FC236}">
                  <a16:creationId xmlns:a16="http://schemas.microsoft.com/office/drawing/2014/main" id="{C931813C-937F-4CB1-8360-C91325F76632}"/>
                </a:ext>
              </a:extLst>
            </p:cNvPr>
            <p:cNvSpPr>
              <a:spLocks noChangeArrowheads="1"/>
            </p:cNvSpPr>
            <p:nvPr/>
          </p:nvSpPr>
          <p:spPr bwMode="auto">
            <a:xfrm>
              <a:off x="346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97" name="Oval 3118">
              <a:extLst>
                <a:ext uri="{FF2B5EF4-FFF2-40B4-BE49-F238E27FC236}">
                  <a16:creationId xmlns:a16="http://schemas.microsoft.com/office/drawing/2014/main" id="{08FB03F2-56DA-470C-B0E2-E18C4FDE86F7}"/>
                </a:ext>
              </a:extLst>
            </p:cNvPr>
            <p:cNvSpPr>
              <a:spLocks noChangeArrowheads="1"/>
            </p:cNvSpPr>
            <p:nvPr/>
          </p:nvSpPr>
          <p:spPr bwMode="auto">
            <a:xfrm>
              <a:off x="334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98" name="Oval 3119">
              <a:extLst>
                <a:ext uri="{FF2B5EF4-FFF2-40B4-BE49-F238E27FC236}">
                  <a16:creationId xmlns:a16="http://schemas.microsoft.com/office/drawing/2014/main" id="{31DCA218-25D6-4568-B0D2-07FD1639745B}"/>
                </a:ext>
              </a:extLst>
            </p:cNvPr>
            <p:cNvSpPr>
              <a:spLocks noChangeArrowheads="1"/>
            </p:cNvSpPr>
            <p:nvPr/>
          </p:nvSpPr>
          <p:spPr bwMode="auto">
            <a:xfrm>
              <a:off x="334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99" name="Oval 3120">
              <a:extLst>
                <a:ext uri="{FF2B5EF4-FFF2-40B4-BE49-F238E27FC236}">
                  <a16:creationId xmlns:a16="http://schemas.microsoft.com/office/drawing/2014/main" id="{B6D2AA8B-55A3-4127-837D-F46A7E9CF646}"/>
                </a:ext>
              </a:extLst>
            </p:cNvPr>
            <p:cNvSpPr>
              <a:spLocks noChangeArrowheads="1"/>
            </p:cNvSpPr>
            <p:nvPr/>
          </p:nvSpPr>
          <p:spPr bwMode="auto">
            <a:xfrm>
              <a:off x="328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00" name="Oval 3121">
              <a:extLst>
                <a:ext uri="{FF2B5EF4-FFF2-40B4-BE49-F238E27FC236}">
                  <a16:creationId xmlns:a16="http://schemas.microsoft.com/office/drawing/2014/main" id="{F691F09A-5E65-4ED8-A7EE-01CF87F12BCC}"/>
                </a:ext>
              </a:extLst>
            </p:cNvPr>
            <p:cNvSpPr>
              <a:spLocks noChangeArrowheads="1"/>
            </p:cNvSpPr>
            <p:nvPr/>
          </p:nvSpPr>
          <p:spPr bwMode="auto">
            <a:xfrm>
              <a:off x="337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01" name="Oval 3122">
              <a:extLst>
                <a:ext uri="{FF2B5EF4-FFF2-40B4-BE49-F238E27FC236}">
                  <a16:creationId xmlns:a16="http://schemas.microsoft.com/office/drawing/2014/main" id="{06DDBC5A-9A1E-44E3-A948-EB8B4CDA93BE}"/>
                </a:ext>
              </a:extLst>
            </p:cNvPr>
            <p:cNvSpPr>
              <a:spLocks noChangeArrowheads="1"/>
            </p:cNvSpPr>
            <p:nvPr/>
          </p:nvSpPr>
          <p:spPr bwMode="auto">
            <a:xfrm>
              <a:off x="340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02" name="Oval 3123">
              <a:extLst>
                <a:ext uri="{FF2B5EF4-FFF2-40B4-BE49-F238E27FC236}">
                  <a16:creationId xmlns:a16="http://schemas.microsoft.com/office/drawing/2014/main" id="{3BA4BF8D-A0B3-4411-B098-3711DF40F808}"/>
                </a:ext>
              </a:extLst>
            </p:cNvPr>
            <p:cNvSpPr>
              <a:spLocks noChangeArrowheads="1"/>
            </p:cNvSpPr>
            <p:nvPr/>
          </p:nvSpPr>
          <p:spPr bwMode="auto">
            <a:xfrm>
              <a:off x="36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03" name="Oval 3124">
              <a:extLst>
                <a:ext uri="{FF2B5EF4-FFF2-40B4-BE49-F238E27FC236}">
                  <a16:creationId xmlns:a16="http://schemas.microsoft.com/office/drawing/2014/main" id="{026E2770-6906-4A42-8791-73E333713350}"/>
                </a:ext>
              </a:extLst>
            </p:cNvPr>
            <p:cNvSpPr>
              <a:spLocks noChangeArrowheads="1"/>
            </p:cNvSpPr>
            <p:nvPr/>
          </p:nvSpPr>
          <p:spPr bwMode="auto">
            <a:xfrm>
              <a:off x="355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04" name="Oval 3125">
              <a:extLst>
                <a:ext uri="{FF2B5EF4-FFF2-40B4-BE49-F238E27FC236}">
                  <a16:creationId xmlns:a16="http://schemas.microsoft.com/office/drawing/2014/main" id="{715BA2F1-028F-49C7-B005-F2FA8B835448}"/>
                </a:ext>
              </a:extLst>
            </p:cNvPr>
            <p:cNvSpPr>
              <a:spLocks noChangeArrowheads="1"/>
            </p:cNvSpPr>
            <p:nvPr/>
          </p:nvSpPr>
          <p:spPr bwMode="auto">
            <a:xfrm>
              <a:off x="397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05" name="Oval 3126">
              <a:extLst>
                <a:ext uri="{FF2B5EF4-FFF2-40B4-BE49-F238E27FC236}">
                  <a16:creationId xmlns:a16="http://schemas.microsoft.com/office/drawing/2014/main" id="{39076C08-F2C7-48D6-BFC8-03D4D0833D36}"/>
                </a:ext>
              </a:extLst>
            </p:cNvPr>
            <p:cNvSpPr>
              <a:spLocks noChangeArrowheads="1"/>
            </p:cNvSpPr>
            <p:nvPr/>
          </p:nvSpPr>
          <p:spPr bwMode="auto">
            <a:xfrm>
              <a:off x="379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06" name="Oval 3127">
              <a:extLst>
                <a:ext uri="{FF2B5EF4-FFF2-40B4-BE49-F238E27FC236}">
                  <a16:creationId xmlns:a16="http://schemas.microsoft.com/office/drawing/2014/main" id="{4C4625C9-52C5-4869-B1D9-B733C339BB20}"/>
                </a:ext>
              </a:extLst>
            </p:cNvPr>
            <p:cNvSpPr>
              <a:spLocks noChangeArrowheads="1"/>
            </p:cNvSpPr>
            <p:nvPr/>
          </p:nvSpPr>
          <p:spPr bwMode="auto">
            <a:xfrm>
              <a:off x="3914"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15" name="Oval 3128">
              <a:extLst>
                <a:ext uri="{FF2B5EF4-FFF2-40B4-BE49-F238E27FC236}">
                  <a16:creationId xmlns:a16="http://schemas.microsoft.com/office/drawing/2014/main" id="{CF94402F-B29D-4844-A17B-F98E2013AF39}"/>
                </a:ext>
              </a:extLst>
            </p:cNvPr>
            <p:cNvSpPr>
              <a:spLocks noChangeArrowheads="1"/>
            </p:cNvSpPr>
            <p:nvPr/>
          </p:nvSpPr>
          <p:spPr bwMode="auto">
            <a:xfrm>
              <a:off x="391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16" name="Oval 3129">
              <a:extLst>
                <a:ext uri="{FF2B5EF4-FFF2-40B4-BE49-F238E27FC236}">
                  <a16:creationId xmlns:a16="http://schemas.microsoft.com/office/drawing/2014/main" id="{D861A32B-FC19-407C-AC8A-623F9E053212}"/>
                </a:ext>
              </a:extLst>
            </p:cNvPr>
            <p:cNvSpPr>
              <a:spLocks noChangeArrowheads="1"/>
            </p:cNvSpPr>
            <p:nvPr/>
          </p:nvSpPr>
          <p:spPr bwMode="auto">
            <a:xfrm>
              <a:off x="379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17" name="Oval 3130">
              <a:extLst>
                <a:ext uri="{FF2B5EF4-FFF2-40B4-BE49-F238E27FC236}">
                  <a16:creationId xmlns:a16="http://schemas.microsoft.com/office/drawing/2014/main" id="{9815387C-17A7-4628-9797-BEC05929E22B}"/>
                </a:ext>
              </a:extLst>
            </p:cNvPr>
            <p:cNvSpPr>
              <a:spLocks noChangeArrowheads="1"/>
            </p:cNvSpPr>
            <p:nvPr/>
          </p:nvSpPr>
          <p:spPr bwMode="auto">
            <a:xfrm>
              <a:off x="3794"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18" name="Oval 3131">
              <a:extLst>
                <a:ext uri="{FF2B5EF4-FFF2-40B4-BE49-F238E27FC236}">
                  <a16:creationId xmlns:a16="http://schemas.microsoft.com/office/drawing/2014/main" id="{50628E74-0B75-41FB-B369-78C6A9F741D6}"/>
                </a:ext>
              </a:extLst>
            </p:cNvPr>
            <p:cNvSpPr>
              <a:spLocks noChangeArrowheads="1"/>
            </p:cNvSpPr>
            <p:nvPr/>
          </p:nvSpPr>
          <p:spPr bwMode="auto">
            <a:xfrm>
              <a:off x="415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19" name="Oval 3132">
              <a:extLst>
                <a:ext uri="{FF2B5EF4-FFF2-40B4-BE49-F238E27FC236}">
                  <a16:creationId xmlns:a16="http://schemas.microsoft.com/office/drawing/2014/main" id="{2F767150-918E-44A5-9278-CD243BC835CB}"/>
                </a:ext>
              </a:extLst>
            </p:cNvPr>
            <p:cNvSpPr>
              <a:spLocks noChangeArrowheads="1"/>
            </p:cNvSpPr>
            <p:nvPr/>
          </p:nvSpPr>
          <p:spPr bwMode="auto">
            <a:xfrm>
              <a:off x="406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0" name="Oval 3133">
              <a:extLst>
                <a:ext uri="{FF2B5EF4-FFF2-40B4-BE49-F238E27FC236}">
                  <a16:creationId xmlns:a16="http://schemas.microsoft.com/office/drawing/2014/main" id="{FD03C7E7-104E-4CB3-8DC3-FD9FBC2A102A}"/>
                </a:ext>
              </a:extLst>
            </p:cNvPr>
            <p:cNvSpPr>
              <a:spLocks noChangeArrowheads="1"/>
            </p:cNvSpPr>
            <p:nvPr/>
          </p:nvSpPr>
          <p:spPr bwMode="auto">
            <a:xfrm>
              <a:off x="4034"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1" name="Oval 3134">
              <a:extLst>
                <a:ext uri="{FF2B5EF4-FFF2-40B4-BE49-F238E27FC236}">
                  <a16:creationId xmlns:a16="http://schemas.microsoft.com/office/drawing/2014/main" id="{0055A1CB-AE0A-4EA4-98FA-1507730D572B}"/>
                </a:ext>
              </a:extLst>
            </p:cNvPr>
            <p:cNvSpPr>
              <a:spLocks noChangeArrowheads="1"/>
            </p:cNvSpPr>
            <p:nvPr/>
          </p:nvSpPr>
          <p:spPr bwMode="auto">
            <a:xfrm>
              <a:off x="3974"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2" name="Oval 3135">
              <a:extLst>
                <a:ext uri="{FF2B5EF4-FFF2-40B4-BE49-F238E27FC236}">
                  <a16:creationId xmlns:a16="http://schemas.microsoft.com/office/drawing/2014/main" id="{472CB2E0-997F-4D77-95AA-7FC5B4BD5235}"/>
                </a:ext>
              </a:extLst>
            </p:cNvPr>
            <p:cNvSpPr>
              <a:spLocks noChangeArrowheads="1"/>
            </p:cNvSpPr>
            <p:nvPr/>
          </p:nvSpPr>
          <p:spPr bwMode="auto">
            <a:xfrm>
              <a:off x="394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3" name="Oval 3136">
              <a:extLst>
                <a:ext uri="{FF2B5EF4-FFF2-40B4-BE49-F238E27FC236}">
                  <a16:creationId xmlns:a16="http://schemas.microsoft.com/office/drawing/2014/main" id="{7DB350D3-C8BD-4F50-A1AB-DB4FD1F41664}"/>
                </a:ext>
              </a:extLst>
            </p:cNvPr>
            <p:cNvSpPr>
              <a:spLocks noChangeArrowheads="1"/>
            </p:cNvSpPr>
            <p:nvPr/>
          </p:nvSpPr>
          <p:spPr bwMode="auto">
            <a:xfrm>
              <a:off x="379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4" name="Oval 3137">
              <a:extLst>
                <a:ext uri="{FF2B5EF4-FFF2-40B4-BE49-F238E27FC236}">
                  <a16:creationId xmlns:a16="http://schemas.microsoft.com/office/drawing/2014/main" id="{BE3B6041-CBAD-441B-8B7E-8CC4BF6B353A}"/>
                </a:ext>
              </a:extLst>
            </p:cNvPr>
            <p:cNvSpPr>
              <a:spLocks noChangeArrowheads="1"/>
            </p:cNvSpPr>
            <p:nvPr/>
          </p:nvSpPr>
          <p:spPr bwMode="auto">
            <a:xfrm>
              <a:off x="385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5" name="Oval 3138">
              <a:extLst>
                <a:ext uri="{FF2B5EF4-FFF2-40B4-BE49-F238E27FC236}">
                  <a16:creationId xmlns:a16="http://schemas.microsoft.com/office/drawing/2014/main" id="{62DBFA1D-E960-4669-8906-EB7938E46B63}"/>
                </a:ext>
              </a:extLst>
            </p:cNvPr>
            <p:cNvSpPr>
              <a:spLocks noChangeArrowheads="1"/>
            </p:cNvSpPr>
            <p:nvPr/>
          </p:nvSpPr>
          <p:spPr bwMode="auto">
            <a:xfrm>
              <a:off x="3764"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6" name="Oval 3139">
              <a:extLst>
                <a:ext uri="{FF2B5EF4-FFF2-40B4-BE49-F238E27FC236}">
                  <a16:creationId xmlns:a16="http://schemas.microsoft.com/office/drawing/2014/main" id="{08269825-891F-4E66-959E-ED347BBBD9D9}"/>
                </a:ext>
              </a:extLst>
            </p:cNvPr>
            <p:cNvSpPr>
              <a:spLocks noChangeArrowheads="1"/>
            </p:cNvSpPr>
            <p:nvPr/>
          </p:nvSpPr>
          <p:spPr bwMode="auto">
            <a:xfrm>
              <a:off x="3705" y="24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7" name="Oval 3140">
              <a:extLst>
                <a:ext uri="{FF2B5EF4-FFF2-40B4-BE49-F238E27FC236}">
                  <a16:creationId xmlns:a16="http://schemas.microsoft.com/office/drawing/2014/main" id="{93181551-D236-4D3D-96C5-5E16D67B8CBF}"/>
                </a:ext>
              </a:extLst>
            </p:cNvPr>
            <p:cNvSpPr>
              <a:spLocks noChangeArrowheads="1"/>
            </p:cNvSpPr>
            <p:nvPr/>
          </p:nvSpPr>
          <p:spPr bwMode="auto">
            <a:xfrm>
              <a:off x="367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8" name="Oval 3141">
              <a:extLst>
                <a:ext uri="{FF2B5EF4-FFF2-40B4-BE49-F238E27FC236}">
                  <a16:creationId xmlns:a16="http://schemas.microsoft.com/office/drawing/2014/main" id="{551177A1-4E3A-46FE-B0DB-4B9141B1CF0E}"/>
                </a:ext>
              </a:extLst>
            </p:cNvPr>
            <p:cNvSpPr>
              <a:spLocks noChangeArrowheads="1"/>
            </p:cNvSpPr>
            <p:nvPr/>
          </p:nvSpPr>
          <p:spPr bwMode="auto">
            <a:xfrm>
              <a:off x="361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9" name="Oval 3142">
              <a:extLst>
                <a:ext uri="{FF2B5EF4-FFF2-40B4-BE49-F238E27FC236}">
                  <a16:creationId xmlns:a16="http://schemas.microsoft.com/office/drawing/2014/main" id="{B74BCBE4-FB1D-4679-BEDE-F5FE2A694B47}"/>
                </a:ext>
              </a:extLst>
            </p:cNvPr>
            <p:cNvSpPr>
              <a:spLocks noChangeArrowheads="1"/>
            </p:cNvSpPr>
            <p:nvPr/>
          </p:nvSpPr>
          <p:spPr bwMode="auto">
            <a:xfrm>
              <a:off x="355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0" name="Oval 3143">
              <a:extLst>
                <a:ext uri="{FF2B5EF4-FFF2-40B4-BE49-F238E27FC236}">
                  <a16:creationId xmlns:a16="http://schemas.microsoft.com/office/drawing/2014/main" id="{B7E2C9C4-8495-4806-85D7-51F62FCD13CE}"/>
                </a:ext>
              </a:extLst>
            </p:cNvPr>
            <p:cNvSpPr>
              <a:spLocks noChangeArrowheads="1"/>
            </p:cNvSpPr>
            <p:nvPr/>
          </p:nvSpPr>
          <p:spPr bwMode="auto">
            <a:xfrm>
              <a:off x="346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1" name="Oval 3144">
              <a:extLst>
                <a:ext uri="{FF2B5EF4-FFF2-40B4-BE49-F238E27FC236}">
                  <a16:creationId xmlns:a16="http://schemas.microsoft.com/office/drawing/2014/main" id="{991EBF1C-5841-4269-ABB7-0531A8532849}"/>
                </a:ext>
              </a:extLst>
            </p:cNvPr>
            <p:cNvSpPr>
              <a:spLocks noChangeArrowheads="1"/>
            </p:cNvSpPr>
            <p:nvPr/>
          </p:nvSpPr>
          <p:spPr bwMode="auto">
            <a:xfrm>
              <a:off x="343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2" name="Oval 3145">
              <a:extLst>
                <a:ext uri="{FF2B5EF4-FFF2-40B4-BE49-F238E27FC236}">
                  <a16:creationId xmlns:a16="http://schemas.microsoft.com/office/drawing/2014/main" id="{243795E6-762D-4463-974B-65227C98989C}"/>
                </a:ext>
              </a:extLst>
            </p:cNvPr>
            <p:cNvSpPr>
              <a:spLocks noChangeArrowheads="1"/>
            </p:cNvSpPr>
            <p:nvPr/>
          </p:nvSpPr>
          <p:spPr bwMode="auto">
            <a:xfrm>
              <a:off x="39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3" name="Oval 3146">
              <a:extLst>
                <a:ext uri="{FF2B5EF4-FFF2-40B4-BE49-F238E27FC236}">
                  <a16:creationId xmlns:a16="http://schemas.microsoft.com/office/drawing/2014/main" id="{166B5ECA-A90C-4369-8152-7A362BA75284}"/>
                </a:ext>
              </a:extLst>
            </p:cNvPr>
            <p:cNvSpPr>
              <a:spLocks noChangeArrowheads="1"/>
            </p:cNvSpPr>
            <p:nvPr/>
          </p:nvSpPr>
          <p:spPr bwMode="auto">
            <a:xfrm>
              <a:off x="382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4" name="Oval 3147">
              <a:extLst>
                <a:ext uri="{FF2B5EF4-FFF2-40B4-BE49-F238E27FC236}">
                  <a16:creationId xmlns:a16="http://schemas.microsoft.com/office/drawing/2014/main" id="{BCCC1672-1263-4E4D-98AB-481308FA539D}"/>
                </a:ext>
              </a:extLst>
            </p:cNvPr>
            <p:cNvSpPr>
              <a:spLocks noChangeArrowheads="1"/>
            </p:cNvSpPr>
            <p:nvPr/>
          </p:nvSpPr>
          <p:spPr bwMode="auto">
            <a:xfrm>
              <a:off x="3705" y="21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5" name="Oval 3148">
              <a:extLst>
                <a:ext uri="{FF2B5EF4-FFF2-40B4-BE49-F238E27FC236}">
                  <a16:creationId xmlns:a16="http://schemas.microsoft.com/office/drawing/2014/main" id="{5BB17B0B-B929-4DC5-B6C2-A4165E12A01C}"/>
                </a:ext>
              </a:extLst>
            </p:cNvPr>
            <p:cNvSpPr>
              <a:spLocks noChangeArrowheads="1"/>
            </p:cNvSpPr>
            <p:nvPr/>
          </p:nvSpPr>
          <p:spPr bwMode="auto">
            <a:xfrm>
              <a:off x="36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6" name="Oval 3149">
              <a:extLst>
                <a:ext uri="{FF2B5EF4-FFF2-40B4-BE49-F238E27FC236}">
                  <a16:creationId xmlns:a16="http://schemas.microsoft.com/office/drawing/2014/main" id="{7CFFF57C-7D04-4CB0-9BAC-65ECF0BC3D85}"/>
                </a:ext>
              </a:extLst>
            </p:cNvPr>
            <p:cNvSpPr>
              <a:spLocks noChangeArrowheads="1"/>
            </p:cNvSpPr>
            <p:nvPr/>
          </p:nvSpPr>
          <p:spPr bwMode="auto">
            <a:xfrm>
              <a:off x="4154"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7" name="Oval 3150">
              <a:extLst>
                <a:ext uri="{FF2B5EF4-FFF2-40B4-BE49-F238E27FC236}">
                  <a16:creationId xmlns:a16="http://schemas.microsoft.com/office/drawing/2014/main" id="{2B394EE6-45A7-4119-A273-A5071B0B7FE2}"/>
                </a:ext>
              </a:extLst>
            </p:cNvPr>
            <p:cNvSpPr>
              <a:spLocks noChangeArrowheads="1"/>
            </p:cNvSpPr>
            <p:nvPr/>
          </p:nvSpPr>
          <p:spPr bwMode="auto">
            <a:xfrm>
              <a:off x="4274"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8" name="Oval 3151">
              <a:extLst>
                <a:ext uri="{FF2B5EF4-FFF2-40B4-BE49-F238E27FC236}">
                  <a16:creationId xmlns:a16="http://schemas.microsoft.com/office/drawing/2014/main" id="{16BA022B-3B73-416E-878C-40A60B006A96}"/>
                </a:ext>
              </a:extLst>
            </p:cNvPr>
            <p:cNvSpPr>
              <a:spLocks noChangeArrowheads="1"/>
            </p:cNvSpPr>
            <p:nvPr/>
          </p:nvSpPr>
          <p:spPr bwMode="auto">
            <a:xfrm>
              <a:off x="409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9" name="Oval 3152">
              <a:extLst>
                <a:ext uri="{FF2B5EF4-FFF2-40B4-BE49-F238E27FC236}">
                  <a16:creationId xmlns:a16="http://schemas.microsoft.com/office/drawing/2014/main" id="{63EADD3F-DE00-465A-AB09-A7BEF4462033}"/>
                </a:ext>
              </a:extLst>
            </p:cNvPr>
            <p:cNvSpPr>
              <a:spLocks noChangeArrowheads="1"/>
            </p:cNvSpPr>
            <p:nvPr/>
          </p:nvSpPr>
          <p:spPr bwMode="auto">
            <a:xfrm>
              <a:off x="397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0" name="Oval 3153">
              <a:extLst>
                <a:ext uri="{FF2B5EF4-FFF2-40B4-BE49-F238E27FC236}">
                  <a16:creationId xmlns:a16="http://schemas.microsoft.com/office/drawing/2014/main" id="{CE93451C-C1F6-4311-B2C5-FC730D71C1AE}"/>
                </a:ext>
              </a:extLst>
            </p:cNvPr>
            <p:cNvSpPr>
              <a:spLocks noChangeArrowheads="1"/>
            </p:cNvSpPr>
            <p:nvPr/>
          </p:nvSpPr>
          <p:spPr bwMode="auto">
            <a:xfrm>
              <a:off x="385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1" name="Oval 3154">
              <a:extLst>
                <a:ext uri="{FF2B5EF4-FFF2-40B4-BE49-F238E27FC236}">
                  <a16:creationId xmlns:a16="http://schemas.microsoft.com/office/drawing/2014/main" id="{463705B3-1AB2-4711-94D4-328D8F1FDB7B}"/>
                </a:ext>
              </a:extLst>
            </p:cNvPr>
            <p:cNvSpPr>
              <a:spLocks noChangeArrowheads="1"/>
            </p:cNvSpPr>
            <p:nvPr/>
          </p:nvSpPr>
          <p:spPr bwMode="auto">
            <a:xfrm>
              <a:off x="3794"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2" name="Oval 3155">
              <a:extLst>
                <a:ext uri="{FF2B5EF4-FFF2-40B4-BE49-F238E27FC236}">
                  <a16:creationId xmlns:a16="http://schemas.microsoft.com/office/drawing/2014/main" id="{2984EE91-51AC-4003-BF8B-CFF44CC7E274}"/>
                </a:ext>
              </a:extLst>
            </p:cNvPr>
            <p:cNvSpPr>
              <a:spLocks noChangeArrowheads="1"/>
            </p:cNvSpPr>
            <p:nvPr/>
          </p:nvSpPr>
          <p:spPr bwMode="auto">
            <a:xfrm>
              <a:off x="36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3" name="Oval 3156">
              <a:extLst>
                <a:ext uri="{FF2B5EF4-FFF2-40B4-BE49-F238E27FC236}">
                  <a16:creationId xmlns:a16="http://schemas.microsoft.com/office/drawing/2014/main" id="{BEDCD189-6B50-49A3-9BB5-E581177DF160}"/>
                </a:ext>
              </a:extLst>
            </p:cNvPr>
            <p:cNvSpPr>
              <a:spLocks noChangeArrowheads="1"/>
            </p:cNvSpPr>
            <p:nvPr/>
          </p:nvSpPr>
          <p:spPr bwMode="auto">
            <a:xfrm>
              <a:off x="409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4" name="Oval 3157">
              <a:extLst>
                <a:ext uri="{FF2B5EF4-FFF2-40B4-BE49-F238E27FC236}">
                  <a16:creationId xmlns:a16="http://schemas.microsoft.com/office/drawing/2014/main" id="{1D8D4562-7DDD-4859-98CF-B8D70015CB79}"/>
                </a:ext>
              </a:extLst>
            </p:cNvPr>
            <p:cNvSpPr>
              <a:spLocks noChangeArrowheads="1"/>
            </p:cNvSpPr>
            <p:nvPr/>
          </p:nvSpPr>
          <p:spPr bwMode="auto">
            <a:xfrm>
              <a:off x="400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5" name="Oval 3158">
              <a:extLst>
                <a:ext uri="{FF2B5EF4-FFF2-40B4-BE49-F238E27FC236}">
                  <a16:creationId xmlns:a16="http://schemas.microsoft.com/office/drawing/2014/main" id="{F4D0E130-457C-4E47-BD6E-2557F1FD735E}"/>
                </a:ext>
              </a:extLst>
            </p:cNvPr>
            <p:cNvSpPr>
              <a:spLocks noChangeArrowheads="1"/>
            </p:cNvSpPr>
            <p:nvPr/>
          </p:nvSpPr>
          <p:spPr bwMode="auto">
            <a:xfrm>
              <a:off x="415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6" name="Oval 3159">
              <a:extLst>
                <a:ext uri="{FF2B5EF4-FFF2-40B4-BE49-F238E27FC236}">
                  <a16:creationId xmlns:a16="http://schemas.microsoft.com/office/drawing/2014/main" id="{B85A4DB7-F5D7-405A-8FA3-B39547C3B458}"/>
                </a:ext>
              </a:extLst>
            </p:cNvPr>
            <p:cNvSpPr>
              <a:spLocks noChangeArrowheads="1"/>
            </p:cNvSpPr>
            <p:nvPr/>
          </p:nvSpPr>
          <p:spPr bwMode="auto">
            <a:xfrm>
              <a:off x="424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7" name="Oval 3160">
              <a:extLst>
                <a:ext uri="{FF2B5EF4-FFF2-40B4-BE49-F238E27FC236}">
                  <a16:creationId xmlns:a16="http://schemas.microsoft.com/office/drawing/2014/main" id="{232E4A14-551E-4797-BF16-CD0BEC7A4EF0}"/>
                </a:ext>
              </a:extLst>
            </p:cNvPr>
            <p:cNvSpPr>
              <a:spLocks noChangeArrowheads="1"/>
            </p:cNvSpPr>
            <p:nvPr/>
          </p:nvSpPr>
          <p:spPr bwMode="auto">
            <a:xfrm>
              <a:off x="427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8" name="Oval 3161">
              <a:extLst>
                <a:ext uri="{FF2B5EF4-FFF2-40B4-BE49-F238E27FC236}">
                  <a16:creationId xmlns:a16="http://schemas.microsoft.com/office/drawing/2014/main" id="{57BC2376-9780-4B15-A8C2-410061289031}"/>
                </a:ext>
              </a:extLst>
            </p:cNvPr>
            <p:cNvSpPr>
              <a:spLocks noChangeArrowheads="1"/>
            </p:cNvSpPr>
            <p:nvPr/>
          </p:nvSpPr>
          <p:spPr bwMode="auto">
            <a:xfrm>
              <a:off x="4124"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9" name="Oval 3162">
              <a:extLst>
                <a:ext uri="{FF2B5EF4-FFF2-40B4-BE49-F238E27FC236}">
                  <a16:creationId xmlns:a16="http://schemas.microsoft.com/office/drawing/2014/main" id="{1C910372-3097-4800-B63F-E067E496FE78}"/>
                </a:ext>
              </a:extLst>
            </p:cNvPr>
            <p:cNvSpPr>
              <a:spLocks noChangeArrowheads="1"/>
            </p:cNvSpPr>
            <p:nvPr/>
          </p:nvSpPr>
          <p:spPr bwMode="auto">
            <a:xfrm>
              <a:off x="394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0" name="Oval 3163">
              <a:extLst>
                <a:ext uri="{FF2B5EF4-FFF2-40B4-BE49-F238E27FC236}">
                  <a16:creationId xmlns:a16="http://schemas.microsoft.com/office/drawing/2014/main" id="{C92B5C52-50F3-45FF-A4E9-08237BD0C519}"/>
                </a:ext>
              </a:extLst>
            </p:cNvPr>
            <p:cNvSpPr>
              <a:spLocks noChangeArrowheads="1"/>
            </p:cNvSpPr>
            <p:nvPr/>
          </p:nvSpPr>
          <p:spPr bwMode="auto">
            <a:xfrm>
              <a:off x="3884"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1" name="Oval 3164">
              <a:extLst>
                <a:ext uri="{FF2B5EF4-FFF2-40B4-BE49-F238E27FC236}">
                  <a16:creationId xmlns:a16="http://schemas.microsoft.com/office/drawing/2014/main" id="{A1DEFF53-3020-40ED-8EC0-B5651FEA58AF}"/>
                </a:ext>
              </a:extLst>
            </p:cNvPr>
            <p:cNvSpPr>
              <a:spLocks noChangeArrowheads="1"/>
            </p:cNvSpPr>
            <p:nvPr/>
          </p:nvSpPr>
          <p:spPr bwMode="auto">
            <a:xfrm>
              <a:off x="376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2" name="Oval 3165">
              <a:extLst>
                <a:ext uri="{FF2B5EF4-FFF2-40B4-BE49-F238E27FC236}">
                  <a16:creationId xmlns:a16="http://schemas.microsoft.com/office/drawing/2014/main" id="{5504D5D5-A22C-4B5C-A940-139473D4A95D}"/>
                </a:ext>
              </a:extLst>
            </p:cNvPr>
            <p:cNvSpPr>
              <a:spLocks noChangeArrowheads="1"/>
            </p:cNvSpPr>
            <p:nvPr/>
          </p:nvSpPr>
          <p:spPr bwMode="auto">
            <a:xfrm>
              <a:off x="3705" y="30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3" name="Oval 3166">
              <a:extLst>
                <a:ext uri="{FF2B5EF4-FFF2-40B4-BE49-F238E27FC236}">
                  <a16:creationId xmlns:a16="http://schemas.microsoft.com/office/drawing/2014/main" id="{F59C0ED0-45B4-42ED-99E1-5D8A01A28543}"/>
                </a:ext>
              </a:extLst>
            </p:cNvPr>
            <p:cNvSpPr>
              <a:spLocks noChangeArrowheads="1"/>
            </p:cNvSpPr>
            <p:nvPr/>
          </p:nvSpPr>
          <p:spPr bwMode="auto">
            <a:xfrm>
              <a:off x="349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4" name="Oval 3167">
              <a:extLst>
                <a:ext uri="{FF2B5EF4-FFF2-40B4-BE49-F238E27FC236}">
                  <a16:creationId xmlns:a16="http://schemas.microsoft.com/office/drawing/2014/main" id="{89E0B0F8-FBD3-4151-979C-9330C05B23E9}"/>
                </a:ext>
              </a:extLst>
            </p:cNvPr>
            <p:cNvSpPr>
              <a:spLocks noChangeArrowheads="1"/>
            </p:cNvSpPr>
            <p:nvPr/>
          </p:nvSpPr>
          <p:spPr bwMode="auto">
            <a:xfrm>
              <a:off x="358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55" name="Oval 3168">
              <a:extLst>
                <a:ext uri="{FF2B5EF4-FFF2-40B4-BE49-F238E27FC236}">
                  <a16:creationId xmlns:a16="http://schemas.microsoft.com/office/drawing/2014/main" id="{BD4937E6-5EC1-4D0E-B55F-47617B666C3B}"/>
                </a:ext>
              </a:extLst>
            </p:cNvPr>
            <p:cNvSpPr>
              <a:spLocks noChangeArrowheads="1"/>
            </p:cNvSpPr>
            <p:nvPr/>
          </p:nvSpPr>
          <p:spPr bwMode="auto">
            <a:xfrm>
              <a:off x="355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sp>
        <p:nvSpPr>
          <p:cNvPr id="6" name="Rectangle 5">
            <a:extLst>
              <a:ext uri="{FF2B5EF4-FFF2-40B4-BE49-F238E27FC236}">
                <a16:creationId xmlns:a16="http://schemas.microsoft.com/office/drawing/2014/main" id="{9A1242C5-353F-4E0D-B96B-F4B4FCB66C4E}"/>
              </a:ext>
            </a:extLst>
          </p:cNvPr>
          <p:cNvSpPr/>
          <p:nvPr/>
        </p:nvSpPr>
        <p:spPr>
          <a:xfrm>
            <a:off x="0" y="4533900"/>
            <a:ext cx="4048125" cy="6096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187" name="Group 1186">
            <a:extLst>
              <a:ext uri="{FF2B5EF4-FFF2-40B4-BE49-F238E27FC236}">
                <a16:creationId xmlns:a16="http://schemas.microsoft.com/office/drawing/2014/main" id="{3DA74C6F-D6BB-4AC1-A6BC-3D7D3DE1657E}"/>
              </a:ext>
            </a:extLst>
          </p:cNvPr>
          <p:cNvGrpSpPr/>
          <p:nvPr/>
        </p:nvGrpSpPr>
        <p:grpSpPr>
          <a:xfrm>
            <a:off x="-192333" y="813489"/>
            <a:ext cx="8477739" cy="3556493"/>
            <a:chOff x="4057123" y="813489"/>
            <a:chExt cx="8477739" cy="3556493"/>
          </a:xfrm>
        </p:grpSpPr>
        <p:sp>
          <p:nvSpPr>
            <p:cNvPr id="1188" name="Oval 1187">
              <a:extLst>
                <a:ext uri="{FF2B5EF4-FFF2-40B4-BE49-F238E27FC236}">
                  <a16:creationId xmlns:a16="http://schemas.microsoft.com/office/drawing/2014/main" id="{F4AE1DD1-98A2-42B5-9672-C8B34A061A11}"/>
                </a:ext>
              </a:extLst>
            </p:cNvPr>
            <p:cNvSpPr/>
            <p:nvPr/>
          </p:nvSpPr>
          <p:spPr>
            <a:xfrm>
              <a:off x="8892109" y="1095567"/>
              <a:ext cx="3137312" cy="3137312"/>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90" name="Oval 1189">
              <a:extLst>
                <a:ext uri="{FF2B5EF4-FFF2-40B4-BE49-F238E27FC236}">
                  <a16:creationId xmlns:a16="http://schemas.microsoft.com/office/drawing/2014/main" id="{95BEA87C-0C4B-4E63-B251-2D62624B380D}"/>
                </a:ext>
              </a:extLst>
            </p:cNvPr>
            <p:cNvSpPr/>
            <p:nvPr/>
          </p:nvSpPr>
          <p:spPr>
            <a:xfrm>
              <a:off x="4555693" y="1095567"/>
              <a:ext cx="3137312" cy="3137312"/>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cxnSp>
          <p:nvCxnSpPr>
            <p:cNvPr id="1192" name="Straight Connector 1191">
              <a:extLst>
                <a:ext uri="{FF2B5EF4-FFF2-40B4-BE49-F238E27FC236}">
                  <a16:creationId xmlns:a16="http://schemas.microsoft.com/office/drawing/2014/main" id="{6D05260D-EAED-47BE-82C4-5B0FA834C7AF}"/>
                </a:ext>
              </a:extLst>
            </p:cNvPr>
            <p:cNvCxnSpPr>
              <a:cxnSpLocks/>
            </p:cNvCxnSpPr>
            <p:nvPr/>
          </p:nvCxnSpPr>
          <p:spPr>
            <a:xfrm flipV="1">
              <a:off x="9960031" y="3507336"/>
              <a:ext cx="244913" cy="641928"/>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193" name="Straight Connector 1192">
              <a:extLst>
                <a:ext uri="{FF2B5EF4-FFF2-40B4-BE49-F238E27FC236}">
                  <a16:creationId xmlns:a16="http://schemas.microsoft.com/office/drawing/2014/main" id="{87A69562-ED0F-46E9-84AD-69A8002DEB72}"/>
                </a:ext>
              </a:extLst>
            </p:cNvPr>
            <p:cNvCxnSpPr>
              <a:cxnSpLocks/>
            </p:cNvCxnSpPr>
            <p:nvPr/>
          </p:nvCxnSpPr>
          <p:spPr>
            <a:xfrm flipV="1">
              <a:off x="10946551" y="1336566"/>
              <a:ext cx="313992" cy="435961"/>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194" name="Straight Connector 1193">
              <a:extLst>
                <a:ext uri="{FF2B5EF4-FFF2-40B4-BE49-F238E27FC236}">
                  <a16:creationId xmlns:a16="http://schemas.microsoft.com/office/drawing/2014/main" id="{C340053F-AA5F-4B4A-BFC3-60EDAE0FD7E4}"/>
                </a:ext>
              </a:extLst>
            </p:cNvPr>
            <p:cNvCxnSpPr>
              <a:cxnSpLocks/>
            </p:cNvCxnSpPr>
            <p:nvPr/>
          </p:nvCxnSpPr>
          <p:spPr>
            <a:xfrm>
              <a:off x="4948184" y="1615530"/>
              <a:ext cx="392240" cy="410031"/>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196" name="Straight Connector 1195">
              <a:extLst>
                <a:ext uri="{FF2B5EF4-FFF2-40B4-BE49-F238E27FC236}">
                  <a16:creationId xmlns:a16="http://schemas.microsoft.com/office/drawing/2014/main" id="{4738B800-413F-4AAD-B4F1-49DF077F8C17}"/>
                </a:ext>
              </a:extLst>
            </p:cNvPr>
            <p:cNvCxnSpPr>
              <a:cxnSpLocks/>
            </p:cNvCxnSpPr>
            <p:nvPr/>
          </p:nvCxnSpPr>
          <p:spPr>
            <a:xfrm>
              <a:off x="4320200" y="2687454"/>
              <a:ext cx="5208576" cy="0"/>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198" name="Straight Connector 1197">
              <a:extLst>
                <a:ext uri="{FF2B5EF4-FFF2-40B4-BE49-F238E27FC236}">
                  <a16:creationId xmlns:a16="http://schemas.microsoft.com/office/drawing/2014/main" id="{D577CA8A-CEC5-4F35-A666-99AE0203BDB0}"/>
                </a:ext>
              </a:extLst>
            </p:cNvPr>
            <p:cNvCxnSpPr>
              <a:cxnSpLocks/>
            </p:cNvCxnSpPr>
            <p:nvPr/>
          </p:nvCxnSpPr>
          <p:spPr>
            <a:xfrm>
              <a:off x="6965268" y="3463514"/>
              <a:ext cx="311525" cy="209913"/>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sp>
          <p:nvSpPr>
            <p:cNvPr id="1199" name="Oval 1198">
              <a:extLst>
                <a:ext uri="{FF2B5EF4-FFF2-40B4-BE49-F238E27FC236}">
                  <a16:creationId xmlns:a16="http://schemas.microsoft.com/office/drawing/2014/main" id="{F8AB7228-8B42-477D-A42A-B2EE6198E360}"/>
                </a:ext>
              </a:extLst>
            </p:cNvPr>
            <p:cNvSpPr/>
            <p:nvPr/>
          </p:nvSpPr>
          <p:spPr>
            <a:xfrm>
              <a:off x="4999941" y="1536192"/>
              <a:ext cx="2302523" cy="2302523"/>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00" name="Oval 1199">
              <a:extLst>
                <a:ext uri="{FF2B5EF4-FFF2-40B4-BE49-F238E27FC236}">
                  <a16:creationId xmlns:a16="http://schemas.microsoft.com/office/drawing/2014/main" id="{3BFBFF28-CEA9-464B-931E-E2A5C9F32AA7}"/>
                </a:ext>
              </a:extLst>
            </p:cNvPr>
            <p:cNvSpPr/>
            <p:nvPr/>
          </p:nvSpPr>
          <p:spPr>
            <a:xfrm>
              <a:off x="9279485" y="1536192"/>
              <a:ext cx="2302523" cy="2302523"/>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1201" name="Picture 1100">
              <a:extLst>
                <a:ext uri="{FF2B5EF4-FFF2-40B4-BE49-F238E27FC236}">
                  <a16:creationId xmlns:a16="http://schemas.microsoft.com/office/drawing/2014/main" id="{A36FB683-C8BC-41D3-A185-481CDA861481}"/>
                </a:ext>
              </a:extLst>
            </p:cNvPr>
            <p:cNvPicPr>
              <a:picLocks noChangeAspect="1"/>
            </p:cNvPicPr>
            <p:nvPr/>
          </p:nvPicPr>
          <p:blipFill>
            <a:blip r:embed="rId23" cstate="print">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838520" y="1294877"/>
              <a:ext cx="571661" cy="571661"/>
            </a:xfrm>
            <a:prstGeom prst="rect">
              <a:avLst/>
            </a:prstGeom>
          </p:spPr>
        </p:pic>
        <p:grpSp>
          <p:nvGrpSpPr>
            <p:cNvPr id="1202" name="Group 1201">
              <a:extLst>
                <a:ext uri="{FF2B5EF4-FFF2-40B4-BE49-F238E27FC236}">
                  <a16:creationId xmlns:a16="http://schemas.microsoft.com/office/drawing/2014/main" id="{9BFD0F2C-73EC-4BFA-A0EA-AFAA9310F500}"/>
                </a:ext>
              </a:extLst>
            </p:cNvPr>
            <p:cNvGrpSpPr/>
            <p:nvPr/>
          </p:nvGrpSpPr>
          <p:grpSpPr>
            <a:xfrm>
              <a:off x="5824406" y="2082895"/>
              <a:ext cx="618697" cy="448449"/>
              <a:chOff x="4207537" y="2273730"/>
              <a:chExt cx="598923" cy="434116"/>
            </a:xfrm>
          </p:grpSpPr>
          <p:grpSp>
            <p:nvGrpSpPr>
              <p:cNvPr id="1761" name="Group 1760">
                <a:extLst>
                  <a:ext uri="{FF2B5EF4-FFF2-40B4-BE49-F238E27FC236}">
                    <a16:creationId xmlns:a16="http://schemas.microsoft.com/office/drawing/2014/main" id="{131B5644-BDF4-41E0-8D5C-F2300DCF1998}"/>
                  </a:ext>
                </a:extLst>
              </p:cNvPr>
              <p:cNvGrpSpPr/>
              <p:nvPr/>
            </p:nvGrpSpPr>
            <p:grpSpPr>
              <a:xfrm>
                <a:off x="4207537" y="2273730"/>
                <a:ext cx="179387" cy="434116"/>
                <a:chOff x="2330274" y="3840316"/>
                <a:chExt cx="238125" cy="576262"/>
              </a:xfrm>
            </p:grpSpPr>
            <p:sp>
              <p:nvSpPr>
                <p:cNvPr id="1776" name="Freeform 201">
                  <a:extLst>
                    <a:ext uri="{FF2B5EF4-FFF2-40B4-BE49-F238E27FC236}">
                      <a16:creationId xmlns:a16="http://schemas.microsoft.com/office/drawing/2014/main" id="{EA7D69B2-AF77-4F60-BD5D-916953E4803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77" name="Line 202">
                  <a:extLst>
                    <a:ext uri="{FF2B5EF4-FFF2-40B4-BE49-F238E27FC236}">
                      <a16:creationId xmlns:a16="http://schemas.microsoft.com/office/drawing/2014/main" id="{1EC9437D-DF7C-4EB2-975E-346FB0E215F5}"/>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78" name="Line 203">
                  <a:extLst>
                    <a:ext uri="{FF2B5EF4-FFF2-40B4-BE49-F238E27FC236}">
                      <a16:creationId xmlns:a16="http://schemas.microsoft.com/office/drawing/2014/main" id="{51ADB053-D999-4015-8606-921A1C37E5AC}"/>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79" name="Line 204">
                  <a:extLst>
                    <a:ext uri="{FF2B5EF4-FFF2-40B4-BE49-F238E27FC236}">
                      <a16:creationId xmlns:a16="http://schemas.microsoft.com/office/drawing/2014/main" id="{2FA38AE5-AC0F-4441-8B97-7FFDD238D018}"/>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80" name="Line 205">
                  <a:extLst>
                    <a:ext uri="{FF2B5EF4-FFF2-40B4-BE49-F238E27FC236}">
                      <a16:creationId xmlns:a16="http://schemas.microsoft.com/office/drawing/2014/main" id="{14AEF770-2C64-4834-91E1-1A6424CCDCBB}"/>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81" name="Line 206">
                  <a:extLst>
                    <a:ext uri="{FF2B5EF4-FFF2-40B4-BE49-F238E27FC236}">
                      <a16:creationId xmlns:a16="http://schemas.microsoft.com/office/drawing/2014/main" id="{DCD15A51-B09E-4CBC-B09B-8965A2EC515A}"/>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762" name="Group 1761">
                <a:extLst>
                  <a:ext uri="{FF2B5EF4-FFF2-40B4-BE49-F238E27FC236}">
                    <a16:creationId xmlns:a16="http://schemas.microsoft.com/office/drawing/2014/main" id="{4CEC25D0-DAA6-44F1-A4CA-6208CFE61FD2}"/>
                  </a:ext>
                </a:extLst>
              </p:cNvPr>
              <p:cNvGrpSpPr/>
              <p:nvPr/>
            </p:nvGrpSpPr>
            <p:grpSpPr>
              <a:xfrm>
                <a:off x="4417305" y="2273730"/>
                <a:ext cx="179387" cy="434116"/>
                <a:chOff x="2330274" y="3840316"/>
                <a:chExt cx="238125" cy="576262"/>
              </a:xfrm>
            </p:grpSpPr>
            <p:sp>
              <p:nvSpPr>
                <p:cNvPr id="1770" name="Freeform 201">
                  <a:extLst>
                    <a:ext uri="{FF2B5EF4-FFF2-40B4-BE49-F238E27FC236}">
                      <a16:creationId xmlns:a16="http://schemas.microsoft.com/office/drawing/2014/main" id="{5CB61596-54E7-416A-A956-24EA5C29B3E0}"/>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71" name="Line 202">
                  <a:extLst>
                    <a:ext uri="{FF2B5EF4-FFF2-40B4-BE49-F238E27FC236}">
                      <a16:creationId xmlns:a16="http://schemas.microsoft.com/office/drawing/2014/main" id="{9E59422F-30D1-44D8-A29B-50284A532E9A}"/>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72" name="Line 203">
                  <a:extLst>
                    <a:ext uri="{FF2B5EF4-FFF2-40B4-BE49-F238E27FC236}">
                      <a16:creationId xmlns:a16="http://schemas.microsoft.com/office/drawing/2014/main" id="{BFE27093-2D19-45EC-900B-57CD51D58FA5}"/>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73" name="Line 204">
                  <a:extLst>
                    <a:ext uri="{FF2B5EF4-FFF2-40B4-BE49-F238E27FC236}">
                      <a16:creationId xmlns:a16="http://schemas.microsoft.com/office/drawing/2014/main" id="{101736C3-99FA-44DA-B011-75CE5194F632}"/>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74" name="Line 205">
                  <a:extLst>
                    <a:ext uri="{FF2B5EF4-FFF2-40B4-BE49-F238E27FC236}">
                      <a16:creationId xmlns:a16="http://schemas.microsoft.com/office/drawing/2014/main" id="{AB1B0D84-298E-4FBA-8601-F8C2BC9A1AA1}"/>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75" name="Line 206">
                  <a:extLst>
                    <a:ext uri="{FF2B5EF4-FFF2-40B4-BE49-F238E27FC236}">
                      <a16:creationId xmlns:a16="http://schemas.microsoft.com/office/drawing/2014/main" id="{289BF296-EC56-4C78-8C62-0594A31F984F}"/>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763" name="Group 1762">
                <a:extLst>
                  <a:ext uri="{FF2B5EF4-FFF2-40B4-BE49-F238E27FC236}">
                    <a16:creationId xmlns:a16="http://schemas.microsoft.com/office/drawing/2014/main" id="{CB986087-BBB2-4CE4-A583-1AC365584453}"/>
                  </a:ext>
                </a:extLst>
              </p:cNvPr>
              <p:cNvGrpSpPr/>
              <p:nvPr/>
            </p:nvGrpSpPr>
            <p:grpSpPr>
              <a:xfrm>
                <a:off x="4627073" y="2273730"/>
                <a:ext cx="179387" cy="434116"/>
                <a:chOff x="2330274" y="3840316"/>
                <a:chExt cx="238125" cy="576262"/>
              </a:xfrm>
            </p:grpSpPr>
            <p:sp>
              <p:nvSpPr>
                <p:cNvPr id="1764" name="Freeform 201">
                  <a:extLst>
                    <a:ext uri="{FF2B5EF4-FFF2-40B4-BE49-F238E27FC236}">
                      <a16:creationId xmlns:a16="http://schemas.microsoft.com/office/drawing/2014/main" id="{99AF48C8-BB3B-4D72-8B8C-0E06ADAABA6D}"/>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65" name="Line 202">
                  <a:extLst>
                    <a:ext uri="{FF2B5EF4-FFF2-40B4-BE49-F238E27FC236}">
                      <a16:creationId xmlns:a16="http://schemas.microsoft.com/office/drawing/2014/main" id="{0217198F-3F1D-4376-AC92-F4A1CCE55C92}"/>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66" name="Line 203">
                  <a:extLst>
                    <a:ext uri="{FF2B5EF4-FFF2-40B4-BE49-F238E27FC236}">
                      <a16:creationId xmlns:a16="http://schemas.microsoft.com/office/drawing/2014/main" id="{BD79BBBF-DB4D-4401-B79B-06B919D77AD2}"/>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67" name="Line 204">
                  <a:extLst>
                    <a:ext uri="{FF2B5EF4-FFF2-40B4-BE49-F238E27FC236}">
                      <a16:creationId xmlns:a16="http://schemas.microsoft.com/office/drawing/2014/main" id="{C0A1DCA5-3EF0-4043-B45D-10079DC34606}"/>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68" name="Line 205">
                  <a:extLst>
                    <a:ext uri="{FF2B5EF4-FFF2-40B4-BE49-F238E27FC236}">
                      <a16:creationId xmlns:a16="http://schemas.microsoft.com/office/drawing/2014/main" id="{B2FAA811-DB1E-49C7-882D-7C816FAC05AC}"/>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69" name="Line 206">
                  <a:extLst>
                    <a:ext uri="{FF2B5EF4-FFF2-40B4-BE49-F238E27FC236}">
                      <a16:creationId xmlns:a16="http://schemas.microsoft.com/office/drawing/2014/main" id="{1888C56C-B827-41D8-9600-1EB28C83DB42}"/>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1203" name="Group 1202">
              <a:extLst>
                <a:ext uri="{FF2B5EF4-FFF2-40B4-BE49-F238E27FC236}">
                  <a16:creationId xmlns:a16="http://schemas.microsoft.com/office/drawing/2014/main" id="{1C8F5EF8-F3CF-46E8-8E5F-9143204953A5}"/>
                </a:ext>
              </a:extLst>
            </p:cNvPr>
            <p:cNvGrpSpPr/>
            <p:nvPr/>
          </p:nvGrpSpPr>
          <p:grpSpPr>
            <a:xfrm>
              <a:off x="5824406" y="2835347"/>
              <a:ext cx="618697" cy="448449"/>
              <a:chOff x="4207537" y="2273730"/>
              <a:chExt cx="598923" cy="434116"/>
            </a:xfrm>
          </p:grpSpPr>
          <p:grpSp>
            <p:nvGrpSpPr>
              <p:cNvPr id="1740" name="Group 1739">
                <a:extLst>
                  <a:ext uri="{FF2B5EF4-FFF2-40B4-BE49-F238E27FC236}">
                    <a16:creationId xmlns:a16="http://schemas.microsoft.com/office/drawing/2014/main" id="{A626A6D7-E148-4249-B900-9ADADCAC948C}"/>
                  </a:ext>
                </a:extLst>
              </p:cNvPr>
              <p:cNvGrpSpPr/>
              <p:nvPr/>
            </p:nvGrpSpPr>
            <p:grpSpPr>
              <a:xfrm>
                <a:off x="4207537" y="2273730"/>
                <a:ext cx="179387" cy="434116"/>
                <a:chOff x="2330274" y="3840316"/>
                <a:chExt cx="238125" cy="576262"/>
              </a:xfrm>
            </p:grpSpPr>
            <p:sp>
              <p:nvSpPr>
                <p:cNvPr id="1755" name="Freeform 201">
                  <a:extLst>
                    <a:ext uri="{FF2B5EF4-FFF2-40B4-BE49-F238E27FC236}">
                      <a16:creationId xmlns:a16="http://schemas.microsoft.com/office/drawing/2014/main" id="{F5D16DDC-AFDB-4FD0-913C-AB15A4269151}"/>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56" name="Line 202">
                  <a:extLst>
                    <a:ext uri="{FF2B5EF4-FFF2-40B4-BE49-F238E27FC236}">
                      <a16:creationId xmlns:a16="http://schemas.microsoft.com/office/drawing/2014/main" id="{D3BAB590-6AB3-469A-8CE8-FC3DFE1F22EA}"/>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57" name="Line 203">
                  <a:extLst>
                    <a:ext uri="{FF2B5EF4-FFF2-40B4-BE49-F238E27FC236}">
                      <a16:creationId xmlns:a16="http://schemas.microsoft.com/office/drawing/2014/main" id="{B4A90C6F-7F8B-4C9C-82FE-25A091857F88}"/>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58" name="Line 204">
                  <a:extLst>
                    <a:ext uri="{FF2B5EF4-FFF2-40B4-BE49-F238E27FC236}">
                      <a16:creationId xmlns:a16="http://schemas.microsoft.com/office/drawing/2014/main" id="{7C900B45-4C0F-4ED3-B03B-4F82BA9637E8}"/>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59" name="Line 205">
                  <a:extLst>
                    <a:ext uri="{FF2B5EF4-FFF2-40B4-BE49-F238E27FC236}">
                      <a16:creationId xmlns:a16="http://schemas.microsoft.com/office/drawing/2014/main" id="{82A648C7-63BE-488B-8C7B-8A19D54C0291}"/>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60" name="Line 206">
                  <a:extLst>
                    <a:ext uri="{FF2B5EF4-FFF2-40B4-BE49-F238E27FC236}">
                      <a16:creationId xmlns:a16="http://schemas.microsoft.com/office/drawing/2014/main" id="{84354B55-A6E3-4B36-9464-ABEFB7638EC5}"/>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741" name="Group 1740">
                <a:extLst>
                  <a:ext uri="{FF2B5EF4-FFF2-40B4-BE49-F238E27FC236}">
                    <a16:creationId xmlns:a16="http://schemas.microsoft.com/office/drawing/2014/main" id="{8E327775-AA55-427E-9EB5-BCACA140EF59}"/>
                  </a:ext>
                </a:extLst>
              </p:cNvPr>
              <p:cNvGrpSpPr/>
              <p:nvPr/>
            </p:nvGrpSpPr>
            <p:grpSpPr>
              <a:xfrm>
                <a:off x="4417305" y="2273730"/>
                <a:ext cx="179387" cy="434116"/>
                <a:chOff x="2330274" y="3840316"/>
                <a:chExt cx="238125" cy="576262"/>
              </a:xfrm>
            </p:grpSpPr>
            <p:sp>
              <p:nvSpPr>
                <p:cNvPr id="1749" name="Freeform 201">
                  <a:extLst>
                    <a:ext uri="{FF2B5EF4-FFF2-40B4-BE49-F238E27FC236}">
                      <a16:creationId xmlns:a16="http://schemas.microsoft.com/office/drawing/2014/main" id="{6881385B-5D88-43BD-B450-AEF7D03835C0}"/>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50" name="Line 202">
                  <a:extLst>
                    <a:ext uri="{FF2B5EF4-FFF2-40B4-BE49-F238E27FC236}">
                      <a16:creationId xmlns:a16="http://schemas.microsoft.com/office/drawing/2014/main" id="{8AE7877B-ACC2-42BB-8E8A-A628DE877853}"/>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51" name="Line 203">
                  <a:extLst>
                    <a:ext uri="{FF2B5EF4-FFF2-40B4-BE49-F238E27FC236}">
                      <a16:creationId xmlns:a16="http://schemas.microsoft.com/office/drawing/2014/main" id="{75CA6E43-222B-4E7E-A036-D431F5BF6CA4}"/>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52" name="Line 204">
                  <a:extLst>
                    <a:ext uri="{FF2B5EF4-FFF2-40B4-BE49-F238E27FC236}">
                      <a16:creationId xmlns:a16="http://schemas.microsoft.com/office/drawing/2014/main" id="{FB16C9DC-AAB1-4748-8498-546A7DA50A6A}"/>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53" name="Line 205">
                  <a:extLst>
                    <a:ext uri="{FF2B5EF4-FFF2-40B4-BE49-F238E27FC236}">
                      <a16:creationId xmlns:a16="http://schemas.microsoft.com/office/drawing/2014/main" id="{407825E0-C9DF-40C8-91DF-E730E26B6C89}"/>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54" name="Line 206">
                  <a:extLst>
                    <a:ext uri="{FF2B5EF4-FFF2-40B4-BE49-F238E27FC236}">
                      <a16:creationId xmlns:a16="http://schemas.microsoft.com/office/drawing/2014/main" id="{2F13AEC4-2C3F-4738-AF9A-63D4B18A29DC}"/>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742" name="Group 1741">
                <a:extLst>
                  <a:ext uri="{FF2B5EF4-FFF2-40B4-BE49-F238E27FC236}">
                    <a16:creationId xmlns:a16="http://schemas.microsoft.com/office/drawing/2014/main" id="{DE5B49B0-509D-4F8B-9C4D-1C0B76350A40}"/>
                  </a:ext>
                </a:extLst>
              </p:cNvPr>
              <p:cNvGrpSpPr/>
              <p:nvPr/>
            </p:nvGrpSpPr>
            <p:grpSpPr>
              <a:xfrm>
                <a:off x="4627073" y="2273730"/>
                <a:ext cx="179387" cy="434116"/>
                <a:chOff x="2330274" y="3840316"/>
                <a:chExt cx="238125" cy="576262"/>
              </a:xfrm>
            </p:grpSpPr>
            <p:sp>
              <p:nvSpPr>
                <p:cNvPr id="1743" name="Freeform 201">
                  <a:extLst>
                    <a:ext uri="{FF2B5EF4-FFF2-40B4-BE49-F238E27FC236}">
                      <a16:creationId xmlns:a16="http://schemas.microsoft.com/office/drawing/2014/main" id="{F9C78381-AE6E-40FE-B0A6-24A318446225}"/>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44" name="Line 202">
                  <a:extLst>
                    <a:ext uri="{FF2B5EF4-FFF2-40B4-BE49-F238E27FC236}">
                      <a16:creationId xmlns:a16="http://schemas.microsoft.com/office/drawing/2014/main" id="{60FD7585-78CF-40DA-849C-6E08A659205D}"/>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45" name="Line 203">
                  <a:extLst>
                    <a:ext uri="{FF2B5EF4-FFF2-40B4-BE49-F238E27FC236}">
                      <a16:creationId xmlns:a16="http://schemas.microsoft.com/office/drawing/2014/main" id="{3B8A7DDE-83F3-4A66-AA6A-F686C4D855B5}"/>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46" name="Line 204">
                  <a:extLst>
                    <a:ext uri="{FF2B5EF4-FFF2-40B4-BE49-F238E27FC236}">
                      <a16:creationId xmlns:a16="http://schemas.microsoft.com/office/drawing/2014/main" id="{6AAA864E-096E-4748-B804-E775AAB222C7}"/>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47" name="Line 205">
                  <a:extLst>
                    <a:ext uri="{FF2B5EF4-FFF2-40B4-BE49-F238E27FC236}">
                      <a16:creationId xmlns:a16="http://schemas.microsoft.com/office/drawing/2014/main" id="{2A9F4CC0-F273-4856-AEE8-400FA66FA5BC}"/>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48" name="Line 206">
                  <a:extLst>
                    <a:ext uri="{FF2B5EF4-FFF2-40B4-BE49-F238E27FC236}">
                      <a16:creationId xmlns:a16="http://schemas.microsoft.com/office/drawing/2014/main" id="{2FD6BB23-88DD-4F09-8BEC-A66A4AEB0E17}"/>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cxnSp>
          <p:nvCxnSpPr>
            <p:cNvPr id="1204" name="Connector: Elbow 1203">
              <a:extLst>
                <a:ext uri="{FF2B5EF4-FFF2-40B4-BE49-F238E27FC236}">
                  <a16:creationId xmlns:a16="http://schemas.microsoft.com/office/drawing/2014/main" id="{AD0959CA-B37F-4CA9-B054-AB0FAFE84435}"/>
                </a:ext>
              </a:extLst>
            </p:cNvPr>
            <p:cNvCxnSpPr>
              <a:cxnSpLocks/>
            </p:cNvCxnSpPr>
            <p:nvPr/>
          </p:nvCxnSpPr>
          <p:spPr>
            <a:xfrm rot="5400000">
              <a:off x="5543377" y="2405535"/>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17" name="Connector: Elbow 1216">
              <a:extLst>
                <a:ext uri="{FF2B5EF4-FFF2-40B4-BE49-F238E27FC236}">
                  <a16:creationId xmlns:a16="http://schemas.microsoft.com/office/drawing/2014/main" id="{1D91D982-4440-4D16-9FEF-377C58987E55}"/>
                </a:ext>
              </a:extLst>
            </p:cNvPr>
            <p:cNvCxnSpPr>
              <a:cxnSpLocks/>
            </p:cNvCxnSpPr>
            <p:nvPr/>
          </p:nvCxnSpPr>
          <p:spPr>
            <a:xfrm rot="16200000" flipV="1">
              <a:off x="5543377" y="2785822"/>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1218" name="Group 1217">
              <a:extLst>
                <a:ext uri="{FF2B5EF4-FFF2-40B4-BE49-F238E27FC236}">
                  <a16:creationId xmlns:a16="http://schemas.microsoft.com/office/drawing/2014/main" id="{86C65946-0E95-4318-94C1-7846D9B3F1C3}"/>
                </a:ext>
              </a:extLst>
            </p:cNvPr>
            <p:cNvGrpSpPr/>
            <p:nvPr/>
          </p:nvGrpSpPr>
          <p:grpSpPr>
            <a:xfrm>
              <a:off x="5523369" y="2953858"/>
              <a:ext cx="226628" cy="226628"/>
              <a:chOff x="1358899" y="2193925"/>
              <a:chExt cx="390525" cy="390525"/>
            </a:xfrm>
          </p:grpSpPr>
          <p:sp>
            <p:nvSpPr>
              <p:cNvPr id="1732" name="Rectangle: Rounded Corners 1731">
                <a:extLst>
                  <a:ext uri="{FF2B5EF4-FFF2-40B4-BE49-F238E27FC236}">
                    <a16:creationId xmlns:a16="http://schemas.microsoft.com/office/drawing/2014/main" id="{8FA04BBD-9D41-452C-A5EA-305DC965889C}"/>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733" name="Group 1732">
                <a:extLst>
                  <a:ext uri="{FF2B5EF4-FFF2-40B4-BE49-F238E27FC236}">
                    <a16:creationId xmlns:a16="http://schemas.microsoft.com/office/drawing/2014/main" id="{DD7D1DBF-6B04-4B39-8D7B-BF66B89FDE6D}"/>
                  </a:ext>
                </a:extLst>
              </p:cNvPr>
              <p:cNvGrpSpPr/>
              <p:nvPr/>
            </p:nvGrpSpPr>
            <p:grpSpPr>
              <a:xfrm>
                <a:off x="1420588" y="2248963"/>
                <a:ext cx="267146" cy="280448"/>
                <a:chOff x="1401763" y="2228851"/>
                <a:chExt cx="307974" cy="323308"/>
              </a:xfrm>
            </p:grpSpPr>
            <p:grpSp>
              <p:nvGrpSpPr>
                <p:cNvPr id="1734" name="Group 1733">
                  <a:extLst>
                    <a:ext uri="{FF2B5EF4-FFF2-40B4-BE49-F238E27FC236}">
                      <a16:creationId xmlns:a16="http://schemas.microsoft.com/office/drawing/2014/main" id="{3C07E661-869C-4276-B790-82F2A29C878C}"/>
                    </a:ext>
                  </a:extLst>
                </p:cNvPr>
                <p:cNvGrpSpPr/>
                <p:nvPr/>
              </p:nvGrpSpPr>
              <p:grpSpPr>
                <a:xfrm>
                  <a:off x="1482725" y="2295526"/>
                  <a:ext cx="227012" cy="256633"/>
                  <a:chOff x="1482725" y="2276476"/>
                  <a:chExt cx="227012" cy="256633"/>
                </a:xfrm>
                <a:solidFill>
                  <a:schemeClr val="bg2"/>
                </a:solidFill>
              </p:grpSpPr>
              <p:sp>
                <p:nvSpPr>
                  <p:cNvPr id="1738" name="Freeform 33">
                    <a:extLst>
                      <a:ext uri="{FF2B5EF4-FFF2-40B4-BE49-F238E27FC236}">
                        <a16:creationId xmlns:a16="http://schemas.microsoft.com/office/drawing/2014/main" id="{DC59D64B-FD70-4271-923C-338466921008}"/>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39" name="Freeform 33">
                    <a:extLst>
                      <a:ext uri="{FF2B5EF4-FFF2-40B4-BE49-F238E27FC236}">
                        <a16:creationId xmlns:a16="http://schemas.microsoft.com/office/drawing/2014/main" id="{D6292760-A5C6-4A01-9A0C-93E905061786}"/>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735" name="Group 1734">
                  <a:extLst>
                    <a:ext uri="{FF2B5EF4-FFF2-40B4-BE49-F238E27FC236}">
                      <a16:creationId xmlns:a16="http://schemas.microsoft.com/office/drawing/2014/main" id="{C8421481-84AC-41C7-9314-A26E4AA290C1}"/>
                    </a:ext>
                  </a:extLst>
                </p:cNvPr>
                <p:cNvGrpSpPr/>
                <p:nvPr/>
              </p:nvGrpSpPr>
              <p:grpSpPr>
                <a:xfrm flipH="1">
                  <a:off x="1401763" y="2228851"/>
                  <a:ext cx="227012" cy="256633"/>
                  <a:chOff x="1482725" y="2276476"/>
                  <a:chExt cx="227012" cy="256633"/>
                </a:xfrm>
              </p:grpSpPr>
              <p:sp>
                <p:nvSpPr>
                  <p:cNvPr id="1736" name="Freeform 33">
                    <a:extLst>
                      <a:ext uri="{FF2B5EF4-FFF2-40B4-BE49-F238E27FC236}">
                        <a16:creationId xmlns:a16="http://schemas.microsoft.com/office/drawing/2014/main" id="{7EB15F5C-6E1C-4DE3-B8F5-87700C8F7BD3}"/>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37" name="Freeform 33">
                    <a:extLst>
                      <a:ext uri="{FF2B5EF4-FFF2-40B4-BE49-F238E27FC236}">
                        <a16:creationId xmlns:a16="http://schemas.microsoft.com/office/drawing/2014/main" id="{C6D91C22-E8BF-4D14-8904-333BBCBBB4B3}"/>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1219" name="Group 1218">
              <a:extLst>
                <a:ext uri="{FF2B5EF4-FFF2-40B4-BE49-F238E27FC236}">
                  <a16:creationId xmlns:a16="http://schemas.microsoft.com/office/drawing/2014/main" id="{B46DA8A9-05C4-4820-B79C-935BAE057F0C}"/>
                </a:ext>
              </a:extLst>
            </p:cNvPr>
            <p:cNvGrpSpPr/>
            <p:nvPr/>
          </p:nvGrpSpPr>
          <p:grpSpPr>
            <a:xfrm>
              <a:off x="5523369" y="2210215"/>
              <a:ext cx="226628" cy="226628"/>
              <a:chOff x="1358899" y="2193925"/>
              <a:chExt cx="390525" cy="390525"/>
            </a:xfrm>
          </p:grpSpPr>
          <p:sp>
            <p:nvSpPr>
              <p:cNvPr id="1637" name="Rectangle: Rounded Corners 1636">
                <a:extLst>
                  <a:ext uri="{FF2B5EF4-FFF2-40B4-BE49-F238E27FC236}">
                    <a16:creationId xmlns:a16="http://schemas.microsoft.com/office/drawing/2014/main" id="{93DF1748-B308-47E9-B765-D67A762DB276}"/>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638" name="Group 1637">
                <a:extLst>
                  <a:ext uri="{FF2B5EF4-FFF2-40B4-BE49-F238E27FC236}">
                    <a16:creationId xmlns:a16="http://schemas.microsoft.com/office/drawing/2014/main" id="{43DAE674-3108-4315-A66D-D9389222D625}"/>
                  </a:ext>
                </a:extLst>
              </p:cNvPr>
              <p:cNvGrpSpPr/>
              <p:nvPr/>
            </p:nvGrpSpPr>
            <p:grpSpPr>
              <a:xfrm>
                <a:off x="1420588" y="2248963"/>
                <a:ext cx="267146" cy="280448"/>
                <a:chOff x="1401763" y="2228851"/>
                <a:chExt cx="307974" cy="323308"/>
              </a:xfrm>
            </p:grpSpPr>
            <p:grpSp>
              <p:nvGrpSpPr>
                <p:cNvPr id="1639" name="Group 1638">
                  <a:extLst>
                    <a:ext uri="{FF2B5EF4-FFF2-40B4-BE49-F238E27FC236}">
                      <a16:creationId xmlns:a16="http://schemas.microsoft.com/office/drawing/2014/main" id="{87766F05-16AE-4459-8C6B-4905B84FE694}"/>
                    </a:ext>
                  </a:extLst>
                </p:cNvPr>
                <p:cNvGrpSpPr/>
                <p:nvPr/>
              </p:nvGrpSpPr>
              <p:grpSpPr>
                <a:xfrm>
                  <a:off x="1482725" y="2295526"/>
                  <a:ext cx="227012" cy="256633"/>
                  <a:chOff x="1482725" y="2276476"/>
                  <a:chExt cx="227012" cy="256633"/>
                </a:xfrm>
                <a:solidFill>
                  <a:schemeClr val="bg2"/>
                </a:solidFill>
              </p:grpSpPr>
              <p:sp>
                <p:nvSpPr>
                  <p:cNvPr id="1720" name="Freeform 33">
                    <a:extLst>
                      <a:ext uri="{FF2B5EF4-FFF2-40B4-BE49-F238E27FC236}">
                        <a16:creationId xmlns:a16="http://schemas.microsoft.com/office/drawing/2014/main" id="{CC4F215A-0987-496B-95D8-B677A10986F8}"/>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26" name="Freeform 33">
                    <a:extLst>
                      <a:ext uri="{FF2B5EF4-FFF2-40B4-BE49-F238E27FC236}">
                        <a16:creationId xmlns:a16="http://schemas.microsoft.com/office/drawing/2014/main" id="{69717913-B0EB-453B-9C68-39A7055E6EE0}"/>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640" name="Group 1639">
                  <a:extLst>
                    <a:ext uri="{FF2B5EF4-FFF2-40B4-BE49-F238E27FC236}">
                      <a16:creationId xmlns:a16="http://schemas.microsoft.com/office/drawing/2014/main" id="{F9E7166D-A006-4049-9B1D-50CAD8EF3863}"/>
                    </a:ext>
                  </a:extLst>
                </p:cNvPr>
                <p:cNvGrpSpPr/>
                <p:nvPr/>
              </p:nvGrpSpPr>
              <p:grpSpPr>
                <a:xfrm flipH="1">
                  <a:off x="1401763" y="2228851"/>
                  <a:ext cx="227012" cy="256633"/>
                  <a:chOff x="1482725" y="2276476"/>
                  <a:chExt cx="227012" cy="256633"/>
                </a:xfrm>
              </p:grpSpPr>
              <p:sp>
                <p:nvSpPr>
                  <p:cNvPr id="1667" name="Freeform 33">
                    <a:extLst>
                      <a:ext uri="{FF2B5EF4-FFF2-40B4-BE49-F238E27FC236}">
                        <a16:creationId xmlns:a16="http://schemas.microsoft.com/office/drawing/2014/main" id="{D1D2B201-D6E6-423C-B493-261DB0BA8A2C}"/>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72" name="Freeform 33">
                    <a:extLst>
                      <a:ext uri="{FF2B5EF4-FFF2-40B4-BE49-F238E27FC236}">
                        <a16:creationId xmlns:a16="http://schemas.microsoft.com/office/drawing/2014/main" id="{1BD2EFEF-F041-4AB5-8680-15D69D790CAC}"/>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1220" name="Group 1219">
              <a:extLst>
                <a:ext uri="{FF2B5EF4-FFF2-40B4-BE49-F238E27FC236}">
                  <a16:creationId xmlns:a16="http://schemas.microsoft.com/office/drawing/2014/main" id="{685E929D-5979-4DD5-91BC-42AAEAC99596}"/>
                </a:ext>
              </a:extLst>
            </p:cNvPr>
            <p:cNvGrpSpPr/>
            <p:nvPr/>
          </p:nvGrpSpPr>
          <p:grpSpPr>
            <a:xfrm>
              <a:off x="4897043" y="2465614"/>
              <a:ext cx="443632" cy="443680"/>
              <a:chOff x="542940" y="1857375"/>
              <a:chExt cx="914400" cy="914494"/>
            </a:xfrm>
          </p:grpSpPr>
          <p:sp>
            <p:nvSpPr>
              <p:cNvPr id="1613" name="Oval 1612">
                <a:extLst>
                  <a:ext uri="{FF2B5EF4-FFF2-40B4-BE49-F238E27FC236}">
                    <a16:creationId xmlns:a16="http://schemas.microsoft.com/office/drawing/2014/main" id="{300694D3-0D28-4AA6-A26D-7C73326B522B}"/>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614" name="Group 4">
                <a:extLst>
                  <a:ext uri="{FF2B5EF4-FFF2-40B4-BE49-F238E27FC236}">
                    <a16:creationId xmlns:a16="http://schemas.microsoft.com/office/drawing/2014/main" id="{6537F2A1-6E2C-4E49-BC17-3C53319C283A}"/>
                  </a:ext>
                </a:extLst>
              </p:cNvPr>
              <p:cNvGrpSpPr>
                <a:grpSpLocks noChangeAspect="1"/>
              </p:cNvGrpSpPr>
              <p:nvPr/>
            </p:nvGrpSpPr>
            <p:grpSpPr bwMode="auto">
              <a:xfrm>
                <a:off x="543174" y="1857375"/>
                <a:ext cx="913932" cy="914494"/>
                <a:chOff x="1261" y="0"/>
                <a:chExt cx="3238" cy="3240"/>
              </a:xfrm>
              <a:solidFill>
                <a:schemeClr val="tx2"/>
              </a:solidFill>
            </p:grpSpPr>
            <p:sp>
              <p:nvSpPr>
                <p:cNvPr id="1616" name="Freeform 5">
                  <a:extLst>
                    <a:ext uri="{FF2B5EF4-FFF2-40B4-BE49-F238E27FC236}">
                      <a16:creationId xmlns:a16="http://schemas.microsoft.com/office/drawing/2014/main" id="{27E50CF6-F4B9-450B-8513-CC999DF853AB}"/>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17" name="Freeform 6">
                  <a:extLst>
                    <a:ext uri="{FF2B5EF4-FFF2-40B4-BE49-F238E27FC236}">
                      <a16:creationId xmlns:a16="http://schemas.microsoft.com/office/drawing/2014/main" id="{A973DF85-94FE-42FE-A092-21080CD401D7}"/>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18" name="Freeform 7">
                  <a:extLst>
                    <a:ext uri="{FF2B5EF4-FFF2-40B4-BE49-F238E27FC236}">
                      <a16:creationId xmlns:a16="http://schemas.microsoft.com/office/drawing/2014/main" id="{2BB3265C-2F54-4303-8171-45769A46875C}"/>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19" name="Freeform 8">
                  <a:extLst>
                    <a:ext uri="{FF2B5EF4-FFF2-40B4-BE49-F238E27FC236}">
                      <a16:creationId xmlns:a16="http://schemas.microsoft.com/office/drawing/2014/main" id="{4A7F5C0E-9FB3-4064-AA0C-F06991C32E4F}"/>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20" name="Freeform 9">
                  <a:extLst>
                    <a:ext uri="{FF2B5EF4-FFF2-40B4-BE49-F238E27FC236}">
                      <a16:creationId xmlns:a16="http://schemas.microsoft.com/office/drawing/2014/main" id="{E64E601F-2A96-4CB6-B2BB-15DB839B6D68}"/>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21" name="Freeform 10">
                  <a:extLst>
                    <a:ext uri="{FF2B5EF4-FFF2-40B4-BE49-F238E27FC236}">
                      <a16:creationId xmlns:a16="http://schemas.microsoft.com/office/drawing/2014/main" id="{31E69B77-B8FB-4457-A3F6-720621D95989}"/>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22" name="Freeform 11">
                  <a:extLst>
                    <a:ext uri="{FF2B5EF4-FFF2-40B4-BE49-F238E27FC236}">
                      <a16:creationId xmlns:a16="http://schemas.microsoft.com/office/drawing/2014/main" id="{AA27CA49-0144-47AE-8CE2-6E2B2E2D19EF}"/>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23" name="Freeform 12">
                  <a:extLst>
                    <a:ext uri="{FF2B5EF4-FFF2-40B4-BE49-F238E27FC236}">
                      <a16:creationId xmlns:a16="http://schemas.microsoft.com/office/drawing/2014/main" id="{07D84343-FAF4-45A7-9567-FA86D4B50F96}"/>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24" name="Freeform 13">
                  <a:extLst>
                    <a:ext uri="{FF2B5EF4-FFF2-40B4-BE49-F238E27FC236}">
                      <a16:creationId xmlns:a16="http://schemas.microsoft.com/office/drawing/2014/main" id="{09DC78C6-0E28-41DE-84B4-B1C35E103985}"/>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25" name="Freeform 14">
                  <a:extLst>
                    <a:ext uri="{FF2B5EF4-FFF2-40B4-BE49-F238E27FC236}">
                      <a16:creationId xmlns:a16="http://schemas.microsoft.com/office/drawing/2014/main" id="{0F7CB764-7762-4962-BEB3-20EF397D2403}"/>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27" name="Freeform 15">
                  <a:extLst>
                    <a:ext uri="{FF2B5EF4-FFF2-40B4-BE49-F238E27FC236}">
                      <a16:creationId xmlns:a16="http://schemas.microsoft.com/office/drawing/2014/main" id="{D8CA4B6B-8239-4ECA-91CD-8407A7786681}"/>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28" name="Freeform 16">
                  <a:extLst>
                    <a:ext uri="{FF2B5EF4-FFF2-40B4-BE49-F238E27FC236}">
                      <a16:creationId xmlns:a16="http://schemas.microsoft.com/office/drawing/2014/main" id="{7C20135C-ED50-40BA-A78F-20F03BC41666}"/>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29" name="Freeform 17">
                  <a:extLst>
                    <a:ext uri="{FF2B5EF4-FFF2-40B4-BE49-F238E27FC236}">
                      <a16:creationId xmlns:a16="http://schemas.microsoft.com/office/drawing/2014/main" id="{C89A5BB6-F0D3-4D52-BC11-160CA8590F00}"/>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30" name="Freeform 18">
                  <a:extLst>
                    <a:ext uri="{FF2B5EF4-FFF2-40B4-BE49-F238E27FC236}">
                      <a16:creationId xmlns:a16="http://schemas.microsoft.com/office/drawing/2014/main" id="{5065BFE7-3349-4DED-87AB-645B907E9539}"/>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31" name="Freeform 19">
                  <a:extLst>
                    <a:ext uri="{FF2B5EF4-FFF2-40B4-BE49-F238E27FC236}">
                      <a16:creationId xmlns:a16="http://schemas.microsoft.com/office/drawing/2014/main" id="{F7C56A12-2039-4F51-B8D5-A35477FAAADA}"/>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32" name="Freeform 20">
                  <a:extLst>
                    <a:ext uri="{FF2B5EF4-FFF2-40B4-BE49-F238E27FC236}">
                      <a16:creationId xmlns:a16="http://schemas.microsoft.com/office/drawing/2014/main" id="{FFD01620-B0F5-433F-AFA7-ACC25A2C6E09}"/>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33" name="Freeform 21">
                  <a:extLst>
                    <a:ext uri="{FF2B5EF4-FFF2-40B4-BE49-F238E27FC236}">
                      <a16:creationId xmlns:a16="http://schemas.microsoft.com/office/drawing/2014/main" id="{A7D72572-85B8-4F89-B3E8-54C9C64E1CE9}"/>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34" name="Freeform 22">
                  <a:extLst>
                    <a:ext uri="{FF2B5EF4-FFF2-40B4-BE49-F238E27FC236}">
                      <a16:creationId xmlns:a16="http://schemas.microsoft.com/office/drawing/2014/main" id="{498EE5B2-1736-4277-9EBC-89978FB767A6}"/>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35" name="Freeform 23">
                  <a:extLst>
                    <a:ext uri="{FF2B5EF4-FFF2-40B4-BE49-F238E27FC236}">
                      <a16:creationId xmlns:a16="http://schemas.microsoft.com/office/drawing/2014/main" id="{2619DF93-26F1-4D5D-99EF-CCCC39AB6CB3}"/>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36" name="Freeform 24">
                  <a:extLst>
                    <a:ext uri="{FF2B5EF4-FFF2-40B4-BE49-F238E27FC236}">
                      <a16:creationId xmlns:a16="http://schemas.microsoft.com/office/drawing/2014/main" id="{FB0532E2-F087-407D-8899-7E720FEA832D}"/>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cxnSp>
          <p:nvCxnSpPr>
            <p:cNvPr id="1221" name="Straight Connector 1220">
              <a:extLst>
                <a:ext uri="{FF2B5EF4-FFF2-40B4-BE49-F238E27FC236}">
                  <a16:creationId xmlns:a16="http://schemas.microsoft.com/office/drawing/2014/main" id="{B5E5B48C-62AF-4932-BACF-F2720BA95F81}"/>
                </a:ext>
              </a:extLst>
            </p:cNvPr>
            <p:cNvCxnSpPr>
              <a:cxnSpLocks/>
            </p:cNvCxnSpPr>
            <p:nvPr/>
          </p:nvCxnSpPr>
          <p:spPr>
            <a:xfrm>
              <a:off x="4398696" y="2686563"/>
              <a:ext cx="1235996" cy="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1223" name="Rectangle 1222">
              <a:extLst>
                <a:ext uri="{FF2B5EF4-FFF2-40B4-BE49-F238E27FC236}">
                  <a16:creationId xmlns:a16="http://schemas.microsoft.com/office/drawing/2014/main" id="{3A7B0B67-2D3C-4279-802E-F084D1962A23}"/>
                </a:ext>
              </a:extLst>
            </p:cNvPr>
            <p:cNvSpPr/>
            <p:nvPr/>
          </p:nvSpPr>
          <p:spPr>
            <a:xfrm>
              <a:off x="4057123" y="813489"/>
              <a:ext cx="8477739" cy="355649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24" name="Oval 1223">
              <a:extLst>
                <a:ext uri="{FF2B5EF4-FFF2-40B4-BE49-F238E27FC236}">
                  <a16:creationId xmlns:a16="http://schemas.microsoft.com/office/drawing/2014/main" id="{2C9323D3-5D24-4343-AA13-01EA8F671ABE}"/>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25" name="Oval 1224">
              <a:extLst>
                <a:ext uri="{FF2B5EF4-FFF2-40B4-BE49-F238E27FC236}">
                  <a16:creationId xmlns:a16="http://schemas.microsoft.com/office/drawing/2014/main" id="{B933B722-B429-4BE4-A59A-34A5FD13AF86}"/>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26" name="Oval 1225">
              <a:extLst>
                <a:ext uri="{FF2B5EF4-FFF2-40B4-BE49-F238E27FC236}">
                  <a16:creationId xmlns:a16="http://schemas.microsoft.com/office/drawing/2014/main" id="{1E20DED5-26FD-4EF8-B50B-06693BEB4CD4}"/>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27" name="Oval 1226">
              <a:extLst>
                <a:ext uri="{FF2B5EF4-FFF2-40B4-BE49-F238E27FC236}">
                  <a16:creationId xmlns:a16="http://schemas.microsoft.com/office/drawing/2014/main" id="{2282D699-F22D-45FD-8132-9CE5B35354C0}"/>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28" name="Oval 1227">
              <a:extLst>
                <a:ext uri="{FF2B5EF4-FFF2-40B4-BE49-F238E27FC236}">
                  <a16:creationId xmlns:a16="http://schemas.microsoft.com/office/drawing/2014/main" id="{654F74CF-24F2-445D-B001-5385330A4322}"/>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29" name="Oval 1228">
              <a:extLst>
                <a:ext uri="{FF2B5EF4-FFF2-40B4-BE49-F238E27FC236}">
                  <a16:creationId xmlns:a16="http://schemas.microsoft.com/office/drawing/2014/main" id="{C420A35E-5F52-40E2-B75C-32757BC923D2}"/>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30" name="Freeform: Shape 1229">
              <a:extLst>
                <a:ext uri="{FF2B5EF4-FFF2-40B4-BE49-F238E27FC236}">
                  <a16:creationId xmlns:a16="http://schemas.microsoft.com/office/drawing/2014/main" id="{0B0CA047-6540-4E26-8FAD-F2030123EF4E}"/>
                </a:ext>
              </a:extLst>
            </p:cNvPr>
            <p:cNvSpPr>
              <a:spLocks noChangeArrowheads="1"/>
            </p:cNvSpPr>
            <p:nvPr>
              <p:custDataLst>
                <p:tags r:id="rId20"/>
              </p:custDataLst>
            </p:nvPr>
          </p:nvSpPr>
          <p:spPr bwMode="auto">
            <a:xfrm>
              <a:off x="4057123" y="813489"/>
              <a:ext cx="8477739" cy="3556492"/>
            </a:xfrm>
            <a:custGeom>
              <a:avLst/>
              <a:gdLst>
                <a:gd name="connsiteX0" fmla="*/ 4794585 w 6374240"/>
                <a:gd name="connsiteY0" fmla="*/ 259675 h 2674054"/>
                <a:gd name="connsiteX1" fmla="*/ 3655701 w 6374240"/>
                <a:gd name="connsiteY1" fmla="*/ 1395157 h 2674054"/>
                <a:gd name="connsiteX2" fmla="*/ 4794585 w 6374240"/>
                <a:gd name="connsiteY2" fmla="*/ 2530639 h 2674054"/>
                <a:gd name="connsiteX3" fmla="*/ 5933469 w 6374240"/>
                <a:gd name="connsiteY3" fmla="*/ 1395157 h 2674054"/>
                <a:gd name="connsiteX4" fmla="*/ 4794585 w 6374240"/>
                <a:gd name="connsiteY4" fmla="*/ 259675 h 2674054"/>
                <a:gd name="connsiteX5" fmla="*/ 1574605 w 6374240"/>
                <a:gd name="connsiteY5" fmla="*/ 259673 h 2674054"/>
                <a:gd name="connsiteX6" fmla="*/ 428923 w 6374240"/>
                <a:gd name="connsiteY6" fmla="*/ 1395156 h 2674054"/>
                <a:gd name="connsiteX7" fmla="*/ 1574605 w 6374240"/>
                <a:gd name="connsiteY7" fmla="*/ 2530639 h 2674054"/>
                <a:gd name="connsiteX8" fmla="*/ 2720287 w 6374240"/>
                <a:gd name="connsiteY8" fmla="*/ 1395156 h 2674054"/>
                <a:gd name="connsiteX9" fmla="*/ 1574605 w 6374240"/>
                <a:gd name="connsiteY9" fmla="*/ 259673 h 2674054"/>
                <a:gd name="connsiteX10" fmla="*/ 3181118 w 6374240"/>
                <a:gd name="connsiteY10" fmla="*/ 0 h 2674054"/>
                <a:gd name="connsiteX11" fmla="*/ 3925380 w 6374240"/>
                <a:gd name="connsiteY11" fmla="*/ 455668 h 2674054"/>
                <a:gd name="connsiteX12" fmla="*/ 4789683 w 6374240"/>
                <a:gd name="connsiteY12" fmla="*/ 119913 h 2674054"/>
                <a:gd name="connsiteX13" fmla="*/ 5822046 w 6374240"/>
                <a:gd name="connsiteY13" fmla="*/ 635538 h 2674054"/>
                <a:gd name="connsiteX14" fmla="*/ 6374240 w 6374240"/>
                <a:gd name="connsiteY14" fmla="*/ 1390988 h 2674054"/>
                <a:gd name="connsiteX15" fmla="*/ 5822046 w 6374240"/>
                <a:gd name="connsiteY15" fmla="*/ 2158429 h 2674054"/>
                <a:gd name="connsiteX16" fmla="*/ 4789683 w 6374240"/>
                <a:gd name="connsiteY16" fmla="*/ 2674054 h 2674054"/>
                <a:gd name="connsiteX17" fmla="*/ 3529240 w 6374240"/>
                <a:gd name="connsiteY17" fmla="*/ 1606831 h 2674054"/>
                <a:gd name="connsiteX18" fmla="*/ 3181118 w 6374240"/>
                <a:gd name="connsiteY18" fmla="*/ 1678778 h 2674054"/>
                <a:gd name="connsiteX19" fmla="*/ 2832996 w 6374240"/>
                <a:gd name="connsiteY19" fmla="*/ 1606831 h 2674054"/>
                <a:gd name="connsiteX20" fmla="*/ 1572553 w 6374240"/>
                <a:gd name="connsiteY20" fmla="*/ 2674054 h 2674054"/>
                <a:gd name="connsiteX21" fmla="*/ 540190 w 6374240"/>
                <a:gd name="connsiteY21" fmla="*/ 2158429 h 2674054"/>
                <a:gd name="connsiteX22" fmla="*/ 0 w 6374240"/>
                <a:gd name="connsiteY22" fmla="*/ 1390988 h 2674054"/>
                <a:gd name="connsiteX23" fmla="*/ 540190 w 6374240"/>
                <a:gd name="connsiteY23" fmla="*/ 635538 h 2674054"/>
                <a:gd name="connsiteX24" fmla="*/ 1572553 w 6374240"/>
                <a:gd name="connsiteY24" fmla="*/ 119913 h 2674054"/>
                <a:gd name="connsiteX25" fmla="*/ 2436856 w 6374240"/>
                <a:gd name="connsiteY25" fmla="*/ 455668 h 2674054"/>
                <a:gd name="connsiteX26" fmla="*/ 3181118 w 6374240"/>
                <a:gd name="connsiteY26" fmla="*/ 0 h 26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74240" h="2674054">
                  <a:moveTo>
                    <a:pt x="4794585" y="259675"/>
                  </a:moveTo>
                  <a:cubicBezTo>
                    <a:pt x="4165597" y="259675"/>
                    <a:pt x="3655701" y="768048"/>
                    <a:pt x="3655701" y="1395157"/>
                  </a:cubicBezTo>
                  <a:cubicBezTo>
                    <a:pt x="3655701" y="2022266"/>
                    <a:pt x="4165597" y="2530639"/>
                    <a:pt x="4794585" y="2530639"/>
                  </a:cubicBezTo>
                  <a:cubicBezTo>
                    <a:pt x="5423573" y="2530639"/>
                    <a:pt x="5933469" y="2022266"/>
                    <a:pt x="5933469" y="1395157"/>
                  </a:cubicBezTo>
                  <a:cubicBezTo>
                    <a:pt x="5933469" y="768048"/>
                    <a:pt x="5423573" y="259675"/>
                    <a:pt x="4794585" y="259675"/>
                  </a:cubicBezTo>
                  <a:close/>
                  <a:moveTo>
                    <a:pt x="1574605" y="259673"/>
                  </a:moveTo>
                  <a:cubicBezTo>
                    <a:pt x="941862" y="259673"/>
                    <a:pt x="428923" y="768046"/>
                    <a:pt x="428923" y="1395156"/>
                  </a:cubicBezTo>
                  <a:cubicBezTo>
                    <a:pt x="428923" y="2022266"/>
                    <a:pt x="941862" y="2530639"/>
                    <a:pt x="1574605" y="2530639"/>
                  </a:cubicBezTo>
                  <a:cubicBezTo>
                    <a:pt x="2207348" y="2530639"/>
                    <a:pt x="2720287" y="2022266"/>
                    <a:pt x="2720287" y="1395156"/>
                  </a:cubicBezTo>
                  <a:cubicBezTo>
                    <a:pt x="2720287" y="768046"/>
                    <a:pt x="2207348" y="259673"/>
                    <a:pt x="1574605" y="259673"/>
                  </a:cubicBezTo>
                  <a:close/>
                  <a:moveTo>
                    <a:pt x="3181118" y="0"/>
                  </a:moveTo>
                  <a:cubicBezTo>
                    <a:pt x="3505232" y="0"/>
                    <a:pt x="3793333" y="179869"/>
                    <a:pt x="3925380" y="455668"/>
                  </a:cubicBezTo>
                  <a:cubicBezTo>
                    <a:pt x="4153460" y="239825"/>
                    <a:pt x="4465570" y="119913"/>
                    <a:pt x="4789683" y="119913"/>
                  </a:cubicBezTo>
                  <a:cubicBezTo>
                    <a:pt x="5209831" y="119913"/>
                    <a:pt x="5593966" y="323764"/>
                    <a:pt x="5822046" y="635538"/>
                  </a:cubicBezTo>
                  <a:cubicBezTo>
                    <a:pt x="6146160" y="743459"/>
                    <a:pt x="6374240" y="1043241"/>
                    <a:pt x="6374240" y="1390988"/>
                  </a:cubicBezTo>
                  <a:cubicBezTo>
                    <a:pt x="6374240" y="1750726"/>
                    <a:pt x="6146160" y="2050508"/>
                    <a:pt x="5822046" y="2158429"/>
                  </a:cubicBezTo>
                  <a:cubicBezTo>
                    <a:pt x="5593966" y="2470202"/>
                    <a:pt x="5209831" y="2674054"/>
                    <a:pt x="4789683" y="2674054"/>
                  </a:cubicBezTo>
                  <a:cubicBezTo>
                    <a:pt x="4153460" y="2674054"/>
                    <a:pt x="3625274" y="2206394"/>
                    <a:pt x="3529240" y="1606831"/>
                  </a:cubicBezTo>
                  <a:cubicBezTo>
                    <a:pt x="3421202" y="1654796"/>
                    <a:pt x="3313164" y="1678778"/>
                    <a:pt x="3181118" y="1678778"/>
                  </a:cubicBezTo>
                  <a:cubicBezTo>
                    <a:pt x="3061076" y="1678778"/>
                    <a:pt x="2941034" y="1654796"/>
                    <a:pt x="2832996" y="1606831"/>
                  </a:cubicBezTo>
                  <a:cubicBezTo>
                    <a:pt x="2736962" y="2206394"/>
                    <a:pt x="2208776" y="2674054"/>
                    <a:pt x="1572553" y="2674054"/>
                  </a:cubicBezTo>
                  <a:cubicBezTo>
                    <a:pt x="1152405" y="2674054"/>
                    <a:pt x="780274" y="2470202"/>
                    <a:pt x="540190" y="2158429"/>
                  </a:cubicBezTo>
                  <a:cubicBezTo>
                    <a:pt x="228080" y="2050508"/>
                    <a:pt x="0" y="1750726"/>
                    <a:pt x="0" y="1390988"/>
                  </a:cubicBezTo>
                  <a:cubicBezTo>
                    <a:pt x="0" y="1043241"/>
                    <a:pt x="228080" y="743459"/>
                    <a:pt x="540190" y="635538"/>
                  </a:cubicBezTo>
                  <a:cubicBezTo>
                    <a:pt x="780274" y="323764"/>
                    <a:pt x="1152405" y="119913"/>
                    <a:pt x="1572553" y="119913"/>
                  </a:cubicBezTo>
                  <a:cubicBezTo>
                    <a:pt x="1908671" y="119913"/>
                    <a:pt x="2208776" y="239825"/>
                    <a:pt x="2436856" y="455668"/>
                  </a:cubicBezTo>
                  <a:cubicBezTo>
                    <a:pt x="2580907" y="179869"/>
                    <a:pt x="2857004" y="0"/>
                    <a:pt x="3181118" y="0"/>
                  </a:cubicBezTo>
                  <a:close/>
                </a:path>
              </a:pathLst>
            </a:cu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1231" name="Group 1230">
              <a:extLst>
                <a:ext uri="{FF2B5EF4-FFF2-40B4-BE49-F238E27FC236}">
                  <a16:creationId xmlns:a16="http://schemas.microsoft.com/office/drawing/2014/main" id="{352EE1ED-FF5D-4671-9153-3BFC563E1D21}"/>
                </a:ext>
              </a:extLst>
            </p:cNvPr>
            <p:cNvGrpSpPr/>
            <p:nvPr/>
          </p:nvGrpSpPr>
          <p:grpSpPr>
            <a:xfrm>
              <a:off x="4476347" y="2076545"/>
              <a:ext cx="447954" cy="664476"/>
              <a:chOff x="4507478" y="2076545"/>
              <a:chExt cx="447954" cy="664476"/>
            </a:xfrm>
          </p:grpSpPr>
          <p:sp>
            <p:nvSpPr>
              <p:cNvPr id="1602" name="Oval 1601">
                <a:extLst>
                  <a:ext uri="{FF2B5EF4-FFF2-40B4-BE49-F238E27FC236}">
                    <a16:creationId xmlns:a16="http://schemas.microsoft.com/office/drawing/2014/main" id="{C4CA72B3-145A-4CCD-8036-D490084B9FD6}"/>
                  </a:ext>
                </a:extLst>
              </p:cNvPr>
              <p:cNvSpPr/>
              <p:nvPr/>
            </p:nvSpPr>
            <p:spPr>
              <a:xfrm>
                <a:off x="4676997" y="2632105"/>
                <a:ext cx="108916" cy="108916"/>
              </a:xfrm>
              <a:prstGeom prst="ellipse">
                <a:avLst/>
              </a:prstGeom>
              <a:solidFill>
                <a:schemeClr val="accent6"/>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603" name="Group 1602">
                <a:extLst>
                  <a:ext uri="{FF2B5EF4-FFF2-40B4-BE49-F238E27FC236}">
                    <a16:creationId xmlns:a16="http://schemas.microsoft.com/office/drawing/2014/main" id="{E00CC077-9438-48F7-9A95-A010F333E2C6}"/>
                  </a:ext>
                </a:extLst>
              </p:cNvPr>
              <p:cNvGrpSpPr/>
              <p:nvPr/>
            </p:nvGrpSpPr>
            <p:grpSpPr>
              <a:xfrm>
                <a:off x="4507478" y="2076545"/>
                <a:ext cx="447954" cy="534751"/>
                <a:chOff x="4507478" y="2076545"/>
                <a:chExt cx="447954" cy="534751"/>
              </a:xfrm>
            </p:grpSpPr>
            <p:grpSp>
              <p:nvGrpSpPr>
                <p:cNvPr id="1605" name="Group 1604">
                  <a:extLst>
                    <a:ext uri="{FF2B5EF4-FFF2-40B4-BE49-F238E27FC236}">
                      <a16:creationId xmlns:a16="http://schemas.microsoft.com/office/drawing/2014/main" id="{D52124DA-0BDD-46C8-A3E5-CC913DA32C6D}"/>
                    </a:ext>
                  </a:extLst>
                </p:cNvPr>
                <p:cNvGrpSpPr/>
                <p:nvPr/>
              </p:nvGrpSpPr>
              <p:grpSpPr>
                <a:xfrm>
                  <a:off x="4507478" y="2076545"/>
                  <a:ext cx="447954" cy="534751"/>
                  <a:chOff x="4501128" y="1906926"/>
                  <a:chExt cx="447954" cy="534751"/>
                </a:xfrm>
              </p:grpSpPr>
              <p:sp>
                <p:nvSpPr>
                  <p:cNvPr id="1611" name="Isosceles Triangle 1610">
                    <a:extLst>
                      <a:ext uri="{FF2B5EF4-FFF2-40B4-BE49-F238E27FC236}">
                        <a16:creationId xmlns:a16="http://schemas.microsoft.com/office/drawing/2014/main" id="{F4EB0CBE-7874-42C1-8179-609070ED6D22}"/>
                      </a:ext>
                    </a:extLst>
                  </p:cNvPr>
                  <p:cNvSpPr/>
                  <p:nvPr/>
                </p:nvSpPr>
                <p:spPr>
                  <a:xfrm rot="10800000">
                    <a:off x="4576322" y="2187276"/>
                    <a:ext cx="295105" cy="254401"/>
                  </a:xfrm>
                  <a:prstGeom prst="triangl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12" name="Oval 1611">
                    <a:extLst>
                      <a:ext uri="{FF2B5EF4-FFF2-40B4-BE49-F238E27FC236}">
                        <a16:creationId xmlns:a16="http://schemas.microsoft.com/office/drawing/2014/main" id="{71DD1AA2-0549-407B-883D-6D5A0CEBE23B}"/>
                      </a:ext>
                    </a:extLst>
                  </p:cNvPr>
                  <p:cNvSpPr/>
                  <p:nvPr/>
                </p:nvSpPr>
                <p:spPr>
                  <a:xfrm>
                    <a:off x="4501128" y="1906926"/>
                    <a:ext cx="447954" cy="447954"/>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606" name="Group 4">
                  <a:extLst>
                    <a:ext uri="{FF2B5EF4-FFF2-40B4-BE49-F238E27FC236}">
                      <a16:creationId xmlns:a16="http://schemas.microsoft.com/office/drawing/2014/main" id="{6831CAB5-E739-4FAE-BD6B-F03BFB20B9C5}"/>
                    </a:ext>
                  </a:extLst>
                </p:cNvPr>
                <p:cNvGrpSpPr>
                  <a:grpSpLocks noChangeAspect="1"/>
                </p:cNvGrpSpPr>
                <p:nvPr/>
              </p:nvGrpSpPr>
              <p:grpSpPr bwMode="auto">
                <a:xfrm>
                  <a:off x="4620142" y="2165010"/>
                  <a:ext cx="211726" cy="243171"/>
                  <a:chOff x="2778" y="1504"/>
                  <a:chExt cx="202" cy="232"/>
                </a:xfrm>
                <a:solidFill>
                  <a:schemeClr val="bg2"/>
                </a:solidFill>
              </p:grpSpPr>
              <p:sp>
                <p:nvSpPr>
                  <p:cNvPr id="1607" name="Freeform 5">
                    <a:extLst>
                      <a:ext uri="{FF2B5EF4-FFF2-40B4-BE49-F238E27FC236}">
                        <a16:creationId xmlns:a16="http://schemas.microsoft.com/office/drawing/2014/main" id="{53F6413B-A1EC-4FA9-881A-956C00B056DB}"/>
                      </a:ext>
                    </a:extLst>
                  </p:cNvPr>
                  <p:cNvSpPr>
                    <a:spLocks noEditPoints="1"/>
                  </p:cNvSpPr>
                  <p:nvPr/>
                </p:nvSpPr>
                <p:spPr bwMode="auto">
                  <a:xfrm>
                    <a:off x="2823" y="1504"/>
                    <a:ext cx="110" cy="136"/>
                  </a:xfrm>
                  <a:custGeom>
                    <a:avLst/>
                    <a:gdLst>
                      <a:gd name="T0" fmla="*/ 8 w 53"/>
                      <a:gd name="T1" fmla="*/ 60 h 66"/>
                      <a:gd name="T2" fmla="*/ 14 w 53"/>
                      <a:gd name="T3" fmla="*/ 66 h 66"/>
                      <a:gd name="T4" fmla="*/ 39 w 53"/>
                      <a:gd name="T5" fmla="*/ 66 h 66"/>
                      <a:gd name="T6" fmla="*/ 45 w 53"/>
                      <a:gd name="T7" fmla="*/ 60 h 66"/>
                      <a:gd name="T8" fmla="*/ 45 w 53"/>
                      <a:gd name="T9" fmla="*/ 50 h 66"/>
                      <a:gd name="T10" fmla="*/ 53 w 53"/>
                      <a:gd name="T11" fmla="*/ 29 h 66"/>
                      <a:gd name="T12" fmla="*/ 27 w 53"/>
                      <a:gd name="T13" fmla="*/ 0 h 66"/>
                      <a:gd name="T14" fmla="*/ 0 w 53"/>
                      <a:gd name="T15" fmla="*/ 29 h 66"/>
                      <a:gd name="T16" fmla="*/ 8 w 53"/>
                      <a:gd name="T17" fmla="*/ 49 h 66"/>
                      <a:gd name="T18" fmla="*/ 8 w 53"/>
                      <a:gd name="T19" fmla="*/ 60 h 66"/>
                      <a:gd name="T20" fmla="*/ 27 w 53"/>
                      <a:gd name="T21" fmla="*/ 12 h 66"/>
                      <a:gd name="T22" fmla="*/ 41 w 53"/>
                      <a:gd name="T23" fmla="*/ 29 h 66"/>
                      <a:gd name="T24" fmla="*/ 35 w 53"/>
                      <a:gd name="T25" fmla="*/ 42 h 66"/>
                      <a:gd name="T26" fmla="*/ 33 w 53"/>
                      <a:gd name="T27" fmla="*/ 47 h 66"/>
                      <a:gd name="T28" fmla="*/ 33 w 53"/>
                      <a:gd name="T29" fmla="*/ 54 h 66"/>
                      <a:gd name="T30" fmla="*/ 20 w 53"/>
                      <a:gd name="T31" fmla="*/ 54 h 66"/>
                      <a:gd name="T32" fmla="*/ 20 w 53"/>
                      <a:gd name="T33" fmla="*/ 46 h 66"/>
                      <a:gd name="T34" fmla="*/ 18 w 53"/>
                      <a:gd name="T35" fmla="*/ 42 h 66"/>
                      <a:gd name="T36" fmla="*/ 12 w 53"/>
                      <a:gd name="T37" fmla="*/ 29 h 66"/>
                      <a:gd name="T38" fmla="*/ 27 w 53"/>
                      <a:gd name="T39"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66">
                        <a:moveTo>
                          <a:pt x="8" y="60"/>
                        </a:moveTo>
                        <a:cubicBezTo>
                          <a:pt x="8" y="64"/>
                          <a:pt x="10" y="66"/>
                          <a:pt x="14" y="66"/>
                        </a:cubicBezTo>
                        <a:cubicBezTo>
                          <a:pt x="39" y="66"/>
                          <a:pt x="39" y="66"/>
                          <a:pt x="39" y="66"/>
                        </a:cubicBezTo>
                        <a:cubicBezTo>
                          <a:pt x="42" y="66"/>
                          <a:pt x="45" y="64"/>
                          <a:pt x="45" y="60"/>
                        </a:cubicBezTo>
                        <a:cubicBezTo>
                          <a:pt x="45" y="50"/>
                          <a:pt x="45" y="50"/>
                          <a:pt x="45" y="50"/>
                        </a:cubicBezTo>
                        <a:cubicBezTo>
                          <a:pt x="50" y="44"/>
                          <a:pt x="53" y="37"/>
                          <a:pt x="53" y="29"/>
                        </a:cubicBezTo>
                        <a:cubicBezTo>
                          <a:pt x="53" y="13"/>
                          <a:pt x="41" y="0"/>
                          <a:pt x="27" y="0"/>
                        </a:cubicBezTo>
                        <a:cubicBezTo>
                          <a:pt x="12" y="0"/>
                          <a:pt x="0" y="13"/>
                          <a:pt x="0" y="29"/>
                        </a:cubicBezTo>
                        <a:cubicBezTo>
                          <a:pt x="0" y="36"/>
                          <a:pt x="3" y="43"/>
                          <a:pt x="8" y="49"/>
                        </a:cubicBezTo>
                        <a:lnTo>
                          <a:pt x="8" y="60"/>
                        </a:lnTo>
                        <a:close/>
                        <a:moveTo>
                          <a:pt x="27" y="12"/>
                        </a:moveTo>
                        <a:cubicBezTo>
                          <a:pt x="35" y="12"/>
                          <a:pt x="41" y="20"/>
                          <a:pt x="41" y="29"/>
                        </a:cubicBezTo>
                        <a:cubicBezTo>
                          <a:pt x="41" y="34"/>
                          <a:pt x="39" y="39"/>
                          <a:pt x="35" y="42"/>
                        </a:cubicBezTo>
                        <a:cubicBezTo>
                          <a:pt x="34" y="43"/>
                          <a:pt x="33" y="45"/>
                          <a:pt x="33" y="47"/>
                        </a:cubicBezTo>
                        <a:cubicBezTo>
                          <a:pt x="33" y="54"/>
                          <a:pt x="33" y="54"/>
                          <a:pt x="33" y="54"/>
                        </a:cubicBezTo>
                        <a:cubicBezTo>
                          <a:pt x="20" y="54"/>
                          <a:pt x="20" y="54"/>
                          <a:pt x="20" y="54"/>
                        </a:cubicBezTo>
                        <a:cubicBezTo>
                          <a:pt x="20" y="46"/>
                          <a:pt x="20" y="46"/>
                          <a:pt x="20" y="46"/>
                        </a:cubicBezTo>
                        <a:cubicBezTo>
                          <a:pt x="20" y="44"/>
                          <a:pt x="19" y="43"/>
                          <a:pt x="18" y="42"/>
                        </a:cubicBezTo>
                        <a:cubicBezTo>
                          <a:pt x="14" y="38"/>
                          <a:pt x="12" y="34"/>
                          <a:pt x="12" y="29"/>
                        </a:cubicBezTo>
                        <a:cubicBezTo>
                          <a:pt x="12" y="20"/>
                          <a:pt x="19" y="12"/>
                          <a:pt x="2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08" name="Oval 6">
                    <a:extLst>
                      <a:ext uri="{FF2B5EF4-FFF2-40B4-BE49-F238E27FC236}">
                        <a16:creationId xmlns:a16="http://schemas.microsoft.com/office/drawing/2014/main" id="{9A40C6F9-74FA-46D7-8FB9-59724FDBB935}"/>
                      </a:ext>
                    </a:extLst>
                  </p:cNvPr>
                  <p:cNvSpPr>
                    <a:spLocks noChangeArrowheads="1"/>
                  </p:cNvSpPr>
                  <p:nvPr/>
                </p:nvSpPr>
                <p:spPr bwMode="auto">
                  <a:xfrm>
                    <a:off x="2852" y="1555"/>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09" name="Oval 7">
                    <a:extLst>
                      <a:ext uri="{FF2B5EF4-FFF2-40B4-BE49-F238E27FC236}">
                        <a16:creationId xmlns:a16="http://schemas.microsoft.com/office/drawing/2014/main" id="{4D4BA5FF-712D-42AD-8A8C-F474F0721AB5}"/>
                      </a:ext>
                    </a:extLst>
                  </p:cNvPr>
                  <p:cNvSpPr>
                    <a:spLocks noChangeArrowheads="1"/>
                  </p:cNvSpPr>
                  <p:nvPr/>
                </p:nvSpPr>
                <p:spPr bwMode="auto">
                  <a:xfrm>
                    <a:off x="2883" y="1555"/>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10" name="Freeform 8">
                    <a:extLst>
                      <a:ext uri="{FF2B5EF4-FFF2-40B4-BE49-F238E27FC236}">
                        <a16:creationId xmlns:a16="http://schemas.microsoft.com/office/drawing/2014/main" id="{6389E38A-9C91-481A-9DE2-B15A41B54EBF}"/>
                      </a:ext>
                    </a:extLst>
                  </p:cNvPr>
                  <p:cNvSpPr>
                    <a:spLocks/>
                  </p:cNvSpPr>
                  <p:nvPr/>
                </p:nvSpPr>
                <p:spPr bwMode="auto">
                  <a:xfrm>
                    <a:off x="2778" y="1617"/>
                    <a:ext cx="202" cy="119"/>
                  </a:xfrm>
                  <a:custGeom>
                    <a:avLst/>
                    <a:gdLst>
                      <a:gd name="T0" fmla="*/ 91 w 98"/>
                      <a:gd name="T1" fmla="*/ 22 h 58"/>
                      <a:gd name="T2" fmla="*/ 98 w 98"/>
                      <a:gd name="T3" fmla="*/ 15 h 58"/>
                      <a:gd name="T4" fmla="*/ 92 w 98"/>
                      <a:gd name="T5" fmla="*/ 9 h 58"/>
                      <a:gd name="T6" fmla="*/ 92 w 98"/>
                      <a:gd name="T7" fmla="*/ 6 h 58"/>
                      <a:gd name="T8" fmla="*/ 86 w 98"/>
                      <a:gd name="T9" fmla="*/ 0 h 58"/>
                      <a:gd name="T10" fmla="*/ 79 w 98"/>
                      <a:gd name="T11" fmla="*/ 6 h 58"/>
                      <a:gd name="T12" fmla="*/ 81 w 98"/>
                      <a:gd name="T13" fmla="*/ 10 h 58"/>
                      <a:gd name="T14" fmla="*/ 49 w 98"/>
                      <a:gd name="T15" fmla="*/ 24 h 58"/>
                      <a:gd name="T16" fmla="*/ 17 w 98"/>
                      <a:gd name="T17" fmla="*/ 10 h 58"/>
                      <a:gd name="T18" fmla="*/ 18 w 98"/>
                      <a:gd name="T19" fmla="*/ 6 h 58"/>
                      <a:gd name="T20" fmla="*/ 11 w 98"/>
                      <a:gd name="T21" fmla="*/ 0 h 58"/>
                      <a:gd name="T22" fmla="*/ 5 w 98"/>
                      <a:gd name="T23" fmla="*/ 6 h 58"/>
                      <a:gd name="T24" fmla="*/ 6 w 98"/>
                      <a:gd name="T25" fmla="*/ 9 h 58"/>
                      <a:gd name="T26" fmla="*/ 0 w 98"/>
                      <a:gd name="T27" fmla="*/ 15 h 58"/>
                      <a:gd name="T28" fmla="*/ 6 w 98"/>
                      <a:gd name="T29" fmla="*/ 22 h 58"/>
                      <a:gd name="T30" fmla="*/ 12 w 98"/>
                      <a:gd name="T31" fmla="*/ 19 h 58"/>
                      <a:gd name="T32" fmla="*/ 37 w 98"/>
                      <a:gd name="T33" fmla="*/ 29 h 58"/>
                      <a:gd name="T34" fmla="*/ 12 w 98"/>
                      <a:gd name="T35" fmla="*/ 40 h 58"/>
                      <a:gd name="T36" fmla="*/ 6 w 98"/>
                      <a:gd name="T37" fmla="*/ 36 h 58"/>
                      <a:gd name="T38" fmla="*/ 0 w 98"/>
                      <a:gd name="T39" fmla="*/ 42 h 58"/>
                      <a:gd name="T40" fmla="*/ 6 w 98"/>
                      <a:gd name="T41" fmla="*/ 48 h 58"/>
                      <a:gd name="T42" fmla="*/ 5 w 98"/>
                      <a:gd name="T43" fmla="*/ 51 h 58"/>
                      <a:gd name="T44" fmla="*/ 11 w 98"/>
                      <a:gd name="T45" fmla="*/ 58 h 58"/>
                      <a:gd name="T46" fmla="*/ 18 w 98"/>
                      <a:gd name="T47" fmla="*/ 51 h 58"/>
                      <a:gd name="T48" fmla="*/ 17 w 98"/>
                      <a:gd name="T49" fmla="*/ 48 h 58"/>
                      <a:gd name="T50" fmla="*/ 17 w 98"/>
                      <a:gd name="T51" fmla="*/ 48 h 58"/>
                      <a:gd name="T52" fmla="*/ 17 w 98"/>
                      <a:gd name="T53" fmla="*/ 48 h 58"/>
                      <a:gd name="T54" fmla="*/ 49 w 98"/>
                      <a:gd name="T55" fmla="*/ 34 h 58"/>
                      <a:gd name="T56" fmla="*/ 80 w 98"/>
                      <a:gd name="T57" fmla="*/ 48 h 58"/>
                      <a:gd name="T58" fmla="*/ 80 w 98"/>
                      <a:gd name="T59" fmla="*/ 48 h 58"/>
                      <a:gd name="T60" fmla="*/ 80 w 98"/>
                      <a:gd name="T61" fmla="*/ 48 h 58"/>
                      <a:gd name="T62" fmla="*/ 79 w 98"/>
                      <a:gd name="T63" fmla="*/ 51 h 58"/>
                      <a:gd name="T64" fmla="*/ 86 w 98"/>
                      <a:gd name="T65" fmla="*/ 58 h 58"/>
                      <a:gd name="T66" fmla="*/ 92 w 98"/>
                      <a:gd name="T67" fmla="*/ 51 h 58"/>
                      <a:gd name="T68" fmla="*/ 92 w 98"/>
                      <a:gd name="T69" fmla="*/ 48 h 58"/>
                      <a:gd name="T70" fmla="*/ 98 w 98"/>
                      <a:gd name="T71" fmla="*/ 42 h 58"/>
                      <a:gd name="T72" fmla="*/ 91 w 98"/>
                      <a:gd name="T73" fmla="*/ 36 h 58"/>
                      <a:gd name="T74" fmla="*/ 85 w 98"/>
                      <a:gd name="T75" fmla="*/ 40 h 58"/>
                      <a:gd name="T76" fmla="*/ 60 w 98"/>
                      <a:gd name="T77" fmla="*/ 29 h 58"/>
                      <a:gd name="T78" fmla="*/ 85 w 98"/>
                      <a:gd name="T79" fmla="*/ 19 h 58"/>
                      <a:gd name="T80" fmla="*/ 91 w 98"/>
                      <a:gd name="T81"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 h="58">
                        <a:moveTo>
                          <a:pt x="91" y="22"/>
                        </a:moveTo>
                        <a:cubicBezTo>
                          <a:pt x="95" y="22"/>
                          <a:pt x="98" y="19"/>
                          <a:pt x="98" y="15"/>
                        </a:cubicBezTo>
                        <a:cubicBezTo>
                          <a:pt x="98" y="12"/>
                          <a:pt x="95" y="9"/>
                          <a:pt x="92" y="9"/>
                        </a:cubicBezTo>
                        <a:cubicBezTo>
                          <a:pt x="92" y="8"/>
                          <a:pt x="92" y="7"/>
                          <a:pt x="92" y="6"/>
                        </a:cubicBezTo>
                        <a:cubicBezTo>
                          <a:pt x="92" y="3"/>
                          <a:pt x="90" y="0"/>
                          <a:pt x="86" y="0"/>
                        </a:cubicBezTo>
                        <a:cubicBezTo>
                          <a:pt x="82" y="0"/>
                          <a:pt x="79" y="3"/>
                          <a:pt x="79" y="6"/>
                        </a:cubicBezTo>
                        <a:cubicBezTo>
                          <a:pt x="79" y="8"/>
                          <a:pt x="80" y="9"/>
                          <a:pt x="81" y="10"/>
                        </a:cubicBezTo>
                        <a:cubicBezTo>
                          <a:pt x="49" y="24"/>
                          <a:pt x="49" y="24"/>
                          <a:pt x="49" y="24"/>
                        </a:cubicBezTo>
                        <a:cubicBezTo>
                          <a:pt x="17" y="10"/>
                          <a:pt x="17" y="10"/>
                          <a:pt x="17" y="10"/>
                        </a:cubicBezTo>
                        <a:cubicBezTo>
                          <a:pt x="17" y="9"/>
                          <a:pt x="18" y="8"/>
                          <a:pt x="18" y="6"/>
                        </a:cubicBezTo>
                        <a:cubicBezTo>
                          <a:pt x="18" y="3"/>
                          <a:pt x="15" y="0"/>
                          <a:pt x="11" y="0"/>
                        </a:cubicBezTo>
                        <a:cubicBezTo>
                          <a:pt x="8" y="0"/>
                          <a:pt x="5" y="3"/>
                          <a:pt x="5" y="6"/>
                        </a:cubicBezTo>
                        <a:cubicBezTo>
                          <a:pt x="5" y="7"/>
                          <a:pt x="5" y="8"/>
                          <a:pt x="6" y="9"/>
                        </a:cubicBezTo>
                        <a:cubicBezTo>
                          <a:pt x="2" y="9"/>
                          <a:pt x="0" y="12"/>
                          <a:pt x="0" y="15"/>
                        </a:cubicBezTo>
                        <a:cubicBezTo>
                          <a:pt x="0" y="19"/>
                          <a:pt x="3" y="22"/>
                          <a:pt x="6" y="22"/>
                        </a:cubicBezTo>
                        <a:cubicBezTo>
                          <a:pt x="9" y="22"/>
                          <a:pt x="11" y="21"/>
                          <a:pt x="12" y="19"/>
                        </a:cubicBezTo>
                        <a:cubicBezTo>
                          <a:pt x="37" y="29"/>
                          <a:pt x="37" y="29"/>
                          <a:pt x="37" y="29"/>
                        </a:cubicBezTo>
                        <a:cubicBezTo>
                          <a:pt x="12" y="40"/>
                          <a:pt x="12" y="40"/>
                          <a:pt x="12" y="40"/>
                        </a:cubicBezTo>
                        <a:cubicBezTo>
                          <a:pt x="12" y="37"/>
                          <a:pt x="9" y="36"/>
                          <a:pt x="6" y="36"/>
                        </a:cubicBezTo>
                        <a:cubicBezTo>
                          <a:pt x="3" y="36"/>
                          <a:pt x="0" y="38"/>
                          <a:pt x="0" y="42"/>
                        </a:cubicBezTo>
                        <a:cubicBezTo>
                          <a:pt x="0" y="45"/>
                          <a:pt x="2" y="48"/>
                          <a:pt x="6" y="48"/>
                        </a:cubicBezTo>
                        <a:cubicBezTo>
                          <a:pt x="5" y="49"/>
                          <a:pt x="5" y="50"/>
                          <a:pt x="5" y="51"/>
                        </a:cubicBezTo>
                        <a:cubicBezTo>
                          <a:pt x="5" y="55"/>
                          <a:pt x="8" y="58"/>
                          <a:pt x="11" y="58"/>
                        </a:cubicBezTo>
                        <a:cubicBezTo>
                          <a:pt x="15" y="58"/>
                          <a:pt x="18" y="55"/>
                          <a:pt x="18" y="51"/>
                        </a:cubicBezTo>
                        <a:cubicBezTo>
                          <a:pt x="18" y="50"/>
                          <a:pt x="18" y="49"/>
                          <a:pt x="17" y="48"/>
                        </a:cubicBezTo>
                        <a:cubicBezTo>
                          <a:pt x="17" y="48"/>
                          <a:pt x="17" y="48"/>
                          <a:pt x="17" y="48"/>
                        </a:cubicBezTo>
                        <a:cubicBezTo>
                          <a:pt x="17" y="48"/>
                          <a:pt x="17" y="48"/>
                          <a:pt x="17" y="48"/>
                        </a:cubicBezTo>
                        <a:cubicBezTo>
                          <a:pt x="49" y="34"/>
                          <a:pt x="49" y="34"/>
                          <a:pt x="49" y="34"/>
                        </a:cubicBezTo>
                        <a:cubicBezTo>
                          <a:pt x="80" y="48"/>
                          <a:pt x="80" y="48"/>
                          <a:pt x="80" y="48"/>
                        </a:cubicBezTo>
                        <a:cubicBezTo>
                          <a:pt x="80" y="48"/>
                          <a:pt x="80" y="48"/>
                          <a:pt x="80" y="48"/>
                        </a:cubicBezTo>
                        <a:cubicBezTo>
                          <a:pt x="80" y="48"/>
                          <a:pt x="80" y="48"/>
                          <a:pt x="80" y="48"/>
                        </a:cubicBezTo>
                        <a:cubicBezTo>
                          <a:pt x="80" y="49"/>
                          <a:pt x="79" y="50"/>
                          <a:pt x="79" y="51"/>
                        </a:cubicBezTo>
                        <a:cubicBezTo>
                          <a:pt x="79" y="55"/>
                          <a:pt x="82" y="58"/>
                          <a:pt x="86" y="58"/>
                        </a:cubicBezTo>
                        <a:cubicBezTo>
                          <a:pt x="90" y="58"/>
                          <a:pt x="92" y="55"/>
                          <a:pt x="92" y="51"/>
                        </a:cubicBezTo>
                        <a:cubicBezTo>
                          <a:pt x="92" y="50"/>
                          <a:pt x="92" y="49"/>
                          <a:pt x="92" y="48"/>
                        </a:cubicBezTo>
                        <a:cubicBezTo>
                          <a:pt x="95" y="48"/>
                          <a:pt x="98" y="45"/>
                          <a:pt x="98" y="42"/>
                        </a:cubicBezTo>
                        <a:cubicBezTo>
                          <a:pt x="98" y="38"/>
                          <a:pt x="95" y="36"/>
                          <a:pt x="91" y="36"/>
                        </a:cubicBezTo>
                        <a:cubicBezTo>
                          <a:pt x="88" y="36"/>
                          <a:pt x="86" y="37"/>
                          <a:pt x="85" y="40"/>
                        </a:cubicBezTo>
                        <a:cubicBezTo>
                          <a:pt x="60" y="29"/>
                          <a:pt x="60" y="29"/>
                          <a:pt x="60" y="29"/>
                        </a:cubicBezTo>
                        <a:cubicBezTo>
                          <a:pt x="85" y="19"/>
                          <a:pt x="85" y="19"/>
                          <a:pt x="85" y="19"/>
                        </a:cubicBezTo>
                        <a:cubicBezTo>
                          <a:pt x="87" y="21"/>
                          <a:pt x="89" y="22"/>
                          <a:pt x="9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sp>
          <p:nvSpPr>
            <p:cNvPr id="1232" name="Rectangle: Rounded Corners 1231">
              <a:extLst>
                <a:ext uri="{FF2B5EF4-FFF2-40B4-BE49-F238E27FC236}">
                  <a16:creationId xmlns:a16="http://schemas.microsoft.com/office/drawing/2014/main" id="{30B6A597-0AB1-4AD4-8C66-9703E728775D}"/>
                </a:ext>
              </a:extLst>
            </p:cNvPr>
            <p:cNvSpPr/>
            <p:nvPr/>
          </p:nvSpPr>
          <p:spPr>
            <a:xfrm>
              <a:off x="5782923" y="2044203"/>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33" name="Rectangle: Rounded Corners 1232">
              <a:extLst>
                <a:ext uri="{FF2B5EF4-FFF2-40B4-BE49-F238E27FC236}">
                  <a16:creationId xmlns:a16="http://schemas.microsoft.com/office/drawing/2014/main" id="{80EF5650-1649-44BD-AE18-56C1110E6E03}"/>
                </a:ext>
              </a:extLst>
            </p:cNvPr>
            <p:cNvSpPr/>
            <p:nvPr/>
          </p:nvSpPr>
          <p:spPr>
            <a:xfrm>
              <a:off x="5782923" y="2790238"/>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34" name="Rectangle: Rounded Corners 1233">
              <a:extLst>
                <a:ext uri="{FF2B5EF4-FFF2-40B4-BE49-F238E27FC236}">
                  <a16:creationId xmlns:a16="http://schemas.microsoft.com/office/drawing/2014/main" id="{FF254B3A-88D7-4944-BCC2-F8F2DB926E6C}"/>
                </a:ext>
              </a:extLst>
            </p:cNvPr>
            <p:cNvSpPr/>
            <p:nvPr/>
          </p:nvSpPr>
          <p:spPr>
            <a:xfrm>
              <a:off x="5487816" y="2914850"/>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35" name="Rectangle: Rounded Corners 1234">
              <a:extLst>
                <a:ext uri="{FF2B5EF4-FFF2-40B4-BE49-F238E27FC236}">
                  <a16:creationId xmlns:a16="http://schemas.microsoft.com/office/drawing/2014/main" id="{94E73837-DA50-4640-87CD-389091ABBFD9}"/>
                </a:ext>
              </a:extLst>
            </p:cNvPr>
            <p:cNvSpPr/>
            <p:nvPr/>
          </p:nvSpPr>
          <p:spPr>
            <a:xfrm>
              <a:off x="5487816" y="2169141"/>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cxnSp>
          <p:nvCxnSpPr>
            <p:cNvPr id="1236" name="Straight Connector 1235">
              <a:extLst>
                <a:ext uri="{FF2B5EF4-FFF2-40B4-BE49-F238E27FC236}">
                  <a16:creationId xmlns:a16="http://schemas.microsoft.com/office/drawing/2014/main" id="{438E0F33-B3D2-4D0B-B967-0A6071837E82}"/>
                </a:ext>
              </a:extLst>
            </p:cNvPr>
            <p:cNvCxnSpPr>
              <a:stCxn id="1232" idx="2"/>
              <a:endCxn id="1233" idx="0"/>
            </p:cNvCxnSpPr>
            <p:nvPr/>
          </p:nvCxnSpPr>
          <p:spPr>
            <a:xfrm>
              <a:off x="6137050" y="2571750"/>
              <a:ext cx="0" cy="218488"/>
            </a:xfrm>
            <a:prstGeom prst="line">
              <a:avLst/>
            </a:prstGeom>
            <a:noFill/>
            <a:ln cap="rnd">
              <a:solidFill>
                <a:schemeClr val="accent5"/>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1237" name="TextBox 1236">
              <a:extLst>
                <a:ext uri="{FF2B5EF4-FFF2-40B4-BE49-F238E27FC236}">
                  <a16:creationId xmlns:a16="http://schemas.microsoft.com/office/drawing/2014/main" id="{05FF13BF-46D7-4CD5-8A5F-8F16C1271509}"/>
                </a:ext>
              </a:extLst>
            </p:cNvPr>
            <p:cNvSpPr txBox="1"/>
            <p:nvPr/>
          </p:nvSpPr>
          <p:spPr>
            <a:xfrm>
              <a:off x="4856883" y="2425448"/>
              <a:ext cx="526416" cy="519728"/>
            </a:xfrm>
            <a:prstGeom prst="ellipse">
              <a:avLst/>
            </a:prstGeom>
            <a:noFill/>
            <a:ln>
              <a:solidFill>
                <a:schemeClr val="accent5">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38" name="Oval 1237">
              <a:extLst>
                <a:ext uri="{FF2B5EF4-FFF2-40B4-BE49-F238E27FC236}">
                  <a16:creationId xmlns:a16="http://schemas.microsoft.com/office/drawing/2014/main" id="{6CD41E1F-DBCF-406A-B5A1-3F36656AEFAA}"/>
                </a:ext>
              </a:extLst>
            </p:cNvPr>
            <p:cNvSpPr/>
            <p:nvPr/>
          </p:nvSpPr>
          <p:spPr>
            <a:xfrm>
              <a:off x="4861357" y="2427829"/>
              <a:ext cx="517468" cy="517468"/>
            </a:xfrm>
            <a:prstGeom prst="ellipse">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239" name="Group 1238">
              <a:extLst>
                <a:ext uri="{FF2B5EF4-FFF2-40B4-BE49-F238E27FC236}">
                  <a16:creationId xmlns:a16="http://schemas.microsoft.com/office/drawing/2014/main" id="{A4CDA4B1-7E87-4D15-A0F3-56ED17C5A580}"/>
                </a:ext>
              </a:extLst>
            </p:cNvPr>
            <p:cNvGrpSpPr/>
            <p:nvPr/>
          </p:nvGrpSpPr>
          <p:grpSpPr>
            <a:xfrm>
              <a:off x="5555760" y="1912187"/>
              <a:ext cx="666253" cy="1036712"/>
              <a:chOff x="5555760" y="1912187"/>
              <a:chExt cx="666253" cy="1036712"/>
            </a:xfrm>
          </p:grpSpPr>
          <p:pic>
            <p:nvPicPr>
              <p:cNvPr id="1598" name="Picture 1597">
                <a:extLst>
                  <a:ext uri="{FF2B5EF4-FFF2-40B4-BE49-F238E27FC236}">
                    <a16:creationId xmlns:a16="http://schemas.microsoft.com/office/drawing/2014/main" id="{058913C1-486D-4CB9-B6C2-122C3C9AFAEA}"/>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5555760" y="2040179"/>
                <a:ext cx="157900" cy="155766"/>
              </a:xfrm>
              <a:prstGeom prst="rect">
                <a:avLst/>
              </a:prstGeom>
            </p:spPr>
          </p:pic>
          <p:pic>
            <p:nvPicPr>
              <p:cNvPr id="1599" name="Picture 1598">
                <a:extLst>
                  <a:ext uri="{FF2B5EF4-FFF2-40B4-BE49-F238E27FC236}">
                    <a16:creationId xmlns:a16="http://schemas.microsoft.com/office/drawing/2014/main" id="{38C8D9C5-ED0D-40F7-B635-8C20515E47A5}"/>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6063827" y="1912187"/>
                <a:ext cx="157900" cy="157900"/>
              </a:xfrm>
              <a:prstGeom prst="rect">
                <a:avLst/>
              </a:prstGeom>
            </p:spPr>
          </p:pic>
          <p:pic>
            <p:nvPicPr>
              <p:cNvPr id="1600" name="Picture 1599">
                <a:extLst>
                  <a:ext uri="{FF2B5EF4-FFF2-40B4-BE49-F238E27FC236}">
                    <a16:creationId xmlns:a16="http://schemas.microsoft.com/office/drawing/2014/main" id="{9D93DE75-6797-4B03-B842-51FA91D58B32}"/>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5558141" y="2793133"/>
                <a:ext cx="157900" cy="155766"/>
              </a:xfrm>
              <a:prstGeom prst="rect">
                <a:avLst/>
              </a:prstGeom>
            </p:spPr>
          </p:pic>
          <p:pic>
            <p:nvPicPr>
              <p:cNvPr id="1601" name="Picture 1600">
                <a:extLst>
                  <a:ext uri="{FF2B5EF4-FFF2-40B4-BE49-F238E27FC236}">
                    <a16:creationId xmlns:a16="http://schemas.microsoft.com/office/drawing/2014/main" id="{DCCC0417-93DD-4813-8768-17722DCD5E72}"/>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6064113" y="2655490"/>
                <a:ext cx="157900" cy="157900"/>
              </a:xfrm>
              <a:prstGeom prst="rect">
                <a:avLst/>
              </a:prstGeom>
            </p:spPr>
          </p:pic>
        </p:grpSp>
        <p:grpSp>
          <p:nvGrpSpPr>
            <p:cNvPr id="1240" name="Group 1239">
              <a:extLst>
                <a:ext uri="{FF2B5EF4-FFF2-40B4-BE49-F238E27FC236}">
                  <a16:creationId xmlns:a16="http://schemas.microsoft.com/office/drawing/2014/main" id="{444B6138-6F01-496E-9090-AEE31DCE23BA}"/>
                </a:ext>
              </a:extLst>
            </p:cNvPr>
            <p:cNvGrpSpPr/>
            <p:nvPr/>
          </p:nvGrpSpPr>
          <p:grpSpPr>
            <a:xfrm>
              <a:off x="5204220" y="1560778"/>
              <a:ext cx="531191" cy="465927"/>
              <a:chOff x="3719147" y="303257"/>
              <a:chExt cx="531191" cy="465927"/>
            </a:xfrm>
          </p:grpSpPr>
          <p:sp>
            <p:nvSpPr>
              <p:cNvPr id="1596" name="Isosceles Triangle 1595">
                <a:extLst>
                  <a:ext uri="{FF2B5EF4-FFF2-40B4-BE49-F238E27FC236}">
                    <a16:creationId xmlns:a16="http://schemas.microsoft.com/office/drawing/2014/main" id="{8472AB5B-35A2-4B98-B92A-C2627A2969F4}"/>
                  </a:ext>
                </a:extLst>
              </p:cNvPr>
              <p:cNvSpPr/>
              <p:nvPr/>
            </p:nvSpPr>
            <p:spPr>
              <a:xfrm flipV="1">
                <a:off x="3995204" y="600121"/>
                <a:ext cx="196113" cy="169063"/>
              </a:xfrm>
              <a:prstGeom prst="triangle">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97" name="Rectangle: Rounded Corners 1596">
                <a:extLst>
                  <a:ext uri="{FF2B5EF4-FFF2-40B4-BE49-F238E27FC236}">
                    <a16:creationId xmlns:a16="http://schemas.microsoft.com/office/drawing/2014/main" id="{F35E13A7-A1A9-49A9-990E-88F35C945D39}"/>
                  </a:ext>
                </a:extLst>
              </p:cNvPr>
              <p:cNvSpPr/>
              <p:nvPr/>
            </p:nvSpPr>
            <p:spPr>
              <a:xfrm>
                <a:off x="3719147" y="303257"/>
                <a:ext cx="531191" cy="37981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ExtraLight"/>
                    <a:ea typeface="+mn-ea"/>
                    <a:cs typeface="+mn-cs"/>
                  </a:rPr>
                  <a:t>ACI</a:t>
                </a:r>
              </a:p>
            </p:txBody>
          </p:sp>
        </p:grpSp>
        <p:grpSp>
          <p:nvGrpSpPr>
            <p:cNvPr id="1241" name="Group 1240">
              <a:extLst>
                <a:ext uri="{FF2B5EF4-FFF2-40B4-BE49-F238E27FC236}">
                  <a16:creationId xmlns:a16="http://schemas.microsoft.com/office/drawing/2014/main" id="{D2A0EDF5-1337-400A-BE75-7AD7FB819FB7}"/>
                </a:ext>
              </a:extLst>
            </p:cNvPr>
            <p:cNvGrpSpPr/>
            <p:nvPr/>
          </p:nvGrpSpPr>
          <p:grpSpPr>
            <a:xfrm flipH="1">
              <a:off x="6300162" y="1743106"/>
              <a:ext cx="988102" cy="379815"/>
              <a:chOff x="3719147" y="303257"/>
              <a:chExt cx="604759" cy="379815"/>
            </a:xfrm>
            <a:solidFill>
              <a:schemeClr val="accent5"/>
            </a:solidFill>
          </p:grpSpPr>
          <p:sp>
            <p:nvSpPr>
              <p:cNvPr id="1594" name="Isosceles Triangle 1593">
                <a:extLst>
                  <a:ext uri="{FF2B5EF4-FFF2-40B4-BE49-F238E27FC236}">
                    <a16:creationId xmlns:a16="http://schemas.microsoft.com/office/drawing/2014/main" id="{5FEE5786-898D-4798-AC61-B412F1D2CF0C}"/>
                  </a:ext>
                </a:extLst>
              </p:cNvPr>
              <p:cNvSpPr/>
              <p:nvPr/>
            </p:nvSpPr>
            <p:spPr>
              <a:xfrm rot="16200000" flipV="1">
                <a:off x="4151235" y="445280"/>
                <a:ext cx="212595" cy="132747"/>
              </a:xfrm>
              <a:prstGeom prst="triangl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95" name="Rectangle: Rounded Corners 1594">
                <a:extLst>
                  <a:ext uri="{FF2B5EF4-FFF2-40B4-BE49-F238E27FC236}">
                    <a16:creationId xmlns:a16="http://schemas.microsoft.com/office/drawing/2014/main" id="{C7CBAB78-8464-4A97-856A-A70AEFCFC164}"/>
                  </a:ext>
                </a:extLst>
              </p:cNvPr>
              <p:cNvSpPr/>
              <p:nvPr/>
            </p:nvSpPr>
            <p:spPr>
              <a:xfrm>
                <a:off x="3719147" y="303257"/>
                <a:ext cx="531191" cy="37981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FFFFFF"/>
                    </a:solidFill>
                    <a:effectLst/>
                    <a:uLnTx/>
                    <a:uFillTx/>
                    <a:latin typeface="CiscoSansTT ExtraLight"/>
                    <a:ea typeface="+mn-ea"/>
                    <a:cs typeface="+mn-cs"/>
                  </a:rPr>
                  <a:t>Tetration</a:t>
                </a: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grpSp>
          <p:nvGrpSpPr>
            <p:cNvPr id="1242" name="Group 1241">
              <a:extLst>
                <a:ext uri="{FF2B5EF4-FFF2-40B4-BE49-F238E27FC236}">
                  <a16:creationId xmlns:a16="http://schemas.microsoft.com/office/drawing/2014/main" id="{F6AA2D10-AC11-4E9E-B7EC-5A21EC8D95E3}"/>
                </a:ext>
              </a:extLst>
            </p:cNvPr>
            <p:cNvGrpSpPr/>
            <p:nvPr/>
          </p:nvGrpSpPr>
          <p:grpSpPr>
            <a:xfrm>
              <a:off x="4191318" y="2974615"/>
              <a:ext cx="1038940" cy="547377"/>
              <a:chOff x="3211398" y="200071"/>
              <a:chExt cx="1038940" cy="547377"/>
            </a:xfrm>
          </p:grpSpPr>
          <p:sp>
            <p:nvSpPr>
              <p:cNvPr id="1592" name="Isosceles Triangle 1591">
                <a:extLst>
                  <a:ext uri="{FF2B5EF4-FFF2-40B4-BE49-F238E27FC236}">
                    <a16:creationId xmlns:a16="http://schemas.microsoft.com/office/drawing/2014/main" id="{CD446350-1919-4223-A3E8-46D18E0AFDD1}"/>
                  </a:ext>
                </a:extLst>
              </p:cNvPr>
              <p:cNvSpPr/>
              <p:nvPr/>
            </p:nvSpPr>
            <p:spPr>
              <a:xfrm>
                <a:off x="3995204" y="200071"/>
                <a:ext cx="196113" cy="169063"/>
              </a:xfrm>
              <a:prstGeom prst="triangle">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93" name="Rectangle: Rounded Corners 1592">
                <a:extLst>
                  <a:ext uri="{FF2B5EF4-FFF2-40B4-BE49-F238E27FC236}">
                    <a16:creationId xmlns:a16="http://schemas.microsoft.com/office/drawing/2014/main" id="{A912515A-4B64-4521-850C-342EF35DA9FB}"/>
                  </a:ext>
                </a:extLst>
              </p:cNvPr>
              <p:cNvSpPr/>
              <p:nvPr/>
            </p:nvSpPr>
            <p:spPr>
              <a:xfrm>
                <a:off x="3211398" y="303257"/>
                <a:ext cx="1038940" cy="444191"/>
              </a:xfrm>
              <a:prstGeom prst="round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ExtraLight"/>
                    <a:ea typeface="+mn-ea"/>
                    <a:cs typeface="+mn-cs"/>
                  </a:rPr>
                  <a:t>Next-gen Firewall</a:t>
                </a:r>
              </a:p>
            </p:txBody>
          </p:sp>
        </p:grpSp>
        <p:pic>
          <p:nvPicPr>
            <p:cNvPr id="1243" name="Picture 1242">
              <a:extLst>
                <a:ext uri="{FF2B5EF4-FFF2-40B4-BE49-F238E27FC236}">
                  <a16:creationId xmlns:a16="http://schemas.microsoft.com/office/drawing/2014/main" id="{CFDBB106-3D66-4E41-BFB7-02CFFAEC9681}"/>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10166844" y="1305933"/>
              <a:ext cx="571661" cy="571661"/>
            </a:xfrm>
            <a:prstGeom prst="rect">
              <a:avLst/>
            </a:prstGeom>
          </p:spPr>
        </p:pic>
        <p:pic>
          <p:nvPicPr>
            <p:cNvPr id="1244" name="Picture 1243">
              <a:extLst>
                <a:ext uri="{FF2B5EF4-FFF2-40B4-BE49-F238E27FC236}">
                  <a16:creationId xmlns:a16="http://schemas.microsoft.com/office/drawing/2014/main" id="{C8052361-BC6F-4513-9C8B-1D43CC4C2F5C}"/>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10166620" y="3503871"/>
              <a:ext cx="571661" cy="571661"/>
            </a:xfrm>
            <a:prstGeom prst="rect">
              <a:avLst/>
            </a:prstGeom>
          </p:spPr>
        </p:pic>
        <p:grpSp>
          <p:nvGrpSpPr>
            <p:cNvPr id="1245" name="Group 1244">
              <a:extLst>
                <a:ext uri="{FF2B5EF4-FFF2-40B4-BE49-F238E27FC236}">
                  <a16:creationId xmlns:a16="http://schemas.microsoft.com/office/drawing/2014/main" id="{B36A7E8B-57E9-494B-93B6-71176649D0FD}"/>
                </a:ext>
              </a:extLst>
            </p:cNvPr>
            <p:cNvGrpSpPr/>
            <p:nvPr/>
          </p:nvGrpSpPr>
          <p:grpSpPr>
            <a:xfrm>
              <a:off x="9174195" y="2044203"/>
              <a:ext cx="1634293" cy="1273582"/>
              <a:chOff x="13792568" y="2044203"/>
              <a:chExt cx="1634293" cy="1273582"/>
            </a:xfrm>
          </p:grpSpPr>
          <p:grpSp>
            <p:nvGrpSpPr>
              <p:cNvPr id="1246" name="Group 1245">
                <a:extLst>
                  <a:ext uri="{FF2B5EF4-FFF2-40B4-BE49-F238E27FC236}">
                    <a16:creationId xmlns:a16="http://schemas.microsoft.com/office/drawing/2014/main" id="{4A79F6EB-95DB-42B7-A2D4-5FD53FA2B389}"/>
                  </a:ext>
                </a:extLst>
              </p:cNvPr>
              <p:cNvGrpSpPr/>
              <p:nvPr/>
            </p:nvGrpSpPr>
            <p:grpSpPr>
              <a:xfrm>
                <a:off x="14760091" y="2082895"/>
                <a:ext cx="618697" cy="448449"/>
                <a:chOff x="4207537" y="2273730"/>
                <a:chExt cx="598923" cy="434116"/>
              </a:xfrm>
            </p:grpSpPr>
            <p:grpSp>
              <p:nvGrpSpPr>
                <p:cNvPr id="1570" name="Group 1569">
                  <a:extLst>
                    <a:ext uri="{FF2B5EF4-FFF2-40B4-BE49-F238E27FC236}">
                      <a16:creationId xmlns:a16="http://schemas.microsoft.com/office/drawing/2014/main" id="{29CEBAF8-DDEC-4195-BB81-49433D66FAF4}"/>
                    </a:ext>
                  </a:extLst>
                </p:cNvPr>
                <p:cNvGrpSpPr/>
                <p:nvPr/>
              </p:nvGrpSpPr>
              <p:grpSpPr>
                <a:xfrm>
                  <a:off x="4207537" y="2273730"/>
                  <a:ext cx="179387" cy="434116"/>
                  <a:chOff x="2330274" y="3840316"/>
                  <a:chExt cx="238125" cy="576262"/>
                </a:xfrm>
              </p:grpSpPr>
              <p:sp>
                <p:nvSpPr>
                  <p:cNvPr id="1586" name="Freeform 201">
                    <a:extLst>
                      <a:ext uri="{FF2B5EF4-FFF2-40B4-BE49-F238E27FC236}">
                        <a16:creationId xmlns:a16="http://schemas.microsoft.com/office/drawing/2014/main" id="{1FB661F5-025A-4329-9F6A-EE4AC1A5F0D1}"/>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87" name="Line 202">
                    <a:extLst>
                      <a:ext uri="{FF2B5EF4-FFF2-40B4-BE49-F238E27FC236}">
                        <a16:creationId xmlns:a16="http://schemas.microsoft.com/office/drawing/2014/main" id="{7A2085DC-81A5-410B-9682-41BBCD36A826}"/>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88" name="Line 203">
                    <a:extLst>
                      <a:ext uri="{FF2B5EF4-FFF2-40B4-BE49-F238E27FC236}">
                        <a16:creationId xmlns:a16="http://schemas.microsoft.com/office/drawing/2014/main" id="{F889EC51-11AF-4BD3-AAA9-6E86BE596830}"/>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89" name="Line 204">
                    <a:extLst>
                      <a:ext uri="{FF2B5EF4-FFF2-40B4-BE49-F238E27FC236}">
                        <a16:creationId xmlns:a16="http://schemas.microsoft.com/office/drawing/2014/main" id="{204E980B-F85F-4B39-B71D-CD4A3BB18621}"/>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90" name="Line 205">
                    <a:extLst>
                      <a:ext uri="{FF2B5EF4-FFF2-40B4-BE49-F238E27FC236}">
                        <a16:creationId xmlns:a16="http://schemas.microsoft.com/office/drawing/2014/main" id="{6DAA45F0-907E-4F34-95EF-4356018D928F}"/>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91" name="Line 206">
                    <a:extLst>
                      <a:ext uri="{FF2B5EF4-FFF2-40B4-BE49-F238E27FC236}">
                        <a16:creationId xmlns:a16="http://schemas.microsoft.com/office/drawing/2014/main" id="{57D925C9-EF83-417D-AD9E-740E972B666B}"/>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571" name="Group 1570">
                  <a:extLst>
                    <a:ext uri="{FF2B5EF4-FFF2-40B4-BE49-F238E27FC236}">
                      <a16:creationId xmlns:a16="http://schemas.microsoft.com/office/drawing/2014/main" id="{73092EE1-3835-471A-B2B8-8136933FEBD1}"/>
                    </a:ext>
                  </a:extLst>
                </p:cNvPr>
                <p:cNvGrpSpPr/>
                <p:nvPr/>
              </p:nvGrpSpPr>
              <p:grpSpPr>
                <a:xfrm>
                  <a:off x="4417305" y="2273730"/>
                  <a:ext cx="179387" cy="434116"/>
                  <a:chOff x="2330274" y="3840316"/>
                  <a:chExt cx="238125" cy="576262"/>
                </a:xfrm>
              </p:grpSpPr>
              <p:sp>
                <p:nvSpPr>
                  <p:cNvPr id="1579" name="Freeform 201">
                    <a:extLst>
                      <a:ext uri="{FF2B5EF4-FFF2-40B4-BE49-F238E27FC236}">
                        <a16:creationId xmlns:a16="http://schemas.microsoft.com/office/drawing/2014/main" id="{8DEFA2D3-9E6A-4D47-8382-13CE99B672F7}"/>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80" name="Line 202">
                    <a:extLst>
                      <a:ext uri="{FF2B5EF4-FFF2-40B4-BE49-F238E27FC236}">
                        <a16:creationId xmlns:a16="http://schemas.microsoft.com/office/drawing/2014/main" id="{E0B7C1AF-D777-488D-BD69-017BDBEA4A37}"/>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81" name="Line 203">
                    <a:extLst>
                      <a:ext uri="{FF2B5EF4-FFF2-40B4-BE49-F238E27FC236}">
                        <a16:creationId xmlns:a16="http://schemas.microsoft.com/office/drawing/2014/main" id="{2290C4BE-AF3D-4B61-9159-1526FFFB8111}"/>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83" name="Line 204">
                    <a:extLst>
                      <a:ext uri="{FF2B5EF4-FFF2-40B4-BE49-F238E27FC236}">
                        <a16:creationId xmlns:a16="http://schemas.microsoft.com/office/drawing/2014/main" id="{AE953B7E-DE29-4A61-AA61-A9304F60A06D}"/>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84" name="Line 205">
                    <a:extLst>
                      <a:ext uri="{FF2B5EF4-FFF2-40B4-BE49-F238E27FC236}">
                        <a16:creationId xmlns:a16="http://schemas.microsoft.com/office/drawing/2014/main" id="{234404E5-661B-4FEE-9FDC-7441080C275D}"/>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85" name="Line 206">
                    <a:extLst>
                      <a:ext uri="{FF2B5EF4-FFF2-40B4-BE49-F238E27FC236}">
                        <a16:creationId xmlns:a16="http://schemas.microsoft.com/office/drawing/2014/main" id="{C7EEFCFD-9ADF-4188-A5C6-A0513E753ECF}"/>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572" name="Group 1571">
                  <a:extLst>
                    <a:ext uri="{FF2B5EF4-FFF2-40B4-BE49-F238E27FC236}">
                      <a16:creationId xmlns:a16="http://schemas.microsoft.com/office/drawing/2014/main" id="{9AE47CC8-77F0-4F09-A4D3-CAEB04ED8779}"/>
                    </a:ext>
                  </a:extLst>
                </p:cNvPr>
                <p:cNvGrpSpPr/>
                <p:nvPr/>
              </p:nvGrpSpPr>
              <p:grpSpPr>
                <a:xfrm>
                  <a:off x="4627073" y="2273730"/>
                  <a:ext cx="179387" cy="434116"/>
                  <a:chOff x="2330274" y="3840316"/>
                  <a:chExt cx="238125" cy="576262"/>
                </a:xfrm>
              </p:grpSpPr>
              <p:sp>
                <p:nvSpPr>
                  <p:cNvPr id="1573" name="Freeform 201">
                    <a:extLst>
                      <a:ext uri="{FF2B5EF4-FFF2-40B4-BE49-F238E27FC236}">
                        <a16:creationId xmlns:a16="http://schemas.microsoft.com/office/drawing/2014/main" id="{A10483D0-9191-43EC-B755-74CB0CF70BBE}"/>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74" name="Line 202">
                    <a:extLst>
                      <a:ext uri="{FF2B5EF4-FFF2-40B4-BE49-F238E27FC236}">
                        <a16:creationId xmlns:a16="http://schemas.microsoft.com/office/drawing/2014/main" id="{E35C8692-1665-4694-8E55-22EDCBE02428}"/>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75" name="Line 203">
                    <a:extLst>
                      <a:ext uri="{FF2B5EF4-FFF2-40B4-BE49-F238E27FC236}">
                        <a16:creationId xmlns:a16="http://schemas.microsoft.com/office/drawing/2014/main" id="{F6ED8672-2256-42DF-BE09-B2A2128E0FA1}"/>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76" name="Line 204">
                    <a:extLst>
                      <a:ext uri="{FF2B5EF4-FFF2-40B4-BE49-F238E27FC236}">
                        <a16:creationId xmlns:a16="http://schemas.microsoft.com/office/drawing/2014/main" id="{689B48D1-C2FC-4BFD-B688-948853EC2C94}"/>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77" name="Line 205">
                    <a:extLst>
                      <a:ext uri="{FF2B5EF4-FFF2-40B4-BE49-F238E27FC236}">
                        <a16:creationId xmlns:a16="http://schemas.microsoft.com/office/drawing/2014/main" id="{4AC3F6E8-6544-457A-9676-C057EAADFE53}"/>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78" name="Line 206">
                    <a:extLst>
                      <a:ext uri="{FF2B5EF4-FFF2-40B4-BE49-F238E27FC236}">
                        <a16:creationId xmlns:a16="http://schemas.microsoft.com/office/drawing/2014/main" id="{CE795CC9-B35D-4112-9C63-132E5B94B251}"/>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1247" name="Group 1246">
                <a:extLst>
                  <a:ext uri="{FF2B5EF4-FFF2-40B4-BE49-F238E27FC236}">
                    <a16:creationId xmlns:a16="http://schemas.microsoft.com/office/drawing/2014/main" id="{19A26E19-2453-4BD8-8F1A-6BE9688A625E}"/>
                  </a:ext>
                </a:extLst>
              </p:cNvPr>
              <p:cNvGrpSpPr/>
              <p:nvPr/>
            </p:nvGrpSpPr>
            <p:grpSpPr>
              <a:xfrm>
                <a:off x="14760091" y="2835347"/>
                <a:ext cx="618697" cy="448449"/>
                <a:chOff x="4207537" y="2273730"/>
                <a:chExt cx="598923" cy="434116"/>
              </a:xfrm>
            </p:grpSpPr>
            <p:grpSp>
              <p:nvGrpSpPr>
                <p:cNvPr id="1549" name="Group 1548">
                  <a:extLst>
                    <a:ext uri="{FF2B5EF4-FFF2-40B4-BE49-F238E27FC236}">
                      <a16:creationId xmlns:a16="http://schemas.microsoft.com/office/drawing/2014/main" id="{C1C6FA4A-701B-44CE-9323-BEA12E1AE31A}"/>
                    </a:ext>
                  </a:extLst>
                </p:cNvPr>
                <p:cNvGrpSpPr/>
                <p:nvPr/>
              </p:nvGrpSpPr>
              <p:grpSpPr>
                <a:xfrm>
                  <a:off x="4207537" y="2273730"/>
                  <a:ext cx="179387" cy="434116"/>
                  <a:chOff x="2330274" y="3840316"/>
                  <a:chExt cx="238125" cy="576262"/>
                </a:xfrm>
              </p:grpSpPr>
              <p:sp>
                <p:nvSpPr>
                  <p:cNvPr id="1564" name="Freeform 201">
                    <a:extLst>
                      <a:ext uri="{FF2B5EF4-FFF2-40B4-BE49-F238E27FC236}">
                        <a16:creationId xmlns:a16="http://schemas.microsoft.com/office/drawing/2014/main" id="{99C103C8-B6B5-4843-9620-4D417A55A05E}"/>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65" name="Line 202">
                    <a:extLst>
                      <a:ext uri="{FF2B5EF4-FFF2-40B4-BE49-F238E27FC236}">
                        <a16:creationId xmlns:a16="http://schemas.microsoft.com/office/drawing/2014/main" id="{425D771B-C919-4462-8BD3-230291587F55}"/>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66" name="Line 203">
                    <a:extLst>
                      <a:ext uri="{FF2B5EF4-FFF2-40B4-BE49-F238E27FC236}">
                        <a16:creationId xmlns:a16="http://schemas.microsoft.com/office/drawing/2014/main" id="{CF3EF8C3-4134-4031-A484-DEF331686BCA}"/>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67" name="Line 204">
                    <a:extLst>
                      <a:ext uri="{FF2B5EF4-FFF2-40B4-BE49-F238E27FC236}">
                        <a16:creationId xmlns:a16="http://schemas.microsoft.com/office/drawing/2014/main" id="{52A1FD76-5B72-4E38-A557-10E9828739CD}"/>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68" name="Line 205">
                    <a:extLst>
                      <a:ext uri="{FF2B5EF4-FFF2-40B4-BE49-F238E27FC236}">
                        <a16:creationId xmlns:a16="http://schemas.microsoft.com/office/drawing/2014/main" id="{3094CABE-D2F9-4E76-9153-48486ED604B2}"/>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69" name="Line 206">
                    <a:extLst>
                      <a:ext uri="{FF2B5EF4-FFF2-40B4-BE49-F238E27FC236}">
                        <a16:creationId xmlns:a16="http://schemas.microsoft.com/office/drawing/2014/main" id="{DBF682A2-4C61-4019-8A11-C90F1DD7097B}"/>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550" name="Group 1549">
                  <a:extLst>
                    <a:ext uri="{FF2B5EF4-FFF2-40B4-BE49-F238E27FC236}">
                      <a16:creationId xmlns:a16="http://schemas.microsoft.com/office/drawing/2014/main" id="{2767DD8E-351F-41FB-BC57-73BA1474F0E0}"/>
                    </a:ext>
                  </a:extLst>
                </p:cNvPr>
                <p:cNvGrpSpPr/>
                <p:nvPr/>
              </p:nvGrpSpPr>
              <p:grpSpPr>
                <a:xfrm>
                  <a:off x="4417305" y="2273730"/>
                  <a:ext cx="179387" cy="434116"/>
                  <a:chOff x="2330274" y="3840316"/>
                  <a:chExt cx="238125" cy="576262"/>
                </a:xfrm>
              </p:grpSpPr>
              <p:sp>
                <p:nvSpPr>
                  <p:cNvPr id="1558" name="Freeform 201">
                    <a:extLst>
                      <a:ext uri="{FF2B5EF4-FFF2-40B4-BE49-F238E27FC236}">
                        <a16:creationId xmlns:a16="http://schemas.microsoft.com/office/drawing/2014/main" id="{322923AA-BD90-444B-B4EE-4C2AB7062D6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59" name="Line 202">
                    <a:extLst>
                      <a:ext uri="{FF2B5EF4-FFF2-40B4-BE49-F238E27FC236}">
                        <a16:creationId xmlns:a16="http://schemas.microsoft.com/office/drawing/2014/main" id="{002BDF41-81CE-48CD-B066-891F0854AE54}"/>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60" name="Line 203">
                    <a:extLst>
                      <a:ext uri="{FF2B5EF4-FFF2-40B4-BE49-F238E27FC236}">
                        <a16:creationId xmlns:a16="http://schemas.microsoft.com/office/drawing/2014/main" id="{65D8CF1A-9E39-428A-A7E6-9728666A9563}"/>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61" name="Line 204">
                    <a:extLst>
                      <a:ext uri="{FF2B5EF4-FFF2-40B4-BE49-F238E27FC236}">
                        <a16:creationId xmlns:a16="http://schemas.microsoft.com/office/drawing/2014/main" id="{DF712DEB-FFA3-4DE7-A876-8C4E2A8AABA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62" name="Line 205">
                    <a:extLst>
                      <a:ext uri="{FF2B5EF4-FFF2-40B4-BE49-F238E27FC236}">
                        <a16:creationId xmlns:a16="http://schemas.microsoft.com/office/drawing/2014/main" id="{DDAA4BE6-B40F-4FCD-87FE-837DF813987C}"/>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63" name="Line 206">
                    <a:extLst>
                      <a:ext uri="{FF2B5EF4-FFF2-40B4-BE49-F238E27FC236}">
                        <a16:creationId xmlns:a16="http://schemas.microsoft.com/office/drawing/2014/main" id="{4C12B1A6-5E9A-4B58-BE83-4F1114E15B11}"/>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551" name="Group 1550">
                  <a:extLst>
                    <a:ext uri="{FF2B5EF4-FFF2-40B4-BE49-F238E27FC236}">
                      <a16:creationId xmlns:a16="http://schemas.microsoft.com/office/drawing/2014/main" id="{DF3D2823-B99A-4278-B9B7-6D0548799372}"/>
                    </a:ext>
                  </a:extLst>
                </p:cNvPr>
                <p:cNvGrpSpPr/>
                <p:nvPr/>
              </p:nvGrpSpPr>
              <p:grpSpPr>
                <a:xfrm>
                  <a:off x="4627073" y="2273730"/>
                  <a:ext cx="179387" cy="434116"/>
                  <a:chOff x="2330274" y="3840316"/>
                  <a:chExt cx="238125" cy="576262"/>
                </a:xfrm>
              </p:grpSpPr>
              <p:sp>
                <p:nvSpPr>
                  <p:cNvPr id="1552" name="Freeform 201">
                    <a:extLst>
                      <a:ext uri="{FF2B5EF4-FFF2-40B4-BE49-F238E27FC236}">
                        <a16:creationId xmlns:a16="http://schemas.microsoft.com/office/drawing/2014/main" id="{787F6FB8-4F7E-4BAA-B068-55C7DFC1AEE5}"/>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53" name="Line 202">
                    <a:extLst>
                      <a:ext uri="{FF2B5EF4-FFF2-40B4-BE49-F238E27FC236}">
                        <a16:creationId xmlns:a16="http://schemas.microsoft.com/office/drawing/2014/main" id="{9E398001-83F5-4B33-8CE7-39D6E5FE202F}"/>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54" name="Line 203">
                    <a:extLst>
                      <a:ext uri="{FF2B5EF4-FFF2-40B4-BE49-F238E27FC236}">
                        <a16:creationId xmlns:a16="http://schemas.microsoft.com/office/drawing/2014/main" id="{AF1BE8B6-9CED-4776-82D3-8E759DFD84C7}"/>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55" name="Line 204">
                    <a:extLst>
                      <a:ext uri="{FF2B5EF4-FFF2-40B4-BE49-F238E27FC236}">
                        <a16:creationId xmlns:a16="http://schemas.microsoft.com/office/drawing/2014/main" id="{B451633F-9CA9-48B6-88E4-08F62EEB5D0D}"/>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56" name="Line 205">
                    <a:extLst>
                      <a:ext uri="{FF2B5EF4-FFF2-40B4-BE49-F238E27FC236}">
                        <a16:creationId xmlns:a16="http://schemas.microsoft.com/office/drawing/2014/main" id="{1DC0E0DB-08B2-477D-AA76-AE50EDC929E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57" name="Line 206">
                    <a:extLst>
                      <a:ext uri="{FF2B5EF4-FFF2-40B4-BE49-F238E27FC236}">
                        <a16:creationId xmlns:a16="http://schemas.microsoft.com/office/drawing/2014/main" id="{F8924845-0B09-4880-9D89-9892F155FCDE}"/>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cxnSp>
            <p:nvCxnSpPr>
              <p:cNvPr id="1248" name="Connector: Elbow 1247">
                <a:extLst>
                  <a:ext uri="{FF2B5EF4-FFF2-40B4-BE49-F238E27FC236}">
                    <a16:creationId xmlns:a16="http://schemas.microsoft.com/office/drawing/2014/main" id="{80FEDD75-7F1B-4B6E-9DC6-B83370670EE6}"/>
                  </a:ext>
                </a:extLst>
              </p:cNvPr>
              <p:cNvCxnSpPr>
                <a:cxnSpLocks/>
              </p:cNvCxnSpPr>
              <p:nvPr/>
            </p:nvCxnSpPr>
            <p:spPr>
              <a:xfrm rot="5400000">
                <a:off x="14479062" y="2405535"/>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49" name="Connector: Elbow 1248">
                <a:extLst>
                  <a:ext uri="{FF2B5EF4-FFF2-40B4-BE49-F238E27FC236}">
                    <a16:creationId xmlns:a16="http://schemas.microsoft.com/office/drawing/2014/main" id="{AB6722A9-D2EE-4A25-93B7-F488BB8563F0}"/>
                  </a:ext>
                </a:extLst>
              </p:cNvPr>
              <p:cNvCxnSpPr>
                <a:cxnSpLocks/>
              </p:cNvCxnSpPr>
              <p:nvPr/>
            </p:nvCxnSpPr>
            <p:spPr>
              <a:xfrm rot="16200000" flipV="1">
                <a:off x="14479062" y="2785822"/>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1250" name="Group 1249">
                <a:extLst>
                  <a:ext uri="{FF2B5EF4-FFF2-40B4-BE49-F238E27FC236}">
                    <a16:creationId xmlns:a16="http://schemas.microsoft.com/office/drawing/2014/main" id="{8603E312-DC55-4577-AF7B-7D0B864C869F}"/>
                  </a:ext>
                </a:extLst>
              </p:cNvPr>
              <p:cNvGrpSpPr/>
              <p:nvPr/>
            </p:nvGrpSpPr>
            <p:grpSpPr>
              <a:xfrm>
                <a:off x="14459054" y="2953858"/>
                <a:ext cx="226628" cy="226628"/>
                <a:chOff x="1358899" y="2193925"/>
                <a:chExt cx="390525" cy="390525"/>
              </a:xfrm>
            </p:grpSpPr>
            <p:sp>
              <p:nvSpPr>
                <p:cNvPr id="1408" name="Rectangle: Rounded Corners 1407">
                  <a:extLst>
                    <a:ext uri="{FF2B5EF4-FFF2-40B4-BE49-F238E27FC236}">
                      <a16:creationId xmlns:a16="http://schemas.microsoft.com/office/drawing/2014/main" id="{50DB810F-02B7-41E0-9B29-CBF3202AC570}"/>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409" name="Group 1408">
                  <a:extLst>
                    <a:ext uri="{FF2B5EF4-FFF2-40B4-BE49-F238E27FC236}">
                      <a16:creationId xmlns:a16="http://schemas.microsoft.com/office/drawing/2014/main" id="{8B042A2B-FBF2-421D-9B32-EC269D376B17}"/>
                    </a:ext>
                  </a:extLst>
                </p:cNvPr>
                <p:cNvGrpSpPr/>
                <p:nvPr/>
              </p:nvGrpSpPr>
              <p:grpSpPr>
                <a:xfrm>
                  <a:off x="1420588" y="2248963"/>
                  <a:ext cx="267146" cy="280448"/>
                  <a:chOff x="1401763" y="2228851"/>
                  <a:chExt cx="307974" cy="323308"/>
                </a:xfrm>
              </p:grpSpPr>
              <p:grpSp>
                <p:nvGrpSpPr>
                  <p:cNvPr id="1410" name="Group 1409">
                    <a:extLst>
                      <a:ext uri="{FF2B5EF4-FFF2-40B4-BE49-F238E27FC236}">
                        <a16:creationId xmlns:a16="http://schemas.microsoft.com/office/drawing/2014/main" id="{0274B9FE-3CD8-4F6F-8D46-A30497F6ABA5}"/>
                      </a:ext>
                    </a:extLst>
                  </p:cNvPr>
                  <p:cNvGrpSpPr/>
                  <p:nvPr/>
                </p:nvGrpSpPr>
                <p:grpSpPr>
                  <a:xfrm>
                    <a:off x="1482725" y="2295526"/>
                    <a:ext cx="227012" cy="256633"/>
                    <a:chOff x="1482725" y="2276476"/>
                    <a:chExt cx="227012" cy="256633"/>
                  </a:xfrm>
                  <a:solidFill>
                    <a:schemeClr val="bg2"/>
                  </a:solidFill>
                </p:grpSpPr>
                <p:sp>
                  <p:nvSpPr>
                    <p:cNvPr id="1414" name="Freeform 33">
                      <a:extLst>
                        <a:ext uri="{FF2B5EF4-FFF2-40B4-BE49-F238E27FC236}">
                          <a16:creationId xmlns:a16="http://schemas.microsoft.com/office/drawing/2014/main" id="{C147031E-4880-446F-AFB5-50CCF0062A86}"/>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48" name="Freeform 33">
                      <a:extLst>
                        <a:ext uri="{FF2B5EF4-FFF2-40B4-BE49-F238E27FC236}">
                          <a16:creationId xmlns:a16="http://schemas.microsoft.com/office/drawing/2014/main" id="{650C2650-5797-49CF-B8A7-651F8EBE1DFD}"/>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411" name="Group 1410">
                    <a:extLst>
                      <a:ext uri="{FF2B5EF4-FFF2-40B4-BE49-F238E27FC236}">
                        <a16:creationId xmlns:a16="http://schemas.microsoft.com/office/drawing/2014/main" id="{05A81FD5-E050-4674-9DB7-770FEA132F35}"/>
                      </a:ext>
                    </a:extLst>
                  </p:cNvPr>
                  <p:cNvGrpSpPr/>
                  <p:nvPr/>
                </p:nvGrpSpPr>
                <p:grpSpPr>
                  <a:xfrm flipH="1">
                    <a:off x="1401763" y="2228851"/>
                    <a:ext cx="227012" cy="256633"/>
                    <a:chOff x="1482725" y="2276476"/>
                    <a:chExt cx="227012" cy="256633"/>
                  </a:xfrm>
                </p:grpSpPr>
                <p:sp>
                  <p:nvSpPr>
                    <p:cNvPr id="1412" name="Freeform 33">
                      <a:extLst>
                        <a:ext uri="{FF2B5EF4-FFF2-40B4-BE49-F238E27FC236}">
                          <a16:creationId xmlns:a16="http://schemas.microsoft.com/office/drawing/2014/main" id="{0E5A692A-30A9-45BB-B310-E6B9E84C9033}"/>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13" name="Freeform 33">
                      <a:extLst>
                        <a:ext uri="{FF2B5EF4-FFF2-40B4-BE49-F238E27FC236}">
                          <a16:creationId xmlns:a16="http://schemas.microsoft.com/office/drawing/2014/main" id="{F77B9FD7-1F29-4986-A7F8-3345FE059ADD}"/>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1251" name="Group 1250">
                <a:extLst>
                  <a:ext uri="{FF2B5EF4-FFF2-40B4-BE49-F238E27FC236}">
                    <a16:creationId xmlns:a16="http://schemas.microsoft.com/office/drawing/2014/main" id="{AA9944A0-9DB5-4F45-9190-3EFA46D8BD9A}"/>
                  </a:ext>
                </a:extLst>
              </p:cNvPr>
              <p:cNvGrpSpPr/>
              <p:nvPr/>
            </p:nvGrpSpPr>
            <p:grpSpPr>
              <a:xfrm>
                <a:off x="14459054" y="2210215"/>
                <a:ext cx="226628" cy="226628"/>
                <a:chOff x="1358899" y="2193925"/>
                <a:chExt cx="390525" cy="390525"/>
              </a:xfrm>
            </p:grpSpPr>
            <p:sp>
              <p:nvSpPr>
                <p:cNvPr id="1384" name="Rectangle: Rounded Corners 1383">
                  <a:extLst>
                    <a:ext uri="{FF2B5EF4-FFF2-40B4-BE49-F238E27FC236}">
                      <a16:creationId xmlns:a16="http://schemas.microsoft.com/office/drawing/2014/main" id="{8B8F3D56-CFA3-4547-BC1D-D9D3EF641F8C}"/>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385" name="Group 1384">
                  <a:extLst>
                    <a:ext uri="{FF2B5EF4-FFF2-40B4-BE49-F238E27FC236}">
                      <a16:creationId xmlns:a16="http://schemas.microsoft.com/office/drawing/2014/main" id="{1140312E-711A-4ABA-B82B-D2BF95F92411}"/>
                    </a:ext>
                  </a:extLst>
                </p:cNvPr>
                <p:cNvGrpSpPr/>
                <p:nvPr/>
              </p:nvGrpSpPr>
              <p:grpSpPr>
                <a:xfrm>
                  <a:off x="1420588" y="2248963"/>
                  <a:ext cx="267146" cy="280448"/>
                  <a:chOff x="1401763" y="2228851"/>
                  <a:chExt cx="307974" cy="323308"/>
                </a:xfrm>
              </p:grpSpPr>
              <p:grpSp>
                <p:nvGrpSpPr>
                  <p:cNvPr id="1386" name="Group 1385">
                    <a:extLst>
                      <a:ext uri="{FF2B5EF4-FFF2-40B4-BE49-F238E27FC236}">
                        <a16:creationId xmlns:a16="http://schemas.microsoft.com/office/drawing/2014/main" id="{D847D6DD-6122-4A52-8BCC-59B38DE722B2}"/>
                      </a:ext>
                    </a:extLst>
                  </p:cNvPr>
                  <p:cNvGrpSpPr/>
                  <p:nvPr/>
                </p:nvGrpSpPr>
                <p:grpSpPr>
                  <a:xfrm>
                    <a:off x="1482725" y="2295526"/>
                    <a:ext cx="227012" cy="256633"/>
                    <a:chOff x="1482725" y="2276476"/>
                    <a:chExt cx="227012" cy="256633"/>
                  </a:xfrm>
                  <a:solidFill>
                    <a:schemeClr val="bg2"/>
                  </a:solidFill>
                </p:grpSpPr>
                <p:sp>
                  <p:nvSpPr>
                    <p:cNvPr id="1390" name="Freeform 33">
                      <a:extLst>
                        <a:ext uri="{FF2B5EF4-FFF2-40B4-BE49-F238E27FC236}">
                          <a16:creationId xmlns:a16="http://schemas.microsoft.com/office/drawing/2014/main" id="{E7AF0FDF-0095-47A3-879B-602CC2659A5B}"/>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07" name="Freeform 33">
                      <a:extLst>
                        <a:ext uri="{FF2B5EF4-FFF2-40B4-BE49-F238E27FC236}">
                          <a16:creationId xmlns:a16="http://schemas.microsoft.com/office/drawing/2014/main" id="{211CD1A7-C3E1-4EF9-8577-673DF61F3691}"/>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387" name="Group 1386">
                    <a:extLst>
                      <a:ext uri="{FF2B5EF4-FFF2-40B4-BE49-F238E27FC236}">
                        <a16:creationId xmlns:a16="http://schemas.microsoft.com/office/drawing/2014/main" id="{6BFEDBFC-92C8-459B-B0A0-A2D25270E3AA}"/>
                      </a:ext>
                    </a:extLst>
                  </p:cNvPr>
                  <p:cNvGrpSpPr/>
                  <p:nvPr/>
                </p:nvGrpSpPr>
                <p:grpSpPr>
                  <a:xfrm flipH="1">
                    <a:off x="1401763" y="2228851"/>
                    <a:ext cx="227012" cy="256633"/>
                    <a:chOff x="1482725" y="2276476"/>
                    <a:chExt cx="227012" cy="256633"/>
                  </a:xfrm>
                </p:grpSpPr>
                <p:sp>
                  <p:nvSpPr>
                    <p:cNvPr id="1388" name="Freeform 33">
                      <a:extLst>
                        <a:ext uri="{FF2B5EF4-FFF2-40B4-BE49-F238E27FC236}">
                          <a16:creationId xmlns:a16="http://schemas.microsoft.com/office/drawing/2014/main" id="{496B13B4-2530-4A4D-A14D-1900F4F612EC}"/>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89" name="Freeform 33">
                      <a:extLst>
                        <a:ext uri="{FF2B5EF4-FFF2-40B4-BE49-F238E27FC236}">
                          <a16:creationId xmlns:a16="http://schemas.microsoft.com/office/drawing/2014/main" id="{5C7EE8EA-A20C-4365-BC1A-758FCFE134C5}"/>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1252" name="Group 1251">
                <a:extLst>
                  <a:ext uri="{FF2B5EF4-FFF2-40B4-BE49-F238E27FC236}">
                    <a16:creationId xmlns:a16="http://schemas.microsoft.com/office/drawing/2014/main" id="{00150455-ED0B-41D1-A41F-6617F3506D8C}"/>
                  </a:ext>
                </a:extLst>
              </p:cNvPr>
              <p:cNvGrpSpPr/>
              <p:nvPr/>
            </p:nvGrpSpPr>
            <p:grpSpPr>
              <a:xfrm>
                <a:off x="13832728" y="2465614"/>
                <a:ext cx="443632" cy="443680"/>
                <a:chOff x="542940" y="1857375"/>
                <a:chExt cx="914400" cy="914494"/>
              </a:xfrm>
            </p:grpSpPr>
            <p:sp>
              <p:nvSpPr>
                <p:cNvPr id="1274" name="Oval 1273">
                  <a:extLst>
                    <a:ext uri="{FF2B5EF4-FFF2-40B4-BE49-F238E27FC236}">
                      <a16:creationId xmlns:a16="http://schemas.microsoft.com/office/drawing/2014/main" id="{97C5143B-CFA2-4D7F-AFE8-C14A5C18496B}"/>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275" name="Group 4">
                  <a:extLst>
                    <a:ext uri="{FF2B5EF4-FFF2-40B4-BE49-F238E27FC236}">
                      <a16:creationId xmlns:a16="http://schemas.microsoft.com/office/drawing/2014/main" id="{05E5D744-B7B3-4B1C-AC2B-3767F37533E4}"/>
                    </a:ext>
                  </a:extLst>
                </p:cNvPr>
                <p:cNvGrpSpPr>
                  <a:grpSpLocks noChangeAspect="1"/>
                </p:cNvGrpSpPr>
                <p:nvPr/>
              </p:nvGrpSpPr>
              <p:grpSpPr bwMode="auto">
                <a:xfrm>
                  <a:off x="543174" y="1857375"/>
                  <a:ext cx="913932" cy="914494"/>
                  <a:chOff x="1261" y="0"/>
                  <a:chExt cx="3238" cy="3240"/>
                </a:xfrm>
                <a:solidFill>
                  <a:schemeClr val="tx2"/>
                </a:solidFill>
              </p:grpSpPr>
              <p:sp>
                <p:nvSpPr>
                  <p:cNvPr id="1276" name="Freeform 5">
                    <a:extLst>
                      <a:ext uri="{FF2B5EF4-FFF2-40B4-BE49-F238E27FC236}">
                        <a16:creationId xmlns:a16="http://schemas.microsoft.com/office/drawing/2014/main" id="{C039C7AA-2B4A-4ED2-9FCC-32E4D385E1DE}"/>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77" name="Freeform 6">
                    <a:extLst>
                      <a:ext uri="{FF2B5EF4-FFF2-40B4-BE49-F238E27FC236}">
                        <a16:creationId xmlns:a16="http://schemas.microsoft.com/office/drawing/2014/main" id="{D76E2D53-9454-4A34-8908-49E78336034A}"/>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61" name="Freeform 7">
                    <a:extLst>
                      <a:ext uri="{FF2B5EF4-FFF2-40B4-BE49-F238E27FC236}">
                        <a16:creationId xmlns:a16="http://schemas.microsoft.com/office/drawing/2014/main" id="{CC8E2DB6-FA08-479C-AF79-023ACA9565F3}"/>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62" name="Freeform 8">
                    <a:extLst>
                      <a:ext uri="{FF2B5EF4-FFF2-40B4-BE49-F238E27FC236}">
                        <a16:creationId xmlns:a16="http://schemas.microsoft.com/office/drawing/2014/main" id="{6F550DBC-86F5-4091-ADCB-B4EBC4A5F96B}"/>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65" name="Freeform 9">
                    <a:extLst>
                      <a:ext uri="{FF2B5EF4-FFF2-40B4-BE49-F238E27FC236}">
                        <a16:creationId xmlns:a16="http://schemas.microsoft.com/office/drawing/2014/main" id="{13534B18-6CD8-4CB6-B7DA-9180C7060537}"/>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66" name="Freeform 10">
                    <a:extLst>
                      <a:ext uri="{FF2B5EF4-FFF2-40B4-BE49-F238E27FC236}">
                        <a16:creationId xmlns:a16="http://schemas.microsoft.com/office/drawing/2014/main" id="{5C9841D6-7B3C-4FB6-9B50-604F18D18D47}"/>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68" name="Freeform 11">
                    <a:extLst>
                      <a:ext uri="{FF2B5EF4-FFF2-40B4-BE49-F238E27FC236}">
                        <a16:creationId xmlns:a16="http://schemas.microsoft.com/office/drawing/2014/main" id="{D1F5E1E6-4E48-4FFB-A304-121C46EFFACD}"/>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69" name="Freeform 12">
                    <a:extLst>
                      <a:ext uri="{FF2B5EF4-FFF2-40B4-BE49-F238E27FC236}">
                        <a16:creationId xmlns:a16="http://schemas.microsoft.com/office/drawing/2014/main" id="{AC916D9C-D57E-4C5B-8411-AF0ABF1CC4CA}"/>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70" name="Freeform 13">
                    <a:extLst>
                      <a:ext uri="{FF2B5EF4-FFF2-40B4-BE49-F238E27FC236}">
                        <a16:creationId xmlns:a16="http://schemas.microsoft.com/office/drawing/2014/main" id="{E652BD88-B2CC-4906-98B6-236A4D06B01A}"/>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73" name="Freeform 14">
                    <a:extLst>
                      <a:ext uri="{FF2B5EF4-FFF2-40B4-BE49-F238E27FC236}">
                        <a16:creationId xmlns:a16="http://schemas.microsoft.com/office/drawing/2014/main" id="{E6F165F0-F301-467B-9415-F82A564F176F}"/>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74" name="Freeform 15">
                    <a:extLst>
                      <a:ext uri="{FF2B5EF4-FFF2-40B4-BE49-F238E27FC236}">
                        <a16:creationId xmlns:a16="http://schemas.microsoft.com/office/drawing/2014/main" id="{383E183B-E2AD-499C-8FD1-B6BCA6AFB980}"/>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75" name="Freeform 16">
                    <a:extLst>
                      <a:ext uri="{FF2B5EF4-FFF2-40B4-BE49-F238E27FC236}">
                        <a16:creationId xmlns:a16="http://schemas.microsoft.com/office/drawing/2014/main" id="{4780FD82-45B7-482C-8719-3214B3AB5D79}"/>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76" name="Freeform 17">
                    <a:extLst>
                      <a:ext uri="{FF2B5EF4-FFF2-40B4-BE49-F238E27FC236}">
                        <a16:creationId xmlns:a16="http://schemas.microsoft.com/office/drawing/2014/main" id="{DC8B97AA-A09E-4444-8E8F-5E3BBE6AD68B}"/>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77" name="Freeform 18">
                    <a:extLst>
                      <a:ext uri="{FF2B5EF4-FFF2-40B4-BE49-F238E27FC236}">
                        <a16:creationId xmlns:a16="http://schemas.microsoft.com/office/drawing/2014/main" id="{BDA6B067-B3D4-4052-8F52-926C49209827}"/>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78" name="Freeform 19">
                    <a:extLst>
                      <a:ext uri="{FF2B5EF4-FFF2-40B4-BE49-F238E27FC236}">
                        <a16:creationId xmlns:a16="http://schemas.microsoft.com/office/drawing/2014/main" id="{97A9295D-E432-489E-B20E-F45EA571BA18}"/>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79" name="Freeform 20">
                    <a:extLst>
                      <a:ext uri="{FF2B5EF4-FFF2-40B4-BE49-F238E27FC236}">
                        <a16:creationId xmlns:a16="http://schemas.microsoft.com/office/drawing/2014/main" id="{3847FEAF-C773-42BD-A883-E174277A3350}"/>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80" name="Freeform 21">
                    <a:extLst>
                      <a:ext uri="{FF2B5EF4-FFF2-40B4-BE49-F238E27FC236}">
                        <a16:creationId xmlns:a16="http://schemas.microsoft.com/office/drawing/2014/main" id="{31AB7440-B3A7-4A67-AA17-D5747F02B272}"/>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81" name="Freeform 22">
                    <a:extLst>
                      <a:ext uri="{FF2B5EF4-FFF2-40B4-BE49-F238E27FC236}">
                        <a16:creationId xmlns:a16="http://schemas.microsoft.com/office/drawing/2014/main" id="{E5BB765F-092F-42C3-A9AC-93900F9815EF}"/>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82" name="Freeform 23">
                    <a:extLst>
                      <a:ext uri="{FF2B5EF4-FFF2-40B4-BE49-F238E27FC236}">
                        <a16:creationId xmlns:a16="http://schemas.microsoft.com/office/drawing/2014/main" id="{A629694C-0F6B-4B49-B2A8-6E7BED441937}"/>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83" name="Freeform 24">
                    <a:extLst>
                      <a:ext uri="{FF2B5EF4-FFF2-40B4-BE49-F238E27FC236}">
                        <a16:creationId xmlns:a16="http://schemas.microsoft.com/office/drawing/2014/main" id="{FAA11577-46BD-4C4C-9C23-791DA91DA2BC}"/>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sp>
            <p:nvSpPr>
              <p:cNvPr id="1253" name="Rectangle: Rounded Corners 1252">
                <a:extLst>
                  <a:ext uri="{FF2B5EF4-FFF2-40B4-BE49-F238E27FC236}">
                    <a16:creationId xmlns:a16="http://schemas.microsoft.com/office/drawing/2014/main" id="{4081F893-47AA-42BA-8692-82099B83781A}"/>
                  </a:ext>
                </a:extLst>
              </p:cNvPr>
              <p:cNvSpPr/>
              <p:nvPr/>
            </p:nvSpPr>
            <p:spPr>
              <a:xfrm>
                <a:off x="14718608" y="2044203"/>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54" name="Rectangle: Rounded Corners 1253">
                <a:extLst>
                  <a:ext uri="{FF2B5EF4-FFF2-40B4-BE49-F238E27FC236}">
                    <a16:creationId xmlns:a16="http://schemas.microsoft.com/office/drawing/2014/main" id="{B2AFD5C1-7013-447E-93CB-C722B22C5D79}"/>
                  </a:ext>
                </a:extLst>
              </p:cNvPr>
              <p:cNvSpPr/>
              <p:nvPr/>
            </p:nvSpPr>
            <p:spPr>
              <a:xfrm>
                <a:off x="14718608" y="2790238"/>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55" name="Rectangle: Rounded Corners 1254">
                <a:extLst>
                  <a:ext uri="{FF2B5EF4-FFF2-40B4-BE49-F238E27FC236}">
                    <a16:creationId xmlns:a16="http://schemas.microsoft.com/office/drawing/2014/main" id="{71C7BA8D-792B-4DAF-812D-00DFEDEEAE4C}"/>
                  </a:ext>
                </a:extLst>
              </p:cNvPr>
              <p:cNvSpPr/>
              <p:nvPr/>
            </p:nvSpPr>
            <p:spPr>
              <a:xfrm>
                <a:off x="14423501" y="2914850"/>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56" name="Rectangle: Rounded Corners 1255">
                <a:extLst>
                  <a:ext uri="{FF2B5EF4-FFF2-40B4-BE49-F238E27FC236}">
                    <a16:creationId xmlns:a16="http://schemas.microsoft.com/office/drawing/2014/main" id="{2B61F69B-5985-4763-A78E-72600848F801}"/>
                  </a:ext>
                </a:extLst>
              </p:cNvPr>
              <p:cNvSpPr/>
              <p:nvPr/>
            </p:nvSpPr>
            <p:spPr>
              <a:xfrm>
                <a:off x="14423501" y="2169141"/>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cxnSp>
            <p:nvCxnSpPr>
              <p:cNvPr id="1257" name="Straight Connector 1256">
                <a:extLst>
                  <a:ext uri="{FF2B5EF4-FFF2-40B4-BE49-F238E27FC236}">
                    <a16:creationId xmlns:a16="http://schemas.microsoft.com/office/drawing/2014/main" id="{D7ACE246-E1C3-4574-803B-AB7DA3A2ECA8}"/>
                  </a:ext>
                </a:extLst>
              </p:cNvPr>
              <p:cNvCxnSpPr>
                <a:stCxn id="1253" idx="2"/>
                <a:endCxn id="1254" idx="0"/>
              </p:cNvCxnSpPr>
              <p:nvPr/>
            </p:nvCxnSpPr>
            <p:spPr>
              <a:xfrm>
                <a:off x="15072735" y="2571750"/>
                <a:ext cx="0" cy="218488"/>
              </a:xfrm>
              <a:prstGeom prst="line">
                <a:avLst/>
              </a:prstGeom>
              <a:noFill/>
              <a:ln cap="rnd">
                <a:solidFill>
                  <a:schemeClr val="accent5"/>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1258" name="TextBox 1257">
                <a:extLst>
                  <a:ext uri="{FF2B5EF4-FFF2-40B4-BE49-F238E27FC236}">
                    <a16:creationId xmlns:a16="http://schemas.microsoft.com/office/drawing/2014/main" id="{0DA43480-121F-485D-BF40-07D81CD3CF04}"/>
                  </a:ext>
                </a:extLst>
              </p:cNvPr>
              <p:cNvSpPr txBox="1"/>
              <p:nvPr/>
            </p:nvSpPr>
            <p:spPr>
              <a:xfrm>
                <a:off x="13792568" y="2425448"/>
                <a:ext cx="526416" cy="519728"/>
              </a:xfrm>
              <a:prstGeom prst="ellipse">
                <a:avLst/>
              </a:prstGeom>
              <a:noFill/>
              <a:ln>
                <a:solidFill>
                  <a:schemeClr val="accent5">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59" name="Oval 1258">
                <a:extLst>
                  <a:ext uri="{FF2B5EF4-FFF2-40B4-BE49-F238E27FC236}">
                    <a16:creationId xmlns:a16="http://schemas.microsoft.com/office/drawing/2014/main" id="{9C24F530-12F6-4B97-B688-DE13ACAD37DD}"/>
                  </a:ext>
                </a:extLst>
              </p:cNvPr>
              <p:cNvSpPr/>
              <p:nvPr/>
            </p:nvSpPr>
            <p:spPr>
              <a:xfrm>
                <a:off x="13797042" y="2427829"/>
                <a:ext cx="517468" cy="517468"/>
              </a:xfrm>
              <a:prstGeom prst="ellipse">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sp>
        <p:nvSpPr>
          <p:cNvPr id="375" name="Rectangle 374">
            <a:extLst>
              <a:ext uri="{FF2B5EF4-FFF2-40B4-BE49-F238E27FC236}">
                <a16:creationId xmlns:a16="http://schemas.microsoft.com/office/drawing/2014/main" id="{533D7067-8DF9-48B1-BB03-47861415EDE4}"/>
              </a:ext>
            </a:extLst>
          </p:cNvPr>
          <p:cNvSpPr/>
          <p:nvPr/>
        </p:nvSpPr>
        <p:spPr>
          <a:xfrm>
            <a:off x="-1409" y="0"/>
            <a:ext cx="3048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3" name="TextBox 22">
            <a:extLst>
              <a:ext uri="{FF2B5EF4-FFF2-40B4-BE49-F238E27FC236}">
                <a16:creationId xmlns:a16="http://schemas.microsoft.com/office/drawing/2014/main" id="{CF3393CF-03E8-4CF0-A5FC-11D4DD9F6333}"/>
              </a:ext>
            </a:extLst>
          </p:cNvPr>
          <p:cNvSpPr txBox="1"/>
          <p:nvPr/>
        </p:nvSpPr>
        <p:spPr>
          <a:xfrm>
            <a:off x="386201" y="1341444"/>
            <a:ext cx="2427745" cy="3148554"/>
          </a:xfrm>
          <a:prstGeom prst="rect">
            <a:avLst/>
          </a:prstGeom>
          <a:noFill/>
        </p:spPr>
        <p:txBody>
          <a:bodyPr wrap="square" rtlCol="0" anchor="t">
            <a:spAutoFit/>
          </a:bodyPr>
          <a:lstStyle/>
          <a:p>
            <a:pPr marL="0" marR="0" lvl="0" indent="0" algn="l" defTabSz="685783" rtl="0" eaLnBrk="1" fontAlgn="base" latinLnBrk="0" hangingPunct="1">
              <a:lnSpc>
                <a:spcPct val="90000"/>
              </a:lnSpc>
              <a:spcBef>
                <a:spcPts val="600"/>
              </a:spcBef>
              <a:spcAft>
                <a:spcPct val="0"/>
              </a:spcAft>
              <a:buClrTx/>
              <a:buSzTx/>
              <a:buFontTx/>
              <a:buNone/>
              <a:tabLst/>
              <a:defRPr/>
            </a:pPr>
            <a:r>
              <a:rPr kumimoji="0" lang="en-US" sz="2400" b="1" i="0" u="none" strike="noStrike" kern="1200" cap="none" spc="0" normalizeH="0" baseline="0" noProof="0" dirty="0">
                <a:ln>
                  <a:noFill/>
                </a:ln>
                <a:solidFill>
                  <a:srgbClr val="005073"/>
                </a:solidFill>
                <a:effectLst/>
                <a:uLnTx/>
                <a:uFillTx/>
                <a:latin typeface="CiscoSansTT ExtraLight"/>
                <a:ea typeface="Apple LiGothic Medium"/>
                <a:cs typeface="Apple LiGothic Medium"/>
              </a:rPr>
              <a:t>Threat </a:t>
            </a:r>
            <a:br>
              <a:rPr kumimoji="0" lang="en-US" sz="2400" b="1" i="0" u="none" strike="noStrike" kern="1200" cap="none" spc="0" normalizeH="0" baseline="0" noProof="0" dirty="0">
                <a:ln>
                  <a:noFill/>
                </a:ln>
                <a:solidFill>
                  <a:srgbClr val="005073"/>
                </a:solidFill>
                <a:effectLst/>
                <a:uLnTx/>
                <a:uFillTx/>
                <a:latin typeface="CiscoSansTT ExtraLight"/>
                <a:ea typeface="Apple LiGothic Medium"/>
                <a:cs typeface="Apple LiGothic Medium"/>
              </a:rPr>
            </a:br>
            <a:r>
              <a:rPr kumimoji="0" lang="en-US" sz="2400" b="1" i="0" u="none" strike="noStrike" kern="1200" cap="none" spc="0" normalizeH="0" baseline="0" noProof="0" dirty="0">
                <a:ln>
                  <a:noFill/>
                </a:ln>
                <a:solidFill>
                  <a:srgbClr val="005073"/>
                </a:solidFill>
                <a:effectLst/>
                <a:uLnTx/>
                <a:uFillTx/>
                <a:latin typeface="CiscoSansTT ExtraLight"/>
                <a:ea typeface="Apple LiGothic Medium"/>
                <a:cs typeface="Apple LiGothic Medium"/>
              </a:rPr>
              <a:t>Protection:</a:t>
            </a:r>
            <a:r>
              <a:rPr kumimoji="0" lang="en-US" sz="2400" b="0" i="0" u="none" strike="noStrike" kern="1200" cap="none" spc="0" normalizeH="0" baseline="0" noProof="0" dirty="0">
                <a:ln>
                  <a:noFill/>
                </a:ln>
                <a:solidFill>
                  <a:srgbClr val="005073"/>
                </a:solidFill>
                <a:effectLst/>
                <a:uLnTx/>
                <a:uFillTx/>
                <a:latin typeface="CiscoSansTT ExtraLight"/>
                <a:ea typeface="Apple LiGothic Medium"/>
                <a:cs typeface="Apple LiGothic Medium"/>
              </a:rPr>
              <a:t> </a:t>
            </a:r>
            <a:br>
              <a:rPr kumimoji="0" lang="en-US" sz="2400" b="0" i="0" u="none" strike="noStrike" kern="1200" cap="none" spc="0" normalizeH="0" baseline="0" noProof="0" dirty="0">
                <a:ln>
                  <a:noFill/>
                </a:ln>
                <a:solidFill>
                  <a:srgbClr val="005073"/>
                </a:solidFill>
                <a:effectLst/>
                <a:uLnTx/>
                <a:uFillTx/>
                <a:latin typeface="CiscoSansTT ExtraLight"/>
                <a:ea typeface="Apple LiGothic Medium"/>
                <a:cs typeface="Apple LiGothic Medium"/>
              </a:rPr>
            </a:br>
            <a:r>
              <a:rPr kumimoji="0" lang="en-US" sz="2400" b="0" i="0" u="none" strike="noStrike" kern="1200" cap="none" spc="0" normalizeH="0" baseline="0" noProof="0" dirty="0">
                <a:ln>
                  <a:noFill/>
                </a:ln>
                <a:solidFill>
                  <a:srgbClr val="FFFFFF"/>
                </a:solidFill>
                <a:effectLst/>
                <a:uLnTx/>
                <a:uFillTx/>
                <a:latin typeface="CiscoSansTT ExtraLight"/>
                <a:ea typeface="Apple LiGothic Medium"/>
                <a:cs typeface="Apple LiGothic Medium"/>
              </a:rPr>
              <a:t>Stop the Breach</a:t>
            </a:r>
          </a:p>
          <a:p>
            <a:pPr marL="0" marR="0" lvl="0" indent="0" algn="l" defTabSz="685783" rtl="0" eaLnBrk="1" fontAlgn="base" latinLnBrk="0" hangingPunct="1">
              <a:lnSpc>
                <a:spcPct val="90000"/>
              </a:lnSpc>
              <a:spcBef>
                <a:spcPts val="60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iscoSansTT ExtraLight"/>
              <a:ea typeface="Apple LiGothic Medium"/>
              <a:cs typeface="Apple LiGothic Medium"/>
            </a:endParaRPr>
          </a:p>
          <a:p>
            <a:pPr marL="0" marR="0" lvl="0" indent="0" algn="l" defTabSz="685783" rtl="0" eaLnBrk="1" fontAlgn="base" latinLnBrk="0" hangingPunct="1">
              <a:lnSpc>
                <a:spcPct val="90000"/>
              </a:lnSpc>
              <a:spcBef>
                <a:spcPts val="60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Apple LiGothic Medium"/>
                <a:cs typeface="Apple LiGothic Medium"/>
              </a:rPr>
              <a:t>By strategically deploying </a:t>
            </a:r>
            <a:br>
              <a:rPr kumimoji="0" lang="en-US" sz="2000" b="0" i="0" u="none" strike="noStrike" kern="1200" cap="none" spc="0" normalizeH="0" baseline="0" noProof="0" dirty="0">
                <a:ln>
                  <a:noFill/>
                </a:ln>
                <a:solidFill>
                  <a:srgbClr val="FFFFFF"/>
                </a:solidFill>
                <a:effectLst/>
                <a:uLnTx/>
                <a:uFillTx/>
                <a:latin typeface="CiscoSansTT ExtraLight"/>
                <a:ea typeface="Apple LiGothic Medium"/>
                <a:cs typeface="Apple LiGothic Medium"/>
              </a:rPr>
            </a:br>
            <a:r>
              <a:rPr kumimoji="0" lang="en-US" sz="2000" b="0" i="0" u="none" strike="noStrike" kern="1200" cap="none" spc="0" normalizeH="0" baseline="0" noProof="0" dirty="0">
                <a:ln>
                  <a:noFill/>
                </a:ln>
                <a:solidFill>
                  <a:srgbClr val="FFFFFF"/>
                </a:solidFill>
                <a:effectLst/>
                <a:uLnTx/>
                <a:uFillTx/>
                <a:latin typeface="CiscoSansTT ExtraLight"/>
                <a:ea typeface="Apple LiGothic Medium"/>
                <a:cs typeface="Apple LiGothic Medium"/>
              </a:rPr>
              <a:t>threat sensors </a:t>
            </a:r>
            <a:br>
              <a:rPr kumimoji="0" lang="en-US" sz="2000" b="0" i="0" u="none" strike="noStrike" kern="1200" cap="none" spc="0" normalizeH="0" baseline="0" noProof="0" dirty="0">
                <a:ln>
                  <a:noFill/>
                </a:ln>
                <a:solidFill>
                  <a:srgbClr val="FFFFFF"/>
                </a:solidFill>
                <a:effectLst/>
                <a:uLnTx/>
                <a:uFillTx/>
                <a:latin typeface="CiscoSansTT ExtraLight"/>
                <a:ea typeface="Apple LiGothic Medium"/>
                <a:cs typeface="Apple LiGothic Medium"/>
              </a:rPr>
            </a:br>
            <a:r>
              <a:rPr kumimoji="0" lang="en-US" sz="2000" b="0" i="0" u="none" strike="noStrike" kern="1200" cap="none" spc="0" normalizeH="0" baseline="0" noProof="0" dirty="0">
                <a:ln>
                  <a:noFill/>
                </a:ln>
                <a:solidFill>
                  <a:srgbClr val="FFFFFF"/>
                </a:solidFill>
                <a:effectLst/>
                <a:uLnTx/>
                <a:uFillTx/>
                <a:latin typeface="CiscoSansTT ExtraLight"/>
                <a:ea typeface="Apple LiGothic Medium"/>
                <a:cs typeface="Apple LiGothic Medium"/>
              </a:rPr>
              <a:t>north-south, </a:t>
            </a:r>
            <a:br>
              <a:rPr kumimoji="0" lang="en-US" sz="2000" b="0" i="0" u="none" strike="noStrike" kern="1200" cap="none" spc="0" normalizeH="0" baseline="0" noProof="0" dirty="0">
                <a:ln>
                  <a:noFill/>
                </a:ln>
                <a:solidFill>
                  <a:srgbClr val="FFFFFF"/>
                </a:solidFill>
                <a:effectLst/>
                <a:uLnTx/>
                <a:uFillTx/>
                <a:latin typeface="CiscoSansTT ExtraLight"/>
                <a:ea typeface="Apple LiGothic Medium"/>
                <a:cs typeface="Apple LiGothic Medium"/>
              </a:rPr>
            </a:br>
            <a:r>
              <a:rPr kumimoji="0" lang="en-US" sz="2000" b="0" i="0" u="none" strike="noStrike" kern="1200" cap="none" spc="0" normalizeH="0" baseline="0" noProof="0" dirty="0">
                <a:ln>
                  <a:noFill/>
                </a:ln>
                <a:solidFill>
                  <a:srgbClr val="FFFFFF"/>
                </a:solidFill>
                <a:effectLst/>
                <a:uLnTx/>
                <a:uFillTx/>
                <a:latin typeface="CiscoSansTT ExtraLight"/>
                <a:ea typeface="Apple LiGothic Medium"/>
                <a:cs typeface="Apple LiGothic Medium"/>
              </a:rPr>
              <a:t>east-west</a:t>
            </a:r>
          </a:p>
          <a:p>
            <a:pPr marL="0" marR="0" lvl="0" indent="0" algn="l" defTabSz="685783" rtl="0" eaLnBrk="1" fontAlgn="base" latinLnBrk="0" hangingPunct="1">
              <a:lnSpc>
                <a:spcPct val="90000"/>
              </a:lnSpc>
              <a:spcBef>
                <a:spcPts val="60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iscoSansTT ExtraLight"/>
              <a:ea typeface="Apple LiGothic Medium"/>
              <a:cs typeface="Apple LiGothic Medium"/>
            </a:endParaRPr>
          </a:p>
        </p:txBody>
      </p:sp>
      <p:sp>
        <p:nvSpPr>
          <p:cNvPr id="36" name="TextBox 35">
            <a:extLst>
              <a:ext uri="{FF2B5EF4-FFF2-40B4-BE49-F238E27FC236}">
                <a16:creationId xmlns:a16="http://schemas.microsoft.com/office/drawing/2014/main" id="{FCC2024E-4C1C-491C-89B0-E218DD07924A}"/>
              </a:ext>
            </a:extLst>
          </p:cNvPr>
          <p:cNvSpPr txBox="1"/>
          <p:nvPr/>
        </p:nvSpPr>
        <p:spPr>
          <a:xfrm>
            <a:off x="470129" y="439837"/>
            <a:ext cx="485546" cy="258532"/>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00BCEB">
                    <a:lumMod val="75000"/>
                  </a:srgbClr>
                </a:solidFill>
                <a:effectLst/>
                <a:uLnTx/>
                <a:uFillTx/>
                <a:latin typeface="CiscoSansTT ExtraLight"/>
                <a:ea typeface="Apple LiGothic Medium"/>
                <a:cs typeface="Apple LiGothic Medium"/>
              </a:rPr>
              <a:t>01</a:t>
            </a:r>
          </a:p>
        </p:txBody>
      </p:sp>
      <p:sp>
        <p:nvSpPr>
          <p:cNvPr id="37" name="TextBox 36">
            <a:extLst>
              <a:ext uri="{FF2B5EF4-FFF2-40B4-BE49-F238E27FC236}">
                <a16:creationId xmlns:a16="http://schemas.microsoft.com/office/drawing/2014/main" id="{66B1CDC2-09F5-46B2-8C85-49C88B6107BE}"/>
              </a:ext>
            </a:extLst>
          </p:cNvPr>
          <p:cNvSpPr txBox="1"/>
          <p:nvPr/>
        </p:nvSpPr>
        <p:spPr>
          <a:xfrm>
            <a:off x="1624281" y="439837"/>
            <a:ext cx="485546" cy="258532"/>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ExtraLight"/>
                <a:ea typeface="Apple LiGothic Medium"/>
                <a:cs typeface="Apple LiGothic Medium"/>
              </a:rPr>
              <a:t>03</a:t>
            </a:r>
          </a:p>
        </p:txBody>
      </p:sp>
      <p:grpSp>
        <p:nvGrpSpPr>
          <p:cNvPr id="28" name="Group 27">
            <a:extLst>
              <a:ext uri="{FF2B5EF4-FFF2-40B4-BE49-F238E27FC236}">
                <a16:creationId xmlns:a16="http://schemas.microsoft.com/office/drawing/2014/main" id="{D509A774-3AF6-49E0-B164-3495FD8AB9F8}"/>
              </a:ext>
            </a:extLst>
          </p:cNvPr>
          <p:cNvGrpSpPr/>
          <p:nvPr/>
        </p:nvGrpSpPr>
        <p:grpSpPr>
          <a:xfrm>
            <a:off x="485585" y="710972"/>
            <a:ext cx="457390" cy="457390"/>
            <a:chOff x="485585" y="485585"/>
            <a:chExt cx="457390" cy="457390"/>
          </a:xfrm>
        </p:grpSpPr>
        <p:sp>
          <p:nvSpPr>
            <p:cNvPr id="5" name="Oval 4">
              <a:extLst>
                <a:ext uri="{FF2B5EF4-FFF2-40B4-BE49-F238E27FC236}">
                  <a16:creationId xmlns:a16="http://schemas.microsoft.com/office/drawing/2014/main" id="{61C01907-C391-464F-908A-D62C0216549E}"/>
                </a:ext>
              </a:extLst>
            </p:cNvPr>
            <p:cNvSpPr/>
            <p:nvPr/>
          </p:nvSpPr>
          <p:spPr>
            <a:xfrm>
              <a:off x="485585"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56" name="Group 55"/>
            <p:cNvGrpSpPr>
              <a:grpSpLocks noChangeAspect="1"/>
            </p:cNvGrpSpPr>
            <p:nvPr/>
          </p:nvGrpSpPr>
          <p:grpSpPr>
            <a:xfrm>
              <a:off x="553540" y="560453"/>
              <a:ext cx="318407" cy="318194"/>
              <a:chOff x="2471710" y="-1801813"/>
              <a:chExt cx="2363788" cy="2362200"/>
            </a:xfrm>
          </p:grpSpPr>
          <p:sp>
            <p:nvSpPr>
              <p:cNvPr id="52" name="Oval 36"/>
              <p:cNvSpPr>
                <a:spLocks noChangeArrowheads="1"/>
              </p:cNvSpPr>
              <p:nvPr/>
            </p:nvSpPr>
            <p:spPr bwMode="auto">
              <a:xfrm>
                <a:off x="2471710" y="-1801813"/>
                <a:ext cx="2363788" cy="2362200"/>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1" name="Freeform 35"/>
              <p:cNvSpPr>
                <a:spLocks/>
              </p:cNvSpPr>
              <p:nvPr/>
            </p:nvSpPr>
            <p:spPr bwMode="auto">
              <a:xfrm>
                <a:off x="2624138" y="-979488"/>
                <a:ext cx="2163763" cy="1539875"/>
              </a:xfrm>
              <a:custGeom>
                <a:avLst/>
                <a:gdLst>
                  <a:gd name="T0" fmla="*/ 574 w 574"/>
                  <a:gd name="T1" fmla="*/ 141 h 409"/>
                  <a:gd name="T2" fmla="*/ 527 w 574"/>
                  <a:gd name="T3" fmla="*/ 94 h 409"/>
                  <a:gd name="T4" fmla="*/ 507 w 574"/>
                  <a:gd name="T5" fmla="*/ 66 h 409"/>
                  <a:gd name="T6" fmla="*/ 505 w 574"/>
                  <a:gd name="T7" fmla="*/ 63 h 409"/>
                  <a:gd name="T8" fmla="*/ 501 w 574"/>
                  <a:gd name="T9" fmla="*/ 61 h 409"/>
                  <a:gd name="T10" fmla="*/ 499 w 574"/>
                  <a:gd name="T11" fmla="*/ 59 h 409"/>
                  <a:gd name="T12" fmla="*/ 494 w 574"/>
                  <a:gd name="T13" fmla="*/ 57 h 409"/>
                  <a:gd name="T14" fmla="*/ 493 w 574"/>
                  <a:gd name="T15" fmla="*/ 56 h 409"/>
                  <a:gd name="T16" fmla="*/ 487 w 574"/>
                  <a:gd name="T17" fmla="*/ 54 h 409"/>
                  <a:gd name="T18" fmla="*/ 485 w 574"/>
                  <a:gd name="T19" fmla="*/ 53 h 409"/>
                  <a:gd name="T20" fmla="*/ 482 w 574"/>
                  <a:gd name="T21" fmla="*/ 49 h 409"/>
                  <a:gd name="T22" fmla="*/ 479 w 574"/>
                  <a:gd name="T23" fmla="*/ 45 h 409"/>
                  <a:gd name="T24" fmla="*/ 479 w 574"/>
                  <a:gd name="T25" fmla="*/ 45 h 409"/>
                  <a:gd name="T26" fmla="*/ 475 w 574"/>
                  <a:gd name="T27" fmla="*/ 41 h 409"/>
                  <a:gd name="T28" fmla="*/ 475 w 574"/>
                  <a:gd name="T29" fmla="*/ 41 h 409"/>
                  <a:gd name="T30" fmla="*/ 471 w 574"/>
                  <a:gd name="T31" fmla="*/ 37 h 409"/>
                  <a:gd name="T32" fmla="*/ 471 w 574"/>
                  <a:gd name="T33" fmla="*/ 37 h 409"/>
                  <a:gd name="T34" fmla="*/ 466 w 574"/>
                  <a:gd name="T35" fmla="*/ 33 h 409"/>
                  <a:gd name="T36" fmla="*/ 399 w 574"/>
                  <a:gd name="T37" fmla="*/ 10 h 409"/>
                  <a:gd name="T38" fmla="*/ 327 w 574"/>
                  <a:gd name="T39" fmla="*/ 38 h 409"/>
                  <a:gd name="T40" fmla="*/ 265 w 574"/>
                  <a:gd name="T41" fmla="*/ 0 h 409"/>
                  <a:gd name="T42" fmla="*/ 256 w 574"/>
                  <a:gd name="T43" fmla="*/ 1 h 409"/>
                  <a:gd name="T44" fmla="*/ 253 w 574"/>
                  <a:gd name="T45" fmla="*/ 1 h 409"/>
                  <a:gd name="T46" fmla="*/ 251 w 574"/>
                  <a:gd name="T47" fmla="*/ 1 h 409"/>
                  <a:gd name="T48" fmla="*/ 249 w 574"/>
                  <a:gd name="T49" fmla="*/ 2 h 409"/>
                  <a:gd name="T50" fmla="*/ 247 w 574"/>
                  <a:gd name="T51" fmla="*/ 3 h 409"/>
                  <a:gd name="T52" fmla="*/ 244 w 574"/>
                  <a:gd name="T53" fmla="*/ 3 h 409"/>
                  <a:gd name="T54" fmla="*/ 242 w 574"/>
                  <a:gd name="T55" fmla="*/ 4 h 409"/>
                  <a:gd name="T56" fmla="*/ 240 w 574"/>
                  <a:gd name="T57" fmla="*/ 5 h 409"/>
                  <a:gd name="T58" fmla="*/ 238 w 574"/>
                  <a:gd name="T59" fmla="*/ 5 h 409"/>
                  <a:gd name="T60" fmla="*/ 236 w 574"/>
                  <a:gd name="T61" fmla="*/ 6 h 409"/>
                  <a:gd name="T62" fmla="*/ 234 w 574"/>
                  <a:gd name="T63" fmla="*/ 7 h 409"/>
                  <a:gd name="T64" fmla="*/ 232 w 574"/>
                  <a:gd name="T65" fmla="*/ 8 h 409"/>
                  <a:gd name="T66" fmla="*/ 230 w 574"/>
                  <a:gd name="T67" fmla="*/ 10 h 409"/>
                  <a:gd name="T68" fmla="*/ 228 w 574"/>
                  <a:gd name="T69" fmla="*/ 11 h 409"/>
                  <a:gd name="T70" fmla="*/ 225 w 574"/>
                  <a:gd name="T71" fmla="*/ 13 h 409"/>
                  <a:gd name="T72" fmla="*/ 223 w 574"/>
                  <a:gd name="T73" fmla="*/ 14 h 409"/>
                  <a:gd name="T74" fmla="*/ 221 w 574"/>
                  <a:gd name="T75" fmla="*/ 16 h 409"/>
                  <a:gd name="T76" fmla="*/ 220 w 574"/>
                  <a:gd name="T77" fmla="*/ 17 h 409"/>
                  <a:gd name="T78" fmla="*/ 218 w 574"/>
                  <a:gd name="T79" fmla="*/ 19 h 409"/>
                  <a:gd name="T80" fmla="*/ 216 w 574"/>
                  <a:gd name="T81" fmla="*/ 20 h 409"/>
                  <a:gd name="T82" fmla="*/ 215 w 574"/>
                  <a:gd name="T83" fmla="*/ 22 h 409"/>
                  <a:gd name="T84" fmla="*/ 213 w 574"/>
                  <a:gd name="T85" fmla="*/ 23 h 409"/>
                  <a:gd name="T86" fmla="*/ 212 w 574"/>
                  <a:gd name="T87" fmla="*/ 25 h 409"/>
                  <a:gd name="T88" fmla="*/ 210 w 574"/>
                  <a:gd name="T89" fmla="*/ 26 h 409"/>
                  <a:gd name="T90" fmla="*/ 209 w 574"/>
                  <a:gd name="T91" fmla="*/ 29 h 409"/>
                  <a:gd name="T92" fmla="*/ 208 w 574"/>
                  <a:gd name="T93" fmla="*/ 30 h 409"/>
                  <a:gd name="T94" fmla="*/ 206 w 574"/>
                  <a:gd name="T95" fmla="*/ 33 h 409"/>
                  <a:gd name="T96" fmla="*/ 205 w 574"/>
                  <a:gd name="T97" fmla="*/ 34 h 409"/>
                  <a:gd name="T98" fmla="*/ 203 w 574"/>
                  <a:gd name="T99" fmla="*/ 38 h 409"/>
                  <a:gd name="T100" fmla="*/ 131 w 574"/>
                  <a:gd name="T101" fmla="*/ 10 h 409"/>
                  <a:gd name="T102" fmla="*/ 45 w 574"/>
                  <a:gd name="T103" fmla="*/ 53 h 409"/>
                  <a:gd name="T104" fmla="*/ 39 w 574"/>
                  <a:gd name="T105" fmla="*/ 55 h 409"/>
                  <a:gd name="T106" fmla="*/ 38 w 574"/>
                  <a:gd name="T107" fmla="*/ 56 h 409"/>
                  <a:gd name="T108" fmla="*/ 33 w 574"/>
                  <a:gd name="T109" fmla="*/ 58 h 409"/>
                  <a:gd name="T110" fmla="*/ 32 w 574"/>
                  <a:gd name="T111" fmla="*/ 59 h 409"/>
                  <a:gd name="T112" fmla="*/ 21 w 574"/>
                  <a:gd name="T113" fmla="*/ 67 h 409"/>
                  <a:gd name="T114" fmla="*/ 0 w 574"/>
                  <a:gd name="T115" fmla="*/ 116 h 409"/>
                  <a:gd name="T116" fmla="*/ 45 w 574"/>
                  <a:gd name="T117" fmla="*/ 180 h 409"/>
                  <a:gd name="T118" fmla="*/ 75 w 574"/>
                  <a:gd name="T119" fmla="*/ 207 h 409"/>
                  <a:gd name="T120" fmla="*/ 277 w 574"/>
                  <a:gd name="T121" fmla="*/ 409 h 409"/>
                  <a:gd name="T122" fmla="*/ 574 w 574"/>
                  <a:gd name="T123" fmla="*/ 14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4" h="409">
                    <a:moveTo>
                      <a:pt x="574" y="141"/>
                    </a:moveTo>
                    <a:cubicBezTo>
                      <a:pt x="527" y="94"/>
                      <a:pt x="527" y="94"/>
                      <a:pt x="527" y="94"/>
                    </a:cubicBezTo>
                    <a:cubicBezTo>
                      <a:pt x="523" y="83"/>
                      <a:pt x="516" y="73"/>
                      <a:pt x="507" y="66"/>
                    </a:cubicBezTo>
                    <a:cubicBezTo>
                      <a:pt x="506" y="65"/>
                      <a:pt x="505" y="64"/>
                      <a:pt x="505" y="63"/>
                    </a:cubicBezTo>
                    <a:cubicBezTo>
                      <a:pt x="504" y="63"/>
                      <a:pt x="502" y="62"/>
                      <a:pt x="501" y="61"/>
                    </a:cubicBezTo>
                    <a:cubicBezTo>
                      <a:pt x="500" y="60"/>
                      <a:pt x="500" y="60"/>
                      <a:pt x="499" y="59"/>
                    </a:cubicBezTo>
                    <a:cubicBezTo>
                      <a:pt x="497" y="58"/>
                      <a:pt x="496" y="58"/>
                      <a:pt x="494" y="57"/>
                    </a:cubicBezTo>
                    <a:cubicBezTo>
                      <a:pt x="494" y="57"/>
                      <a:pt x="493" y="56"/>
                      <a:pt x="493" y="56"/>
                    </a:cubicBezTo>
                    <a:cubicBezTo>
                      <a:pt x="491" y="55"/>
                      <a:pt x="489" y="54"/>
                      <a:pt x="487" y="54"/>
                    </a:cubicBezTo>
                    <a:cubicBezTo>
                      <a:pt x="486" y="53"/>
                      <a:pt x="486" y="53"/>
                      <a:pt x="485" y="53"/>
                    </a:cubicBezTo>
                    <a:cubicBezTo>
                      <a:pt x="484" y="52"/>
                      <a:pt x="483" y="51"/>
                      <a:pt x="482" y="49"/>
                    </a:cubicBezTo>
                    <a:cubicBezTo>
                      <a:pt x="481" y="48"/>
                      <a:pt x="480" y="47"/>
                      <a:pt x="479" y="45"/>
                    </a:cubicBezTo>
                    <a:cubicBezTo>
                      <a:pt x="479" y="45"/>
                      <a:pt x="479" y="45"/>
                      <a:pt x="479" y="45"/>
                    </a:cubicBezTo>
                    <a:cubicBezTo>
                      <a:pt x="477" y="44"/>
                      <a:pt x="476" y="42"/>
                      <a:pt x="475" y="41"/>
                    </a:cubicBezTo>
                    <a:cubicBezTo>
                      <a:pt x="475" y="41"/>
                      <a:pt x="475" y="41"/>
                      <a:pt x="475" y="41"/>
                    </a:cubicBezTo>
                    <a:cubicBezTo>
                      <a:pt x="473" y="39"/>
                      <a:pt x="472" y="38"/>
                      <a:pt x="471" y="37"/>
                    </a:cubicBezTo>
                    <a:cubicBezTo>
                      <a:pt x="471" y="37"/>
                      <a:pt x="471" y="37"/>
                      <a:pt x="471" y="37"/>
                    </a:cubicBezTo>
                    <a:cubicBezTo>
                      <a:pt x="469" y="36"/>
                      <a:pt x="468" y="34"/>
                      <a:pt x="466" y="33"/>
                    </a:cubicBezTo>
                    <a:cubicBezTo>
                      <a:pt x="448" y="18"/>
                      <a:pt x="425" y="10"/>
                      <a:pt x="399" y="10"/>
                    </a:cubicBezTo>
                    <a:cubicBezTo>
                      <a:pt x="372" y="10"/>
                      <a:pt x="346" y="20"/>
                      <a:pt x="327" y="38"/>
                    </a:cubicBezTo>
                    <a:cubicBezTo>
                      <a:pt x="316" y="15"/>
                      <a:pt x="292" y="0"/>
                      <a:pt x="265" y="0"/>
                    </a:cubicBezTo>
                    <a:cubicBezTo>
                      <a:pt x="262" y="0"/>
                      <a:pt x="259" y="0"/>
                      <a:pt x="256" y="1"/>
                    </a:cubicBezTo>
                    <a:cubicBezTo>
                      <a:pt x="255" y="1"/>
                      <a:pt x="254" y="1"/>
                      <a:pt x="253" y="1"/>
                    </a:cubicBezTo>
                    <a:cubicBezTo>
                      <a:pt x="252" y="1"/>
                      <a:pt x="252" y="1"/>
                      <a:pt x="251" y="1"/>
                    </a:cubicBezTo>
                    <a:cubicBezTo>
                      <a:pt x="250" y="2"/>
                      <a:pt x="249" y="2"/>
                      <a:pt x="249" y="2"/>
                    </a:cubicBezTo>
                    <a:cubicBezTo>
                      <a:pt x="248" y="2"/>
                      <a:pt x="247" y="2"/>
                      <a:pt x="247" y="3"/>
                    </a:cubicBezTo>
                    <a:cubicBezTo>
                      <a:pt x="246" y="3"/>
                      <a:pt x="245" y="3"/>
                      <a:pt x="244" y="3"/>
                    </a:cubicBezTo>
                    <a:cubicBezTo>
                      <a:pt x="244" y="3"/>
                      <a:pt x="243" y="4"/>
                      <a:pt x="242" y="4"/>
                    </a:cubicBezTo>
                    <a:cubicBezTo>
                      <a:pt x="242" y="4"/>
                      <a:pt x="241" y="4"/>
                      <a:pt x="240" y="5"/>
                    </a:cubicBezTo>
                    <a:cubicBezTo>
                      <a:pt x="239" y="5"/>
                      <a:pt x="239" y="5"/>
                      <a:pt x="238" y="5"/>
                    </a:cubicBezTo>
                    <a:cubicBezTo>
                      <a:pt x="237" y="6"/>
                      <a:pt x="237" y="6"/>
                      <a:pt x="236" y="6"/>
                    </a:cubicBezTo>
                    <a:cubicBezTo>
                      <a:pt x="235" y="7"/>
                      <a:pt x="235" y="7"/>
                      <a:pt x="234" y="7"/>
                    </a:cubicBezTo>
                    <a:cubicBezTo>
                      <a:pt x="233" y="8"/>
                      <a:pt x="233" y="8"/>
                      <a:pt x="232" y="8"/>
                    </a:cubicBezTo>
                    <a:cubicBezTo>
                      <a:pt x="231" y="9"/>
                      <a:pt x="231" y="9"/>
                      <a:pt x="230" y="10"/>
                    </a:cubicBezTo>
                    <a:cubicBezTo>
                      <a:pt x="229" y="10"/>
                      <a:pt x="229" y="10"/>
                      <a:pt x="228" y="11"/>
                    </a:cubicBezTo>
                    <a:cubicBezTo>
                      <a:pt x="227" y="11"/>
                      <a:pt x="226" y="12"/>
                      <a:pt x="225" y="13"/>
                    </a:cubicBezTo>
                    <a:cubicBezTo>
                      <a:pt x="224" y="13"/>
                      <a:pt x="224" y="14"/>
                      <a:pt x="223" y="14"/>
                    </a:cubicBezTo>
                    <a:cubicBezTo>
                      <a:pt x="223" y="15"/>
                      <a:pt x="222" y="15"/>
                      <a:pt x="221" y="16"/>
                    </a:cubicBezTo>
                    <a:cubicBezTo>
                      <a:pt x="221" y="16"/>
                      <a:pt x="220" y="16"/>
                      <a:pt x="220" y="17"/>
                    </a:cubicBezTo>
                    <a:cubicBezTo>
                      <a:pt x="219" y="17"/>
                      <a:pt x="218" y="18"/>
                      <a:pt x="218" y="19"/>
                    </a:cubicBezTo>
                    <a:cubicBezTo>
                      <a:pt x="217" y="19"/>
                      <a:pt x="217" y="19"/>
                      <a:pt x="216" y="20"/>
                    </a:cubicBezTo>
                    <a:cubicBezTo>
                      <a:pt x="216" y="21"/>
                      <a:pt x="215" y="21"/>
                      <a:pt x="215" y="22"/>
                    </a:cubicBezTo>
                    <a:cubicBezTo>
                      <a:pt x="214" y="22"/>
                      <a:pt x="214" y="23"/>
                      <a:pt x="213" y="23"/>
                    </a:cubicBezTo>
                    <a:cubicBezTo>
                      <a:pt x="213" y="24"/>
                      <a:pt x="212" y="24"/>
                      <a:pt x="212" y="25"/>
                    </a:cubicBezTo>
                    <a:cubicBezTo>
                      <a:pt x="211" y="26"/>
                      <a:pt x="211" y="26"/>
                      <a:pt x="210" y="26"/>
                    </a:cubicBezTo>
                    <a:cubicBezTo>
                      <a:pt x="210" y="27"/>
                      <a:pt x="209" y="28"/>
                      <a:pt x="209" y="29"/>
                    </a:cubicBezTo>
                    <a:cubicBezTo>
                      <a:pt x="208" y="29"/>
                      <a:pt x="208" y="30"/>
                      <a:pt x="208" y="30"/>
                    </a:cubicBezTo>
                    <a:cubicBezTo>
                      <a:pt x="207" y="31"/>
                      <a:pt x="207" y="32"/>
                      <a:pt x="206" y="33"/>
                    </a:cubicBezTo>
                    <a:cubicBezTo>
                      <a:pt x="206" y="33"/>
                      <a:pt x="206" y="33"/>
                      <a:pt x="205" y="34"/>
                    </a:cubicBezTo>
                    <a:cubicBezTo>
                      <a:pt x="205" y="35"/>
                      <a:pt x="204" y="36"/>
                      <a:pt x="203" y="38"/>
                    </a:cubicBezTo>
                    <a:cubicBezTo>
                      <a:pt x="184" y="20"/>
                      <a:pt x="159" y="10"/>
                      <a:pt x="131" y="10"/>
                    </a:cubicBezTo>
                    <a:cubicBezTo>
                      <a:pt x="96" y="10"/>
                      <a:pt x="65" y="27"/>
                      <a:pt x="45" y="53"/>
                    </a:cubicBezTo>
                    <a:cubicBezTo>
                      <a:pt x="43" y="53"/>
                      <a:pt x="41" y="54"/>
                      <a:pt x="39" y="55"/>
                    </a:cubicBezTo>
                    <a:cubicBezTo>
                      <a:pt x="39" y="55"/>
                      <a:pt x="38" y="56"/>
                      <a:pt x="38" y="56"/>
                    </a:cubicBezTo>
                    <a:cubicBezTo>
                      <a:pt x="36" y="57"/>
                      <a:pt x="35" y="57"/>
                      <a:pt x="33" y="58"/>
                    </a:cubicBezTo>
                    <a:cubicBezTo>
                      <a:pt x="33" y="59"/>
                      <a:pt x="33" y="59"/>
                      <a:pt x="32" y="59"/>
                    </a:cubicBezTo>
                    <a:cubicBezTo>
                      <a:pt x="28" y="61"/>
                      <a:pt x="25" y="64"/>
                      <a:pt x="21" y="67"/>
                    </a:cubicBezTo>
                    <a:cubicBezTo>
                      <a:pt x="8" y="79"/>
                      <a:pt x="0" y="97"/>
                      <a:pt x="0" y="116"/>
                    </a:cubicBezTo>
                    <a:cubicBezTo>
                      <a:pt x="0" y="146"/>
                      <a:pt x="19" y="171"/>
                      <a:pt x="45" y="180"/>
                    </a:cubicBezTo>
                    <a:cubicBezTo>
                      <a:pt x="53" y="191"/>
                      <a:pt x="63" y="200"/>
                      <a:pt x="75" y="207"/>
                    </a:cubicBezTo>
                    <a:cubicBezTo>
                      <a:pt x="277" y="409"/>
                      <a:pt x="277" y="409"/>
                      <a:pt x="277" y="409"/>
                    </a:cubicBezTo>
                    <a:cubicBezTo>
                      <a:pt x="429" y="403"/>
                      <a:pt x="553" y="289"/>
                      <a:pt x="574" y="141"/>
                    </a:cubicBezTo>
                    <a:close/>
                  </a:path>
                </a:pathLst>
              </a:custGeom>
              <a:solidFill>
                <a:srgbClr val="00B6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 name="Freeform 34"/>
              <p:cNvSpPr>
                <a:spLocks/>
              </p:cNvSpPr>
              <p:nvPr/>
            </p:nvSpPr>
            <p:spPr bwMode="auto">
              <a:xfrm>
                <a:off x="2624138" y="-979488"/>
                <a:ext cx="2001838" cy="839788"/>
              </a:xfrm>
              <a:custGeom>
                <a:avLst/>
                <a:gdLst>
                  <a:gd name="T0" fmla="*/ 485 w 531"/>
                  <a:gd name="T1" fmla="*/ 53 h 223"/>
                  <a:gd name="T2" fmla="*/ 399 w 531"/>
                  <a:gd name="T3" fmla="*/ 10 h 223"/>
                  <a:gd name="T4" fmla="*/ 327 w 531"/>
                  <a:gd name="T5" fmla="*/ 38 h 223"/>
                  <a:gd name="T6" fmla="*/ 265 w 531"/>
                  <a:gd name="T7" fmla="*/ 0 h 223"/>
                  <a:gd name="T8" fmla="*/ 203 w 531"/>
                  <a:gd name="T9" fmla="*/ 38 h 223"/>
                  <a:gd name="T10" fmla="*/ 131 w 531"/>
                  <a:gd name="T11" fmla="*/ 10 h 223"/>
                  <a:gd name="T12" fmla="*/ 45 w 531"/>
                  <a:gd name="T13" fmla="*/ 53 h 223"/>
                  <a:gd name="T14" fmla="*/ 0 w 531"/>
                  <a:gd name="T15" fmla="*/ 116 h 223"/>
                  <a:gd name="T16" fmla="*/ 45 w 531"/>
                  <a:gd name="T17" fmla="*/ 180 h 223"/>
                  <a:gd name="T18" fmla="*/ 131 w 531"/>
                  <a:gd name="T19" fmla="*/ 223 h 223"/>
                  <a:gd name="T20" fmla="*/ 236 w 531"/>
                  <a:gd name="T21" fmla="*/ 134 h 223"/>
                  <a:gd name="T22" fmla="*/ 265 w 531"/>
                  <a:gd name="T23" fmla="*/ 140 h 223"/>
                  <a:gd name="T24" fmla="*/ 294 w 531"/>
                  <a:gd name="T25" fmla="*/ 134 h 223"/>
                  <a:gd name="T26" fmla="*/ 399 w 531"/>
                  <a:gd name="T27" fmla="*/ 223 h 223"/>
                  <a:gd name="T28" fmla="*/ 485 w 531"/>
                  <a:gd name="T29" fmla="*/ 180 h 223"/>
                  <a:gd name="T30" fmla="*/ 531 w 531"/>
                  <a:gd name="T31" fmla="*/ 116 h 223"/>
                  <a:gd name="T32" fmla="*/ 485 w 531"/>
                  <a:gd name="T33" fmla="*/ 5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1" h="223">
                    <a:moveTo>
                      <a:pt x="485" y="53"/>
                    </a:moveTo>
                    <a:cubicBezTo>
                      <a:pt x="466" y="27"/>
                      <a:pt x="434" y="10"/>
                      <a:pt x="399" y="10"/>
                    </a:cubicBezTo>
                    <a:cubicBezTo>
                      <a:pt x="372" y="10"/>
                      <a:pt x="346" y="20"/>
                      <a:pt x="327" y="38"/>
                    </a:cubicBezTo>
                    <a:cubicBezTo>
                      <a:pt x="316" y="15"/>
                      <a:pt x="292" y="0"/>
                      <a:pt x="265" y="0"/>
                    </a:cubicBezTo>
                    <a:cubicBezTo>
                      <a:pt x="238" y="0"/>
                      <a:pt x="215" y="15"/>
                      <a:pt x="203" y="38"/>
                    </a:cubicBezTo>
                    <a:cubicBezTo>
                      <a:pt x="184" y="20"/>
                      <a:pt x="159" y="10"/>
                      <a:pt x="131" y="10"/>
                    </a:cubicBezTo>
                    <a:cubicBezTo>
                      <a:pt x="96" y="10"/>
                      <a:pt x="65" y="27"/>
                      <a:pt x="45" y="53"/>
                    </a:cubicBezTo>
                    <a:cubicBezTo>
                      <a:pt x="19" y="62"/>
                      <a:pt x="0" y="87"/>
                      <a:pt x="0" y="116"/>
                    </a:cubicBezTo>
                    <a:cubicBezTo>
                      <a:pt x="0" y="146"/>
                      <a:pt x="19" y="171"/>
                      <a:pt x="45" y="180"/>
                    </a:cubicBezTo>
                    <a:cubicBezTo>
                      <a:pt x="65" y="206"/>
                      <a:pt x="96" y="223"/>
                      <a:pt x="131" y="223"/>
                    </a:cubicBezTo>
                    <a:cubicBezTo>
                      <a:pt x="184" y="223"/>
                      <a:pt x="228" y="184"/>
                      <a:pt x="236" y="134"/>
                    </a:cubicBezTo>
                    <a:cubicBezTo>
                      <a:pt x="245" y="138"/>
                      <a:pt x="255" y="140"/>
                      <a:pt x="265" y="140"/>
                    </a:cubicBezTo>
                    <a:cubicBezTo>
                      <a:pt x="276" y="140"/>
                      <a:pt x="285" y="138"/>
                      <a:pt x="294" y="134"/>
                    </a:cubicBezTo>
                    <a:cubicBezTo>
                      <a:pt x="302" y="184"/>
                      <a:pt x="346" y="223"/>
                      <a:pt x="399" y="223"/>
                    </a:cubicBezTo>
                    <a:cubicBezTo>
                      <a:pt x="434" y="223"/>
                      <a:pt x="466" y="206"/>
                      <a:pt x="485" y="180"/>
                    </a:cubicBezTo>
                    <a:cubicBezTo>
                      <a:pt x="512" y="171"/>
                      <a:pt x="531" y="146"/>
                      <a:pt x="531" y="116"/>
                    </a:cubicBezTo>
                    <a:cubicBezTo>
                      <a:pt x="531" y="87"/>
                      <a:pt x="512" y="62"/>
                      <a:pt x="485" y="53"/>
                    </a:cubicBezTo>
                    <a:close/>
                  </a:path>
                </a:pathLst>
              </a:custGeom>
              <a:solidFill>
                <a:srgbClr val="00A3CC"/>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4" name="Oval 32"/>
              <p:cNvSpPr>
                <a:spLocks noChangeArrowheads="1"/>
              </p:cNvSpPr>
              <p:nvPr/>
            </p:nvSpPr>
            <p:spPr bwMode="auto">
              <a:xfrm>
                <a:off x="2851151" y="-806451"/>
                <a:ext cx="534988" cy="530225"/>
              </a:xfrm>
              <a:prstGeom prst="ellipse">
                <a:avLst/>
              </a:prstGeom>
              <a:solidFill>
                <a:srgbClr val="00BCEB"/>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5" name="Oval 33"/>
              <p:cNvSpPr>
                <a:spLocks noChangeArrowheads="1"/>
              </p:cNvSpPr>
              <p:nvPr/>
            </p:nvSpPr>
            <p:spPr bwMode="auto">
              <a:xfrm>
                <a:off x="3863976" y="-806451"/>
                <a:ext cx="531813" cy="530225"/>
              </a:xfrm>
              <a:prstGeom prst="ellipse">
                <a:avLst/>
              </a:prstGeom>
              <a:solidFill>
                <a:srgbClr val="00BCEB"/>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12" name="Group 11">
            <a:extLst>
              <a:ext uri="{FF2B5EF4-FFF2-40B4-BE49-F238E27FC236}">
                <a16:creationId xmlns:a16="http://schemas.microsoft.com/office/drawing/2014/main" id="{00C164E4-AA47-44D6-A4CF-A840F3257CAD}"/>
              </a:ext>
            </a:extLst>
          </p:cNvPr>
          <p:cNvGrpSpPr/>
          <p:nvPr/>
        </p:nvGrpSpPr>
        <p:grpSpPr>
          <a:xfrm>
            <a:off x="1643331" y="710972"/>
            <a:ext cx="457390" cy="457390"/>
            <a:chOff x="1866501" y="485585"/>
            <a:chExt cx="457390" cy="457390"/>
          </a:xfrm>
        </p:grpSpPr>
        <p:sp>
          <p:nvSpPr>
            <p:cNvPr id="146" name="Oval 145">
              <a:extLst>
                <a:ext uri="{FF2B5EF4-FFF2-40B4-BE49-F238E27FC236}">
                  <a16:creationId xmlns:a16="http://schemas.microsoft.com/office/drawing/2014/main" id="{E7BA089C-A271-4556-8CB7-A3D326590ACE}"/>
                </a:ext>
              </a:extLst>
            </p:cNvPr>
            <p:cNvSpPr/>
            <p:nvPr/>
          </p:nvSpPr>
          <p:spPr>
            <a:xfrm>
              <a:off x="1866501" y="485585"/>
              <a:ext cx="457390" cy="4573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64" name="Group 63"/>
            <p:cNvGrpSpPr/>
            <p:nvPr/>
          </p:nvGrpSpPr>
          <p:grpSpPr>
            <a:xfrm>
              <a:off x="1921492" y="544915"/>
              <a:ext cx="349271" cy="349271"/>
              <a:chOff x="2569855" y="3149114"/>
              <a:chExt cx="933450" cy="933450"/>
            </a:xfrm>
          </p:grpSpPr>
          <p:sp>
            <p:nvSpPr>
              <p:cNvPr id="30" name="Freeform 25"/>
              <p:cNvSpPr>
                <a:spLocks/>
              </p:cNvSpPr>
              <p:nvPr/>
            </p:nvSpPr>
            <p:spPr bwMode="auto">
              <a:xfrm>
                <a:off x="2569855" y="3149114"/>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0" name="Freeform 59"/>
              <p:cNvSpPr>
                <a:spLocks/>
              </p:cNvSpPr>
              <p:nvPr/>
            </p:nvSpPr>
            <p:spPr bwMode="auto">
              <a:xfrm>
                <a:off x="2901446" y="3411052"/>
                <a:ext cx="560584" cy="619124"/>
              </a:xfrm>
              <a:custGeom>
                <a:avLst/>
                <a:gdLst>
                  <a:gd name="connsiteX0" fmla="*/ 343475 w 560585"/>
                  <a:gd name="connsiteY0" fmla="*/ 0 h 619125"/>
                  <a:gd name="connsiteX1" fmla="*/ 560585 w 560585"/>
                  <a:gd name="connsiteY1" fmla="*/ 219427 h 619125"/>
                  <a:gd name="connsiteX2" fmla="*/ 435784 w 560585"/>
                  <a:gd name="connsiteY2" fmla="*/ 506087 h 619125"/>
                  <a:gd name="connsiteX3" fmla="*/ 236397 w 560585"/>
                  <a:gd name="connsiteY3" fmla="*/ 619125 h 619125"/>
                  <a:gd name="connsiteX4" fmla="*/ 87 w 560585"/>
                  <a:gd name="connsiteY4" fmla="*/ 393048 h 619125"/>
                  <a:gd name="connsiteX5" fmla="*/ 64 w 560585"/>
                  <a:gd name="connsiteY5" fmla="*/ 391571 h 619125"/>
                  <a:gd name="connsiteX6" fmla="*/ 0 w 560585"/>
                  <a:gd name="connsiteY6" fmla="*/ 387488 h 619125"/>
                  <a:gd name="connsiteX7" fmla="*/ 49858 w 560585"/>
                  <a:gd name="connsiteY7" fmla="*/ 430601 h 619125"/>
                  <a:gd name="connsiteX8" fmla="*/ 135135 w 560585"/>
                  <a:gd name="connsiteY8" fmla="*/ 463550 h 619125"/>
                  <a:gd name="connsiteX9" fmla="*/ 347860 w 560585"/>
                  <a:gd name="connsiteY9" fmla="*/ 204928 h 619125"/>
                  <a:gd name="connsiteX10" fmla="*/ 347860 w 560585"/>
                  <a:gd name="connsiteY10" fmla="*/ 14093 h 619125"/>
                  <a:gd name="connsiteX11" fmla="*/ 342392 w 560585"/>
                  <a:gd name="connsiteY11" fmla="*/ 938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0585" h="619125">
                    <a:moveTo>
                      <a:pt x="343475" y="0"/>
                    </a:moveTo>
                    <a:cubicBezTo>
                      <a:pt x="343475" y="0"/>
                      <a:pt x="343475" y="0"/>
                      <a:pt x="560585" y="219427"/>
                    </a:cubicBezTo>
                    <a:cubicBezTo>
                      <a:pt x="556893" y="323600"/>
                      <a:pt x="515539" y="427034"/>
                      <a:pt x="435784" y="506087"/>
                    </a:cubicBezTo>
                    <a:cubicBezTo>
                      <a:pt x="378922" y="563714"/>
                      <a:pt x="309506" y="601394"/>
                      <a:pt x="236397" y="619125"/>
                    </a:cubicBezTo>
                    <a:cubicBezTo>
                      <a:pt x="236397" y="619125"/>
                      <a:pt x="236397" y="619125"/>
                      <a:pt x="87" y="393048"/>
                    </a:cubicBezTo>
                    <a:cubicBezTo>
                      <a:pt x="87" y="393048"/>
                      <a:pt x="87" y="393048"/>
                      <a:pt x="64" y="391571"/>
                    </a:cubicBezTo>
                    <a:lnTo>
                      <a:pt x="0" y="387488"/>
                    </a:lnTo>
                    <a:lnTo>
                      <a:pt x="49858" y="430601"/>
                    </a:lnTo>
                    <a:cubicBezTo>
                      <a:pt x="75583" y="446143"/>
                      <a:pt x="104297" y="457471"/>
                      <a:pt x="135135" y="463550"/>
                    </a:cubicBezTo>
                    <a:cubicBezTo>
                      <a:pt x="258486" y="439235"/>
                      <a:pt x="347860" y="330924"/>
                      <a:pt x="347860" y="204928"/>
                    </a:cubicBezTo>
                    <a:cubicBezTo>
                      <a:pt x="347860" y="14093"/>
                      <a:pt x="347860" y="14093"/>
                      <a:pt x="347860" y="14093"/>
                    </a:cubicBezTo>
                    <a:lnTo>
                      <a:pt x="342392" y="938"/>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63" name="Group 62"/>
              <p:cNvGrpSpPr/>
              <p:nvPr/>
            </p:nvGrpSpPr>
            <p:grpSpPr>
              <a:xfrm>
                <a:off x="2823855" y="3350727"/>
                <a:ext cx="425450" cy="523875"/>
                <a:chOff x="2823855" y="3350727"/>
                <a:chExt cx="425450" cy="523875"/>
              </a:xfrm>
              <a:solidFill>
                <a:schemeClr val="accent1">
                  <a:lumMod val="75000"/>
                  <a:alpha val="40000"/>
                </a:schemeClr>
              </a:solidFill>
            </p:grpSpPr>
            <p:sp>
              <p:nvSpPr>
                <p:cNvPr id="61" name="Freeform 27"/>
                <p:cNvSpPr>
                  <a:spLocks/>
                </p:cNvSpPr>
                <p:nvPr/>
              </p:nvSpPr>
              <p:spPr bwMode="auto">
                <a:xfrm>
                  <a:off x="2823855" y="3350727"/>
                  <a:ext cx="425450" cy="523875"/>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 name="Freeform 28"/>
                <p:cNvSpPr>
                  <a:spLocks/>
                </p:cNvSpPr>
                <p:nvPr/>
              </p:nvSpPr>
              <p:spPr bwMode="auto">
                <a:xfrm>
                  <a:off x="3036580" y="3350727"/>
                  <a:ext cx="212725" cy="523875"/>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1">
                    <a:lumMod val="75000"/>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26" name="MALWARE">
            <a:extLst>
              <a:ext uri="{FF2B5EF4-FFF2-40B4-BE49-F238E27FC236}">
                <a16:creationId xmlns:a16="http://schemas.microsoft.com/office/drawing/2014/main" id="{9B0F8751-7401-43E3-A5B3-779324B59586}"/>
              </a:ext>
            </a:extLst>
          </p:cNvPr>
          <p:cNvGrpSpPr/>
          <p:nvPr/>
        </p:nvGrpSpPr>
        <p:grpSpPr>
          <a:xfrm>
            <a:off x="6021254" y="1832085"/>
            <a:ext cx="445717" cy="669888"/>
            <a:chOff x="5249961" y="1926547"/>
            <a:chExt cx="445717" cy="669888"/>
          </a:xfrm>
        </p:grpSpPr>
        <p:pic>
          <p:nvPicPr>
            <p:cNvPr id="7" name="Graphic 6">
              <a:extLst>
                <a:ext uri="{FF2B5EF4-FFF2-40B4-BE49-F238E27FC236}">
                  <a16:creationId xmlns:a16="http://schemas.microsoft.com/office/drawing/2014/main" id="{3FEA872F-608E-4472-968D-D1D215139786}"/>
                </a:ext>
              </a:extLst>
            </p:cNvPr>
            <p:cNvPicPr>
              <a:picLocks noChangeAspect="1"/>
            </p:cNvPicPr>
            <p:nvPr/>
          </p:nvPicPr>
          <p:blipFill>
            <a:blip r:embed="rId29" cstate="print">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249961" y="1926547"/>
              <a:ext cx="445717" cy="531985"/>
            </a:xfrm>
            <a:prstGeom prst="rect">
              <a:avLst/>
            </a:prstGeom>
          </p:spPr>
        </p:pic>
        <p:sp>
          <p:nvSpPr>
            <p:cNvPr id="1222" name="Oval 1221">
              <a:extLst>
                <a:ext uri="{FF2B5EF4-FFF2-40B4-BE49-F238E27FC236}">
                  <a16:creationId xmlns:a16="http://schemas.microsoft.com/office/drawing/2014/main" id="{40820A33-35C6-4CD5-851D-D9468B612FFF}"/>
                </a:ext>
              </a:extLst>
            </p:cNvPr>
            <p:cNvSpPr/>
            <p:nvPr/>
          </p:nvSpPr>
          <p:spPr>
            <a:xfrm>
              <a:off x="5415587" y="2487519"/>
              <a:ext cx="108916" cy="108916"/>
            </a:xfrm>
            <a:prstGeom prst="ellipse">
              <a:avLst/>
            </a:prstGeom>
            <a:solidFill>
              <a:schemeClr val="accent6"/>
            </a:solidFill>
            <a:ln>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29" name="FLOOD DATA">
            <a:extLst>
              <a:ext uri="{FF2B5EF4-FFF2-40B4-BE49-F238E27FC236}">
                <a16:creationId xmlns:a16="http://schemas.microsoft.com/office/drawing/2014/main" id="{7302BCD8-15ED-486E-82F5-638EDE459B1B}"/>
              </a:ext>
            </a:extLst>
          </p:cNvPr>
          <p:cNvGrpSpPr/>
          <p:nvPr/>
        </p:nvGrpSpPr>
        <p:grpSpPr>
          <a:xfrm>
            <a:off x="6684395" y="844862"/>
            <a:ext cx="456138" cy="676233"/>
            <a:chOff x="6697095" y="819462"/>
            <a:chExt cx="456138" cy="676233"/>
          </a:xfrm>
        </p:grpSpPr>
        <p:sp>
          <p:nvSpPr>
            <p:cNvPr id="1626" name="Oval 1625">
              <a:extLst>
                <a:ext uri="{FF2B5EF4-FFF2-40B4-BE49-F238E27FC236}">
                  <a16:creationId xmlns:a16="http://schemas.microsoft.com/office/drawing/2014/main" id="{F82A7F92-EA8A-453D-84F8-067634590176}"/>
                </a:ext>
              </a:extLst>
            </p:cNvPr>
            <p:cNvSpPr/>
            <p:nvPr/>
          </p:nvSpPr>
          <p:spPr>
            <a:xfrm>
              <a:off x="6870706" y="1386779"/>
              <a:ext cx="108916" cy="108916"/>
            </a:xfrm>
            <a:prstGeom prst="ellipse">
              <a:avLst/>
            </a:prstGeom>
            <a:solidFill>
              <a:schemeClr val="accent6"/>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27" name="Graphic 26">
              <a:extLst>
                <a:ext uri="{FF2B5EF4-FFF2-40B4-BE49-F238E27FC236}">
                  <a16:creationId xmlns:a16="http://schemas.microsoft.com/office/drawing/2014/main" id="{C34C8741-D09F-4432-80E4-0039E13F6326}"/>
                </a:ext>
              </a:extLst>
            </p:cNvPr>
            <p:cNvPicPr>
              <a:picLocks noChangeAspect="1"/>
            </p:cNvPicPr>
            <p:nvPr/>
          </p:nvPicPr>
          <p:blipFill>
            <a:blip r:embed="rId31" cstate="print">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6697095" y="819462"/>
              <a:ext cx="456138" cy="544423"/>
            </a:xfrm>
            <a:prstGeom prst="rect">
              <a:avLst/>
            </a:prstGeom>
          </p:spPr>
        </p:pic>
      </p:grpSp>
      <p:grpSp>
        <p:nvGrpSpPr>
          <p:cNvPr id="45" name="SEVER ATTACK">
            <a:extLst>
              <a:ext uri="{FF2B5EF4-FFF2-40B4-BE49-F238E27FC236}">
                <a16:creationId xmlns:a16="http://schemas.microsoft.com/office/drawing/2014/main" id="{69F145E5-7259-438A-B4F4-23AC2CCC32A6}"/>
              </a:ext>
            </a:extLst>
          </p:cNvPr>
          <p:cNvGrpSpPr/>
          <p:nvPr/>
        </p:nvGrpSpPr>
        <p:grpSpPr>
          <a:xfrm>
            <a:off x="5045932" y="2056664"/>
            <a:ext cx="447946" cy="671657"/>
            <a:chOff x="4474432" y="2069364"/>
            <a:chExt cx="447946" cy="671657"/>
          </a:xfrm>
        </p:grpSpPr>
        <p:sp>
          <p:nvSpPr>
            <p:cNvPr id="1582" name="Oval 1581">
              <a:extLst>
                <a:ext uri="{FF2B5EF4-FFF2-40B4-BE49-F238E27FC236}">
                  <a16:creationId xmlns:a16="http://schemas.microsoft.com/office/drawing/2014/main" id="{8D09734D-BD3B-4B1E-B455-3A8202E425F8}"/>
                </a:ext>
              </a:extLst>
            </p:cNvPr>
            <p:cNvSpPr/>
            <p:nvPr/>
          </p:nvSpPr>
          <p:spPr>
            <a:xfrm>
              <a:off x="4645866" y="2632105"/>
              <a:ext cx="108916" cy="108916"/>
            </a:xfrm>
            <a:prstGeom prst="ellipse">
              <a:avLst/>
            </a:prstGeom>
            <a:solidFill>
              <a:schemeClr val="accent6"/>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43" name="Graphic 42">
              <a:extLst>
                <a:ext uri="{FF2B5EF4-FFF2-40B4-BE49-F238E27FC236}">
                  <a16:creationId xmlns:a16="http://schemas.microsoft.com/office/drawing/2014/main" id="{D913D976-14A7-48E0-9C3F-FBDE496A12AF}"/>
                </a:ext>
              </a:extLst>
            </p:cNvPr>
            <p:cNvPicPr>
              <a:picLocks noChangeAspect="1"/>
            </p:cNvPicPr>
            <p:nvPr/>
          </p:nvPicPr>
          <p:blipFill>
            <a:blip r:embed="rId33" cstate="print">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4474432" y="2069364"/>
              <a:ext cx="447946" cy="534645"/>
            </a:xfrm>
            <a:prstGeom prst="rect">
              <a:avLst/>
            </a:prstGeom>
          </p:spPr>
        </p:pic>
      </p:grpSp>
      <p:sp>
        <p:nvSpPr>
          <p:cNvPr id="1666" name="TextBox 1665">
            <a:extLst>
              <a:ext uri="{FF2B5EF4-FFF2-40B4-BE49-F238E27FC236}">
                <a16:creationId xmlns:a16="http://schemas.microsoft.com/office/drawing/2014/main" id="{C6AC4B76-D0A4-4E70-AD40-3EAE59D3BB8D}"/>
              </a:ext>
            </a:extLst>
          </p:cNvPr>
          <p:cNvSpPr txBox="1"/>
          <p:nvPr/>
        </p:nvSpPr>
        <p:spPr>
          <a:xfrm>
            <a:off x="5418639" y="2544448"/>
            <a:ext cx="266984" cy="263592"/>
          </a:xfrm>
          <a:prstGeom prst="ellipse">
            <a:avLst/>
          </a:prstGeom>
          <a:noFill/>
          <a:ln>
            <a:solidFill>
              <a:schemeClr val="accent5">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68" name="TextBox 1667">
            <a:extLst>
              <a:ext uri="{FF2B5EF4-FFF2-40B4-BE49-F238E27FC236}">
                <a16:creationId xmlns:a16="http://schemas.microsoft.com/office/drawing/2014/main" id="{EEF7A7A9-248A-48C8-83A8-03A036D67C22}"/>
              </a:ext>
            </a:extLst>
          </p:cNvPr>
          <p:cNvSpPr txBox="1"/>
          <p:nvPr/>
        </p:nvSpPr>
        <p:spPr>
          <a:xfrm>
            <a:off x="6108148" y="2544448"/>
            <a:ext cx="266984" cy="263592"/>
          </a:xfrm>
          <a:prstGeom prst="ellipse">
            <a:avLst/>
          </a:prstGeom>
          <a:noFill/>
          <a:ln>
            <a:solidFill>
              <a:schemeClr val="accent4">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69" name="TextBox 1668">
            <a:extLst>
              <a:ext uri="{FF2B5EF4-FFF2-40B4-BE49-F238E27FC236}">
                <a16:creationId xmlns:a16="http://schemas.microsoft.com/office/drawing/2014/main" id="{712B7F11-E2BA-43A6-A662-642A3E465192}"/>
              </a:ext>
            </a:extLst>
          </p:cNvPr>
          <p:cNvSpPr txBox="1"/>
          <p:nvPr/>
        </p:nvSpPr>
        <p:spPr>
          <a:xfrm>
            <a:off x="6264763" y="3503390"/>
            <a:ext cx="266984" cy="263592"/>
          </a:xfrm>
          <a:prstGeom prst="ellipse">
            <a:avLst/>
          </a:prstGeom>
          <a:noFill/>
          <a:ln>
            <a:solidFill>
              <a:schemeClr val="accent3">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70" name="TextBox 1669">
            <a:extLst>
              <a:ext uri="{FF2B5EF4-FFF2-40B4-BE49-F238E27FC236}">
                <a16:creationId xmlns:a16="http://schemas.microsoft.com/office/drawing/2014/main" id="{075E0E23-24B6-4EB1-BE0F-7167766936E0}"/>
              </a:ext>
            </a:extLst>
          </p:cNvPr>
          <p:cNvSpPr txBox="1"/>
          <p:nvPr/>
        </p:nvSpPr>
        <p:spPr>
          <a:xfrm>
            <a:off x="6940168" y="1535144"/>
            <a:ext cx="266984" cy="263592"/>
          </a:xfrm>
          <a:prstGeom prst="ellipse">
            <a:avLst/>
          </a:prstGeom>
          <a:noFill/>
          <a:ln>
            <a:solidFill>
              <a:schemeClr val="accent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641" name="Group 24">
            <a:extLst>
              <a:ext uri="{FF2B5EF4-FFF2-40B4-BE49-F238E27FC236}">
                <a16:creationId xmlns:a16="http://schemas.microsoft.com/office/drawing/2014/main" id="{388C8A8C-DCD7-48C3-BCCF-B57E41453408}"/>
              </a:ext>
            </a:extLst>
          </p:cNvPr>
          <p:cNvGrpSpPr>
            <a:grpSpLocks noChangeAspect="1"/>
          </p:cNvGrpSpPr>
          <p:nvPr/>
        </p:nvGrpSpPr>
        <p:grpSpPr bwMode="auto">
          <a:xfrm>
            <a:off x="6073844" y="2509633"/>
            <a:ext cx="336674" cy="336674"/>
            <a:chOff x="1626" y="-1079"/>
            <a:chExt cx="588" cy="588"/>
          </a:xfrm>
        </p:grpSpPr>
        <p:sp>
          <p:nvSpPr>
            <p:cNvPr id="1642" name="Freeform 25">
              <a:extLst>
                <a:ext uri="{FF2B5EF4-FFF2-40B4-BE49-F238E27FC236}">
                  <a16:creationId xmlns:a16="http://schemas.microsoft.com/office/drawing/2014/main" id="{5B34DDA2-C982-49BF-8287-48F01285976E}"/>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43" name="Freeform 26">
              <a:extLst>
                <a:ext uri="{FF2B5EF4-FFF2-40B4-BE49-F238E27FC236}">
                  <a16:creationId xmlns:a16="http://schemas.microsoft.com/office/drawing/2014/main" id="{B8693185-159A-4510-8D85-5B200511E2B6}"/>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44" name="Freeform 27">
              <a:extLst>
                <a:ext uri="{FF2B5EF4-FFF2-40B4-BE49-F238E27FC236}">
                  <a16:creationId xmlns:a16="http://schemas.microsoft.com/office/drawing/2014/main" id="{C135B616-D78D-4D56-9A92-390AADA176A0}"/>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45" name="Freeform 28">
              <a:extLst>
                <a:ext uri="{FF2B5EF4-FFF2-40B4-BE49-F238E27FC236}">
                  <a16:creationId xmlns:a16="http://schemas.microsoft.com/office/drawing/2014/main" id="{CE18B1D8-9F4B-4F52-9FCD-F1344C979787}"/>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646" name="Group 24">
            <a:extLst>
              <a:ext uri="{FF2B5EF4-FFF2-40B4-BE49-F238E27FC236}">
                <a16:creationId xmlns:a16="http://schemas.microsoft.com/office/drawing/2014/main" id="{272DD05A-C0C3-4BAF-A39C-0B38EB7D8F59}"/>
              </a:ext>
            </a:extLst>
          </p:cNvPr>
          <p:cNvGrpSpPr>
            <a:grpSpLocks noChangeAspect="1"/>
          </p:cNvGrpSpPr>
          <p:nvPr/>
        </p:nvGrpSpPr>
        <p:grpSpPr bwMode="auto">
          <a:xfrm>
            <a:off x="5386594" y="2509633"/>
            <a:ext cx="336674" cy="336674"/>
            <a:chOff x="1626" y="-1079"/>
            <a:chExt cx="588" cy="588"/>
          </a:xfrm>
        </p:grpSpPr>
        <p:sp>
          <p:nvSpPr>
            <p:cNvPr id="1647" name="Freeform 25">
              <a:extLst>
                <a:ext uri="{FF2B5EF4-FFF2-40B4-BE49-F238E27FC236}">
                  <a16:creationId xmlns:a16="http://schemas.microsoft.com/office/drawing/2014/main" id="{69180CE4-027F-4217-A96A-FA486F80E8A5}"/>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48" name="Freeform 26">
              <a:extLst>
                <a:ext uri="{FF2B5EF4-FFF2-40B4-BE49-F238E27FC236}">
                  <a16:creationId xmlns:a16="http://schemas.microsoft.com/office/drawing/2014/main" id="{33578B95-BC36-4904-9CF9-592780170DB1}"/>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49" name="Freeform 27">
              <a:extLst>
                <a:ext uri="{FF2B5EF4-FFF2-40B4-BE49-F238E27FC236}">
                  <a16:creationId xmlns:a16="http://schemas.microsoft.com/office/drawing/2014/main" id="{156BEADE-5D4C-476E-9E13-A4CBB9748AAD}"/>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50" name="Freeform 28">
              <a:extLst>
                <a:ext uri="{FF2B5EF4-FFF2-40B4-BE49-F238E27FC236}">
                  <a16:creationId xmlns:a16="http://schemas.microsoft.com/office/drawing/2014/main" id="{5E6D0392-F692-4695-9F0F-383CD97FBD20}"/>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651" name="Group 24">
            <a:extLst>
              <a:ext uri="{FF2B5EF4-FFF2-40B4-BE49-F238E27FC236}">
                <a16:creationId xmlns:a16="http://schemas.microsoft.com/office/drawing/2014/main" id="{D200D014-EE4D-4F9F-9DC4-33C019012A1E}"/>
              </a:ext>
            </a:extLst>
          </p:cNvPr>
          <p:cNvGrpSpPr>
            <a:grpSpLocks noChangeAspect="1"/>
          </p:cNvGrpSpPr>
          <p:nvPr/>
        </p:nvGrpSpPr>
        <p:grpSpPr bwMode="auto">
          <a:xfrm>
            <a:off x="6915161" y="1505834"/>
            <a:ext cx="336674" cy="336674"/>
            <a:chOff x="1626" y="-1079"/>
            <a:chExt cx="588" cy="588"/>
          </a:xfrm>
        </p:grpSpPr>
        <p:sp>
          <p:nvSpPr>
            <p:cNvPr id="1652" name="Freeform 25">
              <a:extLst>
                <a:ext uri="{FF2B5EF4-FFF2-40B4-BE49-F238E27FC236}">
                  <a16:creationId xmlns:a16="http://schemas.microsoft.com/office/drawing/2014/main" id="{D2F98928-F859-4A01-A48F-3B5A9D6CB8E6}"/>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53" name="Freeform 26">
              <a:extLst>
                <a:ext uri="{FF2B5EF4-FFF2-40B4-BE49-F238E27FC236}">
                  <a16:creationId xmlns:a16="http://schemas.microsoft.com/office/drawing/2014/main" id="{97ABB089-25A5-46EB-BDF4-7B1C137C0BDE}"/>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54" name="Freeform 27">
              <a:extLst>
                <a:ext uri="{FF2B5EF4-FFF2-40B4-BE49-F238E27FC236}">
                  <a16:creationId xmlns:a16="http://schemas.microsoft.com/office/drawing/2014/main" id="{4AA88657-C7E2-43FF-BD5F-D4C80541B600}"/>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55" name="Freeform 28">
              <a:extLst>
                <a:ext uri="{FF2B5EF4-FFF2-40B4-BE49-F238E27FC236}">
                  <a16:creationId xmlns:a16="http://schemas.microsoft.com/office/drawing/2014/main" id="{B37D1A9C-6A9D-40DE-B4C2-7BBB2C45AC4C}"/>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41" name="INFECTED">
            <a:extLst>
              <a:ext uri="{FF2B5EF4-FFF2-40B4-BE49-F238E27FC236}">
                <a16:creationId xmlns:a16="http://schemas.microsoft.com/office/drawing/2014/main" id="{D8A5491D-2DDC-43BD-8AFB-E34C25FD9424}"/>
              </a:ext>
            </a:extLst>
          </p:cNvPr>
          <p:cNvGrpSpPr/>
          <p:nvPr/>
        </p:nvGrpSpPr>
        <p:grpSpPr>
          <a:xfrm>
            <a:off x="5949501" y="3356525"/>
            <a:ext cx="460498" cy="678055"/>
            <a:chOff x="5520823" y="3408139"/>
            <a:chExt cx="460498" cy="678055"/>
          </a:xfrm>
        </p:grpSpPr>
        <p:sp>
          <p:nvSpPr>
            <p:cNvPr id="1615" name="Oval 1614">
              <a:extLst>
                <a:ext uri="{FF2B5EF4-FFF2-40B4-BE49-F238E27FC236}">
                  <a16:creationId xmlns:a16="http://schemas.microsoft.com/office/drawing/2014/main" id="{CC622075-8CFC-4CF3-AAE9-3148EFE7FE32}"/>
                </a:ext>
              </a:extLst>
            </p:cNvPr>
            <p:cNvSpPr/>
            <p:nvPr/>
          </p:nvSpPr>
          <p:spPr>
            <a:xfrm>
              <a:off x="5696614" y="3977278"/>
              <a:ext cx="108916" cy="108916"/>
            </a:xfrm>
            <a:prstGeom prst="ellipse">
              <a:avLst/>
            </a:prstGeom>
            <a:solidFill>
              <a:schemeClr val="accent6"/>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34" name="Group 10">
              <a:extLst>
                <a:ext uri="{FF2B5EF4-FFF2-40B4-BE49-F238E27FC236}">
                  <a16:creationId xmlns:a16="http://schemas.microsoft.com/office/drawing/2014/main" id="{769AA907-6E12-49E4-8605-36BDBEBCB554}"/>
                </a:ext>
              </a:extLst>
            </p:cNvPr>
            <p:cNvGrpSpPr>
              <a:grpSpLocks noChangeAspect="1"/>
            </p:cNvGrpSpPr>
            <p:nvPr/>
          </p:nvGrpSpPr>
          <p:grpSpPr bwMode="auto">
            <a:xfrm>
              <a:off x="5520823" y="3408139"/>
              <a:ext cx="460498" cy="541287"/>
              <a:chOff x="2768" y="1485"/>
              <a:chExt cx="228" cy="268"/>
            </a:xfrm>
          </p:grpSpPr>
          <p:sp>
            <p:nvSpPr>
              <p:cNvPr id="38" name="Freeform 11">
                <a:extLst>
                  <a:ext uri="{FF2B5EF4-FFF2-40B4-BE49-F238E27FC236}">
                    <a16:creationId xmlns:a16="http://schemas.microsoft.com/office/drawing/2014/main" id="{AB681F1A-4EFE-42B4-B80B-CAAAEE67F843}"/>
                  </a:ext>
                </a:extLst>
              </p:cNvPr>
              <p:cNvSpPr>
                <a:spLocks/>
              </p:cNvSpPr>
              <p:nvPr/>
            </p:nvSpPr>
            <p:spPr bwMode="auto">
              <a:xfrm>
                <a:off x="2768" y="1485"/>
                <a:ext cx="228" cy="268"/>
              </a:xfrm>
              <a:custGeom>
                <a:avLst/>
                <a:gdLst>
                  <a:gd name="T0" fmla="*/ 124 w 126"/>
                  <a:gd name="T1" fmla="*/ 61 h 149"/>
                  <a:gd name="T2" fmla="*/ 65 w 126"/>
                  <a:gd name="T3" fmla="*/ 1 h 149"/>
                  <a:gd name="T4" fmla="*/ 0 w 126"/>
                  <a:gd name="T5" fmla="*/ 64 h 149"/>
                  <a:gd name="T6" fmla="*/ 47 w 126"/>
                  <a:gd name="T7" fmla="*/ 124 h 149"/>
                  <a:gd name="T8" fmla="*/ 62 w 126"/>
                  <a:gd name="T9" fmla="*/ 149 h 149"/>
                  <a:gd name="T10" fmla="*/ 78 w 126"/>
                  <a:gd name="T11" fmla="*/ 124 h 149"/>
                  <a:gd name="T12" fmla="*/ 124 w 126"/>
                  <a:gd name="T13" fmla="*/ 61 h 149"/>
                </a:gdLst>
                <a:ahLst/>
                <a:cxnLst>
                  <a:cxn ang="0">
                    <a:pos x="T0" y="T1"/>
                  </a:cxn>
                  <a:cxn ang="0">
                    <a:pos x="T2" y="T3"/>
                  </a:cxn>
                  <a:cxn ang="0">
                    <a:pos x="T4" y="T5"/>
                  </a:cxn>
                  <a:cxn ang="0">
                    <a:pos x="T6" y="T7"/>
                  </a:cxn>
                  <a:cxn ang="0">
                    <a:pos x="T8" y="T9"/>
                  </a:cxn>
                  <a:cxn ang="0">
                    <a:pos x="T10" y="T11"/>
                  </a:cxn>
                  <a:cxn ang="0">
                    <a:pos x="T12" y="T13"/>
                  </a:cxn>
                </a:cxnLst>
                <a:rect l="0" t="0" r="r" b="b"/>
                <a:pathLst>
                  <a:path w="126" h="149">
                    <a:moveTo>
                      <a:pt x="124" y="61"/>
                    </a:moveTo>
                    <a:cubicBezTo>
                      <a:pt x="123" y="29"/>
                      <a:pt x="97" y="3"/>
                      <a:pt x="65" y="1"/>
                    </a:cubicBezTo>
                    <a:cubicBezTo>
                      <a:pt x="30" y="0"/>
                      <a:pt x="0" y="28"/>
                      <a:pt x="0" y="64"/>
                    </a:cubicBezTo>
                    <a:cubicBezTo>
                      <a:pt x="0" y="93"/>
                      <a:pt x="20" y="117"/>
                      <a:pt x="47" y="124"/>
                    </a:cubicBezTo>
                    <a:cubicBezTo>
                      <a:pt x="62" y="149"/>
                      <a:pt x="62" y="149"/>
                      <a:pt x="62" y="149"/>
                    </a:cubicBezTo>
                    <a:cubicBezTo>
                      <a:pt x="78" y="124"/>
                      <a:pt x="78" y="124"/>
                      <a:pt x="78" y="124"/>
                    </a:cubicBezTo>
                    <a:cubicBezTo>
                      <a:pt x="106" y="117"/>
                      <a:pt x="126" y="91"/>
                      <a:pt x="124" y="61"/>
                    </a:cubicBezTo>
                    <a:close/>
                  </a:path>
                </a:pathLst>
              </a:custGeom>
              <a:solidFill>
                <a:srgbClr val="E324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9" name="Freeform 12">
                <a:extLst>
                  <a:ext uri="{FF2B5EF4-FFF2-40B4-BE49-F238E27FC236}">
                    <a16:creationId xmlns:a16="http://schemas.microsoft.com/office/drawing/2014/main" id="{A3D5D0C1-CC83-4575-B08D-50938D831A0B}"/>
                  </a:ext>
                </a:extLst>
              </p:cNvPr>
              <p:cNvSpPr>
                <a:spLocks noEditPoints="1"/>
              </p:cNvSpPr>
              <p:nvPr/>
            </p:nvSpPr>
            <p:spPr bwMode="auto">
              <a:xfrm>
                <a:off x="2871" y="1595"/>
                <a:ext cx="20" cy="21"/>
              </a:xfrm>
              <a:custGeom>
                <a:avLst/>
                <a:gdLst>
                  <a:gd name="T0" fmla="*/ 11 w 11"/>
                  <a:gd name="T1" fmla="*/ 6 h 12"/>
                  <a:gd name="T2" fmla="*/ 5 w 11"/>
                  <a:gd name="T3" fmla="*/ 0 h 12"/>
                  <a:gd name="T4" fmla="*/ 0 w 11"/>
                  <a:gd name="T5" fmla="*/ 6 h 12"/>
                  <a:gd name="T6" fmla="*/ 5 w 11"/>
                  <a:gd name="T7" fmla="*/ 12 h 12"/>
                  <a:gd name="T8" fmla="*/ 11 w 11"/>
                  <a:gd name="T9" fmla="*/ 6 h 12"/>
                  <a:gd name="T10" fmla="*/ 2 w 11"/>
                  <a:gd name="T11" fmla="*/ 6 h 12"/>
                  <a:gd name="T12" fmla="*/ 5 w 11"/>
                  <a:gd name="T13" fmla="*/ 3 h 12"/>
                  <a:gd name="T14" fmla="*/ 8 w 11"/>
                  <a:gd name="T15" fmla="*/ 6 h 12"/>
                  <a:gd name="T16" fmla="*/ 5 w 11"/>
                  <a:gd name="T17" fmla="*/ 9 h 12"/>
                  <a:gd name="T18" fmla="*/ 2 w 11"/>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2">
                    <a:moveTo>
                      <a:pt x="11" y="6"/>
                    </a:moveTo>
                    <a:cubicBezTo>
                      <a:pt x="11" y="3"/>
                      <a:pt x="8" y="0"/>
                      <a:pt x="5" y="0"/>
                    </a:cubicBezTo>
                    <a:cubicBezTo>
                      <a:pt x="2" y="0"/>
                      <a:pt x="0" y="3"/>
                      <a:pt x="0" y="6"/>
                    </a:cubicBezTo>
                    <a:cubicBezTo>
                      <a:pt x="0" y="9"/>
                      <a:pt x="2" y="12"/>
                      <a:pt x="5" y="12"/>
                    </a:cubicBezTo>
                    <a:cubicBezTo>
                      <a:pt x="8" y="12"/>
                      <a:pt x="11" y="9"/>
                      <a:pt x="11" y="6"/>
                    </a:cubicBezTo>
                    <a:close/>
                    <a:moveTo>
                      <a:pt x="2" y="6"/>
                    </a:moveTo>
                    <a:cubicBezTo>
                      <a:pt x="2" y="4"/>
                      <a:pt x="4" y="3"/>
                      <a:pt x="5" y="3"/>
                    </a:cubicBezTo>
                    <a:cubicBezTo>
                      <a:pt x="7" y="3"/>
                      <a:pt x="8" y="4"/>
                      <a:pt x="8" y="6"/>
                    </a:cubicBezTo>
                    <a:cubicBezTo>
                      <a:pt x="8" y="8"/>
                      <a:pt x="7" y="9"/>
                      <a:pt x="5" y="9"/>
                    </a:cubicBezTo>
                    <a:cubicBezTo>
                      <a:pt x="4" y="9"/>
                      <a:pt x="2" y="8"/>
                      <a:pt x="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 name="Freeform 13">
                <a:extLst>
                  <a:ext uri="{FF2B5EF4-FFF2-40B4-BE49-F238E27FC236}">
                    <a16:creationId xmlns:a16="http://schemas.microsoft.com/office/drawing/2014/main" id="{AFBA8C37-480E-4EE0-B5C2-CB257EEC4327}"/>
                  </a:ext>
                </a:extLst>
              </p:cNvPr>
              <p:cNvSpPr>
                <a:spLocks noEditPoints="1"/>
              </p:cNvSpPr>
              <p:nvPr/>
            </p:nvSpPr>
            <p:spPr bwMode="auto">
              <a:xfrm>
                <a:off x="2802" y="1519"/>
                <a:ext cx="158" cy="153"/>
              </a:xfrm>
              <a:custGeom>
                <a:avLst/>
                <a:gdLst>
                  <a:gd name="T0" fmla="*/ 66 w 87"/>
                  <a:gd name="T1" fmla="*/ 36 h 85"/>
                  <a:gd name="T2" fmla="*/ 43 w 87"/>
                  <a:gd name="T3" fmla="*/ 0 h 85"/>
                  <a:gd name="T4" fmla="*/ 21 w 87"/>
                  <a:gd name="T5" fmla="*/ 36 h 85"/>
                  <a:gd name="T6" fmla="*/ 1 w 87"/>
                  <a:gd name="T7" fmla="*/ 59 h 85"/>
                  <a:gd name="T8" fmla="*/ 22 w 87"/>
                  <a:gd name="T9" fmla="*/ 84 h 85"/>
                  <a:gd name="T10" fmla="*/ 46 w 87"/>
                  <a:gd name="T11" fmla="*/ 79 h 85"/>
                  <a:gd name="T12" fmla="*/ 65 w 87"/>
                  <a:gd name="T13" fmla="*/ 84 h 85"/>
                  <a:gd name="T14" fmla="*/ 86 w 87"/>
                  <a:gd name="T15" fmla="*/ 59 h 85"/>
                  <a:gd name="T16" fmla="*/ 35 w 87"/>
                  <a:gd name="T17" fmla="*/ 57 h 85"/>
                  <a:gd name="T18" fmla="*/ 37 w 87"/>
                  <a:gd name="T19" fmla="*/ 63 h 85"/>
                  <a:gd name="T20" fmla="*/ 35 w 87"/>
                  <a:gd name="T21" fmla="*/ 56 h 85"/>
                  <a:gd name="T22" fmla="*/ 23 w 87"/>
                  <a:gd name="T23" fmla="*/ 48 h 85"/>
                  <a:gd name="T24" fmla="*/ 22 w 87"/>
                  <a:gd name="T25" fmla="*/ 81 h 85"/>
                  <a:gd name="T26" fmla="*/ 3 w 87"/>
                  <a:gd name="T27" fmla="*/ 65 h 85"/>
                  <a:gd name="T28" fmla="*/ 38 w 87"/>
                  <a:gd name="T29" fmla="*/ 57 h 85"/>
                  <a:gd name="T30" fmla="*/ 37 w 87"/>
                  <a:gd name="T31" fmla="*/ 54 h 85"/>
                  <a:gd name="T32" fmla="*/ 29 w 87"/>
                  <a:gd name="T33" fmla="*/ 47 h 85"/>
                  <a:gd name="T34" fmla="*/ 24 w 87"/>
                  <a:gd name="T35" fmla="*/ 45 h 85"/>
                  <a:gd name="T36" fmla="*/ 6 w 87"/>
                  <a:gd name="T37" fmla="*/ 50 h 85"/>
                  <a:gd name="T38" fmla="*/ 24 w 87"/>
                  <a:gd name="T39" fmla="*/ 38 h 85"/>
                  <a:gd name="T40" fmla="*/ 24 w 87"/>
                  <a:gd name="T41" fmla="*/ 18 h 85"/>
                  <a:gd name="T42" fmla="*/ 31 w 87"/>
                  <a:gd name="T43" fmla="*/ 35 h 85"/>
                  <a:gd name="T44" fmla="*/ 53 w 87"/>
                  <a:gd name="T45" fmla="*/ 37 h 85"/>
                  <a:gd name="T46" fmla="*/ 57 w 87"/>
                  <a:gd name="T47" fmla="*/ 34 h 85"/>
                  <a:gd name="T48" fmla="*/ 65 w 87"/>
                  <a:gd name="T49" fmla="*/ 27 h 85"/>
                  <a:gd name="T50" fmla="*/ 63 w 87"/>
                  <a:gd name="T51" fmla="*/ 39 h 85"/>
                  <a:gd name="T52" fmla="*/ 79 w 87"/>
                  <a:gd name="T53" fmla="*/ 49 h 85"/>
                  <a:gd name="T54" fmla="*/ 61 w 87"/>
                  <a:gd name="T55" fmla="*/ 45 h 85"/>
                  <a:gd name="T56" fmla="*/ 51 w 87"/>
                  <a:gd name="T57" fmla="*/ 52 h 85"/>
                  <a:gd name="T58" fmla="*/ 47 w 87"/>
                  <a:gd name="T59" fmla="*/ 66 h 85"/>
                  <a:gd name="T60" fmla="*/ 55 w 87"/>
                  <a:gd name="T61" fmla="*/ 81 h 85"/>
                  <a:gd name="T62" fmla="*/ 42 w 87"/>
                  <a:gd name="T63" fmla="*/ 73 h 85"/>
                  <a:gd name="T64" fmla="*/ 40 w 87"/>
                  <a:gd name="T65" fmla="*/ 65 h 85"/>
                  <a:gd name="T66" fmla="*/ 58 w 87"/>
                  <a:gd name="T67" fmla="*/ 10 h 85"/>
                  <a:gd name="T68" fmla="*/ 59 w 87"/>
                  <a:gd name="T69" fmla="*/ 13 h 85"/>
                  <a:gd name="T70" fmla="*/ 60 w 87"/>
                  <a:gd name="T71" fmla="*/ 16 h 85"/>
                  <a:gd name="T72" fmla="*/ 43 w 87"/>
                  <a:gd name="T73" fmla="*/ 28 h 85"/>
                  <a:gd name="T74" fmla="*/ 27 w 87"/>
                  <a:gd name="T75" fmla="*/ 16 h 85"/>
                  <a:gd name="T76" fmla="*/ 28 w 87"/>
                  <a:gd name="T77" fmla="*/ 13 h 85"/>
                  <a:gd name="T78" fmla="*/ 29 w 87"/>
                  <a:gd name="T79" fmla="*/ 10 h 85"/>
                  <a:gd name="T80" fmla="*/ 43 w 87"/>
                  <a:gd name="T81" fmla="*/ 37 h 85"/>
                  <a:gd name="T82" fmla="*/ 61 w 87"/>
                  <a:gd name="T83" fmla="*/ 49 h 85"/>
                  <a:gd name="T84" fmla="*/ 59 w 87"/>
                  <a:gd name="T85" fmla="*/ 80 h 85"/>
                  <a:gd name="T86" fmla="*/ 64 w 87"/>
                  <a:gd name="T87" fmla="*/ 48 h 85"/>
                  <a:gd name="T88" fmla="*/ 83 w 87"/>
                  <a:gd name="T89" fmla="*/ 59 h 85"/>
                  <a:gd name="T90" fmla="*/ 65 w 87"/>
                  <a:gd name="T91" fmla="*/ 81 h 85"/>
                  <a:gd name="T92" fmla="*/ 60 w 87"/>
                  <a:gd name="T93" fmla="*/ 8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5">
                    <a:moveTo>
                      <a:pt x="86" y="59"/>
                    </a:moveTo>
                    <a:cubicBezTo>
                      <a:pt x="85" y="52"/>
                      <a:pt x="82" y="46"/>
                      <a:pt x="77" y="41"/>
                    </a:cubicBezTo>
                    <a:cubicBezTo>
                      <a:pt x="74" y="39"/>
                      <a:pt x="70" y="37"/>
                      <a:pt x="66" y="36"/>
                    </a:cubicBezTo>
                    <a:cubicBezTo>
                      <a:pt x="67" y="33"/>
                      <a:pt x="68" y="30"/>
                      <a:pt x="68" y="27"/>
                    </a:cubicBezTo>
                    <a:cubicBezTo>
                      <a:pt x="68" y="20"/>
                      <a:pt x="65" y="13"/>
                      <a:pt x="60" y="9"/>
                    </a:cubicBezTo>
                    <a:cubicBezTo>
                      <a:pt x="56" y="3"/>
                      <a:pt x="50" y="0"/>
                      <a:pt x="43" y="0"/>
                    </a:cubicBezTo>
                    <a:cubicBezTo>
                      <a:pt x="37" y="0"/>
                      <a:pt x="30" y="3"/>
                      <a:pt x="27" y="9"/>
                    </a:cubicBezTo>
                    <a:cubicBezTo>
                      <a:pt x="22" y="13"/>
                      <a:pt x="19" y="20"/>
                      <a:pt x="19" y="27"/>
                    </a:cubicBezTo>
                    <a:cubicBezTo>
                      <a:pt x="19" y="30"/>
                      <a:pt x="20" y="33"/>
                      <a:pt x="21" y="36"/>
                    </a:cubicBezTo>
                    <a:cubicBezTo>
                      <a:pt x="17" y="37"/>
                      <a:pt x="13" y="39"/>
                      <a:pt x="10" y="41"/>
                    </a:cubicBezTo>
                    <a:cubicBezTo>
                      <a:pt x="5" y="46"/>
                      <a:pt x="1" y="52"/>
                      <a:pt x="1" y="59"/>
                    </a:cubicBezTo>
                    <a:cubicBezTo>
                      <a:pt x="1" y="59"/>
                      <a:pt x="1" y="59"/>
                      <a:pt x="1" y="59"/>
                    </a:cubicBezTo>
                    <a:cubicBezTo>
                      <a:pt x="1" y="61"/>
                      <a:pt x="0" y="63"/>
                      <a:pt x="0" y="65"/>
                    </a:cubicBezTo>
                    <a:cubicBezTo>
                      <a:pt x="0" y="75"/>
                      <a:pt x="9" y="84"/>
                      <a:pt x="20" y="84"/>
                    </a:cubicBezTo>
                    <a:cubicBezTo>
                      <a:pt x="21" y="84"/>
                      <a:pt x="21" y="84"/>
                      <a:pt x="22" y="84"/>
                    </a:cubicBezTo>
                    <a:cubicBezTo>
                      <a:pt x="29" y="85"/>
                      <a:pt x="36" y="83"/>
                      <a:pt x="41" y="79"/>
                    </a:cubicBezTo>
                    <a:cubicBezTo>
                      <a:pt x="42" y="78"/>
                      <a:pt x="42" y="77"/>
                      <a:pt x="43" y="76"/>
                    </a:cubicBezTo>
                    <a:cubicBezTo>
                      <a:pt x="44" y="77"/>
                      <a:pt x="45" y="78"/>
                      <a:pt x="46" y="79"/>
                    </a:cubicBezTo>
                    <a:cubicBezTo>
                      <a:pt x="50" y="82"/>
                      <a:pt x="56" y="84"/>
                      <a:pt x="61" y="84"/>
                    </a:cubicBezTo>
                    <a:cubicBezTo>
                      <a:pt x="61" y="84"/>
                      <a:pt x="61" y="84"/>
                      <a:pt x="61" y="84"/>
                    </a:cubicBezTo>
                    <a:cubicBezTo>
                      <a:pt x="62" y="84"/>
                      <a:pt x="64" y="84"/>
                      <a:pt x="65" y="84"/>
                    </a:cubicBezTo>
                    <a:cubicBezTo>
                      <a:pt x="65" y="84"/>
                      <a:pt x="66" y="84"/>
                      <a:pt x="67" y="84"/>
                    </a:cubicBezTo>
                    <a:cubicBezTo>
                      <a:pt x="78" y="84"/>
                      <a:pt x="87" y="75"/>
                      <a:pt x="87" y="65"/>
                    </a:cubicBezTo>
                    <a:cubicBezTo>
                      <a:pt x="87" y="63"/>
                      <a:pt x="86" y="61"/>
                      <a:pt x="86" y="59"/>
                    </a:cubicBezTo>
                    <a:close/>
                    <a:moveTo>
                      <a:pt x="35" y="56"/>
                    </a:moveTo>
                    <a:cubicBezTo>
                      <a:pt x="35" y="56"/>
                      <a:pt x="35" y="57"/>
                      <a:pt x="35" y="57"/>
                    </a:cubicBezTo>
                    <a:cubicBezTo>
                      <a:pt x="35" y="57"/>
                      <a:pt x="35" y="57"/>
                      <a:pt x="35" y="57"/>
                    </a:cubicBezTo>
                    <a:cubicBezTo>
                      <a:pt x="35" y="57"/>
                      <a:pt x="35" y="57"/>
                      <a:pt x="36" y="58"/>
                    </a:cubicBezTo>
                    <a:cubicBezTo>
                      <a:pt x="36" y="59"/>
                      <a:pt x="37" y="60"/>
                      <a:pt x="37" y="61"/>
                    </a:cubicBezTo>
                    <a:cubicBezTo>
                      <a:pt x="37" y="62"/>
                      <a:pt x="37" y="63"/>
                      <a:pt x="37" y="63"/>
                    </a:cubicBezTo>
                    <a:cubicBezTo>
                      <a:pt x="37" y="64"/>
                      <a:pt x="37" y="64"/>
                      <a:pt x="37" y="65"/>
                    </a:cubicBezTo>
                    <a:cubicBezTo>
                      <a:pt x="30" y="62"/>
                      <a:pt x="26" y="56"/>
                      <a:pt x="26" y="48"/>
                    </a:cubicBezTo>
                    <a:cubicBezTo>
                      <a:pt x="30" y="50"/>
                      <a:pt x="33" y="53"/>
                      <a:pt x="35" y="56"/>
                    </a:cubicBezTo>
                    <a:close/>
                    <a:moveTo>
                      <a:pt x="20" y="48"/>
                    </a:moveTo>
                    <a:cubicBezTo>
                      <a:pt x="21" y="48"/>
                      <a:pt x="22" y="48"/>
                      <a:pt x="23" y="48"/>
                    </a:cubicBezTo>
                    <a:cubicBezTo>
                      <a:pt x="23" y="48"/>
                      <a:pt x="23" y="48"/>
                      <a:pt x="23" y="48"/>
                    </a:cubicBezTo>
                    <a:cubicBezTo>
                      <a:pt x="23" y="57"/>
                      <a:pt x="28" y="65"/>
                      <a:pt x="37" y="67"/>
                    </a:cubicBezTo>
                    <a:cubicBezTo>
                      <a:pt x="36" y="71"/>
                      <a:pt x="34" y="75"/>
                      <a:pt x="31" y="78"/>
                    </a:cubicBezTo>
                    <a:cubicBezTo>
                      <a:pt x="28" y="80"/>
                      <a:pt x="25" y="81"/>
                      <a:pt x="22" y="81"/>
                    </a:cubicBezTo>
                    <a:cubicBezTo>
                      <a:pt x="22" y="81"/>
                      <a:pt x="22" y="81"/>
                      <a:pt x="22" y="82"/>
                    </a:cubicBezTo>
                    <a:cubicBezTo>
                      <a:pt x="21" y="82"/>
                      <a:pt x="21" y="82"/>
                      <a:pt x="20" y="82"/>
                    </a:cubicBezTo>
                    <a:cubicBezTo>
                      <a:pt x="11" y="82"/>
                      <a:pt x="3" y="74"/>
                      <a:pt x="3" y="65"/>
                    </a:cubicBezTo>
                    <a:cubicBezTo>
                      <a:pt x="3" y="55"/>
                      <a:pt x="11" y="48"/>
                      <a:pt x="20" y="48"/>
                    </a:cubicBezTo>
                    <a:close/>
                    <a:moveTo>
                      <a:pt x="40" y="65"/>
                    </a:moveTo>
                    <a:cubicBezTo>
                      <a:pt x="40" y="62"/>
                      <a:pt x="39" y="59"/>
                      <a:pt x="38" y="57"/>
                    </a:cubicBezTo>
                    <a:cubicBezTo>
                      <a:pt x="38" y="57"/>
                      <a:pt x="38" y="57"/>
                      <a:pt x="38" y="56"/>
                    </a:cubicBezTo>
                    <a:cubicBezTo>
                      <a:pt x="38" y="56"/>
                      <a:pt x="38" y="55"/>
                      <a:pt x="37" y="55"/>
                    </a:cubicBezTo>
                    <a:cubicBezTo>
                      <a:pt x="37" y="54"/>
                      <a:pt x="37" y="54"/>
                      <a:pt x="37" y="54"/>
                    </a:cubicBezTo>
                    <a:cubicBezTo>
                      <a:pt x="36" y="53"/>
                      <a:pt x="36" y="53"/>
                      <a:pt x="36" y="53"/>
                    </a:cubicBezTo>
                    <a:cubicBezTo>
                      <a:pt x="36" y="53"/>
                      <a:pt x="36" y="52"/>
                      <a:pt x="35" y="52"/>
                    </a:cubicBezTo>
                    <a:cubicBezTo>
                      <a:pt x="34" y="50"/>
                      <a:pt x="31" y="48"/>
                      <a:pt x="29" y="47"/>
                    </a:cubicBezTo>
                    <a:cubicBezTo>
                      <a:pt x="28" y="46"/>
                      <a:pt x="28" y="46"/>
                      <a:pt x="27" y="46"/>
                    </a:cubicBezTo>
                    <a:cubicBezTo>
                      <a:pt x="27" y="46"/>
                      <a:pt x="26" y="46"/>
                      <a:pt x="25" y="45"/>
                    </a:cubicBezTo>
                    <a:cubicBezTo>
                      <a:pt x="25" y="45"/>
                      <a:pt x="24" y="45"/>
                      <a:pt x="24" y="45"/>
                    </a:cubicBezTo>
                    <a:cubicBezTo>
                      <a:pt x="23" y="45"/>
                      <a:pt x="22" y="45"/>
                      <a:pt x="22" y="45"/>
                    </a:cubicBezTo>
                    <a:cubicBezTo>
                      <a:pt x="17" y="44"/>
                      <a:pt x="11" y="46"/>
                      <a:pt x="7" y="49"/>
                    </a:cubicBezTo>
                    <a:cubicBezTo>
                      <a:pt x="7" y="50"/>
                      <a:pt x="6" y="50"/>
                      <a:pt x="6" y="50"/>
                    </a:cubicBezTo>
                    <a:cubicBezTo>
                      <a:pt x="7" y="48"/>
                      <a:pt x="9" y="45"/>
                      <a:pt x="12" y="43"/>
                    </a:cubicBezTo>
                    <a:cubicBezTo>
                      <a:pt x="15" y="41"/>
                      <a:pt x="19" y="39"/>
                      <a:pt x="23" y="39"/>
                    </a:cubicBezTo>
                    <a:cubicBezTo>
                      <a:pt x="24" y="39"/>
                      <a:pt x="24" y="38"/>
                      <a:pt x="24" y="38"/>
                    </a:cubicBezTo>
                    <a:cubicBezTo>
                      <a:pt x="24" y="38"/>
                      <a:pt x="24" y="37"/>
                      <a:pt x="24" y="37"/>
                    </a:cubicBezTo>
                    <a:cubicBezTo>
                      <a:pt x="23" y="34"/>
                      <a:pt x="22" y="30"/>
                      <a:pt x="22" y="27"/>
                    </a:cubicBezTo>
                    <a:cubicBezTo>
                      <a:pt x="22" y="24"/>
                      <a:pt x="22" y="21"/>
                      <a:pt x="24" y="18"/>
                    </a:cubicBezTo>
                    <a:cubicBezTo>
                      <a:pt x="24" y="19"/>
                      <a:pt x="23" y="19"/>
                      <a:pt x="23" y="20"/>
                    </a:cubicBezTo>
                    <a:cubicBezTo>
                      <a:pt x="23" y="25"/>
                      <a:pt x="26" y="30"/>
                      <a:pt x="29" y="34"/>
                    </a:cubicBezTo>
                    <a:cubicBezTo>
                      <a:pt x="30" y="34"/>
                      <a:pt x="30" y="35"/>
                      <a:pt x="31" y="35"/>
                    </a:cubicBezTo>
                    <a:cubicBezTo>
                      <a:pt x="31" y="35"/>
                      <a:pt x="32" y="36"/>
                      <a:pt x="32" y="36"/>
                    </a:cubicBezTo>
                    <a:cubicBezTo>
                      <a:pt x="33" y="37"/>
                      <a:pt x="33" y="37"/>
                      <a:pt x="34" y="37"/>
                    </a:cubicBezTo>
                    <a:cubicBezTo>
                      <a:pt x="40" y="40"/>
                      <a:pt x="47" y="40"/>
                      <a:pt x="53" y="37"/>
                    </a:cubicBezTo>
                    <a:cubicBezTo>
                      <a:pt x="53" y="37"/>
                      <a:pt x="54" y="37"/>
                      <a:pt x="54" y="36"/>
                    </a:cubicBezTo>
                    <a:cubicBezTo>
                      <a:pt x="55" y="36"/>
                      <a:pt x="55" y="35"/>
                      <a:pt x="56" y="35"/>
                    </a:cubicBezTo>
                    <a:cubicBezTo>
                      <a:pt x="56" y="35"/>
                      <a:pt x="57" y="34"/>
                      <a:pt x="57" y="34"/>
                    </a:cubicBezTo>
                    <a:cubicBezTo>
                      <a:pt x="61" y="30"/>
                      <a:pt x="63" y="25"/>
                      <a:pt x="63" y="20"/>
                    </a:cubicBezTo>
                    <a:cubicBezTo>
                      <a:pt x="63" y="19"/>
                      <a:pt x="63" y="19"/>
                      <a:pt x="63" y="18"/>
                    </a:cubicBezTo>
                    <a:cubicBezTo>
                      <a:pt x="64" y="21"/>
                      <a:pt x="65" y="24"/>
                      <a:pt x="65" y="27"/>
                    </a:cubicBezTo>
                    <a:cubicBezTo>
                      <a:pt x="65" y="30"/>
                      <a:pt x="64" y="34"/>
                      <a:pt x="62" y="37"/>
                    </a:cubicBezTo>
                    <a:cubicBezTo>
                      <a:pt x="62" y="37"/>
                      <a:pt x="62" y="38"/>
                      <a:pt x="62" y="38"/>
                    </a:cubicBezTo>
                    <a:cubicBezTo>
                      <a:pt x="63" y="38"/>
                      <a:pt x="63" y="39"/>
                      <a:pt x="63" y="39"/>
                    </a:cubicBezTo>
                    <a:cubicBezTo>
                      <a:pt x="68" y="39"/>
                      <a:pt x="72" y="41"/>
                      <a:pt x="75" y="43"/>
                    </a:cubicBezTo>
                    <a:cubicBezTo>
                      <a:pt x="77" y="45"/>
                      <a:pt x="79" y="48"/>
                      <a:pt x="81" y="50"/>
                    </a:cubicBezTo>
                    <a:cubicBezTo>
                      <a:pt x="80" y="50"/>
                      <a:pt x="80" y="50"/>
                      <a:pt x="79" y="49"/>
                    </a:cubicBezTo>
                    <a:cubicBezTo>
                      <a:pt x="75" y="46"/>
                      <a:pt x="70" y="44"/>
                      <a:pt x="65" y="45"/>
                    </a:cubicBezTo>
                    <a:cubicBezTo>
                      <a:pt x="64" y="45"/>
                      <a:pt x="64" y="45"/>
                      <a:pt x="63" y="45"/>
                    </a:cubicBezTo>
                    <a:cubicBezTo>
                      <a:pt x="62" y="45"/>
                      <a:pt x="62" y="45"/>
                      <a:pt x="61" y="45"/>
                    </a:cubicBezTo>
                    <a:cubicBezTo>
                      <a:pt x="61" y="46"/>
                      <a:pt x="60" y="46"/>
                      <a:pt x="59" y="46"/>
                    </a:cubicBezTo>
                    <a:cubicBezTo>
                      <a:pt x="59" y="46"/>
                      <a:pt x="58" y="46"/>
                      <a:pt x="58" y="47"/>
                    </a:cubicBezTo>
                    <a:cubicBezTo>
                      <a:pt x="55" y="48"/>
                      <a:pt x="53" y="50"/>
                      <a:pt x="51" y="52"/>
                    </a:cubicBezTo>
                    <a:cubicBezTo>
                      <a:pt x="49" y="55"/>
                      <a:pt x="47" y="58"/>
                      <a:pt x="47" y="62"/>
                    </a:cubicBezTo>
                    <a:cubicBezTo>
                      <a:pt x="47" y="63"/>
                      <a:pt x="47" y="63"/>
                      <a:pt x="47" y="64"/>
                    </a:cubicBezTo>
                    <a:cubicBezTo>
                      <a:pt x="47" y="65"/>
                      <a:pt x="47" y="65"/>
                      <a:pt x="47" y="66"/>
                    </a:cubicBezTo>
                    <a:cubicBezTo>
                      <a:pt x="47" y="66"/>
                      <a:pt x="47" y="67"/>
                      <a:pt x="47" y="68"/>
                    </a:cubicBezTo>
                    <a:cubicBezTo>
                      <a:pt x="48" y="72"/>
                      <a:pt x="50" y="77"/>
                      <a:pt x="54" y="80"/>
                    </a:cubicBezTo>
                    <a:cubicBezTo>
                      <a:pt x="55" y="80"/>
                      <a:pt x="55" y="80"/>
                      <a:pt x="55" y="81"/>
                    </a:cubicBezTo>
                    <a:cubicBezTo>
                      <a:pt x="53" y="80"/>
                      <a:pt x="50" y="79"/>
                      <a:pt x="48" y="77"/>
                    </a:cubicBezTo>
                    <a:cubicBezTo>
                      <a:pt x="47" y="76"/>
                      <a:pt x="45" y="75"/>
                      <a:pt x="44" y="73"/>
                    </a:cubicBezTo>
                    <a:cubicBezTo>
                      <a:pt x="44" y="73"/>
                      <a:pt x="43" y="73"/>
                      <a:pt x="42" y="73"/>
                    </a:cubicBezTo>
                    <a:cubicBezTo>
                      <a:pt x="41" y="75"/>
                      <a:pt x="40" y="76"/>
                      <a:pt x="39" y="77"/>
                    </a:cubicBezTo>
                    <a:cubicBezTo>
                      <a:pt x="37" y="79"/>
                      <a:pt x="34" y="80"/>
                      <a:pt x="31" y="81"/>
                    </a:cubicBezTo>
                    <a:cubicBezTo>
                      <a:pt x="37" y="77"/>
                      <a:pt x="40" y="71"/>
                      <a:pt x="40" y="65"/>
                    </a:cubicBezTo>
                    <a:close/>
                    <a:moveTo>
                      <a:pt x="29" y="10"/>
                    </a:moveTo>
                    <a:cubicBezTo>
                      <a:pt x="32" y="5"/>
                      <a:pt x="38" y="3"/>
                      <a:pt x="43" y="3"/>
                    </a:cubicBezTo>
                    <a:cubicBezTo>
                      <a:pt x="49" y="3"/>
                      <a:pt x="54" y="5"/>
                      <a:pt x="58" y="10"/>
                    </a:cubicBezTo>
                    <a:cubicBezTo>
                      <a:pt x="58" y="10"/>
                      <a:pt x="58" y="10"/>
                      <a:pt x="58" y="10"/>
                    </a:cubicBezTo>
                    <a:cubicBezTo>
                      <a:pt x="58" y="11"/>
                      <a:pt x="58" y="12"/>
                      <a:pt x="59" y="13"/>
                    </a:cubicBezTo>
                    <a:cubicBezTo>
                      <a:pt x="59" y="13"/>
                      <a:pt x="59" y="13"/>
                      <a:pt x="59" y="13"/>
                    </a:cubicBezTo>
                    <a:cubicBezTo>
                      <a:pt x="59" y="13"/>
                      <a:pt x="59" y="14"/>
                      <a:pt x="60" y="15"/>
                    </a:cubicBezTo>
                    <a:cubicBezTo>
                      <a:pt x="60" y="15"/>
                      <a:pt x="60" y="15"/>
                      <a:pt x="60" y="16"/>
                    </a:cubicBezTo>
                    <a:cubicBezTo>
                      <a:pt x="60" y="16"/>
                      <a:pt x="60" y="16"/>
                      <a:pt x="60" y="16"/>
                    </a:cubicBezTo>
                    <a:cubicBezTo>
                      <a:pt x="60" y="18"/>
                      <a:pt x="60" y="19"/>
                      <a:pt x="60" y="20"/>
                    </a:cubicBezTo>
                    <a:cubicBezTo>
                      <a:pt x="60" y="24"/>
                      <a:pt x="59" y="28"/>
                      <a:pt x="55" y="32"/>
                    </a:cubicBezTo>
                    <a:cubicBezTo>
                      <a:pt x="52" y="29"/>
                      <a:pt x="48" y="28"/>
                      <a:pt x="43" y="28"/>
                    </a:cubicBezTo>
                    <a:cubicBezTo>
                      <a:pt x="39" y="28"/>
                      <a:pt x="35" y="29"/>
                      <a:pt x="31" y="32"/>
                    </a:cubicBezTo>
                    <a:cubicBezTo>
                      <a:pt x="28" y="28"/>
                      <a:pt x="26" y="24"/>
                      <a:pt x="26" y="20"/>
                    </a:cubicBezTo>
                    <a:cubicBezTo>
                      <a:pt x="26" y="19"/>
                      <a:pt x="26" y="18"/>
                      <a:pt x="27" y="16"/>
                    </a:cubicBezTo>
                    <a:cubicBezTo>
                      <a:pt x="27" y="16"/>
                      <a:pt x="27" y="16"/>
                      <a:pt x="27" y="16"/>
                    </a:cubicBezTo>
                    <a:cubicBezTo>
                      <a:pt x="27" y="15"/>
                      <a:pt x="27" y="15"/>
                      <a:pt x="27" y="15"/>
                    </a:cubicBezTo>
                    <a:cubicBezTo>
                      <a:pt x="27" y="14"/>
                      <a:pt x="28" y="13"/>
                      <a:pt x="28" y="13"/>
                    </a:cubicBezTo>
                    <a:cubicBezTo>
                      <a:pt x="28" y="12"/>
                      <a:pt x="29" y="11"/>
                      <a:pt x="29" y="10"/>
                    </a:cubicBezTo>
                    <a:cubicBezTo>
                      <a:pt x="29" y="10"/>
                      <a:pt x="29" y="10"/>
                      <a:pt x="29" y="10"/>
                    </a:cubicBezTo>
                    <a:cubicBezTo>
                      <a:pt x="29" y="10"/>
                      <a:pt x="29" y="10"/>
                      <a:pt x="29" y="10"/>
                    </a:cubicBezTo>
                    <a:close/>
                    <a:moveTo>
                      <a:pt x="43" y="30"/>
                    </a:moveTo>
                    <a:cubicBezTo>
                      <a:pt x="47" y="30"/>
                      <a:pt x="50" y="31"/>
                      <a:pt x="53" y="33"/>
                    </a:cubicBezTo>
                    <a:cubicBezTo>
                      <a:pt x="50" y="36"/>
                      <a:pt x="47" y="37"/>
                      <a:pt x="43" y="37"/>
                    </a:cubicBezTo>
                    <a:cubicBezTo>
                      <a:pt x="40" y="37"/>
                      <a:pt x="36" y="36"/>
                      <a:pt x="33" y="33"/>
                    </a:cubicBezTo>
                    <a:cubicBezTo>
                      <a:pt x="36" y="31"/>
                      <a:pt x="40" y="30"/>
                      <a:pt x="43" y="30"/>
                    </a:cubicBezTo>
                    <a:close/>
                    <a:moveTo>
                      <a:pt x="61" y="49"/>
                    </a:moveTo>
                    <a:cubicBezTo>
                      <a:pt x="61" y="56"/>
                      <a:pt x="56" y="62"/>
                      <a:pt x="50" y="65"/>
                    </a:cubicBezTo>
                    <a:cubicBezTo>
                      <a:pt x="50" y="57"/>
                      <a:pt x="54" y="51"/>
                      <a:pt x="61" y="49"/>
                    </a:cubicBezTo>
                    <a:close/>
                    <a:moveTo>
                      <a:pt x="59" y="80"/>
                    </a:moveTo>
                    <a:cubicBezTo>
                      <a:pt x="54" y="77"/>
                      <a:pt x="51" y="73"/>
                      <a:pt x="50" y="67"/>
                    </a:cubicBezTo>
                    <a:cubicBezTo>
                      <a:pt x="58" y="65"/>
                      <a:pt x="64" y="57"/>
                      <a:pt x="64" y="48"/>
                    </a:cubicBezTo>
                    <a:cubicBezTo>
                      <a:pt x="64" y="48"/>
                      <a:pt x="64" y="48"/>
                      <a:pt x="64" y="48"/>
                    </a:cubicBezTo>
                    <a:cubicBezTo>
                      <a:pt x="65" y="48"/>
                      <a:pt x="66" y="48"/>
                      <a:pt x="67" y="48"/>
                    </a:cubicBezTo>
                    <a:cubicBezTo>
                      <a:pt x="73" y="48"/>
                      <a:pt x="80" y="52"/>
                      <a:pt x="82" y="58"/>
                    </a:cubicBezTo>
                    <a:cubicBezTo>
                      <a:pt x="82" y="58"/>
                      <a:pt x="83" y="58"/>
                      <a:pt x="83" y="59"/>
                    </a:cubicBezTo>
                    <a:cubicBezTo>
                      <a:pt x="83" y="61"/>
                      <a:pt x="84" y="63"/>
                      <a:pt x="84" y="65"/>
                    </a:cubicBezTo>
                    <a:cubicBezTo>
                      <a:pt x="84" y="74"/>
                      <a:pt x="76" y="82"/>
                      <a:pt x="67" y="82"/>
                    </a:cubicBezTo>
                    <a:cubicBezTo>
                      <a:pt x="66" y="82"/>
                      <a:pt x="66" y="82"/>
                      <a:pt x="65" y="81"/>
                    </a:cubicBezTo>
                    <a:cubicBezTo>
                      <a:pt x="65" y="81"/>
                      <a:pt x="65" y="81"/>
                      <a:pt x="65" y="81"/>
                    </a:cubicBezTo>
                    <a:cubicBezTo>
                      <a:pt x="64" y="81"/>
                      <a:pt x="63" y="81"/>
                      <a:pt x="62" y="81"/>
                    </a:cubicBezTo>
                    <a:cubicBezTo>
                      <a:pt x="62" y="81"/>
                      <a:pt x="61" y="81"/>
                      <a:pt x="60" y="80"/>
                    </a:cubicBezTo>
                    <a:cubicBezTo>
                      <a:pt x="60" y="80"/>
                      <a:pt x="60" y="80"/>
                      <a:pt x="60" y="80"/>
                    </a:cubicBezTo>
                    <a:cubicBezTo>
                      <a:pt x="59" y="80"/>
                      <a:pt x="59" y="80"/>
                      <a:pt x="59"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1661" name="Group 24">
            <a:extLst>
              <a:ext uri="{FF2B5EF4-FFF2-40B4-BE49-F238E27FC236}">
                <a16:creationId xmlns:a16="http://schemas.microsoft.com/office/drawing/2014/main" id="{C777F2A3-D748-4575-BCA1-20B62665BEC6}"/>
              </a:ext>
            </a:extLst>
          </p:cNvPr>
          <p:cNvGrpSpPr>
            <a:grpSpLocks noChangeAspect="1"/>
          </p:cNvGrpSpPr>
          <p:nvPr/>
        </p:nvGrpSpPr>
        <p:grpSpPr bwMode="auto">
          <a:xfrm>
            <a:off x="6230569" y="3467746"/>
            <a:ext cx="336674" cy="336674"/>
            <a:chOff x="1626" y="-1079"/>
            <a:chExt cx="588" cy="588"/>
          </a:xfrm>
        </p:grpSpPr>
        <p:sp>
          <p:nvSpPr>
            <p:cNvPr id="1662" name="Freeform 25">
              <a:extLst>
                <a:ext uri="{FF2B5EF4-FFF2-40B4-BE49-F238E27FC236}">
                  <a16:creationId xmlns:a16="http://schemas.microsoft.com/office/drawing/2014/main" id="{782E25E8-97AE-4417-88A5-D139A234AFC9}"/>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63" name="Freeform 26">
              <a:extLst>
                <a:ext uri="{FF2B5EF4-FFF2-40B4-BE49-F238E27FC236}">
                  <a16:creationId xmlns:a16="http://schemas.microsoft.com/office/drawing/2014/main" id="{3C68F4F7-62DB-4F57-8DF7-4257702CCC3D}"/>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64" name="Freeform 27">
              <a:extLst>
                <a:ext uri="{FF2B5EF4-FFF2-40B4-BE49-F238E27FC236}">
                  <a16:creationId xmlns:a16="http://schemas.microsoft.com/office/drawing/2014/main" id="{4ADCB8D7-56D0-4FF3-A529-DAE04BA5CC56}"/>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65" name="Freeform 28">
              <a:extLst>
                <a:ext uri="{FF2B5EF4-FFF2-40B4-BE49-F238E27FC236}">
                  <a16:creationId xmlns:a16="http://schemas.microsoft.com/office/drawing/2014/main" id="{9D18E39F-6224-4D00-872D-D64E6AE1DD32}"/>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
        <p:nvSpPr>
          <p:cNvPr id="42" name="Rectangle 41">
            <a:extLst>
              <a:ext uri="{FF2B5EF4-FFF2-40B4-BE49-F238E27FC236}">
                <a16:creationId xmlns:a16="http://schemas.microsoft.com/office/drawing/2014/main" id="{9E36FE12-C8D0-4728-90A7-FECED26D98AD}"/>
              </a:ext>
            </a:extLst>
          </p:cNvPr>
          <p:cNvSpPr/>
          <p:nvPr>
            <p:custDataLst>
              <p:tags r:id="rId1"/>
            </p:custDataLst>
          </p:nvPr>
        </p:nvSpPr>
        <p:spPr>
          <a:xfrm>
            <a:off x="3039470" y="19830"/>
            <a:ext cx="6111507" cy="5123670"/>
          </a:xfrm>
          <a:prstGeom prst="rect">
            <a:avLst/>
          </a:prstGeom>
          <a:solidFill>
            <a:schemeClr val="bg2">
              <a:alpha val="9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27" name="TextBox 1726">
            <a:extLst>
              <a:ext uri="{FF2B5EF4-FFF2-40B4-BE49-F238E27FC236}">
                <a16:creationId xmlns:a16="http://schemas.microsoft.com/office/drawing/2014/main" id="{198AE901-D8B7-4E5F-88D4-68E4CBFC33F4}"/>
              </a:ext>
            </a:extLst>
          </p:cNvPr>
          <p:cNvSpPr txBox="1"/>
          <p:nvPr>
            <p:custDataLst>
              <p:tags r:id="rId2"/>
            </p:custDataLst>
          </p:nvPr>
        </p:nvSpPr>
        <p:spPr>
          <a:xfrm>
            <a:off x="6287697" y="2197515"/>
            <a:ext cx="700226" cy="691332"/>
          </a:xfrm>
          <a:prstGeom prst="ellipse">
            <a:avLst/>
          </a:prstGeom>
          <a:noFill/>
          <a:ln>
            <a:solidFill>
              <a:schemeClr val="accent3">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28" name="TextBox 1727">
            <a:extLst>
              <a:ext uri="{FF2B5EF4-FFF2-40B4-BE49-F238E27FC236}">
                <a16:creationId xmlns:a16="http://schemas.microsoft.com/office/drawing/2014/main" id="{C69C558B-F5F5-46D0-AA00-FC1E33645325}"/>
              </a:ext>
            </a:extLst>
          </p:cNvPr>
          <p:cNvSpPr txBox="1"/>
          <p:nvPr>
            <p:custDataLst>
              <p:tags r:id="rId3"/>
            </p:custDataLst>
          </p:nvPr>
        </p:nvSpPr>
        <p:spPr>
          <a:xfrm>
            <a:off x="5240086" y="2197515"/>
            <a:ext cx="700226" cy="691332"/>
          </a:xfrm>
          <a:prstGeom prst="ellipse">
            <a:avLst/>
          </a:prstGeom>
          <a:noFill/>
          <a:ln>
            <a:solidFill>
              <a:schemeClr val="accent4">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29" name="TextBox 1728">
            <a:extLst>
              <a:ext uri="{FF2B5EF4-FFF2-40B4-BE49-F238E27FC236}">
                <a16:creationId xmlns:a16="http://schemas.microsoft.com/office/drawing/2014/main" id="{AA6E4A55-BDBA-4D07-A335-664738AB863D}"/>
              </a:ext>
            </a:extLst>
          </p:cNvPr>
          <p:cNvSpPr txBox="1"/>
          <p:nvPr>
            <p:custDataLst>
              <p:tags r:id="rId4"/>
            </p:custDataLst>
          </p:nvPr>
        </p:nvSpPr>
        <p:spPr>
          <a:xfrm>
            <a:off x="4190709" y="2197515"/>
            <a:ext cx="700226" cy="691332"/>
          </a:xfrm>
          <a:prstGeom prst="ellipse">
            <a:avLst/>
          </a:prstGeom>
          <a:noFill/>
          <a:ln>
            <a:solidFill>
              <a:schemeClr val="accent5">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30" name="TextBox 1729">
            <a:extLst>
              <a:ext uri="{FF2B5EF4-FFF2-40B4-BE49-F238E27FC236}">
                <a16:creationId xmlns:a16="http://schemas.microsoft.com/office/drawing/2014/main" id="{E0D73629-9BAA-4E75-A602-CA0CF782B313}"/>
              </a:ext>
            </a:extLst>
          </p:cNvPr>
          <p:cNvSpPr txBox="1"/>
          <p:nvPr>
            <p:custDataLst>
              <p:tags r:id="rId5"/>
            </p:custDataLst>
          </p:nvPr>
        </p:nvSpPr>
        <p:spPr>
          <a:xfrm>
            <a:off x="7339560" y="2197515"/>
            <a:ext cx="700226" cy="691332"/>
          </a:xfrm>
          <a:prstGeom prst="ellipse">
            <a:avLst/>
          </a:prstGeom>
          <a:noFill/>
          <a:ln>
            <a:solidFill>
              <a:schemeClr val="accent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673" name="Group 24">
            <a:extLst>
              <a:ext uri="{FF2B5EF4-FFF2-40B4-BE49-F238E27FC236}">
                <a16:creationId xmlns:a16="http://schemas.microsoft.com/office/drawing/2014/main" id="{E30313BF-505A-4E82-BCDB-2CB302DA4182}"/>
              </a:ext>
            </a:extLst>
          </p:cNvPr>
          <p:cNvGrpSpPr>
            <a:grpSpLocks noChangeAspect="1"/>
          </p:cNvGrpSpPr>
          <p:nvPr>
            <p:custDataLst>
              <p:tags r:id="rId6"/>
            </p:custDataLst>
          </p:nvPr>
        </p:nvGrpSpPr>
        <p:grpSpPr bwMode="auto">
          <a:xfrm>
            <a:off x="5190882" y="2145902"/>
            <a:ext cx="802054" cy="802054"/>
            <a:chOff x="1626" y="-1079"/>
            <a:chExt cx="588" cy="588"/>
          </a:xfrm>
        </p:grpSpPr>
        <p:sp>
          <p:nvSpPr>
            <p:cNvPr id="1674" name="Freeform 25">
              <a:extLst>
                <a:ext uri="{FF2B5EF4-FFF2-40B4-BE49-F238E27FC236}">
                  <a16:creationId xmlns:a16="http://schemas.microsoft.com/office/drawing/2014/main" id="{74FE4C50-024A-4083-BAE7-98C0019F084D}"/>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75" name="Freeform 26">
              <a:extLst>
                <a:ext uri="{FF2B5EF4-FFF2-40B4-BE49-F238E27FC236}">
                  <a16:creationId xmlns:a16="http://schemas.microsoft.com/office/drawing/2014/main" id="{3EFEEB5F-AAF3-4533-AD85-7B431F3DA12A}"/>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76" name="Freeform 27">
              <a:extLst>
                <a:ext uri="{FF2B5EF4-FFF2-40B4-BE49-F238E27FC236}">
                  <a16:creationId xmlns:a16="http://schemas.microsoft.com/office/drawing/2014/main" id="{6A743E41-07B5-4F93-9A48-36723CDBB984}"/>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77" name="Freeform 28">
              <a:extLst>
                <a:ext uri="{FF2B5EF4-FFF2-40B4-BE49-F238E27FC236}">
                  <a16:creationId xmlns:a16="http://schemas.microsoft.com/office/drawing/2014/main" id="{C93B50B2-C774-4E45-B2E7-EC8D6FC5B200}"/>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678" name="Group 24">
            <a:extLst>
              <a:ext uri="{FF2B5EF4-FFF2-40B4-BE49-F238E27FC236}">
                <a16:creationId xmlns:a16="http://schemas.microsoft.com/office/drawing/2014/main" id="{7587AABA-095D-4AEF-BFB7-04080D669ECA}"/>
              </a:ext>
            </a:extLst>
          </p:cNvPr>
          <p:cNvGrpSpPr>
            <a:grpSpLocks noChangeAspect="1"/>
          </p:cNvGrpSpPr>
          <p:nvPr>
            <p:custDataLst>
              <p:tags r:id="rId7"/>
            </p:custDataLst>
          </p:nvPr>
        </p:nvGrpSpPr>
        <p:grpSpPr bwMode="auto">
          <a:xfrm>
            <a:off x="4139795" y="2145902"/>
            <a:ext cx="802054" cy="802054"/>
            <a:chOff x="1626" y="-1079"/>
            <a:chExt cx="588" cy="588"/>
          </a:xfrm>
        </p:grpSpPr>
        <p:sp>
          <p:nvSpPr>
            <p:cNvPr id="1679" name="Freeform 25">
              <a:extLst>
                <a:ext uri="{FF2B5EF4-FFF2-40B4-BE49-F238E27FC236}">
                  <a16:creationId xmlns:a16="http://schemas.microsoft.com/office/drawing/2014/main" id="{3528DA2C-E5AE-48FF-97CA-F4A78425B48E}"/>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80" name="Freeform 26">
              <a:extLst>
                <a:ext uri="{FF2B5EF4-FFF2-40B4-BE49-F238E27FC236}">
                  <a16:creationId xmlns:a16="http://schemas.microsoft.com/office/drawing/2014/main" id="{FF1156D9-2941-4F33-ACC9-FFB963019D9B}"/>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81" name="Freeform 27">
              <a:extLst>
                <a:ext uri="{FF2B5EF4-FFF2-40B4-BE49-F238E27FC236}">
                  <a16:creationId xmlns:a16="http://schemas.microsoft.com/office/drawing/2014/main" id="{5C452D0E-2915-4028-98EA-B7145BC808AE}"/>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82" name="Freeform 28">
              <a:extLst>
                <a:ext uri="{FF2B5EF4-FFF2-40B4-BE49-F238E27FC236}">
                  <a16:creationId xmlns:a16="http://schemas.microsoft.com/office/drawing/2014/main" id="{9BC6F0DD-8E24-44CD-80FD-ED6683395C1B}"/>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683" name="Group 24">
            <a:extLst>
              <a:ext uri="{FF2B5EF4-FFF2-40B4-BE49-F238E27FC236}">
                <a16:creationId xmlns:a16="http://schemas.microsoft.com/office/drawing/2014/main" id="{17ED7E2F-2D31-466B-AE91-F1E420CE6DDC}"/>
              </a:ext>
            </a:extLst>
          </p:cNvPr>
          <p:cNvGrpSpPr>
            <a:grpSpLocks noChangeAspect="1"/>
          </p:cNvGrpSpPr>
          <p:nvPr>
            <p:custDataLst>
              <p:tags r:id="rId8"/>
            </p:custDataLst>
          </p:nvPr>
        </p:nvGrpSpPr>
        <p:grpSpPr bwMode="auto">
          <a:xfrm>
            <a:off x="7293056" y="2145902"/>
            <a:ext cx="802054" cy="802054"/>
            <a:chOff x="1626" y="-1079"/>
            <a:chExt cx="588" cy="588"/>
          </a:xfrm>
        </p:grpSpPr>
        <p:sp>
          <p:nvSpPr>
            <p:cNvPr id="1684" name="Freeform 25">
              <a:extLst>
                <a:ext uri="{FF2B5EF4-FFF2-40B4-BE49-F238E27FC236}">
                  <a16:creationId xmlns:a16="http://schemas.microsoft.com/office/drawing/2014/main" id="{E1F3E8E5-5F6C-432C-BA99-8184D6F9344B}"/>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85" name="Freeform 26">
              <a:extLst>
                <a:ext uri="{FF2B5EF4-FFF2-40B4-BE49-F238E27FC236}">
                  <a16:creationId xmlns:a16="http://schemas.microsoft.com/office/drawing/2014/main" id="{5074CA5D-DB20-480C-AC0B-D93A63784719}"/>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86" name="Freeform 27">
              <a:extLst>
                <a:ext uri="{FF2B5EF4-FFF2-40B4-BE49-F238E27FC236}">
                  <a16:creationId xmlns:a16="http://schemas.microsoft.com/office/drawing/2014/main" id="{4BDE3274-9DEA-41B5-9A7D-68F616F04662}"/>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87" name="Freeform 28">
              <a:extLst>
                <a:ext uri="{FF2B5EF4-FFF2-40B4-BE49-F238E27FC236}">
                  <a16:creationId xmlns:a16="http://schemas.microsoft.com/office/drawing/2014/main" id="{E6B36440-1F63-404F-B314-DD7DB29ECFF6}"/>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693" name="Group 24">
            <a:extLst>
              <a:ext uri="{FF2B5EF4-FFF2-40B4-BE49-F238E27FC236}">
                <a16:creationId xmlns:a16="http://schemas.microsoft.com/office/drawing/2014/main" id="{FECECFB8-D4CC-475B-A7AC-6ABDDCFEAC17}"/>
              </a:ext>
            </a:extLst>
          </p:cNvPr>
          <p:cNvGrpSpPr>
            <a:grpSpLocks noChangeAspect="1"/>
          </p:cNvGrpSpPr>
          <p:nvPr>
            <p:custDataLst>
              <p:tags r:id="rId9"/>
            </p:custDataLst>
          </p:nvPr>
        </p:nvGrpSpPr>
        <p:grpSpPr bwMode="auto">
          <a:xfrm>
            <a:off x="6241969" y="2145902"/>
            <a:ext cx="802054" cy="802054"/>
            <a:chOff x="1626" y="-1079"/>
            <a:chExt cx="588" cy="588"/>
          </a:xfrm>
        </p:grpSpPr>
        <p:sp>
          <p:nvSpPr>
            <p:cNvPr id="1694" name="Freeform 25">
              <a:extLst>
                <a:ext uri="{FF2B5EF4-FFF2-40B4-BE49-F238E27FC236}">
                  <a16:creationId xmlns:a16="http://schemas.microsoft.com/office/drawing/2014/main" id="{61BBDF9C-3A01-4958-8B14-C1F10282050A}"/>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95" name="Freeform 26">
              <a:extLst>
                <a:ext uri="{FF2B5EF4-FFF2-40B4-BE49-F238E27FC236}">
                  <a16:creationId xmlns:a16="http://schemas.microsoft.com/office/drawing/2014/main" id="{4EB8CE1F-8D82-4B30-B2F4-238D0C1E31B4}"/>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96" name="Freeform 27">
              <a:extLst>
                <a:ext uri="{FF2B5EF4-FFF2-40B4-BE49-F238E27FC236}">
                  <a16:creationId xmlns:a16="http://schemas.microsoft.com/office/drawing/2014/main" id="{51EF6076-7794-4069-8F17-F7FC10EF49E6}"/>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97" name="Freeform 28">
              <a:extLst>
                <a:ext uri="{FF2B5EF4-FFF2-40B4-BE49-F238E27FC236}">
                  <a16:creationId xmlns:a16="http://schemas.microsoft.com/office/drawing/2014/main" id="{2C8E82A8-62CA-4C36-8256-F10ECD6983D6}"/>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
        <p:nvSpPr>
          <p:cNvPr id="1698" name="TextBox 1697">
            <a:extLst>
              <a:ext uri="{FF2B5EF4-FFF2-40B4-BE49-F238E27FC236}">
                <a16:creationId xmlns:a16="http://schemas.microsoft.com/office/drawing/2014/main" id="{A49AEC81-1DE0-4296-9E67-0373618BEABC}"/>
              </a:ext>
            </a:extLst>
          </p:cNvPr>
          <p:cNvSpPr txBox="1"/>
          <p:nvPr/>
        </p:nvSpPr>
        <p:spPr>
          <a:xfrm>
            <a:off x="1047205" y="439837"/>
            <a:ext cx="485546" cy="258532"/>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00BCEB">
                    <a:lumMod val="75000"/>
                  </a:srgbClr>
                </a:solidFill>
                <a:effectLst/>
                <a:uLnTx/>
                <a:uFillTx/>
                <a:latin typeface="CiscoSansTT ExtraLight"/>
                <a:ea typeface="Apple LiGothic Medium"/>
                <a:cs typeface="Apple LiGothic Medium"/>
              </a:rPr>
              <a:t>02</a:t>
            </a:r>
          </a:p>
        </p:txBody>
      </p:sp>
      <p:grpSp>
        <p:nvGrpSpPr>
          <p:cNvPr id="1699" name="Group 1698">
            <a:extLst>
              <a:ext uri="{FF2B5EF4-FFF2-40B4-BE49-F238E27FC236}">
                <a16:creationId xmlns:a16="http://schemas.microsoft.com/office/drawing/2014/main" id="{FA265B12-5E14-4DE7-B323-64C5ECC797AF}"/>
              </a:ext>
            </a:extLst>
          </p:cNvPr>
          <p:cNvGrpSpPr/>
          <p:nvPr/>
        </p:nvGrpSpPr>
        <p:grpSpPr>
          <a:xfrm>
            <a:off x="1064458" y="710972"/>
            <a:ext cx="457390" cy="457390"/>
            <a:chOff x="1176043" y="485585"/>
            <a:chExt cx="457390" cy="457390"/>
          </a:xfrm>
        </p:grpSpPr>
        <p:sp>
          <p:nvSpPr>
            <p:cNvPr id="1700" name="Oval 1699">
              <a:extLst>
                <a:ext uri="{FF2B5EF4-FFF2-40B4-BE49-F238E27FC236}">
                  <a16:creationId xmlns:a16="http://schemas.microsoft.com/office/drawing/2014/main" id="{B1759934-99B7-42D2-BF6A-98AD3DB6D2A7}"/>
                </a:ext>
              </a:extLst>
            </p:cNvPr>
            <p:cNvSpPr/>
            <p:nvPr/>
          </p:nvSpPr>
          <p:spPr>
            <a:xfrm>
              <a:off x="1176043"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701" name="Group 1700">
              <a:extLst>
                <a:ext uri="{FF2B5EF4-FFF2-40B4-BE49-F238E27FC236}">
                  <a16:creationId xmlns:a16="http://schemas.microsoft.com/office/drawing/2014/main" id="{25ABB389-6F3F-4528-A11B-1DF8EBEB08FF}"/>
                </a:ext>
              </a:extLst>
            </p:cNvPr>
            <p:cNvGrpSpPr/>
            <p:nvPr/>
          </p:nvGrpSpPr>
          <p:grpSpPr>
            <a:xfrm>
              <a:off x="1226448" y="544915"/>
              <a:ext cx="349271" cy="349271"/>
              <a:chOff x="2569855" y="2152858"/>
              <a:chExt cx="933450" cy="933450"/>
            </a:xfrm>
          </p:grpSpPr>
          <p:sp>
            <p:nvSpPr>
              <p:cNvPr id="1702" name="Freeform 5">
                <a:extLst>
                  <a:ext uri="{FF2B5EF4-FFF2-40B4-BE49-F238E27FC236}">
                    <a16:creationId xmlns:a16="http://schemas.microsoft.com/office/drawing/2014/main" id="{29A86CF7-2E31-46A2-818E-8F2EC38E77CA}"/>
                  </a:ext>
                </a:extLst>
              </p:cNvPr>
              <p:cNvSpPr>
                <a:spLocks/>
              </p:cNvSpPr>
              <p:nvPr/>
            </p:nvSpPr>
            <p:spPr bwMode="auto">
              <a:xfrm>
                <a:off x="2569855" y="2152858"/>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1703" name="Group 1702">
                <a:extLst>
                  <a:ext uri="{FF2B5EF4-FFF2-40B4-BE49-F238E27FC236}">
                    <a16:creationId xmlns:a16="http://schemas.microsoft.com/office/drawing/2014/main" id="{784EC627-B617-47E7-9669-B7084E03ED7D}"/>
                  </a:ext>
                </a:extLst>
              </p:cNvPr>
              <p:cNvGrpSpPr/>
              <p:nvPr/>
            </p:nvGrpSpPr>
            <p:grpSpPr>
              <a:xfrm>
                <a:off x="2728913" y="2324308"/>
                <a:ext cx="638175" cy="590551"/>
                <a:chOff x="2728913" y="2324100"/>
                <a:chExt cx="638175" cy="590551"/>
              </a:xfrm>
              <a:solidFill>
                <a:schemeClr val="accent1">
                  <a:lumMod val="75000"/>
                  <a:alpha val="40000"/>
                </a:schemeClr>
              </a:solidFill>
            </p:grpSpPr>
            <p:sp>
              <p:nvSpPr>
                <p:cNvPr id="1704" name="Freeform 6">
                  <a:extLst>
                    <a:ext uri="{FF2B5EF4-FFF2-40B4-BE49-F238E27FC236}">
                      <a16:creationId xmlns:a16="http://schemas.microsoft.com/office/drawing/2014/main" id="{FE085264-AEF8-4EA9-BEB3-CAA48CEECFDE}"/>
                    </a:ext>
                  </a:extLst>
                </p:cNvPr>
                <p:cNvSpPr>
                  <a:spLocks noEditPoints="1"/>
                </p:cNvSpPr>
                <p:nvPr/>
              </p:nvSpPr>
              <p:spPr bwMode="auto">
                <a:xfrm>
                  <a:off x="2728913" y="2324100"/>
                  <a:ext cx="638175" cy="333375"/>
                </a:xfrm>
                <a:custGeom>
                  <a:avLst/>
                  <a:gdLst>
                    <a:gd name="T0" fmla="*/ 237 w 864"/>
                    <a:gd name="T1" fmla="*/ 452 h 452"/>
                    <a:gd name="T2" fmla="*/ 628 w 864"/>
                    <a:gd name="T3" fmla="*/ 452 h 452"/>
                    <a:gd name="T4" fmla="*/ 835 w 864"/>
                    <a:gd name="T5" fmla="*/ 452 h 452"/>
                    <a:gd name="T6" fmla="*/ 864 w 864"/>
                    <a:gd name="T7" fmla="*/ 412 h 452"/>
                    <a:gd name="T8" fmla="*/ 788 w 864"/>
                    <a:gd name="T9" fmla="*/ 188 h 452"/>
                    <a:gd name="T10" fmla="*/ 749 w 864"/>
                    <a:gd name="T11" fmla="*/ 139 h 452"/>
                    <a:gd name="T12" fmla="*/ 721 w 864"/>
                    <a:gd name="T13" fmla="*/ 111 h 452"/>
                    <a:gd name="T14" fmla="*/ 701 w 864"/>
                    <a:gd name="T15" fmla="*/ 94 h 452"/>
                    <a:gd name="T16" fmla="*/ 680 w 864"/>
                    <a:gd name="T17" fmla="*/ 79 h 452"/>
                    <a:gd name="T18" fmla="*/ 660 w 864"/>
                    <a:gd name="T19" fmla="*/ 65 h 452"/>
                    <a:gd name="T20" fmla="*/ 636 w 864"/>
                    <a:gd name="T21" fmla="*/ 51 h 452"/>
                    <a:gd name="T22" fmla="*/ 615 w 864"/>
                    <a:gd name="T23" fmla="*/ 41 h 452"/>
                    <a:gd name="T24" fmla="*/ 601 w 864"/>
                    <a:gd name="T25" fmla="*/ 35 h 452"/>
                    <a:gd name="T26" fmla="*/ 578 w 864"/>
                    <a:gd name="T27" fmla="*/ 26 h 452"/>
                    <a:gd name="T28" fmla="*/ 563 w 864"/>
                    <a:gd name="T29" fmla="*/ 21 h 452"/>
                    <a:gd name="T30" fmla="*/ 540 w 864"/>
                    <a:gd name="T31" fmla="*/ 14 h 452"/>
                    <a:gd name="T32" fmla="*/ 524 w 864"/>
                    <a:gd name="T33" fmla="*/ 10 h 452"/>
                    <a:gd name="T34" fmla="*/ 503 w 864"/>
                    <a:gd name="T35" fmla="*/ 6 h 452"/>
                    <a:gd name="T36" fmla="*/ 486 w 864"/>
                    <a:gd name="T37" fmla="*/ 4 h 452"/>
                    <a:gd name="T38" fmla="*/ 462 w 864"/>
                    <a:gd name="T39" fmla="*/ 1 h 452"/>
                    <a:gd name="T40" fmla="*/ 452 w 864"/>
                    <a:gd name="T41" fmla="*/ 0 h 452"/>
                    <a:gd name="T42" fmla="*/ 407 w 864"/>
                    <a:gd name="T43" fmla="*/ 1 h 452"/>
                    <a:gd name="T44" fmla="*/ 390 w 864"/>
                    <a:gd name="T45" fmla="*/ 2 h 452"/>
                    <a:gd name="T46" fmla="*/ 365 w 864"/>
                    <a:gd name="T47" fmla="*/ 5 h 452"/>
                    <a:gd name="T48" fmla="*/ 349 w 864"/>
                    <a:gd name="T49" fmla="*/ 8 h 452"/>
                    <a:gd name="T50" fmla="*/ 327 w 864"/>
                    <a:gd name="T51" fmla="*/ 13 h 452"/>
                    <a:gd name="T52" fmla="*/ 311 w 864"/>
                    <a:gd name="T53" fmla="*/ 18 h 452"/>
                    <a:gd name="T54" fmla="*/ 289 w 864"/>
                    <a:gd name="T55" fmla="*/ 25 h 452"/>
                    <a:gd name="T56" fmla="*/ 275 w 864"/>
                    <a:gd name="T57" fmla="*/ 30 h 452"/>
                    <a:gd name="T58" fmla="*/ 252 w 864"/>
                    <a:gd name="T59" fmla="*/ 40 h 452"/>
                    <a:gd name="T60" fmla="*/ 238 w 864"/>
                    <a:gd name="T61" fmla="*/ 46 h 452"/>
                    <a:gd name="T62" fmla="*/ 206 w 864"/>
                    <a:gd name="T63" fmla="*/ 64 h 452"/>
                    <a:gd name="T64" fmla="*/ 194 w 864"/>
                    <a:gd name="T65" fmla="*/ 72 h 452"/>
                    <a:gd name="T66" fmla="*/ 164 w 864"/>
                    <a:gd name="T67" fmla="*/ 94 h 452"/>
                    <a:gd name="T68" fmla="*/ 153 w 864"/>
                    <a:gd name="T69" fmla="*/ 103 h 452"/>
                    <a:gd name="T70" fmla="*/ 117 w 864"/>
                    <a:gd name="T71" fmla="*/ 138 h 452"/>
                    <a:gd name="T72" fmla="*/ 83 w 864"/>
                    <a:gd name="T73" fmla="*/ 178 h 452"/>
                    <a:gd name="T74" fmla="*/ 76 w 864"/>
                    <a:gd name="T75" fmla="*/ 188 h 452"/>
                    <a:gd name="T76" fmla="*/ 0 w 864"/>
                    <a:gd name="T77" fmla="*/ 423 h 452"/>
                    <a:gd name="T78" fmla="*/ 757 w 864"/>
                    <a:gd name="T79" fmla="*/ 214 h 452"/>
                    <a:gd name="T80" fmla="*/ 648 w 864"/>
                    <a:gd name="T81" fmla="*/ 258 h 452"/>
                    <a:gd name="T82" fmla="*/ 580 w 864"/>
                    <a:gd name="T83" fmla="*/ 69 h 452"/>
                    <a:gd name="T84" fmla="*/ 597 w 864"/>
                    <a:gd name="T85" fmla="*/ 77 h 452"/>
                    <a:gd name="T86" fmla="*/ 610 w 864"/>
                    <a:gd name="T87" fmla="*/ 83 h 452"/>
                    <a:gd name="T88" fmla="*/ 638 w 864"/>
                    <a:gd name="T89" fmla="*/ 220 h 452"/>
                    <a:gd name="T90" fmla="*/ 452 w 864"/>
                    <a:gd name="T91" fmla="*/ 43 h 452"/>
                    <a:gd name="T92" fmla="*/ 452 w 864"/>
                    <a:gd name="T93" fmla="*/ 244 h 452"/>
                    <a:gd name="T94" fmla="*/ 609 w 864"/>
                    <a:gd name="T95" fmla="*/ 267 h 452"/>
                    <a:gd name="T96" fmla="*/ 452 w 864"/>
                    <a:gd name="T97" fmla="*/ 284 h 452"/>
                    <a:gd name="T98" fmla="*/ 255 w 864"/>
                    <a:gd name="T99" fmla="*/ 267 h 452"/>
                    <a:gd name="T100" fmla="*/ 412 w 864"/>
                    <a:gd name="T101" fmla="*/ 43 h 452"/>
                    <a:gd name="T102" fmla="*/ 300 w 864"/>
                    <a:gd name="T103" fmla="*/ 146 h 452"/>
                    <a:gd name="T104" fmla="*/ 254 w 864"/>
                    <a:gd name="T105" fmla="*/ 83 h 452"/>
                    <a:gd name="T106" fmla="*/ 268 w 864"/>
                    <a:gd name="T107" fmla="*/ 77 h 452"/>
                    <a:gd name="T108" fmla="*/ 285 w 864"/>
                    <a:gd name="T109" fmla="*/ 69 h 452"/>
                    <a:gd name="T110" fmla="*/ 227 w 864"/>
                    <a:gd name="T111" fmla="*/ 220 h 452"/>
                    <a:gd name="T112" fmla="*/ 107 w 864"/>
                    <a:gd name="T113" fmla="*/ 214 h 452"/>
                    <a:gd name="T114" fmla="*/ 41 w 864"/>
                    <a:gd name="T115" fmla="*/ 41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4" h="452">
                      <a:moveTo>
                        <a:pt x="41" y="452"/>
                      </a:moveTo>
                      <a:cubicBezTo>
                        <a:pt x="197" y="452"/>
                        <a:pt x="197" y="452"/>
                        <a:pt x="197" y="452"/>
                      </a:cubicBezTo>
                      <a:cubicBezTo>
                        <a:pt x="237" y="452"/>
                        <a:pt x="237" y="452"/>
                        <a:pt x="237" y="452"/>
                      </a:cubicBezTo>
                      <a:cubicBezTo>
                        <a:pt x="412" y="452"/>
                        <a:pt x="412" y="452"/>
                        <a:pt x="412" y="452"/>
                      </a:cubicBezTo>
                      <a:cubicBezTo>
                        <a:pt x="452" y="452"/>
                        <a:pt x="452" y="452"/>
                        <a:pt x="452" y="452"/>
                      </a:cubicBezTo>
                      <a:cubicBezTo>
                        <a:pt x="628" y="452"/>
                        <a:pt x="628" y="452"/>
                        <a:pt x="628" y="452"/>
                      </a:cubicBezTo>
                      <a:cubicBezTo>
                        <a:pt x="668" y="452"/>
                        <a:pt x="668" y="452"/>
                        <a:pt x="668" y="452"/>
                      </a:cubicBezTo>
                      <a:cubicBezTo>
                        <a:pt x="823" y="452"/>
                        <a:pt x="823" y="452"/>
                        <a:pt x="823" y="452"/>
                      </a:cubicBezTo>
                      <a:cubicBezTo>
                        <a:pt x="835" y="452"/>
                        <a:pt x="835" y="452"/>
                        <a:pt x="835" y="452"/>
                      </a:cubicBezTo>
                      <a:cubicBezTo>
                        <a:pt x="851" y="452"/>
                        <a:pt x="864" y="439"/>
                        <a:pt x="864" y="423"/>
                      </a:cubicBezTo>
                      <a:cubicBezTo>
                        <a:pt x="864" y="412"/>
                        <a:pt x="864" y="412"/>
                        <a:pt x="864" y="412"/>
                      </a:cubicBezTo>
                      <a:cubicBezTo>
                        <a:pt x="864" y="412"/>
                        <a:pt x="864" y="412"/>
                        <a:pt x="864" y="412"/>
                      </a:cubicBezTo>
                      <a:cubicBezTo>
                        <a:pt x="860" y="329"/>
                        <a:pt x="833" y="252"/>
                        <a:pt x="788" y="188"/>
                      </a:cubicBezTo>
                      <a:cubicBezTo>
                        <a:pt x="788" y="188"/>
                        <a:pt x="788" y="188"/>
                        <a:pt x="788" y="188"/>
                      </a:cubicBezTo>
                      <a:cubicBezTo>
                        <a:pt x="788" y="188"/>
                        <a:pt x="788" y="188"/>
                        <a:pt x="788" y="188"/>
                      </a:cubicBezTo>
                      <a:cubicBezTo>
                        <a:pt x="786" y="184"/>
                        <a:pt x="783" y="181"/>
                        <a:pt x="781" y="178"/>
                      </a:cubicBezTo>
                      <a:cubicBezTo>
                        <a:pt x="778" y="173"/>
                        <a:pt x="778" y="173"/>
                        <a:pt x="778" y="173"/>
                      </a:cubicBezTo>
                      <a:cubicBezTo>
                        <a:pt x="769" y="161"/>
                        <a:pt x="759" y="150"/>
                        <a:pt x="749" y="139"/>
                      </a:cubicBezTo>
                      <a:cubicBezTo>
                        <a:pt x="749" y="138"/>
                        <a:pt x="748" y="138"/>
                        <a:pt x="748" y="138"/>
                      </a:cubicBezTo>
                      <a:cubicBezTo>
                        <a:pt x="739" y="128"/>
                        <a:pt x="730" y="119"/>
                        <a:pt x="721" y="111"/>
                      </a:cubicBezTo>
                      <a:cubicBezTo>
                        <a:pt x="721" y="111"/>
                        <a:pt x="721" y="111"/>
                        <a:pt x="721" y="111"/>
                      </a:cubicBezTo>
                      <a:cubicBezTo>
                        <a:pt x="718" y="108"/>
                        <a:pt x="715" y="105"/>
                        <a:pt x="711" y="103"/>
                      </a:cubicBezTo>
                      <a:cubicBezTo>
                        <a:pt x="711" y="102"/>
                        <a:pt x="711" y="102"/>
                        <a:pt x="710" y="102"/>
                      </a:cubicBezTo>
                      <a:cubicBezTo>
                        <a:pt x="707" y="99"/>
                        <a:pt x="704" y="97"/>
                        <a:pt x="701" y="94"/>
                      </a:cubicBezTo>
                      <a:cubicBezTo>
                        <a:pt x="701" y="94"/>
                        <a:pt x="701" y="94"/>
                        <a:pt x="701" y="94"/>
                      </a:cubicBezTo>
                      <a:cubicBezTo>
                        <a:pt x="694" y="89"/>
                        <a:pt x="687" y="84"/>
                        <a:pt x="681" y="79"/>
                      </a:cubicBezTo>
                      <a:cubicBezTo>
                        <a:pt x="680" y="79"/>
                        <a:pt x="680" y="79"/>
                        <a:pt x="680" y="79"/>
                      </a:cubicBezTo>
                      <a:cubicBezTo>
                        <a:pt x="677" y="76"/>
                        <a:pt x="674" y="74"/>
                        <a:pt x="671" y="72"/>
                      </a:cubicBezTo>
                      <a:cubicBezTo>
                        <a:pt x="669" y="71"/>
                        <a:pt x="668" y="71"/>
                        <a:pt x="667" y="70"/>
                      </a:cubicBezTo>
                      <a:cubicBezTo>
                        <a:pt x="665" y="68"/>
                        <a:pt x="663" y="67"/>
                        <a:pt x="660" y="65"/>
                      </a:cubicBezTo>
                      <a:cubicBezTo>
                        <a:pt x="659" y="65"/>
                        <a:pt x="659" y="65"/>
                        <a:pt x="658" y="64"/>
                      </a:cubicBezTo>
                      <a:cubicBezTo>
                        <a:pt x="651" y="60"/>
                        <a:pt x="644" y="56"/>
                        <a:pt x="637" y="52"/>
                      </a:cubicBezTo>
                      <a:cubicBezTo>
                        <a:pt x="636" y="52"/>
                        <a:pt x="636" y="51"/>
                        <a:pt x="636" y="51"/>
                      </a:cubicBezTo>
                      <a:cubicBezTo>
                        <a:pt x="633" y="50"/>
                        <a:pt x="629" y="48"/>
                        <a:pt x="626" y="46"/>
                      </a:cubicBezTo>
                      <a:cubicBezTo>
                        <a:pt x="625" y="46"/>
                        <a:pt x="624" y="45"/>
                        <a:pt x="624" y="45"/>
                      </a:cubicBezTo>
                      <a:cubicBezTo>
                        <a:pt x="621" y="44"/>
                        <a:pt x="618" y="42"/>
                        <a:pt x="615" y="41"/>
                      </a:cubicBezTo>
                      <a:cubicBezTo>
                        <a:pt x="614" y="40"/>
                        <a:pt x="613" y="40"/>
                        <a:pt x="612" y="40"/>
                      </a:cubicBezTo>
                      <a:cubicBezTo>
                        <a:pt x="609" y="38"/>
                        <a:pt x="606" y="36"/>
                        <a:pt x="602" y="35"/>
                      </a:cubicBezTo>
                      <a:cubicBezTo>
                        <a:pt x="602" y="35"/>
                        <a:pt x="602" y="35"/>
                        <a:pt x="601" y="35"/>
                      </a:cubicBezTo>
                      <a:cubicBezTo>
                        <a:pt x="597" y="33"/>
                        <a:pt x="594" y="31"/>
                        <a:pt x="590" y="30"/>
                      </a:cubicBezTo>
                      <a:cubicBezTo>
                        <a:pt x="589" y="30"/>
                        <a:pt x="589" y="30"/>
                        <a:pt x="588" y="29"/>
                      </a:cubicBezTo>
                      <a:cubicBezTo>
                        <a:pt x="585" y="28"/>
                        <a:pt x="582" y="27"/>
                        <a:pt x="578" y="26"/>
                      </a:cubicBezTo>
                      <a:cubicBezTo>
                        <a:pt x="577" y="25"/>
                        <a:pt x="576" y="25"/>
                        <a:pt x="575" y="25"/>
                      </a:cubicBezTo>
                      <a:cubicBezTo>
                        <a:pt x="572" y="24"/>
                        <a:pt x="569" y="23"/>
                        <a:pt x="567" y="22"/>
                      </a:cubicBezTo>
                      <a:cubicBezTo>
                        <a:pt x="565" y="21"/>
                        <a:pt x="564" y="21"/>
                        <a:pt x="563" y="21"/>
                      </a:cubicBezTo>
                      <a:cubicBezTo>
                        <a:pt x="560" y="20"/>
                        <a:pt x="557" y="19"/>
                        <a:pt x="554" y="18"/>
                      </a:cubicBezTo>
                      <a:cubicBezTo>
                        <a:pt x="553" y="17"/>
                        <a:pt x="552" y="17"/>
                        <a:pt x="552" y="17"/>
                      </a:cubicBezTo>
                      <a:cubicBezTo>
                        <a:pt x="548" y="16"/>
                        <a:pt x="544" y="15"/>
                        <a:pt x="540" y="14"/>
                      </a:cubicBezTo>
                      <a:cubicBezTo>
                        <a:pt x="539" y="14"/>
                        <a:pt x="538" y="13"/>
                        <a:pt x="538" y="13"/>
                      </a:cubicBezTo>
                      <a:cubicBezTo>
                        <a:pt x="535" y="12"/>
                        <a:pt x="531" y="12"/>
                        <a:pt x="528" y="11"/>
                      </a:cubicBezTo>
                      <a:cubicBezTo>
                        <a:pt x="526" y="11"/>
                        <a:pt x="525" y="10"/>
                        <a:pt x="524" y="10"/>
                      </a:cubicBezTo>
                      <a:cubicBezTo>
                        <a:pt x="521" y="9"/>
                        <a:pt x="518" y="9"/>
                        <a:pt x="516" y="8"/>
                      </a:cubicBezTo>
                      <a:cubicBezTo>
                        <a:pt x="514" y="8"/>
                        <a:pt x="513" y="8"/>
                        <a:pt x="511" y="8"/>
                      </a:cubicBezTo>
                      <a:cubicBezTo>
                        <a:pt x="509" y="7"/>
                        <a:pt x="506" y="7"/>
                        <a:pt x="503" y="6"/>
                      </a:cubicBezTo>
                      <a:cubicBezTo>
                        <a:pt x="502" y="6"/>
                        <a:pt x="500" y="6"/>
                        <a:pt x="499" y="5"/>
                      </a:cubicBezTo>
                      <a:cubicBezTo>
                        <a:pt x="495" y="5"/>
                        <a:pt x="491" y="4"/>
                        <a:pt x="487" y="4"/>
                      </a:cubicBezTo>
                      <a:cubicBezTo>
                        <a:pt x="487" y="4"/>
                        <a:pt x="486" y="4"/>
                        <a:pt x="486" y="4"/>
                      </a:cubicBezTo>
                      <a:cubicBezTo>
                        <a:pt x="482" y="3"/>
                        <a:pt x="478" y="3"/>
                        <a:pt x="475" y="2"/>
                      </a:cubicBezTo>
                      <a:cubicBezTo>
                        <a:pt x="473" y="2"/>
                        <a:pt x="472" y="2"/>
                        <a:pt x="471" y="2"/>
                      </a:cubicBezTo>
                      <a:cubicBezTo>
                        <a:pt x="468" y="2"/>
                        <a:pt x="465" y="2"/>
                        <a:pt x="462" y="1"/>
                      </a:cubicBezTo>
                      <a:cubicBezTo>
                        <a:pt x="461" y="1"/>
                        <a:pt x="459" y="1"/>
                        <a:pt x="458" y="1"/>
                      </a:cubicBezTo>
                      <a:cubicBezTo>
                        <a:pt x="456" y="1"/>
                        <a:pt x="454" y="1"/>
                        <a:pt x="452" y="1"/>
                      </a:cubicBezTo>
                      <a:cubicBezTo>
                        <a:pt x="452" y="0"/>
                        <a:pt x="452" y="0"/>
                        <a:pt x="452" y="0"/>
                      </a:cubicBezTo>
                      <a:cubicBezTo>
                        <a:pt x="412" y="0"/>
                        <a:pt x="412" y="0"/>
                        <a:pt x="412" y="0"/>
                      </a:cubicBezTo>
                      <a:cubicBezTo>
                        <a:pt x="412" y="1"/>
                        <a:pt x="412" y="1"/>
                        <a:pt x="412" y="1"/>
                      </a:cubicBezTo>
                      <a:cubicBezTo>
                        <a:pt x="410" y="1"/>
                        <a:pt x="409" y="1"/>
                        <a:pt x="407" y="1"/>
                      </a:cubicBezTo>
                      <a:cubicBezTo>
                        <a:pt x="405" y="1"/>
                        <a:pt x="404" y="1"/>
                        <a:pt x="402" y="1"/>
                      </a:cubicBezTo>
                      <a:cubicBezTo>
                        <a:pt x="400" y="2"/>
                        <a:pt x="397" y="2"/>
                        <a:pt x="394" y="2"/>
                      </a:cubicBezTo>
                      <a:cubicBezTo>
                        <a:pt x="393" y="2"/>
                        <a:pt x="391" y="2"/>
                        <a:pt x="390" y="2"/>
                      </a:cubicBezTo>
                      <a:cubicBezTo>
                        <a:pt x="386" y="3"/>
                        <a:pt x="383" y="3"/>
                        <a:pt x="379" y="4"/>
                      </a:cubicBezTo>
                      <a:cubicBezTo>
                        <a:pt x="378" y="4"/>
                        <a:pt x="378" y="4"/>
                        <a:pt x="378" y="4"/>
                      </a:cubicBezTo>
                      <a:cubicBezTo>
                        <a:pt x="373" y="4"/>
                        <a:pt x="369" y="5"/>
                        <a:pt x="365" y="5"/>
                      </a:cubicBezTo>
                      <a:cubicBezTo>
                        <a:pt x="364" y="6"/>
                        <a:pt x="363" y="6"/>
                        <a:pt x="362" y="6"/>
                      </a:cubicBezTo>
                      <a:cubicBezTo>
                        <a:pt x="359" y="7"/>
                        <a:pt x="356" y="7"/>
                        <a:pt x="353" y="8"/>
                      </a:cubicBezTo>
                      <a:cubicBezTo>
                        <a:pt x="352" y="8"/>
                        <a:pt x="350" y="8"/>
                        <a:pt x="349" y="8"/>
                      </a:cubicBezTo>
                      <a:cubicBezTo>
                        <a:pt x="346" y="9"/>
                        <a:pt x="343" y="9"/>
                        <a:pt x="340" y="10"/>
                      </a:cubicBezTo>
                      <a:cubicBezTo>
                        <a:pt x="339" y="10"/>
                        <a:pt x="338" y="11"/>
                        <a:pt x="337" y="11"/>
                      </a:cubicBezTo>
                      <a:cubicBezTo>
                        <a:pt x="333" y="12"/>
                        <a:pt x="330" y="12"/>
                        <a:pt x="327" y="13"/>
                      </a:cubicBezTo>
                      <a:cubicBezTo>
                        <a:pt x="326" y="13"/>
                        <a:pt x="325" y="14"/>
                        <a:pt x="325" y="14"/>
                      </a:cubicBezTo>
                      <a:cubicBezTo>
                        <a:pt x="321" y="15"/>
                        <a:pt x="317" y="16"/>
                        <a:pt x="313" y="17"/>
                      </a:cubicBezTo>
                      <a:cubicBezTo>
                        <a:pt x="312" y="17"/>
                        <a:pt x="311" y="17"/>
                        <a:pt x="311" y="18"/>
                      </a:cubicBezTo>
                      <a:cubicBezTo>
                        <a:pt x="307" y="19"/>
                        <a:pt x="304" y="20"/>
                        <a:pt x="301" y="21"/>
                      </a:cubicBezTo>
                      <a:cubicBezTo>
                        <a:pt x="300" y="21"/>
                        <a:pt x="299" y="21"/>
                        <a:pt x="298" y="22"/>
                      </a:cubicBezTo>
                      <a:cubicBezTo>
                        <a:pt x="295" y="23"/>
                        <a:pt x="292" y="24"/>
                        <a:pt x="289" y="25"/>
                      </a:cubicBezTo>
                      <a:cubicBezTo>
                        <a:pt x="288" y="25"/>
                        <a:pt x="287" y="25"/>
                        <a:pt x="286" y="26"/>
                      </a:cubicBezTo>
                      <a:cubicBezTo>
                        <a:pt x="283" y="27"/>
                        <a:pt x="280" y="28"/>
                        <a:pt x="276" y="29"/>
                      </a:cubicBezTo>
                      <a:cubicBezTo>
                        <a:pt x="276" y="30"/>
                        <a:pt x="275" y="30"/>
                        <a:pt x="275" y="30"/>
                      </a:cubicBezTo>
                      <a:cubicBezTo>
                        <a:pt x="271" y="31"/>
                        <a:pt x="267" y="33"/>
                        <a:pt x="263" y="35"/>
                      </a:cubicBezTo>
                      <a:cubicBezTo>
                        <a:pt x="263" y="35"/>
                        <a:pt x="263" y="35"/>
                        <a:pt x="262" y="35"/>
                      </a:cubicBezTo>
                      <a:cubicBezTo>
                        <a:pt x="259" y="36"/>
                        <a:pt x="256" y="38"/>
                        <a:pt x="252" y="40"/>
                      </a:cubicBezTo>
                      <a:cubicBezTo>
                        <a:pt x="251" y="40"/>
                        <a:pt x="251" y="40"/>
                        <a:pt x="250" y="41"/>
                      </a:cubicBezTo>
                      <a:cubicBezTo>
                        <a:pt x="247" y="42"/>
                        <a:pt x="243" y="44"/>
                        <a:pt x="240" y="45"/>
                      </a:cubicBezTo>
                      <a:cubicBezTo>
                        <a:pt x="240" y="46"/>
                        <a:pt x="239" y="46"/>
                        <a:pt x="238" y="46"/>
                      </a:cubicBezTo>
                      <a:cubicBezTo>
                        <a:pt x="235" y="48"/>
                        <a:pt x="232" y="50"/>
                        <a:pt x="229" y="51"/>
                      </a:cubicBezTo>
                      <a:cubicBezTo>
                        <a:pt x="228" y="51"/>
                        <a:pt x="228" y="52"/>
                        <a:pt x="228" y="52"/>
                      </a:cubicBezTo>
                      <a:cubicBezTo>
                        <a:pt x="220" y="56"/>
                        <a:pt x="213" y="60"/>
                        <a:pt x="206" y="64"/>
                      </a:cubicBezTo>
                      <a:cubicBezTo>
                        <a:pt x="206" y="65"/>
                        <a:pt x="205" y="65"/>
                        <a:pt x="205" y="65"/>
                      </a:cubicBezTo>
                      <a:cubicBezTo>
                        <a:pt x="202" y="67"/>
                        <a:pt x="200" y="68"/>
                        <a:pt x="197" y="70"/>
                      </a:cubicBezTo>
                      <a:cubicBezTo>
                        <a:pt x="196" y="70"/>
                        <a:pt x="195" y="71"/>
                        <a:pt x="194" y="72"/>
                      </a:cubicBezTo>
                      <a:cubicBezTo>
                        <a:pt x="191" y="74"/>
                        <a:pt x="188" y="76"/>
                        <a:pt x="184" y="79"/>
                      </a:cubicBezTo>
                      <a:cubicBezTo>
                        <a:pt x="184" y="79"/>
                        <a:pt x="184" y="79"/>
                        <a:pt x="184" y="79"/>
                      </a:cubicBezTo>
                      <a:cubicBezTo>
                        <a:pt x="177" y="84"/>
                        <a:pt x="170" y="89"/>
                        <a:pt x="164" y="94"/>
                      </a:cubicBezTo>
                      <a:cubicBezTo>
                        <a:pt x="163" y="94"/>
                        <a:pt x="163" y="94"/>
                        <a:pt x="163" y="94"/>
                      </a:cubicBezTo>
                      <a:cubicBezTo>
                        <a:pt x="160" y="97"/>
                        <a:pt x="157" y="99"/>
                        <a:pt x="154" y="102"/>
                      </a:cubicBezTo>
                      <a:cubicBezTo>
                        <a:pt x="154" y="102"/>
                        <a:pt x="153" y="102"/>
                        <a:pt x="153" y="103"/>
                      </a:cubicBezTo>
                      <a:cubicBezTo>
                        <a:pt x="150" y="105"/>
                        <a:pt x="147" y="108"/>
                        <a:pt x="144" y="111"/>
                      </a:cubicBezTo>
                      <a:cubicBezTo>
                        <a:pt x="144" y="111"/>
                        <a:pt x="144" y="111"/>
                        <a:pt x="144" y="111"/>
                      </a:cubicBezTo>
                      <a:cubicBezTo>
                        <a:pt x="134" y="119"/>
                        <a:pt x="125" y="128"/>
                        <a:pt x="117" y="138"/>
                      </a:cubicBezTo>
                      <a:cubicBezTo>
                        <a:pt x="116" y="138"/>
                        <a:pt x="116" y="138"/>
                        <a:pt x="116" y="139"/>
                      </a:cubicBezTo>
                      <a:cubicBezTo>
                        <a:pt x="104" y="151"/>
                        <a:pt x="94" y="164"/>
                        <a:pt x="84" y="177"/>
                      </a:cubicBezTo>
                      <a:cubicBezTo>
                        <a:pt x="83" y="178"/>
                        <a:pt x="83" y="178"/>
                        <a:pt x="83" y="178"/>
                      </a:cubicBezTo>
                      <a:cubicBezTo>
                        <a:pt x="81" y="181"/>
                        <a:pt x="79" y="184"/>
                        <a:pt x="76" y="188"/>
                      </a:cubicBezTo>
                      <a:cubicBezTo>
                        <a:pt x="76" y="188"/>
                        <a:pt x="76" y="188"/>
                        <a:pt x="76" y="188"/>
                      </a:cubicBezTo>
                      <a:cubicBezTo>
                        <a:pt x="76" y="188"/>
                        <a:pt x="76" y="188"/>
                        <a:pt x="76" y="188"/>
                      </a:cubicBezTo>
                      <a:cubicBezTo>
                        <a:pt x="32" y="252"/>
                        <a:pt x="5" y="329"/>
                        <a:pt x="1" y="412"/>
                      </a:cubicBezTo>
                      <a:cubicBezTo>
                        <a:pt x="0" y="412"/>
                        <a:pt x="0" y="412"/>
                        <a:pt x="0" y="412"/>
                      </a:cubicBezTo>
                      <a:cubicBezTo>
                        <a:pt x="0" y="423"/>
                        <a:pt x="0" y="423"/>
                        <a:pt x="0" y="423"/>
                      </a:cubicBezTo>
                      <a:cubicBezTo>
                        <a:pt x="0" y="439"/>
                        <a:pt x="13" y="452"/>
                        <a:pt x="29" y="452"/>
                      </a:cubicBezTo>
                      <a:lnTo>
                        <a:pt x="41" y="452"/>
                      </a:lnTo>
                      <a:close/>
                      <a:moveTo>
                        <a:pt x="757" y="214"/>
                      </a:moveTo>
                      <a:cubicBezTo>
                        <a:pt x="796" y="271"/>
                        <a:pt x="820" y="339"/>
                        <a:pt x="823" y="412"/>
                      </a:cubicBezTo>
                      <a:cubicBezTo>
                        <a:pt x="668" y="412"/>
                        <a:pt x="668" y="412"/>
                        <a:pt x="668" y="412"/>
                      </a:cubicBezTo>
                      <a:cubicBezTo>
                        <a:pt x="667" y="358"/>
                        <a:pt x="660" y="306"/>
                        <a:pt x="648" y="258"/>
                      </a:cubicBezTo>
                      <a:cubicBezTo>
                        <a:pt x="693" y="247"/>
                        <a:pt x="730" y="231"/>
                        <a:pt x="757" y="214"/>
                      </a:cubicBezTo>
                      <a:close/>
                      <a:moveTo>
                        <a:pt x="579" y="69"/>
                      </a:moveTo>
                      <a:cubicBezTo>
                        <a:pt x="579" y="69"/>
                        <a:pt x="579" y="69"/>
                        <a:pt x="580" y="69"/>
                      </a:cubicBezTo>
                      <a:cubicBezTo>
                        <a:pt x="582" y="70"/>
                        <a:pt x="585" y="71"/>
                        <a:pt x="588" y="73"/>
                      </a:cubicBezTo>
                      <a:cubicBezTo>
                        <a:pt x="589" y="73"/>
                        <a:pt x="589" y="73"/>
                        <a:pt x="590" y="74"/>
                      </a:cubicBezTo>
                      <a:cubicBezTo>
                        <a:pt x="592" y="75"/>
                        <a:pt x="595" y="76"/>
                        <a:pt x="597" y="77"/>
                      </a:cubicBezTo>
                      <a:cubicBezTo>
                        <a:pt x="598" y="77"/>
                        <a:pt x="599" y="78"/>
                        <a:pt x="600" y="78"/>
                      </a:cubicBezTo>
                      <a:cubicBezTo>
                        <a:pt x="602" y="79"/>
                        <a:pt x="603" y="80"/>
                        <a:pt x="605" y="80"/>
                      </a:cubicBezTo>
                      <a:cubicBezTo>
                        <a:pt x="607" y="81"/>
                        <a:pt x="608" y="82"/>
                        <a:pt x="610" y="83"/>
                      </a:cubicBezTo>
                      <a:cubicBezTo>
                        <a:pt x="611" y="83"/>
                        <a:pt x="611" y="84"/>
                        <a:pt x="612" y="84"/>
                      </a:cubicBezTo>
                      <a:cubicBezTo>
                        <a:pt x="658" y="108"/>
                        <a:pt x="700" y="141"/>
                        <a:pt x="733" y="181"/>
                      </a:cubicBezTo>
                      <a:cubicBezTo>
                        <a:pt x="710" y="196"/>
                        <a:pt x="678" y="209"/>
                        <a:pt x="638" y="220"/>
                      </a:cubicBezTo>
                      <a:cubicBezTo>
                        <a:pt x="617" y="153"/>
                        <a:pt x="587" y="97"/>
                        <a:pt x="551" y="59"/>
                      </a:cubicBezTo>
                      <a:cubicBezTo>
                        <a:pt x="560" y="62"/>
                        <a:pt x="570" y="65"/>
                        <a:pt x="579" y="69"/>
                      </a:cubicBezTo>
                      <a:close/>
                      <a:moveTo>
                        <a:pt x="452" y="43"/>
                      </a:moveTo>
                      <a:cubicBezTo>
                        <a:pt x="493" y="52"/>
                        <a:pt x="533" y="88"/>
                        <a:pt x="564" y="146"/>
                      </a:cubicBezTo>
                      <a:cubicBezTo>
                        <a:pt x="578" y="171"/>
                        <a:pt x="589" y="199"/>
                        <a:pt x="599" y="229"/>
                      </a:cubicBezTo>
                      <a:cubicBezTo>
                        <a:pt x="556" y="237"/>
                        <a:pt x="506" y="243"/>
                        <a:pt x="452" y="244"/>
                      </a:cubicBezTo>
                      <a:lnTo>
                        <a:pt x="452" y="43"/>
                      </a:lnTo>
                      <a:close/>
                      <a:moveTo>
                        <a:pt x="452" y="284"/>
                      </a:moveTo>
                      <a:cubicBezTo>
                        <a:pt x="509" y="283"/>
                        <a:pt x="562" y="277"/>
                        <a:pt x="609" y="267"/>
                      </a:cubicBezTo>
                      <a:cubicBezTo>
                        <a:pt x="620" y="312"/>
                        <a:pt x="627" y="361"/>
                        <a:pt x="628" y="412"/>
                      </a:cubicBezTo>
                      <a:cubicBezTo>
                        <a:pt x="452" y="412"/>
                        <a:pt x="452" y="412"/>
                        <a:pt x="452" y="412"/>
                      </a:cubicBezTo>
                      <a:lnTo>
                        <a:pt x="452" y="284"/>
                      </a:lnTo>
                      <a:close/>
                      <a:moveTo>
                        <a:pt x="412" y="412"/>
                      </a:moveTo>
                      <a:cubicBezTo>
                        <a:pt x="237" y="412"/>
                        <a:pt x="237" y="412"/>
                        <a:pt x="237" y="412"/>
                      </a:cubicBezTo>
                      <a:cubicBezTo>
                        <a:pt x="238" y="361"/>
                        <a:pt x="244" y="312"/>
                        <a:pt x="255" y="267"/>
                      </a:cubicBezTo>
                      <a:cubicBezTo>
                        <a:pt x="302" y="277"/>
                        <a:pt x="356" y="283"/>
                        <a:pt x="412" y="284"/>
                      </a:cubicBezTo>
                      <a:lnTo>
                        <a:pt x="412" y="412"/>
                      </a:lnTo>
                      <a:close/>
                      <a:moveTo>
                        <a:pt x="412" y="43"/>
                      </a:moveTo>
                      <a:cubicBezTo>
                        <a:pt x="412" y="244"/>
                        <a:pt x="412" y="244"/>
                        <a:pt x="412" y="244"/>
                      </a:cubicBezTo>
                      <a:cubicBezTo>
                        <a:pt x="358" y="243"/>
                        <a:pt x="309" y="237"/>
                        <a:pt x="266" y="229"/>
                      </a:cubicBezTo>
                      <a:cubicBezTo>
                        <a:pt x="275" y="199"/>
                        <a:pt x="287" y="171"/>
                        <a:pt x="300" y="146"/>
                      </a:cubicBezTo>
                      <a:cubicBezTo>
                        <a:pt x="332" y="88"/>
                        <a:pt x="372" y="52"/>
                        <a:pt x="412" y="43"/>
                      </a:cubicBezTo>
                      <a:close/>
                      <a:moveTo>
                        <a:pt x="253" y="84"/>
                      </a:moveTo>
                      <a:cubicBezTo>
                        <a:pt x="253" y="84"/>
                        <a:pt x="254" y="83"/>
                        <a:pt x="254" y="83"/>
                      </a:cubicBezTo>
                      <a:cubicBezTo>
                        <a:pt x="256" y="82"/>
                        <a:pt x="258" y="81"/>
                        <a:pt x="260" y="80"/>
                      </a:cubicBezTo>
                      <a:cubicBezTo>
                        <a:pt x="261" y="80"/>
                        <a:pt x="263" y="79"/>
                        <a:pt x="264" y="78"/>
                      </a:cubicBezTo>
                      <a:cubicBezTo>
                        <a:pt x="265" y="78"/>
                        <a:pt x="267" y="77"/>
                        <a:pt x="268" y="77"/>
                      </a:cubicBezTo>
                      <a:cubicBezTo>
                        <a:pt x="270" y="76"/>
                        <a:pt x="272" y="75"/>
                        <a:pt x="274" y="74"/>
                      </a:cubicBezTo>
                      <a:cubicBezTo>
                        <a:pt x="275" y="73"/>
                        <a:pt x="276" y="73"/>
                        <a:pt x="276" y="73"/>
                      </a:cubicBezTo>
                      <a:cubicBezTo>
                        <a:pt x="279" y="71"/>
                        <a:pt x="282" y="70"/>
                        <a:pt x="285" y="69"/>
                      </a:cubicBezTo>
                      <a:cubicBezTo>
                        <a:pt x="285" y="69"/>
                        <a:pt x="285" y="69"/>
                        <a:pt x="285" y="69"/>
                      </a:cubicBezTo>
                      <a:cubicBezTo>
                        <a:pt x="295" y="65"/>
                        <a:pt x="304" y="62"/>
                        <a:pt x="314" y="59"/>
                      </a:cubicBezTo>
                      <a:cubicBezTo>
                        <a:pt x="277" y="97"/>
                        <a:pt x="247" y="153"/>
                        <a:pt x="227" y="220"/>
                      </a:cubicBezTo>
                      <a:cubicBezTo>
                        <a:pt x="187" y="209"/>
                        <a:pt x="154" y="196"/>
                        <a:pt x="131" y="181"/>
                      </a:cubicBezTo>
                      <a:cubicBezTo>
                        <a:pt x="165" y="141"/>
                        <a:pt x="206" y="108"/>
                        <a:pt x="253" y="84"/>
                      </a:cubicBezTo>
                      <a:close/>
                      <a:moveTo>
                        <a:pt x="107" y="214"/>
                      </a:moveTo>
                      <a:cubicBezTo>
                        <a:pt x="135" y="231"/>
                        <a:pt x="172" y="247"/>
                        <a:pt x="216" y="258"/>
                      </a:cubicBezTo>
                      <a:cubicBezTo>
                        <a:pt x="205" y="306"/>
                        <a:pt x="198" y="358"/>
                        <a:pt x="197" y="412"/>
                      </a:cubicBezTo>
                      <a:cubicBezTo>
                        <a:pt x="41" y="412"/>
                        <a:pt x="41" y="412"/>
                        <a:pt x="41" y="412"/>
                      </a:cubicBezTo>
                      <a:cubicBezTo>
                        <a:pt x="45" y="339"/>
                        <a:pt x="69" y="271"/>
                        <a:pt x="107" y="2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05" name="Freeform 7">
                  <a:extLst>
                    <a:ext uri="{FF2B5EF4-FFF2-40B4-BE49-F238E27FC236}">
                      <a16:creationId xmlns:a16="http://schemas.microsoft.com/office/drawing/2014/main" id="{25F41226-8077-4838-94D1-5EC3263BCEE0}"/>
                    </a:ext>
                  </a:extLst>
                </p:cNvPr>
                <p:cNvSpPr>
                  <a:spLocks/>
                </p:cNvSpPr>
                <p:nvPr/>
              </p:nvSpPr>
              <p:spPr bwMode="auto">
                <a:xfrm>
                  <a:off x="273843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06" name="Freeform 8">
                  <a:extLst>
                    <a:ext uri="{FF2B5EF4-FFF2-40B4-BE49-F238E27FC236}">
                      <a16:creationId xmlns:a16="http://schemas.microsoft.com/office/drawing/2014/main" id="{58F4781D-AE05-4E0B-94A8-422403C52C1D}"/>
                    </a:ext>
                  </a:extLst>
                </p:cNvPr>
                <p:cNvSpPr>
                  <a:spLocks/>
                </p:cNvSpPr>
                <p:nvPr/>
              </p:nvSpPr>
              <p:spPr bwMode="auto">
                <a:xfrm>
                  <a:off x="2846388" y="2674938"/>
                  <a:ext cx="77788" cy="77788"/>
                </a:xfrm>
                <a:custGeom>
                  <a:avLst/>
                  <a:gdLst>
                    <a:gd name="T0" fmla="*/ 75 w 104"/>
                    <a:gd name="T1" fmla="*/ 105 h 105"/>
                    <a:gd name="T2" fmla="*/ 28 w 104"/>
                    <a:gd name="T3" fmla="*/ 105 h 105"/>
                    <a:gd name="T4" fmla="*/ 0 w 104"/>
                    <a:gd name="T5" fmla="*/ 76 h 105"/>
                    <a:gd name="T6" fmla="*/ 0 w 104"/>
                    <a:gd name="T7" fmla="*/ 29 h 105"/>
                    <a:gd name="T8" fmla="*/ 28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8" y="105"/>
                        <a:pt x="28" y="105"/>
                        <a:pt x="28" y="105"/>
                      </a:cubicBezTo>
                      <a:cubicBezTo>
                        <a:pt x="12" y="105"/>
                        <a:pt x="0" y="92"/>
                        <a:pt x="0" y="76"/>
                      </a:cubicBezTo>
                      <a:cubicBezTo>
                        <a:pt x="0" y="29"/>
                        <a:pt x="0" y="29"/>
                        <a:pt x="0" y="29"/>
                      </a:cubicBezTo>
                      <a:cubicBezTo>
                        <a:pt x="0" y="13"/>
                        <a:pt x="12" y="0"/>
                        <a:pt x="28"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07" name="Freeform 9">
                  <a:extLst>
                    <a:ext uri="{FF2B5EF4-FFF2-40B4-BE49-F238E27FC236}">
                      <a16:creationId xmlns:a16="http://schemas.microsoft.com/office/drawing/2014/main" id="{7DFD582B-A196-4473-955E-19FBF098E3AB}"/>
                    </a:ext>
                  </a:extLst>
                </p:cNvPr>
                <p:cNvSpPr>
                  <a:spLocks/>
                </p:cNvSpPr>
                <p:nvPr/>
              </p:nvSpPr>
              <p:spPr bwMode="auto">
                <a:xfrm>
                  <a:off x="295433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08" name="Freeform 10">
                  <a:extLst>
                    <a:ext uri="{FF2B5EF4-FFF2-40B4-BE49-F238E27FC236}">
                      <a16:creationId xmlns:a16="http://schemas.microsoft.com/office/drawing/2014/main" id="{B1659839-2C5E-4633-9294-3C4AAB77A78E}"/>
                    </a:ext>
                  </a:extLst>
                </p:cNvPr>
                <p:cNvSpPr>
                  <a:spLocks/>
                </p:cNvSpPr>
                <p:nvPr/>
              </p:nvSpPr>
              <p:spPr bwMode="auto">
                <a:xfrm>
                  <a:off x="306228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09" name="Freeform 11">
                  <a:extLst>
                    <a:ext uri="{FF2B5EF4-FFF2-40B4-BE49-F238E27FC236}">
                      <a16:creationId xmlns:a16="http://schemas.microsoft.com/office/drawing/2014/main" id="{5D81DBEA-7E8B-4853-8493-7379382C4976}"/>
                    </a:ext>
                  </a:extLst>
                </p:cNvPr>
                <p:cNvSpPr>
                  <a:spLocks/>
                </p:cNvSpPr>
                <p:nvPr/>
              </p:nvSpPr>
              <p:spPr bwMode="auto">
                <a:xfrm>
                  <a:off x="3170238" y="2674938"/>
                  <a:ext cx="77788" cy="77788"/>
                </a:xfrm>
                <a:custGeom>
                  <a:avLst/>
                  <a:gdLst>
                    <a:gd name="T0" fmla="*/ 76 w 104"/>
                    <a:gd name="T1" fmla="*/ 105 h 105"/>
                    <a:gd name="T2" fmla="*/ 29 w 104"/>
                    <a:gd name="T3" fmla="*/ 105 h 105"/>
                    <a:gd name="T4" fmla="*/ 0 w 104"/>
                    <a:gd name="T5" fmla="*/ 76 h 105"/>
                    <a:gd name="T6" fmla="*/ 0 w 104"/>
                    <a:gd name="T7" fmla="*/ 29 h 105"/>
                    <a:gd name="T8" fmla="*/ 29 w 104"/>
                    <a:gd name="T9" fmla="*/ 0 h 105"/>
                    <a:gd name="T10" fmla="*/ 76 w 104"/>
                    <a:gd name="T11" fmla="*/ 0 h 105"/>
                    <a:gd name="T12" fmla="*/ 104 w 104"/>
                    <a:gd name="T13" fmla="*/ 29 h 105"/>
                    <a:gd name="T14" fmla="*/ 104 w 104"/>
                    <a:gd name="T15" fmla="*/ 76 h 105"/>
                    <a:gd name="T16" fmla="*/ 76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4" y="13"/>
                        <a:pt x="104" y="29"/>
                      </a:cubicBezTo>
                      <a:cubicBezTo>
                        <a:pt x="104" y="76"/>
                        <a:pt x="104" y="76"/>
                        <a:pt x="104" y="76"/>
                      </a:cubicBezTo>
                      <a:cubicBezTo>
                        <a:pt x="104"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10" name="Freeform 12">
                  <a:extLst>
                    <a:ext uri="{FF2B5EF4-FFF2-40B4-BE49-F238E27FC236}">
                      <a16:creationId xmlns:a16="http://schemas.microsoft.com/office/drawing/2014/main" id="{BFF5EBFE-980D-401F-AC3B-8D43B747492B}"/>
                    </a:ext>
                  </a:extLst>
                </p:cNvPr>
                <p:cNvSpPr>
                  <a:spLocks/>
                </p:cNvSpPr>
                <p:nvPr/>
              </p:nvSpPr>
              <p:spPr bwMode="auto">
                <a:xfrm>
                  <a:off x="327818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11" name="Freeform 13">
                  <a:extLst>
                    <a:ext uri="{FF2B5EF4-FFF2-40B4-BE49-F238E27FC236}">
                      <a16:creationId xmlns:a16="http://schemas.microsoft.com/office/drawing/2014/main" id="{6DF3F924-B34A-464B-ABAC-39C576CCF478}"/>
                    </a:ext>
                  </a:extLst>
                </p:cNvPr>
                <p:cNvSpPr>
                  <a:spLocks/>
                </p:cNvSpPr>
                <p:nvPr/>
              </p:nvSpPr>
              <p:spPr bwMode="auto">
                <a:xfrm>
                  <a:off x="2789238" y="2776538"/>
                  <a:ext cx="65088" cy="65088"/>
                </a:xfrm>
                <a:custGeom>
                  <a:avLst/>
                  <a:gdLst>
                    <a:gd name="T0" fmla="*/ 58 w 87"/>
                    <a:gd name="T1" fmla="*/ 87 h 87"/>
                    <a:gd name="T2" fmla="*/ 28 w 87"/>
                    <a:gd name="T3" fmla="*/ 87 h 87"/>
                    <a:gd name="T4" fmla="*/ 0 w 87"/>
                    <a:gd name="T5" fmla="*/ 58 h 87"/>
                    <a:gd name="T6" fmla="*/ 0 w 87"/>
                    <a:gd name="T7" fmla="*/ 29 h 87"/>
                    <a:gd name="T8" fmla="*/ 28 w 87"/>
                    <a:gd name="T9" fmla="*/ 0 h 87"/>
                    <a:gd name="T10" fmla="*/ 58 w 87"/>
                    <a:gd name="T11" fmla="*/ 0 h 87"/>
                    <a:gd name="T12" fmla="*/ 87 w 87"/>
                    <a:gd name="T13" fmla="*/ 29 h 87"/>
                    <a:gd name="T14" fmla="*/ 87 w 87"/>
                    <a:gd name="T15" fmla="*/ 58 h 87"/>
                    <a:gd name="T16" fmla="*/ 58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8" y="87"/>
                      </a:moveTo>
                      <a:cubicBezTo>
                        <a:pt x="28" y="87"/>
                        <a:pt x="28" y="87"/>
                        <a:pt x="28" y="87"/>
                      </a:cubicBezTo>
                      <a:cubicBezTo>
                        <a:pt x="12" y="87"/>
                        <a:pt x="0" y="74"/>
                        <a:pt x="0" y="58"/>
                      </a:cubicBezTo>
                      <a:cubicBezTo>
                        <a:pt x="0" y="29"/>
                        <a:pt x="0" y="29"/>
                        <a:pt x="0" y="29"/>
                      </a:cubicBezTo>
                      <a:cubicBezTo>
                        <a:pt x="0" y="13"/>
                        <a:pt x="12" y="0"/>
                        <a:pt x="28" y="0"/>
                      </a:cubicBezTo>
                      <a:cubicBezTo>
                        <a:pt x="58" y="0"/>
                        <a:pt x="58" y="0"/>
                        <a:pt x="58" y="0"/>
                      </a:cubicBezTo>
                      <a:cubicBezTo>
                        <a:pt x="74" y="0"/>
                        <a:pt x="87" y="13"/>
                        <a:pt x="87" y="29"/>
                      </a:cubicBezTo>
                      <a:cubicBezTo>
                        <a:pt x="87" y="58"/>
                        <a:pt x="87" y="58"/>
                        <a:pt x="87" y="58"/>
                      </a:cubicBezTo>
                      <a:cubicBezTo>
                        <a:pt x="87" y="74"/>
                        <a:pt x="74" y="87"/>
                        <a:pt x="58"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12" name="Freeform 14">
                  <a:extLst>
                    <a:ext uri="{FF2B5EF4-FFF2-40B4-BE49-F238E27FC236}">
                      <a16:creationId xmlns:a16="http://schemas.microsoft.com/office/drawing/2014/main" id="{CA727898-485B-4137-B5F3-A986C991821C}"/>
                    </a:ext>
                  </a:extLst>
                </p:cNvPr>
                <p:cNvSpPr>
                  <a:spLocks/>
                </p:cNvSpPr>
                <p:nvPr/>
              </p:nvSpPr>
              <p:spPr bwMode="auto">
                <a:xfrm>
                  <a:off x="2901950" y="2776538"/>
                  <a:ext cx="65088" cy="65088"/>
                </a:xfrm>
                <a:custGeom>
                  <a:avLst/>
                  <a:gdLst>
                    <a:gd name="T0" fmla="*/ 59 w 88"/>
                    <a:gd name="T1" fmla="*/ 87 h 87"/>
                    <a:gd name="T2" fmla="*/ 29 w 88"/>
                    <a:gd name="T3" fmla="*/ 87 h 87"/>
                    <a:gd name="T4" fmla="*/ 0 w 88"/>
                    <a:gd name="T5" fmla="*/ 58 h 87"/>
                    <a:gd name="T6" fmla="*/ 0 w 88"/>
                    <a:gd name="T7" fmla="*/ 29 h 87"/>
                    <a:gd name="T8" fmla="*/ 29 w 88"/>
                    <a:gd name="T9" fmla="*/ 0 h 87"/>
                    <a:gd name="T10" fmla="*/ 59 w 88"/>
                    <a:gd name="T11" fmla="*/ 0 h 87"/>
                    <a:gd name="T12" fmla="*/ 88 w 88"/>
                    <a:gd name="T13" fmla="*/ 29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9"/>
                        <a:pt x="0" y="29"/>
                        <a:pt x="0" y="29"/>
                      </a:cubicBezTo>
                      <a:cubicBezTo>
                        <a:pt x="0" y="13"/>
                        <a:pt x="13" y="0"/>
                        <a:pt x="29" y="0"/>
                      </a:cubicBezTo>
                      <a:cubicBezTo>
                        <a:pt x="59" y="0"/>
                        <a:pt x="59" y="0"/>
                        <a:pt x="59" y="0"/>
                      </a:cubicBezTo>
                      <a:cubicBezTo>
                        <a:pt x="75" y="0"/>
                        <a:pt x="88" y="13"/>
                        <a:pt x="88" y="29"/>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13" name="Freeform 15">
                  <a:extLst>
                    <a:ext uri="{FF2B5EF4-FFF2-40B4-BE49-F238E27FC236}">
                      <a16:creationId xmlns:a16="http://schemas.microsoft.com/office/drawing/2014/main" id="{E264BC8B-1AFE-4350-8342-C32C08DE3D52}"/>
                    </a:ext>
                  </a:extLst>
                </p:cNvPr>
                <p:cNvSpPr>
                  <a:spLocks/>
                </p:cNvSpPr>
                <p:nvPr/>
              </p:nvSpPr>
              <p:spPr bwMode="auto">
                <a:xfrm>
                  <a:off x="3014663"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14" name="Freeform 16">
                  <a:extLst>
                    <a:ext uri="{FF2B5EF4-FFF2-40B4-BE49-F238E27FC236}">
                      <a16:creationId xmlns:a16="http://schemas.microsoft.com/office/drawing/2014/main" id="{3796EDD9-C8C7-4047-BDD3-ABE52F053E7E}"/>
                    </a:ext>
                  </a:extLst>
                </p:cNvPr>
                <p:cNvSpPr>
                  <a:spLocks/>
                </p:cNvSpPr>
                <p:nvPr/>
              </p:nvSpPr>
              <p:spPr bwMode="auto">
                <a:xfrm>
                  <a:off x="3127375"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15" name="Freeform 17">
                  <a:extLst>
                    <a:ext uri="{FF2B5EF4-FFF2-40B4-BE49-F238E27FC236}">
                      <a16:creationId xmlns:a16="http://schemas.microsoft.com/office/drawing/2014/main" id="{CF260224-9999-4679-A95B-1262D6812051}"/>
                    </a:ext>
                  </a:extLst>
                </p:cNvPr>
                <p:cNvSpPr>
                  <a:spLocks/>
                </p:cNvSpPr>
                <p:nvPr/>
              </p:nvSpPr>
              <p:spPr bwMode="auto">
                <a:xfrm>
                  <a:off x="3240088" y="2778125"/>
                  <a:ext cx="65088" cy="63500"/>
                </a:xfrm>
                <a:custGeom>
                  <a:avLst/>
                  <a:gdLst>
                    <a:gd name="T0" fmla="*/ 59 w 87"/>
                    <a:gd name="T1" fmla="*/ 87 h 87"/>
                    <a:gd name="T2" fmla="*/ 29 w 87"/>
                    <a:gd name="T3" fmla="*/ 87 h 87"/>
                    <a:gd name="T4" fmla="*/ 0 w 87"/>
                    <a:gd name="T5" fmla="*/ 58 h 87"/>
                    <a:gd name="T6" fmla="*/ 0 w 87"/>
                    <a:gd name="T7" fmla="*/ 28 h 87"/>
                    <a:gd name="T8" fmla="*/ 29 w 87"/>
                    <a:gd name="T9" fmla="*/ 0 h 87"/>
                    <a:gd name="T10" fmla="*/ 59 w 87"/>
                    <a:gd name="T11" fmla="*/ 0 h 87"/>
                    <a:gd name="T12" fmla="*/ 87 w 87"/>
                    <a:gd name="T13" fmla="*/ 28 h 87"/>
                    <a:gd name="T14" fmla="*/ 87 w 87"/>
                    <a:gd name="T15" fmla="*/ 58 h 87"/>
                    <a:gd name="T16" fmla="*/ 59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7" y="13"/>
                        <a:pt x="87" y="28"/>
                      </a:cubicBezTo>
                      <a:cubicBezTo>
                        <a:pt x="87" y="58"/>
                        <a:pt x="87" y="58"/>
                        <a:pt x="87" y="58"/>
                      </a:cubicBezTo>
                      <a:cubicBezTo>
                        <a:pt x="87"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16" name="Freeform 18">
                  <a:extLst>
                    <a:ext uri="{FF2B5EF4-FFF2-40B4-BE49-F238E27FC236}">
                      <a16:creationId xmlns:a16="http://schemas.microsoft.com/office/drawing/2014/main" id="{08CFCE21-3294-46BD-AB9E-68E3507FA6D4}"/>
                    </a:ext>
                  </a:extLst>
                </p:cNvPr>
                <p:cNvSpPr>
                  <a:spLocks/>
                </p:cNvSpPr>
                <p:nvPr/>
              </p:nvSpPr>
              <p:spPr bwMode="auto">
                <a:xfrm>
                  <a:off x="2841625" y="2862263"/>
                  <a:ext cx="50800" cy="52388"/>
                </a:xfrm>
                <a:custGeom>
                  <a:avLst/>
                  <a:gdLst>
                    <a:gd name="T0" fmla="*/ 41 w 70"/>
                    <a:gd name="T1" fmla="*/ 70 h 70"/>
                    <a:gd name="T2" fmla="*/ 28 w 70"/>
                    <a:gd name="T3" fmla="*/ 70 h 70"/>
                    <a:gd name="T4" fmla="*/ 0 w 70"/>
                    <a:gd name="T5" fmla="*/ 41 h 70"/>
                    <a:gd name="T6" fmla="*/ 0 w 70"/>
                    <a:gd name="T7" fmla="*/ 29 h 70"/>
                    <a:gd name="T8" fmla="*/ 28 w 70"/>
                    <a:gd name="T9" fmla="*/ 0 h 70"/>
                    <a:gd name="T10" fmla="*/ 41 w 70"/>
                    <a:gd name="T11" fmla="*/ 0 h 70"/>
                    <a:gd name="T12" fmla="*/ 70 w 70"/>
                    <a:gd name="T13" fmla="*/ 29 h 70"/>
                    <a:gd name="T14" fmla="*/ 70 w 70"/>
                    <a:gd name="T15" fmla="*/ 41 h 70"/>
                    <a:gd name="T16" fmla="*/ 41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70" y="13"/>
                        <a:pt x="70" y="29"/>
                      </a:cubicBezTo>
                      <a:cubicBezTo>
                        <a:pt x="70" y="41"/>
                        <a:pt x="70" y="41"/>
                        <a:pt x="70" y="41"/>
                      </a:cubicBezTo>
                      <a:cubicBezTo>
                        <a:pt x="70" y="57"/>
                        <a:pt x="57"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17" name="Freeform 19">
                  <a:extLst>
                    <a:ext uri="{FF2B5EF4-FFF2-40B4-BE49-F238E27FC236}">
                      <a16:creationId xmlns:a16="http://schemas.microsoft.com/office/drawing/2014/main" id="{97807D80-2BD9-4B7F-BE31-1BFF62872FD1}"/>
                    </a:ext>
                  </a:extLst>
                </p:cNvPr>
                <p:cNvSpPr>
                  <a:spLocks/>
                </p:cNvSpPr>
                <p:nvPr/>
              </p:nvSpPr>
              <p:spPr bwMode="auto">
                <a:xfrm>
                  <a:off x="2962275" y="2862263"/>
                  <a:ext cx="50800" cy="52388"/>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69" y="13"/>
                        <a:pt x="69" y="29"/>
                      </a:cubicBezTo>
                      <a:cubicBezTo>
                        <a:pt x="69" y="41"/>
                        <a:pt x="69" y="41"/>
                        <a:pt x="69" y="41"/>
                      </a:cubicBezTo>
                      <a:cubicBezTo>
                        <a:pt x="69" y="57"/>
                        <a:pt x="57"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18" name="Freeform 20">
                  <a:extLst>
                    <a:ext uri="{FF2B5EF4-FFF2-40B4-BE49-F238E27FC236}">
                      <a16:creationId xmlns:a16="http://schemas.microsoft.com/office/drawing/2014/main" id="{E23FAAB8-60B0-4477-A66B-4D65151B9D66}"/>
                    </a:ext>
                  </a:extLst>
                </p:cNvPr>
                <p:cNvSpPr>
                  <a:spLocks/>
                </p:cNvSpPr>
                <p:nvPr/>
              </p:nvSpPr>
              <p:spPr bwMode="auto">
                <a:xfrm>
                  <a:off x="3081338" y="2863850"/>
                  <a:ext cx="52388" cy="50800"/>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2" y="70"/>
                        <a:pt x="0" y="57"/>
                        <a:pt x="0" y="41"/>
                      </a:cubicBezTo>
                      <a:cubicBezTo>
                        <a:pt x="0" y="29"/>
                        <a:pt x="0" y="29"/>
                        <a:pt x="0" y="29"/>
                      </a:cubicBezTo>
                      <a:cubicBezTo>
                        <a:pt x="0" y="13"/>
                        <a:pt x="12" y="0"/>
                        <a:pt x="28" y="0"/>
                      </a:cubicBezTo>
                      <a:cubicBezTo>
                        <a:pt x="41" y="0"/>
                        <a:pt x="41" y="0"/>
                        <a:pt x="41" y="0"/>
                      </a:cubicBezTo>
                      <a:cubicBezTo>
                        <a:pt x="56" y="0"/>
                        <a:pt x="69" y="13"/>
                        <a:pt x="69" y="29"/>
                      </a:cubicBezTo>
                      <a:cubicBezTo>
                        <a:pt x="69" y="41"/>
                        <a:pt x="69" y="41"/>
                        <a:pt x="69" y="41"/>
                      </a:cubicBezTo>
                      <a:cubicBezTo>
                        <a:pt x="69" y="57"/>
                        <a:pt x="56"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19" name="Freeform 21">
                  <a:extLst>
                    <a:ext uri="{FF2B5EF4-FFF2-40B4-BE49-F238E27FC236}">
                      <a16:creationId xmlns:a16="http://schemas.microsoft.com/office/drawing/2014/main" id="{DFF79A5E-29CE-459B-9ACE-3456F9E8CA2F}"/>
                    </a:ext>
                  </a:extLst>
                </p:cNvPr>
                <p:cNvSpPr>
                  <a:spLocks/>
                </p:cNvSpPr>
                <p:nvPr/>
              </p:nvSpPr>
              <p:spPr bwMode="auto">
                <a:xfrm>
                  <a:off x="3201988" y="2863850"/>
                  <a:ext cx="50800" cy="50800"/>
                </a:xfrm>
                <a:custGeom>
                  <a:avLst/>
                  <a:gdLst>
                    <a:gd name="T0" fmla="*/ 42 w 70"/>
                    <a:gd name="T1" fmla="*/ 70 h 70"/>
                    <a:gd name="T2" fmla="*/ 29 w 70"/>
                    <a:gd name="T3" fmla="*/ 70 h 70"/>
                    <a:gd name="T4" fmla="*/ 0 w 70"/>
                    <a:gd name="T5" fmla="*/ 41 h 70"/>
                    <a:gd name="T6" fmla="*/ 0 w 70"/>
                    <a:gd name="T7" fmla="*/ 29 h 70"/>
                    <a:gd name="T8" fmla="*/ 29 w 70"/>
                    <a:gd name="T9" fmla="*/ 0 h 70"/>
                    <a:gd name="T10" fmla="*/ 42 w 70"/>
                    <a:gd name="T11" fmla="*/ 0 h 70"/>
                    <a:gd name="T12" fmla="*/ 70 w 70"/>
                    <a:gd name="T13" fmla="*/ 29 h 70"/>
                    <a:gd name="T14" fmla="*/ 70 w 70"/>
                    <a:gd name="T15" fmla="*/ 41 h 70"/>
                    <a:gd name="T16" fmla="*/ 42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2" y="70"/>
                      </a:moveTo>
                      <a:cubicBezTo>
                        <a:pt x="29" y="70"/>
                        <a:pt x="29" y="70"/>
                        <a:pt x="29" y="70"/>
                      </a:cubicBezTo>
                      <a:cubicBezTo>
                        <a:pt x="13" y="70"/>
                        <a:pt x="0" y="57"/>
                        <a:pt x="0" y="41"/>
                      </a:cubicBezTo>
                      <a:cubicBezTo>
                        <a:pt x="0" y="29"/>
                        <a:pt x="0" y="29"/>
                        <a:pt x="0" y="29"/>
                      </a:cubicBezTo>
                      <a:cubicBezTo>
                        <a:pt x="0" y="13"/>
                        <a:pt x="13" y="0"/>
                        <a:pt x="29" y="0"/>
                      </a:cubicBezTo>
                      <a:cubicBezTo>
                        <a:pt x="42" y="0"/>
                        <a:pt x="42" y="0"/>
                        <a:pt x="42" y="0"/>
                      </a:cubicBezTo>
                      <a:cubicBezTo>
                        <a:pt x="57" y="0"/>
                        <a:pt x="70" y="13"/>
                        <a:pt x="70" y="29"/>
                      </a:cubicBezTo>
                      <a:cubicBezTo>
                        <a:pt x="70" y="41"/>
                        <a:pt x="70" y="41"/>
                        <a:pt x="70" y="41"/>
                      </a:cubicBezTo>
                      <a:cubicBezTo>
                        <a:pt x="70" y="57"/>
                        <a:pt x="57" y="70"/>
                        <a:pt x="4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sp>
        <p:nvSpPr>
          <p:cNvPr id="1725" name="TextBox 1724">
            <a:extLst>
              <a:ext uri="{FF2B5EF4-FFF2-40B4-BE49-F238E27FC236}">
                <a16:creationId xmlns:a16="http://schemas.microsoft.com/office/drawing/2014/main" id="{E044A284-54FF-4B04-9DD0-37C22B449815}"/>
              </a:ext>
            </a:extLst>
          </p:cNvPr>
          <p:cNvSpPr txBox="1"/>
          <p:nvPr>
            <p:custDataLst>
              <p:tags r:id="rId10"/>
            </p:custDataLst>
          </p:nvPr>
        </p:nvSpPr>
        <p:spPr>
          <a:xfrm>
            <a:off x="3039470" y="627976"/>
            <a:ext cx="6104531" cy="424732"/>
          </a:xfrm>
          <a:prstGeom prst="rect">
            <a:avLst/>
          </a:prstGeom>
          <a:noFill/>
        </p:spPr>
        <p:txBody>
          <a:bodyPr wrap="square" rtlCol="0" anchor="t">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2400" b="0" i="0" u="none" strike="noStrike" kern="1200" cap="none" spc="0" normalizeH="0" baseline="0" noProof="0" dirty="0">
                <a:ln>
                  <a:noFill/>
                </a:ln>
                <a:solidFill>
                  <a:srgbClr val="005073"/>
                </a:solidFill>
                <a:effectLst/>
                <a:uLnTx/>
                <a:uFillTx/>
                <a:latin typeface="CiscoSansTT ExtraLight"/>
                <a:ea typeface="Apple LiGothic Medium"/>
                <a:cs typeface="Apple LiGothic Medium"/>
              </a:rPr>
              <a:t>Multi-Layered Threat Sensors</a:t>
            </a:r>
            <a:endParaRPr kumimoji="0" lang="en-US" sz="2400" b="0" i="0" u="none" strike="noStrike" kern="1200" cap="none" spc="0" normalizeH="0" baseline="0" noProof="0" dirty="0">
              <a:ln>
                <a:noFill/>
              </a:ln>
              <a:solidFill>
                <a:srgbClr val="FFFFFF"/>
              </a:solidFill>
              <a:effectLst/>
              <a:uLnTx/>
              <a:uFillTx/>
              <a:latin typeface="CiscoSansTT ExtraLight"/>
              <a:ea typeface="Apple LiGothic Medium"/>
              <a:cs typeface="Apple LiGothic Medium"/>
            </a:endParaRPr>
          </a:p>
        </p:txBody>
      </p:sp>
      <p:sp>
        <p:nvSpPr>
          <p:cNvPr id="46" name="Rectangle 45">
            <a:extLst>
              <a:ext uri="{FF2B5EF4-FFF2-40B4-BE49-F238E27FC236}">
                <a16:creationId xmlns:a16="http://schemas.microsoft.com/office/drawing/2014/main" id="{090D142B-3F9D-4100-85B6-3C16D75C4AC4}"/>
              </a:ext>
            </a:extLst>
          </p:cNvPr>
          <p:cNvSpPr/>
          <p:nvPr>
            <p:custDataLst>
              <p:tags r:id="rId11"/>
            </p:custDataLst>
          </p:nvPr>
        </p:nvSpPr>
        <p:spPr>
          <a:xfrm>
            <a:off x="3805735" y="978815"/>
            <a:ext cx="4572000" cy="461665"/>
          </a:xfrm>
          <a:prstGeom prst="rect">
            <a:avLst/>
          </a:prstGeom>
        </p:spPr>
        <p:txBody>
          <a:bodyPr>
            <a:spAutoFit/>
          </a:bodyPr>
          <a:lstStyle/>
          <a:p>
            <a:pPr marL="0" marR="0" lvl="0" indent="0" algn="ctr" defTabSz="457200" rtl="0" eaLnBrk="1" fontAlgn="base" latinLnBrk="0" hangingPunct="1">
              <a:lnSpc>
                <a:spcPct val="100000"/>
              </a:lnSpc>
              <a:spcBef>
                <a:spcPts val="450"/>
              </a:spcBef>
              <a:spcAft>
                <a:spcPct val="0"/>
              </a:spcAft>
              <a:buClr>
                <a:srgbClr val="6DB344"/>
              </a:buClr>
              <a:buSzTx/>
              <a:buFontTx/>
              <a:buNone/>
              <a:tabLst/>
              <a:defRPr/>
            </a:pPr>
            <a:r>
              <a:rPr kumimoji="0" lang="en-US" sz="1200" b="0" i="0" u="none" strike="noStrike" kern="1200" cap="none" spc="0" normalizeH="0" baseline="0" noProof="0" dirty="0">
                <a:ln>
                  <a:noFill/>
                </a:ln>
                <a:solidFill>
                  <a:srgbClr val="00BCEB"/>
                </a:solidFill>
                <a:effectLst/>
                <a:uLnTx/>
                <a:uFillTx/>
                <a:latin typeface="CiscoSansTT ExtraLight"/>
                <a:ea typeface="ＭＳ Ｐゴシック" charset="0"/>
              </a:rPr>
              <a:t>Quickly detect, block, and respond dynamically when threats arise to prevent breaches from impacting the business</a:t>
            </a:r>
          </a:p>
        </p:txBody>
      </p:sp>
      <p:grpSp>
        <p:nvGrpSpPr>
          <p:cNvPr id="24" name="Group 23">
            <a:extLst>
              <a:ext uri="{FF2B5EF4-FFF2-40B4-BE49-F238E27FC236}">
                <a16:creationId xmlns:a16="http://schemas.microsoft.com/office/drawing/2014/main" id="{42EED1A6-71C4-4C13-AF5F-E5BEA9B2F544}"/>
              </a:ext>
            </a:extLst>
          </p:cNvPr>
          <p:cNvGrpSpPr/>
          <p:nvPr>
            <p:custDataLst>
              <p:tags r:id="rId12"/>
            </p:custDataLst>
          </p:nvPr>
        </p:nvGrpSpPr>
        <p:grpSpPr>
          <a:xfrm>
            <a:off x="4373655" y="1508250"/>
            <a:ext cx="356373" cy="541022"/>
            <a:chOff x="3802155" y="1563817"/>
            <a:chExt cx="356373" cy="541022"/>
          </a:xfrm>
        </p:grpSpPr>
        <p:pic>
          <p:nvPicPr>
            <p:cNvPr id="3" name="Graphic 2">
              <a:extLst>
                <a:ext uri="{FF2B5EF4-FFF2-40B4-BE49-F238E27FC236}">
                  <a16:creationId xmlns:a16="http://schemas.microsoft.com/office/drawing/2014/main" id="{AD8F2395-9DFF-48AC-AD5B-CCC4D848B17C}"/>
                </a:ext>
              </a:extLst>
            </p:cNvPr>
            <p:cNvPicPr>
              <a:picLocks noChangeAspect="1"/>
            </p:cNvPicPr>
            <p:nvPr/>
          </p:nvPicPr>
          <p:blipFill>
            <a:blip r:embed="rId33" cstate="print">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3802155" y="1563817"/>
              <a:ext cx="356373" cy="425349"/>
            </a:xfrm>
            <a:prstGeom prst="rect">
              <a:avLst/>
            </a:prstGeom>
          </p:spPr>
        </p:pic>
        <p:sp>
          <p:nvSpPr>
            <p:cNvPr id="21" name="Oval 20">
              <a:extLst>
                <a:ext uri="{FF2B5EF4-FFF2-40B4-BE49-F238E27FC236}">
                  <a16:creationId xmlns:a16="http://schemas.microsoft.com/office/drawing/2014/main" id="{ED3E9C02-9EE8-441D-9A8C-B69A5BD7FD37}"/>
                </a:ext>
              </a:extLst>
            </p:cNvPr>
            <p:cNvSpPr/>
            <p:nvPr/>
          </p:nvSpPr>
          <p:spPr>
            <a:xfrm>
              <a:off x="3930662" y="2018038"/>
              <a:ext cx="86801" cy="86801"/>
            </a:xfrm>
            <a:prstGeom prst="ellipse">
              <a:avLst/>
            </a:prstGeom>
            <a:solidFill>
              <a:schemeClr val="accent6"/>
            </a:solidFill>
            <a:ln>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3" name="Group 32">
            <a:extLst>
              <a:ext uri="{FF2B5EF4-FFF2-40B4-BE49-F238E27FC236}">
                <a16:creationId xmlns:a16="http://schemas.microsoft.com/office/drawing/2014/main" id="{7062AFE6-A942-46BA-A49C-D4FD74E3B080}"/>
              </a:ext>
            </a:extLst>
          </p:cNvPr>
          <p:cNvGrpSpPr/>
          <p:nvPr>
            <p:custDataLst>
              <p:tags r:id="rId13"/>
            </p:custDataLst>
          </p:nvPr>
        </p:nvGrpSpPr>
        <p:grpSpPr>
          <a:xfrm>
            <a:off x="6465374" y="1508250"/>
            <a:ext cx="361950" cy="540889"/>
            <a:chOff x="5893874" y="1520950"/>
            <a:chExt cx="361950" cy="540889"/>
          </a:xfrm>
        </p:grpSpPr>
        <p:grpSp>
          <p:nvGrpSpPr>
            <p:cNvPr id="13" name="Group 4">
              <a:extLst>
                <a:ext uri="{FF2B5EF4-FFF2-40B4-BE49-F238E27FC236}">
                  <a16:creationId xmlns:a16="http://schemas.microsoft.com/office/drawing/2014/main" id="{AE06901A-E190-420E-8C7F-7AABAE4CFF4B}"/>
                </a:ext>
              </a:extLst>
            </p:cNvPr>
            <p:cNvGrpSpPr>
              <a:grpSpLocks noChangeAspect="1"/>
            </p:cNvGrpSpPr>
            <p:nvPr/>
          </p:nvGrpSpPr>
          <p:grpSpPr bwMode="auto">
            <a:xfrm>
              <a:off x="5893874" y="1520950"/>
              <a:ext cx="361950" cy="423863"/>
              <a:chOff x="2767" y="1485"/>
              <a:chExt cx="228" cy="267"/>
            </a:xfrm>
          </p:grpSpPr>
          <p:sp>
            <p:nvSpPr>
              <p:cNvPr id="15" name="Freeform 5">
                <a:extLst>
                  <a:ext uri="{FF2B5EF4-FFF2-40B4-BE49-F238E27FC236}">
                    <a16:creationId xmlns:a16="http://schemas.microsoft.com/office/drawing/2014/main" id="{DF060683-D171-4D64-88FC-00BF5B1FAF6E}"/>
                  </a:ext>
                </a:extLst>
              </p:cNvPr>
              <p:cNvSpPr>
                <a:spLocks/>
              </p:cNvSpPr>
              <p:nvPr/>
            </p:nvSpPr>
            <p:spPr bwMode="auto">
              <a:xfrm>
                <a:off x="2767" y="1485"/>
                <a:ext cx="228" cy="267"/>
              </a:xfrm>
              <a:custGeom>
                <a:avLst/>
                <a:gdLst>
                  <a:gd name="T0" fmla="*/ 124 w 126"/>
                  <a:gd name="T1" fmla="*/ 60 h 149"/>
                  <a:gd name="T2" fmla="*/ 65 w 126"/>
                  <a:gd name="T3" fmla="*/ 1 h 149"/>
                  <a:gd name="T4" fmla="*/ 0 w 126"/>
                  <a:gd name="T5" fmla="*/ 63 h 149"/>
                  <a:gd name="T6" fmla="*/ 47 w 126"/>
                  <a:gd name="T7" fmla="*/ 124 h 149"/>
                  <a:gd name="T8" fmla="*/ 62 w 126"/>
                  <a:gd name="T9" fmla="*/ 149 h 149"/>
                  <a:gd name="T10" fmla="*/ 78 w 126"/>
                  <a:gd name="T11" fmla="*/ 124 h 149"/>
                  <a:gd name="T12" fmla="*/ 124 w 126"/>
                  <a:gd name="T13" fmla="*/ 60 h 149"/>
                </a:gdLst>
                <a:ahLst/>
                <a:cxnLst>
                  <a:cxn ang="0">
                    <a:pos x="T0" y="T1"/>
                  </a:cxn>
                  <a:cxn ang="0">
                    <a:pos x="T2" y="T3"/>
                  </a:cxn>
                  <a:cxn ang="0">
                    <a:pos x="T4" y="T5"/>
                  </a:cxn>
                  <a:cxn ang="0">
                    <a:pos x="T6" y="T7"/>
                  </a:cxn>
                  <a:cxn ang="0">
                    <a:pos x="T8" y="T9"/>
                  </a:cxn>
                  <a:cxn ang="0">
                    <a:pos x="T10" y="T11"/>
                  </a:cxn>
                  <a:cxn ang="0">
                    <a:pos x="T12" y="T13"/>
                  </a:cxn>
                </a:cxnLst>
                <a:rect l="0" t="0" r="r" b="b"/>
                <a:pathLst>
                  <a:path w="126" h="149">
                    <a:moveTo>
                      <a:pt x="124" y="60"/>
                    </a:moveTo>
                    <a:cubicBezTo>
                      <a:pt x="123" y="29"/>
                      <a:pt x="97" y="3"/>
                      <a:pt x="65" y="1"/>
                    </a:cubicBezTo>
                    <a:cubicBezTo>
                      <a:pt x="30" y="0"/>
                      <a:pt x="0" y="28"/>
                      <a:pt x="0" y="63"/>
                    </a:cubicBezTo>
                    <a:cubicBezTo>
                      <a:pt x="0" y="92"/>
                      <a:pt x="20" y="117"/>
                      <a:pt x="47" y="124"/>
                    </a:cubicBezTo>
                    <a:cubicBezTo>
                      <a:pt x="62" y="149"/>
                      <a:pt x="62" y="149"/>
                      <a:pt x="62" y="149"/>
                    </a:cubicBezTo>
                    <a:cubicBezTo>
                      <a:pt x="78" y="124"/>
                      <a:pt x="78" y="124"/>
                      <a:pt x="78" y="124"/>
                    </a:cubicBezTo>
                    <a:cubicBezTo>
                      <a:pt x="106" y="116"/>
                      <a:pt x="126" y="91"/>
                      <a:pt x="124" y="60"/>
                    </a:cubicBezTo>
                    <a:close/>
                  </a:path>
                </a:pathLst>
              </a:custGeom>
              <a:solidFill>
                <a:srgbClr val="E324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6" name="Freeform 6">
                <a:extLst>
                  <a:ext uri="{FF2B5EF4-FFF2-40B4-BE49-F238E27FC236}">
                    <a16:creationId xmlns:a16="http://schemas.microsoft.com/office/drawing/2014/main" id="{09736AE8-1DA0-4DB8-A470-A52C85891DA6}"/>
                  </a:ext>
                </a:extLst>
              </p:cNvPr>
              <p:cNvSpPr>
                <a:spLocks noEditPoints="1"/>
              </p:cNvSpPr>
              <p:nvPr/>
            </p:nvSpPr>
            <p:spPr bwMode="auto">
              <a:xfrm>
                <a:off x="2870" y="1594"/>
                <a:ext cx="20" cy="22"/>
              </a:xfrm>
              <a:custGeom>
                <a:avLst/>
                <a:gdLst>
                  <a:gd name="T0" fmla="*/ 11 w 11"/>
                  <a:gd name="T1" fmla="*/ 6 h 12"/>
                  <a:gd name="T2" fmla="*/ 5 w 11"/>
                  <a:gd name="T3" fmla="*/ 0 h 12"/>
                  <a:gd name="T4" fmla="*/ 0 w 11"/>
                  <a:gd name="T5" fmla="*/ 6 h 12"/>
                  <a:gd name="T6" fmla="*/ 5 w 11"/>
                  <a:gd name="T7" fmla="*/ 12 h 12"/>
                  <a:gd name="T8" fmla="*/ 11 w 11"/>
                  <a:gd name="T9" fmla="*/ 6 h 12"/>
                  <a:gd name="T10" fmla="*/ 2 w 11"/>
                  <a:gd name="T11" fmla="*/ 6 h 12"/>
                  <a:gd name="T12" fmla="*/ 5 w 11"/>
                  <a:gd name="T13" fmla="*/ 3 h 12"/>
                  <a:gd name="T14" fmla="*/ 8 w 11"/>
                  <a:gd name="T15" fmla="*/ 6 h 12"/>
                  <a:gd name="T16" fmla="*/ 5 w 11"/>
                  <a:gd name="T17" fmla="*/ 9 h 12"/>
                  <a:gd name="T18" fmla="*/ 2 w 11"/>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2">
                    <a:moveTo>
                      <a:pt x="11" y="6"/>
                    </a:moveTo>
                    <a:cubicBezTo>
                      <a:pt x="11" y="3"/>
                      <a:pt x="8" y="0"/>
                      <a:pt x="5" y="0"/>
                    </a:cubicBezTo>
                    <a:cubicBezTo>
                      <a:pt x="2" y="0"/>
                      <a:pt x="0" y="3"/>
                      <a:pt x="0" y="6"/>
                    </a:cubicBezTo>
                    <a:cubicBezTo>
                      <a:pt x="0" y="9"/>
                      <a:pt x="2" y="12"/>
                      <a:pt x="5" y="12"/>
                    </a:cubicBezTo>
                    <a:cubicBezTo>
                      <a:pt x="8" y="12"/>
                      <a:pt x="11" y="9"/>
                      <a:pt x="11" y="6"/>
                    </a:cubicBezTo>
                    <a:close/>
                    <a:moveTo>
                      <a:pt x="2" y="6"/>
                    </a:moveTo>
                    <a:cubicBezTo>
                      <a:pt x="2" y="4"/>
                      <a:pt x="4" y="3"/>
                      <a:pt x="5" y="3"/>
                    </a:cubicBezTo>
                    <a:cubicBezTo>
                      <a:pt x="7" y="3"/>
                      <a:pt x="8" y="4"/>
                      <a:pt x="8" y="6"/>
                    </a:cubicBezTo>
                    <a:cubicBezTo>
                      <a:pt x="8" y="8"/>
                      <a:pt x="7" y="9"/>
                      <a:pt x="5" y="9"/>
                    </a:cubicBezTo>
                    <a:cubicBezTo>
                      <a:pt x="4" y="9"/>
                      <a:pt x="2" y="8"/>
                      <a:pt x="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 name="Freeform 7">
                <a:extLst>
                  <a:ext uri="{FF2B5EF4-FFF2-40B4-BE49-F238E27FC236}">
                    <a16:creationId xmlns:a16="http://schemas.microsoft.com/office/drawing/2014/main" id="{E6B3A58F-A829-4612-A02B-AF7D38430118}"/>
                  </a:ext>
                </a:extLst>
              </p:cNvPr>
              <p:cNvSpPr>
                <a:spLocks noEditPoints="1"/>
              </p:cNvSpPr>
              <p:nvPr/>
            </p:nvSpPr>
            <p:spPr bwMode="auto">
              <a:xfrm>
                <a:off x="2802" y="1519"/>
                <a:ext cx="157" cy="152"/>
              </a:xfrm>
              <a:custGeom>
                <a:avLst/>
                <a:gdLst>
                  <a:gd name="T0" fmla="*/ 66 w 87"/>
                  <a:gd name="T1" fmla="*/ 36 h 85"/>
                  <a:gd name="T2" fmla="*/ 43 w 87"/>
                  <a:gd name="T3" fmla="*/ 0 h 85"/>
                  <a:gd name="T4" fmla="*/ 21 w 87"/>
                  <a:gd name="T5" fmla="*/ 36 h 85"/>
                  <a:gd name="T6" fmla="*/ 1 w 87"/>
                  <a:gd name="T7" fmla="*/ 59 h 85"/>
                  <a:gd name="T8" fmla="*/ 22 w 87"/>
                  <a:gd name="T9" fmla="*/ 84 h 85"/>
                  <a:gd name="T10" fmla="*/ 46 w 87"/>
                  <a:gd name="T11" fmla="*/ 79 h 85"/>
                  <a:gd name="T12" fmla="*/ 65 w 87"/>
                  <a:gd name="T13" fmla="*/ 84 h 85"/>
                  <a:gd name="T14" fmla="*/ 86 w 87"/>
                  <a:gd name="T15" fmla="*/ 59 h 85"/>
                  <a:gd name="T16" fmla="*/ 35 w 87"/>
                  <a:gd name="T17" fmla="*/ 57 h 85"/>
                  <a:gd name="T18" fmla="*/ 37 w 87"/>
                  <a:gd name="T19" fmla="*/ 63 h 85"/>
                  <a:gd name="T20" fmla="*/ 35 w 87"/>
                  <a:gd name="T21" fmla="*/ 56 h 85"/>
                  <a:gd name="T22" fmla="*/ 23 w 87"/>
                  <a:gd name="T23" fmla="*/ 48 h 85"/>
                  <a:gd name="T24" fmla="*/ 22 w 87"/>
                  <a:gd name="T25" fmla="*/ 81 h 85"/>
                  <a:gd name="T26" fmla="*/ 3 w 87"/>
                  <a:gd name="T27" fmla="*/ 64 h 85"/>
                  <a:gd name="T28" fmla="*/ 38 w 87"/>
                  <a:gd name="T29" fmla="*/ 57 h 85"/>
                  <a:gd name="T30" fmla="*/ 37 w 87"/>
                  <a:gd name="T31" fmla="*/ 53 h 85"/>
                  <a:gd name="T32" fmla="*/ 29 w 87"/>
                  <a:gd name="T33" fmla="*/ 47 h 85"/>
                  <a:gd name="T34" fmla="*/ 24 w 87"/>
                  <a:gd name="T35" fmla="*/ 45 h 85"/>
                  <a:gd name="T36" fmla="*/ 6 w 87"/>
                  <a:gd name="T37" fmla="*/ 50 h 85"/>
                  <a:gd name="T38" fmla="*/ 24 w 87"/>
                  <a:gd name="T39" fmla="*/ 38 h 85"/>
                  <a:gd name="T40" fmla="*/ 24 w 87"/>
                  <a:gd name="T41" fmla="*/ 18 h 85"/>
                  <a:gd name="T42" fmla="*/ 31 w 87"/>
                  <a:gd name="T43" fmla="*/ 35 h 85"/>
                  <a:gd name="T44" fmla="*/ 53 w 87"/>
                  <a:gd name="T45" fmla="*/ 37 h 85"/>
                  <a:gd name="T46" fmla="*/ 57 w 87"/>
                  <a:gd name="T47" fmla="*/ 34 h 85"/>
                  <a:gd name="T48" fmla="*/ 65 w 87"/>
                  <a:gd name="T49" fmla="*/ 27 h 85"/>
                  <a:gd name="T50" fmla="*/ 63 w 87"/>
                  <a:gd name="T51" fmla="*/ 39 h 85"/>
                  <a:gd name="T52" fmla="*/ 79 w 87"/>
                  <a:gd name="T53" fmla="*/ 49 h 85"/>
                  <a:gd name="T54" fmla="*/ 61 w 87"/>
                  <a:gd name="T55" fmla="*/ 45 h 85"/>
                  <a:gd name="T56" fmla="*/ 51 w 87"/>
                  <a:gd name="T57" fmla="*/ 52 h 85"/>
                  <a:gd name="T58" fmla="*/ 47 w 87"/>
                  <a:gd name="T59" fmla="*/ 66 h 85"/>
                  <a:gd name="T60" fmla="*/ 55 w 87"/>
                  <a:gd name="T61" fmla="*/ 81 h 85"/>
                  <a:gd name="T62" fmla="*/ 42 w 87"/>
                  <a:gd name="T63" fmla="*/ 73 h 85"/>
                  <a:gd name="T64" fmla="*/ 40 w 87"/>
                  <a:gd name="T65" fmla="*/ 64 h 85"/>
                  <a:gd name="T66" fmla="*/ 58 w 87"/>
                  <a:gd name="T67" fmla="*/ 10 h 85"/>
                  <a:gd name="T68" fmla="*/ 59 w 87"/>
                  <a:gd name="T69" fmla="*/ 13 h 85"/>
                  <a:gd name="T70" fmla="*/ 60 w 87"/>
                  <a:gd name="T71" fmla="*/ 16 h 85"/>
                  <a:gd name="T72" fmla="*/ 43 w 87"/>
                  <a:gd name="T73" fmla="*/ 28 h 85"/>
                  <a:gd name="T74" fmla="*/ 27 w 87"/>
                  <a:gd name="T75" fmla="*/ 16 h 85"/>
                  <a:gd name="T76" fmla="*/ 28 w 87"/>
                  <a:gd name="T77" fmla="*/ 13 h 85"/>
                  <a:gd name="T78" fmla="*/ 29 w 87"/>
                  <a:gd name="T79" fmla="*/ 10 h 85"/>
                  <a:gd name="T80" fmla="*/ 43 w 87"/>
                  <a:gd name="T81" fmla="*/ 37 h 85"/>
                  <a:gd name="T82" fmla="*/ 61 w 87"/>
                  <a:gd name="T83" fmla="*/ 48 h 85"/>
                  <a:gd name="T84" fmla="*/ 59 w 87"/>
                  <a:gd name="T85" fmla="*/ 80 h 85"/>
                  <a:gd name="T86" fmla="*/ 64 w 87"/>
                  <a:gd name="T87" fmla="*/ 48 h 85"/>
                  <a:gd name="T88" fmla="*/ 83 w 87"/>
                  <a:gd name="T89" fmla="*/ 59 h 85"/>
                  <a:gd name="T90" fmla="*/ 65 w 87"/>
                  <a:gd name="T91" fmla="*/ 81 h 85"/>
                  <a:gd name="T92" fmla="*/ 60 w 87"/>
                  <a:gd name="T93" fmla="*/ 8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5">
                    <a:moveTo>
                      <a:pt x="86" y="59"/>
                    </a:moveTo>
                    <a:cubicBezTo>
                      <a:pt x="85" y="52"/>
                      <a:pt x="82" y="46"/>
                      <a:pt x="77" y="41"/>
                    </a:cubicBezTo>
                    <a:cubicBezTo>
                      <a:pt x="74" y="39"/>
                      <a:pt x="70" y="37"/>
                      <a:pt x="66" y="36"/>
                    </a:cubicBezTo>
                    <a:cubicBezTo>
                      <a:pt x="67" y="33"/>
                      <a:pt x="68" y="30"/>
                      <a:pt x="68" y="27"/>
                    </a:cubicBezTo>
                    <a:cubicBezTo>
                      <a:pt x="68" y="20"/>
                      <a:pt x="65" y="13"/>
                      <a:pt x="60" y="9"/>
                    </a:cubicBezTo>
                    <a:cubicBezTo>
                      <a:pt x="56" y="3"/>
                      <a:pt x="50" y="0"/>
                      <a:pt x="43" y="0"/>
                    </a:cubicBezTo>
                    <a:cubicBezTo>
                      <a:pt x="37" y="0"/>
                      <a:pt x="30" y="3"/>
                      <a:pt x="27" y="9"/>
                    </a:cubicBezTo>
                    <a:cubicBezTo>
                      <a:pt x="22" y="13"/>
                      <a:pt x="19" y="20"/>
                      <a:pt x="19" y="27"/>
                    </a:cubicBezTo>
                    <a:cubicBezTo>
                      <a:pt x="19" y="30"/>
                      <a:pt x="20" y="33"/>
                      <a:pt x="21" y="36"/>
                    </a:cubicBezTo>
                    <a:cubicBezTo>
                      <a:pt x="17" y="37"/>
                      <a:pt x="13" y="39"/>
                      <a:pt x="10" y="41"/>
                    </a:cubicBezTo>
                    <a:cubicBezTo>
                      <a:pt x="5" y="46"/>
                      <a:pt x="1" y="52"/>
                      <a:pt x="1" y="59"/>
                    </a:cubicBezTo>
                    <a:cubicBezTo>
                      <a:pt x="1" y="59"/>
                      <a:pt x="1" y="59"/>
                      <a:pt x="1" y="59"/>
                    </a:cubicBezTo>
                    <a:cubicBezTo>
                      <a:pt x="1" y="61"/>
                      <a:pt x="0" y="63"/>
                      <a:pt x="0" y="64"/>
                    </a:cubicBezTo>
                    <a:cubicBezTo>
                      <a:pt x="0" y="75"/>
                      <a:pt x="9" y="84"/>
                      <a:pt x="20" y="84"/>
                    </a:cubicBezTo>
                    <a:cubicBezTo>
                      <a:pt x="21" y="84"/>
                      <a:pt x="21" y="84"/>
                      <a:pt x="22" y="84"/>
                    </a:cubicBezTo>
                    <a:cubicBezTo>
                      <a:pt x="29" y="85"/>
                      <a:pt x="36" y="83"/>
                      <a:pt x="41" y="79"/>
                    </a:cubicBezTo>
                    <a:cubicBezTo>
                      <a:pt x="42" y="78"/>
                      <a:pt x="42" y="77"/>
                      <a:pt x="43" y="76"/>
                    </a:cubicBezTo>
                    <a:cubicBezTo>
                      <a:pt x="44" y="77"/>
                      <a:pt x="45" y="78"/>
                      <a:pt x="46" y="79"/>
                    </a:cubicBezTo>
                    <a:cubicBezTo>
                      <a:pt x="50" y="82"/>
                      <a:pt x="56" y="84"/>
                      <a:pt x="61" y="84"/>
                    </a:cubicBezTo>
                    <a:cubicBezTo>
                      <a:pt x="61" y="84"/>
                      <a:pt x="61" y="84"/>
                      <a:pt x="61" y="84"/>
                    </a:cubicBezTo>
                    <a:cubicBezTo>
                      <a:pt x="62" y="84"/>
                      <a:pt x="64" y="84"/>
                      <a:pt x="65" y="84"/>
                    </a:cubicBezTo>
                    <a:cubicBezTo>
                      <a:pt x="65" y="84"/>
                      <a:pt x="66" y="84"/>
                      <a:pt x="67" y="84"/>
                    </a:cubicBezTo>
                    <a:cubicBezTo>
                      <a:pt x="78" y="84"/>
                      <a:pt x="87" y="75"/>
                      <a:pt x="87" y="64"/>
                    </a:cubicBezTo>
                    <a:cubicBezTo>
                      <a:pt x="87" y="62"/>
                      <a:pt x="86" y="60"/>
                      <a:pt x="86" y="59"/>
                    </a:cubicBezTo>
                    <a:close/>
                    <a:moveTo>
                      <a:pt x="35" y="56"/>
                    </a:moveTo>
                    <a:cubicBezTo>
                      <a:pt x="35" y="56"/>
                      <a:pt x="35" y="57"/>
                      <a:pt x="35" y="57"/>
                    </a:cubicBezTo>
                    <a:cubicBezTo>
                      <a:pt x="35" y="57"/>
                      <a:pt x="35" y="57"/>
                      <a:pt x="35" y="57"/>
                    </a:cubicBezTo>
                    <a:cubicBezTo>
                      <a:pt x="35" y="57"/>
                      <a:pt x="35" y="57"/>
                      <a:pt x="36" y="58"/>
                    </a:cubicBezTo>
                    <a:cubicBezTo>
                      <a:pt x="36" y="59"/>
                      <a:pt x="37" y="60"/>
                      <a:pt x="37" y="61"/>
                    </a:cubicBezTo>
                    <a:cubicBezTo>
                      <a:pt x="37" y="62"/>
                      <a:pt x="37" y="63"/>
                      <a:pt x="37" y="63"/>
                    </a:cubicBezTo>
                    <a:cubicBezTo>
                      <a:pt x="37" y="64"/>
                      <a:pt x="37" y="64"/>
                      <a:pt x="37" y="64"/>
                    </a:cubicBezTo>
                    <a:cubicBezTo>
                      <a:pt x="30" y="62"/>
                      <a:pt x="26" y="56"/>
                      <a:pt x="26" y="48"/>
                    </a:cubicBezTo>
                    <a:cubicBezTo>
                      <a:pt x="30" y="50"/>
                      <a:pt x="33" y="52"/>
                      <a:pt x="35" y="56"/>
                    </a:cubicBezTo>
                    <a:close/>
                    <a:moveTo>
                      <a:pt x="20" y="47"/>
                    </a:moveTo>
                    <a:cubicBezTo>
                      <a:pt x="21" y="47"/>
                      <a:pt x="22" y="48"/>
                      <a:pt x="23" y="48"/>
                    </a:cubicBezTo>
                    <a:cubicBezTo>
                      <a:pt x="23" y="48"/>
                      <a:pt x="23" y="48"/>
                      <a:pt x="23" y="48"/>
                    </a:cubicBezTo>
                    <a:cubicBezTo>
                      <a:pt x="23" y="57"/>
                      <a:pt x="28" y="65"/>
                      <a:pt x="37" y="67"/>
                    </a:cubicBezTo>
                    <a:cubicBezTo>
                      <a:pt x="36" y="71"/>
                      <a:pt x="34" y="75"/>
                      <a:pt x="31" y="78"/>
                    </a:cubicBezTo>
                    <a:cubicBezTo>
                      <a:pt x="28" y="80"/>
                      <a:pt x="25" y="81"/>
                      <a:pt x="22" y="81"/>
                    </a:cubicBezTo>
                    <a:cubicBezTo>
                      <a:pt x="22" y="81"/>
                      <a:pt x="22" y="81"/>
                      <a:pt x="22" y="81"/>
                    </a:cubicBezTo>
                    <a:cubicBezTo>
                      <a:pt x="21" y="81"/>
                      <a:pt x="21" y="81"/>
                      <a:pt x="20" y="81"/>
                    </a:cubicBezTo>
                    <a:cubicBezTo>
                      <a:pt x="11" y="81"/>
                      <a:pt x="3" y="74"/>
                      <a:pt x="3" y="64"/>
                    </a:cubicBezTo>
                    <a:cubicBezTo>
                      <a:pt x="3" y="55"/>
                      <a:pt x="11" y="47"/>
                      <a:pt x="20" y="47"/>
                    </a:cubicBezTo>
                    <a:close/>
                    <a:moveTo>
                      <a:pt x="40" y="64"/>
                    </a:moveTo>
                    <a:cubicBezTo>
                      <a:pt x="40" y="62"/>
                      <a:pt x="39" y="59"/>
                      <a:pt x="38" y="57"/>
                    </a:cubicBezTo>
                    <a:cubicBezTo>
                      <a:pt x="38" y="57"/>
                      <a:pt x="38" y="57"/>
                      <a:pt x="38" y="56"/>
                    </a:cubicBezTo>
                    <a:cubicBezTo>
                      <a:pt x="38" y="56"/>
                      <a:pt x="38" y="55"/>
                      <a:pt x="37" y="55"/>
                    </a:cubicBezTo>
                    <a:cubicBezTo>
                      <a:pt x="37" y="54"/>
                      <a:pt x="37" y="54"/>
                      <a:pt x="37" y="53"/>
                    </a:cubicBezTo>
                    <a:cubicBezTo>
                      <a:pt x="36" y="53"/>
                      <a:pt x="36" y="53"/>
                      <a:pt x="36" y="53"/>
                    </a:cubicBezTo>
                    <a:cubicBezTo>
                      <a:pt x="36" y="53"/>
                      <a:pt x="36" y="52"/>
                      <a:pt x="35" y="52"/>
                    </a:cubicBezTo>
                    <a:cubicBezTo>
                      <a:pt x="34" y="50"/>
                      <a:pt x="31" y="48"/>
                      <a:pt x="29" y="47"/>
                    </a:cubicBezTo>
                    <a:cubicBezTo>
                      <a:pt x="28" y="46"/>
                      <a:pt x="28" y="46"/>
                      <a:pt x="27" y="46"/>
                    </a:cubicBezTo>
                    <a:cubicBezTo>
                      <a:pt x="27" y="46"/>
                      <a:pt x="26" y="45"/>
                      <a:pt x="25" y="45"/>
                    </a:cubicBezTo>
                    <a:cubicBezTo>
                      <a:pt x="25" y="45"/>
                      <a:pt x="24" y="45"/>
                      <a:pt x="24" y="45"/>
                    </a:cubicBezTo>
                    <a:cubicBezTo>
                      <a:pt x="23" y="45"/>
                      <a:pt x="22" y="45"/>
                      <a:pt x="22" y="45"/>
                    </a:cubicBezTo>
                    <a:cubicBezTo>
                      <a:pt x="17" y="44"/>
                      <a:pt x="11" y="46"/>
                      <a:pt x="7" y="49"/>
                    </a:cubicBezTo>
                    <a:cubicBezTo>
                      <a:pt x="7" y="49"/>
                      <a:pt x="6" y="50"/>
                      <a:pt x="6" y="50"/>
                    </a:cubicBezTo>
                    <a:cubicBezTo>
                      <a:pt x="7" y="48"/>
                      <a:pt x="9" y="45"/>
                      <a:pt x="12" y="43"/>
                    </a:cubicBezTo>
                    <a:cubicBezTo>
                      <a:pt x="15" y="41"/>
                      <a:pt x="19" y="39"/>
                      <a:pt x="23" y="39"/>
                    </a:cubicBezTo>
                    <a:cubicBezTo>
                      <a:pt x="24" y="39"/>
                      <a:pt x="24" y="38"/>
                      <a:pt x="24" y="38"/>
                    </a:cubicBezTo>
                    <a:cubicBezTo>
                      <a:pt x="24" y="37"/>
                      <a:pt x="24" y="37"/>
                      <a:pt x="24" y="37"/>
                    </a:cubicBezTo>
                    <a:cubicBezTo>
                      <a:pt x="23" y="33"/>
                      <a:pt x="22" y="30"/>
                      <a:pt x="22" y="27"/>
                    </a:cubicBezTo>
                    <a:cubicBezTo>
                      <a:pt x="22" y="24"/>
                      <a:pt x="22" y="21"/>
                      <a:pt x="24" y="18"/>
                    </a:cubicBezTo>
                    <a:cubicBezTo>
                      <a:pt x="24" y="19"/>
                      <a:pt x="23" y="19"/>
                      <a:pt x="23" y="20"/>
                    </a:cubicBezTo>
                    <a:cubicBezTo>
                      <a:pt x="23" y="25"/>
                      <a:pt x="26" y="30"/>
                      <a:pt x="29" y="34"/>
                    </a:cubicBezTo>
                    <a:cubicBezTo>
                      <a:pt x="30" y="34"/>
                      <a:pt x="30" y="35"/>
                      <a:pt x="31" y="35"/>
                    </a:cubicBezTo>
                    <a:cubicBezTo>
                      <a:pt x="31" y="35"/>
                      <a:pt x="32" y="36"/>
                      <a:pt x="32" y="36"/>
                    </a:cubicBezTo>
                    <a:cubicBezTo>
                      <a:pt x="33" y="36"/>
                      <a:pt x="33" y="37"/>
                      <a:pt x="34" y="37"/>
                    </a:cubicBezTo>
                    <a:cubicBezTo>
                      <a:pt x="40" y="40"/>
                      <a:pt x="47" y="40"/>
                      <a:pt x="53" y="37"/>
                    </a:cubicBezTo>
                    <a:cubicBezTo>
                      <a:pt x="53" y="37"/>
                      <a:pt x="54" y="36"/>
                      <a:pt x="54" y="36"/>
                    </a:cubicBezTo>
                    <a:cubicBezTo>
                      <a:pt x="55" y="36"/>
                      <a:pt x="55" y="35"/>
                      <a:pt x="56" y="35"/>
                    </a:cubicBezTo>
                    <a:cubicBezTo>
                      <a:pt x="56" y="35"/>
                      <a:pt x="57" y="34"/>
                      <a:pt x="57" y="34"/>
                    </a:cubicBezTo>
                    <a:cubicBezTo>
                      <a:pt x="61" y="30"/>
                      <a:pt x="63" y="25"/>
                      <a:pt x="63" y="20"/>
                    </a:cubicBezTo>
                    <a:cubicBezTo>
                      <a:pt x="63" y="19"/>
                      <a:pt x="63" y="19"/>
                      <a:pt x="63" y="18"/>
                    </a:cubicBezTo>
                    <a:cubicBezTo>
                      <a:pt x="64" y="21"/>
                      <a:pt x="65" y="24"/>
                      <a:pt x="65" y="27"/>
                    </a:cubicBezTo>
                    <a:cubicBezTo>
                      <a:pt x="65" y="30"/>
                      <a:pt x="64" y="33"/>
                      <a:pt x="62" y="37"/>
                    </a:cubicBezTo>
                    <a:cubicBezTo>
                      <a:pt x="62" y="37"/>
                      <a:pt x="62" y="37"/>
                      <a:pt x="62" y="38"/>
                    </a:cubicBezTo>
                    <a:cubicBezTo>
                      <a:pt x="63" y="38"/>
                      <a:pt x="63" y="39"/>
                      <a:pt x="63" y="39"/>
                    </a:cubicBezTo>
                    <a:cubicBezTo>
                      <a:pt x="68" y="39"/>
                      <a:pt x="72" y="41"/>
                      <a:pt x="75" y="43"/>
                    </a:cubicBezTo>
                    <a:cubicBezTo>
                      <a:pt x="77" y="45"/>
                      <a:pt x="79" y="48"/>
                      <a:pt x="81" y="50"/>
                    </a:cubicBezTo>
                    <a:cubicBezTo>
                      <a:pt x="80" y="50"/>
                      <a:pt x="80" y="49"/>
                      <a:pt x="79" y="49"/>
                    </a:cubicBezTo>
                    <a:cubicBezTo>
                      <a:pt x="75" y="46"/>
                      <a:pt x="70" y="44"/>
                      <a:pt x="65" y="45"/>
                    </a:cubicBezTo>
                    <a:cubicBezTo>
                      <a:pt x="64" y="45"/>
                      <a:pt x="64" y="45"/>
                      <a:pt x="63" y="45"/>
                    </a:cubicBezTo>
                    <a:cubicBezTo>
                      <a:pt x="62" y="45"/>
                      <a:pt x="62" y="45"/>
                      <a:pt x="61" y="45"/>
                    </a:cubicBezTo>
                    <a:cubicBezTo>
                      <a:pt x="61" y="45"/>
                      <a:pt x="60" y="46"/>
                      <a:pt x="59" y="46"/>
                    </a:cubicBezTo>
                    <a:cubicBezTo>
                      <a:pt x="59" y="46"/>
                      <a:pt x="58" y="46"/>
                      <a:pt x="58" y="47"/>
                    </a:cubicBezTo>
                    <a:cubicBezTo>
                      <a:pt x="55" y="48"/>
                      <a:pt x="53" y="50"/>
                      <a:pt x="51" y="52"/>
                    </a:cubicBezTo>
                    <a:cubicBezTo>
                      <a:pt x="49" y="55"/>
                      <a:pt x="47" y="58"/>
                      <a:pt x="47" y="62"/>
                    </a:cubicBezTo>
                    <a:cubicBezTo>
                      <a:pt x="47" y="63"/>
                      <a:pt x="47" y="63"/>
                      <a:pt x="47" y="64"/>
                    </a:cubicBezTo>
                    <a:cubicBezTo>
                      <a:pt x="47" y="64"/>
                      <a:pt x="47" y="65"/>
                      <a:pt x="47" y="66"/>
                    </a:cubicBezTo>
                    <a:cubicBezTo>
                      <a:pt x="47" y="66"/>
                      <a:pt x="47" y="67"/>
                      <a:pt x="47" y="67"/>
                    </a:cubicBezTo>
                    <a:cubicBezTo>
                      <a:pt x="48" y="72"/>
                      <a:pt x="50" y="77"/>
                      <a:pt x="54" y="80"/>
                    </a:cubicBezTo>
                    <a:cubicBezTo>
                      <a:pt x="55" y="80"/>
                      <a:pt x="55" y="80"/>
                      <a:pt x="55" y="81"/>
                    </a:cubicBezTo>
                    <a:cubicBezTo>
                      <a:pt x="53" y="80"/>
                      <a:pt x="50" y="79"/>
                      <a:pt x="48" y="77"/>
                    </a:cubicBezTo>
                    <a:cubicBezTo>
                      <a:pt x="47" y="76"/>
                      <a:pt x="45" y="75"/>
                      <a:pt x="44" y="73"/>
                    </a:cubicBezTo>
                    <a:cubicBezTo>
                      <a:pt x="44" y="73"/>
                      <a:pt x="43" y="73"/>
                      <a:pt x="42" y="73"/>
                    </a:cubicBezTo>
                    <a:cubicBezTo>
                      <a:pt x="41" y="75"/>
                      <a:pt x="40" y="76"/>
                      <a:pt x="39" y="77"/>
                    </a:cubicBezTo>
                    <a:cubicBezTo>
                      <a:pt x="37" y="79"/>
                      <a:pt x="34" y="80"/>
                      <a:pt x="31" y="81"/>
                    </a:cubicBezTo>
                    <a:cubicBezTo>
                      <a:pt x="37" y="77"/>
                      <a:pt x="40" y="71"/>
                      <a:pt x="40" y="64"/>
                    </a:cubicBezTo>
                    <a:close/>
                    <a:moveTo>
                      <a:pt x="29" y="10"/>
                    </a:moveTo>
                    <a:cubicBezTo>
                      <a:pt x="32" y="5"/>
                      <a:pt x="38" y="2"/>
                      <a:pt x="43" y="2"/>
                    </a:cubicBezTo>
                    <a:cubicBezTo>
                      <a:pt x="49" y="2"/>
                      <a:pt x="54" y="5"/>
                      <a:pt x="58" y="10"/>
                    </a:cubicBezTo>
                    <a:cubicBezTo>
                      <a:pt x="58" y="10"/>
                      <a:pt x="58" y="10"/>
                      <a:pt x="58" y="10"/>
                    </a:cubicBezTo>
                    <a:cubicBezTo>
                      <a:pt x="58" y="11"/>
                      <a:pt x="58" y="12"/>
                      <a:pt x="59" y="13"/>
                    </a:cubicBezTo>
                    <a:cubicBezTo>
                      <a:pt x="59" y="13"/>
                      <a:pt x="59" y="13"/>
                      <a:pt x="59" y="13"/>
                    </a:cubicBezTo>
                    <a:cubicBezTo>
                      <a:pt x="59" y="13"/>
                      <a:pt x="59" y="14"/>
                      <a:pt x="60" y="15"/>
                    </a:cubicBezTo>
                    <a:cubicBezTo>
                      <a:pt x="60" y="15"/>
                      <a:pt x="60" y="15"/>
                      <a:pt x="60" y="16"/>
                    </a:cubicBezTo>
                    <a:cubicBezTo>
                      <a:pt x="60" y="16"/>
                      <a:pt x="60" y="16"/>
                      <a:pt x="60" y="16"/>
                    </a:cubicBezTo>
                    <a:cubicBezTo>
                      <a:pt x="60" y="17"/>
                      <a:pt x="60" y="18"/>
                      <a:pt x="60" y="20"/>
                    </a:cubicBezTo>
                    <a:cubicBezTo>
                      <a:pt x="60" y="24"/>
                      <a:pt x="59" y="28"/>
                      <a:pt x="55" y="31"/>
                    </a:cubicBezTo>
                    <a:cubicBezTo>
                      <a:pt x="52" y="29"/>
                      <a:pt x="48" y="28"/>
                      <a:pt x="43" y="28"/>
                    </a:cubicBezTo>
                    <a:cubicBezTo>
                      <a:pt x="39" y="28"/>
                      <a:pt x="35" y="29"/>
                      <a:pt x="31" y="31"/>
                    </a:cubicBezTo>
                    <a:cubicBezTo>
                      <a:pt x="28" y="28"/>
                      <a:pt x="26" y="24"/>
                      <a:pt x="26" y="20"/>
                    </a:cubicBezTo>
                    <a:cubicBezTo>
                      <a:pt x="26" y="18"/>
                      <a:pt x="26" y="17"/>
                      <a:pt x="27" y="16"/>
                    </a:cubicBezTo>
                    <a:cubicBezTo>
                      <a:pt x="27" y="16"/>
                      <a:pt x="27" y="16"/>
                      <a:pt x="27" y="16"/>
                    </a:cubicBezTo>
                    <a:cubicBezTo>
                      <a:pt x="27" y="15"/>
                      <a:pt x="27" y="15"/>
                      <a:pt x="27" y="15"/>
                    </a:cubicBezTo>
                    <a:cubicBezTo>
                      <a:pt x="27" y="14"/>
                      <a:pt x="28" y="13"/>
                      <a:pt x="28" y="13"/>
                    </a:cubicBezTo>
                    <a:cubicBezTo>
                      <a:pt x="28" y="12"/>
                      <a:pt x="29" y="11"/>
                      <a:pt x="29" y="10"/>
                    </a:cubicBezTo>
                    <a:cubicBezTo>
                      <a:pt x="29" y="10"/>
                      <a:pt x="29" y="10"/>
                      <a:pt x="29" y="10"/>
                    </a:cubicBezTo>
                    <a:cubicBezTo>
                      <a:pt x="29" y="10"/>
                      <a:pt x="29" y="10"/>
                      <a:pt x="29" y="10"/>
                    </a:cubicBezTo>
                    <a:close/>
                    <a:moveTo>
                      <a:pt x="43" y="30"/>
                    </a:moveTo>
                    <a:cubicBezTo>
                      <a:pt x="47" y="30"/>
                      <a:pt x="50" y="31"/>
                      <a:pt x="53" y="33"/>
                    </a:cubicBezTo>
                    <a:cubicBezTo>
                      <a:pt x="50" y="35"/>
                      <a:pt x="47" y="37"/>
                      <a:pt x="43" y="37"/>
                    </a:cubicBezTo>
                    <a:cubicBezTo>
                      <a:pt x="40" y="37"/>
                      <a:pt x="36" y="35"/>
                      <a:pt x="33" y="33"/>
                    </a:cubicBezTo>
                    <a:cubicBezTo>
                      <a:pt x="36" y="31"/>
                      <a:pt x="40" y="30"/>
                      <a:pt x="43" y="30"/>
                    </a:cubicBezTo>
                    <a:close/>
                    <a:moveTo>
                      <a:pt x="61" y="48"/>
                    </a:moveTo>
                    <a:cubicBezTo>
                      <a:pt x="61" y="56"/>
                      <a:pt x="56" y="62"/>
                      <a:pt x="50" y="64"/>
                    </a:cubicBezTo>
                    <a:cubicBezTo>
                      <a:pt x="50" y="57"/>
                      <a:pt x="54" y="51"/>
                      <a:pt x="61" y="48"/>
                    </a:cubicBezTo>
                    <a:close/>
                    <a:moveTo>
                      <a:pt x="59" y="80"/>
                    </a:moveTo>
                    <a:cubicBezTo>
                      <a:pt x="54" y="77"/>
                      <a:pt x="51" y="72"/>
                      <a:pt x="50" y="67"/>
                    </a:cubicBezTo>
                    <a:cubicBezTo>
                      <a:pt x="58" y="64"/>
                      <a:pt x="64" y="57"/>
                      <a:pt x="64" y="48"/>
                    </a:cubicBezTo>
                    <a:cubicBezTo>
                      <a:pt x="64" y="48"/>
                      <a:pt x="64" y="48"/>
                      <a:pt x="64" y="48"/>
                    </a:cubicBezTo>
                    <a:cubicBezTo>
                      <a:pt x="65" y="48"/>
                      <a:pt x="66" y="47"/>
                      <a:pt x="67" y="47"/>
                    </a:cubicBezTo>
                    <a:cubicBezTo>
                      <a:pt x="73" y="47"/>
                      <a:pt x="80" y="51"/>
                      <a:pt x="82" y="58"/>
                    </a:cubicBezTo>
                    <a:cubicBezTo>
                      <a:pt x="82" y="58"/>
                      <a:pt x="83" y="58"/>
                      <a:pt x="83" y="59"/>
                    </a:cubicBezTo>
                    <a:cubicBezTo>
                      <a:pt x="83" y="61"/>
                      <a:pt x="84" y="62"/>
                      <a:pt x="84" y="64"/>
                    </a:cubicBezTo>
                    <a:cubicBezTo>
                      <a:pt x="84" y="74"/>
                      <a:pt x="76" y="81"/>
                      <a:pt x="67" y="81"/>
                    </a:cubicBezTo>
                    <a:cubicBezTo>
                      <a:pt x="66" y="81"/>
                      <a:pt x="66" y="81"/>
                      <a:pt x="65" y="81"/>
                    </a:cubicBezTo>
                    <a:cubicBezTo>
                      <a:pt x="65" y="81"/>
                      <a:pt x="65" y="81"/>
                      <a:pt x="65" y="81"/>
                    </a:cubicBezTo>
                    <a:cubicBezTo>
                      <a:pt x="64" y="81"/>
                      <a:pt x="63" y="81"/>
                      <a:pt x="62" y="81"/>
                    </a:cubicBezTo>
                    <a:cubicBezTo>
                      <a:pt x="62" y="81"/>
                      <a:pt x="61" y="80"/>
                      <a:pt x="60" y="80"/>
                    </a:cubicBezTo>
                    <a:cubicBezTo>
                      <a:pt x="60" y="80"/>
                      <a:pt x="60" y="80"/>
                      <a:pt x="60" y="80"/>
                    </a:cubicBezTo>
                    <a:cubicBezTo>
                      <a:pt x="59" y="80"/>
                      <a:pt x="59" y="80"/>
                      <a:pt x="59"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
          <p:nvSpPr>
            <p:cNvPr id="1186" name="Oval 1185">
              <a:extLst>
                <a:ext uri="{FF2B5EF4-FFF2-40B4-BE49-F238E27FC236}">
                  <a16:creationId xmlns:a16="http://schemas.microsoft.com/office/drawing/2014/main" id="{D39E2088-190E-460A-8D7C-1623FB80DB08}"/>
                </a:ext>
              </a:extLst>
            </p:cNvPr>
            <p:cNvSpPr/>
            <p:nvPr/>
          </p:nvSpPr>
          <p:spPr>
            <a:xfrm>
              <a:off x="6029974" y="1975038"/>
              <a:ext cx="86801" cy="86801"/>
            </a:xfrm>
            <a:prstGeom prst="ellipse">
              <a:avLst/>
            </a:prstGeom>
            <a:solidFill>
              <a:schemeClr val="accent6"/>
            </a:solidFill>
            <a:ln>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48" name="Group 47">
            <a:extLst>
              <a:ext uri="{FF2B5EF4-FFF2-40B4-BE49-F238E27FC236}">
                <a16:creationId xmlns:a16="http://schemas.microsoft.com/office/drawing/2014/main" id="{AF7EA883-EF94-4C6B-A4F3-C8286FC6AFB2}"/>
              </a:ext>
            </a:extLst>
          </p:cNvPr>
          <p:cNvGrpSpPr/>
          <p:nvPr>
            <p:custDataLst>
              <p:tags r:id="rId14"/>
            </p:custDataLst>
          </p:nvPr>
        </p:nvGrpSpPr>
        <p:grpSpPr>
          <a:xfrm>
            <a:off x="5423630" y="3041281"/>
            <a:ext cx="349669" cy="540180"/>
            <a:chOff x="4852130" y="3034931"/>
            <a:chExt cx="349669" cy="540180"/>
          </a:xfrm>
        </p:grpSpPr>
        <p:pic>
          <p:nvPicPr>
            <p:cNvPr id="19" name="Graphic 18">
              <a:extLst>
                <a:ext uri="{FF2B5EF4-FFF2-40B4-BE49-F238E27FC236}">
                  <a16:creationId xmlns:a16="http://schemas.microsoft.com/office/drawing/2014/main" id="{5A99F40C-B9BB-40EF-86DF-C5B77572FA3E}"/>
                </a:ext>
              </a:extLst>
            </p:cNvPr>
            <p:cNvPicPr>
              <a:picLocks noChangeAspect="1"/>
            </p:cNvPicPr>
            <p:nvPr/>
          </p:nvPicPr>
          <p:blipFill>
            <a:blip r:embed="rId35" cstate="print">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4852130" y="3157764"/>
              <a:ext cx="349669" cy="417347"/>
            </a:xfrm>
            <a:prstGeom prst="rect">
              <a:avLst/>
            </a:prstGeom>
          </p:spPr>
        </p:pic>
        <p:sp>
          <p:nvSpPr>
            <p:cNvPr id="1195" name="Oval 1194">
              <a:extLst>
                <a:ext uri="{FF2B5EF4-FFF2-40B4-BE49-F238E27FC236}">
                  <a16:creationId xmlns:a16="http://schemas.microsoft.com/office/drawing/2014/main" id="{AC2487F4-2EDD-40EA-8016-BAC7270B4DAC}"/>
                </a:ext>
              </a:extLst>
            </p:cNvPr>
            <p:cNvSpPr/>
            <p:nvPr/>
          </p:nvSpPr>
          <p:spPr>
            <a:xfrm rot="10800000">
              <a:off x="4979360" y="3034931"/>
              <a:ext cx="86801" cy="86801"/>
            </a:xfrm>
            <a:prstGeom prst="ellipse">
              <a:avLst/>
            </a:prstGeom>
            <a:solidFill>
              <a:schemeClr val="accent6"/>
            </a:solidFill>
            <a:ln>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49" name="Group 48">
            <a:extLst>
              <a:ext uri="{FF2B5EF4-FFF2-40B4-BE49-F238E27FC236}">
                <a16:creationId xmlns:a16="http://schemas.microsoft.com/office/drawing/2014/main" id="{436E4C28-D728-4ED7-8564-7DE5C2ABB4C5}"/>
              </a:ext>
            </a:extLst>
          </p:cNvPr>
          <p:cNvGrpSpPr/>
          <p:nvPr>
            <p:custDataLst>
              <p:tags r:id="rId15"/>
            </p:custDataLst>
          </p:nvPr>
        </p:nvGrpSpPr>
        <p:grpSpPr>
          <a:xfrm>
            <a:off x="7530911" y="3054153"/>
            <a:ext cx="344666" cy="542342"/>
            <a:chOff x="5343167" y="3034931"/>
            <a:chExt cx="344666" cy="542342"/>
          </a:xfrm>
        </p:grpSpPr>
        <p:pic>
          <p:nvPicPr>
            <p:cNvPr id="18" name="Graphic 17">
              <a:extLst>
                <a:ext uri="{FF2B5EF4-FFF2-40B4-BE49-F238E27FC236}">
                  <a16:creationId xmlns:a16="http://schemas.microsoft.com/office/drawing/2014/main" id="{DF901BDD-88EE-4B90-AABA-99349D4ACDD8}"/>
                </a:ext>
              </a:extLst>
            </p:cNvPr>
            <p:cNvPicPr>
              <a:picLocks noChangeAspect="1"/>
            </p:cNvPicPr>
            <p:nvPr/>
          </p:nvPicPr>
          <p:blipFill>
            <a:blip r:embed="rId37" cstate="print">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5343167" y="3165897"/>
              <a:ext cx="344666" cy="411376"/>
            </a:xfrm>
            <a:prstGeom prst="rect">
              <a:avLst/>
            </a:prstGeom>
          </p:spPr>
        </p:pic>
        <p:sp>
          <p:nvSpPr>
            <p:cNvPr id="1197" name="Oval 1196">
              <a:extLst>
                <a:ext uri="{FF2B5EF4-FFF2-40B4-BE49-F238E27FC236}">
                  <a16:creationId xmlns:a16="http://schemas.microsoft.com/office/drawing/2014/main" id="{B9059D2B-28E7-4EC3-81C1-25545D44E5F0}"/>
                </a:ext>
              </a:extLst>
            </p:cNvPr>
            <p:cNvSpPr/>
            <p:nvPr/>
          </p:nvSpPr>
          <p:spPr>
            <a:xfrm rot="10800000">
              <a:off x="5468310" y="3034931"/>
              <a:ext cx="86801" cy="86801"/>
            </a:xfrm>
            <a:prstGeom prst="ellipse">
              <a:avLst/>
            </a:prstGeom>
            <a:solidFill>
              <a:schemeClr val="accent6"/>
            </a:solidFill>
            <a:ln>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sp>
        <p:nvSpPr>
          <p:cNvPr id="44" name="Rectangle 43">
            <a:extLst>
              <a:ext uri="{FF2B5EF4-FFF2-40B4-BE49-F238E27FC236}">
                <a16:creationId xmlns:a16="http://schemas.microsoft.com/office/drawing/2014/main" id="{1BBC8824-4071-472B-B293-3BFA88668965}"/>
              </a:ext>
            </a:extLst>
          </p:cNvPr>
          <p:cNvSpPr/>
          <p:nvPr>
            <p:custDataLst>
              <p:tags r:id="rId16"/>
            </p:custDataLst>
          </p:nvPr>
        </p:nvSpPr>
        <p:spPr>
          <a:xfrm>
            <a:off x="3812478" y="2983247"/>
            <a:ext cx="1478618" cy="461665"/>
          </a:xfrm>
          <a:prstGeom prst="rect">
            <a:avLst/>
          </a:prstGeom>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Next-Gen Firewall with AMP</a:t>
            </a: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721" name="Rectangle 1720">
            <a:extLst>
              <a:ext uri="{FF2B5EF4-FFF2-40B4-BE49-F238E27FC236}">
                <a16:creationId xmlns:a16="http://schemas.microsoft.com/office/drawing/2014/main" id="{B550117B-3A6A-40F8-9C40-994D8915AB5D}"/>
              </a:ext>
            </a:extLst>
          </p:cNvPr>
          <p:cNvSpPr/>
          <p:nvPr>
            <p:custDataLst>
              <p:tags r:id="rId17"/>
            </p:custDataLst>
          </p:nvPr>
        </p:nvSpPr>
        <p:spPr>
          <a:xfrm>
            <a:off x="4653665" y="1701968"/>
            <a:ext cx="1890986" cy="461665"/>
          </a:xfrm>
          <a:prstGeom prst="rect">
            <a:avLst/>
          </a:prstGeom>
        </p:spPr>
        <p:txBody>
          <a:bodyPr wrap="square" anchor="b">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Next-Gen IPS </a:t>
            </a:r>
            <a:b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b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with AMP</a:t>
            </a: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722" name="Rectangle 1721">
            <a:extLst>
              <a:ext uri="{FF2B5EF4-FFF2-40B4-BE49-F238E27FC236}">
                <a16:creationId xmlns:a16="http://schemas.microsoft.com/office/drawing/2014/main" id="{07DBB5C8-9268-44CE-8976-187D8B54A0CC}"/>
              </a:ext>
            </a:extLst>
          </p:cNvPr>
          <p:cNvSpPr/>
          <p:nvPr>
            <p:custDataLst>
              <p:tags r:id="rId18"/>
            </p:custDataLst>
          </p:nvPr>
        </p:nvSpPr>
        <p:spPr>
          <a:xfrm>
            <a:off x="5907220" y="2983247"/>
            <a:ext cx="1478618" cy="276999"/>
          </a:xfrm>
          <a:prstGeom prst="rect">
            <a:avLst/>
          </a:prstGeom>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282828"/>
                </a:solidFill>
                <a:effectLst/>
                <a:uLnTx/>
                <a:uFillTx/>
                <a:latin typeface="CiscoSansTT ExtraLight"/>
                <a:ea typeface="ＭＳ Ｐゴシック" charset="0"/>
              </a:rPr>
              <a:t>Stealthwatch</a:t>
            </a: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723" name="Rectangle 1722">
            <a:extLst>
              <a:ext uri="{FF2B5EF4-FFF2-40B4-BE49-F238E27FC236}">
                <a16:creationId xmlns:a16="http://schemas.microsoft.com/office/drawing/2014/main" id="{598EF67E-A605-44B4-B40A-2990D6E2D7DF}"/>
              </a:ext>
            </a:extLst>
          </p:cNvPr>
          <p:cNvSpPr/>
          <p:nvPr>
            <p:custDataLst>
              <p:tags r:id="rId19"/>
            </p:custDataLst>
          </p:nvPr>
        </p:nvSpPr>
        <p:spPr>
          <a:xfrm>
            <a:off x="6993219" y="1701968"/>
            <a:ext cx="1565321" cy="461665"/>
          </a:xfrm>
          <a:prstGeom prst="rect">
            <a:avLst/>
          </a:prstGeom>
        </p:spPr>
        <p:txBody>
          <a:bodyPr wrap="square" anchor="b">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Next-Gen Firewall with </a:t>
            </a:r>
            <a:r>
              <a:rPr kumimoji="0" lang="en-US" sz="1200" b="0" i="0" u="none" strike="noStrike" kern="1200" cap="none" spc="0" normalizeH="0" baseline="0" noProof="0" dirty="0" err="1">
                <a:ln>
                  <a:noFill/>
                </a:ln>
                <a:solidFill>
                  <a:srgbClr val="282828"/>
                </a:solidFill>
                <a:effectLst/>
                <a:uLnTx/>
                <a:uFillTx/>
                <a:latin typeface="CiscoSansTT ExtraLight"/>
                <a:ea typeface="ＭＳ Ｐゴシック" charset="0"/>
              </a:rPr>
              <a:t>Radware</a:t>
            </a: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 DDoS </a:t>
            </a: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nvGrpSpPr>
          <p:cNvPr id="1155" name="Group 1154"/>
          <p:cNvGrpSpPr/>
          <p:nvPr/>
        </p:nvGrpSpPr>
        <p:grpSpPr>
          <a:xfrm>
            <a:off x="7605282" y="4302688"/>
            <a:ext cx="1226228" cy="567685"/>
            <a:chOff x="7605282" y="4302688"/>
            <a:chExt cx="1226228" cy="567685"/>
          </a:xfrm>
        </p:grpSpPr>
        <p:grpSp>
          <p:nvGrpSpPr>
            <p:cNvPr id="1156" name="Group 1155"/>
            <p:cNvGrpSpPr/>
            <p:nvPr/>
          </p:nvGrpSpPr>
          <p:grpSpPr>
            <a:xfrm>
              <a:off x="7605282" y="4302688"/>
              <a:ext cx="1224049" cy="269045"/>
              <a:chOff x="5683793" y="4534103"/>
              <a:chExt cx="1224049" cy="269045"/>
            </a:xfrm>
          </p:grpSpPr>
          <p:sp>
            <p:nvSpPr>
              <p:cNvPr id="1160" name="Rectangle: Rounded Corners 30">
                <a:extLst>
                  <a:ext uri="{FF2B5EF4-FFF2-40B4-BE49-F238E27FC236}">
                    <a16:creationId xmlns:a16="http://schemas.microsoft.com/office/drawing/2014/main" id="{BDD1837A-886D-40A3-8B58-B970F3C1C40C}"/>
                  </a:ext>
                </a:extLst>
              </p:cNvPr>
              <p:cNvSpPr/>
              <p:nvPr/>
            </p:nvSpPr>
            <p:spPr>
              <a:xfrm>
                <a:off x="5683793" y="4534103"/>
                <a:ext cx="1224049" cy="269045"/>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161" name="Rectangle 1160">
                <a:extLst>
                  <a:ext uri="{FF2B5EF4-FFF2-40B4-BE49-F238E27FC236}">
                    <a16:creationId xmlns:a16="http://schemas.microsoft.com/office/drawing/2014/main" id="{67B3A002-29DF-4AAC-B80F-4975850276B9}"/>
                  </a:ext>
                </a:extLst>
              </p:cNvPr>
              <p:cNvSpPr/>
              <p:nvPr/>
            </p:nvSpPr>
            <p:spPr>
              <a:xfrm>
                <a:off x="5711398" y="4535475"/>
                <a:ext cx="808235" cy="261610"/>
              </a:xfrm>
              <a:prstGeom prst="rect">
                <a:avLst/>
              </a:prstGeom>
              <a:noFill/>
            </p:spPr>
            <p:txBody>
              <a:bodyPr wrap="none"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Cisco ACI</a:t>
                </a:r>
                <a:endParaRPr kumimoji="0" lang="en-US" sz="1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grpSp>
        <p:grpSp>
          <p:nvGrpSpPr>
            <p:cNvPr id="1157" name="Group 1156"/>
            <p:cNvGrpSpPr/>
            <p:nvPr/>
          </p:nvGrpSpPr>
          <p:grpSpPr>
            <a:xfrm>
              <a:off x="7607461" y="4601328"/>
              <a:ext cx="1224049" cy="269045"/>
              <a:chOff x="7607461" y="4601328"/>
              <a:chExt cx="1224049" cy="269045"/>
            </a:xfrm>
          </p:grpSpPr>
          <p:sp>
            <p:nvSpPr>
              <p:cNvPr id="1158" name="Rectangle: Rounded Corners 30">
                <a:extLst>
                  <a:ext uri="{FF2B5EF4-FFF2-40B4-BE49-F238E27FC236}">
                    <a16:creationId xmlns:a16="http://schemas.microsoft.com/office/drawing/2014/main" id="{BDD1837A-886D-40A3-8B58-B970F3C1C40C}"/>
                  </a:ext>
                </a:extLst>
              </p:cNvPr>
              <p:cNvSpPr/>
              <p:nvPr/>
            </p:nvSpPr>
            <p:spPr>
              <a:xfrm>
                <a:off x="7607461" y="4601328"/>
                <a:ext cx="1224049" cy="269045"/>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159" name="Rectangle 1158">
                <a:extLst>
                  <a:ext uri="{FF2B5EF4-FFF2-40B4-BE49-F238E27FC236}">
                    <a16:creationId xmlns:a16="http://schemas.microsoft.com/office/drawing/2014/main" id="{67B3A002-29DF-4AAC-B80F-4975850276B9}"/>
                  </a:ext>
                </a:extLst>
              </p:cNvPr>
              <p:cNvSpPr/>
              <p:nvPr/>
            </p:nvSpPr>
            <p:spPr>
              <a:xfrm>
                <a:off x="7634168" y="4607575"/>
                <a:ext cx="1184940" cy="261610"/>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Cisco </a:t>
                </a:r>
                <a:r>
                  <a:rPr kumimoji="0" lang="en-US" sz="1100" b="0" i="0" u="none" strike="noStrike" kern="1200" cap="none" spc="0" normalizeH="0" baseline="0" noProof="0" dirty="0" err="1">
                    <a:ln>
                      <a:noFill/>
                    </a:ln>
                    <a:solidFill>
                      <a:srgbClr val="FFFFFF"/>
                    </a:solidFill>
                    <a:effectLst/>
                    <a:uLnTx/>
                    <a:uFillTx/>
                    <a:latin typeface="CiscoSans ExtraLight" charset="0"/>
                    <a:ea typeface="CiscoSans ExtraLight" charset="0"/>
                    <a:cs typeface="CiscoSans ExtraLight" charset="0"/>
                  </a:rPr>
                  <a:t>Tetration</a:t>
                </a: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 </a:t>
                </a:r>
                <a:endParaRPr kumimoji="0" lang="en-US" sz="1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grpSp>
      </p:grpSp>
    </p:spTree>
    <p:extLst>
      <p:ext uri="{BB962C8B-B14F-4D97-AF65-F5344CB8AC3E}">
        <p14:creationId xmlns:p14="http://schemas.microsoft.com/office/powerpoint/2010/main" val="3623725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35" presetClass="emph" presetSubtype="0" repeatCount="5000" fill="hold" nodeType="withEffect">
                                  <p:stCondLst>
                                    <p:cond delay="0"/>
                                  </p:stCondLst>
                                  <p:childTnLst>
                                    <p:anim calcmode="discrete" valueType="str">
                                      <p:cBhvr>
                                        <p:cTn id="9" dur="100" fill="hold"/>
                                        <p:tgtEl>
                                          <p:spTgt spid="45"/>
                                        </p:tgtEl>
                                        <p:attrNameLst>
                                          <p:attrName>style.visibility</p:attrName>
                                        </p:attrNameLst>
                                      </p:cBhvr>
                                      <p:tavLst>
                                        <p:tav tm="0">
                                          <p:val>
                                            <p:strVal val="hidden"/>
                                          </p:val>
                                        </p:tav>
                                        <p:tav tm="50000">
                                          <p:val>
                                            <p:strVal val="visible"/>
                                          </p:val>
                                        </p:tav>
                                      </p:tavLst>
                                    </p:anim>
                                  </p:childTnLst>
                                </p:cTn>
                              </p:par>
                              <p:par>
                                <p:cTn id="10" presetID="42" presetClass="path" presetSubtype="0" accel="100000" fill="hold" nodeType="withEffect">
                                  <p:stCondLst>
                                    <p:cond delay="0"/>
                                  </p:stCondLst>
                                  <p:childTnLst>
                                    <p:animMotion origin="layout" path="M 1.11111E-6 -2.59259E-6 L 0.01996 -0.00092 " pathEditMode="relative" rAng="0" ptsTypes="AA">
                                      <p:cBhvr>
                                        <p:cTn id="11" dur="500" fill="hold"/>
                                        <p:tgtEl>
                                          <p:spTgt spid="45"/>
                                        </p:tgtEl>
                                        <p:attrNameLst>
                                          <p:attrName>ppt_x</p:attrName>
                                          <p:attrName>ppt_y</p:attrName>
                                        </p:attrNameLst>
                                      </p:cBhvr>
                                      <p:rCtr x="990" y="-62"/>
                                    </p:animMotion>
                                  </p:childTnLst>
                                </p:cTn>
                              </p:par>
                              <p:par>
                                <p:cTn id="12" presetID="63" presetClass="path" presetSubtype="0" decel="100000" fill="hold" nodeType="withEffect">
                                  <p:stCondLst>
                                    <p:cond delay="500"/>
                                  </p:stCondLst>
                                  <p:childTnLst>
                                    <p:animMotion origin="layout" path="M 1.11111E-6 -2.59259E-6 L 0.02101 -0.00092 " pathEditMode="relative" rAng="0" ptsTypes="AA">
                                      <p:cBhvr>
                                        <p:cTn id="13" dur="750" spd="-100000" fill="hold"/>
                                        <p:tgtEl>
                                          <p:spTgt spid="45"/>
                                        </p:tgtEl>
                                        <p:attrNameLst>
                                          <p:attrName>ppt_x</p:attrName>
                                          <p:attrName>ppt_y</p:attrName>
                                        </p:attrNameLst>
                                      </p:cBhvr>
                                      <p:rCtr x="1042" y="-62"/>
                                    </p:animMotion>
                                  </p:childTnLst>
                                </p:cTn>
                              </p:par>
                              <p:par>
                                <p:cTn id="14" presetID="10" presetClass="entr" presetSubtype="0" fill="hold"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par>
                                <p:cTn id="17" presetID="35" presetClass="emph" presetSubtype="0" repeatCount="5000" fill="hold" nodeType="withEffect">
                                  <p:stCondLst>
                                    <p:cond delay="0"/>
                                  </p:stCondLst>
                                  <p:childTnLst>
                                    <p:anim calcmode="discrete" valueType="str">
                                      <p:cBhvr>
                                        <p:cTn id="18" dur="100" fill="hold"/>
                                        <p:tgtEl>
                                          <p:spTgt spid="26"/>
                                        </p:tgtEl>
                                        <p:attrNameLst>
                                          <p:attrName>style.visibility</p:attrName>
                                        </p:attrNameLst>
                                      </p:cBhvr>
                                      <p:tavLst>
                                        <p:tav tm="0">
                                          <p:val>
                                            <p:strVal val="hidden"/>
                                          </p:val>
                                        </p:tav>
                                        <p:tav tm="50000">
                                          <p:val>
                                            <p:strVal val="visible"/>
                                          </p:val>
                                        </p:tav>
                                      </p:tavLst>
                                    </p:anim>
                                  </p:childTnLst>
                                </p:cTn>
                              </p:par>
                              <p:par>
                                <p:cTn id="19" presetID="63" presetClass="path" presetSubtype="0" decel="100000" fill="hold" nodeType="withEffect">
                                  <p:stCondLst>
                                    <p:cond delay="0"/>
                                  </p:stCondLst>
                                  <p:childTnLst>
                                    <p:animMotion origin="layout" path="M 1.11111E-6 -0.02098 L -2.5E-6 4.5679E-6 " pathEditMode="relative" rAng="0" ptsTypes="AA">
                                      <p:cBhvr>
                                        <p:cTn id="20" dur="500" fill="hold"/>
                                        <p:tgtEl>
                                          <p:spTgt spid="26"/>
                                        </p:tgtEl>
                                        <p:attrNameLst>
                                          <p:attrName>ppt_x</p:attrName>
                                          <p:attrName>ppt_y</p:attrName>
                                        </p:attrNameLst>
                                      </p:cBhvr>
                                      <p:rCtr x="0" y="1481"/>
                                    </p:animMotion>
                                  </p:childTnLst>
                                </p:cTn>
                              </p:par>
                              <p:par>
                                <p:cTn id="21" presetID="42" presetClass="path" presetSubtype="0" accel="50000" decel="50000" fill="hold" nodeType="withEffect">
                                  <p:stCondLst>
                                    <p:cond delay="500"/>
                                  </p:stCondLst>
                                  <p:childTnLst>
                                    <p:animMotion origin="layout" path="M -2.5E-6 4.5679E-6 L -2.5E-6 -0.02099 " pathEditMode="relative" rAng="0" ptsTypes="AA">
                                      <p:cBhvr>
                                        <p:cTn id="22" dur="750" fill="hold"/>
                                        <p:tgtEl>
                                          <p:spTgt spid="26"/>
                                        </p:tgtEl>
                                        <p:attrNameLst>
                                          <p:attrName>ppt_x</p:attrName>
                                          <p:attrName>ppt_y</p:attrName>
                                        </p:attrNameLst>
                                      </p:cBhvr>
                                      <p:rCtr x="0" y="-1049"/>
                                    </p:animMotion>
                                  </p:childTnLst>
                                </p:cTn>
                              </p:par>
                              <p:par>
                                <p:cTn id="23" presetID="10"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par>
                                <p:cTn id="26" presetID="35" presetClass="emph" presetSubtype="0" repeatCount="5000" fill="hold" nodeType="withEffect">
                                  <p:stCondLst>
                                    <p:cond delay="0"/>
                                  </p:stCondLst>
                                  <p:childTnLst>
                                    <p:anim calcmode="discrete" valueType="str">
                                      <p:cBhvr>
                                        <p:cTn id="27" dur="100" fill="hold"/>
                                        <p:tgtEl>
                                          <p:spTgt spid="29"/>
                                        </p:tgtEl>
                                        <p:attrNameLst>
                                          <p:attrName>style.visibility</p:attrName>
                                        </p:attrNameLst>
                                      </p:cBhvr>
                                      <p:tavLst>
                                        <p:tav tm="0">
                                          <p:val>
                                            <p:strVal val="hidden"/>
                                          </p:val>
                                        </p:tav>
                                        <p:tav tm="50000">
                                          <p:val>
                                            <p:strVal val="visible"/>
                                          </p:val>
                                        </p:tav>
                                      </p:tavLst>
                                    </p:anim>
                                  </p:childTnLst>
                                </p:cTn>
                              </p:par>
                              <p:par>
                                <p:cTn id="28" presetID="63" presetClass="path" presetSubtype="0" accel="100000" fill="hold" nodeType="withEffect">
                                  <p:stCondLst>
                                    <p:cond delay="0"/>
                                  </p:stCondLst>
                                  <p:childTnLst>
                                    <p:animMotion origin="layout" path="M -2.77778E-6 1.7284E-6 L -0.00989 0.01821 " pathEditMode="relative" rAng="0" ptsTypes="AA">
                                      <p:cBhvr>
                                        <p:cTn id="29" dur="500" fill="hold"/>
                                        <p:tgtEl>
                                          <p:spTgt spid="29"/>
                                        </p:tgtEl>
                                        <p:attrNameLst>
                                          <p:attrName>ppt_x</p:attrName>
                                          <p:attrName>ppt_y</p:attrName>
                                        </p:attrNameLst>
                                      </p:cBhvr>
                                      <p:rCtr x="-503" y="895"/>
                                    </p:animMotion>
                                  </p:childTnLst>
                                </p:cTn>
                              </p:par>
                              <p:par>
                                <p:cTn id="30" presetID="42" presetClass="path" presetSubtype="0" accel="50000" decel="50000" fill="hold" nodeType="withEffect">
                                  <p:stCondLst>
                                    <p:cond delay="500"/>
                                  </p:stCondLst>
                                  <p:childTnLst>
                                    <p:animMotion origin="layout" path="M -2.77778E-6 1.7284E-6 L -0.00729 0.01759 " pathEditMode="relative" rAng="0" ptsTypes="AA">
                                      <p:cBhvr>
                                        <p:cTn id="31" dur="750" spd="-100000" fill="hold"/>
                                        <p:tgtEl>
                                          <p:spTgt spid="29"/>
                                        </p:tgtEl>
                                        <p:attrNameLst>
                                          <p:attrName>ppt_x</p:attrName>
                                          <p:attrName>ppt_y</p:attrName>
                                        </p:attrNameLst>
                                      </p:cBhvr>
                                      <p:rCtr x="-365" y="864"/>
                                    </p:animMotion>
                                  </p:childTnLst>
                                </p:cTn>
                              </p:par>
                              <p:par>
                                <p:cTn id="32" presetID="10" presetClass="entr" presetSubtype="0" fill="hold" nodeType="with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fade">
                                      <p:cBhvr>
                                        <p:cTn id="34" dur="500"/>
                                        <p:tgtEl>
                                          <p:spTgt spid="41"/>
                                        </p:tgtEl>
                                      </p:cBhvr>
                                    </p:animEffect>
                                  </p:childTnLst>
                                </p:cTn>
                              </p:par>
                              <p:par>
                                <p:cTn id="35" presetID="35" presetClass="emph" presetSubtype="0" repeatCount="5000" fill="hold" nodeType="withEffect">
                                  <p:stCondLst>
                                    <p:cond delay="0"/>
                                  </p:stCondLst>
                                  <p:childTnLst>
                                    <p:anim calcmode="discrete" valueType="str">
                                      <p:cBhvr>
                                        <p:cTn id="36" dur="100" fill="hold"/>
                                        <p:tgtEl>
                                          <p:spTgt spid="41"/>
                                        </p:tgtEl>
                                        <p:attrNameLst>
                                          <p:attrName>style.visibility</p:attrName>
                                        </p:attrNameLst>
                                      </p:cBhvr>
                                      <p:tavLst>
                                        <p:tav tm="0">
                                          <p:val>
                                            <p:strVal val="hidden"/>
                                          </p:val>
                                        </p:tav>
                                        <p:tav tm="50000">
                                          <p:val>
                                            <p:strVal val="visible"/>
                                          </p:val>
                                        </p:tav>
                                      </p:tavLst>
                                    </p:anim>
                                  </p:childTnLst>
                                </p:cTn>
                              </p:par>
                              <p:par>
                                <p:cTn id="37" presetID="42" presetClass="path" presetSubtype="0" accel="100000" fill="hold" nodeType="withEffect">
                                  <p:stCondLst>
                                    <p:cond delay="0"/>
                                  </p:stCondLst>
                                  <p:childTnLst>
                                    <p:animMotion origin="layout" path="M 0.00416 -0.01327 L 0.0059 -0.03549 " pathEditMode="relative" rAng="0" ptsTypes="AA">
                                      <p:cBhvr>
                                        <p:cTn id="38" dur="500" fill="hold"/>
                                        <p:tgtEl>
                                          <p:spTgt spid="41"/>
                                        </p:tgtEl>
                                        <p:attrNameLst>
                                          <p:attrName>ppt_x</p:attrName>
                                          <p:attrName>ppt_y</p:attrName>
                                        </p:attrNameLst>
                                      </p:cBhvr>
                                      <p:rCtr x="87" y="-1111"/>
                                    </p:animMotion>
                                  </p:childTnLst>
                                </p:cTn>
                              </p:par>
                              <p:par>
                                <p:cTn id="39" presetID="63" presetClass="path" presetSubtype="0" decel="100000" fill="hold" nodeType="withEffect">
                                  <p:stCondLst>
                                    <p:cond delay="500"/>
                                  </p:stCondLst>
                                  <p:childTnLst>
                                    <p:animMotion origin="layout" path="M 0.00243 -0.00154 L 0.00607 -0.03549 " pathEditMode="relative" rAng="0" ptsTypes="AA">
                                      <p:cBhvr>
                                        <p:cTn id="40" dur="750" spd="-100000" fill="hold"/>
                                        <p:tgtEl>
                                          <p:spTgt spid="41"/>
                                        </p:tgtEl>
                                        <p:attrNameLst>
                                          <p:attrName>ppt_x</p:attrName>
                                          <p:attrName>ppt_y</p:attrName>
                                        </p:attrNameLst>
                                      </p:cBhvr>
                                      <p:rCtr x="174" y="-1698"/>
                                    </p:animMotion>
                                  </p:childTnLst>
                                </p:cTn>
                              </p:par>
                            </p:childTnLst>
                          </p:cTn>
                        </p:par>
                        <p:par>
                          <p:cTn id="41" fill="hold">
                            <p:stCondLst>
                              <p:cond delay="1250"/>
                            </p:stCondLst>
                            <p:childTnLst>
                              <p:par>
                                <p:cTn id="42" presetID="1" presetClass="entr" presetSubtype="0" fill="hold" grpId="0" nodeType="afterEffect">
                                  <p:stCondLst>
                                    <p:cond delay="500"/>
                                  </p:stCondLst>
                                  <p:childTnLst>
                                    <p:set>
                                      <p:cBhvr>
                                        <p:cTn id="43" dur="1" fill="hold">
                                          <p:stCondLst>
                                            <p:cond delay="0"/>
                                          </p:stCondLst>
                                        </p:cTn>
                                        <p:tgtEl>
                                          <p:spTgt spid="1666"/>
                                        </p:tgtEl>
                                        <p:attrNameLst>
                                          <p:attrName>style.visibility</p:attrName>
                                        </p:attrNameLst>
                                      </p:cBhvr>
                                      <p:to>
                                        <p:strVal val="visible"/>
                                      </p:to>
                                    </p:set>
                                  </p:childTnLst>
                                </p:cTn>
                              </p:par>
                              <p:par>
                                <p:cTn id="44" presetID="10" presetClass="exit" presetSubtype="0" repeatCount="indefinite" fill="hold" grpId="1" nodeType="withEffect">
                                  <p:stCondLst>
                                    <p:cond delay="500"/>
                                  </p:stCondLst>
                                  <p:childTnLst>
                                    <p:animEffect transition="out" filter="fade">
                                      <p:cBhvr>
                                        <p:cTn id="45" dur="1000"/>
                                        <p:tgtEl>
                                          <p:spTgt spid="1666"/>
                                        </p:tgtEl>
                                      </p:cBhvr>
                                    </p:animEffect>
                                    <p:set>
                                      <p:cBhvr>
                                        <p:cTn id="46" dur="1" fill="hold">
                                          <p:stCondLst>
                                            <p:cond delay="999"/>
                                          </p:stCondLst>
                                        </p:cTn>
                                        <p:tgtEl>
                                          <p:spTgt spid="1666"/>
                                        </p:tgtEl>
                                        <p:attrNameLst>
                                          <p:attrName>style.visibility</p:attrName>
                                        </p:attrNameLst>
                                      </p:cBhvr>
                                      <p:to>
                                        <p:strVal val="hidden"/>
                                      </p:to>
                                    </p:set>
                                  </p:childTnLst>
                                </p:cTn>
                              </p:par>
                              <p:par>
                                <p:cTn id="47" presetID="6" presetClass="emph" presetSubtype="0" repeatCount="indefinite" decel="100000" fill="hold" grpId="2" nodeType="withEffect">
                                  <p:stCondLst>
                                    <p:cond delay="500"/>
                                  </p:stCondLst>
                                  <p:childTnLst>
                                    <p:animScale>
                                      <p:cBhvr>
                                        <p:cTn id="48" dur="1000" fill="hold"/>
                                        <p:tgtEl>
                                          <p:spTgt spid="1666"/>
                                        </p:tgtEl>
                                      </p:cBhvr>
                                      <p:by x="150000" y="150000"/>
                                    </p:animScale>
                                  </p:childTnLst>
                                </p:cTn>
                              </p:par>
                              <p:par>
                                <p:cTn id="49" presetID="1" presetClass="entr" presetSubtype="0" fill="hold" grpId="0" nodeType="withEffect">
                                  <p:stCondLst>
                                    <p:cond delay="500"/>
                                  </p:stCondLst>
                                  <p:childTnLst>
                                    <p:set>
                                      <p:cBhvr>
                                        <p:cTn id="50" dur="1" fill="hold">
                                          <p:stCondLst>
                                            <p:cond delay="0"/>
                                          </p:stCondLst>
                                        </p:cTn>
                                        <p:tgtEl>
                                          <p:spTgt spid="1668"/>
                                        </p:tgtEl>
                                        <p:attrNameLst>
                                          <p:attrName>style.visibility</p:attrName>
                                        </p:attrNameLst>
                                      </p:cBhvr>
                                      <p:to>
                                        <p:strVal val="visible"/>
                                      </p:to>
                                    </p:set>
                                  </p:childTnLst>
                                </p:cTn>
                              </p:par>
                              <p:par>
                                <p:cTn id="51" presetID="10" presetClass="exit" presetSubtype="0" repeatCount="indefinite" fill="hold" grpId="1" nodeType="withEffect">
                                  <p:stCondLst>
                                    <p:cond delay="500"/>
                                  </p:stCondLst>
                                  <p:childTnLst>
                                    <p:animEffect transition="out" filter="fade">
                                      <p:cBhvr>
                                        <p:cTn id="52" dur="1000"/>
                                        <p:tgtEl>
                                          <p:spTgt spid="1668"/>
                                        </p:tgtEl>
                                      </p:cBhvr>
                                    </p:animEffect>
                                    <p:set>
                                      <p:cBhvr>
                                        <p:cTn id="53" dur="1" fill="hold">
                                          <p:stCondLst>
                                            <p:cond delay="999"/>
                                          </p:stCondLst>
                                        </p:cTn>
                                        <p:tgtEl>
                                          <p:spTgt spid="1668"/>
                                        </p:tgtEl>
                                        <p:attrNameLst>
                                          <p:attrName>style.visibility</p:attrName>
                                        </p:attrNameLst>
                                      </p:cBhvr>
                                      <p:to>
                                        <p:strVal val="hidden"/>
                                      </p:to>
                                    </p:set>
                                  </p:childTnLst>
                                </p:cTn>
                              </p:par>
                              <p:par>
                                <p:cTn id="54" presetID="6" presetClass="emph" presetSubtype="0" repeatCount="indefinite" decel="100000" fill="hold" grpId="2" nodeType="withEffect">
                                  <p:stCondLst>
                                    <p:cond delay="500"/>
                                  </p:stCondLst>
                                  <p:childTnLst>
                                    <p:animScale>
                                      <p:cBhvr>
                                        <p:cTn id="55" dur="1000" fill="hold"/>
                                        <p:tgtEl>
                                          <p:spTgt spid="1668"/>
                                        </p:tgtEl>
                                      </p:cBhvr>
                                      <p:by x="150000" y="150000"/>
                                    </p:animScale>
                                  </p:childTnLst>
                                </p:cTn>
                              </p:par>
                              <p:par>
                                <p:cTn id="56" presetID="1" presetClass="entr" presetSubtype="0" fill="hold" grpId="0" nodeType="withEffect">
                                  <p:stCondLst>
                                    <p:cond delay="500"/>
                                  </p:stCondLst>
                                  <p:childTnLst>
                                    <p:set>
                                      <p:cBhvr>
                                        <p:cTn id="57" dur="1" fill="hold">
                                          <p:stCondLst>
                                            <p:cond delay="0"/>
                                          </p:stCondLst>
                                        </p:cTn>
                                        <p:tgtEl>
                                          <p:spTgt spid="1669"/>
                                        </p:tgtEl>
                                        <p:attrNameLst>
                                          <p:attrName>style.visibility</p:attrName>
                                        </p:attrNameLst>
                                      </p:cBhvr>
                                      <p:to>
                                        <p:strVal val="visible"/>
                                      </p:to>
                                    </p:set>
                                  </p:childTnLst>
                                </p:cTn>
                              </p:par>
                              <p:par>
                                <p:cTn id="58" presetID="10" presetClass="exit" presetSubtype="0" repeatCount="indefinite" fill="hold" grpId="1" nodeType="withEffect">
                                  <p:stCondLst>
                                    <p:cond delay="500"/>
                                  </p:stCondLst>
                                  <p:childTnLst>
                                    <p:animEffect transition="out" filter="fade">
                                      <p:cBhvr>
                                        <p:cTn id="59" dur="1000"/>
                                        <p:tgtEl>
                                          <p:spTgt spid="1669"/>
                                        </p:tgtEl>
                                      </p:cBhvr>
                                    </p:animEffect>
                                    <p:set>
                                      <p:cBhvr>
                                        <p:cTn id="60" dur="1" fill="hold">
                                          <p:stCondLst>
                                            <p:cond delay="999"/>
                                          </p:stCondLst>
                                        </p:cTn>
                                        <p:tgtEl>
                                          <p:spTgt spid="1669"/>
                                        </p:tgtEl>
                                        <p:attrNameLst>
                                          <p:attrName>style.visibility</p:attrName>
                                        </p:attrNameLst>
                                      </p:cBhvr>
                                      <p:to>
                                        <p:strVal val="hidden"/>
                                      </p:to>
                                    </p:set>
                                  </p:childTnLst>
                                </p:cTn>
                              </p:par>
                              <p:par>
                                <p:cTn id="61" presetID="6" presetClass="emph" presetSubtype="0" repeatCount="indefinite" decel="100000" fill="hold" grpId="2" nodeType="withEffect">
                                  <p:stCondLst>
                                    <p:cond delay="500"/>
                                  </p:stCondLst>
                                  <p:childTnLst>
                                    <p:animScale>
                                      <p:cBhvr>
                                        <p:cTn id="62" dur="1000" fill="hold"/>
                                        <p:tgtEl>
                                          <p:spTgt spid="1669"/>
                                        </p:tgtEl>
                                      </p:cBhvr>
                                      <p:by x="150000" y="150000"/>
                                    </p:animScale>
                                  </p:childTnLst>
                                </p:cTn>
                              </p:par>
                              <p:par>
                                <p:cTn id="63" presetID="1" presetClass="entr" presetSubtype="0" fill="hold" grpId="0" nodeType="withEffect">
                                  <p:stCondLst>
                                    <p:cond delay="500"/>
                                  </p:stCondLst>
                                  <p:childTnLst>
                                    <p:set>
                                      <p:cBhvr>
                                        <p:cTn id="64" dur="1" fill="hold">
                                          <p:stCondLst>
                                            <p:cond delay="0"/>
                                          </p:stCondLst>
                                        </p:cTn>
                                        <p:tgtEl>
                                          <p:spTgt spid="1670"/>
                                        </p:tgtEl>
                                        <p:attrNameLst>
                                          <p:attrName>style.visibility</p:attrName>
                                        </p:attrNameLst>
                                      </p:cBhvr>
                                      <p:to>
                                        <p:strVal val="visible"/>
                                      </p:to>
                                    </p:set>
                                  </p:childTnLst>
                                </p:cTn>
                              </p:par>
                              <p:par>
                                <p:cTn id="65" presetID="10" presetClass="exit" presetSubtype="0" repeatCount="indefinite" fill="hold" grpId="1" nodeType="withEffect">
                                  <p:stCondLst>
                                    <p:cond delay="500"/>
                                  </p:stCondLst>
                                  <p:childTnLst>
                                    <p:animEffect transition="out" filter="fade">
                                      <p:cBhvr>
                                        <p:cTn id="66" dur="1000"/>
                                        <p:tgtEl>
                                          <p:spTgt spid="1670"/>
                                        </p:tgtEl>
                                      </p:cBhvr>
                                    </p:animEffect>
                                    <p:set>
                                      <p:cBhvr>
                                        <p:cTn id="67" dur="1" fill="hold">
                                          <p:stCondLst>
                                            <p:cond delay="999"/>
                                          </p:stCondLst>
                                        </p:cTn>
                                        <p:tgtEl>
                                          <p:spTgt spid="1670"/>
                                        </p:tgtEl>
                                        <p:attrNameLst>
                                          <p:attrName>style.visibility</p:attrName>
                                        </p:attrNameLst>
                                      </p:cBhvr>
                                      <p:to>
                                        <p:strVal val="hidden"/>
                                      </p:to>
                                    </p:set>
                                  </p:childTnLst>
                                </p:cTn>
                              </p:par>
                              <p:par>
                                <p:cTn id="68" presetID="6" presetClass="emph" presetSubtype="0" repeatCount="indefinite" decel="100000" fill="hold" grpId="2" nodeType="withEffect">
                                  <p:stCondLst>
                                    <p:cond delay="500"/>
                                  </p:stCondLst>
                                  <p:childTnLst>
                                    <p:animScale>
                                      <p:cBhvr>
                                        <p:cTn id="69" dur="1000" fill="hold"/>
                                        <p:tgtEl>
                                          <p:spTgt spid="1670"/>
                                        </p:tgtEl>
                                      </p:cBhvr>
                                      <p:by x="150000" y="150000"/>
                                    </p:animScale>
                                  </p:childTnLst>
                                </p:cTn>
                              </p:par>
                              <p:par>
                                <p:cTn id="70" presetID="10" presetClass="entr" presetSubtype="0" fill="hold" nodeType="withEffect">
                                  <p:stCondLst>
                                    <p:cond delay="0"/>
                                  </p:stCondLst>
                                  <p:childTnLst>
                                    <p:set>
                                      <p:cBhvr>
                                        <p:cTn id="71" dur="1" fill="hold">
                                          <p:stCondLst>
                                            <p:cond delay="0"/>
                                          </p:stCondLst>
                                        </p:cTn>
                                        <p:tgtEl>
                                          <p:spTgt spid="1646"/>
                                        </p:tgtEl>
                                        <p:attrNameLst>
                                          <p:attrName>style.visibility</p:attrName>
                                        </p:attrNameLst>
                                      </p:cBhvr>
                                      <p:to>
                                        <p:strVal val="visible"/>
                                      </p:to>
                                    </p:set>
                                    <p:animEffect transition="in" filter="fade">
                                      <p:cBhvr>
                                        <p:cTn id="72" dur="500"/>
                                        <p:tgtEl>
                                          <p:spTgt spid="1646"/>
                                        </p:tgtEl>
                                      </p:cBhvr>
                                    </p:animEffect>
                                  </p:childTnLst>
                                </p:cTn>
                              </p:par>
                              <p:par>
                                <p:cTn id="73" presetID="35" presetClass="emph" presetSubtype="0" repeatCount="5000" fill="hold" nodeType="withEffect">
                                  <p:stCondLst>
                                    <p:cond delay="0"/>
                                  </p:stCondLst>
                                  <p:childTnLst>
                                    <p:anim calcmode="discrete" valueType="str">
                                      <p:cBhvr>
                                        <p:cTn id="74" dur="100" fill="hold"/>
                                        <p:tgtEl>
                                          <p:spTgt spid="1646"/>
                                        </p:tgtEl>
                                        <p:attrNameLst>
                                          <p:attrName>style.visibility</p:attrName>
                                        </p:attrNameLst>
                                      </p:cBhvr>
                                      <p:tavLst>
                                        <p:tav tm="0">
                                          <p:val>
                                            <p:strVal val="hidden"/>
                                          </p:val>
                                        </p:tav>
                                        <p:tav tm="50000">
                                          <p:val>
                                            <p:strVal val="visible"/>
                                          </p:val>
                                        </p:tav>
                                      </p:tavLst>
                                    </p:anim>
                                  </p:childTnLst>
                                </p:cTn>
                              </p:par>
                              <p:par>
                                <p:cTn id="75" presetID="10" presetClass="entr" presetSubtype="0" fill="hold" nodeType="withEffect">
                                  <p:stCondLst>
                                    <p:cond delay="0"/>
                                  </p:stCondLst>
                                  <p:childTnLst>
                                    <p:set>
                                      <p:cBhvr>
                                        <p:cTn id="76" dur="1" fill="hold">
                                          <p:stCondLst>
                                            <p:cond delay="0"/>
                                          </p:stCondLst>
                                        </p:cTn>
                                        <p:tgtEl>
                                          <p:spTgt spid="1661"/>
                                        </p:tgtEl>
                                        <p:attrNameLst>
                                          <p:attrName>style.visibility</p:attrName>
                                        </p:attrNameLst>
                                      </p:cBhvr>
                                      <p:to>
                                        <p:strVal val="visible"/>
                                      </p:to>
                                    </p:set>
                                    <p:animEffect transition="in" filter="fade">
                                      <p:cBhvr>
                                        <p:cTn id="77" dur="500"/>
                                        <p:tgtEl>
                                          <p:spTgt spid="1661"/>
                                        </p:tgtEl>
                                      </p:cBhvr>
                                    </p:animEffect>
                                  </p:childTnLst>
                                </p:cTn>
                              </p:par>
                              <p:par>
                                <p:cTn id="78" presetID="35" presetClass="emph" presetSubtype="0" repeatCount="5000" fill="hold" nodeType="withEffect">
                                  <p:stCondLst>
                                    <p:cond delay="0"/>
                                  </p:stCondLst>
                                  <p:childTnLst>
                                    <p:anim calcmode="discrete" valueType="str">
                                      <p:cBhvr>
                                        <p:cTn id="79" dur="100" fill="hold"/>
                                        <p:tgtEl>
                                          <p:spTgt spid="1661"/>
                                        </p:tgtEl>
                                        <p:attrNameLst>
                                          <p:attrName>style.visibility</p:attrName>
                                        </p:attrNameLst>
                                      </p:cBhvr>
                                      <p:tavLst>
                                        <p:tav tm="0">
                                          <p:val>
                                            <p:strVal val="hidden"/>
                                          </p:val>
                                        </p:tav>
                                        <p:tav tm="50000">
                                          <p:val>
                                            <p:strVal val="visible"/>
                                          </p:val>
                                        </p:tav>
                                      </p:tavLst>
                                    </p:anim>
                                  </p:childTnLst>
                                </p:cTn>
                              </p:par>
                              <p:par>
                                <p:cTn id="80" presetID="10" presetClass="entr" presetSubtype="0" fill="hold" nodeType="withEffect">
                                  <p:stCondLst>
                                    <p:cond delay="0"/>
                                  </p:stCondLst>
                                  <p:childTnLst>
                                    <p:set>
                                      <p:cBhvr>
                                        <p:cTn id="81" dur="1" fill="hold">
                                          <p:stCondLst>
                                            <p:cond delay="0"/>
                                          </p:stCondLst>
                                        </p:cTn>
                                        <p:tgtEl>
                                          <p:spTgt spid="1641"/>
                                        </p:tgtEl>
                                        <p:attrNameLst>
                                          <p:attrName>style.visibility</p:attrName>
                                        </p:attrNameLst>
                                      </p:cBhvr>
                                      <p:to>
                                        <p:strVal val="visible"/>
                                      </p:to>
                                    </p:set>
                                    <p:animEffect transition="in" filter="fade">
                                      <p:cBhvr>
                                        <p:cTn id="82" dur="500"/>
                                        <p:tgtEl>
                                          <p:spTgt spid="1641"/>
                                        </p:tgtEl>
                                      </p:cBhvr>
                                    </p:animEffect>
                                  </p:childTnLst>
                                </p:cTn>
                              </p:par>
                              <p:par>
                                <p:cTn id="83" presetID="35" presetClass="emph" presetSubtype="0" repeatCount="5000" fill="hold" nodeType="withEffect">
                                  <p:stCondLst>
                                    <p:cond delay="0"/>
                                  </p:stCondLst>
                                  <p:childTnLst>
                                    <p:anim calcmode="discrete" valueType="str">
                                      <p:cBhvr>
                                        <p:cTn id="84" dur="100" fill="hold"/>
                                        <p:tgtEl>
                                          <p:spTgt spid="1641"/>
                                        </p:tgtEl>
                                        <p:attrNameLst>
                                          <p:attrName>style.visibility</p:attrName>
                                        </p:attrNameLst>
                                      </p:cBhvr>
                                      <p:tavLst>
                                        <p:tav tm="0">
                                          <p:val>
                                            <p:strVal val="hidden"/>
                                          </p:val>
                                        </p:tav>
                                        <p:tav tm="50000">
                                          <p:val>
                                            <p:strVal val="visible"/>
                                          </p:val>
                                        </p:tav>
                                      </p:tavLst>
                                    </p:anim>
                                  </p:childTnLst>
                                </p:cTn>
                              </p:par>
                              <p:par>
                                <p:cTn id="85" presetID="10" presetClass="entr" presetSubtype="0" fill="hold" nodeType="withEffect">
                                  <p:stCondLst>
                                    <p:cond delay="0"/>
                                  </p:stCondLst>
                                  <p:childTnLst>
                                    <p:set>
                                      <p:cBhvr>
                                        <p:cTn id="86" dur="1" fill="hold">
                                          <p:stCondLst>
                                            <p:cond delay="0"/>
                                          </p:stCondLst>
                                        </p:cTn>
                                        <p:tgtEl>
                                          <p:spTgt spid="1651"/>
                                        </p:tgtEl>
                                        <p:attrNameLst>
                                          <p:attrName>style.visibility</p:attrName>
                                        </p:attrNameLst>
                                      </p:cBhvr>
                                      <p:to>
                                        <p:strVal val="visible"/>
                                      </p:to>
                                    </p:set>
                                    <p:animEffect transition="in" filter="fade">
                                      <p:cBhvr>
                                        <p:cTn id="87" dur="500"/>
                                        <p:tgtEl>
                                          <p:spTgt spid="1651"/>
                                        </p:tgtEl>
                                      </p:cBhvr>
                                    </p:animEffect>
                                  </p:childTnLst>
                                </p:cTn>
                              </p:par>
                              <p:par>
                                <p:cTn id="88" presetID="35" presetClass="emph" presetSubtype="0" repeatCount="5000" fill="hold" nodeType="withEffect">
                                  <p:stCondLst>
                                    <p:cond delay="0"/>
                                  </p:stCondLst>
                                  <p:childTnLst>
                                    <p:anim calcmode="discrete" valueType="str">
                                      <p:cBhvr>
                                        <p:cTn id="89" dur="100" fill="hold"/>
                                        <p:tgtEl>
                                          <p:spTgt spid="1651"/>
                                        </p:tgtEl>
                                        <p:attrNameLst>
                                          <p:attrName>style.visibility</p:attrName>
                                        </p:attrNameLst>
                                      </p:cBhvr>
                                      <p:tavLst>
                                        <p:tav tm="0">
                                          <p:val>
                                            <p:strVal val="hidden"/>
                                          </p:val>
                                        </p:tav>
                                        <p:tav tm="50000">
                                          <p:val>
                                            <p:strVal val="visible"/>
                                          </p:val>
                                        </p:tav>
                                      </p:tavLst>
                                    </p:anim>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42"/>
                                        </p:tgtEl>
                                        <p:attrNameLst>
                                          <p:attrName>style.visibility</p:attrName>
                                        </p:attrNameLst>
                                      </p:cBhvr>
                                      <p:to>
                                        <p:strVal val="visible"/>
                                      </p:to>
                                    </p:set>
                                    <p:animEffect transition="in" filter="fade">
                                      <p:cBhvr>
                                        <p:cTn id="94" dur="500"/>
                                        <p:tgtEl>
                                          <p:spTgt spid="42"/>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725"/>
                                        </p:tgtEl>
                                        <p:attrNameLst>
                                          <p:attrName>style.visibility</p:attrName>
                                        </p:attrNameLst>
                                      </p:cBhvr>
                                      <p:to>
                                        <p:strVal val="visible"/>
                                      </p:to>
                                    </p:set>
                                    <p:animEffect transition="in" filter="fade">
                                      <p:cBhvr>
                                        <p:cTn id="97" dur="500"/>
                                        <p:tgtEl>
                                          <p:spTgt spid="1725"/>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46"/>
                                        </p:tgtEl>
                                        <p:attrNameLst>
                                          <p:attrName>style.visibility</p:attrName>
                                        </p:attrNameLst>
                                      </p:cBhvr>
                                      <p:to>
                                        <p:strVal val="visible"/>
                                      </p:to>
                                    </p:set>
                                    <p:animEffect transition="in" filter="fade">
                                      <p:cBhvr>
                                        <p:cTn id="100" dur="500"/>
                                        <p:tgtEl>
                                          <p:spTgt spid="46"/>
                                        </p:tgtEl>
                                      </p:cBhvr>
                                    </p:animEffect>
                                  </p:childTnLst>
                                </p:cTn>
                              </p:par>
                              <p:par>
                                <p:cTn id="101" presetID="10" presetClass="entr" presetSubtype="0" fill="hold" nodeType="withEffect">
                                  <p:stCondLst>
                                    <p:cond delay="10"/>
                                  </p:stCondLst>
                                  <p:childTnLst>
                                    <p:set>
                                      <p:cBhvr>
                                        <p:cTn id="102" dur="1" fill="hold">
                                          <p:stCondLst>
                                            <p:cond delay="0"/>
                                          </p:stCondLst>
                                        </p:cTn>
                                        <p:tgtEl>
                                          <p:spTgt spid="1678"/>
                                        </p:tgtEl>
                                        <p:attrNameLst>
                                          <p:attrName>style.visibility</p:attrName>
                                        </p:attrNameLst>
                                      </p:cBhvr>
                                      <p:to>
                                        <p:strVal val="visible"/>
                                      </p:to>
                                    </p:set>
                                    <p:animEffect transition="in" filter="fade">
                                      <p:cBhvr>
                                        <p:cTn id="103" dur="250"/>
                                        <p:tgtEl>
                                          <p:spTgt spid="1678"/>
                                        </p:tgtEl>
                                      </p:cBhvr>
                                    </p:animEffect>
                                  </p:childTnLst>
                                </p:cTn>
                              </p:par>
                              <p:par>
                                <p:cTn id="104" presetID="6" presetClass="emph" presetSubtype="0" fill="hold" nodeType="withEffect">
                                  <p:stCondLst>
                                    <p:cond delay="0"/>
                                  </p:stCondLst>
                                  <p:childTnLst>
                                    <p:animScale>
                                      <p:cBhvr>
                                        <p:cTn id="105" dur="10" fill="hold"/>
                                        <p:tgtEl>
                                          <p:spTgt spid="1678"/>
                                        </p:tgtEl>
                                      </p:cBhvr>
                                      <p:by x="1000" y="1000"/>
                                    </p:animScale>
                                  </p:childTnLst>
                                </p:cTn>
                              </p:par>
                              <p:par>
                                <p:cTn id="106" presetID="6" presetClass="emph" presetSubtype="0" decel="100000" fill="hold" nodeType="withEffect">
                                  <p:stCondLst>
                                    <p:cond delay="10"/>
                                  </p:stCondLst>
                                  <p:childTnLst>
                                    <p:animScale>
                                      <p:cBhvr>
                                        <p:cTn id="107" dur="990" fill="hold"/>
                                        <p:tgtEl>
                                          <p:spTgt spid="1678"/>
                                        </p:tgtEl>
                                      </p:cBhvr>
                                      <p:by x="9999000" y="9999000"/>
                                    </p:animScale>
                                  </p:childTnLst>
                                </p:cTn>
                              </p:par>
                              <p:par>
                                <p:cTn id="108" presetID="10" presetClass="entr" presetSubtype="0" fill="hold" nodeType="withEffect">
                                  <p:stCondLst>
                                    <p:cond delay="1000"/>
                                  </p:stCondLst>
                                  <p:childTnLst>
                                    <p:set>
                                      <p:cBhvr>
                                        <p:cTn id="109" dur="1" fill="hold">
                                          <p:stCondLst>
                                            <p:cond delay="0"/>
                                          </p:stCondLst>
                                        </p:cTn>
                                        <p:tgtEl>
                                          <p:spTgt spid="24"/>
                                        </p:tgtEl>
                                        <p:attrNameLst>
                                          <p:attrName>style.visibility</p:attrName>
                                        </p:attrNameLst>
                                      </p:cBhvr>
                                      <p:to>
                                        <p:strVal val="visible"/>
                                      </p:to>
                                    </p:set>
                                    <p:animEffect transition="in" filter="fade">
                                      <p:cBhvr>
                                        <p:cTn id="110" dur="250"/>
                                        <p:tgtEl>
                                          <p:spTgt spid="24"/>
                                        </p:tgtEl>
                                      </p:cBhvr>
                                    </p:animEffect>
                                  </p:childTnLst>
                                </p:cTn>
                              </p:par>
                              <p:par>
                                <p:cTn id="111" presetID="10" presetClass="entr" presetSubtype="0" fill="hold" grpId="0" nodeType="withEffect">
                                  <p:stCondLst>
                                    <p:cond delay="10"/>
                                  </p:stCondLst>
                                  <p:childTnLst>
                                    <p:set>
                                      <p:cBhvr>
                                        <p:cTn id="112" dur="1" fill="hold">
                                          <p:stCondLst>
                                            <p:cond delay="0"/>
                                          </p:stCondLst>
                                        </p:cTn>
                                        <p:tgtEl>
                                          <p:spTgt spid="44"/>
                                        </p:tgtEl>
                                        <p:attrNameLst>
                                          <p:attrName>style.visibility</p:attrName>
                                        </p:attrNameLst>
                                      </p:cBhvr>
                                      <p:to>
                                        <p:strVal val="visible"/>
                                      </p:to>
                                    </p:set>
                                    <p:animEffect transition="in" filter="fade">
                                      <p:cBhvr>
                                        <p:cTn id="113" dur="500"/>
                                        <p:tgtEl>
                                          <p:spTgt spid="44"/>
                                        </p:tgtEl>
                                      </p:cBhvr>
                                    </p:animEffect>
                                  </p:childTnLst>
                                </p:cTn>
                              </p:par>
                              <p:par>
                                <p:cTn id="114" presetID="42" presetClass="path" presetSubtype="0" decel="100000" fill="hold" grpId="1" nodeType="withEffect">
                                  <p:stCondLst>
                                    <p:cond delay="10"/>
                                  </p:stCondLst>
                                  <p:childTnLst>
                                    <p:animMotion origin="layout" path="M -3.05556E-6 7.40741E-7 L -3.05556E-6 0.05895 " pathEditMode="relative" rAng="0" ptsTypes="AA">
                                      <p:cBhvr>
                                        <p:cTn id="115" dur="1000" spd="-100000" fill="hold"/>
                                        <p:tgtEl>
                                          <p:spTgt spid="44"/>
                                        </p:tgtEl>
                                        <p:attrNameLst>
                                          <p:attrName>ppt_x</p:attrName>
                                          <p:attrName>ppt_y</p:attrName>
                                        </p:attrNameLst>
                                      </p:cBhvr>
                                      <p:rCtr x="0" y="2932"/>
                                    </p:animMotion>
                                  </p:childTnLst>
                                </p:cTn>
                              </p:par>
                              <p:par>
                                <p:cTn id="116" presetID="10" presetClass="entr" presetSubtype="0" fill="hold" nodeType="withEffect">
                                  <p:stCondLst>
                                    <p:cond delay="150"/>
                                  </p:stCondLst>
                                  <p:childTnLst>
                                    <p:set>
                                      <p:cBhvr>
                                        <p:cTn id="117" dur="1" fill="hold">
                                          <p:stCondLst>
                                            <p:cond delay="0"/>
                                          </p:stCondLst>
                                        </p:cTn>
                                        <p:tgtEl>
                                          <p:spTgt spid="1673"/>
                                        </p:tgtEl>
                                        <p:attrNameLst>
                                          <p:attrName>style.visibility</p:attrName>
                                        </p:attrNameLst>
                                      </p:cBhvr>
                                      <p:to>
                                        <p:strVal val="visible"/>
                                      </p:to>
                                    </p:set>
                                    <p:animEffect transition="in" filter="fade">
                                      <p:cBhvr>
                                        <p:cTn id="118" dur="250"/>
                                        <p:tgtEl>
                                          <p:spTgt spid="1673"/>
                                        </p:tgtEl>
                                      </p:cBhvr>
                                    </p:animEffect>
                                  </p:childTnLst>
                                </p:cTn>
                              </p:par>
                              <p:par>
                                <p:cTn id="119" presetID="6" presetClass="emph" presetSubtype="0" fill="hold" nodeType="withEffect">
                                  <p:stCondLst>
                                    <p:cond delay="0"/>
                                  </p:stCondLst>
                                  <p:childTnLst>
                                    <p:animScale>
                                      <p:cBhvr>
                                        <p:cTn id="120" dur="10" fill="hold"/>
                                        <p:tgtEl>
                                          <p:spTgt spid="1673"/>
                                        </p:tgtEl>
                                      </p:cBhvr>
                                      <p:by x="1000" y="1000"/>
                                    </p:animScale>
                                  </p:childTnLst>
                                </p:cTn>
                              </p:par>
                              <p:par>
                                <p:cTn id="121" presetID="6" presetClass="emph" presetSubtype="0" decel="100000" fill="hold" nodeType="withEffect">
                                  <p:stCondLst>
                                    <p:cond delay="150"/>
                                  </p:stCondLst>
                                  <p:childTnLst>
                                    <p:animScale>
                                      <p:cBhvr>
                                        <p:cTn id="122" dur="1000" fill="hold"/>
                                        <p:tgtEl>
                                          <p:spTgt spid="1673"/>
                                        </p:tgtEl>
                                      </p:cBhvr>
                                      <p:by x="9999000" y="9999000"/>
                                    </p:animScale>
                                  </p:childTnLst>
                                </p:cTn>
                              </p:par>
                              <p:par>
                                <p:cTn id="123" presetID="10" presetClass="entr" presetSubtype="0" fill="hold" nodeType="withEffect">
                                  <p:stCondLst>
                                    <p:cond delay="1000"/>
                                  </p:stCondLst>
                                  <p:childTnLst>
                                    <p:set>
                                      <p:cBhvr>
                                        <p:cTn id="124" dur="1" fill="hold">
                                          <p:stCondLst>
                                            <p:cond delay="0"/>
                                          </p:stCondLst>
                                        </p:cTn>
                                        <p:tgtEl>
                                          <p:spTgt spid="48"/>
                                        </p:tgtEl>
                                        <p:attrNameLst>
                                          <p:attrName>style.visibility</p:attrName>
                                        </p:attrNameLst>
                                      </p:cBhvr>
                                      <p:to>
                                        <p:strVal val="visible"/>
                                      </p:to>
                                    </p:set>
                                    <p:animEffect transition="in" filter="fade">
                                      <p:cBhvr>
                                        <p:cTn id="125" dur="250"/>
                                        <p:tgtEl>
                                          <p:spTgt spid="48"/>
                                        </p:tgtEl>
                                      </p:cBhvr>
                                    </p:animEffect>
                                  </p:childTnLst>
                                </p:cTn>
                              </p:par>
                              <p:par>
                                <p:cTn id="126" presetID="10" presetClass="entr" presetSubtype="0" fill="hold" grpId="0" nodeType="withEffect">
                                  <p:stCondLst>
                                    <p:cond delay="150"/>
                                  </p:stCondLst>
                                  <p:childTnLst>
                                    <p:set>
                                      <p:cBhvr>
                                        <p:cTn id="127" dur="1" fill="hold">
                                          <p:stCondLst>
                                            <p:cond delay="0"/>
                                          </p:stCondLst>
                                        </p:cTn>
                                        <p:tgtEl>
                                          <p:spTgt spid="1721"/>
                                        </p:tgtEl>
                                        <p:attrNameLst>
                                          <p:attrName>style.visibility</p:attrName>
                                        </p:attrNameLst>
                                      </p:cBhvr>
                                      <p:to>
                                        <p:strVal val="visible"/>
                                      </p:to>
                                    </p:set>
                                    <p:animEffect transition="in" filter="fade">
                                      <p:cBhvr>
                                        <p:cTn id="128" dur="500"/>
                                        <p:tgtEl>
                                          <p:spTgt spid="1721"/>
                                        </p:tgtEl>
                                      </p:cBhvr>
                                    </p:animEffect>
                                  </p:childTnLst>
                                </p:cTn>
                              </p:par>
                              <p:par>
                                <p:cTn id="129" presetID="42" presetClass="path" presetSubtype="0" decel="100000" fill="hold" grpId="1" nodeType="withEffect">
                                  <p:stCondLst>
                                    <p:cond delay="150"/>
                                  </p:stCondLst>
                                  <p:childTnLst>
                                    <p:animMotion origin="layout" path="M 3.61111E-6 2.71605E-6 L 3.61111E-6 -0.06543 " pathEditMode="relative" rAng="0" ptsTypes="AA">
                                      <p:cBhvr>
                                        <p:cTn id="130" dur="1000" spd="-100000" fill="hold"/>
                                        <p:tgtEl>
                                          <p:spTgt spid="1721"/>
                                        </p:tgtEl>
                                        <p:attrNameLst>
                                          <p:attrName>ppt_x</p:attrName>
                                          <p:attrName>ppt_y</p:attrName>
                                        </p:attrNameLst>
                                      </p:cBhvr>
                                      <p:rCtr x="0" y="-3272"/>
                                    </p:animMotion>
                                  </p:childTnLst>
                                </p:cTn>
                              </p:par>
                              <p:par>
                                <p:cTn id="131" presetID="10" presetClass="entr" presetSubtype="0" fill="hold" nodeType="withEffect">
                                  <p:stCondLst>
                                    <p:cond delay="300"/>
                                  </p:stCondLst>
                                  <p:childTnLst>
                                    <p:set>
                                      <p:cBhvr>
                                        <p:cTn id="132" dur="1" fill="hold">
                                          <p:stCondLst>
                                            <p:cond delay="0"/>
                                          </p:stCondLst>
                                        </p:cTn>
                                        <p:tgtEl>
                                          <p:spTgt spid="1693"/>
                                        </p:tgtEl>
                                        <p:attrNameLst>
                                          <p:attrName>style.visibility</p:attrName>
                                        </p:attrNameLst>
                                      </p:cBhvr>
                                      <p:to>
                                        <p:strVal val="visible"/>
                                      </p:to>
                                    </p:set>
                                    <p:animEffect transition="in" filter="fade">
                                      <p:cBhvr>
                                        <p:cTn id="133" dur="250"/>
                                        <p:tgtEl>
                                          <p:spTgt spid="1693"/>
                                        </p:tgtEl>
                                      </p:cBhvr>
                                    </p:animEffect>
                                  </p:childTnLst>
                                </p:cTn>
                              </p:par>
                              <p:par>
                                <p:cTn id="134" presetID="6" presetClass="emph" presetSubtype="0" fill="hold" nodeType="withEffect">
                                  <p:stCondLst>
                                    <p:cond delay="0"/>
                                  </p:stCondLst>
                                  <p:childTnLst>
                                    <p:animScale>
                                      <p:cBhvr>
                                        <p:cTn id="135" dur="10" fill="hold"/>
                                        <p:tgtEl>
                                          <p:spTgt spid="1693"/>
                                        </p:tgtEl>
                                      </p:cBhvr>
                                      <p:by x="1000" y="1000"/>
                                    </p:animScale>
                                  </p:childTnLst>
                                </p:cTn>
                              </p:par>
                              <p:par>
                                <p:cTn id="136" presetID="6" presetClass="emph" presetSubtype="0" decel="100000" fill="hold" nodeType="withEffect">
                                  <p:stCondLst>
                                    <p:cond delay="300"/>
                                  </p:stCondLst>
                                  <p:childTnLst>
                                    <p:animScale>
                                      <p:cBhvr>
                                        <p:cTn id="137" dur="1000" fill="hold"/>
                                        <p:tgtEl>
                                          <p:spTgt spid="1693"/>
                                        </p:tgtEl>
                                      </p:cBhvr>
                                      <p:by x="9999000" y="9999000"/>
                                    </p:animScale>
                                  </p:childTnLst>
                                </p:cTn>
                              </p:par>
                              <p:par>
                                <p:cTn id="138" presetID="10" presetClass="entr" presetSubtype="0" fill="hold" nodeType="withEffect">
                                  <p:stCondLst>
                                    <p:cond delay="1100"/>
                                  </p:stCondLst>
                                  <p:childTnLst>
                                    <p:set>
                                      <p:cBhvr>
                                        <p:cTn id="139" dur="1" fill="hold">
                                          <p:stCondLst>
                                            <p:cond delay="0"/>
                                          </p:stCondLst>
                                        </p:cTn>
                                        <p:tgtEl>
                                          <p:spTgt spid="33"/>
                                        </p:tgtEl>
                                        <p:attrNameLst>
                                          <p:attrName>style.visibility</p:attrName>
                                        </p:attrNameLst>
                                      </p:cBhvr>
                                      <p:to>
                                        <p:strVal val="visible"/>
                                      </p:to>
                                    </p:set>
                                    <p:animEffect transition="in" filter="fade">
                                      <p:cBhvr>
                                        <p:cTn id="140" dur="250"/>
                                        <p:tgtEl>
                                          <p:spTgt spid="33"/>
                                        </p:tgtEl>
                                      </p:cBhvr>
                                    </p:animEffect>
                                  </p:childTnLst>
                                </p:cTn>
                              </p:par>
                              <p:par>
                                <p:cTn id="141" presetID="10" presetClass="entr" presetSubtype="0" fill="hold" grpId="0" nodeType="withEffect">
                                  <p:stCondLst>
                                    <p:cond delay="300"/>
                                  </p:stCondLst>
                                  <p:childTnLst>
                                    <p:set>
                                      <p:cBhvr>
                                        <p:cTn id="142" dur="1" fill="hold">
                                          <p:stCondLst>
                                            <p:cond delay="0"/>
                                          </p:stCondLst>
                                        </p:cTn>
                                        <p:tgtEl>
                                          <p:spTgt spid="1722"/>
                                        </p:tgtEl>
                                        <p:attrNameLst>
                                          <p:attrName>style.visibility</p:attrName>
                                        </p:attrNameLst>
                                      </p:cBhvr>
                                      <p:to>
                                        <p:strVal val="visible"/>
                                      </p:to>
                                    </p:set>
                                    <p:animEffect transition="in" filter="fade">
                                      <p:cBhvr>
                                        <p:cTn id="143" dur="500"/>
                                        <p:tgtEl>
                                          <p:spTgt spid="1722"/>
                                        </p:tgtEl>
                                      </p:cBhvr>
                                    </p:animEffect>
                                  </p:childTnLst>
                                </p:cTn>
                              </p:par>
                              <p:par>
                                <p:cTn id="144" presetID="42" presetClass="path" presetSubtype="0" decel="100000" fill="hold" grpId="1" nodeType="withEffect">
                                  <p:stCondLst>
                                    <p:cond delay="300"/>
                                  </p:stCondLst>
                                  <p:childTnLst>
                                    <p:animMotion origin="layout" path="M -3.05556E-6 7.40741E-7 L -3.05556E-6 0.05895 " pathEditMode="relative" rAng="0" ptsTypes="AA">
                                      <p:cBhvr>
                                        <p:cTn id="145" dur="1000" spd="-100000" fill="hold"/>
                                        <p:tgtEl>
                                          <p:spTgt spid="1722"/>
                                        </p:tgtEl>
                                        <p:attrNameLst>
                                          <p:attrName>ppt_x</p:attrName>
                                          <p:attrName>ppt_y</p:attrName>
                                        </p:attrNameLst>
                                      </p:cBhvr>
                                      <p:rCtr x="0" y="2932"/>
                                    </p:animMotion>
                                  </p:childTnLst>
                                </p:cTn>
                              </p:par>
                              <p:par>
                                <p:cTn id="146" presetID="10" presetClass="entr" presetSubtype="0" fill="hold" nodeType="withEffect">
                                  <p:stCondLst>
                                    <p:cond delay="450"/>
                                  </p:stCondLst>
                                  <p:childTnLst>
                                    <p:set>
                                      <p:cBhvr>
                                        <p:cTn id="147" dur="1" fill="hold">
                                          <p:stCondLst>
                                            <p:cond delay="0"/>
                                          </p:stCondLst>
                                        </p:cTn>
                                        <p:tgtEl>
                                          <p:spTgt spid="1683"/>
                                        </p:tgtEl>
                                        <p:attrNameLst>
                                          <p:attrName>style.visibility</p:attrName>
                                        </p:attrNameLst>
                                      </p:cBhvr>
                                      <p:to>
                                        <p:strVal val="visible"/>
                                      </p:to>
                                    </p:set>
                                    <p:animEffect transition="in" filter="fade">
                                      <p:cBhvr>
                                        <p:cTn id="148" dur="250"/>
                                        <p:tgtEl>
                                          <p:spTgt spid="1683"/>
                                        </p:tgtEl>
                                      </p:cBhvr>
                                    </p:animEffect>
                                  </p:childTnLst>
                                </p:cTn>
                              </p:par>
                              <p:par>
                                <p:cTn id="149" presetID="6" presetClass="emph" presetSubtype="0" fill="hold" nodeType="withEffect">
                                  <p:stCondLst>
                                    <p:cond delay="0"/>
                                  </p:stCondLst>
                                  <p:childTnLst>
                                    <p:animScale>
                                      <p:cBhvr>
                                        <p:cTn id="150" dur="10" fill="hold"/>
                                        <p:tgtEl>
                                          <p:spTgt spid="1683"/>
                                        </p:tgtEl>
                                      </p:cBhvr>
                                      <p:by x="1000" y="1000"/>
                                    </p:animScale>
                                  </p:childTnLst>
                                </p:cTn>
                              </p:par>
                              <p:par>
                                <p:cTn id="151" presetID="6" presetClass="emph" presetSubtype="0" decel="100000" fill="hold" nodeType="withEffect">
                                  <p:stCondLst>
                                    <p:cond delay="450"/>
                                  </p:stCondLst>
                                  <p:childTnLst>
                                    <p:animScale>
                                      <p:cBhvr>
                                        <p:cTn id="152" dur="1000" fill="hold"/>
                                        <p:tgtEl>
                                          <p:spTgt spid="1683"/>
                                        </p:tgtEl>
                                      </p:cBhvr>
                                      <p:by x="9999000" y="9999000"/>
                                    </p:animScale>
                                  </p:childTnLst>
                                </p:cTn>
                              </p:par>
                              <p:par>
                                <p:cTn id="153" presetID="10" presetClass="entr" presetSubtype="0" fill="hold" nodeType="withEffect">
                                  <p:stCondLst>
                                    <p:cond delay="1300"/>
                                  </p:stCondLst>
                                  <p:childTnLst>
                                    <p:set>
                                      <p:cBhvr>
                                        <p:cTn id="154" dur="1" fill="hold">
                                          <p:stCondLst>
                                            <p:cond delay="0"/>
                                          </p:stCondLst>
                                        </p:cTn>
                                        <p:tgtEl>
                                          <p:spTgt spid="49"/>
                                        </p:tgtEl>
                                        <p:attrNameLst>
                                          <p:attrName>style.visibility</p:attrName>
                                        </p:attrNameLst>
                                      </p:cBhvr>
                                      <p:to>
                                        <p:strVal val="visible"/>
                                      </p:to>
                                    </p:set>
                                    <p:animEffect transition="in" filter="fade">
                                      <p:cBhvr>
                                        <p:cTn id="155" dur="250"/>
                                        <p:tgtEl>
                                          <p:spTgt spid="49"/>
                                        </p:tgtEl>
                                      </p:cBhvr>
                                    </p:animEffect>
                                  </p:childTnLst>
                                </p:cTn>
                              </p:par>
                              <p:par>
                                <p:cTn id="156" presetID="10" presetClass="entr" presetSubtype="0" fill="hold" grpId="0" nodeType="withEffect">
                                  <p:stCondLst>
                                    <p:cond delay="450"/>
                                  </p:stCondLst>
                                  <p:childTnLst>
                                    <p:set>
                                      <p:cBhvr>
                                        <p:cTn id="157" dur="1" fill="hold">
                                          <p:stCondLst>
                                            <p:cond delay="0"/>
                                          </p:stCondLst>
                                        </p:cTn>
                                        <p:tgtEl>
                                          <p:spTgt spid="1723"/>
                                        </p:tgtEl>
                                        <p:attrNameLst>
                                          <p:attrName>style.visibility</p:attrName>
                                        </p:attrNameLst>
                                      </p:cBhvr>
                                      <p:to>
                                        <p:strVal val="visible"/>
                                      </p:to>
                                    </p:set>
                                    <p:animEffect transition="in" filter="fade">
                                      <p:cBhvr>
                                        <p:cTn id="158" dur="500"/>
                                        <p:tgtEl>
                                          <p:spTgt spid="1723"/>
                                        </p:tgtEl>
                                      </p:cBhvr>
                                    </p:animEffect>
                                  </p:childTnLst>
                                </p:cTn>
                              </p:par>
                              <p:par>
                                <p:cTn id="159" presetID="42" presetClass="path" presetSubtype="0" decel="100000" fill="hold" grpId="1" nodeType="withEffect">
                                  <p:stCondLst>
                                    <p:cond delay="450"/>
                                  </p:stCondLst>
                                  <p:childTnLst>
                                    <p:animMotion origin="layout" path="M 2.77778E-6 2.71605E-6 L 2.77778E-6 -0.06543 " pathEditMode="relative" rAng="0" ptsTypes="AA">
                                      <p:cBhvr>
                                        <p:cTn id="160" dur="1000" spd="-100000" fill="hold"/>
                                        <p:tgtEl>
                                          <p:spTgt spid="1723"/>
                                        </p:tgtEl>
                                        <p:attrNameLst>
                                          <p:attrName>ppt_x</p:attrName>
                                          <p:attrName>ppt_y</p:attrName>
                                        </p:attrNameLst>
                                      </p:cBhvr>
                                      <p:rCtr x="0" y="-3272"/>
                                    </p:animMotion>
                                  </p:childTnLst>
                                </p:cTn>
                              </p:par>
                              <p:par>
                                <p:cTn id="161" presetID="1" presetClass="entr" presetSubtype="0" fill="hold" grpId="0" nodeType="withEffect">
                                  <p:stCondLst>
                                    <p:cond delay="1500"/>
                                  </p:stCondLst>
                                  <p:childTnLst>
                                    <p:set>
                                      <p:cBhvr>
                                        <p:cTn id="162" dur="1" fill="hold">
                                          <p:stCondLst>
                                            <p:cond delay="0"/>
                                          </p:stCondLst>
                                        </p:cTn>
                                        <p:tgtEl>
                                          <p:spTgt spid="1727"/>
                                        </p:tgtEl>
                                        <p:attrNameLst>
                                          <p:attrName>style.visibility</p:attrName>
                                        </p:attrNameLst>
                                      </p:cBhvr>
                                      <p:to>
                                        <p:strVal val="visible"/>
                                      </p:to>
                                    </p:set>
                                  </p:childTnLst>
                                </p:cTn>
                              </p:par>
                              <p:par>
                                <p:cTn id="163" presetID="10" presetClass="exit" presetSubtype="0" repeatCount="indefinite" fill="hold" grpId="1" nodeType="withEffect">
                                  <p:stCondLst>
                                    <p:cond delay="1500"/>
                                  </p:stCondLst>
                                  <p:childTnLst>
                                    <p:animEffect transition="out" filter="fade">
                                      <p:cBhvr>
                                        <p:cTn id="164" dur="1000"/>
                                        <p:tgtEl>
                                          <p:spTgt spid="1727"/>
                                        </p:tgtEl>
                                      </p:cBhvr>
                                    </p:animEffect>
                                    <p:set>
                                      <p:cBhvr>
                                        <p:cTn id="165" dur="1" fill="hold">
                                          <p:stCondLst>
                                            <p:cond delay="999"/>
                                          </p:stCondLst>
                                        </p:cTn>
                                        <p:tgtEl>
                                          <p:spTgt spid="1727"/>
                                        </p:tgtEl>
                                        <p:attrNameLst>
                                          <p:attrName>style.visibility</p:attrName>
                                        </p:attrNameLst>
                                      </p:cBhvr>
                                      <p:to>
                                        <p:strVal val="hidden"/>
                                      </p:to>
                                    </p:set>
                                  </p:childTnLst>
                                </p:cTn>
                              </p:par>
                              <p:par>
                                <p:cTn id="166" presetID="6" presetClass="emph" presetSubtype="0" repeatCount="indefinite" decel="100000" fill="hold" grpId="2" nodeType="withEffect">
                                  <p:stCondLst>
                                    <p:cond delay="1500"/>
                                  </p:stCondLst>
                                  <p:childTnLst>
                                    <p:animScale>
                                      <p:cBhvr>
                                        <p:cTn id="167" dur="1000" fill="hold"/>
                                        <p:tgtEl>
                                          <p:spTgt spid="1727"/>
                                        </p:tgtEl>
                                      </p:cBhvr>
                                      <p:by x="125000" y="125000"/>
                                    </p:animScale>
                                  </p:childTnLst>
                                </p:cTn>
                              </p:par>
                              <p:par>
                                <p:cTn id="168" presetID="1" presetClass="entr" presetSubtype="0" fill="hold" grpId="0" nodeType="withEffect">
                                  <p:stCondLst>
                                    <p:cond delay="1500"/>
                                  </p:stCondLst>
                                  <p:childTnLst>
                                    <p:set>
                                      <p:cBhvr>
                                        <p:cTn id="169" dur="1" fill="hold">
                                          <p:stCondLst>
                                            <p:cond delay="0"/>
                                          </p:stCondLst>
                                        </p:cTn>
                                        <p:tgtEl>
                                          <p:spTgt spid="1728"/>
                                        </p:tgtEl>
                                        <p:attrNameLst>
                                          <p:attrName>style.visibility</p:attrName>
                                        </p:attrNameLst>
                                      </p:cBhvr>
                                      <p:to>
                                        <p:strVal val="visible"/>
                                      </p:to>
                                    </p:set>
                                  </p:childTnLst>
                                </p:cTn>
                              </p:par>
                              <p:par>
                                <p:cTn id="170" presetID="10" presetClass="exit" presetSubtype="0" repeatCount="indefinite" fill="hold" grpId="1" nodeType="withEffect">
                                  <p:stCondLst>
                                    <p:cond delay="1500"/>
                                  </p:stCondLst>
                                  <p:childTnLst>
                                    <p:animEffect transition="out" filter="fade">
                                      <p:cBhvr>
                                        <p:cTn id="171" dur="1000"/>
                                        <p:tgtEl>
                                          <p:spTgt spid="1728"/>
                                        </p:tgtEl>
                                      </p:cBhvr>
                                    </p:animEffect>
                                    <p:set>
                                      <p:cBhvr>
                                        <p:cTn id="172" dur="1" fill="hold">
                                          <p:stCondLst>
                                            <p:cond delay="999"/>
                                          </p:stCondLst>
                                        </p:cTn>
                                        <p:tgtEl>
                                          <p:spTgt spid="1728"/>
                                        </p:tgtEl>
                                        <p:attrNameLst>
                                          <p:attrName>style.visibility</p:attrName>
                                        </p:attrNameLst>
                                      </p:cBhvr>
                                      <p:to>
                                        <p:strVal val="hidden"/>
                                      </p:to>
                                    </p:set>
                                  </p:childTnLst>
                                </p:cTn>
                              </p:par>
                              <p:par>
                                <p:cTn id="173" presetID="6" presetClass="emph" presetSubtype="0" repeatCount="indefinite" decel="100000" fill="hold" grpId="2" nodeType="withEffect">
                                  <p:stCondLst>
                                    <p:cond delay="1500"/>
                                  </p:stCondLst>
                                  <p:childTnLst>
                                    <p:animScale>
                                      <p:cBhvr>
                                        <p:cTn id="174" dur="1000" fill="hold"/>
                                        <p:tgtEl>
                                          <p:spTgt spid="1728"/>
                                        </p:tgtEl>
                                      </p:cBhvr>
                                      <p:by x="125000" y="125000"/>
                                    </p:animScale>
                                  </p:childTnLst>
                                </p:cTn>
                              </p:par>
                              <p:par>
                                <p:cTn id="175" presetID="1" presetClass="entr" presetSubtype="0" fill="hold" grpId="0" nodeType="withEffect">
                                  <p:stCondLst>
                                    <p:cond delay="1500"/>
                                  </p:stCondLst>
                                  <p:childTnLst>
                                    <p:set>
                                      <p:cBhvr>
                                        <p:cTn id="176" dur="1" fill="hold">
                                          <p:stCondLst>
                                            <p:cond delay="0"/>
                                          </p:stCondLst>
                                        </p:cTn>
                                        <p:tgtEl>
                                          <p:spTgt spid="1729"/>
                                        </p:tgtEl>
                                        <p:attrNameLst>
                                          <p:attrName>style.visibility</p:attrName>
                                        </p:attrNameLst>
                                      </p:cBhvr>
                                      <p:to>
                                        <p:strVal val="visible"/>
                                      </p:to>
                                    </p:set>
                                  </p:childTnLst>
                                </p:cTn>
                              </p:par>
                              <p:par>
                                <p:cTn id="177" presetID="10" presetClass="exit" presetSubtype="0" repeatCount="indefinite" fill="hold" grpId="1" nodeType="withEffect">
                                  <p:stCondLst>
                                    <p:cond delay="1500"/>
                                  </p:stCondLst>
                                  <p:childTnLst>
                                    <p:animEffect transition="out" filter="fade">
                                      <p:cBhvr>
                                        <p:cTn id="178" dur="1000"/>
                                        <p:tgtEl>
                                          <p:spTgt spid="1729"/>
                                        </p:tgtEl>
                                      </p:cBhvr>
                                    </p:animEffect>
                                    <p:set>
                                      <p:cBhvr>
                                        <p:cTn id="179" dur="1" fill="hold">
                                          <p:stCondLst>
                                            <p:cond delay="999"/>
                                          </p:stCondLst>
                                        </p:cTn>
                                        <p:tgtEl>
                                          <p:spTgt spid="1729"/>
                                        </p:tgtEl>
                                        <p:attrNameLst>
                                          <p:attrName>style.visibility</p:attrName>
                                        </p:attrNameLst>
                                      </p:cBhvr>
                                      <p:to>
                                        <p:strVal val="hidden"/>
                                      </p:to>
                                    </p:set>
                                  </p:childTnLst>
                                </p:cTn>
                              </p:par>
                              <p:par>
                                <p:cTn id="180" presetID="6" presetClass="emph" presetSubtype="0" repeatCount="indefinite" decel="100000" fill="hold" grpId="2" nodeType="withEffect">
                                  <p:stCondLst>
                                    <p:cond delay="1500"/>
                                  </p:stCondLst>
                                  <p:childTnLst>
                                    <p:animScale>
                                      <p:cBhvr>
                                        <p:cTn id="181" dur="1000" fill="hold"/>
                                        <p:tgtEl>
                                          <p:spTgt spid="1729"/>
                                        </p:tgtEl>
                                      </p:cBhvr>
                                      <p:by x="125000" y="125000"/>
                                    </p:animScale>
                                  </p:childTnLst>
                                </p:cTn>
                              </p:par>
                              <p:par>
                                <p:cTn id="182" presetID="1" presetClass="entr" presetSubtype="0" fill="hold" grpId="0" nodeType="withEffect">
                                  <p:stCondLst>
                                    <p:cond delay="1500"/>
                                  </p:stCondLst>
                                  <p:childTnLst>
                                    <p:set>
                                      <p:cBhvr>
                                        <p:cTn id="183" dur="1" fill="hold">
                                          <p:stCondLst>
                                            <p:cond delay="0"/>
                                          </p:stCondLst>
                                        </p:cTn>
                                        <p:tgtEl>
                                          <p:spTgt spid="1730"/>
                                        </p:tgtEl>
                                        <p:attrNameLst>
                                          <p:attrName>style.visibility</p:attrName>
                                        </p:attrNameLst>
                                      </p:cBhvr>
                                      <p:to>
                                        <p:strVal val="visible"/>
                                      </p:to>
                                    </p:set>
                                  </p:childTnLst>
                                </p:cTn>
                              </p:par>
                              <p:par>
                                <p:cTn id="184" presetID="10" presetClass="exit" presetSubtype="0" repeatCount="indefinite" fill="hold" grpId="1" nodeType="withEffect">
                                  <p:stCondLst>
                                    <p:cond delay="1500"/>
                                  </p:stCondLst>
                                  <p:childTnLst>
                                    <p:animEffect transition="out" filter="fade">
                                      <p:cBhvr>
                                        <p:cTn id="185" dur="1000"/>
                                        <p:tgtEl>
                                          <p:spTgt spid="1730"/>
                                        </p:tgtEl>
                                      </p:cBhvr>
                                    </p:animEffect>
                                    <p:set>
                                      <p:cBhvr>
                                        <p:cTn id="186" dur="1" fill="hold">
                                          <p:stCondLst>
                                            <p:cond delay="999"/>
                                          </p:stCondLst>
                                        </p:cTn>
                                        <p:tgtEl>
                                          <p:spTgt spid="1730"/>
                                        </p:tgtEl>
                                        <p:attrNameLst>
                                          <p:attrName>style.visibility</p:attrName>
                                        </p:attrNameLst>
                                      </p:cBhvr>
                                      <p:to>
                                        <p:strVal val="hidden"/>
                                      </p:to>
                                    </p:set>
                                  </p:childTnLst>
                                </p:cTn>
                              </p:par>
                              <p:par>
                                <p:cTn id="187" presetID="6" presetClass="emph" presetSubtype="0" repeatCount="indefinite" decel="100000" fill="hold" grpId="2" nodeType="withEffect">
                                  <p:stCondLst>
                                    <p:cond delay="1500"/>
                                  </p:stCondLst>
                                  <p:childTnLst>
                                    <p:animScale>
                                      <p:cBhvr>
                                        <p:cTn id="188" dur="1000" fill="hold"/>
                                        <p:tgtEl>
                                          <p:spTgt spid="1730"/>
                                        </p:tgtEl>
                                      </p:cBhvr>
                                      <p:by x="125000" y="125000"/>
                                    </p:animScale>
                                  </p:childTnLst>
                                </p:cTn>
                              </p:par>
                            </p:childTnLst>
                          </p:cTn>
                        </p:par>
                      </p:childTnLst>
                    </p:cTn>
                  </p:par>
                  <p:par>
                    <p:cTn id="189" fill="hold">
                      <p:stCondLst>
                        <p:cond delay="indefinite"/>
                      </p:stCondLst>
                      <p:childTnLst>
                        <p:par>
                          <p:cTn id="190" fill="hold">
                            <p:stCondLst>
                              <p:cond delay="0"/>
                            </p:stCondLst>
                            <p:childTnLst>
                              <p:par>
                                <p:cTn id="191" presetID="10" presetClass="entr" presetSubtype="0" fill="hold" nodeType="clickEffect">
                                  <p:stCondLst>
                                    <p:cond delay="0"/>
                                  </p:stCondLst>
                                  <p:childTnLst>
                                    <p:set>
                                      <p:cBhvr>
                                        <p:cTn id="192" dur="1" fill="hold">
                                          <p:stCondLst>
                                            <p:cond delay="0"/>
                                          </p:stCondLst>
                                        </p:cTn>
                                        <p:tgtEl>
                                          <p:spTgt spid="1155"/>
                                        </p:tgtEl>
                                        <p:attrNameLst>
                                          <p:attrName>style.visibility</p:attrName>
                                        </p:attrNameLst>
                                      </p:cBhvr>
                                      <p:to>
                                        <p:strVal val="visible"/>
                                      </p:to>
                                    </p:set>
                                    <p:animEffect transition="in" filter="fade">
                                      <p:cBhvr>
                                        <p:cTn id="193" dur="500"/>
                                        <p:tgtEl>
                                          <p:spTgt spid="11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6" grpId="0" animBg="1"/>
      <p:bldP spid="1666" grpId="1" animBg="1"/>
      <p:bldP spid="1666" grpId="2" animBg="1"/>
      <p:bldP spid="1668" grpId="0" animBg="1"/>
      <p:bldP spid="1668" grpId="1" animBg="1"/>
      <p:bldP spid="1668" grpId="2" animBg="1"/>
      <p:bldP spid="1669" grpId="0" animBg="1"/>
      <p:bldP spid="1669" grpId="1" animBg="1"/>
      <p:bldP spid="1669" grpId="2" animBg="1"/>
      <p:bldP spid="1670" grpId="0" animBg="1"/>
      <p:bldP spid="1670" grpId="1" animBg="1"/>
      <p:bldP spid="1670" grpId="2" animBg="1"/>
      <p:bldP spid="42" grpId="0" animBg="1"/>
      <p:bldP spid="1727" grpId="0" animBg="1"/>
      <p:bldP spid="1727" grpId="1" animBg="1"/>
      <p:bldP spid="1727" grpId="2" animBg="1"/>
      <p:bldP spid="1728" grpId="0" animBg="1"/>
      <p:bldP spid="1728" grpId="1" animBg="1"/>
      <p:bldP spid="1728" grpId="2" animBg="1"/>
      <p:bldP spid="1729" grpId="0" animBg="1"/>
      <p:bldP spid="1729" grpId="1" animBg="1"/>
      <p:bldP spid="1729" grpId="2" animBg="1"/>
      <p:bldP spid="1730" grpId="0" animBg="1"/>
      <p:bldP spid="1730" grpId="1" animBg="1"/>
      <p:bldP spid="1730" grpId="2" animBg="1"/>
      <p:bldP spid="1725" grpId="0"/>
      <p:bldP spid="46" grpId="0"/>
      <p:bldP spid="44" grpId="0"/>
      <p:bldP spid="44" grpId="1"/>
      <p:bldP spid="1721" grpId="0"/>
      <p:bldP spid="1721" grpId="1"/>
      <p:bldP spid="1722" grpId="0"/>
      <p:bldP spid="1722" grpId="1"/>
      <p:bldP spid="1723" grpId="0"/>
      <p:bldP spid="1723"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812800" y="2921356"/>
            <a:ext cx="4604453"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itle 1"/>
          <p:cNvSpPr>
            <a:spLocks noGrp="1"/>
          </p:cNvSpPr>
          <p:nvPr>
            <p:ph type="title"/>
          </p:nvPr>
        </p:nvSpPr>
        <p:spPr>
          <a:xfrm>
            <a:off x="711200" y="2028422"/>
            <a:ext cx="4706052" cy="812357"/>
          </a:xfrm>
        </p:spPr>
        <p:txBody>
          <a:bodyPr>
            <a:normAutofit fontScale="90000"/>
          </a:bodyPr>
          <a:lstStyle/>
          <a:p>
            <a:pPr algn="l"/>
            <a:r>
              <a:rPr lang="en-US" sz="3200" b="1" dirty="0"/>
              <a:t>Cisco </a:t>
            </a:r>
            <a:r>
              <a:rPr lang="en-US" sz="3200" b="1" dirty="0" err="1"/>
              <a:t>Stealthwatch</a:t>
            </a:r>
            <a:r>
              <a:rPr lang="en-US" sz="3200" b="1" dirty="0"/>
              <a:t> Enterprise</a:t>
            </a:r>
            <a:endParaRPr lang="en-US" sz="3200" b="1" i="1" dirty="0"/>
          </a:p>
        </p:txBody>
      </p:sp>
      <p:pic>
        <p:nvPicPr>
          <p:cNvPr id="3" name="Picture 2"/>
          <p:cNvPicPr>
            <a:picLocks noChangeAspect="1"/>
          </p:cNvPicPr>
          <p:nvPr/>
        </p:nvPicPr>
        <p:blipFill>
          <a:blip r:embed="rId3"/>
          <a:stretch>
            <a:fillRect/>
          </a:stretch>
        </p:blipFill>
        <p:spPr>
          <a:xfrm>
            <a:off x="5935995" y="1351142"/>
            <a:ext cx="2153906" cy="1570215"/>
          </a:xfrm>
          <a:prstGeom prst="rect">
            <a:avLst/>
          </a:prstGeom>
        </p:spPr>
      </p:pic>
      <p:pic>
        <p:nvPicPr>
          <p:cNvPr id="7" name="Picture 2" descr="C:\Users\spius\Pictures\cisco logo blue gradient.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0479037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isco Stealthwatch Enterprise: </a:t>
            </a:r>
            <a:br>
              <a:rPr lang="en-US" dirty="0"/>
            </a:br>
            <a:r>
              <a:rPr lang="en-US" dirty="0"/>
              <a:t>Scalable visibility and security analytics</a:t>
            </a:r>
          </a:p>
        </p:txBody>
      </p:sp>
      <p:sp>
        <p:nvSpPr>
          <p:cNvPr id="11" name="TextBox 10"/>
          <p:cNvSpPr txBox="1"/>
          <p:nvPr/>
        </p:nvSpPr>
        <p:spPr>
          <a:xfrm>
            <a:off x="7011608" y="2326571"/>
            <a:ext cx="1969882" cy="830997"/>
          </a:xfrm>
          <a:prstGeom prst="rect">
            <a:avLst/>
          </a:prstGeom>
          <a:noFill/>
        </p:spPr>
        <p:txBody>
          <a:bodyPr wrap="square" lIns="182880"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BCEB"/>
                </a:solidFill>
                <a:effectLst/>
                <a:uLnTx/>
                <a:uFillTx/>
                <a:latin typeface="CiscoSansTT ExtraLight"/>
                <a:ea typeface="ＭＳ Ｐゴシック" charset="0"/>
              </a:rPr>
              <a:t>Simplified</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BCEB"/>
                </a:solidFill>
                <a:effectLst/>
                <a:uLnTx/>
                <a:uFillTx/>
                <a:latin typeface="CiscoSansTT ExtraLight"/>
                <a:ea typeface="ＭＳ Ｐゴシック" charset="0"/>
              </a:rPr>
              <a:t>Network Segmentation</a:t>
            </a:r>
          </a:p>
        </p:txBody>
      </p:sp>
      <p:sp>
        <p:nvSpPr>
          <p:cNvPr id="12" name="TextBox 11"/>
          <p:cNvSpPr txBox="1"/>
          <p:nvPr/>
        </p:nvSpPr>
        <p:spPr>
          <a:xfrm>
            <a:off x="1784911" y="2326571"/>
            <a:ext cx="1485589" cy="830997"/>
          </a:xfrm>
          <a:prstGeom prst="rect">
            <a:avLst/>
          </a:prstGeom>
          <a:noFill/>
        </p:spPr>
        <p:txBody>
          <a:bodyPr wrap="square" lIns="182880"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BCEB"/>
                </a:solidFill>
                <a:effectLst/>
                <a:uLnTx/>
                <a:uFillTx/>
                <a:latin typeface="CiscoSansTT ExtraLight"/>
                <a:ea typeface="ＭＳ Ｐゴシック" charset="0"/>
              </a:rPr>
              <a:t>Advanced</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BCEB"/>
                </a:solidFill>
                <a:effectLst/>
                <a:uLnTx/>
                <a:uFillTx/>
                <a:latin typeface="CiscoSansTT ExtraLight"/>
                <a:ea typeface="ＭＳ Ｐゴシック" charset="0"/>
              </a:rPr>
              <a:t>Threat Detection</a:t>
            </a:r>
          </a:p>
        </p:txBody>
      </p:sp>
      <p:sp>
        <p:nvSpPr>
          <p:cNvPr id="13" name="TextBox 12"/>
          <p:cNvSpPr txBox="1"/>
          <p:nvPr/>
        </p:nvSpPr>
        <p:spPr>
          <a:xfrm>
            <a:off x="4379707" y="2326571"/>
            <a:ext cx="1427283" cy="830997"/>
          </a:xfrm>
          <a:prstGeom prst="rect">
            <a:avLst/>
          </a:prstGeom>
          <a:noFill/>
        </p:spPr>
        <p:txBody>
          <a:bodyPr wrap="square" lIns="182880"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BCEB"/>
                </a:solidFill>
                <a:effectLst/>
                <a:uLnTx/>
                <a:uFillTx/>
                <a:latin typeface="CiscoSansTT ExtraLight"/>
                <a:ea typeface="ＭＳ Ｐゴシック" charset="0"/>
              </a:rPr>
              <a:t>Accelerated</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BCEB"/>
                </a:solidFill>
                <a:effectLst/>
                <a:uLnTx/>
                <a:uFillTx/>
                <a:latin typeface="CiscoSansTT ExtraLight"/>
                <a:ea typeface="ＭＳ Ｐゴシック" charset="0"/>
              </a:rPr>
              <a:t>Threat Response</a:t>
            </a:r>
          </a:p>
        </p:txBody>
      </p:sp>
      <p:pic>
        <p:nvPicPr>
          <p:cNvPr id="52" name="Picture 51">
            <a:extLst>
              <a:ext uri="{FF2B5EF4-FFF2-40B4-BE49-F238E27FC236}">
                <a16:creationId xmlns:a16="http://schemas.microsoft.com/office/drawing/2014/main" id="{C5AE5DF0-3CAC-4031-BE3F-79A4AECA82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64126" y="2168484"/>
            <a:ext cx="1212177" cy="1212177"/>
          </a:xfrm>
          <a:prstGeom prst="rect">
            <a:avLst/>
          </a:prstGeom>
        </p:spPr>
      </p:pic>
      <p:grpSp>
        <p:nvGrpSpPr>
          <p:cNvPr id="250" name="Group 249">
            <a:extLst>
              <a:ext uri="{FF2B5EF4-FFF2-40B4-BE49-F238E27FC236}">
                <a16:creationId xmlns:a16="http://schemas.microsoft.com/office/drawing/2014/main" id="{B12DB110-D5F3-4198-A015-E368B222F354}"/>
              </a:ext>
            </a:extLst>
          </p:cNvPr>
          <p:cNvGrpSpPr/>
          <p:nvPr/>
        </p:nvGrpSpPr>
        <p:grpSpPr>
          <a:xfrm>
            <a:off x="5899119" y="2171458"/>
            <a:ext cx="1212177" cy="1212177"/>
            <a:chOff x="7757161" y="2052211"/>
            <a:chExt cx="1188720" cy="1188720"/>
          </a:xfrm>
        </p:grpSpPr>
        <p:cxnSp>
          <p:nvCxnSpPr>
            <p:cNvPr id="15" name="Straight Connector 14"/>
            <p:cNvCxnSpPr/>
            <p:nvPr/>
          </p:nvCxnSpPr>
          <p:spPr>
            <a:xfrm flipH="1" flipV="1">
              <a:off x="8645336" y="2845282"/>
              <a:ext cx="1" cy="279435"/>
            </a:xfrm>
            <a:prstGeom prst="line">
              <a:avLst/>
            </a:prstGeom>
            <a:noFill/>
            <a:ln w="9525" cap="flat" cmpd="sng" algn="ctr">
              <a:solidFill>
                <a:srgbClr val="00BCEB">
                  <a:shade val="95000"/>
                  <a:satMod val="105000"/>
                </a:srgbClr>
              </a:solidFill>
              <a:prstDash val="solid"/>
            </a:ln>
            <a:effectLst/>
          </p:spPr>
        </p:cxnSp>
        <p:sp>
          <p:nvSpPr>
            <p:cNvPr id="232" name="Oval 231">
              <a:extLst>
                <a:ext uri="{FF2B5EF4-FFF2-40B4-BE49-F238E27FC236}">
                  <a16:creationId xmlns:a16="http://schemas.microsoft.com/office/drawing/2014/main" id="{1ABAADCC-EF61-499A-BFBE-381580DE66E2}"/>
                </a:ext>
              </a:extLst>
            </p:cNvPr>
            <p:cNvSpPr/>
            <p:nvPr/>
          </p:nvSpPr>
          <p:spPr>
            <a:xfrm>
              <a:off x="7757161" y="2052211"/>
              <a:ext cx="1188720" cy="1188720"/>
            </a:xfrm>
            <a:prstGeom prst="ellipse">
              <a:avLst/>
            </a:prstGeom>
            <a:solidFill>
              <a:schemeClr val="tx2"/>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CiscoSansTT ExtraLight"/>
                <a:ea typeface="ＭＳ Ｐゴシック" charset="0"/>
                <a:cs typeface="+mn-cs"/>
              </a:endParaRPr>
            </a:p>
          </p:txBody>
        </p:sp>
        <p:sp>
          <p:nvSpPr>
            <p:cNvPr id="234" name="Freeform 195">
              <a:extLst>
                <a:ext uri="{FF2B5EF4-FFF2-40B4-BE49-F238E27FC236}">
                  <a16:creationId xmlns:a16="http://schemas.microsoft.com/office/drawing/2014/main" id="{62D6F30D-34EB-4DC1-A67F-58A1CF3E3258}"/>
                </a:ext>
              </a:extLst>
            </p:cNvPr>
            <p:cNvSpPr>
              <a:spLocks/>
            </p:cNvSpPr>
            <p:nvPr/>
          </p:nvSpPr>
          <p:spPr bwMode="auto">
            <a:xfrm>
              <a:off x="8411862" y="2363807"/>
              <a:ext cx="325390" cy="583976"/>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35" name="Line 196">
              <a:extLst>
                <a:ext uri="{FF2B5EF4-FFF2-40B4-BE49-F238E27FC236}">
                  <a16:creationId xmlns:a16="http://schemas.microsoft.com/office/drawing/2014/main" id="{13C066E6-3999-4B37-8AB4-27E2D9F3F4A2}"/>
                </a:ext>
              </a:extLst>
            </p:cNvPr>
            <p:cNvSpPr>
              <a:spLocks noChangeShapeType="1"/>
            </p:cNvSpPr>
            <p:nvPr/>
          </p:nvSpPr>
          <p:spPr bwMode="auto">
            <a:xfrm>
              <a:off x="8493748" y="2458622"/>
              <a:ext cx="161618" cy="0"/>
            </a:xfrm>
            <a:prstGeom prst="line">
              <a:avLst/>
            </a:prstGeom>
            <a:noFill/>
            <a:ln w="28575"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36" name="Line 197">
              <a:extLst>
                <a:ext uri="{FF2B5EF4-FFF2-40B4-BE49-F238E27FC236}">
                  <a16:creationId xmlns:a16="http://schemas.microsoft.com/office/drawing/2014/main" id="{7D7E861C-58F9-4068-A4CC-8FAE5E1A6E19}"/>
                </a:ext>
              </a:extLst>
            </p:cNvPr>
            <p:cNvSpPr>
              <a:spLocks noChangeShapeType="1"/>
            </p:cNvSpPr>
            <p:nvPr/>
          </p:nvSpPr>
          <p:spPr bwMode="auto">
            <a:xfrm>
              <a:off x="8493748" y="2551282"/>
              <a:ext cx="161618" cy="0"/>
            </a:xfrm>
            <a:prstGeom prst="line">
              <a:avLst/>
            </a:prstGeom>
            <a:noFill/>
            <a:ln w="28575"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37" name="Line 198">
              <a:extLst>
                <a:ext uri="{FF2B5EF4-FFF2-40B4-BE49-F238E27FC236}">
                  <a16:creationId xmlns:a16="http://schemas.microsoft.com/office/drawing/2014/main" id="{06D2E69B-F83E-4EBC-8E52-6711FDD12158}"/>
                </a:ext>
              </a:extLst>
            </p:cNvPr>
            <p:cNvSpPr>
              <a:spLocks noChangeShapeType="1"/>
            </p:cNvSpPr>
            <p:nvPr/>
          </p:nvSpPr>
          <p:spPr bwMode="auto">
            <a:xfrm>
              <a:off x="8493748" y="2648253"/>
              <a:ext cx="161618" cy="0"/>
            </a:xfrm>
            <a:prstGeom prst="line">
              <a:avLst/>
            </a:prstGeom>
            <a:noFill/>
            <a:ln w="28575"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38" name="Line 199">
              <a:extLst>
                <a:ext uri="{FF2B5EF4-FFF2-40B4-BE49-F238E27FC236}">
                  <a16:creationId xmlns:a16="http://schemas.microsoft.com/office/drawing/2014/main" id="{FC2D277A-088A-47E3-8BC2-CD768E81DD04}"/>
                </a:ext>
              </a:extLst>
            </p:cNvPr>
            <p:cNvSpPr>
              <a:spLocks noChangeShapeType="1"/>
            </p:cNvSpPr>
            <p:nvPr/>
          </p:nvSpPr>
          <p:spPr bwMode="auto">
            <a:xfrm>
              <a:off x="8493748" y="2743069"/>
              <a:ext cx="161618" cy="0"/>
            </a:xfrm>
            <a:prstGeom prst="line">
              <a:avLst/>
            </a:prstGeom>
            <a:noFill/>
            <a:ln w="28575"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39" name="Line 200">
              <a:extLst>
                <a:ext uri="{FF2B5EF4-FFF2-40B4-BE49-F238E27FC236}">
                  <a16:creationId xmlns:a16="http://schemas.microsoft.com/office/drawing/2014/main" id="{2C4ADE93-C4E2-4D95-AB0A-7EB17D499134}"/>
                </a:ext>
              </a:extLst>
            </p:cNvPr>
            <p:cNvSpPr>
              <a:spLocks noChangeShapeType="1"/>
            </p:cNvSpPr>
            <p:nvPr/>
          </p:nvSpPr>
          <p:spPr bwMode="auto">
            <a:xfrm>
              <a:off x="8493748" y="2837884"/>
              <a:ext cx="161618" cy="0"/>
            </a:xfrm>
            <a:prstGeom prst="line">
              <a:avLst/>
            </a:prstGeom>
            <a:noFill/>
            <a:ln w="28575"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40" name="Freeform 213">
              <a:extLst>
                <a:ext uri="{FF2B5EF4-FFF2-40B4-BE49-F238E27FC236}">
                  <a16:creationId xmlns:a16="http://schemas.microsoft.com/office/drawing/2014/main" id="{44D540E3-5BCC-4C46-81FE-0F7F09BF3115}"/>
                </a:ext>
              </a:extLst>
            </p:cNvPr>
            <p:cNvSpPr>
              <a:spLocks/>
            </p:cNvSpPr>
            <p:nvPr/>
          </p:nvSpPr>
          <p:spPr bwMode="auto">
            <a:xfrm>
              <a:off x="7965791" y="2363807"/>
              <a:ext cx="321081" cy="583976"/>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41" name="Line 214">
              <a:extLst>
                <a:ext uri="{FF2B5EF4-FFF2-40B4-BE49-F238E27FC236}">
                  <a16:creationId xmlns:a16="http://schemas.microsoft.com/office/drawing/2014/main" id="{6DE49E96-C655-4F60-93D4-B672B0ADE54C}"/>
                </a:ext>
              </a:extLst>
            </p:cNvPr>
            <p:cNvSpPr>
              <a:spLocks noChangeShapeType="1"/>
            </p:cNvSpPr>
            <p:nvPr/>
          </p:nvSpPr>
          <p:spPr bwMode="auto">
            <a:xfrm>
              <a:off x="8045523" y="2458622"/>
              <a:ext cx="159463" cy="0"/>
            </a:xfrm>
            <a:prstGeom prst="line">
              <a:avLst/>
            </a:prstGeom>
            <a:noFill/>
            <a:ln w="28575"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42" name="Line 215">
              <a:extLst>
                <a:ext uri="{FF2B5EF4-FFF2-40B4-BE49-F238E27FC236}">
                  <a16:creationId xmlns:a16="http://schemas.microsoft.com/office/drawing/2014/main" id="{5A076297-6662-4CC8-96B9-1373168061AF}"/>
                </a:ext>
              </a:extLst>
            </p:cNvPr>
            <p:cNvSpPr>
              <a:spLocks noChangeShapeType="1"/>
            </p:cNvSpPr>
            <p:nvPr/>
          </p:nvSpPr>
          <p:spPr bwMode="auto">
            <a:xfrm>
              <a:off x="8045523" y="2551282"/>
              <a:ext cx="159463" cy="0"/>
            </a:xfrm>
            <a:prstGeom prst="line">
              <a:avLst/>
            </a:prstGeom>
            <a:noFill/>
            <a:ln w="28575"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43" name="Line 216">
              <a:extLst>
                <a:ext uri="{FF2B5EF4-FFF2-40B4-BE49-F238E27FC236}">
                  <a16:creationId xmlns:a16="http://schemas.microsoft.com/office/drawing/2014/main" id="{59DD57BF-214A-42BB-9121-58883D9E7155}"/>
                </a:ext>
              </a:extLst>
            </p:cNvPr>
            <p:cNvSpPr>
              <a:spLocks noChangeShapeType="1"/>
            </p:cNvSpPr>
            <p:nvPr/>
          </p:nvSpPr>
          <p:spPr bwMode="auto">
            <a:xfrm>
              <a:off x="8045523" y="2648253"/>
              <a:ext cx="159463" cy="0"/>
            </a:xfrm>
            <a:prstGeom prst="line">
              <a:avLst/>
            </a:prstGeom>
            <a:noFill/>
            <a:ln w="28575"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44" name="Line 217">
              <a:extLst>
                <a:ext uri="{FF2B5EF4-FFF2-40B4-BE49-F238E27FC236}">
                  <a16:creationId xmlns:a16="http://schemas.microsoft.com/office/drawing/2014/main" id="{A37DCF0D-DD8D-45F0-8661-16FCD49D6056}"/>
                </a:ext>
              </a:extLst>
            </p:cNvPr>
            <p:cNvSpPr>
              <a:spLocks noChangeShapeType="1"/>
            </p:cNvSpPr>
            <p:nvPr/>
          </p:nvSpPr>
          <p:spPr bwMode="auto">
            <a:xfrm>
              <a:off x="8045523" y="2743069"/>
              <a:ext cx="159463" cy="0"/>
            </a:xfrm>
            <a:prstGeom prst="line">
              <a:avLst/>
            </a:prstGeom>
            <a:noFill/>
            <a:ln w="28575"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245" name="Line 218">
              <a:extLst>
                <a:ext uri="{FF2B5EF4-FFF2-40B4-BE49-F238E27FC236}">
                  <a16:creationId xmlns:a16="http://schemas.microsoft.com/office/drawing/2014/main" id="{31353FA2-69E5-4B96-A785-9F42456197F0}"/>
                </a:ext>
              </a:extLst>
            </p:cNvPr>
            <p:cNvSpPr>
              <a:spLocks noChangeShapeType="1"/>
            </p:cNvSpPr>
            <p:nvPr/>
          </p:nvSpPr>
          <p:spPr bwMode="auto">
            <a:xfrm>
              <a:off x="8045523" y="2837884"/>
              <a:ext cx="159463" cy="0"/>
            </a:xfrm>
            <a:prstGeom prst="line">
              <a:avLst/>
            </a:prstGeom>
            <a:noFill/>
            <a:ln w="28575"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cxnSp>
          <p:nvCxnSpPr>
            <p:cNvPr id="247" name="Straight Connector 246">
              <a:extLst>
                <a:ext uri="{FF2B5EF4-FFF2-40B4-BE49-F238E27FC236}">
                  <a16:creationId xmlns:a16="http://schemas.microsoft.com/office/drawing/2014/main" id="{51353BB8-9990-46BF-BA99-451347543EB9}"/>
                </a:ext>
              </a:extLst>
            </p:cNvPr>
            <p:cNvCxnSpPr>
              <a:cxnSpLocks/>
            </p:cNvCxnSpPr>
            <p:nvPr/>
          </p:nvCxnSpPr>
          <p:spPr>
            <a:xfrm>
              <a:off x="8351521" y="2242296"/>
              <a:ext cx="0" cy="811912"/>
            </a:xfrm>
            <a:prstGeom prst="line">
              <a:avLst/>
            </a:prstGeom>
            <a:ln w="28575" cap="rnd">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677717AE-7656-429E-8BD2-7F300A0E8A01}"/>
              </a:ext>
            </a:extLst>
          </p:cNvPr>
          <p:cNvGrpSpPr/>
          <p:nvPr/>
        </p:nvGrpSpPr>
        <p:grpSpPr>
          <a:xfrm>
            <a:off x="682299" y="2171457"/>
            <a:ext cx="1212177" cy="1212177"/>
            <a:chOff x="682284" y="2022965"/>
            <a:chExt cx="997527" cy="997527"/>
          </a:xfrm>
        </p:grpSpPr>
        <p:sp>
          <p:nvSpPr>
            <p:cNvPr id="252" name="Oval 43">
              <a:extLst>
                <a:ext uri="{FF2B5EF4-FFF2-40B4-BE49-F238E27FC236}">
                  <a16:creationId xmlns:a16="http://schemas.microsoft.com/office/drawing/2014/main" id="{0375A002-65B7-46A8-BF89-158D3327CF8E}"/>
                </a:ext>
              </a:extLst>
            </p:cNvPr>
            <p:cNvSpPr>
              <a:spLocks noChangeArrowheads="1"/>
            </p:cNvSpPr>
            <p:nvPr/>
          </p:nvSpPr>
          <p:spPr bwMode="auto">
            <a:xfrm>
              <a:off x="682284" y="2022965"/>
              <a:ext cx="997527" cy="997527"/>
            </a:xfrm>
            <a:prstGeom prst="ellipse">
              <a:avLst/>
            </a:pr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10" name="Freeform 44">
              <a:extLst>
                <a:ext uri="{FF2B5EF4-FFF2-40B4-BE49-F238E27FC236}">
                  <a16:creationId xmlns:a16="http://schemas.microsoft.com/office/drawing/2014/main" id="{C05C121A-D91D-4C42-8909-71AFD1D3D189}"/>
                </a:ext>
              </a:extLst>
            </p:cNvPr>
            <p:cNvSpPr>
              <a:spLocks/>
            </p:cNvSpPr>
            <p:nvPr/>
          </p:nvSpPr>
          <p:spPr bwMode="auto">
            <a:xfrm>
              <a:off x="888728" y="2313264"/>
              <a:ext cx="791083" cy="707227"/>
            </a:xfrm>
            <a:custGeom>
              <a:avLst/>
              <a:gdLst>
                <a:gd name="T0" fmla="*/ 517 w 517"/>
                <a:gd name="T1" fmla="*/ 237 h 531"/>
                <a:gd name="T2" fmla="*/ 517 w 517"/>
                <a:gd name="T3" fmla="*/ 237 h 531"/>
                <a:gd name="T4" fmla="*/ 222 w 517"/>
                <a:gd name="T5" fmla="*/ 0 h 531"/>
                <a:gd name="T6" fmla="*/ 0 w 517"/>
                <a:gd name="T7" fmla="*/ 387 h 531"/>
                <a:gd name="T8" fmla="*/ 215 w 517"/>
                <a:gd name="T9" fmla="*/ 531 h 531"/>
                <a:gd name="T10" fmla="*/ 222 w 517"/>
                <a:gd name="T11" fmla="*/ 531 h 531"/>
                <a:gd name="T12" fmla="*/ 517 w 517"/>
                <a:gd name="T13" fmla="*/ 237 h 531"/>
                <a:gd name="connsiteX0" fmla="*/ 9045 w 9045"/>
                <a:gd name="connsiteY0" fmla="*/ 4610 h 10147"/>
                <a:gd name="connsiteX1" fmla="*/ 9045 w 9045"/>
                <a:gd name="connsiteY1" fmla="*/ 4610 h 10147"/>
                <a:gd name="connsiteX2" fmla="*/ 3339 w 9045"/>
                <a:gd name="connsiteY2" fmla="*/ 147 h 10147"/>
                <a:gd name="connsiteX3" fmla="*/ 0 w 9045"/>
                <a:gd name="connsiteY3" fmla="*/ 7462 h 10147"/>
                <a:gd name="connsiteX4" fmla="*/ 3204 w 9045"/>
                <a:gd name="connsiteY4" fmla="*/ 10147 h 10147"/>
                <a:gd name="connsiteX5" fmla="*/ 3339 w 9045"/>
                <a:gd name="connsiteY5" fmla="*/ 10147 h 10147"/>
                <a:gd name="connsiteX6" fmla="*/ 9045 w 9045"/>
                <a:gd name="connsiteY6" fmla="*/ 4610 h 10147"/>
                <a:gd name="connsiteX0" fmla="*/ 10000 w 10000"/>
                <a:gd name="connsiteY0" fmla="*/ 4543 h 10000"/>
                <a:gd name="connsiteX1" fmla="*/ 10000 w 10000"/>
                <a:gd name="connsiteY1" fmla="*/ 4543 h 10000"/>
                <a:gd name="connsiteX2" fmla="*/ 3692 w 10000"/>
                <a:gd name="connsiteY2" fmla="*/ 145 h 10000"/>
                <a:gd name="connsiteX3" fmla="*/ 0 w 10000"/>
                <a:gd name="connsiteY3" fmla="*/ 7354 h 10000"/>
                <a:gd name="connsiteX4" fmla="*/ 3542 w 10000"/>
                <a:gd name="connsiteY4" fmla="*/ 10000 h 10000"/>
                <a:gd name="connsiteX5" fmla="*/ 3692 w 10000"/>
                <a:gd name="connsiteY5" fmla="*/ 10000 h 10000"/>
                <a:gd name="connsiteX6" fmla="*/ 10000 w 10000"/>
                <a:gd name="connsiteY6" fmla="*/ 4543 h 10000"/>
                <a:gd name="connsiteX0" fmla="*/ 10040 w 10040"/>
                <a:gd name="connsiteY0" fmla="*/ 1932 h 7389"/>
                <a:gd name="connsiteX1" fmla="*/ 10040 w 10040"/>
                <a:gd name="connsiteY1" fmla="*/ 1932 h 7389"/>
                <a:gd name="connsiteX2" fmla="*/ 6495 w 10040"/>
                <a:gd name="connsiteY2" fmla="*/ 71 h 7389"/>
                <a:gd name="connsiteX3" fmla="*/ 40 w 10040"/>
                <a:gd name="connsiteY3" fmla="*/ 4743 h 7389"/>
                <a:gd name="connsiteX4" fmla="*/ 3582 w 10040"/>
                <a:gd name="connsiteY4" fmla="*/ 7389 h 7389"/>
                <a:gd name="connsiteX5" fmla="*/ 3732 w 10040"/>
                <a:gd name="connsiteY5" fmla="*/ 7389 h 7389"/>
                <a:gd name="connsiteX6" fmla="*/ 10040 w 10040"/>
                <a:gd name="connsiteY6" fmla="*/ 1932 h 7389"/>
                <a:gd name="connsiteX0" fmla="*/ 10000 w 10000"/>
                <a:gd name="connsiteY0" fmla="*/ 2519 h 9904"/>
                <a:gd name="connsiteX1" fmla="*/ 10000 w 10000"/>
                <a:gd name="connsiteY1" fmla="*/ 2519 h 9904"/>
                <a:gd name="connsiteX2" fmla="*/ 6469 w 10000"/>
                <a:gd name="connsiteY2" fmla="*/ 0 h 9904"/>
                <a:gd name="connsiteX3" fmla="*/ 40 w 10000"/>
                <a:gd name="connsiteY3" fmla="*/ 6323 h 9904"/>
                <a:gd name="connsiteX4" fmla="*/ 3568 w 10000"/>
                <a:gd name="connsiteY4" fmla="*/ 9904 h 9904"/>
                <a:gd name="connsiteX5" fmla="*/ 3717 w 10000"/>
                <a:gd name="connsiteY5" fmla="*/ 9904 h 9904"/>
                <a:gd name="connsiteX6" fmla="*/ 10000 w 10000"/>
                <a:gd name="connsiteY6" fmla="*/ 2519 h 9904"/>
                <a:gd name="connsiteX0" fmla="*/ 10000 w 10000"/>
                <a:gd name="connsiteY0" fmla="*/ 2543 h 10000"/>
                <a:gd name="connsiteX1" fmla="*/ 10000 w 10000"/>
                <a:gd name="connsiteY1" fmla="*/ 2543 h 10000"/>
                <a:gd name="connsiteX2" fmla="*/ 6469 w 10000"/>
                <a:gd name="connsiteY2" fmla="*/ 0 h 10000"/>
                <a:gd name="connsiteX3" fmla="*/ 40 w 10000"/>
                <a:gd name="connsiteY3" fmla="*/ 6384 h 10000"/>
                <a:gd name="connsiteX4" fmla="*/ 3568 w 10000"/>
                <a:gd name="connsiteY4" fmla="*/ 10000 h 10000"/>
                <a:gd name="connsiteX5" fmla="*/ 3717 w 10000"/>
                <a:gd name="connsiteY5" fmla="*/ 10000 h 10000"/>
                <a:gd name="connsiteX6" fmla="*/ 10000 w 10000"/>
                <a:gd name="connsiteY6" fmla="*/ 2543 h 10000"/>
                <a:gd name="connsiteX0" fmla="*/ 9960 w 9960"/>
                <a:gd name="connsiteY0" fmla="*/ 2543 h 10000"/>
                <a:gd name="connsiteX1" fmla="*/ 9960 w 9960"/>
                <a:gd name="connsiteY1" fmla="*/ 2543 h 10000"/>
                <a:gd name="connsiteX2" fmla="*/ 6429 w 9960"/>
                <a:gd name="connsiteY2" fmla="*/ 0 h 10000"/>
                <a:gd name="connsiteX3" fmla="*/ 0 w 9960"/>
                <a:gd name="connsiteY3" fmla="*/ 6384 h 10000"/>
                <a:gd name="connsiteX4" fmla="*/ 3528 w 9960"/>
                <a:gd name="connsiteY4" fmla="*/ 10000 h 10000"/>
                <a:gd name="connsiteX5" fmla="*/ 3677 w 9960"/>
                <a:gd name="connsiteY5" fmla="*/ 10000 h 10000"/>
                <a:gd name="connsiteX6" fmla="*/ 9960 w 9960"/>
                <a:gd name="connsiteY6" fmla="*/ 2543 h 10000"/>
                <a:gd name="connsiteX0" fmla="*/ 10000 w 10000"/>
                <a:gd name="connsiteY0" fmla="*/ 2912 h 10369"/>
                <a:gd name="connsiteX1" fmla="*/ 10000 w 10000"/>
                <a:gd name="connsiteY1" fmla="*/ 2912 h 10369"/>
                <a:gd name="connsiteX2" fmla="*/ 6890 w 10000"/>
                <a:gd name="connsiteY2" fmla="*/ 0 h 10369"/>
                <a:gd name="connsiteX3" fmla="*/ 0 w 10000"/>
                <a:gd name="connsiteY3" fmla="*/ 6753 h 10369"/>
                <a:gd name="connsiteX4" fmla="*/ 3542 w 10000"/>
                <a:gd name="connsiteY4" fmla="*/ 10369 h 10369"/>
                <a:gd name="connsiteX5" fmla="*/ 3692 w 10000"/>
                <a:gd name="connsiteY5" fmla="*/ 10369 h 10369"/>
                <a:gd name="connsiteX6" fmla="*/ 10000 w 10000"/>
                <a:gd name="connsiteY6" fmla="*/ 2912 h 10369"/>
                <a:gd name="connsiteX0" fmla="*/ 10000 w 10000"/>
                <a:gd name="connsiteY0" fmla="*/ 3133 h 10590"/>
                <a:gd name="connsiteX1" fmla="*/ 10000 w 10000"/>
                <a:gd name="connsiteY1" fmla="*/ 3133 h 10590"/>
                <a:gd name="connsiteX2" fmla="*/ 7014 w 10000"/>
                <a:gd name="connsiteY2" fmla="*/ 0 h 10590"/>
                <a:gd name="connsiteX3" fmla="*/ 0 w 10000"/>
                <a:gd name="connsiteY3" fmla="*/ 6974 h 10590"/>
                <a:gd name="connsiteX4" fmla="*/ 3542 w 10000"/>
                <a:gd name="connsiteY4" fmla="*/ 10590 h 10590"/>
                <a:gd name="connsiteX5" fmla="*/ 3692 w 10000"/>
                <a:gd name="connsiteY5" fmla="*/ 10590 h 10590"/>
                <a:gd name="connsiteX6" fmla="*/ 10000 w 10000"/>
                <a:gd name="connsiteY6" fmla="*/ 3133 h 10590"/>
                <a:gd name="connsiteX0" fmla="*/ 10000 w 10000"/>
                <a:gd name="connsiteY0" fmla="*/ 3133 h 10590"/>
                <a:gd name="connsiteX1" fmla="*/ 10000 w 10000"/>
                <a:gd name="connsiteY1" fmla="*/ 3133 h 10590"/>
                <a:gd name="connsiteX2" fmla="*/ 7014 w 10000"/>
                <a:gd name="connsiteY2" fmla="*/ 0 h 10590"/>
                <a:gd name="connsiteX3" fmla="*/ 0 w 10000"/>
                <a:gd name="connsiteY3" fmla="*/ 6974 h 10590"/>
                <a:gd name="connsiteX4" fmla="*/ 3542 w 10000"/>
                <a:gd name="connsiteY4" fmla="*/ 10590 h 10590"/>
                <a:gd name="connsiteX5" fmla="*/ 3692 w 10000"/>
                <a:gd name="connsiteY5" fmla="*/ 10590 h 10590"/>
                <a:gd name="connsiteX6" fmla="*/ 10000 w 10000"/>
                <a:gd name="connsiteY6" fmla="*/ 3133 h 1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590">
                  <a:moveTo>
                    <a:pt x="10000" y="3133"/>
                  </a:moveTo>
                  <a:lnTo>
                    <a:pt x="10000" y="3133"/>
                  </a:lnTo>
                  <a:lnTo>
                    <a:pt x="7014" y="0"/>
                  </a:lnTo>
                  <a:cubicBezTo>
                    <a:pt x="5347" y="639"/>
                    <a:pt x="3227" y="3782"/>
                    <a:pt x="0" y="6974"/>
                  </a:cubicBezTo>
                  <a:cubicBezTo>
                    <a:pt x="1066" y="8088"/>
                    <a:pt x="3542" y="10590"/>
                    <a:pt x="3542" y="10590"/>
                  </a:cubicBezTo>
                  <a:lnTo>
                    <a:pt x="3692" y="10590"/>
                  </a:lnTo>
                  <a:cubicBezTo>
                    <a:pt x="7177" y="10590"/>
                    <a:pt x="10000" y="7242"/>
                    <a:pt x="10000" y="3133"/>
                  </a:cubicBezTo>
                  <a:close/>
                </a:path>
              </a:pathLst>
            </a:custGeom>
            <a:solidFill>
              <a:srgbClr val="063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nvGrpSpPr>
            <p:cNvPr id="311" name="Group 310">
              <a:extLst>
                <a:ext uri="{FF2B5EF4-FFF2-40B4-BE49-F238E27FC236}">
                  <a16:creationId xmlns:a16="http://schemas.microsoft.com/office/drawing/2014/main" id="{0166953A-9331-4E86-A223-040B1E776073}"/>
                </a:ext>
              </a:extLst>
            </p:cNvPr>
            <p:cNvGrpSpPr/>
            <p:nvPr/>
          </p:nvGrpSpPr>
          <p:grpSpPr>
            <a:xfrm>
              <a:off x="836613" y="2217365"/>
              <a:ext cx="647568" cy="475650"/>
              <a:chOff x="-1408229" y="1225656"/>
              <a:chExt cx="1130209" cy="827778"/>
            </a:xfrm>
          </p:grpSpPr>
          <p:grpSp>
            <p:nvGrpSpPr>
              <p:cNvPr id="277" name="Group 276">
                <a:extLst>
                  <a:ext uri="{FF2B5EF4-FFF2-40B4-BE49-F238E27FC236}">
                    <a16:creationId xmlns:a16="http://schemas.microsoft.com/office/drawing/2014/main" id="{B69BD915-9F43-4A0F-90EF-AF3D6FD37CD4}"/>
                  </a:ext>
                </a:extLst>
              </p:cNvPr>
              <p:cNvGrpSpPr/>
              <p:nvPr/>
            </p:nvGrpSpPr>
            <p:grpSpPr>
              <a:xfrm>
                <a:off x="-961825" y="1303246"/>
                <a:ext cx="600690" cy="601865"/>
                <a:chOff x="-1124394" y="1402849"/>
                <a:chExt cx="684712" cy="686050"/>
              </a:xfrm>
            </p:grpSpPr>
            <p:sp>
              <p:nvSpPr>
                <p:cNvPr id="255" name="Oval 47">
                  <a:extLst>
                    <a:ext uri="{FF2B5EF4-FFF2-40B4-BE49-F238E27FC236}">
                      <a16:creationId xmlns:a16="http://schemas.microsoft.com/office/drawing/2014/main" id="{FBEB872C-532E-4083-8784-5EA4CE2136F8}"/>
                    </a:ext>
                  </a:extLst>
                </p:cNvPr>
                <p:cNvSpPr>
                  <a:spLocks noChangeArrowheads="1"/>
                </p:cNvSpPr>
                <p:nvPr/>
              </p:nvSpPr>
              <p:spPr bwMode="auto">
                <a:xfrm>
                  <a:off x="-1080376" y="1444287"/>
                  <a:ext cx="608240" cy="608238"/>
                </a:xfrm>
                <a:prstGeom prst="ellipse">
                  <a:avLst/>
                </a:prstGeom>
                <a:solidFill>
                  <a:srgbClr val="FFFFFF"/>
                </a:solidFill>
                <a:ln w="9525">
                  <a:solidFill>
                    <a:schemeClr val="accent5"/>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56" name="Freeform 46">
                  <a:extLst>
                    <a:ext uri="{FF2B5EF4-FFF2-40B4-BE49-F238E27FC236}">
                      <a16:creationId xmlns:a16="http://schemas.microsoft.com/office/drawing/2014/main" id="{13F2E093-9839-47F4-8C13-8AC7B08B5A0A}"/>
                    </a:ext>
                  </a:extLst>
                </p:cNvPr>
                <p:cNvSpPr>
                  <a:spLocks noEditPoints="1"/>
                </p:cNvSpPr>
                <p:nvPr/>
              </p:nvSpPr>
              <p:spPr bwMode="auto">
                <a:xfrm>
                  <a:off x="-1124394" y="1402849"/>
                  <a:ext cx="684712" cy="686050"/>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57" name="Freeform 48">
                  <a:extLst>
                    <a:ext uri="{FF2B5EF4-FFF2-40B4-BE49-F238E27FC236}">
                      <a16:creationId xmlns:a16="http://schemas.microsoft.com/office/drawing/2014/main" id="{58DE71FC-0530-438C-83F1-55C4BABFDA65}"/>
                    </a:ext>
                  </a:extLst>
                </p:cNvPr>
                <p:cNvSpPr>
                  <a:spLocks/>
                </p:cNvSpPr>
                <p:nvPr/>
              </p:nvSpPr>
              <p:spPr bwMode="auto">
                <a:xfrm>
                  <a:off x="-812857" y="1541373"/>
                  <a:ext cx="63844" cy="305541"/>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58" name="Oval 49">
                  <a:extLst>
                    <a:ext uri="{FF2B5EF4-FFF2-40B4-BE49-F238E27FC236}">
                      <a16:creationId xmlns:a16="http://schemas.microsoft.com/office/drawing/2014/main" id="{854458BB-B1CE-45D1-86E1-F48C799AAE96}"/>
                    </a:ext>
                  </a:extLst>
                </p:cNvPr>
                <p:cNvSpPr>
                  <a:spLocks noChangeArrowheads="1"/>
                </p:cNvSpPr>
                <p:nvPr/>
              </p:nvSpPr>
              <p:spPr bwMode="auto">
                <a:xfrm>
                  <a:off x="-815868" y="1866998"/>
                  <a:ext cx="66855" cy="65518"/>
                </a:xfrm>
                <a:prstGeom prst="ellipse">
                  <a:avLst/>
                </a:pr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283" name="Group 282">
                <a:extLst>
                  <a:ext uri="{FF2B5EF4-FFF2-40B4-BE49-F238E27FC236}">
                    <a16:creationId xmlns:a16="http://schemas.microsoft.com/office/drawing/2014/main" id="{C4B07DAE-58D4-4D25-B60C-4C760E578293}"/>
                  </a:ext>
                </a:extLst>
              </p:cNvPr>
              <p:cNvGrpSpPr/>
              <p:nvPr/>
            </p:nvGrpSpPr>
            <p:grpSpPr>
              <a:xfrm>
                <a:off x="-1408229" y="1225656"/>
                <a:ext cx="1130209" cy="827778"/>
                <a:chOff x="-3406597" y="2475489"/>
                <a:chExt cx="1130209" cy="827778"/>
              </a:xfrm>
            </p:grpSpPr>
            <p:sp>
              <p:nvSpPr>
                <p:cNvPr id="281" name="Freeform 103">
                  <a:extLst>
                    <a:ext uri="{FF2B5EF4-FFF2-40B4-BE49-F238E27FC236}">
                      <a16:creationId xmlns:a16="http://schemas.microsoft.com/office/drawing/2014/main" id="{5B26CA86-3D39-4E94-B0BB-E0EA86BE5926}"/>
                    </a:ext>
                  </a:extLst>
                </p:cNvPr>
                <p:cNvSpPr>
                  <a:spLocks/>
                </p:cNvSpPr>
                <p:nvPr/>
              </p:nvSpPr>
              <p:spPr bwMode="auto">
                <a:xfrm rot="19203019" flipH="1">
                  <a:off x="-3406597" y="3209775"/>
                  <a:ext cx="602446" cy="93492"/>
                </a:xfrm>
                <a:prstGeom prst="roundRect">
                  <a:avLst>
                    <a:gd name="adj" fmla="val 50000"/>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82" name="Freeform 277">
                  <a:extLst>
                    <a:ext uri="{FF2B5EF4-FFF2-40B4-BE49-F238E27FC236}">
                      <a16:creationId xmlns:a16="http://schemas.microsoft.com/office/drawing/2014/main" id="{0E4746A4-089B-49A2-A963-9B88166ABDB1}"/>
                    </a:ext>
                  </a:extLst>
                </p:cNvPr>
                <p:cNvSpPr>
                  <a:spLocks noEditPoints="1"/>
                </p:cNvSpPr>
                <p:nvPr/>
              </p:nvSpPr>
              <p:spPr bwMode="auto">
                <a:xfrm>
                  <a:off x="-3036926" y="2475489"/>
                  <a:ext cx="760538" cy="760538"/>
                </a:xfrm>
                <a:prstGeom prst="donut">
                  <a:avLst>
                    <a:gd name="adj" fmla="val 11461"/>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grpSp>
      <p:sp>
        <p:nvSpPr>
          <p:cNvPr id="324" name="Rectangle 5">
            <a:extLst>
              <a:ext uri="{FF2B5EF4-FFF2-40B4-BE49-F238E27FC236}">
                <a16:creationId xmlns:a16="http://schemas.microsoft.com/office/drawing/2014/main" id="{7AB03C1F-BF52-4ECE-90A8-68637070202D}"/>
              </a:ext>
            </a:extLst>
          </p:cNvPr>
          <p:cNvSpPr>
            <a:spLocks noChangeArrowheads="1"/>
          </p:cNvSpPr>
          <p:nvPr/>
        </p:nvSpPr>
        <p:spPr bwMode="auto">
          <a:xfrm>
            <a:off x="526181" y="4032865"/>
            <a:ext cx="8126109" cy="473602"/>
          </a:xfrm>
          <a:prstGeom prst="roundRect">
            <a:avLst>
              <a:gd name="adj" fmla="val 50000"/>
            </a:avLst>
          </a:prstGeom>
          <a:solidFill>
            <a:schemeClr val="tx1">
              <a:lumMod val="10000"/>
              <a:lumOff val="90000"/>
            </a:schemeClr>
          </a:solidFill>
          <a:ln w="9525" algn="ctr">
            <a:noFill/>
            <a:miter lim="800000"/>
            <a:headEnd/>
            <a:tailEnd/>
          </a:ln>
          <a:effectLst/>
        </p:spPr>
        <p:txBody>
          <a:bodyPr lIns="205767" tIns="274357" rIns="68589" bIns="34295" anchor="ctr">
            <a:noAutofit/>
          </a:bodyPr>
          <a:lstStyle/>
          <a:p>
            <a:pPr marL="0" marR="0" lvl="0" indent="0" algn="l" defTabSz="457200" rtl="0" eaLnBrk="1" fontAlgn="base" latinLnBrk="0" hangingPunct="1">
              <a:lnSpc>
                <a:spcPct val="100000"/>
              </a:lnSpc>
              <a:spcBef>
                <a:spcPct val="50000"/>
              </a:spcBef>
              <a:spcAft>
                <a:spcPct val="0"/>
              </a:spcAft>
              <a:buClrTx/>
              <a:buSzPct val="80000"/>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cs typeface="Arial" charset="0"/>
            </a:endParaRPr>
          </a:p>
        </p:txBody>
      </p:sp>
      <p:sp>
        <p:nvSpPr>
          <p:cNvPr id="315" name="TextBox 314">
            <a:extLst>
              <a:ext uri="{FF2B5EF4-FFF2-40B4-BE49-F238E27FC236}">
                <a16:creationId xmlns:a16="http://schemas.microsoft.com/office/drawing/2014/main" id="{728F0DBA-749E-4527-B2D7-71CF561ECD95}"/>
              </a:ext>
            </a:extLst>
          </p:cNvPr>
          <p:cNvSpPr txBox="1"/>
          <p:nvPr/>
        </p:nvSpPr>
        <p:spPr>
          <a:xfrm>
            <a:off x="866582" y="4082013"/>
            <a:ext cx="6749368" cy="369332"/>
          </a:xfrm>
          <a:prstGeom prst="rect">
            <a:avLst/>
          </a:prstGeom>
          <a:noFill/>
        </p:spPr>
        <p:txBody>
          <a:bodyPr wrap="square" rtlCol="0"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5073"/>
                </a:solidFill>
                <a:effectLst/>
                <a:uLnTx/>
                <a:uFillTx/>
                <a:latin typeface="CiscoSansTT ExtraLight"/>
                <a:ea typeface="ＭＳ Ｐゴシック" charset="0"/>
              </a:rPr>
              <a:t>Using existing network infrastructure</a:t>
            </a:r>
          </a:p>
        </p:txBody>
      </p:sp>
      <p:grpSp>
        <p:nvGrpSpPr>
          <p:cNvPr id="112" name="Group 111">
            <a:extLst>
              <a:ext uri="{FF2B5EF4-FFF2-40B4-BE49-F238E27FC236}">
                <a16:creationId xmlns:a16="http://schemas.microsoft.com/office/drawing/2014/main" id="{FE8542B8-84C5-49DB-90F4-2ADF7C4733D3}"/>
              </a:ext>
            </a:extLst>
          </p:cNvPr>
          <p:cNvGrpSpPr>
            <a:grpSpLocks noChangeAspect="1"/>
          </p:cNvGrpSpPr>
          <p:nvPr/>
        </p:nvGrpSpPr>
        <p:grpSpPr>
          <a:xfrm>
            <a:off x="7615857" y="4112696"/>
            <a:ext cx="603067" cy="298736"/>
            <a:chOff x="836085" y="1496592"/>
            <a:chExt cx="538984" cy="266991"/>
          </a:xfrm>
        </p:grpSpPr>
        <p:sp>
          <p:nvSpPr>
            <p:cNvPr id="113" name="Freeform 751">
              <a:extLst>
                <a:ext uri="{FF2B5EF4-FFF2-40B4-BE49-F238E27FC236}">
                  <a16:creationId xmlns:a16="http://schemas.microsoft.com/office/drawing/2014/main" id="{4A05420B-A586-46E4-BFA4-0ACD9C7F609A}"/>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4" name="Freeform 752">
              <a:extLst>
                <a:ext uri="{FF2B5EF4-FFF2-40B4-BE49-F238E27FC236}">
                  <a16:creationId xmlns:a16="http://schemas.microsoft.com/office/drawing/2014/main" id="{033C897E-5C0E-4A91-971E-191CBEAADF0F}"/>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5" name="Freeform 753">
              <a:extLst>
                <a:ext uri="{FF2B5EF4-FFF2-40B4-BE49-F238E27FC236}">
                  <a16:creationId xmlns:a16="http://schemas.microsoft.com/office/drawing/2014/main" id="{57A8A92F-3B92-444E-BFD7-14C764E1A96A}"/>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6" name="Group 5">
            <a:extLst>
              <a:ext uri="{FF2B5EF4-FFF2-40B4-BE49-F238E27FC236}">
                <a16:creationId xmlns:a16="http://schemas.microsoft.com/office/drawing/2014/main" id="{9FC8A50C-C6CE-4841-AA02-580820B60F7B}"/>
              </a:ext>
            </a:extLst>
          </p:cNvPr>
          <p:cNvGrpSpPr/>
          <p:nvPr/>
        </p:nvGrpSpPr>
        <p:grpSpPr>
          <a:xfrm>
            <a:off x="6959953" y="4106427"/>
            <a:ext cx="353998" cy="311274"/>
            <a:chOff x="6852995" y="4092902"/>
            <a:chExt cx="401778" cy="353288"/>
          </a:xfrm>
        </p:grpSpPr>
        <p:sp>
          <p:nvSpPr>
            <p:cNvPr id="117" name="Freeform 278">
              <a:extLst>
                <a:ext uri="{FF2B5EF4-FFF2-40B4-BE49-F238E27FC236}">
                  <a16:creationId xmlns:a16="http://schemas.microsoft.com/office/drawing/2014/main" id="{566126AF-6610-43AA-9862-2DA12AC6DF2B}"/>
                </a:ext>
              </a:extLst>
            </p:cNvPr>
            <p:cNvSpPr>
              <a:spLocks/>
            </p:cNvSpPr>
            <p:nvPr/>
          </p:nvSpPr>
          <p:spPr bwMode="auto">
            <a:xfrm>
              <a:off x="6852995" y="4310614"/>
              <a:ext cx="401778" cy="64324"/>
            </a:xfrm>
            <a:custGeom>
              <a:avLst/>
              <a:gdLst>
                <a:gd name="T0" fmla="*/ 387 w 387"/>
                <a:gd name="T1" fmla="*/ 10 h 62"/>
                <a:gd name="T2" fmla="*/ 387 w 387"/>
                <a:gd name="T3" fmla="*/ 52 h 62"/>
                <a:gd name="T4" fmla="*/ 376 w 387"/>
                <a:gd name="T5" fmla="*/ 62 h 62"/>
                <a:gd name="T6" fmla="*/ 11 w 387"/>
                <a:gd name="T7" fmla="*/ 62 h 62"/>
                <a:gd name="T8" fmla="*/ 0 w 387"/>
                <a:gd name="T9" fmla="*/ 52 h 62"/>
                <a:gd name="T10" fmla="*/ 0 w 387"/>
                <a:gd name="T11" fmla="*/ 10 h 62"/>
                <a:gd name="T12" fmla="*/ 11 w 387"/>
                <a:gd name="T13" fmla="*/ 0 h 62"/>
                <a:gd name="T14" fmla="*/ 376 w 387"/>
                <a:gd name="T15" fmla="*/ 0 h 62"/>
                <a:gd name="T16" fmla="*/ 387 w 387"/>
                <a:gd name="T1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0"/>
                  </a:moveTo>
                  <a:cubicBezTo>
                    <a:pt x="387" y="52"/>
                    <a:pt x="387" y="52"/>
                    <a:pt x="387" y="52"/>
                  </a:cubicBezTo>
                  <a:cubicBezTo>
                    <a:pt x="387" y="57"/>
                    <a:pt x="382" y="62"/>
                    <a:pt x="376" y="62"/>
                  </a:cubicBezTo>
                  <a:cubicBezTo>
                    <a:pt x="11" y="62"/>
                    <a:pt x="11" y="62"/>
                    <a:pt x="11" y="62"/>
                  </a:cubicBezTo>
                  <a:cubicBezTo>
                    <a:pt x="5" y="62"/>
                    <a:pt x="0" y="57"/>
                    <a:pt x="0" y="52"/>
                  </a:cubicBezTo>
                  <a:cubicBezTo>
                    <a:pt x="0" y="10"/>
                    <a:pt x="0" y="10"/>
                    <a:pt x="0" y="10"/>
                  </a:cubicBezTo>
                  <a:cubicBezTo>
                    <a:pt x="0" y="5"/>
                    <a:pt x="5" y="0"/>
                    <a:pt x="11" y="0"/>
                  </a:cubicBezTo>
                  <a:cubicBezTo>
                    <a:pt x="376" y="0"/>
                    <a:pt x="376" y="0"/>
                    <a:pt x="376" y="0"/>
                  </a:cubicBezTo>
                  <a:cubicBezTo>
                    <a:pt x="382" y="0"/>
                    <a:pt x="387" y="5"/>
                    <a:pt x="387" y="1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8" name="Line 279">
              <a:extLst>
                <a:ext uri="{FF2B5EF4-FFF2-40B4-BE49-F238E27FC236}">
                  <a16:creationId xmlns:a16="http://schemas.microsoft.com/office/drawing/2014/main" id="{6A9492A5-13A7-4D5C-844B-184325A4F374}"/>
                </a:ext>
              </a:extLst>
            </p:cNvPr>
            <p:cNvSpPr>
              <a:spLocks noChangeShapeType="1"/>
            </p:cNvSpPr>
            <p:nvPr/>
          </p:nvSpPr>
          <p:spPr bwMode="auto">
            <a:xfrm flipV="1">
              <a:off x="6871798" y="4326448"/>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19" name="Line 280">
              <a:extLst>
                <a:ext uri="{FF2B5EF4-FFF2-40B4-BE49-F238E27FC236}">
                  <a16:creationId xmlns:a16="http://schemas.microsoft.com/office/drawing/2014/main" id="{298020A9-9A2D-4191-9AC7-4B5A106B4DE6}"/>
                </a:ext>
              </a:extLst>
            </p:cNvPr>
            <p:cNvSpPr>
              <a:spLocks noChangeShapeType="1"/>
            </p:cNvSpPr>
            <p:nvPr/>
          </p:nvSpPr>
          <p:spPr bwMode="auto">
            <a:xfrm flipV="1">
              <a:off x="6890600" y="4326448"/>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0" name="Line 281">
              <a:extLst>
                <a:ext uri="{FF2B5EF4-FFF2-40B4-BE49-F238E27FC236}">
                  <a16:creationId xmlns:a16="http://schemas.microsoft.com/office/drawing/2014/main" id="{84AE07B5-EFBD-4626-81D2-17F05D708D53}"/>
                </a:ext>
              </a:extLst>
            </p:cNvPr>
            <p:cNvSpPr>
              <a:spLocks noChangeShapeType="1"/>
            </p:cNvSpPr>
            <p:nvPr/>
          </p:nvSpPr>
          <p:spPr bwMode="auto">
            <a:xfrm flipV="1">
              <a:off x="6910392" y="4326448"/>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1" name="Line 282">
              <a:extLst>
                <a:ext uri="{FF2B5EF4-FFF2-40B4-BE49-F238E27FC236}">
                  <a16:creationId xmlns:a16="http://schemas.microsoft.com/office/drawing/2014/main" id="{ADFA5077-48C3-4723-94D7-0D6B73015D8F}"/>
                </a:ext>
              </a:extLst>
            </p:cNvPr>
            <p:cNvSpPr>
              <a:spLocks noChangeShapeType="1"/>
            </p:cNvSpPr>
            <p:nvPr/>
          </p:nvSpPr>
          <p:spPr bwMode="auto">
            <a:xfrm flipV="1">
              <a:off x="6928205" y="4326448"/>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2" name="Line 283">
              <a:extLst>
                <a:ext uri="{FF2B5EF4-FFF2-40B4-BE49-F238E27FC236}">
                  <a16:creationId xmlns:a16="http://schemas.microsoft.com/office/drawing/2014/main" id="{27C7C7A9-91FF-4CFF-810E-501346479AD0}"/>
                </a:ext>
              </a:extLst>
            </p:cNvPr>
            <p:cNvSpPr>
              <a:spLocks noChangeShapeType="1"/>
            </p:cNvSpPr>
            <p:nvPr/>
          </p:nvSpPr>
          <p:spPr bwMode="auto">
            <a:xfrm flipV="1">
              <a:off x="6947007" y="4326448"/>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3" name="Freeform 284">
              <a:extLst>
                <a:ext uri="{FF2B5EF4-FFF2-40B4-BE49-F238E27FC236}">
                  <a16:creationId xmlns:a16="http://schemas.microsoft.com/office/drawing/2014/main" id="{50CC08AE-2CDE-4091-B425-670420BE53A1}"/>
                </a:ext>
              </a:extLst>
            </p:cNvPr>
            <p:cNvSpPr>
              <a:spLocks/>
            </p:cNvSpPr>
            <p:nvPr/>
          </p:nvSpPr>
          <p:spPr bwMode="auto">
            <a:xfrm>
              <a:off x="6852995" y="4382856"/>
              <a:ext cx="401778" cy="63334"/>
            </a:xfrm>
            <a:custGeom>
              <a:avLst/>
              <a:gdLst>
                <a:gd name="T0" fmla="*/ 387 w 387"/>
                <a:gd name="T1" fmla="*/ 10 h 61"/>
                <a:gd name="T2" fmla="*/ 387 w 387"/>
                <a:gd name="T3" fmla="*/ 51 h 61"/>
                <a:gd name="T4" fmla="*/ 376 w 387"/>
                <a:gd name="T5" fmla="*/ 61 h 61"/>
                <a:gd name="T6" fmla="*/ 11 w 387"/>
                <a:gd name="T7" fmla="*/ 61 h 61"/>
                <a:gd name="T8" fmla="*/ 0 w 387"/>
                <a:gd name="T9" fmla="*/ 51 h 61"/>
                <a:gd name="T10" fmla="*/ 0 w 387"/>
                <a:gd name="T11" fmla="*/ 10 h 61"/>
                <a:gd name="T12" fmla="*/ 11 w 387"/>
                <a:gd name="T13" fmla="*/ 0 h 61"/>
                <a:gd name="T14" fmla="*/ 376 w 387"/>
                <a:gd name="T15" fmla="*/ 0 h 61"/>
                <a:gd name="T16" fmla="*/ 387 w 387"/>
                <a:gd name="T17"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1">
                  <a:moveTo>
                    <a:pt x="387" y="10"/>
                  </a:moveTo>
                  <a:cubicBezTo>
                    <a:pt x="387" y="51"/>
                    <a:pt x="387" y="51"/>
                    <a:pt x="387" y="51"/>
                  </a:cubicBezTo>
                  <a:cubicBezTo>
                    <a:pt x="387" y="57"/>
                    <a:pt x="382" y="61"/>
                    <a:pt x="376" y="61"/>
                  </a:cubicBezTo>
                  <a:cubicBezTo>
                    <a:pt x="11" y="61"/>
                    <a:pt x="11" y="61"/>
                    <a:pt x="11" y="61"/>
                  </a:cubicBezTo>
                  <a:cubicBezTo>
                    <a:pt x="5" y="61"/>
                    <a:pt x="0" y="57"/>
                    <a:pt x="0" y="51"/>
                  </a:cubicBezTo>
                  <a:cubicBezTo>
                    <a:pt x="0" y="10"/>
                    <a:pt x="0" y="10"/>
                    <a:pt x="0" y="10"/>
                  </a:cubicBezTo>
                  <a:cubicBezTo>
                    <a:pt x="0" y="4"/>
                    <a:pt x="5" y="0"/>
                    <a:pt x="11" y="0"/>
                  </a:cubicBezTo>
                  <a:cubicBezTo>
                    <a:pt x="376" y="0"/>
                    <a:pt x="376" y="0"/>
                    <a:pt x="376" y="0"/>
                  </a:cubicBezTo>
                  <a:cubicBezTo>
                    <a:pt x="382" y="0"/>
                    <a:pt x="387" y="4"/>
                    <a:pt x="387" y="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4" name="Line 285">
              <a:extLst>
                <a:ext uri="{FF2B5EF4-FFF2-40B4-BE49-F238E27FC236}">
                  <a16:creationId xmlns:a16="http://schemas.microsoft.com/office/drawing/2014/main" id="{B237F84E-14B5-43E6-A70C-F8E077922C6B}"/>
                </a:ext>
              </a:extLst>
            </p:cNvPr>
            <p:cNvSpPr>
              <a:spLocks noChangeShapeType="1"/>
            </p:cNvSpPr>
            <p:nvPr/>
          </p:nvSpPr>
          <p:spPr bwMode="auto">
            <a:xfrm flipV="1">
              <a:off x="6871798" y="4398689"/>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5" name="Line 286">
              <a:extLst>
                <a:ext uri="{FF2B5EF4-FFF2-40B4-BE49-F238E27FC236}">
                  <a16:creationId xmlns:a16="http://schemas.microsoft.com/office/drawing/2014/main" id="{70A8BF40-F333-47C8-985B-C3B02149ADB7}"/>
                </a:ext>
              </a:extLst>
            </p:cNvPr>
            <p:cNvSpPr>
              <a:spLocks noChangeShapeType="1"/>
            </p:cNvSpPr>
            <p:nvPr/>
          </p:nvSpPr>
          <p:spPr bwMode="auto">
            <a:xfrm flipV="1">
              <a:off x="6890600" y="4398689"/>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6" name="Line 287">
              <a:extLst>
                <a:ext uri="{FF2B5EF4-FFF2-40B4-BE49-F238E27FC236}">
                  <a16:creationId xmlns:a16="http://schemas.microsoft.com/office/drawing/2014/main" id="{B3D715F7-9062-4AC5-A38F-EC71345FD648}"/>
                </a:ext>
              </a:extLst>
            </p:cNvPr>
            <p:cNvSpPr>
              <a:spLocks noChangeShapeType="1"/>
            </p:cNvSpPr>
            <p:nvPr/>
          </p:nvSpPr>
          <p:spPr bwMode="auto">
            <a:xfrm flipV="1">
              <a:off x="6910392" y="4398689"/>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7" name="Line 288">
              <a:extLst>
                <a:ext uri="{FF2B5EF4-FFF2-40B4-BE49-F238E27FC236}">
                  <a16:creationId xmlns:a16="http://schemas.microsoft.com/office/drawing/2014/main" id="{74304173-F94C-47AE-AE2F-0ECEF2CD8DCB}"/>
                </a:ext>
              </a:extLst>
            </p:cNvPr>
            <p:cNvSpPr>
              <a:spLocks noChangeShapeType="1"/>
            </p:cNvSpPr>
            <p:nvPr/>
          </p:nvSpPr>
          <p:spPr bwMode="auto">
            <a:xfrm flipV="1">
              <a:off x="6928205" y="4398689"/>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8" name="Line 289">
              <a:extLst>
                <a:ext uri="{FF2B5EF4-FFF2-40B4-BE49-F238E27FC236}">
                  <a16:creationId xmlns:a16="http://schemas.microsoft.com/office/drawing/2014/main" id="{64F5CB1B-2FFD-420C-A972-22D2C3EE0AF1}"/>
                </a:ext>
              </a:extLst>
            </p:cNvPr>
            <p:cNvSpPr>
              <a:spLocks noChangeShapeType="1"/>
            </p:cNvSpPr>
            <p:nvPr/>
          </p:nvSpPr>
          <p:spPr bwMode="auto">
            <a:xfrm flipV="1">
              <a:off x="6947007" y="4398689"/>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9" name="Freeform 290">
              <a:extLst>
                <a:ext uri="{FF2B5EF4-FFF2-40B4-BE49-F238E27FC236}">
                  <a16:creationId xmlns:a16="http://schemas.microsoft.com/office/drawing/2014/main" id="{F799F4F1-1A50-43C8-8BF9-21F410F91661}"/>
                </a:ext>
              </a:extLst>
            </p:cNvPr>
            <p:cNvSpPr>
              <a:spLocks/>
            </p:cNvSpPr>
            <p:nvPr/>
          </p:nvSpPr>
          <p:spPr bwMode="auto">
            <a:xfrm>
              <a:off x="6852995" y="4092902"/>
              <a:ext cx="401778" cy="64324"/>
            </a:xfrm>
            <a:custGeom>
              <a:avLst/>
              <a:gdLst>
                <a:gd name="T0" fmla="*/ 387 w 387"/>
                <a:gd name="T1" fmla="*/ 11 h 62"/>
                <a:gd name="T2" fmla="*/ 387 w 387"/>
                <a:gd name="T3" fmla="*/ 52 h 62"/>
                <a:gd name="T4" fmla="*/ 376 w 387"/>
                <a:gd name="T5" fmla="*/ 62 h 62"/>
                <a:gd name="T6" fmla="*/ 11 w 387"/>
                <a:gd name="T7" fmla="*/ 62 h 62"/>
                <a:gd name="T8" fmla="*/ 0 w 387"/>
                <a:gd name="T9" fmla="*/ 52 h 62"/>
                <a:gd name="T10" fmla="*/ 0 w 387"/>
                <a:gd name="T11" fmla="*/ 11 h 62"/>
                <a:gd name="T12" fmla="*/ 11 w 387"/>
                <a:gd name="T13" fmla="*/ 0 h 62"/>
                <a:gd name="T14" fmla="*/ 376 w 387"/>
                <a:gd name="T15" fmla="*/ 0 h 62"/>
                <a:gd name="T16" fmla="*/ 387 w 387"/>
                <a:gd name="T17"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1"/>
                  </a:moveTo>
                  <a:cubicBezTo>
                    <a:pt x="387" y="52"/>
                    <a:pt x="387" y="52"/>
                    <a:pt x="387" y="52"/>
                  </a:cubicBezTo>
                  <a:cubicBezTo>
                    <a:pt x="387" y="57"/>
                    <a:pt x="382" y="62"/>
                    <a:pt x="376" y="62"/>
                  </a:cubicBezTo>
                  <a:cubicBezTo>
                    <a:pt x="11" y="62"/>
                    <a:pt x="11" y="62"/>
                    <a:pt x="11" y="62"/>
                  </a:cubicBezTo>
                  <a:cubicBezTo>
                    <a:pt x="5" y="62"/>
                    <a:pt x="0" y="57"/>
                    <a:pt x="0" y="52"/>
                  </a:cubicBezTo>
                  <a:cubicBezTo>
                    <a:pt x="0" y="11"/>
                    <a:pt x="0" y="11"/>
                    <a:pt x="0" y="11"/>
                  </a:cubicBezTo>
                  <a:cubicBezTo>
                    <a:pt x="0" y="5"/>
                    <a:pt x="5" y="0"/>
                    <a:pt x="11" y="0"/>
                  </a:cubicBezTo>
                  <a:cubicBezTo>
                    <a:pt x="376" y="0"/>
                    <a:pt x="376" y="0"/>
                    <a:pt x="376" y="0"/>
                  </a:cubicBezTo>
                  <a:cubicBezTo>
                    <a:pt x="382" y="0"/>
                    <a:pt x="387" y="5"/>
                    <a:pt x="387" y="1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0" name="Line 291">
              <a:extLst>
                <a:ext uri="{FF2B5EF4-FFF2-40B4-BE49-F238E27FC236}">
                  <a16:creationId xmlns:a16="http://schemas.microsoft.com/office/drawing/2014/main" id="{C0BD1C3F-9667-4067-9BF8-E4BECDB03CAD}"/>
                </a:ext>
              </a:extLst>
            </p:cNvPr>
            <p:cNvSpPr>
              <a:spLocks noChangeShapeType="1"/>
            </p:cNvSpPr>
            <p:nvPr/>
          </p:nvSpPr>
          <p:spPr bwMode="auto">
            <a:xfrm flipV="1">
              <a:off x="6871798" y="4109726"/>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1" name="Line 292">
              <a:extLst>
                <a:ext uri="{FF2B5EF4-FFF2-40B4-BE49-F238E27FC236}">
                  <a16:creationId xmlns:a16="http://schemas.microsoft.com/office/drawing/2014/main" id="{3E3886FF-91C9-484D-B60F-86E11CB9D580}"/>
                </a:ext>
              </a:extLst>
            </p:cNvPr>
            <p:cNvSpPr>
              <a:spLocks noChangeShapeType="1"/>
            </p:cNvSpPr>
            <p:nvPr/>
          </p:nvSpPr>
          <p:spPr bwMode="auto">
            <a:xfrm flipV="1">
              <a:off x="6890600" y="4109726"/>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2" name="Line 293">
              <a:extLst>
                <a:ext uri="{FF2B5EF4-FFF2-40B4-BE49-F238E27FC236}">
                  <a16:creationId xmlns:a16="http://schemas.microsoft.com/office/drawing/2014/main" id="{4DCACAAC-139C-49FE-AB28-C7458A2BF092}"/>
                </a:ext>
              </a:extLst>
            </p:cNvPr>
            <p:cNvSpPr>
              <a:spLocks noChangeShapeType="1"/>
            </p:cNvSpPr>
            <p:nvPr/>
          </p:nvSpPr>
          <p:spPr bwMode="auto">
            <a:xfrm flipV="1">
              <a:off x="6910392" y="4109726"/>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3" name="Line 294">
              <a:extLst>
                <a:ext uri="{FF2B5EF4-FFF2-40B4-BE49-F238E27FC236}">
                  <a16:creationId xmlns:a16="http://schemas.microsoft.com/office/drawing/2014/main" id="{8F4DB14D-C17A-4816-85B0-40331C2A854C}"/>
                </a:ext>
              </a:extLst>
            </p:cNvPr>
            <p:cNvSpPr>
              <a:spLocks noChangeShapeType="1"/>
            </p:cNvSpPr>
            <p:nvPr/>
          </p:nvSpPr>
          <p:spPr bwMode="auto">
            <a:xfrm flipV="1">
              <a:off x="6928205" y="4109726"/>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4" name="Line 295">
              <a:extLst>
                <a:ext uri="{FF2B5EF4-FFF2-40B4-BE49-F238E27FC236}">
                  <a16:creationId xmlns:a16="http://schemas.microsoft.com/office/drawing/2014/main" id="{6E7EF429-9AAA-4855-A557-371F603C6CF5}"/>
                </a:ext>
              </a:extLst>
            </p:cNvPr>
            <p:cNvSpPr>
              <a:spLocks noChangeShapeType="1"/>
            </p:cNvSpPr>
            <p:nvPr/>
          </p:nvSpPr>
          <p:spPr bwMode="auto">
            <a:xfrm flipV="1">
              <a:off x="6947007" y="4109726"/>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5" name="Freeform 296">
              <a:extLst>
                <a:ext uri="{FF2B5EF4-FFF2-40B4-BE49-F238E27FC236}">
                  <a16:creationId xmlns:a16="http://schemas.microsoft.com/office/drawing/2014/main" id="{8A278F39-EC4A-44DD-8EDA-0DBA9F0A1D58}"/>
                </a:ext>
              </a:extLst>
            </p:cNvPr>
            <p:cNvSpPr>
              <a:spLocks/>
            </p:cNvSpPr>
            <p:nvPr/>
          </p:nvSpPr>
          <p:spPr bwMode="auto">
            <a:xfrm>
              <a:off x="6852995" y="4237384"/>
              <a:ext cx="401778" cy="64324"/>
            </a:xfrm>
            <a:custGeom>
              <a:avLst/>
              <a:gdLst>
                <a:gd name="T0" fmla="*/ 387 w 387"/>
                <a:gd name="T1" fmla="*/ 11 h 62"/>
                <a:gd name="T2" fmla="*/ 387 w 387"/>
                <a:gd name="T3" fmla="*/ 52 h 62"/>
                <a:gd name="T4" fmla="*/ 376 w 387"/>
                <a:gd name="T5" fmla="*/ 62 h 62"/>
                <a:gd name="T6" fmla="*/ 11 w 387"/>
                <a:gd name="T7" fmla="*/ 62 h 62"/>
                <a:gd name="T8" fmla="*/ 0 w 387"/>
                <a:gd name="T9" fmla="*/ 52 h 62"/>
                <a:gd name="T10" fmla="*/ 0 w 387"/>
                <a:gd name="T11" fmla="*/ 11 h 62"/>
                <a:gd name="T12" fmla="*/ 11 w 387"/>
                <a:gd name="T13" fmla="*/ 0 h 62"/>
                <a:gd name="T14" fmla="*/ 376 w 387"/>
                <a:gd name="T15" fmla="*/ 0 h 62"/>
                <a:gd name="T16" fmla="*/ 387 w 387"/>
                <a:gd name="T17"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1"/>
                  </a:moveTo>
                  <a:cubicBezTo>
                    <a:pt x="387" y="52"/>
                    <a:pt x="387" y="52"/>
                    <a:pt x="387" y="52"/>
                  </a:cubicBezTo>
                  <a:cubicBezTo>
                    <a:pt x="387" y="58"/>
                    <a:pt x="382" y="62"/>
                    <a:pt x="376" y="62"/>
                  </a:cubicBezTo>
                  <a:cubicBezTo>
                    <a:pt x="11" y="62"/>
                    <a:pt x="11" y="62"/>
                    <a:pt x="11" y="62"/>
                  </a:cubicBezTo>
                  <a:cubicBezTo>
                    <a:pt x="5" y="62"/>
                    <a:pt x="0" y="58"/>
                    <a:pt x="0" y="52"/>
                  </a:cubicBezTo>
                  <a:cubicBezTo>
                    <a:pt x="0" y="11"/>
                    <a:pt x="0" y="11"/>
                    <a:pt x="0" y="11"/>
                  </a:cubicBezTo>
                  <a:cubicBezTo>
                    <a:pt x="0" y="5"/>
                    <a:pt x="5" y="0"/>
                    <a:pt x="11" y="0"/>
                  </a:cubicBezTo>
                  <a:cubicBezTo>
                    <a:pt x="376" y="0"/>
                    <a:pt x="376" y="0"/>
                    <a:pt x="376" y="0"/>
                  </a:cubicBezTo>
                  <a:cubicBezTo>
                    <a:pt x="382" y="0"/>
                    <a:pt x="387" y="5"/>
                    <a:pt x="387" y="11"/>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6" name="Line 297">
              <a:extLst>
                <a:ext uri="{FF2B5EF4-FFF2-40B4-BE49-F238E27FC236}">
                  <a16:creationId xmlns:a16="http://schemas.microsoft.com/office/drawing/2014/main" id="{220A46EA-428D-4049-A065-B18FFF747F21}"/>
                </a:ext>
              </a:extLst>
            </p:cNvPr>
            <p:cNvSpPr>
              <a:spLocks noChangeShapeType="1"/>
            </p:cNvSpPr>
            <p:nvPr/>
          </p:nvSpPr>
          <p:spPr bwMode="auto">
            <a:xfrm flipV="1">
              <a:off x="6871798" y="4254207"/>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7" name="Line 298">
              <a:extLst>
                <a:ext uri="{FF2B5EF4-FFF2-40B4-BE49-F238E27FC236}">
                  <a16:creationId xmlns:a16="http://schemas.microsoft.com/office/drawing/2014/main" id="{66D029C1-1B35-4285-A171-53422359E520}"/>
                </a:ext>
              </a:extLst>
            </p:cNvPr>
            <p:cNvSpPr>
              <a:spLocks noChangeShapeType="1"/>
            </p:cNvSpPr>
            <p:nvPr/>
          </p:nvSpPr>
          <p:spPr bwMode="auto">
            <a:xfrm flipV="1">
              <a:off x="6890600" y="4254207"/>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8" name="Line 299">
              <a:extLst>
                <a:ext uri="{FF2B5EF4-FFF2-40B4-BE49-F238E27FC236}">
                  <a16:creationId xmlns:a16="http://schemas.microsoft.com/office/drawing/2014/main" id="{6313FCD7-4FB4-40E7-9FF8-0046225223C2}"/>
                </a:ext>
              </a:extLst>
            </p:cNvPr>
            <p:cNvSpPr>
              <a:spLocks noChangeShapeType="1"/>
            </p:cNvSpPr>
            <p:nvPr/>
          </p:nvSpPr>
          <p:spPr bwMode="auto">
            <a:xfrm flipV="1">
              <a:off x="6910392" y="4254207"/>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9" name="Line 300">
              <a:extLst>
                <a:ext uri="{FF2B5EF4-FFF2-40B4-BE49-F238E27FC236}">
                  <a16:creationId xmlns:a16="http://schemas.microsoft.com/office/drawing/2014/main" id="{64A27501-D350-4DD6-93B8-D9786C0B7504}"/>
                </a:ext>
              </a:extLst>
            </p:cNvPr>
            <p:cNvSpPr>
              <a:spLocks noChangeShapeType="1"/>
            </p:cNvSpPr>
            <p:nvPr/>
          </p:nvSpPr>
          <p:spPr bwMode="auto">
            <a:xfrm flipV="1">
              <a:off x="6928205" y="4254207"/>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0" name="Line 301">
              <a:extLst>
                <a:ext uri="{FF2B5EF4-FFF2-40B4-BE49-F238E27FC236}">
                  <a16:creationId xmlns:a16="http://schemas.microsoft.com/office/drawing/2014/main" id="{3ED80CA9-C532-4077-B0B6-447D3562CCF7}"/>
                </a:ext>
              </a:extLst>
            </p:cNvPr>
            <p:cNvSpPr>
              <a:spLocks noChangeShapeType="1"/>
            </p:cNvSpPr>
            <p:nvPr/>
          </p:nvSpPr>
          <p:spPr bwMode="auto">
            <a:xfrm flipV="1">
              <a:off x="6947007" y="4254207"/>
              <a:ext cx="0" cy="3166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1" name="Freeform 302">
              <a:extLst>
                <a:ext uri="{FF2B5EF4-FFF2-40B4-BE49-F238E27FC236}">
                  <a16:creationId xmlns:a16="http://schemas.microsoft.com/office/drawing/2014/main" id="{6789B0FD-A135-4AED-B8E1-A90222D9D62D}"/>
                </a:ext>
              </a:extLst>
            </p:cNvPr>
            <p:cNvSpPr>
              <a:spLocks/>
            </p:cNvSpPr>
            <p:nvPr/>
          </p:nvSpPr>
          <p:spPr bwMode="auto">
            <a:xfrm>
              <a:off x="6852995" y="4166133"/>
              <a:ext cx="401778" cy="64324"/>
            </a:xfrm>
            <a:custGeom>
              <a:avLst/>
              <a:gdLst>
                <a:gd name="T0" fmla="*/ 387 w 387"/>
                <a:gd name="T1" fmla="*/ 10 h 62"/>
                <a:gd name="T2" fmla="*/ 387 w 387"/>
                <a:gd name="T3" fmla="*/ 51 h 62"/>
                <a:gd name="T4" fmla="*/ 376 w 387"/>
                <a:gd name="T5" fmla="*/ 62 h 62"/>
                <a:gd name="T6" fmla="*/ 11 w 387"/>
                <a:gd name="T7" fmla="*/ 62 h 62"/>
                <a:gd name="T8" fmla="*/ 0 w 387"/>
                <a:gd name="T9" fmla="*/ 51 h 62"/>
                <a:gd name="T10" fmla="*/ 0 w 387"/>
                <a:gd name="T11" fmla="*/ 10 h 62"/>
                <a:gd name="T12" fmla="*/ 11 w 387"/>
                <a:gd name="T13" fmla="*/ 0 h 62"/>
                <a:gd name="T14" fmla="*/ 376 w 387"/>
                <a:gd name="T15" fmla="*/ 0 h 62"/>
                <a:gd name="T16" fmla="*/ 387 w 387"/>
                <a:gd name="T1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0"/>
                  </a:moveTo>
                  <a:cubicBezTo>
                    <a:pt x="387" y="51"/>
                    <a:pt x="387" y="51"/>
                    <a:pt x="387" y="51"/>
                  </a:cubicBezTo>
                  <a:cubicBezTo>
                    <a:pt x="387" y="57"/>
                    <a:pt x="382" y="62"/>
                    <a:pt x="376" y="62"/>
                  </a:cubicBezTo>
                  <a:cubicBezTo>
                    <a:pt x="11" y="62"/>
                    <a:pt x="11" y="62"/>
                    <a:pt x="11" y="62"/>
                  </a:cubicBezTo>
                  <a:cubicBezTo>
                    <a:pt x="5" y="62"/>
                    <a:pt x="0" y="57"/>
                    <a:pt x="0" y="51"/>
                  </a:cubicBezTo>
                  <a:cubicBezTo>
                    <a:pt x="0" y="10"/>
                    <a:pt x="0" y="10"/>
                    <a:pt x="0" y="10"/>
                  </a:cubicBezTo>
                  <a:cubicBezTo>
                    <a:pt x="0" y="4"/>
                    <a:pt x="5" y="0"/>
                    <a:pt x="11" y="0"/>
                  </a:cubicBezTo>
                  <a:cubicBezTo>
                    <a:pt x="376" y="0"/>
                    <a:pt x="376" y="0"/>
                    <a:pt x="376" y="0"/>
                  </a:cubicBezTo>
                  <a:cubicBezTo>
                    <a:pt x="382" y="0"/>
                    <a:pt x="387" y="4"/>
                    <a:pt x="387" y="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2" name="Line 303">
              <a:extLst>
                <a:ext uri="{FF2B5EF4-FFF2-40B4-BE49-F238E27FC236}">
                  <a16:creationId xmlns:a16="http://schemas.microsoft.com/office/drawing/2014/main" id="{2AF7C7CF-EF41-45F6-9B28-857D08EF2841}"/>
                </a:ext>
              </a:extLst>
            </p:cNvPr>
            <p:cNvSpPr>
              <a:spLocks noChangeShapeType="1"/>
            </p:cNvSpPr>
            <p:nvPr/>
          </p:nvSpPr>
          <p:spPr bwMode="auto">
            <a:xfrm flipV="1">
              <a:off x="6871798" y="4180977"/>
              <a:ext cx="0" cy="3265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3" name="Line 304">
              <a:extLst>
                <a:ext uri="{FF2B5EF4-FFF2-40B4-BE49-F238E27FC236}">
                  <a16:creationId xmlns:a16="http://schemas.microsoft.com/office/drawing/2014/main" id="{8CF7FAE3-88A3-480C-8F0C-9755BA444571}"/>
                </a:ext>
              </a:extLst>
            </p:cNvPr>
            <p:cNvSpPr>
              <a:spLocks noChangeShapeType="1"/>
            </p:cNvSpPr>
            <p:nvPr/>
          </p:nvSpPr>
          <p:spPr bwMode="auto">
            <a:xfrm flipV="1">
              <a:off x="6890600" y="4180977"/>
              <a:ext cx="0" cy="3265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4" name="Line 305">
              <a:extLst>
                <a:ext uri="{FF2B5EF4-FFF2-40B4-BE49-F238E27FC236}">
                  <a16:creationId xmlns:a16="http://schemas.microsoft.com/office/drawing/2014/main" id="{2C623227-3F88-444D-A869-2173D6F41111}"/>
                </a:ext>
              </a:extLst>
            </p:cNvPr>
            <p:cNvSpPr>
              <a:spLocks noChangeShapeType="1"/>
            </p:cNvSpPr>
            <p:nvPr/>
          </p:nvSpPr>
          <p:spPr bwMode="auto">
            <a:xfrm flipV="1">
              <a:off x="6910392" y="4180977"/>
              <a:ext cx="0" cy="3265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5" name="Line 306">
              <a:extLst>
                <a:ext uri="{FF2B5EF4-FFF2-40B4-BE49-F238E27FC236}">
                  <a16:creationId xmlns:a16="http://schemas.microsoft.com/office/drawing/2014/main" id="{62FA1555-D44D-48D2-96FE-31F6B361C86B}"/>
                </a:ext>
              </a:extLst>
            </p:cNvPr>
            <p:cNvSpPr>
              <a:spLocks noChangeShapeType="1"/>
            </p:cNvSpPr>
            <p:nvPr/>
          </p:nvSpPr>
          <p:spPr bwMode="auto">
            <a:xfrm flipV="1">
              <a:off x="6928205" y="4180977"/>
              <a:ext cx="0" cy="3265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6" name="Line 307">
              <a:extLst>
                <a:ext uri="{FF2B5EF4-FFF2-40B4-BE49-F238E27FC236}">
                  <a16:creationId xmlns:a16="http://schemas.microsoft.com/office/drawing/2014/main" id="{64C982B9-905E-43E6-A331-592419DB1EF8}"/>
                </a:ext>
              </a:extLst>
            </p:cNvPr>
            <p:cNvSpPr>
              <a:spLocks noChangeShapeType="1"/>
            </p:cNvSpPr>
            <p:nvPr/>
          </p:nvSpPr>
          <p:spPr bwMode="auto">
            <a:xfrm flipV="1">
              <a:off x="6947007" y="4180977"/>
              <a:ext cx="0" cy="32657"/>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59" name="Group 158">
            <a:extLst>
              <a:ext uri="{FF2B5EF4-FFF2-40B4-BE49-F238E27FC236}">
                <a16:creationId xmlns:a16="http://schemas.microsoft.com/office/drawing/2014/main" id="{E6499421-E124-4F41-B943-324FA92AD513}"/>
              </a:ext>
            </a:extLst>
          </p:cNvPr>
          <p:cNvGrpSpPr/>
          <p:nvPr/>
        </p:nvGrpSpPr>
        <p:grpSpPr>
          <a:xfrm rot="5400000">
            <a:off x="4948445" y="4102120"/>
            <a:ext cx="318917" cy="319888"/>
            <a:chOff x="6635636" y="3527030"/>
            <a:chExt cx="321994" cy="255098"/>
          </a:xfrm>
        </p:grpSpPr>
        <p:sp>
          <p:nvSpPr>
            <p:cNvPr id="160" name="Oval 159">
              <a:extLst>
                <a:ext uri="{FF2B5EF4-FFF2-40B4-BE49-F238E27FC236}">
                  <a16:creationId xmlns:a16="http://schemas.microsoft.com/office/drawing/2014/main" id="{822DF422-79DF-4B8D-86D4-DB101C4EAD35}"/>
                </a:ext>
              </a:extLst>
            </p:cNvPr>
            <p:cNvSpPr/>
            <p:nvPr/>
          </p:nvSpPr>
          <p:spPr>
            <a:xfrm>
              <a:off x="6635636" y="3527030"/>
              <a:ext cx="321994" cy="25509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32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1" name="Right Arrow 226">
              <a:extLst>
                <a:ext uri="{FF2B5EF4-FFF2-40B4-BE49-F238E27FC236}">
                  <a16:creationId xmlns:a16="http://schemas.microsoft.com/office/drawing/2014/main" id="{47C8508B-4F2E-4AA4-A3C0-691B5B5B9FAB}"/>
                </a:ext>
              </a:extLst>
            </p:cNvPr>
            <p:cNvSpPr/>
            <p:nvPr/>
          </p:nvSpPr>
          <p:spPr>
            <a:xfrm flipH="1">
              <a:off x="6657070" y="3631760"/>
              <a:ext cx="108820" cy="45289"/>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32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2" name="Right Arrow 227">
              <a:extLst>
                <a:ext uri="{FF2B5EF4-FFF2-40B4-BE49-F238E27FC236}">
                  <a16:creationId xmlns:a16="http://schemas.microsoft.com/office/drawing/2014/main" id="{49FD69D6-A692-4B3C-A4BC-F2671092CCC0}"/>
                </a:ext>
              </a:extLst>
            </p:cNvPr>
            <p:cNvSpPr/>
            <p:nvPr/>
          </p:nvSpPr>
          <p:spPr>
            <a:xfrm>
              <a:off x="6824998" y="3631750"/>
              <a:ext cx="108820" cy="45289"/>
            </a:xfrm>
            <a:prstGeom prst="rightArrow">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32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3" name="Right Arrow 228">
              <a:extLst>
                <a:ext uri="{FF2B5EF4-FFF2-40B4-BE49-F238E27FC236}">
                  <a16:creationId xmlns:a16="http://schemas.microsoft.com/office/drawing/2014/main" id="{6B62E8CB-CF0C-45AA-BD08-E0A139A1A21D}"/>
                </a:ext>
              </a:extLst>
            </p:cNvPr>
            <p:cNvSpPr/>
            <p:nvPr/>
          </p:nvSpPr>
          <p:spPr>
            <a:xfrm rot="16200000">
              <a:off x="6753527" y="3693752"/>
              <a:ext cx="86212" cy="57165"/>
            </a:xfrm>
            <a:prstGeom prst="rightArrow">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32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4" name="Right Arrow 229">
              <a:extLst>
                <a:ext uri="{FF2B5EF4-FFF2-40B4-BE49-F238E27FC236}">
                  <a16:creationId xmlns:a16="http://schemas.microsoft.com/office/drawing/2014/main" id="{0263A3B5-1C1F-45F7-98D4-FF3F1B747830}"/>
                </a:ext>
              </a:extLst>
            </p:cNvPr>
            <p:cNvSpPr/>
            <p:nvPr/>
          </p:nvSpPr>
          <p:spPr>
            <a:xfrm rot="5400000" flipV="1">
              <a:off x="6753527" y="3560710"/>
              <a:ext cx="86212" cy="57165"/>
            </a:xfrm>
            <a:prstGeom prst="rightArrow">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32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65" name="Group 164">
            <a:extLst>
              <a:ext uri="{FF2B5EF4-FFF2-40B4-BE49-F238E27FC236}">
                <a16:creationId xmlns:a16="http://schemas.microsoft.com/office/drawing/2014/main" id="{5A1B6BD4-13B0-4F06-ACE3-C513E411F5F7}"/>
              </a:ext>
            </a:extLst>
          </p:cNvPr>
          <p:cNvGrpSpPr/>
          <p:nvPr/>
        </p:nvGrpSpPr>
        <p:grpSpPr>
          <a:xfrm>
            <a:off x="5569754" y="4102120"/>
            <a:ext cx="318918" cy="319889"/>
            <a:chOff x="5181600" y="3607639"/>
            <a:chExt cx="429325" cy="430633"/>
          </a:xfrm>
        </p:grpSpPr>
        <p:sp>
          <p:nvSpPr>
            <p:cNvPr id="166" name="Oval 165">
              <a:extLst>
                <a:ext uri="{FF2B5EF4-FFF2-40B4-BE49-F238E27FC236}">
                  <a16:creationId xmlns:a16="http://schemas.microsoft.com/office/drawing/2014/main" id="{9729A793-AFFA-4A4C-9007-9B610E2A9703}"/>
                </a:ext>
              </a:extLst>
            </p:cNvPr>
            <p:cNvSpPr/>
            <p:nvPr/>
          </p:nvSpPr>
          <p:spPr>
            <a:xfrm>
              <a:off x="5181600" y="3607639"/>
              <a:ext cx="429325" cy="430633"/>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32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67" name="Group 166">
              <a:extLst>
                <a:ext uri="{FF2B5EF4-FFF2-40B4-BE49-F238E27FC236}">
                  <a16:creationId xmlns:a16="http://schemas.microsoft.com/office/drawing/2014/main" id="{D6DE50B9-77B7-4501-9401-99B1E3883133}"/>
                </a:ext>
              </a:extLst>
            </p:cNvPr>
            <p:cNvGrpSpPr/>
            <p:nvPr/>
          </p:nvGrpSpPr>
          <p:grpSpPr>
            <a:xfrm>
              <a:off x="5239189" y="3714697"/>
              <a:ext cx="314148" cy="216517"/>
              <a:chOff x="5265027" y="3742036"/>
              <a:chExt cx="314148" cy="216517"/>
            </a:xfrm>
          </p:grpSpPr>
          <p:sp>
            <p:nvSpPr>
              <p:cNvPr id="168" name="Right Arrow 226">
                <a:extLst>
                  <a:ext uri="{FF2B5EF4-FFF2-40B4-BE49-F238E27FC236}">
                    <a16:creationId xmlns:a16="http://schemas.microsoft.com/office/drawing/2014/main" id="{708B28C7-D1A8-49F2-84CA-64D5D9378052}"/>
                  </a:ext>
                </a:extLst>
              </p:cNvPr>
              <p:cNvSpPr/>
              <p:nvPr/>
            </p:nvSpPr>
            <p:spPr>
              <a:xfrm flipH="1">
                <a:off x="5265027" y="3742036"/>
                <a:ext cx="145093" cy="76453"/>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32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9" name="Right Arrow 227">
                <a:extLst>
                  <a:ext uri="{FF2B5EF4-FFF2-40B4-BE49-F238E27FC236}">
                    <a16:creationId xmlns:a16="http://schemas.microsoft.com/office/drawing/2014/main" id="{33D90891-C469-447D-95FB-C830D69673A5}"/>
                  </a:ext>
                </a:extLst>
              </p:cNvPr>
              <p:cNvSpPr/>
              <p:nvPr/>
            </p:nvSpPr>
            <p:spPr>
              <a:xfrm>
                <a:off x="5434082" y="3788724"/>
                <a:ext cx="145093" cy="76453"/>
              </a:xfrm>
              <a:prstGeom prst="rightArrow">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32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0" name="Right Arrow 226">
                <a:extLst>
                  <a:ext uri="{FF2B5EF4-FFF2-40B4-BE49-F238E27FC236}">
                    <a16:creationId xmlns:a16="http://schemas.microsoft.com/office/drawing/2014/main" id="{1BA45FAA-A0B6-46BA-9B91-D3C22F0E592A}"/>
                  </a:ext>
                </a:extLst>
              </p:cNvPr>
              <p:cNvSpPr/>
              <p:nvPr/>
            </p:nvSpPr>
            <p:spPr>
              <a:xfrm flipH="1">
                <a:off x="5265027" y="3835412"/>
                <a:ext cx="145093" cy="76453"/>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32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1" name="Right Arrow 227">
                <a:extLst>
                  <a:ext uri="{FF2B5EF4-FFF2-40B4-BE49-F238E27FC236}">
                    <a16:creationId xmlns:a16="http://schemas.microsoft.com/office/drawing/2014/main" id="{7BC6BBEE-A0CA-41CE-A446-BEE7E9CD29E1}"/>
                  </a:ext>
                </a:extLst>
              </p:cNvPr>
              <p:cNvSpPr/>
              <p:nvPr/>
            </p:nvSpPr>
            <p:spPr>
              <a:xfrm>
                <a:off x="5434082" y="3882100"/>
                <a:ext cx="145093" cy="76453"/>
              </a:xfrm>
              <a:prstGeom prst="rightArrow">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32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grpSp>
        <p:nvGrpSpPr>
          <p:cNvPr id="172" name="Group 171">
            <a:extLst>
              <a:ext uri="{FF2B5EF4-FFF2-40B4-BE49-F238E27FC236}">
                <a16:creationId xmlns:a16="http://schemas.microsoft.com/office/drawing/2014/main" id="{DB957F14-8BA0-4B82-A39B-8C8A0D35C9DC}"/>
              </a:ext>
            </a:extLst>
          </p:cNvPr>
          <p:cNvGrpSpPr/>
          <p:nvPr/>
        </p:nvGrpSpPr>
        <p:grpSpPr>
          <a:xfrm>
            <a:off x="6190578" y="4116918"/>
            <a:ext cx="467469" cy="290292"/>
            <a:chOff x="5955003" y="3575363"/>
            <a:chExt cx="784403" cy="577300"/>
          </a:xfrm>
        </p:grpSpPr>
        <p:sp>
          <p:nvSpPr>
            <p:cNvPr id="173" name="Rectangle 49">
              <a:extLst>
                <a:ext uri="{FF2B5EF4-FFF2-40B4-BE49-F238E27FC236}">
                  <a16:creationId xmlns:a16="http://schemas.microsoft.com/office/drawing/2014/main" id="{FF16AF58-2078-4C71-A5E9-7B306982D984}"/>
                </a:ext>
              </a:extLst>
            </p:cNvPr>
            <p:cNvSpPr>
              <a:spLocks noChangeArrowheads="1"/>
            </p:cNvSpPr>
            <p:nvPr/>
          </p:nvSpPr>
          <p:spPr bwMode="auto">
            <a:xfrm>
              <a:off x="5955003" y="3971448"/>
              <a:ext cx="522935" cy="181215"/>
            </a:xfrm>
            <a:prstGeom prst="roundRect">
              <a:avLst/>
            </a:prstGeom>
            <a:solidFill>
              <a:schemeClr val="tx2"/>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4" name="Rectangle 50">
              <a:extLst>
                <a:ext uri="{FF2B5EF4-FFF2-40B4-BE49-F238E27FC236}">
                  <a16:creationId xmlns:a16="http://schemas.microsoft.com/office/drawing/2014/main" id="{E3A010E7-5547-44D5-A76F-97C1F3394A8E}"/>
                </a:ext>
              </a:extLst>
            </p:cNvPr>
            <p:cNvSpPr>
              <a:spLocks noChangeArrowheads="1"/>
            </p:cNvSpPr>
            <p:nvPr/>
          </p:nvSpPr>
          <p:spPr bwMode="auto">
            <a:xfrm>
              <a:off x="6216471" y="3772110"/>
              <a:ext cx="522935" cy="181215"/>
            </a:xfrm>
            <a:prstGeom prst="roundRect">
              <a:avLst/>
            </a:prstGeom>
            <a:solidFill>
              <a:schemeClr val="tx2"/>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5" name="Rectangle 51">
              <a:extLst>
                <a:ext uri="{FF2B5EF4-FFF2-40B4-BE49-F238E27FC236}">
                  <a16:creationId xmlns:a16="http://schemas.microsoft.com/office/drawing/2014/main" id="{1DBC21CB-7F28-4859-A684-A3904030D7A1}"/>
                </a:ext>
              </a:extLst>
            </p:cNvPr>
            <p:cNvSpPr>
              <a:spLocks noChangeArrowheads="1"/>
            </p:cNvSpPr>
            <p:nvPr/>
          </p:nvSpPr>
          <p:spPr bwMode="auto">
            <a:xfrm>
              <a:off x="6501238" y="3971448"/>
              <a:ext cx="238168" cy="181215"/>
            </a:xfrm>
            <a:prstGeom prst="round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6" name="Rectangle 52">
              <a:extLst>
                <a:ext uri="{FF2B5EF4-FFF2-40B4-BE49-F238E27FC236}">
                  <a16:creationId xmlns:a16="http://schemas.microsoft.com/office/drawing/2014/main" id="{BA792415-E06F-46C3-B983-AE0452DB7FBD}"/>
                </a:ext>
              </a:extLst>
            </p:cNvPr>
            <p:cNvSpPr>
              <a:spLocks noChangeArrowheads="1"/>
            </p:cNvSpPr>
            <p:nvPr/>
          </p:nvSpPr>
          <p:spPr bwMode="auto">
            <a:xfrm>
              <a:off x="6501238" y="3575363"/>
              <a:ext cx="238168" cy="178628"/>
            </a:xfrm>
            <a:prstGeom prst="roundRect">
              <a:avLst/>
            </a:pr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7" name="Rectangle 53">
              <a:extLst>
                <a:ext uri="{FF2B5EF4-FFF2-40B4-BE49-F238E27FC236}">
                  <a16:creationId xmlns:a16="http://schemas.microsoft.com/office/drawing/2014/main" id="{EBBAF613-F40A-4EFE-AB9D-1D220A8155BE}"/>
                </a:ext>
              </a:extLst>
            </p:cNvPr>
            <p:cNvSpPr>
              <a:spLocks noChangeArrowheads="1"/>
            </p:cNvSpPr>
            <p:nvPr/>
          </p:nvSpPr>
          <p:spPr bwMode="auto">
            <a:xfrm>
              <a:off x="5955003" y="3772110"/>
              <a:ext cx="235581" cy="181215"/>
            </a:xfrm>
            <a:prstGeom prst="round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78" name="Rectangle 54">
              <a:extLst>
                <a:ext uri="{FF2B5EF4-FFF2-40B4-BE49-F238E27FC236}">
                  <a16:creationId xmlns:a16="http://schemas.microsoft.com/office/drawing/2014/main" id="{857B8AD3-D2A6-41B5-9CEF-510E8AB1D194}"/>
                </a:ext>
              </a:extLst>
            </p:cNvPr>
            <p:cNvSpPr>
              <a:spLocks noChangeArrowheads="1"/>
            </p:cNvSpPr>
            <p:nvPr/>
          </p:nvSpPr>
          <p:spPr bwMode="auto">
            <a:xfrm>
              <a:off x="5955003" y="3575363"/>
              <a:ext cx="522935" cy="178628"/>
            </a:xfrm>
            <a:prstGeom prst="roundRect">
              <a:avLst/>
            </a:prstGeom>
            <a:solidFill>
              <a:schemeClr val="tx2"/>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
        <p:nvSpPr>
          <p:cNvPr id="155" name="Rectangle 5">
            <a:extLst>
              <a:ext uri="{FF2B5EF4-FFF2-40B4-BE49-F238E27FC236}">
                <a16:creationId xmlns:a16="http://schemas.microsoft.com/office/drawing/2014/main" id="{D0D4BB60-F0BB-46B9-83C9-E27A361A693D}"/>
              </a:ext>
            </a:extLst>
          </p:cNvPr>
          <p:cNvSpPr>
            <a:spLocks noChangeArrowheads="1"/>
          </p:cNvSpPr>
          <p:nvPr/>
        </p:nvSpPr>
        <p:spPr bwMode="auto">
          <a:xfrm>
            <a:off x="526181" y="1281036"/>
            <a:ext cx="8126109" cy="473602"/>
          </a:xfrm>
          <a:prstGeom prst="rect">
            <a:avLst/>
          </a:prstGeom>
          <a:solidFill>
            <a:schemeClr val="accent1"/>
          </a:solidFill>
          <a:ln w="6350" algn="ctr">
            <a:solidFill>
              <a:schemeClr val="accent1"/>
            </a:solidFill>
            <a:miter lim="800000"/>
            <a:headEnd/>
            <a:tailEnd/>
          </a:ln>
          <a:effectLst/>
        </p:spPr>
        <p:txBody>
          <a:bodyPr lIns="205767" tIns="274357" rIns="68589" bIns="34295" anchor="ctr">
            <a:noAutofit/>
          </a:bodyPr>
          <a:lstStyle/>
          <a:p>
            <a:pPr marL="0" marR="0" lvl="0" indent="0" algn="ctr" defTabSz="457200" rtl="0" eaLnBrk="1" fontAlgn="base" latinLnBrk="0" hangingPunct="1">
              <a:lnSpc>
                <a:spcPct val="100000"/>
              </a:lnSpc>
              <a:spcBef>
                <a:spcPct val="50000"/>
              </a:spcBef>
              <a:spcAft>
                <a:spcPct val="0"/>
              </a:spcAft>
              <a:buClrTx/>
              <a:buSzPct val="80000"/>
              <a:buFontTx/>
              <a:buNone/>
              <a:tabLst/>
              <a:defRPr/>
            </a:pPr>
            <a:endParaRPr kumimoji="0" lang="en-US" sz="1400" b="0" i="0" u="none" strike="noStrike" kern="1200" cap="none" spc="0" normalizeH="0" baseline="0" noProof="0" dirty="0">
              <a:ln>
                <a:noFill/>
              </a:ln>
              <a:solidFill>
                <a:srgbClr val="FFFFFF"/>
              </a:solidFill>
              <a:effectLst/>
              <a:uLnTx/>
              <a:uFillTx/>
              <a:latin typeface="CiscoSansTT ExtraLight"/>
              <a:ea typeface="ＭＳ Ｐゴシック" charset="0"/>
              <a:cs typeface="Arial" charset="0"/>
            </a:endParaRPr>
          </a:p>
        </p:txBody>
      </p:sp>
      <p:sp>
        <p:nvSpPr>
          <p:cNvPr id="156" name="TextBox 155">
            <a:extLst>
              <a:ext uri="{FF2B5EF4-FFF2-40B4-BE49-F238E27FC236}">
                <a16:creationId xmlns:a16="http://schemas.microsoft.com/office/drawing/2014/main" id="{9DB63337-554C-4D88-8847-D70F24CDF808}"/>
              </a:ext>
            </a:extLst>
          </p:cNvPr>
          <p:cNvSpPr txBox="1"/>
          <p:nvPr/>
        </p:nvSpPr>
        <p:spPr>
          <a:xfrm>
            <a:off x="1214551" y="1326840"/>
            <a:ext cx="6749368" cy="369332"/>
          </a:xfrm>
          <a:prstGeom prst="rect">
            <a:avLst/>
          </a:prstGeom>
          <a:noFill/>
        </p:spPr>
        <p:txBody>
          <a:bodyPr wrap="square" rtlCol="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rPr>
              <a:t>Most comprehensive visibility for effective security outcomes</a:t>
            </a:r>
          </a:p>
        </p:txBody>
      </p:sp>
      <p:sp>
        <p:nvSpPr>
          <p:cNvPr id="157" name="Rectangle 156">
            <a:extLst>
              <a:ext uri="{FF2B5EF4-FFF2-40B4-BE49-F238E27FC236}">
                <a16:creationId xmlns:a16="http://schemas.microsoft.com/office/drawing/2014/main" id="{86619C2A-788E-4321-9EDE-419D9BEF216F}"/>
              </a:ext>
            </a:extLst>
          </p:cNvPr>
          <p:cNvSpPr/>
          <p:nvPr/>
        </p:nvSpPr>
        <p:spPr>
          <a:xfrm>
            <a:off x="526181" y="1741977"/>
            <a:ext cx="8126108" cy="2049286"/>
          </a:xfrm>
          <a:prstGeom prst="rect">
            <a:avLst/>
          </a:prstGeom>
          <a:noFill/>
          <a:ln w="6350" cap="flat" cmpd="sng" algn="ctr">
            <a:solidFill>
              <a:schemeClr val="accent1"/>
            </a:solidFill>
            <a:prstDash val="dash"/>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Tree>
    <p:extLst>
      <p:ext uri="{BB962C8B-B14F-4D97-AF65-F5344CB8AC3E}">
        <p14:creationId xmlns:p14="http://schemas.microsoft.com/office/powerpoint/2010/main" val="1759873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1" name="Group 180"/>
          <p:cNvGrpSpPr/>
          <p:nvPr/>
        </p:nvGrpSpPr>
        <p:grpSpPr>
          <a:xfrm>
            <a:off x="4065752" y="1782502"/>
            <a:ext cx="3413637" cy="2777685"/>
            <a:chOff x="4193346" y="1952626"/>
            <a:chExt cx="3413637" cy="2777685"/>
          </a:xfrm>
        </p:grpSpPr>
        <p:sp>
          <p:nvSpPr>
            <p:cNvPr id="1205" name="Freeform: Shape 1204">
              <a:extLst>
                <a:ext uri="{FF2B5EF4-FFF2-40B4-BE49-F238E27FC236}">
                  <a16:creationId xmlns:a16="http://schemas.microsoft.com/office/drawing/2014/main" id="{28F84F64-ED34-420A-B4F2-86377B9F95C5}"/>
                </a:ext>
              </a:extLst>
            </p:cNvPr>
            <p:cNvSpPr/>
            <p:nvPr/>
          </p:nvSpPr>
          <p:spPr>
            <a:xfrm flipH="1">
              <a:off x="4193346" y="3438961"/>
              <a:ext cx="3382704" cy="1291350"/>
            </a:xfrm>
            <a:custGeom>
              <a:avLst/>
              <a:gdLst>
                <a:gd name="connsiteX0" fmla="*/ 148298 w 3760754"/>
                <a:gd name="connsiteY0" fmla="*/ 1411262 h 1435671"/>
                <a:gd name="connsiteX1" fmla="*/ 154739 w 3760754"/>
                <a:gd name="connsiteY1" fmla="*/ 1417570 h 1435671"/>
                <a:gd name="connsiteX2" fmla="*/ 151369 w 3760754"/>
                <a:gd name="connsiteY2" fmla="*/ 1423117 h 1435671"/>
                <a:gd name="connsiteX3" fmla="*/ 151369 w 3760754"/>
                <a:gd name="connsiteY3" fmla="*/ 1428827 h 1435671"/>
                <a:gd name="connsiteX4" fmla="*/ 148298 w 3760754"/>
                <a:gd name="connsiteY4" fmla="*/ 1431835 h 1435671"/>
                <a:gd name="connsiteX5" fmla="*/ 145226 w 3760754"/>
                <a:gd name="connsiteY5" fmla="*/ 1428827 h 1435671"/>
                <a:gd name="connsiteX6" fmla="*/ 145226 w 3760754"/>
                <a:gd name="connsiteY6" fmla="*/ 1423117 h 1435671"/>
                <a:gd name="connsiteX7" fmla="*/ 141856 w 3760754"/>
                <a:gd name="connsiteY7" fmla="*/ 1417570 h 1435671"/>
                <a:gd name="connsiteX8" fmla="*/ 148298 w 3760754"/>
                <a:gd name="connsiteY8" fmla="*/ 1411262 h 1435671"/>
                <a:gd name="connsiteX9" fmla="*/ 597115 w 3760754"/>
                <a:gd name="connsiteY9" fmla="*/ 1411262 h 1435671"/>
                <a:gd name="connsiteX10" fmla="*/ 603555 w 3760754"/>
                <a:gd name="connsiteY10" fmla="*/ 1417570 h 1435671"/>
                <a:gd name="connsiteX11" fmla="*/ 600186 w 3760754"/>
                <a:gd name="connsiteY11" fmla="*/ 1423117 h 1435671"/>
                <a:gd name="connsiteX12" fmla="*/ 600186 w 3760754"/>
                <a:gd name="connsiteY12" fmla="*/ 1428827 h 1435671"/>
                <a:gd name="connsiteX13" fmla="*/ 597115 w 3760754"/>
                <a:gd name="connsiteY13" fmla="*/ 1431835 h 1435671"/>
                <a:gd name="connsiteX14" fmla="*/ 594042 w 3760754"/>
                <a:gd name="connsiteY14" fmla="*/ 1428827 h 1435671"/>
                <a:gd name="connsiteX15" fmla="*/ 594042 w 3760754"/>
                <a:gd name="connsiteY15" fmla="*/ 1423117 h 1435671"/>
                <a:gd name="connsiteX16" fmla="*/ 590673 w 3760754"/>
                <a:gd name="connsiteY16" fmla="*/ 1417570 h 1435671"/>
                <a:gd name="connsiteX17" fmla="*/ 597115 w 3760754"/>
                <a:gd name="connsiteY17" fmla="*/ 1411262 h 1435671"/>
                <a:gd name="connsiteX18" fmla="*/ 760291 w 3760754"/>
                <a:gd name="connsiteY18" fmla="*/ 1411262 h 1435671"/>
                <a:gd name="connsiteX19" fmla="*/ 766732 w 3760754"/>
                <a:gd name="connsiteY19" fmla="*/ 1417570 h 1435671"/>
                <a:gd name="connsiteX20" fmla="*/ 763363 w 3760754"/>
                <a:gd name="connsiteY20" fmla="*/ 1423117 h 1435671"/>
                <a:gd name="connsiteX21" fmla="*/ 763363 w 3760754"/>
                <a:gd name="connsiteY21" fmla="*/ 1428827 h 1435671"/>
                <a:gd name="connsiteX22" fmla="*/ 760291 w 3760754"/>
                <a:gd name="connsiteY22" fmla="*/ 1431835 h 1435671"/>
                <a:gd name="connsiteX23" fmla="*/ 757219 w 3760754"/>
                <a:gd name="connsiteY23" fmla="*/ 1428827 h 1435671"/>
                <a:gd name="connsiteX24" fmla="*/ 757219 w 3760754"/>
                <a:gd name="connsiteY24" fmla="*/ 1423117 h 1435671"/>
                <a:gd name="connsiteX25" fmla="*/ 753849 w 3760754"/>
                <a:gd name="connsiteY25" fmla="*/ 1417570 h 1435671"/>
                <a:gd name="connsiteX26" fmla="*/ 760291 w 3760754"/>
                <a:gd name="connsiteY26" fmla="*/ 1411262 h 1435671"/>
                <a:gd name="connsiteX27" fmla="*/ 821449 w 3760754"/>
                <a:gd name="connsiteY27" fmla="*/ 1411262 h 1435671"/>
                <a:gd name="connsiteX28" fmla="*/ 827889 w 3760754"/>
                <a:gd name="connsiteY28" fmla="*/ 1417570 h 1435671"/>
                <a:gd name="connsiteX29" fmla="*/ 824521 w 3760754"/>
                <a:gd name="connsiteY29" fmla="*/ 1423117 h 1435671"/>
                <a:gd name="connsiteX30" fmla="*/ 824521 w 3760754"/>
                <a:gd name="connsiteY30" fmla="*/ 1428827 h 1435671"/>
                <a:gd name="connsiteX31" fmla="*/ 821449 w 3760754"/>
                <a:gd name="connsiteY31" fmla="*/ 1431835 h 1435671"/>
                <a:gd name="connsiteX32" fmla="*/ 818376 w 3760754"/>
                <a:gd name="connsiteY32" fmla="*/ 1428827 h 1435671"/>
                <a:gd name="connsiteX33" fmla="*/ 818376 w 3760754"/>
                <a:gd name="connsiteY33" fmla="*/ 1423117 h 1435671"/>
                <a:gd name="connsiteX34" fmla="*/ 815007 w 3760754"/>
                <a:gd name="connsiteY34" fmla="*/ 1417570 h 1435671"/>
                <a:gd name="connsiteX35" fmla="*/ 821449 w 3760754"/>
                <a:gd name="connsiteY35" fmla="*/ 1411262 h 1435671"/>
                <a:gd name="connsiteX36" fmla="*/ 1168247 w 3760754"/>
                <a:gd name="connsiteY36" fmla="*/ 1411262 h 1435671"/>
                <a:gd name="connsiteX37" fmla="*/ 1174688 w 3760754"/>
                <a:gd name="connsiteY37" fmla="*/ 1417570 h 1435671"/>
                <a:gd name="connsiteX38" fmla="*/ 1171320 w 3760754"/>
                <a:gd name="connsiteY38" fmla="*/ 1423117 h 1435671"/>
                <a:gd name="connsiteX39" fmla="*/ 1171320 w 3760754"/>
                <a:gd name="connsiteY39" fmla="*/ 1428827 h 1435671"/>
                <a:gd name="connsiteX40" fmla="*/ 1168247 w 3760754"/>
                <a:gd name="connsiteY40" fmla="*/ 1431835 h 1435671"/>
                <a:gd name="connsiteX41" fmla="*/ 1165175 w 3760754"/>
                <a:gd name="connsiteY41" fmla="*/ 1428827 h 1435671"/>
                <a:gd name="connsiteX42" fmla="*/ 1165175 w 3760754"/>
                <a:gd name="connsiteY42" fmla="*/ 1423117 h 1435671"/>
                <a:gd name="connsiteX43" fmla="*/ 1161806 w 3760754"/>
                <a:gd name="connsiteY43" fmla="*/ 1417570 h 1435671"/>
                <a:gd name="connsiteX44" fmla="*/ 1168247 w 3760754"/>
                <a:gd name="connsiteY44" fmla="*/ 1411262 h 1435671"/>
                <a:gd name="connsiteX45" fmla="*/ 1341622 w 3760754"/>
                <a:gd name="connsiteY45" fmla="*/ 1411262 h 1435671"/>
                <a:gd name="connsiteX46" fmla="*/ 1348063 w 3760754"/>
                <a:gd name="connsiteY46" fmla="*/ 1417570 h 1435671"/>
                <a:gd name="connsiteX47" fmla="*/ 1344694 w 3760754"/>
                <a:gd name="connsiteY47" fmla="*/ 1423117 h 1435671"/>
                <a:gd name="connsiteX48" fmla="*/ 1344694 w 3760754"/>
                <a:gd name="connsiteY48" fmla="*/ 1428827 h 1435671"/>
                <a:gd name="connsiteX49" fmla="*/ 1341622 w 3760754"/>
                <a:gd name="connsiteY49" fmla="*/ 1431835 h 1435671"/>
                <a:gd name="connsiteX50" fmla="*/ 1338550 w 3760754"/>
                <a:gd name="connsiteY50" fmla="*/ 1428827 h 1435671"/>
                <a:gd name="connsiteX51" fmla="*/ 1338550 w 3760754"/>
                <a:gd name="connsiteY51" fmla="*/ 1423117 h 1435671"/>
                <a:gd name="connsiteX52" fmla="*/ 1335180 w 3760754"/>
                <a:gd name="connsiteY52" fmla="*/ 1417570 h 1435671"/>
                <a:gd name="connsiteX53" fmla="*/ 1341622 w 3760754"/>
                <a:gd name="connsiteY53" fmla="*/ 1411262 h 1435671"/>
                <a:gd name="connsiteX54" fmla="*/ 1402780 w 3760754"/>
                <a:gd name="connsiteY54" fmla="*/ 1411262 h 1435671"/>
                <a:gd name="connsiteX55" fmla="*/ 1409221 w 3760754"/>
                <a:gd name="connsiteY55" fmla="*/ 1417570 h 1435671"/>
                <a:gd name="connsiteX56" fmla="*/ 1405852 w 3760754"/>
                <a:gd name="connsiteY56" fmla="*/ 1423117 h 1435671"/>
                <a:gd name="connsiteX57" fmla="*/ 1405852 w 3760754"/>
                <a:gd name="connsiteY57" fmla="*/ 1428827 h 1435671"/>
                <a:gd name="connsiteX58" fmla="*/ 1402780 w 3760754"/>
                <a:gd name="connsiteY58" fmla="*/ 1431835 h 1435671"/>
                <a:gd name="connsiteX59" fmla="*/ 1399708 w 3760754"/>
                <a:gd name="connsiteY59" fmla="*/ 1428827 h 1435671"/>
                <a:gd name="connsiteX60" fmla="*/ 1399708 w 3760754"/>
                <a:gd name="connsiteY60" fmla="*/ 1423117 h 1435671"/>
                <a:gd name="connsiteX61" fmla="*/ 1396338 w 3760754"/>
                <a:gd name="connsiteY61" fmla="*/ 1417570 h 1435671"/>
                <a:gd name="connsiteX62" fmla="*/ 1402780 w 3760754"/>
                <a:gd name="connsiteY62" fmla="*/ 1411262 h 1435671"/>
                <a:gd name="connsiteX63" fmla="*/ 1463938 w 3760754"/>
                <a:gd name="connsiteY63" fmla="*/ 1411262 h 1435671"/>
                <a:gd name="connsiteX64" fmla="*/ 1470379 w 3760754"/>
                <a:gd name="connsiteY64" fmla="*/ 1417570 h 1435671"/>
                <a:gd name="connsiteX65" fmla="*/ 1467010 w 3760754"/>
                <a:gd name="connsiteY65" fmla="*/ 1423117 h 1435671"/>
                <a:gd name="connsiteX66" fmla="*/ 1467010 w 3760754"/>
                <a:gd name="connsiteY66" fmla="*/ 1428827 h 1435671"/>
                <a:gd name="connsiteX67" fmla="*/ 1463938 w 3760754"/>
                <a:gd name="connsiteY67" fmla="*/ 1431835 h 1435671"/>
                <a:gd name="connsiteX68" fmla="*/ 1460866 w 3760754"/>
                <a:gd name="connsiteY68" fmla="*/ 1428827 h 1435671"/>
                <a:gd name="connsiteX69" fmla="*/ 1460866 w 3760754"/>
                <a:gd name="connsiteY69" fmla="*/ 1423117 h 1435671"/>
                <a:gd name="connsiteX70" fmla="*/ 1457496 w 3760754"/>
                <a:gd name="connsiteY70" fmla="*/ 1417570 h 1435671"/>
                <a:gd name="connsiteX71" fmla="*/ 1463938 w 3760754"/>
                <a:gd name="connsiteY71" fmla="*/ 1411262 h 1435671"/>
                <a:gd name="connsiteX72" fmla="*/ 1576105 w 3760754"/>
                <a:gd name="connsiteY72" fmla="*/ 1411262 h 1435671"/>
                <a:gd name="connsiteX73" fmla="*/ 1582546 w 3760754"/>
                <a:gd name="connsiteY73" fmla="*/ 1417570 h 1435671"/>
                <a:gd name="connsiteX74" fmla="*/ 1579177 w 3760754"/>
                <a:gd name="connsiteY74" fmla="*/ 1423117 h 1435671"/>
                <a:gd name="connsiteX75" fmla="*/ 1579177 w 3760754"/>
                <a:gd name="connsiteY75" fmla="*/ 1428827 h 1435671"/>
                <a:gd name="connsiteX76" fmla="*/ 1576105 w 3760754"/>
                <a:gd name="connsiteY76" fmla="*/ 1431835 h 1435671"/>
                <a:gd name="connsiteX77" fmla="*/ 1573033 w 3760754"/>
                <a:gd name="connsiteY77" fmla="*/ 1428827 h 1435671"/>
                <a:gd name="connsiteX78" fmla="*/ 1573033 w 3760754"/>
                <a:gd name="connsiteY78" fmla="*/ 1423117 h 1435671"/>
                <a:gd name="connsiteX79" fmla="*/ 1569663 w 3760754"/>
                <a:gd name="connsiteY79" fmla="*/ 1417570 h 1435671"/>
                <a:gd name="connsiteX80" fmla="*/ 1576105 w 3760754"/>
                <a:gd name="connsiteY80" fmla="*/ 1411262 h 1435671"/>
                <a:gd name="connsiteX81" fmla="*/ 1698470 w 3760754"/>
                <a:gd name="connsiteY81" fmla="*/ 1411262 h 1435671"/>
                <a:gd name="connsiteX82" fmla="*/ 1704911 w 3760754"/>
                <a:gd name="connsiteY82" fmla="*/ 1417570 h 1435671"/>
                <a:gd name="connsiteX83" fmla="*/ 1701543 w 3760754"/>
                <a:gd name="connsiteY83" fmla="*/ 1423117 h 1435671"/>
                <a:gd name="connsiteX84" fmla="*/ 1701543 w 3760754"/>
                <a:gd name="connsiteY84" fmla="*/ 1428827 h 1435671"/>
                <a:gd name="connsiteX85" fmla="*/ 1698470 w 3760754"/>
                <a:gd name="connsiteY85" fmla="*/ 1431835 h 1435671"/>
                <a:gd name="connsiteX86" fmla="*/ 1695398 w 3760754"/>
                <a:gd name="connsiteY86" fmla="*/ 1428827 h 1435671"/>
                <a:gd name="connsiteX87" fmla="*/ 1695398 w 3760754"/>
                <a:gd name="connsiteY87" fmla="*/ 1423117 h 1435671"/>
                <a:gd name="connsiteX88" fmla="*/ 1692029 w 3760754"/>
                <a:gd name="connsiteY88" fmla="*/ 1417570 h 1435671"/>
                <a:gd name="connsiteX89" fmla="*/ 1698470 w 3760754"/>
                <a:gd name="connsiteY89" fmla="*/ 1411262 h 1435671"/>
                <a:gd name="connsiteX90" fmla="*/ 1759628 w 3760754"/>
                <a:gd name="connsiteY90" fmla="*/ 1411262 h 1435671"/>
                <a:gd name="connsiteX91" fmla="*/ 1766069 w 3760754"/>
                <a:gd name="connsiteY91" fmla="*/ 1417570 h 1435671"/>
                <a:gd name="connsiteX92" fmla="*/ 1762700 w 3760754"/>
                <a:gd name="connsiteY92" fmla="*/ 1423117 h 1435671"/>
                <a:gd name="connsiteX93" fmla="*/ 1762700 w 3760754"/>
                <a:gd name="connsiteY93" fmla="*/ 1428827 h 1435671"/>
                <a:gd name="connsiteX94" fmla="*/ 1759628 w 3760754"/>
                <a:gd name="connsiteY94" fmla="*/ 1431835 h 1435671"/>
                <a:gd name="connsiteX95" fmla="*/ 1756556 w 3760754"/>
                <a:gd name="connsiteY95" fmla="*/ 1428827 h 1435671"/>
                <a:gd name="connsiteX96" fmla="*/ 1756556 w 3760754"/>
                <a:gd name="connsiteY96" fmla="*/ 1423117 h 1435671"/>
                <a:gd name="connsiteX97" fmla="*/ 1753187 w 3760754"/>
                <a:gd name="connsiteY97" fmla="*/ 1417570 h 1435671"/>
                <a:gd name="connsiteX98" fmla="*/ 1759628 w 3760754"/>
                <a:gd name="connsiteY98" fmla="*/ 1411262 h 1435671"/>
                <a:gd name="connsiteX99" fmla="*/ 1871795 w 3760754"/>
                <a:gd name="connsiteY99" fmla="*/ 1411262 h 1435671"/>
                <a:gd name="connsiteX100" fmla="*/ 1878236 w 3760754"/>
                <a:gd name="connsiteY100" fmla="*/ 1417570 h 1435671"/>
                <a:gd name="connsiteX101" fmla="*/ 1874867 w 3760754"/>
                <a:gd name="connsiteY101" fmla="*/ 1423117 h 1435671"/>
                <a:gd name="connsiteX102" fmla="*/ 1874867 w 3760754"/>
                <a:gd name="connsiteY102" fmla="*/ 1428827 h 1435671"/>
                <a:gd name="connsiteX103" fmla="*/ 1871795 w 3760754"/>
                <a:gd name="connsiteY103" fmla="*/ 1431835 h 1435671"/>
                <a:gd name="connsiteX104" fmla="*/ 1868723 w 3760754"/>
                <a:gd name="connsiteY104" fmla="*/ 1428827 h 1435671"/>
                <a:gd name="connsiteX105" fmla="*/ 1868723 w 3760754"/>
                <a:gd name="connsiteY105" fmla="*/ 1423117 h 1435671"/>
                <a:gd name="connsiteX106" fmla="*/ 1865354 w 3760754"/>
                <a:gd name="connsiteY106" fmla="*/ 1417570 h 1435671"/>
                <a:gd name="connsiteX107" fmla="*/ 1871795 w 3760754"/>
                <a:gd name="connsiteY107" fmla="*/ 1411262 h 1435671"/>
                <a:gd name="connsiteX108" fmla="*/ 1994157 w 3760754"/>
                <a:gd name="connsiteY108" fmla="*/ 1411262 h 1435671"/>
                <a:gd name="connsiteX109" fmla="*/ 2000599 w 3760754"/>
                <a:gd name="connsiteY109" fmla="*/ 1417570 h 1435671"/>
                <a:gd name="connsiteX110" fmla="*/ 1997230 w 3760754"/>
                <a:gd name="connsiteY110" fmla="*/ 1423117 h 1435671"/>
                <a:gd name="connsiteX111" fmla="*/ 1997230 w 3760754"/>
                <a:gd name="connsiteY111" fmla="*/ 1428827 h 1435671"/>
                <a:gd name="connsiteX112" fmla="*/ 1994157 w 3760754"/>
                <a:gd name="connsiteY112" fmla="*/ 1431835 h 1435671"/>
                <a:gd name="connsiteX113" fmla="*/ 1991086 w 3760754"/>
                <a:gd name="connsiteY113" fmla="*/ 1428827 h 1435671"/>
                <a:gd name="connsiteX114" fmla="*/ 1991086 w 3760754"/>
                <a:gd name="connsiteY114" fmla="*/ 1423117 h 1435671"/>
                <a:gd name="connsiteX115" fmla="*/ 1987717 w 3760754"/>
                <a:gd name="connsiteY115" fmla="*/ 1417570 h 1435671"/>
                <a:gd name="connsiteX116" fmla="*/ 1994157 w 3760754"/>
                <a:gd name="connsiteY116" fmla="*/ 1411262 h 1435671"/>
                <a:gd name="connsiteX117" fmla="*/ 2106324 w 3760754"/>
                <a:gd name="connsiteY117" fmla="*/ 1411262 h 1435671"/>
                <a:gd name="connsiteX118" fmla="*/ 2112766 w 3760754"/>
                <a:gd name="connsiteY118" fmla="*/ 1417570 h 1435671"/>
                <a:gd name="connsiteX119" fmla="*/ 2109397 w 3760754"/>
                <a:gd name="connsiteY119" fmla="*/ 1423117 h 1435671"/>
                <a:gd name="connsiteX120" fmla="*/ 2109397 w 3760754"/>
                <a:gd name="connsiteY120" fmla="*/ 1428827 h 1435671"/>
                <a:gd name="connsiteX121" fmla="*/ 2106324 w 3760754"/>
                <a:gd name="connsiteY121" fmla="*/ 1431835 h 1435671"/>
                <a:gd name="connsiteX122" fmla="*/ 2103253 w 3760754"/>
                <a:gd name="connsiteY122" fmla="*/ 1428827 h 1435671"/>
                <a:gd name="connsiteX123" fmla="*/ 2103253 w 3760754"/>
                <a:gd name="connsiteY123" fmla="*/ 1423117 h 1435671"/>
                <a:gd name="connsiteX124" fmla="*/ 2099884 w 3760754"/>
                <a:gd name="connsiteY124" fmla="*/ 1417570 h 1435671"/>
                <a:gd name="connsiteX125" fmla="*/ 2106324 w 3760754"/>
                <a:gd name="connsiteY125" fmla="*/ 1411262 h 1435671"/>
                <a:gd name="connsiteX126" fmla="*/ 2167486 w 3760754"/>
                <a:gd name="connsiteY126" fmla="*/ 1411262 h 1435671"/>
                <a:gd name="connsiteX127" fmla="*/ 2173927 w 3760754"/>
                <a:gd name="connsiteY127" fmla="*/ 1417570 h 1435671"/>
                <a:gd name="connsiteX128" fmla="*/ 2170557 w 3760754"/>
                <a:gd name="connsiteY128" fmla="*/ 1423117 h 1435671"/>
                <a:gd name="connsiteX129" fmla="*/ 2170557 w 3760754"/>
                <a:gd name="connsiteY129" fmla="*/ 1428827 h 1435671"/>
                <a:gd name="connsiteX130" fmla="*/ 2167486 w 3760754"/>
                <a:gd name="connsiteY130" fmla="*/ 1431835 h 1435671"/>
                <a:gd name="connsiteX131" fmla="*/ 2164411 w 3760754"/>
                <a:gd name="connsiteY131" fmla="*/ 1428827 h 1435671"/>
                <a:gd name="connsiteX132" fmla="*/ 2164411 w 3760754"/>
                <a:gd name="connsiteY132" fmla="*/ 1423117 h 1435671"/>
                <a:gd name="connsiteX133" fmla="*/ 2161041 w 3760754"/>
                <a:gd name="connsiteY133" fmla="*/ 1417570 h 1435671"/>
                <a:gd name="connsiteX134" fmla="*/ 2167486 w 3760754"/>
                <a:gd name="connsiteY134" fmla="*/ 1411262 h 1435671"/>
                <a:gd name="connsiteX135" fmla="*/ 2340859 w 3760754"/>
                <a:gd name="connsiteY135" fmla="*/ 1411262 h 1435671"/>
                <a:gd name="connsiteX136" fmla="*/ 2347301 w 3760754"/>
                <a:gd name="connsiteY136" fmla="*/ 1417570 h 1435671"/>
                <a:gd name="connsiteX137" fmla="*/ 2343931 w 3760754"/>
                <a:gd name="connsiteY137" fmla="*/ 1423117 h 1435671"/>
                <a:gd name="connsiteX138" fmla="*/ 2343931 w 3760754"/>
                <a:gd name="connsiteY138" fmla="*/ 1428827 h 1435671"/>
                <a:gd name="connsiteX139" fmla="*/ 2340859 w 3760754"/>
                <a:gd name="connsiteY139" fmla="*/ 1431835 h 1435671"/>
                <a:gd name="connsiteX140" fmla="*/ 2337788 w 3760754"/>
                <a:gd name="connsiteY140" fmla="*/ 1428827 h 1435671"/>
                <a:gd name="connsiteX141" fmla="*/ 2337788 w 3760754"/>
                <a:gd name="connsiteY141" fmla="*/ 1423117 h 1435671"/>
                <a:gd name="connsiteX142" fmla="*/ 2334418 w 3760754"/>
                <a:gd name="connsiteY142" fmla="*/ 1417570 h 1435671"/>
                <a:gd name="connsiteX143" fmla="*/ 2340859 w 3760754"/>
                <a:gd name="connsiteY143" fmla="*/ 1411262 h 1435671"/>
                <a:gd name="connsiteX144" fmla="*/ 2626452 w 3760754"/>
                <a:gd name="connsiteY144" fmla="*/ 1411262 h 1435671"/>
                <a:gd name="connsiteX145" fmla="*/ 2632892 w 3760754"/>
                <a:gd name="connsiteY145" fmla="*/ 1417570 h 1435671"/>
                <a:gd name="connsiteX146" fmla="*/ 2629523 w 3760754"/>
                <a:gd name="connsiteY146" fmla="*/ 1423117 h 1435671"/>
                <a:gd name="connsiteX147" fmla="*/ 2629523 w 3760754"/>
                <a:gd name="connsiteY147" fmla="*/ 1428827 h 1435671"/>
                <a:gd name="connsiteX148" fmla="*/ 2626452 w 3760754"/>
                <a:gd name="connsiteY148" fmla="*/ 1431835 h 1435671"/>
                <a:gd name="connsiteX149" fmla="*/ 2623379 w 3760754"/>
                <a:gd name="connsiteY149" fmla="*/ 1428827 h 1435671"/>
                <a:gd name="connsiteX150" fmla="*/ 2623379 w 3760754"/>
                <a:gd name="connsiteY150" fmla="*/ 1423117 h 1435671"/>
                <a:gd name="connsiteX151" fmla="*/ 2620010 w 3760754"/>
                <a:gd name="connsiteY151" fmla="*/ 1417570 h 1435671"/>
                <a:gd name="connsiteX152" fmla="*/ 2626452 w 3760754"/>
                <a:gd name="connsiteY152" fmla="*/ 1411262 h 1435671"/>
                <a:gd name="connsiteX153" fmla="*/ 2687609 w 3760754"/>
                <a:gd name="connsiteY153" fmla="*/ 1411262 h 1435671"/>
                <a:gd name="connsiteX154" fmla="*/ 2694050 w 3760754"/>
                <a:gd name="connsiteY154" fmla="*/ 1417570 h 1435671"/>
                <a:gd name="connsiteX155" fmla="*/ 2690681 w 3760754"/>
                <a:gd name="connsiteY155" fmla="*/ 1423117 h 1435671"/>
                <a:gd name="connsiteX156" fmla="*/ 2690681 w 3760754"/>
                <a:gd name="connsiteY156" fmla="*/ 1428827 h 1435671"/>
                <a:gd name="connsiteX157" fmla="*/ 2687609 w 3760754"/>
                <a:gd name="connsiteY157" fmla="*/ 1431835 h 1435671"/>
                <a:gd name="connsiteX158" fmla="*/ 2684537 w 3760754"/>
                <a:gd name="connsiteY158" fmla="*/ 1428827 h 1435671"/>
                <a:gd name="connsiteX159" fmla="*/ 2684537 w 3760754"/>
                <a:gd name="connsiteY159" fmla="*/ 1423117 h 1435671"/>
                <a:gd name="connsiteX160" fmla="*/ 2681167 w 3760754"/>
                <a:gd name="connsiteY160" fmla="*/ 1417570 h 1435671"/>
                <a:gd name="connsiteX161" fmla="*/ 2687609 w 3760754"/>
                <a:gd name="connsiteY161" fmla="*/ 1411262 h 1435671"/>
                <a:gd name="connsiteX162" fmla="*/ 2809975 w 3760754"/>
                <a:gd name="connsiteY162" fmla="*/ 1411262 h 1435671"/>
                <a:gd name="connsiteX163" fmla="*/ 2816415 w 3760754"/>
                <a:gd name="connsiteY163" fmla="*/ 1417570 h 1435671"/>
                <a:gd name="connsiteX164" fmla="*/ 2813046 w 3760754"/>
                <a:gd name="connsiteY164" fmla="*/ 1423117 h 1435671"/>
                <a:gd name="connsiteX165" fmla="*/ 2813046 w 3760754"/>
                <a:gd name="connsiteY165" fmla="*/ 1428827 h 1435671"/>
                <a:gd name="connsiteX166" fmla="*/ 2809975 w 3760754"/>
                <a:gd name="connsiteY166" fmla="*/ 1431835 h 1435671"/>
                <a:gd name="connsiteX167" fmla="*/ 2806902 w 3760754"/>
                <a:gd name="connsiteY167" fmla="*/ 1428827 h 1435671"/>
                <a:gd name="connsiteX168" fmla="*/ 2806902 w 3760754"/>
                <a:gd name="connsiteY168" fmla="*/ 1423117 h 1435671"/>
                <a:gd name="connsiteX169" fmla="*/ 2803533 w 3760754"/>
                <a:gd name="connsiteY169" fmla="*/ 1417570 h 1435671"/>
                <a:gd name="connsiteX170" fmla="*/ 2809975 w 3760754"/>
                <a:gd name="connsiteY170" fmla="*/ 1411262 h 1435671"/>
                <a:gd name="connsiteX171" fmla="*/ 3330198 w 3760754"/>
                <a:gd name="connsiteY171" fmla="*/ 1411262 h 1435671"/>
                <a:gd name="connsiteX172" fmla="*/ 3336639 w 3760754"/>
                <a:gd name="connsiteY172" fmla="*/ 1417570 h 1435671"/>
                <a:gd name="connsiteX173" fmla="*/ 3333269 w 3760754"/>
                <a:gd name="connsiteY173" fmla="*/ 1423117 h 1435671"/>
                <a:gd name="connsiteX174" fmla="*/ 3333269 w 3760754"/>
                <a:gd name="connsiteY174" fmla="*/ 1428827 h 1435671"/>
                <a:gd name="connsiteX175" fmla="*/ 3330198 w 3760754"/>
                <a:gd name="connsiteY175" fmla="*/ 1431835 h 1435671"/>
                <a:gd name="connsiteX176" fmla="*/ 3327126 w 3760754"/>
                <a:gd name="connsiteY176" fmla="*/ 1428827 h 1435671"/>
                <a:gd name="connsiteX177" fmla="*/ 3327126 w 3760754"/>
                <a:gd name="connsiteY177" fmla="*/ 1423117 h 1435671"/>
                <a:gd name="connsiteX178" fmla="*/ 3323757 w 3760754"/>
                <a:gd name="connsiteY178" fmla="*/ 1417570 h 1435671"/>
                <a:gd name="connsiteX179" fmla="*/ 3330198 w 3760754"/>
                <a:gd name="connsiteY179" fmla="*/ 1411262 h 1435671"/>
                <a:gd name="connsiteX180" fmla="*/ 3442365 w 3760754"/>
                <a:gd name="connsiteY180" fmla="*/ 1411262 h 1435671"/>
                <a:gd name="connsiteX181" fmla="*/ 3448806 w 3760754"/>
                <a:gd name="connsiteY181" fmla="*/ 1417570 h 1435671"/>
                <a:gd name="connsiteX182" fmla="*/ 3445436 w 3760754"/>
                <a:gd name="connsiteY182" fmla="*/ 1423117 h 1435671"/>
                <a:gd name="connsiteX183" fmla="*/ 3445436 w 3760754"/>
                <a:gd name="connsiteY183" fmla="*/ 1428827 h 1435671"/>
                <a:gd name="connsiteX184" fmla="*/ 3442365 w 3760754"/>
                <a:gd name="connsiteY184" fmla="*/ 1431835 h 1435671"/>
                <a:gd name="connsiteX185" fmla="*/ 3439293 w 3760754"/>
                <a:gd name="connsiteY185" fmla="*/ 1428827 h 1435671"/>
                <a:gd name="connsiteX186" fmla="*/ 3439293 w 3760754"/>
                <a:gd name="connsiteY186" fmla="*/ 1423117 h 1435671"/>
                <a:gd name="connsiteX187" fmla="*/ 3435924 w 3760754"/>
                <a:gd name="connsiteY187" fmla="*/ 1417570 h 1435671"/>
                <a:gd name="connsiteX188" fmla="*/ 3442365 w 3760754"/>
                <a:gd name="connsiteY188" fmla="*/ 1411262 h 1435671"/>
                <a:gd name="connsiteX189" fmla="*/ 3503523 w 3760754"/>
                <a:gd name="connsiteY189" fmla="*/ 1411262 h 1435671"/>
                <a:gd name="connsiteX190" fmla="*/ 3509964 w 3760754"/>
                <a:gd name="connsiteY190" fmla="*/ 1417570 h 1435671"/>
                <a:gd name="connsiteX191" fmla="*/ 3506594 w 3760754"/>
                <a:gd name="connsiteY191" fmla="*/ 1423117 h 1435671"/>
                <a:gd name="connsiteX192" fmla="*/ 3506594 w 3760754"/>
                <a:gd name="connsiteY192" fmla="*/ 1428827 h 1435671"/>
                <a:gd name="connsiteX193" fmla="*/ 3503523 w 3760754"/>
                <a:gd name="connsiteY193" fmla="*/ 1431835 h 1435671"/>
                <a:gd name="connsiteX194" fmla="*/ 3500451 w 3760754"/>
                <a:gd name="connsiteY194" fmla="*/ 1428827 h 1435671"/>
                <a:gd name="connsiteX195" fmla="*/ 3500451 w 3760754"/>
                <a:gd name="connsiteY195" fmla="*/ 1423117 h 1435671"/>
                <a:gd name="connsiteX196" fmla="*/ 3497081 w 3760754"/>
                <a:gd name="connsiteY196" fmla="*/ 1417570 h 1435671"/>
                <a:gd name="connsiteX197" fmla="*/ 3503523 w 3760754"/>
                <a:gd name="connsiteY197" fmla="*/ 1411262 h 1435671"/>
                <a:gd name="connsiteX198" fmla="*/ 3564681 w 3760754"/>
                <a:gd name="connsiteY198" fmla="*/ 1411262 h 1435671"/>
                <a:gd name="connsiteX199" fmla="*/ 3571122 w 3760754"/>
                <a:gd name="connsiteY199" fmla="*/ 1417570 h 1435671"/>
                <a:gd name="connsiteX200" fmla="*/ 3567752 w 3760754"/>
                <a:gd name="connsiteY200" fmla="*/ 1423117 h 1435671"/>
                <a:gd name="connsiteX201" fmla="*/ 3567752 w 3760754"/>
                <a:gd name="connsiteY201" fmla="*/ 1428827 h 1435671"/>
                <a:gd name="connsiteX202" fmla="*/ 3564681 w 3760754"/>
                <a:gd name="connsiteY202" fmla="*/ 1431835 h 1435671"/>
                <a:gd name="connsiteX203" fmla="*/ 3561609 w 3760754"/>
                <a:gd name="connsiteY203" fmla="*/ 1428827 h 1435671"/>
                <a:gd name="connsiteX204" fmla="*/ 3561609 w 3760754"/>
                <a:gd name="connsiteY204" fmla="*/ 1423117 h 1435671"/>
                <a:gd name="connsiteX205" fmla="*/ 3558239 w 3760754"/>
                <a:gd name="connsiteY205" fmla="*/ 1417570 h 1435671"/>
                <a:gd name="connsiteX206" fmla="*/ 3564681 w 3760754"/>
                <a:gd name="connsiteY206" fmla="*/ 1411262 h 1435671"/>
                <a:gd name="connsiteX207" fmla="*/ 3625839 w 3760754"/>
                <a:gd name="connsiteY207" fmla="*/ 1411262 h 1435671"/>
                <a:gd name="connsiteX208" fmla="*/ 3632280 w 3760754"/>
                <a:gd name="connsiteY208" fmla="*/ 1417570 h 1435671"/>
                <a:gd name="connsiteX209" fmla="*/ 3628910 w 3760754"/>
                <a:gd name="connsiteY209" fmla="*/ 1423117 h 1435671"/>
                <a:gd name="connsiteX210" fmla="*/ 3628910 w 3760754"/>
                <a:gd name="connsiteY210" fmla="*/ 1428827 h 1435671"/>
                <a:gd name="connsiteX211" fmla="*/ 3625839 w 3760754"/>
                <a:gd name="connsiteY211" fmla="*/ 1431835 h 1435671"/>
                <a:gd name="connsiteX212" fmla="*/ 3622767 w 3760754"/>
                <a:gd name="connsiteY212" fmla="*/ 1428827 h 1435671"/>
                <a:gd name="connsiteX213" fmla="*/ 3622767 w 3760754"/>
                <a:gd name="connsiteY213" fmla="*/ 1423117 h 1435671"/>
                <a:gd name="connsiteX214" fmla="*/ 3619397 w 3760754"/>
                <a:gd name="connsiteY214" fmla="*/ 1417570 h 1435671"/>
                <a:gd name="connsiteX215" fmla="*/ 3625839 w 3760754"/>
                <a:gd name="connsiteY215" fmla="*/ 1411262 h 1435671"/>
                <a:gd name="connsiteX216" fmla="*/ 22366 w 3760754"/>
                <a:gd name="connsiteY216" fmla="*/ 1408295 h 1435671"/>
                <a:gd name="connsiteX217" fmla="*/ 28807 w 3760754"/>
                <a:gd name="connsiteY217" fmla="*/ 1414602 h 1435671"/>
                <a:gd name="connsiteX218" fmla="*/ 25438 w 3760754"/>
                <a:gd name="connsiteY218" fmla="*/ 1420150 h 1435671"/>
                <a:gd name="connsiteX219" fmla="*/ 25438 w 3760754"/>
                <a:gd name="connsiteY219" fmla="*/ 1425860 h 1435671"/>
                <a:gd name="connsiteX220" fmla="*/ 22366 w 3760754"/>
                <a:gd name="connsiteY220" fmla="*/ 1428868 h 1435671"/>
                <a:gd name="connsiteX221" fmla="*/ 19294 w 3760754"/>
                <a:gd name="connsiteY221" fmla="*/ 1425860 h 1435671"/>
                <a:gd name="connsiteX222" fmla="*/ 19294 w 3760754"/>
                <a:gd name="connsiteY222" fmla="*/ 1420150 h 1435671"/>
                <a:gd name="connsiteX223" fmla="*/ 15925 w 3760754"/>
                <a:gd name="connsiteY223" fmla="*/ 1414602 h 1435671"/>
                <a:gd name="connsiteX224" fmla="*/ 22366 w 3760754"/>
                <a:gd name="connsiteY224" fmla="*/ 1408295 h 1435671"/>
                <a:gd name="connsiteX225" fmla="*/ 84534 w 3760754"/>
                <a:gd name="connsiteY225" fmla="*/ 1392767 h 1435671"/>
                <a:gd name="connsiteX226" fmla="*/ 92391 w 3760754"/>
                <a:gd name="connsiteY226" fmla="*/ 1394422 h 1435671"/>
                <a:gd name="connsiteX227" fmla="*/ 94564 w 3760754"/>
                <a:gd name="connsiteY227" fmla="*/ 1396813 h 1435671"/>
                <a:gd name="connsiteX228" fmla="*/ 96069 w 3760754"/>
                <a:gd name="connsiteY228" fmla="*/ 1399387 h 1435671"/>
                <a:gd name="connsiteX229" fmla="*/ 96737 w 3760754"/>
                <a:gd name="connsiteY229" fmla="*/ 1401226 h 1435671"/>
                <a:gd name="connsiteX230" fmla="*/ 97406 w 3760754"/>
                <a:gd name="connsiteY230" fmla="*/ 1403985 h 1435671"/>
                <a:gd name="connsiteX231" fmla="*/ 98075 w 3760754"/>
                <a:gd name="connsiteY231" fmla="*/ 1408766 h 1435671"/>
                <a:gd name="connsiteX232" fmla="*/ 97406 w 3760754"/>
                <a:gd name="connsiteY232" fmla="*/ 1413731 h 1435671"/>
                <a:gd name="connsiteX233" fmla="*/ 96570 w 3760754"/>
                <a:gd name="connsiteY233" fmla="*/ 1416305 h 1435671"/>
                <a:gd name="connsiteX234" fmla="*/ 95065 w 3760754"/>
                <a:gd name="connsiteY234" fmla="*/ 1419247 h 1435671"/>
                <a:gd name="connsiteX235" fmla="*/ 92725 w 3760754"/>
                <a:gd name="connsiteY235" fmla="*/ 1422190 h 1435671"/>
                <a:gd name="connsiteX236" fmla="*/ 89716 w 3760754"/>
                <a:gd name="connsiteY236" fmla="*/ 1424029 h 1435671"/>
                <a:gd name="connsiteX237" fmla="*/ 81357 w 3760754"/>
                <a:gd name="connsiteY237" fmla="*/ 1422374 h 1435671"/>
                <a:gd name="connsiteX238" fmla="*/ 79184 w 3760754"/>
                <a:gd name="connsiteY238" fmla="*/ 1419983 h 1435671"/>
                <a:gd name="connsiteX239" fmla="*/ 77512 w 3760754"/>
                <a:gd name="connsiteY239" fmla="*/ 1417041 h 1435671"/>
                <a:gd name="connsiteX240" fmla="*/ 76843 w 3760754"/>
                <a:gd name="connsiteY240" fmla="*/ 1415570 h 1435671"/>
                <a:gd name="connsiteX241" fmla="*/ 76007 w 3760754"/>
                <a:gd name="connsiteY241" fmla="*/ 1412628 h 1435671"/>
                <a:gd name="connsiteX242" fmla="*/ 76341 w 3760754"/>
                <a:gd name="connsiteY242" fmla="*/ 1403249 h 1435671"/>
                <a:gd name="connsiteX243" fmla="*/ 77011 w 3760754"/>
                <a:gd name="connsiteY243" fmla="*/ 1401226 h 1435671"/>
                <a:gd name="connsiteX244" fmla="*/ 77846 w 3760754"/>
                <a:gd name="connsiteY244" fmla="*/ 1399203 h 1435671"/>
                <a:gd name="connsiteX245" fmla="*/ 79351 w 3760754"/>
                <a:gd name="connsiteY245" fmla="*/ 1396813 h 1435671"/>
                <a:gd name="connsiteX246" fmla="*/ 81859 w 3760754"/>
                <a:gd name="connsiteY246" fmla="*/ 1394238 h 1435671"/>
                <a:gd name="connsiteX247" fmla="*/ 84534 w 3760754"/>
                <a:gd name="connsiteY247" fmla="*/ 1392767 h 1435671"/>
                <a:gd name="connsiteX248" fmla="*/ 206900 w 3760754"/>
                <a:gd name="connsiteY248" fmla="*/ 1392767 h 1435671"/>
                <a:gd name="connsiteX249" fmla="*/ 214758 w 3760754"/>
                <a:gd name="connsiteY249" fmla="*/ 1394422 h 1435671"/>
                <a:gd name="connsiteX250" fmla="*/ 216931 w 3760754"/>
                <a:gd name="connsiteY250" fmla="*/ 1396813 h 1435671"/>
                <a:gd name="connsiteX251" fmla="*/ 218435 w 3760754"/>
                <a:gd name="connsiteY251" fmla="*/ 1399387 h 1435671"/>
                <a:gd name="connsiteX252" fmla="*/ 219104 w 3760754"/>
                <a:gd name="connsiteY252" fmla="*/ 1401226 h 1435671"/>
                <a:gd name="connsiteX253" fmla="*/ 219773 w 3760754"/>
                <a:gd name="connsiteY253" fmla="*/ 1403985 h 1435671"/>
                <a:gd name="connsiteX254" fmla="*/ 220442 w 3760754"/>
                <a:gd name="connsiteY254" fmla="*/ 1408766 h 1435671"/>
                <a:gd name="connsiteX255" fmla="*/ 219773 w 3760754"/>
                <a:gd name="connsiteY255" fmla="*/ 1413731 h 1435671"/>
                <a:gd name="connsiteX256" fmla="*/ 218937 w 3760754"/>
                <a:gd name="connsiteY256" fmla="*/ 1416305 h 1435671"/>
                <a:gd name="connsiteX257" fmla="*/ 217432 w 3760754"/>
                <a:gd name="connsiteY257" fmla="*/ 1419247 h 1435671"/>
                <a:gd name="connsiteX258" fmla="*/ 215092 w 3760754"/>
                <a:gd name="connsiteY258" fmla="*/ 1422190 h 1435671"/>
                <a:gd name="connsiteX259" fmla="*/ 212083 w 3760754"/>
                <a:gd name="connsiteY259" fmla="*/ 1424029 h 1435671"/>
                <a:gd name="connsiteX260" fmla="*/ 203724 w 3760754"/>
                <a:gd name="connsiteY260" fmla="*/ 1422374 h 1435671"/>
                <a:gd name="connsiteX261" fmla="*/ 201551 w 3760754"/>
                <a:gd name="connsiteY261" fmla="*/ 1419983 h 1435671"/>
                <a:gd name="connsiteX262" fmla="*/ 199879 w 3760754"/>
                <a:gd name="connsiteY262" fmla="*/ 1417041 h 1435671"/>
                <a:gd name="connsiteX263" fmla="*/ 199210 w 3760754"/>
                <a:gd name="connsiteY263" fmla="*/ 1415570 h 1435671"/>
                <a:gd name="connsiteX264" fmla="*/ 198374 w 3760754"/>
                <a:gd name="connsiteY264" fmla="*/ 1412628 h 1435671"/>
                <a:gd name="connsiteX265" fmla="*/ 198708 w 3760754"/>
                <a:gd name="connsiteY265" fmla="*/ 1403249 h 1435671"/>
                <a:gd name="connsiteX266" fmla="*/ 199378 w 3760754"/>
                <a:gd name="connsiteY266" fmla="*/ 1401226 h 1435671"/>
                <a:gd name="connsiteX267" fmla="*/ 200213 w 3760754"/>
                <a:gd name="connsiteY267" fmla="*/ 1399203 h 1435671"/>
                <a:gd name="connsiteX268" fmla="*/ 201718 w 3760754"/>
                <a:gd name="connsiteY268" fmla="*/ 1396813 h 1435671"/>
                <a:gd name="connsiteX269" fmla="*/ 204226 w 3760754"/>
                <a:gd name="connsiteY269" fmla="*/ 1394238 h 1435671"/>
                <a:gd name="connsiteX270" fmla="*/ 206900 w 3760754"/>
                <a:gd name="connsiteY270" fmla="*/ 1392767 h 1435671"/>
                <a:gd name="connsiteX271" fmla="*/ 319117 w 3760754"/>
                <a:gd name="connsiteY271" fmla="*/ 1392767 h 1435671"/>
                <a:gd name="connsiteX272" fmla="*/ 326975 w 3760754"/>
                <a:gd name="connsiteY272" fmla="*/ 1394422 h 1435671"/>
                <a:gd name="connsiteX273" fmla="*/ 329148 w 3760754"/>
                <a:gd name="connsiteY273" fmla="*/ 1396813 h 1435671"/>
                <a:gd name="connsiteX274" fmla="*/ 330652 w 3760754"/>
                <a:gd name="connsiteY274" fmla="*/ 1399387 h 1435671"/>
                <a:gd name="connsiteX275" fmla="*/ 331321 w 3760754"/>
                <a:gd name="connsiteY275" fmla="*/ 1401226 h 1435671"/>
                <a:gd name="connsiteX276" fmla="*/ 331990 w 3760754"/>
                <a:gd name="connsiteY276" fmla="*/ 1403985 h 1435671"/>
                <a:gd name="connsiteX277" fmla="*/ 332658 w 3760754"/>
                <a:gd name="connsiteY277" fmla="*/ 1408766 h 1435671"/>
                <a:gd name="connsiteX278" fmla="*/ 331990 w 3760754"/>
                <a:gd name="connsiteY278" fmla="*/ 1413731 h 1435671"/>
                <a:gd name="connsiteX279" fmla="*/ 331153 w 3760754"/>
                <a:gd name="connsiteY279" fmla="*/ 1416305 h 1435671"/>
                <a:gd name="connsiteX280" fmla="*/ 329649 w 3760754"/>
                <a:gd name="connsiteY280" fmla="*/ 1419247 h 1435671"/>
                <a:gd name="connsiteX281" fmla="*/ 327309 w 3760754"/>
                <a:gd name="connsiteY281" fmla="*/ 1422190 h 1435671"/>
                <a:gd name="connsiteX282" fmla="*/ 324300 w 3760754"/>
                <a:gd name="connsiteY282" fmla="*/ 1424029 h 1435671"/>
                <a:gd name="connsiteX283" fmla="*/ 315940 w 3760754"/>
                <a:gd name="connsiteY283" fmla="*/ 1422374 h 1435671"/>
                <a:gd name="connsiteX284" fmla="*/ 313767 w 3760754"/>
                <a:gd name="connsiteY284" fmla="*/ 1419983 h 1435671"/>
                <a:gd name="connsiteX285" fmla="*/ 312095 w 3760754"/>
                <a:gd name="connsiteY285" fmla="*/ 1417041 h 1435671"/>
                <a:gd name="connsiteX286" fmla="*/ 311427 w 3760754"/>
                <a:gd name="connsiteY286" fmla="*/ 1415570 h 1435671"/>
                <a:gd name="connsiteX287" fmla="*/ 310591 w 3760754"/>
                <a:gd name="connsiteY287" fmla="*/ 1412628 h 1435671"/>
                <a:gd name="connsiteX288" fmla="*/ 310925 w 3760754"/>
                <a:gd name="connsiteY288" fmla="*/ 1403249 h 1435671"/>
                <a:gd name="connsiteX289" fmla="*/ 311594 w 3760754"/>
                <a:gd name="connsiteY289" fmla="*/ 1401226 h 1435671"/>
                <a:gd name="connsiteX290" fmla="*/ 312429 w 3760754"/>
                <a:gd name="connsiteY290" fmla="*/ 1399203 h 1435671"/>
                <a:gd name="connsiteX291" fmla="*/ 313934 w 3760754"/>
                <a:gd name="connsiteY291" fmla="*/ 1396813 h 1435671"/>
                <a:gd name="connsiteX292" fmla="*/ 316442 w 3760754"/>
                <a:gd name="connsiteY292" fmla="*/ 1394238 h 1435671"/>
                <a:gd name="connsiteX293" fmla="*/ 319117 w 3760754"/>
                <a:gd name="connsiteY293" fmla="*/ 1392767 h 1435671"/>
                <a:gd name="connsiteX294" fmla="*/ 431334 w 3760754"/>
                <a:gd name="connsiteY294" fmla="*/ 1392767 h 1435671"/>
                <a:gd name="connsiteX295" fmla="*/ 439191 w 3760754"/>
                <a:gd name="connsiteY295" fmla="*/ 1394422 h 1435671"/>
                <a:gd name="connsiteX296" fmla="*/ 441364 w 3760754"/>
                <a:gd name="connsiteY296" fmla="*/ 1396813 h 1435671"/>
                <a:gd name="connsiteX297" fmla="*/ 442869 w 3760754"/>
                <a:gd name="connsiteY297" fmla="*/ 1399387 h 1435671"/>
                <a:gd name="connsiteX298" fmla="*/ 443537 w 3760754"/>
                <a:gd name="connsiteY298" fmla="*/ 1401226 h 1435671"/>
                <a:gd name="connsiteX299" fmla="*/ 444207 w 3760754"/>
                <a:gd name="connsiteY299" fmla="*/ 1403985 h 1435671"/>
                <a:gd name="connsiteX300" fmla="*/ 444875 w 3760754"/>
                <a:gd name="connsiteY300" fmla="*/ 1408766 h 1435671"/>
                <a:gd name="connsiteX301" fmla="*/ 444207 w 3760754"/>
                <a:gd name="connsiteY301" fmla="*/ 1413731 h 1435671"/>
                <a:gd name="connsiteX302" fmla="*/ 443370 w 3760754"/>
                <a:gd name="connsiteY302" fmla="*/ 1416305 h 1435671"/>
                <a:gd name="connsiteX303" fmla="*/ 441866 w 3760754"/>
                <a:gd name="connsiteY303" fmla="*/ 1419247 h 1435671"/>
                <a:gd name="connsiteX304" fmla="*/ 439525 w 3760754"/>
                <a:gd name="connsiteY304" fmla="*/ 1422190 h 1435671"/>
                <a:gd name="connsiteX305" fmla="*/ 436516 w 3760754"/>
                <a:gd name="connsiteY305" fmla="*/ 1424029 h 1435671"/>
                <a:gd name="connsiteX306" fmla="*/ 428157 w 3760754"/>
                <a:gd name="connsiteY306" fmla="*/ 1422374 h 1435671"/>
                <a:gd name="connsiteX307" fmla="*/ 425984 w 3760754"/>
                <a:gd name="connsiteY307" fmla="*/ 1419983 h 1435671"/>
                <a:gd name="connsiteX308" fmla="*/ 424312 w 3760754"/>
                <a:gd name="connsiteY308" fmla="*/ 1417041 h 1435671"/>
                <a:gd name="connsiteX309" fmla="*/ 423643 w 3760754"/>
                <a:gd name="connsiteY309" fmla="*/ 1415570 h 1435671"/>
                <a:gd name="connsiteX310" fmla="*/ 422808 w 3760754"/>
                <a:gd name="connsiteY310" fmla="*/ 1412628 h 1435671"/>
                <a:gd name="connsiteX311" fmla="*/ 423142 w 3760754"/>
                <a:gd name="connsiteY311" fmla="*/ 1403249 h 1435671"/>
                <a:gd name="connsiteX312" fmla="*/ 423811 w 3760754"/>
                <a:gd name="connsiteY312" fmla="*/ 1401226 h 1435671"/>
                <a:gd name="connsiteX313" fmla="*/ 424646 w 3760754"/>
                <a:gd name="connsiteY313" fmla="*/ 1399203 h 1435671"/>
                <a:gd name="connsiteX314" fmla="*/ 426151 w 3760754"/>
                <a:gd name="connsiteY314" fmla="*/ 1396813 h 1435671"/>
                <a:gd name="connsiteX315" fmla="*/ 428659 w 3760754"/>
                <a:gd name="connsiteY315" fmla="*/ 1394238 h 1435671"/>
                <a:gd name="connsiteX316" fmla="*/ 431334 w 3760754"/>
                <a:gd name="connsiteY316" fmla="*/ 1392767 h 1435671"/>
                <a:gd name="connsiteX317" fmla="*/ 880051 w 3760754"/>
                <a:gd name="connsiteY317" fmla="*/ 1392767 h 1435671"/>
                <a:gd name="connsiteX318" fmla="*/ 887909 w 3760754"/>
                <a:gd name="connsiteY318" fmla="*/ 1394422 h 1435671"/>
                <a:gd name="connsiteX319" fmla="*/ 890082 w 3760754"/>
                <a:gd name="connsiteY319" fmla="*/ 1396813 h 1435671"/>
                <a:gd name="connsiteX320" fmla="*/ 891586 w 3760754"/>
                <a:gd name="connsiteY320" fmla="*/ 1399387 h 1435671"/>
                <a:gd name="connsiteX321" fmla="*/ 892255 w 3760754"/>
                <a:gd name="connsiteY321" fmla="*/ 1401226 h 1435671"/>
                <a:gd name="connsiteX322" fmla="*/ 892924 w 3760754"/>
                <a:gd name="connsiteY322" fmla="*/ 1403985 h 1435671"/>
                <a:gd name="connsiteX323" fmla="*/ 893593 w 3760754"/>
                <a:gd name="connsiteY323" fmla="*/ 1408766 h 1435671"/>
                <a:gd name="connsiteX324" fmla="*/ 892924 w 3760754"/>
                <a:gd name="connsiteY324" fmla="*/ 1413731 h 1435671"/>
                <a:gd name="connsiteX325" fmla="*/ 892088 w 3760754"/>
                <a:gd name="connsiteY325" fmla="*/ 1416305 h 1435671"/>
                <a:gd name="connsiteX326" fmla="*/ 890583 w 3760754"/>
                <a:gd name="connsiteY326" fmla="*/ 1419247 h 1435671"/>
                <a:gd name="connsiteX327" fmla="*/ 888243 w 3760754"/>
                <a:gd name="connsiteY327" fmla="*/ 1422190 h 1435671"/>
                <a:gd name="connsiteX328" fmla="*/ 885234 w 3760754"/>
                <a:gd name="connsiteY328" fmla="*/ 1424029 h 1435671"/>
                <a:gd name="connsiteX329" fmla="*/ 876874 w 3760754"/>
                <a:gd name="connsiteY329" fmla="*/ 1422374 h 1435671"/>
                <a:gd name="connsiteX330" fmla="*/ 874701 w 3760754"/>
                <a:gd name="connsiteY330" fmla="*/ 1419983 h 1435671"/>
                <a:gd name="connsiteX331" fmla="*/ 873030 w 3760754"/>
                <a:gd name="connsiteY331" fmla="*/ 1417041 h 1435671"/>
                <a:gd name="connsiteX332" fmla="*/ 872361 w 3760754"/>
                <a:gd name="connsiteY332" fmla="*/ 1415570 h 1435671"/>
                <a:gd name="connsiteX333" fmla="*/ 871525 w 3760754"/>
                <a:gd name="connsiteY333" fmla="*/ 1412628 h 1435671"/>
                <a:gd name="connsiteX334" fmla="*/ 871859 w 3760754"/>
                <a:gd name="connsiteY334" fmla="*/ 1403249 h 1435671"/>
                <a:gd name="connsiteX335" fmla="*/ 872528 w 3760754"/>
                <a:gd name="connsiteY335" fmla="*/ 1401226 h 1435671"/>
                <a:gd name="connsiteX336" fmla="*/ 873364 w 3760754"/>
                <a:gd name="connsiteY336" fmla="*/ 1399203 h 1435671"/>
                <a:gd name="connsiteX337" fmla="*/ 874869 w 3760754"/>
                <a:gd name="connsiteY337" fmla="*/ 1396813 h 1435671"/>
                <a:gd name="connsiteX338" fmla="*/ 877376 w 3760754"/>
                <a:gd name="connsiteY338" fmla="*/ 1394238 h 1435671"/>
                <a:gd name="connsiteX339" fmla="*/ 880051 w 3760754"/>
                <a:gd name="connsiteY339" fmla="*/ 1392767 h 1435671"/>
                <a:gd name="connsiteX340" fmla="*/ 992268 w 3760754"/>
                <a:gd name="connsiteY340" fmla="*/ 1392767 h 1435671"/>
                <a:gd name="connsiteX341" fmla="*/ 1000125 w 3760754"/>
                <a:gd name="connsiteY341" fmla="*/ 1394422 h 1435671"/>
                <a:gd name="connsiteX342" fmla="*/ 1002299 w 3760754"/>
                <a:gd name="connsiteY342" fmla="*/ 1396813 h 1435671"/>
                <a:gd name="connsiteX343" fmla="*/ 1003803 w 3760754"/>
                <a:gd name="connsiteY343" fmla="*/ 1399387 h 1435671"/>
                <a:gd name="connsiteX344" fmla="*/ 1004472 w 3760754"/>
                <a:gd name="connsiteY344" fmla="*/ 1401226 h 1435671"/>
                <a:gd name="connsiteX345" fmla="*/ 1005141 w 3760754"/>
                <a:gd name="connsiteY345" fmla="*/ 1403985 h 1435671"/>
                <a:gd name="connsiteX346" fmla="*/ 1005809 w 3760754"/>
                <a:gd name="connsiteY346" fmla="*/ 1408766 h 1435671"/>
                <a:gd name="connsiteX347" fmla="*/ 1005141 w 3760754"/>
                <a:gd name="connsiteY347" fmla="*/ 1413731 h 1435671"/>
                <a:gd name="connsiteX348" fmla="*/ 1004305 w 3760754"/>
                <a:gd name="connsiteY348" fmla="*/ 1416305 h 1435671"/>
                <a:gd name="connsiteX349" fmla="*/ 1002800 w 3760754"/>
                <a:gd name="connsiteY349" fmla="*/ 1419247 h 1435671"/>
                <a:gd name="connsiteX350" fmla="*/ 1000459 w 3760754"/>
                <a:gd name="connsiteY350" fmla="*/ 1422190 h 1435671"/>
                <a:gd name="connsiteX351" fmla="*/ 997451 w 3760754"/>
                <a:gd name="connsiteY351" fmla="*/ 1424029 h 1435671"/>
                <a:gd name="connsiteX352" fmla="*/ 989091 w 3760754"/>
                <a:gd name="connsiteY352" fmla="*/ 1422374 h 1435671"/>
                <a:gd name="connsiteX353" fmla="*/ 986918 w 3760754"/>
                <a:gd name="connsiteY353" fmla="*/ 1419983 h 1435671"/>
                <a:gd name="connsiteX354" fmla="*/ 985246 w 3760754"/>
                <a:gd name="connsiteY354" fmla="*/ 1417041 h 1435671"/>
                <a:gd name="connsiteX355" fmla="*/ 984578 w 3760754"/>
                <a:gd name="connsiteY355" fmla="*/ 1415570 h 1435671"/>
                <a:gd name="connsiteX356" fmla="*/ 983742 w 3760754"/>
                <a:gd name="connsiteY356" fmla="*/ 1412628 h 1435671"/>
                <a:gd name="connsiteX357" fmla="*/ 984076 w 3760754"/>
                <a:gd name="connsiteY357" fmla="*/ 1403249 h 1435671"/>
                <a:gd name="connsiteX358" fmla="*/ 984745 w 3760754"/>
                <a:gd name="connsiteY358" fmla="*/ 1401226 h 1435671"/>
                <a:gd name="connsiteX359" fmla="*/ 985580 w 3760754"/>
                <a:gd name="connsiteY359" fmla="*/ 1399203 h 1435671"/>
                <a:gd name="connsiteX360" fmla="*/ 987085 w 3760754"/>
                <a:gd name="connsiteY360" fmla="*/ 1396813 h 1435671"/>
                <a:gd name="connsiteX361" fmla="*/ 989593 w 3760754"/>
                <a:gd name="connsiteY361" fmla="*/ 1394238 h 1435671"/>
                <a:gd name="connsiteX362" fmla="*/ 992268 w 3760754"/>
                <a:gd name="connsiteY362" fmla="*/ 1392767 h 1435671"/>
                <a:gd name="connsiteX363" fmla="*/ 1104485 w 3760754"/>
                <a:gd name="connsiteY363" fmla="*/ 1392767 h 1435671"/>
                <a:gd name="connsiteX364" fmla="*/ 1112342 w 3760754"/>
                <a:gd name="connsiteY364" fmla="*/ 1394422 h 1435671"/>
                <a:gd name="connsiteX365" fmla="*/ 1114515 w 3760754"/>
                <a:gd name="connsiteY365" fmla="*/ 1396813 h 1435671"/>
                <a:gd name="connsiteX366" fmla="*/ 1116020 w 3760754"/>
                <a:gd name="connsiteY366" fmla="*/ 1399387 h 1435671"/>
                <a:gd name="connsiteX367" fmla="*/ 1116688 w 3760754"/>
                <a:gd name="connsiteY367" fmla="*/ 1401226 h 1435671"/>
                <a:gd name="connsiteX368" fmla="*/ 1117357 w 3760754"/>
                <a:gd name="connsiteY368" fmla="*/ 1403985 h 1435671"/>
                <a:gd name="connsiteX369" fmla="*/ 1118026 w 3760754"/>
                <a:gd name="connsiteY369" fmla="*/ 1408766 h 1435671"/>
                <a:gd name="connsiteX370" fmla="*/ 1117357 w 3760754"/>
                <a:gd name="connsiteY370" fmla="*/ 1413731 h 1435671"/>
                <a:gd name="connsiteX371" fmla="*/ 1116521 w 3760754"/>
                <a:gd name="connsiteY371" fmla="*/ 1416305 h 1435671"/>
                <a:gd name="connsiteX372" fmla="*/ 1115016 w 3760754"/>
                <a:gd name="connsiteY372" fmla="*/ 1419247 h 1435671"/>
                <a:gd name="connsiteX373" fmla="*/ 1112676 w 3760754"/>
                <a:gd name="connsiteY373" fmla="*/ 1422190 h 1435671"/>
                <a:gd name="connsiteX374" fmla="*/ 1109667 w 3760754"/>
                <a:gd name="connsiteY374" fmla="*/ 1424029 h 1435671"/>
                <a:gd name="connsiteX375" fmla="*/ 1101308 w 3760754"/>
                <a:gd name="connsiteY375" fmla="*/ 1422374 h 1435671"/>
                <a:gd name="connsiteX376" fmla="*/ 1099135 w 3760754"/>
                <a:gd name="connsiteY376" fmla="*/ 1419983 h 1435671"/>
                <a:gd name="connsiteX377" fmla="*/ 1097463 w 3760754"/>
                <a:gd name="connsiteY377" fmla="*/ 1417041 h 1435671"/>
                <a:gd name="connsiteX378" fmla="*/ 1096794 w 3760754"/>
                <a:gd name="connsiteY378" fmla="*/ 1415570 h 1435671"/>
                <a:gd name="connsiteX379" fmla="*/ 1095958 w 3760754"/>
                <a:gd name="connsiteY379" fmla="*/ 1412628 h 1435671"/>
                <a:gd name="connsiteX380" fmla="*/ 1096292 w 3760754"/>
                <a:gd name="connsiteY380" fmla="*/ 1403249 h 1435671"/>
                <a:gd name="connsiteX381" fmla="*/ 1096962 w 3760754"/>
                <a:gd name="connsiteY381" fmla="*/ 1401226 h 1435671"/>
                <a:gd name="connsiteX382" fmla="*/ 1097798 w 3760754"/>
                <a:gd name="connsiteY382" fmla="*/ 1399203 h 1435671"/>
                <a:gd name="connsiteX383" fmla="*/ 1099302 w 3760754"/>
                <a:gd name="connsiteY383" fmla="*/ 1396813 h 1435671"/>
                <a:gd name="connsiteX384" fmla="*/ 1101810 w 3760754"/>
                <a:gd name="connsiteY384" fmla="*/ 1394238 h 1435671"/>
                <a:gd name="connsiteX385" fmla="*/ 1104485 w 3760754"/>
                <a:gd name="connsiteY385" fmla="*/ 1392767 h 1435671"/>
                <a:gd name="connsiteX386" fmla="*/ 1226850 w 3760754"/>
                <a:gd name="connsiteY386" fmla="*/ 1392767 h 1435671"/>
                <a:gd name="connsiteX387" fmla="*/ 1234708 w 3760754"/>
                <a:gd name="connsiteY387" fmla="*/ 1394422 h 1435671"/>
                <a:gd name="connsiteX388" fmla="*/ 1236881 w 3760754"/>
                <a:gd name="connsiteY388" fmla="*/ 1396813 h 1435671"/>
                <a:gd name="connsiteX389" fmla="*/ 1238385 w 3760754"/>
                <a:gd name="connsiteY389" fmla="*/ 1399387 h 1435671"/>
                <a:gd name="connsiteX390" fmla="*/ 1239054 w 3760754"/>
                <a:gd name="connsiteY390" fmla="*/ 1401226 h 1435671"/>
                <a:gd name="connsiteX391" fmla="*/ 1239723 w 3760754"/>
                <a:gd name="connsiteY391" fmla="*/ 1403985 h 1435671"/>
                <a:gd name="connsiteX392" fmla="*/ 1240391 w 3760754"/>
                <a:gd name="connsiteY392" fmla="*/ 1408766 h 1435671"/>
                <a:gd name="connsiteX393" fmla="*/ 1239723 w 3760754"/>
                <a:gd name="connsiteY393" fmla="*/ 1413731 h 1435671"/>
                <a:gd name="connsiteX394" fmla="*/ 1238887 w 3760754"/>
                <a:gd name="connsiteY394" fmla="*/ 1416305 h 1435671"/>
                <a:gd name="connsiteX395" fmla="*/ 1237382 w 3760754"/>
                <a:gd name="connsiteY395" fmla="*/ 1419247 h 1435671"/>
                <a:gd name="connsiteX396" fmla="*/ 1235042 w 3760754"/>
                <a:gd name="connsiteY396" fmla="*/ 1422190 h 1435671"/>
                <a:gd name="connsiteX397" fmla="*/ 1232033 w 3760754"/>
                <a:gd name="connsiteY397" fmla="*/ 1424029 h 1435671"/>
                <a:gd name="connsiteX398" fmla="*/ 1223674 w 3760754"/>
                <a:gd name="connsiteY398" fmla="*/ 1422374 h 1435671"/>
                <a:gd name="connsiteX399" fmla="*/ 1221500 w 3760754"/>
                <a:gd name="connsiteY399" fmla="*/ 1419983 h 1435671"/>
                <a:gd name="connsiteX400" fmla="*/ 1219828 w 3760754"/>
                <a:gd name="connsiteY400" fmla="*/ 1417041 h 1435671"/>
                <a:gd name="connsiteX401" fmla="*/ 1219160 w 3760754"/>
                <a:gd name="connsiteY401" fmla="*/ 1415570 h 1435671"/>
                <a:gd name="connsiteX402" fmla="*/ 1218324 w 3760754"/>
                <a:gd name="connsiteY402" fmla="*/ 1412628 h 1435671"/>
                <a:gd name="connsiteX403" fmla="*/ 1218658 w 3760754"/>
                <a:gd name="connsiteY403" fmla="*/ 1403249 h 1435671"/>
                <a:gd name="connsiteX404" fmla="*/ 1219327 w 3760754"/>
                <a:gd name="connsiteY404" fmla="*/ 1401226 h 1435671"/>
                <a:gd name="connsiteX405" fmla="*/ 1220163 w 3760754"/>
                <a:gd name="connsiteY405" fmla="*/ 1399203 h 1435671"/>
                <a:gd name="connsiteX406" fmla="*/ 1221668 w 3760754"/>
                <a:gd name="connsiteY406" fmla="*/ 1396813 h 1435671"/>
                <a:gd name="connsiteX407" fmla="*/ 1224175 w 3760754"/>
                <a:gd name="connsiteY407" fmla="*/ 1394238 h 1435671"/>
                <a:gd name="connsiteX408" fmla="*/ 1226850 w 3760754"/>
                <a:gd name="connsiteY408" fmla="*/ 1392767 h 1435671"/>
                <a:gd name="connsiteX409" fmla="*/ 1634708 w 3760754"/>
                <a:gd name="connsiteY409" fmla="*/ 1392767 h 1435671"/>
                <a:gd name="connsiteX410" fmla="*/ 1642565 w 3760754"/>
                <a:gd name="connsiteY410" fmla="*/ 1394422 h 1435671"/>
                <a:gd name="connsiteX411" fmla="*/ 1644738 w 3760754"/>
                <a:gd name="connsiteY411" fmla="*/ 1396813 h 1435671"/>
                <a:gd name="connsiteX412" fmla="*/ 1646243 w 3760754"/>
                <a:gd name="connsiteY412" fmla="*/ 1399387 h 1435671"/>
                <a:gd name="connsiteX413" fmla="*/ 1646911 w 3760754"/>
                <a:gd name="connsiteY413" fmla="*/ 1401226 h 1435671"/>
                <a:gd name="connsiteX414" fmla="*/ 1647580 w 3760754"/>
                <a:gd name="connsiteY414" fmla="*/ 1403985 h 1435671"/>
                <a:gd name="connsiteX415" fmla="*/ 1648249 w 3760754"/>
                <a:gd name="connsiteY415" fmla="*/ 1408766 h 1435671"/>
                <a:gd name="connsiteX416" fmla="*/ 1647580 w 3760754"/>
                <a:gd name="connsiteY416" fmla="*/ 1413731 h 1435671"/>
                <a:gd name="connsiteX417" fmla="*/ 1646744 w 3760754"/>
                <a:gd name="connsiteY417" fmla="*/ 1416305 h 1435671"/>
                <a:gd name="connsiteX418" fmla="*/ 1645239 w 3760754"/>
                <a:gd name="connsiteY418" fmla="*/ 1419247 h 1435671"/>
                <a:gd name="connsiteX419" fmla="*/ 1642899 w 3760754"/>
                <a:gd name="connsiteY419" fmla="*/ 1422190 h 1435671"/>
                <a:gd name="connsiteX420" fmla="*/ 1639890 w 3760754"/>
                <a:gd name="connsiteY420" fmla="*/ 1424029 h 1435671"/>
                <a:gd name="connsiteX421" fmla="*/ 1631531 w 3760754"/>
                <a:gd name="connsiteY421" fmla="*/ 1422374 h 1435671"/>
                <a:gd name="connsiteX422" fmla="*/ 1629358 w 3760754"/>
                <a:gd name="connsiteY422" fmla="*/ 1419983 h 1435671"/>
                <a:gd name="connsiteX423" fmla="*/ 1627686 w 3760754"/>
                <a:gd name="connsiteY423" fmla="*/ 1417041 h 1435671"/>
                <a:gd name="connsiteX424" fmla="*/ 1627017 w 3760754"/>
                <a:gd name="connsiteY424" fmla="*/ 1415570 h 1435671"/>
                <a:gd name="connsiteX425" fmla="*/ 1626181 w 3760754"/>
                <a:gd name="connsiteY425" fmla="*/ 1412628 h 1435671"/>
                <a:gd name="connsiteX426" fmla="*/ 1626515 w 3760754"/>
                <a:gd name="connsiteY426" fmla="*/ 1403249 h 1435671"/>
                <a:gd name="connsiteX427" fmla="*/ 1627185 w 3760754"/>
                <a:gd name="connsiteY427" fmla="*/ 1401226 h 1435671"/>
                <a:gd name="connsiteX428" fmla="*/ 1628021 w 3760754"/>
                <a:gd name="connsiteY428" fmla="*/ 1399203 h 1435671"/>
                <a:gd name="connsiteX429" fmla="*/ 1629525 w 3760754"/>
                <a:gd name="connsiteY429" fmla="*/ 1396813 h 1435671"/>
                <a:gd name="connsiteX430" fmla="*/ 1632033 w 3760754"/>
                <a:gd name="connsiteY430" fmla="*/ 1394238 h 1435671"/>
                <a:gd name="connsiteX431" fmla="*/ 1634708 w 3760754"/>
                <a:gd name="connsiteY431" fmla="*/ 1392767 h 1435671"/>
                <a:gd name="connsiteX432" fmla="*/ 1930395 w 3760754"/>
                <a:gd name="connsiteY432" fmla="*/ 1392767 h 1435671"/>
                <a:gd name="connsiteX433" fmla="*/ 1938252 w 3760754"/>
                <a:gd name="connsiteY433" fmla="*/ 1394422 h 1435671"/>
                <a:gd name="connsiteX434" fmla="*/ 1940425 w 3760754"/>
                <a:gd name="connsiteY434" fmla="*/ 1396813 h 1435671"/>
                <a:gd name="connsiteX435" fmla="*/ 1941930 w 3760754"/>
                <a:gd name="connsiteY435" fmla="*/ 1399387 h 1435671"/>
                <a:gd name="connsiteX436" fmla="*/ 1942599 w 3760754"/>
                <a:gd name="connsiteY436" fmla="*/ 1401226 h 1435671"/>
                <a:gd name="connsiteX437" fmla="*/ 1943267 w 3760754"/>
                <a:gd name="connsiteY437" fmla="*/ 1403985 h 1435671"/>
                <a:gd name="connsiteX438" fmla="*/ 1943936 w 3760754"/>
                <a:gd name="connsiteY438" fmla="*/ 1408766 h 1435671"/>
                <a:gd name="connsiteX439" fmla="*/ 1943267 w 3760754"/>
                <a:gd name="connsiteY439" fmla="*/ 1413731 h 1435671"/>
                <a:gd name="connsiteX440" fmla="*/ 1942432 w 3760754"/>
                <a:gd name="connsiteY440" fmla="*/ 1416305 h 1435671"/>
                <a:gd name="connsiteX441" fmla="*/ 1940927 w 3760754"/>
                <a:gd name="connsiteY441" fmla="*/ 1419247 h 1435671"/>
                <a:gd name="connsiteX442" fmla="*/ 1938586 w 3760754"/>
                <a:gd name="connsiteY442" fmla="*/ 1422190 h 1435671"/>
                <a:gd name="connsiteX443" fmla="*/ 1935577 w 3760754"/>
                <a:gd name="connsiteY443" fmla="*/ 1424029 h 1435671"/>
                <a:gd name="connsiteX444" fmla="*/ 1927218 w 3760754"/>
                <a:gd name="connsiteY444" fmla="*/ 1422374 h 1435671"/>
                <a:gd name="connsiteX445" fmla="*/ 1925045 w 3760754"/>
                <a:gd name="connsiteY445" fmla="*/ 1419983 h 1435671"/>
                <a:gd name="connsiteX446" fmla="*/ 1923373 w 3760754"/>
                <a:gd name="connsiteY446" fmla="*/ 1417041 h 1435671"/>
                <a:gd name="connsiteX447" fmla="*/ 1922704 w 3760754"/>
                <a:gd name="connsiteY447" fmla="*/ 1415570 h 1435671"/>
                <a:gd name="connsiteX448" fmla="*/ 1921868 w 3760754"/>
                <a:gd name="connsiteY448" fmla="*/ 1412628 h 1435671"/>
                <a:gd name="connsiteX449" fmla="*/ 1922203 w 3760754"/>
                <a:gd name="connsiteY449" fmla="*/ 1403249 h 1435671"/>
                <a:gd name="connsiteX450" fmla="*/ 1922872 w 3760754"/>
                <a:gd name="connsiteY450" fmla="*/ 1401226 h 1435671"/>
                <a:gd name="connsiteX451" fmla="*/ 1923708 w 3760754"/>
                <a:gd name="connsiteY451" fmla="*/ 1399203 h 1435671"/>
                <a:gd name="connsiteX452" fmla="*/ 1925212 w 3760754"/>
                <a:gd name="connsiteY452" fmla="*/ 1396813 h 1435671"/>
                <a:gd name="connsiteX453" fmla="*/ 1927720 w 3760754"/>
                <a:gd name="connsiteY453" fmla="*/ 1394238 h 1435671"/>
                <a:gd name="connsiteX454" fmla="*/ 1930395 w 3760754"/>
                <a:gd name="connsiteY454" fmla="*/ 1392767 h 1435671"/>
                <a:gd name="connsiteX455" fmla="*/ 2277096 w 3760754"/>
                <a:gd name="connsiteY455" fmla="*/ 1392767 h 1435671"/>
                <a:gd name="connsiteX456" fmla="*/ 2284954 w 3760754"/>
                <a:gd name="connsiteY456" fmla="*/ 1394422 h 1435671"/>
                <a:gd name="connsiteX457" fmla="*/ 2287127 w 3760754"/>
                <a:gd name="connsiteY457" fmla="*/ 1396813 h 1435671"/>
                <a:gd name="connsiteX458" fmla="*/ 2288632 w 3760754"/>
                <a:gd name="connsiteY458" fmla="*/ 1399387 h 1435671"/>
                <a:gd name="connsiteX459" fmla="*/ 2289300 w 3760754"/>
                <a:gd name="connsiteY459" fmla="*/ 1401226 h 1435671"/>
                <a:gd name="connsiteX460" fmla="*/ 2289970 w 3760754"/>
                <a:gd name="connsiteY460" fmla="*/ 1403985 h 1435671"/>
                <a:gd name="connsiteX461" fmla="*/ 2290639 w 3760754"/>
                <a:gd name="connsiteY461" fmla="*/ 1408766 h 1435671"/>
                <a:gd name="connsiteX462" fmla="*/ 2289970 w 3760754"/>
                <a:gd name="connsiteY462" fmla="*/ 1413731 h 1435671"/>
                <a:gd name="connsiteX463" fmla="*/ 2289134 w 3760754"/>
                <a:gd name="connsiteY463" fmla="*/ 1416305 h 1435671"/>
                <a:gd name="connsiteX464" fmla="*/ 2287629 w 3760754"/>
                <a:gd name="connsiteY464" fmla="*/ 1419247 h 1435671"/>
                <a:gd name="connsiteX465" fmla="*/ 2285289 w 3760754"/>
                <a:gd name="connsiteY465" fmla="*/ 1422190 h 1435671"/>
                <a:gd name="connsiteX466" fmla="*/ 2282279 w 3760754"/>
                <a:gd name="connsiteY466" fmla="*/ 1424029 h 1435671"/>
                <a:gd name="connsiteX467" fmla="*/ 2273921 w 3760754"/>
                <a:gd name="connsiteY467" fmla="*/ 1422374 h 1435671"/>
                <a:gd name="connsiteX468" fmla="*/ 2271748 w 3760754"/>
                <a:gd name="connsiteY468" fmla="*/ 1419983 h 1435671"/>
                <a:gd name="connsiteX469" fmla="*/ 2270075 w 3760754"/>
                <a:gd name="connsiteY469" fmla="*/ 1417041 h 1435671"/>
                <a:gd name="connsiteX470" fmla="*/ 2269407 w 3760754"/>
                <a:gd name="connsiteY470" fmla="*/ 1415570 h 1435671"/>
                <a:gd name="connsiteX471" fmla="*/ 2268571 w 3760754"/>
                <a:gd name="connsiteY471" fmla="*/ 1412628 h 1435671"/>
                <a:gd name="connsiteX472" fmla="*/ 2268905 w 3760754"/>
                <a:gd name="connsiteY472" fmla="*/ 1403249 h 1435671"/>
                <a:gd name="connsiteX473" fmla="*/ 2269574 w 3760754"/>
                <a:gd name="connsiteY473" fmla="*/ 1401226 h 1435671"/>
                <a:gd name="connsiteX474" fmla="*/ 2270410 w 3760754"/>
                <a:gd name="connsiteY474" fmla="*/ 1399203 h 1435671"/>
                <a:gd name="connsiteX475" fmla="*/ 2271915 w 3760754"/>
                <a:gd name="connsiteY475" fmla="*/ 1396813 h 1435671"/>
                <a:gd name="connsiteX476" fmla="*/ 2274422 w 3760754"/>
                <a:gd name="connsiteY476" fmla="*/ 1394238 h 1435671"/>
                <a:gd name="connsiteX477" fmla="*/ 2277096 w 3760754"/>
                <a:gd name="connsiteY477" fmla="*/ 1392767 h 1435671"/>
                <a:gd name="connsiteX478" fmla="*/ 2399463 w 3760754"/>
                <a:gd name="connsiteY478" fmla="*/ 1392767 h 1435671"/>
                <a:gd name="connsiteX479" fmla="*/ 2407321 w 3760754"/>
                <a:gd name="connsiteY479" fmla="*/ 1394422 h 1435671"/>
                <a:gd name="connsiteX480" fmla="*/ 2409494 w 3760754"/>
                <a:gd name="connsiteY480" fmla="*/ 1396813 h 1435671"/>
                <a:gd name="connsiteX481" fmla="*/ 2410998 w 3760754"/>
                <a:gd name="connsiteY481" fmla="*/ 1399387 h 1435671"/>
                <a:gd name="connsiteX482" fmla="*/ 2411667 w 3760754"/>
                <a:gd name="connsiteY482" fmla="*/ 1401226 h 1435671"/>
                <a:gd name="connsiteX483" fmla="*/ 2412335 w 3760754"/>
                <a:gd name="connsiteY483" fmla="*/ 1403985 h 1435671"/>
                <a:gd name="connsiteX484" fmla="*/ 2413004 w 3760754"/>
                <a:gd name="connsiteY484" fmla="*/ 1408766 h 1435671"/>
                <a:gd name="connsiteX485" fmla="*/ 2412335 w 3760754"/>
                <a:gd name="connsiteY485" fmla="*/ 1413731 h 1435671"/>
                <a:gd name="connsiteX486" fmla="*/ 2411499 w 3760754"/>
                <a:gd name="connsiteY486" fmla="*/ 1416305 h 1435671"/>
                <a:gd name="connsiteX487" fmla="*/ 2409995 w 3760754"/>
                <a:gd name="connsiteY487" fmla="*/ 1419247 h 1435671"/>
                <a:gd name="connsiteX488" fmla="*/ 2407654 w 3760754"/>
                <a:gd name="connsiteY488" fmla="*/ 1422190 h 1435671"/>
                <a:gd name="connsiteX489" fmla="*/ 2404644 w 3760754"/>
                <a:gd name="connsiteY489" fmla="*/ 1424029 h 1435671"/>
                <a:gd name="connsiteX490" fmla="*/ 2396286 w 3760754"/>
                <a:gd name="connsiteY490" fmla="*/ 1422374 h 1435671"/>
                <a:gd name="connsiteX491" fmla="*/ 2394113 w 3760754"/>
                <a:gd name="connsiteY491" fmla="*/ 1419983 h 1435671"/>
                <a:gd name="connsiteX492" fmla="*/ 2392441 w 3760754"/>
                <a:gd name="connsiteY492" fmla="*/ 1417041 h 1435671"/>
                <a:gd name="connsiteX493" fmla="*/ 2391773 w 3760754"/>
                <a:gd name="connsiteY493" fmla="*/ 1415570 h 1435671"/>
                <a:gd name="connsiteX494" fmla="*/ 2390936 w 3760754"/>
                <a:gd name="connsiteY494" fmla="*/ 1412628 h 1435671"/>
                <a:gd name="connsiteX495" fmla="*/ 2391271 w 3760754"/>
                <a:gd name="connsiteY495" fmla="*/ 1403249 h 1435671"/>
                <a:gd name="connsiteX496" fmla="*/ 2391939 w 3760754"/>
                <a:gd name="connsiteY496" fmla="*/ 1401226 h 1435671"/>
                <a:gd name="connsiteX497" fmla="*/ 2392775 w 3760754"/>
                <a:gd name="connsiteY497" fmla="*/ 1399203 h 1435671"/>
                <a:gd name="connsiteX498" fmla="*/ 2394280 w 3760754"/>
                <a:gd name="connsiteY498" fmla="*/ 1396813 h 1435671"/>
                <a:gd name="connsiteX499" fmla="*/ 2396787 w 3760754"/>
                <a:gd name="connsiteY499" fmla="*/ 1394238 h 1435671"/>
                <a:gd name="connsiteX500" fmla="*/ 2399463 w 3760754"/>
                <a:gd name="connsiteY500" fmla="*/ 1392767 h 1435671"/>
                <a:gd name="connsiteX501" fmla="*/ 2511679 w 3760754"/>
                <a:gd name="connsiteY501" fmla="*/ 1392767 h 1435671"/>
                <a:gd name="connsiteX502" fmla="*/ 2519536 w 3760754"/>
                <a:gd name="connsiteY502" fmla="*/ 1394422 h 1435671"/>
                <a:gd name="connsiteX503" fmla="*/ 2521710 w 3760754"/>
                <a:gd name="connsiteY503" fmla="*/ 1396813 h 1435671"/>
                <a:gd name="connsiteX504" fmla="*/ 2523215 w 3760754"/>
                <a:gd name="connsiteY504" fmla="*/ 1399387 h 1435671"/>
                <a:gd name="connsiteX505" fmla="*/ 2523883 w 3760754"/>
                <a:gd name="connsiteY505" fmla="*/ 1401226 h 1435671"/>
                <a:gd name="connsiteX506" fmla="*/ 2524552 w 3760754"/>
                <a:gd name="connsiteY506" fmla="*/ 1403985 h 1435671"/>
                <a:gd name="connsiteX507" fmla="*/ 2525221 w 3760754"/>
                <a:gd name="connsiteY507" fmla="*/ 1408766 h 1435671"/>
                <a:gd name="connsiteX508" fmla="*/ 2524552 w 3760754"/>
                <a:gd name="connsiteY508" fmla="*/ 1413731 h 1435671"/>
                <a:gd name="connsiteX509" fmla="*/ 2523715 w 3760754"/>
                <a:gd name="connsiteY509" fmla="*/ 1416305 h 1435671"/>
                <a:gd name="connsiteX510" fmla="*/ 2522211 w 3760754"/>
                <a:gd name="connsiteY510" fmla="*/ 1419247 h 1435671"/>
                <a:gd name="connsiteX511" fmla="*/ 2519871 w 3760754"/>
                <a:gd name="connsiteY511" fmla="*/ 1422190 h 1435671"/>
                <a:gd name="connsiteX512" fmla="*/ 2516861 w 3760754"/>
                <a:gd name="connsiteY512" fmla="*/ 1424029 h 1435671"/>
                <a:gd name="connsiteX513" fmla="*/ 2508503 w 3760754"/>
                <a:gd name="connsiteY513" fmla="*/ 1422374 h 1435671"/>
                <a:gd name="connsiteX514" fmla="*/ 2506330 w 3760754"/>
                <a:gd name="connsiteY514" fmla="*/ 1419983 h 1435671"/>
                <a:gd name="connsiteX515" fmla="*/ 2504657 w 3760754"/>
                <a:gd name="connsiteY515" fmla="*/ 1417041 h 1435671"/>
                <a:gd name="connsiteX516" fmla="*/ 2503989 w 3760754"/>
                <a:gd name="connsiteY516" fmla="*/ 1415570 h 1435671"/>
                <a:gd name="connsiteX517" fmla="*/ 2503153 w 3760754"/>
                <a:gd name="connsiteY517" fmla="*/ 1412628 h 1435671"/>
                <a:gd name="connsiteX518" fmla="*/ 2503487 w 3760754"/>
                <a:gd name="connsiteY518" fmla="*/ 1403249 h 1435671"/>
                <a:gd name="connsiteX519" fmla="*/ 2504156 w 3760754"/>
                <a:gd name="connsiteY519" fmla="*/ 1401226 h 1435671"/>
                <a:gd name="connsiteX520" fmla="*/ 2504992 w 3760754"/>
                <a:gd name="connsiteY520" fmla="*/ 1399203 h 1435671"/>
                <a:gd name="connsiteX521" fmla="*/ 2506496 w 3760754"/>
                <a:gd name="connsiteY521" fmla="*/ 1396813 h 1435671"/>
                <a:gd name="connsiteX522" fmla="*/ 2509004 w 3760754"/>
                <a:gd name="connsiteY522" fmla="*/ 1394238 h 1435671"/>
                <a:gd name="connsiteX523" fmla="*/ 2511679 w 3760754"/>
                <a:gd name="connsiteY523" fmla="*/ 1392767 h 1435671"/>
                <a:gd name="connsiteX524" fmla="*/ 2746211 w 3760754"/>
                <a:gd name="connsiteY524" fmla="*/ 1392767 h 1435671"/>
                <a:gd name="connsiteX525" fmla="*/ 2754069 w 3760754"/>
                <a:gd name="connsiteY525" fmla="*/ 1394422 h 1435671"/>
                <a:gd name="connsiteX526" fmla="*/ 2756243 w 3760754"/>
                <a:gd name="connsiteY526" fmla="*/ 1396813 h 1435671"/>
                <a:gd name="connsiteX527" fmla="*/ 2757746 w 3760754"/>
                <a:gd name="connsiteY527" fmla="*/ 1399387 h 1435671"/>
                <a:gd name="connsiteX528" fmla="*/ 2758416 w 3760754"/>
                <a:gd name="connsiteY528" fmla="*/ 1401226 h 1435671"/>
                <a:gd name="connsiteX529" fmla="*/ 2759085 w 3760754"/>
                <a:gd name="connsiteY529" fmla="*/ 1403985 h 1435671"/>
                <a:gd name="connsiteX530" fmla="*/ 2759753 w 3760754"/>
                <a:gd name="connsiteY530" fmla="*/ 1408766 h 1435671"/>
                <a:gd name="connsiteX531" fmla="*/ 2759085 w 3760754"/>
                <a:gd name="connsiteY531" fmla="*/ 1413731 h 1435671"/>
                <a:gd name="connsiteX532" fmla="*/ 2758248 w 3760754"/>
                <a:gd name="connsiteY532" fmla="*/ 1416305 h 1435671"/>
                <a:gd name="connsiteX533" fmla="*/ 2756743 w 3760754"/>
                <a:gd name="connsiteY533" fmla="*/ 1419247 h 1435671"/>
                <a:gd name="connsiteX534" fmla="*/ 2754403 w 3760754"/>
                <a:gd name="connsiteY534" fmla="*/ 1422190 h 1435671"/>
                <a:gd name="connsiteX535" fmla="*/ 2751395 w 3760754"/>
                <a:gd name="connsiteY535" fmla="*/ 1424029 h 1435671"/>
                <a:gd name="connsiteX536" fmla="*/ 2743035 w 3760754"/>
                <a:gd name="connsiteY536" fmla="*/ 1422374 h 1435671"/>
                <a:gd name="connsiteX537" fmla="*/ 2740862 w 3760754"/>
                <a:gd name="connsiteY537" fmla="*/ 1419983 h 1435671"/>
                <a:gd name="connsiteX538" fmla="*/ 2739190 w 3760754"/>
                <a:gd name="connsiteY538" fmla="*/ 1417041 h 1435671"/>
                <a:gd name="connsiteX539" fmla="*/ 2738521 w 3760754"/>
                <a:gd name="connsiteY539" fmla="*/ 1415570 h 1435671"/>
                <a:gd name="connsiteX540" fmla="*/ 2737685 w 3760754"/>
                <a:gd name="connsiteY540" fmla="*/ 1412628 h 1435671"/>
                <a:gd name="connsiteX541" fmla="*/ 2738020 w 3760754"/>
                <a:gd name="connsiteY541" fmla="*/ 1403249 h 1435671"/>
                <a:gd name="connsiteX542" fmla="*/ 2738688 w 3760754"/>
                <a:gd name="connsiteY542" fmla="*/ 1401226 h 1435671"/>
                <a:gd name="connsiteX543" fmla="*/ 2739524 w 3760754"/>
                <a:gd name="connsiteY543" fmla="*/ 1399203 h 1435671"/>
                <a:gd name="connsiteX544" fmla="*/ 2741028 w 3760754"/>
                <a:gd name="connsiteY544" fmla="*/ 1396813 h 1435671"/>
                <a:gd name="connsiteX545" fmla="*/ 2743537 w 3760754"/>
                <a:gd name="connsiteY545" fmla="*/ 1394238 h 1435671"/>
                <a:gd name="connsiteX546" fmla="*/ 2746211 w 3760754"/>
                <a:gd name="connsiteY546" fmla="*/ 1392767 h 1435671"/>
                <a:gd name="connsiteX547" fmla="*/ 2868576 w 3760754"/>
                <a:gd name="connsiteY547" fmla="*/ 1392767 h 1435671"/>
                <a:gd name="connsiteX548" fmla="*/ 2876434 w 3760754"/>
                <a:gd name="connsiteY548" fmla="*/ 1394422 h 1435671"/>
                <a:gd name="connsiteX549" fmla="*/ 2878608 w 3760754"/>
                <a:gd name="connsiteY549" fmla="*/ 1396813 h 1435671"/>
                <a:gd name="connsiteX550" fmla="*/ 2880113 w 3760754"/>
                <a:gd name="connsiteY550" fmla="*/ 1399387 h 1435671"/>
                <a:gd name="connsiteX551" fmla="*/ 2880781 w 3760754"/>
                <a:gd name="connsiteY551" fmla="*/ 1401226 h 1435671"/>
                <a:gd name="connsiteX552" fmla="*/ 2881450 w 3760754"/>
                <a:gd name="connsiteY552" fmla="*/ 1403985 h 1435671"/>
                <a:gd name="connsiteX553" fmla="*/ 2882119 w 3760754"/>
                <a:gd name="connsiteY553" fmla="*/ 1408766 h 1435671"/>
                <a:gd name="connsiteX554" fmla="*/ 2881450 w 3760754"/>
                <a:gd name="connsiteY554" fmla="*/ 1413731 h 1435671"/>
                <a:gd name="connsiteX555" fmla="*/ 2880614 w 3760754"/>
                <a:gd name="connsiteY555" fmla="*/ 1416305 h 1435671"/>
                <a:gd name="connsiteX556" fmla="*/ 2879109 w 3760754"/>
                <a:gd name="connsiteY556" fmla="*/ 1419247 h 1435671"/>
                <a:gd name="connsiteX557" fmla="*/ 2876769 w 3760754"/>
                <a:gd name="connsiteY557" fmla="*/ 1422190 h 1435671"/>
                <a:gd name="connsiteX558" fmla="*/ 2873760 w 3760754"/>
                <a:gd name="connsiteY558" fmla="*/ 1424029 h 1435671"/>
                <a:gd name="connsiteX559" fmla="*/ 2865401 w 3760754"/>
                <a:gd name="connsiteY559" fmla="*/ 1422374 h 1435671"/>
                <a:gd name="connsiteX560" fmla="*/ 2863228 w 3760754"/>
                <a:gd name="connsiteY560" fmla="*/ 1419983 h 1435671"/>
                <a:gd name="connsiteX561" fmla="*/ 2861556 w 3760754"/>
                <a:gd name="connsiteY561" fmla="*/ 1417041 h 1435671"/>
                <a:gd name="connsiteX562" fmla="*/ 2860886 w 3760754"/>
                <a:gd name="connsiteY562" fmla="*/ 1415570 h 1435671"/>
                <a:gd name="connsiteX563" fmla="*/ 2860052 w 3760754"/>
                <a:gd name="connsiteY563" fmla="*/ 1412628 h 1435671"/>
                <a:gd name="connsiteX564" fmla="*/ 2860386 w 3760754"/>
                <a:gd name="connsiteY564" fmla="*/ 1403249 h 1435671"/>
                <a:gd name="connsiteX565" fmla="*/ 2861054 w 3760754"/>
                <a:gd name="connsiteY565" fmla="*/ 1401226 h 1435671"/>
                <a:gd name="connsiteX566" fmla="*/ 2861889 w 3760754"/>
                <a:gd name="connsiteY566" fmla="*/ 1399203 h 1435671"/>
                <a:gd name="connsiteX567" fmla="*/ 2863395 w 3760754"/>
                <a:gd name="connsiteY567" fmla="*/ 1396813 h 1435671"/>
                <a:gd name="connsiteX568" fmla="*/ 2865903 w 3760754"/>
                <a:gd name="connsiteY568" fmla="*/ 1394238 h 1435671"/>
                <a:gd name="connsiteX569" fmla="*/ 2868576 w 3760754"/>
                <a:gd name="connsiteY569" fmla="*/ 1392767 h 1435671"/>
                <a:gd name="connsiteX570" fmla="*/ 3031803 w 3760754"/>
                <a:gd name="connsiteY570" fmla="*/ 1392767 h 1435671"/>
                <a:gd name="connsiteX571" fmla="*/ 3039660 w 3760754"/>
                <a:gd name="connsiteY571" fmla="*/ 1394422 h 1435671"/>
                <a:gd name="connsiteX572" fmla="*/ 3041834 w 3760754"/>
                <a:gd name="connsiteY572" fmla="*/ 1396813 h 1435671"/>
                <a:gd name="connsiteX573" fmla="*/ 3043338 w 3760754"/>
                <a:gd name="connsiteY573" fmla="*/ 1399387 h 1435671"/>
                <a:gd name="connsiteX574" fmla="*/ 3044007 w 3760754"/>
                <a:gd name="connsiteY574" fmla="*/ 1401226 h 1435671"/>
                <a:gd name="connsiteX575" fmla="*/ 3044676 w 3760754"/>
                <a:gd name="connsiteY575" fmla="*/ 1403985 h 1435671"/>
                <a:gd name="connsiteX576" fmla="*/ 3045345 w 3760754"/>
                <a:gd name="connsiteY576" fmla="*/ 1408766 h 1435671"/>
                <a:gd name="connsiteX577" fmla="*/ 3044676 w 3760754"/>
                <a:gd name="connsiteY577" fmla="*/ 1413731 h 1435671"/>
                <a:gd name="connsiteX578" fmla="*/ 3043840 w 3760754"/>
                <a:gd name="connsiteY578" fmla="*/ 1416305 h 1435671"/>
                <a:gd name="connsiteX579" fmla="*/ 3042335 w 3760754"/>
                <a:gd name="connsiteY579" fmla="*/ 1419247 h 1435671"/>
                <a:gd name="connsiteX580" fmla="*/ 3039995 w 3760754"/>
                <a:gd name="connsiteY580" fmla="*/ 1422190 h 1435671"/>
                <a:gd name="connsiteX581" fmla="*/ 3036986 w 3760754"/>
                <a:gd name="connsiteY581" fmla="*/ 1424029 h 1435671"/>
                <a:gd name="connsiteX582" fmla="*/ 3028626 w 3760754"/>
                <a:gd name="connsiteY582" fmla="*/ 1422374 h 1435671"/>
                <a:gd name="connsiteX583" fmla="*/ 3026453 w 3760754"/>
                <a:gd name="connsiteY583" fmla="*/ 1419983 h 1435671"/>
                <a:gd name="connsiteX584" fmla="*/ 3024782 w 3760754"/>
                <a:gd name="connsiteY584" fmla="*/ 1417041 h 1435671"/>
                <a:gd name="connsiteX585" fmla="*/ 3024113 w 3760754"/>
                <a:gd name="connsiteY585" fmla="*/ 1415570 h 1435671"/>
                <a:gd name="connsiteX586" fmla="*/ 3023277 w 3760754"/>
                <a:gd name="connsiteY586" fmla="*/ 1412628 h 1435671"/>
                <a:gd name="connsiteX587" fmla="*/ 3023611 w 3760754"/>
                <a:gd name="connsiteY587" fmla="*/ 1403249 h 1435671"/>
                <a:gd name="connsiteX588" fmla="*/ 3024280 w 3760754"/>
                <a:gd name="connsiteY588" fmla="*/ 1401226 h 1435671"/>
                <a:gd name="connsiteX589" fmla="*/ 3025116 w 3760754"/>
                <a:gd name="connsiteY589" fmla="*/ 1399203 h 1435671"/>
                <a:gd name="connsiteX590" fmla="*/ 3026621 w 3760754"/>
                <a:gd name="connsiteY590" fmla="*/ 1396813 h 1435671"/>
                <a:gd name="connsiteX591" fmla="*/ 3029128 w 3760754"/>
                <a:gd name="connsiteY591" fmla="*/ 1394238 h 1435671"/>
                <a:gd name="connsiteX592" fmla="*/ 3031803 w 3760754"/>
                <a:gd name="connsiteY592" fmla="*/ 1392767 h 1435671"/>
                <a:gd name="connsiteX593" fmla="*/ 3093011 w 3760754"/>
                <a:gd name="connsiteY593" fmla="*/ 1392767 h 1435671"/>
                <a:gd name="connsiteX594" fmla="*/ 3100868 w 3760754"/>
                <a:gd name="connsiteY594" fmla="*/ 1394422 h 1435671"/>
                <a:gd name="connsiteX595" fmla="*/ 3103042 w 3760754"/>
                <a:gd name="connsiteY595" fmla="*/ 1396813 h 1435671"/>
                <a:gd name="connsiteX596" fmla="*/ 3104546 w 3760754"/>
                <a:gd name="connsiteY596" fmla="*/ 1399387 h 1435671"/>
                <a:gd name="connsiteX597" fmla="*/ 3105215 w 3760754"/>
                <a:gd name="connsiteY597" fmla="*/ 1401226 h 1435671"/>
                <a:gd name="connsiteX598" fmla="*/ 3105884 w 3760754"/>
                <a:gd name="connsiteY598" fmla="*/ 1403985 h 1435671"/>
                <a:gd name="connsiteX599" fmla="*/ 3106552 w 3760754"/>
                <a:gd name="connsiteY599" fmla="*/ 1408766 h 1435671"/>
                <a:gd name="connsiteX600" fmla="*/ 3105884 w 3760754"/>
                <a:gd name="connsiteY600" fmla="*/ 1413731 h 1435671"/>
                <a:gd name="connsiteX601" fmla="*/ 3105047 w 3760754"/>
                <a:gd name="connsiteY601" fmla="*/ 1416305 h 1435671"/>
                <a:gd name="connsiteX602" fmla="*/ 3103543 w 3760754"/>
                <a:gd name="connsiteY602" fmla="*/ 1419247 h 1435671"/>
                <a:gd name="connsiteX603" fmla="*/ 3101202 w 3760754"/>
                <a:gd name="connsiteY603" fmla="*/ 1422190 h 1435671"/>
                <a:gd name="connsiteX604" fmla="*/ 3098194 w 3760754"/>
                <a:gd name="connsiteY604" fmla="*/ 1424029 h 1435671"/>
                <a:gd name="connsiteX605" fmla="*/ 3089834 w 3760754"/>
                <a:gd name="connsiteY605" fmla="*/ 1422374 h 1435671"/>
                <a:gd name="connsiteX606" fmla="*/ 3087661 w 3760754"/>
                <a:gd name="connsiteY606" fmla="*/ 1419983 h 1435671"/>
                <a:gd name="connsiteX607" fmla="*/ 3085989 w 3760754"/>
                <a:gd name="connsiteY607" fmla="*/ 1417041 h 1435671"/>
                <a:gd name="connsiteX608" fmla="*/ 3085321 w 3760754"/>
                <a:gd name="connsiteY608" fmla="*/ 1415570 h 1435671"/>
                <a:gd name="connsiteX609" fmla="*/ 3084485 w 3760754"/>
                <a:gd name="connsiteY609" fmla="*/ 1412628 h 1435671"/>
                <a:gd name="connsiteX610" fmla="*/ 3084819 w 3760754"/>
                <a:gd name="connsiteY610" fmla="*/ 1403249 h 1435671"/>
                <a:gd name="connsiteX611" fmla="*/ 3085488 w 3760754"/>
                <a:gd name="connsiteY611" fmla="*/ 1401226 h 1435671"/>
                <a:gd name="connsiteX612" fmla="*/ 3086323 w 3760754"/>
                <a:gd name="connsiteY612" fmla="*/ 1399203 h 1435671"/>
                <a:gd name="connsiteX613" fmla="*/ 3087828 w 3760754"/>
                <a:gd name="connsiteY613" fmla="*/ 1396813 h 1435671"/>
                <a:gd name="connsiteX614" fmla="*/ 3090336 w 3760754"/>
                <a:gd name="connsiteY614" fmla="*/ 1394238 h 1435671"/>
                <a:gd name="connsiteX615" fmla="*/ 3093011 w 3760754"/>
                <a:gd name="connsiteY615" fmla="*/ 1392767 h 1435671"/>
                <a:gd name="connsiteX616" fmla="*/ 3205228 w 3760754"/>
                <a:gd name="connsiteY616" fmla="*/ 1392767 h 1435671"/>
                <a:gd name="connsiteX617" fmla="*/ 3213084 w 3760754"/>
                <a:gd name="connsiteY617" fmla="*/ 1394422 h 1435671"/>
                <a:gd name="connsiteX618" fmla="*/ 3215258 w 3760754"/>
                <a:gd name="connsiteY618" fmla="*/ 1396813 h 1435671"/>
                <a:gd name="connsiteX619" fmla="*/ 3216763 w 3760754"/>
                <a:gd name="connsiteY619" fmla="*/ 1399387 h 1435671"/>
                <a:gd name="connsiteX620" fmla="*/ 3217431 w 3760754"/>
                <a:gd name="connsiteY620" fmla="*/ 1401226 h 1435671"/>
                <a:gd name="connsiteX621" fmla="*/ 3218100 w 3760754"/>
                <a:gd name="connsiteY621" fmla="*/ 1403985 h 1435671"/>
                <a:gd name="connsiteX622" fmla="*/ 3218769 w 3760754"/>
                <a:gd name="connsiteY622" fmla="*/ 1408766 h 1435671"/>
                <a:gd name="connsiteX623" fmla="*/ 3218100 w 3760754"/>
                <a:gd name="connsiteY623" fmla="*/ 1413731 h 1435671"/>
                <a:gd name="connsiteX624" fmla="*/ 3217264 w 3760754"/>
                <a:gd name="connsiteY624" fmla="*/ 1416305 h 1435671"/>
                <a:gd name="connsiteX625" fmla="*/ 3215759 w 3760754"/>
                <a:gd name="connsiteY625" fmla="*/ 1419247 h 1435671"/>
                <a:gd name="connsiteX626" fmla="*/ 3213419 w 3760754"/>
                <a:gd name="connsiteY626" fmla="*/ 1422190 h 1435671"/>
                <a:gd name="connsiteX627" fmla="*/ 3210410 w 3760754"/>
                <a:gd name="connsiteY627" fmla="*/ 1424029 h 1435671"/>
                <a:gd name="connsiteX628" fmla="*/ 3202051 w 3760754"/>
                <a:gd name="connsiteY628" fmla="*/ 1422374 h 1435671"/>
                <a:gd name="connsiteX629" fmla="*/ 3199878 w 3760754"/>
                <a:gd name="connsiteY629" fmla="*/ 1419983 h 1435671"/>
                <a:gd name="connsiteX630" fmla="*/ 3198206 w 3760754"/>
                <a:gd name="connsiteY630" fmla="*/ 1417041 h 1435671"/>
                <a:gd name="connsiteX631" fmla="*/ 3197537 w 3760754"/>
                <a:gd name="connsiteY631" fmla="*/ 1415570 h 1435671"/>
                <a:gd name="connsiteX632" fmla="*/ 3196701 w 3760754"/>
                <a:gd name="connsiteY632" fmla="*/ 1412628 h 1435671"/>
                <a:gd name="connsiteX633" fmla="*/ 3197035 w 3760754"/>
                <a:gd name="connsiteY633" fmla="*/ 1403249 h 1435671"/>
                <a:gd name="connsiteX634" fmla="*/ 3197705 w 3760754"/>
                <a:gd name="connsiteY634" fmla="*/ 1401226 h 1435671"/>
                <a:gd name="connsiteX635" fmla="*/ 3198540 w 3760754"/>
                <a:gd name="connsiteY635" fmla="*/ 1399203 h 1435671"/>
                <a:gd name="connsiteX636" fmla="*/ 3200045 w 3760754"/>
                <a:gd name="connsiteY636" fmla="*/ 1396813 h 1435671"/>
                <a:gd name="connsiteX637" fmla="*/ 3202553 w 3760754"/>
                <a:gd name="connsiteY637" fmla="*/ 1394238 h 1435671"/>
                <a:gd name="connsiteX638" fmla="*/ 3205228 w 3760754"/>
                <a:gd name="connsiteY638" fmla="*/ 1392767 h 1435671"/>
                <a:gd name="connsiteX639" fmla="*/ 3266435 w 3760754"/>
                <a:gd name="connsiteY639" fmla="*/ 1392767 h 1435671"/>
                <a:gd name="connsiteX640" fmla="*/ 3274292 w 3760754"/>
                <a:gd name="connsiteY640" fmla="*/ 1394422 h 1435671"/>
                <a:gd name="connsiteX641" fmla="*/ 3276466 w 3760754"/>
                <a:gd name="connsiteY641" fmla="*/ 1396813 h 1435671"/>
                <a:gd name="connsiteX642" fmla="*/ 3277970 w 3760754"/>
                <a:gd name="connsiteY642" fmla="*/ 1399387 h 1435671"/>
                <a:gd name="connsiteX643" fmla="*/ 3278639 w 3760754"/>
                <a:gd name="connsiteY643" fmla="*/ 1401226 h 1435671"/>
                <a:gd name="connsiteX644" fmla="*/ 3279308 w 3760754"/>
                <a:gd name="connsiteY644" fmla="*/ 1403985 h 1435671"/>
                <a:gd name="connsiteX645" fmla="*/ 3279977 w 3760754"/>
                <a:gd name="connsiteY645" fmla="*/ 1408766 h 1435671"/>
                <a:gd name="connsiteX646" fmla="*/ 3279308 w 3760754"/>
                <a:gd name="connsiteY646" fmla="*/ 1413731 h 1435671"/>
                <a:gd name="connsiteX647" fmla="*/ 3278471 w 3760754"/>
                <a:gd name="connsiteY647" fmla="*/ 1416305 h 1435671"/>
                <a:gd name="connsiteX648" fmla="*/ 3276967 w 3760754"/>
                <a:gd name="connsiteY648" fmla="*/ 1419247 h 1435671"/>
                <a:gd name="connsiteX649" fmla="*/ 3274627 w 3760754"/>
                <a:gd name="connsiteY649" fmla="*/ 1422190 h 1435671"/>
                <a:gd name="connsiteX650" fmla="*/ 3271618 w 3760754"/>
                <a:gd name="connsiteY650" fmla="*/ 1424029 h 1435671"/>
                <a:gd name="connsiteX651" fmla="*/ 3263258 w 3760754"/>
                <a:gd name="connsiteY651" fmla="*/ 1422374 h 1435671"/>
                <a:gd name="connsiteX652" fmla="*/ 3261085 w 3760754"/>
                <a:gd name="connsiteY652" fmla="*/ 1419983 h 1435671"/>
                <a:gd name="connsiteX653" fmla="*/ 3259414 w 3760754"/>
                <a:gd name="connsiteY653" fmla="*/ 1417041 h 1435671"/>
                <a:gd name="connsiteX654" fmla="*/ 3258745 w 3760754"/>
                <a:gd name="connsiteY654" fmla="*/ 1415570 h 1435671"/>
                <a:gd name="connsiteX655" fmla="*/ 3257909 w 3760754"/>
                <a:gd name="connsiteY655" fmla="*/ 1412628 h 1435671"/>
                <a:gd name="connsiteX656" fmla="*/ 3258243 w 3760754"/>
                <a:gd name="connsiteY656" fmla="*/ 1403249 h 1435671"/>
                <a:gd name="connsiteX657" fmla="*/ 3258912 w 3760754"/>
                <a:gd name="connsiteY657" fmla="*/ 1401226 h 1435671"/>
                <a:gd name="connsiteX658" fmla="*/ 3259747 w 3760754"/>
                <a:gd name="connsiteY658" fmla="*/ 1399203 h 1435671"/>
                <a:gd name="connsiteX659" fmla="*/ 3261253 w 3760754"/>
                <a:gd name="connsiteY659" fmla="*/ 1396813 h 1435671"/>
                <a:gd name="connsiteX660" fmla="*/ 3263760 w 3760754"/>
                <a:gd name="connsiteY660" fmla="*/ 1394238 h 1435671"/>
                <a:gd name="connsiteX661" fmla="*/ 3266435 w 3760754"/>
                <a:gd name="connsiteY661" fmla="*/ 1392767 h 1435671"/>
                <a:gd name="connsiteX662" fmla="*/ 3735451 w 3760754"/>
                <a:gd name="connsiteY662" fmla="*/ 1392767 h 1435671"/>
                <a:gd name="connsiteX663" fmla="*/ 3743308 w 3760754"/>
                <a:gd name="connsiteY663" fmla="*/ 1394422 h 1435671"/>
                <a:gd name="connsiteX664" fmla="*/ 3745481 w 3760754"/>
                <a:gd name="connsiteY664" fmla="*/ 1396813 h 1435671"/>
                <a:gd name="connsiteX665" fmla="*/ 3746986 w 3760754"/>
                <a:gd name="connsiteY665" fmla="*/ 1399387 h 1435671"/>
                <a:gd name="connsiteX666" fmla="*/ 3747655 w 3760754"/>
                <a:gd name="connsiteY666" fmla="*/ 1401226 h 1435671"/>
                <a:gd name="connsiteX667" fmla="*/ 3748323 w 3760754"/>
                <a:gd name="connsiteY667" fmla="*/ 1403985 h 1435671"/>
                <a:gd name="connsiteX668" fmla="*/ 3748992 w 3760754"/>
                <a:gd name="connsiteY668" fmla="*/ 1408766 h 1435671"/>
                <a:gd name="connsiteX669" fmla="*/ 3748323 w 3760754"/>
                <a:gd name="connsiteY669" fmla="*/ 1413731 h 1435671"/>
                <a:gd name="connsiteX670" fmla="*/ 3747488 w 3760754"/>
                <a:gd name="connsiteY670" fmla="*/ 1416305 h 1435671"/>
                <a:gd name="connsiteX671" fmla="*/ 3745983 w 3760754"/>
                <a:gd name="connsiteY671" fmla="*/ 1419247 h 1435671"/>
                <a:gd name="connsiteX672" fmla="*/ 3743642 w 3760754"/>
                <a:gd name="connsiteY672" fmla="*/ 1422190 h 1435671"/>
                <a:gd name="connsiteX673" fmla="*/ 3740633 w 3760754"/>
                <a:gd name="connsiteY673" fmla="*/ 1424029 h 1435671"/>
                <a:gd name="connsiteX674" fmla="*/ 3732274 w 3760754"/>
                <a:gd name="connsiteY674" fmla="*/ 1422374 h 1435671"/>
                <a:gd name="connsiteX675" fmla="*/ 3730101 w 3760754"/>
                <a:gd name="connsiteY675" fmla="*/ 1419983 h 1435671"/>
                <a:gd name="connsiteX676" fmla="*/ 3728429 w 3760754"/>
                <a:gd name="connsiteY676" fmla="*/ 1417041 h 1435671"/>
                <a:gd name="connsiteX677" fmla="*/ 3727760 w 3760754"/>
                <a:gd name="connsiteY677" fmla="*/ 1415570 h 1435671"/>
                <a:gd name="connsiteX678" fmla="*/ 3726924 w 3760754"/>
                <a:gd name="connsiteY678" fmla="*/ 1412628 h 1435671"/>
                <a:gd name="connsiteX679" fmla="*/ 3727259 w 3760754"/>
                <a:gd name="connsiteY679" fmla="*/ 1403249 h 1435671"/>
                <a:gd name="connsiteX680" fmla="*/ 3727928 w 3760754"/>
                <a:gd name="connsiteY680" fmla="*/ 1401226 h 1435671"/>
                <a:gd name="connsiteX681" fmla="*/ 3728764 w 3760754"/>
                <a:gd name="connsiteY681" fmla="*/ 1399203 h 1435671"/>
                <a:gd name="connsiteX682" fmla="*/ 3730268 w 3760754"/>
                <a:gd name="connsiteY682" fmla="*/ 1396813 h 1435671"/>
                <a:gd name="connsiteX683" fmla="*/ 3732776 w 3760754"/>
                <a:gd name="connsiteY683" fmla="*/ 1394238 h 1435671"/>
                <a:gd name="connsiteX684" fmla="*/ 3735451 w 3760754"/>
                <a:gd name="connsiteY684" fmla="*/ 1392767 h 1435671"/>
                <a:gd name="connsiteX685" fmla="*/ 148476 w 3760754"/>
                <a:gd name="connsiteY685" fmla="*/ 1384929 h 1435671"/>
                <a:gd name="connsiteX686" fmla="*/ 156406 w 3760754"/>
                <a:gd name="connsiteY686" fmla="*/ 1390186 h 1435671"/>
                <a:gd name="connsiteX687" fmla="*/ 157035 w 3760754"/>
                <a:gd name="connsiteY687" fmla="*/ 1393303 h 1435671"/>
                <a:gd name="connsiteX688" fmla="*/ 154832 w 3760754"/>
                <a:gd name="connsiteY688" fmla="*/ 1393303 h 1435671"/>
                <a:gd name="connsiteX689" fmla="*/ 142306 w 3760754"/>
                <a:gd name="connsiteY689" fmla="*/ 1393303 h 1435671"/>
                <a:gd name="connsiteX690" fmla="*/ 139916 w 3760754"/>
                <a:gd name="connsiteY690" fmla="*/ 1393303 h 1435671"/>
                <a:gd name="connsiteX691" fmla="*/ 140546 w 3760754"/>
                <a:gd name="connsiteY691" fmla="*/ 1390186 h 1435671"/>
                <a:gd name="connsiteX692" fmla="*/ 148476 w 3760754"/>
                <a:gd name="connsiteY692" fmla="*/ 1384929 h 1435671"/>
                <a:gd name="connsiteX693" fmla="*/ 597293 w 3760754"/>
                <a:gd name="connsiteY693" fmla="*/ 1384929 h 1435671"/>
                <a:gd name="connsiteX694" fmla="*/ 605223 w 3760754"/>
                <a:gd name="connsiteY694" fmla="*/ 1390186 h 1435671"/>
                <a:gd name="connsiteX695" fmla="*/ 605852 w 3760754"/>
                <a:gd name="connsiteY695" fmla="*/ 1393303 h 1435671"/>
                <a:gd name="connsiteX696" fmla="*/ 603649 w 3760754"/>
                <a:gd name="connsiteY696" fmla="*/ 1393303 h 1435671"/>
                <a:gd name="connsiteX697" fmla="*/ 591123 w 3760754"/>
                <a:gd name="connsiteY697" fmla="*/ 1393303 h 1435671"/>
                <a:gd name="connsiteX698" fmla="*/ 588733 w 3760754"/>
                <a:gd name="connsiteY698" fmla="*/ 1393303 h 1435671"/>
                <a:gd name="connsiteX699" fmla="*/ 589363 w 3760754"/>
                <a:gd name="connsiteY699" fmla="*/ 1390186 h 1435671"/>
                <a:gd name="connsiteX700" fmla="*/ 597293 w 3760754"/>
                <a:gd name="connsiteY700" fmla="*/ 1384929 h 1435671"/>
                <a:gd name="connsiteX701" fmla="*/ 760469 w 3760754"/>
                <a:gd name="connsiteY701" fmla="*/ 1384929 h 1435671"/>
                <a:gd name="connsiteX702" fmla="*/ 768399 w 3760754"/>
                <a:gd name="connsiteY702" fmla="*/ 1390186 h 1435671"/>
                <a:gd name="connsiteX703" fmla="*/ 769029 w 3760754"/>
                <a:gd name="connsiteY703" fmla="*/ 1393303 h 1435671"/>
                <a:gd name="connsiteX704" fmla="*/ 766825 w 3760754"/>
                <a:gd name="connsiteY704" fmla="*/ 1393303 h 1435671"/>
                <a:gd name="connsiteX705" fmla="*/ 754299 w 3760754"/>
                <a:gd name="connsiteY705" fmla="*/ 1393303 h 1435671"/>
                <a:gd name="connsiteX706" fmla="*/ 751909 w 3760754"/>
                <a:gd name="connsiteY706" fmla="*/ 1393303 h 1435671"/>
                <a:gd name="connsiteX707" fmla="*/ 752539 w 3760754"/>
                <a:gd name="connsiteY707" fmla="*/ 1390186 h 1435671"/>
                <a:gd name="connsiteX708" fmla="*/ 760469 w 3760754"/>
                <a:gd name="connsiteY708" fmla="*/ 1384929 h 1435671"/>
                <a:gd name="connsiteX709" fmla="*/ 821627 w 3760754"/>
                <a:gd name="connsiteY709" fmla="*/ 1384929 h 1435671"/>
                <a:gd name="connsiteX710" fmla="*/ 829557 w 3760754"/>
                <a:gd name="connsiteY710" fmla="*/ 1390186 h 1435671"/>
                <a:gd name="connsiteX711" fmla="*/ 830187 w 3760754"/>
                <a:gd name="connsiteY711" fmla="*/ 1393303 h 1435671"/>
                <a:gd name="connsiteX712" fmla="*/ 827983 w 3760754"/>
                <a:gd name="connsiteY712" fmla="*/ 1393303 h 1435671"/>
                <a:gd name="connsiteX713" fmla="*/ 815457 w 3760754"/>
                <a:gd name="connsiteY713" fmla="*/ 1393303 h 1435671"/>
                <a:gd name="connsiteX714" fmla="*/ 813067 w 3760754"/>
                <a:gd name="connsiteY714" fmla="*/ 1393303 h 1435671"/>
                <a:gd name="connsiteX715" fmla="*/ 813696 w 3760754"/>
                <a:gd name="connsiteY715" fmla="*/ 1390186 h 1435671"/>
                <a:gd name="connsiteX716" fmla="*/ 821627 w 3760754"/>
                <a:gd name="connsiteY716" fmla="*/ 1384929 h 1435671"/>
                <a:gd name="connsiteX717" fmla="*/ 1168426 w 3760754"/>
                <a:gd name="connsiteY717" fmla="*/ 1384929 h 1435671"/>
                <a:gd name="connsiteX718" fmla="*/ 1176356 w 3760754"/>
                <a:gd name="connsiteY718" fmla="*/ 1390186 h 1435671"/>
                <a:gd name="connsiteX719" fmla="*/ 1176986 w 3760754"/>
                <a:gd name="connsiteY719" fmla="*/ 1393303 h 1435671"/>
                <a:gd name="connsiteX720" fmla="*/ 1174781 w 3760754"/>
                <a:gd name="connsiteY720" fmla="*/ 1393303 h 1435671"/>
                <a:gd name="connsiteX721" fmla="*/ 1162255 w 3760754"/>
                <a:gd name="connsiteY721" fmla="*/ 1393303 h 1435671"/>
                <a:gd name="connsiteX722" fmla="*/ 1159865 w 3760754"/>
                <a:gd name="connsiteY722" fmla="*/ 1393303 h 1435671"/>
                <a:gd name="connsiteX723" fmla="*/ 1160495 w 3760754"/>
                <a:gd name="connsiteY723" fmla="*/ 1390186 h 1435671"/>
                <a:gd name="connsiteX724" fmla="*/ 1168426 w 3760754"/>
                <a:gd name="connsiteY724" fmla="*/ 1384929 h 1435671"/>
                <a:gd name="connsiteX725" fmla="*/ 1341800 w 3760754"/>
                <a:gd name="connsiteY725" fmla="*/ 1384929 h 1435671"/>
                <a:gd name="connsiteX726" fmla="*/ 1349730 w 3760754"/>
                <a:gd name="connsiteY726" fmla="*/ 1390186 h 1435671"/>
                <a:gd name="connsiteX727" fmla="*/ 1350360 w 3760754"/>
                <a:gd name="connsiteY727" fmla="*/ 1393303 h 1435671"/>
                <a:gd name="connsiteX728" fmla="*/ 1348156 w 3760754"/>
                <a:gd name="connsiteY728" fmla="*/ 1393303 h 1435671"/>
                <a:gd name="connsiteX729" fmla="*/ 1335630 w 3760754"/>
                <a:gd name="connsiteY729" fmla="*/ 1393303 h 1435671"/>
                <a:gd name="connsiteX730" fmla="*/ 1333240 w 3760754"/>
                <a:gd name="connsiteY730" fmla="*/ 1393303 h 1435671"/>
                <a:gd name="connsiteX731" fmla="*/ 1333870 w 3760754"/>
                <a:gd name="connsiteY731" fmla="*/ 1390186 h 1435671"/>
                <a:gd name="connsiteX732" fmla="*/ 1341800 w 3760754"/>
                <a:gd name="connsiteY732" fmla="*/ 1384929 h 1435671"/>
                <a:gd name="connsiteX733" fmla="*/ 1402958 w 3760754"/>
                <a:gd name="connsiteY733" fmla="*/ 1384929 h 1435671"/>
                <a:gd name="connsiteX734" fmla="*/ 1410888 w 3760754"/>
                <a:gd name="connsiteY734" fmla="*/ 1390186 h 1435671"/>
                <a:gd name="connsiteX735" fmla="*/ 1411518 w 3760754"/>
                <a:gd name="connsiteY735" fmla="*/ 1393303 h 1435671"/>
                <a:gd name="connsiteX736" fmla="*/ 1409314 w 3760754"/>
                <a:gd name="connsiteY736" fmla="*/ 1393303 h 1435671"/>
                <a:gd name="connsiteX737" fmla="*/ 1396788 w 3760754"/>
                <a:gd name="connsiteY737" fmla="*/ 1393303 h 1435671"/>
                <a:gd name="connsiteX738" fmla="*/ 1394398 w 3760754"/>
                <a:gd name="connsiteY738" fmla="*/ 1393303 h 1435671"/>
                <a:gd name="connsiteX739" fmla="*/ 1395028 w 3760754"/>
                <a:gd name="connsiteY739" fmla="*/ 1390186 h 1435671"/>
                <a:gd name="connsiteX740" fmla="*/ 1402958 w 3760754"/>
                <a:gd name="connsiteY740" fmla="*/ 1384929 h 1435671"/>
                <a:gd name="connsiteX741" fmla="*/ 1464116 w 3760754"/>
                <a:gd name="connsiteY741" fmla="*/ 1384929 h 1435671"/>
                <a:gd name="connsiteX742" fmla="*/ 1472046 w 3760754"/>
                <a:gd name="connsiteY742" fmla="*/ 1390186 h 1435671"/>
                <a:gd name="connsiteX743" fmla="*/ 1472676 w 3760754"/>
                <a:gd name="connsiteY743" fmla="*/ 1393303 h 1435671"/>
                <a:gd name="connsiteX744" fmla="*/ 1470472 w 3760754"/>
                <a:gd name="connsiteY744" fmla="*/ 1393303 h 1435671"/>
                <a:gd name="connsiteX745" fmla="*/ 1457946 w 3760754"/>
                <a:gd name="connsiteY745" fmla="*/ 1393303 h 1435671"/>
                <a:gd name="connsiteX746" fmla="*/ 1455556 w 3760754"/>
                <a:gd name="connsiteY746" fmla="*/ 1393303 h 1435671"/>
                <a:gd name="connsiteX747" fmla="*/ 1456186 w 3760754"/>
                <a:gd name="connsiteY747" fmla="*/ 1390186 h 1435671"/>
                <a:gd name="connsiteX748" fmla="*/ 1464116 w 3760754"/>
                <a:gd name="connsiteY748" fmla="*/ 1384929 h 1435671"/>
                <a:gd name="connsiteX749" fmla="*/ 1576283 w 3760754"/>
                <a:gd name="connsiteY749" fmla="*/ 1384929 h 1435671"/>
                <a:gd name="connsiteX750" fmla="*/ 1584213 w 3760754"/>
                <a:gd name="connsiteY750" fmla="*/ 1390186 h 1435671"/>
                <a:gd name="connsiteX751" fmla="*/ 1584843 w 3760754"/>
                <a:gd name="connsiteY751" fmla="*/ 1393303 h 1435671"/>
                <a:gd name="connsiteX752" fmla="*/ 1582639 w 3760754"/>
                <a:gd name="connsiteY752" fmla="*/ 1393303 h 1435671"/>
                <a:gd name="connsiteX753" fmla="*/ 1570113 w 3760754"/>
                <a:gd name="connsiteY753" fmla="*/ 1393303 h 1435671"/>
                <a:gd name="connsiteX754" fmla="*/ 1567723 w 3760754"/>
                <a:gd name="connsiteY754" fmla="*/ 1393303 h 1435671"/>
                <a:gd name="connsiteX755" fmla="*/ 1568353 w 3760754"/>
                <a:gd name="connsiteY755" fmla="*/ 1390186 h 1435671"/>
                <a:gd name="connsiteX756" fmla="*/ 1576283 w 3760754"/>
                <a:gd name="connsiteY756" fmla="*/ 1384929 h 1435671"/>
                <a:gd name="connsiteX757" fmla="*/ 1698649 w 3760754"/>
                <a:gd name="connsiteY757" fmla="*/ 1384929 h 1435671"/>
                <a:gd name="connsiteX758" fmla="*/ 1706579 w 3760754"/>
                <a:gd name="connsiteY758" fmla="*/ 1390186 h 1435671"/>
                <a:gd name="connsiteX759" fmla="*/ 1707209 w 3760754"/>
                <a:gd name="connsiteY759" fmla="*/ 1393303 h 1435671"/>
                <a:gd name="connsiteX760" fmla="*/ 1705004 w 3760754"/>
                <a:gd name="connsiteY760" fmla="*/ 1393303 h 1435671"/>
                <a:gd name="connsiteX761" fmla="*/ 1692478 w 3760754"/>
                <a:gd name="connsiteY761" fmla="*/ 1393303 h 1435671"/>
                <a:gd name="connsiteX762" fmla="*/ 1690088 w 3760754"/>
                <a:gd name="connsiteY762" fmla="*/ 1393303 h 1435671"/>
                <a:gd name="connsiteX763" fmla="*/ 1690718 w 3760754"/>
                <a:gd name="connsiteY763" fmla="*/ 1390186 h 1435671"/>
                <a:gd name="connsiteX764" fmla="*/ 1698649 w 3760754"/>
                <a:gd name="connsiteY764" fmla="*/ 1384929 h 1435671"/>
                <a:gd name="connsiteX765" fmla="*/ 1759807 w 3760754"/>
                <a:gd name="connsiteY765" fmla="*/ 1384929 h 1435671"/>
                <a:gd name="connsiteX766" fmla="*/ 1767737 w 3760754"/>
                <a:gd name="connsiteY766" fmla="*/ 1390186 h 1435671"/>
                <a:gd name="connsiteX767" fmla="*/ 1768367 w 3760754"/>
                <a:gd name="connsiteY767" fmla="*/ 1393303 h 1435671"/>
                <a:gd name="connsiteX768" fmla="*/ 1766162 w 3760754"/>
                <a:gd name="connsiteY768" fmla="*/ 1393303 h 1435671"/>
                <a:gd name="connsiteX769" fmla="*/ 1753636 w 3760754"/>
                <a:gd name="connsiteY769" fmla="*/ 1393303 h 1435671"/>
                <a:gd name="connsiteX770" fmla="*/ 1751246 w 3760754"/>
                <a:gd name="connsiteY770" fmla="*/ 1393303 h 1435671"/>
                <a:gd name="connsiteX771" fmla="*/ 1751876 w 3760754"/>
                <a:gd name="connsiteY771" fmla="*/ 1390186 h 1435671"/>
                <a:gd name="connsiteX772" fmla="*/ 1759807 w 3760754"/>
                <a:gd name="connsiteY772" fmla="*/ 1384929 h 1435671"/>
                <a:gd name="connsiteX773" fmla="*/ 1871974 w 3760754"/>
                <a:gd name="connsiteY773" fmla="*/ 1384929 h 1435671"/>
                <a:gd name="connsiteX774" fmla="*/ 1879904 w 3760754"/>
                <a:gd name="connsiteY774" fmla="*/ 1390186 h 1435671"/>
                <a:gd name="connsiteX775" fmla="*/ 1880530 w 3760754"/>
                <a:gd name="connsiteY775" fmla="*/ 1393303 h 1435671"/>
                <a:gd name="connsiteX776" fmla="*/ 1878329 w 3760754"/>
                <a:gd name="connsiteY776" fmla="*/ 1393303 h 1435671"/>
                <a:gd name="connsiteX777" fmla="*/ 1865803 w 3760754"/>
                <a:gd name="connsiteY777" fmla="*/ 1393303 h 1435671"/>
                <a:gd name="connsiteX778" fmla="*/ 1863413 w 3760754"/>
                <a:gd name="connsiteY778" fmla="*/ 1393303 h 1435671"/>
                <a:gd name="connsiteX779" fmla="*/ 1864043 w 3760754"/>
                <a:gd name="connsiteY779" fmla="*/ 1390186 h 1435671"/>
                <a:gd name="connsiteX780" fmla="*/ 1871974 w 3760754"/>
                <a:gd name="connsiteY780" fmla="*/ 1384929 h 1435671"/>
                <a:gd name="connsiteX781" fmla="*/ 1994336 w 3760754"/>
                <a:gd name="connsiteY781" fmla="*/ 1384929 h 1435671"/>
                <a:gd name="connsiteX782" fmla="*/ 2002267 w 3760754"/>
                <a:gd name="connsiteY782" fmla="*/ 1390186 h 1435671"/>
                <a:gd name="connsiteX783" fmla="*/ 2002896 w 3760754"/>
                <a:gd name="connsiteY783" fmla="*/ 1393303 h 1435671"/>
                <a:gd name="connsiteX784" fmla="*/ 2000692 w 3760754"/>
                <a:gd name="connsiteY784" fmla="*/ 1393303 h 1435671"/>
                <a:gd name="connsiteX785" fmla="*/ 1988166 w 3760754"/>
                <a:gd name="connsiteY785" fmla="*/ 1393303 h 1435671"/>
                <a:gd name="connsiteX786" fmla="*/ 1985776 w 3760754"/>
                <a:gd name="connsiteY786" fmla="*/ 1393303 h 1435671"/>
                <a:gd name="connsiteX787" fmla="*/ 1986405 w 3760754"/>
                <a:gd name="connsiteY787" fmla="*/ 1390186 h 1435671"/>
                <a:gd name="connsiteX788" fmla="*/ 1994336 w 3760754"/>
                <a:gd name="connsiteY788" fmla="*/ 1384929 h 1435671"/>
                <a:gd name="connsiteX789" fmla="*/ 2106503 w 3760754"/>
                <a:gd name="connsiteY789" fmla="*/ 1384929 h 1435671"/>
                <a:gd name="connsiteX790" fmla="*/ 2114434 w 3760754"/>
                <a:gd name="connsiteY790" fmla="*/ 1390186 h 1435671"/>
                <a:gd name="connsiteX791" fmla="*/ 2115063 w 3760754"/>
                <a:gd name="connsiteY791" fmla="*/ 1393303 h 1435671"/>
                <a:gd name="connsiteX792" fmla="*/ 2112859 w 3760754"/>
                <a:gd name="connsiteY792" fmla="*/ 1393303 h 1435671"/>
                <a:gd name="connsiteX793" fmla="*/ 2100333 w 3760754"/>
                <a:gd name="connsiteY793" fmla="*/ 1393303 h 1435671"/>
                <a:gd name="connsiteX794" fmla="*/ 2097943 w 3760754"/>
                <a:gd name="connsiteY794" fmla="*/ 1393303 h 1435671"/>
                <a:gd name="connsiteX795" fmla="*/ 2098572 w 3760754"/>
                <a:gd name="connsiteY795" fmla="*/ 1390186 h 1435671"/>
                <a:gd name="connsiteX796" fmla="*/ 2106503 w 3760754"/>
                <a:gd name="connsiteY796" fmla="*/ 1384929 h 1435671"/>
                <a:gd name="connsiteX797" fmla="*/ 2167663 w 3760754"/>
                <a:gd name="connsiteY797" fmla="*/ 1384929 h 1435671"/>
                <a:gd name="connsiteX798" fmla="*/ 2175594 w 3760754"/>
                <a:gd name="connsiteY798" fmla="*/ 1390186 h 1435671"/>
                <a:gd name="connsiteX799" fmla="*/ 2176223 w 3760754"/>
                <a:gd name="connsiteY799" fmla="*/ 1393303 h 1435671"/>
                <a:gd name="connsiteX800" fmla="*/ 2174019 w 3760754"/>
                <a:gd name="connsiteY800" fmla="*/ 1393303 h 1435671"/>
                <a:gd name="connsiteX801" fmla="*/ 2161491 w 3760754"/>
                <a:gd name="connsiteY801" fmla="*/ 1393303 h 1435671"/>
                <a:gd name="connsiteX802" fmla="*/ 2159101 w 3760754"/>
                <a:gd name="connsiteY802" fmla="*/ 1393303 h 1435671"/>
                <a:gd name="connsiteX803" fmla="*/ 2159730 w 3760754"/>
                <a:gd name="connsiteY803" fmla="*/ 1390186 h 1435671"/>
                <a:gd name="connsiteX804" fmla="*/ 2167663 w 3760754"/>
                <a:gd name="connsiteY804" fmla="*/ 1384929 h 1435671"/>
                <a:gd name="connsiteX805" fmla="*/ 2341038 w 3760754"/>
                <a:gd name="connsiteY805" fmla="*/ 1384929 h 1435671"/>
                <a:gd name="connsiteX806" fmla="*/ 2348967 w 3760754"/>
                <a:gd name="connsiteY806" fmla="*/ 1390186 h 1435671"/>
                <a:gd name="connsiteX807" fmla="*/ 2349597 w 3760754"/>
                <a:gd name="connsiteY807" fmla="*/ 1393303 h 1435671"/>
                <a:gd name="connsiteX808" fmla="*/ 2347394 w 3760754"/>
                <a:gd name="connsiteY808" fmla="*/ 1393303 h 1435671"/>
                <a:gd name="connsiteX809" fmla="*/ 2334868 w 3760754"/>
                <a:gd name="connsiteY809" fmla="*/ 1393303 h 1435671"/>
                <a:gd name="connsiteX810" fmla="*/ 2332478 w 3760754"/>
                <a:gd name="connsiteY810" fmla="*/ 1393303 h 1435671"/>
                <a:gd name="connsiteX811" fmla="*/ 2333108 w 3760754"/>
                <a:gd name="connsiteY811" fmla="*/ 1390186 h 1435671"/>
                <a:gd name="connsiteX812" fmla="*/ 2341038 w 3760754"/>
                <a:gd name="connsiteY812" fmla="*/ 1384929 h 1435671"/>
                <a:gd name="connsiteX813" fmla="*/ 2626630 w 3760754"/>
                <a:gd name="connsiteY813" fmla="*/ 1384929 h 1435671"/>
                <a:gd name="connsiteX814" fmla="*/ 2634560 w 3760754"/>
                <a:gd name="connsiteY814" fmla="*/ 1390186 h 1435671"/>
                <a:gd name="connsiteX815" fmla="*/ 2635189 w 3760754"/>
                <a:gd name="connsiteY815" fmla="*/ 1393303 h 1435671"/>
                <a:gd name="connsiteX816" fmla="*/ 2632986 w 3760754"/>
                <a:gd name="connsiteY816" fmla="*/ 1393303 h 1435671"/>
                <a:gd name="connsiteX817" fmla="*/ 2620459 w 3760754"/>
                <a:gd name="connsiteY817" fmla="*/ 1393303 h 1435671"/>
                <a:gd name="connsiteX818" fmla="*/ 2618068 w 3760754"/>
                <a:gd name="connsiteY818" fmla="*/ 1393303 h 1435671"/>
                <a:gd name="connsiteX819" fmla="*/ 2618699 w 3760754"/>
                <a:gd name="connsiteY819" fmla="*/ 1390186 h 1435671"/>
                <a:gd name="connsiteX820" fmla="*/ 2626630 w 3760754"/>
                <a:gd name="connsiteY820" fmla="*/ 1384929 h 1435671"/>
                <a:gd name="connsiteX821" fmla="*/ 2687787 w 3760754"/>
                <a:gd name="connsiteY821" fmla="*/ 1384929 h 1435671"/>
                <a:gd name="connsiteX822" fmla="*/ 2695718 w 3760754"/>
                <a:gd name="connsiteY822" fmla="*/ 1390186 h 1435671"/>
                <a:gd name="connsiteX823" fmla="*/ 2696346 w 3760754"/>
                <a:gd name="connsiteY823" fmla="*/ 1393303 h 1435671"/>
                <a:gd name="connsiteX824" fmla="*/ 2694143 w 3760754"/>
                <a:gd name="connsiteY824" fmla="*/ 1393303 h 1435671"/>
                <a:gd name="connsiteX825" fmla="*/ 2681618 w 3760754"/>
                <a:gd name="connsiteY825" fmla="*/ 1393303 h 1435671"/>
                <a:gd name="connsiteX826" fmla="*/ 2679228 w 3760754"/>
                <a:gd name="connsiteY826" fmla="*/ 1393303 h 1435671"/>
                <a:gd name="connsiteX827" fmla="*/ 2679857 w 3760754"/>
                <a:gd name="connsiteY827" fmla="*/ 1390186 h 1435671"/>
                <a:gd name="connsiteX828" fmla="*/ 2687787 w 3760754"/>
                <a:gd name="connsiteY828" fmla="*/ 1384929 h 1435671"/>
                <a:gd name="connsiteX829" fmla="*/ 2810153 w 3760754"/>
                <a:gd name="connsiteY829" fmla="*/ 1384929 h 1435671"/>
                <a:gd name="connsiteX830" fmla="*/ 2818083 w 3760754"/>
                <a:gd name="connsiteY830" fmla="*/ 1390186 h 1435671"/>
                <a:gd name="connsiteX831" fmla="*/ 2818713 w 3760754"/>
                <a:gd name="connsiteY831" fmla="*/ 1393303 h 1435671"/>
                <a:gd name="connsiteX832" fmla="*/ 2816509 w 3760754"/>
                <a:gd name="connsiteY832" fmla="*/ 1393303 h 1435671"/>
                <a:gd name="connsiteX833" fmla="*/ 2803982 w 3760754"/>
                <a:gd name="connsiteY833" fmla="*/ 1393303 h 1435671"/>
                <a:gd name="connsiteX834" fmla="*/ 2801593 w 3760754"/>
                <a:gd name="connsiteY834" fmla="*/ 1393303 h 1435671"/>
                <a:gd name="connsiteX835" fmla="*/ 2802222 w 3760754"/>
                <a:gd name="connsiteY835" fmla="*/ 1390186 h 1435671"/>
                <a:gd name="connsiteX836" fmla="*/ 2810153 w 3760754"/>
                <a:gd name="connsiteY836" fmla="*/ 1384929 h 1435671"/>
                <a:gd name="connsiteX837" fmla="*/ 3330376 w 3760754"/>
                <a:gd name="connsiteY837" fmla="*/ 1384929 h 1435671"/>
                <a:gd name="connsiteX838" fmla="*/ 3338307 w 3760754"/>
                <a:gd name="connsiteY838" fmla="*/ 1390186 h 1435671"/>
                <a:gd name="connsiteX839" fmla="*/ 3338936 w 3760754"/>
                <a:gd name="connsiteY839" fmla="*/ 1393303 h 1435671"/>
                <a:gd name="connsiteX840" fmla="*/ 3336732 w 3760754"/>
                <a:gd name="connsiteY840" fmla="*/ 1393303 h 1435671"/>
                <a:gd name="connsiteX841" fmla="*/ 3324206 w 3760754"/>
                <a:gd name="connsiteY841" fmla="*/ 1393303 h 1435671"/>
                <a:gd name="connsiteX842" fmla="*/ 3321816 w 3760754"/>
                <a:gd name="connsiteY842" fmla="*/ 1393303 h 1435671"/>
                <a:gd name="connsiteX843" fmla="*/ 3322445 w 3760754"/>
                <a:gd name="connsiteY843" fmla="*/ 1390186 h 1435671"/>
                <a:gd name="connsiteX844" fmla="*/ 3330376 w 3760754"/>
                <a:gd name="connsiteY844" fmla="*/ 1384929 h 1435671"/>
                <a:gd name="connsiteX845" fmla="*/ 3442543 w 3760754"/>
                <a:gd name="connsiteY845" fmla="*/ 1384929 h 1435671"/>
                <a:gd name="connsiteX846" fmla="*/ 3450474 w 3760754"/>
                <a:gd name="connsiteY846" fmla="*/ 1390186 h 1435671"/>
                <a:gd name="connsiteX847" fmla="*/ 3451103 w 3760754"/>
                <a:gd name="connsiteY847" fmla="*/ 1393303 h 1435671"/>
                <a:gd name="connsiteX848" fmla="*/ 3448899 w 3760754"/>
                <a:gd name="connsiteY848" fmla="*/ 1393303 h 1435671"/>
                <a:gd name="connsiteX849" fmla="*/ 3436373 w 3760754"/>
                <a:gd name="connsiteY849" fmla="*/ 1393303 h 1435671"/>
                <a:gd name="connsiteX850" fmla="*/ 3433983 w 3760754"/>
                <a:gd name="connsiteY850" fmla="*/ 1393303 h 1435671"/>
                <a:gd name="connsiteX851" fmla="*/ 3434612 w 3760754"/>
                <a:gd name="connsiteY851" fmla="*/ 1390186 h 1435671"/>
                <a:gd name="connsiteX852" fmla="*/ 3442543 w 3760754"/>
                <a:gd name="connsiteY852" fmla="*/ 1384929 h 1435671"/>
                <a:gd name="connsiteX853" fmla="*/ 3503701 w 3760754"/>
                <a:gd name="connsiteY853" fmla="*/ 1384929 h 1435671"/>
                <a:gd name="connsiteX854" fmla="*/ 3511631 w 3760754"/>
                <a:gd name="connsiteY854" fmla="*/ 1390186 h 1435671"/>
                <a:gd name="connsiteX855" fmla="*/ 3512261 w 3760754"/>
                <a:gd name="connsiteY855" fmla="*/ 1393303 h 1435671"/>
                <a:gd name="connsiteX856" fmla="*/ 3510057 w 3760754"/>
                <a:gd name="connsiteY856" fmla="*/ 1393303 h 1435671"/>
                <a:gd name="connsiteX857" fmla="*/ 3497531 w 3760754"/>
                <a:gd name="connsiteY857" fmla="*/ 1393303 h 1435671"/>
                <a:gd name="connsiteX858" fmla="*/ 3495141 w 3760754"/>
                <a:gd name="connsiteY858" fmla="*/ 1393303 h 1435671"/>
                <a:gd name="connsiteX859" fmla="*/ 3495770 w 3760754"/>
                <a:gd name="connsiteY859" fmla="*/ 1390186 h 1435671"/>
                <a:gd name="connsiteX860" fmla="*/ 3503701 w 3760754"/>
                <a:gd name="connsiteY860" fmla="*/ 1384929 h 1435671"/>
                <a:gd name="connsiteX861" fmla="*/ 3564859 w 3760754"/>
                <a:gd name="connsiteY861" fmla="*/ 1384929 h 1435671"/>
                <a:gd name="connsiteX862" fmla="*/ 3572789 w 3760754"/>
                <a:gd name="connsiteY862" fmla="*/ 1390186 h 1435671"/>
                <a:gd name="connsiteX863" fmla="*/ 3573419 w 3760754"/>
                <a:gd name="connsiteY863" fmla="*/ 1393303 h 1435671"/>
                <a:gd name="connsiteX864" fmla="*/ 3571215 w 3760754"/>
                <a:gd name="connsiteY864" fmla="*/ 1393303 h 1435671"/>
                <a:gd name="connsiteX865" fmla="*/ 3558689 w 3760754"/>
                <a:gd name="connsiteY865" fmla="*/ 1393303 h 1435671"/>
                <a:gd name="connsiteX866" fmla="*/ 3556299 w 3760754"/>
                <a:gd name="connsiteY866" fmla="*/ 1393303 h 1435671"/>
                <a:gd name="connsiteX867" fmla="*/ 3556928 w 3760754"/>
                <a:gd name="connsiteY867" fmla="*/ 1390186 h 1435671"/>
                <a:gd name="connsiteX868" fmla="*/ 3564859 w 3760754"/>
                <a:gd name="connsiteY868" fmla="*/ 1384929 h 1435671"/>
                <a:gd name="connsiteX869" fmla="*/ 3626017 w 3760754"/>
                <a:gd name="connsiteY869" fmla="*/ 1384929 h 1435671"/>
                <a:gd name="connsiteX870" fmla="*/ 3633947 w 3760754"/>
                <a:gd name="connsiteY870" fmla="*/ 1390186 h 1435671"/>
                <a:gd name="connsiteX871" fmla="*/ 3634576 w 3760754"/>
                <a:gd name="connsiteY871" fmla="*/ 1393303 h 1435671"/>
                <a:gd name="connsiteX872" fmla="*/ 3632373 w 3760754"/>
                <a:gd name="connsiteY872" fmla="*/ 1393303 h 1435671"/>
                <a:gd name="connsiteX873" fmla="*/ 3619847 w 3760754"/>
                <a:gd name="connsiteY873" fmla="*/ 1393303 h 1435671"/>
                <a:gd name="connsiteX874" fmla="*/ 3617457 w 3760754"/>
                <a:gd name="connsiteY874" fmla="*/ 1393303 h 1435671"/>
                <a:gd name="connsiteX875" fmla="*/ 3618086 w 3760754"/>
                <a:gd name="connsiteY875" fmla="*/ 1390186 h 1435671"/>
                <a:gd name="connsiteX876" fmla="*/ 3626017 w 3760754"/>
                <a:gd name="connsiteY876" fmla="*/ 1384929 h 1435671"/>
                <a:gd name="connsiteX877" fmla="*/ 267146 w 3760754"/>
                <a:gd name="connsiteY877" fmla="*/ 1381964 h 1435671"/>
                <a:gd name="connsiteX878" fmla="*/ 264388 w 3760754"/>
                <a:gd name="connsiteY878" fmla="*/ 1381964 h 1435671"/>
                <a:gd name="connsiteX879" fmla="*/ 261262 w 3760754"/>
                <a:gd name="connsiteY879" fmla="*/ 1383619 h 1435671"/>
                <a:gd name="connsiteX880" fmla="*/ 259791 w 3760754"/>
                <a:gd name="connsiteY880" fmla="*/ 1387849 h 1435671"/>
                <a:gd name="connsiteX881" fmla="*/ 259791 w 3760754"/>
                <a:gd name="connsiteY881" fmla="*/ 1388216 h 1435671"/>
                <a:gd name="connsiteX882" fmla="*/ 259791 w 3760754"/>
                <a:gd name="connsiteY882" fmla="*/ 1424260 h 1435671"/>
                <a:gd name="connsiteX883" fmla="*/ 259423 w 3760754"/>
                <a:gd name="connsiteY883" fmla="*/ 1424627 h 1435671"/>
                <a:gd name="connsiteX884" fmla="*/ 254458 w 3760754"/>
                <a:gd name="connsiteY884" fmla="*/ 1424627 h 1435671"/>
                <a:gd name="connsiteX885" fmla="*/ 251699 w 3760754"/>
                <a:gd name="connsiteY885" fmla="*/ 1425363 h 1435671"/>
                <a:gd name="connsiteX886" fmla="*/ 249125 w 3760754"/>
                <a:gd name="connsiteY886" fmla="*/ 1429960 h 1435671"/>
                <a:gd name="connsiteX887" fmla="*/ 250963 w 3760754"/>
                <a:gd name="connsiteY887" fmla="*/ 1433822 h 1435671"/>
                <a:gd name="connsiteX888" fmla="*/ 253722 w 3760754"/>
                <a:gd name="connsiteY888" fmla="*/ 1435109 h 1435671"/>
                <a:gd name="connsiteX889" fmla="*/ 253906 w 3760754"/>
                <a:gd name="connsiteY889" fmla="*/ 1435109 h 1435671"/>
                <a:gd name="connsiteX890" fmla="*/ 254090 w 3760754"/>
                <a:gd name="connsiteY890" fmla="*/ 1435109 h 1435671"/>
                <a:gd name="connsiteX891" fmla="*/ 254458 w 3760754"/>
                <a:gd name="connsiteY891" fmla="*/ 1435109 h 1435671"/>
                <a:gd name="connsiteX892" fmla="*/ 276341 w 3760754"/>
                <a:gd name="connsiteY892" fmla="*/ 1435109 h 1435671"/>
                <a:gd name="connsiteX893" fmla="*/ 276708 w 3760754"/>
                <a:gd name="connsiteY893" fmla="*/ 1435109 h 1435671"/>
                <a:gd name="connsiteX894" fmla="*/ 277261 w 3760754"/>
                <a:gd name="connsiteY894" fmla="*/ 1435109 h 1435671"/>
                <a:gd name="connsiteX895" fmla="*/ 277812 w 3760754"/>
                <a:gd name="connsiteY895" fmla="*/ 1434926 h 1435671"/>
                <a:gd name="connsiteX896" fmla="*/ 280203 w 3760754"/>
                <a:gd name="connsiteY896" fmla="*/ 1433638 h 1435671"/>
                <a:gd name="connsiteX897" fmla="*/ 281858 w 3760754"/>
                <a:gd name="connsiteY897" fmla="*/ 1429777 h 1435671"/>
                <a:gd name="connsiteX898" fmla="*/ 280386 w 3760754"/>
                <a:gd name="connsiteY898" fmla="*/ 1426283 h 1435671"/>
                <a:gd name="connsiteX899" fmla="*/ 276525 w 3760754"/>
                <a:gd name="connsiteY899" fmla="*/ 1424627 h 1435671"/>
                <a:gd name="connsiteX900" fmla="*/ 271192 w 3760754"/>
                <a:gd name="connsiteY900" fmla="*/ 1424627 h 1435671"/>
                <a:gd name="connsiteX901" fmla="*/ 270824 w 3760754"/>
                <a:gd name="connsiteY901" fmla="*/ 1424260 h 1435671"/>
                <a:gd name="connsiteX902" fmla="*/ 270824 w 3760754"/>
                <a:gd name="connsiteY902" fmla="*/ 1392998 h 1435671"/>
                <a:gd name="connsiteX903" fmla="*/ 271192 w 3760754"/>
                <a:gd name="connsiteY903" fmla="*/ 1392630 h 1435671"/>
                <a:gd name="connsiteX904" fmla="*/ 275237 w 3760754"/>
                <a:gd name="connsiteY904" fmla="*/ 1392630 h 1435671"/>
                <a:gd name="connsiteX905" fmla="*/ 280203 w 3760754"/>
                <a:gd name="connsiteY905" fmla="*/ 1389504 h 1435671"/>
                <a:gd name="connsiteX906" fmla="*/ 280386 w 3760754"/>
                <a:gd name="connsiteY906" fmla="*/ 1385642 h 1435671"/>
                <a:gd name="connsiteX907" fmla="*/ 275421 w 3760754"/>
                <a:gd name="connsiteY907" fmla="*/ 1382148 h 1435671"/>
                <a:gd name="connsiteX908" fmla="*/ 267146 w 3760754"/>
                <a:gd name="connsiteY908" fmla="*/ 1381964 h 1435671"/>
                <a:gd name="connsiteX909" fmla="*/ 379363 w 3760754"/>
                <a:gd name="connsiteY909" fmla="*/ 1381964 h 1435671"/>
                <a:gd name="connsiteX910" fmla="*/ 376604 w 3760754"/>
                <a:gd name="connsiteY910" fmla="*/ 1381964 h 1435671"/>
                <a:gd name="connsiteX911" fmla="*/ 373478 w 3760754"/>
                <a:gd name="connsiteY911" fmla="*/ 1383619 h 1435671"/>
                <a:gd name="connsiteX912" fmla="*/ 372007 w 3760754"/>
                <a:gd name="connsiteY912" fmla="*/ 1387849 h 1435671"/>
                <a:gd name="connsiteX913" fmla="*/ 372007 w 3760754"/>
                <a:gd name="connsiteY913" fmla="*/ 1388216 h 1435671"/>
                <a:gd name="connsiteX914" fmla="*/ 372007 w 3760754"/>
                <a:gd name="connsiteY914" fmla="*/ 1424260 h 1435671"/>
                <a:gd name="connsiteX915" fmla="*/ 371639 w 3760754"/>
                <a:gd name="connsiteY915" fmla="*/ 1424627 h 1435671"/>
                <a:gd name="connsiteX916" fmla="*/ 366674 w 3760754"/>
                <a:gd name="connsiteY916" fmla="*/ 1424627 h 1435671"/>
                <a:gd name="connsiteX917" fmla="*/ 363916 w 3760754"/>
                <a:gd name="connsiteY917" fmla="*/ 1425363 h 1435671"/>
                <a:gd name="connsiteX918" fmla="*/ 361342 w 3760754"/>
                <a:gd name="connsiteY918" fmla="*/ 1429960 h 1435671"/>
                <a:gd name="connsiteX919" fmla="*/ 363180 w 3760754"/>
                <a:gd name="connsiteY919" fmla="*/ 1433822 h 1435671"/>
                <a:gd name="connsiteX920" fmla="*/ 365939 w 3760754"/>
                <a:gd name="connsiteY920" fmla="*/ 1435109 h 1435671"/>
                <a:gd name="connsiteX921" fmla="*/ 366122 w 3760754"/>
                <a:gd name="connsiteY921" fmla="*/ 1435109 h 1435671"/>
                <a:gd name="connsiteX922" fmla="*/ 366307 w 3760754"/>
                <a:gd name="connsiteY922" fmla="*/ 1435109 h 1435671"/>
                <a:gd name="connsiteX923" fmla="*/ 366674 w 3760754"/>
                <a:gd name="connsiteY923" fmla="*/ 1435109 h 1435671"/>
                <a:gd name="connsiteX924" fmla="*/ 388558 w 3760754"/>
                <a:gd name="connsiteY924" fmla="*/ 1435109 h 1435671"/>
                <a:gd name="connsiteX925" fmla="*/ 388925 w 3760754"/>
                <a:gd name="connsiteY925" fmla="*/ 1435109 h 1435671"/>
                <a:gd name="connsiteX926" fmla="*/ 389477 w 3760754"/>
                <a:gd name="connsiteY926" fmla="*/ 1435109 h 1435671"/>
                <a:gd name="connsiteX927" fmla="*/ 390029 w 3760754"/>
                <a:gd name="connsiteY927" fmla="*/ 1434926 h 1435671"/>
                <a:gd name="connsiteX928" fmla="*/ 392419 w 3760754"/>
                <a:gd name="connsiteY928" fmla="*/ 1433638 h 1435671"/>
                <a:gd name="connsiteX929" fmla="*/ 394074 w 3760754"/>
                <a:gd name="connsiteY929" fmla="*/ 1429777 h 1435671"/>
                <a:gd name="connsiteX930" fmla="*/ 392603 w 3760754"/>
                <a:gd name="connsiteY930" fmla="*/ 1426283 h 1435671"/>
                <a:gd name="connsiteX931" fmla="*/ 388741 w 3760754"/>
                <a:gd name="connsiteY931" fmla="*/ 1424627 h 1435671"/>
                <a:gd name="connsiteX932" fmla="*/ 383408 w 3760754"/>
                <a:gd name="connsiteY932" fmla="*/ 1424627 h 1435671"/>
                <a:gd name="connsiteX933" fmla="*/ 383040 w 3760754"/>
                <a:gd name="connsiteY933" fmla="*/ 1424260 h 1435671"/>
                <a:gd name="connsiteX934" fmla="*/ 383040 w 3760754"/>
                <a:gd name="connsiteY934" fmla="*/ 1392998 h 1435671"/>
                <a:gd name="connsiteX935" fmla="*/ 383408 w 3760754"/>
                <a:gd name="connsiteY935" fmla="*/ 1392630 h 1435671"/>
                <a:gd name="connsiteX936" fmla="*/ 387454 w 3760754"/>
                <a:gd name="connsiteY936" fmla="*/ 1392630 h 1435671"/>
                <a:gd name="connsiteX937" fmla="*/ 392419 w 3760754"/>
                <a:gd name="connsiteY937" fmla="*/ 1389504 h 1435671"/>
                <a:gd name="connsiteX938" fmla="*/ 392603 w 3760754"/>
                <a:gd name="connsiteY938" fmla="*/ 1385642 h 1435671"/>
                <a:gd name="connsiteX939" fmla="*/ 387638 w 3760754"/>
                <a:gd name="connsiteY939" fmla="*/ 1382148 h 1435671"/>
                <a:gd name="connsiteX940" fmla="*/ 379363 w 3760754"/>
                <a:gd name="connsiteY940" fmla="*/ 1381964 h 1435671"/>
                <a:gd name="connsiteX941" fmla="*/ 491580 w 3760754"/>
                <a:gd name="connsiteY941" fmla="*/ 1381964 h 1435671"/>
                <a:gd name="connsiteX942" fmla="*/ 488821 w 3760754"/>
                <a:gd name="connsiteY942" fmla="*/ 1381964 h 1435671"/>
                <a:gd name="connsiteX943" fmla="*/ 485695 w 3760754"/>
                <a:gd name="connsiteY943" fmla="*/ 1383619 h 1435671"/>
                <a:gd name="connsiteX944" fmla="*/ 484224 w 3760754"/>
                <a:gd name="connsiteY944" fmla="*/ 1387849 h 1435671"/>
                <a:gd name="connsiteX945" fmla="*/ 484224 w 3760754"/>
                <a:gd name="connsiteY945" fmla="*/ 1388216 h 1435671"/>
                <a:gd name="connsiteX946" fmla="*/ 484224 w 3760754"/>
                <a:gd name="connsiteY946" fmla="*/ 1424260 h 1435671"/>
                <a:gd name="connsiteX947" fmla="*/ 483856 w 3760754"/>
                <a:gd name="connsiteY947" fmla="*/ 1424627 h 1435671"/>
                <a:gd name="connsiteX948" fmla="*/ 478891 w 3760754"/>
                <a:gd name="connsiteY948" fmla="*/ 1424627 h 1435671"/>
                <a:gd name="connsiteX949" fmla="*/ 476133 w 3760754"/>
                <a:gd name="connsiteY949" fmla="*/ 1425363 h 1435671"/>
                <a:gd name="connsiteX950" fmla="*/ 473558 w 3760754"/>
                <a:gd name="connsiteY950" fmla="*/ 1429960 h 1435671"/>
                <a:gd name="connsiteX951" fmla="*/ 475397 w 3760754"/>
                <a:gd name="connsiteY951" fmla="*/ 1433822 h 1435671"/>
                <a:gd name="connsiteX952" fmla="*/ 478155 w 3760754"/>
                <a:gd name="connsiteY952" fmla="*/ 1435109 h 1435671"/>
                <a:gd name="connsiteX953" fmla="*/ 478339 w 3760754"/>
                <a:gd name="connsiteY953" fmla="*/ 1435109 h 1435671"/>
                <a:gd name="connsiteX954" fmla="*/ 478523 w 3760754"/>
                <a:gd name="connsiteY954" fmla="*/ 1435109 h 1435671"/>
                <a:gd name="connsiteX955" fmla="*/ 478891 w 3760754"/>
                <a:gd name="connsiteY955" fmla="*/ 1435109 h 1435671"/>
                <a:gd name="connsiteX956" fmla="*/ 500774 w 3760754"/>
                <a:gd name="connsiteY956" fmla="*/ 1435109 h 1435671"/>
                <a:gd name="connsiteX957" fmla="*/ 501142 w 3760754"/>
                <a:gd name="connsiteY957" fmla="*/ 1435109 h 1435671"/>
                <a:gd name="connsiteX958" fmla="*/ 501694 w 3760754"/>
                <a:gd name="connsiteY958" fmla="*/ 1435109 h 1435671"/>
                <a:gd name="connsiteX959" fmla="*/ 502245 w 3760754"/>
                <a:gd name="connsiteY959" fmla="*/ 1434926 h 1435671"/>
                <a:gd name="connsiteX960" fmla="*/ 504636 w 3760754"/>
                <a:gd name="connsiteY960" fmla="*/ 1433638 h 1435671"/>
                <a:gd name="connsiteX961" fmla="*/ 506291 w 3760754"/>
                <a:gd name="connsiteY961" fmla="*/ 1429777 h 1435671"/>
                <a:gd name="connsiteX962" fmla="*/ 504820 w 3760754"/>
                <a:gd name="connsiteY962" fmla="*/ 1426283 h 1435671"/>
                <a:gd name="connsiteX963" fmla="*/ 500958 w 3760754"/>
                <a:gd name="connsiteY963" fmla="*/ 1424627 h 1435671"/>
                <a:gd name="connsiteX964" fmla="*/ 495625 w 3760754"/>
                <a:gd name="connsiteY964" fmla="*/ 1424627 h 1435671"/>
                <a:gd name="connsiteX965" fmla="*/ 495257 w 3760754"/>
                <a:gd name="connsiteY965" fmla="*/ 1424260 h 1435671"/>
                <a:gd name="connsiteX966" fmla="*/ 495257 w 3760754"/>
                <a:gd name="connsiteY966" fmla="*/ 1392998 h 1435671"/>
                <a:gd name="connsiteX967" fmla="*/ 495625 w 3760754"/>
                <a:gd name="connsiteY967" fmla="*/ 1392630 h 1435671"/>
                <a:gd name="connsiteX968" fmla="*/ 499670 w 3760754"/>
                <a:gd name="connsiteY968" fmla="*/ 1392630 h 1435671"/>
                <a:gd name="connsiteX969" fmla="*/ 504636 w 3760754"/>
                <a:gd name="connsiteY969" fmla="*/ 1389504 h 1435671"/>
                <a:gd name="connsiteX970" fmla="*/ 504820 w 3760754"/>
                <a:gd name="connsiteY970" fmla="*/ 1385642 h 1435671"/>
                <a:gd name="connsiteX971" fmla="*/ 499855 w 3760754"/>
                <a:gd name="connsiteY971" fmla="*/ 1382148 h 1435671"/>
                <a:gd name="connsiteX972" fmla="*/ 491580 w 3760754"/>
                <a:gd name="connsiteY972" fmla="*/ 1381964 h 1435671"/>
                <a:gd name="connsiteX973" fmla="*/ 542589 w 3760754"/>
                <a:gd name="connsiteY973" fmla="*/ 1381964 h 1435671"/>
                <a:gd name="connsiteX974" fmla="*/ 539830 w 3760754"/>
                <a:gd name="connsiteY974" fmla="*/ 1381964 h 1435671"/>
                <a:gd name="connsiteX975" fmla="*/ 536704 w 3760754"/>
                <a:gd name="connsiteY975" fmla="*/ 1383619 h 1435671"/>
                <a:gd name="connsiteX976" fmla="*/ 535233 w 3760754"/>
                <a:gd name="connsiteY976" fmla="*/ 1387849 h 1435671"/>
                <a:gd name="connsiteX977" fmla="*/ 535233 w 3760754"/>
                <a:gd name="connsiteY977" fmla="*/ 1388216 h 1435671"/>
                <a:gd name="connsiteX978" fmla="*/ 535233 w 3760754"/>
                <a:gd name="connsiteY978" fmla="*/ 1424260 h 1435671"/>
                <a:gd name="connsiteX979" fmla="*/ 534865 w 3760754"/>
                <a:gd name="connsiteY979" fmla="*/ 1424627 h 1435671"/>
                <a:gd name="connsiteX980" fmla="*/ 529900 w 3760754"/>
                <a:gd name="connsiteY980" fmla="*/ 1424627 h 1435671"/>
                <a:gd name="connsiteX981" fmla="*/ 527142 w 3760754"/>
                <a:gd name="connsiteY981" fmla="*/ 1425363 h 1435671"/>
                <a:gd name="connsiteX982" fmla="*/ 524567 w 3760754"/>
                <a:gd name="connsiteY982" fmla="*/ 1429960 h 1435671"/>
                <a:gd name="connsiteX983" fmla="*/ 526406 w 3760754"/>
                <a:gd name="connsiteY983" fmla="*/ 1433822 h 1435671"/>
                <a:gd name="connsiteX984" fmla="*/ 529164 w 3760754"/>
                <a:gd name="connsiteY984" fmla="*/ 1435109 h 1435671"/>
                <a:gd name="connsiteX985" fmla="*/ 529348 w 3760754"/>
                <a:gd name="connsiteY985" fmla="*/ 1435109 h 1435671"/>
                <a:gd name="connsiteX986" fmla="*/ 529532 w 3760754"/>
                <a:gd name="connsiteY986" fmla="*/ 1435109 h 1435671"/>
                <a:gd name="connsiteX987" fmla="*/ 529900 w 3760754"/>
                <a:gd name="connsiteY987" fmla="*/ 1435109 h 1435671"/>
                <a:gd name="connsiteX988" fmla="*/ 551783 w 3760754"/>
                <a:gd name="connsiteY988" fmla="*/ 1435109 h 1435671"/>
                <a:gd name="connsiteX989" fmla="*/ 552151 w 3760754"/>
                <a:gd name="connsiteY989" fmla="*/ 1435109 h 1435671"/>
                <a:gd name="connsiteX990" fmla="*/ 552703 w 3760754"/>
                <a:gd name="connsiteY990" fmla="*/ 1435109 h 1435671"/>
                <a:gd name="connsiteX991" fmla="*/ 553254 w 3760754"/>
                <a:gd name="connsiteY991" fmla="*/ 1434926 h 1435671"/>
                <a:gd name="connsiteX992" fmla="*/ 555645 w 3760754"/>
                <a:gd name="connsiteY992" fmla="*/ 1433638 h 1435671"/>
                <a:gd name="connsiteX993" fmla="*/ 557300 w 3760754"/>
                <a:gd name="connsiteY993" fmla="*/ 1429777 h 1435671"/>
                <a:gd name="connsiteX994" fmla="*/ 555829 w 3760754"/>
                <a:gd name="connsiteY994" fmla="*/ 1426283 h 1435671"/>
                <a:gd name="connsiteX995" fmla="*/ 551967 w 3760754"/>
                <a:gd name="connsiteY995" fmla="*/ 1424627 h 1435671"/>
                <a:gd name="connsiteX996" fmla="*/ 546634 w 3760754"/>
                <a:gd name="connsiteY996" fmla="*/ 1424627 h 1435671"/>
                <a:gd name="connsiteX997" fmla="*/ 546266 w 3760754"/>
                <a:gd name="connsiteY997" fmla="*/ 1424260 h 1435671"/>
                <a:gd name="connsiteX998" fmla="*/ 546266 w 3760754"/>
                <a:gd name="connsiteY998" fmla="*/ 1392998 h 1435671"/>
                <a:gd name="connsiteX999" fmla="*/ 546634 w 3760754"/>
                <a:gd name="connsiteY999" fmla="*/ 1392630 h 1435671"/>
                <a:gd name="connsiteX1000" fmla="*/ 550679 w 3760754"/>
                <a:gd name="connsiteY1000" fmla="*/ 1392630 h 1435671"/>
                <a:gd name="connsiteX1001" fmla="*/ 555645 w 3760754"/>
                <a:gd name="connsiteY1001" fmla="*/ 1389504 h 1435671"/>
                <a:gd name="connsiteX1002" fmla="*/ 555829 w 3760754"/>
                <a:gd name="connsiteY1002" fmla="*/ 1385642 h 1435671"/>
                <a:gd name="connsiteX1003" fmla="*/ 550864 w 3760754"/>
                <a:gd name="connsiteY1003" fmla="*/ 1382148 h 1435671"/>
                <a:gd name="connsiteX1004" fmla="*/ 542589 w 3760754"/>
                <a:gd name="connsiteY1004" fmla="*/ 1381964 h 1435671"/>
                <a:gd name="connsiteX1005" fmla="*/ 654756 w 3760754"/>
                <a:gd name="connsiteY1005" fmla="*/ 1381964 h 1435671"/>
                <a:gd name="connsiteX1006" fmla="*/ 651997 w 3760754"/>
                <a:gd name="connsiteY1006" fmla="*/ 1381964 h 1435671"/>
                <a:gd name="connsiteX1007" fmla="*/ 648871 w 3760754"/>
                <a:gd name="connsiteY1007" fmla="*/ 1383619 h 1435671"/>
                <a:gd name="connsiteX1008" fmla="*/ 647400 w 3760754"/>
                <a:gd name="connsiteY1008" fmla="*/ 1387849 h 1435671"/>
                <a:gd name="connsiteX1009" fmla="*/ 647400 w 3760754"/>
                <a:gd name="connsiteY1009" fmla="*/ 1388216 h 1435671"/>
                <a:gd name="connsiteX1010" fmla="*/ 647400 w 3760754"/>
                <a:gd name="connsiteY1010" fmla="*/ 1424260 h 1435671"/>
                <a:gd name="connsiteX1011" fmla="*/ 647032 w 3760754"/>
                <a:gd name="connsiteY1011" fmla="*/ 1424627 h 1435671"/>
                <a:gd name="connsiteX1012" fmla="*/ 642067 w 3760754"/>
                <a:gd name="connsiteY1012" fmla="*/ 1424627 h 1435671"/>
                <a:gd name="connsiteX1013" fmla="*/ 639309 w 3760754"/>
                <a:gd name="connsiteY1013" fmla="*/ 1425363 h 1435671"/>
                <a:gd name="connsiteX1014" fmla="*/ 636734 w 3760754"/>
                <a:gd name="connsiteY1014" fmla="*/ 1429960 h 1435671"/>
                <a:gd name="connsiteX1015" fmla="*/ 638573 w 3760754"/>
                <a:gd name="connsiteY1015" fmla="*/ 1433822 h 1435671"/>
                <a:gd name="connsiteX1016" fmla="*/ 641331 w 3760754"/>
                <a:gd name="connsiteY1016" fmla="*/ 1435109 h 1435671"/>
                <a:gd name="connsiteX1017" fmla="*/ 641515 w 3760754"/>
                <a:gd name="connsiteY1017" fmla="*/ 1435109 h 1435671"/>
                <a:gd name="connsiteX1018" fmla="*/ 641699 w 3760754"/>
                <a:gd name="connsiteY1018" fmla="*/ 1435109 h 1435671"/>
                <a:gd name="connsiteX1019" fmla="*/ 642067 w 3760754"/>
                <a:gd name="connsiteY1019" fmla="*/ 1435109 h 1435671"/>
                <a:gd name="connsiteX1020" fmla="*/ 663950 w 3760754"/>
                <a:gd name="connsiteY1020" fmla="*/ 1435109 h 1435671"/>
                <a:gd name="connsiteX1021" fmla="*/ 664318 w 3760754"/>
                <a:gd name="connsiteY1021" fmla="*/ 1435109 h 1435671"/>
                <a:gd name="connsiteX1022" fmla="*/ 664870 w 3760754"/>
                <a:gd name="connsiteY1022" fmla="*/ 1435109 h 1435671"/>
                <a:gd name="connsiteX1023" fmla="*/ 665421 w 3760754"/>
                <a:gd name="connsiteY1023" fmla="*/ 1434926 h 1435671"/>
                <a:gd name="connsiteX1024" fmla="*/ 667812 w 3760754"/>
                <a:gd name="connsiteY1024" fmla="*/ 1433638 h 1435671"/>
                <a:gd name="connsiteX1025" fmla="*/ 669467 w 3760754"/>
                <a:gd name="connsiteY1025" fmla="*/ 1429777 h 1435671"/>
                <a:gd name="connsiteX1026" fmla="*/ 667996 w 3760754"/>
                <a:gd name="connsiteY1026" fmla="*/ 1426283 h 1435671"/>
                <a:gd name="connsiteX1027" fmla="*/ 664134 w 3760754"/>
                <a:gd name="connsiteY1027" fmla="*/ 1424627 h 1435671"/>
                <a:gd name="connsiteX1028" fmla="*/ 658801 w 3760754"/>
                <a:gd name="connsiteY1028" fmla="*/ 1424627 h 1435671"/>
                <a:gd name="connsiteX1029" fmla="*/ 658433 w 3760754"/>
                <a:gd name="connsiteY1029" fmla="*/ 1424260 h 1435671"/>
                <a:gd name="connsiteX1030" fmla="*/ 658433 w 3760754"/>
                <a:gd name="connsiteY1030" fmla="*/ 1392998 h 1435671"/>
                <a:gd name="connsiteX1031" fmla="*/ 658801 w 3760754"/>
                <a:gd name="connsiteY1031" fmla="*/ 1392630 h 1435671"/>
                <a:gd name="connsiteX1032" fmla="*/ 662846 w 3760754"/>
                <a:gd name="connsiteY1032" fmla="*/ 1392630 h 1435671"/>
                <a:gd name="connsiteX1033" fmla="*/ 667812 w 3760754"/>
                <a:gd name="connsiteY1033" fmla="*/ 1389504 h 1435671"/>
                <a:gd name="connsiteX1034" fmla="*/ 667996 w 3760754"/>
                <a:gd name="connsiteY1034" fmla="*/ 1385642 h 1435671"/>
                <a:gd name="connsiteX1035" fmla="*/ 663031 w 3760754"/>
                <a:gd name="connsiteY1035" fmla="*/ 1382148 h 1435671"/>
                <a:gd name="connsiteX1036" fmla="*/ 654756 w 3760754"/>
                <a:gd name="connsiteY1036" fmla="*/ 1381964 h 1435671"/>
                <a:gd name="connsiteX1037" fmla="*/ 705765 w 3760754"/>
                <a:gd name="connsiteY1037" fmla="*/ 1381964 h 1435671"/>
                <a:gd name="connsiteX1038" fmla="*/ 703006 w 3760754"/>
                <a:gd name="connsiteY1038" fmla="*/ 1381964 h 1435671"/>
                <a:gd name="connsiteX1039" fmla="*/ 699880 w 3760754"/>
                <a:gd name="connsiteY1039" fmla="*/ 1383619 h 1435671"/>
                <a:gd name="connsiteX1040" fmla="*/ 698409 w 3760754"/>
                <a:gd name="connsiteY1040" fmla="*/ 1387849 h 1435671"/>
                <a:gd name="connsiteX1041" fmla="*/ 698409 w 3760754"/>
                <a:gd name="connsiteY1041" fmla="*/ 1388216 h 1435671"/>
                <a:gd name="connsiteX1042" fmla="*/ 698409 w 3760754"/>
                <a:gd name="connsiteY1042" fmla="*/ 1424260 h 1435671"/>
                <a:gd name="connsiteX1043" fmla="*/ 698041 w 3760754"/>
                <a:gd name="connsiteY1043" fmla="*/ 1424627 h 1435671"/>
                <a:gd name="connsiteX1044" fmla="*/ 693076 w 3760754"/>
                <a:gd name="connsiteY1044" fmla="*/ 1424627 h 1435671"/>
                <a:gd name="connsiteX1045" fmla="*/ 690318 w 3760754"/>
                <a:gd name="connsiteY1045" fmla="*/ 1425363 h 1435671"/>
                <a:gd name="connsiteX1046" fmla="*/ 687743 w 3760754"/>
                <a:gd name="connsiteY1046" fmla="*/ 1429960 h 1435671"/>
                <a:gd name="connsiteX1047" fmla="*/ 689582 w 3760754"/>
                <a:gd name="connsiteY1047" fmla="*/ 1433822 h 1435671"/>
                <a:gd name="connsiteX1048" fmla="*/ 692340 w 3760754"/>
                <a:gd name="connsiteY1048" fmla="*/ 1435109 h 1435671"/>
                <a:gd name="connsiteX1049" fmla="*/ 692524 w 3760754"/>
                <a:gd name="connsiteY1049" fmla="*/ 1435109 h 1435671"/>
                <a:gd name="connsiteX1050" fmla="*/ 692708 w 3760754"/>
                <a:gd name="connsiteY1050" fmla="*/ 1435109 h 1435671"/>
                <a:gd name="connsiteX1051" fmla="*/ 693076 w 3760754"/>
                <a:gd name="connsiteY1051" fmla="*/ 1435109 h 1435671"/>
                <a:gd name="connsiteX1052" fmla="*/ 714959 w 3760754"/>
                <a:gd name="connsiteY1052" fmla="*/ 1435109 h 1435671"/>
                <a:gd name="connsiteX1053" fmla="*/ 715327 w 3760754"/>
                <a:gd name="connsiteY1053" fmla="*/ 1435109 h 1435671"/>
                <a:gd name="connsiteX1054" fmla="*/ 715879 w 3760754"/>
                <a:gd name="connsiteY1054" fmla="*/ 1435109 h 1435671"/>
                <a:gd name="connsiteX1055" fmla="*/ 716430 w 3760754"/>
                <a:gd name="connsiteY1055" fmla="*/ 1434926 h 1435671"/>
                <a:gd name="connsiteX1056" fmla="*/ 718821 w 3760754"/>
                <a:gd name="connsiteY1056" fmla="*/ 1433638 h 1435671"/>
                <a:gd name="connsiteX1057" fmla="*/ 720476 w 3760754"/>
                <a:gd name="connsiteY1057" fmla="*/ 1429777 h 1435671"/>
                <a:gd name="connsiteX1058" fmla="*/ 719005 w 3760754"/>
                <a:gd name="connsiteY1058" fmla="*/ 1426283 h 1435671"/>
                <a:gd name="connsiteX1059" fmla="*/ 715143 w 3760754"/>
                <a:gd name="connsiteY1059" fmla="*/ 1424627 h 1435671"/>
                <a:gd name="connsiteX1060" fmla="*/ 709810 w 3760754"/>
                <a:gd name="connsiteY1060" fmla="*/ 1424627 h 1435671"/>
                <a:gd name="connsiteX1061" fmla="*/ 709442 w 3760754"/>
                <a:gd name="connsiteY1061" fmla="*/ 1424260 h 1435671"/>
                <a:gd name="connsiteX1062" fmla="*/ 709442 w 3760754"/>
                <a:gd name="connsiteY1062" fmla="*/ 1392998 h 1435671"/>
                <a:gd name="connsiteX1063" fmla="*/ 709810 w 3760754"/>
                <a:gd name="connsiteY1063" fmla="*/ 1392630 h 1435671"/>
                <a:gd name="connsiteX1064" fmla="*/ 713856 w 3760754"/>
                <a:gd name="connsiteY1064" fmla="*/ 1392630 h 1435671"/>
                <a:gd name="connsiteX1065" fmla="*/ 718821 w 3760754"/>
                <a:gd name="connsiteY1065" fmla="*/ 1389504 h 1435671"/>
                <a:gd name="connsiteX1066" fmla="*/ 719005 w 3760754"/>
                <a:gd name="connsiteY1066" fmla="*/ 1385642 h 1435671"/>
                <a:gd name="connsiteX1067" fmla="*/ 714040 w 3760754"/>
                <a:gd name="connsiteY1067" fmla="*/ 1382148 h 1435671"/>
                <a:gd name="connsiteX1068" fmla="*/ 705765 w 3760754"/>
                <a:gd name="connsiteY1068" fmla="*/ 1381964 h 1435671"/>
                <a:gd name="connsiteX1069" fmla="*/ 940297 w 3760754"/>
                <a:gd name="connsiteY1069" fmla="*/ 1381964 h 1435671"/>
                <a:gd name="connsiteX1070" fmla="*/ 937539 w 3760754"/>
                <a:gd name="connsiteY1070" fmla="*/ 1381964 h 1435671"/>
                <a:gd name="connsiteX1071" fmla="*/ 934413 w 3760754"/>
                <a:gd name="connsiteY1071" fmla="*/ 1383619 h 1435671"/>
                <a:gd name="connsiteX1072" fmla="*/ 932942 w 3760754"/>
                <a:gd name="connsiteY1072" fmla="*/ 1387849 h 1435671"/>
                <a:gd name="connsiteX1073" fmla="*/ 932942 w 3760754"/>
                <a:gd name="connsiteY1073" fmla="*/ 1388216 h 1435671"/>
                <a:gd name="connsiteX1074" fmla="*/ 932942 w 3760754"/>
                <a:gd name="connsiteY1074" fmla="*/ 1424260 h 1435671"/>
                <a:gd name="connsiteX1075" fmla="*/ 932574 w 3760754"/>
                <a:gd name="connsiteY1075" fmla="*/ 1424627 h 1435671"/>
                <a:gd name="connsiteX1076" fmla="*/ 927609 w 3760754"/>
                <a:gd name="connsiteY1076" fmla="*/ 1424627 h 1435671"/>
                <a:gd name="connsiteX1077" fmla="*/ 924850 w 3760754"/>
                <a:gd name="connsiteY1077" fmla="*/ 1425363 h 1435671"/>
                <a:gd name="connsiteX1078" fmla="*/ 922276 w 3760754"/>
                <a:gd name="connsiteY1078" fmla="*/ 1429960 h 1435671"/>
                <a:gd name="connsiteX1079" fmla="*/ 924114 w 3760754"/>
                <a:gd name="connsiteY1079" fmla="*/ 1433822 h 1435671"/>
                <a:gd name="connsiteX1080" fmla="*/ 926873 w 3760754"/>
                <a:gd name="connsiteY1080" fmla="*/ 1435109 h 1435671"/>
                <a:gd name="connsiteX1081" fmla="*/ 927056 w 3760754"/>
                <a:gd name="connsiteY1081" fmla="*/ 1435109 h 1435671"/>
                <a:gd name="connsiteX1082" fmla="*/ 927241 w 3760754"/>
                <a:gd name="connsiteY1082" fmla="*/ 1435109 h 1435671"/>
                <a:gd name="connsiteX1083" fmla="*/ 927609 w 3760754"/>
                <a:gd name="connsiteY1083" fmla="*/ 1435109 h 1435671"/>
                <a:gd name="connsiteX1084" fmla="*/ 949492 w 3760754"/>
                <a:gd name="connsiteY1084" fmla="*/ 1435109 h 1435671"/>
                <a:gd name="connsiteX1085" fmla="*/ 949859 w 3760754"/>
                <a:gd name="connsiteY1085" fmla="*/ 1435109 h 1435671"/>
                <a:gd name="connsiteX1086" fmla="*/ 950411 w 3760754"/>
                <a:gd name="connsiteY1086" fmla="*/ 1435109 h 1435671"/>
                <a:gd name="connsiteX1087" fmla="*/ 950963 w 3760754"/>
                <a:gd name="connsiteY1087" fmla="*/ 1434926 h 1435671"/>
                <a:gd name="connsiteX1088" fmla="*/ 953354 w 3760754"/>
                <a:gd name="connsiteY1088" fmla="*/ 1433638 h 1435671"/>
                <a:gd name="connsiteX1089" fmla="*/ 955008 w 3760754"/>
                <a:gd name="connsiteY1089" fmla="*/ 1429777 h 1435671"/>
                <a:gd name="connsiteX1090" fmla="*/ 953537 w 3760754"/>
                <a:gd name="connsiteY1090" fmla="*/ 1426283 h 1435671"/>
                <a:gd name="connsiteX1091" fmla="*/ 949676 w 3760754"/>
                <a:gd name="connsiteY1091" fmla="*/ 1424627 h 1435671"/>
                <a:gd name="connsiteX1092" fmla="*/ 944343 w 3760754"/>
                <a:gd name="connsiteY1092" fmla="*/ 1424627 h 1435671"/>
                <a:gd name="connsiteX1093" fmla="*/ 943975 w 3760754"/>
                <a:gd name="connsiteY1093" fmla="*/ 1424260 h 1435671"/>
                <a:gd name="connsiteX1094" fmla="*/ 943975 w 3760754"/>
                <a:gd name="connsiteY1094" fmla="*/ 1392998 h 1435671"/>
                <a:gd name="connsiteX1095" fmla="*/ 944343 w 3760754"/>
                <a:gd name="connsiteY1095" fmla="*/ 1392630 h 1435671"/>
                <a:gd name="connsiteX1096" fmla="*/ 948388 w 3760754"/>
                <a:gd name="connsiteY1096" fmla="*/ 1392630 h 1435671"/>
                <a:gd name="connsiteX1097" fmla="*/ 953354 w 3760754"/>
                <a:gd name="connsiteY1097" fmla="*/ 1389504 h 1435671"/>
                <a:gd name="connsiteX1098" fmla="*/ 953537 w 3760754"/>
                <a:gd name="connsiteY1098" fmla="*/ 1385642 h 1435671"/>
                <a:gd name="connsiteX1099" fmla="*/ 948572 w 3760754"/>
                <a:gd name="connsiteY1099" fmla="*/ 1382148 h 1435671"/>
                <a:gd name="connsiteX1100" fmla="*/ 940297 w 3760754"/>
                <a:gd name="connsiteY1100" fmla="*/ 1381964 h 1435671"/>
                <a:gd name="connsiteX1101" fmla="*/ 1052514 w 3760754"/>
                <a:gd name="connsiteY1101" fmla="*/ 1381964 h 1435671"/>
                <a:gd name="connsiteX1102" fmla="*/ 1049755 w 3760754"/>
                <a:gd name="connsiteY1102" fmla="*/ 1381964 h 1435671"/>
                <a:gd name="connsiteX1103" fmla="*/ 1046629 w 3760754"/>
                <a:gd name="connsiteY1103" fmla="*/ 1383619 h 1435671"/>
                <a:gd name="connsiteX1104" fmla="*/ 1045158 w 3760754"/>
                <a:gd name="connsiteY1104" fmla="*/ 1387849 h 1435671"/>
                <a:gd name="connsiteX1105" fmla="*/ 1045158 w 3760754"/>
                <a:gd name="connsiteY1105" fmla="*/ 1388216 h 1435671"/>
                <a:gd name="connsiteX1106" fmla="*/ 1045158 w 3760754"/>
                <a:gd name="connsiteY1106" fmla="*/ 1424260 h 1435671"/>
                <a:gd name="connsiteX1107" fmla="*/ 1044790 w 3760754"/>
                <a:gd name="connsiteY1107" fmla="*/ 1424627 h 1435671"/>
                <a:gd name="connsiteX1108" fmla="*/ 1039825 w 3760754"/>
                <a:gd name="connsiteY1108" fmla="*/ 1424627 h 1435671"/>
                <a:gd name="connsiteX1109" fmla="*/ 1037067 w 3760754"/>
                <a:gd name="connsiteY1109" fmla="*/ 1425363 h 1435671"/>
                <a:gd name="connsiteX1110" fmla="*/ 1034492 w 3760754"/>
                <a:gd name="connsiteY1110" fmla="*/ 1429960 h 1435671"/>
                <a:gd name="connsiteX1111" fmla="*/ 1036331 w 3760754"/>
                <a:gd name="connsiteY1111" fmla="*/ 1433822 h 1435671"/>
                <a:gd name="connsiteX1112" fmla="*/ 1039089 w 3760754"/>
                <a:gd name="connsiteY1112" fmla="*/ 1435109 h 1435671"/>
                <a:gd name="connsiteX1113" fmla="*/ 1039273 w 3760754"/>
                <a:gd name="connsiteY1113" fmla="*/ 1435109 h 1435671"/>
                <a:gd name="connsiteX1114" fmla="*/ 1039457 w 3760754"/>
                <a:gd name="connsiteY1114" fmla="*/ 1435109 h 1435671"/>
                <a:gd name="connsiteX1115" fmla="*/ 1039825 w 3760754"/>
                <a:gd name="connsiteY1115" fmla="*/ 1435109 h 1435671"/>
                <a:gd name="connsiteX1116" fmla="*/ 1061708 w 3760754"/>
                <a:gd name="connsiteY1116" fmla="*/ 1435109 h 1435671"/>
                <a:gd name="connsiteX1117" fmla="*/ 1062076 w 3760754"/>
                <a:gd name="connsiteY1117" fmla="*/ 1435109 h 1435671"/>
                <a:gd name="connsiteX1118" fmla="*/ 1062628 w 3760754"/>
                <a:gd name="connsiteY1118" fmla="*/ 1435109 h 1435671"/>
                <a:gd name="connsiteX1119" fmla="*/ 1063180 w 3760754"/>
                <a:gd name="connsiteY1119" fmla="*/ 1434926 h 1435671"/>
                <a:gd name="connsiteX1120" fmla="*/ 1065570 w 3760754"/>
                <a:gd name="connsiteY1120" fmla="*/ 1433638 h 1435671"/>
                <a:gd name="connsiteX1121" fmla="*/ 1067225 w 3760754"/>
                <a:gd name="connsiteY1121" fmla="*/ 1429777 h 1435671"/>
                <a:gd name="connsiteX1122" fmla="*/ 1065754 w 3760754"/>
                <a:gd name="connsiteY1122" fmla="*/ 1426283 h 1435671"/>
                <a:gd name="connsiteX1123" fmla="*/ 1061892 w 3760754"/>
                <a:gd name="connsiteY1123" fmla="*/ 1424627 h 1435671"/>
                <a:gd name="connsiteX1124" fmla="*/ 1056559 w 3760754"/>
                <a:gd name="connsiteY1124" fmla="*/ 1424627 h 1435671"/>
                <a:gd name="connsiteX1125" fmla="*/ 1056191 w 3760754"/>
                <a:gd name="connsiteY1125" fmla="*/ 1424260 h 1435671"/>
                <a:gd name="connsiteX1126" fmla="*/ 1056191 w 3760754"/>
                <a:gd name="connsiteY1126" fmla="*/ 1392998 h 1435671"/>
                <a:gd name="connsiteX1127" fmla="*/ 1056559 w 3760754"/>
                <a:gd name="connsiteY1127" fmla="*/ 1392630 h 1435671"/>
                <a:gd name="connsiteX1128" fmla="*/ 1060605 w 3760754"/>
                <a:gd name="connsiteY1128" fmla="*/ 1392630 h 1435671"/>
                <a:gd name="connsiteX1129" fmla="*/ 1065570 w 3760754"/>
                <a:gd name="connsiteY1129" fmla="*/ 1389504 h 1435671"/>
                <a:gd name="connsiteX1130" fmla="*/ 1065754 w 3760754"/>
                <a:gd name="connsiteY1130" fmla="*/ 1385642 h 1435671"/>
                <a:gd name="connsiteX1131" fmla="*/ 1060789 w 3760754"/>
                <a:gd name="connsiteY1131" fmla="*/ 1382148 h 1435671"/>
                <a:gd name="connsiteX1132" fmla="*/ 1052514 w 3760754"/>
                <a:gd name="connsiteY1132" fmla="*/ 1381964 h 1435671"/>
                <a:gd name="connsiteX1133" fmla="*/ 1287096 w 3760754"/>
                <a:gd name="connsiteY1133" fmla="*/ 1381964 h 1435671"/>
                <a:gd name="connsiteX1134" fmla="*/ 1284337 w 3760754"/>
                <a:gd name="connsiteY1134" fmla="*/ 1381964 h 1435671"/>
                <a:gd name="connsiteX1135" fmla="*/ 1281211 w 3760754"/>
                <a:gd name="connsiteY1135" fmla="*/ 1383619 h 1435671"/>
                <a:gd name="connsiteX1136" fmla="*/ 1279740 w 3760754"/>
                <a:gd name="connsiteY1136" fmla="*/ 1387849 h 1435671"/>
                <a:gd name="connsiteX1137" fmla="*/ 1279740 w 3760754"/>
                <a:gd name="connsiteY1137" fmla="*/ 1388216 h 1435671"/>
                <a:gd name="connsiteX1138" fmla="*/ 1279740 w 3760754"/>
                <a:gd name="connsiteY1138" fmla="*/ 1424260 h 1435671"/>
                <a:gd name="connsiteX1139" fmla="*/ 1279372 w 3760754"/>
                <a:gd name="connsiteY1139" fmla="*/ 1424627 h 1435671"/>
                <a:gd name="connsiteX1140" fmla="*/ 1274407 w 3760754"/>
                <a:gd name="connsiteY1140" fmla="*/ 1424627 h 1435671"/>
                <a:gd name="connsiteX1141" fmla="*/ 1271649 w 3760754"/>
                <a:gd name="connsiteY1141" fmla="*/ 1425363 h 1435671"/>
                <a:gd name="connsiteX1142" fmla="*/ 1269075 w 3760754"/>
                <a:gd name="connsiteY1142" fmla="*/ 1429960 h 1435671"/>
                <a:gd name="connsiteX1143" fmla="*/ 1270913 w 3760754"/>
                <a:gd name="connsiteY1143" fmla="*/ 1433822 h 1435671"/>
                <a:gd name="connsiteX1144" fmla="*/ 1273672 w 3760754"/>
                <a:gd name="connsiteY1144" fmla="*/ 1435109 h 1435671"/>
                <a:gd name="connsiteX1145" fmla="*/ 1273856 w 3760754"/>
                <a:gd name="connsiteY1145" fmla="*/ 1435109 h 1435671"/>
                <a:gd name="connsiteX1146" fmla="*/ 1274040 w 3760754"/>
                <a:gd name="connsiteY1146" fmla="*/ 1435109 h 1435671"/>
                <a:gd name="connsiteX1147" fmla="*/ 1274407 w 3760754"/>
                <a:gd name="connsiteY1147" fmla="*/ 1435109 h 1435671"/>
                <a:gd name="connsiteX1148" fmla="*/ 1296291 w 3760754"/>
                <a:gd name="connsiteY1148" fmla="*/ 1435109 h 1435671"/>
                <a:gd name="connsiteX1149" fmla="*/ 1296658 w 3760754"/>
                <a:gd name="connsiteY1149" fmla="*/ 1435109 h 1435671"/>
                <a:gd name="connsiteX1150" fmla="*/ 1297210 w 3760754"/>
                <a:gd name="connsiteY1150" fmla="*/ 1435109 h 1435671"/>
                <a:gd name="connsiteX1151" fmla="*/ 1297762 w 3760754"/>
                <a:gd name="connsiteY1151" fmla="*/ 1434926 h 1435671"/>
                <a:gd name="connsiteX1152" fmla="*/ 1300152 w 3760754"/>
                <a:gd name="connsiteY1152" fmla="*/ 1433638 h 1435671"/>
                <a:gd name="connsiteX1153" fmla="*/ 1301807 w 3760754"/>
                <a:gd name="connsiteY1153" fmla="*/ 1429777 h 1435671"/>
                <a:gd name="connsiteX1154" fmla="*/ 1300336 w 3760754"/>
                <a:gd name="connsiteY1154" fmla="*/ 1426283 h 1435671"/>
                <a:gd name="connsiteX1155" fmla="*/ 1296474 w 3760754"/>
                <a:gd name="connsiteY1155" fmla="*/ 1424627 h 1435671"/>
                <a:gd name="connsiteX1156" fmla="*/ 1291141 w 3760754"/>
                <a:gd name="connsiteY1156" fmla="*/ 1424627 h 1435671"/>
                <a:gd name="connsiteX1157" fmla="*/ 1290773 w 3760754"/>
                <a:gd name="connsiteY1157" fmla="*/ 1424260 h 1435671"/>
                <a:gd name="connsiteX1158" fmla="*/ 1290773 w 3760754"/>
                <a:gd name="connsiteY1158" fmla="*/ 1392998 h 1435671"/>
                <a:gd name="connsiteX1159" fmla="*/ 1291141 w 3760754"/>
                <a:gd name="connsiteY1159" fmla="*/ 1392630 h 1435671"/>
                <a:gd name="connsiteX1160" fmla="*/ 1295187 w 3760754"/>
                <a:gd name="connsiteY1160" fmla="*/ 1392630 h 1435671"/>
                <a:gd name="connsiteX1161" fmla="*/ 1300152 w 3760754"/>
                <a:gd name="connsiteY1161" fmla="*/ 1389504 h 1435671"/>
                <a:gd name="connsiteX1162" fmla="*/ 1300336 w 3760754"/>
                <a:gd name="connsiteY1162" fmla="*/ 1385642 h 1435671"/>
                <a:gd name="connsiteX1163" fmla="*/ 1295371 w 3760754"/>
                <a:gd name="connsiteY1163" fmla="*/ 1382148 h 1435671"/>
                <a:gd name="connsiteX1164" fmla="*/ 1287096 w 3760754"/>
                <a:gd name="connsiteY1164" fmla="*/ 1381964 h 1435671"/>
                <a:gd name="connsiteX1165" fmla="*/ 1521579 w 3760754"/>
                <a:gd name="connsiteY1165" fmla="*/ 1381964 h 1435671"/>
                <a:gd name="connsiteX1166" fmla="*/ 1518820 w 3760754"/>
                <a:gd name="connsiteY1166" fmla="*/ 1381964 h 1435671"/>
                <a:gd name="connsiteX1167" fmla="*/ 1515694 w 3760754"/>
                <a:gd name="connsiteY1167" fmla="*/ 1383619 h 1435671"/>
                <a:gd name="connsiteX1168" fmla="*/ 1514223 w 3760754"/>
                <a:gd name="connsiteY1168" fmla="*/ 1387849 h 1435671"/>
                <a:gd name="connsiteX1169" fmla="*/ 1514223 w 3760754"/>
                <a:gd name="connsiteY1169" fmla="*/ 1388216 h 1435671"/>
                <a:gd name="connsiteX1170" fmla="*/ 1514223 w 3760754"/>
                <a:gd name="connsiteY1170" fmla="*/ 1424260 h 1435671"/>
                <a:gd name="connsiteX1171" fmla="*/ 1513855 w 3760754"/>
                <a:gd name="connsiteY1171" fmla="*/ 1424627 h 1435671"/>
                <a:gd name="connsiteX1172" fmla="*/ 1508890 w 3760754"/>
                <a:gd name="connsiteY1172" fmla="*/ 1424627 h 1435671"/>
                <a:gd name="connsiteX1173" fmla="*/ 1506132 w 3760754"/>
                <a:gd name="connsiteY1173" fmla="*/ 1425363 h 1435671"/>
                <a:gd name="connsiteX1174" fmla="*/ 1503557 w 3760754"/>
                <a:gd name="connsiteY1174" fmla="*/ 1429960 h 1435671"/>
                <a:gd name="connsiteX1175" fmla="*/ 1505396 w 3760754"/>
                <a:gd name="connsiteY1175" fmla="*/ 1433822 h 1435671"/>
                <a:gd name="connsiteX1176" fmla="*/ 1508154 w 3760754"/>
                <a:gd name="connsiteY1176" fmla="*/ 1435109 h 1435671"/>
                <a:gd name="connsiteX1177" fmla="*/ 1508338 w 3760754"/>
                <a:gd name="connsiteY1177" fmla="*/ 1435109 h 1435671"/>
                <a:gd name="connsiteX1178" fmla="*/ 1508522 w 3760754"/>
                <a:gd name="connsiteY1178" fmla="*/ 1435109 h 1435671"/>
                <a:gd name="connsiteX1179" fmla="*/ 1508890 w 3760754"/>
                <a:gd name="connsiteY1179" fmla="*/ 1435109 h 1435671"/>
                <a:gd name="connsiteX1180" fmla="*/ 1530774 w 3760754"/>
                <a:gd name="connsiteY1180" fmla="*/ 1435109 h 1435671"/>
                <a:gd name="connsiteX1181" fmla="*/ 1531141 w 3760754"/>
                <a:gd name="connsiteY1181" fmla="*/ 1435109 h 1435671"/>
                <a:gd name="connsiteX1182" fmla="*/ 1531693 w 3760754"/>
                <a:gd name="connsiteY1182" fmla="*/ 1435109 h 1435671"/>
                <a:gd name="connsiteX1183" fmla="*/ 1532245 w 3760754"/>
                <a:gd name="connsiteY1183" fmla="*/ 1434926 h 1435671"/>
                <a:gd name="connsiteX1184" fmla="*/ 1534635 w 3760754"/>
                <a:gd name="connsiteY1184" fmla="*/ 1433638 h 1435671"/>
                <a:gd name="connsiteX1185" fmla="*/ 1536290 w 3760754"/>
                <a:gd name="connsiteY1185" fmla="*/ 1429777 h 1435671"/>
                <a:gd name="connsiteX1186" fmla="*/ 1534819 w 3760754"/>
                <a:gd name="connsiteY1186" fmla="*/ 1426283 h 1435671"/>
                <a:gd name="connsiteX1187" fmla="*/ 1530957 w 3760754"/>
                <a:gd name="connsiteY1187" fmla="*/ 1424627 h 1435671"/>
                <a:gd name="connsiteX1188" fmla="*/ 1525624 w 3760754"/>
                <a:gd name="connsiteY1188" fmla="*/ 1424627 h 1435671"/>
                <a:gd name="connsiteX1189" fmla="*/ 1525256 w 3760754"/>
                <a:gd name="connsiteY1189" fmla="*/ 1424260 h 1435671"/>
                <a:gd name="connsiteX1190" fmla="*/ 1525256 w 3760754"/>
                <a:gd name="connsiteY1190" fmla="*/ 1392998 h 1435671"/>
                <a:gd name="connsiteX1191" fmla="*/ 1525624 w 3760754"/>
                <a:gd name="connsiteY1191" fmla="*/ 1392630 h 1435671"/>
                <a:gd name="connsiteX1192" fmla="*/ 1529670 w 3760754"/>
                <a:gd name="connsiteY1192" fmla="*/ 1392630 h 1435671"/>
                <a:gd name="connsiteX1193" fmla="*/ 1534635 w 3760754"/>
                <a:gd name="connsiteY1193" fmla="*/ 1389504 h 1435671"/>
                <a:gd name="connsiteX1194" fmla="*/ 1534819 w 3760754"/>
                <a:gd name="connsiteY1194" fmla="*/ 1385642 h 1435671"/>
                <a:gd name="connsiteX1195" fmla="*/ 1529854 w 3760754"/>
                <a:gd name="connsiteY1195" fmla="*/ 1382148 h 1435671"/>
                <a:gd name="connsiteX1196" fmla="*/ 1521579 w 3760754"/>
                <a:gd name="connsiteY1196" fmla="*/ 1381964 h 1435671"/>
                <a:gd name="connsiteX1197" fmla="*/ 1817269 w 3760754"/>
                <a:gd name="connsiteY1197" fmla="*/ 1381964 h 1435671"/>
                <a:gd name="connsiteX1198" fmla="*/ 1814511 w 3760754"/>
                <a:gd name="connsiteY1198" fmla="*/ 1381964 h 1435671"/>
                <a:gd name="connsiteX1199" fmla="*/ 1811385 w 3760754"/>
                <a:gd name="connsiteY1199" fmla="*/ 1383619 h 1435671"/>
                <a:gd name="connsiteX1200" fmla="*/ 1809914 w 3760754"/>
                <a:gd name="connsiteY1200" fmla="*/ 1387849 h 1435671"/>
                <a:gd name="connsiteX1201" fmla="*/ 1809914 w 3760754"/>
                <a:gd name="connsiteY1201" fmla="*/ 1388216 h 1435671"/>
                <a:gd name="connsiteX1202" fmla="*/ 1809914 w 3760754"/>
                <a:gd name="connsiteY1202" fmla="*/ 1424260 h 1435671"/>
                <a:gd name="connsiteX1203" fmla="*/ 1809546 w 3760754"/>
                <a:gd name="connsiteY1203" fmla="*/ 1424627 h 1435671"/>
                <a:gd name="connsiteX1204" fmla="*/ 1804581 w 3760754"/>
                <a:gd name="connsiteY1204" fmla="*/ 1424627 h 1435671"/>
                <a:gd name="connsiteX1205" fmla="*/ 1801822 w 3760754"/>
                <a:gd name="connsiteY1205" fmla="*/ 1425363 h 1435671"/>
                <a:gd name="connsiteX1206" fmla="*/ 1799248 w 3760754"/>
                <a:gd name="connsiteY1206" fmla="*/ 1429960 h 1435671"/>
                <a:gd name="connsiteX1207" fmla="*/ 1801086 w 3760754"/>
                <a:gd name="connsiteY1207" fmla="*/ 1433822 h 1435671"/>
                <a:gd name="connsiteX1208" fmla="*/ 1803845 w 3760754"/>
                <a:gd name="connsiteY1208" fmla="*/ 1435109 h 1435671"/>
                <a:gd name="connsiteX1209" fmla="*/ 1804029 w 3760754"/>
                <a:gd name="connsiteY1209" fmla="*/ 1435109 h 1435671"/>
                <a:gd name="connsiteX1210" fmla="*/ 1804213 w 3760754"/>
                <a:gd name="connsiteY1210" fmla="*/ 1435109 h 1435671"/>
                <a:gd name="connsiteX1211" fmla="*/ 1804581 w 3760754"/>
                <a:gd name="connsiteY1211" fmla="*/ 1435109 h 1435671"/>
                <a:gd name="connsiteX1212" fmla="*/ 1826464 w 3760754"/>
                <a:gd name="connsiteY1212" fmla="*/ 1435109 h 1435671"/>
                <a:gd name="connsiteX1213" fmla="*/ 1826831 w 3760754"/>
                <a:gd name="connsiteY1213" fmla="*/ 1435109 h 1435671"/>
                <a:gd name="connsiteX1214" fmla="*/ 1827384 w 3760754"/>
                <a:gd name="connsiteY1214" fmla="*/ 1435109 h 1435671"/>
                <a:gd name="connsiteX1215" fmla="*/ 1827935 w 3760754"/>
                <a:gd name="connsiteY1215" fmla="*/ 1434926 h 1435671"/>
                <a:gd name="connsiteX1216" fmla="*/ 1830326 w 3760754"/>
                <a:gd name="connsiteY1216" fmla="*/ 1433638 h 1435671"/>
                <a:gd name="connsiteX1217" fmla="*/ 1831981 w 3760754"/>
                <a:gd name="connsiteY1217" fmla="*/ 1429777 h 1435671"/>
                <a:gd name="connsiteX1218" fmla="*/ 1830509 w 3760754"/>
                <a:gd name="connsiteY1218" fmla="*/ 1426283 h 1435671"/>
                <a:gd name="connsiteX1219" fmla="*/ 1826648 w 3760754"/>
                <a:gd name="connsiteY1219" fmla="*/ 1424627 h 1435671"/>
                <a:gd name="connsiteX1220" fmla="*/ 1821315 w 3760754"/>
                <a:gd name="connsiteY1220" fmla="*/ 1424627 h 1435671"/>
                <a:gd name="connsiteX1221" fmla="*/ 1820947 w 3760754"/>
                <a:gd name="connsiteY1221" fmla="*/ 1424260 h 1435671"/>
                <a:gd name="connsiteX1222" fmla="*/ 1820947 w 3760754"/>
                <a:gd name="connsiteY1222" fmla="*/ 1392998 h 1435671"/>
                <a:gd name="connsiteX1223" fmla="*/ 1821315 w 3760754"/>
                <a:gd name="connsiteY1223" fmla="*/ 1392630 h 1435671"/>
                <a:gd name="connsiteX1224" fmla="*/ 1825360 w 3760754"/>
                <a:gd name="connsiteY1224" fmla="*/ 1392630 h 1435671"/>
                <a:gd name="connsiteX1225" fmla="*/ 1830326 w 3760754"/>
                <a:gd name="connsiteY1225" fmla="*/ 1389504 h 1435671"/>
                <a:gd name="connsiteX1226" fmla="*/ 1830509 w 3760754"/>
                <a:gd name="connsiteY1226" fmla="*/ 1385642 h 1435671"/>
                <a:gd name="connsiteX1227" fmla="*/ 1825544 w 3760754"/>
                <a:gd name="connsiteY1227" fmla="*/ 1382148 h 1435671"/>
                <a:gd name="connsiteX1228" fmla="*/ 1817269 w 3760754"/>
                <a:gd name="connsiteY1228" fmla="*/ 1381964 h 1435671"/>
                <a:gd name="connsiteX1229" fmla="*/ 2051799 w 3760754"/>
                <a:gd name="connsiteY1229" fmla="*/ 1381964 h 1435671"/>
                <a:gd name="connsiteX1230" fmla="*/ 2049041 w 3760754"/>
                <a:gd name="connsiteY1230" fmla="*/ 1381964 h 1435671"/>
                <a:gd name="connsiteX1231" fmla="*/ 2045915 w 3760754"/>
                <a:gd name="connsiteY1231" fmla="*/ 1383619 h 1435671"/>
                <a:gd name="connsiteX1232" fmla="*/ 2044444 w 3760754"/>
                <a:gd name="connsiteY1232" fmla="*/ 1387849 h 1435671"/>
                <a:gd name="connsiteX1233" fmla="*/ 2044444 w 3760754"/>
                <a:gd name="connsiteY1233" fmla="*/ 1388216 h 1435671"/>
                <a:gd name="connsiteX1234" fmla="*/ 2044444 w 3760754"/>
                <a:gd name="connsiteY1234" fmla="*/ 1424260 h 1435671"/>
                <a:gd name="connsiteX1235" fmla="*/ 2044076 w 3760754"/>
                <a:gd name="connsiteY1235" fmla="*/ 1424627 h 1435671"/>
                <a:gd name="connsiteX1236" fmla="*/ 2039111 w 3760754"/>
                <a:gd name="connsiteY1236" fmla="*/ 1424627 h 1435671"/>
                <a:gd name="connsiteX1237" fmla="*/ 2036352 w 3760754"/>
                <a:gd name="connsiteY1237" fmla="*/ 1425363 h 1435671"/>
                <a:gd name="connsiteX1238" fmla="*/ 2033778 w 3760754"/>
                <a:gd name="connsiteY1238" fmla="*/ 1429960 h 1435671"/>
                <a:gd name="connsiteX1239" fmla="*/ 2035617 w 3760754"/>
                <a:gd name="connsiteY1239" fmla="*/ 1433822 h 1435671"/>
                <a:gd name="connsiteX1240" fmla="*/ 2038375 w 3760754"/>
                <a:gd name="connsiteY1240" fmla="*/ 1435109 h 1435671"/>
                <a:gd name="connsiteX1241" fmla="*/ 2038559 w 3760754"/>
                <a:gd name="connsiteY1241" fmla="*/ 1435109 h 1435671"/>
                <a:gd name="connsiteX1242" fmla="*/ 2038743 w 3760754"/>
                <a:gd name="connsiteY1242" fmla="*/ 1435109 h 1435671"/>
                <a:gd name="connsiteX1243" fmla="*/ 2039111 w 3760754"/>
                <a:gd name="connsiteY1243" fmla="*/ 1435109 h 1435671"/>
                <a:gd name="connsiteX1244" fmla="*/ 2060994 w 3760754"/>
                <a:gd name="connsiteY1244" fmla="*/ 1435109 h 1435671"/>
                <a:gd name="connsiteX1245" fmla="*/ 2061362 w 3760754"/>
                <a:gd name="connsiteY1245" fmla="*/ 1435109 h 1435671"/>
                <a:gd name="connsiteX1246" fmla="*/ 2061913 w 3760754"/>
                <a:gd name="connsiteY1246" fmla="*/ 1435109 h 1435671"/>
                <a:gd name="connsiteX1247" fmla="*/ 2062465 w 3760754"/>
                <a:gd name="connsiteY1247" fmla="*/ 1434926 h 1435671"/>
                <a:gd name="connsiteX1248" fmla="*/ 2064856 w 3760754"/>
                <a:gd name="connsiteY1248" fmla="*/ 1433638 h 1435671"/>
                <a:gd name="connsiteX1249" fmla="*/ 2066510 w 3760754"/>
                <a:gd name="connsiteY1249" fmla="*/ 1429777 h 1435671"/>
                <a:gd name="connsiteX1250" fmla="*/ 2065039 w 3760754"/>
                <a:gd name="connsiteY1250" fmla="*/ 1426283 h 1435671"/>
                <a:gd name="connsiteX1251" fmla="*/ 2061177 w 3760754"/>
                <a:gd name="connsiteY1251" fmla="*/ 1424627 h 1435671"/>
                <a:gd name="connsiteX1252" fmla="*/ 2055845 w 3760754"/>
                <a:gd name="connsiteY1252" fmla="*/ 1424627 h 1435671"/>
                <a:gd name="connsiteX1253" fmla="*/ 2055477 w 3760754"/>
                <a:gd name="connsiteY1253" fmla="*/ 1424260 h 1435671"/>
                <a:gd name="connsiteX1254" fmla="*/ 2055477 w 3760754"/>
                <a:gd name="connsiteY1254" fmla="*/ 1392998 h 1435671"/>
                <a:gd name="connsiteX1255" fmla="*/ 2055845 w 3760754"/>
                <a:gd name="connsiteY1255" fmla="*/ 1392630 h 1435671"/>
                <a:gd name="connsiteX1256" fmla="*/ 2059891 w 3760754"/>
                <a:gd name="connsiteY1256" fmla="*/ 1392630 h 1435671"/>
                <a:gd name="connsiteX1257" fmla="*/ 2064856 w 3760754"/>
                <a:gd name="connsiteY1257" fmla="*/ 1389504 h 1435671"/>
                <a:gd name="connsiteX1258" fmla="*/ 2065039 w 3760754"/>
                <a:gd name="connsiteY1258" fmla="*/ 1385642 h 1435671"/>
                <a:gd name="connsiteX1259" fmla="*/ 2060074 w 3760754"/>
                <a:gd name="connsiteY1259" fmla="*/ 1382148 h 1435671"/>
                <a:gd name="connsiteX1260" fmla="*/ 2051799 w 3760754"/>
                <a:gd name="connsiteY1260" fmla="*/ 1381964 h 1435671"/>
                <a:gd name="connsiteX1261" fmla="*/ 2225127 w 3760754"/>
                <a:gd name="connsiteY1261" fmla="*/ 1381964 h 1435671"/>
                <a:gd name="connsiteX1262" fmla="*/ 2222368 w 3760754"/>
                <a:gd name="connsiteY1262" fmla="*/ 1381964 h 1435671"/>
                <a:gd name="connsiteX1263" fmla="*/ 2219241 w 3760754"/>
                <a:gd name="connsiteY1263" fmla="*/ 1383619 h 1435671"/>
                <a:gd name="connsiteX1264" fmla="*/ 2217770 w 3760754"/>
                <a:gd name="connsiteY1264" fmla="*/ 1387849 h 1435671"/>
                <a:gd name="connsiteX1265" fmla="*/ 2217770 w 3760754"/>
                <a:gd name="connsiteY1265" fmla="*/ 1388216 h 1435671"/>
                <a:gd name="connsiteX1266" fmla="*/ 2217770 w 3760754"/>
                <a:gd name="connsiteY1266" fmla="*/ 1424260 h 1435671"/>
                <a:gd name="connsiteX1267" fmla="*/ 2217403 w 3760754"/>
                <a:gd name="connsiteY1267" fmla="*/ 1424627 h 1435671"/>
                <a:gd name="connsiteX1268" fmla="*/ 2212437 w 3760754"/>
                <a:gd name="connsiteY1268" fmla="*/ 1424627 h 1435671"/>
                <a:gd name="connsiteX1269" fmla="*/ 2209678 w 3760754"/>
                <a:gd name="connsiteY1269" fmla="*/ 1425363 h 1435671"/>
                <a:gd name="connsiteX1270" fmla="*/ 2207104 w 3760754"/>
                <a:gd name="connsiteY1270" fmla="*/ 1429960 h 1435671"/>
                <a:gd name="connsiteX1271" fmla="*/ 2208944 w 3760754"/>
                <a:gd name="connsiteY1271" fmla="*/ 1433822 h 1435671"/>
                <a:gd name="connsiteX1272" fmla="*/ 2211702 w 3760754"/>
                <a:gd name="connsiteY1272" fmla="*/ 1435109 h 1435671"/>
                <a:gd name="connsiteX1273" fmla="*/ 2211886 w 3760754"/>
                <a:gd name="connsiteY1273" fmla="*/ 1435109 h 1435671"/>
                <a:gd name="connsiteX1274" fmla="*/ 2212070 w 3760754"/>
                <a:gd name="connsiteY1274" fmla="*/ 1435109 h 1435671"/>
                <a:gd name="connsiteX1275" fmla="*/ 2212437 w 3760754"/>
                <a:gd name="connsiteY1275" fmla="*/ 1435109 h 1435671"/>
                <a:gd name="connsiteX1276" fmla="*/ 2234321 w 3760754"/>
                <a:gd name="connsiteY1276" fmla="*/ 1435109 h 1435671"/>
                <a:gd name="connsiteX1277" fmla="*/ 2234689 w 3760754"/>
                <a:gd name="connsiteY1277" fmla="*/ 1435109 h 1435671"/>
                <a:gd name="connsiteX1278" fmla="*/ 2235240 w 3760754"/>
                <a:gd name="connsiteY1278" fmla="*/ 1435109 h 1435671"/>
                <a:gd name="connsiteX1279" fmla="*/ 2235792 w 3760754"/>
                <a:gd name="connsiteY1279" fmla="*/ 1434926 h 1435671"/>
                <a:gd name="connsiteX1280" fmla="*/ 2238182 w 3760754"/>
                <a:gd name="connsiteY1280" fmla="*/ 1433638 h 1435671"/>
                <a:gd name="connsiteX1281" fmla="*/ 2239838 w 3760754"/>
                <a:gd name="connsiteY1281" fmla="*/ 1429777 h 1435671"/>
                <a:gd name="connsiteX1282" fmla="*/ 2238367 w 3760754"/>
                <a:gd name="connsiteY1282" fmla="*/ 1426283 h 1435671"/>
                <a:gd name="connsiteX1283" fmla="*/ 2234505 w 3760754"/>
                <a:gd name="connsiteY1283" fmla="*/ 1424627 h 1435671"/>
                <a:gd name="connsiteX1284" fmla="*/ 2229172 w 3760754"/>
                <a:gd name="connsiteY1284" fmla="*/ 1424627 h 1435671"/>
                <a:gd name="connsiteX1285" fmla="*/ 2228804 w 3760754"/>
                <a:gd name="connsiteY1285" fmla="*/ 1424260 h 1435671"/>
                <a:gd name="connsiteX1286" fmla="*/ 2228804 w 3760754"/>
                <a:gd name="connsiteY1286" fmla="*/ 1392998 h 1435671"/>
                <a:gd name="connsiteX1287" fmla="*/ 2229172 w 3760754"/>
                <a:gd name="connsiteY1287" fmla="*/ 1392630 h 1435671"/>
                <a:gd name="connsiteX1288" fmla="*/ 2233218 w 3760754"/>
                <a:gd name="connsiteY1288" fmla="*/ 1392630 h 1435671"/>
                <a:gd name="connsiteX1289" fmla="*/ 2238182 w 3760754"/>
                <a:gd name="connsiteY1289" fmla="*/ 1389504 h 1435671"/>
                <a:gd name="connsiteX1290" fmla="*/ 2238367 w 3760754"/>
                <a:gd name="connsiteY1290" fmla="*/ 1385642 h 1435671"/>
                <a:gd name="connsiteX1291" fmla="*/ 2233402 w 3760754"/>
                <a:gd name="connsiteY1291" fmla="*/ 1382148 h 1435671"/>
                <a:gd name="connsiteX1292" fmla="*/ 2225127 w 3760754"/>
                <a:gd name="connsiteY1292" fmla="*/ 1381964 h 1435671"/>
                <a:gd name="connsiteX1293" fmla="*/ 2459708 w 3760754"/>
                <a:gd name="connsiteY1293" fmla="*/ 1381964 h 1435671"/>
                <a:gd name="connsiteX1294" fmla="*/ 2456950 w 3760754"/>
                <a:gd name="connsiteY1294" fmla="*/ 1381964 h 1435671"/>
                <a:gd name="connsiteX1295" fmla="*/ 2453824 w 3760754"/>
                <a:gd name="connsiteY1295" fmla="*/ 1383619 h 1435671"/>
                <a:gd name="connsiteX1296" fmla="*/ 2452353 w 3760754"/>
                <a:gd name="connsiteY1296" fmla="*/ 1387849 h 1435671"/>
                <a:gd name="connsiteX1297" fmla="*/ 2452353 w 3760754"/>
                <a:gd name="connsiteY1297" fmla="*/ 1388216 h 1435671"/>
                <a:gd name="connsiteX1298" fmla="*/ 2452353 w 3760754"/>
                <a:gd name="connsiteY1298" fmla="*/ 1424260 h 1435671"/>
                <a:gd name="connsiteX1299" fmla="*/ 2451985 w 3760754"/>
                <a:gd name="connsiteY1299" fmla="*/ 1424627 h 1435671"/>
                <a:gd name="connsiteX1300" fmla="*/ 2447020 w 3760754"/>
                <a:gd name="connsiteY1300" fmla="*/ 1424627 h 1435671"/>
                <a:gd name="connsiteX1301" fmla="*/ 2444262 w 3760754"/>
                <a:gd name="connsiteY1301" fmla="*/ 1425363 h 1435671"/>
                <a:gd name="connsiteX1302" fmla="*/ 2441687 w 3760754"/>
                <a:gd name="connsiteY1302" fmla="*/ 1429960 h 1435671"/>
                <a:gd name="connsiteX1303" fmla="*/ 2443525 w 3760754"/>
                <a:gd name="connsiteY1303" fmla="*/ 1433822 h 1435671"/>
                <a:gd name="connsiteX1304" fmla="*/ 2446284 w 3760754"/>
                <a:gd name="connsiteY1304" fmla="*/ 1435109 h 1435671"/>
                <a:gd name="connsiteX1305" fmla="*/ 2446468 w 3760754"/>
                <a:gd name="connsiteY1305" fmla="*/ 1435109 h 1435671"/>
                <a:gd name="connsiteX1306" fmla="*/ 2446652 w 3760754"/>
                <a:gd name="connsiteY1306" fmla="*/ 1435109 h 1435671"/>
                <a:gd name="connsiteX1307" fmla="*/ 2447020 w 3760754"/>
                <a:gd name="connsiteY1307" fmla="*/ 1435109 h 1435671"/>
                <a:gd name="connsiteX1308" fmla="*/ 2468902 w 3760754"/>
                <a:gd name="connsiteY1308" fmla="*/ 1435109 h 1435671"/>
                <a:gd name="connsiteX1309" fmla="*/ 2469271 w 3760754"/>
                <a:gd name="connsiteY1309" fmla="*/ 1435109 h 1435671"/>
                <a:gd name="connsiteX1310" fmla="*/ 2469823 w 3760754"/>
                <a:gd name="connsiteY1310" fmla="*/ 1435109 h 1435671"/>
                <a:gd name="connsiteX1311" fmla="*/ 2470374 w 3760754"/>
                <a:gd name="connsiteY1311" fmla="*/ 1434926 h 1435671"/>
                <a:gd name="connsiteX1312" fmla="*/ 2472764 w 3760754"/>
                <a:gd name="connsiteY1312" fmla="*/ 1433638 h 1435671"/>
                <a:gd name="connsiteX1313" fmla="*/ 2474419 w 3760754"/>
                <a:gd name="connsiteY1313" fmla="*/ 1429777 h 1435671"/>
                <a:gd name="connsiteX1314" fmla="*/ 2472948 w 3760754"/>
                <a:gd name="connsiteY1314" fmla="*/ 1426283 h 1435671"/>
                <a:gd name="connsiteX1315" fmla="*/ 2469087 w 3760754"/>
                <a:gd name="connsiteY1315" fmla="*/ 1424627 h 1435671"/>
                <a:gd name="connsiteX1316" fmla="*/ 2463754 w 3760754"/>
                <a:gd name="connsiteY1316" fmla="*/ 1424627 h 1435671"/>
                <a:gd name="connsiteX1317" fmla="*/ 2463386 w 3760754"/>
                <a:gd name="connsiteY1317" fmla="*/ 1424260 h 1435671"/>
                <a:gd name="connsiteX1318" fmla="*/ 2463386 w 3760754"/>
                <a:gd name="connsiteY1318" fmla="*/ 1392998 h 1435671"/>
                <a:gd name="connsiteX1319" fmla="*/ 2463754 w 3760754"/>
                <a:gd name="connsiteY1319" fmla="*/ 1392630 h 1435671"/>
                <a:gd name="connsiteX1320" fmla="*/ 2467800 w 3760754"/>
                <a:gd name="connsiteY1320" fmla="*/ 1392630 h 1435671"/>
                <a:gd name="connsiteX1321" fmla="*/ 2472764 w 3760754"/>
                <a:gd name="connsiteY1321" fmla="*/ 1389504 h 1435671"/>
                <a:gd name="connsiteX1322" fmla="*/ 2472948 w 3760754"/>
                <a:gd name="connsiteY1322" fmla="*/ 1385642 h 1435671"/>
                <a:gd name="connsiteX1323" fmla="*/ 2467984 w 3760754"/>
                <a:gd name="connsiteY1323" fmla="*/ 1382148 h 1435671"/>
                <a:gd name="connsiteX1324" fmla="*/ 2459708 w 3760754"/>
                <a:gd name="connsiteY1324" fmla="*/ 1381964 h 1435671"/>
                <a:gd name="connsiteX1325" fmla="*/ 2571925 w 3760754"/>
                <a:gd name="connsiteY1325" fmla="*/ 1381964 h 1435671"/>
                <a:gd name="connsiteX1326" fmla="*/ 2569166 w 3760754"/>
                <a:gd name="connsiteY1326" fmla="*/ 1381964 h 1435671"/>
                <a:gd name="connsiteX1327" fmla="*/ 2566040 w 3760754"/>
                <a:gd name="connsiteY1327" fmla="*/ 1383619 h 1435671"/>
                <a:gd name="connsiteX1328" fmla="*/ 2564569 w 3760754"/>
                <a:gd name="connsiteY1328" fmla="*/ 1387849 h 1435671"/>
                <a:gd name="connsiteX1329" fmla="*/ 2564569 w 3760754"/>
                <a:gd name="connsiteY1329" fmla="*/ 1388216 h 1435671"/>
                <a:gd name="connsiteX1330" fmla="*/ 2564569 w 3760754"/>
                <a:gd name="connsiteY1330" fmla="*/ 1424260 h 1435671"/>
                <a:gd name="connsiteX1331" fmla="*/ 2564202 w 3760754"/>
                <a:gd name="connsiteY1331" fmla="*/ 1424627 h 1435671"/>
                <a:gd name="connsiteX1332" fmla="*/ 2559237 w 3760754"/>
                <a:gd name="connsiteY1332" fmla="*/ 1424627 h 1435671"/>
                <a:gd name="connsiteX1333" fmla="*/ 2556478 w 3760754"/>
                <a:gd name="connsiteY1333" fmla="*/ 1425363 h 1435671"/>
                <a:gd name="connsiteX1334" fmla="*/ 2553903 w 3760754"/>
                <a:gd name="connsiteY1334" fmla="*/ 1429960 h 1435671"/>
                <a:gd name="connsiteX1335" fmla="*/ 2555742 w 3760754"/>
                <a:gd name="connsiteY1335" fmla="*/ 1433822 h 1435671"/>
                <a:gd name="connsiteX1336" fmla="*/ 2558500 w 3760754"/>
                <a:gd name="connsiteY1336" fmla="*/ 1435109 h 1435671"/>
                <a:gd name="connsiteX1337" fmla="*/ 2558685 w 3760754"/>
                <a:gd name="connsiteY1337" fmla="*/ 1435109 h 1435671"/>
                <a:gd name="connsiteX1338" fmla="*/ 2558869 w 3760754"/>
                <a:gd name="connsiteY1338" fmla="*/ 1435109 h 1435671"/>
                <a:gd name="connsiteX1339" fmla="*/ 2559237 w 3760754"/>
                <a:gd name="connsiteY1339" fmla="*/ 1435109 h 1435671"/>
                <a:gd name="connsiteX1340" fmla="*/ 2581120 w 3760754"/>
                <a:gd name="connsiteY1340" fmla="*/ 1435109 h 1435671"/>
                <a:gd name="connsiteX1341" fmla="*/ 2581487 w 3760754"/>
                <a:gd name="connsiteY1341" fmla="*/ 1435109 h 1435671"/>
                <a:gd name="connsiteX1342" fmla="*/ 2582040 w 3760754"/>
                <a:gd name="connsiteY1342" fmla="*/ 1435109 h 1435671"/>
                <a:gd name="connsiteX1343" fmla="*/ 2582591 w 3760754"/>
                <a:gd name="connsiteY1343" fmla="*/ 1434926 h 1435671"/>
                <a:gd name="connsiteX1344" fmla="*/ 2584981 w 3760754"/>
                <a:gd name="connsiteY1344" fmla="*/ 1433638 h 1435671"/>
                <a:gd name="connsiteX1345" fmla="*/ 2586637 w 3760754"/>
                <a:gd name="connsiteY1345" fmla="*/ 1429777 h 1435671"/>
                <a:gd name="connsiteX1346" fmla="*/ 2585165 w 3760754"/>
                <a:gd name="connsiteY1346" fmla="*/ 1426283 h 1435671"/>
                <a:gd name="connsiteX1347" fmla="*/ 2581304 w 3760754"/>
                <a:gd name="connsiteY1347" fmla="*/ 1424627 h 1435671"/>
                <a:gd name="connsiteX1348" fmla="*/ 2575971 w 3760754"/>
                <a:gd name="connsiteY1348" fmla="*/ 1424627 h 1435671"/>
                <a:gd name="connsiteX1349" fmla="*/ 2575602 w 3760754"/>
                <a:gd name="connsiteY1349" fmla="*/ 1424260 h 1435671"/>
                <a:gd name="connsiteX1350" fmla="*/ 2575602 w 3760754"/>
                <a:gd name="connsiteY1350" fmla="*/ 1392998 h 1435671"/>
                <a:gd name="connsiteX1351" fmla="*/ 2575971 w 3760754"/>
                <a:gd name="connsiteY1351" fmla="*/ 1392630 h 1435671"/>
                <a:gd name="connsiteX1352" fmla="*/ 2580016 w 3760754"/>
                <a:gd name="connsiteY1352" fmla="*/ 1392630 h 1435671"/>
                <a:gd name="connsiteX1353" fmla="*/ 2584981 w 3760754"/>
                <a:gd name="connsiteY1353" fmla="*/ 1389504 h 1435671"/>
                <a:gd name="connsiteX1354" fmla="*/ 2585165 w 3760754"/>
                <a:gd name="connsiteY1354" fmla="*/ 1385642 h 1435671"/>
                <a:gd name="connsiteX1355" fmla="*/ 2580201 w 3760754"/>
                <a:gd name="connsiteY1355" fmla="*/ 1382148 h 1435671"/>
                <a:gd name="connsiteX1356" fmla="*/ 2571925 w 3760754"/>
                <a:gd name="connsiteY1356" fmla="*/ 1381964 h 1435671"/>
                <a:gd name="connsiteX1357" fmla="*/ 2928824 w 3760754"/>
                <a:gd name="connsiteY1357" fmla="*/ 1381964 h 1435671"/>
                <a:gd name="connsiteX1358" fmla="*/ 2926065 w 3760754"/>
                <a:gd name="connsiteY1358" fmla="*/ 1381964 h 1435671"/>
                <a:gd name="connsiteX1359" fmla="*/ 2922939 w 3760754"/>
                <a:gd name="connsiteY1359" fmla="*/ 1383619 h 1435671"/>
                <a:gd name="connsiteX1360" fmla="*/ 2921467 w 3760754"/>
                <a:gd name="connsiteY1360" fmla="*/ 1387849 h 1435671"/>
                <a:gd name="connsiteX1361" fmla="*/ 2921467 w 3760754"/>
                <a:gd name="connsiteY1361" fmla="*/ 1388216 h 1435671"/>
                <a:gd name="connsiteX1362" fmla="*/ 2921467 w 3760754"/>
                <a:gd name="connsiteY1362" fmla="*/ 1424260 h 1435671"/>
                <a:gd name="connsiteX1363" fmla="*/ 2921100 w 3760754"/>
                <a:gd name="connsiteY1363" fmla="*/ 1424627 h 1435671"/>
                <a:gd name="connsiteX1364" fmla="*/ 2916135 w 3760754"/>
                <a:gd name="connsiteY1364" fmla="*/ 1424627 h 1435671"/>
                <a:gd name="connsiteX1365" fmla="*/ 2913376 w 3760754"/>
                <a:gd name="connsiteY1365" fmla="*/ 1425363 h 1435671"/>
                <a:gd name="connsiteX1366" fmla="*/ 2910802 w 3760754"/>
                <a:gd name="connsiteY1366" fmla="*/ 1429960 h 1435671"/>
                <a:gd name="connsiteX1367" fmla="*/ 2912641 w 3760754"/>
                <a:gd name="connsiteY1367" fmla="*/ 1433822 h 1435671"/>
                <a:gd name="connsiteX1368" fmla="*/ 2915399 w 3760754"/>
                <a:gd name="connsiteY1368" fmla="*/ 1435109 h 1435671"/>
                <a:gd name="connsiteX1369" fmla="*/ 2915583 w 3760754"/>
                <a:gd name="connsiteY1369" fmla="*/ 1435109 h 1435671"/>
                <a:gd name="connsiteX1370" fmla="*/ 2915767 w 3760754"/>
                <a:gd name="connsiteY1370" fmla="*/ 1435109 h 1435671"/>
                <a:gd name="connsiteX1371" fmla="*/ 2916135 w 3760754"/>
                <a:gd name="connsiteY1371" fmla="*/ 1435109 h 1435671"/>
                <a:gd name="connsiteX1372" fmla="*/ 2938018 w 3760754"/>
                <a:gd name="connsiteY1372" fmla="*/ 1435109 h 1435671"/>
                <a:gd name="connsiteX1373" fmla="*/ 2938386 w 3760754"/>
                <a:gd name="connsiteY1373" fmla="*/ 1435109 h 1435671"/>
                <a:gd name="connsiteX1374" fmla="*/ 2938938 w 3760754"/>
                <a:gd name="connsiteY1374" fmla="*/ 1435109 h 1435671"/>
                <a:gd name="connsiteX1375" fmla="*/ 2939489 w 3760754"/>
                <a:gd name="connsiteY1375" fmla="*/ 1434926 h 1435671"/>
                <a:gd name="connsiteX1376" fmla="*/ 2941880 w 3760754"/>
                <a:gd name="connsiteY1376" fmla="*/ 1433638 h 1435671"/>
                <a:gd name="connsiteX1377" fmla="*/ 2943535 w 3760754"/>
                <a:gd name="connsiteY1377" fmla="*/ 1429777 h 1435671"/>
                <a:gd name="connsiteX1378" fmla="*/ 2942064 w 3760754"/>
                <a:gd name="connsiteY1378" fmla="*/ 1426283 h 1435671"/>
                <a:gd name="connsiteX1379" fmla="*/ 2938202 w 3760754"/>
                <a:gd name="connsiteY1379" fmla="*/ 1424627 h 1435671"/>
                <a:gd name="connsiteX1380" fmla="*/ 2932869 w 3760754"/>
                <a:gd name="connsiteY1380" fmla="*/ 1424627 h 1435671"/>
                <a:gd name="connsiteX1381" fmla="*/ 2932501 w 3760754"/>
                <a:gd name="connsiteY1381" fmla="*/ 1424260 h 1435671"/>
                <a:gd name="connsiteX1382" fmla="*/ 2932501 w 3760754"/>
                <a:gd name="connsiteY1382" fmla="*/ 1392998 h 1435671"/>
                <a:gd name="connsiteX1383" fmla="*/ 2932869 w 3760754"/>
                <a:gd name="connsiteY1383" fmla="*/ 1392630 h 1435671"/>
                <a:gd name="connsiteX1384" fmla="*/ 2936914 w 3760754"/>
                <a:gd name="connsiteY1384" fmla="*/ 1392630 h 1435671"/>
                <a:gd name="connsiteX1385" fmla="*/ 2941880 w 3760754"/>
                <a:gd name="connsiteY1385" fmla="*/ 1389504 h 1435671"/>
                <a:gd name="connsiteX1386" fmla="*/ 2942064 w 3760754"/>
                <a:gd name="connsiteY1386" fmla="*/ 1385642 h 1435671"/>
                <a:gd name="connsiteX1387" fmla="*/ 2937099 w 3760754"/>
                <a:gd name="connsiteY1387" fmla="*/ 1382148 h 1435671"/>
                <a:gd name="connsiteX1388" fmla="*/ 2928824 w 3760754"/>
                <a:gd name="connsiteY1388" fmla="*/ 1381964 h 1435671"/>
                <a:gd name="connsiteX1389" fmla="*/ 2979833 w 3760754"/>
                <a:gd name="connsiteY1389" fmla="*/ 1381964 h 1435671"/>
                <a:gd name="connsiteX1390" fmla="*/ 2977074 w 3760754"/>
                <a:gd name="connsiteY1390" fmla="*/ 1381964 h 1435671"/>
                <a:gd name="connsiteX1391" fmla="*/ 2973948 w 3760754"/>
                <a:gd name="connsiteY1391" fmla="*/ 1383619 h 1435671"/>
                <a:gd name="connsiteX1392" fmla="*/ 2972476 w 3760754"/>
                <a:gd name="connsiteY1392" fmla="*/ 1387849 h 1435671"/>
                <a:gd name="connsiteX1393" fmla="*/ 2972476 w 3760754"/>
                <a:gd name="connsiteY1393" fmla="*/ 1388216 h 1435671"/>
                <a:gd name="connsiteX1394" fmla="*/ 2972476 w 3760754"/>
                <a:gd name="connsiteY1394" fmla="*/ 1424260 h 1435671"/>
                <a:gd name="connsiteX1395" fmla="*/ 2972109 w 3760754"/>
                <a:gd name="connsiteY1395" fmla="*/ 1424627 h 1435671"/>
                <a:gd name="connsiteX1396" fmla="*/ 2967144 w 3760754"/>
                <a:gd name="connsiteY1396" fmla="*/ 1424627 h 1435671"/>
                <a:gd name="connsiteX1397" fmla="*/ 2964386 w 3760754"/>
                <a:gd name="connsiteY1397" fmla="*/ 1425363 h 1435671"/>
                <a:gd name="connsiteX1398" fmla="*/ 2961811 w 3760754"/>
                <a:gd name="connsiteY1398" fmla="*/ 1429960 h 1435671"/>
                <a:gd name="connsiteX1399" fmla="*/ 2963650 w 3760754"/>
                <a:gd name="connsiteY1399" fmla="*/ 1433822 h 1435671"/>
                <a:gd name="connsiteX1400" fmla="*/ 2966408 w 3760754"/>
                <a:gd name="connsiteY1400" fmla="*/ 1435109 h 1435671"/>
                <a:gd name="connsiteX1401" fmla="*/ 2966592 w 3760754"/>
                <a:gd name="connsiteY1401" fmla="*/ 1435109 h 1435671"/>
                <a:gd name="connsiteX1402" fmla="*/ 2966776 w 3760754"/>
                <a:gd name="connsiteY1402" fmla="*/ 1435109 h 1435671"/>
                <a:gd name="connsiteX1403" fmla="*/ 2967144 w 3760754"/>
                <a:gd name="connsiteY1403" fmla="*/ 1435109 h 1435671"/>
                <a:gd name="connsiteX1404" fmla="*/ 2989027 w 3760754"/>
                <a:gd name="connsiteY1404" fmla="*/ 1435109 h 1435671"/>
                <a:gd name="connsiteX1405" fmla="*/ 2989395 w 3760754"/>
                <a:gd name="connsiteY1405" fmla="*/ 1435109 h 1435671"/>
                <a:gd name="connsiteX1406" fmla="*/ 2989947 w 3760754"/>
                <a:gd name="connsiteY1406" fmla="*/ 1435109 h 1435671"/>
                <a:gd name="connsiteX1407" fmla="*/ 2990498 w 3760754"/>
                <a:gd name="connsiteY1407" fmla="*/ 1434926 h 1435671"/>
                <a:gd name="connsiteX1408" fmla="*/ 2992889 w 3760754"/>
                <a:gd name="connsiteY1408" fmla="*/ 1433638 h 1435671"/>
                <a:gd name="connsiteX1409" fmla="*/ 2994544 w 3760754"/>
                <a:gd name="connsiteY1409" fmla="*/ 1429777 h 1435671"/>
                <a:gd name="connsiteX1410" fmla="*/ 2993073 w 3760754"/>
                <a:gd name="connsiteY1410" fmla="*/ 1426283 h 1435671"/>
                <a:gd name="connsiteX1411" fmla="*/ 2989211 w 3760754"/>
                <a:gd name="connsiteY1411" fmla="*/ 1424627 h 1435671"/>
                <a:gd name="connsiteX1412" fmla="*/ 2983878 w 3760754"/>
                <a:gd name="connsiteY1412" fmla="*/ 1424627 h 1435671"/>
                <a:gd name="connsiteX1413" fmla="*/ 2983510 w 3760754"/>
                <a:gd name="connsiteY1413" fmla="*/ 1424260 h 1435671"/>
                <a:gd name="connsiteX1414" fmla="*/ 2983510 w 3760754"/>
                <a:gd name="connsiteY1414" fmla="*/ 1392998 h 1435671"/>
                <a:gd name="connsiteX1415" fmla="*/ 2983878 w 3760754"/>
                <a:gd name="connsiteY1415" fmla="*/ 1392630 h 1435671"/>
                <a:gd name="connsiteX1416" fmla="*/ 2987923 w 3760754"/>
                <a:gd name="connsiteY1416" fmla="*/ 1392630 h 1435671"/>
                <a:gd name="connsiteX1417" fmla="*/ 2992889 w 3760754"/>
                <a:gd name="connsiteY1417" fmla="*/ 1389504 h 1435671"/>
                <a:gd name="connsiteX1418" fmla="*/ 2993073 w 3760754"/>
                <a:gd name="connsiteY1418" fmla="*/ 1385642 h 1435671"/>
                <a:gd name="connsiteX1419" fmla="*/ 2988108 w 3760754"/>
                <a:gd name="connsiteY1419" fmla="*/ 1382148 h 1435671"/>
                <a:gd name="connsiteX1420" fmla="*/ 2979833 w 3760754"/>
                <a:gd name="connsiteY1420" fmla="*/ 1381964 h 1435671"/>
                <a:gd name="connsiteX1421" fmla="*/ 3153257 w 3760754"/>
                <a:gd name="connsiteY1421" fmla="*/ 1381964 h 1435671"/>
                <a:gd name="connsiteX1422" fmla="*/ 3150498 w 3760754"/>
                <a:gd name="connsiteY1422" fmla="*/ 1381964 h 1435671"/>
                <a:gd name="connsiteX1423" fmla="*/ 3147372 w 3760754"/>
                <a:gd name="connsiteY1423" fmla="*/ 1383619 h 1435671"/>
                <a:gd name="connsiteX1424" fmla="*/ 3145901 w 3760754"/>
                <a:gd name="connsiteY1424" fmla="*/ 1387849 h 1435671"/>
                <a:gd name="connsiteX1425" fmla="*/ 3145901 w 3760754"/>
                <a:gd name="connsiteY1425" fmla="*/ 1388216 h 1435671"/>
                <a:gd name="connsiteX1426" fmla="*/ 3145901 w 3760754"/>
                <a:gd name="connsiteY1426" fmla="*/ 1424260 h 1435671"/>
                <a:gd name="connsiteX1427" fmla="*/ 3145533 w 3760754"/>
                <a:gd name="connsiteY1427" fmla="*/ 1424627 h 1435671"/>
                <a:gd name="connsiteX1428" fmla="*/ 3140568 w 3760754"/>
                <a:gd name="connsiteY1428" fmla="*/ 1424627 h 1435671"/>
                <a:gd name="connsiteX1429" fmla="*/ 3137810 w 3760754"/>
                <a:gd name="connsiteY1429" fmla="*/ 1425363 h 1435671"/>
                <a:gd name="connsiteX1430" fmla="*/ 3135235 w 3760754"/>
                <a:gd name="connsiteY1430" fmla="*/ 1429960 h 1435671"/>
                <a:gd name="connsiteX1431" fmla="*/ 3137074 w 3760754"/>
                <a:gd name="connsiteY1431" fmla="*/ 1433822 h 1435671"/>
                <a:gd name="connsiteX1432" fmla="*/ 3139832 w 3760754"/>
                <a:gd name="connsiteY1432" fmla="*/ 1435109 h 1435671"/>
                <a:gd name="connsiteX1433" fmla="*/ 3140016 w 3760754"/>
                <a:gd name="connsiteY1433" fmla="*/ 1435109 h 1435671"/>
                <a:gd name="connsiteX1434" fmla="*/ 3140200 w 3760754"/>
                <a:gd name="connsiteY1434" fmla="*/ 1435109 h 1435671"/>
                <a:gd name="connsiteX1435" fmla="*/ 3140568 w 3760754"/>
                <a:gd name="connsiteY1435" fmla="*/ 1435109 h 1435671"/>
                <a:gd name="connsiteX1436" fmla="*/ 3162452 w 3760754"/>
                <a:gd name="connsiteY1436" fmla="*/ 1435109 h 1435671"/>
                <a:gd name="connsiteX1437" fmla="*/ 3162819 w 3760754"/>
                <a:gd name="connsiteY1437" fmla="*/ 1435109 h 1435671"/>
                <a:gd name="connsiteX1438" fmla="*/ 3163371 w 3760754"/>
                <a:gd name="connsiteY1438" fmla="*/ 1435109 h 1435671"/>
                <a:gd name="connsiteX1439" fmla="*/ 3163923 w 3760754"/>
                <a:gd name="connsiteY1439" fmla="*/ 1434926 h 1435671"/>
                <a:gd name="connsiteX1440" fmla="*/ 3166313 w 3760754"/>
                <a:gd name="connsiteY1440" fmla="*/ 1433638 h 1435671"/>
                <a:gd name="connsiteX1441" fmla="*/ 3167968 w 3760754"/>
                <a:gd name="connsiteY1441" fmla="*/ 1429777 h 1435671"/>
                <a:gd name="connsiteX1442" fmla="*/ 3166497 w 3760754"/>
                <a:gd name="connsiteY1442" fmla="*/ 1426283 h 1435671"/>
                <a:gd name="connsiteX1443" fmla="*/ 3162635 w 3760754"/>
                <a:gd name="connsiteY1443" fmla="*/ 1424627 h 1435671"/>
                <a:gd name="connsiteX1444" fmla="*/ 3157302 w 3760754"/>
                <a:gd name="connsiteY1444" fmla="*/ 1424627 h 1435671"/>
                <a:gd name="connsiteX1445" fmla="*/ 3156934 w 3760754"/>
                <a:gd name="connsiteY1445" fmla="*/ 1424260 h 1435671"/>
                <a:gd name="connsiteX1446" fmla="*/ 3156934 w 3760754"/>
                <a:gd name="connsiteY1446" fmla="*/ 1392998 h 1435671"/>
                <a:gd name="connsiteX1447" fmla="*/ 3157302 w 3760754"/>
                <a:gd name="connsiteY1447" fmla="*/ 1392630 h 1435671"/>
                <a:gd name="connsiteX1448" fmla="*/ 3161348 w 3760754"/>
                <a:gd name="connsiteY1448" fmla="*/ 1392630 h 1435671"/>
                <a:gd name="connsiteX1449" fmla="*/ 3166313 w 3760754"/>
                <a:gd name="connsiteY1449" fmla="*/ 1389504 h 1435671"/>
                <a:gd name="connsiteX1450" fmla="*/ 3166497 w 3760754"/>
                <a:gd name="connsiteY1450" fmla="*/ 1385642 h 1435671"/>
                <a:gd name="connsiteX1451" fmla="*/ 3161532 w 3760754"/>
                <a:gd name="connsiteY1451" fmla="*/ 1382148 h 1435671"/>
                <a:gd name="connsiteX1452" fmla="*/ 3153257 w 3760754"/>
                <a:gd name="connsiteY1452" fmla="*/ 1381964 h 1435671"/>
                <a:gd name="connsiteX1453" fmla="*/ 3387839 w 3760754"/>
                <a:gd name="connsiteY1453" fmla="*/ 1381964 h 1435671"/>
                <a:gd name="connsiteX1454" fmla="*/ 3385080 w 3760754"/>
                <a:gd name="connsiteY1454" fmla="*/ 1381964 h 1435671"/>
                <a:gd name="connsiteX1455" fmla="*/ 3381955 w 3760754"/>
                <a:gd name="connsiteY1455" fmla="*/ 1383619 h 1435671"/>
                <a:gd name="connsiteX1456" fmla="*/ 3380483 w 3760754"/>
                <a:gd name="connsiteY1456" fmla="*/ 1387849 h 1435671"/>
                <a:gd name="connsiteX1457" fmla="*/ 3380483 w 3760754"/>
                <a:gd name="connsiteY1457" fmla="*/ 1388216 h 1435671"/>
                <a:gd name="connsiteX1458" fmla="*/ 3380483 w 3760754"/>
                <a:gd name="connsiteY1458" fmla="*/ 1424260 h 1435671"/>
                <a:gd name="connsiteX1459" fmla="*/ 3380115 w 3760754"/>
                <a:gd name="connsiteY1459" fmla="*/ 1424627 h 1435671"/>
                <a:gd name="connsiteX1460" fmla="*/ 3375151 w 3760754"/>
                <a:gd name="connsiteY1460" fmla="*/ 1424627 h 1435671"/>
                <a:gd name="connsiteX1461" fmla="*/ 3372392 w 3760754"/>
                <a:gd name="connsiteY1461" fmla="*/ 1425363 h 1435671"/>
                <a:gd name="connsiteX1462" fmla="*/ 3369818 w 3760754"/>
                <a:gd name="connsiteY1462" fmla="*/ 1429960 h 1435671"/>
                <a:gd name="connsiteX1463" fmla="*/ 3371656 w 3760754"/>
                <a:gd name="connsiteY1463" fmla="*/ 1433822 h 1435671"/>
                <a:gd name="connsiteX1464" fmla="*/ 3374415 w 3760754"/>
                <a:gd name="connsiteY1464" fmla="*/ 1435109 h 1435671"/>
                <a:gd name="connsiteX1465" fmla="*/ 3374598 w 3760754"/>
                <a:gd name="connsiteY1465" fmla="*/ 1435109 h 1435671"/>
                <a:gd name="connsiteX1466" fmla="*/ 3374783 w 3760754"/>
                <a:gd name="connsiteY1466" fmla="*/ 1435109 h 1435671"/>
                <a:gd name="connsiteX1467" fmla="*/ 3375151 w 3760754"/>
                <a:gd name="connsiteY1467" fmla="*/ 1435109 h 1435671"/>
                <a:gd name="connsiteX1468" fmla="*/ 3397034 w 3760754"/>
                <a:gd name="connsiteY1468" fmla="*/ 1435109 h 1435671"/>
                <a:gd name="connsiteX1469" fmla="*/ 3397401 w 3760754"/>
                <a:gd name="connsiteY1469" fmla="*/ 1435109 h 1435671"/>
                <a:gd name="connsiteX1470" fmla="*/ 3397953 w 3760754"/>
                <a:gd name="connsiteY1470" fmla="*/ 1435109 h 1435671"/>
                <a:gd name="connsiteX1471" fmla="*/ 3398505 w 3760754"/>
                <a:gd name="connsiteY1471" fmla="*/ 1434926 h 1435671"/>
                <a:gd name="connsiteX1472" fmla="*/ 3400895 w 3760754"/>
                <a:gd name="connsiteY1472" fmla="*/ 1433638 h 1435671"/>
                <a:gd name="connsiteX1473" fmla="*/ 3402550 w 3760754"/>
                <a:gd name="connsiteY1473" fmla="*/ 1429777 h 1435671"/>
                <a:gd name="connsiteX1474" fmla="*/ 3401079 w 3760754"/>
                <a:gd name="connsiteY1474" fmla="*/ 1426283 h 1435671"/>
                <a:gd name="connsiteX1475" fmla="*/ 3397217 w 3760754"/>
                <a:gd name="connsiteY1475" fmla="*/ 1424627 h 1435671"/>
                <a:gd name="connsiteX1476" fmla="*/ 3391884 w 3760754"/>
                <a:gd name="connsiteY1476" fmla="*/ 1424627 h 1435671"/>
                <a:gd name="connsiteX1477" fmla="*/ 3391516 w 3760754"/>
                <a:gd name="connsiteY1477" fmla="*/ 1424260 h 1435671"/>
                <a:gd name="connsiteX1478" fmla="*/ 3391516 w 3760754"/>
                <a:gd name="connsiteY1478" fmla="*/ 1392998 h 1435671"/>
                <a:gd name="connsiteX1479" fmla="*/ 3391884 w 3760754"/>
                <a:gd name="connsiteY1479" fmla="*/ 1392630 h 1435671"/>
                <a:gd name="connsiteX1480" fmla="*/ 3395930 w 3760754"/>
                <a:gd name="connsiteY1480" fmla="*/ 1392630 h 1435671"/>
                <a:gd name="connsiteX1481" fmla="*/ 3400895 w 3760754"/>
                <a:gd name="connsiteY1481" fmla="*/ 1389504 h 1435671"/>
                <a:gd name="connsiteX1482" fmla="*/ 3401079 w 3760754"/>
                <a:gd name="connsiteY1482" fmla="*/ 1385642 h 1435671"/>
                <a:gd name="connsiteX1483" fmla="*/ 3396114 w 3760754"/>
                <a:gd name="connsiteY1483" fmla="*/ 1382148 h 1435671"/>
                <a:gd name="connsiteX1484" fmla="*/ 3387839 w 3760754"/>
                <a:gd name="connsiteY1484" fmla="*/ 1381964 h 1435671"/>
                <a:gd name="connsiteX1485" fmla="*/ 3683480 w 3760754"/>
                <a:gd name="connsiteY1485" fmla="*/ 1381964 h 1435671"/>
                <a:gd name="connsiteX1486" fmla="*/ 3680721 w 3760754"/>
                <a:gd name="connsiteY1486" fmla="*/ 1381964 h 1435671"/>
                <a:gd name="connsiteX1487" fmla="*/ 3677595 w 3760754"/>
                <a:gd name="connsiteY1487" fmla="*/ 1383619 h 1435671"/>
                <a:gd name="connsiteX1488" fmla="*/ 3676124 w 3760754"/>
                <a:gd name="connsiteY1488" fmla="*/ 1387849 h 1435671"/>
                <a:gd name="connsiteX1489" fmla="*/ 3676124 w 3760754"/>
                <a:gd name="connsiteY1489" fmla="*/ 1388216 h 1435671"/>
                <a:gd name="connsiteX1490" fmla="*/ 3676124 w 3760754"/>
                <a:gd name="connsiteY1490" fmla="*/ 1424260 h 1435671"/>
                <a:gd name="connsiteX1491" fmla="*/ 3675756 w 3760754"/>
                <a:gd name="connsiteY1491" fmla="*/ 1424627 h 1435671"/>
                <a:gd name="connsiteX1492" fmla="*/ 3670791 w 3760754"/>
                <a:gd name="connsiteY1492" fmla="*/ 1424627 h 1435671"/>
                <a:gd name="connsiteX1493" fmla="*/ 3668033 w 3760754"/>
                <a:gd name="connsiteY1493" fmla="*/ 1425363 h 1435671"/>
                <a:gd name="connsiteX1494" fmla="*/ 3665458 w 3760754"/>
                <a:gd name="connsiteY1494" fmla="*/ 1429960 h 1435671"/>
                <a:gd name="connsiteX1495" fmla="*/ 3667297 w 3760754"/>
                <a:gd name="connsiteY1495" fmla="*/ 1433822 h 1435671"/>
                <a:gd name="connsiteX1496" fmla="*/ 3670055 w 3760754"/>
                <a:gd name="connsiteY1496" fmla="*/ 1435109 h 1435671"/>
                <a:gd name="connsiteX1497" fmla="*/ 3670239 w 3760754"/>
                <a:gd name="connsiteY1497" fmla="*/ 1435109 h 1435671"/>
                <a:gd name="connsiteX1498" fmla="*/ 3670423 w 3760754"/>
                <a:gd name="connsiteY1498" fmla="*/ 1435109 h 1435671"/>
                <a:gd name="connsiteX1499" fmla="*/ 3670791 w 3760754"/>
                <a:gd name="connsiteY1499" fmla="*/ 1435109 h 1435671"/>
                <a:gd name="connsiteX1500" fmla="*/ 3692675 w 3760754"/>
                <a:gd name="connsiteY1500" fmla="*/ 1435109 h 1435671"/>
                <a:gd name="connsiteX1501" fmla="*/ 3693042 w 3760754"/>
                <a:gd name="connsiteY1501" fmla="*/ 1435109 h 1435671"/>
                <a:gd name="connsiteX1502" fmla="*/ 3693594 w 3760754"/>
                <a:gd name="connsiteY1502" fmla="*/ 1435109 h 1435671"/>
                <a:gd name="connsiteX1503" fmla="*/ 3694146 w 3760754"/>
                <a:gd name="connsiteY1503" fmla="*/ 1434926 h 1435671"/>
                <a:gd name="connsiteX1504" fmla="*/ 3696536 w 3760754"/>
                <a:gd name="connsiteY1504" fmla="*/ 1433638 h 1435671"/>
                <a:gd name="connsiteX1505" fmla="*/ 3698191 w 3760754"/>
                <a:gd name="connsiteY1505" fmla="*/ 1429777 h 1435671"/>
                <a:gd name="connsiteX1506" fmla="*/ 3696720 w 3760754"/>
                <a:gd name="connsiteY1506" fmla="*/ 1426283 h 1435671"/>
                <a:gd name="connsiteX1507" fmla="*/ 3692858 w 3760754"/>
                <a:gd name="connsiteY1507" fmla="*/ 1424627 h 1435671"/>
                <a:gd name="connsiteX1508" fmla="*/ 3687525 w 3760754"/>
                <a:gd name="connsiteY1508" fmla="*/ 1424627 h 1435671"/>
                <a:gd name="connsiteX1509" fmla="*/ 3687157 w 3760754"/>
                <a:gd name="connsiteY1509" fmla="*/ 1424260 h 1435671"/>
                <a:gd name="connsiteX1510" fmla="*/ 3687157 w 3760754"/>
                <a:gd name="connsiteY1510" fmla="*/ 1392998 h 1435671"/>
                <a:gd name="connsiteX1511" fmla="*/ 3687525 w 3760754"/>
                <a:gd name="connsiteY1511" fmla="*/ 1392630 h 1435671"/>
                <a:gd name="connsiteX1512" fmla="*/ 3691571 w 3760754"/>
                <a:gd name="connsiteY1512" fmla="*/ 1392630 h 1435671"/>
                <a:gd name="connsiteX1513" fmla="*/ 3696536 w 3760754"/>
                <a:gd name="connsiteY1513" fmla="*/ 1389504 h 1435671"/>
                <a:gd name="connsiteX1514" fmla="*/ 3696720 w 3760754"/>
                <a:gd name="connsiteY1514" fmla="*/ 1385642 h 1435671"/>
                <a:gd name="connsiteX1515" fmla="*/ 3691755 w 3760754"/>
                <a:gd name="connsiteY1515" fmla="*/ 1382148 h 1435671"/>
                <a:gd name="connsiteX1516" fmla="*/ 3683480 w 3760754"/>
                <a:gd name="connsiteY1516" fmla="*/ 1381964 h 1435671"/>
                <a:gd name="connsiteX1517" fmla="*/ 22545 w 3760754"/>
                <a:gd name="connsiteY1517" fmla="*/ 1381962 h 1435671"/>
                <a:gd name="connsiteX1518" fmla="*/ 30475 w 3760754"/>
                <a:gd name="connsiteY1518" fmla="*/ 1387219 h 1435671"/>
                <a:gd name="connsiteX1519" fmla="*/ 31104 w 3760754"/>
                <a:gd name="connsiteY1519" fmla="*/ 1390336 h 1435671"/>
                <a:gd name="connsiteX1520" fmla="*/ 28900 w 3760754"/>
                <a:gd name="connsiteY1520" fmla="*/ 1390336 h 1435671"/>
                <a:gd name="connsiteX1521" fmla="*/ 16374 w 3760754"/>
                <a:gd name="connsiteY1521" fmla="*/ 1390336 h 1435671"/>
                <a:gd name="connsiteX1522" fmla="*/ 13984 w 3760754"/>
                <a:gd name="connsiteY1522" fmla="*/ 1390336 h 1435671"/>
                <a:gd name="connsiteX1523" fmla="*/ 14614 w 3760754"/>
                <a:gd name="connsiteY1523" fmla="*/ 1387219 h 1435671"/>
                <a:gd name="connsiteX1524" fmla="*/ 22545 w 3760754"/>
                <a:gd name="connsiteY1524" fmla="*/ 1381962 h 1435671"/>
                <a:gd name="connsiteX1525" fmla="*/ 88211 w 3760754"/>
                <a:gd name="connsiteY1525" fmla="*/ 1381917 h 1435671"/>
                <a:gd name="connsiteX1526" fmla="*/ 79852 w 3760754"/>
                <a:gd name="connsiteY1526" fmla="*/ 1383388 h 1435671"/>
                <a:gd name="connsiteX1527" fmla="*/ 74837 w 3760754"/>
                <a:gd name="connsiteY1527" fmla="*/ 1386515 h 1435671"/>
                <a:gd name="connsiteX1528" fmla="*/ 72497 w 3760754"/>
                <a:gd name="connsiteY1528" fmla="*/ 1388721 h 1435671"/>
                <a:gd name="connsiteX1529" fmla="*/ 70156 w 3760754"/>
                <a:gd name="connsiteY1529" fmla="*/ 1391663 h 1435671"/>
                <a:gd name="connsiteX1530" fmla="*/ 68818 w 3760754"/>
                <a:gd name="connsiteY1530" fmla="*/ 1394054 h 1435671"/>
                <a:gd name="connsiteX1531" fmla="*/ 67314 w 3760754"/>
                <a:gd name="connsiteY1531" fmla="*/ 1397732 h 1435671"/>
                <a:gd name="connsiteX1532" fmla="*/ 66645 w 3760754"/>
                <a:gd name="connsiteY1532" fmla="*/ 1400123 h 1435671"/>
                <a:gd name="connsiteX1533" fmla="*/ 65977 w 3760754"/>
                <a:gd name="connsiteY1533" fmla="*/ 1403617 h 1435671"/>
                <a:gd name="connsiteX1534" fmla="*/ 66144 w 3760754"/>
                <a:gd name="connsiteY1534" fmla="*/ 1413363 h 1435671"/>
                <a:gd name="connsiteX1535" fmla="*/ 66812 w 3760754"/>
                <a:gd name="connsiteY1535" fmla="*/ 1416673 h 1435671"/>
                <a:gd name="connsiteX1536" fmla="*/ 67649 w 3760754"/>
                <a:gd name="connsiteY1536" fmla="*/ 1419247 h 1435671"/>
                <a:gd name="connsiteX1537" fmla="*/ 68317 w 3760754"/>
                <a:gd name="connsiteY1537" fmla="*/ 1420903 h 1435671"/>
                <a:gd name="connsiteX1538" fmla="*/ 69822 w 3760754"/>
                <a:gd name="connsiteY1538" fmla="*/ 1423845 h 1435671"/>
                <a:gd name="connsiteX1539" fmla="*/ 71326 w 3760754"/>
                <a:gd name="connsiteY1539" fmla="*/ 1426051 h 1435671"/>
                <a:gd name="connsiteX1540" fmla="*/ 73666 w 3760754"/>
                <a:gd name="connsiteY1540" fmla="*/ 1428626 h 1435671"/>
                <a:gd name="connsiteX1541" fmla="*/ 75840 w 3760754"/>
                <a:gd name="connsiteY1541" fmla="*/ 1430465 h 1435671"/>
                <a:gd name="connsiteX1542" fmla="*/ 79685 w 3760754"/>
                <a:gd name="connsiteY1542" fmla="*/ 1432672 h 1435671"/>
                <a:gd name="connsiteX1543" fmla="*/ 85035 w 3760754"/>
                <a:gd name="connsiteY1543" fmla="*/ 1434143 h 1435671"/>
                <a:gd name="connsiteX1544" fmla="*/ 85871 w 3760754"/>
                <a:gd name="connsiteY1544" fmla="*/ 1434327 h 1435671"/>
                <a:gd name="connsiteX1545" fmla="*/ 88713 w 3760754"/>
                <a:gd name="connsiteY1545" fmla="*/ 1434327 h 1435671"/>
                <a:gd name="connsiteX1546" fmla="*/ 88880 w 3760754"/>
                <a:gd name="connsiteY1546" fmla="*/ 1434327 h 1435671"/>
                <a:gd name="connsiteX1547" fmla="*/ 97740 w 3760754"/>
                <a:gd name="connsiteY1547" fmla="*/ 1431017 h 1435671"/>
                <a:gd name="connsiteX1548" fmla="*/ 100917 w 3760754"/>
                <a:gd name="connsiteY1548" fmla="*/ 1428258 h 1435671"/>
                <a:gd name="connsiteX1549" fmla="*/ 103090 w 3760754"/>
                <a:gd name="connsiteY1549" fmla="*/ 1425684 h 1435671"/>
                <a:gd name="connsiteX1550" fmla="*/ 104595 w 3760754"/>
                <a:gd name="connsiteY1550" fmla="*/ 1423294 h 1435671"/>
                <a:gd name="connsiteX1551" fmla="*/ 106099 w 3760754"/>
                <a:gd name="connsiteY1551" fmla="*/ 1420351 h 1435671"/>
                <a:gd name="connsiteX1552" fmla="*/ 106935 w 3760754"/>
                <a:gd name="connsiteY1552" fmla="*/ 1418328 h 1435671"/>
                <a:gd name="connsiteX1553" fmla="*/ 107604 w 3760754"/>
                <a:gd name="connsiteY1553" fmla="*/ 1416122 h 1435671"/>
                <a:gd name="connsiteX1554" fmla="*/ 108440 w 3760754"/>
                <a:gd name="connsiteY1554" fmla="*/ 1412260 h 1435671"/>
                <a:gd name="connsiteX1555" fmla="*/ 108607 w 3760754"/>
                <a:gd name="connsiteY1555" fmla="*/ 1410237 h 1435671"/>
                <a:gd name="connsiteX1556" fmla="*/ 108440 w 3760754"/>
                <a:gd name="connsiteY1556" fmla="*/ 1410421 h 1435671"/>
                <a:gd name="connsiteX1557" fmla="*/ 108440 w 3760754"/>
                <a:gd name="connsiteY1557" fmla="*/ 1406559 h 1435671"/>
                <a:gd name="connsiteX1558" fmla="*/ 108440 w 3760754"/>
                <a:gd name="connsiteY1558" fmla="*/ 1406375 h 1435671"/>
                <a:gd name="connsiteX1559" fmla="*/ 108106 w 3760754"/>
                <a:gd name="connsiteY1559" fmla="*/ 1403249 h 1435671"/>
                <a:gd name="connsiteX1560" fmla="*/ 107270 w 3760754"/>
                <a:gd name="connsiteY1560" fmla="*/ 1399571 h 1435671"/>
                <a:gd name="connsiteX1561" fmla="*/ 106601 w 3760754"/>
                <a:gd name="connsiteY1561" fmla="*/ 1397364 h 1435671"/>
                <a:gd name="connsiteX1562" fmla="*/ 105097 w 3760754"/>
                <a:gd name="connsiteY1562" fmla="*/ 1393870 h 1435671"/>
                <a:gd name="connsiteX1563" fmla="*/ 103591 w 3760754"/>
                <a:gd name="connsiteY1563" fmla="*/ 1391296 h 1435671"/>
                <a:gd name="connsiteX1564" fmla="*/ 102087 w 3760754"/>
                <a:gd name="connsiteY1564" fmla="*/ 1389273 h 1435671"/>
                <a:gd name="connsiteX1565" fmla="*/ 100583 w 3760754"/>
                <a:gd name="connsiteY1565" fmla="*/ 1387618 h 1435671"/>
                <a:gd name="connsiteX1566" fmla="*/ 97406 w 3760754"/>
                <a:gd name="connsiteY1566" fmla="*/ 1385044 h 1435671"/>
                <a:gd name="connsiteX1567" fmla="*/ 94731 w 3760754"/>
                <a:gd name="connsiteY1567" fmla="*/ 1383573 h 1435671"/>
                <a:gd name="connsiteX1568" fmla="*/ 88211 w 3760754"/>
                <a:gd name="connsiteY1568" fmla="*/ 1381917 h 1435671"/>
                <a:gd name="connsiteX1569" fmla="*/ 210578 w 3760754"/>
                <a:gd name="connsiteY1569" fmla="*/ 1381917 h 1435671"/>
                <a:gd name="connsiteX1570" fmla="*/ 202219 w 3760754"/>
                <a:gd name="connsiteY1570" fmla="*/ 1383388 h 1435671"/>
                <a:gd name="connsiteX1571" fmla="*/ 197204 w 3760754"/>
                <a:gd name="connsiteY1571" fmla="*/ 1386515 h 1435671"/>
                <a:gd name="connsiteX1572" fmla="*/ 194864 w 3760754"/>
                <a:gd name="connsiteY1572" fmla="*/ 1388721 h 1435671"/>
                <a:gd name="connsiteX1573" fmla="*/ 192523 w 3760754"/>
                <a:gd name="connsiteY1573" fmla="*/ 1391663 h 1435671"/>
                <a:gd name="connsiteX1574" fmla="*/ 191185 w 3760754"/>
                <a:gd name="connsiteY1574" fmla="*/ 1394054 h 1435671"/>
                <a:gd name="connsiteX1575" fmla="*/ 189681 w 3760754"/>
                <a:gd name="connsiteY1575" fmla="*/ 1397732 h 1435671"/>
                <a:gd name="connsiteX1576" fmla="*/ 189012 w 3760754"/>
                <a:gd name="connsiteY1576" fmla="*/ 1400123 h 1435671"/>
                <a:gd name="connsiteX1577" fmla="*/ 188344 w 3760754"/>
                <a:gd name="connsiteY1577" fmla="*/ 1403617 h 1435671"/>
                <a:gd name="connsiteX1578" fmla="*/ 188510 w 3760754"/>
                <a:gd name="connsiteY1578" fmla="*/ 1413363 h 1435671"/>
                <a:gd name="connsiteX1579" fmla="*/ 189179 w 3760754"/>
                <a:gd name="connsiteY1579" fmla="*/ 1416673 h 1435671"/>
                <a:gd name="connsiteX1580" fmla="*/ 190016 w 3760754"/>
                <a:gd name="connsiteY1580" fmla="*/ 1419247 h 1435671"/>
                <a:gd name="connsiteX1581" fmla="*/ 190684 w 3760754"/>
                <a:gd name="connsiteY1581" fmla="*/ 1420903 h 1435671"/>
                <a:gd name="connsiteX1582" fmla="*/ 192189 w 3760754"/>
                <a:gd name="connsiteY1582" fmla="*/ 1423845 h 1435671"/>
                <a:gd name="connsiteX1583" fmla="*/ 193693 w 3760754"/>
                <a:gd name="connsiteY1583" fmla="*/ 1426051 h 1435671"/>
                <a:gd name="connsiteX1584" fmla="*/ 196033 w 3760754"/>
                <a:gd name="connsiteY1584" fmla="*/ 1428626 h 1435671"/>
                <a:gd name="connsiteX1585" fmla="*/ 198207 w 3760754"/>
                <a:gd name="connsiteY1585" fmla="*/ 1430465 h 1435671"/>
                <a:gd name="connsiteX1586" fmla="*/ 202052 w 3760754"/>
                <a:gd name="connsiteY1586" fmla="*/ 1432672 h 1435671"/>
                <a:gd name="connsiteX1587" fmla="*/ 207402 w 3760754"/>
                <a:gd name="connsiteY1587" fmla="*/ 1434143 h 1435671"/>
                <a:gd name="connsiteX1588" fmla="*/ 208238 w 3760754"/>
                <a:gd name="connsiteY1588" fmla="*/ 1434327 h 1435671"/>
                <a:gd name="connsiteX1589" fmla="*/ 211080 w 3760754"/>
                <a:gd name="connsiteY1589" fmla="*/ 1434327 h 1435671"/>
                <a:gd name="connsiteX1590" fmla="*/ 211247 w 3760754"/>
                <a:gd name="connsiteY1590" fmla="*/ 1434327 h 1435671"/>
                <a:gd name="connsiteX1591" fmla="*/ 220107 w 3760754"/>
                <a:gd name="connsiteY1591" fmla="*/ 1431017 h 1435671"/>
                <a:gd name="connsiteX1592" fmla="*/ 223283 w 3760754"/>
                <a:gd name="connsiteY1592" fmla="*/ 1428258 h 1435671"/>
                <a:gd name="connsiteX1593" fmla="*/ 225457 w 3760754"/>
                <a:gd name="connsiteY1593" fmla="*/ 1425684 h 1435671"/>
                <a:gd name="connsiteX1594" fmla="*/ 226962 w 3760754"/>
                <a:gd name="connsiteY1594" fmla="*/ 1423294 h 1435671"/>
                <a:gd name="connsiteX1595" fmla="*/ 228466 w 3760754"/>
                <a:gd name="connsiteY1595" fmla="*/ 1420351 h 1435671"/>
                <a:gd name="connsiteX1596" fmla="*/ 229302 w 3760754"/>
                <a:gd name="connsiteY1596" fmla="*/ 1418328 h 1435671"/>
                <a:gd name="connsiteX1597" fmla="*/ 229971 w 3760754"/>
                <a:gd name="connsiteY1597" fmla="*/ 1416122 h 1435671"/>
                <a:gd name="connsiteX1598" fmla="*/ 230807 w 3760754"/>
                <a:gd name="connsiteY1598" fmla="*/ 1412260 h 1435671"/>
                <a:gd name="connsiteX1599" fmla="*/ 230974 w 3760754"/>
                <a:gd name="connsiteY1599" fmla="*/ 1410237 h 1435671"/>
                <a:gd name="connsiteX1600" fmla="*/ 230807 w 3760754"/>
                <a:gd name="connsiteY1600" fmla="*/ 1410421 h 1435671"/>
                <a:gd name="connsiteX1601" fmla="*/ 230807 w 3760754"/>
                <a:gd name="connsiteY1601" fmla="*/ 1406559 h 1435671"/>
                <a:gd name="connsiteX1602" fmla="*/ 230807 w 3760754"/>
                <a:gd name="connsiteY1602" fmla="*/ 1406375 h 1435671"/>
                <a:gd name="connsiteX1603" fmla="*/ 230472 w 3760754"/>
                <a:gd name="connsiteY1603" fmla="*/ 1403249 h 1435671"/>
                <a:gd name="connsiteX1604" fmla="*/ 229637 w 3760754"/>
                <a:gd name="connsiteY1604" fmla="*/ 1399571 h 1435671"/>
                <a:gd name="connsiteX1605" fmla="*/ 228968 w 3760754"/>
                <a:gd name="connsiteY1605" fmla="*/ 1397364 h 1435671"/>
                <a:gd name="connsiteX1606" fmla="*/ 227463 w 3760754"/>
                <a:gd name="connsiteY1606" fmla="*/ 1393870 h 1435671"/>
                <a:gd name="connsiteX1607" fmla="*/ 225958 w 3760754"/>
                <a:gd name="connsiteY1607" fmla="*/ 1391296 h 1435671"/>
                <a:gd name="connsiteX1608" fmla="*/ 224454 w 3760754"/>
                <a:gd name="connsiteY1608" fmla="*/ 1389273 h 1435671"/>
                <a:gd name="connsiteX1609" fmla="*/ 222949 w 3760754"/>
                <a:gd name="connsiteY1609" fmla="*/ 1387618 h 1435671"/>
                <a:gd name="connsiteX1610" fmla="*/ 219773 w 3760754"/>
                <a:gd name="connsiteY1610" fmla="*/ 1385044 h 1435671"/>
                <a:gd name="connsiteX1611" fmla="*/ 217098 w 3760754"/>
                <a:gd name="connsiteY1611" fmla="*/ 1383573 h 1435671"/>
                <a:gd name="connsiteX1612" fmla="*/ 210578 w 3760754"/>
                <a:gd name="connsiteY1612" fmla="*/ 1381917 h 1435671"/>
                <a:gd name="connsiteX1613" fmla="*/ 322795 w 3760754"/>
                <a:gd name="connsiteY1613" fmla="*/ 1381917 h 1435671"/>
                <a:gd name="connsiteX1614" fmla="*/ 314436 w 3760754"/>
                <a:gd name="connsiteY1614" fmla="*/ 1383388 h 1435671"/>
                <a:gd name="connsiteX1615" fmla="*/ 309420 w 3760754"/>
                <a:gd name="connsiteY1615" fmla="*/ 1386515 h 1435671"/>
                <a:gd name="connsiteX1616" fmla="*/ 307080 w 3760754"/>
                <a:gd name="connsiteY1616" fmla="*/ 1388721 h 1435671"/>
                <a:gd name="connsiteX1617" fmla="*/ 304739 w 3760754"/>
                <a:gd name="connsiteY1617" fmla="*/ 1391663 h 1435671"/>
                <a:gd name="connsiteX1618" fmla="*/ 303402 w 3760754"/>
                <a:gd name="connsiteY1618" fmla="*/ 1394054 h 1435671"/>
                <a:gd name="connsiteX1619" fmla="*/ 301898 w 3760754"/>
                <a:gd name="connsiteY1619" fmla="*/ 1397732 h 1435671"/>
                <a:gd name="connsiteX1620" fmla="*/ 301229 w 3760754"/>
                <a:gd name="connsiteY1620" fmla="*/ 1400123 h 1435671"/>
                <a:gd name="connsiteX1621" fmla="*/ 300560 w 3760754"/>
                <a:gd name="connsiteY1621" fmla="*/ 1403617 h 1435671"/>
                <a:gd name="connsiteX1622" fmla="*/ 300727 w 3760754"/>
                <a:gd name="connsiteY1622" fmla="*/ 1413363 h 1435671"/>
                <a:gd name="connsiteX1623" fmla="*/ 301396 w 3760754"/>
                <a:gd name="connsiteY1623" fmla="*/ 1416673 h 1435671"/>
                <a:gd name="connsiteX1624" fmla="*/ 302232 w 3760754"/>
                <a:gd name="connsiteY1624" fmla="*/ 1419247 h 1435671"/>
                <a:gd name="connsiteX1625" fmla="*/ 302901 w 3760754"/>
                <a:gd name="connsiteY1625" fmla="*/ 1420903 h 1435671"/>
                <a:gd name="connsiteX1626" fmla="*/ 304405 w 3760754"/>
                <a:gd name="connsiteY1626" fmla="*/ 1423845 h 1435671"/>
                <a:gd name="connsiteX1627" fmla="*/ 305910 w 3760754"/>
                <a:gd name="connsiteY1627" fmla="*/ 1426051 h 1435671"/>
                <a:gd name="connsiteX1628" fmla="*/ 308250 w 3760754"/>
                <a:gd name="connsiteY1628" fmla="*/ 1428626 h 1435671"/>
                <a:gd name="connsiteX1629" fmla="*/ 310424 w 3760754"/>
                <a:gd name="connsiteY1629" fmla="*/ 1430465 h 1435671"/>
                <a:gd name="connsiteX1630" fmla="*/ 314268 w 3760754"/>
                <a:gd name="connsiteY1630" fmla="*/ 1432672 h 1435671"/>
                <a:gd name="connsiteX1631" fmla="*/ 319618 w 3760754"/>
                <a:gd name="connsiteY1631" fmla="*/ 1434143 h 1435671"/>
                <a:gd name="connsiteX1632" fmla="*/ 320454 w 3760754"/>
                <a:gd name="connsiteY1632" fmla="*/ 1434327 h 1435671"/>
                <a:gd name="connsiteX1633" fmla="*/ 323296 w 3760754"/>
                <a:gd name="connsiteY1633" fmla="*/ 1434327 h 1435671"/>
                <a:gd name="connsiteX1634" fmla="*/ 323464 w 3760754"/>
                <a:gd name="connsiteY1634" fmla="*/ 1434327 h 1435671"/>
                <a:gd name="connsiteX1635" fmla="*/ 332324 w 3760754"/>
                <a:gd name="connsiteY1635" fmla="*/ 1431017 h 1435671"/>
                <a:gd name="connsiteX1636" fmla="*/ 335500 w 3760754"/>
                <a:gd name="connsiteY1636" fmla="*/ 1428258 h 1435671"/>
                <a:gd name="connsiteX1637" fmla="*/ 337674 w 3760754"/>
                <a:gd name="connsiteY1637" fmla="*/ 1425684 h 1435671"/>
                <a:gd name="connsiteX1638" fmla="*/ 339178 w 3760754"/>
                <a:gd name="connsiteY1638" fmla="*/ 1423294 h 1435671"/>
                <a:gd name="connsiteX1639" fmla="*/ 340683 w 3760754"/>
                <a:gd name="connsiteY1639" fmla="*/ 1420351 h 1435671"/>
                <a:gd name="connsiteX1640" fmla="*/ 341519 w 3760754"/>
                <a:gd name="connsiteY1640" fmla="*/ 1418328 h 1435671"/>
                <a:gd name="connsiteX1641" fmla="*/ 342188 w 3760754"/>
                <a:gd name="connsiteY1641" fmla="*/ 1416122 h 1435671"/>
                <a:gd name="connsiteX1642" fmla="*/ 343024 w 3760754"/>
                <a:gd name="connsiteY1642" fmla="*/ 1412260 h 1435671"/>
                <a:gd name="connsiteX1643" fmla="*/ 343190 w 3760754"/>
                <a:gd name="connsiteY1643" fmla="*/ 1410237 h 1435671"/>
                <a:gd name="connsiteX1644" fmla="*/ 343024 w 3760754"/>
                <a:gd name="connsiteY1644" fmla="*/ 1410421 h 1435671"/>
                <a:gd name="connsiteX1645" fmla="*/ 343024 w 3760754"/>
                <a:gd name="connsiteY1645" fmla="*/ 1406559 h 1435671"/>
                <a:gd name="connsiteX1646" fmla="*/ 343024 w 3760754"/>
                <a:gd name="connsiteY1646" fmla="*/ 1406375 h 1435671"/>
                <a:gd name="connsiteX1647" fmla="*/ 342689 w 3760754"/>
                <a:gd name="connsiteY1647" fmla="*/ 1403249 h 1435671"/>
                <a:gd name="connsiteX1648" fmla="*/ 341853 w 3760754"/>
                <a:gd name="connsiteY1648" fmla="*/ 1399571 h 1435671"/>
                <a:gd name="connsiteX1649" fmla="*/ 341185 w 3760754"/>
                <a:gd name="connsiteY1649" fmla="*/ 1397364 h 1435671"/>
                <a:gd name="connsiteX1650" fmla="*/ 339680 w 3760754"/>
                <a:gd name="connsiteY1650" fmla="*/ 1393870 h 1435671"/>
                <a:gd name="connsiteX1651" fmla="*/ 338175 w 3760754"/>
                <a:gd name="connsiteY1651" fmla="*/ 1391296 h 1435671"/>
                <a:gd name="connsiteX1652" fmla="*/ 336671 w 3760754"/>
                <a:gd name="connsiteY1652" fmla="*/ 1389273 h 1435671"/>
                <a:gd name="connsiteX1653" fmla="*/ 335166 w 3760754"/>
                <a:gd name="connsiteY1653" fmla="*/ 1387618 h 1435671"/>
                <a:gd name="connsiteX1654" fmla="*/ 331990 w 3760754"/>
                <a:gd name="connsiteY1654" fmla="*/ 1385044 h 1435671"/>
                <a:gd name="connsiteX1655" fmla="*/ 329315 w 3760754"/>
                <a:gd name="connsiteY1655" fmla="*/ 1383573 h 1435671"/>
                <a:gd name="connsiteX1656" fmla="*/ 322795 w 3760754"/>
                <a:gd name="connsiteY1656" fmla="*/ 1381917 h 1435671"/>
                <a:gd name="connsiteX1657" fmla="*/ 435011 w 3760754"/>
                <a:gd name="connsiteY1657" fmla="*/ 1381917 h 1435671"/>
                <a:gd name="connsiteX1658" fmla="*/ 426652 w 3760754"/>
                <a:gd name="connsiteY1658" fmla="*/ 1383388 h 1435671"/>
                <a:gd name="connsiteX1659" fmla="*/ 421637 w 3760754"/>
                <a:gd name="connsiteY1659" fmla="*/ 1386515 h 1435671"/>
                <a:gd name="connsiteX1660" fmla="*/ 419297 w 3760754"/>
                <a:gd name="connsiteY1660" fmla="*/ 1388721 h 1435671"/>
                <a:gd name="connsiteX1661" fmla="*/ 416956 w 3760754"/>
                <a:gd name="connsiteY1661" fmla="*/ 1391663 h 1435671"/>
                <a:gd name="connsiteX1662" fmla="*/ 415619 w 3760754"/>
                <a:gd name="connsiteY1662" fmla="*/ 1394054 h 1435671"/>
                <a:gd name="connsiteX1663" fmla="*/ 414114 w 3760754"/>
                <a:gd name="connsiteY1663" fmla="*/ 1397732 h 1435671"/>
                <a:gd name="connsiteX1664" fmla="*/ 413446 w 3760754"/>
                <a:gd name="connsiteY1664" fmla="*/ 1400123 h 1435671"/>
                <a:gd name="connsiteX1665" fmla="*/ 412777 w 3760754"/>
                <a:gd name="connsiteY1665" fmla="*/ 1403617 h 1435671"/>
                <a:gd name="connsiteX1666" fmla="*/ 412944 w 3760754"/>
                <a:gd name="connsiteY1666" fmla="*/ 1413363 h 1435671"/>
                <a:gd name="connsiteX1667" fmla="*/ 413612 w 3760754"/>
                <a:gd name="connsiteY1667" fmla="*/ 1416673 h 1435671"/>
                <a:gd name="connsiteX1668" fmla="*/ 414449 w 3760754"/>
                <a:gd name="connsiteY1668" fmla="*/ 1419247 h 1435671"/>
                <a:gd name="connsiteX1669" fmla="*/ 415117 w 3760754"/>
                <a:gd name="connsiteY1669" fmla="*/ 1420903 h 1435671"/>
                <a:gd name="connsiteX1670" fmla="*/ 416622 w 3760754"/>
                <a:gd name="connsiteY1670" fmla="*/ 1423845 h 1435671"/>
                <a:gd name="connsiteX1671" fmla="*/ 418126 w 3760754"/>
                <a:gd name="connsiteY1671" fmla="*/ 1426051 h 1435671"/>
                <a:gd name="connsiteX1672" fmla="*/ 420467 w 3760754"/>
                <a:gd name="connsiteY1672" fmla="*/ 1428626 h 1435671"/>
                <a:gd name="connsiteX1673" fmla="*/ 422640 w 3760754"/>
                <a:gd name="connsiteY1673" fmla="*/ 1430465 h 1435671"/>
                <a:gd name="connsiteX1674" fmla="*/ 426485 w 3760754"/>
                <a:gd name="connsiteY1674" fmla="*/ 1432672 h 1435671"/>
                <a:gd name="connsiteX1675" fmla="*/ 431835 w 3760754"/>
                <a:gd name="connsiteY1675" fmla="*/ 1434143 h 1435671"/>
                <a:gd name="connsiteX1676" fmla="*/ 432671 w 3760754"/>
                <a:gd name="connsiteY1676" fmla="*/ 1434327 h 1435671"/>
                <a:gd name="connsiteX1677" fmla="*/ 435513 w 3760754"/>
                <a:gd name="connsiteY1677" fmla="*/ 1434327 h 1435671"/>
                <a:gd name="connsiteX1678" fmla="*/ 435680 w 3760754"/>
                <a:gd name="connsiteY1678" fmla="*/ 1434327 h 1435671"/>
                <a:gd name="connsiteX1679" fmla="*/ 444540 w 3760754"/>
                <a:gd name="connsiteY1679" fmla="*/ 1431017 h 1435671"/>
                <a:gd name="connsiteX1680" fmla="*/ 447717 w 3760754"/>
                <a:gd name="connsiteY1680" fmla="*/ 1428258 h 1435671"/>
                <a:gd name="connsiteX1681" fmla="*/ 449890 w 3760754"/>
                <a:gd name="connsiteY1681" fmla="*/ 1425684 h 1435671"/>
                <a:gd name="connsiteX1682" fmla="*/ 451395 w 3760754"/>
                <a:gd name="connsiteY1682" fmla="*/ 1423294 h 1435671"/>
                <a:gd name="connsiteX1683" fmla="*/ 452899 w 3760754"/>
                <a:gd name="connsiteY1683" fmla="*/ 1420351 h 1435671"/>
                <a:gd name="connsiteX1684" fmla="*/ 453735 w 3760754"/>
                <a:gd name="connsiteY1684" fmla="*/ 1418328 h 1435671"/>
                <a:gd name="connsiteX1685" fmla="*/ 454404 w 3760754"/>
                <a:gd name="connsiteY1685" fmla="*/ 1416122 h 1435671"/>
                <a:gd name="connsiteX1686" fmla="*/ 455240 w 3760754"/>
                <a:gd name="connsiteY1686" fmla="*/ 1412260 h 1435671"/>
                <a:gd name="connsiteX1687" fmla="*/ 455407 w 3760754"/>
                <a:gd name="connsiteY1687" fmla="*/ 1410237 h 1435671"/>
                <a:gd name="connsiteX1688" fmla="*/ 455240 w 3760754"/>
                <a:gd name="connsiteY1688" fmla="*/ 1410421 h 1435671"/>
                <a:gd name="connsiteX1689" fmla="*/ 455240 w 3760754"/>
                <a:gd name="connsiteY1689" fmla="*/ 1406559 h 1435671"/>
                <a:gd name="connsiteX1690" fmla="*/ 455240 w 3760754"/>
                <a:gd name="connsiteY1690" fmla="*/ 1406375 h 1435671"/>
                <a:gd name="connsiteX1691" fmla="*/ 454906 w 3760754"/>
                <a:gd name="connsiteY1691" fmla="*/ 1403249 h 1435671"/>
                <a:gd name="connsiteX1692" fmla="*/ 454070 w 3760754"/>
                <a:gd name="connsiteY1692" fmla="*/ 1399571 h 1435671"/>
                <a:gd name="connsiteX1693" fmla="*/ 453401 w 3760754"/>
                <a:gd name="connsiteY1693" fmla="*/ 1397364 h 1435671"/>
                <a:gd name="connsiteX1694" fmla="*/ 451897 w 3760754"/>
                <a:gd name="connsiteY1694" fmla="*/ 1393870 h 1435671"/>
                <a:gd name="connsiteX1695" fmla="*/ 450392 w 3760754"/>
                <a:gd name="connsiteY1695" fmla="*/ 1391296 h 1435671"/>
                <a:gd name="connsiteX1696" fmla="*/ 448887 w 3760754"/>
                <a:gd name="connsiteY1696" fmla="*/ 1389273 h 1435671"/>
                <a:gd name="connsiteX1697" fmla="*/ 447383 w 3760754"/>
                <a:gd name="connsiteY1697" fmla="*/ 1387618 h 1435671"/>
                <a:gd name="connsiteX1698" fmla="*/ 444207 w 3760754"/>
                <a:gd name="connsiteY1698" fmla="*/ 1385044 h 1435671"/>
                <a:gd name="connsiteX1699" fmla="*/ 441532 w 3760754"/>
                <a:gd name="connsiteY1699" fmla="*/ 1383573 h 1435671"/>
                <a:gd name="connsiteX1700" fmla="*/ 435011 w 3760754"/>
                <a:gd name="connsiteY1700" fmla="*/ 1381917 h 1435671"/>
                <a:gd name="connsiteX1701" fmla="*/ 883729 w 3760754"/>
                <a:gd name="connsiteY1701" fmla="*/ 1381917 h 1435671"/>
                <a:gd name="connsiteX1702" fmla="*/ 875370 w 3760754"/>
                <a:gd name="connsiteY1702" fmla="*/ 1383388 h 1435671"/>
                <a:gd name="connsiteX1703" fmla="*/ 870355 w 3760754"/>
                <a:gd name="connsiteY1703" fmla="*/ 1386515 h 1435671"/>
                <a:gd name="connsiteX1704" fmla="*/ 868014 w 3760754"/>
                <a:gd name="connsiteY1704" fmla="*/ 1388721 h 1435671"/>
                <a:gd name="connsiteX1705" fmla="*/ 865674 w 3760754"/>
                <a:gd name="connsiteY1705" fmla="*/ 1391663 h 1435671"/>
                <a:gd name="connsiteX1706" fmla="*/ 864336 w 3760754"/>
                <a:gd name="connsiteY1706" fmla="*/ 1394054 h 1435671"/>
                <a:gd name="connsiteX1707" fmla="*/ 862832 w 3760754"/>
                <a:gd name="connsiteY1707" fmla="*/ 1397732 h 1435671"/>
                <a:gd name="connsiteX1708" fmla="*/ 862163 w 3760754"/>
                <a:gd name="connsiteY1708" fmla="*/ 1400123 h 1435671"/>
                <a:gd name="connsiteX1709" fmla="*/ 861495 w 3760754"/>
                <a:gd name="connsiteY1709" fmla="*/ 1403617 h 1435671"/>
                <a:gd name="connsiteX1710" fmla="*/ 861661 w 3760754"/>
                <a:gd name="connsiteY1710" fmla="*/ 1413363 h 1435671"/>
                <a:gd name="connsiteX1711" fmla="*/ 862330 w 3760754"/>
                <a:gd name="connsiteY1711" fmla="*/ 1416673 h 1435671"/>
                <a:gd name="connsiteX1712" fmla="*/ 863166 w 3760754"/>
                <a:gd name="connsiteY1712" fmla="*/ 1419247 h 1435671"/>
                <a:gd name="connsiteX1713" fmla="*/ 863835 w 3760754"/>
                <a:gd name="connsiteY1713" fmla="*/ 1420903 h 1435671"/>
                <a:gd name="connsiteX1714" fmla="*/ 865339 w 3760754"/>
                <a:gd name="connsiteY1714" fmla="*/ 1423845 h 1435671"/>
                <a:gd name="connsiteX1715" fmla="*/ 866844 w 3760754"/>
                <a:gd name="connsiteY1715" fmla="*/ 1426051 h 1435671"/>
                <a:gd name="connsiteX1716" fmla="*/ 869185 w 3760754"/>
                <a:gd name="connsiteY1716" fmla="*/ 1428626 h 1435671"/>
                <a:gd name="connsiteX1717" fmla="*/ 871358 w 3760754"/>
                <a:gd name="connsiteY1717" fmla="*/ 1430465 h 1435671"/>
                <a:gd name="connsiteX1718" fmla="*/ 875203 w 3760754"/>
                <a:gd name="connsiteY1718" fmla="*/ 1432672 h 1435671"/>
                <a:gd name="connsiteX1719" fmla="*/ 880553 w 3760754"/>
                <a:gd name="connsiteY1719" fmla="*/ 1434143 h 1435671"/>
                <a:gd name="connsiteX1720" fmla="*/ 881388 w 3760754"/>
                <a:gd name="connsiteY1720" fmla="*/ 1434327 h 1435671"/>
                <a:gd name="connsiteX1721" fmla="*/ 884231 w 3760754"/>
                <a:gd name="connsiteY1721" fmla="*/ 1434327 h 1435671"/>
                <a:gd name="connsiteX1722" fmla="*/ 884397 w 3760754"/>
                <a:gd name="connsiteY1722" fmla="*/ 1434327 h 1435671"/>
                <a:gd name="connsiteX1723" fmla="*/ 893258 w 3760754"/>
                <a:gd name="connsiteY1723" fmla="*/ 1431017 h 1435671"/>
                <a:gd name="connsiteX1724" fmla="*/ 896434 w 3760754"/>
                <a:gd name="connsiteY1724" fmla="*/ 1428258 h 1435671"/>
                <a:gd name="connsiteX1725" fmla="*/ 898608 w 3760754"/>
                <a:gd name="connsiteY1725" fmla="*/ 1425684 h 1435671"/>
                <a:gd name="connsiteX1726" fmla="*/ 900112 w 3760754"/>
                <a:gd name="connsiteY1726" fmla="*/ 1423294 h 1435671"/>
                <a:gd name="connsiteX1727" fmla="*/ 901617 w 3760754"/>
                <a:gd name="connsiteY1727" fmla="*/ 1420351 h 1435671"/>
                <a:gd name="connsiteX1728" fmla="*/ 902453 w 3760754"/>
                <a:gd name="connsiteY1728" fmla="*/ 1418328 h 1435671"/>
                <a:gd name="connsiteX1729" fmla="*/ 903122 w 3760754"/>
                <a:gd name="connsiteY1729" fmla="*/ 1416122 h 1435671"/>
                <a:gd name="connsiteX1730" fmla="*/ 903958 w 3760754"/>
                <a:gd name="connsiteY1730" fmla="*/ 1412260 h 1435671"/>
                <a:gd name="connsiteX1731" fmla="*/ 904125 w 3760754"/>
                <a:gd name="connsiteY1731" fmla="*/ 1410237 h 1435671"/>
                <a:gd name="connsiteX1732" fmla="*/ 903958 w 3760754"/>
                <a:gd name="connsiteY1732" fmla="*/ 1410421 h 1435671"/>
                <a:gd name="connsiteX1733" fmla="*/ 903958 w 3760754"/>
                <a:gd name="connsiteY1733" fmla="*/ 1406559 h 1435671"/>
                <a:gd name="connsiteX1734" fmla="*/ 903958 w 3760754"/>
                <a:gd name="connsiteY1734" fmla="*/ 1406375 h 1435671"/>
                <a:gd name="connsiteX1735" fmla="*/ 903623 w 3760754"/>
                <a:gd name="connsiteY1735" fmla="*/ 1403249 h 1435671"/>
                <a:gd name="connsiteX1736" fmla="*/ 902787 w 3760754"/>
                <a:gd name="connsiteY1736" fmla="*/ 1399571 h 1435671"/>
                <a:gd name="connsiteX1737" fmla="*/ 902119 w 3760754"/>
                <a:gd name="connsiteY1737" fmla="*/ 1397364 h 1435671"/>
                <a:gd name="connsiteX1738" fmla="*/ 900614 w 3760754"/>
                <a:gd name="connsiteY1738" fmla="*/ 1393870 h 1435671"/>
                <a:gd name="connsiteX1739" fmla="*/ 899109 w 3760754"/>
                <a:gd name="connsiteY1739" fmla="*/ 1391296 h 1435671"/>
                <a:gd name="connsiteX1740" fmla="*/ 897605 w 3760754"/>
                <a:gd name="connsiteY1740" fmla="*/ 1389273 h 1435671"/>
                <a:gd name="connsiteX1741" fmla="*/ 896100 w 3760754"/>
                <a:gd name="connsiteY1741" fmla="*/ 1387618 h 1435671"/>
                <a:gd name="connsiteX1742" fmla="*/ 892924 w 3760754"/>
                <a:gd name="connsiteY1742" fmla="*/ 1385044 h 1435671"/>
                <a:gd name="connsiteX1743" fmla="*/ 890249 w 3760754"/>
                <a:gd name="connsiteY1743" fmla="*/ 1383573 h 1435671"/>
                <a:gd name="connsiteX1744" fmla="*/ 883729 w 3760754"/>
                <a:gd name="connsiteY1744" fmla="*/ 1381917 h 1435671"/>
                <a:gd name="connsiteX1745" fmla="*/ 995945 w 3760754"/>
                <a:gd name="connsiteY1745" fmla="*/ 1381917 h 1435671"/>
                <a:gd name="connsiteX1746" fmla="*/ 987587 w 3760754"/>
                <a:gd name="connsiteY1746" fmla="*/ 1383388 h 1435671"/>
                <a:gd name="connsiteX1747" fmla="*/ 982571 w 3760754"/>
                <a:gd name="connsiteY1747" fmla="*/ 1386515 h 1435671"/>
                <a:gd name="connsiteX1748" fmla="*/ 980231 w 3760754"/>
                <a:gd name="connsiteY1748" fmla="*/ 1388721 h 1435671"/>
                <a:gd name="connsiteX1749" fmla="*/ 977891 w 3760754"/>
                <a:gd name="connsiteY1749" fmla="*/ 1391663 h 1435671"/>
                <a:gd name="connsiteX1750" fmla="*/ 976553 w 3760754"/>
                <a:gd name="connsiteY1750" fmla="*/ 1394054 h 1435671"/>
                <a:gd name="connsiteX1751" fmla="*/ 975048 w 3760754"/>
                <a:gd name="connsiteY1751" fmla="*/ 1397732 h 1435671"/>
                <a:gd name="connsiteX1752" fmla="*/ 974380 w 3760754"/>
                <a:gd name="connsiteY1752" fmla="*/ 1400123 h 1435671"/>
                <a:gd name="connsiteX1753" fmla="*/ 973711 w 3760754"/>
                <a:gd name="connsiteY1753" fmla="*/ 1403617 h 1435671"/>
                <a:gd name="connsiteX1754" fmla="*/ 973878 w 3760754"/>
                <a:gd name="connsiteY1754" fmla="*/ 1413363 h 1435671"/>
                <a:gd name="connsiteX1755" fmla="*/ 974546 w 3760754"/>
                <a:gd name="connsiteY1755" fmla="*/ 1416673 h 1435671"/>
                <a:gd name="connsiteX1756" fmla="*/ 975383 w 3760754"/>
                <a:gd name="connsiteY1756" fmla="*/ 1419247 h 1435671"/>
                <a:gd name="connsiteX1757" fmla="*/ 976052 w 3760754"/>
                <a:gd name="connsiteY1757" fmla="*/ 1420903 h 1435671"/>
                <a:gd name="connsiteX1758" fmla="*/ 977556 w 3760754"/>
                <a:gd name="connsiteY1758" fmla="*/ 1423845 h 1435671"/>
                <a:gd name="connsiteX1759" fmla="*/ 979061 w 3760754"/>
                <a:gd name="connsiteY1759" fmla="*/ 1426051 h 1435671"/>
                <a:gd name="connsiteX1760" fmla="*/ 981402 w 3760754"/>
                <a:gd name="connsiteY1760" fmla="*/ 1428626 h 1435671"/>
                <a:gd name="connsiteX1761" fmla="*/ 983575 w 3760754"/>
                <a:gd name="connsiteY1761" fmla="*/ 1430465 h 1435671"/>
                <a:gd name="connsiteX1762" fmla="*/ 987420 w 3760754"/>
                <a:gd name="connsiteY1762" fmla="*/ 1432672 h 1435671"/>
                <a:gd name="connsiteX1763" fmla="*/ 992769 w 3760754"/>
                <a:gd name="connsiteY1763" fmla="*/ 1434143 h 1435671"/>
                <a:gd name="connsiteX1764" fmla="*/ 993605 w 3760754"/>
                <a:gd name="connsiteY1764" fmla="*/ 1434327 h 1435671"/>
                <a:gd name="connsiteX1765" fmla="*/ 996447 w 3760754"/>
                <a:gd name="connsiteY1765" fmla="*/ 1434327 h 1435671"/>
                <a:gd name="connsiteX1766" fmla="*/ 996615 w 3760754"/>
                <a:gd name="connsiteY1766" fmla="*/ 1434327 h 1435671"/>
                <a:gd name="connsiteX1767" fmla="*/ 1005475 w 3760754"/>
                <a:gd name="connsiteY1767" fmla="*/ 1431017 h 1435671"/>
                <a:gd name="connsiteX1768" fmla="*/ 1008651 w 3760754"/>
                <a:gd name="connsiteY1768" fmla="*/ 1428258 h 1435671"/>
                <a:gd name="connsiteX1769" fmla="*/ 1010825 w 3760754"/>
                <a:gd name="connsiteY1769" fmla="*/ 1425684 h 1435671"/>
                <a:gd name="connsiteX1770" fmla="*/ 1012329 w 3760754"/>
                <a:gd name="connsiteY1770" fmla="*/ 1423294 h 1435671"/>
                <a:gd name="connsiteX1771" fmla="*/ 1013834 w 3760754"/>
                <a:gd name="connsiteY1771" fmla="*/ 1420351 h 1435671"/>
                <a:gd name="connsiteX1772" fmla="*/ 1014669 w 3760754"/>
                <a:gd name="connsiteY1772" fmla="*/ 1418328 h 1435671"/>
                <a:gd name="connsiteX1773" fmla="*/ 1015339 w 3760754"/>
                <a:gd name="connsiteY1773" fmla="*/ 1416122 h 1435671"/>
                <a:gd name="connsiteX1774" fmla="*/ 1016175 w 3760754"/>
                <a:gd name="connsiteY1774" fmla="*/ 1412260 h 1435671"/>
                <a:gd name="connsiteX1775" fmla="*/ 1016341 w 3760754"/>
                <a:gd name="connsiteY1775" fmla="*/ 1410237 h 1435671"/>
                <a:gd name="connsiteX1776" fmla="*/ 1016175 w 3760754"/>
                <a:gd name="connsiteY1776" fmla="*/ 1410421 h 1435671"/>
                <a:gd name="connsiteX1777" fmla="*/ 1016175 w 3760754"/>
                <a:gd name="connsiteY1777" fmla="*/ 1406559 h 1435671"/>
                <a:gd name="connsiteX1778" fmla="*/ 1016175 w 3760754"/>
                <a:gd name="connsiteY1778" fmla="*/ 1406375 h 1435671"/>
                <a:gd name="connsiteX1779" fmla="*/ 1015840 w 3760754"/>
                <a:gd name="connsiteY1779" fmla="*/ 1403249 h 1435671"/>
                <a:gd name="connsiteX1780" fmla="*/ 1015004 w 3760754"/>
                <a:gd name="connsiteY1780" fmla="*/ 1399571 h 1435671"/>
                <a:gd name="connsiteX1781" fmla="*/ 1014335 w 3760754"/>
                <a:gd name="connsiteY1781" fmla="*/ 1397364 h 1435671"/>
                <a:gd name="connsiteX1782" fmla="*/ 1012831 w 3760754"/>
                <a:gd name="connsiteY1782" fmla="*/ 1393870 h 1435671"/>
                <a:gd name="connsiteX1783" fmla="*/ 1011326 w 3760754"/>
                <a:gd name="connsiteY1783" fmla="*/ 1391296 h 1435671"/>
                <a:gd name="connsiteX1784" fmla="*/ 1009821 w 3760754"/>
                <a:gd name="connsiteY1784" fmla="*/ 1389273 h 1435671"/>
                <a:gd name="connsiteX1785" fmla="*/ 1008317 w 3760754"/>
                <a:gd name="connsiteY1785" fmla="*/ 1387618 h 1435671"/>
                <a:gd name="connsiteX1786" fmla="*/ 1005141 w 3760754"/>
                <a:gd name="connsiteY1786" fmla="*/ 1385044 h 1435671"/>
                <a:gd name="connsiteX1787" fmla="*/ 1002466 w 3760754"/>
                <a:gd name="connsiteY1787" fmla="*/ 1383573 h 1435671"/>
                <a:gd name="connsiteX1788" fmla="*/ 995945 w 3760754"/>
                <a:gd name="connsiteY1788" fmla="*/ 1381917 h 1435671"/>
                <a:gd name="connsiteX1789" fmla="*/ 1108162 w 3760754"/>
                <a:gd name="connsiteY1789" fmla="*/ 1381917 h 1435671"/>
                <a:gd name="connsiteX1790" fmla="*/ 1099803 w 3760754"/>
                <a:gd name="connsiteY1790" fmla="*/ 1383388 h 1435671"/>
                <a:gd name="connsiteX1791" fmla="*/ 1094788 w 3760754"/>
                <a:gd name="connsiteY1791" fmla="*/ 1386515 h 1435671"/>
                <a:gd name="connsiteX1792" fmla="*/ 1092448 w 3760754"/>
                <a:gd name="connsiteY1792" fmla="*/ 1388721 h 1435671"/>
                <a:gd name="connsiteX1793" fmla="*/ 1090107 w 3760754"/>
                <a:gd name="connsiteY1793" fmla="*/ 1391663 h 1435671"/>
                <a:gd name="connsiteX1794" fmla="*/ 1088769 w 3760754"/>
                <a:gd name="connsiteY1794" fmla="*/ 1394054 h 1435671"/>
                <a:gd name="connsiteX1795" fmla="*/ 1087265 w 3760754"/>
                <a:gd name="connsiteY1795" fmla="*/ 1397732 h 1435671"/>
                <a:gd name="connsiteX1796" fmla="*/ 1086596 w 3760754"/>
                <a:gd name="connsiteY1796" fmla="*/ 1400123 h 1435671"/>
                <a:gd name="connsiteX1797" fmla="*/ 1085928 w 3760754"/>
                <a:gd name="connsiteY1797" fmla="*/ 1403617 h 1435671"/>
                <a:gd name="connsiteX1798" fmla="*/ 1086095 w 3760754"/>
                <a:gd name="connsiteY1798" fmla="*/ 1413363 h 1435671"/>
                <a:gd name="connsiteX1799" fmla="*/ 1086763 w 3760754"/>
                <a:gd name="connsiteY1799" fmla="*/ 1416673 h 1435671"/>
                <a:gd name="connsiteX1800" fmla="*/ 1087600 w 3760754"/>
                <a:gd name="connsiteY1800" fmla="*/ 1419247 h 1435671"/>
                <a:gd name="connsiteX1801" fmla="*/ 1088268 w 3760754"/>
                <a:gd name="connsiteY1801" fmla="*/ 1420903 h 1435671"/>
                <a:gd name="connsiteX1802" fmla="*/ 1089773 w 3760754"/>
                <a:gd name="connsiteY1802" fmla="*/ 1423845 h 1435671"/>
                <a:gd name="connsiteX1803" fmla="*/ 1091277 w 3760754"/>
                <a:gd name="connsiteY1803" fmla="*/ 1426051 h 1435671"/>
                <a:gd name="connsiteX1804" fmla="*/ 1093618 w 3760754"/>
                <a:gd name="connsiteY1804" fmla="*/ 1428626 h 1435671"/>
                <a:gd name="connsiteX1805" fmla="*/ 1095791 w 3760754"/>
                <a:gd name="connsiteY1805" fmla="*/ 1430465 h 1435671"/>
                <a:gd name="connsiteX1806" fmla="*/ 1099636 w 3760754"/>
                <a:gd name="connsiteY1806" fmla="*/ 1432672 h 1435671"/>
                <a:gd name="connsiteX1807" fmla="*/ 1104986 w 3760754"/>
                <a:gd name="connsiteY1807" fmla="*/ 1434143 h 1435671"/>
                <a:gd name="connsiteX1808" fmla="*/ 1105822 w 3760754"/>
                <a:gd name="connsiteY1808" fmla="*/ 1434327 h 1435671"/>
                <a:gd name="connsiteX1809" fmla="*/ 1108664 w 3760754"/>
                <a:gd name="connsiteY1809" fmla="*/ 1434327 h 1435671"/>
                <a:gd name="connsiteX1810" fmla="*/ 1108831 w 3760754"/>
                <a:gd name="connsiteY1810" fmla="*/ 1434327 h 1435671"/>
                <a:gd name="connsiteX1811" fmla="*/ 1117691 w 3760754"/>
                <a:gd name="connsiteY1811" fmla="*/ 1431017 h 1435671"/>
                <a:gd name="connsiteX1812" fmla="*/ 1120868 w 3760754"/>
                <a:gd name="connsiteY1812" fmla="*/ 1428258 h 1435671"/>
                <a:gd name="connsiteX1813" fmla="*/ 1123041 w 3760754"/>
                <a:gd name="connsiteY1813" fmla="*/ 1425684 h 1435671"/>
                <a:gd name="connsiteX1814" fmla="*/ 1124546 w 3760754"/>
                <a:gd name="connsiteY1814" fmla="*/ 1423294 h 1435671"/>
                <a:gd name="connsiteX1815" fmla="*/ 1126050 w 3760754"/>
                <a:gd name="connsiteY1815" fmla="*/ 1420351 h 1435671"/>
                <a:gd name="connsiteX1816" fmla="*/ 1126886 w 3760754"/>
                <a:gd name="connsiteY1816" fmla="*/ 1418328 h 1435671"/>
                <a:gd name="connsiteX1817" fmla="*/ 1127555 w 3760754"/>
                <a:gd name="connsiteY1817" fmla="*/ 1416122 h 1435671"/>
                <a:gd name="connsiteX1818" fmla="*/ 1128391 w 3760754"/>
                <a:gd name="connsiteY1818" fmla="*/ 1412260 h 1435671"/>
                <a:gd name="connsiteX1819" fmla="*/ 1128558 w 3760754"/>
                <a:gd name="connsiteY1819" fmla="*/ 1410237 h 1435671"/>
                <a:gd name="connsiteX1820" fmla="*/ 1128391 w 3760754"/>
                <a:gd name="connsiteY1820" fmla="*/ 1410421 h 1435671"/>
                <a:gd name="connsiteX1821" fmla="*/ 1128391 w 3760754"/>
                <a:gd name="connsiteY1821" fmla="*/ 1406559 h 1435671"/>
                <a:gd name="connsiteX1822" fmla="*/ 1128391 w 3760754"/>
                <a:gd name="connsiteY1822" fmla="*/ 1406375 h 1435671"/>
                <a:gd name="connsiteX1823" fmla="*/ 1128056 w 3760754"/>
                <a:gd name="connsiteY1823" fmla="*/ 1403249 h 1435671"/>
                <a:gd name="connsiteX1824" fmla="*/ 1127221 w 3760754"/>
                <a:gd name="connsiteY1824" fmla="*/ 1399571 h 1435671"/>
                <a:gd name="connsiteX1825" fmla="*/ 1126552 w 3760754"/>
                <a:gd name="connsiteY1825" fmla="*/ 1397364 h 1435671"/>
                <a:gd name="connsiteX1826" fmla="*/ 1125048 w 3760754"/>
                <a:gd name="connsiteY1826" fmla="*/ 1393870 h 1435671"/>
                <a:gd name="connsiteX1827" fmla="*/ 1123542 w 3760754"/>
                <a:gd name="connsiteY1827" fmla="*/ 1391296 h 1435671"/>
                <a:gd name="connsiteX1828" fmla="*/ 1122038 w 3760754"/>
                <a:gd name="connsiteY1828" fmla="*/ 1389273 h 1435671"/>
                <a:gd name="connsiteX1829" fmla="*/ 1120534 w 3760754"/>
                <a:gd name="connsiteY1829" fmla="*/ 1387618 h 1435671"/>
                <a:gd name="connsiteX1830" fmla="*/ 1117357 w 3760754"/>
                <a:gd name="connsiteY1830" fmla="*/ 1385044 h 1435671"/>
                <a:gd name="connsiteX1831" fmla="*/ 1114682 w 3760754"/>
                <a:gd name="connsiteY1831" fmla="*/ 1383573 h 1435671"/>
                <a:gd name="connsiteX1832" fmla="*/ 1108162 w 3760754"/>
                <a:gd name="connsiteY1832" fmla="*/ 1381917 h 1435671"/>
                <a:gd name="connsiteX1833" fmla="*/ 1230528 w 3760754"/>
                <a:gd name="connsiteY1833" fmla="*/ 1381917 h 1435671"/>
                <a:gd name="connsiteX1834" fmla="*/ 1222169 w 3760754"/>
                <a:gd name="connsiteY1834" fmla="*/ 1383388 h 1435671"/>
                <a:gd name="connsiteX1835" fmla="*/ 1217153 w 3760754"/>
                <a:gd name="connsiteY1835" fmla="*/ 1386515 h 1435671"/>
                <a:gd name="connsiteX1836" fmla="*/ 1214813 w 3760754"/>
                <a:gd name="connsiteY1836" fmla="*/ 1388721 h 1435671"/>
                <a:gd name="connsiteX1837" fmla="*/ 1212473 w 3760754"/>
                <a:gd name="connsiteY1837" fmla="*/ 1391663 h 1435671"/>
                <a:gd name="connsiteX1838" fmla="*/ 1211135 w 3760754"/>
                <a:gd name="connsiteY1838" fmla="*/ 1394054 h 1435671"/>
                <a:gd name="connsiteX1839" fmla="*/ 1209631 w 3760754"/>
                <a:gd name="connsiteY1839" fmla="*/ 1397732 h 1435671"/>
                <a:gd name="connsiteX1840" fmla="*/ 1208962 w 3760754"/>
                <a:gd name="connsiteY1840" fmla="*/ 1400123 h 1435671"/>
                <a:gd name="connsiteX1841" fmla="*/ 1208293 w 3760754"/>
                <a:gd name="connsiteY1841" fmla="*/ 1403617 h 1435671"/>
                <a:gd name="connsiteX1842" fmla="*/ 1208460 w 3760754"/>
                <a:gd name="connsiteY1842" fmla="*/ 1413363 h 1435671"/>
                <a:gd name="connsiteX1843" fmla="*/ 1209129 w 3760754"/>
                <a:gd name="connsiteY1843" fmla="*/ 1416673 h 1435671"/>
                <a:gd name="connsiteX1844" fmla="*/ 1209965 w 3760754"/>
                <a:gd name="connsiteY1844" fmla="*/ 1419247 h 1435671"/>
                <a:gd name="connsiteX1845" fmla="*/ 1210634 w 3760754"/>
                <a:gd name="connsiteY1845" fmla="*/ 1420903 h 1435671"/>
                <a:gd name="connsiteX1846" fmla="*/ 1212138 w 3760754"/>
                <a:gd name="connsiteY1846" fmla="*/ 1423845 h 1435671"/>
                <a:gd name="connsiteX1847" fmla="*/ 1213643 w 3760754"/>
                <a:gd name="connsiteY1847" fmla="*/ 1426051 h 1435671"/>
                <a:gd name="connsiteX1848" fmla="*/ 1215984 w 3760754"/>
                <a:gd name="connsiteY1848" fmla="*/ 1428626 h 1435671"/>
                <a:gd name="connsiteX1849" fmla="*/ 1218157 w 3760754"/>
                <a:gd name="connsiteY1849" fmla="*/ 1430465 h 1435671"/>
                <a:gd name="connsiteX1850" fmla="*/ 1222002 w 3760754"/>
                <a:gd name="connsiteY1850" fmla="*/ 1432672 h 1435671"/>
                <a:gd name="connsiteX1851" fmla="*/ 1227351 w 3760754"/>
                <a:gd name="connsiteY1851" fmla="*/ 1434143 h 1435671"/>
                <a:gd name="connsiteX1852" fmla="*/ 1228187 w 3760754"/>
                <a:gd name="connsiteY1852" fmla="*/ 1434327 h 1435671"/>
                <a:gd name="connsiteX1853" fmla="*/ 1231029 w 3760754"/>
                <a:gd name="connsiteY1853" fmla="*/ 1434327 h 1435671"/>
                <a:gd name="connsiteX1854" fmla="*/ 1231197 w 3760754"/>
                <a:gd name="connsiteY1854" fmla="*/ 1434327 h 1435671"/>
                <a:gd name="connsiteX1855" fmla="*/ 1240057 w 3760754"/>
                <a:gd name="connsiteY1855" fmla="*/ 1431017 h 1435671"/>
                <a:gd name="connsiteX1856" fmla="*/ 1243233 w 3760754"/>
                <a:gd name="connsiteY1856" fmla="*/ 1428258 h 1435671"/>
                <a:gd name="connsiteX1857" fmla="*/ 1245407 w 3760754"/>
                <a:gd name="connsiteY1857" fmla="*/ 1425684 h 1435671"/>
                <a:gd name="connsiteX1858" fmla="*/ 1246911 w 3760754"/>
                <a:gd name="connsiteY1858" fmla="*/ 1423294 h 1435671"/>
                <a:gd name="connsiteX1859" fmla="*/ 1248416 w 3760754"/>
                <a:gd name="connsiteY1859" fmla="*/ 1420351 h 1435671"/>
                <a:gd name="connsiteX1860" fmla="*/ 1249252 w 3760754"/>
                <a:gd name="connsiteY1860" fmla="*/ 1418328 h 1435671"/>
                <a:gd name="connsiteX1861" fmla="*/ 1249921 w 3760754"/>
                <a:gd name="connsiteY1861" fmla="*/ 1416122 h 1435671"/>
                <a:gd name="connsiteX1862" fmla="*/ 1250757 w 3760754"/>
                <a:gd name="connsiteY1862" fmla="*/ 1412260 h 1435671"/>
                <a:gd name="connsiteX1863" fmla="*/ 1250923 w 3760754"/>
                <a:gd name="connsiteY1863" fmla="*/ 1410237 h 1435671"/>
                <a:gd name="connsiteX1864" fmla="*/ 1250757 w 3760754"/>
                <a:gd name="connsiteY1864" fmla="*/ 1410421 h 1435671"/>
                <a:gd name="connsiteX1865" fmla="*/ 1250757 w 3760754"/>
                <a:gd name="connsiteY1865" fmla="*/ 1406559 h 1435671"/>
                <a:gd name="connsiteX1866" fmla="*/ 1250757 w 3760754"/>
                <a:gd name="connsiteY1866" fmla="*/ 1406375 h 1435671"/>
                <a:gd name="connsiteX1867" fmla="*/ 1250422 w 3760754"/>
                <a:gd name="connsiteY1867" fmla="*/ 1403249 h 1435671"/>
                <a:gd name="connsiteX1868" fmla="*/ 1249586 w 3760754"/>
                <a:gd name="connsiteY1868" fmla="*/ 1399571 h 1435671"/>
                <a:gd name="connsiteX1869" fmla="*/ 1248918 w 3760754"/>
                <a:gd name="connsiteY1869" fmla="*/ 1397364 h 1435671"/>
                <a:gd name="connsiteX1870" fmla="*/ 1247413 w 3760754"/>
                <a:gd name="connsiteY1870" fmla="*/ 1393870 h 1435671"/>
                <a:gd name="connsiteX1871" fmla="*/ 1245908 w 3760754"/>
                <a:gd name="connsiteY1871" fmla="*/ 1391296 h 1435671"/>
                <a:gd name="connsiteX1872" fmla="*/ 1244404 w 3760754"/>
                <a:gd name="connsiteY1872" fmla="*/ 1389273 h 1435671"/>
                <a:gd name="connsiteX1873" fmla="*/ 1242899 w 3760754"/>
                <a:gd name="connsiteY1873" fmla="*/ 1387618 h 1435671"/>
                <a:gd name="connsiteX1874" fmla="*/ 1239723 w 3760754"/>
                <a:gd name="connsiteY1874" fmla="*/ 1385044 h 1435671"/>
                <a:gd name="connsiteX1875" fmla="*/ 1237048 w 3760754"/>
                <a:gd name="connsiteY1875" fmla="*/ 1383573 h 1435671"/>
                <a:gd name="connsiteX1876" fmla="*/ 1230528 w 3760754"/>
                <a:gd name="connsiteY1876" fmla="*/ 1381917 h 1435671"/>
                <a:gd name="connsiteX1877" fmla="*/ 1638385 w 3760754"/>
                <a:gd name="connsiteY1877" fmla="*/ 1381917 h 1435671"/>
                <a:gd name="connsiteX1878" fmla="*/ 1630026 w 3760754"/>
                <a:gd name="connsiteY1878" fmla="*/ 1383388 h 1435671"/>
                <a:gd name="connsiteX1879" fmla="*/ 1625011 w 3760754"/>
                <a:gd name="connsiteY1879" fmla="*/ 1386515 h 1435671"/>
                <a:gd name="connsiteX1880" fmla="*/ 1622671 w 3760754"/>
                <a:gd name="connsiteY1880" fmla="*/ 1388721 h 1435671"/>
                <a:gd name="connsiteX1881" fmla="*/ 1620330 w 3760754"/>
                <a:gd name="connsiteY1881" fmla="*/ 1391663 h 1435671"/>
                <a:gd name="connsiteX1882" fmla="*/ 1618992 w 3760754"/>
                <a:gd name="connsiteY1882" fmla="*/ 1394054 h 1435671"/>
                <a:gd name="connsiteX1883" fmla="*/ 1617488 w 3760754"/>
                <a:gd name="connsiteY1883" fmla="*/ 1397732 h 1435671"/>
                <a:gd name="connsiteX1884" fmla="*/ 1616819 w 3760754"/>
                <a:gd name="connsiteY1884" fmla="*/ 1400123 h 1435671"/>
                <a:gd name="connsiteX1885" fmla="*/ 1616151 w 3760754"/>
                <a:gd name="connsiteY1885" fmla="*/ 1403617 h 1435671"/>
                <a:gd name="connsiteX1886" fmla="*/ 1616318 w 3760754"/>
                <a:gd name="connsiteY1886" fmla="*/ 1413363 h 1435671"/>
                <a:gd name="connsiteX1887" fmla="*/ 1616986 w 3760754"/>
                <a:gd name="connsiteY1887" fmla="*/ 1416673 h 1435671"/>
                <a:gd name="connsiteX1888" fmla="*/ 1617823 w 3760754"/>
                <a:gd name="connsiteY1888" fmla="*/ 1419247 h 1435671"/>
                <a:gd name="connsiteX1889" fmla="*/ 1618491 w 3760754"/>
                <a:gd name="connsiteY1889" fmla="*/ 1420903 h 1435671"/>
                <a:gd name="connsiteX1890" fmla="*/ 1619996 w 3760754"/>
                <a:gd name="connsiteY1890" fmla="*/ 1423845 h 1435671"/>
                <a:gd name="connsiteX1891" fmla="*/ 1621500 w 3760754"/>
                <a:gd name="connsiteY1891" fmla="*/ 1426051 h 1435671"/>
                <a:gd name="connsiteX1892" fmla="*/ 1623841 w 3760754"/>
                <a:gd name="connsiteY1892" fmla="*/ 1428626 h 1435671"/>
                <a:gd name="connsiteX1893" fmla="*/ 1626014 w 3760754"/>
                <a:gd name="connsiteY1893" fmla="*/ 1430465 h 1435671"/>
                <a:gd name="connsiteX1894" fmla="*/ 1629860 w 3760754"/>
                <a:gd name="connsiteY1894" fmla="*/ 1432672 h 1435671"/>
                <a:gd name="connsiteX1895" fmla="*/ 1635209 w 3760754"/>
                <a:gd name="connsiteY1895" fmla="*/ 1434143 h 1435671"/>
                <a:gd name="connsiteX1896" fmla="*/ 1636045 w 3760754"/>
                <a:gd name="connsiteY1896" fmla="*/ 1434327 h 1435671"/>
                <a:gd name="connsiteX1897" fmla="*/ 1638887 w 3760754"/>
                <a:gd name="connsiteY1897" fmla="*/ 1434327 h 1435671"/>
                <a:gd name="connsiteX1898" fmla="*/ 1639054 w 3760754"/>
                <a:gd name="connsiteY1898" fmla="*/ 1434327 h 1435671"/>
                <a:gd name="connsiteX1899" fmla="*/ 1647914 w 3760754"/>
                <a:gd name="connsiteY1899" fmla="*/ 1431017 h 1435671"/>
                <a:gd name="connsiteX1900" fmla="*/ 1651091 w 3760754"/>
                <a:gd name="connsiteY1900" fmla="*/ 1428258 h 1435671"/>
                <a:gd name="connsiteX1901" fmla="*/ 1653264 w 3760754"/>
                <a:gd name="connsiteY1901" fmla="*/ 1425684 h 1435671"/>
                <a:gd name="connsiteX1902" fmla="*/ 1654769 w 3760754"/>
                <a:gd name="connsiteY1902" fmla="*/ 1423294 h 1435671"/>
                <a:gd name="connsiteX1903" fmla="*/ 1656273 w 3760754"/>
                <a:gd name="connsiteY1903" fmla="*/ 1420351 h 1435671"/>
                <a:gd name="connsiteX1904" fmla="*/ 1657109 w 3760754"/>
                <a:gd name="connsiteY1904" fmla="*/ 1418328 h 1435671"/>
                <a:gd name="connsiteX1905" fmla="*/ 1657778 w 3760754"/>
                <a:gd name="connsiteY1905" fmla="*/ 1416122 h 1435671"/>
                <a:gd name="connsiteX1906" fmla="*/ 1658614 w 3760754"/>
                <a:gd name="connsiteY1906" fmla="*/ 1412260 h 1435671"/>
                <a:gd name="connsiteX1907" fmla="*/ 1658781 w 3760754"/>
                <a:gd name="connsiteY1907" fmla="*/ 1410237 h 1435671"/>
                <a:gd name="connsiteX1908" fmla="*/ 1658614 w 3760754"/>
                <a:gd name="connsiteY1908" fmla="*/ 1410421 h 1435671"/>
                <a:gd name="connsiteX1909" fmla="*/ 1658614 w 3760754"/>
                <a:gd name="connsiteY1909" fmla="*/ 1406559 h 1435671"/>
                <a:gd name="connsiteX1910" fmla="*/ 1658614 w 3760754"/>
                <a:gd name="connsiteY1910" fmla="*/ 1406375 h 1435671"/>
                <a:gd name="connsiteX1911" fmla="*/ 1658279 w 3760754"/>
                <a:gd name="connsiteY1911" fmla="*/ 1403249 h 1435671"/>
                <a:gd name="connsiteX1912" fmla="*/ 1657444 w 3760754"/>
                <a:gd name="connsiteY1912" fmla="*/ 1399571 h 1435671"/>
                <a:gd name="connsiteX1913" fmla="*/ 1656775 w 3760754"/>
                <a:gd name="connsiteY1913" fmla="*/ 1397364 h 1435671"/>
                <a:gd name="connsiteX1914" fmla="*/ 1655271 w 3760754"/>
                <a:gd name="connsiteY1914" fmla="*/ 1393870 h 1435671"/>
                <a:gd name="connsiteX1915" fmla="*/ 1653765 w 3760754"/>
                <a:gd name="connsiteY1915" fmla="*/ 1391296 h 1435671"/>
                <a:gd name="connsiteX1916" fmla="*/ 1652261 w 3760754"/>
                <a:gd name="connsiteY1916" fmla="*/ 1389273 h 1435671"/>
                <a:gd name="connsiteX1917" fmla="*/ 1650757 w 3760754"/>
                <a:gd name="connsiteY1917" fmla="*/ 1387618 h 1435671"/>
                <a:gd name="connsiteX1918" fmla="*/ 1647580 w 3760754"/>
                <a:gd name="connsiteY1918" fmla="*/ 1385044 h 1435671"/>
                <a:gd name="connsiteX1919" fmla="*/ 1644905 w 3760754"/>
                <a:gd name="connsiteY1919" fmla="*/ 1383573 h 1435671"/>
                <a:gd name="connsiteX1920" fmla="*/ 1638385 w 3760754"/>
                <a:gd name="connsiteY1920" fmla="*/ 1381917 h 1435671"/>
                <a:gd name="connsiteX1921" fmla="*/ 1934072 w 3760754"/>
                <a:gd name="connsiteY1921" fmla="*/ 1381917 h 1435671"/>
                <a:gd name="connsiteX1922" fmla="*/ 1925713 w 3760754"/>
                <a:gd name="connsiteY1922" fmla="*/ 1383388 h 1435671"/>
                <a:gd name="connsiteX1923" fmla="*/ 1920698 w 3760754"/>
                <a:gd name="connsiteY1923" fmla="*/ 1386515 h 1435671"/>
                <a:gd name="connsiteX1924" fmla="*/ 1918358 w 3760754"/>
                <a:gd name="connsiteY1924" fmla="*/ 1388721 h 1435671"/>
                <a:gd name="connsiteX1925" fmla="*/ 1916017 w 3760754"/>
                <a:gd name="connsiteY1925" fmla="*/ 1391663 h 1435671"/>
                <a:gd name="connsiteX1926" fmla="*/ 1914680 w 3760754"/>
                <a:gd name="connsiteY1926" fmla="*/ 1394054 h 1435671"/>
                <a:gd name="connsiteX1927" fmla="*/ 1913175 w 3760754"/>
                <a:gd name="connsiteY1927" fmla="*/ 1397732 h 1435671"/>
                <a:gd name="connsiteX1928" fmla="*/ 1912507 w 3760754"/>
                <a:gd name="connsiteY1928" fmla="*/ 1400123 h 1435671"/>
                <a:gd name="connsiteX1929" fmla="*/ 1911838 w 3760754"/>
                <a:gd name="connsiteY1929" fmla="*/ 1403617 h 1435671"/>
                <a:gd name="connsiteX1930" fmla="*/ 1912005 w 3760754"/>
                <a:gd name="connsiteY1930" fmla="*/ 1413363 h 1435671"/>
                <a:gd name="connsiteX1931" fmla="*/ 1912674 w 3760754"/>
                <a:gd name="connsiteY1931" fmla="*/ 1416673 h 1435671"/>
                <a:gd name="connsiteX1932" fmla="*/ 1913510 w 3760754"/>
                <a:gd name="connsiteY1932" fmla="*/ 1419247 h 1435671"/>
                <a:gd name="connsiteX1933" fmla="*/ 1914178 w 3760754"/>
                <a:gd name="connsiteY1933" fmla="*/ 1420903 h 1435671"/>
                <a:gd name="connsiteX1934" fmla="*/ 1915683 w 3760754"/>
                <a:gd name="connsiteY1934" fmla="*/ 1423845 h 1435671"/>
                <a:gd name="connsiteX1935" fmla="*/ 1917187 w 3760754"/>
                <a:gd name="connsiteY1935" fmla="*/ 1426051 h 1435671"/>
                <a:gd name="connsiteX1936" fmla="*/ 1919528 w 3760754"/>
                <a:gd name="connsiteY1936" fmla="*/ 1428626 h 1435671"/>
                <a:gd name="connsiteX1937" fmla="*/ 1921701 w 3760754"/>
                <a:gd name="connsiteY1937" fmla="*/ 1430465 h 1435671"/>
                <a:gd name="connsiteX1938" fmla="*/ 1925547 w 3760754"/>
                <a:gd name="connsiteY1938" fmla="*/ 1432672 h 1435671"/>
                <a:gd name="connsiteX1939" fmla="*/ 1930896 w 3760754"/>
                <a:gd name="connsiteY1939" fmla="*/ 1434143 h 1435671"/>
                <a:gd name="connsiteX1940" fmla="*/ 1931732 w 3760754"/>
                <a:gd name="connsiteY1940" fmla="*/ 1434327 h 1435671"/>
                <a:gd name="connsiteX1941" fmla="*/ 1934574 w 3760754"/>
                <a:gd name="connsiteY1941" fmla="*/ 1434327 h 1435671"/>
                <a:gd name="connsiteX1942" fmla="*/ 1934741 w 3760754"/>
                <a:gd name="connsiteY1942" fmla="*/ 1434327 h 1435671"/>
                <a:gd name="connsiteX1943" fmla="*/ 1943601 w 3760754"/>
                <a:gd name="connsiteY1943" fmla="*/ 1431017 h 1435671"/>
                <a:gd name="connsiteX1944" fmla="*/ 1946778 w 3760754"/>
                <a:gd name="connsiteY1944" fmla="*/ 1428258 h 1435671"/>
                <a:gd name="connsiteX1945" fmla="*/ 1948951 w 3760754"/>
                <a:gd name="connsiteY1945" fmla="*/ 1425684 h 1435671"/>
                <a:gd name="connsiteX1946" fmla="*/ 1950456 w 3760754"/>
                <a:gd name="connsiteY1946" fmla="*/ 1423294 h 1435671"/>
                <a:gd name="connsiteX1947" fmla="*/ 1951961 w 3760754"/>
                <a:gd name="connsiteY1947" fmla="*/ 1420351 h 1435671"/>
                <a:gd name="connsiteX1948" fmla="*/ 1952796 w 3760754"/>
                <a:gd name="connsiteY1948" fmla="*/ 1418328 h 1435671"/>
                <a:gd name="connsiteX1949" fmla="*/ 1953465 w 3760754"/>
                <a:gd name="connsiteY1949" fmla="*/ 1416122 h 1435671"/>
                <a:gd name="connsiteX1950" fmla="*/ 1954301 w 3760754"/>
                <a:gd name="connsiteY1950" fmla="*/ 1412260 h 1435671"/>
                <a:gd name="connsiteX1951" fmla="*/ 1954468 w 3760754"/>
                <a:gd name="connsiteY1951" fmla="*/ 1410237 h 1435671"/>
                <a:gd name="connsiteX1952" fmla="*/ 1954301 w 3760754"/>
                <a:gd name="connsiteY1952" fmla="*/ 1410421 h 1435671"/>
                <a:gd name="connsiteX1953" fmla="*/ 1954301 w 3760754"/>
                <a:gd name="connsiteY1953" fmla="*/ 1406559 h 1435671"/>
                <a:gd name="connsiteX1954" fmla="*/ 1954301 w 3760754"/>
                <a:gd name="connsiteY1954" fmla="*/ 1406375 h 1435671"/>
                <a:gd name="connsiteX1955" fmla="*/ 1953967 w 3760754"/>
                <a:gd name="connsiteY1955" fmla="*/ 1403249 h 1435671"/>
                <a:gd name="connsiteX1956" fmla="*/ 1953131 w 3760754"/>
                <a:gd name="connsiteY1956" fmla="*/ 1399571 h 1435671"/>
                <a:gd name="connsiteX1957" fmla="*/ 1952462 w 3760754"/>
                <a:gd name="connsiteY1957" fmla="*/ 1397364 h 1435671"/>
                <a:gd name="connsiteX1958" fmla="*/ 1950958 w 3760754"/>
                <a:gd name="connsiteY1958" fmla="*/ 1393870 h 1435671"/>
                <a:gd name="connsiteX1959" fmla="*/ 1949453 w 3760754"/>
                <a:gd name="connsiteY1959" fmla="*/ 1391296 h 1435671"/>
                <a:gd name="connsiteX1960" fmla="*/ 1947948 w 3760754"/>
                <a:gd name="connsiteY1960" fmla="*/ 1389273 h 1435671"/>
                <a:gd name="connsiteX1961" fmla="*/ 1946444 w 3760754"/>
                <a:gd name="connsiteY1961" fmla="*/ 1387618 h 1435671"/>
                <a:gd name="connsiteX1962" fmla="*/ 1943267 w 3760754"/>
                <a:gd name="connsiteY1962" fmla="*/ 1385044 h 1435671"/>
                <a:gd name="connsiteX1963" fmla="*/ 1940592 w 3760754"/>
                <a:gd name="connsiteY1963" fmla="*/ 1383573 h 1435671"/>
                <a:gd name="connsiteX1964" fmla="*/ 1934072 w 3760754"/>
                <a:gd name="connsiteY1964" fmla="*/ 1381917 h 1435671"/>
                <a:gd name="connsiteX1965" fmla="*/ 2280775 w 3760754"/>
                <a:gd name="connsiteY1965" fmla="*/ 1381917 h 1435671"/>
                <a:gd name="connsiteX1966" fmla="*/ 2272415 w 3760754"/>
                <a:gd name="connsiteY1966" fmla="*/ 1383388 h 1435671"/>
                <a:gd name="connsiteX1967" fmla="*/ 2267401 w 3760754"/>
                <a:gd name="connsiteY1967" fmla="*/ 1386515 h 1435671"/>
                <a:gd name="connsiteX1968" fmla="*/ 2265061 w 3760754"/>
                <a:gd name="connsiteY1968" fmla="*/ 1388721 h 1435671"/>
                <a:gd name="connsiteX1969" fmla="*/ 2262720 w 3760754"/>
                <a:gd name="connsiteY1969" fmla="*/ 1391663 h 1435671"/>
                <a:gd name="connsiteX1970" fmla="*/ 2261381 w 3760754"/>
                <a:gd name="connsiteY1970" fmla="*/ 1394054 h 1435671"/>
                <a:gd name="connsiteX1971" fmla="*/ 2259877 w 3760754"/>
                <a:gd name="connsiteY1971" fmla="*/ 1397732 h 1435671"/>
                <a:gd name="connsiteX1972" fmla="*/ 2259209 w 3760754"/>
                <a:gd name="connsiteY1972" fmla="*/ 1400123 h 1435671"/>
                <a:gd name="connsiteX1973" fmla="*/ 2258540 w 3760754"/>
                <a:gd name="connsiteY1973" fmla="*/ 1403617 h 1435671"/>
                <a:gd name="connsiteX1974" fmla="*/ 2258707 w 3760754"/>
                <a:gd name="connsiteY1974" fmla="*/ 1413363 h 1435671"/>
                <a:gd name="connsiteX1975" fmla="*/ 2259376 w 3760754"/>
                <a:gd name="connsiteY1975" fmla="*/ 1416673 h 1435671"/>
                <a:gd name="connsiteX1976" fmla="*/ 2260211 w 3760754"/>
                <a:gd name="connsiteY1976" fmla="*/ 1419247 h 1435671"/>
                <a:gd name="connsiteX1977" fmla="*/ 2260880 w 3760754"/>
                <a:gd name="connsiteY1977" fmla="*/ 1420903 h 1435671"/>
                <a:gd name="connsiteX1978" fmla="*/ 2262384 w 3760754"/>
                <a:gd name="connsiteY1978" fmla="*/ 1423845 h 1435671"/>
                <a:gd name="connsiteX1979" fmla="*/ 2263890 w 3760754"/>
                <a:gd name="connsiteY1979" fmla="*/ 1426051 h 1435671"/>
                <a:gd name="connsiteX1980" fmla="*/ 2266230 w 3760754"/>
                <a:gd name="connsiteY1980" fmla="*/ 1428626 h 1435671"/>
                <a:gd name="connsiteX1981" fmla="*/ 2268404 w 3760754"/>
                <a:gd name="connsiteY1981" fmla="*/ 1430465 h 1435671"/>
                <a:gd name="connsiteX1982" fmla="*/ 2272249 w 3760754"/>
                <a:gd name="connsiteY1982" fmla="*/ 1432672 h 1435671"/>
                <a:gd name="connsiteX1983" fmla="*/ 2277599 w 3760754"/>
                <a:gd name="connsiteY1983" fmla="*/ 1434143 h 1435671"/>
                <a:gd name="connsiteX1984" fmla="*/ 2278435 w 3760754"/>
                <a:gd name="connsiteY1984" fmla="*/ 1434327 h 1435671"/>
                <a:gd name="connsiteX1985" fmla="*/ 2281276 w 3760754"/>
                <a:gd name="connsiteY1985" fmla="*/ 1434327 h 1435671"/>
                <a:gd name="connsiteX1986" fmla="*/ 2281443 w 3760754"/>
                <a:gd name="connsiteY1986" fmla="*/ 1434327 h 1435671"/>
                <a:gd name="connsiteX1987" fmla="*/ 2290304 w 3760754"/>
                <a:gd name="connsiteY1987" fmla="*/ 1431017 h 1435671"/>
                <a:gd name="connsiteX1988" fmla="*/ 2293480 w 3760754"/>
                <a:gd name="connsiteY1988" fmla="*/ 1428258 h 1435671"/>
                <a:gd name="connsiteX1989" fmla="*/ 2295654 w 3760754"/>
                <a:gd name="connsiteY1989" fmla="*/ 1425684 h 1435671"/>
                <a:gd name="connsiteX1990" fmla="*/ 2297158 w 3760754"/>
                <a:gd name="connsiteY1990" fmla="*/ 1423294 h 1435671"/>
                <a:gd name="connsiteX1991" fmla="*/ 2298663 w 3760754"/>
                <a:gd name="connsiteY1991" fmla="*/ 1420351 h 1435671"/>
                <a:gd name="connsiteX1992" fmla="*/ 2299498 w 3760754"/>
                <a:gd name="connsiteY1992" fmla="*/ 1418328 h 1435671"/>
                <a:gd name="connsiteX1993" fmla="*/ 2300167 w 3760754"/>
                <a:gd name="connsiteY1993" fmla="*/ 1416122 h 1435671"/>
                <a:gd name="connsiteX1994" fmla="*/ 2301004 w 3760754"/>
                <a:gd name="connsiteY1994" fmla="*/ 1412260 h 1435671"/>
                <a:gd name="connsiteX1995" fmla="*/ 2301171 w 3760754"/>
                <a:gd name="connsiteY1995" fmla="*/ 1410237 h 1435671"/>
                <a:gd name="connsiteX1996" fmla="*/ 2301004 w 3760754"/>
                <a:gd name="connsiteY1996" fmla="*/ 1410421 h 1435671"/>
                <a:gd name="connsiteX1997" fmla="*/ 2301004 w 3760754"/>
                <a:gd name="connsiteY1997" fmla="*/ 1406559 h 1435671"/>
                <a:gd name="connsiteX1998" fmla="*/ 2301004 w 3760754"/>
                <a:gd name="connsiteY1998" fmla="*/ 1406375 h 1435671"/>
                <a:gd name="connsiteX1999" fmla="*/ 2300668 w 3760754"/>
                <a:gd name="connsiteY1999" fmla="*/ 1403249 h 1435671"/>
                <a:gd name="connsiteX2000" fmla="*/ 2299834 w 3760754"/>
                <a:gd name="connsiteY2000" fmla="*/ 1399571 h 1435671"/>
                <a:gd name="connsiteX2001" fmla="*/ 2299164 w 3760754"/>
                <a:gd name="connsiteY2001" fmla="*/ 1397364 h 1435671"/>
                <a:gd name="connsiteX2002" fmla="*/ 2297660 w 3760754"/>
                <a:gd name="connsiteY2002" fmla="*/ 1393870 h 1435671"/>
                <a:gd name="connsiteX2003" fmla="*/ 2296155 w 3760754"/>
                <a:gd name="connsiteY2003" fmla="*/ 1391296 h 1435671"/>
                <a:gd name="connsiteX2004" fmla="*/ 2294651 w 3760754"/>
                <a:gd name="connsiteY2004" fmla="*/ 1389273 h 1435671"/>
                <a:gd name="connsiteX2005" fmla="*/ 2293146 w 3760754"/>
                <a:gd name="connsiteY2005" fmla="*/ 1387618 h 1435671"/>
                <a:gd name="connsiteX2006" fmla="*/ 2289970 w 3760754"/>
                <a:gd name="connsiteY2006" fmla="*/ 1385044 h 1435671"/>
                <a:gd name="connsiteX2007" fmla="*/ 2287295 w 3760754"/>
                <a:gd name="connsiteY2007" fmla="*/ 1383573 h 1435671"/>
                <a:gd name="connsiteX2008" fmla="*/ 2280775 w 3760754"/>
                <a:gd name="connsiteY2008" fmla="*/ 1381917 h 1435671"/>
                <a:gd name="connsiteX2009" fmla="*/ 2403140 w 3760754"/>
                <a:gd name="connsiteY2009" fmla="*/ 1381917 h 1435671"/>
                <a:gd name="connsiteX2010" fmla="*/ 2394782 w 3760754"/>
                <a:gd name="connsiteY2010" fmla="*/ 1383388 h 1435671"/>
                <a:gd name="connsiteX2011" fmla="*/ 2389766 w 3760754"/>
                <a:gd name="connsiteY2011" fmla="*/ 1386515 h 1435671"/>
                <a:gd name="connsiteX2012" fmla="*/ 2387425 w 3760754"/>
                <a:gd name="connsiteY2012" fmla="*/ 1388721 h 1435671"/>
                <a:gd name="connsiteX2013" fmla="*/ 2385085 w 3760754"/>
                <a:gd name="connsiteY2013" fmla="*/ 1391663 h 1435671"/>
                <a:gd name="connsiteX2014" fmla="*/ 2383748 w 3760754"/>
                <a:gd name="connsiteY2014" fmla="*/ 1394054 h 1435671"/>
                <a:gd name="connsiteX2015" fmla="*/ 2382242 w 3760754"/>
                <a:gd name="connsiteY2015" fmla="*/ 1397732 h 1435671"/>
                <a:gd name="connsiteX2016" fmla="*/ 2381575 w 3760754"/>
                <a:gd name="connsiteY2016" fmla="*/ 1400123 h 1435671"/>
                <a:gd name="connsiteX2017" fmla="*/ 2380905 w 3760754"/>
                <a:gd name="connsiteY2017" fmla="*/ 1403617 h 1435671"/>
                <a:gd name="connsiteX2018" fmla="*/ 2381072 w 3760754"/>
                <a:gd name="connsiteY2018" fmla="*/ 1413363 h 1435671"/>
                <a:gd name="connsiteX2019" fmla="*/ 2381742 w 3760754"/>
                <a:gd name="connsiteY2019" fmla="*/ 1416673 h 1435671"/>
                <a:gd name="connsiteX2020" fmla="*/ 2382578 w 3760754"/>
                <a:gd name="connsiteY2020" fmla="*/ 1419247 h 1435671"/>
                <a:gd name="connsiteX2021" fmla="*/ 2383245 w 3760754"/>
                <a:gd name="connsiteY2021" fmla="*/ 1420903 h 1435671"/>
                <a:gd name="connsiteX2022" fmla="*/ 2384751 w 3760754"/>
                <a:gd name="connsiteY2022" fmla="*/ 1423845 h 1435671"/>
                <a:gd name="connsiteX2023" fmla="*/ 2386256 w 3760754"/>
                <a:gd name="connsiteY2023" fmla="*/ 1426051 h 1435671"/>
                <a:gd name="connsiteX2024" fmla="*/ 2388596 w 3760754"/>
                <a:gd name="connsiteY2024" fmla="*/ 1428626 h 1435671"/>
                <a:gd name="connsiteX2025" fmla="*/ 2390770 w 3760754"/>
                <a:gd name="connsiteY2025" fmla="*/ 1430465 h 1435671"/>
                <a:gd name="connsiteX2026" fmla="*/ 2394614 w 3760754"/>
                <a:gd name="connsiteY2026" fmla="*/ 1432672 h 1435671"/>
                <a:gd name="connsiteX2027" fmla="*/ 2399964 w 3760754"/>
                <a:gd name="connsiteY2027" fmla="*/ 1434143 h 1435671"/>
                <a:gd name="connsiteX2028" fmla="*/ 2400800 w 3760754"/>
                <a:gd name="connsiteY2028" fmla="*/ 1434327 h 1435671"/>
                <a:gd name="connsiteX2029" fmla="*/ 2403642 w 3760754"/>
                <a:gd name="connsiteY2029" fmla="*/ 1434327 h 1435671"/>
                <a:gd name="connsiteX2030" fmla="*/ 2403810 w 3760754"/>
                <a:gd name="connsiteY2030" fmla="*/ 1434327 h 1435671"/>
                <a:gd name="connsiteX2031" fmla="*/ 2412670 w 3760754"/>
                <a:gd name="connsiteY2031" fmla="*/ 1431017 h 1435671"/>
                <a:gd name="connsiteX2032" fmla="*/ 2415845 w 3760754"/>
                <a:gd name="connsiteY2032" fmla="*/ 1428258 h 1435671"/>
                <a:gd name="connsiteX2033" fmla="*/ 2418019 w 3760754"/>
                <a:gd name="connsiteY2033" fmla="*/ 1425684 h 1435671"/>
                <a:gd name="connsiteX2034" fmla="*/ 2419524 w 3760754"/>
                <a:gd name="connsiteY2034" fmla="*/ 1423294 h 1435671"/>
                <a:gd name="connsiteX2035" fmla="*/ 2421029 w 3760754"/>
                <a:gd name="connsiteY2035" fmla="*/ 1420351 h 1435671"/>
                <a:gd name="connsiteX2036" fmla="*/ 2421864 w 3760754"/>
                <a:gd name="connsiteY2036" fmla="*/ 1418328 h 1435671"/>
                <a:gd name="connsiteX2037" fmla="*/ 2422532 w 3760754"/>
                <a:gd name="connsiteY2037" fmla="*/ 1416122 h 1435671"/>
                <a:gd name="connsiteX2038" fmla="*/ 2423369 w 3760754"/>
                <a:gd name="connsiteY2038" fmla="*/ 1412260 h 1435671"/>
                <a:gd name="connsiteX2039" fmla="*/ 2423535 w 3760754"/>
                <a:gd name="connsiteY2039" fmla="*/ 1410237 h 1435671"/>
                <a:gd name="connsiteX2040" fmla="*/ 2423369 w 3760754"/>
                <a:gd name="connsiteY2040" fmla="*/ 1410421 h 1435671"/>
                <a:gd name="connsiteX2041" fmla="*/ 2423369 w 3760754"/>
                <a:gd name="connsiteY2041" fmla="*/ 1406559 h 1435671"/>
                <a:gd name="connsiteX2042" fmla="*/ 2423369 w 3760754"/>
                <a:gd name="connsiteY2042" fmla="*/ 1406375 h 1435671"/>
                <a:gd name="connsiteX2043" fmla="*/ 2423035 w 3760754"/>
                <a:gd name="connsiteY2043" fmla="*/ 1403249 h 1435671"/>
                <a:gd name="connsiteX2044" fmla="*/ 2422199 w 3760754"/>
                <a:gd name="connsiteY2044" fmla="*/ 1399571 h 1435671"/>
                <a:gd name="connsiteX2045" fmla="*/ 2421529 w 3760754"/>
                <a:gd name="connsiteY2045" fmla="*/ 1397364 h 1435671"/>
                <a:gd name="connsiteX2046" fmla="*/ 2420025 w 3760754"/>
                <a:gd name="connsiteY2046" fmla="*/ 1393870 h 1435671"/>
                <a:gd name="connsiteX2047" fmla="*/ 2418521 w 3760754"/>
                <a:gd name="connsiteY2047" fmla="*/ 1391296 h 1435671"/>
                <a:gd name="connsiteX2048" fmla="*/ 2417015 w 3760754"/>
                <a:gd name="connsiteY2048" fmla="*/ 1389273 h 1435671"/>
                <a:gd name="connsiteX2049" fmla="*/ 2415511 w 3760754"/>
                <a:gd name="connsiteY2049" fmla="*/ 1387618 h 1435671"/>
                <a:gd name="connsiteX2050" fmla="*/ 2412335 w 3760754"/>
                <a:gd name="connsiteY2050" fmla="*/ 1385044 h 1435671"/>
                <a:gd name="connsiteX2051" fmla="*/ 2409661 w 3760754"/>
                <a:gd name="connsiteY2051" fmla="*/ 1383573 h 1435671"/>
                <a:gd name="connsiteX2052" fmla="*/ 2403140 w 3760754"/>
                <a:gd name="connsiteY2052" fmla="*/ 1381917 h 1435671"/>
                <a:gd name="connsiteX2053" fmla="*/ 2515357 w 3760754"/>
                <a:gd name="connsiteY2053" fmla="*/ 1381917 h 1435671"/>
                <a:gd name="connsiteX2054" fmla="*/ 2506998 w 3760754"/>
                <a:gd name="connsiteY2054" fmla="*/ 1383388 h 1435671"/>
                <a:gd name="connsiteX2055" fmla="*/ 2501983 w 3760754"/>
                <a:gd name="connsiteY2055" fmla="*/ 1386515 h 1435671"/>
                <a:gd name="connsiteX2056" fmla="*/ 2499643 w 3760754"/>
                <a:gd name="connsiteY2056" fmla="*/ 1388721 h 1435671"/>
                <a:gd name="connsiteX2057" fmla="*/ 2497302 w 3760754"/>
                <a:gd name="connsiteY2057" fmla="*/ 1391663 h 1435671"/>
                <a:gd name="connsiteX2058" fmla="*/ 2495965 w 3760754"/>
                <a:gd name="connsiteY2058" fmla="*/ 1394054 h 1435671"/>
                <a:gd name="connsiteX2059" fmla="*/ 2494459 w 3760754"/>
                <a:gd name="connsiteY2059" fmla="*/ 1397732 h 1435671"/>
                <a:gd name="connsiteX2060" fmla="*/ 2493792 w 3760754"/>
                <a:gd name="connsiteY2060" fmla="*/ 1400123 h 1435671"/>
                <a:gd name="connsiteX2061" fmla="*/ 2493122 w 3760754"/>
                <a:gd name="connsiteY2061" fmla="*/ 1403617 h 1435671"/>
                <a:gd name="connsiteX2062" fmla="*/ 2493289 w 3760754"/>
                <a:gd name="connsiteY2062" fmla="*/ 1413363 h 1435671"/>
                <a:gd name="connsiteX2063" fmla="*/ 2493958 w 3760754"/>
                <a:gd name="connsiteY2063" fmla="*/ 1416673 h 1435671"/>
                <a:gd name="connsiteX2064" fmla="*/ 2494794 w 3760754"/>
                <a:gd name="connsiteY2064" fmla="*/ 1419247 h 1435671"/>
                <a:gd name="connsiteX2065" fmla="*/ 2495463 w 3760754"/>
                <a:gd name="connsiteY2065" fmla="*/ 1420903 h 1435671"/>
                <a:gd name="connsiteX2066" fmla="*/ 2496968 w 3760754"/>
                <a:gd name="connsiteY2066" fmla="*/ 1423845 h 1435671"/>
                <a:gd name="connsiteX2067" fmla="*/ 2498472 w 3760754"/>
                <a:gd name="connsiteY2067" fmla="*/ 1426051 h 1435671"/>
                <a:gd name="connsiteX2068" fmla="*/ 2500813 w 3760754"/>
                <a:gd name="connsiteY2068" fmla="*/ 1428626 h 1435671"/>
                <a:gd name="connsiteX2069" fmla="*/ 2502986 w 3760754"/>
                <a:gd name="connsiteY2069" fmla="*/ 1430465 h 1435671"/>
                <a:gd name="connsiteX2070" fmla="*/ 2506830 w 3760754"/>
                <a:gd name="connsiteY2070" fmla="*/ 1432672 h 1435671"/>
                <a:gd name="connsiteX2071" fmla="*/ 2512180 w 3760754"/>
                <a:gd name="connsiteY2071" fmla="*/ 1434143 h 1435671"/>
                <a:gd name="connsiteX2072" fmla="*/ 2513017 w 3760754"/>
                <a:gd name="connsiteY2072" fmla="*/ 1434327 h 1435671"/>
                <a:gd name="connsiteX2073" fmla="*/ 2515858 w 3760754"/>
                <a:gd name="connsiteY2073" fmla="*/ 1434327 h 1435671"/>
                <a:gd name="connsiteX2074" fmla="*/ 2516026 w 3760754"/>
                <a:gd name="connsiteY2074" fmla="*/ 1434327 h 1435671"/>
                <a:gd name="connsiteX2075" fmla="*/ 2524885 w 3760754"/>
                <a:gd name="connsiteY2075" fmla="*/ 1431017 h 1435671"/>
                <a:gd name="connsiteX2076" fmla="*/ 2528062 w 3760754"/>
                <a:gd name="connsiteY2076" fmla="*/ 1428258 h 1435671"/>
                <a:gd name="connsiteX2077" fmla="*/ 2530236 w 3760754"/>
                <a:gd name="connsiteY2077" fmla="*/ 1425684 h 1435671"/>
                <a:gd name="connsiteX2078" fmla="*/ 2531741 w 3760754"/>
                <a:gd name="connsiteY2078" fmla="*/ 1423294 h 1435671"/>
                <a:gd name="connsiteX2079" fmla="*/ 2533245 w 3760754"/>
                <a:gd name="connsiteY2079" fmla="*/ 1420351 h 1435671"/>
                <a:gd name="connsiteX2080" fmla="*/ 2534081 w 3760754"/>
                <a:gd name="connsiteY2080" fmla="*/ 1418328 h 1435671"/>
                <a:gd name="connsiteX2081" fmla="*/ 2534749 w 3760754"/>
                <a:gd name="connsiteY2081" fmla="*/ 1416122 h 1435671"/>
                <a:gd name="connsiteX2082" fmla="*/ 2535586 w 3760754"/>
                <a:gd name="connsiteY2082" fmla="*/ 1412260 h 1435671"/>
                <a:gd name="connsiteX2083" fmla="*/ 2535753 w 3760754"/>
                <a:gd name="connsiteY2083" fmla="*/ 1410237 h 1435671"/>
                <a:gd name="connsiteX2084" fmla="*/ 2535586 w 3760754"/>
                <a:gd name="connsiteY2084" fmla="*/ 1410421 h 1435671"/>
                <a:gd name="connsiteX2085" fmla="*/ 2535586 w 3760754"/>
                <a:gd name="connsiteY2085" fmla="*/ 1406559 h 1435671"/>
                <a:gd name="connsiteX2086" fmla="*/ 2535586 w 3760754"/>
                <a:gd name="connsiteY2086" fmla="*/ 1406375 h 1435671"/>
                <a:gd name="connsiteX2087" fmla="*/ 2535252 w 3760754"/>
                <a:gd name="connsiteY2087" fmla="*/ 1403249 h 1435671"/>
                <a:gd name="connsiteX2088" fmla="*/ 2534416 w 3760754"/>
                <a:gd name="connsiteY2088" fmla="*/ 1399571 h 1435671"/>
                <a:gd name="connsiteX2089" fmla="*/ 2533746 w 3760754"/>
                <a:gd name="connsiteY2089" fmla="*/ 1397364 h 1435671"/>
                <a:gd name="connsiteX2090" fmla="*/ 2532242 w 3760754"/>
                <a:gd name="connsiteY2090" fmla="*/ 1393870 h 1435671"/>
                <a:gd name="connsiteX2091" fmla="*/ 2530738 w 3760754"/>
                <a:gd name="connsiteY2091" fmla="*/ 1391296 h 1435671"/>
                <a:gd name="connsiteX2092" fmla="*/ 2529232 w 3760754"/>
                <a:gd name="connsiteY2092" fmla="*/ 1389273 h 1435671"/>
                <a:gd name="connsiteX2093" fmla="*/ 2527729 w 3760754"/>
                <a:gd name="connsiteY2093" fmla="*/ 1387618 h 1435671"/>
                <a:gd name="connsiteX2094" fmla="*/ 2524552 w 3760754"/>
                <a:gd name="connsiteY2094" fmla="*/ 1385044 h 1435671"/>
                <a:gd name="connsiteX2095" fmla="*/ 2521877 w 3760754"/>
                <a:gd name="connsiteY2095" fmla="*/ 1383573 h 1435671"/>
                <a:gd name="connsiteX2096" fmla="*/ 2515357 w 3760754"/>
                <a:gd name="connsiteY2096" fmla="*/ 1381917 h 1435671"/>
                <a:gd name="connsiteX2097" fmla="*/ 2749889 w 3760754"/>
                <a:gd name="connsiteY2097" fmla="*/ 1381917 h 1435671"/>
                <a:gd name="connsiteX2098" fmla="*/ 2741531 w 3760754"/>
                <a:gd name="connsiteY2098" fmla="*/ 1383388 h 1435671"/>
                <a:gd name="connsiteX2099" fmla="*/ 2736515 w 3760754"/>
                <a:gd name="connsiteY2099" fmla="*/ 1386515 h 1435671"/>
                <a:gd name="connsiteX2100" fmla="*/ 2734175 w 3760754"/>
                <a:gd name="connsiteY2100" fmla="*/ 1388721 h 1435671"/>
                <a:gd name="connsiteX2101" fmla="*/ 2731834 w 3760754"/>
                <a:gd name="connsiteY2101" fmla="*/ 1391663 h 1435671"/>
                <a:gd name="connsiteX2102" fmla="*/ 2730497 w 3760754"/>
                <a:gd name="connsiteY2102" fmla="*/ 1394054 h 1435671"/>
                <a:gd name="connsiteX2103" fmla="*/ 2728993 w 3760754"/>
                <a:gd name="connsiteY2103" fmla="*/ 1397732 h 1435671"/>
                <a:gd name="connsiteX2104" fmla="*/ 2728323 w 3760754"/>
                <a:gd name="connsiteY2104" fmla="*/ 1400123 h 1435671"/>
                <a:gd name="connsiteX2105" fmla="*/ 2727655 w 3760754"/>
                <a:gd name="connsiteY2105" fmla="*/ 1403617 h 1435671"/>
                <a:gd name="connsiteX2106" fmla="*/ 2727822 w 3760754"/>
                <a:gd name="connsiteY2106" fmla="*/ 1413363 h 1435671"/>
                <a:gd name="connsiteX2107" fmla="*/ 2728490 w 3760754"/>
                <a:gd name="connsiteY2107" fmla="*/ 1416673 h 1435671"/>
                <a:gd name="connsiteX2108" fmla="*/ 2729327 w 3760754"/>
                <a:gd name="connsiteY2108" fmla="*/ 1419247 h 1435671"/>
                <a:gd name="connsiteX2109" fmla="*/ 2729996 w 3760754"/>
                <a:gd name="connsiteY2109" fmla="*/ 1420903 h 1435671"/>
                <a:gd name="connsiteX2110" fmla="*/ 2731500 w 3760754"/>
                <a:gd name="connsiteY2110" fmla="*/ 1423845 h 1435671"/>
                <a:gd name="connsiteX2111" fmla="*/ 2733004 w 3760754"/>
                <a:gd name="connsiteY2111" fmla="*/ 1426051 h 1435671"/>
                <a:gd name="connsiteX2112" fmla="*/ 2735344 w 3760754"/>
                <a:gd name="connsiteY2112" fmla="*/ 1428626 h 1435671"/>
                <a:gd name="connsiteX2113" fmla="*/ 2737518 w 3760754"/>
                <a:gd name="connsiteY2113" fmla="*/ 1430465 h 1435671"/>
                <a:gd name="connsiteX2114" fmla="*/ 2741364 w 3760754"/>
                <a:gd name="connsiteY2114" fmla="*/ 1432672 h 1435671"/>
                <a:gd name="connsiteX2115" fmla="*/ 2746713 w 3760754"/>
                <a:gd name="connsiteY2115" fmla="*/ 1434143 h 1435671"/>
                <a:gd name="connsiteX2116" fmla="*/ 2747549 w 3760754"/>
                <a:gd name="connsiteY2116" fmla="*/ 1434327 h 1435671"/>
                <a:gd name="connsiteX2117" fmla="*/ 2750392 w 3760754"/>
                <a:gd name="connsiteY2117" fmla="*/ 1434327 h 1435671"/>
                <a:gd name="connsiteX2118" fmla="*/ 2750558 w 3760754"/>
                <a:gd name="connsiteY2118" fmla="*/ 1434327 h 1435671"/>
                <a:gd name="connsiteX2119" fmla="*/ 2759419 w 3760754"/>
                <a:gd name="connsiteY2119" fmla="*/ 1431017 h 1435671"/>
                <a:gd name="connsiteX2120" fmla="*/ 2762595 w 3760754"/>
                <a:gd name="connsiteY2120" fmla="*/ 1428258 h 1435671"/>
                <a:gd name="connsiteX2121" fmla="*/ 2764769 w 3760754"/>
                <a:gd name="connsiteY2121" fmla="*/ 1425684 h 1435671"/>
                <a:gd name="connsiteX2122" fmla="*/ 2766273 w 3760754"/>
                <a:gd name="connsiteY2122" fmla="*/ 1423294 h 1435671"/>
                <a:gd name="connsiteX2123" fmla="*/ 2767777 w 3760754"/>
                <a:gd name="connsiteY2123" fmla="*/ 1420351 h 1435671"/>
                <a:gd name="connsiteX2124" fmla="*/ 2768614 w 3760754"/>
                <a:gd name="connsiteY2124" fmla="*/ 1418328 h 1435671"/>
                <a:gd name="connsiteX2125" fmla="*/ 2769283 w 3760754"/>
                <a:gd name="connsiteY2125" fmla="*/ 1416122 h 1435671"/>
                <a:gd name="connsiteX2126" fmla="*/ 2770117 w 3760754"/>
                <a:gd name="connsiteY2126" fmla="*/ 1412260 h 1435671"/>
                <a:gd name="connsiteX2127" fmla="*/ 2770285 w 3760754"/>
                <a:gd name="connsiteY2127" fmla="*/ 1410237 h 1435671"/>
                <a:gd name="connsiteX2128" fmla="*/ 2770117 w 3760754"/>
                <a:gd name="connsiteY2128" fmla="*/ 1410421 h 1435671"/>
                <a:gd name="connsiteX2129" fmla="*/ 2770117 w 3760754"/>
                <a:gd name="connsiteY2129" fmla="*/ 1406559 h 1435671"/>
                <a:gd name="connsiteX2130" fmla="*/ 2770117 w 3760754"/>
                <a:gd name="connsiteY2130" fmla="*/ 1406375 h 1435671"/>
                <a:gd name="connsiteX2131" fmla="*/ 2769784 w 3760754"/>
                <a:gd name="connsiteY2131" fmla="*/ 1403249 h 1435671"/>
                <a:gd name="connsiteX2132" fmla="*/ 2768948 w 3760754"/>
                <a:gd name="connsiteY2132" fmla="*/ 1399571 h 1435671"/>
                <a:gd name="connsiteX2133" fmla="*/ 2768280 w 3760754"/>
                <a:gd name="connsiteY2133" fmla="*/ 1397364 h 1435671"/>
                <a:gd name="connsiteX2134" fmla="*/ 2766774 w 3760754"/>
                <a:gd name="connsiteY2134" fmla="*/ 1393870 h 1435671"/>
                <a:gd name="connsiteX2135" fmla="*/ 2765270 w 3760754"/>
                <a:gd name="connsiteY2135" fmla="*/ 1391296 h 1435671"/>
                <a:gd name="connsiteX2136" fmla="*/ 2763766 w 3760754"/>
                <a:gd name="connsiteY2136" fmla="*/ 1389273 h 1435671"/>
                <a:gd name="connsiteX2137" fmla="*/ 2762260 w 3760754"/>
                <a:gd name="connsiteY2137" fmla="*/ 1387618 h 1435671"/>
                <a:gd name="connsiteX2138" fmla="*/ 2759085 w 3760754"/>
                <a:gd name="connsiteY2138" fmla="*/ 1385044 h 1435671"/>
                <a:gd name="connsiteX2139" fmla="*/ 2756409 w 3760754"/>
                <a:gd name="connsiteY2139" fmla="*/ 1383573 h 1435671"/>
                <a:gd name="connsiteX2140" fmla="*/ 2749889 w 3760754"/>
                <a:gd name="connsiteY2140" fmla="*/ 1381917 h 1435671"/>
                <a:gd name="connsiteX2141" fmla="*/ 2872255 w 3760754"/>
                <a:gd name="connsiteY2141" fmla="*/ 1381917 h 1435671"/>
                <a:gd name="connsiteX2142" fmla="*/ 2863896 w 3760754"/>
                <a:gd name="connsiteY2142" fmla="*/ 1383388 h 1435671"/>
                <a:gd name="connsiteX2143" fmla="*/ 2858881 w 3760754"/>
                <a:gd name="connsiteY2143" fmla="*/ 1386515 h 1435671"/>
                <a:gd name="connsiteX2144" fmla="*/ 2856541 w 3760754"/>
                <a:gd name="connsiteY2144" fmla="*/ 1388721 h 1435671"/>
                <a:gd name="connsiteX2145" fmla="*/ 2854198 w 3760754"/>
                <a:gd name="connsiteY2145" fmla="*/ 1391663 h 1435671"/>
                <a:gd name="connsiteX2146" fmla="*/ 2852862 w 3760754"/>
                <a:gd name="connsiteY2146" fmla="*/ 1394054 h 1435671"/>
                <a:gd name="connsiteX2147" fmla="*/ 2851358 w 3760754"/>
                <a:gd name="connsiteY2147" fmla="*/ 1397732 h 1435671"/>
                <a:gd name="connsiteX2148" fmla="*/ 2850688 w 3760754"/>
                <a:gd name="connsiteY2148" fmla="*/ 1400123 h 1435671"/>
                <a:gd name="connsiteX2149" fmla="*/ 2850020 w 3760754"/>
                <a:gd name="connsiteY2149" fmla="*/ 1403617 h 1435671"/>
                <a:gd name="connsiteX2150" fmla="*/ 2850188 w 3760754"/>
                <a:gd name="connsiteY2150" fmla="*/ 1413363 h 1435671"/>
                <a:gd name="connsiteX2151" fmla="*/ 2850856 w 3760754"/>
                <a:gd name="connsiteY2151" fmla="*/ 1416673 h 1435671"/>
                <a:gd name="connsiteX2152" fmla="*/ 2851691 w 3760754"/>
                <a:gd name="connsiteY2152" fmla="*/ 1419247 h 1435671"/>
                <a:gd name="connsiteX2153" fmla="*/ 2852361 w 3760754"/>
                <a:gd name="connsiteY2153" fmla="*/ 1420903 h 1435671"/>
                <a:gd name="connsiteX2154" fmla="*/ 2853865 w 3760754"/>
                <a:gd name="connsiteY2154" fmla="*/ 1423845 h 1435671"/>
                <a:gd name="connsiteX2155" fmla="*/ 2855370 w 3760754"/>
                <a:gd name="connsiteY2155" fmla="*/ 1426051 h 1435671"/>
                <a:gd name="connsiteX2156" fmla="*/ 2857711 w 3760754"/>
                <a:gd name="connsiteY2156" fmla="*/ 1428626 h 1435671"/>
                <a:gd name="connsiteX2157" fmla="*/ 2859884 w 3760754"/>
                <a:gd name="connsiteY2157" fmla="*/ 1430465 h 1435671"/>
                <a:gd name="connsiteX2158" fmla="*/ 2863729 w 3760754"/>
                <a:gd name="connsiteY2158" fmla="*/ 1432672 h 1435671"/>
                <a:gd name="connsiteX2159" fmla="*/ 2869079 w 3760754"/>
                <a:gd name="connsiteY2159" fmla="*/ 1434143 h 1435671"/>
                <a:gd name="connsiteX2160" fmla="*/ 2869915 w 3760754"/>
                <a:gd name="connsiteY2160" fmla="*/ 1434327 h 1435671"/>
                <a:gd name="connsiteX2161" fmla="*/ 2872756 w 3760754"/>
                <a:gd name="connsiteY2161" fmla="*/ 1434327 h 1435671"/>
                <a:gd name="connsiteX2162" fmla="*/ 2872924 w 3760754"/>
                <a:gd name="connsiteY2162" fmla="*/ 1434327 h 1435671"/>
                <a:gd name="connsiteX2163" fmla="*/ 2881784 w 3760754"/>
                <a:gd name="connsiteY2163" fmla="*/ 1431017 h 1435671"/>
                <a:gd name="connsiteX2164" fmla="*/ 2884961 w 3760754"/>
                <a:gd name="connsiteY2164" fmla="*/ 1428258 h 1435671"/>
                <a:gd name="connsiteX2165" fmla="*/ 2887134 w 3760754"/>
                <a:gd name="connsiteY2165" fmla="*/ 1425684 h 1435671"/>
                <a:gd name="connsiteX2166" fmla="*/ 2888639 w 3760754"/>
                <a:gd name="connsiteY2166" fmla="*/ 1423294 h 1435671"/>
                <a:gd name="connsiteX2167" fmla="*/ 2890143 w 3760754"/>
                <a:gd name="connsiteY2167" fmla="*/ 1420351 h 1435671"/>
                <a:gd name="connsiteX2168" fmla="*/ 2890979 w 3760754"/>
                <a:gd name="connsiteY2168" fmla="*/ 1418328 h 1435671"/>
                <a:gd name="connsiteX2169" fmla="*/ 2891648 w 3760754"/>
                <a:gd name="connsiteY2169" fmla="*/ 1416122 h 1435671"/>
                <a:gd name="connsiteX2170" fmla="*/ 2892484 w 3760754"/>
                <a:gd name="connsiteY2170" fmla="*/ 1412260 h 1435671"/>
                <a:gd name="connsiteX2171" fmla="*/ 2892651 w 3760754"/>
                <a:gd name="connsiteY2171" fmla="*/ 1410237 h 1435671"/>
                <a:gd name="connsiteX2172" fmla="*/ 2892484 w 3760754"/>
                <a:gd name="connsiteY2172" fmla="*/ 1410421 h 1435671"/>
                <a:gd name="connsiteX2173" fmla="*/ 2892484 w 3760754"/>
                <a:gd name="connsiteY2173" fmla="*/ 1406559 h 1435671"/>
                <a:gd name="connsiteX2174" fmla="*/ 2892484 w 3760754"/>
                <a:gd name="connsiteY2174" fmla="*/ 1406375 h 1435671"/>
                <a:gd name="connsiteX2175" fmla="*/ 2892150 w 3760754"/>
                <a:gd name="connsiteY2175" fmla="*/ 1403249 h 1435671"/>
                <a:gd name="connsiteX2176" fmla="*/ 2891314 w 3760754"/>
                <a:gd name="connsiteY2176" fmla="*/ 1399571 h 1435671"/>
                <a:gd name="connsiteX2177" fmla="*/ 2890645 w 3760754"/>
                <a:gd name="connsiteY2177" fmla="*/ 1397364 h 1435671"/>
                <a:gd name="connsiteX2178" fmla="*/ 2889141 w 3760754"/>
                <a:gd name="connsiteY2178" fmla="*/ 1393870 h 1435671"/>
                <a:gd name="connsiteX2179" fmla="*/ 2887636 w 3760754"/>
                <a:gd name="connsiteY2179" fmla="*/ 1391296 h 1435671"/>
                <a:gd name="connsiteX2180" fmla="*/ 2886131 w 3760754"/>
                <a:gd name="connsiteY2180" fmla="*/ 1389273 h 1435671"/>
                <a:gd name="connsiteX2181" fmla="*/ 2884627 w 3760754"/>
                <a:gd name="connsiteY2181" fmla="*/ 1387618 h 1435671"/>
                <a:gd name="connsiteX2182" fmla="*/ 2881450 w 3760754"/>
                <a:gd name="connsiteY2182" fmla="*/ 1385044 h 1435671"/>
                <a:gd name="connsiteX2183" fmla="*/ 2878774 w 3760754"/>
                <a:gd name="connsiteY2183" fmla="*/ 1383573 h 1435671"/>
                <a:gd name="connsiteX2184" fmla="*/ 2872255 w 3760754"/>
                <a:gd name="connsiteY2184" fmla="*/ 1381917 h 1435671"/>
                <a:gd name="connsiteX2185" fmla="*/ 3035481 w 3760754"/>
                <a:gd name="connsiteY2185" fmla="*/ 1381917 h 1435671"/>
                <a:gd name="connsiteX2186" fmla="*/ 3027122 w 3760754"/>
                <a:gd name="connsiteY2186" fmla="*/ 1383388 h 1435671"/>
                <a:gd name="connsiteX2187" fmla="*/ 3022107 w 3760754"/>
                <a:gd name="connsiteY2187" fmla="*/ 1386515 h 1435671"/>
                <a:gd name="connsiteX2188" fmla="*/ 3019766 w 3760754"/>
                <a:gd name="connsiteY2188" fmla="*/ 1388721 h 1435671"/>
                <a:gd name="connsiteX2189" fmla="*/ 3017425 w 3760754"/>
                <a:gd name="connsiteY2189" fmla="*/ 1391663 h 1435671"/>
                <a:gd name="connsiteX2190" fmla="*/ 3016088 w 3760754"/>
                <a:gd name="connsiteY2190" fmla="*/ 1394054 h 1435671"/>
                <a:gd name="connsiteX2191" fmla="*/ 3014584 w 3760754"/>
                <a:gd name="connsiteY2191" fmla="*/ 1397732 h 1435671"/>
                <a:gd name="connsiteX2192" fmla="*/ 3013915 w 3760754"/>
                <a:gd name="connsiteY2192" fmla="*/ 1400123 h 1435671"/>
                <a:gd name="connsiteX2193" fmla="*/ 3013246 w 3760754"/>
                <a:gd name="connsiteY2193" fmla="*/ 1403617 h 1435671"/>
                <a:gd name="connsiteX2194" fmla="*/ 3013413 w 3760754"/>
                <a:gd name="connsiteY2194" fmla="*/ 1413363 h 1435671"/>
                <a:gd name="connsiteX2195" fmla="*/ 3014082 w 3760754"/>
                <a:gd name="connsiteY2195" fmla="*/ 1416673 h 1435671"/>
                <a:gd name="connsiteX2196" fmla="*/ 3014918 w 3760754"/>
                <a:gd name="connsiteY2196" fmla="*/ 1419247 h 1435671"/>
                <a:gd name="connsiteX2197" fmla="*/ 3015587 w 3760754"/>
                <a:gd name="connsiteY2197" fmla="*/ 1420903 h 1435671"/>
                <a:gd name="connsiteX2198" fmla="*/ 3017091 w 3760754"/>
                <a:gd name="connsiteY2198" fmla="*/ 1423845 h 1435671"/>
                <a:gd name="connsiteX2199" fmla="*/ 3018596 w 3760754"/>
                <a:gd name="connsiteY2199" fmla="*/ 1426051 h 1435671"/>
                <a:gd name="connsiteX2200" fmla="*/ 3020936 w 3760754"/>
                <a:gd name="connsiteY2200" fmla="*/ 1428626 h 1435671"/>
                <a:gd name="connsiteX2201" fmla="*/ 3023110 w 3760754"/>
                <a:gd name="connsiteY2201" fmla="*/ 1430465 h 1435671"/>
                <a:gd name="connsiteX2202" fmla="*/ 3026955 w 3760754"/>
                <a:gd name="connsiteY2202" fmla="*/ 1432672 h 1435671"/>
                <a:gd name="connsiteX2203" fmla="*/ 3032305 w 3760754"/>
                <a:gd name="connsiteY2203" fmla="*/ 1434143 h 1435671"/>
                <a:gd name="connsiteX2204" fmla="*/ 3033140 w 3760754"/>
                <a:gd name="connsiteY2204" fmla="*/ 1434327 h 1435671"/>
                <a:gd name="connsiteX2205" fmla="*/ 3035983 w 3760754"/>
                <a:gd name="connsiteY2205" fmla="*/ 1434327 h 1435671"/>
                <a:gd name="connsiteX2206" fmla="*/ 3036149 w 3760754"/>
                <a:gd name="connsiteY2206" fmla="*/ 1434327 h 1435671"/>
                <a:gd name="connsiteX2207" fmla="*/ 3045010 w 3760754"/>
                <a:gd name="connsiteY2207" fmla="*/ 1431017 h 1435671"/>
                <a:gd name="connsiteX2208" fmla="*/ 3048186 w 3760754"/>
                <a:gd name="connsiteY2208" fmla="*/ 1428258 h 1435671"/>
                <a:gd name="connsiteX2209" fmla="*/ 3050360 w 3760754"/>
                <a:gd name="connsiteY2209" fmla="*/ 1425684 h 1435671"/>
                <a:gd name="connsiteX2210" fmla="*/ 3051864 w 3760754"/>
                <a:gd name="connsiteY2210" fmla="*/ 1423294 h 1435671"/>
                <a:gd name="connsiteX2211" fmla="*/ 3053369 w 3760754"/>
                <a:gd name="connsiteY2211" fmla="*/ 1420351 h 1435671"/>
                <a:gd name="connsiteX2212" fmla="*/ 3054205 w 3760754"/>
                <a:gd name="connsiteY2212" fmla="*/ 1418328 h 1435671"/>
                <a:gd name="connsiteX2213" fmla="*/ 3054873 w 3760754"/>
                <a:gd name="connsiteY2213" fmla="*/ 1416122 h 1435671"/>
                <a:gd name="connsiteX2214" fmla="*/ 3055710 w 3760754"/>
                <a:gd name="connsiteY2214" fmla="*/ 1412260 h 1435671"/>
                <a:gd name="connsiteX2215" fmla="*/ 3055877 w 3760754"/>
                <a:gd name="connsiteY2215" fmla="*/ 1410237 h 1435671"/>
                <a:gd name="connsiteX2216" fmla="*/ 3055710 w 3760754"/>
                <a:gd name="connsiteY2216" fmla="*/ 1410421 h 1435671"/>
                <a:gd name="connsiteX2217" fmla="*/ 3055710 w 3760754"/>
                <a:gd name="connsiteY2217" fmla="*/ 1406559 h 1435671"/>
                <a:gd name="connsiteX2218" fmla="*/ 3055710 w 3760754"/>
                <a:gd name="connsiteY2218" fmla="*/ 1406375 h 1435671"/>
                <a:gd name="connsiteX2219" fmla="*/ 3055375 w 3760754"/>
                <a:gd name="connsiteY2219" fmla="*/ 1403249 h 1435671"/>
                <a:gd name="connsiteX2220" fmla="*/ 3054539 w 3760754"/>
                <a:gd name="connsiteY2220" fmla="*/ 1399571 h 1435671"/>
                <a:gd name="connsiteX2221" fmla="*/ 3053871 w 3760754"/>
                <a:gd name="connsiteY2221" fmla="*/ 1397364 h 1435671"/>
                <a:gd name="connsiteX2222" fmla="*/ 3052366 w 3760754"/>
                <a:gd name="connsiteY2222" fmla="*/ 1393870 h 1435671"/>
                <a:gd name="connsiteX2223" fmla="*/ 3050861 w 3760754"/>
                <a:gd name="connsiteY2223" fmla="*/ 1391296 h 1435671"/>
                <a:gd name="connsiteX2224" fmla="*/ 3049357 w 3760754"/>
                <a:gd name="connsiteY2224" fmla="*/ 1389273 h 1435671"/>
                <a:gd name="connsiteX2225" fmla="*/ 3047852 w 3760754"/>
                <a:gd name="connsiteY2225" fmla="*/ 1387618 h 1435671"/>
                <a:gd name="connsiteX2226" fmla="*/ 3044676 w 3760754"/>
                <a:gd name="connsiteY2226" fmla="*/ 1385044 h 1435671"/>
                <a:gd name="connsiteX2227" fmla="*/ 3042001 w 3760754"/>
                <a:gd name="connsiteY2227" fmla="*/ 1383573 h 1435671"/>
                <a:gd name="connsiteX2228" fmla="*/ 3035481 w 3760754"/>
                <a:gd name="connsiteY2228" fmla="*/ 1381917 h 1435671"/>
                <a:gd name="connsiteX2229" fmla="*/ 3096688 w 3760754"/>
                <a:gd name="connsiteY2229" fmla="*/ 1381917 h 1435671"/>
                <a:gd name="connsiteX2230" fmla="*/ 3088330 w 3760754"/>
                <a:gd name="connsiteY2230" fmla="*/ 1383388 h 1435671"/>
                <a:gd name="connsiteX2231" fmla="*/ 3083314 w 3760754"/>
                <a:gd name="connsiteY2231" fmla="*/ 1386515 h 1435671"/>
                <a:gd name="connsiteX2232" fmla="*/ 3080974 w 3760754"/>
                <a:gd name="connsiteY2232" fmla="*/ 1388721 h 1435671"/>
                <a:gd name="connsiteX2233" fmla="*/ 3078633 w 3760754"/>
                <a:gd name="connsiteY2233" fmla="*/ 1391663 h 1435671"/>
                <a:gd name="connsiteX2234" fmla="*/ 3077296 w 3760754"/>
                <a:gd name="connsiteY2234" fmla="*/ 1394054 h 1435671"/>
                <a:gd name="connsiteX2235" fmla="*/ 3075791 w 3760754"/>
                <a:gd name="connsiteY2235" fmla="*/ 1397732 h 1435671"/>
                <a:gd name="connsiteX2236" fmla="*/ 3075123 w 3760754"/>
                <a:gd name="connsiteY2236" fmla="*/ 1400123 h 1435671"/>
                <a:gd name="connsiteX2237" fmla="*/ 3074454 w 3760754"/>
                <a:gd name="connsiteY2237" fmla="*/ 1403617 h 1435671"/>
                <a:gd name="connsiteX2238" fmla="*/ 3074621 w 3760754"/>
                <a:gd name="connsiteY2238" fmla="*/ 1413363 h 1435671"/>
                <a:gd name="connsiteX2239" fmla="*/ 3075289 w 3760754"/>
                <a:gd name="connsiteY2239" fmla="*/ 1416673 h 1435671"/>
                <a:gd name="connsiteX2240" fmla="*/ 3076126 w 3760754"/>
                <a:gd name="connsiteY2240" fmla="*/ 1419247 h 1435671"/>
                <a:gd name="connsiteX2241" fmla="*/ 3076795 w 3760754"/>
                <a:gd name="connsiteY2241" fmla="*/ 1420903 h 1435671"/>
                <a:gd name="connsiteX2242" fmla="*/ 3078299 w 3760754"/>
                <a:gd name="connsiteY2242" fmla="*/ 1423845 h 1435671"/>
                <a:gd name="connsiteX2243" fmla="*/ 3079804 w 3760754"/>
                <a:gd name="connsiteY2243" fmla="*/ 1426051 h 1435671"/>
                <a:gd name="connsiteX2244" fmla="*/ 3082144 w 3760754"/>
                <a:gd name="connsiteY2244" fmla="*/ 1428626 h 1435671"/>
                <a:gd name="connsiteX2245" fmla="*/ 3084318 w 3760754"/>
                <a:gd name="connsiteY2245" fmla="*/ 1430465 h 1435671"/>
                <a:gd name="connsiteX2246" fmla="*/ 3088162 w 3760754"/>
                <a:gd name="connsiteY2246" fmla="*/ 1432672 h 1435671"/>
                <a:gd name="connsiteX2247" fmla="*/ 3093512 w 3760754"/>
                <a:gd name="connsiteY2247" fmla="*/ 1434143 h 1435671"/>
                <a:gd name="connsiteX2248" fmla="*/ 3094348 w 3760754"/>
                <a:gd name="connsiteY2248" fmla="*/ 1434327 h 1435671"/>
                <a:gd name="connsiteX2249" fmla="*/ 3097190 w 3760754"/>
                <a:gd name="connsiteY2249" fmla="*/ 1434327 h 1435671"/>
                <a:gd name="connsiteX2250" fmla="*/ 3097357 w 3760754"/>
                <a:gd name="connsiteY2250" fmla="*/ 1434327 h 1435671"/>
                <a:gd name="connsiteX2251" fmla="*/ 3106218 w 3760754"/>
                <a:gd name="connsiteY2251" fmla="*/ 1431017 h 1435671"/>
                <a:gd name="connsiteX2252" fmla="*/ 3109394 w 3760754"/>
                <a:gd name="connsiteY2252" fmla="*/ 1428258 h 1435671"/>
                <a:gd name="connsiteX2253" fmla="*/ 3111568 w 3760754"/>
                <a:gd name="connsiteY2253" fmla="*/ 1425684 h 1435671"/>
                <a:gd name="connsiteX2254" fmla="*/ 3113072 w 3760754"/>
                <a:gd name="connsiteY2254" fmla="*/ 1423294 h 1435671"/>
                <a:gd name="connsiteX2255" fmla="*/ 3114577 w 3760754"/>
                <a:gd name="connsiteY2255" fmla="*/ 1420351 h 1435671"/>
                <a:gd name="connsiteX2256" fmla="*/ 3115412 w 3760754"/>
                <a:gd name="connsiteY2256" fmla="*/ 1418328 h 1435671"/>
                <a:gd name="connsiteX2257" fmla="*/ 3116081 w 3760754"/>
                <a:gd name="connsiteY2257" fmla="*/ 1416122 h 1435671"/>
                <a:gd name="connsiteX2258" fmla="*/ 3116918 w 3760754"/>
                <a:gd name="connsiteY2258" fmla="*/ 1412260 h 1435671"/>
                <a:gd name="connsiteX2259" fmla="*/ 3117084 w 3760754"/>
                <a:gd name="connsiteY2259" fmla="*/ 1410237 h 1435671"/>
                <a:gd name="connsiteX2260" fmla="*/ 3116918 w 3760754"/>
                <a:gd name="connsiteY2260" fmla="*/ 1410421 h 1435671"/>
                <a:gd name="connsiteX2261" fmla="*/ 3116918 w 3760754"/>
                <a:gd name="connsiteY2261" fmla="*/ 1406559 h 1435671"/>
                <a:gd name="connsiteX2262" fmla="*/ 3116918 w 3760754"/>
                <a:gd name="connsiteY2262" fmla="*/ 1406375 h 1435671"/>
                <a:gd name="connsiteX2263" fmla="*/ 3116583 w 3760754"/>
                <a:gd name="connsiteY2263" fmla="*/ 1403249 h 1435671"/>
                <a:gd name="connsiteX2264" fmla="*/ 3115747 w 3760754"/>
                <a:gd name="connsiteY2264" fmla="*/ 1399571 h 1435671"/>
                <a:gd name="connsiteX2265" fmla="*/ 3115078 w 3760754"/>
                <a:gd name="connsiteY2265" fmla="*/ 1397364 h 1435671"/>
                <a:gd name="connsiteX2266" fmla="*/ 3113574 w 3760754"/>
                <a:gd name="connsiteY2266" fmla="*/ 1393870 h 1435671"/>
                <a:gd name="connsiteX2267" fmla="*/ 3112069 w 3760754"/>
                <a:gd name="connsiteY2267" fmla="*/ 1391296 h 1435671"/>
                <a:gd name="connsiteX2268" fmla="*/ 3110564 w 3760754"/>
                <a:gd name="connsiteY2268" fmla="*/ 1389273 h 1435671"/>
                <a:gd name="connsiteX2269" fmla="*/ 3109060 w 3760754"/>
                <a:gd name="connsiteY2269" fmla="*/ 1387618 h 1435671"/>
                <a:gd name="connsiteX2270" fmla="*/ 3105884 w 3760754"/>
                <a:gd name="connsiteY2270" fmla="*/ 1385044 h 1435671"/>
                <a:gd name="connsiteX2271" fmla="*/ 3103209 w 3760754"/>
                <a:gd name="connsiteY2271" fmla="*/ 1383573 h 1435671"/>
                <a:gd name="connsiteX2272" fmla="*/ 3096688 w 3760754"/>
                <a:gd name="connsiteY2272" fmla="*/ 1381917 h 1435671"/>
                <a:gd name="connsiteX2273" fmla="*/ 3208905 w 3760754"/>
                <a:gd name="connsiteY2273" fmla="*/ 1381917 h 1435671"/>
                <a:gd name="connsiteX2274" fmla="*/ 3200546 w 3760754"/>
                <a:gd name="connsiteY2274" fmla="*/ 1383388 h 1435671"/>
                <a:gd name="connsiteX2275" fmla="*/ 3195531 w 3760754"/>
                <a:gd name="connsiteY2275" fmla="*/ 1386515 h 1435671"/>
                <a:gd name="connsiteX2276" fmla="*/ 3193191 w 3760754"/>
                <a:gd name="connsiteY2276" fmla="*/ 1388721 h 1435671"/>
                <a:gd name="connsiteX2277" fmla="*/ 3190850 w 3760754"/>
                <a:gd name="connsiteY2277" fmla="*/ 1391663 h 1435671"/>
                <a:gd name="connsiteX2278" fmla="*/ 3189513 w 3760754"/>
                <a:gd name="connsiteY2278" fmla="*/ 1394054 h 1435671"/>
                <a:gd name="connsiteX2279" fmla="*/ 3188008 w 3760754"/>
                <a:gd name="connsiteY2279" fmla="*/ 1397732 h 1435671"/>
                <a:gd name="connsiteX2280" fmla="*/ 3187340 w 3760754"/>
                <a:gd name="connsiteY2280" fmla="*/ 1400123 h 1435671"/>
                <a:gd name="connsiteX2281" fmla="*/ 3186670 w 3760754"/>
                <a:gd name="connsiteY2281" fmla="*/ 1403617 h 1435671"/>
                <a:gd name="connsiteX2282" fmla="*/ 3186838 w 3760754"/>
                <a:gd name="connsiteY2282" fmla="*/ 1413363 h 1435671"/>
                <a:gd name="connsiteX2283" fmla="*/ 3187506 w 3760754"/>
                <a:gd name="connsiteY2283" fmla="*/ 1416673 h 1435671"/>
                <a:gd name="connsiteX2284" fmla="*/ 3188343 w 3760754"/>
                <a:gd name="connsiteY2284" fmla="*/ 1419247 h 1435671"/>
                <a:gd name="connsiteX2285" fmla="*/ 3189011 w 3760754"/>
                <a:gd name="connsiteY2285" fmla="*/ 1420903 h 1435671"/>
                <a:gd name="connsiteX2286" fmla="*/ 3190516 w 3760754"/>
                <a:gd name="connsiteY2286" fmla="*/ 1423845 h 1435671"/>
                <a:gd name="connsiteX2287" fmla="*/ 3192020 w 3760754"/>
                <a:gd name="connsiteY2287" fmla="*/ 1426051 h 1435671"/>
                <a:gd name="connsiteX2288" fmla="*/ 3194360 w 3760754"/>
                <a:gd name="connsiteY2288" fmla="*/ 1428626 h 1435671"/>
                <a:gd name="connsiteX2289" fmla="*/ 3196534 w 3760754"/>
                <a:gd name="connsiteY2289" fmla="*/ 1430465 h 1435671"/>
                <a:gd name="connsiteX2290" fmla="*/ 3200379 w 3760754"/>
                <a:gd name="connsiteY2290" fmla="*/ 1432672 h 1435671"/>
                <a:gd name="connsiteX2291" fmla="*/ 3205729 w 3760754"/>
                <a:gd name="connsiteY2291" fmla="*/ 1434143 h 1435671"/>
                <a:gd name="connsiteX2292" fmla="*/ 3206565 w 3760754"/>
                <a:gd name="connsiteY2292" fmla="*/ 1434327 h 1435671"/>
                <a:gd name="connsiteX2293" fmla="*/ 3209407 w 3760754"/>
                <a:gd name="connsiteY2293" fmla="*/ 1434327 h 1435671"/>
                <a:gd name="connsiteX2294" fmla="*/ 3209574 w 3760754"/>
                <a:gd name="connsiteY2294" fmla="*/ 1434327 h 1435671"/>
                <a:gd name="connsiteX2295" fmla="*/ 3218434 w 3760754"/>
                <a:gd name="connsiteY2295" fmla="*/ 1431017 h 1435671"/>
                <a:gd name="connsiteX2296" fmla="*/ 3221611 w 3760754"/>
                <a:gd name="connsiteY2296" fmla="*/ 1428258 h 1435671"/>
                <a:gd name="connsiteX2297" fmla="*/ 3223784 w 3760754"/>
                <a:gd name="connsiteY2297" fmla="*/ 1425684 h 1435671"/>
                <a:gd name="connsiteX2298" fmla="*/ 3225289 w 3760754"/>
                <a:gd name="connsiteY2298" fmla="*/ 1423294 h 1435671"/>
                <a:gd name="connsiteX2299" fmla="*/ 3226793 w 3760754"/>
                <a:gd name="connsiteY2299" fmla="*/ 1420351 h 1435671"/>
                <a:gd name="connsiteX2300" fmla="*/ 3227629 w 3760754"/>
                <a:gd name="connsiteY2300" fmla="*/ 1418328 h 1435671"/>
                <a:gd name="connsiteX2301" fmla="*/ 3228298 w 3760754"/>
                <a:gd name="connsiteY2301" fmla="*/ 1416122 h 1435671"/>
                <a:gd name="connsiteX2302" fmla="*/ 3229134 w 3760754"/>
                <a:gd name="connsiteY2302" fmla="*/ 1412260 h 1435671"/>
                <a:gd name="connsiteX2303" fmla="*/ 3229301 w 3760754"/>
                <a:gd name="connsiteY2303" fmla="*/ 1410237 h 1435671"/>
                <a:gd name="connsiteX2304" fmla="*/ 3229134 w 3760754"/>
                <a:gd name="connsiteY2304" fmla="*/ 1410421 h 1435671"/>
                <a:gd name="connsiteX2305" fmla="*/ 3229134 w 3760754"/>
                <a:gd name="connsiteY2305" fmla="*/ 1406559 h 1435671"/>
                <a:gd name="connsiteX2306" fmla="*/ 3229134 w 3760754"/>
                <a:gd name="connsiteY2306" fmla="*/ 1406375 h 1435671"/>
                <a:gd name="connsiteX2307" fmla="*/ 3228800 w 3760754"/>
                <a:gd name="connsiteY2307" fmla="*/ 1403249 h 1435671"/>
                <a:gd name="connsiteX2308" fmla="*/ 3227964 w 3760754"/>
                <a:gd name="connsiteY2308" fmla="*/ 1399571 h 1435671"/>
                <a:gd name="connsiteX2309" fmla="*/ 3227295 w 3760754"/>
                <a:gd name="connsiteY2309" fmla="*/ 1397364 h 1435671"/>
                <a:gd name="connsiteX2310" fmla="*/ 3225791 w 3760754"/>
                <a:gd name="connsiteY2310" fmla="*/ 1393870 h 1435671"/>
                <a:gd name="connsiteX2311" fmla="*/ 3224286 w 3760754"/>
                <a:gd name="connsiteY2311" fmla="*/ 1391296 h 1435671"/>
                <a:gd name="connsiteX2312" fmla="*/ 3222781 w 3760754"/>
                <a:gd name="connsiteY2312" fmla="*/ 1389273 h 1435671"/>
                <a:gd name="connsiteX2313" fmla="*/ 3221277 w 3760754"/>
                <a:gd name="connsiteY2313" fmla="*/ 1387618 h 1435671"/>
                <a:gd name="connsiteX2314" fmla="*/ 3218100 w 3760754"/>
                <a:gd name="connsiteY2314" fmla="*/ 1385044 h 1435671"/>
                <a:gd name="connsiteX2315" fmla="*/ 3215425 w 3760754"/>
                <a:gd name="connsiteY2315" fmla="*/ 1383573 h 1435671"/>
                <a:gd name="connsiteX2316" fmla="*/ 3208905 w 3760754"/>
                <a:gd name="connsiteY2316" fmla="*/ 1381917 h 1435671"/>
                <a:gd name="connsiteX2317" fmla="*/ 3270113 w 3760754"/>
                <a:gd name="connsiteY2317" fmla="*/ 1381917 h 1435671"/>
                <a:gd name="connsiteX2318" fmla="*/ 3261754 w 3760754"/>
                <a:gd name="connsiteY2318" fmla="*/ 1383388 h 1435671"/>
                <a:gd name="connsiteX2319" fmla="*/ 3256739 w 3760754"/>
                <a:gd name="connsiteY2319" fmla="*/ 1386515 h 1435671"/>
                <a:gd name="connsiteX2320" fmla="*/ 3254398 w 3760754"/>
                <a:gd name="connsiteY2320" fmla="*/ 1388721 h 1435671"/>
                <a:gd name="connsiteX2321" fmla="*/ 3252057 w 3760754"/>
                <a:gd name="connsiteY2321" fmla="*/ 1391663 h 1435671"/>
                <a:gd name="connsiteX2322" fmla="*/ 3250720 w 3760754"/>
                <a:gd name="connsiteY2322" fmla="*/ 1394054 h 1435671"/>
                <a:gd name="connsiteX2323" fmla="*/ 3249216 w 3760754"/>
                <a:gd name="connsiteY2323" fmla="*/ 1397732 h 1435671"/>
                <a:gd name="connsiteX2324" fmla="*/ 3248547 w 3760754"/>
                <a:gd name="connsiteY2324" fmla="*/ 1400123 h 1435671"/>
                <a:gd name="connsiteX2325" fmla="*/ 3247878 w 3760754"/>
                <a:gd name="connsiteY2325" fmla="*/ 1403617 h 1435671"/>
                <a:gd name="connsiteX2326" fmla="*/ 3248045 w 3760754"/>
                <a:gd name="connsiteY2326" fmla="*/ 1413363 h 1435671"/>
                <a:gd name="connsiteX2327" fmla="*/ 3248714 w 3760754"/>
                <a:gd name="connsiteY2327" fmla="*/ 1416673 h 1435671"/>
                <a:gd name="connsiteX2328" fmla="*/ 3249550 w 3760754"/>
                <a:gd name="connsiteY2328" fmla="*/ 1419247 h 1435671"/>
                <a:gd name="connsiteX2329" fmla="*/ 3250219 w 3760754"/>
                <a:gd name="connsiteY2329" fmla="*/ 1420903 h 1435671"/>
                <a:gd name="connsiteX2330" fmla="*/ 3251723 w 3760754"/>
                <a:gd name="connsiteY2330" fmla="*/ 1423845 h 1435671"/>
                <a:gd name="connsiteX2331" fmla="*/ 3253228 w 3760754"/>
                <a:gd name="connsiteY2331" fmla="*/ 1426051 h 1435671"/>
                <a:gd name="connsiteX2332" fmla="*/ 3255568 w 3760754"/>
                <a:gd name="connsiteY2332" fmla="*/ 1428626 h 1435671"/>
                <a:gd name="connsiteX2333" fmla="*/ 3257742 w 3760754"/>
                <a:gd name="connsiteY2333" fmla="*/ 1430465 h 1435671"/>
                <a:gd name="connsiteX2334" fmla="*/ 3261587 w 3760754"/>
                <a:gd name="connsiteY2334" fmla="*/ 1432672 h 1435671"/>
                <a:gd name="connsiteX2335" fmla="*/ 3266936 w 3760754"/>
                <a:gd name="connsiteY2335" fmla="*/ 1434143 h 1435671"/>
                <a:gd name="connsiteX2336" fmla="*/ 3267772 w 3760754"/>
                <a:gd name="connsiteY2336" fmla="*/ 1434327 h 1435671"/>
                <a:gd name="connsiteX2337" fmla="*/ 3270615 w 3760754"/>
                <a:gd name="connsiteY2337" fmla="*/ 1434327 h 1435671"/>
                <a:gd name="connsiteX2338" fmla="*/ 3270781 w 3760754"/>
                <a:gd name="connsiteY2338" fmla="*/ 1434327 h 1435671"/>
                <a:gd name="connsiteX2339" fmla="*/ 3279642 w 3760754"/>
                <a:gd name="connsiteY2339" fmla="*/ 1431017 h 1435671"/>
                <a:gd name="connsiteX2340" fmla="*/ 3282818 w 3760754"/>
                <a:gd name="connsiteY2340" fmla="*/ 1428258 h 1435671"/>
                <a:gd name="connsiteX2341" fmla="*/ 3284992 w 3760754"/>
                <a:gd name="connsiteY2341" fmla="*/ 1425684 h 1435671"/>
                <a:gd name="connsiteX2342" fmla="*/ 3286496 w 3760754"/>
                <a:gd name="connsiteY2342" fmla="*/ 1423294 h 1435671"/>
                <a:gd name="connsiteX2343" fmla="*/ 3288001 w 3760754"/>
                <a:gd name="connsiteY2343" fmla="*/ 1420351 h 1435671"/>
                <a:gd name="connsiteX2344" fmla="*/ 3288837 w 3760754"/>
                <a:gd name="connsiteY2344" fmla="*/ 1418328 h 1435671"/>
                <a:gd name="connsiteX2345" fmla="*/ 3289505 w 3760754"/>
                <a:gd name="connsiteY2345" fmla="*/ 1416122 h 1435671"/>
                <a:gd name="connsiteX2346" fmla="*/ 3290342 w 3760754"/>
                <a:gd name="connsiteY2346" fmla="*/ 1412260 h 1435671"/>
                <a:gd name="connsiteX2347" fmla="*/ 3290508 w 3760754"/>
                <a:gd name="connsiteY2347" fmla="*/ 1410237 h 1435671"/>
                <a:gd name="connsiteX2348" fmla="*/ 3290342 w 3760754"/>
                <a:gd name="connsiteY2348" fmla="*/ 1410421 h 1435671"/>
                <a:gd name="connsiteX2349" fmla="*/ 3290342 w 3760754"/>
                <a:gd name="connsiteY2349" fmla="*/ 1406559 h 1435671"/>
                <a:gd name="connsiteX2350" fmla="*/ 3290342 w 3760754"/>
                <a:gd name="connsiteY2350" fmla="*/ 1406375 h 1435671"/>
                <a:gd name="connsiteX2351" fmla="*/ 3290007 w 3760754"/>
                <a:gd name="connsiteY2351" fmla="*/ 1403249 h 1435671"/>
                <a:gd name="connsiteX2352" fmla="*/ 3289171 w 3760754"/>
                <a:gd name="connsiteY2352" fmla="*/ 1399571 h 1435671"/>
                <a:gd name="connsiteX2353" fmla="*/ 3288503 w 3760754"/>
                <a:gd name="connsiteY2353" fmla="*/ 1397364 h 1435671"/>
                <a:gd name="connsiteX2354" fmla="*/ 3286998 w 3760754"/>
                <a:gd name="connsiteY2354" fmla="*/ 1393870 h 1435671"/>
                <a:gd name="connsiteX2355" fmla="*/ 3285493 w 3760754"/>
                <a:gd name="connsiteY2355" fmla="*/ 1391296 h 1435671"/>
                <a:gd name="connsiteX2356" fmla="*/ 3283989 w 3760754"/>
                <a:gd name="connsiteY2356" fmla="*/ 1389273 h 1435671"/>
                <a:gd name="connsiteX2357" fmla="*/ 3282484 w 3760754"/>
                <a:gd name="connsiteY2357" fmla="*/ 1387618 h 1435671"/>
                <a:gd name="connsiteX2358" fmla="*/ 3279308 w 3760754"/>
                <a:gd name="connsiteY2358" fmla="*/ 1385044 h 1435671"/>
                <a:gd name="connsiteX2359" fmla="*/ 3276633 w 3760754"/>
                <a:gd name="connsiteY2359" fmla="*/ 1383573 h 1435671"/>
                <a:gd name="connsiteX2360" fmla="*/ 3270113 w 3760754"/>
                <a:gd name="connsiteY2360" fmla="*/ 1381917 h 1435671"/>
                <a:gd name="connsiteX2361" fmla="*/ 3739128 w 3760754"/>
                <a:gd name="connsiteY2361" fmla="*/ 1381917 h 1435671"/>
                <a:gd name="connsiteX2362" fmla="*/ 3730769 w 3760754"/>
                <a:gd name="connsiteY2362" fmla="*/ 1383388 h 1435671"/>
                <a:gd name="connsiteX2363" fmla="*/ 3725754 w 3760754"/>
                <a:gd name="connsiteY2363" fmla="*/ 1386515 h 1435671"/>
                <a:gd name="connsiteX2364" fmla="*/ 3723414 w 3760754"/>
                <a:gd name="connsiteY2364" fmla="*/ 1388721 h 1435671"/>
                <a:gd name="connsiteX2365" fmla="*/ 3721073 w 3760754"/>
                <a:gd name="connsiteY2365" fmla="*/ 1391663 h 1435671"/>
                <a:gd name="connsiteX2366" fmla="*/ 3719736 w 3760754"/>
                <a:gd name="connsiteY2366" fmla="*/ 1394054 h 1435671"/>
                <a:gd name="connsiteX2367" fmla="*/ 3718231 w 3760754"/>
                <a:gd name="connsiteY2367" fmla="*/ 1397732 h 1435671"/>
                <a:gd name="connsiteX2368" fmla="*/ 3717562 w 3760754"/>
                <a:gd name="connsiteY2368" fmla="*/ 1400123 h 1435671"/>
                <a:gd name="connsiteX2369" fmla="*/ 3716894 w 3760754"/>
                <a:gd name="connsiteY2369" fmla="*/ 1403617 h 1435671"/>
                <a:gd name="connsiteX2370" fmla="*/ 3717061 w 3760754"/>
                <a:gd name="connsiteY2370" fmla="*/ 1413363 h 1435671"/>
                <a:gd name="connsiteX2371" fmla="*/ 3717730 w 3760754"/>
                <a:gd name="connsiteY2371" fmla="*/ 1416673 h 1435671"/>
                <a:gd name="connsiteX2372" fmla="*/ 3718566 w 3760754"/>
                <a:gd name="connsiteY2372" fmla="*/ 1419247 h 1435671"/>
                <a:gd name="connsiteX2373" fmla="*/ 3719234 w 3760754"/>
                <a:gd name="connsiteY2373" fmla="*/ 1420903 h 1435671"/>
                <a:gd name="connsiteX2374" fmla="*/ 3720739 w 3760754"/>
                <a:gd name="connsiteY2374" fmla="*/ 1423845 h 1435671"/>
                <a:gd name="connsiteX2375" fmla="*/ 3722243 w 3760754"/>
                <a:gd name="connsiteY2375" fmla="*/ 1426051 h 1435671"/>
                <a:gd name="connsiteX2376" fmla="*/ 3724584 w 3760754"/>
                <a:gd name="connsiteY2376" fmla="*/ 1428626 h 1435671"/>
                <a:gd name="connsiteX2377" fmla="*/ 3726757 w 3760754"/>
                <a:gd name="connsiteY2377" fmla="*/ 1430465 h 1435671"/>
                <a:gd name="connsiteX2378" fmla="*/ 3730603 w 3760754"/>
                <a:gd name="connsiteY2378" fmla="*/ 1432672 h 1435671"/>
                <a:gd name="connsiteX2379" fmla="*/ 3735952 w 3760754"/>
                <a:gd name="connsiteY2379" fmla="*/ 1434143 h 1435671"/>
                <a:gd name="connsiteX2380" fmla="*/ 3736788 w 3760754"/>
                <a:gd name="connsiteY2380" fmla="*/ 1434327 h 1435671"/>
                <a:gd name="connsiteX2381" fmla="*/ 3739630 w 3760754"/>
                <a:gd name="connsiteY2381" fmla="*/ 1434327 h 1435671"/>
                <a:gd name="connsiteX2382" fmla="*/ 3739797 w 3760754"/>
                <a:gd name="connsiteY2382" fmla="*/ 1434327 h 1435671"/>
                <a:gd name="connsiteX2383" fmla="*/ 3748657 w 3760754"/>
                <a:gd name="connsiteY2383" fmla="*/ 1431017 h 1435671"/>
                <a:gd name="connsiteX2384" fmla="*/ 3751834 w 3760754"/>
                <a:gd name="connsiteY2384" fmla="*/ 1428258 h 1435671"/>
                <a:gd name="connsiteX2385" fmla="*/ 3754007 w 3760754"/>
                <a:gd name="connsiteY2385" fmla="*/ 1425684 h 1435671"/>
                <a:gd name="connsiteX2386" fmla="*/ 3755512 w 3760754"/>
                <a:gd name="connsiteY2386" fmla="*/ 1423294 h 1435671"/>
                <a:gd name="connsiteX2387" fmla="*/ 3757017 w 3760754"/>
                <a:gd name="connsiteY2387" fmla="*/ 1420351 h 1435671"/>
                <a:gd name="connsiteX2388" fmla="*/ 3757852 w 3760754"/>
                <a:gd name="connsiteY2388" fmla="*/ 1418328 h 1435671"/>
                <a:gd name="connsiteX2389" fmla="*/ 3758521 w 3760754"/>
                <a:gd name="connsiteY2389" fmla="*/ 1416122 h 1435671"/>
                <a:gd name="connsiteX2390" fmla="*/ 3759357 w 3760754"/>
                <a:gd name="connsiteY2390" fmla="*/ 1412260 h 1435671"/>
                <a:gd name="connsiteX2391" fmla="*/ 3759524 w 3760754"/>
                <a:gd name="connsiteY2391" fmla="*/ 1410237 h 1435671"/>
                <a:gd name="connsiteX2392" fmla="*/ 3759357 w 3760754"/>
                <a:gd name="connsiteY2392" fmla="*/ 1410421 h 1435671"/>
                <a:gd name="connsiteX2393" fmla="*/ 3759357 w 3760754"/>
                <a:gd name="connsiteY2393" fmla="*/ 1406559 h 1435671"/>
                <a:gd name="connsiteX2394" fmla="*/ 3759357 w 3760754"/>
                <a:gd name="connsiteY2394" fmla="*/ 1406375 h 1435671"/>
                <a:gd name="connsiteX2395" fmla="*/ 3759023 w 3760754"/>
                <a:gd name="connsiteY2395" fmla="*/ 1403249 h 1435671"/>
                <a:gd name="connsiteX2396" fmla="*/ 3758187 w 3760754"/>
                <a:gd name="connsiteY2396" fmla="*/ 1399571 h 1435671"/>
                <a:gd name="connsiteX2397" fmla="*/ 3757518 w 3760754"/>
                <a:gd name="connsiteY2397" fmla="*/ 1397364 h 1435671"/>
                <a:gd name="connsiteX2398" fmla="*/ 3756014 w 3760754"/>
                <a:gd name="connsiteY2398" fmla="*/ 1393870 h 1435671"/>
                <a:gd name="connsiteX2399" fmla="*/ 3754508 w 3760754"/>
                <a:gd name="connsiteY2399" fmla="*/ 1391296 h 1435671"/>
                <a:gd name="connsiteX2400" fmla="*/ 3753004 w 3760754"/>
                <a:gd name="connsiteY2400" fmla="*/ 1389273 h 1435671"/>
                <a:gd name="connsiteX2401" fmla="*/ 3751500 w 3760754"/>
                <a:gd name="connsiteY2401" fmla="*/ 1387618 h 1435671"/>
                <a:gd name="connsiteX2402" fmla="*/ 3748323 w 3760754"/>
                <a:gd name="connsiteY2402" fmla="*/ 1385044 h 1435671"/>
                <a:gd name="connsiteX2403" fmla="*/ 3745648 w 3760754"/>
                <a:gd name="connsiteY2403" fmla="*/ 1383573 h 1435671"/>
                <a:gd name="connsiteX2404" fmla="*/ 3739128 w 3760754"/>
                <a:gd name="connsiteY2404" fmla="*/ 1381917 h 1435671"/>
                <a:gd name="connsiteX2405" fmla="*/ 148476 w 3760754"/>
                <a:gd name="connsiteY2405" fmla="*/ 1376322 h 1435671"/>
                <a:gd name="connsiteX2406" fmla="*/ 131611 w 3760754"/>
                <a:gd name="connsiteY2406" fmla="*/ 1390067 h 1435671"/>
                <a:gd name="connsiteX2407" fmla="*/ 131286 w 3760754"/>
                <a:gd name="connsiteY2407" fmla="*/ 1393303 h 1435671"/>
                <a:gd name="connsiteX2408" fmla="*/ 130321 w 3760754"/>
                <a:gd name="connsiteY2408" fmla="*/ 1393303 h 1435671"/>
                <a:gd name="connsiteX2409" fmla="*/ 125932 w 3760754"/>
                <a:gd name="connsiteY2409" fmla="*/ 1397578 h 1435671"/>
                <a:gd name="connsiteX2410" fmla="*/ 125932 w 3760754"/>
                <a:gd name="connsiteY2410" fmla="*/ 1431396 h 1435671"/>
                <a:gd name="connsiteX2411" fmla="*/ 130321 w 3760754"/>
                <a:gd name="connsiteY2411" fmla="*/ 1435671 h 1435671"/>
                <a:gd name="connsiteX2412" fmla="*/ 166631 w 3760754"/>
                <a:gd name="connsiteY2412" fmla="*/ 1435671 h 1435671"/>
                <a:gd name="connsiteX2413" fmla="*/ 171020 w 3760754"/>
                <a:gd name="connsiteY2413" fmla="*/ 1431396 h 1435671"/>
                <a:gd name="connsiteX2414" fmla="*/ 171020 w 3760754"/>
                <a:gd name="connsiteY2414" fmla="*/ 1397578 h 1435671"/>
                <a:gd name="connsiteX2415" fmla="*/ 166631 w 3760754"/>
                <a:gd name="connsiteY2415" fmla="*/ 1393303 h 1435671"/>
                <a:gd name="connsiteX2416" fmla="*/ 166063 w 3760754"/>
                <a:gd name="connsiteY2416" fmla="*/ 1393303 h 1435671"/>
                <a:gd name="connsiteX2417" fmla="*/ 165666 w 3760754"/>
                <a:gd name="connsiteY2417" fmla="*/ 1393303 h 1435671"/>
                <a:gd name="connsiteX2418" fmla="*/ 165340 w 3760754"/>
                <a:gd name="connsiteY2418" fmla="*/ 1390067 h 1435671"/>
                <a:gd name="connsiteX2419" fmla="*/ 148476 w 3760754"/>
                <a:gd name="connsiteY2419" fmla="*/ 1376322 h 1435671"/>
                <a:gd name="connsiteX2420" fmla="*/ 597293 w 3760754"/>
                <a:gd name="connsiteY2420" fmla="*/ 1376322 h 1435671"/>
                <a:gd name="connsiteX2421" fmla="*/ 580428 w 3760754"/>
                <a:gd name="connsiteY2421" fmla="*/ 1390067 h 1435671"/>
                <a:gd name="connsiteX2422" fmla="*/ 580103 w 3760754"/>
                <a:gd name="connsiteY2422" fmla="*/ 1393303 h 1435671"/>
                <a:gd name="connsiteX2423" fmla="*/ 579137 w 3760754"/>
                <a:gd name="connsiteY2423" fmla="*/ 1393303 h 1435671"/>
                <a:gd name="connsiteX2424" fmla="*/ 574749 w 3760754"/>
                <a:gd name="connsiteY2424" fmla="*/ 1397578 h 1435671"/>
                <a:gd name="connsiteX2425" fmla="*/ 574749 w 3760754"/>
                <a:gd name="connsiteY2425" fmla="*/ 1431396 h 1435671"/>
                <a:gd name="connsiteX2426" fmla="*/ 579137 w 3760754"/>
                <a:gd name="connsiteY2426" fmla="*/ 1435671 h 1435671"/>
                <a:gd name="connsiteX2427" fmla="*/ 615448 w 3760754"/>
                <a:gd name="connsiteY2427" fmla="*/ 1435671 h 1435671"/>
                <a:gd name="connsiteX2428" fmla="*/ 619837 w 3760754"/>
                <a:gd name="connsiteY2428" fmla="*/ 1431396 h 1435671"/>
                <a:gd name="connsiteX2429" fmla="*/ 619837 w 3760754"/>
                <a:gd name="connsiteY2429" fmla="*/ 1397578 h 1435671"/>
                <a:gd name="connsiteX2430" fmla="*/ 615448 w 3760754"/>
                <a:gd name="connsiteY2430" fmla="*/ 1393303 h 1435671"/>
                <a:gd name="connsiteX2431" fmla="*/ 614880 w 3760754"/>
                <a:gd name="connsiteY2431" fmla="*/ 1393303 h 1435671"/>
                <a:gd name="connsiteX2432" fmla="*/ 614483 w 3760754"/>
                <a:gd name="connsiteY2432" fmla="*/ 1393303 h 1435671"/>
                <a:gd name="connsiteX2433" fmla="*/ 614157 w 3760754"/>
                <a:gd name="connsiteY2433" fmla="*/ 1390067 h 1435671"/>
                <a:gd name="connsiteX2434" fmla="*/ 597293 w 3760754"/>
                <a:gd name="connsiteY2434" fmla="*/ 1376322 h 1435671"/>
                <a:gd name="connsiteX2435" fmla="*/ 760469 w 3760754"/>
                <a:gd name="connsiteY2435" fmla="*/ 1376322 h 1435671"/>
                <a:gd name="connsiteX2436" fmla="*/ 743604 w 3760754"/>
                <a:gd name="connsiteY2436" fmla="*/ 1390067 h 1435671"/>
                <a:gd name="connsiteX2437" fmla="*/ 743279 w 3760754"/>
                <a:gd name="connsiteY2437" fmla="*/ 1393303 h 1435671"/>
                <a:gd name="connsiteX2438" fmla="*/ 742313 w 3760754"/>
                <a:gd name="connsiteY2438" fmla="*/ 1393303 h 1435671"/>
                <a:gd name="connsiteX2439" fmla="*/ 737925 w 3760754"/>
                <a:gd name="connsiteY2439" fmla="*/ 1397578 h 1435671"/>
                <a:gd name="connsiteX2440" fmla="*/ 737925 w 3760754"/>
                <a:gd name="connsiteY2440" fmla="*/ 1431396 h 1435671"/>
                <a:gd name="connsiteX2441" fmla="*/ 742313 w 3760754"/>
                <a:gd name="connsiteY2441" fmla="*/ 1435671 h 1435671"/>
                <a:gd name="connsiteX2442" fmla="*/ 778624 w 3760754"/>
                <a:gd name="connsiteY2442" fmla="*/ 1435671 h 1435671"/>
                <a:gd name="connsiteX2443" fmla="*/ 783013 w 3760754"/>
                <a:gd name="connsiteY2443" fmla="*/ 1431396 h 1435671"/>
                <a:gd name="connsiteX2444" fmla="*/ 783013 w 3760754"/>
                <a:gd name="connsiteY2444" fmla="*/ 1397578 h 1435671"/>
                <a:gd name="connsiteX2445" fmla="*/ 778624 w 3760754"/>
                <a:gd name="connsiteY2445" fmla="*/ 1393303 h 1435671"/>
                <a:gd name="connsiteX2446" fmla="*/ 778056 w 3760754"/>
                <a:gd name="connsiteY2446" fmla="*/ 1393303 h 1435671"/>
                <a:gd name="connsiteX2447" fmla="*/ 777659 w 3760754"/>
                <a:gd name="connsiteY2447" fmla="*/ 1393303 h 1435671"/>
                <a:gd name="connsiteX2448" fmla="*/ 777333 w 3760754"/>
                <a:gd name="connsiteY2448" fmla="*/ 1390067 h 1435671"/>
                <a:gd name="connsiteX2449" fmla="*/ 760469 w 3760754"/>
                <a:gd name="connsiteY2449" fmla="*/ 1376322 h 1435671"/>
                <a:gd name="connsiteX2450" fmla="*/ 821627 w 3760754"/>
                <a:gd name="connsiteY2450" fmla="*/ 1376322 h 1435671"/>
                <a:gd name="connsiteX2451" fmla="*/ 804763 w 3760754"/>
                <a:gd name="connsiteY2451" fmla="*/ 1390067 h 1435671"/>
                <a:gd name="connsiteX2452" fmla="*/ 804437 w 3760754"/>
                <a:gd name="connsiteY2452" fmla="*/ 1393303 h 1435671"/>
                <a:gd name="connsiteX2453" fmla="*/ 803471 w 3760754"/>
                <a:gd name="connsiteY2453" fmla="*/ 1393303 h 1435671"/>
                <a:gd name="connsiteX2454" fmla="*/ 799083 w 3760754"/>
                <a:gd name="connsiteY2454" fmla="*/ 1397578 h 1435671"/>
                <a:gd name="connsiteX2455" fmla="*/ 799083 w 3760754"/>
                <a:gd name="connsiteY2455" fmla="*/ 1431396 h 1435671"/>
                <a:gd name="connsiteX2456" fmla="*/ 803471 w 3760754"/>
                <a:gd name="connsiteY2456" fmla="*/ 1435671 h 1435671"/>
                <a:gd name="connsiteX2457" fmla="*/ 839782 w 3760754"/>
                <a:gd name="connsiteY2457" fmla="*/ 1435671 h 1435671"/>
                <a:gd name="connsiteX2458" fmla="*/ 844171 w 3760754"/>
                <a:gd name="connsiteY2458" fmla="*/ 1431396 h 1435671"/>
                <a:gd name="connsiteX2459" fmla="*/ 844171 w 3760754"/>
                <a:gd name="connsiteY2459" fmla="*/ 1397578 h 1435671"/>
                <a:gd name="connsiteX2460" fmla="*/ 839782 w 3760754"/>
                <a:gd name="connsiteY2460" fmla="*/ 1393303 h 1435671"/>
                <a:gd name="connsiteX2461" fmla="*/ 839214 w 3760754"/>
                <a:gd name="connsiteY2461" fmla="*/ 1393303 h 1435671"/>
                <a:gd name="connsiteX2462" fmla="*/ 838817 w 3760754"/>
                <a:gd name="connsiteY2462" fmla="*/ 1393303 h 1435671"/>
                <a:gd name="connsiteX2463" fmla="*/ 838491 w 3760754"/>
                <a:gd name="connsiteY2463" fmla="*/ 1390067 h 1435671"/>
                <a:gd name="connsiteX2464" fmla="*/ 821627 w 3760754"/>
                <a:gd name="connsiteY2464" fmla="*/ 1376322 h 1435671"/>
                <a:gd name="connsiteX2465" fmla="*/ 1168426 w 3760754"/>
                <a:gd name="connsiteY2465" fmla="*/ 1376322 h 1435671"/>
                <a:gd name="connsiteX2466" fmla="*/ 1151562 w 3760754"/>
                <a:gd name="connsiteY2466" fmla="*/ 1390067 h 1435671"/>
                <a:gd name="connsiteX2467" fmla="*/ 1151235 w 3760754"/>
                <a:gd name="connsiteY2467" fmla="*/ 1393303 h 1435671"/>
                <a:gd name="connsiteX2468" fmla="*/ 1150270 w 3760754"/>
                <a:gd name="connsiteY2468" fmla="*/ 1393303 h 1435671"/>
                <a:gd name="connsiteX2469" fmla="*/ 1145881 w 3760754"/>
                <a:gd name="connsiteY2469" fmla="*/ 1397578 h 1435671"/>
                <a:gd name="connsiteX2470" fmla="*/ 1145881 w 3760754"/>
                <a:gd name="connsiteY2470" fmla="*/ 1431396 h 1435671"/>
                <a:gd name="connsiteX2471" fmla="*/ 1150270 w 3760754"/>
                <a:gd name="connsiteY2471" fmla="*/ 1435671 h 1435671"/>
                <a:gd name="connsiteX2472" fmla="*/ 1186581 w 3760754"/>
                <a:gd name="connsiteY2472" fmla="*/ 1435671 h 1435671"/>
                <a:gd name="connsiteX2473" fmla="*/ 1190970 w 3760754"/>
                <a:gd name="connsiteY2473" fmla="*/ 1431396 h 1435671"/>
                <a:gd name="connsiteX2474" fmla="*/ 1190970 w 3760754"/>
                <a:gd name="connsiteY2474" fmla="*/ 1397578 h 1435671"/>
                <a:gd name="connsiteX2475" fmla="*/ 1186581 w 3760754"/>
                <a:gd name="connsiteY2475" fmla="*/ 1393303 h 1435671"/>
                <a:gd name="connsiteX2476" fmla="*/ 1186013 w 3760754"/>
                <a:gd name="connsiteY2476" fmla="*/ 1393303 h 1435671"/>
                <a:gd name="connsiteX2477" fmla="*/ 1185616 w 3760754"/>
                <a:gd name="connsiteY2477" fmla="*/ 1393303 h 1435671"/>
                <a:gd name="connsiteX2478" fmla="*/ 1185289 w 3760754"/>
                <a:gd name="connsiteY2478" fmla="*/ 1390067 h 1435671"/>
                <a:gd name="connsiteX2479" fmla="*/ 1168426 w 3760754"/>
                <a:gd name="connsiteY2479" fmla="*/ 1376322 h 1435671"/>
                <a:gd name="connsiteX2480" fmla="*/ 1341800 w 3760754"/>
                <a:gd name="connsiteY2480" fmla="*/ 1376322 h 1435671"/>
                <a:gd name="connsiteX2481" fmla="*/ 1324936 w 3760754"/>
                <a:gd name="connsiteY2481" fmla="*/ 1390067 h 1435671"/>
                <a:gd name="connsiteX2482" fmla="*/ 1324610 w 3760754"/>
                <a:gd name="connsiteY2482" fmla="*/ 1393303 h 1435671"/>
                <a:gd name="connsiteX2483" fmla="*/ 1323645 w 3760754"/>
                <a:gd name="connsiteY2483" fmla="*/ 1393303 h 1435671"/>
                <a:gd name="connsiteX2484" fmla="*/ 1319256 w 3760754"/>
                <a:gd name="connsiteY2484" fmla="*/ 1397578 h 1435671"/>
                <a:gd name="connsiteX2485" fmla="*/ 1319256 w 3760754"/>
                <a:gd name="connsiteY2485" fmla="*/ 1431396 h 1435671"/>
                <a:gd name="connsiteX2486" fmla="*/ 1323645 w 3760754"/>
                <a:gd name="connsiteY2486" fmla="*/ 1435671 h 1435671"/>
                <a:gd name="connsiteX2487" fmla="*/ 1359956 w 3760754"/>
                <a:gd name="connsiteY2487" fmla="*/ 1435671 h 1435671"/>
                <a:gd name="connsiteX2488" fmla="*/ 1364344 w 3760754"/>
                <a:gd name="connsiteY2488" fmla="*/ 1431396 h 1435671"/>
                <a:gd name="connsiteX2489" fmla="*/ 1364344 w 3760754"/>
                <a:gd name="connsiteY2489" fmla="*/ 1397578 h 1435671"/>
                <a:gd name="connsiteX2490" fmla="*/ 1359956 w 3760754"/>
                <a:gd name="connsiteY2490" fmla="*/ 1393303 h 1435671"/>
                <a:gd name="connsiteX2491" fmla="*/ 1359388 w 3760754"/>
                <a:gd name="connsiteY2491" fmla="*/ 1393303 h 1435671"/>
                <a:gd name="connsiteX2492" fmla="*/ 1358990 w 3760754"/>
                <a:gd name="connsiteY2492" fmla="*/ 1393303 h 1435671"/>
                <a:gd name="connsiteX2493" fmla="*/ 1358664 w 3760754"/>
                <a:gd name="connsiteY2493" fmla="*/ 1390067 h 1435671"/>
                <a:gd name="connsiteX2494" fmla="*/ 1341800 w 3760754"/>
                <a:gd name="connsiteY2494" fmla="*/ 1376322 h 1435671"/>
                <a:gd name="connsiteX2495" fmla="*/ 1402958 w 3760754"/>
                <a:gd name="connsiteY2495" fmla="*/ 1376322 h 1435671"/>
                <a:gd name="connsiteX2496" fmla="*/ 1386094 w 3760754"/>
                <a:gd name="connsiteY2496" fmla="*/ 1390067 h 1435671"/>
                <a:gd name="connsiteX2497" fmla="*/ 1385768 w 3760754"/>
                <a:gd name="connsiteY2497" fmla="*/ 1393303 h 1435671"/>
                <a:gd name="connsiteX2498" fmla="*/ 1384803 w 3760754"/>
                <a:gd name="connsiteY2498" fmla="*/ 1393303 h 1435671"/>
                <a:gd name="connsiteX2499" fmla="*/ 1380414 w 3760754"/>
                <a:gd name="connsiteY2499" fmla="*/ 1397578 h 1435671"/>
                <a:gd name="connsiteX2500" fmla="*/ 1380414 w 3760754"/>
                <a:gd name="connsiteY2500" fmla="*/ 1431396 h 1435671"/>
                <a:gd name="connsiteX2501" fmla="*/ 1384803 w 3760754"/>
                <a:gd name="connsiteY2501" fmla="*/ 1435671 h 1435671"/>
                <a:gd name="connsiteX2502" fmla="*/ 1421113 w 3760754"/>
                <a:gd name="connsiteY2502" fmla="*/ 1435671 h 1435671"/>
                <a:gd name="connsiteX2503" fmla="*/ 1425502 w 3760754"/>
                <a:gd name="connsiteY2503" fmla="*/ 1431396 h 1435671"/>
                <a:gd name="connsiteX2504" fmla="*/ 1425502 w 3760754"/>
                <a:gd name="connsiteY2504" fmla="*/ 1397578 h 1435671"/>
                <a:gd name="connsiteX2505" fmla="*/ 1421113 w 3760754"/>
                <a:gd name="connsiteY2505" fmla="*/ 1393303 h 1435671"/>
                <a:gd name="connsiteX2506" fmla="*/ 1420546 w 3760754"/>
                <a:gd name="connsiteY2506" fmla="*/ 1393303 h 1435671"/>
                <a:gd name="connsiteX2507" fmla="*/ 1420148 w 3760754"/>
                <a:gd name="connsiteY2507" fmla="*/ 1393303 h 1435671"/>
                <a:gd name="connsiteX2508" fmla="*/ 1419822 w 3760754"/>
                <a:gd name="connsiteY2508" fmla="*/ 1390067 h 1435671"/>
                <a:gd name="connsiteX2509" fmla="*/ 1402958 w 3760754"/>
                <a:gd name="connsiteY2509" fmla="*/ 1376322 h 1435671"/>
                <a:gd name="connsiteX2510" fmla="*/ 1464116 w 3760754"/>
                <a:gd name="connsiteY2510" fmla="*/ 1376322 h 1435671"/>
                <a:gd name="connsiteX2511" fmla="*/ 1447252 w 3760754"/>
                <a:gd name="connsiteY2511" fmla="*/ 1390067 h 1435671"/>
                <a:gd name="connsiteX2512" fmla="*/ 1446926 w 3760754"/>
                <a:gd name="connsiteY2512" fmla="*/ 1393303 h 1435671"/>
                <a:gd name="connsiteX2513" fmla="*/ 1445961 w 3760754"/>
                <a:gd name="connsiteY2513" fmla="*/ 1393303 h 1435671"/>
                <a:gd name="connsiteX2514" fmla="*/ 1441572 w 3760754"/>
                <a:gd name="connsiteY2514" fmla="*/ 1397578 h 1435671"/>
                <a:gd name="connsiteX2515" fmla="*/ 1441572 w 3760754"/>
                <a:gd name="connsiteY2515" fmla="*/ 1431396 h 1435671"/>
                <a:gd name="connsiteX2516" fmla="*/ 1445961 w 3760754"/>
                <a:gd name="connsiteY2516" fmla="*/ 1435671 h 1435671"/>
                <a:gd name="connsiteX2517" fmla="*/ 1482271 w 3760754"/>
                <a:gd name="connsiteY2517" fmla="*/ 1435671 h 1435671"/>
                <a:gd name="connsiteX2518" fmla="*/ 1486660 w 3760754"/>
                <a:gd name="connsiteY2518" fmla="*/ 1431396 h 1435671"/>
                <a:gd name="connsiteX2519" fmla="*/ 1486660 w 3760754"/>
                <a:gd name="connsiteY2519" fmla="*/ 1397578 h 1435671"/>
                <a:gd name="connsiteX2520" fmla="*/ 1482271 w 3760754"/>
                <a:gd name="connsiteY2520" fmla="*/ 1393303 h 1435671"/>
                <a:gd name="connsiteX2521" fmla="*/ 1481704 w 3760754"/>
                <a:gd name="connsiteY2521" fmla="*/ 1393303 h 1435671"/>
                <a:gd name="connsiteX2522" fmla="*/ 1481306 w 3760754"/>
                <a:gd name="connsiteY2522" fmla="*/ 1393303 h 1435671"/>
                <a:gd name="connsiteX2523" fmla="*/ 1480980 w 3760754"/>
                <a:gd name="connsiteY2523" fmla="*/ 1390067 h 1435671"/>
                <a:gd name="connsiteX2524" fmla="*/ 1464116 w 3760754"/>
                <a:gd name="connsiteY2524" fmla="*/ 1376322 h 1435671"/>
                <a:gd name="connsiteX2525" fmla="*/ 1576283 w 3760754"/>
                <a:gd name="connsiteY2525" fmla="*/ 1376322 h 1435671"/>
                <a:gd name="connsiteX2526" fmla="*/ 1559419 w 3760754"/>
                <a:gd name="connsiteY2526" fmla="*/ 1390067 h 1435671"/>
                <a:gd name="connsiteX2527" fmla="*/ 1559093 w 3760754"/>
                <a:gd name="connsiteY2527" fmla="*/ 1393303 h 1435671"/>
                <a:gd name="connsiteX2528" fmla="*/ 1558128 w 3760754"/>
                <a:gd name="connsiteY2528" fmla="*/ 1393303 h 1435671"/>
                <a:gd name="connsiteX2529" fmla="*/ 1553739 w 3760754"/>
                <a:gd name="connsiteY2529" fmla="*/ 1397578 h 1435671"/>
                <a:gd name="connsiteX2530" fmla="*/ 1553739 w 3760754"/>
                <a:gd name="connsiteY2530" fmla="*/ 1431396 h 1435671"/>
                <a:gd name="connsiteX2531" fmla="*/ 1558128 w 3760754"/>
                <a:gd name="connsiteY2531" fmla="*/ 1435671 h 1435671"/>
                <a:gd name="connsiteX2532" fmla="*/ 1594438 w 3760754"/>
                <a:gd name="connsiteY2532" fmla="*/ 1435671 h 1435671"/>
                <a:gd name="connsiteX2533" fmla="*/ 1598827 w 3760754"/>
                <a:gd name="connsiteY2533" fmla="*/ 1431396 h 1435671"/>
                <a:gd name="connsiteX2534" fmla="*/ 1598827 w 3760754"/>
                <a:gd name="connsiteY2534" fmla="*/ 1397578 h 1435671"/>
                <a:gd name="connsiteX2535" fmla="*/ 1594438 w 3760754"/>
                <a:gd name="connsiteY2535" fmla="*/ 1393303 h 1435671"/>
                <a:gd name="connsiteX2536" fmla="*/ 1593871 w 3760754"/>
                <a:gd name="connsiteY2536" fmla="*/ 1393303 h 1435671"/>
                <a:gd name="connsiteX2537" fmla="*/ 1593473 w 3760754"/>
                <a:gd name="connsiteY2537" fmla="*/ 1393303 h 1435671"/>
                <a:gd name="connsiteX2538" fmla="*/ 1593147 w 3760754"/>
                <a:gd name="connsiteY2538" fmla="*/ 1390067 h 1435671"/>
                <a:gd name="connsiteX2539" fmla="*/ 1576283 w 3760754"/>
                <a:gd name="connsiteY2539" fmla="*/ 1376322 h 1435671"/>
                <a:gd name="connsiteX2540" fmla="*/ 1698649 w 3760754"/>
                <a:gd name="connsiteY2540" fmla="*/ 1376322 h 1435671"/>
                <a:gd name="connsiteX2541" fmla="*/ 1681784 w 3760754"/>
                <a:gd name="connsiteY2541" fmla="*/ 1390067 h 1435671"/>
                <a:gd name="connsiteX2542" fmla="*/ 1681458 w 3760754"/>
                <a:gd name="connsiteY2542" fmla="*/ 1393303 h 1435671"/>
                <a:gd name="connsiteX2543" fmla="*/ 1680493 w 3760754"/>
                <a:gd name="connsiteY2543" fmla="*/ 1393303 h 1435671"/>
                <a:gd name="connsiteX2544" fmla="*/ 1676104 w 3760754"/>
                <a:gd name="connsiteY2544" fmla="*/ 1397578 h 1435671"/>
                <a:gd name="connsiteX2545" fmla="*/ 1676104 w 3760754"/>
                <a:gd name="connsiteY2545" fmla="*/ 1431396 h 1435671"/>
                <a:gd name="connsiteX2546" fmla="*/ 1680493 w 3760754"/>
                <a:gd name="connsiteY2546" fmla="*/ 1435671 h 1435671"/>
                <a:gd name="connsiteX2547" fmla="*/ 1716804 w 3760754"/>
                <a:gd name="connsiteY2547" fmla="*/ 1435671 h 1435671"/>
                <a:gd name="connsiteX2548" fmla="*/ 1721193 w 3760754"/>
                <a:gd name="connsiteY2548" fmla="*/ 1431396 h 1435671"/>
                <a:gd name="connsiteX2549" fmla="*/ 1721193 w 3760754"/>
                <a:gd name="connsiteY2549" fmla="*/ 1397578 h 1435671"/>
                <a:gd name="connsiteX2550" fmla="*/ 1716804 w 3760754"/>
                <a:gd name="connsiteY2550" fmla="*/ 1393303 h 1435671"/>
                <a:gd name="connsiteX2551" fmla="*/ 1716236 w 3760754"/>
                <a:gd name="connsiteY2551" fmla="*/ 1393303 h 1435671"/>
                <a:gd name="connsiteX2552" fmla="*/ 1715839 w 3760754"/>
                <a:gd name="connsiteY2552" fmla="*/ 1393303 h 1435671"/>
                <a:gd name="connsiteX2553" fmla="*/ 1715512 w 3760754"/>
                <a:gd name="connsiteY2553" fmla="*/ 1390067 h 1435671"/>
                <a:gd name="connsiteX2554" fmla="*/ 1698649 w 3760754"/>
                <a:gd name="connsiteY2554" fmla="*/ 1376322 h 1435671"/>
                <a:gd name="connsiteX2555" fmla="*/ 1759807 w 3760754"/>
                <a:gd name="connsiteY2555" fmla="*/ 1376322 h 1435671"/>
                <a:gd name="connsiteX2556" fmla="*/ 1742943 w 3760754"/>
                <a:gd name="connsiteY2556" fmla="*/ 1390067 h 1435671"/>
                <a:gd name="connsiteX2557" fmla="*/ 1742616 w 3760754"/>
                <a:gd name="connsiteY2557" fmla="*/ 1393303 h 1435671"/>
                <a:gd name="connsiteX2558" fmla="*/ 1741651 w 3760754"/>
                <a:gd name="connsiteY2558" fmla="*/ 1393303 h 1435671"/>
                <a:gd name="connsiteX2559" fmla="*/ 1737262 w 3760754"/>
                <a:gd name="connsiteY2559" fmla="*/ 1397578 h 1435671"/>
                <a:gd name="connsiteX2560" fmla="*/ 1737262 w 3760754"/>
                <a:gd name="connsiteY2560" fmla="*/ 1431396 h 1435671"/>
                <a:gd name="connsiteX2561" fmla="*/ 1741651 w 3760754"/>
                <a:gd name="connsiteY2561" fmla="*/ 1435671 h 1435671"/>
                <a:gd name="connsiteX2562" fmla="*/ 1777962 w 3760754"/>
                <a:gd name="connsiteY2562" fmla="*/ 1435671 h 1435671"/>
                <a:gd name="connsiteX2563" fmla="*/ 1782351 w 3760754"/>
                <a:gd name="connsiteY2563" fmla="*/ 1431396 h 1435671"/>
                <a:gd name="connsiteX2564" fmla="*/ 1782351 w 3760754"/>
                <a:gd name="connsiteY2564" fmla="*/ 1397578 h 1435671"/>
                <a:gd name="connsiteX2565" fmla="*/ 1777962 w 3760754"/>
                <a:gd name="connsiteY2565" fmla="*/ 1393303 h 1435671"/>
                <a:gd name="connsiteX2566" fmla="*/ 1777394 w 3760754"/>
                <a:gd name="connsiteY2566" fmla="*/ 1393303 h 1435671"/>
                <a:gd name="connsiteX2567" fmla="*/ 1776997 w 3760754"/>
                <a:gd name="connsiteY2567" fmla="*/ 1393303 h 1435671"/>
                <a:gd name="connsiteX2568" fmla="*/ 1776670 w 3760754"/>
                <a:gd name="connsiteY2568" fmla="*/ 1390067 h 1435671"/>
                <a:gd name="connsiteX2569" fmla="*/ 1759807 w 3760754"/>
                <a:gd name="connsiteY2569" fmla="*/ 1376322 h 1435671"/>
                <a:gd name="connsiteX2570" fmla="*/ 1871974 w 3760754"/>
                <a:gd name="connsiteY2570" fmla="*/ 1376322 h 1435671"/>
                <a:gd name="connsiteX2571" fmla="*/ 1855109 w 3760754"/>
                <a:gd name="connsiteY2571" fmla="*/ 1390067 h 1435671"/>
                <a:gd name="connsiteX2572" fmla="*/ 1854783 w 3760754"/>
                <a:gd name="connsiteY2572" fmla="*/ 1393303 h 1435671"/>
                <a:gd name="connsiteX2573" fmla="*/ 1853818 w 3760754"/>
                <a:gd name="connsiteY2573" fmla="*/ 1393303 h 1435671"/>
                <a:gd name="connsiteX2574" fmla="*/ 1849429 w 3760754"/>
                <a:gd name="connsiteY2574" fmla="*/ 1397578 h 1435671"/>
                <a:gd name="connsiteX2575" fmla="*/ 1849429 w 3760754"/>
                <a:gd name="connsiteY2575" fmla="*/ 1431396 h 1435671"/>
                <a:gd name="connsiteX2576" fmla="*/ 1853818 w 3760754"/>
                <a:gd name="connsiteY2576" fmla="*/ 1435671 h 1435671"/>
                <a:gd name="connsiteX2577" fmla="*/ 1890125 w 3760754"/>
                <a:gd name="connsiteY2577" fmla="*/ 1435671 h 1435671"/>
                <a:gd name="connsiteX2578" fmla="*/ 1894515 w 3760754"/>
                <a:gd name="connsiteY2578" fmla="*/ 1431396 h 1435671"/>
                <a:gd name="connsiteX2579" fmla="*/ 1894515 w 3760754"/>
                <a:gd name="connsiteY2579" fmla="*/ 1397578 h 1435671"/>
                <a:gd name="connsiteX2580" fmla="*/ 1890125 w 3760754"/>
                <a:gd name="connsiteY2580" fmla="*/ 1393303 h 1435671"/>
                <a:gd name="connsiteX2581" fmla="*/ 1889558 w 3760754"/>
                <a:gd name="connsiteY2581" fmla="*/ 1393303 h 1435671"/>
                <a:gd name="connsiteX2582" fmla="*/ 1889161 w 3760754"/>
                <a:gd name="connsiteY2582" fmla="*/ 1393303 h 1435671"/>
                <a:gd name="connsiteX2583" fmla="*/ 1888835 w 3760754"/>
                <a:gd name="connsiteY2583" fmla="*/ 1390067 h 1435671"/>
                <a:gd name="connsiteX2584" fmla="*/ 1871974 w 3760754"/>
                <a:gd name="connsiteY2584" fmla="*/ 1376322 h 1435671"/>
                <a:gd name="connsiteX2585" fmla="*/ 1994336 w 3760754"/>
                <a:gd name="connsiteY2585" fmla="*/ 1376322 h 1435671"/>
                <a:gd name="connsiteX2586" fmla="*/ 1977472 w 3760754"/>
                <a:gd name="connsiteY2586" fmla="*/ 1390067 h 1435671"/>
                <a:gd name="connsiteX2587" fmla="*/ 1977145 w 3760754"/>
                <a:gd name="connsiteY2587" fmla="*/ 1393303 h 1435671"/>
                <a:gd name="connsiteX2588" fmla="*/ 1976181 w 3760754"/>
                <a:gd name="connsiteY2588" fmla="*/ 1393303 h 1435671"/>
                <a:gd name="connsiteX2589" fmla="*/ 1971792 w 3760754"/>
                <a:gd name="connsiteY2589" fmla="*/ 1397578 h 1435671"/>
                <a:gd name="connsiteX2590" fmla="*/ 1971792 w 3760754"/>
                <a:gd name="connsiteY2590" fmla="*/ 1431396 h 1435671"/>
                <a:gd name="connsiteX2591" fmla="*/ 1976181 w 3760754"/>
                <a:gd name="connsiteY2591" fmla="*/ 1435671 h 1435671"/>
                <a:gd name="connsiteX2592" fmla="*/ 2012491 w 3760754"/>
                <a:gd name="connsiteY2592" fmla="*/ 1435671 h 1435671"/>
                <a:gd name="connsiteX2593" fmla="*/ 2016881 w 3760754"/>
                <a:gd name="connsiteY2593" fmla="*/ 1431396 h 1435671"/>
                <a:gd name="connsiteX2594" fmla="*/ 2016881 w 3760754"/>
                <a:gd name="connsiteY2594" fmla="*/ 1397578 h 1435671"/>
                <a:gd name="connsiteX2595" fmla="*/ 2012491 w 3760754"/>
                <a:gd name="connsiteY2595" fmla="*/ 1393303 h 1435671"/>
                <a:gd name="connsiteX2596" fmla="*/ 2011924 w 3760754"/>
                <a:gd name="connsiteY2596" fmla="*/ 1393303 h 1435671"/>
                <a:gd name="connsiteX2597" fmla="*/ 2011527 w 3760754"/>
                <a:gd name="connsiteY2597" fmla="*/ 1393303 h 1435671"/>
                <a:gd name="connsiteX2598" fmla="*/ 2011200 w 3760754"/>
                <a:gd name="connsiteY2598" fmla="*/ 1390067 h 1435671"/>
                <a:gd name="connsiteX2599" fmla="*/ 1994336 w 3760754"/>
                <a:gd name="connsiteY2599" fmla="*/ 1376322 h 1435671"/>
                <a:gd name="connsiteX2600" fmla="*/ 2106503 w 3760754"/>
                <a:gd name="connsiteY2600" fmla="*/ 1376322 h 1435671"/>
                <a:gd name="connsiteX2601" fmla="*/ 2089639 w 3760754"/>
                <a:gd name="connsiteY2601" fmla="*/ 1390067 h 1435671"/>
                <a:gd name="connsiteX2602" fmla="*/ 2089313 w 3760754"/>
                <a:gd name="connsiteY2602" fmla="*/ 1393303 h 1435671"/>
                <a:gd name="connsiteX2603" fmla="*/ 2088348 w 3760754"/>
                <a:gd name="connsiteY2603" fmla="*/ 1393303 h 1435671"/>
                <a:gd name="connsiteX2604" fmla="*/ 2083959 w 3760754"/>
                <a:gd name="connsiteY2604" fmla="*/ 1397578 h 1435671"/>
                <a:gd name="connsiteX2605" fmla="*/ 2083959 w 3760754"/>
                <a:gd name="connsiteY2605" fmla="*/ 1431396 h 1435671"/>
                <a:gd name="connsiteX2606" fmla="*/ 2088348 w 3760754"/>
                <a:gd name="connsiteY2606" fmla="*/ 1435671 h 1435671"/>
                <a:gd name="connsiteX2607" fmla="*/ 2124658 w 3760754"/>
                <a:gd name="connsiteY2607" fmla="*/ 1435671 h 1435671"/>
                <a:gd name="connsiteX2608" fmla="*/ 2129048 w 3760754"/>
                <a:gd name="connsiteY2608" fmla="*/ 1431396 h 1435671"/>
                <a:gd name="connsiteX2609" fmla="*/ 2129048 w 3760754"/>
                <a:gd name="connsiteY2609" fmla="*/ 1397578 h 1435671"/>
                <a:gd name="connsiteX2610" fmla="*/ 2124658 w 3760754"/>
                <a:gd name="connsiteY2610" fmla="*/ 1393303 h 1435671"/>
                <a:gd name="connsiteX2611" fmla="*/ 2124091 w 3760754"/>
                <a:gd name="connsiteY2611" fmla="*/ 1393303 h 1435671"/>
                <a:gd name="connsiteX2612" fmla="*/ 2123694 w 3760754"/>
                <a:gd name="connsiteY2612" fmla="*/ 1393303 h 1435671"/>
                <a:gd name="connsiteX2613" fmla="*/ 2123367 w 3760754"/>
                <a:gd name="connsiteY2613" fmla="*/ 1390067 h 1435671"/>
                <a:gd name="connsiteX2614" fmla="*/ 2106503 w 3760754"/>
                <a:gd name="connsiteY2614" fmla="*/ 1376322 h 1435671"/>
                <a:gd name="connsiteX2615" fmla="*/ 2167663 w 3760754"/>
                <a:gd name="connsiteY2615" fmla="*/ 1376322 h 1435671"/>
                <a:gd name="connsiteX2616" fmla="*/ 2150797 w 3760754"/>
                <a:gd name="connsiteY2616" fmla="*/ 1390067 h 1435671"/>
                <a:gd name="connsiteX2617" fmla="*/ 2150471 w 3760754"/>
                <a:gd name="connsiteY2617" fmla="*/ 1393303 h 1435671"/>
                <a:gd name="connsiteX2618" fmla="*/ 2149506 w 3760754"/>
                <a:gd name="connsiteY2618" fmla="*/ 1393303 h 1435671"/>
                <a:gd name="connsiteX2619" fmla="*/ 2145117 w 3760754"/>
                <a:gd name="connsiteY2619" fmla="*/ 1397578 h 1435671"/>
                <a:gd name="connsiteX2620" fmla="*/ 2145117 w 3760754"/>
                <a:gd name="connsiteY2620" fmla="*/ 1431396 h 1435671"/>
                <a:gd name="connsiteX2621" fmla="*/ 2149506 w 3760754"/>
                <a:gd name="connsiteY2621" fmla="*/ 1435671 h 1435671"/>
                <a:gd name="connsiteX2622" fmla="*/ 2185819 w 3760754"/>
                <a:gd name="connsiteY2622" fmla="*/ 1435671 h 1435671"/>
                <a:gd name="connsiteX2623" fmla="*/ 2190208 w 3760754"/>
                <a:gd name="connsiteY2623" fmla="*/ 1431396 h 1435671"/>
                <a:gd name="connsiteX2624" fmla="*/ 2190208 w 3760754"/>
                <a:gd name="connsiteY2624" fmla="*/ 1397578 h 1435671"/>
                <a:gd name="connsiteX2625" fmla="*/ 2185819 w 3760754"/>
                <a:gd name="connsiteY2625" fmla="*/ 1393303 h 1435671"/>
                <a:gd name="connsiteX2626" fmla="*/ 2185251 w 3760754"/>
                <a:gd name="connsiteY2626" fmla="*/ 1393303 h 1435671"/>
                <a:gd name="connsiteX2627" fmla="*/ 2184854 w 3760754"/>
                <a:gd name="connsiteY2627" fmla="*/ 1393303 h 1435671"/>
                <a:gd name="connsiteX2628" fmla="*/ 2184528 w 3760754"/>
                <a:gd name="connsiteY2628" fmla="*/ 1390067 h 1435671"/>
                <a:gd name="connsiteX2629" fmla="*/ 2167663 w 3760754"/>
                <a:gd name="connsiteY2629" fmla="*/ 1376322 h 1435671"/>
                <a:gd name="connsiteX2630" fmla="*/ 2341038 w 3760754"/>
                <a:gd name="connsiteY2630" fmla="*/ 1376322 h 1435671"/>
                <a:gd name="connsiteX2631" fmla="*/ 2324173 w 3760754"/>
                <a:gd name="connsiteY2631" fmla="*/ 1390067 h 1435671"/>
                <a:gd name="connsiteX2632" fmla="*/ 2323847 w 3760754"/>
                <a:gd name="connsiteY2632" fmla="*/ 1393303 h 1435671"/>
                <a:gd name="connsiteX2633" fmla="*/ 2322883 w 3760754"/>
                <a:gd name="connsiteY2633" fmla="*/ 1393303 h 1435671"/>
                <a:gd name="connsiteX2634" fmla="*/ 2318494 w 3760754"/>
                <a:gd name="connsiteY2634" fmla="*/ 1397578 h 1435671"/>
                <a:gd name="connsiteX2635" fmla="*/ 2318494 w 3760754"/>
                <a:gd name="connsiteY2635" fmla="*/ 1431396 h 1435671"/>
                <a:gd name="connsiteX2636" fmla="*/ 2322883 w 3760754"/>
                <a:gd name="connsiteY2636" fmla="*/ 1435671 h 1435671"/>
                <a:gd name="connsiteX2637" fmla="*/ 2359193 w 3760754"/>
                <a:gd name="connsiteY2637" fmla="*/ 1435671 h 1435671"/>
                <a:gd name="connsiteX2638" fmla="*/ 2363582 w 3760754"/>
                <a:gd name="connsiteY2638" fmla="*/ 1431396 h 1435671"/>
                <a:gd name="connsiteX2639" fmla="*/ 2363582 w 3760754"/>
                <a:gd name="connsiteY2639" fmla="*/ 1397578 h 1435671"/>
                <a:gd name="connsiteX2640" fmla="*/ 2359193 w 3760754"/>
                <a:gd name="connsiteY2640" fmla="*/ 1393303 h 1435671"/>
                <a:gd name="connsiteX2641" fmla="*/ 2358625 w 3760754"/>
                <a:gd name="connsiteY2641" fmla="*/ 1393303 h 1435671"/>
                <a:gd name="connsiteX2642" fmla="*/ 2358229 w 3760754"/>
                <a:gd name="connsiteY2642" fmla="*/ 1393303 h 1435671"/>
                <a:gd name="connsiteX2643" fmla="*/ 2357902 w 3760754"/>
                <a:gd name="connsiteY2643" fmla="*/ 1390067 h 1435671"/>
                <a:gd name="connsiteX2644" fmla="*/ 2341038 w 3760754"/>
                <a:gd name="connsiteY2644" fmla="*/ 1376322 h 1435671"/>
                <a:gd name="connsiteX2645" fmla="*/ 2626630 w 3760754"/>
                <a:gd name="connsiteY2645" fmla="*/ 1376322 h 1435671"/>
                <a:gd name="connsiteX2646" fmla="*/ 2609765 w 3760754"/>
                <a:gd name="connsiteY2646" fmla="*/ 1390067 h 1435671"/>
                <a:gd name="connsiteX2647" fmla="*/ 2609439 w 3760754"/>
                <a:gd name="connsiteY2647" fmla="*/ 1393303 h 1435671"/>
                <a:gd name="connsiteX2648" fmla="*/ 2608474 w 3760754"/>
                <a:gd name="connsiteY2648" fmla="*/ 1393303 h 1435671"/>
                <a:gd name="connsiteX2649" fmla="*/ 2604085 w 3760754"/>
                <a:gd name="connsiteY2649" fmla="*/ 1397578 h 1435671"/>
                <a:gd name="connsiteX2650" fmla="*/ 2604085 w 3760754"/>
                <a:gd name="connsiteY2650" fmla="*/ 1431396 h 1435671"/>
                <a:gd name="connsiteX2651" fmla="*/ 2608474 w 3760754"/>
                <a:gd name="connsiteY2651" fmla="*/ 1435671 h 1435671"/>
                <a:gd name="connsiteX2652" fmla="*/ 2644785 w 3760754"/>
                <a:gd name="connsiteY2652" fmla="*/ 1435671 h 1435671"/>
                <a:gd name="connsiteX2653" fmla="*/ 2649174 w 3760754"/>
                <a:gd name="connsiteY2653" fmla="*/ 1431396 h 1435671"/>
                <a:gd name="connsiteX2654" fmla="*/ 2649174 w 3760754"/>
                <a:gd name="connsiteY2654" fmla="*/ 1397578 h 1435671"/>
                <a:gd name="connsiteX2655" fmla="*/ 2644785 w 3760754"/>
                <a:gd name="connsiteY2655" fmla="*/ 1393303 h 1435671"/>
                <a:gd name="connsiteX2656" fmla="*/ 2644217 w 3760754"/>
                <a:gd name="connsiteY2656" fmla="*/ 1393303 h 1435671"/>
                <a:gd name="connsiteX2657" fmla="*/ 2643819 w 3760754"/>
                <a:gd name="connsiteY2657" fmla="*/ 1393303 h 1435671"/>
                <a:gd name="connsiteX2658" fmla="*/ 2643493 w 3760754"/>
                <a:gd name="connsiteY2658" fmla="*/ 1390067 h 1435671"/>
                <a:gd name="connsiteX2659" fmla="*/ 2626630 w 3760754"/>
                <a:gd name="connsiteY2659" fmla="*/ 1376322 h 1435671"/>
                <a:gd name="connsiteX2660" fmla="*/ 2687787 w 3760754"/>
                <a:gd name="connsiteY2660" fmla="*/ 1376322 h 1435671"/>
                <a:gd name="connsiteX2661" fmla="*/ 2670923 w 3760754"/>
                <a:gd name="connsiteY2661" fmla="*/ 1390067 h 1435671"/>
                <a:gd name="connsiteX2662" fmla="*/ 2670597 w 3760754"/>
                <a:gd name="connsiteY2662" fmla="*/ 1393303 h 1435671"/>
                <a:gd name="connsiteX2663" fmla="*/ 2669632 w 3760754"/>
                <a:gd name="connsiteY2663" fmla="*/ 1393303 h 1435671"/>
                <a:gd name="connsiteX2664" fmla="*/ 2665243 w 3760754"/>
                <a:gd name="connsiteY2664" fmla="*/ 1397578 h 1435671"/>
                <a:gd name="connsiteX2665" fmla="*/ 2665243 w 3760754"/>
                <a:gd name="connsiteY2665" fmla="*/ 1431396 h 1435671"/>
                <a:gd name="connsiteX2666" fmla="*/ 2669632 w 3760754"/>
                <a:gd name="connsiteY2666" fmla="*/ 1435671 h 1435671"/>
                <a:gd name="connsiteX2667" fmla="*/ 2705942 w 3760754"/>
                <a:gd name="connsiteY2667" fmla="*/ 1435671 h 1435671"/>
                <a:gd name="connsiteX2668" fmla="*/ 2710331 w 3760754"/>
                <a:gd name="connsiteY2668" fmla="*/ 1431396 h 1435671"/>
                <a:gd name="connsiteX2669" fmla="*/ 2710331 w 3760754"/>
                <a:gd name="connsiteY2669" fmla="*/ 1397578 h 1435671"/>
                <a:gd name="connsiteX2670" fmla="*/ 2705942 w 3760754"/>
                <a:gd name="connsiteY2670" fmla="*/ 1393303 h 1435671"/>
                <a:gd name="connsiteX2671" fmla="*/ 2705375 w 3760754"/>
                <a:gd name="connsiteY2671" fmla="*/ 1393303 h 1435671"/>
                <a:gd name="connsiteX2672" fmla="*/ 2704978 w 3760754"/>
                <a:gd name="connsiteY2672" fmla="*/ 1393303 h 1435671"/>
                <a:gd name="connsiteX2673" fmla="*/ 2704651 w 3760754"/>
                <a:gd name="connsiteY2673" fmla="*/ 1390067 h 1435671"/>
                <a:gd name="connsiteX2674" fmla="*/ 2687787 w 3760754"/>
                <a:gd name="connsiteY2674" fmla="*/ 1376322 h 1435671"/>
                <a:gd name="connsiteX2675" fmla="*/ 2810153 w 3760754"/>
                <a:gd name="connsiteY2675" fmla="*/ 1376322 h 1435671"/>
                <a:gd name="connsiteX2676" fmla="*/ 2793289 w 3760754"/>
                <a:gd name="connsiteY2676" fmla="*/ 1390067 h 1435671"/>
                <a:gd name="connsiteX2677" fmla="*/ 2792963 w 3760754"/>
                <a:gd name="connsiteY2677" fmla="*/ 1393303 h 1435671"/>
                <a:gd name="connsiteX2678" fmla="*/ 2791996 w 3760754"/>
                <a:gd name="connsiteY2678" fmla="*/ 1393303 h 1435671"/>
                <a:gd name="connsiteX2679" fmla="*/ 2787609 w 3760754"/>
                <a:gd name="connsiteY2679" fmla="*/ 1397578 h 1435671"/>
                <a:gd name="connsiteX2680" fmla="*/ 2787609 w 3760754"/>
                <a:gd name="connsiteY2680" fmla="*/ 1431396 h 1435671"/>
                <a:gd name="connsiteX2681" fmla="*/ 2791996 w 3760754"/>
                <a:gd name="connsiteY2681" fmla="*/ 1435671 h 1435671"/>
                <a:gd name="connsiteX2682" fmla="*/ 2828309 w 3760754"/>
                <a:gd name="connsiteY2682" fmla="*/ 1435671 h 1435671"/>
                <a:gd name="connsiteX2683" fmla="*/ 2832697 w 3760754"/>
                <a:gd name="connsiteY2683" fmla="*/ 1431396 h 1435671"/>
                <a:gd name="connsiteX2684" fmla="*/ 2832697 w 3760754"/>
                <a:gd name="connsiteY2684" fmla="*/ 1397578 h 1435671"/>
                <a:gd name="connsiteX2685" fmla="*/ 2828309 w 3760754"/>
                <a:gd name="connsiteY2685" fmla="*/ 1393303 h 1435671"/>
                <a:gd name="connsiteX2686" fmla="*/ 2827741 w 3760754"/>
                <a:gd name="connsiteY2686" fmla="*/ 1393303 h 1435671"/>
                <a:gd name="connsiteX2687" fmla="*/ 2827343 w 3760754"/>
                <a:gd name="connsiteY2687" fmla="*/ 1393303 h 1435671"/>
                <a:gd name="connsiteX2688" fmla="*/ 2827016 w 3760754"/>
                <a:gd name="connsiteY2688" fmla="*/ 1390067 h 1435671"/>
                <a:gd name="connsiteX2689" fmla="*/ 2810153 w 3760754"/>
                <a:gd name="connsiteY2689" fmla="*/ 1376322 h 1435671"/>
                <a:gd name="connsiteX2690" fmla="*/ 3330376 w 3760754"/>
                <a:gd name="connsiteY2690" fmla="*/ 1376322 h 1435671"/>
                <a:gd name="connsiteX2691" fmla="*/ 3313512 w 3760754"/>
                <a:gd name="connsiteY2691" fmla="*/ 1390067 h 1435671"/>
                <a:gd name="connsiteX2692" fmla="*/ 3313186 w 3760754"/>
                <a:gd name="connsiteY2692" fmla="*/ 1393303 h 1435671"/>
                <a:gd name="connsiteX2693" fmla="*/ 3312221 w 3760754"/>
                <a:gd name="connsiteY2693" fmla="*/ 1393303 h 1435671"/>
                <a:gd name="connsiteX2694" fmla="*/ 3307832 w 3760754"/>
                <a:gd name="connsiteY2694" fmla="*/ 1397578 h 1435671"/>
                <a:gd name="connsiteX2695" fmla="*/ 3307832 w 3760754"/>
                <a:gd name="connsiteY2695" fmla="*/ 1431396 h 1435671"/>
                <a:gd name="connsiteX2696" fmla="*/ 3312221 w 3760754"/>
                <a:gd name="connsiteY2696" fmla="*/ 1435671 h 1435671"/>
                <a:gd name="connsiteX2697" fmla="*/ 3348531 w 3760754"/>
                <a:gd name="connsiteY2697" fmla="*/ 1435671 h 1435671"/>
                <a:gd name="connsiteX2698" fmla="*/ 3352920 w 3760754"/>
                <a:gd name="connsiteY2698" fmla="*/ 1431396 h 1435671"/>
                <a:gd name="connsiteX2699" fmla="*/ 3352920 w 3760754"/>
                <a:gd name="connsiteY2699" fmla="*/ 1397578 h 1435671"/>
                <a:gd name="connsiteX2700" fmla="*/ 3348531 w 3760754"/>
                <a:gd name="connsiteY2700" fmla="*/ 1393303 h 1435671"/>
                <a:gd name="connsiteX2701" fmla="*/ 3347964 w 3760754"/>
                <a:gd name="connsiteY2701" fmla="*/ 1393303 h 1435671"/>
                <a:gd name="connsiteX2702" fmla="*/ 3347566 w 3760754"/>
                <a:gd name="connsiteY2702" fmla="*/ 1393303 h 1435671"/>
                <a:gd name="connsiteX2703" fmla="*/ 3347240 w 3760754"/>
                <a:gd name="connsiteY2703" fmla="*/ 1390067 h 1435671"/>
                <a:gd name="connsiteX2704" fmla="*/ 3330376 w 3760754"/>
                <a:gd name="connsiteY2704" fmla="*/ 1376322 h 1435671"/>
                <a:gd name="connsiteX2705" fmla="*/ 3442543 w 3760754"/>
                <a:gd name="connsiteY2705" fmla="*/ 1376322 h 1435671"/>
                <a:gd name="connsiteX2706" fmla="*/ 3425679 w 3760754"/>
                <a:gd name="connsiteY2706" fmla="*/ 1390067 h 1435671"/>
                <a:gd name="connsiteX2707" fmla="*/ 3425353 w 3760754"/>
                <a:gd name="connsiteY2707" fmla="*/ 1393303 h 1435671"/>
                <a:gd name="connsiteX2708" fmla="*/ 3424388 w 3760754"/>
                <a:gd name="connsiteY2708" fmla="*/ 1393303 h 1435671"/>
                <a:gd name="connsiteX2709" fmla="*/ 3419999 w 3760754"/>
                <a:gd name="connsiteY2709" fmla="*/ 1397578 h 1435671"/>
                <a:gd name="connsiteX2710" fmla="*/ 3419999 w 3760754"/>
                <a:gd name="connsiteY2710" fmla="*/ 1431396 h 1435671"/>
                <a:gd name="connsiteX2711" fmla="*/ 3424388 w 3760754"/>
                <a:gd name="connsiteY2711" fmla="*/ 1435671 h 1435671"/>
                <a:gd name="connsiteX2712" fmla="*/ 3460698 w 3760754"/>
                <a:gd name="connsiteY2712" fmla="*/ 1435671 h 1435671"/>
                <a:gd name="connsiteX2713" fmla="*/ 3465087 w 3760754"/>
                <a:gd name="connsiteY2713" fmla="*/ 1431396 h 1435671"/>
                <a:gd name="connsiteX2714" fmla="*/ 3465087 w 3760754"/>
                <a:gd name="connsiteY2714" fmla="*/ 1397578 h 1435671"/>
                <a:gd name="connsiteX2715" fmla="*/ 3460698 w 3760754"/>
                <a:gd name="connsiteY2715" fmla="*/ 1393303 h 1435671"/>
                <a:gd name="connsiteX2716" fmla="*/ 3460131 w 3760754"/>
                <a:gd name="connsiteY2716" fmla="*/ 1393303 h 1435671"/>
                <a:gd name="connsiteX2717" fmla="*/ 3459733 w 3760754"/>
                <a:gd name="connsiteY2717" fmla="*/ 1393303 h 1435671"/>
                <a:gd name="connsiteX2718" fmla="*/ 3459407 w 3760754"/>
                <a:gd name="connsiteY2718" fmla="*/ 1390067 h 1435671"/>
                <a:gd name="connsiteX2719" fmla="*/ 3442543 w 3760754"/>
                <a:gd name="connsiteY2719" fmla="*/ 1376322 h 1435671"/>
                <a:gd name="connsiteX2720" fmla="*/ 3503701 w 3760754"/>
                <a:gd name="connsiteY2720" fmla="*/ 1376322 h 1435671"/>
                <a:gd name="connsiteX2721" fmla="*/ 3486837 w 3760754"/>
                <a:gd name="connsiteY2721" fmla="*/ 1390067 h 1435671"/>
                <a:gd name="connsiteX2722" fmla="*/ 3486511 w 3760754"/>
                <a:gd name="connsiteY2722" fmla="*/ 1393303 h 1435671"/>
                <a:gd name="connsiteX2723" fmla="*/ 3485546 w 3760754"/>
                <a:gd name="connsiteY2723" fmla="*/ 1393303 h 1435671"/>
                <a:gd name="connsiteX2724" fmla="*/ 3481157 w 3760754"/>
                <a:gd name="connsiteY2724" fmla="*/ 1397578 h 1435671"/>
                <a:gd name="connsiteX2725" fmla="*/ 3481157 w 3760754"/>
                <a:gd name="connsiteY2725" fmla="*/ 1431396 h 1435671"/>
                <a:gd name="connsiteX2726" fmla="*/ 3485546 w 3760754"/>
                <a:gd name="connsiteY2726" fmla="*/ 1435671 h 1435671"/>
                <a:gd name="connsiteX2727" fmla="*/ 3521856 w 3760754"/>
                <a:gd name="connsiteY2727" fmla="*/ 1435671 h 1435671"/>
                <a:gd name="connsiteX2728" fmla="*/ 3526245 w 3760754"/>
                <a:gd name="connsiteY2728" fmla="*/ 1431396 h 1435671"/>
                <a:gd name="connsiteX2729" fmla="*/ 3526245 w 3760754"/>
                <a:gd name="connsiteY2729" fmla="*/ 1397578 h 1435671"/>
                <a:gd name="connsiteX2730" fmla="*/ 3521856 w 3760754"/>
                <a:gd name="connsiteY2730" fmla="*/ 1393303 h 1435671"/>
                <a:gd name="connsiteX2731" fmla="*/ 3521289 w 3760754"/>
                <a:gd name="connsiteY2731" fmla="*/ 1393303 h 1435671"/>
                <a:gd name="connsiteX2732" fmla="*/ 3520891 w 3760754"/>
                <a:gd name="connsiteY2732" fmla="*/ 1393303 h 1435671"/>
                <a:gd name="connsiteX2733" fmla="*/ 3520565 w 3760754"/>
                <a:gd name="connsiteY2733" fmla="*/ 1390067 h 1435671"/>
                <a:gd name="connsiteX2734" fmla="*/ 3503701 w 3760754"/>
                <a:gd name="connsiteY2734" fmla="*/ 1376322 h 1435671"/>
                <a:gd name="connsiteX2735" fmla="*/ 3564859 w 3760754"/>
                <a:gd name="connsiteY2735" fmla="*/ 1376322 h 1435671"/>
                <a:gd name="connsiteX2736" fmla="*/ 3547995 w 3760754"/>
                <a:gd name="connsiteY2736" fmla="*/ 1390067 h 1435671"/>
                <a:gd name="connsiteX2737" fmla="*/ 3547669 w 3760754"/>
                <a:gd name="connsiteY2737" fmla="*/ 1393303 h 1435671"/>
                <a:gd name="connsiteX2738" fmla="*/ 3546704 w 3760754"/>
                <a:gd name="connsiteY2738" fmla="*/ 1393303 h 1435671"/>
                <a:gd name="connsiteX2739" fmla="*/ 3542315 w 3760754"/>
                <a:gd name="connsiteY2739" fmla="*/ 1397578 h 1435671"/>
                <a:gd name="connsiteX2740" fmla="*/ 3542315 w 3760754"/>
                <a:gd name="connsiteY2740" fmla="*/ 1431396 h 1435671"/>
                <a:gd name="connsiteX2741" fmla="*/ 3546704 w 3760754"/>
                <a:gd name="connsiteY2741" fmla="*/ 1435671 h 1435671"/>
                <a:gd name="connsiteX2742" fmla="*/ 3583014 w 3760754"/>
                <a:gd name="connsiteY2742" fmla="*/ 1435671 h 1435671"/>
                <a:gd name="connsiteX2743" fmla="*/ 3587403 w 3760754"/>
                <a:gd name="connsiteY2743" fmla="*/ 1431396 h 1435671"/>
                <a:gd name="connsiteX2744" fmla="*/ 3587403 w 3760754"/>
                <a:gd name="connsiteY2744" fmla="*/ 1397578 h 1435671"/>
                <a:gd name="connsiteX2745" fmla="*/ 3583014 w 3760754"/>
                <a:gd name="connsiteY2745" fmla="*/ 1393303 h 1435671"/>
                <a:gd name="connsiteX2746" fmla="*/ 3582447 w 3760754"/>
                <a:gd name="connsiteY2746" fmla="*/ 1393303 h 1435671"/>
                <a:gd name="connsiteX2747" fmla="*/ 3582049 w 3760754"/>
                <a:gd name="connsiteY2747" fmla="*/ 1393303 h 1435671"/>
                <a:gd name="connsiteX2748" fmla="*/ 3581723 w 3760754"/>
                <a:gd name="connsiteY2748" fmla="*/ 1390067 h 1435671"/>
                <a:gd name="connsiteX2749" fmla="*/ 3564859 w 3760754"/>
                <a:gd name="connsiteY2749" fmla="*/ 1376322 h 1435671"/>
                <a:gd name="connsiteX2750" fmla="*/ 3626017 w 3760754"/>
                <a:gd name="connsiteY2750" fmla="*/ 1376322 h 1435671"/>
                <a:gd name="connsiteX2751" fmla="*/ 3609153 w 3760754"/>
                <a:gd name="connsiteY2751" fmla="*/ 1390067 h 1435671"/>
                <a:gd name="connsiteX2752" fmla="*/ 3608827 w 3760754"/>
                <a:gd name="connsiteY2752" fmla="*/ 1393303 h 1435671"/>
                <a:gd name="connsiteX2753" fmla="*/ 3607862 w 3760754"/>
                <a:gd name="connsiteY2753" fmla="*/ 1393303 h 1435671"/>
                <a:gd name="connsiteX2754" fmla="*/ 3603473 w 3760754"/>
                <a:gd name="connsiteY2754" fmla="*/ 1397578 h 1435671"/>
                <a:gd name="connsiteX2755" fmla="*/ 3603473 w 3760754"/>
                <a:gd name="connsiteY2755" fmla="*/ 1431396 h 1435671"/>
                <a:gd name="connsiteX2756" fmla="*/ 3607862 w 3760754"/>
                <a:gd name="connsiteY2756" fmla="*/ 1435671 h 1435671"/>
                <a:gd name="connsiteX2757" fmla="*/ 3644172 w 3760754"/>
                <a:gd name="connsiteY2757" fmla="*/ 1435671 h 1435671"/>
                <a:gd name="connsiteX2758" fmla="*/ 3648561 w 3760754"/>
                <a:gd name="connsiteY2758" fmla="*/ 1431396 h 1435671"/>
                <a:gd name="connsiteX2759" fmla="*/ 3648561 w 3760754"/>
                <a:gd name="connsiteY2759" fmla="*/ 1397578 h 1435671"/>
                <a:gd name="connsiteX2760" fmla="*/ 3644172 w 3760754"/>
                <a:gd name="connsiteY2760" fmla="*/ 1393303 h 1435671"/>
                <a:gd name="connsiteX2761" fmla="*/ 3643605 w 3760754"/>
                <a:gd name="connsiteY2761" fmla="*/ 1393303 h 1435671"/>
                <a:gd name="connsiteX2762" fmla="*/ 3643207 w 3760754"/>
                <a:gd name="connsiteY2762" fmla="*/ 1393303 h 1435671"/>
                <a:gd name="connsiteX2763" fmla="*/ 3642881 w 3760754"/>
                <a:gd name="connsiteY2763" fmla="*/ 1390067 h 1435671"/>
                <a:gd name="connsiteX2764" fmla="*/ 3626017 w 3760754"/>
                <a:gd name="connsiteY2764" fmla="*/ 1376322 h 1435671"/>
                <a:gd name="connsiteX2765" fmla="*/ 22545 w 3760754"/>
                <a:gd name="connsiteY2765" fmla="*/ 1373355 h 1435671"/>
                <a:gd name="connsiteX2766" fmla="*/ 5680 w 3760754"/>
                <a:gd name="connsiteY2766" fmla="*/ 1387100 h 1435671"/>
                <a:gd name="connsiteX2767" fmla="*/ 5354 w 3760754"/>
                <a:gd name="connsiteY2767" fmla="*/ 1390336 h 1435671"/>
                <a:gd name="connsiteX2768" fmla="*/ 4389 w 3760754"/>
                <a:gd name="connsiteY2768" fmla="*/ 1390336 h 1435671"/>
                <a:gd name="connsiteX2769" fmla="*/ 0 w 3760754"/>
                <a:gd name="connsiteY2769" fmla="*/ 1394611 h 1435671"/>
                <a:gd name="connsiteX2770" fmla="*/ 0 w 3760754"/>
                <a:gd name="connsiteY2770" fmla="*/ 1428428 h 1435671"/>
                <a:gd name="connsiteX2771" fmla="*/ 4389 w 3760754"/>
                <a:gd name="connsiteY2771" fmla="*/ 1432704 h 1435671"/>
                <a:gd name="connsiteX2772" fmla="*/ 40700 w 3760754"/>
                <a:gd name="connsiteY2772" fmla="*/ 1432704 h 1435671"/>
                <a:gd name="connsiteX2773" fmla="*/ 45089 w 3760754"/>
                <a:gd name="connsiteY2773" fmla="*/ 1428428 h 1435671"/>
                <a:gd name="connsiteX2774" fmla="*/ 45089 w 3760754"/>
                <a:gd name="connsiteY2774" fmla="*/ 1394611 h 1435671"/>
                <a:gd name="connsiteX2775" fmla="*/ 40700 w 3760754"/>
                <a:gd name="connsiteY2775" fmla="*/ 1390336 h 1435671"/>
                <a:gd name="connsiteX2776" fmla="*/ 40132 w 3760754"/>
                <a:gd name="connsiteY2776" fmla="*/ 1390336 h 1435671"/>
                <a:gd name="connsiteX2777" fmla="*/ 39735 w 3760754"/>
                <a:gd name="connsiteY2777" fmla="*/ 1390336 h 1435671"/>
                <a:gd name="connsiteX2778" fmla="*/ 39408 w 3760754"/>
                <a:gd name="connsiteY2778" fmla="*/ 1387100 h 1435671"/>
                <a:gd name="connsiteX2779" fmla="*/ 22545 w 3760754"/>
                <a:gd name="connsiteY2779" fmla="*/ 1373355 h 1435671"/>
                <a:gd name="connsiteX2780" fmla="*/ 3738032 w 3760754"/>
                <a:gd name="connsiteY2780" fmla="*/ 1337662 h 1435671"/>
                <a:gd name="connsiteX2781" fmla="*/ 3744473 w 3760754"/>
                <a:gd name="connsiteY2781" fmla="*/ 1343970 h 1435671"/>
                <a:gd name="connsiteX2782" fmla="*/ 3741104 w 3760754"/>
                <a:gd name="connsiteY2782" fmla="*/ 1349518 h 1435671"/>
                <a:gd name="connsiteX2783" fmla="*/ 3741104 w 3760754"/>
                <a:gd name="connsiteY2783" fmla="*/ 1355227 h 1435671"/>
                <a:gd name="connsiteX2784" fmla="*/ 3738032 w 3760754"/>
                <a:gd name="connsiteY2784" fmla="*/ 1358236 h 1435671"/>
                <a:gd name="connsiteX2785" fmla="*/ 3734960 w 3760754"/>
                <a:gd name="connsiteY2785" fmla="*/ 1355227 h 1435671"/>
                <a:gd name="connsiteX2786" fmla="*/ 3734960 w 3760754"/>
                <a:gd name="connsiteY2786" fmla="*/ 1349518 h 1435671"/>
                <a:gd name="connsiteX2787" fmla="*/ 3731590 w 3760754"/>
                <a:gd name="connsiteY2787" fmla="*/ 1343970 h 1435671"/>
                <a:gd name="connsiteX2788" fmla="*/ 3738032 w 3760754"/>
                <a:gd name="connsiteY2788" fmla="*/ 1337662 h 1435671"/>
                <a:gd name="connsiteX2789" fmla="*/ 22366 w 3760754"/>
                <a:gd name="connsiteY2789" fmla="*/ 1335107 h 1435671"/>
                <a:gd name="connsiteX2790" fmla="*/ 28807 w 3760754"/>
                <a:gd name="connsiteY2790" fmla="*/ 1341414 h 1435671"/>
                <a:gd name="connsiteX2791" fmla="*/ 25438 w 3760754"/>
                <a:gd name="connsiteY2791" fmla="*/ 1346962 h 1435671"/>
                <a:gd name="connsiteX2792" fmla="*/ 25438 w 3760754"/>
                <a:gd name="connsiteY2792" fmla="*/ 1352672 h 1435671"/>
                <a:gd name="connsiteX2793" fmla="*/ 22366 w 3760754"/>
                <a:gd name="connsiteY2793" fmla="*/ 1355680 h 1435671"/>
                <a:gd name="connsiteX2794" fmla="*/ 19294 w 3760754"/>
                <a:gd name="connsiteY2794" fmla="*/ 1352672 h 1435671"/>
                <a:gd name="connsiteX2795" fmla="*/ 19294 w 3760754"/>
                <a:gd name="connsiteY2795" fmla="*/ 1346962 h 1435671"/>
                <a:gd name="connsiteX2796" fmla="*/ 15925 w 3760754"/>
                <a:gd name="connsiteY2796" fmla="*/ 1341414 h 1435671"/>
                <a:gd name="connsiteX2797" fmla="*/ 22366 w 3760754"/>
                <a:gd name="connsiteY2797" fmla="*/ 1335107 h 1435671"/>
                <a:gd name="connsiteX2798" fmla="*/ 3738210 w 3760754"/>
                <a:gd name="connsiteY2798" fmla="*/ 1311330 h 1435671"/>
                <a:gd name="connsiteX2799" fmla="*/ 3746141 w 3760754"/>
                <a:gd name="connsiteY2799" fmla="*/ 1316587 h 1435671"/>
                <a:gd name="connsiteX2800" fmla="*/ 3746770 w 3760754"/>
                <a:gd name="connsiteY2800" fmla="*/ 1319704 h 1435671"/>
                <a:gd name="connsiteX2801" fmla="*/ 3744566 w 3760754"/>
                <a:gd name="connsiteY2801" fmla="*/ 1319704 h 1435671"/>
                <a:gd name="connsiteX2802" fmla="*/ 3732040 w 3760754"/>
                <a:gd name="connsiteY2802" fmla="*/ 1319704 h 1435671"/>
                <a:gd name="connsiteX2803" fmla="*/ 3729650 w 3760754"/>
                <a:gd name="connsiteY2803" fmla="*/ 1319704 h 1435671"/>
                <a:gd name="connsiteX2804" fmla="*/ 3730280 w 3760754"/>
                <a:gd name="connsiteY2804" fmla="*/ 1316587 h 1435671"/>
                <a:gd name="connsiteX2805" fmla="*/ 3738210 w 3760754"/>
                <a:gd name="connsiteY2805" fmla="*/ 1311330 h 1435671"/>
                <a:gd name="connsiteX2806" fmla="*/ 22545 w 3760754"/>
                <a:gd name="connsiteY2806" fmla="*/ 1308774 h 1435671"/>
                <a:gd name="connsiteX2807" fmla="*/ 30475 w 3760754"/>
                <a:gd name="connsiteY2807" fmla="*/ 1314031 h 1435671"/>
                <a:gd name="connsiteX2808" fmla="*/ 31104 w 3760754"/>
                <a:gd name="connsiteY2808" fmla="*/ 1317148 h 1435671"/>
                <a:gd name="connsiteX2809" fmla="*/ 28900 w 3760754"/>
                <a:gd name="connsiteY2809" fmla="*/ 1317148 h 1435671"/>
                <a:gd name="connsiteX2810" fmla="*/ 16374 w 3760754"/>
                <a:gd name="connsiteY2810" fmla="*/ 1317148 h 1435671"/>
                <a:gd name="connsiteX2811" fmla="*/ 13984 w 3760754"/>
                <a:gd name="connsiteY2811" fmla="*/ 1317148 h 1435671"/>
                <a:gd name="connsiteX2812" fmla="*/ 14614 w 3760754"/>
                <a:gd name="connsiteY2812" fmla="*/ 1314031 h 1435671"/>
                <a:gd name="connsiteX2813" fmla="*/ 22545 w 3760754"/>
                <a:gd name="connsiteY2813" fmla="*/ 1308774 h 1435671"/>
                <a:gd name="connsiteX2814" fmla="*/ 3738210 w 3760754"/>
                <a:gd name="connsiteY2814" fmla="*/ 1302723 h 1435671"/>
                <a:gd name="connsiteX2815" fmla="*/ 3721346 w 3760754"/>
                <a:gd name="connsiteY2815" fmla="*/ 1316468 h 1435671"/>
                <a:gd name="connsiteX2816" fmla="*/ 3721020 w 3760754"/>
                <a:gd name="connsiteY2816" fmla="*/ 1319704 h 1435671"/>
                <a:gd name="connsiteX2817" fmla="*/ 3720055 w 3760754"/>
                <a:gd name="connsiteY2817" fmla="*/ 1319704 h 1435671"/>
                <a:gd name="connsiteX2818" fmla="*/ 3715666 w 3760754"/>
                <a:gd name="connsiteY2818" fmla="*/ 1323979 h 1435671"/>
                <a:gd name="connsiteX2819" fmla="*/ 3715666 w 3760754"/>
                <a:gd name="connsiteY2819" fmla="*/ 1357796 h 1435671"/>
                <a:gd name="connsiteX2820" fmla="*/ 3720055 w 3760754"/>
                <a:gd name="connsiteY2820" fmla="*/ 1362072 h 1435671"/>
                <a:gd name="connsiteX2821" fmla="*/ 3756365 w 3760754"/>
                <a:gd name="connsiteY2821" fmla="*/ 1362072 h 1435671"/>
                <a:gd name="connsiteX2822" fmla="*/ 3760754 w 3760754"/>
                <a:gd name="connsiteY2822" fmla="*/ 1357796 h 1435671"/>
                <a:gd name="connsiteX2823" fmla="*/ 3760754 w 3760754"/>
                <a:gd name="connsiteY2823" fmla="*/ 1323979 h 1435671"/>
                <a:gd name="connsiteX2824" fmla="*/ 3756365 w 3760754"/>
                <a:gd name="connsiteY2824" fmla="*/ 1319704 h 1435671"/>
                <a:gd name="connsiteX2825" fmla="*/ 3755798 w 3760754"/>
                <a:gd name="connsiteY2825" fmla="*/ 1319704 h 1435671"/>
                <a:gd name="connsiteX2826" fmla="*/ 3755400 w 3760754"/>
                <a:gd name="connsiteY2826" fmla="*/ 1319704 h 1435671"/>
                <a:gd name="connsiteX2827" fmla="*/ 3755074 w 3760754"/>
                <a:gd name="connsiteY2827" fmla="*/ 1316468 h 1435671"/>
                <a:gd name="connsiteX2828" fmla="*/ 3738210 w 3760754"/>
                <a:gd name="connsiteY2828" fmla="*/ 1302723 h 1435671"/>
                <a:gd name="connsiteX2829" fmla="*/ 22545 w 3760754"/>
                <a:gd name="connsiteY2829" fmla="*/ 1300167 h 1435671"/>
                <a:gd name="connsiteX2830" fmla="*/ 5680 w 3760754"/>
                <a:gd name="connsiteY2830" fmla="*/ 1313912 h 1435671"/>
                <a:gd name="connsiteX2831" fmla="*/ 5354 w 3760754"/>
                <a:gd name="connsiteY2831" fmla="*/ 1317148 h 1435671"/>
                <a:gd name="connsiteX2832" fmla="*/ 4389 w 3760754"/>
                <a:gd name="connsiteY2832" fmla="*/ 1317148 h 1435671"/>
                <a:gd name="connsiteX2833" fmla="*/ 0 w 3760754"/>
                <a:gd name="connsiteY2833" fmla="*/ 1321423 h 1435671"/>
                <a:gd name="connsiteX2834" fmla="*/ 0 w 3760754"/>
                <a:gd name="connsiteY2834" fmla="*/ 1355240 h 1435671"/>
                <a:gd name="connsiteX2835" fmla="*/ 4389 w 3760754"/>
                <a:gd name="connsiteY2835" fmla="*/ 1359516 h 1435671"/>
                <a:gd name="connsiteX2836" fmla="*/ 40700 w 3760754"/>
                <a:gd name="connsiteY2836" fmla="*/ 1359516 h 1435671"/>
                <a:gd name="connsiteX2837" fmla="*/ 45089 w 3760754"/>
                <a:gd name="connsiteY2837" fmla="*/ 1355240 h 1435671"/>
                <a:gd name="connsiteX2838" fmla="*/ 45089 w 3760754"/>
                <a:gd name="connsiteY2838" fmla="*/ 1321423 h 1435671"/>
                <a:gd name="connsiteX2839" fmla="*/ 40700 w 3760754"/>
                <a:gd name="connsiteY2839" fmla="*/ 1317148 h 1435671"/>
                <a:gd name="connsiteX2840" fmla="*/ 40132 w 3760754"/>
                <a:gd name="connsiteY2840" fmla="*/ 1317148 h 1435671"/>
                <a:gd name="connsiteX2841" fmla="*/ 39735 w 3760754"/>
                <a:gd name="connsiteY2841" fmla="*/ 1317148 h 1435671"/>
                <a:gd name="connsiteX2842" fmla="*/ 39408 w 3760754"/>
                <a:gd name="connsiteY2842" fmla="*/ 1313912 h 1435671"/>
                <a:gd name="connsiteX2843" fmla="*/ 22545 w 3760754"/>
                <a:gd name="connsiteY2843" fmla="*/ 1300167 h 1435671"/>
                <a:gd name="connsiteX2844" fmla="*/ 3738032 w 3760754"/>
                <a:gd name="connsiteY2844" fmla="*/ 1259178 h 1435671"/>
                <a:gd name="connsiteX2845" fmla="*/ 3744473 w 3760754"/>
                <a:gd name="connsiteY2845" fmla="*/ 1265485 h 1435671"/>
                <a:gd name="connsiteX2846" fmla="*/ 3741104 w 3760754"/>
                <a:gd name="connsiteY2846" fmla="*/ 1271033 h 1435671"/>
                <a:gd name="connsiteX2847" fmla="*/ 3741104 w 3760754"/>
                <a:gd name="connsiteY2847" fmla="*/ 1276743 h 1435671"/>
                <a:gd name="connsiteX2848" fmla="*/ 3738032 w 3760754"/>
                <a:gd name="connsiteY2848" fmla="*/ 1279751 h 1435671"/>
                <a:gd name="connsiteX2849" fmla="*/ 3734960 w 3760754"/>
                <a:gd name="connsiteY2849" fmla="*/ 1276743 h 1435671"/>
                <a:gd name="connsiteX2850" fmla="*/ 3734960 w 3760754"/>
                <a:gd name="connsiteY2850" fmla="*/ 1271033 h 1435671"/>
                <a:gd name="connsiteX2851" fmla="*/ 3731590 w 3760754"/>
                <a:gd name="connsiteY2851" fmla="*/ 1265485 h 1435671"/>
                <a:gd name="connsiteX2852" fmla="*/ 3738032 w 3760754"/>
                <a:gd name="connsiteY2852" fmla="*/ 1259178 h 1435671"/>
                <a:gd name="connsiteX2853" fmla="*/ 23924 w 3760754"/>
                <a:gd name="connsiteY2853" fmla="*/ 1235587 h 1435671"/>
                <a:gd name="connsiteX2854" fmla="*/ 21165 w 3760754"/>
                <a:gd name="connsiteY2854" fmla="*/ 1235587 h 1435671"/>
                <a:gd name="connsiteX2855" fmla="*/ 18039 w 3760754"/>
                <a:gd name="connsiteY2855" fmla="*/ 1237242 h 1435671"/>
                <a:gd name="connsiteX2856" fmla="*/ 16568 w 3760754"/>
                <a:gd name="connsiteY2856" fmla="*/ 1241471 h 1435671"/>
                <a:gd name="connsiteX2857" fmla="*/ 16568 w 3760754"/>
                <a:gd name="connsiteY2857" fmla="*/ 1241839 h 1435671"/>
                <a:gd name="connsiteX2858" fmla="*/ 16568 w 3760754"/>
                <a:gd name="connsiteY2858" fmla="*/ 1277882 h 1435671"/>
                <a:gd name="connsiteX2859" fmla="*/ 16200 w 3760754"/>
                <a:gd name="connsiteY2859" fmla="*/ 1278250 h 1435671"/>
                <a:gd name="connsiteX2860" fmla="*/ 11235 w 3760754"/>
                <a:gd name="connsiteY2860" fmla="*/ 1278250 h 1435671"/>
                <a:gd name="connsiteX2861" fmla="*/ 8477 w 3760754"/>
                <a:gd name="connsiteY2861" fmla="*/ 1278986 h 1435671"/>
                <a:gd name="connsiteX2862" fmla="*/ 5902 w 3760754"/>
                <a:gd name="connsiteY2862" fmla="*/ 1283583 h 1435671"/>
                <a:gd name="connsiteX2863" fmla="*/ 7741 w 3760754"/>
                <a:gd name="connsiteY2863" fmla="*/ 1287444 h 1435671"/>
                <a:gd name="connsiteX2864" fmla="*/ 10499 w 3760754"/>
                <a:gd name="connsiteY2864" fmla="*/ 1288732 h 1435671"/>
                <a:gd name="connsiteX2865" fmla="*/ 10683 w 3760754"/>
                <a:gd name="connsiteY2865" fmla="*/ 1288732 h 1435671"/>
                <a:gd name="connsiteX2866" fmla="*/ 10867 w 3760754"/>
                <a:gd name="connsiteY2866" fmla="*/ 1288732 h 1435671"/>
                <a:gd name="connsiteX2867" fmla="*/ 11235 w 3760754"/>
                <a:gd name="connsiteY2867" fmla="*/ 1288732 h 1435671"/>
                <a:gd name="connsiteX2868" fmla="*/ 33118 w 3760754"/>
                <a:gd name="connsiteY2868" fmla="*/ 1288732 h 1435671"/>
                <a:gd name="connsiteX2869" fmla="*/ 33486 w 3760754"/>
                <a:gd name="connsiteY2869" fmla="*/ 1288732 h 1435671"/>
                <a:gd name="connsiteX2870" fmla="*/ 34038 w 3760754"/>
                <a:gd name="connsiteY2870" fmla="*/ 1288732 h 1435671"/>
                <a:gd name="connsiteX2871" fmla="*/ 34590 w 3760754"/>
                <a:gd name="connsiteY2871" fmla="*/ 1288548 h 1435671"/>
                <a:gd name="connsiteX2872" fmla="*/ 36980 w 3760754"/>
                <a:gd name="connsiteY2872" fmla="*/ 1287261 h 1435671"/>
                <a:gd name="connsiteX2873" fmla="*/ 38635 w 3760754"/>
                <a:gd name="connsiteY2873" fmla="*/ 1283399 h 1435671"/>
                <a:gd name="connsiteX2874" fmla="*/ 37164 w 3760754"/>
                <a:gd name="connsiteY2874" fmla="*/ 1279905 h 1435671"/>
                <a:gd name="connsiteX2875" fmla="*/ 33302 w 3760754"/>
                <a:gd name="connsiteY2875" fmla="*/ 1278250 h 1435671"/>
                <a:gd name="connsiteX2876" fmla="*/ 27969 w 3760754"/>
                <a:gd name="connsiteY2876" fmla="*/ 1278250 h 1435671"/>
                <a:gd name="connsiteX2877" fmla="*/ 27601 w 3760754"/>
                <a:gd name="connsiteY2877" fmla="*/ 1277882 h 1435671"/>
                <a:gd name="connsiteX2878" fmla="*/ 27601 w 3760754"/>
                <a:gd name="connsiteY2878" fmla="*/ 1246620 h 1435671"/>
                <a:gd name="connsiteX2879" fmla="*/ 27969 w 3760754"/>
                <a:gd name="connsiteY2879" fmla="*/ 1246252 h 1435671"/>
                <a:gd name="connsiteX2880" fmla="*/ 32015 w 3760754"/>
                <a:gd name="connsiteY2880" fmla="*/ 1246252 h 1435671"/>
                <a:gd name="connsiteX2881" fmla="*/ 36980 w 3760754"/>
                <a:gd name="connsiteY2881" fmla="*/ 1243126 h 1435671"/>
                <a:gd name="connsiteX2882" fmla="*/ 37164 w 3760754"/>
                <a:gd name="connsiteY2882" fmla="*/ 1239265 h 1435671"/>
                <a:gd name="connsiteX2883" fmla="*/ 32199 w 3760754"/>
                <a:gd name="connsiteY2883" fmla="*/ 1235771 h 1435671"/>
                <a:gd name="connsiteX2884" fmla="*/ 23924 w 3760754"/>
                <a:gd name="connsiteY2884" fmla="*/ 1235587 h 1435671"/>
                <a:gd name="connsiteX2885" fmla="*/ 3738210 w 3760754"/>
                <a:gd name="connsiteY2885" fmla="*/ 1232845 h 1435671"/>
                <a:gd name="connsiteX2886" fmla="*/ 3746141 w 3760754"/>
                <a:gd name="connsiteY2886" fmla="*/ 1238102 h 1435671"/>
                <a:gd name="connsiteX2887" fmla="*/ 3746770 w 3760754"/>
                <a:gd name="connsiteY2887" fmla="*/ 1241219 h 1435671"/>
                <a:gd name="connsiteX2888" fmla="*/ 3744566 w 3760754"/>
                <a:gd name="connsiteY2888" fmla="*/ 1241219 h 1435671"/>
                <a:gd name="connsiteX2889" fmla="*/ 3732040 w 3760754"/>
                <a:gd name="connsiteY2889" fmla="*/ 1241219 h 1435671"/>
                <a:gd name="connsiteX2890" fmla="*/ 3729650 w 3760754"/>
                <a:gd name="connsiteY2890" fmla="*/ 1241219 h 1435671"/>
                <a:gd name="connsiteX2891" fmla="*/ 3730280 w 3760754"/>
                <a:gd name="connsiteY2891" fmla="*/ 1238102 h 1435671"/>
                <a:gd name="connsiteX2892" fmla="*/ 3738210 w 3760754"/>
                <a:gd name="connsiteY2892" fmla="*/ 1232845 h 1435671"/>
                <a:gd name="connsiteX2893" fmla="*/ 3738210 w 3760754"/>
                <a:gd name="connsiteY2893" fmla="*/ 1224238 h 1435671"/>
                <a:gd name="connsiteX2894" fmla="*/ 3721346 w 3760754"/>
                <a:gd name="connsiteY2894" fmla="*/ 1237983 h 1435671"/>
                <a:gd name="connsiteX2895" fmla="*/ 3721020 w 3760754"/>
                <a:gd name="connsiteY2895" fmla="*/ 1241219 h 1435671"/>
                <a:gd name="connsiteX2896" fmla="*/ 3720055 w 3760754"/>
                <a:gd name="connsiteY2896" fmla="*/ 1241219 h 1435671"/>
                <a:gd name="connsiteX2897" fmla="*/ 3715666 w 3760754"/>
                <a:gd name="connsiteY2897" fmla="*/ 1245494 h 1435671"/>
                <a:gd name="connsiteX2898" fmla="*/ 3715666 w 3760754"/>
                <a:gd name="connsiteY2898" fmla="*/ 1279311 h 1435671"/>
                <a:gd name="connsiteX2899" fmla="*/ 3720055 w 3760754"/>
                <a:gd name="connsiteY2899" fmla="*/ 1283587 h 1435671"/>
                <a:gd name="connsiteX2900" fmla="*/ 3756365 w 3760754"/>
                <a:gd name="connsiteY2900" fmla="*/ 1283587 h 1435671"/>
                <a:gd name="connsiteX2901" fmla="*/ 3760754 w 3760754"/>
                <a:gd name="connsiteY2901" fmla="*/ 1279311 h 1435671"/>
                <a:gd name="connsiteX2902" fmla="*/ 3760754 w 3760754"/>
                <a:gd name="connsiteY2902" fmla="*/ 1245494 h 1435671"/>
                <a:gd name="connsiteX2903" fmla="*/ 3756365 w 3760754"/>
                <a:gd name="connsiteY2903" fmla="*/ 1241219 h 1435671"/>
                <a:gd name="connsiteX2904" fmla="*/ 3755798 w 3760754"/>
                <a:gd name="connsiteY2904" fmla="*/ 1241219 h 1435671"/>
                <a:gd name="connsiteX2905" fmla="*/ 3755400 w 3760754"/>
                <a:gd name="connsiteY2905" fmla="*/ 1241219 h 1435671"/>
                <a:gd name="connsiteX2906" fmla="*/ 3755074 w 3760754"/>
                <a:gd name="connsiteY2906" fmla="*/ 1237983 h 1435671"/>
                <a:gd name="connsiteX2907" fmla="*/ 3738210 w 3760754"/>
                <a:gd name="connsiteY2907" fmla="*/ 1224238 h 1435671"/>
                <a:gd name="connsiteX2908" fmla="*/ 22366 w 3760754"/>
                <a:gd name="connsiteY2908" fmla="*/ 1198843 h 1435671"/>
                <a:gd name="connsiteX2909" fmla="*/ 28807 w 3760754"/>
                <a:gd name="connsiteY2909" fmla="*/ 1205151 h 1435671"/>
                <a:gd name="connsiteX2910" fmla="*/ 25438 w 3760754"/>
                <a:gd name="connsiteY2910" fmla="*/ 1210699 h 1435671"/>
                <a:gd name="connsiteX2911" fmla="*/ 25438 w 3760754"/>
                <a:gd name="connsiteY2911" fmla="*/ 1216408 h 1435671"/>
                <a:gd name="connsiteX2912" fmla="*/ 22366 w 3760754"/>
                <a:gd name="connsiteY2912" fmla="*/ 1219416 h 1435671"/>
                <a:gd name="connsiteX2913" fmla="*/ 19294 w 3760754"/>
                <a:gd name="connsiteY2913" fmla="*/ 1216408 h 1435671"/>
                <a:gd name="connsiteX2914" fmla="*/ 19294 w 3760754"/>
                <a:gd name="connsiteY2914" fmla="*/ 1210699 h 1435671"/>
                <a:gd name="connsiteX2915" fmla="*/ 15925 w 3760754"/>
                <a:gd name="connsiteY2915" fmla="*/ 1205151 h 1435671"/>
                <a:gd name="connsiteX2916" fmla="*/ 22366 w 3760754"/>
                <a:gd name="connsiteY2916" fmla="*/ 1198843 h 1435671"/>
                <a:gd name="connsiteX2917" fmla="*/ 3738032 w 3760754"/>
                <a:gd name="connsiteY2917" fmla="*/ 1180692 h 1435671"/>
                <a:gd name="connsiteX2918" fmla="*/ 3744473 w 3760754"/>
                <a:gd name="connsiteY2918" fmla="*/ 1186999 h 1435671"/>
                <a:gd name="connsiteX2919" fmla="*/ 3741104 w 3760754"/>
                <a:gd name="connsiteY2919" fmla="*/ 1192547 h 1435671"/>
                <a:gd name="connsiteX2920" fmla="*/ 3741104 w 3760754"/>
                <a:gd name="connsiteY2920" fmla="*/ 1198257 h 1435671"/>
                <a:gd name="connsiteX2921" fmla="*/ 3738032 w 3760754"/>
                <a:gd name="connsiteY2921" fmla="*/ 1201265 h 1435671"/>
                <a:gd name="connsiteX2922" fmla="*/ 3734960 w 3760754"/>
                <a:gd name="connsiteY2922" fmla="*/ 1198257 h 1435671"/>
                <a:gd name="connsiteX2923" fmla="*/ 3734960 w 3760754"/>
                <a:gd name="connsiteY2923" fmla="*/ 1192547 h 1435671"/>
                <a:gd name="connsiteX2924" fmla="*/ 3731590 w 3760754"/>
                <a:gd name="connsiteY2924" fmla="*/ 1186999 h 1435671"/>
                <a:gd name="connsiteX2925" fmla="*/ 3738032 w 3760754"/>
                <a:gd name="connsiteY2925" fmla="*/ 1180692 h 1435671"/>
                <a:gd name="connsiteX2926" fmla="*/ 22545 w 3760754"/>
                <a:gd name="connsiteY2926" fmla="*/ 1172511 h 1435671"/>
                <a:gd name="connsiteX2927" fmla="*/ 30475 w 3760754"/>
                <a:gd name="connsiteY2927" fmla="*/ 1177767 h 1435671"/>
                <a:gd name="connsiteX2928" fmla="*/ 31104 w 3760754"/>
                <a:gd name="connsiteY2928" fmla="*/ 1180884 h 1435671"/>
                <a:gd name="connsiteX2929" fmla="*/ 28900 w 3760754"/>
                <a:gd name="connsiteY2929" fmla="*/ 1180884 h 1435671"/>
                <a:gd name="connsiteX2930" fmla="*/ 16374 w 3760754"/>
                <a:gd name="connsiteY2930" fmla="*/ 1180884 h 1435671"/>
                <a:gd name="connsiteX2931" fmla="*/ 13984 w 3760754"/>
                <a:gd name="connsiteY2931" fmla="*/ 1180884 h 1435671"/>
                <a:gd name="connsiteX2932" fmla="*/ 14614 w 3760754"/>
                <a:gd name="connsiteY2932" fmla="*/ 1177767 h 1435671"/>
                <a:gd name="connsiteX2933" fmla="*/ 22545 w 3760754"/>
                <a:gd name="connsiteY2933" fmla="*/ 1172511 h 1435671"/>
                <a:gd name="connsiteX2934" fmla="*/ 22545 w 3760754"/>
                <a:gd name="connsiteY2934" fmla="*/ 1163904 h 1435671"/>
                <a:gd name="connsiteX2935" fmla="*/ 5680 w 3760754"/>
                <a:gd name="connsiteY2935" fmla="*/ 1177648 h 1435671"/>
                <a:gd name="connsiteX2936" fmla="*/ 5354 w 3760754"/>
                <a:gd name="connsiteY2936" fmla="*/ 1180884 h 1435671"/>
                <a:gd name="connsiteX2937" fmla="*/ 4389 w 3760754"/>
                <a:gd name="connsiteY2937" fmla="*/ 1180884 h 1435671"/>
                <a:gd name="connsiteX2938" fmla="*/ 0 w 3760754"/>
                <a:gd name="connsiteY2938" fmla="*/ 1185160 h 1435671"/>
                <a:gd name="connsiteX2939" fmla="*/ 0 w 3760754"/>
                <a:gd name="connsiteY2939" fmla="*/ 1218977 h 1435671"/>
                <a:gd name="connsiteX2940" fmla="*/ 4389 w 3760754"/>
                <a:gd name="connsiteY2940" fmla="*/ 1223252 h 1435671"/>
                <a:gd name="connsiteX2941" fmla="*/ 40700 w 3760754"/>
                <a:gd name="connsiteY2941" fmla="*/ 1223252 h 1435671"/>
                <a:gd name="connsiteX2942" fmla="*/ 45089 w 3760754"/>
                <a:gd name="connsiteY2942" fmla="*/ 1218977 h 1435671"/>
                <a:gd name="connsiteX2943" fmla="*/ 45089 w 3760754"/>
                <a:gd name="connsiteY2943" fmla="*/ 1185160 h 1435671"/>
                <a:gd name="connsiteX2944" fmla="*/ 40700 w 3760754"/>
                <a:gd name="connsiteY2944" fmla="*/ 1180884 h 1435671"/>
                <a:gd name="connsiteX2945" fmla="*/ 40132 w 3760754"/>
                <a:gd name="connsiteY2945" fmla="*/ 1180884 h 1435671"/>
                <a:gd name="connsiteX2946" fmla="*/ 39735 w 3760754"/>
                <a:gd name="connsiteY2946" fmla="*/ 1180884 h 1435671"/>
                <a:gd name="connsiteX2947" fmla="*/ 39408 w 3760754"/>
                <a:gd name="connsiteY2947" fmla="*/ 1177648 h 1435671"/>
                <a:gd name="connsiteX2948" fmla="*/ 22545 w 3760754"/>
                <a:gd name="connsiteY2948" fmla="*/ 1163904 h 1435671"/>
                <a:gd name="connsiteX2949" fmla="*/ 3738210 w 3760754"/>
                <a:gd name="connsiteY2949" fmla="*/ 1154359 h 1435671"/>
                <a:gd name="connsiteX2950" fmla="*/ 3746141 w 3760754"/>
                <a:gd name="connsiteY2950" fmla="*/ 1159616 h 1435671"/>
                <a:gd name="connsiteX2951" fmla="*/ 3746770 w 3760754"/>
                <a:gd name="connsiteY2951" fmla="*/ 1162733 h 1435671"/>
                <a:gd name="connsiteX2952" fmla="*/ 3744566 w 3760754"/>
                <a:gd name="connsiteY2952" fmla="*/ 1162733 h 1435671"/>
                <a:gd name="connsiteX2953" fmla="*/ 3732040 w 3760754"/>
                <a:gd name="connsiteY2953" fmla="*/ 1162733 h 1435671"/>
                <a:gd name="connsiteX2954" fmla="*/ 3729650 w 3760754"/>
                <a:gd name="connsiteY2954" fmla="*/ 1162733 h 1435671"/>
                <a:gd name="connsiteX2955" fmla="*/ 3730280 w 3760754"/>
                <a:gd name="connsiteY2955" fmla="*/ 1159616 h 1435671"/>
                <a:gd name="connsiteX2956" fmla="*/ 3738210 w 3760754"/>
                <a:gd name="connsiteY2956" fmla="*/ 1154359 h 1435671"/>
                <a:gd name="connsiteX2957" fmla="*/ 3738210 w 3760754"/>
                <a:gd name="connsiteY2957" fmla="*/ 1145752 h 1435671"/>
                <a:gd name="connsiteX2958" fmla="*/ 3721346 w 3760754"/>
                <a:gd name="connsiteY2958" fmla="*/ 1159497 h 1435671"/>
                <a:gd name="connsiteX2959" fmla="*/ 3721020 w 3760754"/>
                <a:gd name="connsiteY2959" fmla="*/ 1162733 h 1435671"/>
                <a:gd name="connsiteX2960" fmla="*/ 3720055 w 3760754"/>
                <a:gd name="connsiteY2960" fmla="*/ 1162733 h 1435671"/>
                <a:gd name="connsiteX2961" fmla="*/ 3715666 w 3760754"/>
                <a:gd name="connsiteY2961" fmla="*/ 1167008 h 1435671"/>
                <a:gd name="connsiteX2962" fmla="*/ 3715666 w 3760754"/>
                <a:gd name="connsiteY2962" fmla="*/ 1200826 h 1435671"/>
                <a:gd name="connsiteX2963" fmla="*/ 3720055 w 3760754"/>
                <a:gd name="connsiteY2963" fmla="*/ 1205101 h 1435671"/>
                <a:gd name="connsiteX2964" fmla="*/ 3756365 w 3760754"/>
                <a:gd name="connsiteY2964" fmla="*/ 1205101 h 1435671"/>
                <a:gd name="connsiteX2965" fmla="*/ 3760754 w 3760754"/>
                <a:gd name="connsiteY2965" fmla="*/ 1200826 h 1435671"/>
                <a:gd name="connsiteX2966" fmla="*/ 3760754 w 3760754"/>
                <a:gd name="connsiteY2966" fmla="*/ 1167008 h 1435671"/>
                <a:gd name="connsiteX2967" fmla="*/ 3756365 w 3760754"/>
                <a:gd name="connsiteY2967" fmla="*/ 1162733 h 1435671"/>
                <a:gd name="connsiteX2968" fmla="*/ 3755798 w 3760754"/>
                <a:gd name="connsiteY2968" fmla="*/ 1162733 h 1435671"/>
                <a:gd name="connsiteX2969" fmla="*/ 3755400 w 3760754"/>
                <a:gd name="connsiteY2969" fmla="*/ 1162733 h 1435671"/>
                <a:gd name="connsiteX2970" fmla="*/ 3755074 w 3760754"/>
                <a:gd name="connsiteY2970" fmla="*/ 1159497 h 1435671"/>
                <a:gd name="connsiteX2971" fmla="*/ 3738210 w 3760754"/>
                <a:gd name="connsiteY2971" fmla="*/ 1145752 h 1435671"/>
                <a:gd name="connsiteX2972" fmla="*/ 19786 w 3760754"/>
                <a:gd name="connsiteY2972" fmla="*/ 1110126 h 1435671"/>
                <a:gd name="connsiteX2973" fmla="*/ 27643 w 3760754"/>
                <a:gd name="connsiteY2973" fmla="*/ 1111781 h 1435671"/>
                <a:gd name="connsiteX2974" fmla="*/ 29816 w 3760754"/>
                <a:gd name="connsiteY2974" fmla="*/ 1114172 h 1435671"/>
                <a:gd name="connsiteX2975" fmla="*/ 31321 w 3760754"/>
                <a:gd name="connsiteY2975" fmla="*/ 1116746 h 1435671"/>
                <a:gd name="connsiteX2976" fmla="*/ 31989 w 3760754"/>
                <a:gd name="connsiteY2976" fmla="*/ 1118585 h 1435671"/>
                <a:gd name="connsiteX2977" fmla="*/ 32659 w 3760754"/>
                <a:gd name="connsiteY2977" fmla="*/ 1121344 h 1435671"/>
                <a:gd name="connsiteX2978" fmla="*/ 33327 w 3760754"/>
                <a:gd name="connsiteY2978" fmla="*/ 1126125 h 1435671"/>
                <a:gd name="connsiteX2979" fmla="*/ 32659 w 3760754"/>
                <a:gd name="connsiteY2979" fmla="*/ 1131090 h 1435671"/>
                <a:gd name="connsiteX2980" fmla="*/ 31822 w 3760754"/>
                <a:gd name="connsiteY2980" fmla="*/ 1133664 h 1435671"/>
                <a:gd name="connsiteX2981" fmla="*/ 30318 w 3760754"/>
                <a:gd name="connsiteY2981" fmla="*/ 1136607 h 1435671"/>
                <a:gd name="connsiteX2982" fmla="*/ 27977 w 3760754"/>
                <a:gd name="connsiteY2982" fmla="*/ 1139549 h 1435671"/>
                <a:gd name="connsiteX2983" fmla="*/ 24968 w 3760754"/>
                <a:gd name="connsiteY2983" fmla="*/ 1141388 h 1435671"/>
                <a:gd name="connsiteX2984" fmla="*/ 16609 w 3760754"/>
                <a:gd name="connsiteY2984" fmla="*/ 1139733 h 1435671"/>
                <a:gd name="connsiteX2985" fmla="*/ 14436 w 3760754"/>
                <a:gd name="connsiteY2985" fmla="*/ 1137342 h 1435671"/>
                <a:gd name="connsiteX2986" fmla="*/ 12764 w 3760754"/>
                <a:gd name="connsiteY2986" fmla="*/ 1134400 h 1435671"/>
                <a:gd name="connsiteX2987" fmla="*/ 12096 w 3760754"/>
                <a:gd name="connsiteY2987" fmla="*/ 1132929 h 1435671"/>
                <a:gd name="connsiteX2988" fmla="*/ 11260 w 3760754"/>
                <a:gd name="connsiteY2988" fmla="*/ 1129987 h 1435671"/>
                <a:gd name="connsiteX2989" fmla="*/ 11594 w 3760754"/>
                <a:gd name="connsiteY2989" fmla="*/ 1120608 h 1435671"/>
                <a:gd name="connsiteX2990" fmla="*/ 12263 w 3760754"/>
                <a:gd name="connsiteY2990" fmla="*/ 1118585 h 1435671"/>
                <a:gd name="connsiteX2991" fmla="*/ 13098 w 3760754"/>
                <a:gd name="connsiteY2991" fmla="*/ 1116562 h 1435671"/>
                <a:gd name="connsiteX2992" fmla="*/ 14603 w 3760754"/>
                <a:gd name="connsiteY2992" fmla="*/ 1114172 h 1435671"/>
                <a:gd name="connsiteX2993" fmla="*/ 17111 w 3760754"/>
                <a:gd name="connsiteY2993" fmla="*/ 1111598 h 1435671"/>
                <a:gd name="connsiteX2994" fmla="*/ 19786 w 3760754"/>
                <a:gd name="connsiteY2994" fmla="*/ 1110126 h 1435671"/>
                <a:gd name="connsiteX2995" fmla="*/ 3738032 w 3760754"/>
                <a:gd name="connsiteY2995" fmla="*/ 1102206 h 1435671"/>
                <a:gd name="connsiteX2996" fmla="*/ 3744473 w 3760754"/>
                <a:gd name="connsiteY2996" fmla="*/ 1108514 h 1435671"/>
                <a:gd name="connsiteX2997" fmla="*/ 3741104 w 3760754"/>
                <a:gd name="connsiteY2997" fmla="*/ 1114062 h 1435671"/>
                <a:gd name="connsiteX2998" fmla="*/ 3741104 w 3760754"/>
                <a:gd name="connsiteY2998" fmla="*/ 1119771 h 1435671"/>
                <a:gd name="connsiteX2999" fmla="*/ 3738032 w 3760754"/>
                <a:gd name="connsiteY2999" fmla="*/ 1122780 h 1435671"/>
                <a:gd name="connsiteX3000" fmla="*/ 3734960 w 3760754"/>
                <a:gd name="connsiteY3000" fmla="*/ 1119771 h 1435671"/>
                <a:gd name="connsiteX3001" fmla="*/ 3734960 w 3760754"/>
                <a:gd name="connsiteY3001" fmla="*/ 1114062 h 1435671"/>
                <a:gd name="connsiteX3002" fmla="*/ 3731590 w 3760754"/>
                <a:gd name="connsiteY3002" fmla="*/ 1108514 h 1435671"/>
                <a:gd name="connsiteX3003" fmla="*/ 3738032 w 3760754"/>
                <a:gd name="connsiteY3003" fmla="*/ 1102206 h 1435671"/>
                <a:gd name="connsiteX3004" fmla="*/ 23463 w 3760754"/>
                <a:gd name="connsiteY3004" fmla="*/ 1099276 h 1435671"/>
                <a:gd name="connsiteX3005" fmla="*/ 15105 w 3760754"/>
                <a:gd name="connsiteY3005" fmla="*/ 1100747 h 1435671"/>
                <a:gd name="connsiteX3006" fmla="*/ 10089 w 3760754"/>
                <a:gd name="connsiteY3006" fmla="*/ 1103874 h 1435671"/>
                <a:gd name="connsiteX3007" fmla="*/ 7749 w 3760754"/>
                <a:gd name="connsiteY3007" fmla="*/ 1106080 h 1435671"/>
                <a:gd name="connsiteX3008" fmla="*/ 5408 w 3760754"/>
                <a:gd name="connsiteY3008" fmla="*/ 1109023 h 1435671"/>
                <a:gd name="connsiteX3009" fmla="*/ 4071 w 3760754"/>
                <a:gd name="connsiteY3009" fmla="*/ 1111413 h 1435671"/>
                <a:gd name="connsiteX3010" fmla="*/ 2566 w 3760754"/>
                <a:gd name="connsiteY3010" fmla="*/ 1115091 h 1435671"/>
                <a:gd name="connsiteX3011" fmla="*/ 1898 w 3760754"/>
                <a:gd name="connsiteY3011" fmla="*/ 1117482 h 1435671"/>
                <a:gd name="connsiteX3012" fmla="*/ 1229 w 3760754"/>
                <a:gd name="connsiteY3012" fmla="*/ 1120976 h 1435671"/>
                <a:gd name="connsiteX3013" fmla="*/ 1396 w 3760754"/>
                <a:gd name="connsiteY3013" fmla="*/ 1130722 h 1435671"/>
                <a:gd name="connsiteX3014" fmla="*/ 2064 w 3760754"/>
                <a:gd name="connsiteY3014" fmla="*/ 1134032 h 1435671"/>
                <a:gd name="connsiteX3015" fmla="*/ 2901 w 3760754"/>
                <a:gd name="connsiteY3015" fmla="*/ 1136607 h 1435671"/>
                <a:gd name="connsiteX3016" fmla="*/ 3570 w 3760754"/>
                <a:gd name="connsiteY3016" fmla="*/ 1138262 h 1435671"/>
                <a:gd name="connsiteX3017" fmla="*/ 5074 w 3760754"/>
                <a:gd name="connsiteY3017" fmla="*/ 1141204 h 1435671"/>
                <a:gd name="connsiteX3018" fmla="*/ 6578 w 3760754"/>
                <a:gd name="connsiteY3018" fmla="*/ 1143411 h 1435671"/>
                <a:gd name="connsiteX3019" fmla="*/ 8919 w 3760754"/>
                <a:gd name="connsiteY3019" fmla="*/ 1145986 h 1435671"/>
                <a:gd name="connsiteX3020" fmla="*/ 11092 w 3760754"/>
                <a:gd name="connsiteY3020" fmla="*/ 1147824 h 1435671"/>
                <a:gd name="connsiteX3021" fmla="*/ 14937 w 3760754"/>
                <a:gd name="connsiteY3021" fmla="*/ 1150031 h 1435671"/>
                <a:gd name="connsiteX3022" fmla="*/ 20287 w 3760754"/>
                <a:gd name="connsiteY3022" fmla="*/ 1151502 h 1435671"/>
                <a:gd name="connsiteX3023" fmla="*/ 21123 w 3760754"/>
                <a:gd name="connsiteY3023" fmla="*/ 1151686 h 1435671"/>
                <a:gd name="connsiteX3024" fmla="*/ 23965 w 3760754"/>
                <a:gd name="connsiteY3024" fmla="*/ 1151686 h 1435671"/>
                <a:gd name="connsiteX3025" fmla="*/ 24132 w 3760754"/>
                <a:gd name="connsiteY3025" fmla="*/ 1151686 h 1435671"/>
                <a:gd name="connsiteX3026" fmla="*/ 32993 w 3760754"/>
                <a:gd name="connsiteY3026" fmla="*/ 1148376 h 1435671"/>
                <a:gd name="connsiteX3027" fmla="*/ 36169 w 3760754"/>
                <a:gd name="connsiteY3027" fmla="*/ 1145618 h 1435671"/>
                <a:gd name="connsiteX3028" fmla="*/ 38343 w 3760754"/>
                <a:gd name="connsiteY3028" fmla="*/ 1143043 h 1435671"/>
                <a:gd name="connsiteX3029" fmla="*/ 39847 w 3760754"/>
                <a:gd name="connsiteY3029" fmla="*/ 1140653 h 1435671"/>
                <a:gd name="connsiteX3030" fmla="*/ 41351 w 3760754"/>
                <a:gd name="connsiteY3030" fmla="*/ 1137710 h 1435671"/>
                <a:gd name="connsiteX3031" fmla="*/ 42187 w 3760754"/>
                <a:gd name="connsiteY3031" fmla="*/ 1135687 h 1435671"/>
                <a:gd name="connsiteX3032" fmla="*/ 42857 w 3760754"/>
                <a:gd name="connsiteY3032" fmla="*/ 1133481 h 1435671"/>
                <a:gd name="connsiteX3033" fmla="*/ 43692 w 3760754"/>
                <a:gd name="connsiteY3033" fmla="*/ 1129619 h 1435671"/>
                <a:gd name="connsiteX3034" fmla="*/ 43859 w 3760754"/>
                <a:gd name="connsiteY3034" fmla="*/ 1127596 h 1435671"/>
                <a:gd name="connsiteX3035" fmla="*/ 43692 w 3760754"/>
                <a:gd name="connsiteY3035" fmla="*/ 1127780 h 1435671"/>
                <a:gd name="connsiteX3036" fmla="*/ 43692 w 3760754"/>
                <a:gd name="connsiteY3036" fmla="*/ 1123918 h 1435671"/>
                <a:gd name="connsiteX3037" fmla="*/ 43692 w 3760754"/>
                <a:gd name="connsiteY3037" fmla="*/ 1123734 h 1435671"/>
                <a:gd name="connsiteX3038" fmla="*/ 43358 w 3760754"/>
                <a:gd name="connsiteY3038" fmla="*/ 1120608 h 1435671"/>
                <a:gd name="connsiteX3039" fmla="*/ 42522 w 3760754"/>
                <a:gd name="connsiteY3039" fmla="*/ 1116930 h 1435671"/>
                <a:gd name="connsiteX3040" fmla="*/ 41853 w 3760754"/>
                <a:gd name="connsiteY3040" fmla="*/ 1114723 h 1435671"/>
                <a:gd name="connsiteX3041" fmla="*/ 40349 w 3760754"/>
                <a:gd name="connsiteY3041" fmla="*/ 1111230 h 1435671"/>
                <a:gd name="connsiteX3042" fmla="*/ 38844 w 3760754"/>
                <a:gd name="connsiteY3042" fmla="*/ 1108655 h 1435671"/>
                <a:gd name="connsiteX3043" fmla="*/ 37339 w 3760754"/>
                <a:gd name="connsiteY3043" fmla="*/ 1106632 h 1435671"/>
                <a:gd name="connsiteX3044" fmla="*/ 35835 w 3760754"/>
                <a:gd name="connsiteY3044" fmla="*/ 1104977 h 1435671"/>
                <a:gd name="connsiteX3045" fmla="*/ 32659 w 3760754"/>
                <a:gd name="connsiteY3045" fmla="*/ 1102403 h 1435671"/>
                <a:gd name="connsiteX3046" fmla="*/ 29984 w 3760754"/>
                <a:gd name="connsiteY3046" fmla="*/ 1100932 h 1435671"/>
                <a:gd name="connsiteX3047" fmla="*/ 23463 w 3760754"/>
                <a:gd name="connsiteY3047" fmla="*/ 1099276 h 1435671"/>
                <a:gd name="connsiteX3048" fmla="*/ 3738210 w 3760754"/>
                <a:gd name="connsiteY3048" fmla="*/ 1075874 h 1435671"/>
                <a:gd name="connsiteX3049" fmla="*/ 3746141 w 3760754"/>
                <a:gd name="connsiteY3049" fmla="*/ 1081130 h 1435671"/>
                <a:gd name="connsiteX3050" fmla="*/ 3746770 w 3760754"/>
                <a:gd name="connsiteY3050" fmla="*/ 1084247 h 1435671"/>
                <a:gd name="connsiteX3051" fmla="*/ 3744566 w 3760754"/>
                <a:gd name="connsiteY3051" fmla="*/ 1084247 h 1435671"/>
                <a:gd name="connsiteX3052" fmla="*/ 3732040 w 3760754"/>
                <a:gd name="connsiteY3052" fmla="*/ 1084247 h 1435671"/>
                <a:gd name="connsiteX3053" fmla="*/ 3729650 w 3760754"/>
                <a:gd name="connsiteY3053" fmla="*/ 1084247 h 1435671"/>
                <a:gd name="connsiteX3054" fmla="*/ 3730280 w 3760754"/>
                <a:gd name="connsiteY3054" fmla="*/ 1081130 h 1435671"/>
                <a:gd name="connsiteX3055" fmla="*/ 3738210 w 3760754"/>
                <a:gd name="connsiteY3055" fmla="*/ 1075874 h 1435671"/>
                <a:gd name="connsiteX3056" fmla="*/ 3738210 w 3760754"/>
                <a:gd name="connsiteY3056" fmla="*/ 1067267 h 1435671"/>
                <a:gd name="connsiteX3057" fmla="*/ 3721346 w 3760754"/>
                <a:gd name="connsiteY3057" fmla="*/ 1081011 h 1435671"/>
                <a:gd name="connsiteX3058" fmla="*/ 3721020 w 3760754"/>
                <a:gd name="connsiteY3058" fmla="*/ 1084247 h 1435671"/>
                <a:gd name="connsiteX3059" fmla="*/ 3720055 w 3760754"/>
                <a:gd name="connsiteY3059" fmla="*/ 1084247 h 1435671"/>
                <a:gd name="connsiteX3060" fmla="*/ 3715666 w 3760754"/>
                <a:gd name="connsiteY3060" fmla="*/ 1088523 h 1435671"/>
                <a:gd name="connsiteX3061" fmla="*/ 3715666 w 3760754"/>
                <a:gd name="connsiteY3061" fmla="*/ 1122340 h 1435671"/>
                <a:gd name="connsiteX3062" fmla="*/ 3720055 w 3760754"/>
                <a:gd name="connsiteY3062" fmla="*/ 1126615 h 1435671"/>
                <a:gd name="connsiteX3063" fmla="*/ 3756365 w 3760754"/>
                <a:gd name="connsiteY3063" fmla="*/ 1126615 h 1435671"/>
                <a:gd name="connsiteX3064" fmla="*/ 3760754 w 3760754"/>
                <a:gd name="connsiteY3064" fmla="*/ 1122340 h 1435671"/>
                <a:gd name="connsiteX3065" fmla="*/ 3760754 w 3760754"/>
                <a:gd name="connsiteY3065" fmla="*/ 1088523 h 1435671"/>
                <a:gd name="connsiteX3066" fmla="*/ 3756365 w 3760754"/>
                <a:gd name="connsiteY3066" fmla="*/ 1084247 h 1435671"/>
                <a:gd name="connsiteX3067" fmla="*/ 3755798 w 3760754"/>
                <a:gd name="connsiteY3067" fmla="*/ 1084247 h 1435671"/>
                <a:gd name="connsiteX3068" fmla="*/ 3755400 w 3760754"/>
                <a:gd name="connsiteY3068" fmla="*/ 1084247 h 1435671"/>
                <a:gd name="connsiteX3069" fmla="*/ 3755074 w 3760754"/>
                <a:gd name="connsiteY3069" fmla="*/ 1081011 h 1435671"/>
                <a:gd name="connsiteX3070" fmla="*/ 3738210 w 3760754"/>
                <a:gd name="connsiteY3070" fmla="*/ 1067267 h 1435671"/>
                <a:gd name="connsiteX3071" fmla="*/ 3739589 w 3760754"/>
                <a:gd name="connsiteY3071" fmla="*/ 994423 h 1435671"/>
                <a:gd name="connsiteX3072" fmla="*/ 3736831 w 3760754"/>
                <a:gd name="connsiteY3072" fmla="*/ 994423 h 1435671"/>
                <a:gd name="connsiteX3073" fmla="*/ 3733705 w 3760754"/>
                <a:gd name="connsiteY3073" fmla="*/ 996078 h 1435671"/>
                <a:gd name="connsiteX3074" fmla="*/ 3732234 w 3760754"/>
                <a:gd name="connsiteY3074" fmla="*/ 1000307 h 1435671"/>
                <a:gd name="connsiteX3075" fmla="*/ 3732234 w 3760754"/>
                <a:gd name="connsiteY3075" fmla="*/ 1000675 h 1435671"/>
                <a:gd name="connsiteX3076" fmla="*/ 3732234 w 3760754"/>
                <a:gd name="connsiteY3076" fmla="*/ 1036719 h 1435671"/>
                <a:gd name="connsiteX3077" fmla="*/ 3731866 w 3760754"/>
                <a:gd name="connsiteY3077" fmla="*/ 1037086 h 1435671"/>
                <a:gd name="connsiteX3078" fmla="*/ 3726901 w 3760754"/>
                <a:gd name="connsiteY3078" fmla="*/ 1037086 h 1435671"/>
                <a:gd name="connsiteX3079" fmla="*/ 3724142 w 3760754"/>
                <a:gd name="connsiteY3079" fmla="*/ 1037822 h 1435671"/>
                <a:gd name="connsiteX3080" fmla="*/ 3721568 w 3760754"/>
                <a:gd name="connsiteY3080" fmla="*/ 1042419 h 1435671"/>
                <a:gd name="connsiteX3081" fmla="*/ 3723407 w 3760754"/>
                <a:gd name="connsiteY3081" fmla="*/ 1046281 h 1435671"/>
                <a:gd name="connsiteX3082" fmla="*/ 3726165 w 3760754"/>
                <a:gd name="connsiteY3082" fmla="*/ 1047568 h 1435671"/>
                <a:gd name="connsiteX3083" fmla="*/ 3726349 w 3760754"/>
                <a:gd name="connsiteY3083" fmla="*/ 1047568 h 1435671"/>
                <a:gd name="connsiteX3084" fmla="*/ 3726533 w 3760754"/>
                <a:gd name="connsiteY3084" fmla="*/ 1047568 h 1435671"/>
                <a:gd name="connsiteX3085" fmla="*/ 3726901 w 3760754"/>
                <a:gd name="connsiteY3085" fmla="*/ 1047568 h 1435671"/>
                <a:gd name="connsiteX3086" fmla="*/ 3748784 w 3760754"/>
                <a:gd name="connsiteY3086" fmla="*/ 1047568 h 1435671"/>
                <a:gd name="connsiteX3087" fmla="*/ 3749152 w 3760754"/>
                <a:gd name="connsiteY3087" fmla="*/ 1047568 h 1435671"/>
                <a:gd name="connsiteX3088" fmla="*/ 3749703 w 3760754"/>
                <a:gd name="connsiteY3088" fmla="*/ 1047568 h 1435671"/>
                <a:gd name="connsiteX3089" fmla="*/ 3750255 w 3760754"/>
                <a:gd name="connsiteY3089" fmla="*/ 1047384 h 1435671"/>
                <a:gd name="connsiteX3090" fmla="*/ 3752646 w 3760754"/>
                <a:gd name="connsiteY3090" fmla="*/ 1046097 h 1435671"/>
                <a:gd name="connsiteX3091" fmla="*/ 3754300 w 3760754"/>
                <a:gd name="connsiteY3091" fmla="*/ 1042235 h 1435671"/>
                <a:gd name="connsiteX3092" fmla="*/ 3752829 w 3760754"/>
                <a:gd name="connsiteY3092" fmla="*/ 1038741 h 1435671"/>
                <a:gd name="connsiteX3093" fmla="*/ 3748967 w 3760754"/>
                <a:gd name="connsiteY3093" fmla="*/ 1037086 h 1435671"/>
                <a:gd name="connsiteX3094" fmla="*/ 3743635 w 3760754"/>
                <a:gd name="connsiteY3094" fmla="*/ 1037086 h 1435671"/>
                <a:gd name="connsiteX3095" fmla="*/ 3743267 w 3760754"/>
                <a:gd name="connsiteY3095" fmla="*/ 1036719 h 1435671"/>
                <a:gd name="connsiteX3096" fmla="*/ 3743267 w 3760754"/>
                <a:gd name="connsiteY3096" fmla="*/ 1005456 h 1435671"/>
                <a:gd name="connsiteX3097" fmla="*/ 3743635 w 3760754"/>
                <a:gd name="connsiteY3097" fmla="*/ 1005089 h 1435671"/>
                <a:gd name="connsiteX3098" fmla="*/ 3747681 w 3760754"/>
                <a:gd name="connsiteY3098" fmla="*/ 1005089 h 1435671"/>
                <a:gd name="connsiteX3099" fmla="*/ 3752646 w 3760754"/>
                <a:gd name="connsiteY3099" fmla="*/ 1001963 h 1435671"/>
                <a:gd name="connsiteX3100" fmla="*/ 3752829 w 3760754"/>
                <a:gd name="connsiteY3100" fmla="*/ 998101 h 1435671"/>
                <a:gd name="connsiteX3101" fmla="*/ 3747864 w 3760754"/>
                <a:gd name="connsiteY3101" fmla="*/ 994607 h 1435671"/>
                <a:gd name="connsiteX3102" fmla="*/ 3739589 w 3760754"/>
                <a:gd name="connsiteY3102" fmla="*/ 994423 h 1435671"/>
                <a:gd name="connsiteX3103" fmla="*/ 3739589 w 3760754"/>
                <a:gd name="connsiteY3103" fmla="*/ 920118 h 1435671"/>
                <a:gd name="connsiteX3104" fmla="*/ 3736831 w 3760754"/>
                <a:gd name="connsiteY3104" fmla="*/ 920118 h 1435671"/>
                <a:gd name="connsiteX3105" fmla="*/ 3733705 w 3760754"/>
                <a:gd name="connsiteY3105" fmla="*/ 921773 h 1435671"/>
                <a:gd name="connsiteX3106" fmla="*/ 3732234 w 3760754"/>
                <a:gd name="connsiteY3106" fmla="*/ 926002 h 1435671"/>
                <a:gd name="connsiteX3107" fmla="*/ 3732234 w 3760754"/>
                <a:gd name="connsiteY3107" fmla="*/ 926370 h 1435671"/>
                <a:gd name="connsiteX3108" fmla="*/ 3732234 w 3760754"/>
                <a:gd name="connsiteY3108" fmla="*/ 962414 h 1435671"/>
                <a:gd name="connsiteX3109" fmla="*/ 3731866 w 3760754"/>
                <a:gd name="connsiteY3109" fmla="*/ 962781 h 1435671"/>
                <a:gd name="connsiteX3110" fmla="*/ 3726901 w 3760754"/>
                <a:gd name="connsiteY3110" fmla="*/ 962781 h 1435671"/>
                <a:gd name="connsiteX3111" fmla="*/ 3724142 w 3760754"/>
                <a:gd name="connsiteY3111" fmla="*/ 963517 h 1435671"/>
                <a:gd name="connsiteX3112" fmla="*/ 3721568 w 3760754"/>
                <a:gd name="connsiteY3112" fmla="*/ 968114 h 1435671"/>
                <a:gd name="connsiteX3113" fmla="*/ 3723407 w 3760754"/>
                <a:gd name="connsiteY3113" fmla="*/ 971976 h 1435671"/>
                <a:gd name="connsiteX3114" fmla="*/ 3726165 w 3760754"/>
                <a:gd name="connsiteY3114" fmla="*/ 973263 h 1435671"/>
                <a:gd name="connsiteX3115" fmla="*/ 3726349 w 3760754"/>
                <a:gd name="connsiteY3115" fmla="*/ 973263 h 1435671"/>
                <a:gd name="connsiteX3116" fmla="*/ 3726533 w 3760754"/>
                <a:gd name="connsiteY3116" fmla="*/ 973263 h 1435671"/>
                <a:gd name="connsiteX3117" fmla="*/ 3726901 w 3760754"/>
                <a:gd name="connsiteY3117" fmla="*/ 973263 h 1435671"/>
                <a:gd name="connsiteX3118" fmla="*/ 3748784 w 3760754"/>
                <a:gd name="connsiteY3118" fmla="*/ 973263 h 1435671"/>
                <a:gd name="connsiteX3119" fmla="*/ 3749152 w 3760754"/>
                <a:gd name="connsiteY3119" fmla="*/ 973263 h 1435671"/>
                <a:gd name="connsiteX3120" fmla="*/ 3749703 w 3760754"/>
                <a:gd name="connsiteY3120" fmla="*/ 973263 h 1435671"/>
                <a:gd name="connsiteX3121" fmla="*/ 3750255 w 3760754"/>
                <a:gd name="connsiteY3121" fmla="*/ 973080 h 1435671"/>
                <a:gd name="connsiteX3122" fmla="*/ 3752646 w 3760754"/>
                <a:gd name="connsiteY3122" fmla="*/ 971792 h 1435671"/>
                <a:gd name="connsiteX3123" fmla="*/ 3754300 w 3760754"/>
                <a:gd name="connsiteY3123" fmla="*/ 967930 h 1435671"/>
                <a:gd name="connsiteX3124" fmla="*/ 3752829 w 3760754"/>
                <a:gd name="connsiteY3124" fmla="*/ 964436 h 1435671"/>
                <a:gd name="connsiteX3125" fmla="*/ 3748967 w 3760754"/>
                <a:gd name="connsiteY3125" fmla="*/ 962781 h 1435671"/>
                <a:gd name="connsiteX3126" fmla="*/ 3743635 w 3760754"/>
                <a:gd name="connsiteY3126" fmla="*/ 962781 h 1435671"/>
                <a:gd name="connsiteX3127" fmla="*/ 3743267 w 3760754"/>
                <a:gd name="connsiteY3127" fmla="*/ 962414 h 1435671"/>
                <a:gd name="connsiteX3128" fmla="*/ 3743267 w 3760754"/>
                <a:gd name="connsiteY3128" fmla="*/ 931152 h 1435671"/>
                <a:gd name="connsiteX3129" fmla="*/ 3743635 w 3760754"/>
                <a:gd name="connsiteY3129" fmla="*/ 930784 h 1435671"/>
                <a:gd name="connsiteX3130" fmla="*/ 3747681 w 3760754"/>
                <a:gd name="connsiteY3130" fmla="*/ 930784 h 1435671"/>
                <a:gd name="connsiteX3131" fmla="*/ 3752646 w 3760754"/>
                <a:gd name="connsiteY3131" fmla="*/ 927658 h 1435671"/>
                <a:gd name="connsiteX3132" fmla="*/ 3752829 w 3760754"/>
                <a:gd name="connsiteY3132" fmla="*/ 923796 h 1435671"/>
                <a:gd name="connsiteX3133" fmla="*/ 3747864 w 3760754"/>
                <a:gd name="connsiteY3133" fmla="*/ 920302 h 1435671"/>
                <a:gd name="connsiteX3134" fmla="*/ 3739589 w 3760754"/>
                <a:gd name="connsiteY3134" fmla="*/ 920118 h 1435671"/>
                <a:gd name="connsiteX3135" fmla="*/ 3735451 w 3760754"/>
                <a:gd name="connsiteY3135" fmla="*/ 856616 h 1435671"/>
                <a:gd name="connsiteX3136" fmla="*/ 3743309 w 3760754"/>
                <a:gd name="connsiteY3136" fmla="*/ 858271 h 1435671"/>
                <a:gd name="connsiteX3137" fmla="*/ 3745482 w 3760754"/>
                <a:gd name="connsiteY3137" fmla="*/ 860662 h 1435671"/>
                <a:gd name="connsiteX3138" fmla="*/ 3746986 w 3760754"/>
                <a:gd name="connsiteY3138" fmla="*/ 863236 h 1435671"/>
                <a:gd name="connsiteX3139" fmla="*/ 3747656 w 3760754"/>
                <a:gd name="connsiteY3139" fmla="*/ 865075 h 1435671"/>
                <a:gd name="connsiteX3140" fmla="*/ 3748324 w 3760754"/>
                <a:gd name="connsiteY3140" fmla="*/ 867834 h 1435671"/>
                <a:gd name="connsiteX3141" fmla="*/ 3748993 w 3760754"/>
                <a:gd name="connsiteY3141" fmla="*/ 872615 h 1435671"/>
                <a:gd name="connsiteX3142" fmla="*/ 3748324 w 3760754"/>
                <a:gd name="connsiteY3142" fmla="*/ 877580 h 1435671"/>
                <a:gd name="connsiteX3143" fmla="*/ 3747488 w 3760754"/>
                <a:gd name="connsiteY3143" fmla="*/ 880154 h 1435671"/>
                <a:gd name="connsiteX3144" fmla="*/ 3745984 w 3760754"/>
                <a:gd name="connsiteY3144" fmla="*/ 883096 h 1435671"/>
                <a:gd name="connsiteX3145" fmla="*/ 3743643 w 3760754"/>
                <a:gd name="connsiteY3145" fmla="*/ 886039 h 1435671"/>
                <a:gd name="connsiteX3146" fmla="*/ 3740634 w 3760754"/>
                <a:gd name="connsiteY3146" fmla="*/ 887878 h 1435671"/>
                <a:gd name="connsiteX3147" fmla="*/ 3732275 w 3760754"/>
                <a:gd name="connsiteY3147" fmla="*/ 886223 h 1435671"/>
                <a:gd name="connsiteX3148" fmla="*/ 3730101 w 3760754"/>
                <a:gd name="connsiteY3148" fmla="*/ 883832 h 1435671"/>
                <a:gd name="connsiteX3149" fmla="*/ 3728430 w 3760754"/>
                <a:gd name="connsiteY3149" fmla="*/ 880890 h 1435671"/>
                <a:gd name="connsiteX3150" fmla="*/ 3727761 w 3760754"/>
                <a:gd name="connsiteY3150" fmla="*/ 879419 h 1435671"/>
                <a:gd name="connsiteX3151" fmla="*/ 3726925 w 3760754"/>
                <a:gd name="connsiteY3151" fmla="*/ 876477 h 1435671"/>
                <a:gd name="connsiteX3152" fmla="*/ 3727260 w 3760754"/>
                <a:gd name="connsiteY3152" fmla="*/ 867098 h 1435671"/>
                <a:gd name="connsiteX3153" fmla="*/ 3727928 w 3760754"/>
                <a:gd name="connsiteY3153" fmla="*/ 865075 h 1435671"/>
                <a:gd name="connsiteX3154" fmla="*/ 3728764 w 3760754"/>
                <a:gd name="connsiteY3154" fmla="*/ 863052 h 1435671"/>
                <a:gd name="connsiteX3155" fmla="*/ 3730269 w 3760754"/>
                <a:gd name="connsiteY3155" fmla="*/ 860662 h 1435671"/>
                <a:gd name="connsiteX3156" fmla="*/ 3732776 w 3760754"/>
                <a:gd name="connsiteY3156" fmla="*/ 858087 h 1435671"/>
                <a:gd name="connsiteX3157" fmla="*/ 3735451 w 3760754"/>
                <a:gd name="connsiteY3157" fmla="*/ 856616 h 1435671"/>
                <a:gd name="connsiteX3158" fmla="*/ 3739129 w 3760754"/>
                <a:gd name="connsiteY3158" fmla="*/ 845766 h 1435671"/>
                <a:gd name="connsiteX3159" fmla="*/ 3730770 w 3760754"/>
                <a:gd name="connsiteY3159" fmla="*/ 847237 h 1435671"/>
                <a:gd name="connsiteX3160" fmla="*/ 3725755 w 3760754"/>
                <a:gd name="connsiteY3160" fmla="*/ 850364 h 1435671"/>
                <a:gd name="connsiteX3161" fmla="*/ 3723414 w 3760754"/>
                <a:gd name="connsiteY3161" fmla="*/ 852570 h 1435671"/>
                <a:gd name="connsiteX3162" fmla="*/ 3721074 w 3760754"/>
                <a:gd name="connsiteY3162" fmla="*/ 855512 h 1435671"/>
                <a:gd name="connsiteX3163" fmla="*/ 3719736 w 3760754"/>
                <a:gd name="connsiteY3163" fmla="*/ 857903 h 1435671"/>
                <a:gd name="connsiteX3164" fmla="*/ 3718232 w 3760754"/>
                <a:gd name="connsiteY3164" fmla="*/ 861581 h 1435671"/>
                <a:gd name="connsiteX3165" fmla="*/ 3717563 w 3760754"/>
                <a:gd name="connsiteY3165" fmla="*/ 863972 h 1435671"/>
                <a:gd name="connsiteX3166" fmla="*/ 3716895 w 3760754"/>
                <a:gd name="connsiteY3166" fmla="*/ 867466 h 1435671"/>
                <a:gd name="connsiteX3167" fmla="*/ 3717061 w 3760754"/>
                <a:gd name="connsiteY3167" fmla="*/ 877212 h 1435671"/>
                <a:gd name="connsiteX3168" fmla="*/ 3717730 w 3760754"/>
                <a:gd name="connsiteY3168" fmla="*/ 880522 h 1435671"/>
                <a:gd name="connsiteX3169" fmla="*/ 3718566 w 3760754"/>
                <a:gd name="connsiteY3169" fmla="*/ 883096 h 1435671"/>
                <a:gd name="connsiteX3170" fmla="*/ 3719235 w 3760754"/>
                <a:gd name="connsiteY3170" fmla="*/ 884752 h 1435671"/>
                <a:gd name="connsiteX3171" fmla="*/ 3720739 w 3760754"/>
                <a:gd name="connsiteY3171" fmla="*/ 887694 h 1435671"/>
                <a:gd name="connsiteX3172" fmla="*/ 3722244 w 3760754"/>
                <a:gd name="connsiteY3172" fmla="*/ 889900 h 1435671"/>
                <a:gd name="connsiteX3173" fmla="*/ 3724585 w 3760754"/>
                <a:gd name="connsiteY3173" fmla="*/ 892475 h 1435671"/>
                <a:gd name="connsiteX3174" fmla="*/ 3726758 w 3760754"/>
                <a:gd name="connsiteY3174" fmla="*/ 894314 h 1435671"/>
                <a:gd name="connsiteX3175" fmla="*/ 3730603 w 3760754"/>
                <a:gd name="connsiteY3175" fmla="*/ 896521 h 1435671"/>
                <a:gd name="connsiteX3176" fmla="*/ 3735953 w 3760754"/>
                <a:gd name="connsiteY3176" fmla="*/ 897992 h 1435671"/>
                <a:gd name="connsiteX3177" fmla="*/ 3736788 w 3760754"/>
                <a:gd name="connsiteY3177" fmla="*/ 898176 h 1435671"/>
                <a:gd name="connsiteX3178" fmla="*/ 3739631 w 3760754"/>
                <a:gd name="connsiteY3178" fmla="*/ 898176 h 1435671"/>
                <a:gd name="connsiteX3179" fmla="*/ 3739798 w 3760754"/>
                <a:gd name="connsiteY3179" fmla="*/ 898176 h 1435671"/>
                <a:gd name="connsiteX3180" fmla="*/ 3748658 w 3760754"/>
                <a:gd name="connsiteY3180" fmla="*/ 894866 h 1435671"/>
                <a:gd name="connsiteX3181" fmla="*/ 3751835 w 3760754"/>
                <a:gd name="connsiteY3181" fmla="*/ 892107 h 1435671"/>
                <a:gd name="connsiteX3182" fmla="*/ 3754008 w 3760754"/>
                <a:gd name="connsiteY3182" fmla="*/ 889533 h 1435671"/>
                <a:gd name="connsiteX3183" fmla="*/ 3755512 w 3760754"/>
                <a:gd name="connsiteY3183" fmla="*/ 887142 h 1435671"/>
                <a:gd name="connsiteX3184" fmla="*/ 3757017 w 3760754"/>
                <a:gd name="connsiteY3184" fmla="*/ 884200 h 1435671"/>
                <a:gd name="connsiteX3185" fmla="*/ 3757853 w 3760754"/>
                <a:gd name="connsiteY3185" fmla="*/ 882177 h 1435671"/>
                <a:gd name="connsiteX3186" fmla="*/ 3758522 w 3760754"/>
                <a:gd name="connsiteY3186" fmla="*/ 879970 h 1435671"/>
                <a:gd name="connsiteX3187" fmla="*/ 3759358 w 3760754"/>
                <a:gd name="connsiteY3187" fmla="*/ 876109 h 1435671"/>
                <a:gd name="connsiteX3188" fmla="*/ 3759525 w 3760754"/>
                <a:gd name="connsiteY3188" fmla="*/ 874086 h 1435671"/>
                <a:gd name="connsiteX3189" fmla="*/ 3759358 w 3760754"/>
                <a:gd name="connsiteY3189" fmla="*/ 874270 h 1435671"/>
                <a:gd name="connsiteX3190" fmla="*/ 3759358 w 3760754"/>
                <a:gd name="connsiteY3190" fmla="*/ 870408 h 1435671"/>
                <a:gd name="connsiteX3191" fmla="*/ 3759358 w 3760754"/>
                <a:gd name="connsiteY3191" fmla="*/ 870224 h 1435671"/>
                <a:gd name="connsiteX3192" fmla="*/ 3759023 w 3760754"/>
                <a:gd name="connsiteY3192" fmla="*/ 867098 h 1435671"/>
                <a:gd name="connsiteX3193" fmla="*/ 3758187 w 3760754"/>
                <a:gd name="connsiteY3193" fmla="*/ 863420 h 1435671"/>
                <a:gd name="connsiteX3194" fmla="*/ 3757519 w 3760754"/>
                <a:gd name="connsiteY3194" fmla="*/ 861213 h 1435671"/>
                <a:gd name="connsiteX3195" fmla="*/ 3756014 w 3760754"/>
                <a:gd name="connsiteY3195" fmla="*/ 857719 h 1435671"/>
                <a:gd name="connsiteX3196" fmla="*/ 3754509 w 3760754"/>
                <a:gd name="connsiteY3196" fmla="*/ 855145 h 1435671"/>
                <a:gd name="connsiteX3197" fmla="*/ 3753005 w 3760754"/>
                <a:gd name="connsiteY3197" fmla="*/ 853122 h 1435671"/>
                <a:gd name="connsiteX3198" fmla="*/ 3751500 w 3760754"/>
                <a:gd name="connsiteY3198" fmla="*/ 851467 h 1435671"/>
                <a:gd name="connsiteX3199" fmla="*/ 3748324 w 3760754"/>
                <a:gd name="connsiteY3199" fmla="*/ 848893 h 1435671"/>
                <a:gd name="connsiteX3200" fmla="*/ 3745649 w 3760754"/>
                <a:gd name="connsiteY3200" fmla="*/ 847421 h 1435671"/>
                <a:gd name="connsiteX3201" fmla="*/ 3739129 w 3760754"/>
                <a:gd name="connsiteY3201" fmla="*/ 845766 h 1435671"/>
                <a:gd name="connsiteX3202" fmla="*/ 3735451 w 3760754"/>
                <a:gd name="connsiteY3202" fmla="*/ 782311 h 1435671"/>
                <a:gd name="connsiteX3203" fmla="*/ 3743309 w 3760754"/>
                <a:gd name="connsiteY3203" fmla="*/ 783966 h 1435671"/>
                <a:gd name="connsiteX3204" fmla="*/ 3745482 w 3760754"/>
                <a:gd name="connsiteY3204" fmla="*/ 786357 h 1435671"/>
                <a:gd name="connsiteX3205" fmla="*/ 3746986 w 3760754"/>
                <a:gd name="connsiteY3205" fmla="*/ 788931 h 1435671"/>
                <a:gd name="connsiteX3206" fmla="*/ 3747656 w 3760754"/>
                <a:gd name="connsiteY3206" fmla="*/ 790770 h 1435671"/>
                <a:gd name="connsiteX3207" fmla="*/ 3748324 w 3760754"/>
                <a:gd name="connsiteY3207" fmla="*/ 793529 h 1435671"/>
                <a:gd name="connsiteX3208" fmla="*/ 3748993 w 3760754"/>
                <a:gd name="connsiteY3208" fmla="*/ 798310 h 1435671"/>
                <a:gd name="connsiteX3209" fmla="*/ 3748324 w 3760754"/>
                <a:gd name="connsiteY3209" fmla="*/ 803275 h 1435671"/>
                <a:gd name="connsiteX3210" fmla="*/ 3747488 w 3760754"/>
                <a:gd name="connsiteY3210" fmla="*/ 805849 h 1435671"/>
                <a:gd name="connsiteX3211" fmla="*/ 3745984 w 3760754"/>
                <a:gd name="connsiteY3211" fmla="*/ 808791 h 1435671"/>
                <a:gd name="connsiteX3212" fmla="*/ 3743643 w 3760754"/>
                <a:gd name="connsiteY3212" fmla="*/ 811734 h 1435671"/>
                <a:gd name="connsiteX3213" fmla="*/ 3740634 w 3760754"/>
                <a:gd name="connsiteY3213" fmla="*/ 813573 h 1435671"/>
                <a:gd name="connsiteX3214" fmla="*/ 3732275 w 3760754"/>
                <a:gd name="connsiteY3214" fmla="*/ 811918 h 1435671"/>
                <a:gd name="connsiteX3215" fmla="*/ 3730101 w 3760754"/>
                <a:gd name="connsiteY3215" fmla="*/ 809527 h 1435671"/>
                <a:gd name="connsiteX3216" fmla="*/ 3728430 w 3760754"/>
                <a:gd name="connsiteY3216" fmla="*/ 806585 h 1435671"/>
                <a:gd name="connsiteX3217" fmla="*/ 3727761 w 3760754"/>
                <a:gd name="connsiteY3217" fmla="*/ 805114 h 1435671"/>
                <a:gd name="connsiteX3218" fmla="*/ 3726925 w 3760754"/>
                <a:gd name="connsiteY3218" fmla="*/ 802172 h 1435671"/>
                <a:gd name="connsiteX3219" fmla="*/ 3727260 w 3760754"/>
                <a:gd name="connsiteY3219" fmla="*/ 792793 h 1435671"/>
                <a:gd name="connsiteX3220" fmla="*/ 3727928 w 3760754"/>
                <a:gd name="connsiteY3220" fmla="*/ 790770 h 1435671"/>
                <a:gd name="connsiteX3221" fmla="*/ 3728764 w 3760754"/>
                <a:gd name="connsiteY3221" fmla="*/ 788747 h 1435671"/>
                <a:gd name="connsiteX3222" fmla="*/ 3730269 w 3760754"/>
                <a:gd name="connsiteY3222" fmla="*/ 786357 h 1435671"/>
                <a:gd name="connsiteX3223" fmla="*/ 3732776 w 3760754"/>
                <a:gd name="connsiteY3223" fmla="*/ 783782 h 1435671"/>
                <a:gd name="connsiteX3224" fmla="*/ 3735451 w 3760754"/>
                <a:gd name="connsiteY3224" fmla="*/ 782311 h 1435671"/>
                <a:gd name="connsiteX3225" fmla="*/ 3739129 w 3760754"/>
                <a:gd name="connsiteY3225" fmla="*/ 771461 h 1435671"/>
                <a:gd name="connsiteX3226" fmla="*/ 3730770 w 3760754"/>
                <a:gd name="connsiteY3226" fmla="*/ 772932 h 1435671"/>
                <a:gd name="connsiteX3227" fmla="*/ 3725755 w 3760754"/>
                <a:gd name="connsiteY3227" fmla="*/ 776059 h 1435671"/>
                <a:gd name="connsiteX3228" fmla="*/ 3723414 w 3760754"/>
                <a:gd name="connsiteY3228" fmla="*/ 778265 h 1435671"/>
                <a:gd name="connsiteX3229" fmla="*/ 3721074 w 3760754"/>
                <a:gd name="connsiteY3229" fmla="*/ 781207 h 1435671"/>
                <a:gd name="connsiteX3230" fmla="*/ 3719736 w 3760754"/>
                <a:gd name="connsiteY3230" fmla="*/ 783598 h 1435671"/>
                <a:gd name="connsiteX3231" fmla="*/ 3718232 w 3760754"/>
                <a:gd name="connsiteY3231" fmla="*/ 787276 h 1435671"/>
                <a:gd name="connsiteX3232" fmla="*/ 3717563 w 3760754"/>
                <a:gd name="connsiteY3232" fmla="*/ 789667 h 1435671"/>
                <a:gd name="connsiteX3233" fmla="*/ 3716895 w 3760754"/>
                <a:gd name="connsiteY3233" fmla="*/ 793161 h 1435671"/>
                <a:gd name="connsiteX3234" fmla="*/ 3717061 w 3760754"/>
                <a:gd name="connsiteY3234" fmla="*/ 802907 h 1435671"/>
                <a:gd name="connsiteX3235" fmla="*/ 3717730 w 3760754"/>
                <a:gd name="connsiteY3235" fmla="*/ 806217 h 1435671"/>
                <a:gd name="connsiteX3236" fmla="*/ 3718566 w 3760754"/>
                <a:gd name="connsiteY3236" fmla="*/ 808791 h 1435671"/>
                <a:gd name="connsiteX3237" fmla="*/ 3719235 w 3760754"/>
                <a:gd name="connsiteY3237" fmla="*/ 810447 h 1435671"/>
                <a:gd name="connsiteX3238" fmla="*/ 3720739 w 3760754"/>
                <a:gd name="connsiteY3238" fmla="*/ 813389 h 1435671"/>
                <a:gd name="connsiteX3239" fmla="*/ 3722244 w 3760754"/>
                <a:gd name="connsiteY3239" fmla="*/ 815596 h 1435671"/>
                <a:gd name="connsiteX3240" fmla="*/ 3724585 w 3760754"/>
                <a:gd name="connsiteY3240" fmla="*/ 818170 h 1435671"/>
                <a:gd name="connsiteX3241" fmla="*/ 3726758 w 3760754"/>
                <a:gd name="connsiteY3241" fmla="*/ 820009 h 1435671"/>
                <a:gd name="connsiteX3242" fmla="*/ 3730603 w 3760754"/>
                <a:gd name="connsiteY3242" fmla="*/ 822216 h 1435671"/>
                <a:gd name="connsiteX3243" fmla="*/ 3735953 w 3760754"/>
                <a:gd name="connsiteY3243" fmla="*/ 823687 h 1435671"/>
                <a:gd name="connsiteX3244" fmla="*/ 3736788 w 3760754"/>
                <a:gd name="connsiteY3244" fmla="*/ 823871 h 1435671"/>
                <a:gd name="connsiteX3245" fmla="*/ 3739631 w 3760754"/>
                <a:gd name="connsiteY3245" fmla="*/ 823871 h 1435671"/>
                <a:gd name="connsiteX3246" fmla="*/ 3739798 w 3760754"/>
                <a:gd name="connsiteY3246" fmla="*/ 823871 h 1435671"/>
                <a:gd name="connsiteX3247" fmla="*/ 3748658 w 3760754"/>
                <a:gd name="connsiteY3247" fmla="*/ 820561 h 1435671"/>
                <a:gd name="connsiteX3248" fmla="*/ 3751835 w 3760754"/>
                <a:gd name="connsiteY3248" fmla="*/ 817803 h 1435671"/>
                <a:gd name="connsiteX3249" fmla="*/ 3754008 w 3760754"/>
                <a:gd name="connsiteY3249" fmla="*/ 815228 h 1435671"/>
                <a:gd name="connsiteX3250" fmla="*/ 3755512 w 3760754"/>
                <a:gd name="connsiteY3250" fmla="*/ 812838 h 1435671"/>
                <a:gd name="connsiteX3251" fmla="*/ 3757017 w 3760754"/>
                <a:gd name="connsiteY3251" fmla="*/ 809895 h 1435671"/>
                <a:gd name="connsiteX3252" fmla="*/ 3757853 w 3760754"/>
                <a:gd name="connsiteY3252" fmla="*/ 807872 h 1435671"/>
                <a:gd name="connsiteX3253" fmla="*/ 3758522 w 3760754"/>
                <a:gd name="connsiteY3253" fmla="*/ 805666 h 1435671"/>
                <a:gd name="connsiteX3254" fmla="*/ 3759358 w 3760754"/>
                <a:gd name="connsiteY3254" fmla="*/ 801804 h 1435671"/>
                <a:gd name="connsiteX3255" fmla="*/ 3759525 w 3760754"/>
                <a:gd name="connsiteY3255" fmla="*/ 799781 h 1435671"/>
                <a:gd name="connsiteX3256" fmla="*/ 3759358 w 3760754"/>
                <a:gd name="connsiteY3256" fmla="*/ 799965 h 1435671"/>
                <a:gd name="connsiteX3257" fmla="*/ 3759358 w 3760754"/>
                <a:gd name="connsiteY3257" fmla="*/ 796103 h 1435671"/>
                <a:gd name="connsiteX3258" fmla="*/ 3759358 w 3760754"/>
                <a:gd name="connsiteY3258" fmla="*/ 795919 h 1435671"/>
                <a:gd name="connsiteX3259" fmla="*/ 3759023 w 3760754"/>
                <a:gd name="connsiteY3259" fmla="*/ 792793 h 1435671"/>
                <a:gd name="connsiteX3260" fmla="*/ 3758187 w 3760754"/>
                <a:gd name="connsiteY3260" fmla="*/ 789115 h 1435671"/>
                <a:gd name="connsiteX3261" fmla="*/ 3757519 w 3760754"/>
                <a:gd name="connsiteY3261" fmla="*/ 786908 h 1435671"/>
                <a:gd name="connsiteX3262" fmla="*/ 3756014 w 3760754"/>
                <a:gd name="connsiteY3262" fmla="*/ 783414 h 1435671"/>
                <a:gd name="connsiteX3263" fmla="*/ 3754509 w 3760754"/>
                <a:gd name="connsiteY3263" fmla="*/ 780840 h 1435671"/>
                <a:gd name="connsiteX3264" fmla="*/ 3753005 w 3760754"/>
                <a:gd name="connsiteY3264" fmla="*/ 778817 h 1435671"/>
                <a:gd name="connsiteX3265" fmla="*/ 3751500 w 3760754"/>
                <a:gd name="connsiteY3265" fmla="*/ 777162 h 1435671"/>
                <a:gd name="connsiteX3266" fmla="*/ 3748324 w 3760754"/>
                <a:gd name="connsiteY3266" fmla="*/ 774588 h 1435671"/>
                <a:gd name="connsiteX3267" fmla="*/ 3745649 w 3760754"/>
                <a:gd name="connsiteY3267" fmla="*/ 773117 h 1435671"/>
                <a:gd name="connsiteX3268" fmla="*/ 3739129 w 3760754"/>
                <a:gd name="connsiteY3268" fmla="*/ 771461 h 1435671"/>
                <a:gd name="connsiteX3269" fmla="*/ 3739589 w 3760754"/>
                <a:gd name="connsiteY3269" fmla="*/ 697203 h 1435671"/>
                <a:gd name="connsiteX3270" fmla="*/ 3736831 w 3760754"/>
                <a:gd name="connsiteY3270" fmla="*/ 697203 h 1435671"/>
                <a:gd name="connsiteX3271" fmla="*/ 3733705 w 3760754"/>
                <a:gd name="connsiteY3271" fmla="*/ 698859 h 1435671"/>
                <a:gd name="connsiteX3272" fmla="*/ 3732234 w 3760754"/>
                <a:gd name="connsiteY3272" fmla="*/ 703088 h 1435671"/>
                <a:gd name="connsiteX3273" fmla="*/ 3732234 w 3760754"/>
                <a:gd name="connsiteY3273" fmla="*/ 703456 h 1435671"/>
                <a:gd name="connsiteX3274" fmla="*/ 3732234 w 3760754"/>
                <a:gd name="connsiteY3274" fmla="*/ 739499 h 1435671"/>
                <a:gd name="connsiteX3275" fmla="*/ 3731866 w 3760754"/>
                <a:gd name="connsiteY3275" fmla="*/ 739866 h 1435671"/>
                <a:gd name="connsiteX3276" fmla="*/ 3726901 w 3760754"/>
                <a:gd name="connsiteY3276" fmla="*/ 739866 h 1435671"/>
                <a:gd name="connsiteX3277" fmla="*/ 3724142 w 3760754"/>
                <a:gd name="connsiteY3277" fmla="*/ 740602 h 1435671"/>
                <a:gd name="connsiteX3278" fmla="*/ 3721568 w 3760754"/>
                <a:gd name="connsiteY3278" fmla="*/ 745199 h 1435671"/>
                <a:gd name="connsiteX3279" fmla="*/ 3723407 w 3760754"/>
                <a:gd name="connsiteY3279" fmla="*/ 749061 h 1435671"/>
                <a:gd name="connsiteX3280" fmla="*/ 3726165 w 3760754"/>
                <a:gd name="connsiteY3280" fmla="*/ 750349 h 1435671"/>
                <a:gd name="connsiteX3281" fmla="*/ 3726349 w 3760754"/>
                <a:gd name="connsiteY3281" fmla="*/ 750349 h 1435671"/>
                <a:gd name="connsiteX3282" fmla="*/ 3726533 w 3760754"/>
                <a:gd name="connsiteY3282" fmla="*/ 750349 h 1435671"/>
                <a:gd name="connsiteX3283" fmla="*/ 3726901 w 3760754"/>
                <a:gd name="connsiteY3283" fmla="*/ 750349 h 1435671"/>
                <a:gd name="connsiteX3284" fmla="*/ 3748784 w 3760754"/>
                <a:gd name="connsiteY3284" fmla="*/ 750349 h 1435671"/>
                <a:gd name="connsiteX3285" fmla="*/ 3749152 w 3760754"/>
                <a:gd name="connsiteY3285" fmla="*/ 750349 h 1435671"/>
                <a:gd name="connsiteX3286" fmla="*/ 3749703 w 3760754"/>
                <a:gd name="connsiteY3286" fmla="*/ 750349 h 1435671"/>
                <a:gd name="connsiteX3287" fmla="*/ 3750255 w 3760754"/>
                <a:gd name="connsiteY3287" fmla="*/ 750165 h 1435671"/>
                <a:gd name="connsiteX3288" fmla="*/ 3752646 w 3760754"/>
                <a:gd name="connsiteY3288" fmla="*/ 748877 h 1435671"/>
                <a:gd name="connsiteX3289" fmla="*/ 3754300 w 3760754"/>
                <a:gd name="connsiteY3289" fmla="*/ 745016 h 1435671"/>
                <a:gd name="connsiteX3290" fmla="*/ 3752829 w 3760754"/>
                <a:gd name="connsiteY3290" fmla="*/ 741522 h 1435671"/>
                <a:gd name="connsiteX3291" fmla="*/ 3748967 w 3760754"/>
                <a:gd name="connsiteY3291" fmla="*/ 739866 h 1435671"/>
                <a:gd name="connsiteX3292" fmla="*/ 3743635 w 3760754"/>
                <a:gd name="connsiteY3292" fmla="*/ 739866 h 1435671"/>
                <a:gd name="connsiteX3293" fmla="*/ 3743267 w 3760754"/>
                <a:gd name="connsiteY3293" fmla="*/ 739499 h 1435671"/>
                <a:gd name="connsiteX3294" fmla="*/ 3743267 w 3760754"/>
                <a:gd name="connsiteY3294" fmla="*/ 708237 h 1435671"/>
                <a:gd name="connsiteX3295" fmla="*/ 3743635 w 3760754"/>
                <a:gd name="connsiteY3295" fmla="*/ 707869 h 1435671"/>
                <a:gd name="connsiteX3296" fmla="*/ 3747681 w 3760754"/>
                <a:gd name="connsiteY3296" fmla="*/ 707869 h 1435671"/>
                <a:gd name="connsiteX3297" fmla="*/ 3752646 w 3760754"/>
                <a:gd name="connsiteY3297" fmla="*/ 704743 h 1435671"/>
                <a:gd name="connsiteX3298" fmla="*/ 3752829 w 3760754"/>
                <a:gd name="connsiteY3298" fmla="*/ 700881 h 1435671"/>
                <a:gd name="connsiteX3299" fmla="*/ 3747864 w 3760754"/>
                <a:gd name="connsiteY3299" fmla="*/ 697388 h 1435671"/>
                <a:gd name="connsiteX3300" fmla="*/ 3739589 w 3760754"/>
                <a:gd name="connsiteY3300" fmla="*/ 697203 h 1435671"/>
                <a:gd name="connsiteX3301" fmla="*/ 3738032 w 3760754"/>
                <a:gd name="connsiteY3301" fmla="*/ 652196 h 1435671"/>
                <a:gd name="connsiteX3302" fmla="*/ 3744473 w 3760754"/>
                <a:gd name="connsiteY3302" fmla="*/ 658504 h 1435671"/>
                <a:gd name="connsiteX3303" fmla="*/ 3741104 w 3760754"/>
                <a:gd name="connsiteY3303" fmla="*/ 664052 h 1435671"/>
                <a:gd name="connsiteX3304" fmla="*/ 3741104 w 3760754"/>
                <a:gd name="connsiteY3304" fmla="*/ 669761 h 1435671"/>
                <a:gd name="connsiteX3305" fmla="*/ 3738032 w 3760754"/>
                <a:gd name="connsiteY3305" fmla="*/ 672770 h 1435671"/>
                <a:gd name="connsiteX3306" fmla="*/ 3734960 w 3760754"/>
                <a:gd name="connsiteY3306" fmla="*/ 669761 h 1435671"/>
                <a:gd name="connsiteX3307" fmla="*/ 3734960 w 3760754"/>
                <a:gd name="connsiteY3307" fmla="*/ 664052 h 1435671"/>
                <a:gd name="connsiteX3308" fmla="*/ 3731590 w 3760754"/>
                <a:gd name="connsiteY3308" fmla="*/ 658504 h 1435671"/>
                <a:gd name="connsiteX3309" fmla="*/ 3738032 w 3760754"/>
                <a:gd name="connsiteY3309" fmla="*/ 652196 h 1435671"/>
                <a:gd name="connsiteX3310" fmla="*/ 3738210 w 3760754"/>
                <a:gd name="connsiteY3310" fmla="*/ 625864 h 1435671"/>
                <a:gd name="connsiteX3311" fmla="*/ 3746141 w 3760754"/>
                <a:gd name="connsiteY3311" fmla="*/ 631120 h 1435671"/>
                <a:gd name="connsiteX3312" fmla="*/ 3746770 w 3760754"/>
                <a:gd name="connsiteY3312" fmla="*/ 634238 h 1435671"/>
                <a:gd name="connsiteX3313" fmla="*/ 3744566 w 3760754"/>
                <a:gd name="connsiteY3313" fmla="*/ 634238 h 1435671"/>
                <a:gd name="connsiteX3314" fmla="*/ 3732040 w 3760754"/>
                <a:gd name="connsiteY3314" fmla="*/ 634238 h 1435671"/>
                <a:gd name="connsiteX3315" fmla="*/ 3729650 w 3760754"/>
                <a:gd name="connsiteY3315" fmla="*/ 634238 h 1435671"/>
                <a:gd name="connsiteX3316" fmla="*/ 3730280 w 3760754"/>
                <a:gd name="connsiteY3316" fmla="*/ 631120 h 1435671"/>
                <a:gd name="connsiteX3317" fmla="*/ 3738210 w 3760754"/>
                <a:gd name="connsiteY3317" fmla="*/ 625864 h 1435671"/>
                <a:gd name="connsiteX3318" fmla="*/ 3738210 w 3760754"/>
                <a:gd name="connsiteY3318" fmla="*/ 617257 h 1435671"/>
                <a:gd name="connsiteX3319" fmla="*/ 3721346 w 3760754"/>
                <a:gd name="connsiteY3319" fmla="*/ 631001 h 1435671"/>
                <a:gd name="connsiteX3320" fmla="*/ 3721020 w 3760754"/>
                <a:gd name="connsiteY3320" fmla="*/ 634238 h 1435671"/>
                <a:gd name="connsiteX3321" fmla="*/ 3720055 w 3760754"/>
                <a:gd name="connsiteY3321" fmla="*/ 634238 h 1435671"/>
                <a:gd name="connsiteX3322" fmla="*/ 3715666 w 3760754"/>
                <a:gd name="connsiteY3322" fmla="*/ 638513 h 1435671"/>
                <a:gd name="connsiteX3323" fmla="*/ 3715666 w 3760754"/>
                <a:gd name="connsiteY3323" fmla="*/ 672330 h 1435671"/>
                <a:gd name="connsiteX3324" fmla="*/ 3720055 w 3760754"/>
                <a:gd name="connsiteY3324" fmla="*/ 676606 h 1435671"/>
                <a:gd name="connsiteX3325" fmla="*/ 3756365 w 3760754"/>
                <a:gd name="connsiteY3325" fmla="*/ 676606 h 1435671"/>
                <a:gd name="connsiteX3326" fmla="*/ 3760754 w 3760754"/>
                <a:gd name="connsiteY3326" fmla="*/ 672330 h 1435671"/>
                <a:gd name="connsiteX3327" fmla="*/ 3760754 w 3760754"/>
                <a:gd name="connsiteY3327" fmla="*/ 638513 h 1435671"/>
                <a:gd name="connsiteX3328" fmla="*/ 3756365 w 3760754"/>
                <a:gd name="connsiteY3328" fmla="*/ 634238 h 1435671"/>
                <a:gd name="connsiteX3329" fmla="*/ 3755798 w 3760754"/>
                <a:gd name="connsiteY3329" fmla="*/ 634238 h 1435671"/>
                <a:gd name="connsiteX3330" fmla="*/ 3755400 w 3760754"/>
                <a:gd name="connsiteY3330" fmla="*/ 634238 h 1435671"/>
                <a:gd name="connsiteX3331" fmla="*/ 3755074 w 3760754"/>
                <a:gd name="connsiteY3331" fmla="*/ 631001 h 1435671"/>
                <a:gd name="connsiteX3332" fmla="*/ 3738210 w 3760754"/>
                <a:gd name="connsiteY3332" fmla="*/ 617257 h 1435671"/>
                <a:gd name="connsiteX3333" fmla="*/ 3738032 w 3760754"/>
                <a:gd name="connsiteY3333" fmla="*/ 573711 h 1435671"/>
                <a:gd name="connsiteX3334" fmla="*/ 3744473 w 3760754"/>
                <a:gd name="connsiteY3334" fmla="*/ 580018 h 1435671"/>
                <a:gd name="connsiteX3335" fmla="*/ 3741104 w 3760754"/>
                <a:gd name="connsiteY3335" fmla="*/ 585566 h 1435671"/>
                <a:gd name="connsiteX3336" fmla="*/ 3741104 w 3760754"/>
                <a:gd name="connsiteY3336" fmla="*/ 591276 h 1435671"/>
                <a:gd name="connsiteX3337" fmla="*/ 3738032 w 3760754"/>
                <a:gd name="connsiteY3337" fmla="*/ 594284 h 1435671"/>
                <a:gd name="connsiteX3338" fmla="*/ 3734960 w 3760754"/>
                <a:gd name="connsiteY3338" fmla="*/ 591276 h 1435671"/>
                <a:gd name="connsiteX3339" fmla="*/ 3734960 w 3760754"/>
                <a:gd name="connsiteY3339" fmla="*/ 585566 h 1435671"/>
                <a:gd name="connsiteX3340" fmla="*/ 3731590 w 3760754"/>
                <a:gd name="connsiteY3340" fmla="*/ 580018 h 1435671"/>
                <a:gd name="connsiteX3341" fmla="*/ 3738032 w 3760754"/>
                <a:gd name="connsiteY3341" fmla="*/ 573711 h 1435671"/>
                <a:gd name="connsiteX3342" fmla="*/ 3738210 w 3760754"/>
                <a:gd name="connsiteY3342" fmla="*/ 547378 h 1435671"/>
                <a:gd name="connsiteX3343" fmla="*/ 3746141 w 3760754"/>
                <a:gd name="connsiteY3343" fmla="*/ 552635 h 1435671"/>
                <a:gd name="connsiteX3344" fmla="*/ 3746770 w 3760754"/>
                <a:gd name="connsiteY3344" fmla="*/ 555752 h 1435671"/>
                <a:gd name="connsiteX3345" fmla="*/ 3744566 w 3760754"/>
                <a:gd name="connsiteY3345" fmla="*/ 555752 h 1435671"/>
                <a:gd name="connsiteX3346" fmla="*/ 3732040 w 3760754"/>
                <a:gd name="connsiteY3346" fmla="*/ 555752 h 1435671"/>
                <a:gd name="connsiteX3347" fmla="*/ 3729650 w 3760754"/>
                <a:gd name="connsiteY3347" fmla="*/ 555752 h 1435671"/>
                <a:gd name="connsiteX3348" fmla="*/ 3730280 w 3760754"/>
                <a:gd name="connsiteY3348" fmla="*/ 552635 h 1435671"/>
                <a:gd name="connsiteX3349" fmla="*/ 3738210 w 3760754"/>
                <a:gd name="connsiteY3349" fmla="*/ 547378 h 1435671"/>
                <a:gd name="connsiteX3350" fmla="*/ 3738210 w 3760754"/>
                <a:gd name="connsiteY3350" fmla="*/ 538771 h 1435671"/>
                <a:gd name="connsiteX3351" fmla="*/ 3721346 w 3760754"/>
                <a:gd name="connsiteY3351" fmla="*/ 552516 h 1435671"/>
                <a:gd name="connsiteX3352" fmla="*/ 3721020 w 3760754"/>
                <a:gd name="connsiteY3352" fmla="*/ 555752 h 1435671"/>
                <a:gd name="connsiteX3353" fmla="*/ 3720055 w 3760754"/>
                <a:gd name="connsiteY3353" fmla="*/ 555752 h 1435671"/>
                <a:gd name="connsiteX3354" fmla="*/ 3715666 w 3760754"/>
                <a:gd name="connsiteY3354" fmla="*/ 560027 h 1435671"/>
                <a:gd name="connsiteX3355" fmla="*/ 3715666 w 3760754"/>
                <a:gd name="connsiteY3355" fmla="*/ 593845 h 1435671"/>
                <a:gd name="connsiteX3356" fmla="*/ 3720055 w 3760754"/>
                <a:gd name="connsiteY3356" fmla="*/ 598120 h 1435671"/>
                <a:gd name="connsiteX3357" fmla="*/ 3756365 w 3760754"/>
                <a:gd name="connsiteY3357" fmla="*/ 598120 h 1435671"/>
                <a:gd name="connsiteX3358" fmla="*/ 3760754 w 3760754"/>
                <a:gd name="connsiteY3358" fmla="*/ 593845 h 1435671"/>
                <a:gd name="connsiteX3359" fmla="*/ 3760754 w 3760754"/>
                <a:gd name="connsiteY3359" fmla="*/ 560027 h 1435671"/>
                <a:gd name="connsiteX3360" fmla="*/ 3756365 w 3760754"/>
                <a:gd name="connsiteY3360" fmla="*/ 555752 h 1435671"/>
                <a:gd name="connsiteX3361" fmla="*/ 3755798 w 3760754"/>
                <a:gd name="connsiteY3361" fmla="*/ 555752 h 1435671"/>
                <a:gd name="connsiteX3362" fmla="*/ 3755400 w 3760754"/>
                <a:gd name="connsiteY3362" fmla="*/ 555752 h 1435671"/>
                <a:gd name="connsiteX3363" fmla="*/ 3755074 w 3760754"/>
                <a:gd name="connsiteY3363" fmla="*/ 552516 h 1435671"/>
                <a:gd name="connsiteX3364" fmla="*/ 3738210 w 3760754"/>
                <a:gd name="connsiteY3364" fmla="*/ 538771 h 1435671"/>
                <a:gd name="connsiteX3365" fmla="*/ 3735451 w 3760754"/>
                <a:gd name="connsiteY3365" fmla="*/ 476730 h 1435671"/>
                <a:gd name="connsiteX3366" fmla="*/ 3743309 w 3760754"/>
                <a:gd name="connsiteY3366" fmla="*/ 478385 h 1435671"/>
                <a:gd name="connsiteX3367" fmla="*/ 3745482 w 3760754"/>
                <a:gd name="connsiteY3367" fmla="*/ 480776 h 1435671"/>
                <a:gd name="connsiteX3368" fmla="*/ 3746986 w 3760754"/>
                <a:gd name="connsiteY3368" fmla="*/ 483350 h 1435671"/>
                <a:gd name="connsiteX3369" fmla="*/ 3747656 w 3760754"/>
                <a:gd name="connsiteY3369" fmla="*/ 485189 h 1435671"/>
                <a:gd name="connsiteX3370" fmla="*/ 3748324 w 3760754"/>
                <a:gd name="connsiteY3370" fmla="*/ 487948 h 1435671"/>
                <a:gd name="connsiteX3371" fmla="*/ 3748993 w 3760754"/>
                <a:gd name="connsiteY3371" fmla="*/ 492729 h 1435671"/>
                <a:gd name="connsiteX3372" fmla="*/ 3748324 w 3760754"/>
                <a:gd name="connsiteY3372" fmla="*/ 497694 h 1435671"/>
                <a:gd name="connsiteX3373" fmla="*/ 3747488 w 3760754"/>
                <a:gd name="connsiteY3373" fmla="*/ 500268 h 1435671"/>
                <a:gd name="connsiteX3374" fmla="*/ 3745984 w 3760754"/>
                <a:gd name="connsiteY3374" fmla="*/ 503211 h 1435671"/>
                <a:gd name="connsiteX3375" fmla="*/ 3743643 w 3760754"/>
                <a:gd name="connsiteY3375" fmla="*/ 506153 h 1435671"/>
                <a:gd name="connsiteX3376" fmla="*/ 3740634 w 3760754"/>
                <a:gd name="connsiteY3376" fmla="*/ 507992 h 1435671"/>
                <a:gd name="connsiteX3377" fmla="*/ 3732275 w 3760754"/>
                <a:gd name="connsiteY3377" fmla="*/ 506337 h 1435671"/>
                <a:gd name="connsiteX3378" fmla="*/ 3730101 w 3760754"/>
                <a:gd name="connsiteY3378" fmla="*/ 503946 h 1435671"/>
                <a:gd name="connsiteX3379" fmla="*/ 3728430 w 3760754"/>
                <a:gd name="connsiteY3379" fmla="*/ 501004 h 1435671"/>
                <a:gd name="connsiteX3380" fmla="*/ 3727761 w 3760754"/>
                <a:gd name="connsiteY3380" fmla="*/ 499533 h 1435671"/>
                <a:gd name="connsiteX3381" fmla="*/ 3726925 w 3760754"/>
                <a:gd name="connsiteY3381" fmla="*/ 496591 h 1435671"/>
                <a:gd name="connsiteX3382" fmla="*/ 3727260 w 3760754"/>
                <a:gd name="connsiteY3382" fmla="*/ 487212 h 1435671"/>
                <a:gd name="connsiteX3383" fmla="*/ 3727928 w 3760754"/>
                <a:gd name="connsiteY3383" fmla="*/ 485189 h 1435671"/>
                <a:gd name="connsiteX3384" fmla="*/ 3728764 w 3760754"/>
                <a:gd name="connsiteY3384" fmla="*/ 483166 h 1435671"/>
                <a:gd name="connsiteX3385" fmla="*/ 3730269 w 3760754"/>
                <a:gd name="connsiteY3385" fmla="*/ 480776 h 1435671"/>
                <a:gd name="connsiteX3386" fmla="*/ 3732776 w 3760754"/>
                <a:gd name="connsiteY3386" fmla="*/ 478201 h 1435671"/>
                <a:gd name="connsiteX3387" fmla="*/ 3735451 w 3760754"/>
                <a:gd name="connsiteY3387" fmla="*/ 476730 h 1435671"/>
                <a:gd name="connsiteX3388" fmla="*/ 3739129 w 3760754"/>
                <a:gd name="connsiteY3388" fmla="*/ 465880 h 1435671"/>
                <a:gd name="connsiteX3389" fmla="*/ 3730770 w 3760754"/>
                <a:gd name="connsiteY3389" fmla="*/ 467351 h 1435671"/>
                <a:gd name="connsiteX3390" fmla="*/ 3725755 w 3760754"/>
                <a:gd name="connsiteY3390" fmla="*/ 470478 h 1435671"/>
                <a:gd name="connsiteX3391" fmla="*/ 3723414 w 3760754"/>
                <a:gd name="connsiteY3391" fmla="*/ 472684 h 1435671"/>
                <a:gd name="connsiteX3392" fmla="*/ 3721074 w 3760754"/>
                <a:gd name="connsiteY3392" fmla="*/ 475626 h 1435671"/>
                <a:gd name="connsiteX3393" fmla="*/ 3719736 w 3760754"/>
                <a:gd name="connsiteY3393" fmla="*/ 478017 h 1435671"/>
                <a:gd name="connsiteX3394" fmla="*/ 3718232 w 3760754"/>
                <a:gd name="connsiteY3394" fmla="*/ 481695 h 1435671"/>
                <a:gd name="connsiteX3395" fmla="*/ 3717563 w 3760754"/>
                <a:gd name="connsiteY3395" fmla="*/ 484086 h 1435671"/>
                <a:gd name="connsiteX3396" fmla="*/ 3716895 w 3760754"/>
                <a:gd name="connsiteY3396" fmla="*/ 487580 h 1435671"/>
                <a:gd name="connsiteX3397" fmla="*/ 3717061 w 3760754"/>
                <a:gd name="connsiteY3397" fmla="*/ 497326 h 1435671"/>
                <a:gd name="connsiteX3398" fmla="*/ 3717730 w 3760754"/>
                <a:gd name="connsiteY3398" fmla="*/ 500636 h 1435671"/>
                <a:gd name="connsiteX3399" fmla="*/ 3718566 w 3760754"/>
                <a:gd name="connsiteY3399" fmla="*/ 503211 h 1435671"/>
                <a:gd name="connsiteX3400" fmla="*/ 3719235 w 3760754"/>
                <a:gd name="connsiteY3400" fmla="*/ 504866 h 1435671"/>
                <a:gd name="connsiteX3401" fmla="*/ 3720739 w 3760754"/>
                <a:gd name="connsiteY3401" fmla="*/ 507808 h 1435671"/>
                <a:gd name="connsiteX3402" fmla="*/ 3722244 w 3760754"/>
                <a:gd name="connsiteY3402" fmla="*/ 510015 h 1435671"/>
                <a:gd name="connsiteX3403" fmla="*/ 3724585 w 3760754"/>
                <a:gd name="connsiteY3403" fmla="*/ 512589 h 1435671"/>
                <a:gd name="connsiteX3404" fmla="*/ 3726758 w 3760754"/>
                <a:gd name="connsiteY3404" fmla="*/ 514428 h 1435671"/>
                <a:gd name="connsiteX3405" fmla="*/ 3730603 w 3760754"/>
                <a:gd name="connsiteY3405" fmla="*/ 516635 h 1435671"/>
                <a:gd name="connsiteX3406" fmla="*/ 3735953 w 3760754"/>
                <a:gd name="connsiteY3406" fmla="*/ 518106 h 1435671"/>
                <a:gd name="connsiteX3407" fmla="*/ 3736788 w 3760754"/>
                <a:gd name="connsiteY3407" fmla="*/ 518290 h 1435671"/>
                <a:gd name="connsiteX3408" fmla="*/ 3739631 w 3760754"/>
                <a:gd name="connsiteY3408" fmla="*/ 518290 h 1435671"/>
                <a:gd name="connsiteX3409" fmla="*/ 3739798 w 3760754"/>
                <a:gd name="connsiteY3409" fmla="*/ 518290 h 1435671"/>
                <a:gd name="connsiteX3410" fmla="*/ 3748658 w 3760754"/>
                <a:gd name="connsiteY3410" fmla="*/ 514980 h 1435671"/>
                <a:gd name="connsiteX3411" fmla="*/ 3751835 w 3760754"/>
                <a:gd name="connsiteY3411" fmla="*/ 512222 h 1435671"/>
                <a:gd name="connsiteX3412" fmla="*/ 3754008 w 3760754"/>
                <a:gd name="connsiteY3412" fmla="*/ 509647 h 1435671"/>
                <a:gd name="connsiteX3413" fmla="*/ 3755512 w 3760754"/>
                <a:gd name="connsiteY3413" fmla="*/ 507257 h 1435671"/>
                <a:gd name="connsiteX3414" fmla="*/ 3757017 w 3760754"/>
                <a:gd name="connsiteY3414" fmla="*/ 504314 h 1435671"/>
                <a:gd name="connsiteX3415" fmla="*/ 3757853 w 3760754"/>
                <a:gd name="connsiteY3415" fmla="*/ 502291 h 1435671"/>
                <a:gd name="connsiteX3416" fmla="*/ 3758522 w 3760754"/>
                <a:gd name="connsiteY3416" fmla="*/ 500085 h 1435671"/>
                <a:gd name="connsiteX3417" fmla="*/ 3759358 w 3760754"/>
                <a:gd name="connsiteY3417" fmla="*/ 496223 h 1435671"/>
                <a:gd name="connsiteX3418" fmla="*/ 3759525 w 3760754"/>
                <a:gd name="connsiteY3418" fmla="*/ 494200 h 1435671"/>
                <a:gd name="connsiteX3419" fmla="*/ 3759358 w 3760754"/>
                <a:gd name="connsiteY3419" fmla="*/ 494384 h 1435671"/>
                <a:gd name="connsiteX3420" fmla="*/ 3759358 w 3760754"/>
                <a:gd name="connsiteY3420" fmla="*/ 490522 h 1435671"/>
                <a:gd name="connsiteX3421" fmla="*/ 3759358 w 3760754"/>
                <a:gd name="connsiteY3421" fmla="*/ 490338 h 1435671"/>
                <a:gd name="connsiteX3422" fmla="*/ 3759023 w 3760754"/>
                <a:gd name="connsiteY3422" fmla="*/ 487212 h 1435671"/>
                <a:gd name="connsiteX3423" fmla="*/ 3758187 w 3760754"/>
                <a:gd name="connsiteY3423" fmla="*/ 483534 h 1435671"/>
                <a:gd name="connsiteX3424" fmla="*/ 3757519 w 3760754"/>
                <a:gd name="connsiteY3424" fmla="*/ 481327 h 1435671"/>
                <a:gd name="connsiteX3425" fmla="*/ 3756014 w 3760754"/>
                <a:gd name="connsiteY3425" fmla="*/ 477834 h 1435671"/>
                <a:gd name="connsiteX3426" fmla="*/ 3754509 w 3760754"/>
                <a:gd name="connsiteY3426" fmla="*/ 475259 h 1435671"/>
                <a:gd name="connsiteX3427" fmla="*/ 3753005 w 3760754"/>
                <a:gd name="connsiteY3427" fmla="*/ 473236 h 1435671"/>
                <a:gd name="connsiteX3428" fmla="*/ 3751500 w 3760754"/>
                <a:gd name="connsiteY3428" fmla="*/ 471581 h 1435671"/>
                <a:gd name="connsiteX3429" fmla="*/ 3748324 w 3760754"/>
                <a:gd name="connsiteY3429" fmla="*/ 469007 h 1435671"/>
                <a:gd name="connsiteX3430" fmla="*/ 3745649 w 3760754"/>
                <a:gd name="connsiteY3430" fmla="*/ 467536 h 1435671"/>
                <a:gd name="connsiteX3431" fmla="*/ 3739129 w 3760754"/>
                <a:gd name="connsiteY3431" fmla="*/ 465880 h 1435671"/>
                <a:gd name="connsiteX3432" fmla="*/ 3738032 w 3760754"/>
                <a:gd name="connsiteY3432" fmla="*/ 420920 h 1435671"/>
                <a:gd name="connsiteX3433" fmla="*/ 3744473 w 3760754"/>
                <a:gd name="connsiteY3433" fmla="*/ 427228 h 1435671"/>
                <a:gd name="connsiteX3434" fmla="*/ 3741104 w 3760754"/>
                <a:gd name="connsiteY3434" fmla="*/ 432776 h 1435671"/>
                <a:gd name="connsiteX3435" fmla="*/ 3741104 w 3760754"/>
                <a:gd name="connsiteY3435" fmla="*/ 438485 h 1435671"/>
                <a:gd name="connsiteX3436" fmla="*/ 3738032 w 3760754"/>
                <a:gd name="connsiteY3436" fmla="*/ 441493 h 1435671"/>
                <a:gd name="connsiteX3437" fmla="*/ 3734960 w 3760754"/>
                <a:gd name="connsiteY3437" fmla="*/ 438485 h 1435671"/>
                <a:gd name="connsiteX3438" fmla="*/ 3734960 w 3760754"/>
                <a:gd name="connsiteY3438" fmla="*/ 432776 h 1435671"/>
                <a:gd name="connsiteX3439" fmla="*/ 3731590 w 3760754"/>
                <a:gd name="connsiteY3439" fmla="*/ 427228 h 1435671"/>
                <a:gd name="connsiteX3440" fmla="*/ 3738032 w 3760754"/>
                <a:gd name="connsiteY3440" fmla="*/ 420920 h 1435671"/>
                <a:gd name="connsiteX3441" fmla="*/ 3738210 w 3760754"/>
                <a:gd name="connsiteY3441" fmla="*/ 394588 h 1435671"/>
                <a:gd name="connsiteX3442" fmla="*/ 3746141 w 3760754"/>
                <a:gd name="connsiteY3442" fmla="*/ 399844 h 1435671"/>
                <a:gd name="connsiteX3443" fmla="*/ 3746770 w 3760754"/>
                <a:gd name="connsiteY3443" fmla="*/ 402961 h 1435671"/>
                <a:gd name="connsiteX3444" fmla="*/ 3744566 w 3760754"/>
                <a:gd name="connsiteY3444" fmla="*/ 402961 h 1435671"/>
                <a:gd name="connsiteX3445" fmla="*/ 3732040 w 3760754"/>
                <a:gd name="connsiteY3445" fmla="*/ 402961 h 1435671"/>
                <a:gd name="connsiteX3446" fmla="*/ 3729650 w 3760754"/>
                <a:gd name="connsiteY3446" fmla="*/ 402961 h 1435671"/>
                <a:gd name="connsiteX3447" fmla="*/ 3730280 w 3760754"/>
                <a:gd name="connsiteY3447" fmla="*/ 399844 h 1435671"/>
                <a:gd name="connsiteX3448" fmla="*/ 3738210 w 3760754"/>
                <a:gd name="connsiteY3448" fmla="*/ 394588 h 1435671"/>
                <a:gd name="connsiteX3449" fmla="*/ 3738210 w 3760754"/>
                <a:gd name="connsiteY3449" fmla="*/ 385981 h 1435671"/>
                <a:gd name="connsiteX3450" fmla="*/ 3721346 w 3760754"/>
                <a:gd name="connsiteY3450" fmla="*/ 399725 h 1435671"/>
                <a:gd name="connsiteX3451" fmla="*/ 3721020 w 3760754"/>
                <a:gd name="connsiteY3451" fmla="*/ 402961 h 1435671"/>
                <a:gd name="connsiteX3452" fmla="*/ 3720055 w 3760754"/>
                <a:gd name="connsiteY3452" fmla="*/ 402961 h 1435671"/>
                <a:gd name="connsiteX3453" fmla="*/ 3715666 w 3760754"/>
                <a:gd name="connsiteY3453" fmla="*/ 407237 h 1435671"/>
                <a:gd name="connsiteX3454" fmla="*/ 3715666 w 3760754"/>
                <a:gd name="connsiteY3454" fmla="*/ 441054 h 1435671"/>
                <a:gd name="connsiteX3455" fmla="*/ 3720055 w 3760754"/>
                <a:gd name="connsiteY3455" fmla="*/ 445329 h 1435671"/>
                <a:gd name="connsiteX3456" fmla="*/ 3756365 w 3760754"/>
                <a:gd name="connsiteY3456" fmla="*/ 445329 h 1435671"/>
                <a:gd name="connsiteX3457" fmla="*/ 3760754 w 3760754"/>
                <a:gd name="connsiteY3457" fmla="*/ 441054 h 1435671"/>
                <a:gd name="connsiteX3458" fmla="*/ 3760754 w 3760754"/>
                <a:gd name="connsiteY3458" fmla="*/ 407237 h 1435671"/>
                <a:gd name="connsiteX3459" fmla="*/ 3756365 w 3760754"/>
                <a:gd name="connsiteY3459" fmla="*/ 402961 h 1435671"/>
                <a:gd name="connsiteX3460" fmla="*/ 3755798 w 3760754"/>
                <a:gd name="connsiteY3460" fmla="*/ 402961 h 1435671"/>
                <a:gd name="connsiteX3461" fmla="*/ 3755400 w 3760754"/>
                <a:gd name="connsiteY3461" fmla="*/ 402961 h 1435671"/>
                <a:gd name="connsiteX3462" fmla="*/ 3755074 w 3760754"/>
                <a:gd name="connsiteY3462" fmla="*/ 399725 h 1435671"/>
                <a:gd name="connsiteX3463" fmla="*/ 3738210 w 3760754"/>
                <a:gd name="connsiteY3463" fmla="*/ 385981 h 1435671"/>
                <a:gd name="connsiteX3464" fmla="*/ 3738032 w 3760754"/>
                <a:gd name="connsiteY3464" fmla="*/ 342435 h 1435671"/>
                <a:gd name="connsiteX3465" fmla="*/ 3744473 w 3760754"/>
                <a:gd name="connsiteY3465" fmla="*/ 348742 h 1435671"/>
                <a:gd name="connsiteX3466" fmla="*/ 3741104 w 3760754"/>
                <a:gd name="connsiteY3466" fmla="*/ 354290 h 1435671"/>
                <a:gd name="connsiteX3467" fmla="*/ 3741104 w 3760754"/>
                <a:gd name="connsiteY3467" fmla="*/ 360000 h 1435671"/>
                <a:gd name="connsiteX3468" fmla="*/ 3738032 w 3760754"/>
                <a:gd name="connsiteY3468" fmla="*/ 363008 h 1435671"/>
                <a:gd name="connsiteX3469" fmla="*/ 3734960 w 3760754"/>
                <a:gd name="connsiteY3469" fmla="*/ 360000 h 1435671"/>
                <a:gd name="connsiteX3470" fmla="*/ 3734960 w 3760754"/>
                <a:gd name="connsiteY3470" fmla="*/ 354290 h 1435671"/>
                <a:gd name="connsiteX3471" fmla="*/ 3731590 w 3760754"/>
                <a:gd name="connsiteY3471" fmla="*/ 348742 h 1435671"/>
                <a:gd name="connsiteX3472" fmla="*/ 3738032 w 3760754"/>
                <a:gd name="connsiteY3472" fmla="*/ 342435 h 1435671"/>
                <a:gd name="connsiteX3473" fmla="*/ 3738210 w 3760754"/>
                <a:gd name="connsiteY3473" fmla="*/ 316102 h 1435671"/>
                <a:gd name="connsiteX3474" fmla="*/ 3746141 w 3760754"/>
                <a:gd name="connsiteY3474" fmla="*/ 321359 h 1435671"/>
                <a:gd name="connsiteX3475" fmla="*/ 3746770 w 3760754"/>
                <a:gd name="connsiteY3475" fmla="*/ 324476 h 1435671"/>
                <a:gd name="connsiteX3476" fmla="*/ 3744566 w 3760754"/>
                <a:gd name="connsiteY3476" fmla="*/ 324476 h 1435671"/>
                <a:gd name="connsiteX3477" fmla="*/ 3732040 w 3760754"/>
                <a:gd name="connsiteY3477" fmla="*/ 324476 h 1435671"/>
                <a:gd name="connsiteX3478" fmla="*/ 3729650 w 3760754"/>
                <a:gd name="connsiteY3478" fmla="*/ 324476 h 1435671"/>
                <a:gd name="connsiteX3479" fmla="*/ 3730280 w 3760754"/>
                <a:gd name="connsiteY3479" fmla="*/ 321359 h 1435671"/>
                <a:gd name="connsiteX3480" fmla="*/ 3738210 w 3760754"/>
                <a:gd name="connsiteY3480" fmla="*/ 316102 h 1435671"/>
                <a:gd name="connsiteX3481" fmla="*/ 3738210 w 3760754"/>
                <a:gd name="connsiteY3481" fmla="*/ 307495 h 1435671"/>
                <a:gd name="connsiteX3482" fmla="*/ 3721346 w 3760754"/>
                <a:gd name="connsiteY3482" fmla="*/ 321240 h 1435671"/>
                <a:gd name="connsiteX3483" fmla="*/ 3721020 w 3760754"/>
                <a:gd name="connsiteY3483" fmla="*/ 324476 h 1435671"/>
                <a:gd name="connsiteX3484" fmla="*/ 3720055 w 3760754"/>
                <a:gd name="connsiteY3484" fmla="*/ 324476 h 1435671"/>
                <a:gd name="connsiteX3485" fmla="*/ 3715666 w 3760754"/>
                <a:gd name="connsiteY3485" fmla="*/ 328751 h 1435671"/>
                <a:gd name="connsiteX3486" fmla="*/ 3715666 w 3760754"/>
                <a:gd name="connsiteY3486" fmla="*/ 362569 h 1435671"/>
                <a:gd name="connsiteX3487" fmla="*/ 3720055 w 3760754"/>
                <a:gd name="connsiteY3487" fmla="*/ 366844 h 1435671"/>
                <a:gd name="connsiteX3488" fmla="*/ 3756365 w 3760754"/>
                <a:gd name="connsiteY3488" fmla="*/ 366844 h 1435671"/>
                <a:gd name="connsiteX3489" fmla="*/ 3760754 w 3760754"/>
                <a:gd name="connsiteY3489" fmla="*/ 362569 h 1435671"/>
                <a:gd name="connsiteX3490" fmla="*/ 3760754 w 3760754"/>
                <a:gd name="connsiteY3490" fmla="*/ 328751 h 1435671"/>
                <a:gd name="connsiteX3491" fmla="*/ 3756365 w 3760754"/>
                <a:gd name="connsiteY3491" fmla="*/ 324476 h 1435671"/>
                <a:gd name="connsiteX3492" fmla="*/ 3755798 w 3760754"/>
                <a:gd name="connsiteY3492" fmla="*/ 324476 h 1435671"/>
                <a:gd name="connsiteX3493" fmla="*/ 3755400 w 3760754"/>
                <a:gd name="connsiteY3493" fmla="*/ 324476 h 1435671"/>
                <a:gd name="connsiteX3494" fmla="*/ 3755074 w 3760754"/>
                <a:gd name="connsiteY3494" fmla="*/ 321240 h 1435671"/>
                <a:gd name="connsiteX3495" fmla="*/ 3738210 w 3760754"/>
                <a:gd name="connsiteY3495" fmla="*/ 307495 h 1435671"/>
                <a:gd name="connsiteX3496" fmla="*/ 3739589 w 3760754"/>
                <a:gd name="connsiteY3496" fmla="*/ 234651 h 1435671"/>
                <a:gd name="connsiteX3497" fmla="*/ 3736831 w 3760754"/>
                <a:gd name="connsiteY3497" fmla="*/ 234651 h 1435671"/>
                <a:gd name="connsiteX3498" fmla="*/ 3733705 w 3760754"/>
                <a:gd name="connsiteY3498" fmla="*/ 236306 h 1435671"/>
                <a:gd name="connsiteX3499" fmla="*/ 3732234 w 3760754"/>
                <a:gd name="connsiteY3499" fmla="*/ 240536 h 1435671"/>
                <a:gd name="connsiteX3500" fmla="*/ 3732234 w 3760754"/>
                <a:gd name="connsiteY3500" fmla="*/ 240903 h 1435671"/>
                <a:gd name="connsiteX3501" fmla="*/ 3732234 w 3760754"/>
                <a:gd name="connsiteY3501" fmla="*/ 276946 h 1435671"/>
                <a:gd name="connsiteX3502" fmla="*/ 3731866 w 3760754"/>
                <a:gd name="connsiteY3502" fmla="*/ 277314 h 1435671"/>
                <a:gd name="connsiteX3503" fmla="*/ 3726901 w 3760754"/>
                <a:gd name="connsiteY3503" fmla="*/ 277314 h 1435671"/>
                <a:gd name="connsiteX3504" fmla="*/ 3724142 w 3760754"/>
                <a:gd name="connsiteY3504" fmla="*/ 278050 h 1435671"/>
                <a:gd name="connsiteX3505" fmla="*/ 3721568 w 3760754"/>
                <a:gd name="connsiteY3505" fmla="*/ 282647 h 1435671"/>
                <a:gd name="connsiteX3506" fmla="*/ 3723407 w 3760754"/>
                <a:gd name="connsiteY3506" fmla="*/ 286509 h 1435671"/>
                <a:gd name="connsiteX3507" fmla="*/ 3726165 w 3760754"/>
                <a:gd name="connsiteY3507" fmla="*/ 287796 h 1435671"/>
                <a:gd name="connsiteX3508" fmla="*/ 3726349 w 3760754"/>
                <a:gd name="connsiteY3508" fmla="*/ 287796 h 1435671"/>
                <a:gd name="connsiteX3509" fmla="*/ 3726533 w 3760754"/>
                <a:gd name="connsiteY3509" fmla="*/ 287796 h 1435671"/>
                <a:gd name="connsiteX3510" fmla="*/ 3726901 w 3760754"/>
                <a:gd name="connsiteY3510" fmla="*/ 287796 h 1435671"/>
                <a:gd name="connsiteX3511" fmla="*/ 3748784 w 3760754"/>
                <a:gd name="connsiteY3511" fmla="*/ 287796 h 1435671"/>
                <a:gd name="connsiteX3512" fmla="*/ 3749152 w 3760754"/>
                <a:gd name="connsiteY3512" fmla="*/ 287796 h 1435671"/>
                <a:gd name="connsiteX3513" fmla="*/ 3749703 w 3760754"/>
                <a:gd name="connsiteY3513" fmla="*/ 287796 h 1435671"/>
                <a:gd name="connsiteX3514" fmla="*/ 3750255 w 3760754"/>
                <a:gd name="connsiteY3514" fmla="*/ 287613 h 1435671"/>
                <a:gd name="connsiteX3515" fmla="*/ 3752646 w 3760754"/>
                <a:gd name="connsiteY3515" fmla="*/ 286325 h 1435671"/>
                <a:gd name="connsiteX3516" fmla="*/ 3754300 w 3760754"/>
                <a:gd name="connsiteY3516" fmla="*/ 282463 h 1435671"/>
                <a:gd name="connsiteX3517" fmla="*/ 3752829 w 3760754"/>
                <a:gd name="connsiteY3517" fmla="*/ 278970 h 1435671"/>
                <a:gd name="connsiteX3518" fmla="*/ 3748967 w 3760754"/>
                <a:gd name="connsiteY3518" fmla="*/ 277314 h 1435671"/>
                <a:gd name="connsiteX3519" fmla="*/ 3743635 w 3760754"/>
                <a:gd name="connsiteY3519" fmla="*/ 277314 h 1435671"/>
                <a:gd name="connsiteX3520" fmla="*/ 3743267 w 3760754"/>
                <a:gd name="connsiteY3520" fmla="*/ 276946 h 1435671"/>
                <a:gd name="connsiteX3521" fmla="*/ 3743267 w 3760754"/>
                <a:gd name="connsiteY3521" fmla="*/ 245685 h 1435671"/>
                <a:gd name="connsiteX3522" fmla="*/ 3743635 w 3760754"/>
                <a:gd name="connsiteY3522" fmla="*/ 245317 h 1435671"/>
                <a:gd name="connsiteX3523" fmla="*/ 3747681 w 3760754"/>
                <a:gd name="connsiteY3523" fmla="*/ 245317 h 1435671"/>
                <a:gd name="connsiteX3524" fmla="*/ 3752646 w 3760754"/>
                <a:gd name="connsiteY3524" fmla="*/ 242191 h 1435671"/>
                <a:gd name="connsiteX3525" fmla="*/ 3752829 w 3760754"/>
                <a:gd name="connsiteY3525" fmla="*/ 238329 h 1435671"/>
                <a:gd name="connsiteX3526" fmla="*/ 3747864 w 3760754"/>
                <a:gd name="connsiteY3526" fmla="*/ 234835 h 1435671"/>
                <a:gd name="connsiteX3527" fmla="*/ 3739589 w 3760754"/>
                <a:gd name="connsiteY3527" fmla="*/ 234651 h 1435671"/>
                <a:gd name="connsiteX3528" fmla="*/ 3738032 w 3760754"/>
                <a:gd name="connsiteY3528" fmla="*/ 189644 h 1435671"/>
                <a:gd name="connsiteX3529" fmla="*/ 3744473 w 3760754"/>
                <a:gd name="connsiteY3529" fmla="*/ 195952 h 1435671"/>
                <a:gd name="connsiteX3530" fmla="*/ 3741104 w 3760754"/>
                <a:gd name="connsiteY3530" fmla="*/ 201499 h 1435671"/>
                <a:gd name="connsiteX3531" fmla="*/ 3741104 w 3760754"/>
                <a:gd name="connsiteY3531" fmla="*/ 207209 h 1435671"/>
                <a:gd name="connsiteX3532" fmla="*/ 3738032 w 3760754"/>
                <a:gd name="connsiteY3532" fmla="*/ 210217 h 1435671"/>
                <a:gd name="connsiteX3533" fmla="*/ 3734960 w 3760754"/>
                <a:gd name="connsiteY3533" fmla="*/ 207209 h 1435671"/>
                <a:gd name="connsiteX3534" fmla="*/ 3734960 w 3760754"/>
                <a:gd name="connsiteY3534" fmla="*/ 201499 h 1435671"/>
                <a:gd name="connsiteX3535" fmla="*/ 3731590 w 3760754"/>
                <a:gd name="connsiteY3535" fmla="*/ 195952 h 1435671"/>
                <a:gd name="connsiteX3536" fmla="*/ 3738032 w 3760754"/>
                <a:gd name="connsiteY3536" fmla="*/ 189644 h 1435671"/>
                <a:gd name="connsiteX3537" fmla="*/ 3738210 w 3760754"/>
                <a:gd name="connsiteY3537" fmla="*/ 163312 h 1435671"/>
                <a:gd name="connsiteX3538" fmla="*/ 3746141 w 3760754"/>
                <a:gd name="connsiteY3538" fmla="*/ 168568 h 1435671"/>
                <a:gd name="connsiteX3539" fmla="*/ 3746770 w 3760754"/>
                <a:gd name="connsiteY3539" fmla="*/ 171685 h 1435671"/>
                <a:gd name="connsiteX3540" fmla="*/ 3744566 w 3760754"/>
                <a:gd name="connsiteY3540" fmla="*/ 171685 h 1435671"/>
                <a:gd name="connsiteX3541" fmla="*/ 3732040 w 3760754"/>
                <a:gd name="connsiteY3541" fmla="*/ 171685 h 1435671"/>
                <a:gd name="connsiteX3542" fmla="*/ 3729650 w 3760754"/>
                <a:gd name="connsiteY3542" fmla="*/ 171685 h 1435671"/>
                <a:gd name="connsiteX3543" fmla="*/ 3730280 w 3760754"/>
                <a:gd name="connsiteY3543" fmla="*/ 168568 h 1435671"/>
                <a:gd name="connsiteX3544" fmla="*/ 3738210 w 3760754"/>
                <a:gd name="connsiteY3544" fmla="*/ 163312 h 1435671"/>
                <a:gd name="connsiteX3545" fmla="*/ 3738210 w 3760754"/>
                <a:gd name="connsiteY3545" fmla="*/ 154705 h 1435671"/>
                <a:gd name="connsiteX3546" fmla="*/ 3721346 w 3760754"/>
                <a:gd name="connsiteY3546" fmla="*/ 168449 h 1435671"/>
                <a:gd name="connsiteX3547" fmla="*/ 3721020 w 3760754"/>
                <a:gd name="connsiteY3547" fmla="*/ 171685 h 1435671"/>
                <a:gd name="connsiteX3548" fmla="*/ 3720055 w 3760754"/>
                <a:gd name="connsiteY3548" fmla="*/ 171685 h 1435671"/>
                <a:gd name="connsiteX3549" fmla="*/ 3715666 w 3760754"/>
                <a:gd name="connsiteY3549" fmla="*/ 175961 h 1435671"/>
                <a:gd name="connsiteX3550" fmla="*/ 3715666 w 3760754"/>
                <a:gd name="connsiteY3550" fmla="*/ 209778 h 1435671"/>
                <a:gd name="connsiteX3551" fmla="*/ 3720055 w 3760754"/>
                <a:gd name="connsiteY3551" fmla="*/ 214053 h 1435671"/>
                <a:gd name="connsiteX3552" fmla="*/ 3756365 w 3760754"/>
                <a:gd name="connsiteY3552" fmla="*/ 214053 h 1435671"/>
                <a:gd name="connsiteX3553" fmla="*/ 3760754 w 3760754"/>
                <a:gd name="connsiteY3553" fmla="*/ 209778 h 1435671"/>
                <a:gd name="connsiteX3554" fmla="*/ 3760754 w 3760754"/>
                <a:gd name="connsiteY3554" fmla="*/ 175961 h 1435671"/>
                <a:gd name="connsiteX3555" fmla="*/ 3756365 w 3760754"/>
                <a:gd name="connsiteY3555" fmla="*/ 171685 h 1435671"/>
                <a:gd name="connsiteX3556" fmla="*/ 3755798 w 3760754"/>
                <a:gd name="connsiteY3556" fmla="*/ 171685 h 1435671"/>
                <a:gd name="connsiteX3557" fmla="*/ 3755400 w 3760754"/>
                <a:gd name="connsiteY3557" fmla="*/ 171685 h 1435671"/>
                <a:gd name="connsiteX3558" fmla="*/ 3755074 w 3760754"/>
                <a:gd name="connsiteY3558" fmla="*/ 168449 h 1435671"/>
                <a:gd name="connsiteX3559" fmla="*/ 3738210 w 3760754"/>
                <a:gd name="connsiteY3559" fmla="*/ 154705 h 1435671"/>
                <a:gd name="connsiteX3560" fmla="*/ 3738032 w 3760754"/>
                <a:gd name="connsiteY3560" fmla="*/ 111159 h 1435671"/>
                <a:gd name="connsiteX3561" fmla="*/ 3744473 w 3760754"/>
                <a:gd name="connsiteY3561" fmla="*/ 117466 h 1435671"/>
                <a:gd name="connsiteX3562" fmla="*/ 3741104 w 3760754"/>
                <a:gd name="connsiteY3562" fmla="*/ 123014 h 1435671"/>
                <a:gd name="connsiteX3563" fmla="*/ 3741104 w 3760754"/>
                <a:gd name="connsiteY3563" fmla="*/ 128724 h 1435671"/>
                <a:gd name="connsiteX3564" fmla="*/ 3738032 w 3760754"/>
                <a:gd name="connsiteY3564" fmla="*/ 131732 h 1435671"/>
                <a:gd name="connsiteX3565" fmla="*/ 3734960 w 3760754"/>
                <a:gd name="connsiteY3565" fmla="*/ 128724 h 1435671"/>
                <a:gd name="connsiteX3566" fmla="*/ 3734960 w 3760754"/>
                <a:gd name="connsiteY3566" fmla="*/ 123014 h 1435671"/>
                <a:gd name="connsiteX3567" fmla="*/ 3731590 w 3760754"/>
                <a:gd name="connsiteY3567" fmla="*/ 117466 h 1435671"/>
                <a:gd name="connsiteX3568" fmla="*/ 3738032 w 3760754"/>
                <a:gd name="connsiteY3568" fmla="*/ 111159 h 1435671"/>
                <a:gd name="connsiteX3569" fmla="*/ 3738210 w 3760754"/>
                <a:gd name="connsiteY3569" fmla="*/ 84826 h 1435671"/>
                <a:gd name="connsiteX3570" fmla="*/ 3746141 w 3760754"/>
                <a:gd name="connsiteY3570" fmla="*/ 90083 h 1435671"/>
                <a:gd name="connsiteX3571" fmla="*/ 3746770 w 3760754"/>
                <a:gd name="connsiteY3571" fmla="*/ 93200 h 1435671"/>
                <a:gd name="connsiteX3572" fmla="*/ 3744566 w 3760754"/>
                <a:gd name="connsiteY3572" fmla="*/ 93200 h 1435671"/>
                <a:gd name="connsiteX3573" fmla="*/ 3732040 w 3760754"/>
                <a:gd name="connsiteY3573" fmla="*/ 93200 h 1435671"/>
                <a:gd name="connsiteX3574" fmla="*/ 3729650 w 3760754"/>
                <a:gd name="connsiteY3574" fmla="*/ 93200 h 1435671"/>
                <a:gd name="connsiteX3575" fmla="*/ 3730280 w 3760754"/>
                <a:gd name="connsiteY3575" fmla="*/ 90083 h 1435671"/>
                <a:gd name="connsiteX3576" fmla="*/ 3738210 w 3760754"/>
                <a:gd name="connsiteY3576" fmla="*/ 84826 h 1435671"/>
                <a:gd name="connsiteX3577" fmla="*/ 3738210 w 3760754"/>
                <a:gd name="connsiteY3577" fmla="*/ 76219 h 1435671"/>
                <a:gd name="connsiteX3578" fmla="*/ 3721346 w 3760754"/>
                <a:gd name="connsiteY3578" fmla="*/ 89964 h 1435671"/>
                <a:gd name="connsiteX3579" fmla="*/ 3721020 w 3760754"/>
                <a:gd name="connsiteY3579" fmla="*/ 93200 h 1435671"/>
                <a:gd name="connsiteX3580" fmla="*/ 3720055 w 3760754"/>
                <a:gd name="connsiteY3580" fmla="*/ 93200 h 1435671"/>
                <a:gd name="connsiteX3581" fmla="*/ 3715666 w 3760754"/>
                <a:gd name="connsiteY3581" fmla="*/ 97475 h 1435671"/>
                <a:gd name="connsiteX3582" fmla="*/ 3715666 w 3760754"/>
                <a:gd name="connsiteY3582" fmla="*/ 131292 h 1435671"/>
                <a:gd name="connsiteX3583" fmla="*/ 3720055 w 3760754"/>
                <a:gd name="connsiteY3583" fmla="*/ 135568 h 1435671"/>
                <a:gd name="connsiteX3584" fmla="*/ 3756365 w 3760754"/>
                <a:gd name="connsiteY3584" fmla="*/ 135568 h 1435671"/>
                <a:gd name="connsiteX3585" fmla="*/ 3760754 w 3760754"/>
                <a:gd name="connsiteY3585" fmla="*/ 131292 h 1435671"/>
                <a:gd name="connsiteX3586" fmla="*/ 3760754 w 3760754"/>
                <a:gd name="connsiteY3586" fmla="*/ 97475 h 1435671"/>
                <a:gd name="connsiteX3587" fmla="*/ 3756365 w 3760754"/>
                <a:gd name="connsiteY3587" fmla="*/ 93200 h 1435671"/>
                <a:gd name="connsiteX3588" fmla="*/ 3755798 w 3760754"/>
                <a:gd name="connsiteY3588" fmla="*/ 93200 h 1435671"/>
                <a:gd name="connsiteX3589" fmla="*/ 3755400 w 3760754"/>
                <a:gd name="connsiteY3589" fmla="*/ 93200 h 1435671"/>
                <a:gd name="connsiteX3590" fmla="*/ 3755074 w 3760754"/>
                <a:gd name="connsiteY3590" fmla="*/ 89964 h 1435671"/>
                <a:gd name="connsiteX3591" fmla="*/ 3738210 w 3760754"/>
                <a:gd name="connsiteY3591" fmla="*/ 76219 h 1435671"/>
                <a:gd name="connsiteX3592" fmla="*/ 3738032 w 3760754"/>
                <a:gd name="connsiteY3592" fmla="*/ 32673 h 1435671"/>
                <a:gd name="connsiteX3593" fmla="*/ 3744473 w 3760754"/>
                <a:gd name="connsiteY3593" fmla="*/ 38980 h 1435671"/>
                <a:gd name="connsiteX3594" fmla="*/ 3741104 w 3760754"/>
                <a:gd name="connsiteY3594" fmla="*/ 44528 h 1435671"/>
                <a:gd name="connsiteX3595" fmla="*/ 3741104 w 3760754"/>
                <a:gd name="connsiteY3595" fmla="*/ 50238 h 1435671"/>
                <a:gd name="connsiteX3596" fmla="*/ 3738032 w 3760754"/>
                <a:gd name="connsiteY3596" fmla="*/ 53246 h 1435671"/>
                <a:gd name="connsiteX3597" fmla="*/ 3734960 w 3760754"/>
                <a:gd name="connsiteY3597" fmla="*/ 50238 h 1435671"/>
                <a:gd name="connsiteX3598" fmla="*/ 3734960 w 3760754"/>
                <a:gd name="connsiteY3598" fmla="*/ 44528 h 1435671"/>
                <a:gd name="connsiteX3599" fmla="*/ 3731590 w 3760754"/>
                <a:gd name="connsiteY3599" fmla="*/ 38980 h 1435671"/>
                <a:gd name="connsiteX3600" fmla="*/ 3738032 w 3760754"/>
                <a:gd name="connsiteY3600" fmla="*/ 32673 h 1435671"/>
                <a:gd name="connsiteX3601" fmla="*/ 3738210 w 3760754"/>
                <a:gd name="connsiteY3601" fmla="*/ 6340 h 1435671"/>
                <a:gd name="connsiteX3602" fmla="*/ 3746141 w 3760754"/>
                <a:gd name="connsiteY3602" fmla="*/ 11597 h 1435671"/>
                <a:gd name="connsiteX3603" fmla="*/ 3746770 w 3760754"/>
                <a:gd name="connsiteY3603" fmla="*/ 14714 h 1435671"/>
                <a:gd name="connsiteX3604" fmla="*/ 3744566 w 3760754"/>
                <a:gd name="connsiteY3604" fmla="*/ 14714 h 1435671"/>
                <a:gd name="connsiteX3605" fmla="*/ 3732040 w 3760754"/>
                <a:gd name="connsiteY3605" fmla="*/ 14714 h 1435671"/>
                <a:gd name="connsiteX3606" fmla="*/ 3729650 w 3760754"/>
                <a:gd name="connsiteY3606" fmla="*/ 14714 h 1435671"/>
                <a:gd name="connsiteX3607" fmla="*/ 3730280 w 3760754"/>
                <a:gd name="connsiteY3607" fmla="*/ 11597 h 1435671"/>
                <a:gd name="connsiteX3608" fmla="*/ 3738210 w 3760754"/>
                <a:gd name="connsiteY3608" fmla="*/ 6340 h 1435671"/>
                <a:gd name="connsiteX3609" fmla="*/ 3744525 w 3760754"/>
                <a:gd name="connsiteY3609" fmla="*/ 0 h 1435671"/>
                <a:gd name="connsiteX3610" fmla="*/ 3731895 w 3760754"/>
                <a:gd name="connsiteY3610" fmla="*/ 0 h 1435671"/>
                <a:gd name="connsiteX3611" fmla="*/ 3727260 w 3760754"/>
                <a:gd name="connsiteY3611" fmla="*/ 1664 h 1435671"/>
                <a:gd name="connsiteX3612" fmla="*/ 3721346 w 3760754"/>
                <a:gd name="connsiteY3612" fmla="*/ 11478 h 1435671"/>
                <a:gd name="connsiteX3613" fmla="*/ 3721020 w 3760754"/>
                <a:gd name="connsiteY3613" fmla="*/ 14714 h 1435671"/>
                <a:gd name="connsiteX3614" fmla="*/ 3720055 w 3760754"/>
                <a:gd name="connsiteY3614" fmla="*/ 14714 h 1435671"/>
                <a:gd name="connsiteX3615" fmla="*/ 3715666 w 3760754"/>
                <a:gd name="connsiteY3615" fmla="*/ 18989 h 1435671"/>
                <a:gd name="connsiteX3616" fmla="*/ 3715666 w 3760754"/>
                <a:gd name="connsiteY3616" fmla="*/ 52807 h 1435671"/>
                <a:gd name="connsiteX3617" fmla="*/ 3720055 w 3760754"/>
                <a:gd name="connsiteY3617" fmla="*/ 57082 h 1435671"/>
                <a:gd name="connsiteX3618" fmla="*/ 3756365 w 3760754"/>
                <a:gd name="connsiteY3618" fmla="*/ 57082 h 1435671"/>
                <a:gd name="connsiteX3619" fmla="*/ 3760754 w 3760754"/>
                <a:gd name="connsiteY3619" fmla="*/ 52807 h 1435671"/>
                <a:gd name="connsiteX3620" fmla="*/ 3760754 w 3760754"/>
                <a:gd name="connsiteY3620" fmla="*/ 18989 h 1435671"/>
                <a:gd name="connsiteX3621" fmla="*/ 3756365 w 3760754"/>
                <a:gd name="connsiteY3621" fmla="*/ 14714 h 1435671"/>
                <a:gd name="connsiteX3622" fmla="*/ 3755798 w 3760754"/>
                <a:gd name="connsiteY3622" fmla="*/ 14714 h 1435671"/>
                <a:gd name="connsiteX3623" fmla="*/ 3755400 w 3760754"/>
                <a:gd name="connsiteY3623" fmla="*/ 14714 h 1435671"/>
                <a:gd name="connsiteX3624" fmla="*/ 3755074 w 3760754"/>
                <a:gd name="connsiteY3624" fmla="*/ 11478 h 1435671"/>
                <a:gd name="connsiteX3625" fmla="*/ 3749160 w 3760754"/>
                <a:gd name="connsiteY3625" fmla="*/ 1664 h 1435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Lst>
              <a:rect l="l" t="t" r="r" b="b"/>
              <a:pathLst>
                <a:path w="3760754" h="1435671">
                  <a:moveTo>
                    <a:pt x="148298" y="1411262"/>
                  </a:moveTo>
                  <a:cubicBezTo>
                    <a:pt x="151865" y="1411262"/>
                    <a:pt x="154739" y="1414092"/>
                    <a:pt x="154739" y="1417570"/>
                  </a:cubicBezTo>
                  <a:cubicBezTo>
                    <a:pt x="154739" y="1419964"/>
                    <a:pt x="153384" y="1422050"/>
                    <a:pt x="151369" y="1423117"/>
                  </a:cubicBezTo>
                  <a:cubicBezTo>
                    <a:pt x="151369" y="1423117"/>
                    <a:pt x="151369" y="1423117"/>
                    <a:pt x="151369" y="1428827"/>
                  </a:cubicBezTo>
                  <a:cubicBezTo>
                    <a:pt x="151369" y="1430493"/>
                    <a:pt x="149999" y="1431835"/>
                    <a:pt x="148298" y="1431835"/>
                  </a:cubicBezTo>
                  <a:cubicBezTo>
                    <a:pt x="146613" y="1431835"/>
                    <a:pt x="145226" y="1430493"/>
                    <a:pt x="145226" y="1428827"/>
                  </a:cubicBezTo>
                  <a:cubicBezTo>
                    <a:pt x="145226" y="1428827"/>
                    <a:pt x="145226" y="1428827"/>
                    <a:pt x="145226" y="1423117"/>
                  </a:cubicBezTo>
                  <a:cubicBezTo>
                    <a:pt x="143227" y="1422050"/>
                    <a:pt x="141856" y="1419964"/>
                    <a:pt x="141856" y="1417570"/>
                  </a:cubicBezTo>
                  <a:cubicBezTo>
                    <a:pt x="141856" y="1414092"/>
                    <a:pt x="144747" y="1411262"/>
                    <a:pt x="148298" y="1411262"/>
                  </a:cubicBezTo>
                  <a:close/>
                  <a:moveTo>
                    <a:pt x="597115" y="1411262"/>
                  </a:moveTo>
                  <a:cubicBezTo>
                    <a:pt x="600682" y="1411262"/>
                    <a:pt x="603555" y="1414092"/>
                    <a:pt x="603555" y="1417570"/>
                  </a:cubicBezTo>
                  <a:cubicBezTo>
                    <a:pt x="603555" y="1419964"/>
                    <a:pt x="602201" y="1422050"/>
                    <a:pt x="600186" y="1423117"/>
                  </a:cubicBezTo>
                  <a:cubicBezTo>
                    <a:pt x="600186" y="1423117"/>
                    <a:pt x="600186" y="1423117"/>
                    <a:pt x="600186" y="1428827"/>
                  </a:cubicBezTo>
                  <a:cubicBezTo>
                    <a:pt x="600186" y="1430493"/>
                    <a:pt x="598816" y="1431835"/>
                    <a:pt x="597115" y="1431835"/>
                  </a:cubicBezTo>
                  <a:cubicBezTo>
                    <a:pt x="595430" y="1431835"/>
                    <a:pt x="594042" y="1430493"/>
                    <a:pt x="594042" y="1428827"/>
                  </a:cubicBezTo>
                  <a:cubicBezTo>
                    <a:pt x="594042" y="1428827"/>
                    <a:pt x="594042" y="1428827"/>
                    <a:pt x="594042" y="1423117"/>
                  </a:cubicBezTo>
                  <a:cubicBezTo>
                    <a:pt x="592044" y="1422050"/>
                    <a:pt x="590673" y="1419964"/>
                    <a:pt x="590673" y="1417570"/>
                  </a:cubicBezTo>
                  <a:cubicBezTo>
                    <a:pt x="590673" y="1414092"/>
                    <a:pt x="593564" y="1411262"/>
                    <a:pt x="597115" y="1411262"/>
                  </a:cubicBezTo>
                  <a:close/>
                  <a:moveTo>
                    <a:pt x="760291" y="1411262"/>
                  </a:moveTo>
                  <a:cubicBezTo>
                    <a:pt x="763858" y="1411262"/>
                    <a:pt x="766732" y="1414092"/>
                    <a:pt x="766732" y="1417570"/>
                  </a:cubicBezTo>
                  <a:cubicBezTo>
                    <a:pt x="766732" y="1419964"/>
                    <a:pt x="765377" y="1422050"/>
                    <a:pt x="763363" y="1423117"/>
                  </a:cubicBezTo>
                  <a:cubicBezTo>
                    <a:pt x="763363" y="1423117"/>
                    <a:pt x="763363" y="1423117"/>
                    <a:pt x="763363" y="1428827"/>
                  </a:cubicBezTo>
                  <a:cubicBezTo>
                    <a:pt x="763363" y="1430493"/>
                    <a:pt x="761992" y="1431835"/>
                    <a:pt x="760291" y="1431835"/>
                  </a:cubicBezTo>
                  <a:cubicBezTo>
                    <a:pt x="758606" y="1431835"/>
                    <a:pt x="757219" y="1430493"/>
                    <a:pt x="757219" y="1428827"/>
                  </a:cubicBezTo>
                  <a:cubicBezTo>
                    <a:pt x="757219" y="1428827"/>
                    <a:pt x="757219" y="1428827"/>
                    <a:pt x="757219" y="1423117"/>
                  </a:cubicBezTo>
                  <a:cubicBezTo>
                    <a:pt x="755220" y="1422050"/>
                    <a:pt x="753849" y="1419964"/>
                    <a:pt x="753849" y="1417570"/>
                  </a:cubicBezTo>
                  <a:cubicBezTo>
                    <a:pt x="753849" y="1414092"/>
                    <a:pt x="756740" y="1411262"/>
                    <a:pt x="760291" y="1411262"/>
                  </a:cubicBezTo>
                  <a:close/>
                  <a:moveTo>
                    <a:pt x="821449" y="1411262"/>
                  </a:moveTo>
                  <a:cubicBezTo>
                    <a:pt x="825016" y="1411262"/>
                    <a:pt x="827889" y="1414092"/>
                    <a:pt x="827889" y="1417570"/>
                  </a:cubicBezTo>
                  <a:cubicBezTo>
                    <a:pt x="827889" y="1419964"/>
                    <a:pt x="826535" y="1422050"/>
                    <a:pt x="824521" y="1423117"/>
                  </a:cubicBezTo>
                  <a:cubicBezTo>
                    <a:pt x="824521" y="1423117"/>
                    <a:pt x="824521" y="1423117"/>
                    <a:pt x="824521" y="1428827"/>
                  </a:cubicBezTo>
                  <a:cubicBezTo>
                    <a:pt x="824521" y="1430493"/>
                    <a:pt x="823150" y="1431835"/>
                    <a:pt x="821449" y="1431835"/>
                  </a:cubicBezTo>
                  <a:cubicBezTo>
                    <a:pt x="819764" y="1431835"/>
                    <a:pt x="818376" y="1430493"/>
                    <a:pt x="818376" y="1428827"/>
                  </a:cubicBezTo>
                  <a:cubicBezTo>
                    <a:pt x="818376" y="1428827"/>
                    <a:pt x="818376" y="1428827"/>
                    <a:pt x="818376" y="1423117"/>
                  </a:cubicBezTo>
                  <a:cubicBezTo>
                    <a:pt x="816378" y="1422050"/>
                    <a:pt x="815007" y="1419964"/>
                    <a:pt x="815007" y="1417570"/>
                  </a:cubicBezTo>
                  <a:cubicBezTo>
                    <a:pt x="815007" y="1414092"/>
                    <a:pt x="817898" y="1411262"/>
                    <a:pt x="821449" y="1411262"/>
                  </a:cubicBezTo>
                  <a:close/>
                  <a:moveTo>
                    <a:pt x="1168247" y="1411262"/>
                  </a:moveTo>
                  <a:cubicBezTo>
                    <a:pt x="1171815" y="1411262"/>
                    <a:pt x="1174688" y="1414092"/>
                    <a:pt x="1174688" y="1417570"/>
                  </a:cubicBezTo>
                  <a:cubicBezTo>
                    <a:pt x="1174688" y="1419964"/>
                    <a:pt x="1173334" y="1422050"/>
                    <a:pt x="1171320" y="1423117"/>
                  </a:cubicBezTo>
                  <a:cubicBezTo>
                    <a:pt x="1171320" y="1423117"/>
                    <a:pt x="1171320" y="1423117"/>
                    <a:pt x="1171320" y="1428827"/>
                  </a:cubicBezTo>
                  <a:cubicBezTo>
                    <a:pt x="1171320" y="1430493"/>
                    <a:pt x="1169948" y="1431835"/>
                    <a:pt x="1168247" y="1431835"/>
                  </a:cubicBezTo>
                  <a:cubicBezTo>
                    <a:pt x="1166563" y="1431835"/>
                    <a:pt x="1165175" y="1430493"/>
                    <a:pt x="1165175" y="1428827"/>
                  </a:cubicBezTo>
                  <a:cubicBezTo>
                    <a:pt x="1165175" y="1428827"/>
                    <a:pt x="1165175" y="1428827"/>
                    <a:pt x="1165175" y="1423117"/>
                  </a:cubicBezTo>
                  <a:cubicBezTo>
                    <a:pt x="1163176" y="1422050"/>
                    <a:pt x="1161806" y="1419964"/>
                    <a:pt x="1161806" y="1417570"/>
                  </a:cubicBezTo>
                  <a:cubicBezTo>
                    <a:pt x="1161806" y="1414092"/>
                    <a:pt x="1164696" y="1411262"/>
                    <a:pt x="1168247" y="1411262"/>
                  </a:cubicBezTo>
                  <a:close/>
                  <a:moveTo>
                    <a:pt x="1341622" y="1411262"/>
                  </a:moveTo>
                  <a:cubicBezTo>
                    <a:pt x="1345189" y="1411262"/>
                    <a:pt x="1348063" y="1414092"/>
                    <a:pt x="1348063" y="1417570"/>
                  </a:cubicBezTo>
                  <a:cubicBezTo>
                    <a:pt x="1348063" y="1419964"/>
                    <a:pt x="1346709" y="1422050"/>
                    <a:pt x="1344694" y="1423117"/>
                  </a:cubicBezTo>
                  <a:cubicBezTo>
                    <a:pt x="1344694" y="1423117"/>
                    <a:pt x="1344694" y="1423117"/>
                    <a:pt x="1344694" y="1428827"/>
                  </a:cubicBezTo>
                  <a:cubicBezTo>
                    <a:pt x="1344694" y="1430493"/>
                    <a:pt x="1343323" y="1431835"/>
                    <a:pt x="1341622" y="1431835"/>
                  </a:cubicBezTo>
                  <a:cubicBezTo>
                    <a:pt x="1339937" y="1431835"/>
                    <a:pt x="1338550" y="1430493"/>
                    <a:pt x="1338550" y="1428827"/>
                  </a:cubicBezTo>
                  <a:cubicBezTo>
                    <a:pt x="1338550" y="1428827"/>
                    <a:pt x="1338550" y="1428827"/>
                    <a:pt x="1338550" y="1423117"/>
                  </a:cubicBezTo>
                  <a:cubicBezTo>
                    <a:pt x="1336552" y="1422050"/>
                    <a:pt x="1335180" y="1419964"/>
                    <a:pt x="1335180" y="1417570"/>
                  </a:cubicBezTo>
                  <a:cubicBezTo>
                    <a:pt x="1335180" y="1414092"/>
                    <a:pt x="1338071" y="1411262"/>
                    <a:pt x="1341622" y="1411262"/>
                  </a:cubicBezTo>
                  <a:close/>
                  <a:moveTo>
                    <a:pt x="1402780" y="1411262"/>
                  </a:moveTo>
                  <a:cubicBezTo>
                    <a:pt x="1406347" y="1411262"/>
                    <a:pt x="1409221" y="1414092"/>
                    <a:pt x="1409221" y="1417570"/>
                  </a:cubicBezTo>
                  <a:cubicBezTo>
                    <a:pt x="1409221" y="1419964"/>
                    <a:pt x="1407867" y="1422050"/>
                    <a:pt x="1405852" y="1423117"/>
                  </a:cubicBezTo>
                  <a:cubicBezTo>
                    <a:pt x="1405852" y="1423117"/>
                    <a:pt x="1405852" y="1423117"/>
                    <a:pt x="1405852" y="1428827"/>
                  </a:cubicBezTo>
                  <a:cubicBezTo>
                    <a:pt x="1405852" y="1430493"/>
                    <a:pt x="1404481" y="1431835"/>
                    <a:pt x="1402780" y="1431835"/>
                  </a:cubicBezTo>
                  <a:cubicBezTo>
                    <a:pt x="1401095" y="1431835"/>
                    <a:pt x="1399708" y="1430493"/>
                    <a:pt x="1399708" y="1428827"/>
                  </a:cubicBezTo>
                  <a:cubicBezTo>
                    <a:pt x="1399708" y="1428827"/>
                    <a:pt x="1399708" y="1428827"/>
                    <a:pt x="1399708" y="1423117"/>
                  </a:cubicBezTo>
                  <a:cubicBezTo>
                    <a:pt x="1397709" y="1422050"/>
                    <a:pt x="1396338" y="1419964"/>
                    <a:pt x="1396338" y="1417570"/>
                  </a:cubicBezTo>
                  <a:cubicBezTo>
                    <a:pt x="1396338" y="1414092"/>
                    <a:pt x="1399229" y="1411262"/>
                    <a:pt x="1402780" y="1411262"/>
                  </a:cubicBezTo>
                  <a:close/>
                  <a:moveTo>
                    <a:pt x="1463938" y="1411262"/>
                  </a:moveTo>
                  <a:cubicBezTo>
                    <a:pt x="1467505" y="1411262"/>
                    <a:pt x="1470379" y="1414092"/>
                    <a:pt x="1470379" y="1417570"/>
                  </a:cubicBezTo>
                  <a:cubicBezTo>
                    <a:pt x="1470379" y="1419964"/>
                    <a:pt x="1469025" y="1422050"/>
                    <a:pt x="1467010" y="1423117"/>
                  </a:cubicBezTo>
                  <a:cubicBezTo>
                    <a:pt x="1467010" y="1423117"/>
                    <a:pt x="1467010" y="1423117"/>
                    <a:pt x="1467010" y="1428827"/>
                  </a:cubicBezTo>
                  <a:cubicBezTo>
                    <a:pt x="1467010" y="1430493"/>
                    <a:pt x="1465639" y="1431835"/>
                    <a:pt x="1463938" y="1431835"/>
                  </a:cubicBezTo>
                  <a:cubicBezTo>
                    <a:pt x="1462253" y="1431835"/>
                    <a:pt x="1460866" y="1430493"/>
                    <a:pt x="1460866" y="1428827"/>
                  </a:cubicBezTo>
                  <a:cubicBezTo>
                    <a:pt x="1460866" y="1428827"/>
                    <a:pt x="1460866" y="1428827"/>
                    <a:pt x="1460866" y="1423117"/>
                  </a:cubicBezTo>
                  <a:cubicBezTo>
                    <a:pt x="1458867" y="1422050"/>
                    <a:pt x="1457496" y="1419964"/>
                    <a:pt x="1457496" y="1417570"/>
                  </a:cubicBezTo>
                  <a:cubicBezTo>
                    <a:pt x="1457496" y="1414092"/>
                    <a:pt x="1460387" y="1411262"/>
                    <a:pt x="1463938" y="1411262"/>
                  </a:cubicBezTo>
                  <a:close/>
                  <a:moveTo>
                    <a:pt x="1576105" y="1411262"/>
                  </a:moveTo>
                  <a:cubicBezTo>
                    <a:pt x="1579672" y="1411262"/>
                    <a:pt x="1582546" y="1414092"/>
                    <a:pt x="1582546" y="1417570"/>
                  </a:cubicBezTo>
                  <a:cubicBezTo>
                    <a:pt x="1582546" y="1419964"/>
                    <a:pt x="1581192" y="1422050"/>
                    <a:pt x="1579177" y="1423117"/>
                  </a:cubicBezTo>
                  <a:cubicBezTo>
                    <a:pt x="1579177" y="1423117"/>
                    <a:pt x="1579177" y="1423117"/>
                    <a:pt x="1579177" y="1428827"/>
                  </a:cubicBezTo>
                  <a:cubicBezTo>
                    <a:pt x="1579177" y="1430493"/>
                    <a:pt x="1577806" y="1431835"/>
                    <a:pt x="1576105" y="1431835"/>
                  </a:cubicBezTo>
                  <a:cubicBezTo>
                    <a:pt x="1574420" y="1431835"/>
                    <a:pt x="1573033" y="1430493"/>
                    <a:pt x="1573033" y="1428827"/>
                  </a:cubicBezTo>
                  <a:cubicBezTo>
                    <a:pt x="1573033" y="1428827"/>
                    <a:pt x="1573033" y="1428827"/>
                    <a:pt x="1573033" y="1423117"/>
                  </a:cubicBezTo>
                  <a:cubicBezTo>
                    <a:pt x="1571034" y="1422050"/>
                    <a:pt x="1569663" y="1419964"/>
                    <a:pt x="1569663" y="1417570"/>
                  </a:cubicBezTo>
                  <a:cubicBezTo>
                    <a:pt x="1569663" y="1414092"/>
                    <a:pt x="1572554" y="1411262"/>
                    <a:pt x="1576105" y="1411262"/>
                  </a:cubicBezTo>
                  <a:close/>
                  <a:moveTo>
                    <a:pt x="1698470" y="1411262"/>
                  </a:moveTo>
                  <a:cubicBezTo>
                    <a:pt x="1702038" y="1411262"/>
                    <a:pt x="1704911" y="1414092"/>
                    <a:pt x="1704911" y="1417570"/>
                  </a:cubicBezTo>
                  <a:cubicBezTo>
                    <a:pt x="1704911" y="1419964"/>
                    <a:pt x="1703557" y="1422050"/>
                    <a:pt x="1701543" y="1423117"/>
                  </a:cubicBezTo>
                  <a:cubicBezTo>
                    <a:pt x="1701543" y="1423117"/>
                    <a:pt x="1701543" y="1423117"/>
                    <a:pt x="1701543" y="1428827"/>
                  </a:cubicBezTo>
                  <a:cubicBezTo>
                    <a:pt x="1701543" y="1430493"/>
                    <a:pt x="1700171" y="1431835"/>
                    <a:pt x="1698470" y="1431835"/>
                  </a:cubicBezTo>
                  <a:cubicBezTo>
                    <a:pt x="1696786" y="1431835"/>
                    <a:pt x="1695398" y="1430493"/>
                    <a:pt x="1695398" y="1428827"/>
                  </a:cubicBezTo>
                  <a:cubicBezTo>
                    <a:pt x="1695398" y="1428827"/>
                    <a:pt x="1695398" y="1428827"/>
                    <a:pt x="1695398" y="1423117"/>
                  </a:cubicBezTo>
                  <a:cubicBezTo>
                    <a:pt x="1693400" y="1422050"/>
                    <a:pt x="1692029" y="1419964"/>
                    <a:pt x="1692029" y="1417570"/>
                  </a:cubicBezTo>
                  <a:cubicBezTo>
                    <a:pt x="1692029" y="1414092"/>
                    <a:pt x="1694919" y="1411262"/>
                    <a:pt x="1698470" y="1411262"/>
                  </a:cubicBezTo>
                  <a:close/>
                  <a:moveTo>
                    <a:pt x="1759628" y="1411262"/>
                  </a:moveTo>
                  <a:cubicBezTo>
                    <a:pt x="1763196" y="1411262"/>
                    <a:pt x="1766069" y="1414092"/>
                    <a:pt x="1766069" y="1417570"/>
                  </a:cubicBezTo>
                  <a:cubicBezTo>
                    <a:pt x="1766069" y="1419964"/>
                    <a:pt x="1764715" y="1422050"/>
                    <a:pt x="1762700" y="1423117"/>
                  </a:cubicBezTo>
                  <a:cubicBezTo>
                    <a:pt x="1762700" y="1423117"/>
                    <a:pt x="1762700" y="1423117"/>
                    <a:pt x="1762700" y="1428827"/>
                  </a:cubicBezTo>
                  <a:cubicBezTo>
                    <a:pt x="1762700" y="1430493"/>
                    <a:pt x="1761329" y="1431835"/>
                    <a:pt x="1759628" y="1431835"/>
                  </a:cubicBezTo>
                  <a:cubicBezTo>
                    <a:pt x="1757944" y="1431835"/>
                    <a:pt x="1756556" y="1430493"/>
                    <a:pt x="1756556" y="1428827"/>
                  </a:cubicBezTo>
                  <a:cubicBezTo>
                    <a:pt x="1756556" y="1428827"/>
                    <a:pt x="1756556" y="1428827"/>
                    <a:pt x="1756556" y="1423117"/>
                  </a:cubicBezTo>
                  <a:cubicBezTo>
                    <a:pt x="1754557" y="1422050"/>
                    <a:pt x="1753187" y="1419964"/>
                    <a:pt x="1753187" y="1417570"/>
                  </a:cubicBezTo>
                  <a:cubicBezTo>
                    <a:pt x="1753187" y="1414092"/>
                    <a:pt x="1756077" y="1411262"/>
                    <a:pt x="1759628" y="1411262"/>
                  </a:cubicBezTo>
                  <a:close/>
                  <a:moveTo>
                    <a:pt x="1871795" y="1411262"/>
                  </a:moveTo>
                  <a:cubicBezTo>
                    <a:pt x="1875363" y="1411262"/>
                    <a:pt x="1878236" y="1414092"/>
                    <a:pt x="1878236" y="1417570"/>
                  </a:cubicBezTo>
                  <a:cubicBezTo>
                    <a:pt x="1878236" y="1419964"/>
                    <a:pt x="1876882" y="1422050"/>
                    <a:pt x="1874867" y="1423117"/>
                  </a:cubicBezTo>
                  <a:cubicBezTo>
                    <a:pt x="1874867" y="1423117"/>
                    <a:pt x="1874867" y="1423117"/>
                    <a:pt x="1874867" y="1428827"/>
                  </a:cubicBezTo>
                  <a:cubicBezTo>
                    <a:pt x="1874867" y="1430493"/>
                    <a:pt x="1873496" y="1431835"/>
                    <a:pt x="1871795" y="1431835"/>
                  </a:cubicBezTo>
                  <a:cubicBezTo>
                    <a:pt x="1870111" y="1431835"/>
                    <a:pt x="1868723" y="1430493"/>
                    <a:pt x="1868723" y="1428827"/>
                  </a:cubicBezTo>
                  <a:cubicBezTo>
                    <a:pt x="1868723" y="1428827"/>
                    <a:pt x="1868723" y="1428827"/>
                    <a:pt x="1868723" y="1423117"/>
                  </a:cubicBezTo>
                  <a:cubicBezTo>
                    <a:pt x="1866724" y="1422050"/>
                    <a:pt x="1865354" y="1419964"/>
                    <a:pt x="1865354" y="1417570"/>
                  </a:cubicBezTo>
                  <a:cubicBezTo>
                    <a:pt x="1865354" y="1414092"/>
                    <a:pt x="1868244" y="1411262"/>
                    <a:pt x="1871795" y="1411262"/>
                  </a:cubicBezTo>
                  <a:close/>
                  <a:moveTo>
                    <a:pt x="1994157" y="1411262"/>
                  </a:moveTo>
                  <a:cubicBezTo>
                    <a:pt x="1997725" y="1411262"/>
                    <a:pt x="2000599" y="1414092"/>
                    <a:pt x="2000599" y="1417570"/>
                  </a:cubicBezTo>
                  <a:cubicBezTo>
                    <a:pt x="2000599" y="1419964"/>
                    <a:pt x="1999245" y="1422050"/>
                    <a:pt x="1997230" y="1423117"/>
                  </a:cubicBezTo>
                  <a:cubicBezTo>
                    <a:pt x="1997230" y="1423117"/>
                    <a:pt x="1997230" y="1423117"/>
                    <a:pt x="1997230" y="1428827"/>
                  </a:cubicBezTo>
                  <a:cubicBezTo>
                    <a:pt x="1997230" y="1430493"/>
                    <a:pt x="1995859" y="1431835"/>
                    <a:pt x="1994157" y="1431835"/>
                  </a:cubicBezTo>
                  <a:cubicBezTo>
                    <a:pt x="1992473" y="1431835"/>
                    <a:pt x="1991086" y="1430493"/>
                    <a:pt x="1991086" y="1428827"/>
                  </a:cubicBezTo>
                  <a:cubicBezTo>
                    <a:pt x="1991086" y="1428827"/>
                    <a:pt x="1991086" y="1428827"/>
                    <a:pt x="1991086" y="1423117"/>
                  </a:cubicBezTo>
                  <a:cubicBezTo>
                    <a:pt x="1989087" y="1422050"/>
                    <a:pt x="1987717" y="1419964"/>
                    <a:pt x="1987717" y="1417570"/>
                  </a:cubicBezTo>
                  <a:cubicBezTo>
                    <a:pt x="1987717" y="1414092"/>
                    <a:pt x="1990606" y="1411262"/>
                    <a:pt x="1994157" y="1411262"/>
                  </a:cubicBezTo>
                  <a:close/>
                  <a:moveTo>
                    <a:pt x="2106324" y="1411262"/>
                  </a:moveTo>
                  <a:cubicBezTo>
                    <a:pt x="2109892" y="1411262"/>
                    <a:pt x="2112766" y="1414092"/>
                    <a:pt x="2112766" y="1417570"/>
                  </a:cubicBezTo>
                  <a:cubicBezTo>
                    <a:pt x="2112766" y="1419964"/>
                    <a:pt x="2111412" y="1422050"/>
                    <a:pt x="2109397" y="1423117"/>
                  </a:cubicBezTo>
                  <a:cubicBezTo>
                    <a:pt x="2109397" y="1423117"/>
                    <a:pt x="2109397" y="1423117"/>
                    <a:pt x="2109397" y="1428827"/>
                  </a:cubicBezTo>
                  <a:cubicBezTo>
                    <a:pt x="2109397" y="1430493"/>
                    <a:pt x="2108026" y="1431835"/>
                    <a:pt x="2106324" y="1431835"/>
                  </a:cubicBezTo>
                  <a:cubicBezTo>
                    <a:pt x="2104640" y="1431835"/>
                    <a:pt x="2103253" y="1430493"/>
                    <a:pt x="2103253" y="1428827"/>
                  </a:cubicBezTo>
                  <a:cubicBezTo>
                    <a:pt x="2103253" y="1428827"/>
                    <a:pt x="2103253" y="1428827"/>
                    <a:pt x="2103253" y="1423117"/>
                  </a:cubicBezTo>
                  <a:cubicBezTo>
                    <a:pt x="2101254" y="1422050"/>
                    <a:pt x="2099884" y="1419964"/>
                    <a:pt x="2099884" y="1417570"/>
                  </a:cubicBezTo>
                  <a:cubicBezTo>
                    <a:pt x="2099884" y="1414092"/>
                    <a:pt x="2102773" y="1411262"/>
                    <a:pt x="2106324" y="1411262"/>
                  </a:cubicBezTo>
                  <a:close/>
                  <a:moveTo>
                    <a:pt x="2167486" y="1411262"/>
                  </a:moveTo>
                  <a:cubicBezTo>
                    <a:pt x="2171053" y="1411262"/>
                    <a:pt x="2173927" y="1414092"/>
                    <a:pt x="2173927" y="1417570"/>
                  </a:cubicBezTo>
                  <a:cubicBezTo>
                    <a:pt x="2173927" y="1419964"/>
                    <a:pt x="2172572" y="1422050"/>
                    <a:pt x="2170557" y="1423117"/>
                  </a:cubicBezTo>
                  <a:cubicBezTo>
                    <a:pt x="2170557" y="1423117"/>
                    <a:pt x="2170557" y="1423117"/>
                    <a:pt x="2170557" y="1428827"/>
                  </a:cubicBezTo>
                  <a:cubicBezTo>
                    <a:pt x="2170557" y="1430493"/>
                    <a:pt x="2169186" y="1431835"/>
                    <a:pt x="2167486" y="1431835"/>
                  </a:cubicBezTo>
                  <a:cubicBezTo>
                    <a:pt x="2165800" y="1431835"/>
                    <a:pt x="2164411" y="1430493"/>
                    <a:pt x="2164411" y="1428827"/>
                  </a:cubicBezTo>
                  <a:cubicBezTo>
                    <a:pt x="2164411" y="1428827"/>
                    <a:pt x="2164411" y="1428827"/>
                    <a:pt x="2164411" y="1423117"/>
                  </a:cubicBezTo>
                  <a:cubicBezTo>
                    <a:pt x="2162412" y="1422050"/>
                    <a:pt x="2161041" y="1419964"/>
                    <a:pt x="2161041" y="1417570"/>
                  </a:cubicBezTo>
                  <a:cubicBezTo>
                    <a:pt x="2161041" y="1414092"/>
                    <a:pt x="2163931" y="1411262"/>
                    <a:pt x="2167486" y="1411262"/>
                  </a:cubicBezTo>
                  <a:close/>
                  <a:moveTo>
                    <a:pt x="2340859" y="1411262"/>
                  </a:moveTo>
                  <a:cubicBezTo>
                    <a:pt x="2344427" y="1411262"/>
                    <a:pt x="2347301" y="1414092"/>
                    <a:pt x="2347301" y="1417570"/>
                  </a:cubicBezTo>
                  <a:cubicBezTo>
                    <a:pt x="2347301" y="1419964"/>
                    <a:pt x="2345947" y="1422050"/>
                    <a:pt x="2343931" y="1423117"/>
                  </a:cubicBezTo>
                  <a:cubicBezTo>
                    <a:pt x="2343931" y="1423117"/>
                    <a:pt x="2343931" y="1423117"/>
                    <a:pt x="2343931" y="1428827"/>
                  </a:cubicBezTo>
                  <a:cubicBezTo>
                    <a:pt x="2343931" y="1430493"/>
                    <a:pt x="2342561" y="1431835"/>
                    <a:pt x="2340859" y="1431835"/>
                  </a:cubicBezTo>
                  <a:cubicBezTo>
                    <a:pt x="2339175" y="1431835"/>
                    <a:pt x="2337788" y="1430493"/>
                    <a:pt x="2337788" y="1428827"/>
                  </a:cubicBezTo>
                  <a:cubicBezTo>
                    <a:pt x="2337788" y="1428827"/>
                    <a:pt x="2337788" y="1428827"/>
                    <a:pt x="2337788" y="1423117"/>
                  </a:cubicBezTo>
                  <a:cubicBezTo>
                    <a:pt x="2335789" y="1422050"/>
                    <a:pt x="2334418" y="1419964"/>
                    <a:pt x="2334418" y="1417570"/>
                  </a:cubicBezTo>
                  <a:cubicBezTo>
                    <a:pt x="2334418" y="1414092"/>
                    <a:pt x="2337309" y="1411262"/>
                    <a:pt x="2340859" y="1411262"/>
                  </a:cubicBezTo>
                  <a:close/>
                  <a:moveTo>
                    <a:pt x="2626452" y="1411262"/>
                  </a:moveTo>
                  <a:cubicBezTo>
                    <a:pt x="2630019" y="1411262"/>
                    <a:pt x="2632892" y="1414092"/>
                    <a:pt x="2632892" y="1417570"/>
                  </a:cubicBezTo>
                  <a:cubicBezTo>
                    <a:pt x="2632892" y="1419964"/>
                    <a:pt x="2631538" y="1422050"/>
                    <a:pt x="2629523" y="1423117"/>
                  </a:cubicBezTo>
                  <a:cubicBezTo>
                    <a:pt x="2629523" y="1423117"/>
                    <a:pt x="2629523" y="1423117"/>
                    <a:pt x="2629523" y="1428827"/>
                  </a:cubicBezTo>
                  <a:cubicBezTo>
                    <a:pt x="2629523" y="1430493"/>
                    <a:pt x="2628152" y="1431835"/>
                    <a:pt x="2626452" y="1431835"/>
                  </a:cubicBezTo>
                  <a:cubicBezTo>
                    <a:pt x="2624765" y="1431835"/>
                    <a:pt x="2623379" y="1430493"/>
                    <a:pt x="2623379" y="1428827"/>
                  </a:cubicBezTo>
                  <a:cubicBezTo>
                    <a:pt x="2623379" y="1428827"/>
                    <a:pt x="2623379" y="1428827"/>
                    <a:pt x="2623379" y="1423117"/>
                  </a:cubicBezTo>
                  <a:cubicBezTo>
                    <a:pt x="2621380" y="1422050"/>
                    <a:pt x="2620010" y="1419964"/>
                    <a:pt x="2620010" y="1417570"/>
                  </a:cubicBezTo>
                  <a:cubicBezTo>
                    <a:pt x="2620010" y="1414092"/>
                    <a:pt x="2622901" y="1411262"/>
                    <a:pt x="2626452" y="1411262"/>
                  </a:cubicBezTo>
                  <a:close/>
                  <a:moveTo>
                    <a:pt x="2687609" y="1411262"/>
                  </a:moveTo>
                  <a:cubicBezTo>
                    <a:pt x="2691177" y="1411262"/>
                    <a:pt x="2694050" y="1414092"/>
                    <a:pt x="2694050" y="1417570"/>
                  </a:cubicBezTo>
                  <a:cubicBezTo>
                    <a:pt x="2694050" y="1419964"/>
                    <a:pt x="2692696" y="1422050"/>
                    <a:pt x="2690681" y="1423117"/>
                  </a:cubicBezTo>
                  <a:cubicBezTo>
                    <a:pt x="2690681" y="1423117"/>
                    <a:pt x="2690681" y="1423117"/>
                    <a:pt x="2690681" y="1428827"/>
                  </a:cubicBezTo>
                  <a:cubicBezTo>
                    <a:pt x="2690681" y="1430493"/>
                    <a:pt x="2689310" y="1431835"/>
                    <a:pt x="2687609" y="1431835"/>
                  </a:cubicBezTo>
                  <a:cubicBezTo>
                    <a:pt x="2685925" y="1431835"/>
                    <a:pt x="2684537" y="1430493"/>
                    <a:pt x="2684537" y="1428827"/>
                  </a:cubicBezTo>
                  <a:cubicBezTo>
                    <a:pt x="2684537" y="1428827"/>
                    <a:pt x="2684537" y="1428827"/>
                    <a:pt x="2684537" y="1423117"/>
                  </a:cubicBezTo>
                  <a:cubicBezTo>
                    <a:pt x="2682538" y="1422050"/>
                    <a:pt x="2681167" y="1419964"/>
                    <a:pt x="2681167" y="1417570"/>
                  </a:cubicBezTo>
                  <a:cubicBezTo>
                    <a:pt x="2681167" y="1414092"/>
                    <a:pt x="2684057" y="1411262"/>
                    <a:pt x="2687609" y="1411262"/>
                  </a:cubicBezTo>
                  <a:close/>
                  <a:moveTo>
                    <a:pt x="2809975" y="1411262"/>
                  </a:moveTo>
                  <a:cubicBezTo>
                    <a:pt x="2813542" y="1411262"/>
                    <a:pt x="2816415" y="1414092"/>
                    <a:pt x="2816415" y="1417570"/>
                  </a:cubicBezTo>
                  <a:cubicBezTo>
                    <a:pt x="2816415" y="1419964"/>
                    <a:pt x="2815061" y="1422050"/>
                    <a:pt x="2813046" y="1423117"/>
                  </a:cubicBezTo>
                  <a:cubicBezTo>
                    <a:pt x="2813046" y="1423117"/>
                    <a:pt x="2813046" y="1423117"/>
                    <a:pt x="2813046" y="1428827"/>
                  </a:cubicBezTo>
                  <a:cubicBezTo>
                    <a:pt x="2813046" y="1430493"/>
                    <a:pt x="2811675" y="1431835"/>
                    <a:pt x="2809975" y="1431835"/>
                  </a:cubicBezTo>
                  <a:cubicBezTo>
                    <a:pt x="2808289" y="1431835"/>
                    <a:pt x="2806902" y="1430493"/>
                    <a:pt x="2806902" y="1428827"/>
                  </a:cubicBezTo>
                  <a:cubicBezTo>
                    <a:pt x="2806902" y="1428827"/>
                    <a:pt x="2806902" y="1428827"/>
                    <a:pt x="2806902" y="1423117"/>
                  </a:cubicBezTo>
                  <a:cubicBezTo>
                    <a:pt x="2804903" y="1422050"/>
                    <a:pt x="2803533" y="1419964"/>
                    <a:pt x="2803533" y="1417570"/>
                  </a:cubicBezTo>
                  <a:cubicBezTo>
                    <a:pt x="2803533" y="1414092"/>
                    <a:pt x="2806424" y="1411262"/>
                    <a:pt x="2809975" y="1411262"/>
                  </a:cubicBezTo>
                  <a:close/>
                  <a:moveTo>
                    <a:pt x="3330198" y="1411262"/>
                  </a:moveTo>
                  <a:cubicBezTo>
                    <a:pt x="3333765" y="1411262"/>
                    <a:pt x="3336639" y="1414092"/>
                    <a:pt x="3336639" y="1417570"/>
                  </a:cubicBezTo>
                  <a:cubicBezTo>
                    <a:pt x="3336639" y="1419964"/>
                    <a:pt x="3335285" y="1422050"/>
                    <a:pt x="3333269" y="1423117"/>
                  </a:cubicBezTo>
                  <a:cubicBezTo>
                    <a:pt x="3333269" y="1423117"/>
                    <a:pt x="3333269" y="1423117"/>
                    <a:pt x="3333269" y="1428827"/>
                  </a:cubicBezTo>
                  <a:cubicBezTo>
                    <a:pt x="3333269" y="1430493"/>
                    <a:pt x="3331899" y="1431835"/>
                    <a:pt x="3330198" y="1431835"/>
                  </a:cubicBezTo>
                  <a:cubicBezTo>
                    <a:pt x="3328513" y="1431835"/>
                    <a:pt x="3327126" y="1430493"/>
                    <a:pt x="3327126" y="1428827"/>
                  </a:cubicBezTo>
                  <a:cubicBezTo>
                    <a:pt x="3327126" y="1428827"/>
                    <a:pt x="3327126" y="1428827"/>
                    <a:pt x="3327126" y="1423117"/>
                  </a:cubicBezTo>
                  <a:cubicBezTo>
                    <a:pt x="3325127" y="1422050"/>
                    <a:pt x="3323757" y="1419964"/>
                    <a:pt x="3323757" y="1417570"/>
                  </a:cubicBezTo>
                  <a:cubicBezTo>
                    <a:pt x="3323757" y="1414092"/>
                    <a:pt x="3326647" y="1411262"/>
                    <a:pt x="3330198" y="1411262"/>
                  </a:cubicBezTo>
                  <a:close/>
                  <a:moveTo>
                    <a:pt x="3442365" y="1411262"/>
                  </a:moveTo>
                  <a:cubicBezTo>
                    <a:pt x="3445932" y="1411262"/>
                    <a:pt x="3448806" y="1414092"/>
                    <a:pt x="3448806" y="1417570"/>
                  </a:cubicBezTo>
                  <a:cubicBezTo>
                    <a:pt x="3448806" y="1419964"/>
                    <a:pt x="3447452" y="1422050"/>
                    <a:pt x="3445436" y="1423117"/>
                  </a:cubicBezTo>
                  <a:cubicBezTo>
                    <a:pt x="3445436" y="1423117"/>
                    <a:pt x="3445436" y="1423117"/>
                    <a:pt x="3445436" y="1428827"/>
                  </a:cubicBezTo>
                  <a:cubicBezTo>
                    <a:pt x="3445436" y="1430493"/>
                    <a:pt x="3444066" y="1431835"/>
                    <a:pt x="3442365" y="1431835"/>
                  </a:cubicBezTo>
                  <a:cubicBezTo>
                    <a:pt x="3440680" y="1431835"/>
                    <a:pt x="3439293" y="1430493"/>
                    <a:pt x="3439293" y="1428827"/>
                  </a:cubicBezTo>
                  <a:cubicBezTo>
                    <a:pt x="3439293" y="1428827"/>
                    <a:pt x="3439293" y="1428827"/>
                    <a:pt x="3439293" y="1423117"/>
                  </a:cubicBezTo>
                  <a:cubicBezTo>
                    <a:pt x="3437294" y="1422050"/>
                    <a:pt x="3435924" y="1419964"/>
                    <a:pt x="3435924" y="1417570"/>
                  </a:cubicBezTo>
                  <a:cubicBezTo>
                    <a:pt x="3435924" y="1414092"/>
                    <a:pt x="3438814" y="1411262"/>
                    <a:pt x="3442365" y="1411262"/>
                  </a:cubicBezTo>
                  <a:close/>
                  <a:moveTo>
                    <a:pt x="3503523" y="1411262"/>
                  </a:moveTo>
                  <a:cubicBezTo>
                    <a:pt x="3507090" y="1411262"/>
                    <a:pt x="3509964" y="1414092"/>
                    <a:pt x="3509964" y="1417570"/>
                  </a:cubicBezTo>
                  <a:cubicBezTo>
                    <a:pt x="3509964" y="1419964"/>
                    <a:pt x="3508610" y="1422050"/>
                    <a:pt x="3506594" y="1423117"/>
                  </a:cubicBezTo>
                  <a:cubicBezTo>
                    <a:pt x="3506594" y="1423117"/>
                    <a:pt x="3506594" y="1423117"/>
                    <a:pt x="3506594" y="1428827"/>
                  </a:cubicBezTo>
                  <a:cubicBezTo>
                    <a:pt x="3506594" y="1430493"/>
                    <a:pt x="3505224" y="1431835"/>
                    <a:pt x="3503523" y="1431835"/>
                  </a:cubicBezTo>
                  <a:cubicBezTo>
                    <a:pt x="3501838" y="1431835"/>
                    <a:pt x="3500451" y="1430493"/>
                    <a:pt x="3500451" y="1428827"/>
                  </a:cubicBezTo>
                  <a:cubicBezTo>
                    <a:pt x="3500451" y="1428827"/>
                    <a:pt x="3500451" y="1428827"/>
                    <a:pt x="3500451" y="1423117"/>
                  </a:cubicBezTo>
                  <a:cubicBezTo>
                    <a:pt x="3498452" y="1422050"/>
                    <a:pt x="3497081" y="1419964"/>
                    <a:pt x="3497081" y="1417570"/>
                  </a:cubicBezTo>
                  <a:cubicBezTo>
                    <a:pt x="3497081" y="1414092"/>
                    <a:pt x="3499972" y="1411262"/>
                    <a:pt x="3503523" y="1411262"/>
                  </a:cubicBezTo>
                  <a:close/>
                  <a:moveTo>
                    <a:pt x="3564681" y="1411262"/>
                  </a:moveTo>
                  <a:cubicBezTo>
                    <a:pt x="3568248" y="1411262"/>
                    <a:pt x="3571122" y="1414092"/>
                    <a:pt x="3571122" y="1417570"/>
                  </a:cubicBezTo>
                  <a:cubicBezTo>
                    <a:pt x="3571122" y="1419964"/>
                    <a:pt x="3569768" y="1422050"/>
                    <a:pt x="3567752" y="1423117"/>
                  </a:cubicBezTo>
                  <a:cubicBezTo>
                    <a:pt x="3567752" y="1423117"/>
                    <a:pt x="3567752" y="1423117"/>
                    <a:pt x="3567752" y="1428827"/>
                  </a:cubicBezTo>
                  <a:cubicBezTo>
                    <a:pt x="3567752" y="1430493"/>
                    <a:pt x="3566382" y="1431835"/>
                    <a:pt x="3564681" y="1431835"/>
                  </a:cubicBezTo>
                  <a:cubicBezTo>
                    <a:pt x="3562996" y="1431835"/>
                    <a:pt x="3561609" y="1430493"/>
                    <a:pt x="3561609" y="1428827"/>
                  </a:cubicBezTo>
                  <a:cubicBezTo>
                    <a:pt x="3561609" y="1428827"/>
                    <a:pt x="3561609" y="1428827"/>
                    <a:pt x="3561609" y="1423117"/>
                  </a:cubicBezTo>
                  <a:cubicBezTo>
                    <a:pt x="3559610" y="1422050"/>
                    <a:pt x="3558239" y="1419964"/>
                    <a:pt x="3558239" y="1417570"/>
                  </a:cubicBezTo>
                  <a:cubicBezTo>
                    <a:pt x="3558239" y="1414092"/>
                    <a:pt x="3561130" y="1411262"/>
                    <a:pt x="3564681" y="1411262"/>
                  </a:cubicBezTo>
                  <a:close/>
                  <a:moveTo>
                    <a:pt x="3625839" y="1411262"/>
                  </a:moveTo>
                  <a:cubicBezTo>
                    <a:pt x="3629406" y="1411262"/>
                    <a:pt x="3632280" y="1414092"/>
                    <a:pt x="3632280" y="1417570"/>
                  </a:cubicBezTo>
                  <a:cubicBezTo>
                    <a:pt x="3632280" y="1419964"/>
                    <a:pt x="3630926" y="1422050"/>
                    <a:pt x="3628910" y="1423117"/>
                  </a:cubicBezTo>
                  <a:cubicBezTo>
                    <a:pt x="3628910" y="1423117"/>
                    <a:pt x="3628910" y="1423117"/>
                    <a:pt x="3628910" y="1428827"/>
                  </a:cubicBezTo>
                  <a:cubicBezTo>
                    <a:pt x="3628910" y="1430493"/>
                    <a:pt x="3627540" y="1431835"/>
                    <a:pt x="3625839" y="1431835"/>
                  </a:cubicBezTo>
                  <a:cubicBezTo>
                    <a:pt x="3624154" y="1431835"/>
                    <a:pt x="3622767" y="1430493"/>
                    <a:pt x="3622767" y="1428827"/>
                  </a:cubicBezTo>
                  <a:cubicBezTo>
                    <a:pt x="3622767" y="1428827"/>
                    <a:pt x="3622767" y="1428827"/>
                    <a:pt x="3622767" y="1423117"/>
                  </a:cubicBezTo>
                  <a:cubicBezTo>
                    <a:pt x="3620768" y="1422050"/>
                    <a:pt x="3619397" y="1419964"/>
                    <a:pt x="3619397" y="1417570"/>
                  </a:cubicBezTo>
                  <a:cubicBezTo>
                    <a:pt x="3619397" y="1414092"/>
                    <a:pt x="3622288" y="1411262"/>
                    <a:pt x="3625839" y="1411262"/>
                  </a:cubicBezTo>
                  <a:close/>
                  <a:moveTo>
                    <a:pt x="22366" y="1408295"/>
                  </a:moveTo>
                  <a:cubicBezTo>
                    <a:pt x="25934" y="1408295"/>
                    <a:pt x="28807" y="1411125"/>
                    <a:pt x="28807" y="1414602"/>
                  </a:cubicBezTo>
                  <a:cubicBezTo>
                    <a:pt x="28807" y="1416996"/>
                    <a:pt x="27453" y="1419083"/>
                    <a:pt x="25438" y="1420150"/>
                  </a:cubicBezTo>
                  <a:cubicBezTo>
                    <a:pt x="25438" y="1420150"/>
                    <a:pt x="25438" y="1420150"/>
                    <a:pt x="25438" y="1425860"/>
                  </a:cubicBezTo>
                  <a:cubicBezTo>
                    <a:pt x="25438" y="1427526"/>
                    <a:pt x="24067" y="1428868"/>
                    <a:pt x="22366" y="1428868"/>
                  </a:cubicBezTo>
                  <a:cubicBezTo>
                    <a:pt x="20682" y="1428868"/>
                    <a:pt x="19294" y="1427526"/>
                    <a:pt x="19294" y="1425860"/>
                  </a:cubicBezTo>
                  <a:cubicBezTo>
                    <a:pt x="19294" y="1425860"/>
                    <a:pt x="19294" y="1425860"/>
                    <a:pt x="19294" y="1420150"/>
                  </a:cubicBezTo>
                  <a:cubicBezTo>
                    <a:pt x="17295" y="1419083"/>
                    <a:pt x="15925" y="1416996"/>
                    <a:pt x="15925" y="1414602"/>
                  </a:cubicBezTo>
                  <a:cubicBezTo>
                    <a:pt x="15925" y="1411125"/>
                    <a:pt x="18815" y="1408295"/>
                    <a:pt x="22366" y="1408295"/>
                  </a:cubicBezTo>
                  <a:close/>
                  <a:moveTo>
                    <a:pt x="84534" y="1392767"/>
                  </a:moveTo>
                  <a:cubicBezTo>
                    <a:pt x="87375" y="1391848"/>
                    <a:pt x="90050" y="1392583"/>
                    <a:pt x="92391" y="1394422"/>
                  </a:cubicBezTo>
                  <a:cubicBezTo>
                    <a:pt x="93226" y="1395158"/>
                    <a:pt x="93896" y="1395893"/>
                    <a:pt x="94564" y="1396813"/>
                  </a:cubicBezTo>
                  <a:cubicBezTo>
                    <a:pt x="95065" y="1397549"/>
                    <a:pt x="95567" y="1398467"/>
                    <a:pt x="96069" y="1399387"/>
                  </a:cubicBezTo>
                  <a:cubicBezTo>
                    <a:pt x="96403" y="1399939"/>
                    <a:pt x="96570" y="1400674"/>
                    <a:pt x="96737" y="1401226"/>
                  </a:cubicBezTo>
                  <a:cubicBezTo>
                    <a:pt x="97072" y="1402146"/>
                    <a:pt x="97239" y="1403065"/>
                    <a:pt x="97406" y="1403985"/>
                  </a:cubicBezTo>
                  <a:cubicBezTo>
                    <a:pt x="97908" y="1405456"/>
                    <a:pt x="98075" y="1406927"/>
                    <a:pt x="98075" y="1408766"/>
                  </a:cubicBezTo>
                  <a:cubicBezTo>
                    <a:pt x="98075" y="1410237"/>
                    <a:pt x="97908" y="1411892"/>
                    <a:pt x="97406" y="1413731"/>
                  </a:cubicBezTo>
                  <a:cubicBezTo>
                    <a:pt x="97072" y="1414650"/>
                    <a:pt x="96904" y="1415386"/>
                    <a:pt x="96570" y="1416305"/>
                  </a:cubicBezTo>
                  <a:cubicBezTo>
                    <a:pt x="96236" y="1417409"/>
                    <a:pt x="95735" y="1418328"/>
                    <a:pt x="95065" y="1419247"/>
                  </a:cubicBezTo>
                  <a:cubicBezTo>
                    <a:pt x="94397" y="1420351"/>
                    <a:pt x="93561" y="1421270"/>
                    <a:pt x="92725" y="1422190"/>
                  </a:cubicBezTo>
                  <a:cubicBezTo>
                    <a:pt x="91889" y="1422926"/>
                    <a:pt x="90886" y="1423661"/>
                    <a:pt x="89716" y="1424029"/>
                  </a:cubicBezTo>
                  <a:cubicBezTo>
                    <a:pt x="86707" y="1425133"/>
                    <a:pt x="83864" y="1424580"/>
                    <a:pt x="81357" y="1422374"/>
                  </a:cubicBezTo>
                  <a:cubicBezTo>
                    <a:pt x="80521" y="1421638"/>
                    <a:pt x="79852" y="1420903"/>
                    <a:pt x="79184" y="1419983"/>
                  </a:cubicBezTo>
                  <a:cubicBezTo>
                    <a:pt x="78515" y="1419064"/>
                    <a:pt x="78013" y="1418144"/>
                    <a:pt x="77512" y="1417041"/>
                  </a:cubicBezTo>
                  <a:cubicBezTo>
                    <a:pt x="77345" y="1416489"/>
                    <a:pt x="77177" y="1415938"/>
                    <a:pt x="76843" y="1415570"/>
                  </a:cubicBezTo>
                  <a:cubicBezTo>
                    <a:pt x="76509" y="1414650"/>
                    <a:pt x="76174" y="1413731"/>
                    <a:pt x="76007" y="1412628"/>
                  </a:cubicBezTo>
                  <a:cubicBezTo>
                    <a:pt x="75506" y="1409501"/>
                    <a:pt x="75506" y="1406375"/>
                    <a:pt x="76341" y="1403249"/>
                  </a:cubicBezTo>
                  <a:cubicBezTo>
                    <a:pt x="76509" y="1402514"/>
                    <a:pt x="76676" y="1401778"/>
                    <a:pt x="77011" y="1401226"/>
                  </a:cubicBezTo>
                  <a:cubicBezTo>
                    <a:pt x="77345" y="1400491"/>
                    <a:pt x="77512" y="1399755"/>
                    <a:pt x="77846" y="1399203"/>
                  </a:cubicBezTo>
                  <a:cubicBezTo>
                    <a:pt x="78348" y="1398467"/>
                    <a:pt x="78682" y="1397549"/>
                    <a:pt x="79351" y="1396813"/>
                  </a:cubicBezTo>
                  <a:cubicBezTo>
                    <a:pt x="80020" y="1395893"/>
                    <a:pt x="80855" y="1394974"/>
                    <a:pt x="81859" y="1394238"/>
                  </a:cubicBezTo>
                  <a:cubicBezTo>
                    <a:pt x="82694" y="1393686"/>
                    <a:pt x="83530" y="1393135"/>
                    <a:pt x="84534" y="1392767"/>
                  </a:cubicBezTo>
                  <a:close/>
                  <a:moveTo>
                    <a:pt x="206900" y="1392767"/>
                  </a:moveTo>
                  <a:cubicBezTo>
                    <a:pt x="209742" y="1391848"/>
                    <a:pt x="212417" y="1392583"/>
                    <a:pt x="214758" y="1394422"/>
                  </a:cubicBezTo>
                  <a:cubicBezTo>
                    <a:pt x="215593" y="1395158"/>
                    <a:pt x="216262" y="1395893"/>
                    <a:pt x="216931" y="1396813"/>
                  </a:cubicBezTo>
                  <a:cubicBezTo>
                    <a:pt x="217432" y="1397549"/>
                    <a:pt x="217934" y="1398467"/>
                    <a:pt x="218435" y="1399387"/>
                  </a:cubicBezTo>
                  <a:cubicBezTo>
                    <a:pt x="218770" y="1399939"/>
                    <a:pt x="218937" y="1400674"/>
                    <a:pt x="219104" y="1401226"/>
                  </a:cubicBezTo>
                  <a:cubicBezTo>
                    <a:pt x="219439" y="1402146"/>
                    <a:pt x="219606" y="1403065"/>
                    <a:pt x="219773" y="1403985"/>
                  </a:cubicBezTo>
                  <a:cubicBezTo>
                    <a:pt x="220275" y="1405456"/>
                    <a:pt x="220442" y="1406927"/>
                    <a:pt x="220442" y="1408766"/>
                  </a:cubicBezTo>
                  <a:cubicBezTo>
                    <a:pt x="220442" y="1410237"/>
                    <a:pt x="220275" y="1411892"/>
                    <a:pt x="219773" y="1413731"/>
                  </a:cubicBezTo>
                  <a:cubicBezTo>
                    <a:pt x="219439" y="1414650"/>
                    <a:pt x="219271" y="1415386"/>
                    <a:pt x="218937" y="1416305"/>
                  </a:cubicBezTo>
                  <a:cubicBezTo>
                    <a:pt x="218603" y="1417409"/>
                    <a:pt x="218102" y="1418328"/>
                    <a:pt x="217432" y="1419247"/>
                  </a:cubicBezTo>
                  <a:cubicBezTo>
                    <a:pt x="216764" y="1420351"/>
                    <a:pt x="215928" y="1421270"/>
                    <a:pt x="215092" y="1422190"/>
                  </a:cubicBezTo>
                  <a:cubicBezTo>
                    <a:pt x="214256" y="1422926"/>
                    <a:pt x="213253" y="1423661"/>
                    <a:pt x="212083" y="1424029"/>
                  </a:cubicBezTo>
                  <a:cubicBezTo>
                    <a:pt x="209073" y="1425133"/>
                    <a:pt x="206231" y="1424580"/>
                    <a:pt x="203724" y="1422374"/>
                  </a:cubicBezTo>
                  <a:cubicBezTo>
                    <a:pt x="202888" y="1421638"/>
                    <a:pt x="202219" y="1420903"/>
                    <a:pt x="201551" y="1419983"/>
                  </a:cubicBezTo>
                  <a:cubicBezTo>
                    <a:pt x="200882" y="1419064"/>
                    <a:pt x="200380" y="1418144"/>
                    <a:pt x="199879" y="1417041"/>
                  </a:cubicBezTo>
                  <a:cubicBezTo>
                    <a:pt x="199711" y="1416489"/>
                    <a:pt x="199544" y="1415938"/>
                    <a:pt x="199210" y="1415570"/>
                  </a:cubicBezTo>
                  <a:cubicBezTo>
                    <a:pt x="198876" y="1414650"/>
                    <a:pt x="198541" y="1413731"/>
                    <a:pt x="198374" y="1412628"/>
                  </a:cubicBezTo>
                  <a:cubicBezTo>
                    <a:pt x="197872" y="1409501"/>
                    <a:pt x="197872" y="1406375"/>
                    <a:pt x="198708" y="1403249"/>
                  </a:cubicBezTo>
                  <a:cubicBezTo>
                    <a:pt x="198876" y="1402514"/>
                    <a:pt x="199043" y="1401778"/>
                    <a:pt x="199378" y="1401226"/>
                  </a:cubicBezTo>
                  <a:cubicBezTo>
                    <a:pt x="199711" y="1400491"/>
                    <a:pt x="199879" y="1399755"/>
                    <a:pt x="200213" y="1399203"/>
                  </a:cubicBezTo>
                  <a:cubicBezTo>
                    <a:pt x="200715" y="1398467"/>
                    <a:pt x="201049" y="1397549"/>
                    <a:pt x="201718" y="1396813"/>
                  </a:cubicBezTo>
                  <a:cubicBezTo>
                    <a:pt x="202386" y="1395893"/>
                    <a:pt x="203222" y="1394974"/>
                    <a:pt x="204226" y="1394238"/>
                  </a:cubicBezTo>
                  <a:cubicBezTo>
                    <a:pt x="205061" y="1393686"/>
                    <a:pt x="205897" y="1393135"/>
                    <a:pt x="206900" y="1392767"/>
                  </a:cubicBezTo>
                  <a:close/>
                  <a:moveTo>
                    <a:pt x="319117" y="1392767"/>
                  </a:moveTo>
                  <a:cubicBezTo>
                    <a:pt x="321959" y="1391848"/>
                    <a:pt x="324634" y="1392583"/>
                    <a:pt x="326975" y="1394422"/>
                  </a:cubicBezTo>
                  <a:cubicBezTo>
                    <a:pt x="327810" y="1395158"/>
                    <a:pt x="328479" y="1395893"/>
                    <a:pt x="329148" y="1396813"/>
                  </a:cubicBezTo>
                  <a:cubicBezTo>
                    <a:pt x="329649" y="1397549"/>
                    <a:pt x="330151" y="1398467"/>
                    <a:pt x="330652" y="1399387"/>
                  </a:cubicBezTo>
                  <a:cubicBezTo>
                    <a:pt x="330987" y="1399939"/>
                    <a:pt x="331153" y="1400674"/>
                    <a:pt x="331321" y="1401226"/>
                  </a:cubicBezTo>
                  <a:cubicBezTo>
                    <a:pt x="331655" y="1402146"/>
                    <a:pt x="331823" y="1403065"/>
                    <a:pt x="331990" y="1403985"/>
                  </a:cubicBezTo>
                  <a:cubicBezTo>
                    <a:pt x="332491" y="1405456"/>
                    <a:pt x="332658" y="1406927"/>
                    <a:pt x="332658" y="1408766"/>
                  </a:cubicBezTo>
                  <a:cubicBezTo>
                    <a:pt x="332658" y="1410237"/>
                    <a:pt x="332491" y="1411892"/>
                    <a:pt x="331990" y="1413731"/>
                  </a:cubicBezTo>
                  <a:cubicBezTo>
                    <a:pt x="331655" y="1414650"/>
                    <a:pt x="331488" y="1415386"/>
                    <a:pt x="331153" y="1416305"/>
                  </a:cubicBezTo>
                  <a:cubicBezTo>
                    <a:pt x="330819" y="1417409"/>
                    <a:pt x="330318" y="1418328"/>
                    <a:pt x="329649" y="1419247"/>
                  </a:cubicBezTo>
                  <a:cubicBezTo>
                    <a:pt x="328980" y="1420351"/>
                    <a:pt x="328144" y="1421270"/>
                    <a:pt x="327309" y="1422190"/>
                  </a:cubicBezTo>
                  <a:cubicBezTo>
                    <a:pt x="326473" y="1422926"/>
                    <a:pt x="325469" y="1423661"/>
                    <a:pt x="324300" y="1424029"/>
                  </a:cubicBezTo>
                  <a:cubicBezTo>
                    <a:pt x="321290" y="1425133"/>
                    <a:pt x="318448" y="1424580"/>
                    <a:pt x="315940" y="1422374"/>
                  </a:cubicBezTo>
                  <a:cubicBezTo>
                    <a:pt x="315104" y="1421638"/>
                    <a:pt x="314436" y="1420903"/>
                    <a:pt x="313767" y="1419983"/>
                  </a:cubicBezTo>
                  <a:cubicBezTo>
                    <a:pt x="313099" y="1419064"/>
                    <a:pt x="312597" y="1418144"/>
                    <a:pt x="312095" y="1417041"/>
                  </a:cubicBezTo>
                  <a:cubicBezTo>
                    <a:pt x="311928" y="1416489"/>
                    <a:pt x="311761" y="1415938"/>
                    <a:pt x="311427" y="1415570"/>
                  </a:cubicBezTo>
                  <a:cubicBezTo>
                    <a:pt x="311092" y="1414650"/>
                    <a:pt x="310758" y="1413731"/>
                    <a:pt x="310591" y="1412628"/>
                  </a:cubicBezTo>
                  <a:cubicBezTo>
                    <a:pt x="310089" y="1409501"/>
                    <a:pt x="310089" y="1406375"/>
                    <a:pt x="310925" y="1403249"/>
                  </a:cubicBezTo>
                  <a:cubicBezTo>
                    <a:pt x="311092" y="1402514"/>
                    <a:pt x="311260" y="1401778"/>
                    <a:pt x="311594" y="1401226"/>
                  </a:cubicBezTo>
                  <a:cubicBezTo>
                    <a:pt x="311928" y="1400491"/>
                    <a:pt x="312095" y="1399755"/>
                    <a:pt x="312429" y="1399203"/>
                  </a:cubicBezTo>
                  <a:cubicBezTo>
                    <a:pt x="312931" y="1398467"/>
                    <a:pt x="313266" y="1397549"/>
                    <a:pt x="313934" y="1396813"/>
                  </a:cubicBezTo>
                  <a:cubicBezTo>
                    <a:pt x="314603" y="1395893"/>
                    <a:pt x="315439" y="1394974"/>
                    <a:pt x="316442" y="1394238"/>
                  </a:cubicBezTo>
                  <a:cubicBezTo>
                    <a:pt x="317278" y="1393686"/>
                    <a:pt x="318114" y="1393135"/>
                    <a:pt x="319117" y="1392767"/>
                  </a:cubicBezTo>
                  <a:close/>
                  <a:moveTo>
                    <a:pt x="431334" y="1392767"/>
                  </a:moveTo>
                  <a:cubicBezTo>
                    <a:pt x="434175" y="1391848"/>
                    <a:pt x="436850" y="1392583"/>
                    <a:pt x="439191" y="1394422"/>
                  </a:cubicBezTo>
                  <a:cubicBezTo>
                    <a:pt x="440026" y="1395158"/>
                    <a:pt x="440696" y="1395893"/>
                    <a:pt x="441364" y="1396813"/>
                  </a:cubicBezTo>
                  <a:cubicBezTo>
                    <a:pt x="441866" y="1397549"/>
                    <a:pt x="442367" y="1398467"/>
                    <a:pt x="442869" y="1399387"/>
                  </a:cubicBezTo>
                  <a:cubicBezTo>
                    <a:pt x="443203" y="1399939"/>
                    <a:pt x="443370" y="1400674"/>
                    <a:pt x="443537" y="1401226"/>
                  </a:cubicBezTo>
                  <a:cubicBezTo>
                    <a:pt x="443872" y="1402146"/>
                    <a:pt x="444039" y="1403065"/>
                    <a:pt x="444207" y="1403985"/>
                  </a:cubicBezTo>
                  <a:cubicBezTo>
                    <a:pt x="444708" y="1405456"/>
                    <a:pt x="444875" y="1406927"/>
                    <a:pt x="444875" y="1408766"/>
                  </a:cubicBezTo>
                  <a:cubicBezTo>
                    <a:pt x="444875" y="1410237"/>
                    <a:pt x="444708" y="1411892"/>
                    <a:pt x="444207" y="1413731"/>
                  </a:cubicBezTo>
                  <a:cubicBezTo>
                    <a:pt x="443872" y="1414650"/>
                    <a:pt x="443705" y="1415386"/>
                    <a:pt x="443370" y="1416305"/>
                  </a:cubicBezTo>
                  <a:cubicBezTo>
                    <a:pt x="443036" y="1417409"/>
                    <a:pt x="442535" y="1418328"/>
                    <a:pt x="441866" y="1419247"/>
                  </a:cubicBezTo>
                  <a:cubicBezTo>
                    <a:pt x="441197" y="1420351"/>
                    <a:pt x="440361" y="1421270"/>
                    <a:pt x="439525" y="1422190"/>
                  </a:cubicBezTo>
                  <a:cubicBezTo>
                    <a:pt x="438689" y="1422926"/>
                    <a:pt x="437686" y="1423661"/>
                    <a:pt x="436516" y="1424029"/>
                  </a:cubicBezTo>
                  <a:cubicBezTo>
                    <a:pt x="433507" y="1425133"/>
                    <a:pt x="430664" y="1424580"/>
                    <a:pt x="428157" y="1422374"/>
                  </a:cubicBezTo>
                  <a:cubicBezTo>
                    <a:pt x="427321" y="1421638"/>
                    <a:pt x="426652" y="1420903"/>
                    <a:pt x="425984" y="1419983"/>
                  </a:cubicBezTo>
                  <a:cubicBezTo>
                    <a:pt x="425315" y="1419064"/>
                    <a:pt x="424813" y="1418144"/>
                    <a:pt x="424312" y="1417041"/>
                  </a:cubicBezTo>
                  <a:cubicBezTo>
                    <a:pt x="424145" y="1416489"/>
                    <a:pt x="423977" y="1415938"/>
                    <a:pt x="423643" y="1415570"/>
                  </a:cubicBezTo>
                  <a:cubicBezTo>
                    <a:pt x="423309" y="1414650"/>
                    <a:pt x="422974" y="1413731"/>
                    <a:pt x="422808" y="1412628"/>
                  </a:cubicBezTo>
                  <a:cubicBezTo>
                    <a:pt x="422306" y="1409501"/>
                    <a:pt x="422306" y="1406375"/>
                    <a:pt x="423142" y="1403249"/>
                  </a:cubicBezTo>
                  <a:cubicBezTo>
                    <a:pt x="423309" y="1402514"/>
                    <a:pt x="423476" y="1401778"/>
                    <a:pt x="423811" y="1401226"/>
                  </a:cubicBezTo>
                  <a:cubicBezTo>
                    <a:pt x="424145" y="1400491"/>
                    <a:pt x="424312" y="1399755"/>
                    <a:pt x="424646" y="1399203"/>
                  </a:cubicBezTo>
                  <a:cubicBezTo>
                    <a:pt x="425148" y="1398467"/>
                    <a:pt x="425483" y="1397549"/>
                    <a:pt x="426151" y="1396813"/>
                  </a:cubicBezTo>
                  <a:cubicBezTo>
                    <a:pt x="426820" y="1395893"/>
                    <a:pt x="427656" y="1394974"/>
                    <a:pt x="428659" y="1394238"/>
                  </a:cubicBezTo>
                  <a:cubicBezTo>
                    <a:pt x="429495" y="1393686"/>
                    <a:pt x="430331" y="1393135"/>
                    <a:pt x="431334" y="1392767"/>
                  </a:cubicBezTo>
                  <a:close/>
                  <a:moveTo>
                    <a:pt x="880051" y="1392767"/>
                  </a:moveTo>
                  <a:cubicBezTo>
                    <a:pt x="882893" y="1391848"/>
                    <a:pt x="885568" y="1392583"/>
                    <a:pt x="887909" y="1394422"/>
                  </a:cubicBezTo>
                  <a:cubicBezTo>
                    <a:pt x="888744" y="1395158"/>
                    <a:pt x="889413" y="1395893"/>
                    <a:pt x="890082" y="1396813"/>
                  </a:cubicBezTo>
                  <a:cubicBezTo>
                    <a:pt x="890583" y="1397549"/>
                    <a:pt x="891085" y="1398467"/>
                    <a:pt x="891586" y="1399387"/>
                  </a:cubicBezTo>
                  <a:cubicBezTo>
                    <a:pt x="891921" y="1399939"/>
                    <a:pt x="892088" y="1400674"/>
                    <a:pt x="892255" y="1401226"/>
                  </a:cubicBezTo>
                  <a:cubicBezTo>
                    <a:pt x="892590" y="1402146"/>
                    <a:pt x="892757" y="1403065"/>
                    <a:pt x="892924" y="1403985"/>
                  </a:cubicBezTo>
                  <a:cubicBezTo>
                    <a:pt x="893425" y="1405456"/>
                    <a:pt x="893593" y="1406927"/>
                    <a:pt x="893593" y="1408766"/>
                  </a:cubicBezTo>
                  <a:cubicBezTo>
                    <a:pt x="893593" y="1410237"/>
                    <a:pt x="893425" y="1411892"/>
                    <a:pt x="892924" y="1413731"/>
                  </a:cubicBezTo>
                  <a:cubicBezTo>
                    <a:pt x="892590" y="1414650"/>
                    <a:pt x="892422" y="1415386"/>
                    <a:pt x="892088" y="1416305"/>
                  </a:cubicBezTo>
                  <a:cubicBezTo>
                    <a:pt x="891754" y="1417409"/>
                    <a:pt x="891252" y="1418328"/>
                    <a:pt x="890583" y="1419247"/>
                  </a:cubicBezTo>
                  <a:cubicBezTo>
                    <a:pt x="889915" y="1420351"/>
                    <a:pt x="889079" y="1421270"/>
                    <a:pt x="888243" y="1422190"/>
                  </a:cubicBezTo>
                  <a:cubicBezTo>
                    <a:pt x="887407" y="1422926"/>
                    <a:pt x="886404" y="1423661"/>
                    <a:pt x="885234" y="1424029"/>
                  </a:cubicBezTo>
                  <a:cubicBezTo>
                    <a:pt x="882224" y="1425133"/>
                    <a:pt x="879382" y="1424580"/>
                    <a:pt x="876874" y="1422374"/>
                  </a:cubicBezTo>
                  <a:cubicBezTo>
                    <a:pt x="876039" y="1421638"/>
                    <a:pt x="875370" y="1420903"/>
                    <a:pt x="874701" y="1419983"/>
                  </a:cubicBezTo>
                  <a:cubicBezTo>
                    <a:pt x="874033" y="1419064"/>
                    <a:pt x="873531" y="1418144"/>
                    <a:pt x="873030" y="1417041"/>
                  </a:cubicBezTo>
                  <a:cubicBezTo>
                    <a:pt x="872862" y="1416489"/>
                    <a:pt x="872695" y="1415938"/>
                    <a:pt x="872361" y="1415570"/>
                  </a:cubicBezTo>
                  <a:cubicBezTo>
                    <a:pt x="872026" y="1414650"/>
                    <a:pt x="871692" y="1413731"/>
                    <a:pt x="871525" y="1412628"/>
                  </a:cubicBezTo>
                  <a:cubicBezTo>
                    <a:pt x="871023" y="1409501"/>
                    <a:pt x="871023" y="1406375"/>
                    <a:pt x="871859" y="1403249"/>
                  </a:cubicBezTo>
                  <a:cubicBezTo>
                    <a:pt x="872026" y="1402514"/>
                    <a:pt x="872194" y="1401778"/>
                    <a:pt x="872528" y="1401226"/>
                  </a:cubicBezTo>
                  <a:cubicBezTo>
                    <a:pt x="872862" y="1400491"/>
                    <a:pt x="873030" y="1399755"/>
                    <a:pt x="873364" y="1399203"/>
                  </a:cubicBezTo>
                  <a:cubicBezTo>
                    <a:pt x="873866" y="1398467"/>
                    <a:pt x="874200" y="1397549"/>
                    <a:pt x="874869" y="1396813"/>
                  </a:cubicBezTo>
                  <a:cubicBezTo>
                    <a:pt x="875537" y="1395893"/>
                    <a:pt x="876373" y="1394974"/>
                    <a:pt x="877376" y="1394238"/>
                  </a:cubicBezTo>
                  <a:cubicBezTo>
                    <a:pt x="878212" y="1393686"/>
                    <a:pt x="879048" y="1393135"/>
                    <a:pt x="880051" y="1392767"/>
                  </a:cubicBezTo>
                  <a:close/>
                  <a:moveTo>
                    <a:pt x="992268" y="1392767"/>
                  </a:moveTo>
                  <a:cubicBezTo>
                    <a:pt x="995110" y="1391848"/>
                    <a:pt x="997784" y="1392583"/>
                    <a:pt x="1000125" y="1394422"/>
                  </a:cubicBezTo>
                  <a:cubicBezTo>
                    <a:pt x="1000961" y="1395158"/>
                    <a:pt x="1001630" y="1395893"/>
                    <a:pt x="1002299" y="1396813"/>
                  </a:cubicBezTo>
                  <a:cubicBezTo>
                    <a:pt x="1002800" y="1397549"/>
                    <a:pt x="1003302" y="1398467"/>
                    <a:pt x="1003803" y="1399387"/>
                  </a:cubicBezTo>
                  <a:cubicBezTo>
                    <a:pt x="1004138" y="1399939"/>
                    <a:pt x="1004305" y="1400674"/>
                    <a:pt x="1004472" y="1401226"/>
                  </a:cubicBezTo>
                  <a:cubicBezTo>
                    <a:pt x="1004806" y="1402146"/>
                    <a:pt x="1004973" y="1403065"/>
                    <a:pt x="1005141" y="1403985"/>
                  </a:cubicBezTo>
                  <a:cubicBezTo>
                    <a:pt x="1005642" y="1405456"/>
                    <a:pt x="1005809" y="1406927"/>
                    <a:pt x="1005809" y="1408766"/>
                  </a:cubicBezTo>
                  <a:cubicBezTo>
                    <a:pt x="1005809" y="1410237"/>
                    <a:pt x="1005642" y="1411892"/>
                    <a:pt x="1005141" y="1413731"/>
                  </a:cubicBezTo>
                  <a:cubicBezTo>
                    <a:pt x="1004806" y="1414650"/>
                    <a:pt x="1004639" y="1415386"/>
                    <a:pt x="1004305" y="1416305"/>
                  </a:cubicBezTo>
                  <a:cubicBezTo>
                    <a:pt x="1003970" y="1417409"/>
                    <a:pt x="1003469" y="1418328"/>
                    <a:pt x="1002800" y="1419247"/>
                  </a:cubicBezTo>
                  <a:cubicBezTo>
                    <a:pt x="1002131" y="1420351"/>
                    <a:pt x="1001295" y="1421270"/>
                    <a:pt x="1000459" y="1422190"/>
                  </a:cubicBezTo>
                  <a:cubicBezTo>
                    <a:pt x="999624" y="1422926"/>
                    <a:pt x="998620" y="1423661"/>
                    <a:pt x="997451" y="1424029"/>
                  </a:cubicBezTo>
                  <a:cubicBezTo>
                    <a:pt x="994441" y="1425133"/>
                    <a:pt x="991599" y="1424580"/>
                    <a:pt x="989091" y="1422374"/>
                  </a:cubicBezTo>
                  <a:cubicBezTo>
                    <a:pt x="988255" y="1421638"/>
                    <a:pt x="987587" y="1420903"/>
                    <a:pt x="986918" y="1419983"/>
                  </a:cubicBezTo>
                  <a:cubicBezTo>
                    <a:pt x="986249" y="1419064"/>
                    <a:pt x="985748" y="1418144"/>
                    <a:pt x="985246" y="1417041"/>
                  </a:cubicBezTo>
                  <a:cubicBezTo>
                    <a:pt x="985079" y="1416489"/>
                    <a:pt x="984912" y="1415938"/>
                    <a:pt x="984578" y="1415570"/>
                  </a:cubicBezTo>
                  <a:cubicBezTo>
                    <a:pt x="984243" y="1414650"/>
                    <a:pt x="983909" y="1413731"/>
                    <a:pt x="983742" y="1412628"/>
                  </a:cubicBezTo>
                  <a:cubicBezTo>
                    <a:pt x="983240" y="1409501"/>
                    <a:pt x="983240" y="1406375"/>
                    <a:pt x="984076" y="1403249"/>
                  </a:cubicBezTo>
                  <a:cubicBezTo>
                    <a:pt x="984243" y="1402514"/>
                    <a:pt x="984410" y="1401778"/>
                    <a:pt x="984745" y="1401226"/>
                  </a:cubicBezTo>
                  <a:cubicBezTo>
                    <a:pt x="985079" y="1400491"/>
                    <a:pt x="985246" y="1399755"/>
                    <a:pt x="985580" y="1399203"/>
                  </a:cubicBezTo>
                  <a:cubicBezTo>
                    <a:pt x="986082" y="1398467"/>
                    <a:pt x="986417" y="1397549"/>
                    <a:pt x="987085" y="1396813"/>
                  </a:cubicBezTo>
                  <a:cubicBezTo>
                    <a:pt x="987754" y="1395893"/>
                    <a:pt x="988590" y="1394974"/>
                    <a:pt x="989593" y="1394238"/>
                  </a:cubicBezTo>
                  <a:cubicBezTo>
                    <a:pt x="990429" y="1393686"/>
                    <a:pt x="991265" y="1393135"/>
                    <a:pt x="992268" y="1392767"/>
                  </a:cubicBezTo>
                  <a:close/>
                  <a:moveTo>
                    <a:pt x="1104485" y="1392767"/>
                  </a:moveTo>
                  <a:cubicBezTo>
                    <a:pt x="1107326" y="1391848"/>
                    <a:pt x="1110001" y="1392583"/>
                    <a:pt x="1112342" y="1394422"/>
                  </a:cubicBezTo>
                  <a:cubicBezTo>
                    <a:pt x="1113177" y="1395158"/>
                    <a:pt x="1113847" y="1395893"/>
                    <a:pt x="1114515" y="1396813"/>
                  </a:cubicBezTo>
                  <a:cubicBezTo>
                    <a:pt x="1115016" y="1397549"/>
                    <a:pt x="1115518" y="1398467"/>
                    <a:pt x="1116020" y="1399387"/>
                  </a:cubicBezTo>
                  <a:cubicBezTo>
                    <a:pt x="1116354" y="1399939"/>
                    <a:pt x="1116521" y="1400674"/>
                    <a:pt x="1116688" y="1401226"/>
                  </a:cubicBezTo>
                  <a:cubicBezTo>
                    <a:pt x="1117023" y="1402146"/>
                    <a:pt x="1117190" y="1403065"/>
                    <a:pt x="1117357" y="1403985"/>
                  </a:cubicBezTo>
                  <a:cubicBezTo>
                    <a:pt x="1117859" y="1405456"/>
                    <a:pt x="1118026" y="1406927"/>
                    <a:pt x="1118026" y="1408766"/>
                  </a:cubicBezTo>
                  <a:cubicBezTo>
                    <a:pt x="1118026" y="1410237"/>
                    <a:pt x="1117859" y="1411892"/>
                    <a:pt x="1117357" y="1413731"/>
                  </a:cubicBezTo>
                  <a:cubicBezTo>
                    <a:pt x="1117023" y="1414650"/>
                    <a:pt x="1116855" y="1415386"/>
                    <a:pt x="1116521" y="1416305"/>
                  </a:cubicBezTo>
                  <a:cubicBezTo>
                    <a:pt x="1116187" y="1417409"/>
                    <a:pt x="1115686" y="1418328"/>
                    <a:pt x="1115016" y="1419247"/>
                  </a:cubicBezTo>
                  <a:cubicBezTo>
                    <a:pt x="1114348" y="1420351"/>
                    <a:pt x="1113512" y="1421270"/>
                    <a:pt x="1112676" y="1422190"/>
                  </a:cubicBezTo>
                  <a:cubicBezTo>
                    <a:pt x="1111840" y="1422926"/>
                    <a:pt x="1110837" y="1423661"/>
                    <a:pt x="1109667" y="1424029"/>
                  </a:cubicBezTo>
                  <a:cubicBezTo>
                    <a:pt x="1106658" y="1425133"/>
                    <a:pt x="1103815" y="1424580"/>
                    <a:pt x="1101308" y="1422374"/>
                  </a:cubicBezTo>
                  <a:cubicBezTo>
                    <a:pt x="1100472" y="1421638"/>
                    <a:pt x="1099803" y="1420903"/>
                    <a:pt x="1099135" y="1419983"/>
                  </a:cubicBezTo>
                  <a:cubicBezTo>
                    <a:pt x="1098466" y="1419064"/>
                    <a:pt x="1097964" y="1418144"/>
                    <a:pt x="1097463" y="1417041"/>
                  </a:cubicBezTo>
                  <a:cubicBezTo>
                    <a:pt x="1097296" y="1416489"/>
                    <a:pt x="1097128" y="1415938"/>
                    <a:pt x="1096794" y="1415570"/>
                  </a:cubicBezTo>
                  <a:cubicBezTo>
                    <a:pt x="1096460" y="1414650"/>
                    <a:pt x="1096125" y="1413731"/>
                    <a:pt x="1095958" y="1412628"/>
                  </a:cubicBezTo>
                  <a:cubicBezTo>
                    <a:pt x="1095457" y="1409501"/>
                    <a:pt x="1095457" y="1406375"/>
                    <a:pt x="1096292" y="1403249"/>
                  </a:cubicBezTo>
                  <a:cubicBezTo>
                    <a:pt x="1096460" y="1402514"/>
                    <a:pt x="1096627" y="1401778"/>
                    <a:pt x="1096962" y="1401226"/>
                  </a:cubicBezTo>
                  <a:cubicBezTo>
                    <a:pt x="1097296" y="1400491"/>
                    <a:pt x="1097463" y="1399755"/>
                    <a:pt x="1097798" y="1399203"/>
                  </a:cubicBezTo>
                  <a:cubicBezTo>
                    <a:pt x="1098299" y="1398467"/>
                    <a:pt x="1098633" y="1397549"/>
                    <a:pt x="1099302" y="1396813"/>
                  </a:cubicBezTo>
                  <a:cubicBezTo>
                    <a:pt x="1099971" y="1395893"/>
                    <a:pt x="1100806" y="1394974"/>
                    <a:pt x="1101810" y="1394238"/>
                  </a:cubicBezTo>
                  <a:cubicBezTo>
                    <a:pt x="1102645" y="1393686"/>
                    <a:pt x="1103481" y="1393135"/>
                    <a:pt x="1104485" y="1392767"/>
                  </a:cubicBezTo>
                  <a:close/>
                  <a:moveTo>
                    <a:pt x="1226850" y="1392767"/>
                  </a:moveTo>
                  <a:cubicBezTo>
                    <a:pt x="1229692" y="1391848"/>
                    <a:pt x="1232367" y="1392583"/>
                    <a:pt x="1234708" y="1394422"/>
                  </a:cubicBezTo>
                  <a:cubicBezTo>
                    <a:pt x="1235543" y="1395158"/>
                    <a:pt x="1236212" y="1395893"/>
                    <a:pt x="1236881" y="1396813"/>
                  </a:cubicBezTo>
                  <a:cubicBezTo>
                    <a:pt x="1237382" y="1397549"/>
                    <a:pt x="1237884" y="1398467"/>
                    <a:pt x="1238385" y="1399387"/>
                  </a:cubicBezTo>
                  <a:cubicBezTo>
                    <a:pt x="1238720" y="1399939"/>
                    <a:pt x="1238887" y="1400674"/>
                    <a:pt x="1239054" y="1401226"/>
                  </a:cubicBezTo>
                  <a:cubicBezTo>
                    <a:pt x="1239388" y="1402146"/>
                    <a:pt x="1239556" y="1403065"/>
                    <a:pt x="1239723" y="1403985"/>
                  </a:cubicBezTo>
                  <a:cubicBezTo>
                    <a:pt x="1240224" y="1405456"/>
                    <a:pt x="1240391" y="1406927"/>
                    <a:pt x="1240391" y="1408766"/>
                  </a:cubicBezTo>
                  <a:cubicBezTo>
                    <a:pt x="1240391" y="1410237"/>
                    <a:pt x="1240224" y="1411892"/>
                    <a:pt x="1239723" y="1413731"/>
                  </a:cubicBezTo>
                  <a:cubicBezTo>
                    <a:pt x="1239388" y="1414650"/>
                    <a:pt x="1239221" y="1415386"/>
                    <a:pt x="1238887" y="1416305"/>
                  </a:cubicBezTo>
                  <a:cubicBezTo>
                    <a:pt x="1238552" y="1417409"/>
                    <a:pt x="1238051" y="1418328"/>
                    <a:pt x="1237382" y="1419247"/>
                  </a:cubicBezTo>
                  <a:cubicBezTo>
                    <a:pt x="1236713" y="1420351"/>
                    <a:pt x="1235877" y="1421270"/>
                    <a:pt x="1235042" y="1422190"/>
                  </a:cubicBezTo>
                  <a:cubicBezTo>
                    <a:pt x="1234206" y="1422926"/>
                    <a:pt x="1233203" y="1423661"/>
                    <a:pt x="1232033" y="1424029"/>
                  </a:cubicBezTo>
                  <a:cubicBezTo>
                    <a:pt x="1229023" y="1425133"/>
                    <a:pt x="1226181" y="1424580"/>
                    <a:pt x="1223674" y="1422374"/>
                  </a:cubicBezTo>
                  <a:cubicBezTo>
                    <a:pt x="1222837" y="1421638"/>
                    <a:pt x="1222169" y="1420903"/>
                    <a:pt x="1221500" y="1419983"/>
                  </a:cubicBezTo>
                  <a:cubicBezTo>
                    <a:pt x="1220832" y="1419064"/>
                    <a:pt x="1220330" y="1418144"/>
                    <a:pt x="1219828" y="1417041"/>
                  </a:cubicBezTo>
                  <a:cubicBezTo>
                    <a:pt x="1219661" y="1416489"/>
                    <a:pt x="1219494" y="1415938"/>
                    <a:pt x="1219160" y="1415570"/>
                  </a:cubicBezTo>
                  <a:cubicBezTo>
                    <a:pt x="1218825" y="1414650"/>
                    <a:pt x="1218491" y="1413731"/>
                    <a:pt x="1218324" y="1412628"/>
                  </a:cubicBezTo>
                  <a:cubicBezTo>
                    <a:pt x="1217822" y="1409501"/>
                    <a:pt x="1217822" y="1406375"/>
                    <a:pt x="1218658" y="1403249"/>
                  </a:cubicBezTo>
                  <a:cubicBezTo>
                    <a:pt x="1218825" y="1402514"/>
                    <a:pt x="1218993" y="1401778"/>
                    <a:pt x="1219327" y="1401226"/>
                  </a:cubicBezTo>
                  <a:cubicBezTo>
                    <a:pt x="1219661" y="1400491"/>
                    <a:pt x="1219828" y="1399755"/>
                    <a:pt x="1220163" y="1399203"/>
                  </a:cubicBezTo>
                  <a:cubicBezTo>
                    <a:pt x="1220664" y="1398467"/>
                    <a:pt x="1220999" y="1397549"/>
                    <a:pt x="1221668" y="1396813"/>
                  </a:cubicBezTo>
                  <a:cubicBezTo>
                    <a:pt x="1222336" y="1395893"/>
                    <a:pt x="1223172" y="1394974"/>
                    <a:pt x="1224175" y="1394238"/>
                  </a:cubicBezTo>
                  <a:cubicBezTo>
                    <a:pt x="1225011" y="1393686"/>
                    <a:pt x="1225847" y="1393135"/>
                    <a:pt x="1226850" y="1392767"/>
                  </a:cubicBezTo>
                  <a:close/>
                  <a:moveTo>
                    <a:pt x="1634708" y="1392767"/>
                  </a:moveTo>
                  <a:cubicBezTo>
                    <a:pt x="1637549" y="1391848"/>
                    <a:pt x="1640224" y="1392583"/>
                    <a:pt x="1642565" y="1394422"/>
                  </a:cubicBezTo>
                  <a:cubicBezTo>
                    <a:pt x="1643400" y="1395158"/>
                    <a:pt x="1644070" y="1395893"/>
                    <a:pt x="1644738" y="1396813"/>
                  </a:cubicBezTo>
                  <a:cubicBezTo>
                    <a:pt x="1645239" y="1397549"/>
                    <a:pt x="1645741" y="1398467"/>
                    <a:pt x="1646243" y="1399387"/>
                  </a:cubicBezTo>
                  <a:cubicBezTo>
                    <a:pt x="1646577" y="1399939"/>
                    <a:pt x="1646744" y="1400674"/>
                    <a:pt x="1646911" y="1401226"/>
                  </a:cubicBezTo>
                  <a:cubicBezTo>
                    <a:pt x="1647246" y="1402146"/>
                    <a:pt x="1647413" y="1403065"/>
                    <a:pt x="1647580" y="1403985"/>
                  </a:cubicBezTo>
                  <a:cubicBezTo>
                    <a:pt x="1648082" y="1405456"/>
                    <a:pt x="1648249" y="1406927"/>
                    <a:pt x="1648249" y="1408766"/>
                  </a:cubicBezTo>
                  <a:cubicBezTo>
                    <a:pt x="1648249" y="1410237"/>
                    <a:pt x="1648082" y="1411892"/>
                    <a:pt x="1647580" y="1413731"/>
                  </a:cubicBezTo>
                  <a:cubicBezTo>
                    <a:pt x="1647246" y="1414650"/>
                    <a:pt x="1647078" y="1415386"/>
                    <a:pt x="1646744" y="1416305"/>
                  </a:cubicBezTo>
                  <a:cubicBezTo>
                    <a:pt x="1646410" y="1417409"/>
                    <a:pt x="1645909" y="1418328"/>
                    <a:pt x="1645239" y="1419247"/>
                  </a:cubicBezTo>
                  <a:cubicBezTo>
                    <a:pt x="1644571" y="1420351"/>
                    <a:pt x="1643735" y="1421270"/>
                    <a:pt x="1642899" y="1422190"/>
                  </a:cubicBezTo>
                  <a:cubicBezTo>
                    <a:pt x="1642063" y="1422926"/>
                    <a:pt x="1641060" y="1423661"/>
                    <a:pt x="1639890" y="1424029"/>
                  </a:cubicBezTo>
                  <a:cubicBezTo>
                    <a:pt x="1636881" y="1425133"/>
                    <a:pt x="1634038" y="1424580"/>
                    <a:pt x="1631531" y="1422374"/>
                  </a:cubicBezTo>
                  <a:cubicBezTo>
                    <a:pt x="1630695" y="1421638"/>
                    <a:pt x="1630026" y="1420903"/>
                    <a:pt x="1629358" y="1419983"/>
                  </a:cubicBezTo>
                  <a:cubicBezTo>
                    <a:pt x="1628689" y="1419064"/>
                    <a:pt x="1628187" y="1418144"/>
                    <a:pt x="1627686" y="1417041"/>
                  </a:cubicBezTo>
                  <a:cubicBezTo>
                    <a:pt x="1627519" y="1416489"/>
                    <a:pt x="1627351" y="1415938"/>
                    <a:pt x="1627017" y="1415570"/>
                  </a:cubicBezTo>
                  <a:cubicBezTo>
                    <a:pt x="1626683" y="1414650"/>
                    <a:pt x="1626348" y="1413731"/>
                    <a:pt x="1626181" y="1412628"/>
                  </a:cubicBezTo>
                  <a:cubicBezTo>
                    <a:pt x="1625680" y="1409501"/>
                    <a:pt x="1625680" y="1406375"/>
                    <a:pt x="1626515" y="1403249"/>
                  </a:cubicBezTo>
                  <a:cubicBezTo>
                    <a:pt x="1626683" y="1402514"/>
                    <a:pt x="1626850" y="1401778"/>
                    <a:pt x="1627185" y="1401226"/>
                  </a:cubicBezTo>
                  <a:cubicBezTo>
                    <a:pt x="1627519" y="1400491"/>
                    <a:pt x="1627686" y="1399755"/>
                    <a:pt x="1628021" y="1399203"/>
                  </a:cubicBezTo>
                  <a:cubicBezTo>
                    <a:pt x="1628522" y="1398467"/>
                    <a:pt x="1628856" y="1397549"/>
                    <a:pt x="1629525" y="1396813"/>
                  </a:cubicBezTo>
                  <a:cubicBezTo>
                    <a:pt x="1630194" y="1395893"/>
                    <a:pt x="1631029" y="1394974"/>
                    <a:pt x="1632033" y="1394238"/>
                  </a:cubicBezTo>
                  <a:cubicBezTo>
                    <a:pt x="1632868" y="1393686"/>
                    <a:pt x="1633704" y="1393135"/>
                    <a:pt x="1634708" y="1392767"/>
                  </a:cubicBezTo>
                  <a:close/>
                  <a:moveTo>
                    <a:pt x="1930395" y="1392767"/>
                  </a:moveTo>
                  <a:cubicBezTo>
                    <a:pt x="1933237" y="1391848"/>
                    <a:pt x="1935911" y="1392583"/>
                    <a:pt x="1938252" y="1394422"/>
                  </a:cubicBezTo>
                  <a:cubicBezTo>
                    <a:pt x="1939088" y="1395158"/>
                    <a:pt x="1939757" y="1395893"/>
                    <a:pt x="1940425" y="1396813"/>
                  </a:cubicBezTo>
                  <a:cubicBezTo>
                    <a:pt x="1940927" y="1397549"/>
                    <a:pt x="1941428" y="1398467"/>
                    <a:pt x="1941930" y="1399387"/>
                  </a:cubicBezTo>
                  <a:cubicBezTo>
                    <a:pt x="1942264" y="1399939"/>
                    <a:pt x="1942432" y="1400674"/>
                    <a:pt x="1942599" y="1401226"/>
                  </a:cubicBezTo>
                  <a:cubicBezTo>
                    <a:pt x="1942933" y="1402146"/>
                    <a:pt x="1943100" y="1403065"/>
                    <a:pt x="1943267" y="1403985"/>
                  </a:cubicBezTo>
                  <a:cubicBezTo>
                    <a:pt x="1943769" y="1405456"/>
                    <a:pt x="1943936" y="1406927"/>
                    <a:pt x="1943936" y="1408766"/>
                  </a:cubicBezTo>
                  <a:cubicBezTo>
                    <a:pt x="1943936" y="1410237"/>
                    <a:pt x="1943769" y="1411892"/>
                    <a:pt x="1943267" y="1413731"/>
                  </a:cubicBezTo>
                  <a:cubicBezTo>
                    <a:pt x="1942933" y="1414650"/>
                    <a:pt x="1942765" y="1415386"/>
                    <a:pt x="1942432" y="1416305"/>
                  </a:cubicBezTo>
                  <a:cubicBezTo>
                    <a:pt x="1942097" y="1417409"/>
                    <a:pt x="1941596" y="1418328"/>
                    <a:pt x="1940927" y="1419247"/>
                  </a:cubicBezTo>
                  <a:cubicBezTo>
                    <a:pt x="1940258" y="1420351"/>
                    <a:pt x="1939422" y="1421270"/>
                    <a:pt x="1938586" y="1422190"/>
                  </a:cubicBezTo>
                  <a:cubicBezTo>
                    <a:pt x="1937750" y="1422926"/>
                    <a:pt x="1936747" y="1423661"/>
                    <a:pt x="1935577" y="1424029"/>
                  </a:cubicBezTo>
                  <a:cubicBezTo>
                    <a:pt x="1932568" y="1425133"/>
                    <a:pt x="1929726" y="1424580"/>
                    <a:pt x="1927218" y="1422374"/>
                  </a:cubicBezTo>
                  <a:cubicBezTo>
                    <a:pt x="1926383" y="1421638"/>
                    <a:pt x="1925713" y="1420903"/>
                    <a:pt x="1925045" y="1419983"/>
                  </a:cubicBezTo>
                  <a:cubicBezTo>
                    <a:pt x="1924376" y="1419064"/>
                    <a:pt x="1923875" y="1418144"/>
                    <a:pt x="1923373" y="1417041"/>
                  </a:cubicBezTo>
                  <a:cubicBezTo>
                    <a:pt x="1923206" y="1416489"/>
                    <a:pt x="1923038" y="1415938"/>
                    <a:pt x="1922704" y="1415570"/>
                  </a:cubicBezTo>
                  <a:cubicBezTo>
                    <a:pt x="1922370" y="1414650"/>
                    <a:pt x="1922036" y="1413731"/>
                    <a:pt x="1921868" y="1412628"/>
                  </a:cubicBezTo>
                  <a:cubicBezTo>
                    <a:pt x="1921367" y="1409501"/>
                    <a:pt x="1921367" y="1406375"/>
                    <a:pt x="1922203" y="1403249"/>
                  </a:cubicBezTo>
                  <a:cubicBezTo>
                    <a:pt x="1922370" y="1402514"/>
                    <a:pt x="1922537" y="1401778"/>
                    <a:pt x="1922872" y="1401226"/>
                  </a:cubicBezTo>
                  <a:cubicBezTo>
                    <a:pt x="1923206" y="1400491"/>
                    <a:pt x="1923373" y="1399755"/>
                    <a:pt x="1923708" y="1399203"/>
                  </a:cubicBezTo>
                  <a:cubicBezTo>
                    <a:pt x="1924209" y="1398467"/>
                    <a:pt x="1924543" y="1397549"/>
                    <a:pt x="1925212" y="1396813"/>
                  </a:cubicBezTo>
                  <a:cubicBezTo>
                    <a:pt x="1925881" y="1395893"/>
                    <a:pt x="1926716" y="1394974"/>
                    <a:pt x="1927720" y="1394238"/>
                  </a:cubicBezTo>
                  <a:cubicBezTo>
                    <a:pt x="1928556" y="1393686"/>
                    <a:pt x="1929391" y="1393135"/>
                    <a:pt x="1930395" y="1392767"/>
                  </a:cubicBezTo>
                  <a:close/>
                  <a:moveTo>
                    <a:pt x="2277096" y="1392767"/>
                  </a:moveTo>
                  <a:cubicBezTo>
                    <a:pt x="2279939" y="1391848"/>
                    <a:pt x="2282613" y="1392583"/>
                    <a:pt x="2284954" y="1394422"/>
                  </a:cubicBezTo>
                  <a:cubicBezTo>
                    <a:pt x="2285790" y="1395158"/>
                    <a:pt x="2286459" y="1395893"/>
                    <a:pt x="2287127" y="1396813"/>
                  </a:cubicBezTo>
                  <a:cubicBezTo>
                    <a:pt x="2287629" y="1397549"/>
                    <a:pt x="2288131" y="1398467"/>
                    <a:pt x="2288632" y="1399387"/>
                  </a:cubicBezTo>
                  <a:cubicBezTo>
                    <a:pt x="2288967" y="1399939"/>
                    <a:pt x="2289134" y="1400674"/>
                    <a:pt x="2289300" y="1401226"/>
                  </a:cubicBezTo>
                  <a:cubicBezTo>
                    <a:pt x="2289636" y="1402146"/>
                    <a:pt x="2289803" y="1403065"/>
                    <a:pt x="2289970" y="1403985"/>
                  </a:cubicBezTo>
                  <a:cubicBezTo>
                    <a:pt x="2290471" y="1405456"/>
                    <a:pt x="2290639" y="1406927"/>
                    <a:pt x="2290639" y="1408766"/>
                  </a:cubicBezTo>
                  <a:cubicBezTo>
                    <a:pt x="2290639" y="1410237"/>
                    <a:pt x="2290471" y="1411892"/>
                    <a:pt x="2289970" y="1413731"/>
                  </a:cubicBezTo>
                  <a:cubicBezTo>
                    <a:pt x="2289636" y="1414650"/>
                    <a:pt x="2289467" y="1415386"/>
                    <a:pt x="2289134" y="1416305"/>
                  </a:cubicBezTo>
                  <a:cubicBezTo>
                    <a:pt x="2288800" y="1417409"/>
                    <a:pt x="2288297" y="1418328"/>
                    <a:pt x="2287629" y="1419247"/>
                  </a:cubicBezTo>
                  <a:cubicBezTo>
                    <a:pt x="2286960" y="1420351"/>
                    <a:pt x="2286123" y="1421270"/>
                    <a:pt x="2285289" y="1422190"/>
                  </a:cubicBezTo>
                  <a:cubicBezTo>
                    <a:pt x="2284453" y="1422926"/>
                    <a:pt x="2283450" y="1423661"/>
                    <a:pt x="2282279" y="1424029"/>
                  </a:cubicBezTo>
                  <a:cubicBezTo>
                    <a:pt x="2279269" y="1425133"/>
                    <a:pt x="2276428" y="1424580"/>
                    <a:pt x="2273921" y="1422374"/>
                  </a:cubicBezTo>
                  <a:cubicBezTo>
                    <a:pt x="2273085" y="1421638"/>
                    <a:pt x="2272415" y="1420903"/>
                    <a:pt x="2271748" y="1419983"/>
                  </a:cubicBezTo>
                  <a:cubicBezTo>
                    <a:pt x="2271078" y="1419064"/>
                    <a:pt x="2270577" y="1418144"/>
                    <a:pt x="2270075" y="1417041"/>
                  </a:cubicBezTo>
                  <a:cubicBezTo>
                    <a:pt x="2269908" y="1416489"/>
                    <a:pt x="2269741" y="1415938"/>
                    <a:pt x="2269407" y="1415570"/>
                  </a:cubicBezTo>
                  <a:cubicBezTo>
                    <a:pt x="2269072" y="1414650"/>
                    <a:pt x="2268738" y="1413731"/>
                    <a:pt x="2268571" y="1412628"/>
                  </a:cubicBezTo>
                  <a:cubicBezTo>
                    <a:pt x="2268069" y="1409501"/>
                    <a:pt x="2268069" y="1406375"/>
                    <a:pt x="2268905" y="1403249"/>
                  </a:cubicBezTo>
                  <a:cubicBezTo>
                    <a:pt x="2269072" y="1402514"/>
                    <a:pt x="2269240" y="1401778"/>
                    <a:pt x="2269574" y="1401226"/>
                  </a:cubicBezTo>
                  <a:cubicBezTo>
                    <a:pt x="2269908" y="1400491"/>
                    <a:pt x="2270075" y="1399755"/>
                    <a:pt x="2270410" y="1399203"/>
                  </a:cubicBezTo>
                  <a:cubicBezTo>
                    <a:pt x="2270912" y="1398467"/>
                    <a:pt x="2271246" y="1397549"/>
                    <a:pt x="2271915" y="1396813"/>
                  </a:cubicBezTo>
                  <a:cubicBezTo>
                    <a:pt x="2272582" y="1395893"/>
                    <a:pt x="2273419" y="1394974"/>
                    <a:pt x="2274422" y="1394238"/>
                  </a:cubicBezTo>
                  <a:cubicBezTo>
                    <a:pt x="2275258" y="1393686"/>
                    <a:pt x="2276094" y="1393135"/>
                    <a:pt x="2277096" y="1392767"/>
                  </a:cubicBezTo>
                  <a:close/>
                  <a:moveTo>
                    <a:pt x="2399463" y="1392767"/>
                  </a:moveTo>
                  <a:cubicBezTo>
                    <a:pt x="2402304" y="1391848"/>
                    <a:pt x="2404980" y="1392583"/>
                    <a:pt x="2407321" y="1394422"/>
                  </a:cubicBezTo>
                  <a:cubicBezTo>
                    <a:pt x="2408156" y="1395158"/>
                    <a:pt x="2408824" y="1395893"/>
                    <a:pt x="2409494" y="1396813"/>
                  </a:cubicBezTo>
                  <a:cubicBezTo>
                    <a:pt x="2409995" y="1397549"/>
                    <a:pt x="2410497" y="1398467"/>
                    <a:pt x="2410998" y="1399387"/>
                  </a:cubicBezTo>
                  <a:cubicBezTo>
                    <a:pt x="2411331" y="1399939"/>
                    <a:pt x="2411499" y="1400674"/>
                    <a:pt x="2411667" y="1401226"/>
                  </a:cubicBezTo>
                  <a:cubicBezTo>
                    <a:pt x="2412001" y="1402146"/>
                    <a:pt x="2412168" y="1403065"/>
                    <a:pt x="2412335" y="1403985"/>
                  </a:cubicBezTo>
                  <a:cubicBezTo>
                    <a:pt x="2412837" y="1405456"/>
                    <a:pt x="2413004" y="1406927"/>
                    <a:pt x="2413004" y="1408766"/>
                  </a:cubicBezTo>
                  <a:cubicBezTo>
                    <a:pt x="2413004" y="1410237"/>
                    <a:pt x="2412837" y="1411892"/>
                    <a:pt x="2412335" y="1413731"/>
                  </a:cubicBezTo>
                  <a:cubicBezTo>
                    <a:pt x="2412001" y="1414650"/>
                    <a:pt x="2411834" y="1415386"/>
                    <a:pt x="2411499" y="1416305"/>
                  </a:cubicBezTo>
                  <a:cubicBezTo>
                    <a:pt x="2411165" y="1417409"/>
                    <a:pt x="2410663" y="1418328"/>
                    <a:pt x="2409995" y="1419247"/>
                  </a:cubicBezTo>
                  <a:cubicBezTo>
                    <a:pt x="2409326" y="1420351"/>
                    <a:pt x="2408490" y="1421270"/>
                    <a:pt x="2407654" y="1422190"/>
                  </a:cubicBezTo>
                  <a:cubicBezTo>
                    <a:pt x="2406818" y="1422926"/>
                    <a:pt x="2405814" y="1423661"/>
                    <a:pt x="2404644" y="1424029"/>
                  </a:cubicBezTo>
                  <a:cubicBezTo>
                    <a:pt x="2401636" y="1425133"/>
                    <a:pt x="2398794" y="1424580"/>
                    <a:pt x="2396286" y="1422374"/>
                  </a:cubicBezTo>
                  <a:cubicBezTo>
                    <a:pt x="2395450" y="1421638"/>
                    <a:pt x="2394782" y="1420903"/>
                    <a:pt x="2394113" y="1419983"/>
                  </a:cubicBezTo>
                  <a:cubicBezTo>
                    <a:pt x="2393443" y="1419064"/>
                    <a:pt x="2392943" y="1418144"/>
                    <a:pt x="2392441" y="1417041"/>
                  </a:cubicBezTo>
                  <a:cubicBezTo>
                    <a:pt x="2392273" y="1416489"/>
                    <a:pt x="2392106" y="1415938"/>
                    <a:pt x="2391773" y="1415570"/>
                  </a:cubicBezTo>
                  <a:cubicBezTo>
                    <a:pt x="2391438" y="1414650"/>
                    <a:pt x="2391103" y="1413731"/>
                    <a:pt x="2390936" y="1412628"/>
                  </a:cubicBezTo>
                  <a:cubicBezTo>
                    <a:pt x="2390435" y="1409501"/>
                    <a:pt x="2390435" y="1406375"/>
                    <a:pt x="2391271" y="1403249"/>
                  </a:cubicBezTo>
                  <a:cubicBezTo>
                    <a:pt x="2391438" y="1402514"/>
                    <a:pt x="2391605" y="1401778"/>
                    <a:pt x="2391939" y="1401226"/>
                  </a:cubicBezTo>
                  <a:cubicBezTo>
                    <a:pt x="2392273" y="1400491"/>
                    <a:pt x="2392441" y="1399755"/>
                    <a:pt x="2392775" y="1399203"/>
                  </a:cubicBezTo>
                  <a:cubicBezTo>
                    <a:pt x="2393277" y="1398467"/>
                    <a:pt x="2393612" y="1397549"/>
                    <a:pt x="2394280" y="1396813"/>
                  </a:cubicBezTo>
                  <a:cubicBezTo>
                    <a:pt x="2394949" y="1395893"/>
                    <a:pt x="2395785" y="1394974"/>
                    <a:pt x="2396787" y="1394238"/>
                  </a:cubicBezTo>
                  <a:cubicBezTo>
                    <a:pt x="2397623" y="1393686"/>
                    <a:pt x="2398460" y="1393135"/>
                    <a:pt x="2399463" y="1392767"/>
                  </a:cubicBezTo>
                  <a:close/>
                  <a:moveTo>
                    <a:pt x="2511679" y="1392767"/>
                  </a:moveTo>
                  <a:cubicBezTo>
                    <a:pt x="2514521" y="1391848"/>
                    <a:pt x="2517196" y="1392583"/>
                    <a:pt x="2519536" y="1394422"/>
                  </a:cubicBezTo>
                  <a:cubicBezTo>
                    <a:pt x="2520372" y="1395158"/>
                    <a:pt x="2521041" y="1395893"/>
                    <a:pt x="2521710" y="1396813"/>
                  </a:cubicBezTo>
                  <a:cubicBezTo>
                    <a:pt x="2522211" y="1397549"/>
                    <a:pt x="2522713" y="1398467"/>
                    <a:pt x="2523215" y="1399387"/>
                  </a:cubicBezTo>
                  <a:cubicBezTo>
                    <a:pt x="2523549" y="1399939"/>
                    <a:pt x="2523715" y="1400674"/>
                    <a:pt x="2523883" y="1401226"/>
                  </a:cubicBezTo>
                  <a:cubicBezTo>
                    <a:pt x="2524218" y="1402146"/>
                    <a:pt x="2524385" y="1403065"/>
                    <a:pt x="2524552" y="1403985"/>
                  </a:cubicBezTo>
                  <a:cubicBezTo>
                    <a:pt x="2525054" y="1405456"/>
                    <a:pt x="2525221" y="1406927"/>
                    <a:pt x="2525221" y="1408766"/>
                  </a:cubicBezTo>
                  <a:cubicBezTo>
                    <a:pt x="2525221" y="1410237"/>
                    <a:pt x="2525054" y="1411892"/>
                    <a:pt x="2524552" y="1413731"/>
                  </a:cubicBezTo>
                  <a:cubicBezTo>
                    <a:pt x="2524218" y="1414650"/>
                    <a:pt x="2524051" y="1415386"/>
                    <a:pt x="2523715" y="1416305"/>
                  </a:cubicBezTo>
                  <a:cubicBezTo>
                    <a:pt x="2523381" y="1417409"/>
                    <a:pt x="2522881" y="1418328"/>
                    <a:pt x="2522211" y="1419247"/>
                  </a:cubicBezTo>
                  <a:cubicBezTo>
                    <a:pt x="2521543" y="1420351"/>
                    <a:pt x="2520707" y="1421270"/>
                    <a:pt x="2519871" y="1422190"/>
                  </a:cubicBezTo>
                  <a:cubicBezTo>
                    <a:pt x="2519035" y="1422926"/>
                    <a:pt x="2518031" y="1423661"/>
                    <a:pt x="2516861" y="1424029"/>
                  </a:cubicBezTo>
                  <a:cubicBezTo>
                    <a:pt x="2513853" y="1425133"/>
                    <a:pt x="2511010" y="1424580"/>
                    <a:pt x="2508503" y="1422374"/>
                  </a:cubicBezTo>
                  <a:cubicBezTo>
                    <a:pt x="2507667" y="1421638"/>
                    <a:pt x="2506998" y="1420903"/>
                    <a:pt x="2506330" y="1419983"/>
                  </a:cubicBezTo>
                  <a:cubicBezTo>
                    <a:pt x="2505660" y="1419064"/>
                    <a:pt x="2505159" y="1418144"/>
                    <a:pt x="2504657" y="1417041"/>
                  </a:cubicBezTo>
                  <a:cubicBezTo>
                    <a:pt x="2504490" y="1416489"/>
                    <a:pt x="2504323" y="1415938"/>
                    <a:pt x="2503989" y="1415570"/>
                  </a:cubicBezTo>
                  <a:cubicBezTo>
                    <a:pt x="2503655" y="1414650"/>
                    <a:pt x="2503319" y="1413731"/>
                    <a:pt x="2503153" y="1412628"/>
                  </a:cubicBezTo>
                  <a:cubicBezTo>
                    <a:pt x="2502652" y="1409501"/>
                    <a:pt x="2502652" y="1406375"/>
                    <a:pt x="2503487" y="1403249"/>
                  </a:cubicBezTo>
                  <a:cubicBezTo>
                    <a:pt x="2503655" y="1402514"/>
                    <a:pt x="2503822" y="1401778"/>
                    <a:pt x="2504156" y="1401226"/>
                  </a:cubicBezTo>
                  <a:cubicBezTo>
                    <a:pt x="2504490" y="1400491"/>
                    <a:pt x="2504657" y="1399755"/>
                    <a:pt x="2504992" y="1399203"/>
                  </a:cubicBezTo>
                  <a:cubicBezTo>
                    <a:pt x="2505493" y="1398467"/>
                    <a:pt x="2505827" y="1397549"/>
                    <a:pt x="2506496" y="1396813"/>
                  </a:cubicBezTo>
                  <a:cubicBezTo>
                    <a:pt x="2507166" y="1395893"/>
                    <a:pt x="2508000" y="1394974"/>
                    <a:pt x="2509004" y="1394238"/>
                  </a:cubicBezTo>
                  <a:cubicBezTo>
                    <a:pt x="2509840" y="1393686"/>
                    <a:pt x="2510676" y="1393135"/>
                    <a:pt x="2511679" y="1392767"/>
                  </a:cubicBezTo>
                  <a:close/>
                  <a:moveTo>
                    <a:pt x="2746211" y="1392767"/>
                  </a:moveTo>
                  <a:cubicBezTo>
                    <a:pt x="2749054" y="1391848"/>
                    <a:pt x="2751729" y="1392583"/>
                    <a:pt x="2754069" y="1394422"/>
                  </a:cubicBezTo>
                  <a:cubicBezTo>
                    <a:pt x="2754905" y="1395158"/>
                    <a:pt x="2755573" y="1395893"/>
                    <a:pt x="2756243" y="1396813"/>
                  </a:cubicBezTo>
                  <a:cubicBezTo>
                    <a:pt x="2756743" y="1397549"/>
                    <a:pt x="2757246" y="1398467"/>
                    <a:pt x="2757746" y="1399387"/>
                  </a:cubicBezTo>
                  <a:cubicBezTo>
                    <a:pt x="2758082" y="1399939"/>
                    <a:pt x="2758248" y="1400674"/>
                    <a:pt x="2758416" y="1401226"/>
                  </a:cubicBezTo>
                  <a:cubicBezTo>
                    <a:pt x="2758750" y="1402146"/>
                    <a:pt x="2758916" y="1403065"/>
                    <a:pt x="2759085" y="1403985"/>
                  </a:cubicBezTo>
                  <a:cubicBezTo>
                    <a:pt x="2759586" y="1405456"/>
                    <a:pt x="2759753" y="1406927"/>
                    <a:pt x="2759753" y="1408766"/>
                  </a:cubicBezTo>
                  <a:cubicBezTo>
                    <a:pt x="2759753" y="1410237"/>
                    <a:pt x="2759586" y="1411892"/>
                    <a:pt x="2759085" y="1413731"/>
                  </a:cubicBezTo>
                  <a:cubicBezTo>
                    <a:pt x="2758750" y="1414650"/>
                    <a:pt x="2758583" y="1415386"/>
                    <a:pt x="2758248" y="1416305"/>
                  </a:cubicBezTo>
                  <a:cubicBezTo>
                    <a:pt x="2757913" y="1417409"/>
                    <a:pt x="2757413" y="1418328"/>
                    <a:pt x="2756743" y="1419247"/>
                  </a:cubicBezTo>
                  <a:cubicBezTo>
                    <a:pt x="2756075" y="1420351"/>
                    <a:pt x="2755240" y="1421270"/>
                    <a:pt x="2754403" y="1422190"/>
                  </a:cubicBezTo>
                  <a:cubicBezTo>
                    <a:pt x="2753568" y="1422926"/>
                    <a:pt x="2752565" y="1423661"/>
                    <a:pt x="2751395" y="1424029"/>
                  </a:cubicBezTo>
                  <a:cubicBezTo>
                    <a:pt x="2748385" y="1425133"/>
                    <a:pt x="2745542" y="1424580"/>
                    <a:pt x="2743035" y="1422374"/>
                  </a:cubicBezTo>
                  <a:cubicBezTo>
                    <a:pt x="2742199" y="1421638"/>
                    <a:pt x="2741531" y="1420903"/>
                    <a:pt x="2740862" y="1419983"/>
                  </a:cubicBezTo>
                  <a:cubicBezTo>
                    <a:pt x="2740194" y="1419064"/>
                    <a:pt x="2739691" y="1418144"/>
                    <a:pt x="2739190" y="1417041"/>
                  </a:cubicBezTo>
                  <a:cubicBezTo>
                    <a:pt x="2739023" y="1416489"/>
                    <a:pt x="2738855" y="1415938"/>
                    <a:pt x="2738521" y="1415570"/>
                  </a:cubicBezTo>
                  <a:cubicBezTo>
                    <a:pt x="2738187" y="1414650"/>
                    <a:pt x="2737853" y="1413731"/>
                    <a:pt x="2737685" y="1412628"/>
                  </a:cubicBezTo>
                  <a:cubicBezTo>
                    <a:pt x="2737184" y="1409501"/>
                    <a:pt x="2737184" y="1406375"/>
                    <a:pt x="2738020" y="1403249"/>
                  </a:cubicBezTo>
                  <a:cubicBezTo>
                    <a:pt x="2738187" y="1402514"/>
                    <a:pt x="2738355" y="1401778"/>
                    <a:pt x="2738688" y="1401226"/>
                  </a:cubicBezTo>
                  <a:cubicBezTo>
                    <a:pt x="2739023" y="1400491"/>
                    <a:pt x="2739190" y="1399755"/>
                    <a:pt x="2739524" y="1399203"/>
                  </a:cubicBezTo>
                  <a:cubicBezTo>
                    <a:pt x="2740026" y="1398467"/>
                    <a:pt x="2740360" y="1397549"/>
                    <a:pt x="2741028" y="1396813"/>
                  </a:cubicBezTo>
                  <a:cubicBezTo>
                    <a:pt x="2741698" y="1395893"/>
                    <a:pt x="2742534" y="1394974"/>
                    <a:pt x="2743537" y="1394238"/>
                  </a:cubicBezTo>
                  <a:cubicBezTo>
                    <a:pt x="2744372" y="1393686"/>
                    <a:pt x="2745208" y="1393135"/>
                    <a:pt x="2746211" y="1392767"/>
                  </a:cubicBezTo>
                  <a:close/>
                  <a:moveTo>
                    <a:pt x="2868576" y="1392767"/>
                  </a:moveTo>
                  <a:cubicBezTo>
                    <a:pt x="2871419" y="1391848"/>
                    <a:pt x="2874094" y="1392583"/>
                    <a:pt x="2876434" y="1394422"/>
                  </a:cubicBezTo>
                  <a:cubicBezTo>
                    <a:pt x="2877270" y="1395158"/>
                    <a:pt x="2877939" y="1395893"/>
                    <a:pt x="2878608" y="1396813"/>
                  </a:cubicBezTo>
                  <a:cubicBezTo>
                    <a:pt x="2879109" y="1397549"/>
                    <a:pt x="2879611" y="1398467"/>
                    <a:pt x="2880113" y="1399387"/>
                  </a:cubicBezTo>
                  <a:cubicBezTo>
                    <a:pt x="2880447" y="1399939"/>
                    <a:pt x="2880614" y="1400674"/>
                    <a:pt x="2880781" y="1401226"/>
                  </a:cubicBezTo>
                  <a:cubicBezTo>
                    <a:pt x="2881116" y="1402146"/>
                    <a:pt x="2881283" y="1403065"/>
                    <a:pt x="2881450" y="1403985"/>
                  </a:cubicBezTo>
                  <a:cubicBezTo>
                    <a:pt x="2881952" y="1405456"/>
                    <a:pt x="2882119" y="1406927"/>
                    <a:pt x="2882119" y="1408766"/>
                  </a:cubicBezTo>
                  <a:cubicBezTo>
                    <a:pt x="2882119" y="1410237"/>
                    <a:pt x="2881952" y="1411892"/>
                    <a:pt x="2881450" y="1413731"/>
                  </a:cubicBezTo>
                  <a:cubicBezTo>
                    <a:pt x="2881116" y="1414650"/>
                    <a:pt x="2880949" y="1415386"/>
                    <a:pt x="2880614" y="1416305"/>
                  </a:cubicBezTo>
                  <a:cubicBezTo>
                    <a:pt x="2880280" y="1417409"/>
                    <a:pt x="2879779" y="1418328"/>
                    <a:pt x="2879109" y="1419247"/>
                  </a:cubicBezTo>
                  <a:cubicBezTo>
                    <a:pt x="2878441" y="1420351"/>
                    <a:pt x="2877604" y="1421270"/>
                    <a:pt x="2876769" y="1422190"/>
                  </a:cubicBezTo>
                  <a:cubicBezTo>
                    <a:pt x="2875933" y="1422926"/>
                    <a:pt x="2874930" y="1423661"/>
                    <a:pt x="2873760" y="1424029"/>
                  </a:cubicBezTo>
                  <a:cubicBezTo>
                    <a:pt x="2870750" y="1425133"/>
                    <a:pt x="2867908" y="1424580"/>
                    <a:pt x="2865401" y="1422374"/>
                  </a:cubicBezTo>
                  <a:cubicBezTo>
                    <a:pt x="2864565" y="1421638"/>
                    <a:pt x="2863896" y="1420903"/>
                    <a:pt x="2863228" y="1419983"/>
                  </a:cubicBezTo>
                  <a:cubicBezTo>
                    <a:pt x="2862559" y="1419064"/>
                    <a:pt x="2862057" y="1418144"/>
                    <a:pt x="2861556" y="1417041"/>
                  </a:cubicBezTo>
                  <a:cubicBezTo>
                    <a:pt x="2861389" y="1416489"/>
                    <a:pt x="2861221" y="1415938"/>
                    <a:pt x="2860886" y="1415570"/>
                  </a:cubicBezTo>
                  <a:cubicBezTo>
                    <a:pt x="2860552" y="1414650"/>
                    <a:pt x="2860218" y="1413731"/>
                    <a:pt x="2860052" y="1412628"/>
                  </a:cubicBezTo>
                  <a:cubicBezTo>
                    <a:pt x="2859549" y="1409501"/>
                    <a:pt x="2859549" y="1406375"/>
                    <a:pt x="2860386" y="1403249"/>
                  </a:cubicBezTo>
                  <a:cubicBezTo>
                    <a:pt x="2860552" y="1402514"/>
                    <a:pt x="2860719" y="1401778"/>
                    <a:pt x="2861054" y="1401226"/>
                  </a:cubicBezTo>
                  <a:cubicBezTo>
                    <a:pt x="2861389" y="1400491"/>
                    <a:pt x="2861556" y="1399755"/>
                    <a:pt x="2861889" y="1399203"/>
                  </a:cubicBezTo>
                  <a:cubicBezTo>
                    <a:pt x="2862392" y="1398467"/>
                    <a:pt x="2862726" y="1397549"/>
                    <a:pt x="2863395" y="1396813"/>
                  </a:cubicBezTo>
                  <a:cubicBezTo>
                    <a:pt x="2864063" y="1395893"/>
                    <a:pt x="2864900" y="1394974"/>
                    <a:pt x="2865903" y="1394238"/>
                  </a:cubicBezTo>
                  <a:cubicBezTo>
                    <a:pt x="2866739" y="1393686"/>
                    <a:pt x="2867573" y="1393135"/>
                    <a:pt x="2868576" y="1392767"/>
                  </a:cubicBezTo>
                  <a:close/>
                  <a:moveTo>
                    <a:pt x="3031803" y="1392767"/>
                  </a:moveTo>
                  <a:cubicBezTo>
                    <a:pt x="3034645" y="1391848"/>
                    <a:pt x="3037320" y="1392583"/>
                    <a:pt x="3039660" y="1394422"/>
                  </a:cubicBezTo>
                  <a:cubicBezTo>
                    <a:pt x="3040496" y="1395158"/>
                    <a:pt x="3041165" y="1395893"/>
                    <a:pt x="3041834" y="1396813"/>
                  </a:cubicBezTo>
                  <a:cubicBezTo>
                    <a:pt x="3042335" y="1397549"/>
                    <a:pt x="3042837" y="1398467"/>
                    <a:pt x="3043338" y="1399387"/>
                  </a:cubicBezTo>
                  <a:cubicBezTo>
                    <a:pt x="3043673" y="1399939"/>
                    <a:pt x="3043840" y="1400674"/>
                    <a:pt x="3044007" y="1401226"/>
                  </a:cubicBezTo>
                  <a:cubicBezTo>
                    <a:pt x="3044342" y="1402146"/>
                    <a:pt x="3044509" y="1403065"/>
                    <a:pt x="3044676" y="1403985"/>
                  </a:cubicBezTo>
                  <a:cubicBezTo>
                    <a:pt x="3045177" y="1405456"/>
                    <a:pt x="3045345" y="1406927"/>
                    <a:pt x="3045345" y="1408766"/>
                  </a:cubicBezTo>
                  <a:cubicBezTo>
                    <a:pt x="3045345" y="1410237"/>
                    <a:pt x="3045177" y="1411892"/>
                    <a:pt x="3044676" y="1413731"/>
                  </a:cubicBezTo>
                  <a:cubicBezTo>
                    <a:pt x="3044342" y="1414650"/>
                    <a:pt x="3044174" y="1415386"/>
                    <a:pt x="3043840" y="1416305"/>
                  </a:cubicBezTo>
                  <a:cubicBezTo>
                    <a:pt x="3043506" y="1417409"/>
                    <a:pt x="3043004" y="1418328"/>
                    <a:pt x="3042335" y="1419247"/>
                  </a:cubicBezTo>
                  <a:cubicBezTo>
                    <a:pt x="3041667" y="1420351"/>
                    <a:pt x="3040831" y="1421270"/>
                    <a:pt x="3039995" y="1422190"/>
                  </a:cubicBezTo>
                  <a:cubicBezTo>
                    <a:pt x="3039159" y="1422926"/>
                    <a:pt x="3038156" y="1423661"/>
                    <a:pt x="3036986" y="1424029"/>
                  </a:cubicBezTo>
                  <a:cubicBezTo>
                    <a:pt x="3033976" y="1425133"/>
                    <a:pt x="3031134" y="1424580"/>
                    <a:pt x="3028626" y="1422374"/>
                  </a:cubicBezTo>
                  <a:cubicBezTo>
                    <a:pt x="3027791" y="1421638"/>
                    <a:pt x="3027122" y="1420903"/>
                    <a:pt x="3026453" y="1419983"/>
                  </a:cubicBezTo>
                  <a:cubicBezTo>
                    <a:pt x="3025785" y="1419064"/>
                    <a:pt x="3025283" y="1418144"/>
                    <a:pt x="3024782" y="1417041"/>
                  </a:cubicBezTo>
                  <a:cubicBezTo>
                    <a:pt x="3024614" y="1416489"/>
                    <a:pt x="3024447" y="1415938"/>
                    <a:pt x="3024113" y="1415570"/>
                  </a:cubicBezTo>
                  <a:cubicBezTo>
                    <a:pt x="3023779" y="1414650"/>
                    <a:pt x="3023444" y="1413731"/>
                    <a:pt x="3023277" y="1412628"/>
                  </a:cubicBezTo>
                  <a:cubicBezTo>
                    <a:pt x="3022775" y="1409501"/>
                    <a:pt x="3022775" y="1406375"/>
                    <a:pt x="3023611" y="1403249"/>
                  </a:cubicBezTo>
                  <a:cubicBezTo>
                    <a:pt x="3023779" y="1402514"/>
                    <a:pt x="3023946" y="1401778"/>
                    <a:pt x="3024280" y="1401226"/>
                  </a:cubicBezTo>
                  <a:cubicBezTo>
                    <a:pt x="3024614" y="1400491"/>
                    <a:pt x="3024782" y="1399755"/>
                    <a:pt x="3025116" y="1399203"/>
                  </a:cubicBezTo>
                  <a:cubicBezTo>
                    <a:pt x="3025618" y="1398467"/>
                    <a:pt x="3025952" y="1397549"/>
                    <a:pt x="3026621" y="1396813"/>
                  </a:cubicBezTo>
                  <a:cubicBezTo>
                    <a:pt x="3027289" y="1395893"/>
                    <a:pt x="3028125" y="1394974"/>
                    <a:pt x="3029128" y="1394238"/>
                  </a:cubicBezTo>
                  <a:cubicBezTo>
                    <a:pt x="3029964" y="1393686"/>
                    <a:pt x="3030800" y="1393135"/>
                    <a:pt x="3031803" y="1392767"/>
                  </a:cubicBezTo>
                  <a:close/>
                  <a:moveTo>
                    <a:pt x="3093011" y="1392767"/>
                  </a:moveTo>
                  <a:cubicBezTo>
                    <a:pt x="3095853" y="1391848"/>
                    <a:pt x="3098527" y="1392583"/>
                    <a:pt x="3100868" y="1394422"/>
                  </a:cubicBezTo>
                  <a:cubicBezTo>
                    <a:pt x="3101704" y="1395158"/>
                    <a:pt x="3102373" y="1395893"/>
                    <a:pt x="3103042" y="1396813"/>
                  </a:cubicBezTo>
                  <a:cubicBezTo>
                    <a:pt x="3103543" y="1397549"/>
                    <a:pt x="3104045" y="1398467"/>
                    <a:pt x="3104546" y="1399387"/>
                  </a:cubicBezTo>
                  <a:cubicBezTo>
                    <a:pt x="3104881" y="1399939"/>
                    <a:pt x="3105047" y="1400674"/>
                    <a:pt x="3105215" y="1401226"/>
                  </a:cubicBezTo>
                  <a:cubicBezTo>
                    <a:pt x="3105549" y="1402146"/>
                    <a:pt x="3105716" y="1403065"/>
                    <a:pt x="3105884" y="1403985"/>
                  </a:cubicBezTo>
                  <a:cubicBezTo>
                    <a:pt x="3106385" y="1405456"/>
                    <a:pt x="3106552" y="1406927"/>
                    <a:pt x="3106552" y="1408766"/>
                  </a:cubicBezTo>
                  <a:cubicBezTo>
                    <a:pt x="3106552" y="1410237"/>
                    <a:pt x="3106385" y="1411892"/>
                    <a:pt x="3105884" y="1413731"/>
                  </a:cubicBezTo>
                  <a:cubicBezTo>
                    <a:pt x="3105549" y="1414650"/>
                    <a:pt x="3105382" y="1415386"/>
                    <a:pt x="3105047" y="1416305"/>
                  </a:cubicBezTo>
                  <a:cubicBezTo>
                    <a:pt x="3104713" y="1417409"/>
                    <a:pt x="3104212" y="1418328"/>
                    <a:pt x="3103543" y="1419247"/>
                  </a:cubicBezTo>
                  <a:cubicBezTo>
                    <a:pt x="3102874" y="1420351"/>
                    <a:pt x="3102038" y="1421270"/>
                    <a:pt x="3101202" y="1422190"/>
                  </a:cubicBezTo>
                  <a:cubicBezTo>
                    <a:pt x="3100367" y="1422926"/>
                    <a:pt x="3099363" y="1423661"/>
                    <a:pt x="3098194" y="1424029"/>
                  </a:cubicBezTo>
                  <a:cubicBezTo>
                    <a:pt x="3095184" y="1425133"/>
                    <a:pt x="3092342" y="1424580"/>
                    <a:pt x="3089834" y="1422374"/>
                  </a:cubicBezTo>
                  <a:cubicBezTo>
                    <a:pt x="3088998" y="1421638"/>
                    <a:pt x="3088330" y="1420903"/>
                    <a:pt x="3087661" y="1419983"/>
                  </a:cubicBezTo>
                  <a:cubicBezTo>
                    <a:pt x="3086992" y="1419064"/>
                    <a:pt x="3086491" y="1418144"/>
                    <a:pt x="3085989" y="1417041"/>
                  </a:cubicBezTo>
                  <a:cubicBezTo>
                    <a:pt x="3085822" y="1416489"/>
                    <a:pt x="3085655" y="1415938"/>
                    <a:pt x="3085321" y="1415570"/>
                  </a:cubicBezTo>
                  <a:cubicBezTo>
                    <a:pt x="3084986" y="1414650"/>
                    <a:pt x="3084651" y="1413731"/>
                    <a:pt x="3084485" y="1412628"/>
                  </a:cubicBezTo>
                  <a:cubicBezTo>
                    <a:pt x="3083983" y="1409501"/>
                    <a:pt x="3083983" y="1406375"/>
                    <a:pt x="3084819" y="1403249"/>
                  </a:cubicBezTo>
                  <a:cubicBezTo>
                    <a:pt x="3084986" y="1402514"/>
                    <a:pt x="3085153" y="1401778"/>
                    <a:pt x="3085488" y="1401226"/>
                  </a:cubicBezTo>
                  <a:cubicBezTo>
                    <a:pt x="3085822" y="1400491"/>
                    <a:pt x="3085989" y="1399755"/>
                    <a:pt x="3086323" y="1399203"/>
                  </a:cubicBezTo>
                  <a:cubicBezTo>
                    <a:pt x="3086825" y="1398467"/>
                    <a:pt x="3087160" y="1397549"/>
                    <a:pt x="3087828" y="1396813"/>
                  </a:cubicBezTo>
                  <a:cubicBezTo>
                    <a:pt x="3088497" y="1395893"/>
                    <a:pt x="3089333" y="1394974"/>
                    <a:pt x="3090336" y="1394238"/>
                  </a:cubicBezTo>
                  <a:cubicBezTo>
                    <a:pt x="3091172" y="1393686"/>
                    <a:pt x="3092008" y="1393135"/>
                    <a:pt x="3093011" y="1392767"/>
                  </a:cubicBezTo>
                  <a:close/>
                  <a:moveTo>
                    <a:pt x="3205228" y="1392767"/>
                  </a:moveTo>
                  <a:cubicBezTo>
                    <a:pt x="3208069" y="1391848"/>
                    <a:pt x="3210744" y="1392583"/>
                    <a:pt x="3213084" y="1394422"/>
                  </a:cubicBezTo>
                  <a:cubicBezTo>
                    <a:pt x="3213920" y="1395158"/>
                    <a:pt x="3214590" y="1395893"/>
                    <a:pt x="3215258" y="1396813"/>
                  </a:cubicBezTo>
                  <a:cubicBezTo>
                    <a:pt x="3215759" y="1397549"/>
                    <a:pt x="3216261" y="1398467"/>
                    <a:pt x="3216763" y="1399387"/>
                  </a:cubicBezTo>
                  <a:cubicBezTo>
                    <a:pt x="3217097" y="1399939"/>
                    <a:pt x="3217264" y="1400674"/>
                    <a:pt x="3217431" y="1401226"/>
                  </a:cubicBezTo>
                  <a:cubicBezTo>
                    <a:pt x="3217766" y="1402146"/>
                    <a:pt x="3217933" y="1403065"/>
                    <a:pt x="3218100" y="1403985"/>
                  </a:cubicBezTo>
                  <a:cubicBezTo>
                    <a:pt x="3218602" y="1405456"/>
                    <a:pt x="3218769" y="1406927"/>
                    <a:pt x="3218769" y="1408766"/>
                  </a:cubicBezTo>
                  <a:cubicBezTo>
                    <a:pt x="3218769" y="1410237"/>
                    <a:pt x="3218602" y="1411892"/>
                    <a:pt x="3218100" y="1413731"/>
                  </a:cubicBezTo>
                  <a:cubicBezTo>
                    <a:pt x="3217766" y="1414650"/>
                    <a:pt x="3217598" y="1415386"/>
                    <a:pt x="3217264" y="1416305"/>
                  </a:cubicBezTo>
                  <a:cubicBezTo>
                    <a:pt x="3216930" y="1417409"/>
                    <a:pt x="3216429" y="1418328"/>
                    <a:pt x="3215759" y="1419247"/>
                  </a:cubicBezTo>
                  <a:cubicBezTo>
                    <a:pt x="3215091" y="1420351"/>
                    <a:pt x="3214255" y="1421270"/>
                    <a:pt x="3213419" y="1422190"/>
                  </a:cubicBezTo>
                  <a:cubicBezTo>
                    <a:pt x="3212583" y="1422926"/>
                    <a:pt x="3211580" y="1423661"/>
                    <a:pt x="3210410" y="1424029"/>
                  </a:cubicBezTo>
                  <a:cubicBezTo>
                    <a:pt x="3207401" y="1425133"/>
                    <a:pt x="3204558" y="1424580"/>
                    <a:pt x="3202051" y="1422374"/>
                  </a:cubicBezTo>
                  <a:cubicBezTo>
                    <a:pt x="3201215" y="1421638"/>
                    <a:pt x="3200546" y="1420903"/>
                    <a:pt x="3199878" y="1419983"/>
                  </a:cubicBezTo>
                  <a:cubicBezTo>
                    <a:pt x="3199209" y="1419064"/>
                    <a:pt x="3198707" y="1418144"/>
                    <a:pt x="3198206" y="1417041"/>
                  </a:cubicBezTo>
                  <a:cubicBezTo>
                    <a:pt x="3198039" y="1416489"/>
                    <a:pt x="3197871" y="1415938"/>
                    <a:pt x="3197537" y="1415570"/>
                  </a:cubicBezTo>
                  <a:cubicBezTo>
                    <a:pt x="3197203" y="1414650"/>
                    <a:pt x="3196868" y="1413731"/>
                    <a:pt x="3196701" y="1412628"/>
                  </a:cubicBezTo>
                  <a:cubicBezTo>
                    <a:pt x="3196200" y="1409501"/>
                    <a:pt x="3196200" y="1406375"/>
                    <a:pt x="3197035" y="1403249"/>
                  </a:cubicBezTo>
                  <a:cubicBezTo>
                    <a:pt x="3197203" y="1402514"/>
                    <a:pt x="3197370" y="1401778"/>
                    <a:pt x="3197705" y="1401226"/>
                  </a:cubicBezTo>
                  <a:cubicBezTo>
                    <a:pt x="3198039" y="1400491"/>
                    <a:pt x="3198206" y="1399755"/>
                    <a:pt x="3198540" y="1399203"/>
                  </a:cubicBezTo>
                  <a:cubicBezTo>
                    <a:pt x="3199042" y="1398467"/>
                    <a:pt x="3199376" y="1397549"/>
                    <a:pt x="3200045" y="1396813"/>
                  </a:cubicBezTo>
                  <a:cubicBezTo>
                    <a:pt x="3200714" y="1395893"/>
                    <a:pt x="3201549" y="1394974"/>
                    <a:pt x="3202553" y="1394238"/>
                  </a:cubicBezTo>
                  <a:cubicBezTo>
                    <a:pt x="3203389" y="1393686"/>
                    <a:pt x="3204224" y="1393135"/>
                    <a:pt x="3205228" y="1392767"/>
                  </a:cubicBezTo>
                  <a:close/>
                  <a:moveTo>
                    <a:pt x="3266435" y="1392767"/>
                  </a:moveTo>
                  <a:cubicBezTo>
                    <a:pt x="3269277" y="1391848"/>
                    <a:pt x="3271952" y="1392583"/>
                    <a:pt x="3274292" y="1394422"/>
                  </a:cubicBezTo>
                  <a:cubicBezTo>
                    <a:pt x="3275128" y="1395158"/>
                    <a:pt x="3275797" y="1395893"/>
                    <a:pt x="3276466" y="1396813"/>
                  </a:cubicBezTo>
                  <a:cubicBezTo>
                    <a:pt x="3276967" y="1397549"/>
                    <a:pt x="3277469" y="1398467"/>
                    <a:pt x="3277970" y="1399387"/>
                  </a:cubicBezTo>
                  <a:cubicBezTo>
                    <a:pt x="3278305" y="1399939"/>
                    <a:pt x="3278471" y="1400674"/>
                    <a:pt x="3278639" y="1401226"/>
                  </a:cubicBezTo>
                  <a:cubicBezTo>
                    <a:pt x="3278973" y="1402146"/>
                    <a:pt x="3279141" y="1403065"/>
                    <a:pt x="3279308" y="1403985"/>
                  </a:cubicBezTo>
                  <a:cubicBezTo>
                    <a:pt x="3279809" y="1405456"/>
                    <a:pt x="3279977" y="1406927"/>
                    <a:pt x="3279977" y="1408766"/>
                  </a:cubicBezTo>
                  <a:cubicBezTo>
                    <a:pt x="3279977" y="1410237"/>
                    <a:pt x="3279809" y="1411892"/>
                    <a:pt x="3279308" y="1413731"/>
                  </a:cubicBezTo>
                  <a:cubicBezTo>
                    <a:pt x="3278973" y="1414650"/>
                    <a:pt x="3278806" y="1415386"/>
                    <a:pt x="3278471" y="1416305"/>
                  </a:cubicBezTo>
                  <a:cubicBezTo>
                    <a:pt x="3278137" y="1417409"/>
                    <a:pt x="3277636" y="1418328"/>
                    <a:pt x="3276967" y="1419247"/>
                  </a:cubicBezTo>
                  <a:cubicBezTo>
                    <a:pt x="3276298" y="1420351"/>
                    <a:pt x="3275463" y="1421270"/>
                    <a:pt x="3274627" y="1422190"/>
                  </a:cubicBezTo>
                  <a:cubicBezTo>
                    <a:pt x="3273791" y="1422926"/>
                    <a:pt x="3272788" y="1423661"/>
                    <a:pt x="3271618" y="1424029"/>
                  </a:cubicBezTo>
                  <a:cubicBezTo>
                    <a:pt x="3268608" y="1425133"/>
                    <a:pt x="3265766" y="1424580"/>
                    <a:pt x="3263258" y="1422374"/>
                  </a:cubicBezTo>
                  <a:cubicBezTo>
                    <a:pt x="3262422" y="1421638"/>
                    <a:pt x="3261754" y="1420903"/>
                    <a:pt x="3261085" y="1419983"/>
                  </a:cubicBezTo>
                  <a:cubicBezTo>
                    <a:pt x="3260417" y="1419064"/>
                    <a:pt x="3259915" y="1418144"/>
                    <a:pt x="3259414" y="1417041"/>
                  </a:cubicBezTo>
                  <a:cubicBezTo>
                    <a:pt x="3259246" y="1416489"/>
                    <a:pt x="3259079" y="1415938"/>
                    <a:pt x="3258745" y="1415570"/>
                  </a:cubicBezTo>
                  <a:cubicBezTo>
                    <a:pt x="3258410" y="1414650"/>
                    <a:pt x="3258076" y="1413731"/>
                    <a:pt x="3257909" y="1412628"/>
                  </a:cubicBezTo>
                  <a:cubicBezTo>
                    <a:pt x="3257407" y="1409501"/>
                    <a:pt x="3257407" y="1406375"/>
                    <a:pt x="3258243" y="1403249"/>
                  </a:cubicBezTo>
                  <a:cubicBezTo>
                    <a:pt x="3258410" y="1402514"/>
                    <a:pt x="3258578" y="1401778"/>
                    <a:pt x="3258912" y="1401226"/>
                  </a:cubicBezTo>
                  <a:cubicBezTo>
                    <a:pt x="3259246" y="1400491"/>
                    <a:pt x="3259414" y="1399755"/>
                    <a:pt x="3259747" y="1399203"/>
                  </a:cubicBezTo>
                  <a:cubicBezTo>
                    <a:pt x="3260249" y="1398467"/>
                    <a:pt x="3260584" y="1397549"/>
                    <a:pt x="3261253" y="1396813"/>
                  </a:cubicBezTo>
                  <a:cubicBezTo>
                    <a:pt x="3261921" y="1395893"/>
                    <a:pt x="3262757" y="1394974"/>
                    <a:pt x="3263760" y="1394238"/>
                  </a:cubicBezTo>
                  <a:cubicBezTo>
                    <a:pt x="3264596" y="1393686"/>
                    <a:pt x="3265432" y="1393135"/>
                    <a:pt x="3266435" y="1392767"/>
                  </a:cubicBezTo>
                  <a:close/>
                  <a:moveTo>
                    <a:pt x="3735451" y="1392767"/>
                  </a:moveTo>
                  <a:cubicBezTo>
                    <a:pt x="3738293" y="1391848"/>
                    <a:pt x="3740967" y="1392583"/>
                    <a:pt x="3743308" y="1394422"/>
                  </a:cubicBezTo>
                  <a:cubicBezTo>
                    <a:pt x="3744144" y="1395158"/>
                    <a:pt x="3744813" y="1395893"/>
                    <a:pt x="3745481" y="1396813"/>
                  </a:cubicBezTo>
                  <a:cubicBezTo>
                    <a:pt x="3745983" y="1397549"/>
                    <a:pt x="3746484" y="1398467"/>
                    <a:pt x="3746986" y="1399387"/>
                  </a:cubicBezTo>
                  <a:cubicBezTo>
                    <a:pt x="3747320" y="1399939"/>
                    <a:pt x="3747488" y="1400674"/>
                    <a:pt x="3747655" y="1401226"/>
                  </a:cubicBezTo>
                  <a:cubicBezTo>
                    <a:pt x="3747989" y="1402146"/>
                    <a:pt x="3748156" y="1403065"/>
                    <a:pt x="3748323" y="1403985"/>
                  </a:cubicBezTo>
                  <a:cubicBezTo>
                    <a:pt x="3748825" y="1405456"/>
                    <a:pt x="3748992" y="1406927"/>
                    <a:pt x="3748992" y="1408766"/>
                  </a:cubicBezTo>
                  <a:cubicBezTo>
                    <a:pt x="3748992" y="1410237"/>
                    <a:pt x="3748825" y="1411892"/>
                    <a:pt x="3748323" y="1413731"/>
                  </a:cubicBezTo>
                  <a:cubicBezTo>
                    <a:pt x="3747989" y="1414650"/>
                    <a:pt x="3747821" y="1415386"/>
                    <a:pt x="3747488" y="1416305"/>
                  </a:cubicBezTo>
                  <a:cubicBezTo>
                    <a:pt x="3747153" y="1417409"/>
                    <a:pt x="3746652" y="1418328"/>
                    <a:pt x="3745983" y="1419247"/>
                  </a:cubicBezTo>
                  <a:cubicBezTo>
                    <a:pt x="3745314" y="1420351"/>
                    <a:pt x="3744478" y="1421270"/>
                    <a:pt x="3743642" y="1422190"/>
                  </a:cubicBezTo>
                  <a:cubicBezTo>
                    <a:pt x="3742806" y="1422926"/>
                    <a:pt x="3741803" y="1423661"/>
                    <a:pt x="3740633" y="1424029"/>
                  </a:cubicBezTo>
                  <a:cubicBezTo>
                    <a:pt x="3737624" y="1425133"/>
                    <a:pt x="3734782" y="1424580"/>
                    <a:pt x="3732274" y="1422374"/>
                  </a:cubicBezTo>
                  <a:cubicBezTo>
                    <a:pt x="3731438" y="1421638"/>
                    <a:pt x="3730769" y="1420903"/>
                    <a:pt x="3730101" y="1419983"/>
                  </a:cubicBezTo>
                  <a:cubicBezTo>
                    <a:pt x="3729432" y="1419064"/>
                    <a:pt x="3728931" y="1418144"/>
                    <a:pt x="3728429" y="1417041"/>
                  </a:cubicBezTo>
                  <a:cubicBezTo>
                    <a:pt x="3728262" y="1416489"/>
                    <a:pt x="3728094" y="1415938"/>
                    <a:pt x="3727760" y="1415570"/>
                  </a:cubicBezTo>
                  <a:cubicBezTo>
                    <a:pt x="3727426" y="1414650"/>
                    <a:pt x="3727092" y="1413731"/>
                    <a:pt x="3726924" y="1412628"/>
                  </a:cubicBezTo>
                  <a:cubicBezTo>
                    <a:pt x="3726423" y="1409501"/>
                    <a:pt x="3726423" y="1406375"/>
                    <a:pt x="3727259" y="1403249"/>
                  </a:cubicBezTo>
                  <a:cubicBezTo>
                    <a:pt x="3727426" y="1402514"/>
                    <a:pt x="3727593" y="1401778"/>
                    <a:pt x="3727928" y="1401226"/>
                  </a:cubicBezTo>
                  <a:cubicBezTo>
                    <a:pt x="3728262" y="1400491"/>
                    <a:pt x="3728429" y="1399755"/>
                    <a:pt x="3728764" y="1399203"/>
                  </a:cubicBezTo>
                  <a:cubicBezTo>
                    <a:pt x="3729265" y="1398467"/>
                    <a:pt x="3729599" y="1397549"/>
                    <a:pt x="3730268" y="1396813"/>
                  </a:cubicBezTo>
                  <a:cubicBezTo>
                    <a:pt x="3730937" y="1395893"/>
                    <a:pt x="3731772" y="1394974"/>
                    <a:pt x="3732776" y="1394238"/>
                  </a:cubicBezTo>
                  <a:cubicBezTo>
                    <a:pt x="3733612" y="1393686"/>
                    <a:pt x="3734447" y="1393135"/>
                    <a:pt x="3735451" y="1392767"/>
                  </a:cubicBezTo>
                  <a:close/>
                  <a:moveTo>
                    <a:pt x="148476" y="1384929"/>
                  </a:moveTo>
                  <a:cubicBezTo>
                    <a:pt x="152041" y="1384929"/>
                    <a:pt x="155100" y="1387097"/>
                    <a:pt x="156406" y="1390186"/>
                  </a:cubicBezTo>
                  <a:lnTo>
                    <a:pt x="157035" y="1393303"/>
                  </a:lnTo>
                  <a:lnTo>
                    <a:pt x="154832" y="1393303"/>
                  </a:lnTo>
                  <a:cubicBezTo>
                    <a:pt x="151614" y="1393303"/>
                    <a:pt x="147518" y="1393303"/>
                    <a:pt x="142306" y="1393303"/>
                  </a:cubicBezTo>
                  <a:lnTo>
                    <a:pt x="139916" y="1393303"/>
                  </a:lnTo>
                  <a:lnTo>
                    <a:pt x="140546" y="1390186"/>
                  </a:lnTo>
                  <a:cubicBezTo>
                    <a:pt x="141852" y="1387097"/>
                    <a:pt x="144911" y="1384929"/>
                    <a:pt x="148476" y="1384929"/>
                  </a:cubicBezTo>
                  <a:close/>
                  <a:moveTo>
                    <a:pt x="597293" y="1384929"/>
                  </a:moveTo>
                  <a:cubicBezTo>
                    <a:pt x="600858" y="1384929"/>
                    <a:pt x="603917" y="1387097"/>
                    <a:pt x="605223" y="1390186"/>
                  </a:cubicBezTo>
                  <a:lnTo>
                    <a:pt x="605852" y="1393303"/>
                  </a:lnTo>
                  <a:lnTo>
                    <a:pt x="603649" y="1393303"/>
                  </a:lnTo>
                  <a:cubicBezTo>
                    <a:pt x="600431" y="1393303"/>
                    <a:pt x="596335" y="1393303"/>
                    <a:pt x="591123" y="1393303"/>
                  </a:cubicBezTo>
                  <a:lnTo>
                    <a:pt x="588733" y="1393303"/>
                  </a:lnTo>
                  <a:lnTo>
                    <a:pt x="589363" y="1390186"/>
                  </a:lnTo>
                  <a:cubicBezTo>
                    <a:pt x="590669" y="1387097"/>
                    <a:pt x="593728" y="1384929"/>
                    <a:pt x="597293" y="1384929"/>
                  </a:cubicBezTo>
                  <a:close/>
                  <a:moveTo>
                    <a:pt x="760469" y="1384929"/>
                  </a:moveTo>
                  <a:cubicBezTo>
                    <a:pt x="764034" y="1384929"/>
                    <a:pt x="767093" y="1387097"/>
                    <a:pt x="768399" y="1390186"/>
                  </a:cubicBezTo>
                  <a:lnTo>
                    <a:pt x="769029" y="1393303"/>
                  </a:lnTo>
                  <a:lnTo>
                    <a:pt x="766825" y="1393303"/>
                  </a:lnTo>
                  <a:cubicBezTo>
                    <a:pt x="763607" y="1393303"/>
                    <a:pt x="759511" y="1393303"/>
                    <a:pt x="754299" y="1393303"/>
                  </a:cubicBezTo>
                  <a:lnTo>
                    <a:pt x="751909" y="1393303"/>
                  </a:lnTo>
                  <a:lnTo>
                    <a:pt x="752539" y="1390186"/>
                  </a:lnTo>
                  <a:cubicBezTo>
                    <a:pt x="753845" y="1387097"/>
                    <a:pt x="756904" y="1384929"/>
                    <a:pt x="760469" y="1384929"/>
                  </a:cubicBezTo>
                  <a:close/>
                  <a:moveTo>
                    <a:pt x="821627" y="1384929"/>
                  </a:moveTo>
                  <a:cubicBezTo>
                    <a:pt x="825192" y="1384929"/>
                    <a:pt x="828251" y="1387097"/>
                    <a:pt x="829557" y="1390186"/>
                  </a:cubicBezTo>
                  <a:lnTo>
                    <a:pt x="830187" y="1393303"/>
                  </a:lnTo>
                  <a:lnTo>
                    <a:pt x="827983" y="1393303"/>
                  </a:lnTo>
                  <a:cubicBezTo>
                    <a:pt x="824765" y="1393303"/>
                    <a:pt x="820669" y="1393303"/>
                    <a:pt x="815457" y="1393303"/>
                  </a:cubicBezTo>
                  <a:lnTo>
                    <a:pt x="813067" y="1393303"/>
                  </a:lnTo>
                  <a:lnTo>
                    <a:pt x="813696" y="1390186"/>
                  </a:lnTo>
                  <a:cubicBezTo>
                    <a:pt x="815003" y="1387097"/>
                    <a:pt x="818062" y="1384929"/>
                    <a:pt x="821627" y="1384929"/>
                  </a:cubicBezTo>
                  <a:close/>
                  <a:moveTo>
                    <a:pt x="1168426" y="1384929"/>
                  </a:moveTo>
                  <a:cubicBezTo>
                    <a:pt x="1171991" y="1384929"/>
                    <a:pt x="1175049" y="1387097"/>
                    <a:pt x="1176356" y="1390186"/>
                  </a:cubicBezTo>
                  <a:lnTo>
                    <a:pt x="1176986" y="1393303"/>
                  </a:lnTo>
                  <a:lnTo>
                    <a:pt x="1174781" y="1393303"/>
                  </a:lnTo>
                  <a:cubicBezTo>
                    <a:pt x="1171564" y="1393303"/>
                    <a:pt x="1167468" y="1393303"/>
                    <a:pt x="1162255" y="1393303"/>
                  </a:cubicBezTo>
                  <a:lnTo>
                    <a:pt x="1159865" y="1393303"/>
                  </a:lnTo>
                  <a:lnTo>
                    <a:pt x="1160495" y="1390186"/>
                  </a:lnTo>
                  <a:cubicBezTo>
                    <a:pt x="1161802" y="1387097"/>
                    <a:pt x="1164860" y="1384929"/>
                    <a:pt x="1168426" y="1384929"/>
                  </a:cubicBezTo>
                  <a:close/>
                  <a:moveTo>
                    <a:pt x="1341800" y="1384929"/>
                  </a:moveTo>
                  <a:cubicBezTo>
                    <a:pt x="1345365" y="1384929"/>
                    <a:pt x="1348424" y="1387097"/>
                    <a:pt x="1349730" y="1390186"/>
                  </a:cubicBezTo>
                  <a:lnTo>
                    <a:pt x="1350360" y="1393303"/>
                  </a:lnTo>
                  <a:lnTo>
                    <a:pt x="1348156" y="1393303"/>
                  </a:lnTo>
                  <a:cubicBezTo>
                    <a:pt x="1344938" y="1393303"/>
                    <a:pt x="1340843" y="1393303"/>
                    <a:pt x="1335630" y="1393303"/>
                  </a:cubicBezTo>
                  <a:lnTo>
                    <a:pt x="1333240" y="1393303"/>
                  </a:lnTo>
                  <a:lnTo>
                    <a:pt x="1333870" y="1390186"/>
                  </a:lnTo>
                  <a:cubicBezTo>
                    <a:pt x="1335176" y="1387097"/>
                    <a:pt x="1338235" y="1384929"/>
                    <a:pt x="1341800" y="1384929"/>
                  </a:cubicBezTo>
                  <a:close/>
                  <a:moveTo>
                    <a:pt x="1402958" y="1384929"/>
                  </a:moveTo>
                  <a:cubicBezTo>
                    <a:pt x="1406523" y="1384929"/>
                    <a:pt x="1409582" y="1387097"/>
                    <a:pt x="1410888" y="1390186"/>
                  </a:cubicBezTo>
                  <a:lnTo>
                    <a:pt x="1411518" y="1393303"/>
                  </a:lnTo>
                  <a:lnTo>
                    <a:pt x="1409314" y="1393303"/>
                  </a:lnTo>
                  <a:cubicBezTo>
                    <a:pt x="1406096" y="1393303"/>
                    <a:pt x="1402000" y="1393303"/>
                    <a:pt x="1396788" y="1393303"/>
                  </a:cubicBezTo>
                  <a:lnTo>
                    <a:pt x="1394398" y="1393303"/>
                  </a:lnTo>
                  <a:lnTo>
                    <a:pt x="1395028" y="1390186"/>
                  </a:lnTo>
                  <a:cubicBezTo>
                    <a:pt x="1396334" y="1387097"/>
                    <a:pt x="1399393" y="1384929"/>
                    <a:pt x="1402958" y="1384929"/>
                  </a:cubicBezTo>
                  <a:close/>
                  <a:moveTo>
                    <a:pt x="1464116" y="1384929"/>
                  </a:moveTo>
                  <a:cubicBezTo>
                    <a:pt x="1467681" y="1384929"/>
                    <a:pt x="1470740" y="1387097"/>
                    <a:pt x="1472046" y="1390186"/>
                  </a:cubicBezTo>
                  <a:lnTo>
                    <a:pt x="1472676" y="1393303"/>
                  </a:lnTo>
                  <a:lnTo>
                    <a:pt x="1470472" y="1393303"/>
                  </a:lnTo>
                  <a:cubicBezTo>
                    <a:pt x="1467254" y="1393303"/>
                    <a:pt x="1463158" y="1393303"/>
                    <a:pt x="1457946" y="1393303"/>
                  </a:cubicBezTo>
                  <a:lnTo>
                    <a:pt x="1455556" y="1393303"/>
                  </a:lnTo>
                  <a:lnTo>
                    <a:pt x="1456186" y="1390186"/>
                  </a:lnTo>
                  <a:cubicBezTo>
                    <a:pt x="1457492" y="1387097"/>
                    <a:pt x="1460551" y="1384929"/>
                    <a:pt x="1464116" y="1384929"/>
                  </a:cubicBezTo>
                  <a:close/>
                  <a:moveTo>
                    <a:pt x="1576283" y="1384929"/>
                  </a:moveTo>
                  <a:cubicBezTo>
                    <a:pt x="1579848" y="1384929"/>
                    <a:pt x="1582907" y="1387097"/>
                    <a:pt x="1584213" y="1390186"/>
                  </a:cubicBezTo>
                  <a:lnTo>
                    <a:pt x="1584843" y="1393303"/>
                  </a:lnTo>
                  <a:lnTo>
                    <a:pt x="1582639" y="1393303"/>
                  </a:lnTo>
                  <a:cubicBezTo>
                    <a:pt x="1579421" y="1393303"/>
                    <a:pt x="1575325" y="1393303"/>
                    <a:pt x="1570113" y="1393303"/>
                  </a:cubicBezTo>
                  <a:lnTo>
                    <a:pt x="1567723" y="1393303"/>
                  </a:lnTo>
                  <a:lnTo>
                    <a:pt x="1568353" y="1390186"/>
                  </a:lnTo>
                  <a:cubicBezTo>
                    <a:pt x="1569659" y="1387097"/>
                    <a:pt x="1572718" y="1384929"/>
                    <a:pt x="1576283" y="1384929"/>
                  </a:cubicBezTo>
                  <a:close/>
                  <a:moveTo>
                    <a:pt x="1698649" y="1384929"/>
                  </a:moveTo>
                  <a:cubicBezTo>
                    <a:pt x="1702214" y="1384929"/>
                    <a:pt x="1705272" y="1387097"/>
                    <a:pt x="1706579" y="1390186"/>
                  </a:cubicBezTo>
                  <a:lnTo>
                    <a:pt x="1707209" y="1393303"/>
                  </a:lnTo>
                  <a:lnTo>
                    <a:pt x="1705004" y="1393303"/>
                  </a:lnTo>
                  <a:cubicBezTo>
                    <a:pt x="1701787" y="1393303"/>
                    <a:pt x="1697691" y="1393303"/>
                    <a:pt x="1692478" y="1393303"/>
                  </a:cubicBezTo>
                  <a:lnTo>
                    <a:pt x="1690088" y="1393303"/>
                  </a:lnTo>
                  <a:lnTo>
                    <a:pt x="1690718" y="1390186"/>
                  </a:lnTo>
                  <a:cubicBezTo>
                    <a:pt x="1692025" y="1387097"/>
                    <a:pt x="1695083" y="1384929"/>
                    <a:pt x="1698649" y="1384929"/>
                  </a:cubicBezTo>
                  <a:close/>
                  <a:moveTo>
                    <a:pt x="1759807" y="1384929"/>
                  </a:moveTo>
                  <a:cubicBezTo>
                    <a:pt x="1763372" y="1384929"/>
                    <a:pt x="1766430" y="1387097"/>
                    <a:pt x="1767737" y="1390186"/>
                  </a:cubicBezTo>
                  <a:lnTo>
                    <a:pt x="1768367" y="1393303"/>
                  </a:lnTo>
                  <a:lnTo>
                    <a:pt x="1766162" y="1393303"/>
                  </a:lnTo>
                  <a:cubicBezTo>
                    <a:pt x="1762945" y="1393303"/>
                    <a:pt x="1758849" y="1393303"/>
                    <a:pt x="1753636" y="1393303"/>
                  </a:cubicBezTo>
                  <a:lnTo>
                    <a:pt x="1751246" y="1393303"/>
                  </a:lnTo>
                  <a:lnTo>
                    <a:pt x="1751876" y="1390186"/>
                  </a:lnTo>
                  <a:cubicBezTo>
                    <a:pt x="1753183" y="1387097"/>
                    <a:pt x="1756241" y="1384929"/>
                    <a:pt x="1759807" y="1384929"/>
                  </a:cubicBezTo>
                  <a:close/>
                  <a:moveTo>
                    <a:pt x="1871974" y="1384929"/>
                  </a:moveTo>
                  <a:cubicBezTo>
                    <a:pt x="1875539" y="1384929"/>
                    <a:pt x="1878597" y="1387097"/>
                    <a:pt x="1879904" y="1390186"/>
                  </a:cubicBezTo>
                  <a:lnTo>
                    <a:pt x="1880530" y="1393303"/>
                  </a:lnTo>
                  <a:lnTo>
                    <a:pt x="1878329" y="1393303"/>
                  </a:lnTo>
                  <a:cubicBezTo>
                    <a:pt x="1875112" y="1393303"/>
                    <a:pt x="1871016" y="1393303"/>
                    <a:pt x="1865803" y="1393303"/>
                  </a:cubicBezTo>
                  <a:lnTo>
                    <a:pt x="1863413" y="1393303"/>
                  </a:lnTo>
                  <a:lnTo>
                    <a:pt x="1864043" y="1390186"/>
                  </a:lnTo>
                  <a:cubicBezTo>
                    <a:pt x="1865350" y="1387097"/>
                    <a:pt x="1868408" y="1384929"/>
                    <a:pt x="1871974" y="1384929"/>
                  </a:cubicBezTo>
                  <a:close/>
                  <a:moveTo>
                    <a:pt x="1994336" y="1384929"/>
                  </a:moveTo>
                  <a:cubicBezTo>
                    <a:pt x="1997901" y="1384929"/>
                    <a:pt x="2000960" y="1387097"/>
                    <a:pt x="2002267" y="1390186"/>
                  </a:cubicBezTo>
                  <a:lnTo>
                    <a:pt x="2002896" y="1393303"/>
                  </a:lnTo>
                  <a:lnTo>
                    <a:pt x="2000692" y="1393303"/>
                  </a:lnTo>
                  <a:cubicBezTo>
                    <a:pt x="1997474" y="1393303"/>
                    <a:pt x="1993379" y="1393303"/>
                    <a:pt x="1988166" y="1393303"/>
                  </a:cubicBezTo>
                  <a:lnTo>
                    <a:pt x="1985776" y="1393303"/>
                  </a:lnTo>
                  <a:lnTo>
                    <a:pt x="1986405" y="1390186"/>
                  </a:lnTo>
                  <a:cubicBezTo>
                    <a:pt x="1987712" y="1387097"/>
                    <a:pt x="1990771" y="1384929"/>
                    <a:pt x="1994336" y="1384929"/>
                  </a:cubicBezTo>
                  <a:close/>
                  <a:moveTo>
                    <a:pt x="2106503" y="1384929"/>
                  </a:moveTo>
                  <a:cubicBezTo>
                    <a:pt x="2110068" y="1384929"/>
                    <a:pt x="2113127" y="1387097"/>
                    <a:pt x="2114434" y="1390186"/>
                  </a:cubicBezTo>
                  <a:lnTo>
                    <a:pt x="2115063" y="1393303"/>
                  </a:lnTo>
                  <a:lnTo>
                    <a:pt x="2112859" y="1393303"/>
                  </a:lnTo>
                  <a:cubicBezTo>
                    <a:pt x="2109641" y="1393303"/>
                    <a:pt x="2105546" y="1393303"/>
                    <a:pt x="2100333" y="1393303"/>
                  </a:cubicBezTo>
                  <a:lnTo>
                    <a:pt x="2097943" y="1393303"/>
                  </a:lnTo>
                  <a:lnTo>
                    <a:pt x="2098572" y="1390186"/>
                  </a:lnTo>
                  <a:cubicBezTo>
                    <a:pt x="2099879" y="1387097"/>
                    <a:pt x="2102938" y="1384929"/>
                    <a:pt x="2106503" y="1384929"/>
                  </a:cubicBezTo>
                  <a:close/>
                  <a:moveTo>
                    <a:pt x="2167663" y="1384929"/>
                  </a:moveTo>
                  <a:cubicBezTo>
                    <a:pt x="2171228" y="1384929"/>
                    <a:pt x="2174288" y="1387097"/>
                    <a:pt x="2175594" y="1390186"/>
                  </a:cubicBezTo>
                  <a:lnTo>
                    <a:pt x="2176223" y="1393303"/>
                  </a:lnTo>
                  <a:lnTo>
                    <a:pt x="2174019" y="1393303"/>
                  </a:lnTo>
                  <a:cubicBezTo>
                    <a:pt x="2170802" y="1393303"/>
                    <a:pt x="2166706" y="1393303"/>
                    <a:pt x="2161491" y="1393303"/>
                  </a:cubicBezTo>
                  <a:lnTo>
                    <a:pt x="2159101" y="1393303"/>
                  </a:lnTo>
                  <a:lnTo>
                    <a:pt x="2159730" y="1390186"/>
                  </a:lnTo>
                  <a:cubicBezTo>
                    <a:pt x="2161037" y="1387097"/>
                    <a:pt x="2164096" y="1384929"/>
                    <a:pt x="2167663" y="1384929"/>
                  </a:cubicBezTo>
                  <a:close/>
                  <a:moveTo>
                    <a:pt x="2341038" y="1384929"/>
                  </a:moveTo>
                  <a:cubicBezTo>
                    <a:pt x="2344603" y="1384929"/>
                    <a:pt x="2347662" y="1387097"/>
                    <a:pt x="2348967" y="1390186"/>
                  </a:cubicBezTo>
                  <a:lnTo>
                    <a:pt x="2349597" y="1393303"/>
                  </a:lnTo>
                  <a:lnTo>
                    <a:pt x="2347394" y="1393303"/>
                  </a:lnTo>
                  <a:cubicBezTo>
                    <a:pt x="2344177" y="1393303"/>
                    <a:pt x="2340081" y="1393303"/>
                    <a:pt x="2334868" y="1393303"/>
                  </a:cubicBezTo>
                  <a:lnTo>
                    <a:pt x="2332478" y="1393303"/>
                  </a:lnTo>
                  <a:lnTo>
                    <a:pt x="2333108" y="1390186"/>
                  </a:lnTo>
                  <a:cubicBezTo>
                    <a:pt x="2334415" y="1387097"/>
                    <a:pt x="2337473" y="1384929"/>
                    <a:pt x="2341038" y="1384929"/>
                  </a:cubicBezTo>
                  <a:close/>
                  <a:moveTo>
                    <a:pt x="2626630" y="1384929"/>
                  </a:moveTo>
                  <a:cubicBezTo>
                    <a:pt x="2630195" y="1384929"/>
                    <a:pt x="2633253" y="1387097"/>
                    <a:pt x="2634560" y="1390186"/>
                  </a:cubicBezTo>
                  <a:lnTo>
                    <a:pt x="2635189" y="1393303"/>
                  </a:lnTo>
                  <a:lnTo>
                    <a:pt x="2632986" y="1393303"/>
                  </a:lnTo>
                  <a:cubicBezTo>
                    <a:pt x="2629768" y="1393303"/>
                    <a:pt x="2625672" y="1393303"/>
                    <a:pt x="2620459" y="1393303"/>
                  </a:cubicBezTo>
                  <a:lnTo>
                    <a:pt x="2618068" y="1393303"/>
                  </a:lnTo>
                  <a:lnTo>
                    <a:pt x="2618699" y="1390186"/>
                  </a:lnTo>
                  <a:cubicBezTo>
                    <a:pt x="2620005" y="1387097"/>
                    <a:pt x="2623064" y="1384929"/>
                    <a:pt x="2626630" y="1384929"/>
                  </a:cubicBezTo>
                  <a:close/>
                  <a:moveTo>
                    <a:pt x="2687787" y="1384929"/>
                  </a:moveTo>
                  <a:cubicBezTo>
                    <a:pt x="2691352" y="1384929"/>
                    <a:pt x="2694411" y="1387097"/>
                    <a:pt x="2695718" y="1390186"/>
                  </a:cubicBezTo>
                  <a:lnTo>
                    <a:pt x="2696346" y="1393303"/>
                  </a:lnTo>
                  <a:lnTo>
                    <a:pt x="2694143" y="1393303"/>
                  </a:lnTo>
                  <a:cubicBezTo>
                    <a:pt x="2690926" y="1393303"/>
                    <a:pt x="2686830" y="1393303"/>
                    <a:pt x="2681618" y="1393303"/>
                  </a:cubicBezTo>
                  <a:lnTo>
                    <a:pt x="2679228" y="1393303"/>
                  </a:lnTo>
                  <a:lnTo>
                    <a:pt x="2679857" y="1390186"/>
                  </a:lnTo>
                  <a:cubicBezTo>
                    <a:pt x="2681164" y="1387097"/>
                    <a:pt x="2684222" y="1384929"/>
                    <a:pt x="2687787" y="1384929"/>
                  </a:cubicBezTo>
                  <a:close/>
                  <a:moveTo>
                    <a:pt x="2810153" y="1384929"/>
                  </a:moveTo>
                  <a:cubicBezTo>
                    <a:pt x="2813718" y="1384929"/>
                    <a:pt x="2816776" y="1387097"/>
                    <a:pt x="2818083" y="1390186"/>
                  </a:cubicBezTo>
                  <a:lnTo>
                    <a:pt x="2818713" y="1393303"/>
                  </a:lnTo>
                  <a:lnTo>
                    <a:pt x="2816509" y="1393303"/>
                  </a:lnTo>
                  <a:cubicBezTo>
                    <a:pt x="2813291" y="1393303"/>
                    <a:pt x="2809196" y="1393303"/>
                    <a:pt x="2803982" y="1393303"/>
                  </a:cubicBezTo>
                  <a:lnTo>
                    <a:pt x="2801593" y="1393303"/>
                  </a:lnTo>
                  <a:lnTo>
                    <a:pt x="2802222" y="1390186"/>
                  </a:lnTo>
                  <a:cubicBezTo>
                    <a:pt x="2803529" y="1387097"/>
                    <a:pt x="2806588" y="1384929"/>
                    <a:pt x="2810153" y="1384929"/>
                  </a:cubicBezTo>
                  <a:close/>
                  <a:moveTo>
                    <a:pt x="3330376" y="1384929"/>
                  </a:moveTo>
                  <a:cubicBezTo>
                    <a:pt x="3333941" y="1384929"/>
                    <a:pt x="3337000" y="1387097"/>
                    <a:pt x="3338307" y="1390186"/>
                  </a:cubicBezTo>
                  <a:lnTo>
                    <a:pt x="3338936" y="1393303"/>
                  </a:lnTo>
                  <a:lnTo>
                    <a:pt x="3336732" y="1393303"/>
                  </a:lnTo>
                  <a:cubicBezTo>
                    <a:pt x="3333514" y="1393303"/>
                    <a:pt x="3329419" y="1393303"/>
                    <a:pt x="3324206" y="1393303"/>
                  </a:cubicBezTo>
                  <a:lnTo>
                    <a:pt x="3321816" y="1393303"/>
                  </a:lnTo>
                  <a:lnTo>
                    <a:pt x="3322445" y="1390186"/>
                  </a:lnTo>
                  <a:cubicBezTo>
                    <a:pt x="3323752" y="1387097"/>
                    <a:pt x="3326811" y="1384929"/>
                    <a:pt x="3330376" y="1384929"/>
                  </a:cubicBezTo>
                  <a:close/>
                  <a:moveTo>
                    <a:pt x="3442543" y="1384929"/>
                  </a:moveTo>
                  <a:cubicBezTo>
                    <a:pt x="3446108" y="1384929"/>
                    <a:pt x="3449167" y="1387097"/>
                    <a:pt x="3450474" y="1390186"/>
                  </a:cubicBezTo>
                  <a:lnTo>
                    <a:pt x="3451103" y="1393303"/>
                  </a:lnTo>
                  <a:lnTo>
                    <a:pt x="3448899" y="1393303"/>
                  </a:lnTo>
                  <a:cubicBezTo>
                    <a:pt x="3445681" y="1393303"/>
                    <a:pt x="3441586" y="1393303"/>
                    <a:pt x="3436373" y="1393303"/>
                  </a:cubicBezTo>
                  <a:lnTo>
                    <a:pt x="3433983" y="1393303"/>
                  </a:lnTo>
                  <a:lnTo>
                    <a:pt x="3434612" y="1390186"/>
                  </a:lnTo>
                  <a:cubicBezTo>
                    <a:pt x="3435919" y="1387097"/>
                    <a:pt x="3438978" y="1384929"/>
                    <a:pt x="3442543" y="1384929"/>
                  </a:cubicBezTo>
                  <a:close/>
                  <a:moveTo>
                    <a:pt x="3503701" y="1384929"/>
                  </a:moveTo>
                  <a:cubicBezTo>
                    <a:pt x="3507266" y="1384929"/>
                    <a:pt x="3510325" y="1387097"/>
                    <a:pt x="3511631" y="1390186"/>
                  </a:cubicBezTo>
                  <a:lnTo>
                    <a:pt x="3512261" y="1393303"/>
                  </a:lnTo>
                  <a:lnTo>
                    <a:pt x="3510057" y="1393303"/>
                  </a:lnTo>
                  <a:cubicBezTo>
                    <a:pt x="3506839" y="1393303"/>
                    <a:pt x="3502744" y="1393303"/>
                    <a:pt x="3497531" y="1393303"/>
                  </a:cubicBezTo>
                  <a:lnTo>
                    <a:pt x="3495141" y="1393303"/>
                  </a:lnTo>
                  <a:lnTo>
                    <a:pt x="3495770" y="1390186"/>
                  </a:lnTo>
                  <a:cubicBezTo>
                    <a:pt x="3497077" y="1387097"/>
                    <a:pt x="3500136" y="1384929"/>
                    <a:pt x="3503701" y="1384929"/>
                  </a:cubicBezTo>
                  <a:close/>
                  <a:moveTo>
                    <a:pt x="3564859" y="1384929"/>
                  </a:moveTo>
                  <a:cubicBezTo>
                    <a:pt x="3568424" y="1384929"/>
                    <a:pt x="3571483" y="1387097"/>
                    <a:pt x="3572789" y="1390186"/>
                  </a:cubicBezTo>
                  <a:lnTo>
                    <a:pt x="3573419" y="1393303"/>
                  </a:lnTo>
                  <a:lnTo>
                    <a:pt x="3571215" y="1393303"/>
                  </a:lnTo>
                  <a:cubicBezTo>
                    <a:pt x="3567997" y="1393303"/>
                    <a:pt x="3563901" y="1393303"/>
                    <a:pt x="3558689" y="1393303"/>
                  </a:cubicBezTo>
                  <a:lnTo>
                    <a:pt x="3556299" y="1393303"/>
                  </a:lnTo>
                  <a:lnTo>
                    <a:pt x="3556928" y="1390186"/>
                  </a:lnTo>
                  <a:cubicBezTo>
                    <a:pt x="3558235" y="1387097"/>
                    <a:pt x="3561294" y="1384929"/>
                    <a:pt x="3564859" y="1384929"/>
                  </a:cubicBezTo>
                  <a:close/>
                  <a:moveTo>
                    <a:pt x="3626017" y="1384929"/>
                  </a:moveTo>
                  <a:cubicBezTo>
                    <a:pt x="3629582" y="1384929"/>
                    <a:pt x="3632641" y="1387097"/>
                    <a:pt x="3633947" y="1390186"/>
                  </a:cubicBezTo>
                  <a:lnTo>
                    <a:pt x="3634576" y="1393303"/>
                  </a:lnTo>
                  <a:lnTo>
                    <a:pt x="3632373" y="1393303"/>
                  </a:lnTo>
                  <a:cubicBezTo>
                    <a:pt x="3629155" y="1393303"/>
                    <a:pt x="3625059" y="1393303"/>
                    <a:pt x="3619847" y="1393303"/>
                  </a:cubicBezTo>
                  <a:lnTo>
                    <a:pt x="3617457" y="1393303"/>
                  </a:lnTo>
                  <a:lnTo>
                    <a:pt x="3618086" y="1390186"/>
                  </a:lnTo>
                  <a:cubicBezTo>
                    <a:pt x="3619393" y="1387097"/>
                    <a:pt x="3622452" y="1384929"/>
                    <a:pt x="3626017" y="1384929"/>
                  </a:cubicBezTo>
                  <a:close/>
                  <a:moveTo>
                    <a:pt x="267146" y="1381964"/>
                  </a:moveTo>
                  <a:cubicBezTo>
                    <a:pt x="266227" y="1381964"/>
                    <a:pt x="265307" y="1381780"/>
                    <a:pt x="264388" y="1381964"/>
                  </a:cubicBezTo>
                  <a:cubicBezTo>
                    <a:pt x="263100" y="1382148"/>
                    <a:pt x="261997" y="1382700"/>
                    <a:pt x="261262" y="1383619"/>
                  </a:cubicBezTo>
                  <a:cubicBezTo>
                    <a:pt x="260158" y="1384723"/>
                    <a:pt x="259606" y="1386194"/>
                    <a:pt x="259791" y="1387849"/>
                  </a:cubicBezTo>
                  <a:cubicBezTo>
                    <a:pt x="259791" y="1388033"/>
                    <a:pt x="259791" y="1388033"/>
                    <a:pt x="259791" y="1388216"/>
                  </a:cubicBezTo>
                  <a:cubicBezTo>
                    <a:pt x="259791" y="1400170"/>
                    <a:pt x="259791" y="1412122"/>
                    <a:pt x="259791" y="1424260"/>
                  </a:cubicBezTo>
                  <a:cubicBezTo>
                    <a:pt x="259791" y="1424627"/>
                    <a:pt x="259791" y="1424627"/>
                    <a:pt x="259423" y="1424627"/>
                  </a:cubicBezTo>
                  <a:cubicBezTo>
                    <a:pt x="257768" y="1424627"/>
                    <a:pt x="256113" y="1424627"/>
                    <a:pt x="254458" y="1424627"/>
                  </a:cubicBezTo>
                  <a:cubicBezTo>
                    <a:pt x="253538" y="1424627"/>
                    <a:pt x="252619" y="1424995"/>
                    <a:pt x="251699" y="1425363"/>
                  </a:cubicBezTo>
                  <a:cubicBezTo>
                    <a:pt x="250044" y="1426466"/>
                    <a:pt x="249125" y="1427937"/>
                    <a:pt x="249125" y="1429960"/>
                  </a:cubicBezTo>
                  <a:cubicBezTo>
                    <a:pt x="249125" y="1431431"/>
                    <a:pt x="249677" y="1432903"/>
                    <a:pt x="250963" y="1433822"/>
                  </a:cubicBezTo>
                  <a:cubicBezTo>
                    <a:pt x="251699" y="1434374"/>
                    <a:pt x="252619" y="1434926"/>
                    <a:pt x="253722" y="1435109"/>
                  </a:cubicBezTo>
                  <a:cubicBezTo>
                    <a:pt x="253722" y="1435109"/>
                    <a:pt x="253906" y="1435109"/>
                    <a:pt x="253906" y="1435109"/>
                  </a:cubicBezTo>
                  <a:cubicBezTo>
                    <a:pt x="253906" y="1435109"/>
                    <a:pt x="254090" y="1435109"/>
                    <a:pt x="254090" y="1435109"/>
                  </a:cubicBezTo>
                  <a:cubicBezTo>
                    <a:pt x="254090" y="1434926"/>
                    <a:pt x="254274" y="1435109"/>
                    <a:pt x="254458" y="1435109"/>
                  </a:cubicBezTo>
                  <a:cubicBezTo>
                    <a:pt x="261813" y="1435109"/>
                    <a:pt x="269169" y="1435109"/>
                    <a:pt x="276341" y="1435109"/>
                  </a:cubicBezTo>
                  <a:cubicBezTo>
                    <a:pt x="276525" y="1435109"/>
                    <a:pt x="276525" y="1435109"/>
                    <a:pt x="276708" y="1435109"/>
                  </a:cubicBezTo>
                  <a:cubicBezTo>
                    <a:pt x="276893" y="1435109"/>
                    <a:pt x="277076" y="1435109"/>
                    <a:pt x="277261" y="1435109"/>
                  </a:cubicBezTo>
                  <a:cubicBezTo>
                    <a:pt x="277444" y="1434926"/>
                    <a:pt x="277628" y="1434926"/>
                    <a:pt x="277812" y="1434926"/>
                  </a:cubicBezTo>
                  <a:cubicBezTo>
                    <a:pt x="278732" y="1434741"/>
                    <a:pt x="279467" y="1434190"/>
                    <a:pt x="280203" y="1433638"/>
                  </a:cubicBezTo>
                  <a:cubicBezTo>
                    <a:pt x="281306" y="1432535"/>
                    <a:pt x="281858" y="1431248"/>
                    <a:pt x="281858" y="1429777"/>
                  </a:cubicBezTo>
                  <a:cubicBezTo>
                    <a:pt x="281858" y="1428489"/>
                    <a:pt x="281490" y="1427202"/>
                    <a:pt x="280386" y="1426283"/>
                  </a:cubicBezTo>
                  <a:cubicBezTo>
                    <a:pt x="279283" y="1425180"/>
                    <a:pt x="277996" y="1424627"/>
                    <a:pt x="276525" y="1424627"/>
                  </a:cubicBezTo>
                  <a:cubicBezTo>
                    <a:pt x="274686" y="1424627"/>
                    <a:pt x="272847" y="1424627"/>
                    <a:pt x="271192" y="1424627"/>
                  </a:cubicBezTo>
                  <a:cubicBezTo>
                    <a:pt x="271008" y="1424627"/>
                    <a:pt x="270824" y="1424627"/>
                    <a:pt x="270824" y="1424260"/>
                  </a:cubicBezTo>
                  <a:cubicBezTo>
                    <a:pt x="270824" y="1413778"/>
                    <a:pt x="270824" y="1403480"/>
                    <a:pt x="270824" y="1392998"/>
                  </a:cubicBezTo>
                  <a:cubicBezTo>
                    <a:pt x="270824" y="1392814"/>
                    <a:pt x="270824" y="1392630"/>
                    <a:pt x="271192" y="1392630"/>
                  </a:cubicBezTo>
                  <a:cubicBezTo>
                    <a:pt x="272479" y="1392630"/>
                    <a:pt x="273950" y="1392630"/>
                    <a:pt x="275237" y="1392630"/>
                  </a:cubicBezTo>
                  <a:cubicBezTo>
                    <a:pt x="277444" y="1392630"/>
                    <a:pt x="279099" y="1391527"/>
                    <a:pt x="280203" y="1389504"/>
                  </a:cubicBezTo>
                  <a:cubicBezTo>
                    <a:pt x="280754" y="1388401"/>
                    <a:pt x="280754" y="1387113"/>
                    <a:pt x="280386" y="1385642"/>
                  </a:cubicBezTo>
                  <a:cubicBezTo>
                    <a:pt x="279651" y="1383619"/>
                    <a:pt x="277628" y="1382148"/>
                    <a:pt x="275421" y="1382148"/>
                  </a:cubicBezTo>
                  <a:cubicBezTo>
                    <a:pt x="272663" y="1382148"/>
                    <a:pt x="269905" y="1381964"/>
                    <a:pt x="267146" y="1381964"/>
                  </a:cubicBezTo>
                  <a:close/>
                  <a:moveTo>
                    <a:pt x="379363" y="1381964"/>
                  </a:moveTo>
                  <a:cubicBezTo>
                    <a:pt x="378443" y="1381964"/>
                    <a:pt x="377524" y="1381780"/>
                    <a:pt x="376604" y="1381964"/>
                  </a:cubicBezTo>
                  <a:cubicBezTo>
                    <a:pt x="375317" y="1382148"/>
                    <a:pt x="374214" y="1382700"/>
                    <a:pt x="373478" y="1383619"/>
                  </a:cubicBezTo>
                  <a:cubicBezTo>
                    <a:pt x="372375" y="1384723"/>
                    <a:pt x="371823" y="1386194"/>
                    <a:pt x="372007" y="1387849"/>
                  </a:cubicBezTo>
                  <a:cubicBezTo>
                    <a:pt x="372007" y="1388033"/>
                    <a:pt x="372007" y="1388033"/>
                    <a:pt x="372007" y="1388216"/>
                  </a:cubicBezTo>
                  <a:cubicBezTo>
                    <a:pt x="372007" y="1400170"/>
                    <a:pt x="372007" y="1412122"/>
                    <a:pt x="372007" y="1424260"/>
                  </a:cubicBezTo>
                  <a:cubicBezTo>
                    <a:pt x="372007" y="1424627"/>
                    <a:pt x="372007" y="1424627"/>
                    <a:pt x="371639" y="1424627"/>
                  </a:cubicBezTo>
                  <a:cubicBezTo>
                    <a:pt x="369985" y="1424627"/>
                    <a:pt x="368329" y="1424627"/>
                    <a:pt x="366674" y="1424627"/>
                  </a:cubicBezTo>
                  <a:cubicBezTo>
                    <a:pt x="365755" y="1424627"/>
                    <a:pt x="364835" y="1424995"/>
                    <a:pt x="363916" y="1425363"/>
                  </a:cubicBezTo>
                  <a:cubicBezTo>
                    <a:pt x="362261" y="1426466"/>
                    <a:pt x="361342" y="1427937"/>
                    <a:pt x="361342" y="1429960"/>
                  </a:cubicBezTo>
                  <a:cubicBezTo>
                    <a:pt x="361342" y="1431431"/>
                    <a:pt x="361893" y="1432903"/>
                    <a:pt x="363180" y="1433822"/>
                  </a:cubicBezTo>
                  <a:cubicBezTo>
                    <a:pt x="363916" y="1434374"/>
                    <a:pt x="364835" y="1434926"/>
                    <a:pt x="365939" y="1435109"/>
                  </a:cubicBezTo>
                  <a:cubicBezTo>
                    <a:pt x="365939" y="1435109"/>
                    <a:pt x="366122" y="1435109"/>
                    <a:pt x="366122" y="1435109"/>
                  </a:cubicBezTo>
                  <a:cubicBezTo>
                    <a:pt x="366122" y="1435109"/>
                    <a:pt x="366307" y="1435109"/>
                    <a:pt x="366307" y="1435109"/>
                  </a:cubicBezTo>
                  <a:cubicBezTo>
                    <a:pt x="366307" y="1434926"/>
                    <a:pt x="366490" y="1435109"/>
                    <a:pt x="366674" y="1435109"/>
                  </a:cubicBezTo>
                  <a:cubicBezTo>
                    <a:pt x="374030" y="1435109"/>
                    <a:pt x="381386" y="1435109"/>
                    <a:pt x="388558" y="1435109"/>
                  </a:cubicBezTo>
                  <a:cubicBezTo>
                    <a:pt x="388741" y="1435109"/>
                    <a:pt x="388741" y="1435109"/>
                    <a:pt x="388925" y="1435109"/>
                  </a:cubicBezTo>
                  <a:cubicBezTo>
                    <a:pt x="389109" y="1435109"/>
                    <a:pt x="389293" y="1435109"/>
                    <a:pt x="389477" y="1435109"/>
                  </a:cubicBezTo>
                  <a:cubicBezTo>
                    <a:pt x="389661" y="1434926"/>
                    <a:pt x="389844" y="1434926"/>
                    <a:pt x="390029" y="1434926"/>
                  </a:cubicBezTo>
                  <a:cubicBezTo>
                    <a:pt x="390948" y="1434741"/>
                    <a:pt x="391684" y="1434190"/>
                    <a:pt x="392419" y="1433638"/>
                  </a:cubicBezTo>
                  <a:cubicBezTo>
                    <a:pt x="393523" y="1432535"/>
                    <a:pt x="394074" y="1431248"/>
                    <a:pt x="394074" y="1429777"/>
                  </a:cubicBezTo>
                  <a:cubicBezTo>
                    <a:pt x="394074" y="1428489"/>
                    <a:pt x="393706" y="1427202"/>
                    <a:pt x="392603" y="1426283"/>
                  </a:cubicBezTo>
                  <a:cubicBezTo>
                    <a:pt x="391500" y="1425180"/>
                    <a:pt x="390212" y="1424627"/>
                    <a:pt x="388741" y="1424627"/>
                  </a:cubicBezTo>
                  <a:cubicBezTo>
                    <a:pt x="386902" y="1424627"/>
                    <a:pt x="385064" y="1424627"/>
                    <a:pt x="383408" y="1424627"/>
                  </a:cubicBezTo>
                  <a:cubicBezTo>
                    <a:pt x="383225" y="1424627"/>
                    <a:pt x="383040" y="1424627"/>
                    <a:pt x="383040" y="1424260"/>
                  </a:cubicBezTo>
                  <a:cubicBezTo>
                    <a:pt x="383040" y="1413778"/>
                    <a:pt x="383040" y="1403480"/>
                    <a:pt x="383040" y="1392998"/>
                  </a:cubicBezTo>
                  <a:cubicBezTo>
                    <a:pt x="383040" y="1392814"/>
                    <a:pt x="383040" y="1392630"/>
                    <a:pt x="383408" y="1392630"/>
                  </a:cubicBezTo>
                  <a:cubicBezTo>
                    <a:pt x="384696" y="1392630"/>
                    <a:pt x="386167" y="1392630"/>
                    <a:pt x="387454" y="1392630"/>
                  </a:cubicBezTo>
                  <a:cubicBezTo>
                    <a:pt x="389661" y="1392630"/>
                    <a:pt x="391316" y="1391527"/>
                    <a:pt x="392419" y="1389504"/>
                  </a:cubicBezTo>
                  <a:cubicBezTo>
                    <a:pt x="392971" y="1388401"/>
                    <a:pt x="392971" y="1387113"/>
                    <a:pt x="392603" y="1385642"/>
                  </a:cubicBezTo>
                  <a:cubicBezTo>
                    <a:pt x="391867" y="1383619"/>
                    <a:pt x="389844" y="1382148"/>
                    <a:pt x="387638" y="1382148"/>
                  </a:cubicBezTo>
                  <a:cubicBezTo>
                    <a:pt x="384880" y="1382148"/>
                    <a:pt x="382122" y="1381964"/>
                    <a:pt x="379363" y="1381964"/>
                  </a:cubicBezTo>
                  <a:close/>
                  <a:moveTo>
                    <a:pt x="491580" y="1381964"/>
                  </a:moveTo>
                  <a:cubicBezTo>
                    <a:pt x="490660" y="1381964"/>
                    <a:pt x="489741" y="1381780"/>
                    <a:pt x="488821" y="1381964"/>
                  </a:cubicBezTo>
                  <a:cubicBezTo>
                    <a:pt x="487534" y="1382148"/>
                    <a:pt x="486430" y="1382700"/>
                    <a:pt x="485695" y="1383619"/>
                  </a:cubicBezTo>
                  <a:cubicBezTo>
                    <a:pt x="484591" y="1384723"/>
                    <a:pt x="484040" y="1386194"/>
                    <a:pt x="484224" y="1387849"/>
                  </a:cubicBezTo>
                  <a:cubicBezTo>
                    <a:pt x="484224" y="1388033"/>
                    <a:pt x="484224" y="1388033"/>
                    <a:pt x="484224" y="1388216"/>
                  </a:cubicBezTo>
                  <a:cubicBezTo>
                    <a:pt x="484224" y="1400170"/>
                    <a:pt x="484224" y="1412122"/>
                    <a:pt x="484224" y="1424260"/>
                  </a:cubicBezTo>
                  <a:cubicBezTo>
                    <a:pt x="484224" y="1424627"/>
                    <a:pt x="484224" y="1424627"/>
                    <a:pt x="483856" y="1424627"/>
                  </a:cubicBezTo>
                  <a:cubicBezTo>
                    <a:pt x="482201" y="1424627"/>
                    <a:pt x="480546" y="1424627"/>
                    <a:pt x="478891" y="1424627"/>
                  </a:cubicBezTo>
                  <a:cubicBezTo>
                    <a:pt x="477972" y="1424627"/>
                    <a:pt x="477052" y="1424995"/>
                    <a:pt x="476133" y="1425363"/>
                  </a:cubicBezTo>
                  <a:cubicBezTo>
                    <a:pt x="474478" y="1426466"/>
                    <a:pt x="473558" y="1427937"/>
                    <a:pt x="473558" y="1429960"/>
                  </a:cubicBezTo>
                  <a:cubicBezTo>
                    <a:pt x="473558" y="1431431"/>
                    <a:pt x="474110" y="1432903"/>
                    <a:pt x="475397" y="1433822"/>
                  </a:cubicBezTo>
                  <a:cubicBezTo>
                    <a:pt x="476133" y="1434374"/>
                    <a:pt x="477052" y="1434926"/>
                    <a:pt x="478155" y="1435109"/>
                  </a:cubicBezTo>
                  <a:cubicBezTo>
                    <a:pt x="478155" y="1435109"/>
                    <a:pt x="478339" y="1435109"/>
                    <a:pt x="478339" y="1435109"/>
                  </a:cubicBezTo>
                  <a:cubicBezTo>
                    <a:pt x="478339" y="1435109"/>
                    <a:pt x="478523" y="1435109"/>
                    <a:pt x="478523" y="1435109"/>
                  </a:cubicBezTo>
                  <a:cubicBezTo>
                    <a:pt x="478523" y="1434926"/>
                    <a:pt x="478707" y="1435109"/>
                    <a:pt x="478891" y="1435109"/>
                  </a:cubicBezTo>
                  <a:cubicBezTo>
                    <a:pt x="486247" y="1435109"/>
                    <a:pt x="493602" y="1435109"/>
                    <a:pt x="500774" y="1435109"/>
                  </a:cubicBezTo>
                  <a:cubicBezTo>
                    <a:pt x="500958" y="1435109"/>
                    <a:pt x="500958" y="1435109"/>
                    <a:pt x="501142" y="1435109"/>
                  </a:cubicBezTo>
                  <a:cubicBezTo>
                    <a:pt x="501326" y="1435109"/>
                    <a:pt x="501510" y="1435109"/>
                    <a:pt x="501694" y="1435109"/>
                  </a:cubicBezTo>
                  <a:cubicBezTo>
                    <a:pt x="501877" y="1434926"/>
                    <a:pt x="502061" y="1434926"/>
                    <a:pt x="502245" y="1434926"/>
                  </a:cubicBezTo>
                  <a:cubicBezTo>
                    <a:pt x="503165" y="1434741"/>
                    <a:pt x="503900" y="1434190"/>
                    <a:pt x="504636" y="1433638"/>
                  </a:cubicBezTo>
                  <a:cubicBezTo>
                    <a:pt x="505739" y="1432535"/>
                    <a:pt x="506291" y="1431248"/>
                    <a:pt x="506291" y="1429777"/>
                  </a:cubicBezTo>
                  <a:cubicBezTo>
                    <a:pt x="506291" y="1428489"/>
                    <a:pt x="505923" y="1427202"/>
                    <a:pt x="504820" y="1426283"/>
                  </a:cubicBezTo>
                  <a:cubicBezTo>
                    <a:pt x="503717" y="1425180"/>
                    <a:pt x="502429" y="1424627"/>
                    <a:pt x="500958" y="1424627"/>
                  </a:cubicBezTo>
                  <a:cubicBezTo>
                    <a:pt x="499119" y="1424627"/>
                    <a:pt x="497280" y="1424627"/>
                    <a:pt x="495625" y="1424627"/>
                  </a:cubicBezTo>
                  <a:cubicBezTo>
                    <a:pt x="495441" y="1424627"/>
                    <a:pt x="495257" y="1424627"/>
                    <a:pt x="495257" y="1424260"/>
                  </a:cubicBezTo>
                  <a:cubicBezTo>
                    <a:pt x="495257" y="1413778"/>
                    <a:pt x="495257" y="1403480"/>
                    <a:pt x="495257" y="1392998"/>
                  </a:cubicBezTo>
                  <a:cubicBezTo>
                    <a:pt x="495257" y="1392814"/>
                    <a:pt x="495257" y="1392630"/>
                    <a:pt x="495625" y="1392630"/>
                  </a:cubicBezTo>
                  <a:cubicBezTo>
                    <a:pt x="496913" y="1392630"/>
                    <a:pt x="498384" y="1392630"/>
                    <a:pt x="499670" y="1392630"/>
                  </a:cubicBezTo>
                  <a:cubicBezTo>
                    <a:pt x="501877" y="1392630"/>
                    <a:pt x="503532" y="1391527"/>
                    <a:pt x="504636" y="1389504"/>
                  </a:cubicBezTo>
                  <a:cubicBezTo>
                    <a:pt x="505188" y="1388401"/>
                    <a:pt x="505188" y="1387113"/>
                    <a:pt x="504820" y="1385642"/>
                  </a:cubicBezTo>
                  <a:cubicBezTo>
                    <a:pt x="504084" y="1383619"/>
                    <a:pt x="502061" y="1382148"/>
                    <a:pt x="499855" y="1382148"/>
                  </a:cubicBezTo>
                  <a:cubicBezTo>
                    <a:pt x="497096" y="1382148"/>
                    <a:pt x="494338" y="1381964"/>
                    <a:pt x="491580" y="1381964"/>
                  </a:cubicBezTo>
                  <a:close/>
                  <a:moveTo>
                    <a:pt x="542589" y="1381964"/>
                  </a:moveTo>
                  <a:cubicBezTo>
                    <a:pt x="541669" y="1381964"/>
                    <a:pt x="540750" y="1381780"/>
                    <a:pt x="539830" y="1381964"/>
                  </a:cubicBezTo>
                  <a:cubicBezTo>
                    <a:pt x="538543" y="1382148"/>
                    <a:pt x="537439" y="1382700"/>
                    <a:pt x="536704" y="1383619"/>
                  </a:cubicBezTo>
                  <a:cubicBezTo>
                    <a:pt x="535600" y="1384723"/>
                    <a:pt x="535049" y="1386194"/>
                    <a:pt x="535233" y="1387849"/>
                  </a:cubicBezTo>
                  <a:cubicBezTo>
                    <a:pt x="535233" y="1388033"/>
                    <a:pt x="535233" y="1388033"/>
                    <a:pt x="535233" y="1388216"/>
                  </a:cubicBezTo>
                  <a:cubicBezTo>
                    <a:pt x="535233" y="1400170"/>
                    <a:pt x="535233" y="1412122"/>
                    <a:pt x="535233" y="1424260"/>
                  </a:cubicBezTo>
                  <a:cubicBezTo>
                    <a:pt x="535233" y="1424627"/>
                    <a:pt x="535233" y="1424627"/>
                    <a:pt x="534865" y="1424627"/>
                  </a:cubicBezTo>
                  <a:cubicBezTo>
                    <a:pt x="533210" y="1424627"/>
                    <a:pt x="531555" y="1424627"/>
                    <a:pt x="529900" y="1424627"/>
                  </a:cubicBezTo>
                  <a:cubicBezTo>
                    <a:pt x="528981" y="1424627"/>
                    <a:pt x="528061" y="1424995"/>
                    <a:pt x="527142" y="1425363"/>
                  </a:cubicBezTo>
                  <a:cubicBezTo>
                    <a:pt x="525487" y="1426466"/>
                    <a:pt x="524567" y="1427937"/>
                    <a:pt x="524567" y="1429960"/>
                  </a:cubicBezTo>
                  <a:cubicBezTo>
                    <a:pt x="524567" y="1431431"/>
                    <a:pt x="525119" y="1432903"/>
                    <a:pt x="526406" y="1433822"/>
                  </a:cubicBezTo>
                  <a:cubicBezTo>
                    <a:pt x="527142" y="1434374"/>
                    <a:pt x="528061" y="1434926"/>
                    <a:pt x="529164" y="1435109"/>
                  </a:cubicBezTo>
                  <a:cubicBezTo>
                    <a:pt x="529164" y="1435109"/>
                    <a:pt x="529348" y="1435109"/>
                    <a:pt x="529348" y="1435109"/>
                  </a:cubicBezTo>
                  <a:cubicBezTo>
                    <a:pt x="529348" y="1435109"/>
                    <a:pt x="529532" y="1435109"/>
                    <a:pt x="529532" y="1435109"/>
                  </a:cubicBezTo>
                  <a:cubicBezTo>
                    <a:pt x="529532" y="1434926"/>
                    <a:pt x="529716" y="1435109"/>
                    <a:pt x="529900" y="1435109"/>
                  </a:cubicBezTo>
                  <a:cubicBezTo>
                    <a:pt x="537256" y="1435109"/>
                    <a:pt x="544611" y="1435109"/>
                    <a:pt x="551783" y="1435109"/>
                  </a:cubicBezTo>
                  <a:cubicBezTo>
                    <a:pt x="551967" y="1435109"/>
                    <a:pt x="551967" y="1435109"/>
                    <a:pt x="552151" y="1435109"/>
                  </a:cubicBezTo>
                  <a:cubicBezTo>
                    <a:pt x="552335" y="1435109"/>
                    <a:pt x="552519" y="1435109"/>
                    <a:pt x="552703" y="1435109"/>
                  </a:cubicBezTo>
                  <a:cubicBezTo>
                    <a:pt x="552886" y="1434926"/>
                    <a:pt x="553070" y="1434926"/>
                    <a:pt x="553254" y="1434926"/>
                  </a:cubicBezTo>
                  <a:cubicBezTo>
                    <a:pt x="554174" y="1434741"/>
                    <a:pt x="554909" y="1434190"/>
                    <a:pt x="555645" y="1433638"/>
                  </a:cubicBezTo>
                  <a:cubicBezTo>
                    <a:pt x="556748" y="1432535"/>
                    <a:pt x="557300" y="1431248"/>
                    <a:pt x="557300" y="1429777"/>
                  </a:cubicBezTo>
                  <a:cubicBezTo>
                    <a:pt x="557300" y="1428489"/>
                    <a:pt x="556932" y="1427202"/>
                    <a:pt x="555829" y="1426283"/>
                  </a:cubicBezTo>
                  <a:cubicBezTo>
                    <a:pt x="554726" y="1425180"/>
                    <a:pt x="553438" y="1424627"/>
                    <a:pt x="551967" y="1424627"/>
                  </a:cubicBezTo>
                  <a:cubicBezTo>
                    <a:pt x="550128" y="1424627"/>
                    <a:pt x="548289" y="1424627"/>
                    <a:pt x="546634" y="1424627"/>
                  </a:cubicBezTo>
                  <a:cubicBezTo>
                    <a:pt x="546450" y="1424627"/>
                    <a:pt x="546266" y="1424627"/>
                    <a:pt x="546266" y="1424260"/>
                  </a:cubicBezTo>
                  <a:cubicBezTo>
                    <a:pt x="546266" y="1413778"/>
                    <a:pt x="546266" y="1403480"/>
                    <a:pt x="546266" y="1392998"/>
                  </a:cubicBezTo>
                  <a:cubicBezTo>
                    <a:pt x="546266" y="1392814"/>
                    <a:pt x="546266" y="1392630"/>
                    <a:pt x="546634" y="1392630"/>
                  </a:cubicBezTo>
                  <a:cubicBezTo>
                    <a:pt x="547922" y="1392630"/>
                    <a:pt x="549393" y="1392630"/>
                    <a:pt x="550679" y="1392630"/>
                  </a:cubicBezTo>
                  <a:cubicBezTo>
                    <a:pt x="552886" y="1392630"/>
                    <a:pt x="554541" y="1391527"/>
                    <a:pt x="555645" y="1389504"/>
                  </a:cubicBezTo>
                  <a:cubicBezTo>
                    <a:pt x="556197" y="1388401"/>
                    <a:pt x="556197" y="1387113"/>
                    <a:pt x="555829" y="1385642"/>
                  </a:cubicBezTo>
                  <a:cubicBezTo>
                    <a:pt x="555093" y="1383619"/>
                    <a:pt x="553070" y="1382148"/>
                    <a:pt x="550864" y="1382148"/>
                  </a:cubicBezTo>
                  <a:cubicBezTo>
                    <a:pt x="548105" y="1382148"/>
                    <a:pt x="545347" y="1381964"/>
                    <a:pt x="542589" y="1381964"/>
                  </a:cubicBezTo>
                  <a:close/>
                  <a:moveTo>
                    <a:pt x="654756" y="1381964"/>
                  </a:moveTo>
                  <a:cubicBezTo>
                    <a:pt x="653836" y="1381964"/>
                    <a:pt x="652917" y="1381780"/>
                    <a:pt x="651997" y="1381964"/>
                  </a:cubicBezTo>
                  <a:cubicBezTo>
                    <a:pt x="650710" y="1382148"/>
                    <a:pt x="649606" y="1382700"/>
                    <a:pt x="648871" y="1383619"/>
                  </a:cubicBezTo>
                  <a:cubicBezTo>
                    <a:pt x="647767" y="1384723"/>
                    <a:pt x="647216" y="1386194"/>
                    <a:pt x="647400" y="1387849"/>
                  </a:cubicBezTo>
                  <a:cubicBezTo>
                    <a:pt x="647400" y="1388033"/>
                    <a:pt x="647400" y="1388033"/>
                    <a:pt x="647400" y="1388216"/>
                  </a:cubicBezTo>
                  <a:cubicBezTo>
                    <a:pt x="647400" y="1400170"/>
                    <a:pt x="647400" y="1412122"/>
                    <a:pt x="647400" y="1424260"/>
                  </a:cubicBezTo>
                  <a:cubicBezTo>
                    <a:pt x="647400" y="1424627"/>
                    <a:pt x="647400" y="1424627"/>
                    <a:pt x="647032" y="1424627"/>
                  </a:cubicBezTo>
                  <a:cubicBezTo>
                    <a:pt x="645377" y="1424627"/>
                    <a:pt x="643722" y="1424627"/>
                    <a:pt x="642067" y="1424627"/>
                  </a:cubicBezTo>
                  <a:cubicBezTo>
                    <a:pt x="641148" y="1424627"/>
                    <a:pt x="640228" y="1424995"/>
                    <a:pt x="639309" y="1425363"/>
                  </a:cubicBezTo>
                  <a:cubicBezTo>
                    <a:pt x="637654" y="1426466"/>
                    <a:pt x="636734" y="1427937"/>
                    <a:pt x="636734" y="1429960"/>
                  </a:cubicBezTo>
                  <a:cubicBezTo>
                    <a:pt x="636734" y="1431431"/>
                    <a:pt x="637286" y="1432903"/>
                    <a:pt x="638573" y="1433822"/>
                  </a:cubicBezTo>
                  <a:cubicBezTo>
                    <a:pt x="639309" y="1434374"/>
                    <a:pt x="640228" y="1434926"/>
                    <a:pt x="641331" y="1435109"/>
                  </a:cubicBezTo>
                  <a:cubicBezTo>
                    <a:pt x="641331" y="1435109"/>
                    <a:pt x="641515" y="1435109"/>
                    <a:pt x="641515" y="1435109"/>
                  </a:cubicBezTo>
                  <a:cubicBezTo>
                    <a:pt x="641515" y="1435109"/>
                    <a:pt x="641699" y="1435109"/>
                    <a:pt x="641699" y="1435109"/>
                  </a:cubicBezTo>
                  <a:cubicBezTo>
                    <a:pt x="641699" y="1434926"/>
                    <a:pt x="641883" y="1435109"/>
                    <a:pt x="642067" y="1435109"/>
                  </a:cubicBezTo>
                  <a:cubicBezTo>
                    <a:pt x="649423" y="1435109"/>
                    <a:pt x="656778" y="1435109"/>
                    <a:pt x="663950" y="1435109"/>
                  </a:cubicBezTo>
                  <a:cubicBezTo>
                    <a:pt x="664134" y="1435109"/>
                    <a:pt x="664134" y="1435109"/>
                    <a:pt x="664318" y="1435109"/>
                  </a:cubicBezTo>
                  <a:cubicBezTo>
                    <a:pt x="664502" y="1435109"/>
                    <a:pt x="664686" y="1435109"/>
                    <a:pt x="664870" y="1435109"/>
                  </a:cubicBezTo>
                  <a:cubicBezTo>
                    <a:pt x="665053" y="1434926"/>
                    <a:pt x="665237" y="1434926"/>
                    <a:pt x="665421" y="1434926"/>
                  </a:cubicBezTo>
                  <a:cubicBezTo>
                    <a:pt x="666341" y="1434741"/>
                    <a:pt x="667076" y="1434190"/>
                    <a:pt x="667812" y="1433638"/>
                  </a:cubicBezTo>
                  <a:cubicBezTo>
                    <a:pt x="668915" y="1432535"/>
                    <a:pt x="669467" y="1431248"/>
                    <a:pt x="669467" y="1429777"/>
                  </a:cubicBezTo>
                  <a:cubicBezTo>
                    <a:pt x="669467" y="1428489"/>
                    <a:pt x="669099" y="1427202"/>
                    <a:pt x="667996" y="1426283"/>
                  </a:cubicBezTo>
                  <a:cubicBezTo>
                    <a:pt x="666893" y="1425180"/>
                    <a:pt x="665605" y="1424627"/>
                    <a:pt x="664134" y="1424627"/>
                  </a:cubicBezTo>
                  <a:cubicBezTo>
                    <a:pt x="662295" y="1424627"/>
                    <a:pt x="660456" y="1424627"/>
                    <a:pt x="658801" y="1424627"/>
                  </a:cubicBezTo>
                  <a:cubicBezTo>
                    <a:pt x="658617" y="1424627"/>
                    <a:pt x="658433" y="1424627"/>
                    <a:pt x="658433" y="1424260"/>
                  </a:cubicBezTo>
                  <a:cubicBezTo>
                    <a:pt x="658433" y="1413778"/>
                    <a:pt x="658433" y="1403480"/>
                    <a:pt x="658433" y="1392998"/>
                  </a:cubicBezTo>
                  <a:cubicBezTo>
                    <a:pt x="658433" y="1392814"/>
                    <a:pt x="658433" y="1392630"/>
                    <a:pt x="658801" y="1392630"/>
                  </a:cubicBezTo>
                  <a:cubicBezTo>
                    <a:pt x="660089" y="1392630"/>
                    <a:pt x="661560" y="1392630"/>
                    <a:pt x="662846" y="1392630"/>
                  </a:cubicBezTo>
                  <a:cubicBezTo>
                    <a:pt x="665053" y="1392630"/>
                    <a:pt x="666708" y="1391527"/>
                    <a:pt x="667812" y="1389504"/>
                  </a:cubicBezTo>
                  <a:cubicBezTo>
                    <a:pt x="668364" y="1388401"/>
                    <a:pt x="668364" y="1387113"/>
                    <a:pt x="667996" y="1385642"/>
                  </a:cubicBezTo>
                  <a:cubicBezTo>
                    <a:pt x="667260" y="1383619"/>
                    <a:pt x="665237" y="1382148"/>
                    <a:pt x="663031" y="1382148"/>
                  </a:cubicBezTo>
                  <a:cubicBezTo>
                    <a:pt x="660272" y="1382148"/>
                    <a:pt x="657514" y="1381964"/>
                    <a:pt x="654756" y="1381964"/>
                  </a:cubicBezTo>
                  <a:close/>
                  <a:moveTo>
                    <a:pt x="705765" y="1381964"/>
                  </a:moveTo>
                  <a:cubicBezTo>
                    <a:pt x="704845" y="1381964"/>
                    <a:pt x="703926" y="1381780"/>
                    <a:pt x="703006" y="1381964"/>
                  </a:cubicBezTo>
                  <a:cubicBezTo>
                    <a:pt x="701719" y="1382148"/>
                    <a:pt x="700615" y="1382700"/>
                    <a:pt x="699880" y="1383619"/>
                  </a:cubicBezTo>
                  <a:cubicBezTo>
                    <a:pt x="698776" y="1384723"/>
                    <a:pt x="698225" y="1386194"/>
                    <a:pt x="698409" y="1387849"/>
                  </a:cubicBezTo>
                  <a:cubicBezTo>
                    <a:pt x="698409" y="1388033"/>
                    <a:pt x="698409" y="1388033"/>
                    <a:pt x="698409" y="1388216"/>
                  </a:cubicBezTo>
                  <a:cubicBezTo>
                    <a:pt x="698409" y="1400170"/>
                    <a:pt x="698409" y="1412122"/>
                    <a:pt x="698409" y="1424260"/>
                  </a:cubicBezTo>
                  <a:cubicBezTo>
                    <a:pt x="698409" y="1424627"/>
                    <a:pt x="698409" y="1424627"/>
                    <a:pt x="698041" y="1424627"/>
                  </a:cubicBezTo>
                  <a:cubicBezTo>
                    <a:pt x="696386" y="1424627"/>
                    <a:pt x="694731" y="1424627"/>
                    <a:pt x="693076" y="1424627"/>
                  </a:cubicBezTo>
                  <a:cubicBezTo>
                    <a:pt x="692157" y="1424627"/>
                    <a:pt x="691237" y="1424995"/>
                    <a:pt x="690318" y="1425363"/>
                  </a:cubicBezTo>
                  <a:cubicBezTo>
                    <a:pt x="688663" y="1426466"/>
                    <a:pt x="687743" y="1427937"/>
                    <a:pt x="687743" y="1429960"/>
                  </a:cubicBezTo>
                  <a:cubicBezTo>
                    <a:pt x="687743" y="1431431"/>
                    <a:pt x="688295" y="1432903"/>
                    <a:pt x="689582" y="1433822"/>
                  </a:cubicBezTo>
                  <a:cubicBezTo>
                    <a:pt x="690318" y="1434374"/>
                    <a:pt x="691237" y="1434926"/>
                    <a:pt x="692340" y="1435109"/>
                  </a:cubicBezTo>
                  <a:cubicBezTo>
                    <a:pt x="692340" y="1435109"/>
                    <a:pt x="692524" y="1435109"/>
                    <a:pt x="692524" y="1435109"/>
                  </a:cubicBezTo>
                  <a:cubicBezTo>
                    <a:pt x="692524" y="1435109"/>
                    <a:pt x="692708" y="1435109"/>
                    <a:pt x="692708" y="1435109"/>
                  </a:cubicBezTo>
                  <a:cubicBezTo>
                    <a:pt x="692708" y="1434926"/>
                    <a:pt x="692892" y="1435109"/>
                    <a:pt x="693076" y="1435109"/>
                  </a:cubicBezTo>
                  <a:cubicBezTo>
                    <a:pt x="700432" y="1435109"/>
                    <a:pt x="707787" y="1435109"/>
                    <a:pt x="714959" y="1435109"/>
                  </a:cubicBezTo>
                  <a:cubicBezTo>
                    <a:pt x="715143" y="1435109"/>
                    <a:pt x="715143" y="1435109"/>
                    <a:pt x="715327" y="1435109"/>
                  </a:cubicBezTo>
                  <a:cubicBezTo>
                    <a:pt x="715511" y="1435109"/>
                    <a:pt x="715695" y="1435109"/>
                    <a:pt x="715879" y="1435109"/>
                  </a:cubicBezTo>
                  <a:cubicBezTo>
                    <a:pt x="716063" y="1434926"/>
                    <a:pt x="716246" y="1434926"/>
                    <a:pt x="716430" y="1434926"/>
                  </a:cubicBezTo>
                  <a:cubicBezTo>
                    <a:pt x="717350" y="1434741"/>
                    <a:pt x="718085" y="1434190"/>
                    <a:pt x="718821" y="1433638"/>
                  </a:cubicBezTo>
                  <a:cubicBezTo>
                    <a:pt x="719924" y="1432535"/>
                    <a:pt x="720476" y="1431248"/>
                    <a:pt x="720476" y="1429777"/>
                  </a:cubicBezTo>
                  <a:cubicBezTo>
                    <a:pt x="720476" y="1428489"/>
                    <a:pt x="720108" y="1427202"/>
                    <a:pt x="719005" y="1426283"/>
                  </a:cubicBezTo>
                  <a:cubicBezTo>
                    <a:pt x="717902" y="1425180"/>
                    <a:pt x="716614" y="1424627"/>
                    <a:pt x="715143" y="1424627"/>
                  </a:cubicBezTo>
                  <a:cubicBezTo>
                    <a:pt x="713304" y="1424627"/>
                    <a:pt x="711466" y="1424627"/>
                    <a:pt x="709810" y="1424627"/>
                  </a:cubicBezTo>
                  <a:cubicBezTo>
                    <a:pt x="709626" y="1424627"/>
                    <a:pt x="709442" y="1424627"/>
                    <a:pt x="709442" y="1424260"/>
                  </a:cubicBezTo>
                  <a:cubicBezTo>
                    <a:pt x="709442" y="1413778"/>
                    <a:pt x="709442" y="1403480"/>
                    <a:pt x="709442" y="1392998"/>
                  </a:cubicBezTo>
                  <a:cubicBezTo>
                    <a:pt x="709442" y="1392814"/>
                    <a:pt x="709442" y="1392630"/>
                    <a:pt x="709810" y="1392630"/>
                  </a:cubicBezTo>
                  <a:cubicBezTo>
                    <a:pt x="711098" y="1392630"/>
                    <a:pt x="712569" y="1392630"/>
                    <a:pt x="713856" y="1392630"/>
                  </a:cubicBezTo>
                  <a:cubicBezTo>
                    <a:pt x="716063" y="1392630"/>
                    <a:pt x="717717" y="1391527"/>
                    <a:pt x="718821" y="1389504"/>
                  </a:cubicBezTo>
                  <a:cubicBezTo>
                    <a:pt x="719373" y="1388401"/>
                    <a:pt x="719373" y="1387113"/>
                    <a:pt x="719005" y="1385642"/>
                  </a:cubicBezTo>
                  <a:cubicBezTo>
                    <a:pt x="718269" y="1383619"/>
                    <a:pt x="716246" y="1382148"/>
                    <a:pt x="714040" y="1382148"/>
                  </a:cubicBezTo>
                  <a:cubicBezTo>
                    <a:pt x="711281" y="1382148"/>
                    <a:pt x="708523" y="1381964"/>
                    <a:pt x="705765" y="1381964"/>
                  </a:cubicBezTo>
                  <a:close/>
                  <a:moveTo>
                    <a:pt x="940297" y="1381964"/>
                  </a:moveTo>
                  <a:cubicBezTo>
                    <a:pt x="939378" y="1381964"/>
                    <a:pt x="938458" y="1381780"/>
                    <a:pt x="937539" y="1381964"/>
                  </a:cubicBezTo>
                  <a:cubicBezTo>
                    <a:pt x="936251" y="1382148"/>
                    <a:pt x="935148" y="1382700"/>
                    <a:pt x="934413" y="1383619"/>
                  </a:cubicBezTo>
                  <a:cubicBezTo>
                    <a:pt x="933309" y="1384723"/>
                    <a:pt x="932757" y="1386194"/>
                    <a:pt x="932942" y="1387849"/>
                  </a:cubicBezTo>
                  <a:cubicBezTo>
                    <a:pt x="932942" y="1388033"/>
                    <a:pt x="932942" y="1388033"/>
                    <a:pt x="932942" y="1388216"/>
                  </a:cubicBezTo>
                  <a:cubicBezTo>
                    <a:pt x="932942" y="1400170"/>
                    <a:pt x="932942" y="1412122"/>
                    <a:pt x="932942" y="1424260"/>
                  </a:cubicBezTo>
                  <a:cubicBezTo>
                    <a:pt x="932942" y="1424627"/>
                    <a:pt x="932942" y="1424627"/>
                    <a:pt x="932574" y="1424627"/>
                  </a:cubicBezTo>
                  <a:cubicBezTo>
                    <a:pt x="930919" y="1424627"/>
                    <a:pt x="929263" y="1424627"/>
                    <a:pt x="927609" y="1424627"/>
                  </a:cubicBezTo>
                  <a:cubicBezTo>
                    <a:pt x="926689" y="1424627"/>
                    <a:pt x="925770" y="1424995"/>
                    <a:pt x="924850" y="1425363"/>
                  </a:cubicBezTo>
                  <a:cubicBezTo>
                    <a:pt x="923195" y="1426466"/>
                    <a:pt x="922276" y="1427937"/>
                    <a:pt x="922276" y="1429960"/>
                  </a:cubicBezTo>
                  <a:cubicBezTo>
                    <a:pt x="922276" y="1431431"/>
                    <a:pt x="922827" y="1432903"/>
                    <a:pt x="924114" y="1433822"/>
                  </a:cubicBezTo>
                  <a:cubicBezTo>
                    <a:pt x="924850" y="1434374"/>
                    <a:pt x="925770" y="1434926"/>
                    <a:pt x="926873" y="1435109"/>
                  </a:cubicBezTo>
                  <a:cubicBezTo>
                    <a:pt x="926873" y="1435109"/>
                    <a:pt x="927056" y="1435109"/>
                    <a:pt x="927056" y="1435109"/>
                  </a:cubicBezTo>
                  <a:cubicBezTo>
                    <a:pt x="927056" y="1435109"/>
                    <a:pt x="927241" y="1435109"/>
                    <a:pt x="927241" y="1435109"/>
                  </a:cubicBezTo>
                  <a:cubicBezTo>
                    <a:pt x="927241" y="1434926"/>
                    <a:pt x="927424" y="1435109"/>
                    <a:pt x="927609" y="1435109"/>
                  </a:cubicBezTo>
                  <a:cubicBezTo>
                    <a:pt x="934964" y="1435109"/>
                    <a:pt x="942320" y="1435109"/>
                    <a:pt x="949492" y="1435109"/>
                  </a:cubicBezTo>
                  <a:cubicBezTo>
                    <a:pt x="949676" y="1435109"/>
                    <a:pt x="949676" y="1435109"/>
                    <a:pt x="949859" y="1435109"/>
                  </a:cubicBezTo>
                  <a:cubicBezTo>
                    <a:pt x="950043" y="1435109"/>
                    <a:pt x="950227" y="1435109"/>
                    <a:pt x="950411" y="1435109"/>
                  </a:cubicBezTo>
                  <a:cubicBezTo>
                    <a:pt x="950595" y="1434926"/>
                    <a:pt x="950779" y="1434926"/>
                    <a:pt x="950963" y="1434926"/>
                  </a:cubicBezTo>
                  <a:cubicBezTo>
                    <a:pt x="951883" y="1434741"/>
                    <a:pt x="952618" y="1434190"/>
                    <a:pt x="953354" y="1433638"/>
                  </a:cubicBezTo>
                  <a:cubicBezTo>
                    <a:pt x="954457" y="1432535"/>
                    <a:pt x="955008" y="1431248"/>
                    <a:pt x="955008" y="1429777"/>
                  </a:cubicBezTo>
                  <a:cubicBezTo>
                    <a:pt x="955008" y="1428489"/>
                    <a:pt x="954640" y="1427202"/>
                    <a:pt x="953537" y="1426283"/>
                  </a:cubicBezTo>
                  <a:cubicBezTo>
                    <a:pt x="952434" y="1425180"/>
                    <a:pt x="951147" y="1424627"/>
                    <a:pt x="949676" y="1424627"/>
                  </a:cubicBezTo>
                  <a:cubicBezTo>
                    <a:pt x="947836" y="1424627"/>
                    <a:pt x="945998" y="1424627"/>
                    <a:pt x="944343" y="1424627"/>
                  </a:cubicBezTo>
                  <a:cubicBezTo>
                    <a:pt x="944159" y="1424627"/>
                    <a:pt x="943975" y="1424627"/>
                    <a:pt x="943975" y="1424260"/>
                  </a:cubicBezTo>
                  <a:cubicBezTo>
                    <a:pt x="943975" y="1413778"/>
                    <a:pt x="943975" y="1403480"/>
                    <a:pt x="943975" y="1392998"/>
                  </a:cubicBezTo>
                  <a:cubicBezTo>
                    <a:pt x="943975" y="1392814"/>
                    <a:pt x="943975" y="1392630"/>
                    <a:pt x="944343" y="1392630"/>
                  </a:cubicBezTo>
                  <a:cubicBezTo>
                    <a:pt x="945630" y="1392630"/>
                    <a:pt x="947101" y="1392630"/>
                    <a:pt x="948388" y="1392630"/>
                  </a:cubicBezTo>
                  <a:cubicBezTo>
                    <a:pt x="950595" y="1392630"/>
                    <a:pt x="952250" y="1391527"/>
                    <a:pt x="953354" y="1389504"/>
                  </a:cubicBezTo>
                  <a:cubicBezTo>
                    <a:pt x="953905" y="1388401"/>
                    <a:pt x="953905" y="1387113"/>
                    <a:pt x="953537" y="1385642"/>
                  </a:cubicBezTo>
                  <a:cubicBezTo>
                    <a:pt x="952802" y="1383619"/>
                    <a:pt x="950779" y="1382148"/>
                    <a:pt x="948572" y="1382148"/>
                  </a:cubicBezTo>
                  <a:cubicBezTo>
                    <a:pt x="945814" y="1382148"/>
                    <a:pt x="943056" y="1381964"/>
                    <a:pt x="940297" y="1381964"/>
                  </a:cubicBezTo>
                  <a:close/>
                  <a:moveTo>
                    <a:pt x="1052514" y="1381964"/>
                  </a:moveTo>
                  <a:cubicBezTo>
                    <a:pt x="1051594" y="1381964"/>
                    <a:pt x="1050675" y="1381780"/>
                    <a:pt x="1049755" y="1381964"/>
                  </a:cubicBezTo>
                  <a:cubicBezTo>
                    <a:pt x="1048468" y="1382148"/>
                    <a:pt x="1047365" y="1382700"/>
                    <a:pt x="1046629" y="1383619"/>
                  </a:cubicBezTo>
                  <a:cubicBezTo>
                    <a:pt x="1045526" y="1384723"/>
                    <a:pt x="1044974" y="1386194"/>
                    <a:pt x="1045158" y="1387849"/>
                  </a:cubicBezTo>
                  <a:cubicBezTo>
                    <a:pt x="1045158" y="1388033"/>
                    <a:pt x="1045158" y="1388033"/>
                    <a:pt x="1045158" y="1388216"/>
                  </a:cubicBezTo>
                  <a:cubicBezTo>
                    <a:pt x="1045158" y="1400170"/>
                    <a:pt x="1045158" y="1412122"/>
                    <a:pt x="1045158" y="1424260"/>
                  </a:cubicBezTo>
                  <a:cubicBezTo>
                    <a:pt x="1045158" y="1424627"/>
                    <a:pt x="1045158" y="1424627"/>
                    <a:pt x="1044790" y="1424627"/>
                  </a:cubicBezTo>
                  <a:cubicBezTo>
                    <a:pt x="1043136" y="1424627"/>
                    <a:pt x="1041480" y="1424627"/>
                    <a:pt x="1039825" y="1424627"/>
                  </a:cubicBezTo>
                  <a:cubicBezTo>
                    <a:pt x="1038906" y="1424627"/>
                    <a:pt x="1037986" y="1424995"/>
                    <a:pt x="1037067" y="1425363"/>
                  </a:cubicBezTo>
                  <a:cubicBezTo>
                    <a:pt x="1035412" y="1426466"/>
                    <a:pt x="1034492" y="1427937"/>
                    <a:pt x="1034492" y="1429960"/>
                  </a:cubicBezTo>
                  <a:cubicBezTo>
                    <a:pt x="1034492" y="1431431"/>
                    <a:pt x="1035044" y="1432903"/>
                    <a:pt x="1036331" y="1433822"/>
                  </a:cubicBezTo>
                  <a:cubicBezTo>
                    <a:pt x="1037067" y="1434374"/>
                    <a:pt x="1037986" y="1434926"/>
                    <a:pt x="1039089" y="1435109"/>
                  </a:cubicBezTo>
                  <a:cubicBezTo>
                    <a:pt x="1039089" y="1435109"/>
                    <a:pt x="1039273" y="1435109"/>
                    <a:pt x="1039273" y="1435109"/>
                  </a:cubicBezTo>
                  <a:cubicBezTo>
                    <a:pt x="1039273" y="1435109"/>
                    <a:pt x="1039457" y="1435109"/>
                    <a:pt x="1039457" y="1435109"/>
                  </a:cubicBezTo>
                  <a:cubicBezTo>
                    <a:pt x="1039457" y="1434926"/>
                    <a:pt x="1039641" y="1435109"/>
                    <a:pt x="1039825" y="1435109"/>
                  </a:cubicBezTo>
                  <a:cubicBezTo>
                    <a:pt x="1047181" y="1435109"/>
                    <a:pt x="1054537" y="1435109"/>
                    <a:pt x="1061708" y="1435109"/>
                  </a:cubicBezTo>
                  <a:cubicBezTo>
                    <a:pt x="1061892" y="1435109"/>
                    <a:pt x="1061892" y="1435109"/>
                    <a:pt x="1062076" y="1435109"/>
                  </a:cubicBezTo>
                  <a:cubicBezTo>
                    <a:pt x="1062260" y="1435109"/>
                    <a:pt x="1062444" y="1435109"/>
                    <a:pt x="1062628" y="1435109"/>
                  </a:cubicBezTo>
                  <a:cubicBezTo>
                    <a:pt x="1062812" y="1434926"/>
                    <a:pt x="1062996" y="1434926"/>
                    <a:pt x="1063180" y="1434926"/>
                  </a:cubicBezTo>
                  <a:cubicBezTo>
                    <a:pt x="1064099" y="1434741"/>
                    <a:pt x="1064834" y="1434190"/>
                    <a:pt x="1065570" y="1433638"/>
                  </a:cubicBezTo>
                  <a:cubicBezTo>
                    <a:pt x="1066673" y="1432535"/>
                    <a:pt x="1067225" y="1431248"/>
                    <a:pt x="1067225" y="1429777"/>
                  </a:cubicBezTo>
                  <a:cubicBezTo>
                    <a:pt x="1067225" y="1428489"/>
                    <a:pt x="1066857" y="1427202"/>
                    <a:pt x="1065754" y="1426283"/>
                  </a:cubicBezTo>
                  <a:cubicBezTo>
                    <a:pt x="1064651" y="1425180"/>
                    <a:pt x="1063363" y="1424627"/>
                    <a:pt x="1061892" y="1424627"/>
                  </a:cubicBezTo>
                  <a:cubicBezTo>
                    <a:pt x="1060053" y="1424627"/>
                    <a:pt x="1058215" y="1424627"/>
                    <a:pt x="1056559" y="1424627"/>
                  </a:cubicBezTo>
                  <a:cubicBezTo>
                    <a:pt x="1056376" y="1424627"/>
                    <a:pt x="1056191" y="1424627"/>
                    <a:pt x="1056191" y="1424260"/>
                  </a:cubicBezTo>
                  <a:cubicBezTo>
                    <a:pt x="1056191" y="1413778"/>
                    <a:pt x="1056191" y="1403480"/>
                    <a:pt x="1056191" y="1392998"/>
                  </a:cubicBezTo>
                  <a:cubicBezTo>
                    <a:pt x="1056191" y="1392814"/>
                    <a:pt x="1056191" y="1392630"/>
                    <a:pt x="1056559" y="1392630"/>
                  </a:cubicBezTo>
                  <a:cubicBezTo>
                    <a:pt x="1057847" y="1392630"/>
                    <a:pt x="1059318" y="1392630"/>
                    <a:pt x="1060605" y="1392630"/>
                  </a:cubicBezTo>
                  <a:cubicBezTo>
                    <a:pt x="1062812" y="1392630"/>
                    <a:pt x="1064467" y="1391527"/>
                    <a:pt x="1065570" y="1389504"/>
                  </a:cubicBezTo>
                  <a:cubicBezTo>
                    <a:pt x="1066122" y="1388401"/>
                    <a:pt x="1066122" y="1387113"/>
                    <a:pt x="1065754" y="1385642"/>
                  </a:cubicBezTo>
                  <a:cubicBezTo>
                    <a:pt x="1065018" y="1383619"/>
                    <a:pt x="1062996" y="1382148"/>
                    <a:pt x="1060789" y="1382148"/>
                  </a:cubicBezTo>
                  <a:cubicBezTo>
                    <a:pt x="1058030" y="1382148"/>
                    <a:pt x="1055272" y="1381964"/>
                    <a:pt x="1052514" y="1381964"/>
                  </a:cubicBezTo>
                  <a:close/>
                  <a:moveTo>
                    <a:pt x="1287096" y="1381964"/>
                  </a:moveTo>
                  <a:cubicBezTo>
                    <a:pt x="1286176" y="1381964"/>
                    <a:pt x="1285257" y="1381780"/>
                    <a:pt x="1284337" y="1381964"/>
                  </a:cubicBezTo>
                  <a:cubicBezTo>
                    <a:pt x="1283050" y="1382148"/>
                    <a:pt x="1281947" y="1382700"/>
                    <a:pt x="1281211" y="1383619"/>
                  </a:cubicBezTo>
                  <a:cubicBezTo>
                    <a:pt x="1280108" y="1384723"/>
                    <a:pt x="1279556" y="1386194"/>
                    <a:pt x="1279740" y="1387849"/>
                  </a:cubicBezTo>
                  <a:cubicBezTo>
                    <a:pt x="1279740" y="1388033"/>
                    <a:pt x="1279740" y="1388033"/>
                    <a:pt x="1279740" y="1388216"/>
                  </a:cubicBezTo>
                  <a:cubicBezTo>
                    <a:pt x="1279740" y="1400170"/>
                    <a:pt x="1279740" y="1412122"/>
                    <a:pt x="1279740" y="1424260"/>
                  </a:cubicBezTo>
                  <a:cubicBezTo>
                    <a:pt x="1279740" y="1424627"/>
                    <a:pt x="1279740" y="1424627"/>
                    <a:pt x="1279372" y="1424627"/>
                  </a:cubicBezTo>
                  <a:cubicBezTo>
                    <a:pt x="1277718" y="1424627"/>
                    <a:pt x="1276062" y="1424627"/>
                    <a:pt x="1274407" y="1424627"/>
                  </a:cubicBezTo>
                  <a:cubicBezTo>
                    <a:pt x="1273488" y="1424627"/>
                    <a:pt x="1272568" y="1424995"/>
                    <a:pt x="1271649" y="1425363"/>
                  </a:cubicBezTo>
                  <a:cubicBezTo>
                    <a:pt x="1269994" y="1426466"/>
                    <a:pt x="1269075" y="1427937"/>
                    <a:pt x="1269075" y="1429960"/>
                  </a:cubicBezTo>
                  <a:cubicBezTo>
                    <a:pt x="1269075" y="1431431"/>
                    <a:pt x="1269626" y="1432903"/>
                    <a:pt x="1270913" y="1433822"/>
                  </a:cubicBezTo>
                  <a:cubicBezTo>
                    <a:pt x="1271649" y="1434374"/>
                    <a:pt x="1272568" y="1434926"/>
                    <a:pt x="1273672" y="1435109"/>
                  </a:cubicBezTo>
                  <a:cubicBezTo>
                    <a:pt x="1273672" y="1435109"/>
                    <a:pt x="1273856" y="1435109"/>
                    <a:pt x="1273856" y="1435109"/>
                  </a:cubicBezTo>
                  <a:cubicBezTo>
                    <a:pt x="1273856" y="1435109"/>
                    <a:pt x="1274040" y="1435109"/>
                    <a:pt x="1274040" y="1435109"/>
                  </a:cubicBezTo>
                  <a:cubicBezTo>
                    <a:pt x="1274040" y="1434926"/>
                    <a:pt x="1274223" y="1435109"/>
                    <a:pt x="1274407" y="1435109"/>
                  </a:cubicBezTo>
                  <a:cubicBezTo>
                    <a:pt x="1281763" y="1435109"/>
                    <a:pt x="1289119" y="1435109"/>
                    <a:pt x="1296291" y="1435109"/>
                  </a:cubicBezTo>
                  <a:cubicBezTo>
                    <a:pt x="1296474" y="1435109"/>
                    <a:pt x="1296474" y="1435109"/>
                    <a:pt x="1296658" y="1435109"/>
                  </a:cubicBezTo>
                  <a:cubicBezTo>
                    <a:pt x="1296842" y="1435109"/>
                    <a:pt x="1297026" y="1435109"/>
                    <a:pt x="1297210" y="1435109"/>
                  </a:cubicBezTo>
                  <a:cubicBezTo>
                    <a:pt x="1297394" y="1434926"/>
                    <a:pt x="1297578" y="1434926"/>
                    <a:pt x="1297762" y="1434926"/>
                  </a:cubicBezTo>
                  <a:cubicBezTo>
                    <a:pt x="1298681" y="1434741"/>
                    <a:pt x="1299417" y="1434190"/>
                    <a:pt x="1300152" y="1433638"/>
                  </a:cubicBezTo>
                  <a:cubicBezTo>
                    <a:pt x="1301256" y="1432535"/>
                    <a:pt x="1301807" y="1431248"/>
                    <a:pt x="1301807" y="1429777"/>
                  </a:cubicBezTo>
                  <a:cubicBezTo>
                    <a:pt x="1301807" y="1428489"/>
                    <a:pt x="1301439" y="1427202"/>
                    <a:pt x="1300336" y="1426283"/>
                  </a:cubicBezTo>
                  <a:cubicBezTo>
                    <a:pt x="1299233" y="1425180"/>
                    <a:pt x="1297945" y="1424627"/>
                    <a:pt x="1296474" y="1424627"/>
                  </a:cubicBezTo>
                  <a:cubicBezTo>
                    <a:pt x="1294635" y="1424627"/>
                    <a:pt x="1292797" y="1424627"/>
                    <a:pt x="1291141" y="1424627"/>
                  </a:cubicBezTo>
                  <a:cubicBezTo>
                    <a:pt x="1290958" y="1424627"/>
                    <a:pt x="1290773" y="1424627"/>
                    <a:pt x="1290773" y="1424260"/>
                  </a:cubicBezTo>
                  <a:cubicBezTo>
                    <a:pt x="1290773" y="1413778"/>
                    <a:pt x="1290773" y="1403480"/>
                    <a:pt x="1290773" y="1392998"/>
                  </a:cubicBezTo>
                  <a:cubicBezTo>
                    <a:pt x="1290773" y="1392814"/>
                    <a:pt x="1290773" y="1392630"/>
                    <a:pt x="1291141" y="1392630"/>
                  </a:cubicBezTo>
                  <a:cubicBezTo>
                    <a:pt x="1292429" y="1392630"/>
                    <a:pt x="1293900" y="1392630"/>
                    <a:pt x="1295187" y="1392630"/>
                  </a:cubicBezTo>
                  <a:cubicBezTo>
                    <a:pt x="1297394" y="1392630"/>
                    <a:pt x="1299049" y="1391527"/>
                    <a:pt x="1300152" y="1389504"/>
                  </a:cubicBezTo>
                  <a:cubicBezTo>
                    <a:pt x="1300704" y="1388401"/>
                    <a:pt x="1300704" y="1387113"/>
                    <a:pt x="1300336" y="1385642"/>
                  </a:cubicBezTo>
                  <a:cubicBezTo>
                    <a:pt x="1299601" y="1383619"/>
                    <a:pt x="1297578" y="1382148"/>
                    <a:pt x="1295371" y="1382148"/>
                  </a:cubicBezTo>
                  <a:cubicBezTo>
                    <a:pt x="1292613" y="1382148"/>
                    <a:pt x="1289855" y="1381964"/>
                    <a:pt x="1287096" y="1381964"/>
                  </a:cubicBezTo>
                  <a:close/>
                  <a:moveTo>
                    <a:pt x="1521579" y="1381964"/>
                  </a:moveTo>
                  <a:cubicBezTo>
                    <a:pt x="1520659" y="1381964"/>
                    <a:pt x="1519740" y="1381780"/>
                    <a:pt x="1518820" y="1381964"/>
                  </a:cubicBezTo>
                  <a:cubicBezTo>
                    <a:pt x="1517533" y="1382148"/>
                    <a:pt x="1516430" y="1382700"/>
                    <a:pt x="1515694" y="1383619"/>
                  </a:cubicBezTo>
                  <a:cubicBezTo>
                    <a:pt x="1514591" y="1384723"/>
                    <a:pt x="1514039" y="1386194"/>
                    <a:pt x="1514223" y="1387849"/>
                  </a:cubicBezTo>
                  <a:cubicBezTo>
                    <a:pt x="1514223" y="1388033"/>
                    <a:pt x="1514223" y="1388033"/>
                    <a:pt x="1514223" y="1388216"/>
                  </a:cubicBezTo>
                  <a:cubicBezTo>
                    <a:pt x="1514223" y="1400170"/>
                    <a:pt x="1514223" y="1412122"/>
                    <a:pt x="1514223" y="1424260"/>
                  </a:cubicBezTo>
                  <a:cubicBezTo>
                    <a:pt x="1514223" y="1424627"/>
                    <a:pt x="1514223" y="1424627"/>
                    <a:pt x="1513855" y="1424627"/>
                  </a:cubicBezTo>
                  <a:cubicBezTo>
                    <a:pt x="1512201" y="1424627"/>
                    <a:pt x="1510545" y="1424627"/>
                    <a:pt x="1508890" y="1424627"/>
                  </a:cubicBezTo>
                  <a:cubicBezTo>
                    <a:pt x="1507971" y="1424627"/>
                    <a:pt x="1507051" y="1424995"/>
                    <a:pt x="1506132" y="1425363"/>
                  </a:cubicBezTo>
                  <a:cubicBezTo>
                    <a:pt x="1504477" y="1426466"/>
                    <a:pt x="1503557" y="1427937"/>
                    <a:pt x="1503557" y="1429960"/>
                  </a:cubicBezTo>
                  <a:cubicBezTo>
                    <a:pt x="1503557" y="1431431"/>
                    <a:pt x="1504109" y="1432903"/>
                    <a:pt x="1505396" y="1433822"/>
                  </a:cubicBezTo>
                  <a:cubicBezTo>
                    <a:pt x="1506132" y="1434374"/>
                    <a:pt x="1507051" y="1434926"/>
                    <a:pt x="1508154" y="1435109"/>
                  </a:cubicBezTo>
                  <a:cubicBezTo>
                    <a:pt x="1508154" y="1435109"/>
                    <a:pt x="1508338" y="1435109"/>
                    <a:pt x="1508338" y="1435109"/>
                  </a:cubicBezTo>
                  <a:cubicBezTo>
                    <a:pt x="1508338" y="1435109"/>
                    <a:pt x="1508522" y="1435109"/>
                    <a:pt x="1508522" y="1435109"/>
                  </a:cubicBezTo>
                  <a:cubicBezTo>
                    <a:pt x="1508522" y="1434926"/>
                    <a:pt x="1508706" y="1435109"/>
                    <a:pt x="1508890" y="1435109"/>
                  </a:cubicBezTo>
                  <a:cubicBezTo>
                    <a:pt x="1516246" y="1435109"/>
                    <a:pt x="1523602" y="1435109"/>
                    <a:pt x="1530774" y="1435109"/>
                  </a:cubicBezTo>
                  <a:cubicBezTo>
                    <a:pt x="1530957" y="1435109"/>
                    <a:pt x="1530957" y="1435109"/>
                    <a:pt x="1531141" y="1435109"/>
                  </a:cubicBezTo>
                  <a:cubicBezTo>
                    <a:pt x="1531325" y="1435109"/>
                    <a:pt x="1531509" y="1435109"/>
                    <a:pt x="1531693" y="1435109"/>
                  </a:cubicBezTo>
                  <a:cubicBezTo>
                    <a:pt x="1531877" y="1434926"/>
                    <a:pt x="1532061" y="1434926"/>
                    <a:pt x="1532245" y="1434926"/>
                  </a:cubicBezTo>
                  <a:cubicBezTo>
                    <a:pt x="1533164" y="1434741"/>
                    <a:pt x="1533899" y="1434190"/>
                    <a:pt x="1534635" y="1433638"/>
                  </a:cubicBezTo>
                  <a:cubicBezTo>
                    <a:pt x="1535738" y="1432535"/>
                    <a:pt x="1536290" y="1431248"/>
                    <a:pt x="1536290" y="1429777"/>
                  </a:cubicBezTo>
                  <a:cubicBezTo>
                    <a:pt x="1536290" y="1428489"/>
                    <a:pt x="1535922" y="1427202"/>
                    <a:pt x="1534819" y="1426283"/>
                  </a:cubicBezTo>
                  <a:cubicBezTo>
                    <a:pt x="1533716" y="1425180"/>
                    <a:pt x="1532428" y="1424627"/>
                    <a:pt x="1530957" y="1424627"/>
                  </a:cubicBezTo>
                  <a:cubicBezTo>
                    <a:pt x="1529118" y="1424627"/>
                    <a:pt x="1527280" y="1424627"/>
                    <a:pt x="1525624" y="1424627"/>
                  </a:cubicBezTo>
                  <a:cubicBezTo>
                    <a:pt x="1525441" y="1424627"/>
                    <a:pt x="1525256" y="1424627"/>
                    <a:pt x="1525256" y="1424260"/>
                  </a:cubicBezTo>
                  <a:cubicBezTo>
                    <a:pt x="1525256" y="1413778"/>
                    <a:pt x="1525256" y="1403480"/>
                    <a:pt x="1525256" y="1392998"/>
                  </a:cubicBezTo>
                  <a:cubicBezTo>
                    <a:pt x="1525256" y="1392814"/>
                    <a:pt x="1525256" y="1392630"/>
                    <a:pt x="1525624" y="1392630"/>
                  </a:cubicBezTo>
                  <a:cubicBezTo>
                    <a:pt x="1526912" y="1392630"/>
                    <a:pt x="1528383" y="1392630"/>
                    <a:pt x="1529670" y="1392630"/>
                  </a:cubicBezTo>
                  <a:cubicBezTo>
                    <a:pt x="1531877" y="1392630"/>
                    <a:pt x="1533532" y="1391527"/>
                    <a:pt x="1534635" y="1389504"/>
                  </a:cubicBezTo>
                  <a:cubicBezTo>
                    <a:pt x="1535187" y="1388401"/>
                    <a:pt x="1535187" y="1387113"/>
                    <a:pt x="1534819" y="1385642"/>
                  </a:cubicBezTo>
                  <a:cubicBezTo>
                    <a:pt x="1534084" y="1383619"/>
                    <a:pt x="1532061" y="1382148"/>
                    <a:pt x="1529854" y="1382148"/>
                  </a:cubicBezTo>
                  <a:cubicBezTo>
                    <a:pt x="1527095" y="1382148"/>
                    <a:pt x="1524337" y="1381964"/>
                    <a:pt x="1521579" y="1381964"/>
                  </a:cubicBezTo>
                  <a:close/>
                  <a:moveTo>
                    <a:pt x="1817269" y="1381964"/>
                  </a:moveTo>
                  <a:cubicBezTo>
                    <a:pt x="1816350" y="1381964"/>
                    <a:pt x="1815430" y="1381780"/>
                    <a:pt x="1814511" y="1381964"/>
                  </a:cubicBezTo>
                  <a:cubicBezTo>
                    <a:pt x="1813223" y="1382148"/>
                    <a:pt x="1812120" y="1382700"/>
                    <a:pt x="1811385" y="1383619"/>
                  </a:cubicBezTo>
                  <a:cubicBezTo>
                    <a:pt x="1810281" y="1384723"/>
                    <a:pt x="1809729" y="1386194"/>
                    <a:pt x="1809914" y="1387849"/>
                  </a:cubicBezTo>
                  <a:cubicBezTo>
                    <a:pt x="1809914" y="1388033"/>
                    <a:pt x="1809914" y="1388033"/>
                    <a:pt x="1809914" y="1388216"/>
                  </a:cubicBezTo>
                  <a:cubicBezTo>
                    <a:pt x="1809914" y="1400170"/>
                    <a:pt x="1809914" y="1412122"/>
                    <a:pt x="1809914" y="1424260"/>
                  </a:cubicBezTo>
                  <a:cubicBezTo>
                    <a:pt x="1809914" y="1424627"/>
                    <a:pt x="1809914" y="1424627"/>
                    <a:pt x="1809546" y="1424627"/>
                  </a:cubicBezTo>
                  <a:cubicBezTo>
                    <a:pt x="1807891" y="1424627"/>
                    <a:pt x="1806236" y="1424627"/>
                    <a:pt x="1804581" y="1424627"/>
                  </a:cubicBezTo>
                  <a:cubicBezTo>
                    <a:pt x="1803661" y="1424627"/>
                    <a:pt x="1802742" y="1424995"/>
                    <a:pt x="1801822" y="1425363"/>
                  </a:cubicBezTo>
                  <a:cubicBezTo>
                    <a:pt x="1800167" y="1426466"/>
                    <a:pt x="1799248" y="1427937"/>
                    <a:pt x="1799248" y="1429960"/>
                  </a:cubicBezTo>
                  <a:cubicBezTo>
                    <a:pt x="1799248" y="1431431"/>
                    <a:pt x="1799800" y="1432903"/>
                    <a:pt x="1801086" y="1433822"/>
                  </a:cubicBezTo>
                  <a:cubicBezTo>
                    <a:pt x="1801822" y="1434374"/>
                    <a:pt x="1802742" y="1434926"/>
                    <a:pt x="1803845" y="1435109"/>
                  </a:cubicBezTo>
                  <a:cubicBezTo>
                    <a:pt x="1803845" y="1435109"/>
                    <a:pt x="1804029" y="1435109"/>
                    <a:pt x="1804029" y="1435109"/>
                  </a:cubicBezTo>
                  <a:cubicBezTo>
                    <a:pt x="1804029" y="1435109"/>
                    <a:pt x="1804213" y="1435109"/>
                    <a:pt x="1804213" y="1435109"/>
                  </a:cubicBezTo>
                  <a:cubicBezTo>
                    <a:pt x="1804213" y="1434926"/>
                    <a:pt x="1804396" y="1435109"/>
                    <a:pt x="1804581" y="1435109"/>
                  </a:cubicBezTo>
                  <a:cubicBezTo>
                    <a:pt x="1811936" y="1435109"/>
                    <a:pt x="1819292" y="1435109"/>
                    <a:pt x="1826464" y="1435109"/>
                  </a:cubicBezTo>
                  <a:cubicBezTo>
                    <a:pt x="1826648" y="1435109"/>
                    <a:pt x="1826648" y="1435109"/>
                    <a:pt x="1826831" y="1435109"/>
                  </a:cubicBezTo>
                  <a:cubicBezTo>
                    <a:pt x="1827016" y="1435109"/>
                    <a:pt x="1827199" y="1435109"/>
                    <a:pt x="1827384" y="1435109"/>
                  </a:cubicBezTo>
                  <a:cubicBezTo>
                    <a:pt x="1827567" y="1434926"/>
                    <a:pt x="1827751" y="1434926"/>
                    <a:pt x="1827935" y="1434926"/>
                  </a:cubicBezTo>
                  <a:cubicBezTo>
                    <a:pt x="1828855" y="1434741"/>
                    <a:pt x="1829590" y="1434190"/>
                    <a:pt x="1830326" y="1433638"/>
                  </a:cubicBezTo>
                  <a:cubicBezTo>
                    <a:pt x="1831429" y="1432535"/>
                    <a:pt x="1831981" y="1431248"/>
                    <a:pt x="1831981" y="1429777"/>
                  </a:cubicBezTo>
                  <a:cubicBezTo>
                    <a:pt x="1831981" y="1428489"/>
                    <a:pt x="1831613" y="1427202"/>
                    <a:pt x="1830509" y="1426283"/>
                  </a:cubicBezTo>
                  <a:cubicBezTo>
                    <a:pt x="1829406" y="1425180"/>
                    <a:pt x="1828119" y="1424627"/>
                    <a:pt x="1826648" y="1424627"/>
                  </a:cubicBezTo>
                  <a:cubicBezTo>
                    <a:pt x="1824809" y="1424627"/>
                    <a:pt x="1822970" y="1424627"/>
                    <a:pt x="1821315" y="1424627"/>
                  </a:cubicBezTo>
                  <a:cubicBezTo>
                    <a:pt x="1821131" y="1424627"/>
                    <a:pt x="1820947" y="1424627"/>
                    <a:pt x="1820947" y="1424260"/>
                  </a:cubicBezTo>
                  <a:cubicBezTo>
                    <a:pt x="1820947" y="1413778"/>
                    <a:pt x="1820947" y="1403480"/>
                    <a:pt x="1820947" y="1392998"/>
                  </a:cubicBezTo>
                  <a:cubicBezTo>
                    <a:pt x="1820947" y="1392814"/>
                    <a:pt x="1820947" y="1392630"/>
                    <a:pt x="1821315" y="1392630"/>
                  </a:cubicBezTo>
                  <a:cubicBezTo>
                    <a:pt x="1822602" y="1392630"/>
                    <a:pt x="1824073" y="1392630"/>
                    <a:pt x="1825360" y="1392630"/>
                  </a:cubicBezTo>
                  <a:cubicBezTo>
                    <a:pt x="1827567" y="1392630"/>
                    <a:pt x="1829223" y="1391527"/>
                    <a:pt x="1830326" y="1389504"/>
                  </a:cubicBezTo>
                  <a:cubicBezTo>
                    <a:pt x="1830877" y="1388401"/>
                    <a:pt x="1830877" y="1387113"/>
                    <a:pt x="1830509" y="1385642"/>
                  </a:cubicBezTo>
                  <a:cubicBezTo>
                    <a:pt x="1829774" y="1383619"/>
                    <a:pt x="1827751" y="1382148"/>
                    <a:pt x="1825544" y="1382148"/>
                  </a:cubicBezTo>
                  <a:cubicBezTo>
                    <a:pt x="1822786" y="1382148"/>
                    <a:pt x="1820028" y="1381964"/>
                    <a:pt x="1817269" y="1381964"/>
                  </a:cubicBezTo>
                  <a:close/>
                  <a:moveTo>
                    <a:pt x="2051799" y="1381964"/>
                  </a:moveTo>
                  <a:cubicBezTo>
                    <a:pt x="2050880" y="1381964"/>
                    <a:pt x="2049960" y="1381780"/>
                    <a:pt x="2049041" y="1381964"/>
                  </a:cubicBezTo>
                  <a:cubicBezTo>
                    <a:pt x="2047754" y="1382148"/>
                    <a:pt x="2046650" y="1382700"/>
                    <a:pt x="2045915" y="1383619"/>
                  </a:cubicBezTo>
                  <a:cubicBezTo>
                    <a:pt x="2044811" y="1384723"/>
                    <a:pt x="2044259" y="1386194"/>
                    <a:pt x="2044444" y="1387849"/>
                  </a:cubicBezTo>
                  <a:cubicBezTo>
                    <a:pt x="2044444" y="1388033"/>
                    <a:pt x="2044444" y="1388033"/>
                    <a:pt x="2044444" y="1388216"/>
                  </a:cubicBezTo>
                  <a:cubicBezTo>
                    <a:pt x="2044444" y="1400170"/>
                    <a:pt x="2044444" y="1412122"/>
                    <a:pt x="2044444" y="1424260"/>
                  </a:cubicBezTo>
                  <a:cubicBezTo>
                    <a:pt x="2044444" y="1424627"/>
                    <a:pt x="2044444" y="1424627"/>
                    <a:pt x="2044076" y="1424627"/>
                  </a:cubicBezTo>
                  <a:cubicBezTo>
                    <a:pt x="2042421" y="1424627"/>
                    <a:pt x="2040765" y="1424627"/>
                    <a:pt x="2039111" y="1424627"/>
                  </a:cubicBezTo>
                  <a:cubicBezTo>
                    <a:pt x="2038191" y="1424627"/>
                    <a:pt x="2037272" y="1424995"/>
                    <a:pt x="2036352" y="1425363"/>
                  </a:cubicBezTo>
                  <a:cubicBezTo>
                    <a:pt x="2034697" y="1426466"/>
                    <a:pt x="2033778" y="1427937"/>
                    <a:pt x="2033778" y="1429960"/>
                  </a:cubicBezTo>
                  <a:cubicBezTo>
                    <a:pt x="2033778" y="1431431"/>
                    <a:pt x="2034329" y="1432903"/>
                    <a:pt x="2035617" y="1433822"/>
                  </a:cubicBezTo>
                  <a:cubicBezTo>
                    <a:pt x="2036352" y="1434374"/>
                    <a:pt x="2037272" y="1434926"/>
                    <a:pt x="2038375" y="1435109"/>
                  </a:cubicBezTo>
                  <a:cubicBezTo>
                    <a:pt x="2038375" y="1435109"/>
                    <a:pt x="2038559" y="1435109"/>
                    <a:pt x="2038559" y="1435109"/>
                  </a:cubicBezTo>
                  <a:cubicBezTo>
                    <a:pt x="2038559" y="1435109"/>
                    <a:pt x="2038743" y="1435109"/>
                    <a:pt x="2038743" y="1435109"/>
                  </a:cubicBezTo>
                  <a:cubicBezTo>
                    <a:pt x="2038743" y="1434926"/>
                    <a:pt x="2038926" y="1435109"/>
                    <a:pt x="2039111" y="1435109"/>
                  </a:cubicBezTo>
                  <a:cubicBezTo>
                    <a:pt x="2046466" y="1435109"/>
                    <a:pt x="2053822" y="1435109"/>
                    <a:pt x="2060994" y="1435109"/>
                  </a:cubicBezTo>
                  <a:cubicBezTo>
                    <a:pt x="2061177" y="1435109"/>
                    <a:pt x="2061177" y="1435109"/>
                    <a:pt x="2061362" y="1435109"/>
                  </a:cubicBezTo>
                  <a:cubicBezTo>
                    <a:pt x="2061545" y="1435109"/>
                    <a:pt x="2061729" y="1435109"/>
                    <a:pt x="2061913" y="1435109"/>
                  </a:cubicBezTo>
                  <a:cubicBezTo>
                    <a:pt x="2062097" y="1434926"/>
                    <a:pt x="2062281" y="1434926"/>
                    <a:pt x="2062465" y="1434926"/>
                  </a:cubicBezTo>
                  <a:cubicBezTo>
                    <a:pt x="2063384" y="1434741"/>
                    <a:pt x="2064120" y="1434190"/>
                    <a:pt x="2064856" y="1433638"/>
                  </a:cubicBezTo>
                  <a:cubicBezTo>
                    <a:pt x="2065959" y="1432535"/>
                    <a:pt x="2066510" y="1431248"/>
                    <a:pt x="2066510" y="1429777"/>
                  </a:cubicBezTo>
                  <a:cubicBezTo>
                    <a:pt x="2066510" y="1428489"/>
                    <a:pt x="2066142" y="1427202"/>
                    <a:pt x="2065039" y="1426283"/>
                  </a:cubicBezTo>
                  <a:cubicBezTo>
                    <a:pt x="2063936" y="1425180"/>
                    <a:pt x="2062649" y="1424627"/>
                    <a:pt x="2061177" y="1424627"/>
                  </a:cubicBezTo>
                  <a:cubicBezTo>
                    <a:pt x="2059339" y="1424627"/>
                    <a:pt x="2057500" y="1424627"/>
                    <a:pt x="2055845" y="1424627"/>
                  </a:cubicBezTo>
                  <a:cubicBezTo>
                    <a:pt x="2055661" y="1424627"/>
                    <a:pt x="2055477" y="1424627"/>
                    <a:pt x="2055477" y="1424260"/>
                  </a:cubicBezTo>
                  <a:cubicBezTo>
                    <a:pt x="2055477" y="1413778"/>
                    <a:pt x="2055477" y="1403480"/>
                    <a:pt x="2055477" y="1392998"/>
                  </a:cubicBezTo>
                  <a:cubicBezTo>
                    <a:pt x="2055477" y="1392814"/>
                    <a:pt x="2055477" y="1392630"/>
                    <a:pt x="2055845" y="1392630"/>
                  </a:cubicBezTo>
                  <a:cubicBezTo>
                    <a:pt x="2057132" y="1392630"/>
                    <a:pt x="2058603" y="1392630"/>
                    <a:pt x="2059891" y="1392630"/>
                  </a:cubicBezTo>
                  <a:cubicBezTo>
                    <a:pt x="2062097" y="1392630"/>
                    <a:pt x="2063752" y="1391527"/>
                    <a:pt x="2064856" y="1389504"/>
                  </a:cubicBezTo>
                  <a:cubicBezTo>
                    <a:pt x="2065407" y="1388401"/>
                    <a:pt x="2065407" y="1387113"/>
                    <a:pt x="2065039" y="1385642"/>
                  </a:cubicBezTo>
                  <a:cubicBezTo>
                    <a:pt x="2064304" y="1383619"/>
                    <a:pt x="2062281" y="1382148"/>
                    <a:pt x="2060074" y="1382148"/>
                  </a:cubicBezTo>
                  <a:cubicBezTo>
                    <a:pt x="2057316" y="1382148"/>
                    <a:pt x="2054558" y="1381964"/>
                    <a:pt x="2051799" y="1381964"/>
                  </a:cubicBezTo>
                  <a:close/>
                  <a:moveTo>
                    <a:pt x="2225127" y="1381964"/>
                  </a:moveTo>
                  <a:cubicBezTo>
                    <a:pt x="2224207" y="1381964"/>
                    <a:pt x="2223287" y="1381780"/>
                    <a:pt x="2222368" y="1381964"/>
                  </a:cubicBezTo>
                  <a:cubicBezTo>
                    <a:pt x="2221081" y="1382148"/>
                    <a:pt x="2219977" y="1382700"/>
                    <a:pt x="2219241" y="1383619"/>
                  </a:cubicBezTo>
                  <a:cubicBezTo>
                    <a:pt x="2218138" y="1384723"/>
                    <a:pt x="2217587" y="1386194"/>
                    <a:pt x="2217770" y="1387849"/>
                  </a:cubicBezTo>
                  <a:cubicBezTo>
                    <a:pt x="2217770" y="1388033"/>
                    <a:pt x="2217770" y="1388033"/>
                    <a:pt x="2217770" y="1388216"/>
                  </a:cubicBezTo>
                  <a:cubicBezTo>
                    <a:pt x="2217770" y="1400170"/>
                    <a:pt x="2217770" y="1412122"/>
                    <a:pt x="2217770" y="1424260"/>
                  </a:cubicBezTo>
                  <a:cubicBezTo>
                    <a:pt x="2217770" y="1424627"/>
                    <a:pt x="2217770" y="1424627"/>
                    <a:pt x="2217403" y="1424627"/>
                  </a:cubicBezTo>
                  <a:cubicBezTo>
                    <a:pt x="2215748" y="1424627"/>
                    <a:pt x="2214092" y="1424627"/>
                    <a:pt x="2212437" y="1424627"/>
                  </a:cubicBezTo>
                  <a:cubicBezTo>
                    <a:pt x="2211518" y="1424627"/>
                    <a:pt x="2210599" y="1424995"/>
                    <a:pt x="2209678" y="1425363"/>
                  </a:cubicBezTo>
                  <a:cubicBezTo>
                    <a:pt x="2208024" y="1426466"/>
                    <a:pt x="2207104" y="1427937"/>
                    <a:pt x="2207104" y="1429960"/>
                  </a:cubicBezTo>
                  <a:cubicBezTo>
                    <a:pt x="2207104" y="1431431"/>
                    <a:pt x="2207657" y="1432903"/>
                    <a:pt x="2208944" y="1433822"/>
                  </a:cubicBezTo>
                  <a:cubicBezTo>
                    <a:pt x="2209678" y="1434374"/>
                    <a:pt x="2210599" y="1434926"/>
                    <a:pt x="2211702" y="1435109"/>
                  </a:cubicBezTo>
                  <a:cubicBezTo>
                    <a:pt x="2211702" y="1435109"/>
                    <a:pt x="2211886" y="1435109"/>
                    <a:pt x="2211886" y="1435109"/>
                  </a:cubicBezTo>
                  <a:cubicBezTo>
                    <a:pt x="2211886" y="1435109"/>
                    <a:pt x="2212070" y="1435109"/>
                    <a:pt x="2212070" y="1435109"/>
                  </a:cubicBezTo>
                  <a:cubicBezTo>
                    <a:pt x="2212070" y="1434926"/>
                    <a:pt x="2212254" y="1435109"/>
                    <a:pt x="2212437" y="1435109"/>
                  </a:cubicBezTo>
                  <a:cubicBezTo>
                    <a:pt x="2219794" y="1435109"/>
                    <a:pt x="2227148" y="1435109"/>
                    <a:pt x="2234321" y="1435109"/>
                  </a:cubicBezTo>
                  <a:cubicBezTo>
                    <a:pt x="2234505" y="1435109"/>
                    <a:pt x="2234505" y="1435109"/>
                    <a:pt x="2234689" y="1435109"/>
                  </a:cubicBezTo>
                  <a:cubicBezTo>
                    <a:pt x="2234873" y="1435109"/>
                    <a:pt x="2235057" y="1435109"/>
                    <a:pt x="2235240" y="1435109"/>
                  </a:cubicBezTo>
                  <a:cubicBezTo>
                    <a:pt x="2235424" y="1434926"/>
                    <a:pt x="2235608" y="1434926"/>
                    <a:pt x="2235792" y="1434926"/>
                  </a:cubicBezTo>
                  <a:cubicBezTo>
                    <a:pt x="2236711" y="1434741"/>
                    <a:pt x="2237447" y="1434190"/>
                    <a:pt x="2238182" y="1433638"/>
                  </a:cubicBezTo>
                  <a:cubicBezTo>
                    <a:pt x="2239286" y="1432535"/>
                    <a:pt x="2239838" y="1431248"/>
                    <a:pt x="2239838" y="1429777"/>
                  </a:cubicBezTo>
                  <a:cubicBezTo>
                    <a:pt x="2239838" y="1428489"/>
                    <a:pt x="2239469" y="1427202"/>
                    <a:pt x="2238367" y="1426283"/>
                  </a:cubicBezTo>
                  <a:cubicBezTo>
                    <a:pt x="2237264" y="1425180"/>
                    <a:pt x="2235976" y="1424627"/>
                    <a:pt x="2234505" y="1424627"/>
                  </a:cubicBezTo>
                  <a:cubicBezTo>
                    <a:pt x="2232665" y="1424627"/>
                    <a:pt x="2230828" y="1424627"/>
                    <a:pt x="2229172" y="1424627"/>
                  </a:cubicBezTo>
                  <a:cubicBezTo>
                    <a:pt x="2228988" y="1424627"/>
                    <a:pt x="2228804" y="1424627"/>
                    <a:pt x="2228804" y="1424260"/>
                  </a:cubicBezTo>
                  <a:cubicBezTo>
                    <a:pt x="2228804" y="1413778"/>
                    <a:pt x="2228804" y="1403480"/>
                    <a:pt x="2228804" y="1392998"/>
                  </a:cubicBezTo>
                  <a:cubicBezTo>
                    <a:pt x="2228804" y="1392814"/>
                    <a:pt x="2228804" y="1392630"/>
                    <a:pt x="2229172" y="1392630"/>
                  </a:cubicBezTo>
                  <a:cubicBezTo>
                    <a:pt x="2230460" y="1392630"/>
                    <a:pt x="2231931" y="1392630"/>
                    <a:pt x="2233218" y="1392630"/>
                  </a:cubicBezTo>
                  <a:cubicBezTo>
                    <a:pt x="2235424" y="1392630"/>
                    <a:pt x="2237079" y="1391527"/>
                    <a:pt x="2238182" y="1389504"/>
                  </a:cubicBezTo>
                  <a:cubicBezTo>
                    <a:pt x="2238735" y="1388401"/>
                    <a:pt x="2238735" y="1387113"/>
                    <a:pt x="2238367" y="1385642"/>
                  </a:cubicBezTo>
                  <a:cubicBezTo>
                    <a:pt x="2237631" y="1383619"/>
                    <a:pt x="2235608" y="1382148"/>
                    <a:pt x="2233402" y="1382148"/>
                  </a:cubicBezTo>
                  <a:cubicBezTo>
                    <a:pt x="2230643" y="1382148"/>
                    <a:pt x="2227885" y="1381964"/>
                    <a:pt x="2225127" y="1381964"/>
                  </a:cubicBezTo>
                  <a:close/>
                  <a:moveTo>
                    <a:pt x="2459708" y="1381964"/>
                  </a:moveTo>
                  <a:cubicBezTo>
                    <a:pt x="2458789" y="1381964"/>
                    <a:pt x="2457870" y="1381780"/>
                    <a:pt x="2456950" y="1381964"/>
                  </a:cubicBezTo>
                  <a:cubicBezTo>
                    <a:pt x="2455662" y="1382148"/>
                    <a:pt x="2454560" y="1382700"/>
                    <a:pt x="2453824" y="1383619"/>
                  </a:cubicBezTo>
                  <a:cubicBezTo>
                    <a:pt x="2452720" y="1384723"/>
                    <a:pt x="2452169" y="1386194"/>
                    <a:pt x="2452353" y="1387849"/>
                  </a:cubicBezTo>
                  <a:cubicBezTo>
                    <a:pt x="2452353" y="1388033"/>
                    <a:pt x="2452353" y="1388033"/>
                    <a:pt x="2452353" y="1388216"/>
                  </a:cubicBezTo>
                  <a:cubicBezTo>
                    <a:pt x="2452353" y="1400170"/>
                    <a:pt x="2452353" y="1412122"/>
                    <a:pt x="2452353" y="1424260"/>
                  </a:cubicBezTo>
                  <a:cubicBezTo>
                    <a:pt x="2452353" y="1424627"/>
                    <a:pt x="2452353" y="1424627"/>
                    <a:pt x="2451985" y="1424627"/>
                  </a:cubicBezTo>
                  <a:cubicBezTo>
                    <a:pt x="2450330" y="1424627"/>
                    <a:pt x="2448674" y="1424627"/>
                    <a:pt x="2447020" y="1424627"/>
                  </a:cubicBezTo>
                  <a:cubicBezTo>
                    <a:pt x="2446099" y="1424627"/>
                    <a:pt x="2445181" y="1424995"/>
                    <a:pt x="2444262" y="1425363"/>
                  </a:cubicBezTo>
                  <a:cubicBezTo>
                    <a:pt x="2442606" y="1426466"/>
                    <a:pt x="2441687" y="1427937"/>
                    <a:pt x="2441687" y="1429960"/>
                  </a:cubicBezTo>
                  <a:cubicBezTo>
                    <a:pt x="2441687" y="1431431"/>
                    <a:pt x="2442238" y="1432903"/>
                    <a:pt x="2443525" y="1433822"/>
                  </a:cubicBezTo>
                  <a:cubicBezTo>
                    <a:pt x="2444262" y="1434374"/>
                    <a:pt x="2445181" y="1434926"/>
                    <a:pt x="2446284" y="1435109"/>
                  </a:cubicBezTo>
                  <a:cubicBezTo>
                    <a:pt x="2446284" y="1435109"/>
                    <a:pt x="2446468" y="1435109"/>
                    <a:pt x="2446468" y="1435109"/>
                  </a:cubicBezTo>
                  <a:cubicBezTo>
                    <a:pt x="2446468" y="1435109"/>
                    <a:pt x="2446652" y="1435109"/>
                    <a:pt x="2446652" y="1435109"/>
                  </a:cubicBezTo>
                  <a:cubicBezTo>
                    <a:pt x="2446652" y="1434926"/>
                    <a:pt x="2446836" y="1435109"/>
                    <a:pt x="2447020" y="1435109"/>
                  </a:cubicBezTo>
                  <a:cubicBezTo>
                    <a:pt x="2454375" y="1435109"/>
                    <a:pt x="2461732" y="1435109"/>
                    <a:pt x="2468902" y="1435109"/>
                  </a:cubicBezTo>
                  <a:cubicBezTo>
                    <a:pt x="2469087" y="1435109"/>
                    <a:pt x="2469087" y="1435109"/>
                    <a:pt x="2469271" y="1435109"/>
                  </a:cubicBezTo>
                  <a:cubicBezTo>
                    <a:pt x="2469455" y="1435109"/>
                    <a:pt x="2469639" y="1435109"/>
                    <a:pt x="2469823" y="1435109"/>
                  </a:cubicBezTo>
                  <a:cubicBezTo>
                    <a:pt x="2470005" y="1434926"/>
                    <a:pt x="2470190" y="1434926"/>
                    <a:pt x="2470374" y="1434926"/>
                  </a:cubicBezTo>
                  <a:cubicBezTo>
                    <a:pt x="2471293" y="1434741"/>
                    <a:pt x="2472029" y="1434190"/>
                    <a:pt x="2472764" y="1433638"/>
                  </a:cubicBezTo>
                  <a:cubicBezTo>
                    <a:pt x="2473868" y="1432535"/>
                    <a:pt x="2474419" y="1431248"/>
                    <a:pt x="2474419" y="1429777"/>
                  </a:cubicBezTo>
                  <a:cubicBezTo>
                    <a:pt x="2474419" y="1428489"/>
                    <a:pt x="2474051" y="1427202"/>
                    <a:pt x="2472948" y="1426283"/>
                  </a:cubicBezTo>
                  <a:cubicBezTo>
                    <a:pt x="2471845" y="1425180"/>
                    <a:pt x="2470558" y="1424627"/>
                    <a:pt x="2469087" y="1424627"/>
                  </a:cubicBezTo>
                  <a:cubicBezTo>
                    <a:pt x="2467248" y="1424627"/>
                    <a:pt x="2465410" y="1424627"/>
                    <a:pt x="2463754" y="1424627"/>
                  </a:cubicBezTo>
                  <a:cubicBezTo>
                    <a:pt x="2463569" y="1424627"/>
                    <a:pt x="2463386" y="1424627"/>
                    <a:pt x="2463386" y="1424260"/>
                  </a:cubicBezTo>
                  <a:cubicBezTo>
                    <a:pt x="2463386" y="1413778"/>
                    <a:pt x="2463386" y="1403480"/>
                    <a:pt x="2463386" y="1392998"/>
                  </a:cubicBezTo>
                  <a:cubicBezTo>
                    <a:pt x="2463386" y="1392814"/>
                    <a:pt x="2463386" y="1392630"/>
                    <a:pt x="2463754" y="1392630"/>
                  </a:cubicBezTo>
                  <a:cubicBezTo>
                    <a:pt x="2465041" y="1392630"/>
                    <a:pt x="2466512" y="1392630"/>
                    <a:pt x="2467800" y="1392630"/>
                  </a:cubicBezTo>
                  <a:cubicBezTo>
                    <a:pt x="2470005" y="1392630"/>
                    <a:pt x="2471661" y="1391527"/>
                    <a:pt x="2472764" y="1389504"/>
                  </a:cubicBezTo>
                  <a:cubicBezTo>
                    <a:pt x="2473317" y="1388401"/>
                    <a:pt x="2473317" y="1387113"/>
                    <a:pt x="2472948" y="1385642"/>
                  </a:cubicBezTo>
                  <a:cubicBezTo>
                    <a:pt x="2472213" y="1383619"/>
                    <a:pt x="2470190" y="1382148"/>
                    <a:pt x="2467984" y="1382148"/>
                  </a:cubicBezTo>
                  <a:cubicBezTo>
                    <a:pt x="2465225" y="1382148"/>
                    <a:pt x="2462467" y="1381964"/>
                    <a:pt x="2459708" y="1381964"/>
                  </a:cubicBezTo>
                  <a:close/>
                  <a:moveTo>
                    <a:pt x="2571925" y="1381964"/>
                  </a:moveTo>
                  <a:cubicBezTo>
                    <a:pt x="2571006" y="1381964"/>
                    <a:pt x="2570085" y="1381780"/>
                    <a:pt x="2569166" y="1381964"/>
                  </a:cubicBezTo>
                  <a:cubicBezTo>
                    <a:pt x="2567879" y="1382148"/>
                    <a:pt x="2566776" y="1382700"/>
                    <a:pt x="2566040" y="1383619"/>
                  </a:cubicBezTo>
                  <a:cubicBezTo>
                    <a:pt x="2564937" y="1384723"/>
                    <a:pt x="2564386" y="1386194"/>
                    <a:pt x="2564569" y="1387849"/>
                  </a:cubicBezTo>
                  <a:cubicBezTo>
                    <a:pt x="2564569" y="1388033"/>
                    <a:pt x="2564569" y="1388033"/>
                    <a:pt x="2564569" y="1388216"/>
                  </a:cubicBezTo>
                  <a:cubicBezTo>
                    <a:pt x="2564569" y="1400170"/>
                    <a:pt x="2564569" y="1412122"/>
                    <a:pt x="2564569" y="1424260"/>
                  </a:cubicBezTo>
                  <a:cubicBezTo>
                    <a:pt x="2564569" y="1424627"/>
                    <a:pt x="2564569" y="1424627"/>
                    <a:pt x="2564202" y="1424627"/>
                  </a:cubicBezTo>
                  <a:cubicBezTo>
                    <a:pt x="2562547" y="1424627"/>
                    <a:pt x="2560891" y="1424627"/>
                    <a:pt x="2559237" y="1424627"/>
                  </a:cubicBezTo>
                  <a:cubicBezTo>
                    <a:pt x="2558316" y="1424627"/>
                    <a:pt x="2557398" y="1424995"/>
                    <a:pt x="2556478" y="1425363"/>
                  </a:cubicBezTo>
                  <a:cubicBezTo>
                    <a:pt x="2554824" y="1426466"/>
                    <a:pt x="2553903" y="1427937"/>
                    <a:pt x="2553903" y="1429960"/>
                  </a:cubicBezTo>
                  <a:cubicBezTo>
                    <a:pt x="2553903" y="1431431"/>
                    <a:pt x="2554455" y="1432903"/>
                    <a:pt x="2555742" y="1433822"/>
                  </a:cubicBezTo>
                  <a:cubicBezTo>
                    <a:pt x="2556478" y="1434374"/>
                    <a:pt x="2557398" y="1434926"/>
                    <a:pt x="2558500" y="1435109"/>
                  </a:cubicBezTo>
                  <a:cubicBezTo>
                    <a:pt x="2558500" y="1435109"/>
                    <a:pt x="2558685" y="1435109"/>
                    <a:pt x="2558685" y="1435109"/>
                  </a:cubicBezTo>
                  <a:cubicBezTo>
                    <a:pt x="2558685" y="1435109"/>
                    <a:pt x="2558869" y="1435109"/>
                    <a:pt x="2558869" y="1435109"/>
                  </a:cubicBezTo>
                  <a:cubicBezTo>
                    <a:pt x="2558869" y="1434926"/>
                    <a:pt x="2559053" y="1435109"/>
                    <a:pt x="2559237" y="1435109"/>
                  </a:cubicBezTo>
                  <a:cubicBezTo>
                    <a:pt x="2566592" y="1435109"/>
                    <a:pt x="2573948" y="1435109"/>
                    <a:pt x="2581120" y="1435109"/>
                  </a:cubicBezTo>
                  <a:cubicBezTo>
                    <a:pt x="2581304" y="1435109"/>
                    <a:pt x="2581304" y="1435109"/>
                    <a:pt x="2581487" y="1435109"/>
                  </a:cubicBezTo>
                  <a:cubicBezTo>
                    <a:pt x="2581672" y="1435109"/>
                    <a:pt x="2581855" y="1435109"/>
                    <a:pt x="2582040" y="1435109"/>
                  </a:cubicBezTo>
                  <a:cubicBezTo>
                    <a:pt x="2582222" y="1434926"/>
                    <a:pt x="2582406" y="1434926"/>
                    <a:pt x="2582591" y="1434926"/>
                  </a:cubicBezTo>
                  <a:cubicBezTo>
                    <a:pt x="2583509" y="1434741"/>
                    <a:pt x="2584246" y="1434190"/>
                    <a:pt x="2584981" y="1433638"/>
                  </a:cubicBezTo>
                  <a:cubicBezTo>
                    <a:pt x="2586085" y="1432535"/>
                    <a:pt x="2586637" y="1431248"/>
                    <a:pt x="2586637" y="1429777"/>
                  </a:cubicBezTo>
                  <a:cubicBezTo>
                    <a:pt x="2586637" y="1428489"/>
                    <a:pt x="2586268" y="1427202"/>
                    <a:pt x="2585165" y="1426283"/>
                  </a:cubicBezTo>
                  <a:cubicBezTo>
                    <a:pt x="2584062" y="1425180"/>
                    <a:pt x="2582775" y="1424627"/>
                    <a:pt x="2581304" y="1424627"/>
                  </a:cubicBezTo>
                  <a:cubicBezTo>
                    <a:pt x="2579463" y="1424627"/>
                    <a:pt x="2577626" y="1424627"/>
                    <a:pt x="2575971" y="1424627"/>
                  </a:cubicBezTo>
                  <a:cubicBezTo>
                    <a:pt x="2575787" y="1424627"/>
                    <a:pt x="2575602" y="1424627"/>
                    <a:pt x="2575602" y="1424260"/>
                  </a:cubicBezTo>
                  <a:cubicBezTo>
                    <a:pt x="2575602" y="1413778"/>
                    <a:pt x="2575602" y="1403480"/>
                    <a:pt x="2575602" y="1392998"/>
                  </a:cubicBezTo>
                  <a:cubicBezTo>
                    <a:pt x="2575602" y="1392814"/>
                    <a:pt x="2575602" y="1392630"/>
                    <a:pt x="2575971" y="1392630"/>
                  </a:cubicBezTo>
                  <a:cubicBezTo>
                    <a:pt x="2577258" y="1392630"/>
                    <a:pt x="2578730" y="1392630"/>
                    <a:pt x="2580016" y="1392630"/>
                  </a:cubicBezTo>
                  <a:cubicBezTo>
                    <a:pt x="2582222" y="1392630"/>
                    <a:pt x="2583878" y="1391527"/>
                    <a:pt x="2584981" y="1389504"/>
                  </a:cubicBezTo>
                  <a:cubicBezTo>
                    <a:pt x="2585534" y="1388401"/>
                    <a:pt x="2585534" y="1387113"/>
                    <a:pt x="2585165" y="1385642"/>
                  </a:cubicBezTo>
                  <a:cubicBezTo>
                    <a:pt x="2584430" y="1383619"/>
                    <a:pt x="2582406" y="1382148"/>
                    <a:pt x="2580201" y="1382148"/>
                  </a:cubicBezTo>
                  <a:cubicBezTo>
                    <a:pt x="2577442" y="1382148"/>
                    <a:pt x="2574683" y="1381964"/>
                    <a:pt x="2571925" y="1381964"/>
                  </a:cubicBezTo>
                  <a:close/>
                  <a:moveTo>
                    <a:pt x="2928824" y="1381964"/>
                  </a:moveTo>
                  <a:cubicBezTo>
                    <a:pt x="2927904" y="1381964"/>
                    <a:pt x="2926984" y="1381780"/>
                    <a:pt x="2926065" y="1381964"/>
                  </a:cubicBezTo>
                  <a:cubicBezTo>
                    <a:pt x="2924777" y="1382148"/>
                    <a:pt x="2923674" y="1382700"/>
                    <a:pt x="2922939" y="1383619"/>
                  </a:cubicBezTo>
                  <a:cubicBezTo>
                    <a:pt x="2921835" y="1384723"/>
                    <a:pt x="2921284" y="1386194"/>
                    <a:pt x="2921467" y="1387849"/>
                  </a:cubicBezTo>
                  <a:cubicBezTo>
                    <a:pt x="2921467" y="1388033"/>
                    <a:pt x="2921467" y="1388033"/>
                    <a:pt x="2921467" y="1388216"/>
                  </a:cubicBezTo>
                  <a:cubicBezTo>
                    <a:pt x="2921467" y="1400170"/>
                    <a:pt x="2921467" y="1412122"/>
                    <a:pt x="2921467" y="1424260"/>
                  </a:cubicBezTo>
                  <a:cubicBezTo>
                    <a:pt x="2921467" y="1424627"/>
                    <a:pt x="2921467" y="1424627"/>
                    <a:pt x="2921100" y="1424627"/>
                  </a:cubicBezTo>
                  <a:cubicBezTo>
                    <a:pt x="2919445" y="1424627"/>
                    <a:pt x="2917790" y="1424627"/>
                    <a:pt x="2916135" y="1424627"/>
                  </a:cubicBezTo>
                  <a:cubicBezTo>
                    <a:pt x="2915216" y="1424627"/>
                    <a:pt x="2914296" y="1424995"/>
                    <a:pt x="2913376" y="1425363"/>
                  </a:cubicBezTo>
                  <a:cubicBezTo>
                    <a:pt x="2911722" y="1426466"/>
                    <a:pt x="2910802" y="1427937"/>
                    <a:pt x="2910802" y="1429960"/>
                  </a:cubicBezTo>
                  <a:cubicBezTo>
                    <a:pt x="2910802" y="1431431"/>
                    <a:pt x="2911354" y="1432903"/>
                    <a:pt x="2912641" y="1433822"/>
                  </a:cubicBezTo>
                  <a:cubicBezTo>
                    <a:pt x="2913376" y="1434374"/>
                    <a:pt x="2914296" y="1434926"/>
                    <a:pt x="2915399" y="1435109"/>
                  </a:cubicBezTo>
                  <a:cubicBezTo>
                    <a:pt x="2915399" y="1435109"/>
                    <a:pt x="2915583" y="1435109"/>
                    <a:pt x="2915583" y="1435109"/>
                  </a:cubicBezTo>
                  <a:cubicBezTo>
                    <a:pt x="2915583" y="1435109"/>
                    <a:pt x="2915767" y="1435109"/>
                    <a:pt x="2915767" y="1435109"/>
                  </a:cubicBezTo>
                  <a:cubicBezTo>
                    <a:pt x="2915767" y="1434926"/>
                    <a:pt x="2915951" y="1435109"/>
                    <a:pt x="2916135" y="1435109"/>
                  </a:cubicBezTo>
                  <a:cubicBezTo>
                    <a:pt x="2923491" y="1435109"/>
                    <a:pt x="2930846" y="1435109"/>
                    <a:pt x="2938018" y="1435109"/>
                  </a:cubicBezTo>
                  <a:cubicBezTo>
                    <a:pt x="2938202" y="1435109"/>
                    <a:pt x="2938202" y="1435109"/>
                    <a:pt x="2938386" y="1435109"/>
                  </a:cubicBezTo>
                  <a:cubicBezTo>
                    <a:pt x="2938570" y="1435109"/>
                    <a:pt x="2938753" y="1435109"/>
                    <a:pt x="2938938" y="1435109"/>
                  </a:cubicBezTo>
                  <a:cubicBezTo>
                    <a:pt x="2939121" y="1434926"/>
                    <a:pt x="2939305" y="1434926"/>
                    <a:pt x="2939489" y="1434926"/>
                  </a:cubicBezTo>
                  <a:cubicBezTo>
                    <a:pt x="2940409" y="1434741"/>
                    <a:pt x="2941144" y="1434190"/>
                    <a:pt x="2941880" y="1433638"/>
                  </a:cubicBezTo>
                  <a:cubicBezTo>
                    <a:pt x="2942983" y="1432535"/>
                    <a:pt x="2943535" y="1431248"/>
                    <a:pt x="2943535" y="1429777"/>
                  </a:cubicBezTo>
                  <a:cubicBezTo>
                    <a:pt x="2943535" y="1428489"/>
                    <a:pt x="2943167" y="1427202"/>
                    <a:pt x="2942064" y="1426283"/>
                  </a:cubicBezTo>
                  <a:cubicBezTo>
                    <a:pt x="2940960" y="1425180"/>
                    <a:pt x="2939673" y="1424627"/>
                    <a:pt x="2938202" y="1424627"/>
                  </a:cubicBezTo>
                  <a:cubicBezTo>
                    <a:pt x="2936363" y="1424627"/>
                    <a:pt x="2934524" y="1424627"/>
                    <a:pt x="2932869" y="1424627"/>
                  </a:cubicBezTo>
                  <a:cubicBezTo>
                    <a:pt x="2932685" y="1424627"/>
                    <a:pt x="2932501" y="1424627"/>
                    <a:pt x="2932501" y="1424260"/>
                  </a:cubicBezTo>
                  <a:cubicBezTo>
                    <a:pt x="2932501" y="1413778"/>
                    <a:pt x="2932501" y="1403480"/>
                    <a:pt x="2932501" y="1392998"/>
                  </a:cubicBezTo>
                  <a:cubicBezTo>
                    <a:pt x="2932501" y="1392814"/>
                    <a:pt x="2932501" y="1392630"/>
                    <a:pt x="2932869" y="1392630"/>
                  </a:cubicBezTo>
                  <a:cubicBezTo>
                    <a:pt x="2934156" y="1392630"/>
                    <a:pt x="2935628" y="1392630"/>
                    <a:pt x="2936914" y="1392630"/>
                  </a:cubicBezTo>
                  <a:cubicBezTo>
                    <a:pt x="2939121" y="1392630"/>
                    <a:pt x="2940776" y="1391527"/>
                    <a:pt x="2941880" y="1389504"/>
                  </a:cubicBezTo>
                  <a:cubicBezTo>
                    <a:pt x="2942432" y="1388401"/>
                    <a:pt x="2942432" y="1387113"/>
                    <a:pt x="2942064" y="1385642"/>
                  </a:cubicBezTo>
                  <a:cubicBezTo>
                    <a:pt x="2941328" y="1383619"/>
                    <a:pt x="2939305" y="1382148"/>
                    <a:pt x="2937099" y="1382148"/>
                  </a:cubicBezTo>
                  <a:cubicBezTo>
                    <a:pt x="2934340" y="1382148"/>
                    <a:pt x="2931581" y="1381964"/>
                    <a:pt x="2928824" y="1381964"/>
                  </a:cubicBezTo>
                  <a:close/>
                  <a:moveTo>
                    <a:pt x="2979833" y="1381964"/>
                  </a:moveTo>
                  <a:cubicBezTo>
                    <a:pt x="2978913" y="1381964"/>
                    <a:pt x="2977994" y="1381780"/>
                    <a:pt x="2977074" y="1381964"/>
                  </a:cubicBezTo>
                  <a:cubicBezTo>
                    <a:pt x="2975787" y="1382148"/>
                    <a:pt x="2974683" y="1382700"/>
                    <a:pt x="2973948" y="1383619"/>
                  </a:cubicBezTo>
                  <a:cubicBezTo>
                    <a:pt x="2972844" y="1384723"/>
                    <a:pt x="2972293" y="1386194"/>
                    <a:pt x="2972476" y="1387849"/>
                  </a:cubicBezTo>
                  <a:cubicBezTo>
                    <a:pt x="2972476" y="1388033"/>
                    <a:pt x="2972476" y="1388033"/>
                    <a:pt x="2972476" y="1388216"/>
                  </a:cubicBezTo>
                  <a:cubicBezTo>
                    <a:pt x="2972476" y="1400170"/>
                    <a:pt x="2972476" y="1412122"/>
                    <a:pt x="2972476" y="1424260"/>
                  </a:cubicBezTo>
                  <a:cubicBezTo>
                    <a:pt x="2972476" y="1424627"/>
                    <a:pt x="2972476" y="1424627"/>
                    <a:pt x="2972109" y="1424627"/>
                  </a:cubicBezTo>
                  <a:cubicBezTo>
                    <a:pt x="2970454" y="1424627"/>
                    <a:pt x="2968799" y="1424627"/>
                    <a:pt x="2967144" y="1424627"/>
                  </a:cubicBezTo>
                  <a:cubicBezTo>
                    <a:pt x="2966225" y="1424627"/>
                    <a:pt x="2965305" y="1424995"/>
                    <a:pt x="2964386" y="1425363"/>
                  </a:cubicBezTo>
                  <a:cubicBezTo>
                    <a:pt x="2962731" y="1426466"/>
                    <a:pt x="2961811" y="1427937"/>
                    <a:pt x="2961811" y="1429960"/>
                  </a:cubicBezTo>
                  <a:cubicBezTo>
                    <a:pt x="2961811" y="1431431"/>
                    <a:pt x="2962363" y="1432903"/>
                    <a:pt x="2963650" y="1433822"/>
                  </a:cubicBezTo>
                  <a:cubicBezTo>
                    <a:pt x="2964386" y="1434374"/>
                    <a:pt x="2965305" y="1434926"/>
                    <a:pt x="2966408" y="1435109"/>
                  </a:cubicBezTo>
                  <a:cubicBezTo>
                    <a:pt x="2966408" y="1435109"/>
                    <a:pt x="2966592" y="1435109"/>
                    <a:pt x="2966592" y="1435109"/>
                  </a:cubicBezTo>
                  <a:cubicBezTo>
                    <a:pt x="2966592" y="1435109"/>
                    <a:pt x="2966776" y="1435109"/>
                    <a:pt x="2966776" y="1435109"/>
                  </a:cubicBezTo>
                  <a:cubicBezTo>
                    <a:pt x="2966776" y="1434926"/>
                    <a:pt x="2966960" y="1435109"/>
                    <a:pt x="2967144" y="1435109"/>
                  </a:cubicBezTo>
                  <a:cubicBezTo>
                    <a:pt x="2974500" y="1435109"/>
                    <a:pt x="2981855" y="1435109"/>
                    <a:pt x="2989027" y="1435109"/>
                  </a:cubicBezTo>
                  <a:cubicBezTo>
                    <a:pt x="2989211" y="1435109"/>
                    <a:pt x="2989211" y="1435109"/>
                    <a:pt x="2989395" y="1435109"/>
                  </a:cubicBezTo>
                  <a:cubicBezTo>
                    <a:pt x="2989579" y="1435109"/>
                    <a:pt x="2989763" y="1435109"/>
                    <a:pt x="2989947" y="1435109"/>
                  </a:cubicBezTo>
                  <a:cubicBezTo>
                    <a:pt x="2990130" y="1434926"/>
                    <a:pt x="2990314" y="1434926"/>
                    <a:pt x="2990498" y="1434926"/>
                  </a:cubicBezTo>
                  <a:cubicBezTo>
                    <a:pt x="2991418" y="1434741"/>
                    <a:pt x="2992153" y="1434190"/>
                    <a:pt x="2992889" y="1433638"/>
                  </a:cubicBezTo>
                  <a:cubicBezTo>
                    <a:pt x="2993992" y="1432535"/>
                    <a:pt x="2994544" y="1431248"/>
                    <a:pt x="2994544" y="1429777"/>
                  </a:cubicBezTo>
                  <a:cubicBezTo>
                    <a:pt x="2994544" y="1428489"/>
                    <a:pt x="2994176" y="1427202"/>
                    <a:pt x="2993073" y="1426283"/>
                  </a:cubicBezTo>
                  <a:cubicBezTo>
                    <a:pt x="2991970" y="1425180"/>
                    <a:pt x="2990682" y="1424627"/>
                    <a:pt x="2989211" y="1424627"/>
                  </a:cubicBezTo>
                  <a:cubicBezTo>
                    <a:pt x="2987372" y="1424627"/>
                    <a:pt x="2985533" y="1424627"/>
                    <a:pt x="2983878" y="1424627"/>
                  </a:cubicBezTo>
                  <a:cubicBezTo>
                    <a:pt x="2983694" y="1424627"/>
                    <a:pt x="2983510" y="1424627"/>
                    <a:pt x="2983510" y="1424260"/>
                  </a:cubicBezTo>
                  <a:cubicBezTo>
                    <a:pt x="2983510" y="1413778"/>
                    <a:pt x="2983510" y="1403480"/>
                    <a:pt x="2983510" y="1392998"/>
                  </a:cubicBezTo>
                  <a:cubicBezTo>
                    <a:pt x="2983510" y="1392814"/>
                    <a:pt x="2983510" y="1392630"/>
                    <a:pt x="2983878" y="1392630"/>
                  </a:cubicBezTo>
                  <a:cubicBezTo>
                    <a:pt x="2985166" y="1392630"/>
                    <a:pt x="2986637" y="1392630"/>
                    <a:pt x="2987923" y="1392630"/>
                  </a:cubicBezTo>
                  <a:cubicBezTo>
                    <a:pt x="2990130" y="1392630"/>
                    <a:pt x="2991785" y="1391527"/>
                    <a:pt x="2992889" y="1389504"/>
                  </a:cubicBezTo>
                  <a:cubicBezTo>
                    <a:pt x="2993441" y="1388401"/>
                    <a:pt x="2993441" y="1387113"/>
                    <a:pt x="2993073" y="1385642"/>
                  </a:cubicBezTo>
                  <a:cubicBezTo>
                    <a:pt x="2992337" y="1383619"/>
                    <a:pt x="2990314" y="1382148"/>
                    <a:pt x="2988108" y="1382148"/>
                  </a:cubicBezTo>
                  <a:cubicBezTo>
                    <a:pt x="2985349" y="1382148"/>
                    <a:pt x="2982591" y="1381964"/>
                    <a:pt x="2979833" y="1381964"/>
                  </a:cubicBezTo>
                  <a:close/>
                  <a:moveTo>
                    <a:pt x="3153257" y="1381964"/>
                  </a:moveTo>
                  <a:cubicBezTo>
                    <a:pt x="3152337" y="1381964"/>
                    <a:pt x="3151418" y="1381780"/>
                    <a:pt x="3150498" y="1381964"/>
                  </a:cubicBezTo>
                  <a:cubicBezTo>
                    <a:pt x="3149211" y="1382148"/>
                    <a:pt x="3148108" y="1382700"/>
                    <a:pt x="3147372" y="1383619"/>
                  </a:cubicBezTo>
                  <a:cubicBezTo>
                    <a:pt x="3146269" y="1384723"/>
                    <a:pt x="3145717" y="1386194"/>
                    <a:pt x="3145901" y="1387849"/>
                  </a:cubicBezTo>
                  <a:cubicBezTo>
                    <a:pt x="3145901" y="1388033"/>
                    <a:pt x="3145901" y="1388033"/>
                    <a:pt x="3145901" y="1388216"/>
                  </a:cubicBezTo>
                  <a:cubicBezTo>
                    <a:pt x="3145901" y="1400170"/>
                    <a:pt x="3145901" y="1412122"/>
                    <a:pt x="3145901" y="1424260"/>
                  </a:cubicBezTo>
                  <a:cubicBezTo>
                    <a:pt x="3145901" y="1424627"/>
                    <a:pt x="3145901" y="1424627"/>
                    <a:pt x="3145533" y="1424627"/>
                  </a:cubicBezTo>
                  <a:cubicBezTo>
                    <a:pt x="3143878" y="1424627"/>
                    <a:pt x="3142223" y="1424627"/>
                    <a:pt x="3140568" y="1424627"/>
                  </a:cubicBezTo>
                  <a:cubicBezTo>
                    <a:pt x="3139649" y="1424627"/>
                    <a:pt x="3138729" y="1424995"/>
                    <a:pt x="3137810" y="1425363"/>
                  </a:cubicBezTo>
                  <a:cubicBezTo>
                    <a:pt x="3136155" y="1426466"/>
                    <a:pt x="3135235" y="1427937"/>
                    <a:pt x="3135235" y="1429960"/>
                  </a:cubicBezTo>
                  <a:cubicBezTo>
                    <a:pt x="3135235" y="1431431"/>
                    <a:pt x="3135787" y="1432903"/>
                    <a:pt x="3137074" y="1433822"/>
                  </a:cubicBezTo>
                  <a:cubicBezTo>
                    <a:pt x="3137810" y="1434374"/>
                    <a:pt x="3138729" y="1434926"/>
                    <a:pt x="3139832" y="1435109"/>
                  </a:cubicBezTo>
                  <a:cubicBezTo>
                    <a:pt x="3139832" y="1435109"/>
                    <a:pt x="3140016" y="1435109"/>
                    <a:pt x="3140016" y="1435109"/>
                  </a:cubicBezTo>
                  <a:cubicBezTo>
                    <a:pt x="3140016" y="1435109"/>
                    <a:pt x="3140200" y="1435109"/>
                    <a:pt x="3140200" y="1435109"/>
                  </a:cubicBezTo>
                  <a:cubicBezTo>
                    <a:pt x="3140200" y="1434926"/>
                    <a:pt x="3140384" y="1435109"/>
                    <a:pt x="3140568" y="1435109"/>
                  </a:cubicBezTo>
                  <a:cubicBezTo>
                    <a:pt x="3147924" y="1435109"/>
                    <a:pt x="3155280" y="1435109"/>
                    <a:pt x="3162452" y="1435109"/>
                  </a:cubicBezTo>
                  <a:cubicBezTo>
                    <a:pt x="3162635" y="1435109"/>
                    <a:pt x="3162635" y="1435109"/>
                    <a:pt x="3162819" y="1435109"/>
                  </a:cubicBezTo>
                  <a:cubicBezTo>
                    <a:pt x="3163003" y="1435109"/>
                    <a:pt x="3163187" y="1435109"/>
                    <a:pt x="3163371" y="1435109"/>
                  </a:cubicBezTo>
                  <a:cubicBezTo>
                    <a:pt x="3163555" y="1434926"/>
                    <a:pt x="3163738" y="1434926"/>
                    <a:pt x="3163923" y="1434926"/>
                  </a:cubicBezTo>
                  <a:cubicBezTo>
                    <a:pt x="3164842" y="1434741"/>
                    <a:pt x="3165577" y="1434190"/>
                    <a:pt x="3166313" y="1433638"/>
                  </a:cubicBezTo>
                  <a:cubicBezTo>
                    <a:pt x="3167416" y="1432535"/>
                    <a:pt x="3167968" y="1431248"/>
                    <a:pt x="3167968" y="1429777"/>
                  </a:cubicBezTo>
                  <a:cubicBezTo>
                    <a:pt x="3167968" y="1428489"/>
                    <a:pt x="3167600" y="1427202"/>
                    <a:pt x="3166497" y="1426283"/>
                  </a:cubicBezTo>
                  <a:cubicBezTo>
                    <a:pt x="3165394" y="1425180"/>
                    <a:pt x="3164106" y="1424627"/>
                    <a:pt x="3162635" y="1424627"/>
                  </a:cubicBezTo>
                  <a:cubicBezTo>
                    <a:pt x="3160796" y="1424627"/>
                    <a:pt x="3158958" y="1424627"/>
                    <a:pt x="3157302" y="1424627"/>
                  </a:cubicBezTo>
                  <a:cubicBezTo>
                    <a:pt x="3157119" y="1424627"/>
                    <a:pt x="3156934" y="1424627"/>
                    <a:pt x="3156934" y="1424260"/>
                  </a:cubicBezTo>
                  <a:cubicBezTo>
                    <a:pt x="3156934" y="1413778"/>
                    <a:pt x="3156934" y="1403480"/>
                    <a:pt x="3156934" y="1392998"/>
                  </a:cubicBezTo>
                  <a:cubicBezTo>
                    <a:pt x="3156934" y="1392814"/>
                    <a:pt x="3156934" y="1392630"/>
                    <a:pt x="3157302" y="1392630"/>
                  </a:cubicBezTo>
                  <a:cubicBezTo>
                    <a:pt x="3158590" y="1392630"/>
                    <a:pt x="3160061" y="1392630"/>
                    <a:pt x="3161348" y="1392630"/>
                  </a:cubicBezTo>
                  <a:cubicBezTo>
                    <a:pt x="3163555" y="1392630"/>
                    <a:pt x="3165209" y="1391527"/>
                    <a:pt x="3166313" y="1389504"/>
                  </a:cubicBezTo>
                  <a:cubicBezTo>
                    <a:pt x="3166865" y="1388401"/>
                    <a:pt x="3166865" y="1387113"/>
                    <a:pt x="3166497" y="1385642"/>
                  </a:cubicBezTo>
                  <a:cubicBezTo>
                    <a:pt x="3165761" y="1383619"/>
                    <a:pt x="3163738" y="1382148"/>
                    <a:pt x="3161532" y="1382148"/>
                  </a:cubicBezTo>
                  <a:cubicBezTo>
                    <a:pt x="3158773" y="1382148"/>
                    <a:pt x="3156015" y="1381964"/>
                    <a:pt x="3153257" y="1381964"/>
                  </a:cubicBezTo>
                  <a:close/>
                  <a:moveTo>
                    <a:pt x="3387839" y="1381964"/>
                  </a:moveTo>
                  <a:cubicBezTo>
                    <a:pt x="3386919" y="1381964"/>
                    <a:pt x="3386000" y="1381780"/>
                    <a:pt x="3385080" y="1381964"/>
                  </a:cubicBezTo>
                  <a:cubicBezTo>
                    <a:pt x="3383793" y="1382148"/>
                    <a:pt x="3382690" y="1382700"/>
                    <a:pt x="3381955" y="1383619"/>
                  </a:cubicBezTo>
                  <a:cubicBezTo>
                    <a:pt x="3380851" y="1384723"/>
                    <a:pt x="3380299" y="1386194"/>
                    <a:pt x="3380483" y="1387849"/>
                  </a:cubicBezTo>
                  <a:cubicBezTo>
                    <a:pt x="3380483" y="1388033"/>
                    <a:pt x="3380483" y="1388033"/>
                    <a:pt x="3380483" y="1388216"/>
                  </a:cubicBezTo>
                  <a:cubicBezTo>
                    <a:pt x="3380483" y="1400170"/>
                    <a:pt x="3380483" y="1412122"/>
                    <a:pt x="3380483" y="1424260"/>
                  </a:cubicBezTo>
                  <a:cubicBezTo>
                    <a:pt x="3380483" y="1424627"/>
                    <a:pt x="3380483" y="1424627"/>
                    <a:pt x="3380115" y="1424627"/>
                  </a:cubicBezTo>
                  <a:cubicBezTo>
                    <a:pt x="3378460" y="1424627"/>
                    <a:pt x="3376805" y="1424627"/>
                    <a:pt x="3375151" y="1424627"/>
                  </a:cubicBezTo>
                  <a:cubicBezTo>
                    <a:pt x="3374231" y="1424627"/>
                    <a:pt x="3373311" y="1424995"/>
                    <a:pt x="3372392" y="1425363"/>
                  </a:cubicBezTo>
                  <a:cubicBezTo>
                    <a:pt x="3370737" y="1426466"/>
                    <a:pt x="3369818" y="1427937"/>
                    <a:pt x="3369818" y="1429960"/>
                  </a:cubicBezTo>
                  <a:cubicBezTo>
                    <a:pt x="3369818" y="1431431"/>
                    <a:pt x="3370369" y="1432903"/>
                    <a:pt x="3371656" y="1433822"/>
                  </a:cubicBezTo>
                  <a:cubicBezTo>
                    <a:pt x="3372392" y="1434374"/>
                    <a:pt x="3373311" y="1434926"/>
                    <a:pt x="3374415" y="1435109"/>
                  </a:cubicBezTo>
                  <a:cubicBezTo>
                    <a:pt x="3374415" y="1435109"/>
                    <a:pt x="3374598" y="1435109"/>
                    <a:pt x="3374598" y="1435109"/>
                  </a:cubicBezTo>
                  <a:cubicBezTo>
                    <a:pt x="3374598" y="1435109"/>
                    <a:pt x="3374783" y="1435109"/>
                    <a:pt x="3374783" y="1435109"/>
                  </a:cubicBezTo>
                  <a:cubicBezTo>
                    <a:pt x="3374783" y="1434926"/>
                    <a:pt x="3374966" y="1435109"/>
                    <a:pt x="3375151" y="1435109"/>
                  </a:cubicBezTo>
                  <a:cubicBezTo>
                    <a:pt x="3382506" y="1435109"/>
                    <a:pt x="3389862" y="1435109"/>
                    <a:pt x="3397034" y="1435109"/>
                  </a:cubicBezTo>
                  <a:cubicBezTo>
                    <a:pt x="3397217" y="1435109"/>
                    <a:pt x="3397217" y="1435109"/>
                    <a:pt x="3397401" y="1435109"/>
                  </a:cubicBezTo>
                  <a:cubicBezTo>
                    <a:pt x="3397585" y="1435109"/>
                    <a:pt x="3397769" y="1435109"/>
                    <a:pt x="3397953" y="1435109"/>
                  </a:cubicBezTo>
                  <a:cubicBezTo>
                    <a:pt x="3398137" y="1434926"/>
                    <a:pt x="3398320" y="1434926"/>
                    <a:pt x="3398505" y="1434926"/>
                  </a:cubicBezTo>
                  <a:cubicBezTo>
                    <a:pt x="3399424" y="1434741"/>
                    <a:pt x="3400160" y="1434190"/>
                    <a:pt x="3400895" y="1433638"/>
                  </a:cubicBezTo>
                  <a:cubicBezTo>
                    <a:pt x="3401999" y="1432535"/>
                    <a:pt x="3402550" y="1431248"/>
                    <a:pt x="3402550" y="1429777"/>
                  </a:cubicBezTo>
                  <a:cubicBezTo>
                    <a:pt x="3402550" y="1428489"/>
                    <a:pt x="3402182" y="1427202"/>
                    <a:pt x="3401079" y="1426283"/>
                  </a:cubicBezTo>
                  <a:cubicBezTo>
                    <a:pt x="3399976" y="1425180"/>
                    <a:pt x="3398688" y="1424627"/>
                    <a:pt x="3397217" y="1424627"/>
                  </a:cubicBezTo>
                  <a:cubicBezTo>
                    <a:pt x="3395378" y="1424627"/>
                    <a:pt x="3393540" y="1424627"/>
                    <a:pt x="3391884" y="1424627"/>
                  </a:cubicBezTo>
                  <a:cubicBezTo>
                    <a:pt x="3391701" y="1424627"/>
                    <a:pt x="3391516" y="1424627"/>
                    <a:pt x="3391516" y="1424260"/>
                  </a:cubicBezTo>
                  <a:cubicBezTo>
                    <a:pt x="3391516" y="1413778"/>
                    <a:pt x="3391516" y="1403480"/>
                    <a:pt x="3391516" y="1392998"/>
                  </a:cubicBezTo>
                  <a:cubicBezTo>
                    <a:pt x="3391516" y="1392814"/>
                    <a:pt x="3391516" y="1392630"/>
                    <a:pt x="3391884" y="1392630"/>
                  </a:cubicBezTo>
                  <a:cubicBezTo>
                    <a:pt x="3393172" y="1392630"/>
                    <a:pt x="3394643" y="1392630"/>
                    <a:pt x="3395930" y="1392630"/>
                  </a:cubicBezTo>
                  <a:cubicBezTo>
                    <a:pt x="3398137" y="1392630"/>
                    <a:pt x="3399792" y="1391527"/>
                    <a:pt x="3400895" y="1389504"/>
                  </a:cubicBezTo>
                  <a:cubicBezTo>
                    <a:pt x="3401447" y="1388401"/>
                    <a:pt x="3401447" y="1387113"/>
                    <a:pt x="3401079" y="1385642"/>
                  </a:cubicBezTo>
                  <a:cubicBezTo>
                    <a:pt x="3400343" y="1383619"/>
                    <a:pt x="3398320" y="1382148"/>
                    <a:pt x="3396114" y="1382148"/>
                  </a:cubicBezTo>
                  <a:cubicBezTo>
                    <a:pt x="3393356" y="1382148"/>
                    <a:pt x="3390597" y="1381964"/>
                    <a:pt x="3387839" y="1381964"/>
                  </a:cubicBezTo>
                  <a:close/>
                  <a:moveTo>
                    <a:pt x="3683480" y="1381964"/>
                  </a:moveTo>
                  <a:cubicBezTo>
                    <a:pt x="3682560" y="1381964"/>
                    <a:pt x="3681641" y="1381780"/>
                    <a:pt x="3680721" y="1381964"/>
                  </a:cubicBezTo>
                  <a:cubicBezTo>
                    <a:pt x="3679434" y="1382148"/>
                    <a:pt x="3678331" y="1382700"/>
                    <a:pt x="3677595" y="1383619"/>
                  </a:cubicBezTo>
                  <a:cubicBezTo>
                    <a:pt x="3676491" y="1384723"/>
                    <a:pt x="3675940" y="1386194"/>
                    <a:pt x="3676124" y="1387849"/>
                  </a:cubicBezTo>
                  <a:cubicBezTo>
                    <a:pt x="3676124" y="1388033"/>
                    <a:pt x="3676124" y="1388033"/>
                    <a:pt x="3676124" y="1388216"/>
                  </a:cubicBezTo>
                  <a:cubicBezTo>
                    <a:pt x="3676124" y="1400170"/>
                    <a:pt x="3676124" y="1412122"/>
                    <a:pt x="3676124" y="1424260"/>
                  </a:cubicBezTo>
                  <a:cubicBezTo>
                    <a:pt x="3676124" y="1424627"/>
                    <a:pt x="3676124" y="1424627"/>
                    <a:pt x="3675756" y="1424627"/>
                  </a:cubicBezTo>
                  <a:cubicBezTo>
                    <a:pt x="3674101" y="1424627"/>
                    <a:pt x="3672446" y="1424627"/>
                    <a:pt x="3670791" y="1424627"/>
                  </a:cubicBezTo>
                  <a:cubicBezTo>
                    <a:pt x="3669872" y="1424627"/>
                    <a:pt x="3668952" y="1424995"/>
                    <a:pt x="3668033" y="1425363"/>
                  </a:cubicBezTo>
                  <a:cubicBezTo>
                    <a:pt x="3666378" y="1426466"/>
                    <a:pt x="3665458" y="1427937"/>
                    <a:pt x="3665458" y="1429960"/>
                  </a:cubicBezTo>
                  <a:cubicBezTo>
                    <a:pt x="3665458" y="1431431"/>
                    <a:pt x="3666010" y="1432903"/>
                    <a:pt x="3667297" y="1433822"/>
                  </a:cubicBezTo>
                  <a:cubicBezTo>
                    <a:pt x="3668033" y="1434374"/>
                    <a:pt x="3668952" y="1434926"/>
                    <a:pt x="3670055" y="1435109"/>
                  </a:cubicBezTo>
                  <a:cubicBezTo>
                    <a:pt x="3670055" y="1435109"/>
                    <a:pt x="3670239" y="1435109"/>
                    <a:pt x="3670239" y="1435109"/>
                  </a:cubicBezTo>
                  <a:cubicBezTo>
                    <a:pt x="3670239" y="1435109"/>
                    <a:pt x="3670423" y="1435109"/>
                    <a:pt x="3670423" y="1435109"/>
                  </a:cubicBezTo>
                  <a:cubicBezTo>
                    <a:pt x="3670423" y="1434926"/>
                    <a:pt x="3670607" y="1435109"/>
                    <a:pt x="3670791" y="1435109"/>
                  </a:cubicBezTo>
                  <a:cubicBezTo>
                    <a:pt x="3678147" y="1435109"/>
                    <a:pt x="3685503" y="1435109"/>
                    <a:pt x="3692675" y="1435109"/>
                  </a:cubicBezTo>
                  <a:cubicBezTo>
                    <a:pt x="3692858" y="1435109"/>
                    <a:pt x="3692858" y="1435109"/>
                    <a:pt x="3693042" y="1435109"/>
                  </a:cubicBezTo>
                  <a:cubicBezTo>
                    <a:pt x="3693226" y="1435109"/>
                    <a:pt x="3693410" y="1435109"/>
                    <a:pt x="3693594" y="1435109"/>
                  </a:cubicBezTo>
                  <a:cubicBezTo>
                    <a:pt x="3693778" y="1434926"/>
                    <a:pt x="3693961" y="1434926"/>
                    <a:pt x="3694146" y="1434926"/>
                  </a:cubicBezTo>
                  <a:cubicBezTo>
                    <a:pt x="3695065" y="1434741"/>
                    <a:pt x="3695800" y="1434190"/>
                    <a:pt x="3696536" y="1433638"/>
                  </a:cubicBezTo>
                  <a:cubicBezTo>
                    <a:pt x="3697639" y="1432535"/>
                    <a:pt x="3698191" y="1431248"/>
                    <a:pt x="3698191" y="1429777"/>
                  </a:cubicBezTo>
                  <a:cubicBezTo>
                    <a:pt x="3698191" y="1428489"/>
                    <a:pt x="3697823" y="1427202"/>
                    <a:pt x="3696720" y="1426283"/>
                  </a:cubicBezTo>
                  <a:cubicBezTo>
                    <a:pt x="3695617" y="1425180"/>
                    <a:pt x="3694329" y="1424627"/>
                    <a:pt x="3692858" y="1424627"/>
                  </a:cubicBezTo>
                  <a:cubicBezTo>
                    <a:pt x="3691019" y="1424627"/>
                    <a:pt x="3689181" y="1424627"/>
                    <a:pt x="3687525" y="1424627"/>
                  </a:cubicBezTo>
                  <a:cubicBezTo>
                    <a:pt x="3687342" y="1424627"/>
                    <a:pt x="3687157" y="1424627"/>
                    <a:pt x="3687157" y="1424260"/>
                  </a:cubicBezTo>
                  <a:cubicBezTo>
                    <a:pt x="3687157" y="1413778"/>
                    <a:pt x="3687157" y="1403480"/>
                    <a:pt x="3687157" y="1392998"/>
                  </a:cubicBezTo>
                  <a:cubicBezTo>
                    <a:pt x="3687157" y="1392814"/>
                    <a:pt x="3687157" y="1392630"/>
                    <a:pt x="3687525" y="1392630"/>
                  </a:cubicBezTo>
                  <a:cubicBezTo>
                    <a:pt x="3688813" y="1392630"/>
                    <a:pt x="3690284" y="1392630"/>
                    <a:pt x="3691571" y="1392630"/>
                  </a:cubicBezTo>
                  <a:cubicBezTo>
                    <a:pt x="3693778" y="1392630"/>
                    <a:pt x="3695432" y="1391527"/>
                    <a:pt x="3696536" y="1389504"/>
                  </a:cubicBezTo>
                  <a:cubicBezTo>
                    <a:pt x="3697088" y="1388401"/>
                    <a:pt x="3697088" y="1387113"/>
                    <a:pt x="3696720" y="1385642"/>
                  </a:cubicBezTo>
                  <a:cubicBezTo>
                    <a:pt x="3695984" y="1383619"/>
                    <a:pt x="3693961" y="1382148"/>
                    <a:pt x="3691755" y="1382148"/>
                  </a:cubicBezTo>
                  <a:cubicBezTo>
                    <a:pt x="3688996" y="1382148"/>
                    <a:pt x="3686238" y="1381964"/>
                    <a:pt x="3683480" y="1381964"/>
                  </a:cubicBezTo>
                  <a:close/>
                  <a:moveTo>
                    <a:pt x="22545" y="1381962"/>
                  </a:moveTo>
                  <a:cubicBezTo>
                    <a:pt x="26110" y="1381962"/>
                    <a:pt x="29168" y="1384130"/>
                    <a:pt x="30475" y="1387219"/>
                  </a:cubicBezTo>
                  <a:lnTo>
                    <a:pt x="31104" y="1390336"/>
                  </a:lnTo>
                  <a:lnTo>
                    <a:pt x="28900" y="1390336"/>
                  </a:lnTo>
                  <a:cubicBezTo>
                    <a:pt x="25683" y="1390336"/>
                    <a:pt x="21587" y="1390336"/>
                    <a:pt x="16374" y="1390336"/>
                  </a:cubicBezTo>
                  <a:lnTo>
                    <a:pt x="13984" y="1390336"/>
                  </a:lnTo>
                  <a:lnTo>
                    <a:pt x="14614" y="1387219"/>
                  </a:lnTo>
                  <a:cubicBezTo>
                    <a:pt x="15921" y="1384130"/>
                    <a:pt x="18979" y="1381962"/>
                    <a:pt x="22545" y="1381962"/>
                  </a:cubicBezTo>
                  <a:close/>
                  <a:moveTo>
                    <a:pt x="88211" y="1381917"/>
                  </a:moveTo>
                  <a:cubicBezTo>
                    <a:pt x="85369" y="1381733"/>
                    <a:pt x="82527" y="1382285"/>
                    <a:pt x="79852" y="1383388"/>
                  </a:cubicBezTo>
                  <a:cubicBezTo>
                    <a:pt x="78013" y="1384124"/>
                    <a:pt x="76341" y="1385227"/>
                    <a:pt x="74837" y="1386515"/>
                  </a:cubicBezTo>
                  <a:cubicBezTo>
                    <a:pt x="74001" y="1387250"/>
                    <a:pt x="73333" y="1387986"/>
                    <a:pt x="72497" y="1388721"/>
                  </a:cubicBezTo>
                  <a:cubicBezTo>
                    <a:pt x="71661" y="1389641"/>
                    <a:pt x="70825" y="1390744"/>
                    <a:pt x="70156" y="1391663"/>
                  </a:cubicBezTo>
                  <a:cubicBezTo>
                    <a:pt x="69654" y="1392399"/>
                    <a:pt x="69153" y="1393319"/>
                    <a:pt x="68818" y="1394054"/>
                  </a:cubicBezTo>
                  <a:cubicBezTo>
                    <a:pt x="68150" y="1395158"/>
                    <a:pt x="67649" y="1396445"/>
                    <a:pt x="67314" y="1397732"/>
                  </a:cubicBezTo>
                  <a:cubicBezTo>
                    <a:pt x="66979" y="1398467"/>
                    <a:pt x="66812" y="1399387"/>
                    <a:pt x="66645" y="1400123"/>
                  </a:cubicBezTo>
                  <a:cubicBezTo>
                    <a:pt x="66311" y="1401226"/>
                    <a:pt x="66144" y="1402514"/>
                    <a:pt x="65977" y="1403617"/>
                  </a:cubicBezTo>
                  <a:cubicBezTo>
                    <a:pt x="65475" y="1406927"/>
                    <a:pt x="65475" y="1410237"/>
                    <a:pt x="66144" y="1413363"/>
                  </a:cubicBezTo>
                  <a:cubicBezTo>
                    <a:pt x="66311" y="1414467"/>
                    <a:pt x="66478" y="1415570"/>
                    <a:pt x="66812" y="1416673"/>
                  </a:cubicBezTo>
                  <a:cubicBezTo>
                    <a:pt x="67147" y="1417593"/>
                    <a:pt x="67314" y="1418328"/>
                    <a:pt x="67649" y="1419247"/>
                  </a:cubicBezTo>
                  <a:cubicBezTo>
                    <a:pt x="67983" y="1419799"/>
                    <a:pt x="68150" y="1420351"/>
                    <a:pt x="68317" y="1420903"/>
                  </a:cubicBezTo>
                  <a:cubicBezTo>
                    <a:pt x="68818" y="1422006"/>
                    <a:pt x="69320" y="1422926"/>
                    <a:pt x="69822" y="1423845"/>
                  </a:cubicBezTo>
                  <a:cubicBezTo>
                    <a:pt x="70323" y="1424580"/>
                    <a:pt x="70825" y="1425316"/>
                    <a:pt x="71326" y="1426051"/>
                  </a:cubicBezTo>
                  <a:cubicBezTo>
                    <a:pt x="71995" y="1426971"/>
                    <a:pt x="72831" y="1427891"/>
                    <a:pt x="73666" y="1428626"/>
                  </a:cubicBezTo>
                  <a:cubicBezTo>
                    <a:pt x="74336" y="1429362"/>
                    <a:pt x="75172" y="1429913"/>
                    <a:pt x="75840" y="1430465"/>
                  </a:cubicBezTo>
                  <a:cubicBezTo>
                    <a:pt x="77011" y="1431385"/>
                    <a:pt x="78348" y="1432120"/>
                    <a:pt x="79685" y="1432672"/>
                  </a:cubicBezTo>
                  <a:cubicBezTo>
                    <a:pt x="81357" y="1433408"/>
                    <a:pt x="83196" y="1433959"/>
                    <a:pt x="85035" y="1434143"/>
                  </a:cubicBezTo>
                  <a:cubicBezTo>
                    <a:pt x="85369" y="1434143"/>
                    <a:pt x="85536" y="1434143"/>
                    <a:pt x="85871" y="1434327"/>
                  </a:cubicBezTo>
                  <a:cubicBezTo>
                    <a:pt x="86874" y="1434327"/>
                    <a:pt x="87710" y="1434327"/>
                    <a:pt x="88713" y="1434327"/>
                  </a:cubicBezTo>
                  <a:cubicBezTo>
                    <a:pt x="88713" y="1434143"/>
                    <a:pt x="88880" y="1434327"/>
                    <a:pt x="88880" y="1434327"/>
                  </a:cubicBezTo>
                  <a:cubicBezTo>
                    <a:pt x="92056" y="1433959"/>
                    <a:pt x="95065" y="1432856"/>
                    <a:pt x="97740" y="1431017"/>
                  </a:cubicBezTo>
                  <a:cubicBezTo>
                    <a:pt x="98911" y="1430281"/>
                    <a:pt x="99914" y="1429362"/>
                    <a:pt x="100917" y="1428258"/>
                  </a:cubicBezTo>
                  <a:cubicBezTo>
                    <a:pt x="101753" y="1427523"/>
                    <a:pt x="102422" y="1426604"/>
                    <a:pt x="103090" y="1425684"/>
                  </a:cubicBezTo>
                  <a:cubicBezTo>
                    <a:pt x="103591" y="1424948"/>
                    <a:pt x="104093" y="1424213"/>
                    <a:pt x="104595" y="1423294"/>
                  </a:cubicBezTo>
                  <a:cubicBezTo>
                    <a:pt x="105097" y="1422374"/>
                    <a:pt x="105598" y="1421454"/>
                    <a:pt x="106099" y="1420351"/>
                  </a:cubicBezTo>
                  <a:cubicBezTo>
                    <a:pt x="106434" y="1419615"/>
                    <a:pt x="106601" y="1419064"/>
                    <a:pt x="106935" y="1418328"/>
                  </a:cubicBezTo>
                  <a:cubicBezTo>
                    <a:pt x="107270" y="1417593"/>
                    <a:pt x="107437" y="1416857"/>
                    <a:pt x="107604" y="1416122"/>
                  </a:cubicBezTo>
                  <a:cubicBezTo>
                    <a:pt x="107938" y="1414834"/>
                    <a:pt x="108106" y="1413547"/>
                    <a:pt x="108440" y="1412260"/>
                  </a:cubicBezTo>
                  <a:cubicBezTo>
                    <a:pt x="108607" y="1411524"/>
                    <a:pt x="108607" y="1410972"/>
                    <a:pt x="108607" y="1410237"/>
                  </a:cubicBezTo>
                  <a:cubicBezTo>
                    <a:pt x="108440" y="1410789"/>
                    <a:pt x="108273" y="1410604"/>
                    <a:pt x="108440" y="1410421"/>
                  </a:cubicBezTo>
                  <a:cubicBezTo>
                    <a:pt x="108440" y="1409133"/>
                    <a:pt x="108440" y="1407846"/>
                    <a:pt x="108440" y="1406559"/>
                  </a:cubicBezTo>
                  <a:cubicBezTo>
                    <a:pt x="108440" y="1406559"/>
                    <a:pt x="108440" y="1406559"/>
                    <a:pt x="108440" y="1406375"/>
                  </a:cubicBezTo>
                  <a:cubicBezTo>
                    <a:pt x="108440" y="1405272"/>
                    <a:pt x="108273" y="1404353"/>
                    <a:pt x="108106" y="1403249"/>
                  </a:cubicBezTo>
                  <a:cubicBezTo>
                    <a:pt x="107771" y="1401962"/>
                    <a:pt x="107771" y="1400674"/>
                    <a:pt x="107270" y="1399571"/>
                  </a:cubicBezTo>
                  <a:cubicBezTo>
                    <a:pt x="106935" y="1398835"/>
                    <a:pt x="106768" y="1398100"/>
                    <a:pt x="106601" y="1397364"/>
                  </a:cubicBezTo>
                  <a:cubicBezTo>
                    <a:pt x="106099" y="1396261"/>
                    <a:pt x="105598" y="1394974"/>
                    <a:pt x="105097" y="1393870"/>
                  </a:cubicBezTo>
                  <a:cubicBezTo>
                    <a:pt x="104595" y="1392951"/>
                    <a:pt x="104093" y="1392215"/>
                    <a:pt x="103591" y="1391296"/>
                  </a:cubicBezTo>
                  <a:cubicBezTo>
                    <a:pt x="103090" y="1390560"/>
                    <a:pt x="102588" y="1389825"/>
                    <a:pt x="102087" y="1389273"/>
                  </a:cubicBezTo>
                  <a:cubicBezTo>
                    <a:pt x="101586" y="1388721"/>
                    <a:pt x="101084" y="1388170"/>
                    <a:pt x="100583" y="1387618"/>
                  </a:cubicBezTo>
                  <a:cubicBezTo>
                    <a:pt x="99579" y="1386698"/>
                    <a:pt x="98576" y="1385779"/>
                    <a:pt x="97406" y="1385044"/>
                  </a:cubicBezTo>
                  <a:cubicBezTo>
                    <a:pt x="96570" y="1384491"/>
                    <a:pt x="95567" y="1383940"/>
                    <a:pt x="94731" y="1383573"/>
                  </a:cubicBezTo>
                  <a:cubicBezTo>
                    <a:pt x="92725" y="1382653"/>
                    <a:pt x="90552" y="1382101"/>
                    <a:pt x="88211" y="1381917"/>
                  </a:cubicBezTo>
                  <a:close/>
                  <a:moveTo>
                    <a:pt x="210578" y="1381917"/>
                  </a:moveTo>
                  <a:cubicBezTo>
                    <a:pt x="207736" y="1381733"/>
                    <a:pt x="204894" y="1382285"/>
                    <a:pt x="202219" y="1383388"/>
                  </a:cubicBezTo>
                  <a:cubicBezTo>
                    <a:pt x="200380" y="1384124"/>
                    <a:pt x="198708" y="1385227"/>
                    <a:pt x="197204" y="1386515"/>
                  </a:cubicBezTo>
                  <a:cubicBezTo>
                    <a:pt x="196368" y="1387250"/>
                    <a:pt x="195699" y="1387986"/>
                    <a:pt x="194864" y="1388721"/>
                  </a:cubicBezTo>
                  <a:cubicBezTo>
                    <a:pt x="194028" y="1389641"/>
                    <a:pt x="193192" y="1390744"/>
                    <a:pt x="192523" y="1391663"/>
                  </a:cubicBezTo>
                  <a:cubicBezTo>
                    <a:pt x="192021" y="1392399"/>
                    <a:pt x="191520" y="1393319"/>
                    <a:pt x="191185" y="1394054"/>
                  </a:cubicBezTo>
                  <a:cubicBezTo>
                    <a:pt x="190517" y="1395158"/>
                    <a:pt x="190016" y="1396445"/>
                    <a:pt x="189681" y="1397732"/>
                  </a:cubicBezTo>
                  <a:cubicBezTo>
                    <a:pt x="189346" y="1398467"/>
                    <a:pt x="189179" y="1399387"/>
                    <a:pt x="189012" y="1400123"/>
                  </a:cubicBezTo>
                  <a:cubicBezTo>
                    <a:pt x="188678" y="1401226"/>
                    <a:pt x="188510" y="1402514"/>
                    <a:pt x="188344" y="1403617"/>
                  </a:cubicBezTo>
                  <a:cubicBezTo>
                    <a:pt x="187842" y="1406927"/>
                    <a:pt x="187842" y="1410237"/>
                    <a:pt x="188510" y="1413363"/>
                  </a:cubicBezTo>
                  <a:cubicBezTo>
                    <a:pt x="188678" y="1414467"/>
                    <a:pt x="188845" y="1415570"/>
                    <a:pt x="189179" y="1416673"/>
                  </a:cubicBezTo>
                  <a:cubicBezTo>
                    <a:pt x="189514" y="1417593"/>
                    <a:pt x="189681" y="1418328"/>
                    <a:pt x="190016" y="1419247"/>
                  </a:cubicBezTo>
                  <a:cubicBezTo>
                    <a:pt x="190349" y="1419799"/>
                    <a:pt x="190517" y="1420351"/>
                    <a:pt x="190684" y="1420903"/>
                  </a:cubicBezTo>
                  <a:cubicBezTo>
                    <a:pt x="191185" y="1422006"/>
                    <a:pt x="191687" y="1422926"/>
                    <a:pt x="192189" y="1423845"/>
                  </a:cubicBezTo>
                  <a:cubicBezTo>
                    <a:pt x="192690" y="1424580"/>
                    <a:pt x="193192" y="1425316"/>
                    <a:pt x="193693" y="1426051"/>
                  </a:cubicBezTo>
                  <a:cubicBezTo>
                    <a:pt x="194362" y="1426971"/>
                    <a:pt x="195197" y="1427891"/>
                    <a:pt x="196033" y="1428626"/>
                  </a:cubicBezTo>
                  <a:cubicBezTo>
                    <a:pt x="196703" y="1429362"/>
                    <a:pt x="197538" y="1429913"/>
                    <a:pt x="198207" y="1430465"/>
                  </a:cubicBezTo>
                  <a:cubicBezTo>
                    <a:pt x="199378" y="1431385"/>
                    <a:pt x="200715" y="1432120"/>
                    <a:pt x="202052" y="1432672"/>
                  </a:cubicBezTo>
                  <a:cubicBezTo>
                    <a:pt x="203724" y="1433408"/>
                    <a:pt x="205563" y="1433959"/>
                    <a:pt x="207402" y="1434143"/>
                  </a:cubicBezTo>
                  <a:cubicBezTo>
                    <a:pt x="207736" y="1434143"/>
                    <a:pt x="207903" y="1434143"/>
                    <a:pt x="208238" y="1434327"/>
                  </a:cubicBezTo>
                  <a:cubicBezTo>
                    <a:pt x="209241" y="1434327"/>
                    <a:pt x="210077" y="1434327"/>
                    <a:pt x="211080" y="1434327"/>
                  </a:cubicBezTo>
                  <a:cubicBezTo>
                    <a:pt x="211080" y="1434143"/>
                    <a:pt x="211247" y="1434327"/>
                    <a:pt x="211247" y="1434327"/>
                  </a:cubicBezTo>
                  <a:cubicBezTo>
                    <a:pt x="214423" y="1433959"/>
                    <a:pt x="217432" y="1432856"/>
                    <a:pt x="220107" y="1431017"/>
                  </a:cubicBezTo>
                  <a:cubicBezTo>
                    <a:pt x="221278" y="1430281"/>
                    <a:pt x="222281" y="1429362"/>
                    <a:pt x="223283" y="1428258"/>
                  </a:cubicBezTo>
                  <a:cubicBezTo>
                    <a:pt x="224120" y="1427523"/>
                    <a:pt x="224789" y="1426604"/>
                    <a:pt x="225457" y="1425684"/>
                  </a:cubicBezTo>
                  <a:cubicBezTo>
                    <a:pt x="225958" y="1424948"/>
                    <a:pt x="226460" y="1424213"/>
                    <a:pt x="226962" y="1423294"/>
                  </a:cubicBezTo>
                  <a:cubicBezTo>
                    <a:pt x="227463" y="1422374"/>
                    <a:pt x="227965" y="1421454"/>
                    <a:pt x="228466" y="1420351"/>
                  </a:cubicBezTo>
                  <a:cubicBezTo>
                    <a:pt x="228801" y="1419615"/>
                    <a:pt x="228968" y="1419064"/>
                    <a:pt x="229302" y="1418328"/>
                  </a:cubicBezTo>
                  <a:cubicBezTo>
                    <a:pt x="229637" y="1417593"/>
                    <a:pt x="229804" y="1416857"/>
                    <a:pt x="229971" y="1416122"/>
                  </a:cubicBezTo>
                  <a:cubicBezTo>
                    <a:pt x="230305" y="1414834"/>
                    <a:pt x="230472" y="1413547"/>
                    <a:pt x="230807" y="1412260"/>
                  </a:cubicBezTo>
                  <a:cubicBezTo>
                    <a:pt x="230974" y="1411524"/>
                    <a:pt x="230974" y="1410972"/>
                    <a:pt x="230974" y="1410237"/>
                  </a:cubicBezTo>
                  <a:cubicBezTo>
                    <a:pt x="230807" y="1410789"/>
                    <a:pt x="230640" y="1410604"/>
                    <a:pt x="230807" y="1410421"/>
                  </a:cubicBezTo>
                  <a:cubicBezTo>
                    <a:pt x="230807" y="1409133"/>
                    <a:pt x="230807" y="1407846"/>
                    <a:pt x="230807" y="1406559"/>
                  </a:cubicBezTo>
                  <a:cubicBezTo>
                    <a:pt x="230807" y="1406559"/>
                    <a:pt x="230807" y="1406559"/>
                    <a:pt x="230807" y="1406375"/>
                  </a:cubicBezTo>
                  <a:cubicBezTo>
                    <a:pt x="230807" y="1405272"/>
                    <a:pt x="230640" y="1404353"/>
                    <a:pt x="230472" y="1403249"/>
                  </a:cubicBezTo>
                  <a:cubicBezTo>
                    <a:pt x="230138" y="1401962"/>
                    <a:pt x="230138" y="1400674"/>
                    <a:pt x="229637" y="1399571"/>
                  </a:cubicBezTo>
                  <a:cubicBezTo>
                    <a:pt x="229302" y="1398835"/>
                    <a:pt x="229135" y="1398100"/>
                    <a:pt x="228968" y="1397364"/>
                  </a:cubicBezTo>
                  <a:cubicBezTo>
                    <a:pt x="228466" y="1396261"/>
                    <a:pt x="227965" y="1394974"/>
                    <a:pt x="227463" y="1393870"/>
                  </a:cubicBezTo>
                  <a:cubicBezTo>
                    <a:pt x="226962" y="1392951"/>
                    <a:pt x="226460" y="1392215"/>
                    <a:pt x="225958" y="1391296"/>
                  </a:cubicBezTo>
                  <a:cubicBezTo>
                    <a:pt x="225457" y="1390560"/>
                    <a:pt x="224955" y="1389825"/>
                    <a:pt x="224454" y="1389273"/>
                  </a:cubicBezTo>
                  <a:cubicBezTo>
                    <a:pt x="223953" y="1388721"/>
                    <a:pt x="223451" y="1388170"/>
                    <a:pt x="222949" y="1387618"/>
                  </a:cubicBezTo>
                  <a:cubicBezTo>
                    <a:pt x="221946" y="1386698"/>
                    <a:pt x="220943" y="1385779"/>
                    <a:pt x="219773" y="1385044"/>
                  </a:cubicBezTo>
                  <a:cubicBezTo>
                    <a:pt x="218937" y="1384491"/>
                    <a:pt x="217934" y="1383940"/>
                    <a:pt x="217098" y="1383573"/>
                  </a:cubicBezTo>
                  <a:cubicBezTo>
                    <a:pt x="215092" y="1382653"/>
                    <a:pt x="212919" y="1382101"/>
                    <a:pt x="210578" y="1381917"/>
                  </a:cubicBezTo>
                  <a:close/>
                  <a:moveTo>
                    <a:pt x="322795" y="1381917"/>
                  </a:moveTo>
                  <a:cubicBezTo>
                    <a:pt x="319953" y="1381733"/>
                    <a:pt x="317111" y="1382285"/>
                    <a:pt x="314436" y="1383388"/>
                  </a:cubicBezTo>
                  <a:cubicBezTo>
                    <a:pt x="312597" y="1384124"/>
                    <a:pt x="310925" y="1385227"/>
                    <a:pt x="309420" y="1386515"/>
                  </a:cubicBezTo>
                  <a:cubicBezTo>
                    <a:pt x="308585" y="1387250"/>
                    <a:pt x="307916" y="1387986"/>
                    <a:pt x="307080" y="1388721"/>
                  </a:cubicBezTo>
                  <a:cubicBezTo>
                    <a:pt x="306244" y="1389641"/>
                    <a:pt x="305408" y="1390744"/>
                    <a:pt x="304739" y="1391663"/>
                  </a:cubicBezTo>
                  <a:cubicBezTo>
                    <a:pt x="304238" y="1392399"/>
                    <a:pt x="303737" y="1393319"/>
                    <a:pt x="303402" y="1394054"/>
                  </a:cubicBezTo>
                  <a:cubicBezTo>
                    <a:pt x="302733" y="1395158"/>
                    <a:pt x="302232" y="1396445"/>
                    <a:pt x="301898" y="1397732"/>
                  </a:cubicBezTo>
                  <a:cubicBezTo>
                    <a:pt x="301563" y="1398467"/>
                    <a:pt x="301396" y="1399387"/>
                    <a:pt x="301229" y="1400123"/>
                  </a:cubicBezTo>
                  <a:cubicBezTo>
                    <a:pt x="300894" y="1401226"/>
                    <a:pt x="300727" y="1402514"/>
                    <a:pt x="300560" y="1403617"/>
                  </a:cubicBezTo>
                  <a:cubicBezTo>
                    <a:pt x="300058" y="1406927"/>
                    <a:pt x="300058" y="1410237"/>
                    <a:pt x="300727" y="1413363"/>
                  </a:cubicBezTo>
                  <a:cubicBezTo>
                    <a:pt x="300894" y="1414467"/>
                    <a:pt x="301062" y="1415570"/>
                    <a:pt x="301396" y="1416673"/>
                  </a:cubicBezTo>
                  <a:cubicBezTo>
                    <a:pt x="301730" y="1417593"/>
                    <a:pt x="301898" y="1418328"/>
                    <a:pt x="302232" y="1419247"/>
                  </a:cubicBezTo>
                  <a:cubicBezTo>
                    <a:pt x="302566" y="1419799"/>
                    <a:pt x="302733" y="1420351"/>
                    <a:pt x="302901" y="1420903"/>
                  </a:cubicBezTo>
                  <a:cubicBezTo>
                    <a:pt x="303402" y="1422006"/>
                    <a:pt x="303904" y="1422926"/>
                    <a:pt x="304405" y="1423845"/>
                  </a:cubicBezTo>
                  <a:cubicBezTo>
                    <a:pt x="304906" y="1424580"/>
                    <a:pt x="305408" y="1425316"/>
                    <a:pt x="305910" y="1426051"/>
                  </a:cubicBezTo>
                  <a:cubicBezTo>
                    <a:pt x="306578" y="1426971"/>
                    <a:pt x="307414" y="1427891"/>
                    <a:pt x="308250" y="1428626"/>
                  </a:cubicBezTo>
                  <a:cubicBezTo>
                    <a:pt x="308919" y="1429362"/>
                    <a:pt x="309755" y="1429913"/>
                    <a:pt x="310424" y="1430465"/>
                  </a:cubicBezTo>
                  <a:cubicBezTo>
                    <a:pt x="311594" y="1431385"/>
                    <a:pt x="312931" y="1432120"/>
                    <a:pt x="314268" y="1432672"/>
                  </a:cubicBezTo>
                  <a:cubicBezTo>
                    <a:pt x="315940" y="1433408"/>
                    <a:pt x="317779" y="1433959"/>
                    <a:pt x="319618" y="1434143"/>
                  </a:cubicBezTo>
                  <a:cubicBezTo>
                    <a:pt x="319953" y="1434143"/>
                    <a:pt x="320120" y="1434143"/>
                    <a:pt x="320454" y="1434327"/>
                  </a:cubicBezTo>
                  <a:cubicBezTo>
                    <a:pt x="321457" y="1434327"/>
                    <a:pt x="322293" y="1434327"/>
                    <a:pt x="323296" y="1434327"/>
                  </a:cubicBezTo>
                  <a:cubicBezTo>
                    <a:pt x="323296" y="1434143"/>
                    <a:pt x="323464" y="1434327"/>
                    <a:pt x="323464" y="1434327"/>
                  </a:cubicBezTo>
                  <a:cubicBezTo>
                    <a:pt x="326640" y="1433959"/>
                    <a:pt x="329649" y="1432856"/>
                    <a:pt x="332324" y="1431017"/>
                  </a:cubicBezTo>
                  <a:cubicBezTo>
                    <a:pt x="333494" y="1430281"/>
                    <a:pt x="334498" y="1429362"/>
                    <a:pt x="335500" y="1428258"/>
                  </a:cubicBezTo>
                  <a:cubicBezTo>
                    <a:pt x="336337" y="1427523"/>
                    <a:pt x="337005" y="1426604"/>
                    <a:pt x="337674" y="1425684"/>
                  </a:cubicBezTo>
                  <a:cubicBezTo>
                    <a:pt x="338175" y="1424948"/>
                    <a:pt x="338677" y="1424213"/>
                    <a:pt x="339178" y="1423294"/>
                  </a:cubicBezTo>
                  <a:cubicBezTo>
                    <a:pt x="339680" y="1422374"/>
                    <a:pt x="340181" y="1421454"/>
                    <a:pt x="340683" y="1420351"/>
                  </a:cubicBezTo>
                  <a:cubicBezTo>
                    <a:pt x="341017" y="1419615"/>
                    <a:pt x="341185" y="1419064"/>
                    <a:pt x="341519" y="1418328"/>
                  </a:cubicBezTo>
                  <a:cubicBezTo>
                    <a:pt x="341853" y="1417593"/>
                    <a:pt x="342020" y="1416857"/>
                    <a:pt x="342188" y="1416122"/>
                  </a:cubicBezTo>
                  <a:cubicBezTo>
                    <a:pt x="342522" y="1414834"/>
                    <a:pt x="342689" y="1413547"/>
                    <a:pt x="343024" y="1412260"/>
                  </a:cubicBezTo>
                  <a:cubicBezTo>
                    <a:pt x="343190" y="1411524"/>
                    <a:pt x="343190" y="1410972"/>
                    <a:pt x="343190" y="1410237"/>
                  </a:cubicBezTo>
                  <a:cubicBezTo>
                    <a:pt x="343024" y="1410789"/>
                    <a:pt x="342856" y="1410604"/>
                    <a:pt x="343024" y="1410421"/>
                  </a:cubicBezTo>
                  <a:cubicBezTo>
                    <a:pt x="343024" y="1409133"/>
                    <a:pt x="343024" y="1407846"/>
                    <a:pt x="343024" y="1406559"/>
                  </a:cubicBezTo>
                  <a:cubicBezTo>
                    <a:pt x="343024" y="1406559"/>
                    <a:pt x="343024" y="1406559"/>
                    <a:pt x="343024" y="1406375"/>
                  </a:cubicBezTo>
                  <a:cubicBezTo>
                    <a:pt x="343024" y="1405272"/>
                    <a:pt x="342856" y="1404353"/>
                    <a:pt x="342689" y="1403249"/>
                  </a:cubicBezTo>
                  <a:cubicBezTo>
                    <a:pt x="342354" y="1401962"/>
                    <a:pt x="342354" y="1400674"/>
                    <a:pt x="341853" y="1399571"/>
                  </a:cubicBezTo>
                  <a:cubicBezTo>
                    <a:pt x="341519" y="1398835"/>
                    <a:pt x="341352" y="1398100"/>
                    <a:pt x="341185" y="1397364"/>
                  </a:cubicBezTo>
                  <a:cubicBezTo>
                    <a:pt x="340683" y="1396261"/>
                    <a:pt x="340181" y="1394974"/>
                    <a:pt x="339680" y="1393870"/>
                  </a:cubicBezTo>
                  <a:cubicBezTo>
                    <a:pt x="339178" y="1392951"/>
                    <a:pt x="338677" y="1392215"/>
                    <a:pt x="338175" y="1391296"/>
                  </a:cubicBezTo>
                  <a:cubicBezTo>
                    <a:pt x="337674" y="1390560"/>
                    <a:pt x="337172" y="1389825"/>
                    <a:pt x="336671" y="1389273"/>
                  </a:cubicBezTo>
                  <a:cubicBezTo>
                    <a:pt x="336169" y="1388721"/>
                    <a:pt x="335667" y="1388170"/>
                    <a:pt x="335166" y="1387618"/>
                  </a:cubicBezTo>
                  <a:cubicBezTo>
                    <a:pt x="334163" y="1386698"/>
                    <a:pt x="333160" y="1385779"/>
                    <a:pt x="331990" y="1385044"/>
                  </a:cubicBezTo>
                  <a:cubicBezTo>
                    <a:pt x="331153" y="1384491"/>
                    <a:pt x="330151" y="1383940"/>
                    <a:pt x="329315" y="1383573"/>
                  </a:cubicBezTo>
                  <a:cubicBezTo>
                    <a:pt x="327309" y="1382653"/>
                    <a:pt x="325136" y="1382101"/>
                    <a:pt x="322795" y="1381917"/>
                  </a:cubicBezTo>
                  <a:close/>
                  <a:moveTo>
                    <a:pt x="435011" y="1381917"/>
                  </a:moveTo>
                  <a:cubicBezTo>
                    <a:pt x="432170" y="1381733"/>
                    <a:pt x="429327" y="1382285"/>
                    <a:pt x="426652" y="1383388"/>
                  </a:cubicBezTo>
                  <a:cubicBezTo>
                    <a:pt x="424813" y="1384124"/>
                    <a:pt x="423142" y="1385227"/>
                    <a:pt x="421637" y="1386515"/>
                  </a:cubicBezTo>
                  <a:cubicBezTo>
                    <a:pt x="420801" y="1387250"/>
                    <a:pt x="420133" y="1387986"/>
                    <a:pt x="419297" y="1388721"/>
                  </a:cubicBezTo>
                  <a:cubicBezTo>
                    <a:pt x="418461" y="1389641"/>
                    <a:pt x="417625" y="1390744"/>
                    <a:pt x="416956" y="1391663"/>
                  </a:cubicBezTo>
                  <a:cubicBezTo>
                    <a:pt x="416455" y="1392399"/>
                    <a:pt x="415953" y="1393319"/>
                    <a:pt x="415619" y="1394054"/>
                  </a:cubicBezTo>
                  <a:cubicBezTo>
                    <a:pt x="414950" y="1395158"/>
                    <a:pt x="414449" y="1396445"/>
                    <a:pt x="414114" y="1397732"/>
                  </a:cubicBezTo>
                  <a:cubicBezTo>
                    <a:pt x="413780" y="1398467"/>
                    <a:pt x="413612" y="1399387"/>
                    <a:pt x="413446" y="1400123"/>
                  </a:cubicBezTo>
                  <a:cubicBezTo>
                    <a:pt x="413111" y="1401226"/>
                    <a:pt x="412944" y="1402514"/>
                    <a:pt x="412777" y="1403617"/>
                  </a:cubicBezTo>
                  <a:cubicBezTo>
                    <a:pt x="412275" y="1406927"/>
                    <a:pt x="412275" y="1410237"/>
                    <a:pt x="412944" y="1413363"/>
                  </a:cubicBezTo>
                  <a:cubicBezTo>
                    <a:pt x="413111" y="1414467"/>
                    <a:pt x="413278" y="1415570"/>
                    <a:pt x="413612" y="1416673"/>
                  </a:cubicBezTo>
                  <a:cubicBezTo>
                    <a:pt x="413947" y="1417593"/>
                    <a:pt x="414114" y="1418328"/>
                    <a:pt x="414449" y="1419247"/>
                  </a:cubicBezTo>
                  <a:cubicBezTo>
                    <a:pt x="414783" y="1419799"/>
                    <a:pt x="414950" y="1420351"/>
                    <a:pt x="415117" y="1420903"/>
                  </a:cubicBezTo>
                  <a:cubicBezTo>
                    <a:pt x="415619" y="1422006"/>
                    <a:pt x="416121" y="1422926"/>
                    <a:pt x="416622" y="1423845"/>
                  </a:cubicBezTo>
                  <a:cubicBezTo>
                    <a:pt x="417123" y="1424580"/>
                    <a:pt x="417625" y="1425316"/>
                    <a:pt x="418126" y="1426051"/>
                  </a:cubicBezTo>
                  <a:cubicBezTo>
                    <a:pt x="418795" y="1426971"/>
                    <a:pt x="419631" y="1427891"/>
                    <a:pt x="420467" y="1428626"/>
                  </a:cubicBezTo>
                  <a:cubicBezTo>
                    <a:pt x="421136" y="1429362"/>
                    <a:pt x="421972" y="1429913"/>
                    <a:pt x="422640" y="1430465"/>
                  </a:cubicBezTo>
                  <a:cubicBezTo>
                    <a:pt x="423811" y="1431385"/>
                    <a:pt x="425148" y="1432120"/>
                    <a:pt x="426485" y="1432672"/>
                  </a:cubicBezTo>
                  <a:cubicBezTo>
                    <a:pt x="428157" y="1433408"/>
                    <a:pt x="429996" y="1433959"/>
                    <a:pt x="431835" y="1434143"/>
                  </a:cubicBezTo>
                  <a:cubicBezTo>
                    <a:pt x="432170" y="1434143"/>
                    <a:pt x="432336" y="1434143"/>
                    <a:pt x="432671" y="1434327"/>
                  </a:cubicBezTo>
                  <a:cubicBezTo>
                    <a:pt x="433674" y="1434327"/>
                    <a:pt x="434510" y="1434327"/>
                    <a:pt x="435513" y="1434327"/>
                  </a:cubicBezTo>
                  <a:cubicBezTo>
                    <a:pt x="435513" y="1434143"/>
                    <a:pt x="435680" y="1434327"/>
                    <a:pt x="435680" y="1434327"/>
                  </a:cubicBezTo>
                  <a:cubicBezTo>
                    <a:pt x="438857" y="1433959"/>
                    <a:pt x="441866" y="1432856"/>
                    <a:pt x="444540" y="1431017"/>
                  </a:cubicBezTo>
                  <a:cubicBezTo>
                    <a:pt x="445711" y="1430281"/>
                    <a:pt x="446714" y="1429362"/>
                    <a:pt x="447717" y="1428258"/>
                  </a:cubicBezTo>
                  <a:cubicBezTo>
                    <a:pt x="448553" y="1427523"/>
                    <a:pt x="449222" y="1426604"/>
                    <a:pt x="449890" y="1425684"/>
                  </a:cubicBezTo>
                  <a:cubicBezTo>
                    <a:pt x="450392" y="1424948"/>
                    <a:pt x="450894" y="1424213"/>
                    <a:pt x="451395" y="1423294"/>
                  </a:cubicBezTo>
                  <a:cubicBezTo>
                    <a:pt x="451897" y="1422374"/>
                    <a:pt x="452398" y="1421454"/>
                    <a:pt x="452899" y="1420351"/>
                  </a:cubicBezTo>
                  <a:cubicBezTo>
                    <a:pt x="453234" y="1419615"/>
                    <a:pt x="453401" y="1419064"/>
                    <a:pt x="453735" y="1418328"/>
                  </a:cubicBezTo>
                  <a:cubicBezTo>
                    <a:pt x="454070" y="1417593"/>
                    <a:pt x="454237" y="1416857"/>
                    <a:pt x="454404" y="1416122"/>
                  </a:cubicBezTo>
                  <a:cubicBezTo>
                    <a:pt x="454738" y="1414834"/>
                    <a:pt x="454906" y="1413547"/>
                    <a:pt x="455240" y="1412260"/>
                  </a:cubicBezTo>
                  <a:cubicBezTo>
                    <a:pt x="455407" y="1411524"/>
                    <a:pt x="455407" y="1410972"/>
                    <a:pt x="455407" y="1410237"/>
                  </a:cubicBezTo>
                  <a:cubicBezTo>
                    <a:pt x="455240" y="1410789"/>
                    <a:pt x="455073" y="1410604"/>
                    <a:pt x="455240" y="1410421"/>
                  </a:cubicBezTo>
                  <a:cubicBezTo>
                    <a:pt x="455240" y="1409133"/>
                    <a:pt x="455240" y="1407846"/>
                    <a:pt x="455240" y="1406559"/>
                  </a:cubicBezTo>
                  <a:cubicBezTo>
                    <a:pt x="455240" y="1406559"/>
                    <a:pt x="455240" y="1406559"/>
                    <a:pt x="455240" y="1406375"/>
                  </a:cubicBezTo>
                  <a:cubicBezTo>
                    <a:pt x="455240" y="1405272"/>
                    <a:pt x="455073" y="1404353"/>
                    <a:pt x="454906" y="1403249"/>
                  </a:cubicBezTo>
                  <a:cubicBezTo>
                    <a:pt x="454571" y="1401962"/>
                    <a:pt x="454571" y="1400674"/>
                    <a:pt x="454070" y="1399571"/>
                  </a:cubicBezTo>
                  <a:cubicBezTo>
                    <a:pt x="453735" y="1398835"/>
                    <a:pt x="453569" y="1398100"/>
                    <a:pt x="453401" y="1397364"/>
                  </a:cubicBezTo>
                  <a:cubicBezTo>
                    <a:pt x="452899" y="1396261"/>
                    <a:pt x="452398" y="1394974"/>
                    <a:pt x="451897" y="1393870"/>
                  </a:cubicBezTo>
                  <a:cubicBezTo>
                    <a:pt x="451395" y="1392951"/>
                    <a:pt x="450894" y="1392215"/>
                    <a:pt x="450392" y="1391296"/>
                  </a:cubicBezTo>
                  <a:cubicBezTo>
                    <a:pt x="449890" y="1390560"/>
                    <a:pt x="449388" y="1389825"/>
                    <a:pt x="448887" y="1389273"/>
                  </a:cubicBezTo>
                  <a:cubicBezTo>
                    <a:pt x="448386" y="1388721"/>
                    <a:pt x="447884" y="1388170"/>
                    <a:pt x="447383" y="1387618"/>
                  </a:cubicBezTo>
                  <a:cubicBezTo>
                    <a:pt x="446380" y="1386698"/>
                    <a:pt x="445376" y="1385779"/>
                    <a:pt x="444207" y="1385044"/>
                  </a:cubicBezTo>
                  <a:cubicBezTo>
                    <a:pt x="443370" y="1384491"/>
                    <a:pt x="442367" y="1383940"/>
                    <a:pt x="441532" y="1383573"/>
                  </a:cubicBezTo>
                  <a:cubicBezTo>
                    <a:pt x="439525" y="1382653"/>
                    <a:pt x="437352" y="1382101"/>
                    <a:pt x="435011" y="1381917"/>
                  </a:cubicBezTo>
                  <a:close/>
                  <a:moveTo>
                    <a:pt x="883729" y="1381917"/>
                  </a:moveTo>
                  <a:cubicBezTo>
                    <a:pt x="880887" y="1381733"/>
                    <a:pt x="878045" y="1382285"/>
                    <a:pt x="875370" y="1383388"/>
                  </a:cubicBezTo>
                  <a:cubicBezTo>
                    <a:pt x="873531" y="1384124"/>
                    <a:pt x="871859" y="1385227"/>
                    <a:pt x="870355" y="1386515"/>
                  </a:cubicBezTo>
                  <a:cubicBezTo>
                    <a:pt x="869519" y="1387250"/>
                    <a:pt x="868850" y="1387986"/>
                    <a:pt x="868014" y="1388721"/>
                  </a:cubicBezTo>
                  <a:cubicBezTo>
                    <a:pt x="867178" y="1389641"/>
                    <a:pt x="866343" y="1390744"/>
                    <a:pt x="865674" y="1391663"/>
                  </a:cubicBezTo>
                  <a:cubicBezTo>
                    <a:pt x="865172" y="1392399"/>
                    <a:pt x="864671" y="1393319"/>
                    <a:pt x="864336" y="1394054"/>
                  </a:cubicBezTo>
                  <a:cubicBezTo>
                    <a:pt x="863668" y="1395158"/>
                    <a:pt x="863166" y="1396445"/>
                    <a:pt x="862832" y="1397732"/>
                  </a:cubicBezTo>
                  <a:cubicBezTo>
                    <a:pt x="862497" y="1398467"/>
                    <a:pt x="862330" y="1399387"/>
                    <a:pt x="862163" y="1400123"/>
                  </a:cubicBezTo>
                  <a:cubicBezTo>
                    <a:pt x="861829" y="1401226"/>
                    <a:pt x="861661" y="1402514"/>
                    <a:pt x="861495" y="1403617"/>
                  </a:cubicBezTo>
                  <a:cubicBezTo>
                    <a:pt x="860993" y="1406927"/>
                    <a:pt x="860993" y="1410237"/>
                    <a:pt x="861661" y="1413363"/>
                  </a:cubicBezTo>
                  <a:cubicBezTo>
                    <a:pt x="861829" y="1414467"/>
                    <a:pt x="861996" y="1415570"/>
                    <a:pt x="862330" y="1416673"/>
                  </a:cubicBezTo>
                  <a:cubicBezTo>
                    <a:pt x="862664" y="1417593"/>
                    <a:pt x="862832" y="1418328"/>
                    <a:pt x="863166" y="1419247"/>
                  </a:cubicBezTo>
                  <a:cubicBezTo>
                    <a:pt x="863500" y="1419799"/>
                    <a:pt x="863668" y="1420351"/>
                    <a:pt x="863835" y="1420903"/>
                  </a:cubicBezTo>
                  <a:cubicBezTo>
                    <a:pt x="864336" y="1422006"/>
                    <a:pt x="864838" y="1422926"/>
                    <a:pt x="865339" y="1423845"/>
                  </a:cubicBezTo>
                  <a:cubicBezTo>
                    <a:pt x="865841" y="1424580"/>
                    <a:pt x="866343" y="1425316"/>
                    <a:pt x="866844" y="1426051"/>
                  </a:cubicBezTo>
                  <a:cubicBezTo>
                    <a:pt x="867512" y="1426971"/>
                    <a:pt x="868348" y="1427891"/>
                    <a:pt x="869185" y="1428626"/>
                  </a:cubicBezTo>
                  <a:cubicBezTo>
                    <a:pt x="869853" y="1429362"/>
                    <a:pt x="870689" y="1429913"/>
                    <a:pt x="871358" y="1430465"/>
                  </a:cubicBezTo>
                  <a:cubicBezTo>
                    <a:pt x="872528" y="1431385"/>
                    <a:pt x="873866" y="1432120"/>
                    <a:pt x="875203" y="1432672"/>
                  </a:cubicBezTo>
                  <a:cubicBezTo>
                    <a:pt x="876874" y="1433408"/>
                    <a:pt x="878713" y="1433959"/>
                    <a:pt x="880553" y="1434143"/>
                  </a:cubicBezTo>
                  <a:cubicBezTo>
                    <a:pt x="880887" y="1434143"/>
                    <a:pt x="881054" y="1434143"/>
                    <a:pt x="881388" y="1434327"/>
                  </a:cubicBezTo>
                  <a:cubicBezTo>
                    <a:pt x="882392" y="1434327"/>
                    <a:pt x="883228" y="1434327"/>
                    <a:pt x="884231" y="1434327"/>
                  </a:cubicBezTo>
                  <a:cubicBezTo>
                    <a:pt x="884231" y="1434143"/>
                    <a:pt x="884397" y="1434327"/>
                    <a:pt x="884397" y="1434327"/>
                  </a:cubicBezTo>
                  <a:cubicBezTo>
                    <a:pt x="887574" y="1433959"/>
                    <a:pt x="890583" y="1432856"/>
                    <a:pt x="893258" y="1431017"/>
                  </a:cubicBezTo>
                  <a:cubicBezTo>
                    <a:pt x="894429" y="1430281"/>
                    <a:pt x="895432" y="1429362"/>
                    <a:pt x="896434" y="1428258"/>
                  </a:cubicBezTo>
                  <a:cubicBezTo>
                    <a:pt x="897271" y="1427523"/>
                    <a:pt x="897939" y="1426604"/>
                    <a:pt x="898608" y="1425684"/>
                  </a:cubicBezTo>
                  <a:cubicBezTo>
                    <a:pt x="899109" y="1424948"/>
                    <a:pt x="899611" y="1424213"/>
                    <a:pt x="900112" y="1423294"/>
                  </a:cubicBezTo>
                  <a:cubicBezTo>
                    <a:pt x="900614" y="1422374"/>
                    <a:pt x="901116" y="1421454"/>
                    <a:pt x="901617" y="1420351"/>
                  </a:cubicBezTo>
                  <a:cubicBezTo>
                    <a:pt x="901951" y="1419615"/>
                    <a:pt x="902119" y="1419064"/>
                    <a:pt x="902453" y="1418328"/>
                  </a:cubicBezTo>
                  <a:cubicBezTo>
                    <a:pt x="902787" y="1417593"/>
                    <a:pt x="902955" y="1416857"/>
                    <a:pt x="903122" y="1416122"/>
                  </a:cubicBezTo>
                  <a:cubicBezTo>
                    <a:pt x="903456" y="1414834"/>
                    <a:pt x="903623" y="1413547"/>
                    <a:pt x="903958" y="1412260"/>
                  </a:cubicBezTo>
                  <a:cubicBezTo>
                    <a:pt x="904125" y="1411524"/>
                    <a:pt x="904125" y="1410972"/>
                    <a:pt x="904125" y="1410237"/>
                  </a:cubicBezTo>
                  <a:cubicBezTo>
                    <a:pt x="903958" y="1410789"/>
                    <a:pt x="903791" y="1410604"/>
                    <a:pt x="903958" y="1410421"/>
                  </a:cubicBezTo>
                  <a:cubicBezTo>
                    <a:pt x="903958" y="1409133"/>
                    <a:pt x="903958" y="1407846"/>
                    <a:pt x="903958" y="1406559"/>
                  </a:cubicBezTo>
                  <a:cubicBezTo>
                    <a:pt x="903958" y="1406559"/>
                    <a:pt x="903958" y="1406559"/>
                    <a:pt x="903958" y="1406375"/>
                  </a:cubicBezTo>
                  <a:cubicBezTo>
                    <a:pt x="903958" y="1405272"/>
                    <a:pt x="903791" y="1404353"/>
                    <a:pt x="903623" y="1403249"/>
                  </a:cubicBezTo>
                  <a:cubicBezTo>
                    <a:pt x="903289" y="1401962"/>
                    <a:pt x="903289" y="1400674"/>
                    <a:pt x="902787" y="1399571"/>
                  </a:cubicBezTo>
                  <a:cubicBezTo>
                    <a:pt x="902453" y="1398835"/>
                    <a:pt x="902286" y="1398100"/>
                    <a:pt x="902119" y="1397364"/>
                  </a:cubicBezTo>
                  <a:cubicBezTo>
                    <a:pt x="901617" y="1396261"/>
                    <a:pt x="901116" y="1394974"/>
                    <a:pt x="900614" y="1393870"/>
                  </a:cubicBezTo>
                  <a:cubicBezTo>
                    <a:pt x="900112" y="1392951"/>
                    <a:pt x="899611" y="1392215"/>
                    <a:pt x="899109" y="1391296"/>
                  </a:cubicBezTo>
                  <a:cubicBezTo>
                    <a:pt x="898608" y="1390560"/>
                    <a:pt x="898106" y="1389825"/>
                    <a:pt x="897605" y="1389273"/>
                  </a:cubicBezTo>
                  <a:cubicBezTo>
                    <a:pt x="897104" y="1388721"/>
                    <a:pt x="896602" y="1388170"/>
                    <a:pt x="896100" y="1387618"/>
                  </a:cubicBezTo>
                  <a:cubicBezTo>
                    <a:pt x="895097" y="1386698"/>
                    <a:pt x="894094" y="1385779"/>
                    <a:pt x="892924" y="1385044"/>
                  </a:cubicBezTo>
                  <a:cubicBezTo>
                    <a:pt x="892088" y="1384491"/>
                    <a:pt x="891085" y="1383940"/>
                    <a:pt x="890249" y="1383573"/>
                  </a:cubicBezTo>
                  <a:cubicBezTo>
                    <a:pt x="888243" y="1382653"/>
                    <a:pt x="886070" y="1382101"/>
                    <a:pt x="883729" y="1381917"/>
                  </a:cubicBezTo>
                  <a:close/>
                  <a:moveTo>
                    <a:pt x="995945" y="1381917"/>
                  </a:moveTo>
                  <a:cubicBezTo>
                    <a:pt x="993104" y="1381733"/>
                    <a:pt x="990262" y="1382285"/>
                    <a:pt x="987587" y="1383388"/>
                  </a:cubicBezTo>
                  <a:cubicBezTo>
                    <a:pt x="985748" y="1384124"/>
                    <a:pt x="984076" y="1385227"/>
                    <a:pt x="982571" y="1386515"/>
                  </a:cubicBezTo>
                  <a:cubicBezTo>
                    <a:pt x="981735" y="1387250"/>
                    <a:pt x="981067" y="1387986"/>
                    <a:pt x="980231" y="1388721"/>
                  </a:cubicBezTo>
                  <a:cubicBezTo>
                    <a:pt x="979395" y="1389641"/>
                    <a:pt x="978559" y="1390744"/>
                    <a:pt x="977891" y="1391663"/>
                  </a:cubicBezTo>
                  <a:cubicBezTo>
                    <a:pt x="977389" y="1392399"/>
                    <a:pt x="976887" y="1393319"/>
                    <a:pt x="976553" y="1394054"/>
                  </a:cubicBezTo>
                  <a:cubicBezTo>
                    <a:pt x="975884" y="1395158"/>
                    <a:pt x="975383" y="1396445"/>
                    <a:pt x="975048" y="1397732"/>
                  </a:cubicBezTo>
                  <a:cubicBezTo>
                    <a:pt x="974714" y="1398467"/>
                    <a:pt x="974546" y="1399387"/>
                    <a:pt x="974380" y="1400123"/>
                  </a:cubicBezTo>
                  <a:cubicBezTo>
                    <a:pt x="974045" y="1401226"/>
                    <a:pt x="973878" y="1402514"/>
                    <a:pt x="973711" y="1403617"/>
                  </a:cubicBezTo>
                  <a:cubicBezTo>
                    <a:pt x="973209" y="1406927"/>
                    <a:pt x="973209" y="1410237"/>
                    <a:pt x="973878" y="1413363"/>
                  </a:cubicBezTo>
                  <a:cubicBezTo>
                    <a:pt x="974045" y="1414467"/>
                    <a:pt x="974213" y="1415570"/>
                    <a:pt x="974546" y="1416673"/>
                  </a:cubicBezTo>
                  <a:cubicBezTo>
                    <a:pt x="974881" y="1417593"/>
                    <a:pt x="975048" y="1418328"/>
                    <a:pt x="975383" y="1419247"/>
                  </a:cubicBezTo>
                  <a:cubicBezTo>
                    <a:pt x="975717" y="1419799"/>
                    <a:pt x="975884" y="1420351"/>
                    <a:pt x="976052" y="1420903"/>
                  </a:cubicBezTo>
                  <a:cubicBezTo>
                    <a:pt x="976553" y="1422006"/>
                    <a:pt x="977055" y="1422926"/>
                    <a:pt x="977556" y="1423845"/>
                  </a:cubicBezTo>
                  <a:cubicBezTo>
                    <a:pt x="978057" y="1424580"/>
                    <a:pt x="978559" y="1425316"/>
                    <a:pt x="979061" y="1426051"/>
                  </a:cubicBezTo>
                  <a:cubicBezTo>
                    <a:pt x="979729" y="1426971"/>
                    <a:pt x="980565" y="1427891"/>
                    <a:pt x="981402" y="1428626"/>
                  </a:cubicBezTo>
                  <a:cubicBezTo>
                    <a:pt x="982070" y="1429362"/>
                    <a:pt x="982906" y="1429913"/>
                    <a:pt x="983575" y="1430465"/>
                  </a:cubicBezTo>
                  <a:cubicBezTo>
                    <a:pt x="984745" y="1431385"/>
                    <a:pt x="986082" y="1432120"/>
                    <a:pt x="987420" y="1432672"/>
                  </a:cubicBezTo>
                  <a:cubicBezTo>
                    <a:pt x="989091" y="1433408"/>
                    <a:pt x="990930" y="1433959"/>
                    <a:pt x="992769" y="1434143"/>
                  </a:cubicBezTo>
                  <a:cubicBezTo>
                    <a:pt x="993104" y="1434143"/>
                    <a:pt x="993270" y="1434143"/>
                    <a:pt x="993605" y="1434327"/>
                  </a:cubicBezTo>
                  <a:cubicBezTo>
                    <a:pt x="994608" y="1434327"/>
                    <a:pt x="995444" y="1434327"/>
                    <a:pt x="996447" y="1434327"/>
                  </a:cubicBezTo>
                  <a:cubicBezTo>
                    <a:pt x="996447" y="1434143"/>
                    <a:pt x="996615" y="1434327"/>
                    <a:pt x="996615" y="1434327"/>
                  </a:cubicBezTo>
                  <a:cubicBezTo>
                    <a:pt x="999791" y="1433959"/>
                    <a:pt x="1002800" y="1432856"/>
                    <a:pt x="1005475" y="1431017"/>
                  </a:cubicBezTo>
                  <a:cubicBezTo>
                    <a:pt x="1006645" y="1430281"/>
                    <a:pt x="1007648" y="1429362"/>
                    <a:pt x="1008651" y="1428258"/>
                  </a:cubicBezTo>
                  <a:cubicBezTo>
                    <a:pt x="1009487" y="1427523"/>
                    <a:pt x="1010156" y="1426604"/>
                    <a:pt x="1010825" y="1425684"/>
                  </a:cubicBezTo>
                  <a:cubicBezTo>
                    <a:pt x="1011326" y="1424948"/>
                    <a:pt x="1011828" y="1424213"/>
                    <a:pt x="1012329" y="1423294"/>
                  </a:cubicBezTo>
                  <a:cubicBezTo>
                    <a:pt x="1012831" y="1422374"/>
                    <a:pt x="1013332" y="1421454"/>
                    <a:pt x="1013834" y="1420351"/>
                  </a:cubicBezTo>
                  <a:cubicBezTo>
                    <a:pt x="1014168" y="1419615"/>
                    <a:pt x="1014335" y="1419064"/>
                    <a:pt x="1014669" y="1418328"/>
                  </a:cubicBezTo>
                  <a:cubicBezTo>
                    <a:pt x="1015004" y="1417593"/>
                    <a:pt x="1015171" y="1416857"/>
                    <a:pt x="1015339" y="1416122"/>
                  </a:cubicBezTo>
                  <a:cubicBezTo>
                    <a:pt x="1015673" y="1414834"/>
                    <a:pt x="1015840" y="1413547"/>
                    <a:pt x="1016175" y="1412260"/>
                  </a:cubicBezTo>
                  <a:cubicBezTo>
                    <a:pt x="1016341" y="1411524"/>
                    <a:pt x="1016341" y="1410972"/>
                    <a:pt x="1016341" y="1410237"/>
                  </a:cubicBezTo>
                  <a:cubicBezTo>
                    <a:pt x="1016175" y="1410789"/>
                    <a:pt x="1016007" y="1410604"/>
                    <a:pt x="1016175" y="1410421"/>
                  </a:cubicBezTo>
                  <a:cubicBezTo>
                    <a:pt x="1016175" y="1409133"/>
                    <a:pt x="1016175" y="1407846"/>
                    <a:pt x="1016175" y="1406559"/>
                  </a:cubicBezTo>
                  <a:cubicBezTo>
                    <a:pt x="1016175" y="1406559"/>
                    <a:pt x="1016175" y="1406559"/>
                    <a:pt x="1016175" y="1406375"/>
                  </a:cubicBezTo>
                  <a:cubicBezTo>
                    <a:pt x="1016175" y="1405272"/>
                    <a:pt x="1016007" y="1404353"/>
                    <a:pt x="1015840" y="1403249"/>
                  </a:cubicBezTo>
                  <a:cubicBezTo>
                    <a:pt x="1015505" y="1401962"/>
                    <a:pt x="1015505" y="1400674"/>
                    <a:pt x="1015004" y="1399571"/>
                  </a:cubicBezTo>
                  <a:cubicBezTo>
                    <a:pt x="1014669" y="1398835"/>
                    <a:pt x="1014503" y="1398100"/>
                    <a:pt x="1014335" y="1397364"/>
                  </a:cubicBezTo>
                  <a:cubicBezTo>
                    <a:pt x="1013834" y="1396261"/>
                    <a:pt x="1013332" y="1394974"/>
                    <a:pt x="1012831" y="1393870"/>
                  </a:cubicBezTo>
                  <a:cubicBezTo>
                    <a:pt x="1012329" y="1392951"/>
                    <a:pt x="1011828" y="1392215"/>
                    <a:pt x="1011326" y="1391296"/>
                  </a:cubicBezTo>
                  <a:cubicBezTo>
                    <a:pt x="1010825" y="1390560"/>
                    <a:pt x="1010323" y="1389825"/>
                    <a:pt x="1009821" y="1389273"/>
                  </a:cubicBezTo>
                  <a:cubicBezTo>
                    <a:pt x="1009320" y="1388721"/>
                    <a:pt x="1008818" y="1388170"/>
                    <a:pt x="1008317" y="1387618"/>
                  </a:cubicBezTo>
                  <a:cubicBezTo>
                    <a:pt x="1007314" y="1386698"/>
                    <a:pt x="1006311" y="1385779"/>
                    <a:pt x="1005141" y="1385044"/>
                  </a:cubicBezTo>
                  <a:cubicBezTo>
                    <a:pt x="1004305" y="1384491"/>
                    <a:pt x="1003302" y="1383940"/>
                    <a:pt x="1002466" y="1383573"/>
                  </a:cubicBezTo>
                  <a:cubicBezTo>
                    <a:pt x="1000459" y="1382653"/>
                    <a:pt x="998286" y="1382101"/>
                    <a:pt x="995945" y="1381917"/>
                  </a:cubicBezTo>
                  <a:close/>
                  <a:moveTo>
                    <a:pt x="1108162" y="1381917"/>
                  </a:moveTo>
                  <a:cubicBezTo>
                    <a:pt x="1105320" y="1381733"/>
                    <a:pt x="1102478" y="1382285"/>
                    <a:pt x="1099803" y="1383388"/>
                  </a:cubicBezTo>
                  <a:cubicBezTo>
                    <a:pt x="1097964" y="1384124"/>
                    <a:pt x="1096292" y="1385227"/>
                    <a:pt x="1094788" y="1386515"/>
                  </a:cubicBezTo>
                  <a:cubicBezTo>
                    <a:pt x="1093952" y="1387250"/>
                    <a:pt x="1093284" y="1387986"/>
                    <a:pt x="1092448" y="1388721"/>
                  </a:cubicBezTo>
                  <a:cubicBezTo>
                    <a:pt x="1091612" y="1389641"/>
                    <a:pt x="1090776" y="1390744"/>
                    <a:pt x="1090107" y="1391663"/>
                  </a:cubicBezTo>
                  <a:cubicBezTo>
                    <a:pt x="1089605" y="1392399"/>
                    <a:pt x="1089104" y="1393319"/>
                    <a:pt x="1088769" y="1394054"/>
                  </a:cubicBezTo>
                  <a:cubicBezTo>
                    <a:pt x="1088101" y="1395158"/>
                    <a:pt x="1087600" y="1396445"/>
                    <a:pt x="1087265" y="1397732"/>
                  </a:cubicBezTo>
                  <a:cubicBezTo>
                    <a:pt x="1086930" y="1398467"/>
                    <a:pt x="1086763" y="1399387"/>
                    <a:pt x="1086596" y="1400123"/>
                  </a:cubicBezTo>
                  <a:cubicBezTo>
                    <a:pt x="1086262" y="1401226"/>
                    <a:pt x="1086095" y="1402514"/>
                    <a:pt x="1085928" y="1403617"/>
                  </a:cubicBezTo>
                  <a:cubicBezTo>
                    <a:pt x="1085426" y="1406927"/>
                    <a:pt x="1085426" y="1410237"/>
                    <a:pt x="1086095" y="1413363"/>
                  </a:cubicBezTo>
                  <a:cubicBezTo>
                    <a:pt x="1086262" y="1414467"/>
                    <a:pt x="1086429" y="1415570"/>
                    <a:pt x="1086763" y="1416673"/>
                  </a:cubicBezTo>
                  <a:cubicBezTo>
                    <a:pt x="1087098" y="1417593"/>
                    <a:pt x="1087265" y="1418328"/>
                    <a:pt x="1087600" y="1419247"/>
                  </a:cubicBezTo>
                  <a:cubicBezTo>
                    <a:pt x="1087934" y="1419799"/>
                    <a:pt x="1088101" y="1420351"/>
                    <a:pt x="1088268" y="1420903"/>
                  </a:cubicBezTo>
                  <a:cubicBezTo>
                    <a:pt x="1088769" y="1422006"/>
                    <a:pt x="1089271" y="1422926"/>
                    <a:pt x="1089773" y="1423845"/>
                  </a:cubicBezTo>
                  <a:cubicBezTo>
                    <a:pt x="1090274" y="1424580"/>
                    <a:pt x="1090776" y="1425316"/>
                    <a:pt x="1091277" y="1426051"/>
                  </a:cubicBezTo>
                  <a:cubicBezTo>
                    <a:pt x="1091946" y="1426971"/>
                    <a:pt x="1092782" y="1427891"/>
                    <a:pt x="1093618" y="1428626"/>
                  </a:cubicBezTo>
                  <a:cubicBezTo>
                    <a:pt x="1094287" y="1429362"/>
                    <a:pt x="1095123" y="1429913"/>
                    <a:pt x="1095791" y="1430465"/>
                  </a:cubicBezTo>
                  <a:cubicBezTo>
                    <a:pt x="1096962" y="1431385"/>
                    <a:pt x="1098299" y="1432120"/>
                    <a:pt x="1099636" y="1432672"/>
                  </a:cubicBezTo>
                  <a:cubicBezTo>
                    <a:pt x="1101308" y="1433408"/>
                    <a:pt x="1103147" y="1433959"/>
                    <a:pt x="1104986" y="1434143"/>
                  </a:cubicBezTo>
                  <a:cubicBezTo>
                    <a:pt x="1105320" y="1434143"/>
                    <a:pt x="1105487" y="1434143"/>
                    <a:pt x="1105822" y="1434327"/>
                  </a:cubicBezTo>
                  <a:cubicBezTo>
                    <a:pt x="1106825" y="1434327"/>
                    <a:pt x="1107661" y="1434327"/>
                    <a:pt x="1108664" y="1434327"/>
                  </a:cubicBezTo>
                  <a:cubicBezTo>
                    <a:pt x="1108664" y="1434143"/>
                    <a:pt x="1108831" y="1434327"/>
                    <a:pt x="1108831" y="1434327"/>
                  </a:cubicBezTo>
                  <a:cubicBezTo>
                    <a:pt x="1112007" y="1433959"/>
                    <a:pt x="1115016" y="1432856"/>
                    <a:pt x="1117691" y="1431017"/>
                  </a:cubicBezTo>
                  <a:cubicBezTo>
                    <a:pt x="1118862" y="1430281"/>
                    <a:pt x="1119865" y="1429362"/>
                    <a:pt x="1120868" y="1428258"/>
                  </a:cubicBezTo>
                  <a:cubicBezTo>
                    <a:pt x="1121704" y="1427523"/>
                    <a:pt x="1122373" y="1426604"/>
                    <a:pt x="1123041" y="1425684"/>
                  </a:cubicBezTo>
                  <a:cubicBezTo>
                    <a:pt x="1123542" y="1424948"/>
                    <a:pt x="1124044" y="1424213"/>
                    <a:pt x="1124546" y="1423294"/>
                  </a:cubicBezTo>
                  <a:cubicBezTo>
                    <a:pt x="1125048" y="1422374"/>
                    <a:pt x="1125549" y="1421454"/>
                    <a:pt x="1126050" y="1420351"/>
                  </a:cubicBezTo>
                  <a:cubicBezTo>
                    <a:pt x="1126385" y="1419615"/>
                    <a:pt x="1126552" y="1419064"/>
                    <a:pt x="1126886" y="1418328"/>
                  </a:cubicBezTo>
                  <a:cubicBezTo>
                    <a:pt x="1127221" y="1417593"/>
                    <a:pt x="1127388" y="1416857"/>
                    <a:pt x="1127555" y="1416122"/>
                  </a:cubicBezTo>
                  <a:cubicBezTo>
                    <a:pt x="1127889" y="1414834"/>
                    <a:pt x="1128056" y="1413547"/>
                    <a:pt x="1128391" y="1412260"/>
                  </a:cubicBezTo>
                  <a:cubicBezTo>
                    <a:pt x="1128558" y="1411524"/>
                    <a:pt x="1128558" y="1410972"/>
                    <a:pt x="1128558" y="1410237"/>
                  </a:cubicBezTo>
                  <a:cubicBezTo>
                    <a:pt x="1128391" y="1410789"/>
                    <a:pt x="1128224" y="1410604"/>
                    <a:pt x="1128391" y="1410421"/>
                  </a:cubicBezTo>
                  <a:cubicBezTo>
                    <a:pt x="1128391" y="1409133"/>
                    <a:pt x="1128391" y="1407846"/>
                    <a:pt x="1128391" y="1406559"/>
                  </a:cubicBezTo>
                  <a:cubicBezTo>
                    <a:pt x="1128391" y="1406559"/>
                    <a:pt x="1128391" y="1406559"/>
                    <a:pt x="1128391" y="1406375"/>
                  </a:cubicBezTo>
                  <a:cubicBezTo>
                    <a:pt x="1128391" y="1405272"/>
                    <a:pt x="1128224" y="1404353"/>
                    <a:pt x="1128056" y="1403249"/>
                  </a:cubicBezTo>
                  <a:cubicBezTo>
                    <a:pt x="1127723" y="1401962"/>
                    <a:pt x="1127723" y="1400674"/>
                    <a:pt x="1127221" y="1399571"/>
                  </a:cubicBezTo>
                  <a:cubicBezTo>
                    <a:pt x="1126886" y="1398835"/>
                    <a:pt x="1126719" y="1398100"/>
                    <a:pt x="1126552" y="1397364"/>
                  </a:cubicBezTo>
                  <a:cubicBezTo>
                    <a:pt x="1126050" y="1396261"/>
                    <a:pt x="1125549" y="1394974"/>
                    <a:pt x="1125048" y="1393870"/>
                  </a:cubicBezTo>
                  <a:cubicBezTo>
                    <a:pt x="1124546" y="1392951"/>
                    <a:pt x="1124044" y="1392215"/>
                    <a:pt x="1123542" y="1391296"/>
                  </a:cubicBezTo>
                  <a:cubicBezTo>
                    <a:pt x="1123041" y="1390560"/>
                    <a:pt x="1122539" y="1389825"/>
                    <a:pt x="1122038" y="1389273"/>
                  </a:cubicBezTo>
                  <a:cubicBezTo>
                    <a:pt x="1121537" y="1388721"/>
                    <a:pt x="1121035" y="1388170"/>
                    <a:pt x="1120534" y="1387618"/>
                  </a:cubicBezTo>
                  <a:cubicBezTo>
                    <a:pt x="1119530" y="1386698"/>
                    <a:pt x="1118527" y="1385779"/>
                    <a:pt x="1117357" y="1385044"/>
                  </a:cubicBezTo>
                  <a:cubicBezTo>
                    <a:pt x="1116521" y="1384491"/>
                    <a:pt x="1115518" y="1383940"/>
                    <a:pt x="1114682" y="1383573"/>
                  </a:cubicBezTo>
                  <a:cubicBezTo>
                    <a:pt x="1112676" y="1382653"/>
                    <a:pt x="1110503" y="1382101"/>
                    <a:pt x="1108162" y="1381917"/>
                  </a:cubicBezTo>
                  <a:close/>
                  <a:moveTo>
                    <a:pt x="1230528" y="1381917"/>
                  </a:moveTo>
                  <a:cubicBezTo>
                    <a:pt x="1227686" y="1381733"/>
                    <a:pt x="1224844" y="1382285"/>
                    <a:pt x="1222169" y="1383388"/>
                  </a:cubicBezTo>
                  <a:cubicBezTo>
                    <a:pt x="1220330" y="1384124"/>
                    <a:pt x="1218658" y="1385227"/>
                    <a:pt x="1217153" y="1386515"/>
                  </a:cubicBezTo>
                  <a:cubicBezTo>
                    <a:pt x="1216318" y="1387250"/>
                    <a:pt x="1215649" y="1387986"/>
                    <a:pt x="1214813" y="1388721"/>
                  </a:cubicBezTo>
                  <a:cubicBezTo>
                    <a:pt x="1213977" y="1389641"/>
                    <a:pt x="1213141" y="1390744"/>
                    <a:pt x="1212473" y="1391663"/>
                  </a:cubicBezTo>
                  <a:cubicBezTo>
                    <a:pt x="1211971" y="1392399"/>
                    <a:pt x="1211470" y="1393319"/>
                    <a:pt x="1211135" y="1394054"/>
                  </a:cubicBezTo>
                  <a:cubicBezTo>
                    <a:pt x="1210466" y="1395158"/>
                    <a:pt x="1209965" y="1396445"/>
                    <a:pt x="1209631" y="1397732"/>
                  </a:cubicBezTo>
                  <a:cubicBezTo>
                    <a:pt x="1209296" y="1398467"/>
                    <a:pt x="1209129" y="1399387"/>
                    <a:pt x="1208962" y="1400123"/>
                  </a:cubicBezTo>
                  <a:cubicBezTo>
                    <a:pt x="1208627" y="1401226"/>
                    <a:pt x="1208460" y="1402514"/>
                    <a:pt x="1208293" y="1403617"/>
                  </a:cubicBezTo>
                  <a:cubicBezTo>
                    <a:pt x="1207791" y="1406927"/>
                    <a:pt x="1207791" y="1410237"/>
                    <a:pt x="1208460" y="1413363"/>
                  </a:cubicBezTo>
                  <a:cubicBezTo>
                    <a:pt x="1208627" y="1414467"/>
                    <a:pt x="1208795" y="1415570"/>
                    <a:pt x="1209129" y="1416673"/>
                  </a:cubicBezTo>
                  <a:cubicBezTo>
                    <a:pt x="1209463" y="1417593"/>
                    <a:pt x="1209631" y="1418328"/>
                    <a:pt x="1209965" y="1419247"/>
                  </a:cubicBezTo>
                  <a:cubicBezTo>
                    <a:pt x="1210299" y="1419799"/>
                    <a:pt x="1210466" y="1420351"/>
                    <a:pt x="1210634" y="1420903"/>
                  </a:cubicBezTo>
                  <a:cubicBezTo>
                    <a:pt x="1211135" y="1422006"/>
                    <a:pt x="1211637" y="1422926"/>
                    <a:pt x="1212138" y="1423845"/>
                  </a:cubicBezTo>
                  <a:cubicBezTo>
                    <a:pt x="1212640" y="1424580"/>
                    <a:pt x="1213141" y="1425316"/>
                    <a:pt x="1213643" y="1426051"/>
                  </a:cubicBezTo>
                  <a:cubicBezTo>
                    <a:pt x="1214312" y="1426971"/>
                    <a:pt x="1215147" y="1427891"/>
                    <a:pt x="1215984" y="1428626"/>
                  </a:cubicBezTo>
                  <a:cubicBezTo>
                    <a:pt x="1216652" y="1429362"/>
                    <a:pt x="1217488" y="1429913"/>
                    <a:pt x="1218157" y="1430465"/>
                  </a:cubicBezTo>
                  <a:cubicBezTo>
                    <a:pt x="1219327" y="1431385"/>
                    <a:pt x="1220664" y="1432120"/>
                    <a:pt x="1222002" y="1432672"/>
                  </a:cubicBezTo>
                  <a:cubicBezTo>
                    <a:pt x="1223674" y="1433408"/>
                    <a:pt x="1225512" y="1433959"/>
                    <a:pt x="1227351" y="1434143"/>
                  </a:cubicBezTo>
                  <a:cubicBezTo>
                    <a:pt x="1227686" y="1434143"/>
                    <a:pt x="1227853" y="1434143"/>
                    <a:pt x="1228187" y="1434327"/>
                  </a:cubicBezTo>
                  <a:cubicBezTo>
                    <a:pt x="1229190" y="1434327"/>
                    <a:pt x="1230026" y="1434327"/>
                    <a:pt x="1231029" y="1434327"/>
                  </a:cubicBezTo>
                  <a:cubicBezTo>
                    <a:pt x="1231029" y="1434143"/>
                    <a:pt x="1231197" y="1434327"/>
                    <a:pt x="1231197" y="1434327"/>
                  </a:cubicBezTo>
                  <a:cubicBezTo>
                    <a:pt x="1234373" y="1433959"/>
                    <a:pt x="1237382" y="1432856"/>
                    <a:pt x="1240057" y="1431017"/>
                  </a:cubicBezTo>
                  <a:cubicBezTo>
                    <a:pt x="1241227" y="1430281"/>
                    <a:pt x="1242231" y="1429362"/>
                    <a:pt x="1243233" y="1428258"/>
                  </a:cubicBezTo>
                  <a:cubicBezTo>
                    <a:pt x="1244070" y="1427523"/>
                    <a:pt x="1244738" y="1426604"/>
                    <a:pt x="1245407" y="1425684"/>
                  </a:cubicBezTo>
                  <a:cubicBezTo>
                    <a:pt x="1245908" y="1424948"/>
                    <a:pt x="1246410" y="1424213"/>
                    <a:pt x="1246911" y="1423294"/>
                  </a:cubicBezTo>
                  <a:cubicBezTo>
                    <a:pt x="1247413" y="1422374"/>
                    <a:pt x="1247914" y="1421454"/>
                    <a:pt x="1248416" y="1420351"/>
                  </a:cubicBezTo>
                  <a:cubicBezTo>
                    <a:pt x="1248750" y="1419615"/>
                    <a:pt x="1248918" y="1419064"/>
                    <a:pt x="1249252" y="1418328"/>
                  </a:cubicBezTo>
                  <a:cubicBezTo>
                    <a:pt x="1249586" y="1417593"/>
                    <a:pt x="1249753" y="1416857"/>
                    <a:pt x="1249921" y="1416122"/>
                  </a:cubicBezTo>
                  <a:cubicBezTo>
                    <a:pt x="1250255" y="1414834"/>
                    <a:pt x="1250422" y="1413547"/>
                    <a:pt x="1250757" y="1412260"/>
                  </a:cubicBezTo>
                  <a:cubicBezTo>
                    <a:pt x="1250923" y="1411524"/>
                    <a:pt x="1250923" y="1410972"/>
                    <a:pt x="1250923" y="1410237"/>
                  </a:cubicBezTo>
                  <a:cubicBezTo>
                    <a:pt x="1250757" y="1410789"/>
                    <a:pt x="1250589" y="1410604"/>
                    <a:pt x="1250757" y="1410421"/>
                  </a:cubicBezTo>
                  <a:cubicBezTo>
                    <a:pt x="1250757" y="1409133"/>
                    <a:pt x="1250757" y="1407846"/>
                    <a:pt x="1250757" y="1406559"/>
                  </a:cubicBezTo>
                  <a:cubicBezTo>
                    <a:pt x="1250757" y="1406559"/>
                    <a:pt x="1250757" y="1406559"/>
                    <a:pt x="1250757" y="1406375"/>
                  </a:cubicBezTo>
                  <a:cubicBezTo>
                    <a:pt x="1250757" y="1405272"/>
                    <a:pt x="1250589" y="1404353"/>
                    <a:pt x="1250422" y="1403249"/>
                  </a:cubicBezTo>
                  <a:cubicBezTo>
                    <a:pt x="1250088" y="1401962"/>
                    <a:pt x="1250088" y="1400674"/>
                    <a:pt x="1249586" y="1399571"/>
                  </a:cubicBezTo>
                  <a:cubicBezTo>
                    <a:pt x="1249252" y="1398835"/>
                    <a:pt x="1249085" y="1398100"/>
                    <a:pt x="1248918" y="1397364"/>
                  </a:cubicBezTo>
                  <a:cubicBezTo>
                    <a:pt x="1248416" y="1396261"/>
                    <a:pt x="1247914" y="1394974"/>
                    <a:pt x="1247413" y="1393870"/>
                  </a:cubicBezTo>
                  <a:cubicBezTo>
                    <a:pt x="1246911" y="1392951"/>
                    <a:pt x="1246410" y="1392215"/>
                    <a:pt x="1245908" y="1391296"/>
                  </a:cubicBezTo>
                  <a:cubicBezTo>
                    <a:pt x="1245407" y="1390560"/>
                    <a:pt x="1244905" y="1389825"/>
                    <a:pt x="1244404" y="1389273"/>
                  </a:cubicBezTo>
                  <a:cubicBezTo>
                    <a:pt x="1243902" y="1388721"/>
                    <a:pt x="1243400" y="1388170"/>
                    <a:pt x="1242899" y="1387618"/>
                  </a:cubicBezTo>
                  <a:cubicBezTo>
                    <a:pt x="1241896" y="1386698"/>
                    <a:pt x="1240893" y="1385779"/>
                    <a:pt x="1239723" y="1385044"/>
                  </a:cubicBezTo>
                  <a:cubicBezTo>
                    <a:pt x="1238887" y="1384491"/>
                    <a:pt x="1237884" y="1383940"/>
                    <a:pt x="1237048" y="1383573"/>
                  </a:cubicBezTo>
                  <a:cubicBezTo>
                    <a:pt x="1235042" y="1382653"/>
                    <a:pt x="1232869" y="1382101"/>
                    <a:pt x="1230528" y="1381917"/>
                  </a:cubicBezTo>
                  <a:close/>
                  <a:moveTo>
                    <a:pt x="1638385" y="1381917"/>
                  </a:moveTo>
                  <a:cubicBezTo>
                    <a:pt x="1635543" y="1381733"/>
                    <a:pt x="1632701" y="1382285"/>
                    <a:pt x="1630026" y="1383388"/>
                  </a:cubicBezTo>
                  <a:cubicBezTo>
                    <a:pt x="1628187" y="1384124"/>
                    <a:pt x="1626515" y="1385227"/>
                    <a:pt x="1625011" y="1386515"/>
                  </a:cubicBezTo>
                  <a:cubicBezTo>
                    <a:pt x="1624175" y="1387250"/>
                    <a:pt x="1623506" y="1387986"/>
                    <a:pt x="1622671" y="1388721"/>
                  </a:cubicBezTo>
                  <a:cubicBezTo>
                    <a:pt x="1621835" y="1389641"/>
                    <a:pt x="1620999" y="1390744"/>
                    <a:pt x="1620330" y="1391663"/>
                  </a:cubicBezTo>
                  <a:cubicBezTo>
                    <a:pt x="1619828" y="1392399"/>
                    <a:pt x="1619327" y="1393319"/>
                    <a:pt x="1618992" y="1394054"/>
                  </a:cubicBezTo>
                  <a:cubicBezTo>
                    <a:pt x="1618324" y="1395158"/>
                    <a:pt x="1617823" y="1396445"/>
                    <a:pt x="1617488" y="1397732"/>
                  </a:cubicBezTo>
                  <a:cubicBezTo>
                    <a:pt x="1617153" y="1398467"/>
                    <a:pt x="1616986" y="1399387"/>
                    <a:pt x="1616819" y="1400123"/>
                  </a:cubicBezTo>
                  <a:cubicBezTo>
                    <a:pt x="1616485" y="1401226"/>
                    <a:pt x="1616318" y="1402514"/>
                    <a:pt x="1616151" y="1403617"/>
                  </a:cubicBezTo>
                  <a:cubicBezTo>
                    <a:pt x="1615649" y="1406927"/>
                    <a:pt x="1615649" y="1410237"/>
                    <a:pt x="1616318" y="1413363"/>
                  </a:cubicBezTo>
                  <a:cubicBezTo>
                    <a:pt x="1616485" y="1414467"/>
                    <a:pt x="1616652" y="1415570"/>
                    <a:pt x="1616986" y="1416673"/>
                  </a:cubicBezTo>
                  <a:cubicBezTo>
                    <a:pt x="1617321" y="1417593"/>
                    <a:pt x="1617488" y="1418328"/>
                    <a:pt x="1617823" y="1419247"/>
                  </a:cubicBezTo>
                  <a:cubicBezTo>
                    <a:pt x="1618157" y="1419799"/>
                    <a:pt x="1618324" y="1420351"/>
                    <a:pt x="1618491" y="1420903"/>
                  </a:cubicBezTo>
                  <a:cubicBezTo>
                    <a:pt x="1618992" y="1422006"/>
                    <a:pt x="1619494" y="1422926"/>
                    <a:pt x="1619996" y="1423845"/>
                  </a:cubicBezTo>
                  <a:cubicBezTo>
                    <a:pt x="1620497" y="1424580"/>
                    <a:pt x="1620999" y="1425316"/>
                    <a:pt x="1621500" y="1426051"/>
                  </a:cubicBezTo>
                  <a:cubicBezTo>
                    <a:pt x="1622169" y="1426971"/>
                    <a:pt x="1623005" y="1427891"/>
                    <a:pt x="1623841" y="1428626"/>
                  </a:cubicBezTo>
                  <a:cubicBezTo>
                    <a:pt x="1624510" y="1429362"/>
                    <a:pt x="1625346" y="1429913"/>
                    <a:pt x="1626014" y="1430465"/>
                  </a:cubicBezTo>
                  <a:cubicBezTo>
                    <a:pt x="1627185" y="1431385"/>
                    <a:pt x="1628522" y="1432120"/>
                    <a:pt x="1629860" y="1432672"/>
                  </a:cubicBezTo>
                  <a:cubicBezTo>
                    <a:pt x="1631531" y="1433408"/>
                    <a:pt x="1633370" y="1433959"/>
                    <a:pt x="1635209" y="1434143"/>
                  </a:cubicBezTo>
                  <a:cubicBezTo>
                    <a:pt x="1635543" y="1434143"/>
                    <a:pt x="1635711" y="1434143"/>
                    <a:pt x="1636045" y="1434327"/>
                  </a:cubicBezTo>
                  <a:cubicBezTo>
                    <a:pt x="1637048" y="1434327"/>
                    <a:pt x="1637884" y="1434327"/>
                    <a:pt x="1638887" y="1434327"/>
                  </a:cubicBezTo>
                  <a:cubicBezTo>
                    <a:pt x="1638887" y="1434143"/>
                    <a:pt x="1639054" y="1434327"/>
                    <a:pt x="1639054" y="1434327"/>
                  </a:cubicBezTo>
                  <a:cubicBezTo>
                    <a:pt x="1642230" y="1433959"/>
                    <a:pt x="1645239" y="1432856"/>
                    <a:pt x="1647914" y="1431017"/>
                  </a:cubicBezTo>
                  <a:cubicBezTo>
                    <a:pt x="1649085" y="1430281"/>
                    <a:pt x="1650088" y="1429362"/>
                    <a:pt x="1651091" y="1428258"/>
                  </a:cubicBezTo>
                  <a:cubicBezTo>
                    <a:pt x="1651927" y="1427523"/>
                    <a:pt x="1652596" y="1426604"/>
                    <a:pt x="1653264" y="1425684"/>
                  </a:cubicBezTo>
                  <a:cubicBezTo>
                    <a:pt x="1653765" y="1424948"/>
                    <a:pt x="1654267" y="1424213"/>
                    <a:pt x="1654769" y="1423294"/>
                  </a:cubicBezTo>
                  <a:cubicBezTo>
                    <a:pt x="1655271" y="1422374"/>
                    <a:pt x="1655772" y="1421454"/>
                    <a:pt x="1656273" y="1420351"/>
                  </a:cubicBezTo>
                  <a:cubicBezTo>
                    <a:pt x="1656608" y="1419615"/>
                    <a:pt x="1656775" y="1419064"/>
                    <a:pt x="1657109" y="1418328"/>
                  </a:cubicBezTo>
                  <a:cubicBezTo>
                    <a:pt x="1657444" y="1417593"/>
                    <a:pt x="1657611" y="1416857"/>
                    <a:pt x="1657778" y="1416122"/>
                  </a:cubicBezTo>
                  <a:cubicBezTo>
                    <a:pt x="1658112" y="1414834"/>
                    <a:pt x="1658279" y="1413547"/>
                    <a:pt x="1658614" y="1412260"/>
                  </a:cubicBezTo>
                  <a:cubicBezTo>
                    <a:pt x="1658781" y="1411524"/>
                    <a:pt x="1658781" y="1410972"/>
                    <a:pt x="1658781" y="1410237"/>
                  </a:cubicBezTo>
                  <a:cubicBezTo>
                    <a:pt x="1658614" y="1410789"/>
                    <a:pt x="1658447" y="1410604"/>
                    <a:pt x="1658614" y="1410421"/>
                  </a:cubicBezTo>
                  <a:cubicBezTo>
                    <a:pt x="1658614" y="1409133"/>
                    <a:pt x="1658614" y="1407846"/>
                    <a:pt x="1658614" y="1406559"/>
                  </a:cubicBezTo>
                  <a:cubicBezTo>
                    <a:pt x="1658614" y="1406559"/>
                    <a:pt x="1658614" y="1406559"/>
                    <a:pt x="1658614" y="1406375"/>
                  </a:cubicBezTo>
                  <a:cubicBezTo>
                    <a:pt x="1658614" y="1405272"/>
                    <a:pt x="1658447" y="1404353"/>
                    <a:pt x="1658279" y="1403249"/>
                  </a:cubicBezTo>
                  <a:cubicBezTo>
                    <a:pt x="1657946" y="1401962"/>
                    <a:pt x="1657946" y="1400674"/>
                    <a:pt x="1657444" y="1399571"/>
                  </a:cubicBezTo>
                  <a:cubicBezTo>
                    <a:pt x="1657109" y="1398835"/>
                    <a:pt x="1656942" y="1398100"/>
                    <a:pt x="1656775" y="1397364"/>
                  </a:cubicBezTo>
                  <a:cubicBezTo>
                    <a:pt x="1656273" y="1396261"/>
                    <a:pt x="1655772" y="1394974"/>
                    <a:pt x="1655271" y="1393870"/>
                  </a:cubicBezTo>
                  <a:cubicBezTo>
                    <a:pt x="1654769" y="1392951"/>
                    <a:pt x="1654267" y="1392215"/>
                    <a:pt x="1653765" y="1391296"/>
                  </a:cubicBezTo>
                  <a:cubicBezTo>
                    <a:pt x="1653264" y="1390560"/>
                    <a:pt x="1652762" y="1389825"/>
                    <a:pt x="1652261" y="1389273"/>
                  </a:cubicBezTo>
                  <a:cubicBezTo>
                    <a:pt x="1651760" y="1388721"/>
                    <a:pt x="1651258" y="1388170"/>
                    <a:pt x="1650757" y="1387618"/>
                  </a:cubicBezTo>
                  <a:cubicBezTo>
                    <a:pt x="1649753" y="1386698"/>
                    <a:pt x="1648750" y="1385779"/>
                    <a:pt x="1647580" y="1385044"/>
                  </a:cubicBezTo>
                  <a:cubicBezTo>
                    <a:pt x="1646744" y="1384491"/>
                    <a:pt x="1645741" y="1383940"/>
                    <a:pt x="1644905" y="1383573"/>
                  </a:cubicBezTo>
                  <a:cubicBezTo>
                    <a:pt x="1642899" y="1382653"/>
                    <a:pt x="1640726" y="1382101"/>
                    <a:pt x="1638385" y="1381917"/>
                  </a:cubicBezTo>
                  <a:close/>
                  <a:moveTo>
                    <a:pt x="1934072" y="1381917"/>
                  </a:moveTo>
                  <a:cubicBezTo>
                    <a:pt x="1931230" y="1381733"/>
                    <a:pt x="1928388" y="1382285"/>
                    <a:pt x="1925713" y="1383388"/>
                  </a:cubicBezTo>
                  <a:cubicBezTo>
                    <a:pt x="1923875" y="1384124"/>
                    <a:pt x="1922203" y="1385227"/>
                    <a:pt x="1920698" y="1386515"/>
                  </a:cubicBezTo>
                  <a:cubicBezTo>
                    <a:pt x="1919862" y="1387250"/>
                    <a:pt x="1919194" y="1387986"/>
                    <a:pt x="1918358" y="1388721"/>
                  </a:cubicBezTo>
                  <a:cubicBezTo>
                    <a:pt x="1917522" y="1389641"/>
                    <a:pt x="1916686" y="1390744"/>
                    <a:pt x="1916017" y="1391663"/>
                  </a:cubicBezTo>
                  <a:cubicBezTo>
                    <a:pt x="1915515" y="1392399"/>
                    <a:pt x="1915014" y="1393319"/>
                    <a:pt x="1914680" y="1394054"/>
                  </a:cubicBezTo>
                  <a:cubicBezTo>
                    <a:pt x="1914011" y="1395158"/>
                    <a:pt x="1913510" y="1396445"/>
                    <a:pt x="1913175" y="1397732"/>
                  </a:cubicBezTo>
                  <a:cubicBezTo>
                    <a:pt x="1912841" y="1398467"/>
                    <a:pt x="1912674" y="1399387"/>
                    <a:pt x="1912507" y="1400123"/>
                  </a:cubicBezTo>
                  <a:cubicBezTo>
                    <a:pt x="1912172" y="1401226"/>
                    <a:pt x="1912005" y="1402514"/>
                    <a:pt x="1911838" y="1403617"/>
                  </a:cubicBezTo>
                  <a:cubicBezTo>
                    <a:pt x="1911336" y="1406927"/>
                    <a:pt x="1911336" y="1410237"/>
                    <a:pt x="1912005" y="1413363"/>
                  </a:cubicBezTo>
                  <a:cubicBezTo>
                    <a:pt x="1912172" y="1414467"/>
                    <a:pt x="1912339" y="1415570"/>
                    <a:pt x="1912674" y="1416673"/>
                  </a:cubicBezTo>
                  <a:cubicBezTo>
                    <a:pt x="1913008" y="1417593"/>
                    <a:pt x="1913175" y="1418328"/>
                    <a:pt x="1913510" y="1419247"/>
                  </a:cubicBezTo>
                  <a:cubicBezTo>
                    <a:pt x="1913844" y="1419799"/>
                    <a:pt x="1914011" y="1420351"/>
                    <a:pt x="1914178" y="1420903"/>
                  </a:cubicBezTo>
                  <a:cubicBezTo>
                    <a:pt x="1914680" y="1422006"/>
                    <a:pt x="1915181" y="1422926"/>
                    <a:pt x="1915683" y="1423845"/>
                  </a:cubicBezTo>
                  <a:cubicBezTo>
                    <a:pt x="1916185" y="1424580"/>
                    <a:pt x="1916686" y="1425316"/>
                    <a:pt x="1917187" y="1426051"/>
                  </a:cubicBezTo>
                  <a:cubicBezTo>
                    <a:pt x="1917856" y="1426971"/>
                    <a:pt x="1918692" y="1427891"/>
                    <a:pt x="1919528" y="1428626"/>
                  </a:cubicBezTo>
                  <a:cubicBezTo>
                    <a:pt x="1920197" y="1429362"/>
                    <a:pt x="1921033" y="1429913"/>
                    <a:pt x="1921701" y="1430465"/>
                  </a:cubicBezTo>
                  <a:cubicBezTo>
                    <a:pt x="1922872" y="1431385"/>
                    <a:pt x="1924209" y="1432120"/>
                    <a:pt x="1925547" y="1432672"/>
                  </a:cubicBezTo>
                  <a:cubicBezTo>
                    <a:pt x="1927218" y="1433408"/>
                    <a:pt x="1929057" y="1433959"/>
                    <a:pt x="1930896" y="1434143"/>
                  </a:cubicBezTo>
                  <a:cubicBezTo>
                    <a:pt x="1931230" y="1434143"/>
                    <a:pt x="1931398" y="1434143"/>
                    <a:pt x="1931732" y="1434327"/>
                  </a:cubicBezTo>
                  <a:cubicBezTo>
                    <a:pt x="1932735" y="1434327"/>
                    <a:pt x="1933571" y="1434327"/>
                    <a:pt x="1934574" y="1434327"/>
                  </a:cubicBezTo>
                  <a:cubicBezTo>
                    <a:pt x="1934574" y="1434143"/>
                    <a:pt x="1934741" y="1434327"/>
                    <a:pt x="1934741" y="1434327"/>
                  </a:cubicBezTo>
                  <a:cubicBezTo>
                    <a:pt x="1937918" y="1433959"/>
                    <a:pt x="1940927" y="1432856"/>
                    <a:pt x="1943601" y="1431017"/>
                  </a:cubicBezTo>
                  <a:cubicBezTo>
                    <a:pt x="1944772" y="1430281"/>
                    <a:pt x="1945775" y="1429362"/>
                    <a:pt x="1946778" y="1428258"/>
                  </a:cubicBezTo>
                  <a:cubicBezTo>
                    <a:pt x="1947614" y="1427523"/>
                    <a:pt x="1948283" y="1426604"/>
                    <a:pt x="1948951" y="1425684"/>
                  </a:cubicBezTo>
                  <a:cubicBezTo>
                    <a:pt x="1949453" y="1424948"/>
                    <a:pt x="1949954" y="1424213"/>
                    <a:pt x="1950456" y="1423294"/>
                  </a:cubicBezTo>
                  <a:cubicBezTo>
                    <a:pt x="1950958" y="1422374"/>
                    <a:pt x="1951459" y="1421454"/>
                    <a:pt x="1951961" y="1420351"/>
                  </a:cubicBezTo>
                  <a:cubicBezTo>
                    <a:pt x="1952295" y="1419615"/>
                    <a:pt x="1952462" y="1419064"/>
                    <a:pt x="1952796" y="1418328"/>
                  </a:cubicBezTo>
                  <a:cubicBezTo>
                    <a:pt x="1953131" y="1417593"/>
                    <a:pt x="1953298" y="1416857"/>
                    <a:pt x="1953465" y="1416122"/>
                  </a:cubicBezTo>
                  <a:cubicBezTo>
                    <a:pt x="1953799" y="1414834"/>
                    <a:pt x="1953967" y="1413547"/>
                    <a:pt x="1954301" y="1412260"/>
                  </a:cubicBezTo>
                  <a:cubicBezTo>
                    <a:pt x="1954468" y="1411524"/>
                    <a:pt x="1954468" y="1410972"/>
                    <a:pt x="1954468" y="1410237"/>
                  </a:cubicBezTo>
                  <a:cubicBezTo>
                    <a:pt x="1954301" y="1410789"/>
                    <a:pt x="1954134" y="1410604"/>
                    <a:pt x="1954301" y="1410421"/>
                  </a:cubicBezTo>
                  <a:cubicBezTo>
                    <a:pt x="1954301" y="1409133"/>
                    <a:pt x="1954301" y="1407846"/>
                    <a:pt x="1954301" y="1406559"/>
                  </a:cubicBezTo>
                  <a:cubicBezTo>
                    <a:pt x="1954301" y="1406559"/>
                    <a:pt x="1954301" y="1406559"/>
                    <a:pt x="1954301" y="1406375"/>
                  </a:cubicBezTo>
                  <a:cubicBezTo>
                    <a:pt x="1954301" y="1405272"/>
                    <a:pt x="1954134" y="1404353"/>
                    <a:pt x="1953967" y="1403249"/>
                  </a:cubicBezTo>
                  <a:cubicBezTo>
                    <a:pt x="1953633" y="1401962"/>
                    <a:pt x="1953633" y="1400674"/>
                    <a:pt x="1953131" y="1399571"/>
                  </a:cubicBezTo>
                  <a:cubicBezTo>
                    <a:pt x="1952796" y="1398835"/>
                    <a:pt x="1952629" y="1398100"/>
                    <a:pt x="1952462" y="1397364"/>
                  </a:cubicBezTo>
                  <a:cubicBezTo>
                    <a:pt x="1951961" y="1396261"/>
                    <a:pt x="1951459" y="1394974"/>
                    <a:pt x="1950958" y="1393870"/>
                  </a:cubicBezTo>
                  <a:cubicBezTo>
                    <a:pt x="1950456" y="1392951"/>
                    <a:pt x="1949954" y="1392215"/>
                    <a:pt x="1949453" y="1391296"/>
                  </a:cubicBezTo>
                  <a:cubicBezTo>
                    <a:pt x="1948951" y="1390560"/>
                    <a:pt x="1948450" y="1389825"/>
                    <a:pt x="1947948" y="1389273"/>
                  </a:cubicBezTo>
                  <a:cubicBezTo>
                    <a:pt x="1947447" y="1388721"/>
                    <a:pt x="1946945" y="1388170"/>
                    <a:pt x="1946444" y="1387618"/>
                  </a:cubicBezTo>
                  <a:cubicBezTo>
                    <a:pt x="1945440" y="1386698"/>
                    <a:pt x="1944437" y="1385779"/>
                    <a:pt x="1943267" y="1385044"/>
                  </a:cubicBezTo>
                  <a:cubicBezTo>
                    <a:pt x="1942432" y="1384491"/>
                    <a:pt x="1941428" y="1383940"/>
                    <a:pt x="1940592" y="1383573"/>
                  </a:cubicBezTo>
                  <a:cubicBezTo>
                    <a:pt x="1938586" y="1382653"/>
                    <a:pt x="1936413" y="1382101"/>
                    <a:pt x="1934072" y="1381917"/>
                  </a:cubicBezTo>
                  <a:close/>
                  <a:moveTo>
                    <a:pt x="2280775" y="1381917"/>
                  </a:moveTo>
                  <a:cubicBezTo>
                    <a:pt x="2277933" y="1381733"/>
                    <a:pt x="2275091" y="1382285"/>
                    <a:pt x="2272415" y="1383388"/>
                  </a:cubicBezTo>
                  <a:cubicBezTo>
                    <a:pt x="2270577" y="1384124"/>
                    <a:pt x="2268905" y="1385227"/>
                    <a:pt x="2267401" y="1386515"/>
                  </a:cubicBezTo>
                  <a:cubicBezTo>
                    <a:pt x="2266565" y="1387250"/>
                    <a:pt x="2265896" y="1387986"/>
                    <a:pt x="2265061" y="1388721"/>
                  </a:cubicBezTo>
                  <a:cubicBezTo>
                    <a:pt x="2264225" y="1389641"/>
                    <a:pt x="2263388" y="1390744"/>
                    <a:pt x="2262720" y="1391663"/>
                  </a:cubicBezTo>
                  <a:cubicBezTo>
                    <a:pt x="2262218" y="1392399"/>
                    <a:pt x="2261717" y="1393319"/>
                    <a:pt x="2261381" y="1394054"/>
                  </a:cubicBezTo>
                  <a:cubicBezTo>
                    <a:pt x="2260714" y="1395158"/>
                    <a:pt x="2260211" y="1396445"/>
                    <a:pt x="2259877" y="1397732"/>
                  </a:cubicBezTo>
                  <a:cubicBezTo>
                    <a:pt x="2259543" y="1398467"/>
                    <a:pt x="2259376" y="1399387"/>
                    <a:pt x="2259209" y="1400123"/>
                  </a:cubicBezTo>
                  <a:cubicBezTo>
                    <a:pt x="2258874" y="1401226"/>
                    <a:pt x="2258707" y="1402514"/>
                    <a:pt x="2258540" y="1403617"/>
                  </a:cubicBezTo>
                  <a:cubicBezTo>
                    <a:pt x="2258037" y="1406927"/>
                    <a:pt x="2258037" y="1410237"/>
                    <a:pt x="2258707" y="1413363"/>
                  </a:cubicBezTo>
                  <a:cubicBezTo>
                    <a:pt x="2258874" y="1414467"/>
                    <a:pt x="2259041" y="1415570"/>
                    <a:pt x="2259376" y="1416673"/>
                  </a:cubicBezTo>
                  <a:cubicBezTo>
                    <a:pt x="2259711" y="1417593"/>
                    <a:pt x="2259877" y="1418328"/>
                    <a:pt x="2260211" y="1419247"/>
                  </a:cubicBezTo>
                  <a:cubicBezTo>
                    <a:pt x="2260546" y="1419799"/>
                    <a:pt x="2260714" y="1420351"/>
                    <a:pt x="2260880" y="1420903"/>
                  </a:cubicBezTo>
                  <a:cubicBezTo>
                    <a:pt x="2261381" y="1422006"/>
                    <a:pt x="2261884" y="1422926"/>
                    <a:pt x="2262384" y="1423845"/>
                  </a:cubicBezTo>
                  <a:cubicBezTo>
                    <a:pt x="2262887" y="1424580"/>
                    <a:pt x="2263388" y="1425316"/>
                    <a:pt x="2263890" y="1426051"/>
                  </a:cubicBezTo>
                  <a:cubicBezTo>
                    <a:pt x="2264558" y="1426971"/>
                    <a:pt x="2265394" y="1427891"/>
                    <a:pt x="2266230" y="1428626"/>
                  </a:cubicBezTo>
                  <a:cubicBezTo>
                    <a:pt x="2266898" y="1429362"/>
                    <a:pt x="2267735" y="1429913"/>
                    <a:pt x="2268404" y="1430465"/>
                  </a:cubicBezTo>
                  <a:cubicBezTo>
                    <a:pt x="2269574" y="1431385"/>
                    <a:pt x="2270912" y="1432120"/>
                    <a:pt x="2272249" y="1432672"/>
                  </a:cubicBezTo>
                  <a:cubicBezTo>
                    <a:pt x="2273921" y="1433408"/>
                    <a:pt x="2275759" y="1433959"/>
                    <a:pt x="2277599" y="1434143"/>
                  </a:cubicBezTo>
                  <a:cubicBezTo>
                    <a:pt x="2277933" y="1434143"/>
                    <a:pt x="2278099" y="1434143"/>
                    <a:pt x="2278435" y="1434327"/>
                  </a:cubicBezTo>
                  <a:cubicBezTo>
                    <a:pt x="2279438" y="1434327"/>
                    <a:pt x="2280273" y="1434327"/>
                    <a:pt x="2281276" y="1434327"/>
                  </a:cubicBezTo>
                  <a:cubicBezTo>
                    <a:pt x="2281276" y="1434143"/>
                    <a:pt x="2281443" y="1434327"/>
                    <a:pt x="2281443" y="1434327"/>
                  </a:cubicBezTo>
                  <a:cubicBezTo>
                    <a:pt x="2284620" y="1433959"/>
                    <a:pt x="2287629" y="1432856"/>
                    <a:pt x="2290304" y="1431017"/>
                  </a:cubicBezTo>
                  <a:cubicBezTo>
                    <a:pt x="2291474" y="1430281"/>
                    <a:pt x="2292477" y="1429362"/>
                    <a:pt x="2293480" y="1428258"/>
                  </a:cubicBezTo>
                  <a:cubicBezTo>
                    <a:pt x="2294316" y="1427523"/>
                    <a:pt x="2294984" y="1426604"/>
                    <a:pt x="2295654" y="1425684"/>
                  </a:cubicBezTo>
                  <a:cubicBezTo>
                    <a:pt x="2296155" y="1424948"/>
                    <a:pt x="2296657" y="1424213"/>
                    <a:pt x="2297158" y="1423294"/>
                  </a:cubicBezTo>
                  <a:cubicBezTo>
                    <a:pt x="2297660" y="1422374"/>
                    <a:pt x="2298161" y="1421454"/>
                    <a:pt x="2298663" y="1420351"/>
                  </a:cubicBezTo>
                  <a:cubicBezTo>
                    <a:pt x="2298998" y="1419615"/>
                    <a:pt x="2299164" y="1419064"/>
                    <a:pt x="2299498" y="1418328"/>
                  </a:cubicBezTo>
                  <a:cubicBezTo>
                    <a:pt x="2299834" y="1417593"/>
                    <a:pt x="2300001" y="1416857"/>
                    <a:pt x="2300167" y="1416122"/>
                  </a:cubicBezTo>
                  <a:cubicBezTo>
                    <a:pt x="2300501" y="1414834"/>
                    <a:pt x="2300668" y="1413547"/>
                    <a:pt x="2301004" y="1412260"/>
                  </a:cubicBezTo>
                  <a:cubicBezTo>
                    <a:pt x="2301171" y="1411524"/>
                    <a:pt x="2301171" y="1410972"/>
                    <a:pt x="2301171" y="1410237"/>
                  </a:cubicBezTo>
                  <a:cubicBezTo>
                    <a:pt x="2301004" y="1410789"/>
                    <a:pt x="2300837" y="1410604"/>
                    <a:pt x="2301004" y="1410421"/>
                  </a:cubicBezTo>
                  <a:cubicBezTo>
                    <a:pt x="2301004" y="1409133"/>
                    <a:pt x="2301004" y="1407846"/>
                    <a:pt x="2301004" y="1406559"/>
                  </a:cubicBezTo>
                  <a:cubicBezTo>
                    <a:pt x="2301004" y="1406559"/>
                    <a:pt x="2301004" y="1406559"/>
                    <a:pt x="2301004" y="1406375"/>
                  </a:cubicBezTo>
                  <a:cubicBezTo>
                    <a:pt x="2301004" y="1405272"/>
                    <a:pt x="2300837" y="1404353"/>
                    <a:pt x="2300668" y="1403249"/>
                  </a:cubicBezTo>
                  <a:cubicBezTo>
                    <a:pt x="2300335" y="1401962"/>
                    <a:pt x="2300335" y="1400674"/>
                    <a:pt x="2299834" y="1399571"/>
                  </a:cubicBezTo>
                  <a:cubicBezTo>
                    <a:pt x="2299498" y="1398835"/>
                    <a:pt x="2299331" y="1398100"/>
                    <a:pt x="2299164" y="1397364"/>
                  </a:cubicBezTo>
                  <a:cubicBezTo>
                    <a:pt x="2298663" y="1396261"/>
                    <a:pt x="2298161" y="1394974"/>
                    <a:pt x="2297660" y="1393870"/>
                  </a:cubicBezTo>
                  <a:cubicBezTo>
                    <a:pt x="2297158" y="1392951"/>
                    <a:pt x="2296657" y="1392215"/>
                    <a:pt x="2296155" y="1391296"/>
                  </a:cubicBezTo>
                  <a:cubicBezTo>
                    <a:pt x="2295654" y="1390560"/>
                    <a:pt x="2295152" y="1389825"/>
                    <a:pt x="2294651" y="1389273"/>
                  </a:cubicBezTo>
                  <a:cubicBezTo>
                    <a:pt x="2294150" y="1388721"/>
                    <a:pt x="2293647" y="1388170"/>
                    <a:pt x="2293146" y="1387618"/>
                  </a:cubicBezTo>
                  <a:cubicBezTo>
                    <a:pt x="2292143" y="1386698"/>
                    <a:pt x="2291140" y="1385779"/>
                    <a:pt x="2289970" y="1385044"/>
                  </a:cubicBezTo>
                  <a:cubicBezTo>
                    <a:pt x="2289134" y="1384491"/>
                    <a:pt x="2288131" y="1383940"/>
                    <a:pt x="2287295" y="1383573"/>
                  </a:cubicBezTo>
                  <a:cubicBezTo>
                    <a:pt x="2285289" y="1382653"/>
                    <a:pt x="2283116" y="1382101"/>
                    <a:pt x="2280775" y="1381917"/>
                  </a:cubicBezTo>
                  <a:close/>
                  <a:moveTo>
                    <a:pt x="2403140" y="1381917"/>
                  </a:moveTo>
                  <a:cubicBezTo>
                    <a:pt x="2400299" y="1381733"/>
                    <a:pt x="2397457" y="1382285"/>
                    <a:pt x="2394782" y="1383388"/>
                  </a:cubicBezTo>
                  <a:cubicBezTo>
                    <a:pt x="2392943" y="1384124"/>
                    <a:pt x="2391271" y="1385227"/>
                    <a:pt x="2389766" y="1386515"/>
                  </a:cubicBezTo>
                  <a:cubicBezTo>
                    <a:pt x="2388929" y="1387250"/>
                    <a:pt x="2388262" y="1387986"/>
                    <a:pt x="2387425" y="1388721"/>
                  </a:cubicBezTo>
                  <a:cubicBezTo>
                    <a:pt x="2386589" y="1389641"/>
                    <a:pt x="2385754" y="1390744"/>
                    <a:pt x="2385085" y="1391663"/>
                  </a:cubicBezTo>
                  <a:cubicBezTo>
                    <a:pt x="2384584" y="1392399"/>
                    <a:pt x="2384082" y="1393319"/>
                    <a:pt x="2383748" y="1394054"/>
                  </a:cubicBezTo>
                  <a:cubicBezTo>
                    <a:pt x="2383079" y="1395158"/>
                    <a:pt x="2382578" y="1396445"/>
                    <a:pt x="2382242" y="1397732"/>
                  </a:cubicBezTo>
                  <a:cubicBezTo>
                    <a:pt x="2381908" y="1398467"/>
                    <a:pt x="2381742" y="1399387"/>
                    <a:pt x="2381575" y="1400123"/>
                  </a:cubicBezTo>
                  <a:cubicBezTo>
                    <a:pt x="2381240" y="1401226"/>
                    <a:pt x="2381072" y="1402514"/>
                    <a:pt x="2380905" y="1403617"/>
                  </a:cubicBezTo>
                  <a:cubicBezTo>
                    <a:pt x="2380404" y="1406927"/>
                    <a:pt x="2380404" y="1410237"/>
                    <a:pt x="2381072" y="1413363"/>
                  </a:cubicBezTo>
                  <a:cubicBezTo>
                    <a:pt x="2381240" y="1414467"/>
                    <a:pt x="2381408" y="1415570"/>
                    <a:pt x="2381742" y="1416673"/>
                  </a:cubicBezTo>
                  <a:cubicBezTo>
                    <a:pt x="2382075" y="1417593"/>
                    <a:pt x="2382242" y="1418328"/>
                    <a:pt x="2382578" y="1419247"/>
                  </a:cubicBezTo>
                  <a:cubicBezTo>
                    <a:pt x="2382912" y="1419799"/>
                    <a:pt x="2383079" y="1420351"/>
                    <a:pt x="2383245" y="1420903"/>
                  </a:cubicBezTo>
                  <a:cubicBezTo>
                    <a:pt x="2383748" y="1422006"/>
                    <a:pt x="2384248" y="1422926"/>
                    <a:pt x="2384751" y="1423845"/>
                  </a:cubicBezTo>
                  <a:cubicBezTo>
                    <a:pt x="2385252" y="1424580"/>
                    <a:pt x="2385754" y="1425316"/>
                    <a:pt x="2386256" y="1426051"/>
                  </a:cubicBezTo>
                  <a:cubicBezTo>
                    <a:pt x="2386924" y="1426971"/>
                    <a:pt x="2387759" y="1427891"/>
                    <a:pt x="2388596" y="1428626"/>
                  </a:cubicBezTo>
                  <a:cubicBezTo>
                    <a:pt x="2389265" y="1429362"/>
                    <a:pt x="2390100" y="1429913"/>
                    <a:pt x="2390770" y="1430465"/>
                  </a:cubicBezTo>
                  <a:cubicBezTo>
                    <a:pt x="2391939" y="1431385"/>
                    <a:pt x="2393277" y="1432120"/>
                    <a:pt x="2394614" y="1432672"/>
                  </a:cubicBezTo>
                  <a:cubicBezTo>
                    <a:pt x="2396286" y="1433408"/>
                    <a:pt x="2398125" y="1433959"/>
                    <a:pt x="2399964" y="1434143"/>
                  </a:cubicBezTo>
                  <a:cubicBezTo>
                    <a:pt x="2400299" y="1434143"/>
                    <a:pt x="2400465" y="1434143"/>
                    <a:pt x="2400800" y="1434327"/>
                  </a:cubicBezTo>
                  <a:cubicBezTo>
                    <a:pt x="2401803" y="1434327"/>
                    <a:pt x="2402639" y="1434327"/>
                    <a:pt x="2403642" y="1434327"/>
                  </a:cubicBezTo>
                  <a:cubicBezTo>
                    <a:pt x="2403642" y="1434143"/>
                    <a:pt x="2403810" y="1434327"/>
                    <a:pt x="2403810" y="1434327"/>
                  </a:cubicBezTo>
                  <a:cubicBezTo>
                    <a:pt x="2406986" y="1433959"/>
                    <a:pt x="2409995" y="1432856"/>
                    <a:pt x="2412670" y="1431017"/>
                  </a:cubicBezTo>
                  <a:cubicBezTo>
                    <a:pt x="2413840" y="1430281"/>
                    <a:pt x="2414842" y="1429362"/>
                    <a:pt x="2415845" y="1428258"/>
                  </a:cubicBezTo>
                  <a:cubicBezTo>
                    <a:pt x="2416682" y="1427523"/>
                    <a:pt x="2417351" y="1426604"/>
                    <a:pt x="2418019" y="1425684"/>
                  </a:cubicBezTo>
                  <a:cubicBezTo>
                    <a:pt x="2418521" y="1424948"/>
                    <a:pt x="2419022" y="1424213"/>
                    <a:pt x="2419524" y="1423294"/>
                  </a:cubicBezTo>
                  <a:cubicBezTo>
                    <a:pt x="2420025" y="1422374"/>
                    <a:pt x="2420527" y="1421454"/>
                    <a:pt x="2421029" y="1420351"/>
                  </a:cubicBezTo>
                  <a:cubicBezTo>
                    <a:pt x="2421362" y="1419615"/>
                    <a:pt x="2421529" y="1419064"/>
                    <a:pt x="2421864" y="1418328"/>
                  </a:cubicBezTo>
                  <a:cubicBezTo>
                    <a:pt x="2422199" y="1417593"/>
                    <a:pt x="2422366" y="1416857"/>
                    <a:pt x="2422532" y="1416122"/>
                  </a:cubicBezTo>
                  <a:cubicBezTo>
                    <a:pt x="2422868" y="1414834"/>
                    <a:pt x="2423035" y="1413547"/>
                    <a:pt x="2423369" y="1412260"/>
                  </a:cubicBezTo>
                  <a:cubicBezTo>
                    <a:pt x="2423535" y="1411524"/>
                    <a:pt x="2423535" y="1410972"/>
                    <a:pt x="2423535" y="1410237"/>
                  </a:cubicBezTo>
                  <a:cubicBezTo>
                    <a:pt x="2423369" y="1410789"/>
                    <a:pt x="2423202" y="1410604"/>
                    <a:pt x="2423369" y="1410421"/>
                  </a:cubicBezTo>
                  <a:cubicBezTo>
                    <a:pt x="2423369" y="1409133"/>
                    <a:pt x="2423369" y="1407846"/>
                    <a:pt x="2423369" y="1406559"/>
                  </a:cubicBezTo>
                  <a:cubicBezTo>
                    <a:pt x="2423369" y="1406559"/>
                    <a:pt x="2423369" y="1406559"/>
                    <a:pt x="2423369" y="1406375"/>
                  </a:cubicBezTo>
                  <a:cubicBezTo>
                    <a:pt x="2423369" y="1405272"/>
                    <a:pt x="2423202" y="1404353"/>
                    <a:pt x="2423035" y="1403249"/>
                  </a:cubicBezTo>
                  <a:cubicBezTo>
                    <a:pt x="2422699" y="1401962"/>
                    <a:pt x="2422699" y="1400674"/>
                    <a:pt x="2422199" y="1399571"/>
                  </a:cubicBezTo>
                  <a:cubicBezTo>
                    <a:pt x="2421864" y="1398835"/>
                    <a:pt x="2421698" y="1398100"/>
                    <a:pt x="2421529" y="1397364"/>
                  </a:cubicBezTo>
                  <a:cubicBezTo>
                    <a:pt x="2421029" y="1396261"/>
                    <a:pt x="2420527" y="1394974"/>
                    <a:pt x="2420025" y="1393870"/>
                  </a:cubicBezTo>
                  <a:cubicBezTo>
                    <a:pt x="2419524" y="1392951"/>
                    <a:pt x="2419022" y="1392215"/>
                    <a:pt x="2418521" y="1391296"/>
                  </a:cubicBezTo>
                  <a:cubicBezTo>
                    <a:pt x="2418019" y="1390560"/>
                    <a:pt x="2417518" y="1389825"/>
                    <a:pt x="2417015" y="1389273"/>
                  </a:cubicBezTo>
                  <a:cubicBezTo>
                    <a:pt x="2416515" y="1388721"/>
                    <a:pt x="2416013" y="1388170"/>
                    <a:pt x="2415511" y="1387618"/>
                  </a:cubicBezTo>
                  <a:cubicBezTo>
                    <a:pt x="2414508" y="1386698"/>
                    <a:pt x="2413505" y="1385779"/>
                    <a:pt x="2412335" y="1385044"/>
                  </a:cubicBezTo>
                  <a:cubicBezTo>
                    <a:pt x="2411499" y="1384491"/>
                    <a:pt x="2410497" y="1383940"/>
                    <a:pt x="2409661" y="1383573"/>
                  </a:cubicBezTo>
                  <a:cubicBezTo>
                    <a:pt x="2407654" y="1382653"/>
                    <a:pt x="2405481" y="1382101"/>
                    <a:pt x="2403140" y="1381917"/>
                  </a:cubicBezTo>
                  <a:close/>
                  <a:moveTo>
                    <a:pt x="2515357" y="1381917"/>
                  </a:moveTo>
                  <a:cubicBezTo>
                    <a:pt x="2512514" y="1381733"/>
                    <a:pt x="2509673" y="1382285"/>
                    <a:pt x="2506998" y="1383388"/>
                  </a:cubicBezTo>
                  <a:cubicBezTo>
                    <a:pt x="2505159" y="1384124"/>
                    <a:pt x="2503487" y="1385227"/>
                    <a:pt x="2501983" y="1386515"/>
                  </a:cubicBezTo>
                  <a:cubicBezTo>
                    <a:pt x="2501146" y="1387250"/>
                    <a:pt x="2500479" y="1387986"/>
                    <a:pt x="2499643" y="1388721"/>
                  </a:cubicBezTo>
                  <a:cubicBezTo>
                    <a:pt x="2498806" y="1389641"/>
                    <a:pt x="2497971" y="1390744"/>
                    <a:pt x="2497302" y="1391663"/>
                  </a:cubicBezTo>
                  <a:cubicBezTo>
                    <a:pt x="2496799" y="1392399"/>
                    <a:pt x="2496298" y="1393319"/>
                    <a:pt x="2495965" y="1394054"/>
                  </a:cubicBezTo>
                  <a:cubicBezTo>
                    <a:pt x="2495295" y="1395158"/>
                    <a:pt x="2494794" y="1396445"/>
                    <a:pt x="2494459" y="1397732"/>
                  </a:cubicBezTo>
                  <a:cubicBezTo>
                    <a:pt x="2494125" y="1398467"/>
                    <a:pt x="2493958" y="1399387"/>
                    <a:pt x="2493792" y="1400123"/>
                  </a:cubicBezTo>
                  <a:cubicBezTo>
                    <a:pt x="2493457" y="1401226"/>
                    <a:pt x="2493289" y="1402514"/>
                    <a:pt x="2493122" y="1403617"/>
                  </a:cubicBezTo>
                  <a:cubicBezTo>
                    <a:pt x="2492621" y="1406927"/>
                    <a:pt x="2492621" y="1410237"/>
                    <a:pt x="2493289" y="1413363"/>
                  </a:cubicBezTo>
                  <a:cubicBezTo>
                    <a:pt x="2493457" y="1414467"/>
                    <a:pt x="2493624" y="1415570"/>
                    <a:pt x="2493958" y="1416673"/>
                  </a:cubicBezTo>
                  <a:cubicBezTo>
                    <a:pt x="2494292" y="1417593"/>
                    <a:pt x="2494459" y="1418328"/>
                    <a:pt x="2494794" y="1419247"/>
                  </a:cubicBezTo>
                  <a:cubicBezTo>
                    <a:pt x="2495129" y="1419799"/>
                    <a:pt x="2495295" y="1420351"/>
                    <a:pt x="2495463" y="1420903"/>
                  </a:cubicBezTo>
                  <a:cubicBezTo>
                    <a:pt x="2495965" y="1422006"/>
                    <a:pt x="2496466" y="1422926"/>
                    <a:pt x="2496968" y="1423845"/>
                  </a:cubicBezTo>
                  <a:cubicBezTo>
                    <a:pt x="2497469" y="1424580"/>
                    <a:pt x="2497971" y="1425316"/>
                    <a:pt x="2498472" y="1426051"/>
                  </a:cubicBezTo>
                  <a:cubicBezTo>
                    <a:pt x="2499141" y="1426971"/>
                    <a:pt x="2499976" y="1427891"/>
                    <a:pt x="2500813" y="1428626"/>
                  </a:cubicBezTo>
                  <a:cubicBezTo>
                    <a:pt x="2501482" y="1429362"/>
                    <a:pt x="2502316" y="1429913"/>
                    <a:pt x="2502986" y="1430465"/>
                  </a:cubicBezTo>
                  <a:cubicBezTo>
                    <a:pt x="2504156" y="1431385"/>
                    <a:pt x="2505493" y="1432120"/>
                    <a:pt x="2506830" y="1432672"/>
                  </a:cubicBezTo>
                  <a:cubicBezTo>
                    <a:pt x="2508503" y="1433408"/>
                    <a:pt x="2510340" y="1433959"/>
                    <a:pt x="2512180" y="1434143"/>
                  </a:cubicBezTo>
                  <a:cubicBezTo>
                    <a:pt x="2512514" y="1434143"/>
                    <a:pt x="2512682" y="1434143"/>
                    <a:pt x="2513017" y="1434327"/>
                  </a:cubicBezTo>
                  <a:cubicBezTo>
                    <a:pt x="2514020" y="1434327"/>
                    <a:pt x="2514856" y="1434327"/>
                    <a:pt x="2515858" y="1434327"/>
                  </a:cubicBezTo>
                  <a:cubicBezTo>
                    <a:pt x="2515858" y="1434143"/>
                    <a:pt x="2516026" y="1434327"/>
                    <a:pt x="2516026" y="1434327"/>
                  </a:cubicBezTo>
                  <a:cubicBezTo>
                    <a:pt x="2519201" y="1433959"/>
                    <a:pt x="2522211" y="1432856"/>
                    <a:pt x="2524885" y="1431017"/>
                  </a:cubicBezTo>
                  <a:cubicBezTo>
                    <a:pt x="2526056" y="1430281"/>
                    <a:pt x="2527059" y="1429362"/>
                    <a:pt x="2528062" y="1428258"/>
                  </a:cubicBezTo>
                  <a:cubicBezTo>
                    <a:pt x="2528898" y="1427523"/>
                    <a:pt x="2529568" y="1426604"/>
                    <a:pt x="2530236" y="1425684"/>
                  </a:cubicBezTo>
                  <a:cubicBezTo>
                    <a:pt x="2530738" y="1424948"/>
                    <a:pt x="2531239" y="1424213"/>
                    <a:pt x="2531741" y="1423294"/>
                  </a:cubicBezTo>
                  <a:cubicBezTo>
                    <a:pt x="2532242" y="1422374"/>
                    <a:pt x="2532743" y="1421454"/>
                    <a:pt x="2533245" y="1420351"/>
                  </a:cubicBezTo>
                  <a:cubicBezTo>
                    <a:pt x="2533579" y="1419615"/>
                    <a:pt x="2533746" y="1419064"/>
                    <a:pt x="2534081" y="1418328"/>
                  </a:cubicBezTo>
                  <a:cubicBezTo>
                    <a:pt x="2534416" y="1417593"/>
                    <a:pt x="2534582" y="1416857"/>
                    <a:pt x="2534749" y="1416122"/>
                  </a:cubicBezTo>
                  <a:cubicBezTo>
                    <a:pt x="2535084" y="1414834"/>
                    <a:pt x="2535252" y="1413547"/>
                    <a:pt x="2535586" y="1412260"/>
                  </a:cubicBezTo>
                  <a:cubicBezTo>
                    <a:pt x="2535753" y="1411524"/>
                    <a:pt x="2535753" y="1410972"/>
                    <a:pt x="2535753" y="1410237"/>
                  </a:cubicBezTo>
                  <a:cubicBezTo>
                    <a:pt x="2535586" y="1410789"/>
                    <a:pt x="2535419" y="1410604"/>
                    <a:pt x="2535586" y="1410421"/>
                  </a:cubicBezTo>
                  <a:cubicBezTo>
                    <a:pt x="2535586" y="1409133"/>
                    <a:pt x="2535586" y="1407846"/>
                    <a:pt x="2535586" y="1406559"/>
                  </a:cubicBezTo>
                  <a:cubicBezTo>
                    <a:pt x="2535586" y="1406559"/>
                    <a:pt x="2535586" y="1406559"/>
                    <a:pt x="2535586" y="1406375"/>
                  </a:cubicBezTo>
                  <a:cubicBezTo>
                    <a:pt x="2535586" y="1405272"/>
                    <a:pt x="2535419" y="1404353"/>
                    <a:pt x="2535252" y="1403249"/>
                  </a:cubicBezTo>
                  <a:cubicBezTo>
                    <a:pt x="2534916" y="1401962"/>
                    <a:pt x="2534916" y="1400674"/>
                    <a:pt x="2534416" y="1399571"/>
                  </a:cubicBezTo>
                  <a:cubicBezTo>
                    <a:pt x="2534081" y="1398835"/>
                    <a:pt x="2533914" y="1398100"/>
                    <a:pt x="2533746" y="1397364"/>
                  </a:cubicBezTo>
                  <a:cubicBezTo>
                    <a:pt x="2533245" y="1396261"/>
                    <a:pt x="2532743" y="1394974"/>
                    <a:pt x="2532242" y="1393870"/>
                  </a:cubicBezTo>
                  <a:cubicBezTo>
                    <a:pt x="2531741" y="1392951"/>
                    <a:pt x="2531239" y="1392215"/>
                    <a:pt x="2530738" y="1391296"/>
                  </a:cubicBezTo>
                  <a:cubicBezTo>
                    <a:pt x="2530236" y="1390560"/>
                    <a:pt x="2529734" y="1389825"/>
                    <a:pt x="2529232" y="1389273"/>
                  </a:cubicBezTo>
                  <a:cubicBezTo>
                    <a:pt x="2528732" y="1388721"/>
                    <a:pt x="2528229" y="1388170"/>
                    <a:pt x="2527729" y="1387618"/>
                  </a:cubicBezTo>
                  <a:cubicBezTo>
                    <a:pt x="2526725" y="1386698"/>
                    <a:pt x="2525722" y="1385779"/>
                    <a:pt x="2524552" y="1385044"/>
                  </a:cubicBezTo>
                  <a:cubicBezTo>
                    <a:pt x="2523715" y="1384491"/>
                    <a:pt x="2522713" y="1383940"/>
                    <a:pt x="2521877" y="1383573"/>
                  </a:cubicBezTo>
                  <a:cubicBezTo>
                    <a:pt x="2519871" y="1382653"/>
                    <a:pt x="2517697" y="1382101"/>
                    <a:pt x="2515357" y="1381917"/>
                  </a:cubicBezTo>
                  <a:close/>
                  <a:moveTo>
                    <a:pt x="2749889" y="1381917"/>
                  </a:moveTo>
                  <a:cubicBezTo>
                    <a:pt x="2747048" y="1381733"/>
                    <a:pt x="2744205" y="1382285"/>
                    <a:pt x="2741531" y="1383388"/>
                  </a:cubicBezTo>
                  <a:cubicBezTo>
                    <a:pt x="2739691" y="1384124"/>
                    <a:pt x="2738020" y="1385227"/>
                    <a:pt x="2736515" y="1386515"/>
                  </a:cubicBezTo>
                  <a:cubicBezTo>
                    <a:pt x="2735680" y="1387250"/>
                    <a:pt x="2735011" y="1387986"/>
                    <a:pt x="2734175" y="1388721"/>
                  </a:cubicBezTo>
                  <a:cubicBezTo>
                    <a:pt x="2733339" y="1389641"/>
                    <a:pt x="2732503" y="1390744"/>
                    <a:pt x="2731834" y="1391663"/>
                  </a:cubicBezTo>
                  <a:cubicBezTo>
                    <a:pt x="2731333" y="1392399"/>
                    <a:pt x="2730830" y="1393319"/>
                    <a:pt x="2730497" y="1394054"/>
                  </a:cubicBezTo>
                  <a:cubicBezTo>
                    <a:pt x="2729827" y="1395158"/>
                    <a:pt x="2729327" y="1396445"/>
                    <a:pt x="2728993" y="1397732"/>
                  </a:cubicBezTo>
                  <a:cubicBezTo>
                    <a:pt x="2728657" y="1398467"/>
                    <a:pt x="2728490" y="1399387"/>
                    <a:pt x="2728323" y="1400123"/>
                  </a:cubicBezTo>
                  <a:cubicBezTo>
                    <a:pt x="2727989" y="1401226"/>
                    <a:pt x="2727822" y="1402514"/>
                    <a:pt x="2727655" y="1403617"/>
                  </a:cubicBezTo>
                  <a:cubicBezTo>
                    <a:pt x="2727154" y="1406927"/>
                    <a:pt x="2727154" y="1410237"/>
                    <a:pt x="2727822" y="1413363"/>
                  </a:cubicBezTo>
                  <a:cubicBezTo>
                    <a:pt x="2727989" y="1414467"/>
                    <a:pt x="2728157" y="1415570"/>
                    <a:pt x="2728490" y="1416673"/>
                  </a:cubicBezTo>
                  <a:cubicBezTo>
                    <a:pt x="2728825" y="1417593"/>
                    <a:pt x="2728993" y="1418328"/>
                    <a:pt x="2729327" y="1419247"/>
                  </a:cubicBezTo>
                  <a:cubicBezTo>
                    <a:pt x="2729661" y="1419799"/>
                    <a:pt x="2729827" y="1420351"/>
                    <a:pt x="2729996" y="1420903"/>
                  </a:cubicBezTo>
                  <a:cubicBezTo>
                    <a:pt x="2730497" y="1422006"/>
                    <a:pt x="2730998" y="1422926"/>
                    <a:pt x="2731500" y="1423845"/>
                  </a:cubicBezTo>
                  <a:cubicBezTo>
                    <a:pt x="2732001" y="1424580"/>
                    <a:pt x="2732503" y="1425316"/>
                    <a:pt x="2733004" y="1426051"/>
                  </a:cubicBezTo>
                  <a:cubicBezTo>
                    <a:pt x="2733673" y="1426971"/>
                    <a:pt x="2734509" y="1427891"/>
                    <a:pt x="2735344" y="1428626"/>
                  </a:cubicBezTo>
                  <a:cubicBezTo>
                    <a:pt x="2736014" y="1429362"/>
                    <a:pt x="2736849" y="1429913"/>
                    <a:pt x="2737518" y="1430465"/>
                  </a:cubicBezTo>
                  <a:cubicBezTo>
                    <a:pt x="2738688" y="1431385"/>
                    <a:pt x="2740026" y="1432120"/>
                    <a:pt x="2741364" y="1432672"/>
                  </a:cubicBezTo>
                  <a:cubicBezTo>
                    <a:pt x="2743035" y="1433408"/>
                    <a:pt x="2744874" y="1433959"/>
                    <a:pt x="2746713" y="1434143"/>
                  </a:cubicBezTo>
                  <a:cubicBezTo>
                    <a:pt x="2747048" y="1434143"/>
                    <a:pt x="2747215" y="1434143"/>
                    <a:pt x="2747549" y="1434327"/>
                  </a:cubicBezTo>
                  <a:cubicBezTo>
                    <a:pt x="2748552" y="1434327"/>
                    <a:pt x="2749388" y="1434327"/>
                    <a:pt x="2750392" y="1434327"/>
                  </a:cubicBezTo>
                  <a:cubicBezTo>
                    <a:pt x="2750392" y="1434143"/>
                    <a:pt x="2750558" y="1434327"/>
                    <a:pt x="2750558" y="1434327"/>
                  </a:cubicBezTo>
                  <a:cubicBezTo>
                    <a:pt x="2753735" y="1433959"/>
                    <a:pt x="2756743" y="1432856"/>
                    <a:pt x="2759419" y="1431017"/>
                  </a:cubicBezTo>
                  <a:cubicBezTo>
                    <a:pt x="2760589" y="1430281"/>
                    <a:pt x="2761592" y="1429362"/>
                    <a:pt x="2762595" y="1428258"/>
                  </a:cubicBezTo>
                  <a:cubicBezTo>
                    <a:pt x="2763430" y="1427523"/>
                    <a:pt x="2764100" y="1426604"/>
                    <a:pt x="2764769" y="1425684"/>
                  </a:cubicBezTo>
                  <a:cubicBezTo>
                    <a:pt x="2765270" y="1424948"/>
                    <a:pt x="2765771" y="1424213"/>
                    <a:pt x="2766273" y="1423294"/>
                  </a:cubicBezTo>
                  <a:cubicBezTo>
                    <a:pt x="2766774" y="1422374"/>
                    <a:pt x="2767276" y="1421454"/>
                    <a:pt x="2767777" y="1420351"/>
                  </a:cubicBezTo>
                  <a:cubicBezTo>
                    <a:pt x="2768112" y="1419615"/>
                    <a:pt x="2768280" y="1419064"/>
                    <a:pt x="2768614" y="1418328"/>
                  </a:cubicBezTo>
                  <a:cubicBezTo>
                    <a:pt x="2768948" y="1417593"/>
                    <a:pt x="2769114" y="1416857"/>
                    <a:pt x="2769283" y="1416122"/>
                  </a:cubicBezTo>
                  <a:cubicBezTo>
                    <a:pt x="2769617" y="1414834"/>
                    <a:pt x="2769784" y="1413547"/>
                    <a:pt x="2770117" y="1412260"/>
                  </a:cubicBezTo>
                  <a:cubicBezTo>
                    <a:pt x="2770285" y="1411524"/>
                    <a:pt x="2770285" y="1410972"/>
                    <a:pt x="2770285" y="1410237"/>
                  </a:cubicBezTo>
                  <a:cubicBezTo>
                    <a:pt x="2770117" y="1410789"/>
                    <a:pt x="2769951" y="1410604"/>
                    <a:pt x="2770117" y="1410421"/>
                  </a:cubicBezTo>
                  <a:cubicBezTo>
                    <a:pt x="2770117" y="1409133"/>
                    <a:pt x="2770117" y="1407846"/>
                    <a:pt x="2770117" y="1406559"/>
                  </a:cubicBezTo>
                  <a:cubicBezTo>
                    <a:pt x="2770117" y="1406559"/>
                    <a:pt x="2770117" y="1406559"/>
                    <a:pt x="2770117" y="1406375"/>
                  </a:cubicBezTo>
                  <a:cubicBezTo>
                    <a:pt x="2770117" y="1405272"/>
                    <a:pt x="2769951" y="1404353"/>
                    <a:pt x="2769784" y="1403249"/>
                  </a:cubicBezTo>
                  <a:cubicBezTo>
                    <a:pt x="2769449" y="1401962"/>
                    <a:pt x="2769449" y="1400674"/>
                    <a:pt x="2768948" y="1399571"/>
                  </a:cubicBezTo>
                  <a:cubicBezTo>
                    <a:pt x="2768614" y="1398835"/>
                    <a:pt x="2768447" y="1398100"/>
                    <a:pt x="2768280" y="1397364"/>
                  </a:cubicBezTo>
                  <a:cubicBezTo>
                    <a:pt x="2767777" y="1396261"/>
                    <a:pt x="2767276" y="1394974"/>
                    <a:pt x="2766774" y="1393870"/>
                  </a:cubicBezTo>
                  <a:cubicBezTo>
                    <a:pt x="2766273" y="1392951"/>
                    <a:pt x="2765771" y="1392215"/>
                    <a:pt x="2765270" y="1391296"/>
                  </a:cubicBezTo>
                  <a:cubicBezTo>
                    <a:pt x="2764769" y="1390560"/>
                    <a:pt x="2764267" y="1389825"/>
                    <a:pt x="2763766" y="1389273"/>
                  </a:cubicBezTo>
                  <a:cubicBezTo>
                    <a:pt x="2763264" y="1388721"/>
                    <a:pt x="2762762" y="1388170"/>
                    <a:pt x="2762260" y="1387618"/>
                  </a:cubicBezTo>
                  <a:cubicBezTo>
                    <a:pt x="2761257" y="1386698"/>
                    <a:pt x="2760255" y="1385779"/>
                    <a:pt x="2759085" y="1385044"/>
                  </a:cubicBezTo>
                  <a:cubicBezTo>
                    <a:pt x="2758248" y="1384491"/>
                    <a:pt x="2757246" y="1383940"/>
                    <a:pt x="2756409" y="1383573"/>
                  </a:cubicBezTo>
                  <a:cubicBezTo>
                    <a:pt x="2754403" y="1382653"/>
                    <a:pt x="2752229" y="1382101"/>
                    <a:pt x="2749889" y="1381917"/>
                  </a:cubicBezTo>
                  <a:close/>
                  <a:moveTo>
                    <a:pt x="2872255" y="1381917"/>
                  </a:moveTo>
                  <a:cubicBezTo>
                    <a:pt x="2869413" y="1381733"/>
                    <a:pt x="2866571" y="1382285"/>
                    <a:pt x="2863896" y="1383388"/>
                  </a:cubicBezTo>
                  <a:cubicBezTo>
                    <a:pt x="2862057" y="1384124"/>
                    <a:pt x="2860386" y="1385227"/>
                    <a:pt x="2858881" y="1386515"/>
                  </a:cubicBezTo>
                  <a:cubicBezTo>
                    <a:pt x="2858045" y="1387250"/>
                    <a:pt x="2857375" y="1387986"/>
                    <a:pt x="2856541" y="1388721"/>
                  </a:cubicBezTo>
                  <a:cubicBezTo>
                    <a:pt x="2855705" y="1389641"/>
                    <a:pt x="2854868" y="1390744"/>
                    <a:pt x="2854198" y="1391663"/>
                  </a:cubicBezTo>
                  <a:cubicBezTo>
                    <a:pt x="2853698" y="1392399"/>
                    <a:pt x="2853197" y="1393319"/>
                    <a:pt x="2852862" y="1394054"/>
                  </a:cubicBezTo>
                  <a:cubicBezTo>
                    <a:pt x="2852194" y="1395158"/>
                    <a:pt x="2851691" y="1396445"/>
                    <a:pt x="2851358" y="1397732"/>
                  </a:cubicBezTo>
                  <a:cubicBezTo>
                    <a:pt x="2851024" y="1398467"/>
                    <a:pt x="2850856" y="1399387"/>
                    <a:pt x="2850688" y="1400123"/>
                  </a:cubicBezTo>
                  <a:cubicBezTo>
                    <a:pt x="2850354" y="1401226"/>
                    <a:pt x="2850188" y="1402514"/>
                    <a:pt x="2850020" y="1403617"/>
                  </a:cubicBezTo>
                  <a:cubicBezTo>
                    <a:pt x="2849518" y="1406927"/>
                    <a:pt x="2849518" y="1410237"/>
                    <a:pt x="2850188" y="1413363"/>
                  </a:cubicBezTo>
                  <a:cubicBezTo>
                    <a:pt x="2850354" y="1414467"/>
                    <a:pt x="2850522" y="1415570"/>
                    <a:pt x="2850856" y="1416673"/>
                  </a:cubicBezTo>
                  <a:cubicBezTo>
                    <a:pt x="2851191" y="1417593"/>
                    <a:pt x="2851358" y="1418328"/>
                    <a:pt x="2851691" y="1419247"/>
                  </a:cubicBezTo>
                  <a:cubicBezTo>
                    <a:pt x="2852027" y="1419799"/>
                    <a:pt x="2852194" y="1420351"/>
                    <a:pt x="2852361" y="1420903"/>
                  </a:cubicBezTo>
                  <a:cubicBezTo>
                    <a:pt x="2852862" y="1422006"/>
                    <a:pt x="2853365" y="1422926"/>
                    <a:pt x="2853865" y="1423845"/>
                  </a:cubicBezTo>
                  <a:cubicBezTo>
                    <a:pt x="2854367" y="1424580"/>
                    <a:pt x="2854868" y="1425316"/>
                    <a:pt x="2855370" y="1426051"/>
                  </a:cubicBezTo>
                  <a:cubicBezTo>
                    <a:pt x="2856039" y="1426971"/>
                    <a:pt x="2856875" y="1427891"/>
                    <a:pt x="2857711" y="1428626"/>
                  </a:cubicBezTo>
                  <a:cubicBezTo>
                    <a:pt x="2858379" y="1429362"/>
                    <a:pt x="2859216" y="1429913"/>
                    <a:pt x="2859884" y="1430465"/>
                  </a:cubicBezTo>
                  <a:cubicBezTo>
                    <a:pt x="2861054" y="1431385"/>
                    <a:pt x="2862392" y="1432120"/>
                    <a:pt x="2863729" y="1432672"/>
                  </a:cubicBezTo>
                  <a:cubicBezTo>
                    <a:pt x="2865401" y="1433408"/>
                    <a:pt x="2867239" y="1433959"/>
                    <a:pt x="2869079" y="1434143"/>
                  </a:cubicBezTo>
                  <a:cubicBezTo>
                    <a:pt x="2869413" y="1434143"/>
                    <a:pt x="2869580" y="1434143"/>
                    <a:pt x="2869915" y="1434327"/>
                  </a:cubicBezTo>
                  <a:cubicBezTo>
                    <a:pt x="2870917" y="1434327"/>
                    <a:pt x="2871753" y="1434327"/>
                    <a:pt x="2872756" y="1434327"/>
                  </a:cubicBezTo>
                  <a:cubicBezTo>
                    <a:pt x="2872756" y="1434143"/>
                    <a:pt x="2872924" y="1434327"/>
                    <a:pt x="2872924" y="1434327"/>
                  </a:cubicBezTo>
                  <a:cubicBezTo>
                    <a:pt x="2876101" y="1433959"/>
                    <a:pt x="2879109" y="1432856"/>
                    <a:pt x="2881784" y="1431017"/>
                  </a:cubicBezTo>
                  <a:cubicBezTo>
                    <a:pt x="2882955" y="1430281"/>
                    <a:pt x="2883957" y="1429362"/>
                    <a:pt x="2884961" y="1428258"/>
                  </a:cubicBezTo>
                  <a:cubicBezTo>
                    <a:pt x="2885797" y="1427523"/>
                    <a:pt x="2886466" y="1426604"/>
                    <a:pt x="2887134" y="1425684"/>
                  </a:cubicBezTo>
                  <a:cubicBezTo>
                    <a:pt x="2887636" y="1424948"/>
                    <a:pt x="2888138" y="1424213"/>
                    <a:pt x="2888639" y="1423294"/>
                  </a:cubicBezTo>
                  <a:cubicBezTo>
                    <a:pt x="2889141" y="1422374"/>
                    <a:pt x="2889642" y="1421454"/>
                    <a:pt x="2890143" y="1420351"/>
                  </a:cubicBezTo>
                  <a:cubicBezTo>
                    <a:pt x="2890478" y="1419615"/>
                    <a:pt x="2890645" y="1419064"/>
                    <a:pt x="2890979" y="1418328"/>
                  </a:cubicBezTo>
                  <a:cubicBezTo>
                    <a:pt x="2891314" y="1417593"/>
                    <a:pt x="2891481" y="1416857"/>
                    <a:pt x="2891648" y="1416122"/>
                  </a:cubicBezTo>
                  <a:cubicBezTo>
                    <a:pt x="2891982" y="1414834"/>
                    <a:pt x="2892150" y="1413547"/>
                    <a:pt x="2892484" y="1412260"/>
                  </a:cubicBezTo>
                  <a:cubicBezTo>
                    <a:pt x="2892651" y="1411524"/>
                    <a:pt x="2892651" y="1410972"/>
                    <a:pt x="2892651" y="1410237"/>
                  </a:cubicBezTo>
                  <a:cubicBezTo>
                    <a:pt x="2892484" y="1410789"/>
                    <a:pt x="2892317" y="1410604"/>
                    <a:pt x="2892484" y="1410421"/>
                  </a:cubicBezTo>
                  <a:cubicBezTo>
                    <a:pt x="2892484" y="1409133"/>
                    <a:pt x="2892484" y="1407846"/>
                    <a:pt x="2892484" y="1406559"/>
                  </a:cubicBezTo>
                  <a:cubicBezTo>
                    <a:pt x="2892484" y="1406559"/>
                    <a:pt x="2892484" y="1406559"/>
                    <a:pt x="2892484" y="1406375"/>
                  </a:cubicBezTo>
                  <a:cubicBezTo>
                    <a:pt x="2892484" y="1405272"/>
                    <a:pt x="2892317" y="1404353"/>
                    <a:pt x="2892150" y="1403249"/>
                  </a:cubicBezTo>
                  <a:cubicBezTo>
                    <a:pt x="2891815" y="1401962"/>
                    <a:pt x="2891815" y="1400674"/>
                    <a:pt x="2891314" y="1399571"/>
                  </a:cubicBezTo>
                  <a:cubicBezTo>
                    <a:pt x="2890979" y="1398835"/>
                    <a:pt x="2890812" y="1398100"/>
                    <a:pt x="2890645" y="1397364"/>
                  </a:cubicBezTo>
                  <a:cubicBezTo>
                    <a:pt x="2890143" y="1396261"/>
                    <a:pt x="2889642" y="1394974"/>
                    <a:pt x="2889141" y="1393870"/>
                  </a:cubicBezTo>
                  <a:cubicBezTo>
                    <a:pt x="2888639" y="1392951"/>
                    <a:pt x="2888138" y="1392215"/>
                    <a:pt x="2887636" y="1391296"/>
                  </a:cubicBezTo>
                  <a:cubicBezTo>
                    <a:pt x="2887134" y="1390560"/>
                    <a:pt x="2886632" y="1389825"/>
                    <a:pt x="2886131" y="1389273"/>
                  </a:cubicBezTo>
                  <a:cubicBezTo>
                    <a:pt x="2885630" y="1388721"/>
                    <a:pt x="2885128" y="1388170"/>
                    <a:pt x="2884627" y="1387618"/>
                  </a:cubicBezTo>
                  <a:cubicBezTo>
                    <a:pt x="2883624" y="1386698"/>
                    <a:pt x="2882620" y="1385779"/>
                    <a:pt x="2881450" y="1385044"/>
                  </a:cubicBezTo>
                  <a:cubicBezTo>
                    <a:pt x="2880614" y="1384491"/>
                    <a:pt x="2879611" y="1383940"/>
                    <a:pt x="2878774" y="1383573"/>
                  </a:cubicBezTo>
                  <a:cubicBezTo>
                    <a:pt x="2876769" y="1382653"/>
                    <a:pt x="2874596" y="1382101"/>
                    <a:pt x="2872255" y="1381917"/>
                  </a:cubicBezTo>
                  <a:close/>
                  <a:moveTo>
                    <a:pt x="3035481" y="1381917"/>
                  </a:moveTo>
                  <a:cubicBezTo>
                    <a:pt x="3032639" y="1381733"/>
                    <a:pt x="3029797" y="1382285"/>
                    <a:pt x="3027122" y="1383388"/>
                  </a:cubicBezTo>
                  <a:cubicBezTo>
                    <a:pt x="3025283" y="1384124"/>
                    <a:pt x="3023611" y="1385227"/>
                    <a:pt x="3022107" y="1386515"/>
                  </a:cubicBezTo>
                  <a:cubicBezTo>
                    <a:pt x="3021271" y="1387250"/>
                    <a:pt x="3020602" y="1387986"/>
                    <a:pt x="3019766" y="1388721"/>
                  </a:cubicBezTo>
                  <a:cubicBezTo>
                    <a:pt x="3018931" y="1389641"/>
                    <a:pt x="3018095" y="1390744"/>
                    <a:pt x="3017425" y="1391663"/>
                  </a:cubicBezTo>
                  <a:cubicBezTo>
                    <a:pt x="3016924" y="1392399"/>
                    <a:pt x="3016423" y="1393319"/>
                    <a:pt x="3016088" y="1394054"/>
                  </a:cubicBezTo>
                  <a:cubicBezTo>
                    <a:pt x="3015420" y="1395158"/>
                    <a:pt x="3014918" y="1396445"/>
                    <a:pt x="3014584" y="1397732"/>
                  </a:cubicBezTo>
                  <a:cubicBezTo>
                    <a:pt x="3014249" y="1398467"/>
                    <a:pt x="3014082" y="1399387"/>
                    <a:pt x="3013915" y="1400123"/>
                  </a:cubicBezTo>
                  <a:cubicBezTo>
                    <a:pt x="3013581" y="1401226"/>
                    <a:pt x="3013413" y="1402514"/>
                    <a:pt x="3013246" y="1403617"/>
                  </a:cubicBezTo>
                  <a:cubicBezTo>
                    <a:pt x="3012745" y="1406927"/>
                    <a:pt x="3012745" y="1410237"/>
                    <a:pt x="3013413" y="1413363"/>
                  </a:cubicBezTo>
                  <a:cubicBezTo>
                    <a:pt x="3013581" y="1414467"/>
                    <a:pt x="3013748" y="1415570"/>
                    <a:pt x="3014082" y="1416673"/>
                  </a:cubicBezTo>
                  <a:cubicBezTo>
                    <a:pt x="3014417" y="1417593"/>
                    <a:pt x="3014584" y="1418328"/>
                    <a:pt x="3014918" y="1419247"/>
                  </a:cubicBezTo>
                  <a:cubicBezTo>
                    <a:pt x="3015252" y="1419799"/>
                    <a:pt x="3015420" y="1420351"/>
                    <a:pt x="3015587" y="1420903"/>
                  </a:cubicBezTo>
                  <a:cubicBezTo>
                    <a:pt x="3016088" y="1422006"/>
                    <a:pt x="3016590" y="1422926"/>
                    <a:pt x="3017091" y="1423845"/>
                  </a:cubicBezTo>
                  <a:cubicBezTo>
                    <a:pt x="3017593" y="1424580"/>
                    <a:pt x="3018095" y="1425316"/>
                    <a:pt x="3018596" y="1426051"/>
                  </a:cubicBezTo>
                  <a:cubicBezTo>
                    <a:pt x="3019264" y="1426971"/>
                    <a:pt x="3020100" y="1427891"/>
                    <a:pt x="3020936" y="1428626"/>
                  </a:cubicBezTo>
                  <a:cubicBezTo>
                    <a:pt x="3021606" y="1429362"/>
                    <a:pt x="3022441" y="1429913"/>
                    <a:pt x="3023110" y="1430465"/>
                  </a:cubicBezTo>
                  <a:cubicBezTo>
                    <a:pt x="3024280" y="1431385"/>
                    <a:pt x="3025618" y="1432120"/>
                    <a:pt x="3026955" y="1432672"/>
                  </a:cubicBezTo>
                  <a:cubicBezTo>
                    <a:pt x="3028626" y="1433408"/>
                    <a:pt x="3030466" y="1433959"/>
                    <a:pt x="3032305" y="1434143"/>
                  </a:cubicBezTo>
                  <a:cubicBezTo>
                    <a:pt x="3032639" y="1434143"/>
                    <a:pt x="3032806" y="1434143"/>
                    <a:pt x="3033140" y="1434327"/>
                  </a:cubicBezTo>
                  <a:cubicBezTo>
                    <a:pt x="3034144" y="1434327"/>
                    <a:pt x="3034980" y="1434327"/>
                    <a:pt x="3035983" y="1434327"/>
                  </a:cubicBezTo>
                  <a:cubicBezTo>
                    <a:pt x="3035983" y="1434143"/>
                    <a:pt x="3036149" y="1434327"/>
                    <a:pt x="3036149" y="1434327"/>
                  </a:cubicBezTo>
                  <a:cubicBezTo>
                    <a:pt x="3039326" y="1433959"/>
                    <a:pt x="3042335" y="1432856"/>
                    <a:pt x="3045010" y="1431017"/>
                  </a:cubicBezTo>
                  <a:cubicBezTo>
                    <a:pt x="3046181" y="1430281"/>
                    <a:pt x="3047183" y="1429362"/>
                    <a:pt x="3048186" y="1428258"/>
                  </a:cubicBezTo>
                  <a:cubicBezTo>
                    <a:pt x="3049022" y="1427523"/>
                    <a:pt x="3049691" y="1426604"/>
                    <a:pt x="3050360" y="1425684"/>
                  </a:cubicBezTo>
                  <a:cubicBezTo>
                    <a:pt x="3050861" y="1424948"/>
                    <a:pt x="3051363" y="1424213"/>
                    <a:pt x="3051864" y="1423294"/>
                  </a:cubicBezTo>
                  <a:cubicBezTo>
                    <a:pt x="3052366" y="1422374"/>
                    <a:pt x="3052868" y="1421454"/>
                    <a:pt x="3053369" y="1420351"/>
                  </a:cubicBezTo>
                  <a:cubicBezTo>
                    <a:pt x="3053704" y="1419615"/>
                    <a:pt x="3053871" y="1419064"/>
                    <a:pt x="3054205" y="1418328"/>
                  </a:cubicBezTo>
                  <a:cubicBezTo>
                    <a:pt x="3054539" y="1417593"/>
                    <a:pt x="3054707" y="1416857"/>
                    <a:pt x="3054873" y="1416122"/>
                  </a:cubicBezTo>
                  <a:cubicBezTo>
                    <a:pt x="3055208" y="1414834"/>
                    <a:pt x="3055375" y="1413547"/>
                    <a:pt x="3055710" y="1412260"/>
                  </a:cubicBezTo>
                  <a:cubicBezTo>
                    <a:pt x="3055877" y="1411524"/>
                    <a:pt x="3055877" y="1410972"/>
                    <a:pt x="3055877" y="1410237"/>
                  </a:cubicBezTo>
                  <a:cubicBezTo>
                    <a:pt x="3055710" y="1410789"/>
                    <a:pt x="3055543" y="1410604"/>
                    <a:pt x="3055710" y="1410421"/>
                  </a:cubicBezTo>
                  <a:cubicBezTo>
                    <a:pt x="3055710" y="1409133"/>
                    <a:pt x="3055710" y="1407846"/>
                    <a:pt x="3055710" y="1406559"/>
                  </a:cubicBezTo>
                  <a:cubicBezTo>
                    <a:pt x="3055710" y="1406559"/>
                    <a:pt x="3055710" y="1406559"/>
                    <a:pt x="3055710" y="1406375"/>
                  </a:cubicBezTo>
                  <a:cubicBezTo>
                    <a:pt x="3055710" y="1405272"/>
                    <a:pt x="3055543" y="1404353"/>
                    <a:pt x="3055375" y="1403249"/>
                  </a:cubicBezTo>
                  <a:cubicBezTo>
                    <a:pt x="3055041" y="1401962"/>
                    <a:pt x="3055041" y="1400674"/>
                    <a:pt x="3054539" y="1399571"/>
                  </a:cubicBezTo>
                  <a:cubicBezTo>
                    <a:pt x="3054205" y="1398835"/>
                    <a:pt x="3054038" y="1398100"/>
                    <a:pt x="3053871" y="1397364"/>
                  </a:cubicBezTo>
                  <a:cubicBezTo>
                    <a:pt x="3053369" y="1396261"/>
                    <a:pt x="3052868" y="1394974"/>
                    <a:pt x="3052366" y="1393870"/>
                  </a:cubicBezTo>
                  <a:cubicBezTo>
                    <a:pt x="3051864" y="1392951"/>
                    <a:pt x="3051363" y="1392215"/>
                    <a:pt x="3050861" y="1391296"/>
                  </a:cubicBezTo>
                  <a:cubicBezTo>
                    <a:pt x="3050360" y="1390560"/>
                    <a:pt x="3049858" y="1389825"/>
                    <a:pt x="3049357" y="1389273"/>
                  </a:cubicBezTo>
                  <a:cubicBezTo>
                    <a:pt x="3048856" y="1388721"/>
                    <a:pt x="3048354" y="1388170"/>
                    <a:pt x="3047852" y="1387618"/>
                  </a:cubicBezTo>
                  <a:cubicBezTo>
                    <a:pt x="3046849" y="1386698"/>
                    <a:pt x="3045846" y="1385779"/>
                    <a:pt x="3044676" y="1385044"/>
                  </a:cubicBezTo>
                  <a:cubicBezTo>
                    <a:pt x="3043840" y="1384491"/>
                    <a:pt x="3042837" y="1383940"/>
                    <a:pt x="3042001" y="1383573"/>
                  </a:cubicBezTo>
                  <a:cubicBezTo>
                    <a:pt x="3039995" y="1382653"/>
                    <a:pt x="3037821" y="1382101"/>
                    <a:pt x="3035481" y="1381917"/>
                  </a:cubicBezTo>
                  <a:close/>
                  <a:moveTo>
                    <a:pt x="3096688" y="1381917"/>
                  </a:moveTo>
                  <a:cubicBezTo>
                    <a:pt x="3093847" y="1381733"/>
                    <a:pt x="3091005" y="1382285"/>
                    <a:pt x="3088330" y="1383388"/>
                  </a:cubicBezTo>
                  <a:cubicBezTo>
                    <a:pt x="3086491" y="1384124"/>
                    <a:pt x="3084819" y="1385227"/>
                    <a:pt x="3083314" y="1386515"/>
                  </a:cubicBezTo>
                  <a:cubicBezTo>
                    <a:pt x="3082478" y="1387250"/>
                    <a:pt x="3081810" y="1387986"/>
                    <a:pt x="3080974" y="1388721"/>
                  </a:cubicBezTo>
                  <a:cubicBezTo>
                    <a:pt x="3080138" y="1389641"/>
                    <a:pt x="3079302" y="1390744"/>
                    <a:pt x="3078633" y="1391663"/>
                  </a:cubicBezTo>
                  <a:cubicBezTo>
                    <a:pt x="3078132" y="1392399"/>
                    <a:pt x="3077631" y="1393319"/>
                    <a:pt x="3077296" y="1394054"/>
                  </a:cubicBezTo>
                  <a:cubicBezTo>
                    <a:pt x="3076627" y="1395158"/>
                    <a:pt x="3076126" y="1396445"/>
                    <a:pt x="3075791" y="1397732"/>
                  </a:cubicBezTo>
                  <a:cubicBezTo>
                    <a:pt x="3075457" y="1398467"/>
                    <a:pt x="3075289" y="1399387"/>
                    <a:pt x="3075123" y="1400123"/>
                  </a:cubicBezTo>
                  <a:cubicBezTo>
                    <a:pt x="3074788" y="1401226"/>
                    <a:pt x="3074621" y="1402514"/>
                    <a:pt x="3074454" y="1403617"/>
                  </a:cubicBezTo>
                  <a:cubicBezTo>
                    <a:pt x="3073952" y="1406927"/>
                    <a:pt x="3073952" y="1410237"/>
                    <a:pt x="3074621" y="1413363"/>
                  </a:cubicBezTo>
                  <a:cubicBezTo>
                    <a:pt x="3074788" y="1414467"/>
                    <a:pt x="3074956" y="1415570"/>
                    <a:pt x="3075289" y="1416673"/>
                  </a:cubicBezTo>
                  <a:cubicBezTo>
                    <a:pt x="3075624" y="1417593"/>
                    <a:pt x="3075791" y="1418328"/>
                    <a:pt x="3076126" y="1419247"/>
                  </a:cubicBezTo>
                  <a:cubicBezTo>
                    <a:pt x="3076460" y="1419799"/>
                    <a:pt x="3076627" y="1420351"/>
                    <a:pt x="3076795" y="1420903"/>
                  </a:cubicBezTo>
                  <a:cubicBezTo>
                    <a:pt x="3077296" y="1422006"/>
                    <a:pt x="3077798" y="1422926"/>
                    <a:pt x="3078299" y="1423845"/>
                  </a:cubicBezTo>
                  <a:cubicBezTo>
                    <a:pt x="3078800" y="1424580"/>
                    <a:pt x="3079302" y="1425316"/>
                    <a:pt x="3079804" y="1426051"/>
                  </a:cubicBezTo>
                  <a:cubicBezTo>
                    <a:pt x="3080472" y="1426971"/>
                    <a:pt x="3081308" y="1427891"/>
                    <a:pt x="3082144" y="1428626"/>
                  </a:cubicBezTo>
                  <a:cubicBezTo>
                    <a:pt x="3082813" y="1429362"/>
                    <a:pt x="3083649" y="1429913"/>
                    <a:pt x="3084318" y="1430465"/>
                  </a:cubicBezTo>
                  <a:cubicBezTo>
                    <a:pt x="3085488" y="1431385"/>
                    <a:pt x="3086825" y="1432120"/>
                    <a:pt x="3088162" y="1432672"/>
                  </a:cubicBezTo>
                  <a:cubicBezTo>
                    <a:pt x="3089834" y="1433408"/>
                    <a:pt x="3091673" y="1433959"/>
                    <a:pt x="3093512" y="1434143"/>
                  </a:cubicBezTo>
                  <a:cubicBezTo>
                    <a:pt x="3093847" y="1434143"/>
                    <a:pt x="3094013" y="1434143"/>
                    <a:pt x="3094348" y="1434327"/>
                  </a:cubicBezTo>
                  <a:cubicBezTo>
                    <a:pt x="3095351" y="1434327"/>
                    <a:pt x="3096187" y="1434327"/>
                    <a:pt x="3097190" y="1434327"/>
                  </a:cubicBezTo>
                  <a:cubicBezTo>
                    <a:pt x="3097190" y="1434143"/>
                    <a:pt x="3097357" y="1434327"/>
                    <a:pt x="3097357" y="1434327"/>
                  </a:cubicBezTo>
                  <a:cubicBezTo>
                    <a:pt x="3100534" y="1433959"/>
                    <a:pt x="3103543" y="1432856"/>
                    <a:pt x="3106218" y="1431017"/>
                  </a:cubicBezTo>
                  <a:cubicBezTo>
                    <a:pt x="3107388" y="1430281"/>
                    <a:pt x="3108391" y="1429362"/>
                    <a:pt x="3109394" y="1428258"/>
                  </a:cubicBezTo>
                  <a:cubicBezTo>
                    <a:pt x="3110230" y="1427523"/>
                    <a:pt x="3110899" y="1426604"/>
                    <a:pt x="3111568" y="1425684"/>
                  </a:cubicBezTo>
                  <a:cubicBezTo>
                    <a:pt x="3112069" y="1424948"/>
                    <a:pt x="3112571" y="1424213"/>
                    <a:pt x="3113072" y="1423294"/>
                  </a:cubicBezTo>
                  <a:cubicBezTo>
                    <a:pt x="3113574" y="1422374"/>
                    <a:pt x="3114075" y="1421454"/>
                    <a:pt x="3114577" y="1420351"/>
                  </a:cubicBezTo>
                  <a:cubicBezTo>
                    <a:pt x="3114911" y="1419615"/>
                    <a:pt x="3115078" y="1419064"/>
                    <a:pt x="3115412" y="1418328"/>
                  </a:cubicBezTo>
                  <a:cubicBezTo>
                    <a:pt x="3115747" y="1417593"/>
                    <a:pt x="3115914" y="1416857"/>
                    <a:pt x="3116081" y="1416122"/>
                  </a:cubicBezTo>
                  <a:cubicBezTo>
                    <a:pt x="3116416" y="1414834"/>
                    <a:pt x="3116583" y="1413547"/>
                    <a:pt x="3116918" y="1412260"/>
                  </a:cubicBezTo>
                  <a:cubicBezTo>
                    <a:pt x="3117084" y="1411524"/>
                    <a:pt x="3117084" y="1410972"/>
                    <a:pt x="3117084" y="1410237"/>
                  </a:cubicBezTo>
                  <a:cubicBezTo>
                    <a:pt x="3116918" y="1410789"/>
                    <a:pt x="3116750" y="1410604"/>
                    <a:pt x="3116918" y="1410421"/>
                  </a:cubicBezTo>
                  <a:cubicBezTo>
                    <a:pt x="3116918" y="1409133"/>
                    <a:pt x="3116918" y="1407846"/>
                    <a:pt x="3116918" y="1406559"/>
                  </a:cubicBezTo>
                  <a:cubicBezTo>
                    <a:pt x="3116918" y="1406559"/>
                    <a:pt x="3116918" y="1406559"/>
                    <a:pt x="3116918" y="1406375"/>
                  </a:cubicBezTo>
                  <a:cubicBezTo>
                    <a:pt x="3116918" y="1405272"/>
                    <a:pt x="3116750" y="1404353"/>
                    <a:pt x="3116583" y="1403249"/>
                  </a:cubicBezTo>
                  <a:cubicBezTo>
                    <a:pt x="3116248" y="1401962"/>
                    <a:pt x="3116248" y="1400674"/>
                    <a:pt x="3115747" y="1399571"/>
                  </a:cubicBezTo>
                  <a:cubicBezTo>
                    <a:pt x="3115412" y="1398835"/>
                    <a:pt x="3115246" y="1398100"/>
                    <a:pt x="3115078" y="1397364"/>
                  </a:cubicBezTo>
                  <a:cubicBezTo>
                    <a:pt x="3114577" y="1396261"/>
                    <a:pt x="3114075" y="1394974"/>
                    <a:pt x="3113574" y="1393870"/>
                  </a:cubicBezTo>
                  <a:cubicBezTo>
                    <a:pt x="3113072" y="1392951"/>
                    <a:pt x="3112571" y="1392215"/>
                    <a:pt x="3112069" y="1391296"/>
                  </a:cubicBezTo>
                  <a:cubicBezTo>
                    <a:pt x="3111568" y="1390560"/>
                    <a:pt x="3111066" y="1389825"/>
                    <a:pt x="3110564" y="1389273"/>
                  </a:cubicBezTo>
                  <a:cubicBezTo>
                    <a:pt x="3110063" y="1388721"/>
                    <a:pt x="3109561" y="1388170"/>
                    <a:pt x="3109060" y="1387618"/>
                  </a:cubicBezTo>
                  <a:cubicBezTo>
                    <a:pt x="3108057" y="1386698"/>
                    <a:pt x="3107054" y="1385779"/>
                    <a:pt x="3105884" y="1385044"/>
                  </a:cubicBezTo>
                  <a:cubicBezTo>
                    <a:pt x="3105047" y="1384491"/>
                    <a:pt x="3104045" y="1383940"/>
                    <a:pt x="3103209" y="1383573"/>
                  </a:cubicBezTo>
                  <a:cubicBezTo>
                    <a:pt x="3101202" y="1382653"/>
                    <a:pt x="3099029" y="1382101"/>
                    <a:pt x="3096688" y="1381917"/>
                  </a:cubicBezTo>
                  <a:close/>
                  <a:moveTo>
                    <a:pt x="3208905" y="1381917"/>
                  </a:moveTo>
                  <a:cubicBezTo>
                    <a:pt x="3206063" y="1381733"/>
                    <a:pt x="3203221" y="1382285"/>
                    <a:pt x="3200546" y="1383388"/>
                  </a:cubicBezTo>
                  <a:cubicBezTo>
                    <a:pt x="3198707" y="1384124"/>
                    <a:pt x="3197035" y="1385227"/>
                    <a:pt x="3195531" y="1386515"/>
                  </a:cubicBezTo>
                  <a:cubicBezTo>
                    <a:pt x="3194695" y="1387250"/>
                    <a:pt x="3194027" y="1387986"/>
                    <a:pt x="3193191" y="1388721"/>
                  </a:cubicBezTo>
                  <a:cubicBezTo>
                    <a:pt x="3192355" y="1389641"/>
                    <a:pt x="3191519" y="1390744"/>
                    <a:pt x="3190850" y="1391663"/>
                  </a:cubicBezTo>
                  <a:cubicBezTo>
                    <a:pt x="3190348" y="1392399"/>
                    <a:pt x="3189847" y="1393319"/>
                    <a:pt x="3189513" y="1394054"/>
                  </a:cubicBezTo>
                  <a:cubicBezTo>
                    <a:pt x="3188844" y="1395158"/>
                    <a:pt x="3188343" y="1396445"/>
                    <a:pt x="3188008" y="1397732"/>
                  </a:cubicBezTo>
                  <a:cubicBezTo>
                    <a:pt x="3187673" y="1398467"/>
                    <a:pt x="3187506" y="1399387"/>
                    <a:pt x="3187340" y="1400123"/>
                  </a:cubicBezTo>
                  <a:cubicBezTo>
                    <a:pt x="3187005" y="1401226"/>
                    <a:pt x="3186838" y="1402514"/>
                    <a:pt x="3186670" y="1403617"/>
                  </a:cubicBezTo>
                  <a:cubicBezTo>
                    <a:pt x="3186169" y="1406927"/>
                    <a:pt x="3186169" y="1410237"/>
                    <a:pt x="3186838" y="1413363"/>
                  </a:cubicBezTo>
                  <a:cubicBezTo>
                    <a:pt x="3187005" y="1414467"/>
                    <a:pt x="3187172" y="1415570"/>
                    <a:pt x="3187506" y="1416673"/>
                  </a:cubicBezTo>
                  <a:cubicBezTo>
                    <a:pt x="3187841" y="1417593"/>
                    <a:pt x="3188008" y="1418328"/>
                    <a:pt x="3188343" y="1419247"/>
                  </a:cubicBezTo>
                  <a:cubicBezTo>
                    <a:pt x="3188677" y="1419799"/>
                    <a:pt x="3188844" y="1420351"/>
                    <a:pt x="3189011" y="1420903"/>
                  </a:cubicBezTo>
                  <a:cubicBezTo>
                    <a:pt x="3189513" y="1422006"/>
                    <a:pt x="3190014" y="1422926"/>
                    <a:pt x="3190516" y="1423845"/>
                  </a:cubicBezTo>
                  <a:cubicBezTo>
                    <a:pt x="3191017" y="1424580"/>
                    <a:pt x="3191519" y="1425316"/>
                    <a:pt x="3192020" y="1426051"/>
                  </a:cubicBezTo>
                  <a:cubicBezTo>
                    <a:pt x="3192689" y="1426971"/>
                    <a:pt x="3193525" y="1427891"/>
                    <a:pt x="3194360" y="1428626"/>
                  </a:cubicBezTo>
                  <a:cubicBezTo>
                    <a:pt x="3195030" y="1429362"/>
                    <a:pt x="3195866" y="1429913"/>
                    <a:pt x="3196534" y="1430465"/>
                  </a:cubicBezTo>
                  <a:cubicBezTo>
                    <a:pt x="3197705" y="1431385"/>
                    <a:pt x="3199042" y="1432120"/>
                    <a:pt x="3200379" y="1432672"/>
                  </a:cubicBezTo>
                  <a:cubicBezTo>
                    <a:pt x="3202051" y="1433408"/>
                    <a:pt x="3203890" y="1433959"/>
                    <a:pt x="3205729" y="1434143"/>
                  </a:cubicBezTo>
                  <a:cubicBezTo>
                    <a:pt x="3206063" y="1434143"/>
                    <a:pt x="3206230" y="1434143"/>
                    <a:pt x="3206565" y="1434327"/>
                  </a:cubicBezTo>
                  <a:cubicBezTo>
                    <a:pt x="3207568" y="1434327"/>
                    <a:pt x="3208404" y="1434327"/>
                    <a:pt x="3209407" y="1434327"/>
                  </a:cubicBezTo>
                  <a:cubicBezTo>
                    <a:pt x="3209407" y="1434143"/>
                    <a:pt x="3209574" y="1434327"/>
                    <a:pt x="3209574" y="1434327"/>
                  </a:cubicBezTo>
                  <a:cubicBezTo>
                    <a:pt x="3212751" y="1433959"/>
                    <a:pt x="3215759" y="1432856"/>
                    <a:pt x="3218434" y="1431017"/>
                  </a:cubicBezTo>
                  <a:cubicBezTo>
                    <a:pt x="3219605" y="1430281"/>
                    <a:pt x="3220607" y="1429362"/>
                    <a:pt x="3221611" y="1428258"/>
                  </a:cubicBezTo>
                  <a:cubicBezTo>
                    <a:pt x="3222446" y="1427523"/>
                    <a:pt x="3223116" y="1426604"/>
                    <a:pt x="3223784" y="1425684"/>
                  </a:cubicBezTo>
                  <a:cubicBezTo>
                    <a:pt x="3224286" y="1424948"/>
                    <a:pt x="3224787" y="1424213"/>
                    <a:pt x="3225289" y="1423294"/>
                  </a:cubicBezTo>
                  <a:cubicBezTo>
                    <a:pt x="3225791" y="1422374"/>
                    <a:pt x="3226292" y="1421454"/>
                    <a:pt x="3226793" y="1420351"/>
                  </a:cubicBezTo>
                  <a:cubicBezTo>
                    <a:pt x="3227128" y="1419615"/>
                    <a:pt x="3227295" y="1419064"/>
                    <a:pt x="3227629" y="1418328"/>
                  </a:cubicBezTo>
                  <a:cubicBezTo>
                    <a:pt x="3227964" y="1417593"/>
                    <a:pt x="3228131" y="1416857"/>
                    <a:pt x="3228298" y="1416122"/>
                  </a:cubicBezTo>
                  <a:cubicBezTo>
                    <a:pt x="3228632" y="1414834"/>
                    <a:pt x="3228800" y="1413547"/>
                    <a:pt x="3229134" y="1412260"/>
                  </a:cubicBezTo>
                  <a:cubicBezTo>
                    <a:pt x="3229301" y="1411524"/>
                    <a:pt x="3229301" y="1410972"/>
                    <a:pt x="3229301" y="1410237"/>
                  </a:cubicBezTo>
                  <a:cubicBezTo>
                    <a:pt x="3229134" y="1410789"/>
                    <a:pt x="3228967" y="1410604"/>
                    <a:pt x="3229134" y="1410421"/>
                  </a:cubicBezTo>
                  <a:cubicBezTo>
                    <a:pt x="3229134" y="1409133"/>
                    <a:pt x="3229134" y="1407846"/>
                    <a:pt x="3229134" y="1406559"/>
                  </a:cubicBezTo>
                  <a:cubicBezTo>
                    <a:pt x="3229134" y="1406559"/>
                    <a:pt x="3229134" y="1406559"/>
                    <a:pt x="3229134" y="1406375"/>
                  </a:cubicBezTo>
                  <a:cubicBezTo>
                    <a:pt x="3229134" y="1405272"/>
                    <a:pt x="3228967" y="1404353"/>
                    <a:pt x="3228800" y="1403249"/>
                  </a:cubicBezTo>
                  <a:cubicBezTo>
                    <a:pt x="3228465" y="1401962"/>
                    <a:pt x="3228465" y="1400674"/>
                    <a:pt x="3227964" y="1399571"/>
                  </a:cubicBezTo>
                  <a:cubicBezTo>
                    <a:pt x="3227629" y="1398835"/>
                    <a:pt x="3227462" y="1398100"/>
                    <a:pt x="3227295" y="1397364"/>
                  </a:cubicBezTo>
                  <a:cubicBezTo>
                    <a:pt x="3226793" y="1396261"/>
                    <a:pt x="3226292" y="1394974"/>
                    <a:pt x="3225791" y="1393870"/>
                  </a:cubicBezTo>
                  <a:cubicBezTo>
                    <a:pt x="3225289" y="1392951"/>
                    <a:pt x="3224787" y="1392215"/>
                    <a:pt x="3224286" y="1391296"/>
                  </a:cubicBezTo>
                  <a:cubicBezTo>
                    <a:pt x="3223784" y="1390560"/>
                    <a:pt x="3223282" y="1389825"/>
                    <a:pt x="3222781" y="1389273"/>
                  </a:cubicBezTo>
                  <a:cubicBezTo>
                    <a:pt x="3222280" y="1388721"/>
                    <a:pt x="3221778" y="1388170"/>
                    <a:pt x="3221277" y="1387618"/>
                  </a:cubicBezTo>
                  <a:cubicBezTo>
                    <a:pt x="3220273" y="1386698"/>
                    <a:pt x="3219270" y="1385779"/>
                    <a:pt x="3218100" y="1385044"/>
                  </a:cubicBezTo>
                  <a:cubicBezTo>
                    <a:pt x="3217264" y="1384491"/>
                    <a:pt x="3216261" y="1383940"/>
                    <a:pt x="3215425" y="1383573"/>
                  </a:cubicBezTo>
                  <a:cubicBezTo>
                    <a:pt x="3213419" y="1382653"/>
                    <a:pt x="3211245" y="1382101"/>
                    <a:pt x="3208905" y="1381917"/>
                  </a:cubicBezTo>
                  <a:close/>
                  <a:moveTo>
                    <a:pt x="3270113" y="1381917"/>
                  </a:moveTo>
                  <a:cubicBezTo>
                    <a:pt x="3267271" y="1381733"/>
                    <a:pt x="3264429" y="1382285"/>
                    <a:pt x="3261754" y="1383388"/>
                  </a:cubicBezTo>
                  <a:cubicBezTo>
                    <a:pt x="3259915" y="1384124"/>
                    <a:pt x="3258243" y="1385227"/>
                    <a:pt x="3256739" y="1386515"/>
                  </a:cubicBezTo>
                  <a:cubicBezTo>
                    <a:pt x="3255903" y="1387250"/>
                    <a:pt x="3255234" y="1387986"/>
                    <a:pt x="3254398" y="1388721"/>
                  </a:cubicBezTo>
                  <a:cubicBezTo>
                    <a:pt x="3253562" y="1389641"/>
                    <a:pt x="3252726" y="1390744"/>
                    <a:pt x="3252057" y="1391663"/>
                  </a:cubicBezTo>
                  <a:cubicBezTo>
                    <a:pt x="3251556" y="1392399"/>
                    <a:pt x="3251055" y="1393319"/>
                    <a:pt x="3250720" y="1394054"/>
                  </a:cubicBezTo>
                  <a:cubicBezTo>
                    <a:pt x="3250052" y="1395158"/>
                    <a:pt x="3249550" y="1396445"/>
                    <a:pt x="3249216" y="1397732"/>
                  </a:cubicBezTo>
                  <a:cubicBezTo>
                    <a:pt x="3248881" y="1398467"/>
                    <a:pt x="3248714" y="1399387"/>
                    <a:pt x="3248547" y="1400123"/>
                  </a:cubicBezTo>
                  <a:cubicBezTo>
                    <a:pt x="3248212" y="1401226"/>
                    <a:pt x="3248045" y="1402514"/>
                    <a:pt x="3247878" y="1403617"/>
                  </a:cubicBezTo>
                  <a:cubicBezTo>
                    <a:pt x="3247377" y="1406927"/>
                    <a:pt x="3247377" y="1410237"/>
                    <a:pt x="3248045" y="1413363"/>
                  </a:cubicBezTo>
                  <a:cubicBezTo>
                    <a:pt x="3248212" y="1414467"/>
                    <a:pt x="3248380" y="1415570"/>
                    <a:pt x="3248714" y="1416673"/>
                  </a:cubicBezTo>
                  <a:cubicBezTo>
                    <a:pt x="3249048" y="1417593"/>
                    <a:pt x="3249216" y="1418328"/>
                    <a:pt x="3249550" y="1419247"/>
                  </a:cubicBezTo>
                  <a:cubicBezTo>
                    <a:pt x="3249884" y="1419799"/>
                    <a:pt x="3250052" y="1420351"/>
                    <a:pt x="3250219" y="1420903"/>
                  </a:cubicBezTo>
                  <a:cubicBezTo>
                    <a:pt x="3250720" y="1422006"/>
                    <a:pt x="3251222" y="1422926"/>
                    <a:pt x="3251723" y="1423845"/>
                  </a:cubicBezTo>
                  <a:cubicBezTo>
                    <a:pt x="3252225" y="1424580"/>
                    <a:pt x="3252726" y="1425316"/>
                    <a:pt x="3253228" y="1426051"/>
                  </a:cubicBezTo>
                  <a:cubicBezTo>
                    <a:pt x="3253896" y="1426971"/>
                    <a:pt x="3254732" y="1427891"/>
                    <a:pt x="3255568" y="1428626"/>
                  </a:cubicBezTo>
                  <a:cubicBezTo>
                    <a:pt x="3256237" y="1429362"/>
                    <a:pt x="3257073" y="1429913"/>
                    <a:pt x="3257742" y="1430465"/>
                  </a:cubicBezTo>
                  <a:cubicBezTo>
                    <a:pt x="3258912" y="1431385"/>
                    <a:pt x="3260249" y="1432120"/>
                    <a:pt x="3261587" y="1432672"/>
                  </a:cubicBezTo>
                  <a:cubicBezTo>
                    <a:pt x="3263258" y="1433408"/>
                    <a:pt x="3265097" y="1433959"/>
                    <a:pt x="3266936" y="1434143"/>
                  </a:cubicBezTo>
                  <a:cubicBezTo>
                    <a:pt x="3267271" y="1434143"/>
                    <a:pt x="3267438" y="1434143"/>
                    <a:pt x="3267772" y="1434327"/>
                  </a:cubicBezTo>
                  <a:cubicBezTo>
                    <a:pt x="3268776" y="1434327"/>
                    <a:pt x="3269611" y="1434327"/>
                    <a:pt x="3270615" y="1434327"/>
                  </a:cubicBezTo>
                  <a:cubicBezTo>
                    <a:pt x="3270615" y="1434143"/>
                    <a:pt x="3270781" y="1434327"/>
                    <a:pt x="3270781" y="1434327"/>
                  </a:cubicBezTo>
                  <a:cubicBezTo>
                    <a:pt x="3273958" y="1433959"/>
                    <a:pt x="3276967" y="1432856"/>
                    <a:pt x="3279642" y="1431017"/>
                  </a:cubicBezTo>
                  <a:cubicBezTo>
                    <a:pt x="3280812" y="1430281"/>
                    <a:pt x="3281815" y="1429362"/>
                    <a:pt x="3282818" y="1428258"/>
                  </a:cubicBezTo>
                  <a:cubicBezTo>
                    <a:pt x="3283654" y="1427523"/>
                    <a:pt x="3284323" y="1426604"/>
                    <a:pt x="3284992" y="1425684"/>
                  </a:cubicBezTo>
                  <a:cubicBezTo>
                    <a:pt x="3285493" y="1424948"/>
                    <a:pt x="3285995" y="1424213"/>
                    <a:pt x="3286496" y="1423294"/>
                  </a:cubicBezTo>
                  <a:cubicBezTo>
                    <a:pt x="3286998" y="1422374"/>
                    <a:pt x="3287499" y="1421454"/>
                    <a:pt x="3288001" y="1420351"/>
                  </a:cubicBezTo>
                  <a:cubicBezTo>
                    <a:pt x="3288335" y="1419615"/>
                    <a:pt x="3288503" y="1419064"/>
                    <a:pt x="3288837" y="1418328"/>
                  </a:cubicBezTo>
                  <a:cubicBezTo>
                    <a:pt x="3289171" y="1417593"/>
                    <a:pt x="3289339" y="1416857"/>
                    <a:pt x="3289505" y="1416122"/>
                  </a:cubicBezTo>
                  <a:cubicBezTo>
                    <a:pt x="3289840" y="1414834"/>
                    <a:pt x="3290007" y="1413547"/>
                    <a:pt x="3290342" y="1412260"/>
                  </a:cubicBezTo>
                  <a:cubicBezTo>
                    <a:pt x="3290508" y="1411524"/>
                    <a:pt x="3290508" y="1410972"/>
                    <a:pt x="3290508" y="1410237"/>
                  </a:cubicBezTo>
                  <a:cubicBezTo>
                    <a:pt x="3290342" y="1410789"/>
                    <a:pt x="3290174" y="1410604"/>
                    <a:pt x="3290342" y="1410421"/>
                  </a:cubicBezTo>
                  <a:cubicBezTo>
                    <a:pt x="3290342" y="1409133"/>
                    <a:pt x="3290342" y="1407846"/>
                    <a:pt x="3290342" y="1406559"/>
                  </a:cubicBezTo>
                  <a:cubicBezTo>
                    <a:pt x="3290342" y="1406559"/>
                    <a:pt x="3290342" y="1406559"/>
                    <a:pt x="3290342" y="1406375"/>
                  </a:cubicBezTo>
                  <a:cubicBezTo>
                    <a:pt x="3290342" y="1405272"/>
                    <a:pt x="3290174" y="1404353"/>
                    <a:pt x="3290007" y="1403249"/>
                  </a:cubicBezTo>
                  <a:cubicBezTo>
                    <a:pt x="3289672" y="1401962"/>
                    <a:pt x="3289672" y="1400674"/>
                    <a:pt x="3289171" y="1399571"/>
                  </a:cubicBezTo>
                  <a:cubicBezTo>
                    <a:pt x="3288837" y="1398835"/>
                    <a:pt x="3288670" y="1398100"/>
                    <a:pt x="3288503" y="1397364"/>
                  </a:cubicBezTo>
                  <a:cubicBezTo>
                    <a:pt x="3288001" y="1396261"/>
                    <a:pt x="3287499" y="1394974"/>
                    <a:pt x="3286998" y="1393870"/>
                  </a:cubicBezTo>
                  <a:cubicBezTo>
                    <a:pt x="3286496" y="1392951"/>
                    <a:pt x="3285995" y="1392215"/>
                    <a:pt x="3285493" y="1391296"/>
                  </a:cubicBezTo>
                  <a:cubicBezTo>
                    <a:pt x="3284992" y="1390560"/>
                    <a:pt x="3284490" y="1389825"/>
                    <a:pt x="3283989" y="1389273"/>
                  </a:cubicBezTo>
                  <a:cubicBezTo>
                    <a:pt x="3283487" y="1388721"/>
                    <a:pt x="3282985" y="1388170"/>
                    <a:pt x="3282484" y="1387618"/>
                  </a:cubicBezTo>
                  <a:cubicBezTo>
                    <a:pt x="3281481" y="1386698"/>
                    <a:pt x="3280478" y="1385779"/>
                    <a:pt x="3279308" y="1385044"/>
                  </a:cubicBezTo>
                  <a:cubicBezTo>
                    <a:pt x="3278471" y="1384491"/>
                    <a:pt x="3277469" y="1383940"/>
                    <a:pt x="3276633" y="1383573"/>
                  </a:cubicBezTo>
                  <a:cubicBezTo>
                    <a:pt x="3274627" y="1382653"/>
                    <a:pt x="3272453" y="1382101"/>
                    <a:pt x="3270113" y="1381917"/>
                  </a:cubicBezTo>
                  <a:close/>
                  <a:moveTo>
                    <a:pt x="3739128" y="1381917"/>
                  </a:moveTo>
                  <a:cubicBezTo>
                    <a:pt x="3736286" y="1381733"/>
                    <a:pt x="3733444" y="1382285"/>
                    <a:pt x="3730769" y="1383388"/>
                  </a:cubicBezTo>
                  <a:cubicBezTo>
                    <a:pt x="3728931" y="1384124"/>
                    <a:pt x="3727259" y="1385227"/>
                    <a:pt x="3725754" y="1386515"/>
                  </a:cubicBezTo>
                  <a:cubicBezTo>
                    <a:pt x="3724918" y="1387250"/>
                    <a:pt x="3724250" y="1387986"/>
                    <a:pt x="3723414" y="1388721"/>
                  </a:cubicBezTo>
                  <a:cubicBezTo>
                    <a:pt x="3722578" y="1389641"/>
                    <a:pt x="3721742" y="1390744"/>
                    <a:pt x="3721073" y="1391663"/>
                  </a:cubicBezTo>
                  <a:cubicBezTo>
                    <a:pt x="3720571" y="1392399"/>
                    <a:pt x="3720070" y="1393319"/>
                    <a:pt x="3719736" y="1394054"/>
                  </a:cubicBezTo>
                  <a:cubicBezTo>
                    <a:pt x="3719067" y="1395158"/>
                    <a:pt x="3718566" y="1396445"/>
                    <a:pt x="3718231" y="1397732"/>
                  </a:cubicBezTo>
                  <a:cubicBezTo>
                    <a:pt x="3717897" y="1398467"/>
                    <a:pt x="3717730" y="1399387"/>
                    <a:pt x="3717562" y="1400123"/>
                  </a:cubicBezTo>
                  <a:cubicBezTo>
                    <a:pt x="3717228" y="1401226"/>
                    <a:pt x="3717061" y="1402514"/>
                    <a:pt x="3716894" y="1403617"/>
                  </a:cubicBezTo>
                  <a:cubicBezTo>
                    <a:pt x="3716392" y="1406927"/>
                    <a:pt x="3716392" y="1410237"/>
                    <a:pt x="3717061" y="1413363"/>
                  </a:cubicBezTo>
                  <a:cubicBezTo>
                    <a:pt x="3717228" y="1414467"/>
                    <a:pt x="3717395" y="1415570"/>
                    <a:pt x="3717730" y="1416673"/>
                  </a:cubicBezTo>
                  <a:cubicBezTo>
                    <a:pt x="3718064" y="1417593"/>
                    <a:pt x="3718231" y="1418328"/>
                    <a:pt x="3718566" y="1419247"/>
                  </a:cubicBezTo>
                  <a:cubicBezTo>
                    <a:pt x="3718900" y="1419799"/>
                    <a:pt x="3719067" y="1420351"/>
                    <a:pt x="3719234" y="1420903"/>
                  </a:cubicBezTo>
                  <a:cubicBezTo>
                    <a:pt x="3719736" y="1422006"/>
                    <a:pt x="3720237" y="1422926"/>
                    <a:pt x="3720739" y="1423845"/>
                  </a:cubicBezTo>
                  <a:cubicBezTo>
                    <a:pt x="3721241" y="1424580"/>
                    <a:pt x="3721742" y="1425316"/>
                    <a:pt x="3722243" y="1426051"/>
                  </a:cubicBezTo>
                  <a:cubicBezTo>
                    <a:pt x="3722912" y="1426971"/>
                    <a:pt x="3723748" y="1427891"/>
                    <a:pt x="3724584" y="1428626"/>
                  </a:cubicBezTo>
                  <a:cubicBezTo>
                    <a:pt x="3725253" y="1429362"/>
                    <a:pt x="3726089" y="1429913"/>
                    <a:pt x="3726757" y="1430465"/>
                  </a:cubicBezTo>
                  <a:cubicBezTo>
                    <a:pt x="3727928" y="1431385"/>
                    <a:pt x="3729265" y="1432120"/>
                    <a:pt x="3730603" y="1432672"/>
                  </a:cubicBezTo>
                  <a:cubicBezTo>
                    <a:pt x="3732274" y="1433408"/>
                    <a:pt x="3734113" y="1433959"/>
                    <a:pt x="3735952" y="1434143"/>
                  </a:cubicBezTo>
                  <a:cubicBezTo>
                    <a:pt x="3736286" y="1434143"/>
                    <a:pt x="3736454" y="1434143"/>
                    <a:pt x="3736788" y="1434327"/>
                  </a:cubicBezTo>
                  <a:cubicBezTo>
                    <a:pt x="3737791" y="1434327"/>
                    <a:pt x="3738627" y="1434327"/>
                    <a:pt x="3739630" y="1434327"/>
                  </a:cubicBezTo>
                  <a:cubicBezTo>
                    <a:pt x="3739630" y="1434143"/>
                    <a:pt x="3739797" y="1434327"/>
                    <a:pt x="3739797" y="1434327"/>
                  </a:cubicBezTo>
                  <a:cubicBezTo>
                    <a:pt x="3742973" y="1433959"/>
                    <a:pt x="3745983" y="1432856"/>
                    <a:pt x="3748657" y="1431017"/>
                  </a:cubicBezTo>
                  <a:cubicBezTo>
                    <a:pt x="3749828" y="1430281"/>
                    <a:pt x="3750831" y="1429362"/>
                    <a:pt x="3751834" y="1428258"/>
                  </a:cubicBezTo>
                  <a:cubicBezTo>
                    <a:pt x="3752670" y="1427523"/>
                    <a:pt x="3753339" y="1426604"/>
                    <a:pt x="3754007" y="1425684"/>
                  </a:cubicBezTo>
                  <a:cubicBezTo>
                    <a:pt x="3754508" y="1424948"/>
                    <a:pt x="3755010" y="1424213"/>
                    <a:pt x="3755512" y="1423294"/>
                  </a:cubicBezTo>
                  <a:cubicBezTo>
                    <a:pt x="3756014" y="1422374"/>
                    <a:pt x="3756515" y="1421454"/>
                    <a:pt x="3757017" y="1420351"/>
                  </a:cubicBezTo>
                  <a:cubicBezTo>
                    <a:pt x="3757351" y="1419615"/>
                    <a:pt x="3757518" y="1419064"/>
                    <a:pt x="3757852" y="1418328"/>
                  </a:cubicBezTo>
                  <a:cubicBezTo>
                    <a:pt x="3758187" y="1417593"/>
                    <a:pt x="3758354" y="1416857"/>
                    <a:pt x="3758521" y="1416122"/>
                  </a:cubicBezTo>
                  <a:cubicBezTo>
                    <a:pt x="3758855" y="1414834"/>
                    <a:pt x="3759023" y="1413547"/>
                    <a:pt x="3759357" y="1412260"/>
                  </a:cubicBezTo>
                  <a:cubicBezTo>
                    <a:pt x="3759524" y="1411524"/>
                    <a:pt x="3759524" y="1410972"/>
                    <a:pt x="3759524" y="1410237"/>
                  </a:cubicBezTo>
                  <a:cubicBezTo>
                    <a:pt x="3759357" y="1410789"/>
                    <a:pt x="3759190" y="1410604"/>
                    <a:pt x="3759357" y="1410421"/>
                  </a:cubicBezTo>
                  <a:cubicBezTo>
                    <a:pt x="3759357" y="1409133"/>
                    <a:pt x="3759357" y="1407846"/>
                    <a:pt x="3759357" y="1406559"/>
                  </a:cubicBezTo>
                  <a:cubicBezTo>
                    <a:pt x="3759357" y="1406559"/>
                    <a:pt x="3759357" y="1406559"/>
                    <a:pt x="3759357" y="1406375"/>
                  </a:cubicBezTo>
                  <a:cubicBezTo>
                    <a:pt x="3759357" y="1405272"/>
                    <a:pt x="3759190" y="1404353"/>
                    <a:pt x="3759023" y="1403249"/>
                  </a:cubicBezTo>
                  <a:cubicBezTo>
                    <a:pt x="3758689" y="1401962"/>
                    <a:pt x="3758689" y="1400674"/>
                    <a:pt x="3758187" y="1399571"/>
                  </a:cubicBezTo>
                  <a:cubicBezTo>
                    <a:pt x="3757852" y="1398835"/>
                    <a:pt x="3757685" y="1398100"/>
                    <a:pt x="3757518" y="1397364"/>
                  </a:cubicBezTo>
                  <a:cubicBezTo>
                    <a:pt x="3757017" y="1396261"/>
                    <a:pt x="3756515" y="1394974"/>
                    <a:pt x="3756014" y="1393870"/>
                  </a:cubicBezTo>
                  <a:cubicBezTo>
                    <a:pt x="3755512" y="1392951"/>
                    <a:pt x="3755010" y="1392215"/>
                    <a:pt x="3754508" y="1391296"/>
                  </a:cubicBezTo>
                  <a:cubicBezTo>
                    <a:pt x="3754007" y="1390560"/>
                    <a:pt x="3753506" y="1389825"/>
                    <a:pt x="3753004" y="1389273"/>
                  </a:cubicBezTo>
                  <a:cubicBezTo>
                    <a:pt x="3752503" y="1388721"/>
                    <a:pt x="3752001" y="1388170"/>
                    <a:pt x="3751500" y="1387618"/>
                  </a:cubicBezTo>
                  <a:cubicBezTo>
                    <a:pt x="3750496" y="1386698"/>
                    <a:pt x="3749493" y="1385779"/>
                    <a:pt x="3748323" y="1385044"/>
                  </a:cubicBezTo>
                  <a:cubicBezTo>
                    <a:pt x="3747488" y="1384491"/>
                    <a:pt x="3746484" y="1383940"/>
                    <a:pt x="3745648" y="1383573"/>
                  </a:cubicBezTo>
                  <a:cubicBezTo>
                    <a:pt x="3743642" y="1382653"/>
                    <a:pt x="3741469" y="1382101"/>
                    <a:pt x="3739128" y="1381917"/>
                  </a:cubicBezTo>
                  <a:close/>
                  <a:moveTo>
                    <a:pt x="148476" y="1376322"/>
                  </a:moveTo>
                  <a:cubicBezTo>
                    <a:pt x="140157" y="1376322"/>
                    <a:pt x="133217" y="1382223"/>
                    <a:pt x="131611" y="1390067"/>
                  </a:cubicBezTo>
                  <a:lnTo>
                    <a:pt x="131286" y="1393303"/>
                  </a:lnTo>
                  <a:lnTo>
                    <a:pt x="130321" y="1393303"/>
                  </a:lnTo>
                  <a:cubicBezTo>
                    <a:pt x="127893" y="1393303"/>
                    <a:pt x="125932" y="1395214"/>
                    <a:pt x="125932" y="1397578"/>
                  </a:cubicBezTo>
                  <a:cubicBezTo>
                    <a:pt x="125932" y="1397578"/>
                    <a:pt x="125932" y="1397578"/>
                    <a:pt x="125932" y="1431396"/>
                  </a:cubicBezTo>
                  <a:cubicBezTo>
                    <a:pt x="125932" y="1433760"/>
                    <a:pt x="127893" y="1435671"/>
                    <a:pt x="130321" y="1435671"/>
                  </a:cubicBezTo>
                  <a:cubicBezTo>
                    <a:pt x="130321" y="1435671"/>
                    <a:pt x="130321" y="1435671"/>
                    <a:pt x="166631" y="1435671"/>
                  </a:cubicBezTo>
                  <a:cubicBezTo>
                    <a:pt x="169058" y="1435671"/>
                    <a:pt x="171020" y="1433760"/>
                    <a:pt x="171020" y="1431396"/>
                  </a:cubicBezTo>
                  <a:cubicBezTo>
                    <a:pt x="171020" y="1431396"/>
                    <a:pt x="171020" y="1431396"/>
                    <a:pt x="171020" y="1397578"/>
                  </a:cubicBezTo>
                  <a:cubicBezTo>
                    <a:pt x="171020" y="1395214"/>
                    <a:pt x="169058" y="1393303"/>
                    <a:pt x="166631" y="1393303"/>
                  </a:cubicBezTo>
                  <a:cubicBezTo>
                    <a:pt x="166631" y="1393303"/>
                    <a:pt x="166631" y="1393303"/>
                    <a:pt x="166063" y="1393303"/>
                  </a:cubicBezTo>
                  <a:lnTo>
                    <a:pt x="165666" y="1393303"/>
                  </a:lnTo>
                  <a:lnTo>
                    <a:pt x="165340" y="1390067"/>
                  </a:lnTo>
                  <a:cubicBezTo>
                    <a:pt x="163735" y="1382223"/>
                    <a:pt x="156795" y="1376322"/>
                    <a:pt x="148476" y="1376322"/>
                  </a:cubicBezTo>
                  <a:close/>
                  <a:moveTo>
                    <a:pt x="597293" y="1376322"/>
                  </a:moveTo>
                  <a:cubicBezTo>
                    <a:pt x="588974" y="1376322"/>
                    <a:pt x="582033" y="1382223"/>
                    <a:pt x="580428" y="1390067"/>
                  </a:cubicBezTo>
                  <a:lnTo>
                    <a:pt x="580103" y="1393303"/>
                  </a:lnTo>
                  <a:lnTo>
                    <a:pt x="579137" y="1393303"/>
                  </a:lnTo>
                  <a:cubicBezTo>
                    <a:pt x="576710" y="1393303"/>
                    <a:pt x="574749" y="1395214"/>
                    <a:pt x="574749" y="1397578"/>
                  </a:cubicBezTo>
                  <a:cubicBezTo>
                    <a:pt x="574749" y="1397578"/>
                    <a:pt x="574749" y="1397578"/>
                    <a:pt x="574749" y="1431396"/>
                  </a:cubicBezTo>
                  <a:cubicBezTo>
                    <a:pt x="574749" y="1433760"/>
                    <a:pt x="576710" y="1435671"/>
                    <a:pt x="579137" y="1435671"/>
                  </a:cubicBezTo>
                  <a:cubicBezTo>
                    <a:pt x="579137" y="1435671"/>
                    <a:pt x="579137" y="1435671"/>
                    <a:pt x="615448" y="1435671"/>
                  </a:cubicBezTo>
                  <a:cubicBezTo>
                    <a:pt x="617875" y="1435671"/>
                    <a:pt x="619837" y="1433760"/>
                    <a:pt x="619837" y="1431396"/>
                  </a:cubicBezTo>
                  <a:cubicBezTo>
                    <a:pt x="619837" y="1431396"/>
                    <a:pt x="619837" y="1431396"/>
                    <a:pt x="619837" y="1397578"/>
                  </a:cubicBezTo>
                  <a:cubicBezTo>
                    <a:pt x="619837" y="1395214"/>
                    <a:pt x="617875" y="1393303"/>
                    <a:pt x="615448" y="1393303"/>
                  </a:cubicBezTo>
                  <a:cubicBezTo>
                    <a:pt x="615448" y="1393303"/>
                    <a:pt x="615448" y="1393303"/>
                    <a:pt x="614880" y="1393303"/>
                  </a:cubicBezTo>
                  <a:lnTo>
                    <a:pt x="614483" y="1393303"/>
                  </a:lnTo>
                  <a:lnTo>
                    <a:pt x="614157" y="1390067"/>
                  </a:lnTo>
                  <a:cubicBezTo>
                    <a:pt x="612552" y="1382223"/>
                    <a:pt x="605611" y="1376322"/>
                    <a:pt x="597293" y="1376322"/>
                  </a:cubicBezTo>
                  <a:close/>
                  <a:moveTo>
                    <a:pt x="760469" y="1376322"/>
                  </a:moveTo>
                  <a:cubicBezTo>
                    <a:pt x="752150" y="1376322"/>
                    <a:pt x="745210" y="1382223"/>
                    <a:pt x="743604" y="1390067"/>
                  </a:cubicBezTo>
                  <a:lnTo>
                    <a:pt x="743279" y="1393303"/>
                  </a:lnTo>
                  <a:lnTo>
                    <a:pt x="742313" y="1393303"/>
                  </a:lnTo>
                  <a:cubicBezTo>
                    <a:pt x="739887" y="1393303"/>
                    <a:pt x="737925" y="1395214"/>
                    <a:pt x="737925" y="1397578"/>
                  </a:cubicBezTo>
                  <a:cubicBezTo>
                    <a:pt x="737925" y="1397578"/>
                    <a:pt x="737925" y="1397578"/>
                    <a:pt x="737925" y="1431396"/>
                  </a:cubicBezTo>
                  <a:cubicBezTo>
                    <a:pt x="737925" y="1433760"/>
                    <a:pt x="739887" y="1435671"/>
                    <a:pt x="742313" y="1435671"/>
                  </a:cubicBezTo>
                  <a:cubicBezTo>
                    <a:pt x="742313" y="1435671"/>
                    <a:pt x="742313" y="1435671"/>
                    <a:pt x="778624" y="1435671"/>
                  </a:cubicBezTo>
                  <a:cubicBezTo>
                    <a:pt x="781051" y="1435671"/>
                    <a:pt x="783013" y="1433760"/>
                    <a:pt x="783013" y="1431396"/>
                  </a:cubicBezTo>
                  <a:cubicBezTo>
                    <a:pt x="783013" y="1431396"/>
                    <a:pt x="783013" y="1431396"/>
                    <a:pt x="783013" y="1397578"/>
                  </a:cubicBezTo>
                  <a:cubicBezTo>
                    <a:pt x="783013" y="1395214"/>
                    <a:pt x="781051" y="1393303"/>
                    <a:pt x="778624" y="1393303"/>
                  </a:cubicBezTo>
                  <a:cubicBezTo>
                    <a:pt x="778624" y="1393303"/>
                    <a:pt x="778624" y="1393303"/>
                    <a:pt x="778056" y="1393303"/>
                  </a:cubicBezTo>
                  <a:lnTo>
                    <a:pt x="777659" y="1393303"/>
                  </a:lnTo>
                  <a:lnTo>
                    <a:pt x="777333" y="1390067"/>
                  </a:lnTo>
                  <a:cubicBezTo>
                    <a:pt x="775728" y="1382223"/>
                    <a:pt x="768788" y="1376322"/>
                    <a:pt x="760469" y="1376322"/>
                  </a:cubicBezTo>
                  <a:close/>
                  <a:moveTo>
                    <a:pt x="821627" y="1376322"/>
                  </a:moveTo>
                  <a:cubicBezTo>
                    <a:pt x="813308" y="1376322"/>
                    <a:pt x="806368" y="1382223"/>
                    <a:pt x="804763" y="1390067"/>
                  </a:cubicBezTo>
                  <a:lnTo>
                    <a:pt x="804437" y="1393303"/>
                  </a:lnTo>
                  <a:lnTo>
                    <a:pt x="803471" y="1393303"/>
                  </a:lnTo>
                  <a:cubicBezTo>
                    <a:pt x="801044" y="1393303"/>
                    <a:pt x="799083" y="1395214"/>
                    <a:pt x="799083" y="1397578"/>
                  </a:cubicBezTo>
                  <a:cubicBezTo>
                    <a:pt x="799083" y="1397578"/>
                    <a:pt x="799083" y="1397578"/>
                    <a:pt x="799083" y="1431396"/>
                  </a:cubicBezTo>
                  <a:cubicBezTo>
                    <a:pt x="799083" y="1433760"/>
                    <a:pt x="801044" y="1435671"/>
                    <a:pt x="803471" y="1435671"/>
                  </a:cubicBezTo>
                  <a:cubicBezTo>
                    <a:pt x="803471" y="1435671"/>
                    <a:pt x="803471" y="1435671"/>
                    <a:pt x="839782" y="1435671"/>
                  </a:cubicBezTo>
                  <a:cubicBezTo>
                    <a:pt x="842209" y="1435671"/>
                    <a:pt x="844171" y="1433760"/>
                    <a:pt x="844171" y="1431396"/>
                  </a:cubicBezTo>
                  <a:cubicBezTo>
                    <a:pt x="844171" y="1431396"/>
                    <a:pt x="844171" y="1431396"/>
                    <a:pt x="844171" y="1397578"/>
                  </a:cubicBezTo>
                  <a:cubicBezTo>
                    <a:pt x="844171" y="1395214"/>
                    <a:pt x="842209" y="1393303"/>
                    <a:pt x="839782" y="1393303"/>
                  </a:cubicBezTo>
                  <a:cubicBezTo>
                    <a:pt x="839782" y="1393303"/>
                    <a:pt x="839782" y="1393303"/>
                    <a:pt x="839214" y="1393303"/>
                  </a:cubicBezTo>
                  <a:lnTo>
                    <a:pt x="838817" y="1393303"/>
                  </a:lnTo>
                  <a:lnTo>
                    <a:pt x="838491" y="1390067"/>
                  </a:lnTo>
                  <a:cubicBezTo>
                    <a:pt x="836886" y="1382223"/>
                    <a:pt x="829945" y="1376322"/>
                    <a:pt x="821627" y="1376322"/>
                  </a:cubicBezTo>
                  <a:close/>
                  <a:moveTo>
                    <a:pt x="1168426" y="1376322"/>
                  </a:moveTo>
                  <a:cubicBezTo>
                    <a:pt x="1160107" y="1376322"/>
                    <a:pt x="1153167" y="1382223"/>
                    <a:pt x="1151562" y="1390067"/>
                  </a:cubicBezTo>
                  <a:lnTo>
                    <a:pt x="1151235" y="1393303"/>
                  </a:lnTo>
                  <a:lnTo>
                    <a:pt x="1150270" y="1393303"/>
                  </a:lnTo>
                  <a:cubicBezTo>
                    <a:pt x="1147843" y="1393303"/>
                    <a:pt x="1145881" y="1395214"/>
                    <a:pt x="1145881" y="1397578"/>
                  </a:cubicBezTo>
                  <a:cubicBezTo>
                    <a:pt x="1145881" y="1397578"/>
                    <a:pt x="1145881" y="1397578"/>
                    <a:pt x="1145881" y="1431396"/>
                  </a:cubicBezTo>
                  <a:cubicBezTo>
                    <a:pt x="1145881" y="1433760"/>
                    <a:pt x="1147843" y="1435671"/>
                    <a:pt x="1150270" y="1435671"/>
                  </a:cubicBezTo>
                  <a:cubicBezTo>
                    <a:pt x="1150270" y="1435671"/>
                    <a:pt x="1150270" y="1435671"/>
                    <a:pt x="1186581" y="1435671"/>
                  </a:cubicBezTo>
                  <a:cubicBezTo>
                    <a:pt x="1189008" y="1435671"/>
                    <a:pt x="1190970" y="1433760"/>
                    <a:pt x="1190970" y="1431396"/>
                  </a:cubicBezTo>
                  <a:cubicBezTo>
                    <a:pt x="1190970" y="1431396"/>
                    <a:pt x="1190970" y="1431396"/>
                    <a:pt x="1190970" y="1397578"/>
                  </a:cubicBezTo>
                  <a:cubicBezTo>
                    <a:pt x="1190970" y="1395214"/>
                    <a:pt x="1189008" y="1393303"/>
                    <a:pt x="1186581" y="1393303"/>
                  </a:cubicBezTo>
                  <a:cubicBezTo>
                    <a:pt x="1186581" y="1393303"/>
                    <a:pt x="1186581" y="1393303"/>
                    <a:pt x="1186013" y="1393303"/>
                  </a:cubicBezTo>
                  <a:lnTo>
                    <a:pt x="1185616" y="1393303"/>
                  </a:lnTo>
                  <a:lnTo>
                    <a:pt x="1185289" y="1390067"/>
                  </a:lnTo>
                  <a:cubicBezTo>
                    <a:pt x="1183684" y="1382223"/>
                    <a:pt x="1176744" y="1376322"/>
                    <a:pt x="1168426" y="1376322"/>
                  </a:cubicBezTo>
                  <a:close/>
                  <a:moveTo>
                    <a:pt x="1341800" y="1376322"/>
                  </a:moveTo>
                  <a:cubicBezTo>
                    <a:pt x="1333482" y="1376322"/>
                    <a:pt x="1326541" y="1382223"/>
                    <a:pt x="1324936" y="1390067"/>
                  </a:cubicBezTo>
                  <a:lnTo>
                    <a:pt x="1324610" y="1393303"/>
                  </a:lnTo>
                  <a:lnTo>
                    <a:pt x="1323645" y="1393303"/>
                  </a:lnTo>
                  <a:cubicBezTo>
                    <a:pt x="1321217" y="1393303"/>
                    <a:pt x="1319256" y="1395214"/>
                    <a:pt x="1319256" y="1397578"/>
                  </a:cubicBezTo>
                  <a:cubicBezTo>
                    <a:pt x="1319256" y="1397578"/>
                    <a:pt x="1319256" y="1397578"/>
                    <a:pt x="1319256" y="1431396"/>
                  </a:cubicBezTo>
                  <a:cubicBezTo>
                    <a:pt x="1319256" y="1433760"/>
                    <a:pt x="1321217" y="1435671"/>
                    <a:pt x="1323645" y="1435671"/>
                  </a:cubicBezTo>
                  <a:cubicBezTo>
                    <a:pt x="1323645" y="1435671"/>
                    <a:pt x="1323645" y="1435671"/>
                    <a:pt x="1359956" y="1435671"/>
                  </a:cubicBezTo>
                  <a:cubicBezTo>
                    <a:pt x="1362383" y="1435671"/>
                    <a:pt x="1364344" y="1433760"/>
                    <a:pt x="1364344" y="1431396"/>
                  </a:cubicBezTo>
                  <a:cubicBezTo>
                    <a:pt x="1364344" y="1431396"/>
                    <a:pt x="1364344" y="1431396"/>
                    <a:pt x="1364344" y="1397578"/>
                  </a:cubicBezTo>
                  <a:cubicBezTo>
                    <a:pt x="1364344" y="1395214"/>
                    <a:pt x="1362383" y="1393303"/>
                    <a:pt x="1359956" y="1393303"/>
                  </a:cubicBezTo>
                  <a:cubicBezTo>
                    <a:pt x="1359956" y="1393303"/>
                    <a:pt x="1359956" y="1393303"/>
                    <a:pt x="1359388" y="1393303"/>
                  </a:cubicBezTo>
                  <a:lnTo>
                    <a:pt x="1358990" y="1393303"/>
                  </a:lnTo>
                  <a:lnTo>
                    <a:pt x="1358664" y="1390067"/>
                  </a:lnTo>
                  <a:cubicBezTo>
                    <a:pt x="1357059" y="1382223"/>
                    <a:pt x="1350119" y="1376322"/>
                    <a:pt x="1341800" y="1376322"/>
                  </a:cubicBezTo>
                  <a:close/>
                  <a:moveTo>
                    <a:pt x="1402958" y="1376322"/>
                  </a:moveTo>
                  <a:cubicBezTo>
                    <a:pt x="1394639" y="1376322"/>
                    <a:pt x="1387699" y="1382223"/>
                    <a:pt x="1386094" y="1390067"/>
                  </a:cubicBezTo>
                  <a:lnTo>
                    <a:pt x="1385768" y="1393303"/>
                  </a:lnTo>
                  <a:lnTo>
                    <a:pt x="1384803" y="1393303"/>
                  </a:lnTo>
                  <a:cubicBezTo>
                    <a:pt x="1382375" y="1393303"/>
                    <a:pt x="1380414" y="1395214"/>
                    <a:pt x="1380414" y="1397578"/>
                  </a:cubicBezTo>
                  <a:cubicBezTo>
                    <a:pt x="1380414" y="1397578"/>
                    <a:pt x="1380414" y="1397578"/>
                    <a:pt x="1380414" y="1431396"/>
                  </a:cubicBezTo>
                  <a:cubicBezTo>
                    <a:pt x="1380414" y="1433760"/>
                    <a:pt x="1382375" y="1435671"/>
                    <a:pt x="1384803" y="1435671"/>
                  </a:cubicBezTo>
                  <a:cubicBezTo>
                    <a:pt x="1384803" y="1435671"/>
                    <a:pt x="1384803" y="1435671"/>
                    <a:pt x="1421113" y="1435671"/>
                  </a:cubicBezTo>
                  <a:cubicBezTo>
                    <a:pt x="1423541" y="1435671"/>
                    <a:pt x="1425502" y="1433760"/>
                    <a:pt x="1425502" y="1431396"/>
                  </a:cubicBezTo>
                  <a:cubicBezTo>
                    <a:pt x="1425502" y="1431396"/>
                    <a:pt x="1425502" y="1431396"/>
                    <a:pt x="1425502" y="1397578"/>
                  </a:cubicBezTo>
                  <a:cubicBezTo>
                    <a:pt x="1425502" y="1395214"/>
                    <a:pt x="1423541" y="1393303"/>
                    <a:pt x="1421113" y="1393303"/>
                  </a:cubicBezTo>
                  <a:cubicBezTo>
                    <a:pt x="1421113" y="1393303"/>
                    <a:pt x="1421113" y="1393303"/>
                    <a:pt x="1420546" y="1393303"/>
                  </a:cubicBezTo>
                  <a:lnTo>
                    <a:pt x="1420148" y="1393303"/>
                  </a:lnTo>
                  <a:lnTo>
                    <a:pt x="1419822" y="1390067"/>
                  </a:lnTo>
                  <a:cubicBezTo>
                    <a:pt x="1418217" y="1382223"/>
                    <a:pt x="1411277" y="1376322"/>
                    <a:pt x="1402958" y="1376322"/>
                  </a:cubicBezTo>
                  <a:close/>
                  <a:moveTo>
                    <a:pt x="1464116" y="1376322"/>
                  </a:moveTo>
                  <a:cubicBezTo>
                    <a:pt x="1455797" y="1376322"/>
                    <a:pt x="1448857" y="1382223"/>
                    <a:pt x="1447252" y="1390067"/>
                  </a:cubicBezTo>
                  <a:lnTo>
                    <a:pt x="1446926" y="1393303"/>
                  </a:lnTo>
                  <a:lnTo>
                    <a:pt x="1445961" y="1393303"/>
                  </a:lnTo>
                  <a:cubicBezTo>
                    <a:pt x="1443534" y="1393303"/>
                    <a:pt x="1441572" y="1395214"/>
                    <a:pt x="1441572" y="1397578"/>
                  </a:cubicBezTo>
                  <a:cubicBezTo>
                    <a:pt x="1441572" y="1397578"/>
                    <a:pt x="1441572" y="1397578"/>
                    <a:pt x="1441572" y="1431396"/>
                  </a:cubicBezTo>
                  <a:cubicBezTo>
                    <a:pt x="1441572" y="1433760"/>
                    <a:pt x="1443534" y="1435671"/>
                    <a:pt x="1445961" y="1435671"/>
                  </a:cubicBezTo>
                  <a:cubicBezTo>
                    <a:pt x="1445961" y="1435671"/>
                    <a:pt x="1445961" y="1435671"/>
                    <a:pt x="1482271" y="1435671"/>
                  </a:cubicBezTo>
                  <a:cubicBezTo>
                    <a:pt x="1484698" y="1435671"/>
                    <a:pt x="1486660" y="1433760"/>
                    <a:pt x="1486660" y="1431396"/>
                  </a:cubicBezTo>
                  <a:cubicBezTo>
                    <a:pt x="1486660" y="1431396"/>
                    <a:pt x="1486660" y="1431396"/>
                    <a:pt x="1486660" y="1397578"/>
                  </a:cubicBezTo>
                  <a:cubicBezTo>
                    <a:pt x="1486660" y="1395214"/>
                    <a:pt x="1484698" y="1393303"/>
                    <a:pt x="1482271" y="1393303"/>
                  </a:cubicBezTo>
                  <a:cubicBezTo>
                    <a:pt x="1482271" y="1393303"/>
                    <a:pt x="1482271" y="1393303"/>
                    <a:pt x="1481704" y="1393303"/>
                  </a:cubicBezTo>
                  <a:lnTo>
                    <a:pt x="1481306" y="1393303"/>
                  </a:lnTo>
                  <a:lnTo>
                    <a:pt x="1480980" y="1390067"/>
                  </a:lnTo>
                  <a:cubicBezTo>
                    <a:pt x="1479375" y="1382223"/>
                    <a:pt x="1472435" y="1376322"/>
                    <a:pt x="1464116" y="1376322"/>
                  </a:cubicBezTo>
                  <a:close/>
                  <a:moveTo>
                    <a:pt x="1576283" y="1376322"/>
                  </a:moveTo>
                  <a:cubicBezTo>
                    <a:pt x="1567964" y="1376322"/>
                    <a:pt x="1561024" y="1382223"/>
                    <a:pt x="1559419" y="1390067"/>
                  </a:cubicBezTo>
                  <a:lnTo>
                    <a:pt x="1559093" y="1393303"/>
                  </a:lnTo>
                  <a:lnTo>
                    <a:pt x="1558128" y="1393303"/>
                  </a:lnTo>
                  <a:cubicBezTo>
                    <a:pt x="1555700" y="1393303"/>
                    <a:pt x="1553739" y="1395214"/>
                    <a:pt x="1553739" y="1397578"/>
                  </a:cubicBezTo>
                  <a:cubicBezTo>
                    <a:pt x="1553739" y="1397578"/>
                    <a:pt x="1553739" y="1397578"/>
                    <a:pt x="1553739" y="1431396"/>
                  </a:cubicBezTo>
                  <a:cubicBezTo>
                    <a:pt x="1553739" y="1433760"/>
                    <a:pt x="1555700" y="1435671"/>
                    <a:pt x="1558128" y="1435671"/>
                  </a:cubicBezTo>
                  <a:cubicBezTo>
                    <a:pt x="1558128" y="1435671"/>
                    <a:pt x="1558128" y="1435671"/>
                    <a:pt x="1594438" y="1435671"/>
                  </a:cubicBezTo>
                  <a:cubicBezTo>
                    <a:pt x="1596866" y="1435671"/>
                    <a:pt x="1598827" y="1433760"/>
                    <a:pt x="1598827" y="1431396"/>
                  </a:cubicBezTo>
                  <a:cubicBezTo>
                    <a:pt x="1598827" y="1431396"/>
                    <a:pt x="1598827" y="1431396"/>
                    <a:pt x="1598827" y="1397578"/>
                  </a:cubicBezTo>
                  <a:cubicBezTo>
                    <a:pt x="1598827" y="1395214"/>
                    <a:pt x="1596866" y="1393303"/>
                    <a:pt x="1594438" y="1393303"/>
                  </a:cubicBezTo>
                  <a:cubicBezTo>
                    <a:pt x="1594438" y="1393303"/>
                    <a:pt x="1594438" y="1393303"/>
                    <a:pt x="1593871" y="1393303"/>
                  </a:cubicBezTo>
                  <a:lnTo>
                    <a:pt x="1593473" y="1393303"/>
                  </a:lnTo>
                  <a:lnTo>
                    <a:pt x="1593147" y="1390067"/>
                  </a:lnTo>
                  <a:cubicBezTo>
                    <a:pt x="1591542" y="1382223"/>
                    <a:pt x="1584602" y="1376322"/>
                    <a:pt x="1576283" y="1376322"/>
                  </a:cubicBezTo>
                  <a:close/>
                  <a:moveTo>
                    <a:pt x="1698649" y="1376322"/>
                  </a:moveTo>
                  <a:cubicBezTo>
                    <a:pt x="1690330" y="1376322"/>
                    <a:pt x="1683390" y="1382223"/>
                    <a:pt x="1681784" y="1390067"/>
                  </a:cubicBezTo>
                  <a:lnTo>
                    <a:pt x="1681458" y="1393303"/>
                  </a:lnTo>
                  <a:lnTo>
                    <a:pt x="1680493" y="1393303"/>
                  </a:lnTo>
                  <a:cubicBezTo>
                    <a:pt x="1678066" y="1393303"/>
                    <a:pt x="1676104" y="1395214"/>
                    <a:pt x="1676104" y="1397578"/>
                  </a:cubicBezTo>
                  <a:cubicBezTo>
                    <a:pt x="1676104" y="1397578"/>
                    <a:pt x="1676104" y="1397578"/>
                    <a:pt x="1676104" y="1431396"/>
                  </a:cubicBezTo>
                  <a:cubicBezTo>
                    <a:pt x="1676104" y="1433760"/>
                    <a:pt x="1678066" y="1435671"/>
                    <a:pt x="1680493" y="1435671"/>
                  </a:cubicBezTo>
                  <a:cubicBezTo>
                    <a:pt x="1680493" y="1435671"/>
                    <a:pt x="1680493" y="1435671"/>
                    <a:pt x="1716804" y="1435671"/>
                  </a:cubicBezTo>
                  <a:cubicBezTo>
                    <a:pt x="1719231" y="1435671"/>
                    <a:pt x="1721193" y="1433760"/>
                    <a:pt x="1721193" y="1431396"/>
                  </a:cubicBezTo>
                  <a:cubicBezTo>
                    <a:pt x="1721193" y="1431396"/>
                    <a:pt x="1721193" y="1431396"/>
                    <a:pt x="1721193" y="1397578"/>
                  </a:cubicBezTo>
                  <a:cubicBezTo>
                    <a:pt x="1721193" y="1395214"/>
                    <a:pt x="1719231" y="1393303"/>
                    <a:pt x="1716804" y="1393303"/>
                  </a:cubicBezTo>
                  <a:cubicBezTo>
                    <a:pt x="1716804" y="1393303"/>
                    <a:pt x="1716804" y="1393303"/>
                    <a:pt x="1716236" y="1393303"/>
                  </a:cubicBezTo>
                  <a:lnTo>
                    <a:pt x="1715839" y="1393303"/>
                  </a:lnTo>
                  <a:lnTo>
                    <a:pt x="1715512" y="1390067"/>
                  </a:lnTo>
                  <a:cubicBezTo>
                    <a:pt x="1713907" y="1382223"/>
                    <a:pt x="1706967" y="1376322"/>
                    <a:pt x="1698649" y="1376322"/>
                  </a:cubicBezTo>
                  <a:close/>
                  <a:moveTo>
                    <a:pt x="1759807" y="1376322"/>
                  </a:moveTo>
                  <a:cubicBezTo>
                    <a:pt x="1751488" y="1376322"/>
                    <a:pt x="1744548" y="1382223"/>
                    <a:pt x="1742943" y="1390067"/>
                  </a:cubicBezTo>
                  <a:lnTo>
                    <a:pt x="1742616" y="1393303"/>
                  </a:lnTo>
                  <a:lnTo>
                    <a:pt x="1741651" y="1393303"/>
                  </a:lnTo>
                  <a:cubicBezTo>
                    <a:pt x="1739224" y="1393303"/>
                    <a:pt x="1737262" y="1395214"/>
                    <a:pt x="1737262" y="1397578"/>
                  </a:cubicBezTo>
                  <a:cubicBezTo>
                    <a:pt x="1737262" y="1397578"/>
                    <a:pt x="1737262" y="1397578"/>
                    <a:pt x="1737262" y="1431396"/>
                  </a:cubicBezTo>
                  <a:cubicBezTo>
                    <a:pt x="1737262" y="1433760"/>
                    <a:pt x="1739224" y="1435671"/>
                    <a:pt x="1741651" y="1435671"/>
                  </a:cubicBezTo>
                  <a:cubicBezTo>
                    <a:pt x="1741651" y="1435671"/>
                    <a:pt x="1741651" y="1435671"/>
                    <a:pt x="1777962" y="1435671"/>
                  </a:cubicBezTo>
                  <a:cubicBezTo>
                    <a:pt x="1780389" y="1435671"/>
                    <a:pt x="1782351" y="1433760"/>
                    <a:pt x="1782351" y="1431396"/>
                  </a:cubicBezTo>
                  <a:cubicBezTo>
                    <a:pt x="1782351" y="1431396"/>
                    <a:pt x="1782351" y="1431396"/>
                    <a:pt x="1782351" y="1397578"/>
                  </a:cubicBezTo>
                  <a:cubicBezTo>
                    <a:pt x="1782351" y="1395214"/>
                    <a:pt x="1780389" y="1393303"/>
                    <a:pt x="1777962" y="1393303"/>
                  </a:cubicBezTo>
                  <a:cubicBezTo>
                    <a:pt x="1777962" y="1393303"/>
                    <a:pt x="1777962" y="1393303"/>
                    <a:pt x="1777394" y="1393303"/>
                  </a:cubicBezTo>
                  <a:lnTo>
                    <a:pt x="1776997" y="1393303"/>
                  </a:lnTo>
                  <a:lnTo>
                    <a:pt x="1776670" y="1390067"/>
                  </a:lnTo>
                  <a:cubicBezTo>
                    <a:pt x="1775065" y="1382223"/>
                    <a:pt x="1768125" y="1376322"/>
                    <a:pt x="1759807" y="1376322"/>
                  </a:cubicBezTo>
                  <a:close/>
                  <a:moveTo>
                    <a:pt x="1871974" y="1376322"/>
                  </a:moveTo>
                  <a:cubicBezTo>
                    <a:pt x="1863655" y="1376322"/>
                    <a:pt x="1856715" y="1382223"/>
                    <a:pt x="1855109" y="1390067"/>
                  </a:cubicBezTo>
                  <a:lnTo>
                    <a:pt x="1854783" y="1393303"/>
                  </a:lnTo>
                  <a:lnTo>
                    <a:pt x="1853818" y="1393303"/>
                  </a:lnTo>
                  <a:cubicBezTo>
                    <a:pt x="1851391" y="1393303"/>
                    <a:pt x="1849429" y="1395214"/>
                    <a:pt x="1849429" y="1397578"/>
                  </a:cubicBezTo>
                  <a:cubicBezTo>
                    <a:pt x="1849429" y="1397578"/>
                    <a:pt x="1849429" y="1397578"/>
                    <a:pt x="1849429" y="1431396"/>
                  </a:cubicBezTo>
                  <a:cubicBezTo>
                    <a:pt x="1849429" y="1433760"/>
                    <a:pt x="1851391" y="1435671"/>
                    <a:pt x="1853818" y="1435671"/>
                  </a:cubicBezTo>
                  <a:cubicBezTo>
                    <a:pt x="1853818" y="1435671"/>
                    <a:pt x="1853818" y="1435671"/>
                    <a:pt x="1890125" y="1435671"/>
                  </a:cubicBezTo>
                  <a:cubicBezTo>
                    <a:pt x="1892553" y="1435671"/>
                    <a:pt x="1894515" y="1433760"/>
                    <a:pt x="1894515" y="1431396"/>
                  </a:cubicBezTo>
                  <a:cubicBezTo>
                    <a:pt x="1894515" y="1431396"/>
                    <a:pt x="1894515" y="1431396"/>
                    <a:pt x="1894515" y="1397578"/>
                  </a:cubicBezTo>
                  <a:cubicBezTo>
                    <a:pt x="1894515" y="1395214"/>
                    <a:pt x="1892553" y="1393303"/>
                    <a:pt x="1890125" y="1393303"/>
                  </a:cubicBezTo>
                  <a:cubicBezTo>
                    <a:pt x="1890125" y="1393303"/>
                    <a:pt x="1890125" y="1393303"/>
                    <a:pt x="1889558" y="1393303"/>
                  </a:cubicBezTo>
                  <a:lnTo>
                    <a:pt x="1889161" y="1393303"/>
                  </a:lnTo>
                  <a:lnTo>
                    <a:pt x="1888835" y="1390067"/>
                  </a:lnTo>
                  <a:cubicBezTo>
                    <a:pt x="1887229" y="1382223"/>
                    <a:pt x="1880292" y="1376322"/>
                    <a:pt x="1871974" y="1376322"/>
                  </a:cubicBezTo>
                  <a:close/>
                  <a:moveTo>
                    <a:pt x="1994336" y="1376322"/>
                  </a:moveTo>
                  <a:cubicBezTo>
                    <a:pt x="1986018" y="1376322"/>
                    <a:pt x="1979077" y="1382223"/>
                    <a:pt x="1977472" y="1390067"/>
                  </a:cubicBezTo>
                  <a:lnTo>
                    <a:pt x="1977145" y="1393303"/>
                  </a:lnTo>
                  <a:lnTo>
                    <a:pt x="1976181" y="1393303"/>
                  </a:lnTo>
                  <a:cubicBezTo>
                    <a:pt x="1973754" y="1393303"/>
                    <a:pt x="1971792" y="1395214"/>
                    <a:pt x="1971792" y="1397578"/>
                  </a:cubicBezTo>
                  <a:cubicBezTo>
                    <a:pt x="1971792" y="1397578"/>
                    <a:pt x="1971792" y="1397578"/>
                    <a:pt x="1971792" y="1431396"/>
                  </a:cubicBezTo>
                  <a:cubicBezTo>
                    <a:pt x="1971792" y="1433760"/>
                    <a:pt x="1973754" y="1435671"/>
                    <a:pt x="1976181" y="1435671"/>
                  </a:cubicBezTo>
                  <a:cubicBezTo>
                    <a:pt x="1976181" y="1435671"/>
                    <a:pt x="1976181" y="1435671"/>
                    <a:pt x="2012491" y="1435671"/>
                  </a:cubicBezTo>
                  <a:cubicBezTo>
                    <a:pt x="2014918" y="1435671"/>
                    <a:pt x="2016881" y="1433760"/>
                    <a:pt x="2016881" y="1431396"/>
                  </a:cubicBezTo>
                  <a:cubicBezTo>
                    <a:pt x="2016881" y="1431396"/>
                    <a:pt x="2016881" y="1431396"/>
                    <a:pt x="2016881" y="1397578"/>
                  </a:cubicBezTo>
                  <a:cubicBezTo>
                    <a:pt x="2016881" y="1395214"/>
                    <a:pt x="2014918" y="1393303"/>
                    <a:pt x="2012491" y="1393303"/>
                  </a:cubicBezTo>
                  <a:cubicBezTo>
                    <a:pt x="2012491" y="1393303"/>
                    <a:pt x="2012491" y="1393303"/>
                    <a:pt x="2011924" y="1393303"/>
                  </a:cubicBezTo>
                  <a:lnTo>
                    <a:pt x="2011527" y="1393303"/>
                  </a:lnTo>
                  <a:lnTo>
                    <a:pt x="2011200" y="1390067"/>
                  </a:lnTo>
                  <a:cubicBezTo>
                    <a:pt x="2009595" y="1382223"/>
                    <a:pt x="2002655" y="1376322"/>
                    <a:pt x="1994336" y="1376322"/>
                  </a:cubicBezTo>
                  <a:close/>
                  <a:moveTo>
                    <a:pt x="2106503" y="1376322"/>
                  </a:moveTo>
                  <a:cubicBezTo>
                    <a:pt x="2098185" y="1376322"/>
                    <a:pt x="2091244" y="1382223"/>
                    <a:pt x="2089639" y="1390067"/>
                  </a:cubicBezTo>
                  <a:lnTo>
                    <a:pt x="2089313" y="1393303"/>
                  </a:lnTo>
                  <a:lnTo>
                    <a:pt x="2088348" y="1393303"/>
                  </a:lnTo>
                  <a:cubicBezTo>
                    <a:pt x="2085921" y="1393303"/>
                    <a:pt x="2083959" y="1395214"/>
                    <a:pt x="2083959" y="1397578"/>
                  </a:cubicBezTo>
                  <a:cubicBezTo>
                    <a:pt x="2083959" y="1397578"/>
                    <a:pt x="2083959" y="1397578"/>
                    <a:pt x="2083959" y="1431396"/>
                  </a:cubicBezTo>
                  <a:cubicBezTo>
                    <a:pt x="2083959" y="1433760"/>
                    <a:pt x="2085921" y="1435671"/>
                    <a:pt x="2088348" y="1435671"/>
                  </a:cubicBezTo>
                  <a:cubicBezTo>
                    <a:pt x="2088348" y="1435671"/>
                    <a:pt x="2088348" y="1435671"/>
                    <a:pt x="2124658" y="1435671"/>
                  </a:cubicBezTo>
                  <a:cubicBezTo>
                    <a:pt x="2127085" y="1435671"/>
                    <a:pt x="2129048" y="1433760"/>
                    <a:pt x="2129048" y="1431396"/>
                  </a:cubicBezTo>
                  <a:cubicBezTo>
                    <a:pt x="2129048" y="1431396"/>
                    <a:pt x="2129048" y="1431396"/>
                    <a:pt x="2129048" y="1397578"/>
                  </a:cubicBezTo>
                  <a:cubicBezTo>
                    <a:pt x="2129048" y="1395214"/>
                    <a:pt x="2127085" y="1393303"/>
                    <a:pt x="2124658" y="1393303"/>
                  </a:cubicBezTo>
                  <a:cubicBezTo>
                    <a:pt x="2124658" y="1393303"/>
                    <a:pt x="2124658" y="1393303"/>
                    <a:pt x="2124091" y="1393303"/>
                  </a:cubicBezTo>
                  <a:lnTo>
                    <a:pt x="2123694" y="1393303"/>
                  </a:lnTo>
                  <a:lnTo>
                    <a:pt x="2123367" y="1390067"/>
                  </a:lnTo>
                  <a:cubicBezTo>
                    <a:pt x="2121762" y="1382223"/>
                    <a:pt x="2114822" y="1376322"/>
                    <a:pt x="2106503" y="1376322"/>
                  </a:cubicBezTo>
                  <a:close/>
                  <a:moveTo>
                    <a:pt x="2167663" y="1376322"/>
                  </a:moveTo>
                  <a:cubicBezTo>
                    <a:pt x="2159343" y="1376322"/>
                    <a:pt x="2152402" y="1382223"/>
                    <a:pt x="2150797" y="1390067"/>
                  </a:cubicBezTo>
                  <a:lnTo>
                    <a:pt x="2150471" y="1393303"/>
                  </a:lnTo>
                  <a:lnTo>
                    <a:pt x="2149506" y="1393303"/>
                  </a:lnTo>
                  <a:cubicBezTo>
                    <a:pt x="2147078" y="1393303"/>
                    <a:pt x="2145117" y="1395214"/>
                    <a:pt x="2145117" y="1397578"/>
                  </a:cubicBezTo>
                  <a:cubicBezTo>
                    <a:pt x="2145117" y="1397578"/>
                    <a:pt x="2145117" y="1397578"/>
                    <a:pt x="2145117" y="1431396"/>
                  </a:cubicBezTo>
                  <a:cubicBezTo>
                    <a:pt x="2145117" y="1433760"/>
                    <a:pt x="2147078" y="1435671"/>
                    <a:pt x="2149506" y="1435671"/>
                  </a:cubicBezTo>
                  <a:cubicBezTo>
                    <a:pt x="2149506" y="1435671"/>
                    <a:pt x="2149506" y="1435671"/>
                    <a:pt x="2185819" y="1435671"/>
                  </a:cubicBezTo>
                  <a:cubicBezTo>
                    <a:pt x="2188246" y="1435671"/>
                    <a:pt x="2190208" y="1433760"/>
                    <a:pt x="2190208" y="1431396"/>
                  </a:cubicBezTo>
                  <a:cubicBezTo>
                    <a:pt x="2190208" y="1431396"/>
                    <a:pt x="2190208" y="1431396"/>
                    <a:pt x="2190208" y="1397578"/>
                  </a:cubicBezTo>
                  <a:cubicBezTo>
                    <a:pt x="2190208" y="1395214"/>
                    <a:pt x="2188246" y="1393303"/>
                    <a:pt x="2185819" y="1393303"/>
                  </a:cubicBezTo>
                  <a:cubicBezTo>
                    <a:pt x="2185819" y="1393303"/>
                    <a:pt x="2185819" y="1393303"/>
                    <a:pt x="2185251" y="1393303"/>
                  </a:cubicBezTo>
                  <a:lnTo>
                    <a:pt x="2184854" y="1393303"/>
                  </a:lnTo>
                  <a:lnTo>
                    <a:pt x="2184528" y="1390067"/>
                  </a:lnTo>
                  <a:cubicBezTo>
                    <a:pt x="2182922" y="1382223"/>
                    <a:pt x="2175983" y="1376322"/>
                    <a:pt x="2167663" y="1376322"/>
                  </a:cubicBezTo>
                  <a:close/>
                  <a:moveTo>
                    <a:pt x="2341038" y="1376322"/>
                  </a:moveTo>
                  <a:cubicBezTo>
                    <a:pt x="2332720" y="1376322"/>
                    <a:pt x="2325779" y="1382223"/>
                    <a:pt x="2324173" y="1390067"/>
                  </a:cubicBezTo>
                  <a:lnTo>
                    <a:pt x="2323847" y="1393303"/>
                  </a:lnTo>
                  <a:lnTo>
                    <a:pt x="2322883" y="1393303"/>
                  </a:lnTo>
                  <a:cubicBezTo>
                    <a:pt x="2320456" y="1393303"/>
                    <a:pt x="2318494" y="1395214"/>
                    <a:pt x="2318494" y="1397578"/>
                  </a:cubicBezTo>
                  <a:cubicBezTo>
                    <a:pt x="2318494" y="1397578"/>
                    <a:pt x="2318494" y="1397578"/>
                    <a:pt x="2318494" y="1431396"/>
                  </a:cubicBezTo>
                  <a:cubicBezTo>
                    <a:pt x="2318494" y="1433760"/>
                    <a:pt x="2320456" y="1435671"/>
                    <a:pt x="2322883" y="1435671"/>
                  </a:cubicBezTo>
                  <a:cubicBezTo>
                    <a:pt x="2322883" y="1435671"/>
                    <a:pt x="2322883" y="1435671"/>
                    <a:pt x="2359193" y="1435671"/>
                  </a:cubicBezTo>
                  <a:cubicBezTo>
                    <a:pt x="2361621" y="1435671"/>
                    <a:pt x="2363582" y="1433760"/>
                    <a:pt x="2363582" y="1431396"/>
                  </a:cubicBezTo>
                  <a:cubicBezTo>
                    <a:pt x="2363582" y="1431396"/>
                    <a:pt x="2363582" y="1431396"/>
                    <a:pt x="2363582" y="1397578"/>
                  </a:cubicBezTo>
                  <a:cubicBezTo>
                    <a:pt x="2363582" y="1395214"/>
                    <a:pt x="2361621" y="1393303"/>
                    <a:pt x="2359193" y="1393303"/>
                  </a:cubicBezTo>
                  <a:cubicBezTo>
                    <a:pt x="2359193" y="1393303"/>
                    <a:pt x="2359193" y="1393303"/>
                    <a:pt x="2358625" y="1393303"/>
                  </a:cubicBezTo>
                  <a:lnTo>
                    <a:pt x="2358229" y="1393303"/>
                  </a:lnTo>
                  <a:lnTo>
                    <a:pt x="2357902" y="1390067"/>
                  </a:lnTo>
                  <a:cubicBezTo>
                    <a:pt x="2356297" y="1382223"/>
                    <a:pt x="2349356" y="1376322"/>
                    <a:pt x="2341038" y="1376322"/>
                  </a:cubicBezTo>
                  <a:close/>
                  <a:moveTo>
                    <a:pt x="2626630" y="1376322"/>
                  </a:moveTo>
                  <a:cubicBezTo>
                    <a:pt x="2618310" y="1376322"/>
                    <a:pt x="2611370" y="1382223"/>
                    <a:pt x="2609765" y="1390067"/>
                  </a:cubicBezTo>
                  <a:lnTo>
                    <a:pt x="2609439" y="1393303"/>
                  </a:lnTo>
                  <a:lnTo>
                    <a:pt x="2608474" y="1393303"/>
                  </a:lnTo>
                  <a:cubicBezTo>
                    <a:pt x="2606047" y="1393303"/>
                    <a:pt x="2604085" y="1395214"/>
                    <a:pt x="2604085" y="1397578"/>
                  </a:cubicBezTo>
                  <a:cubicBezTo>
                    <a:pt x="2604085" y="1397578"/>
                    <a:pt x="2604085" y="1397578"/>
                    <a:pt x="2604085" y="1431396"/>
                  </a:cubicBezTo>
                  <a:cubicBezTo>
                    <a:pt x="2604085" y="1433760"/>
                    <a:pt x="2606047" y="1435671"/>
                    <a:pt x="2608474" y="1435671"/>
                  </a:cubicBezTo>
                  <a:cubicBezTo>
                    <a:pt x="2608474" y="1435671"/>
                    <a:pt x="2608474" y="1435671"/>
                    <a:pt x="2644785" y="1435671"/>
                  </a:cubicBezTo>
                  <a:cubicBezTo>
                    <a:pt x="2647212" y="1435671"/>
                    <a:pt x="2649174" y="1433760"/>
                    <a:pt x="2649174" y="1431396"/>
                  </a:cubicBezTo>
                  <a:cubicBezTo>
                    <a:pt x="2649174" y="1431396"/>
                    <a:pt x="2649174" y="1431396"/>
                    <a:pt x="2649174" y="1397578"/>
                  </a:cubicBezTo>
                  <a:cubicBezTo>
                    <a:pt x="2649174" y="1395214"/>
                    <a:pt x="2647212" y="1393303"/>
                    <a:pt x="2644785" y="1393303"/>
                  </a:cubicBezTo>
                  <a:cubicBezTo>
                    <a:pt x="2644785" y="1393303"/>
                    <a:pt x="2644785" y="1393303"/>
                    <a:pt x="2644217" y="1393303"/>
                  </a:cubicBezTo>
                  <a:lnTo>
                    <a:pt x="2643819" y="1393303"/>
                  </a:lnTo>
                  <a:lnTo>
                    <a:pt x="2643493" y="1390067"/>
                  </a:lnTo>
                  <a:cubicBezTo>
                    <a:pt x="2641888" y="1382223"/>
                    <a:pt x="2634948" y="1376322"/>
                    <a:pt x="2626630" y="1376322"/>
                  </a:cubicBezTo>
                  <a:close/>
                  <a:moveTo>
                    <a:pt x="2687787" y="1376322"/>
                  </a:moveTo>
                  <a:cubicBezTo>
                    <a:pt x="2679469" y="1376322"/>
                    <a:pt x="2672528" y="1382223"/>
                    <a:pt x="2670923" y="1390067"/>
                  </a:cubicBezTo>
                  <a:lnTo>
                    <a:pt x="2670597" y="1393303"/>
                  </a:lnTo>
                  <a:lnTo>
                    <a:pt x="2669632" y="1393303"/>
                  </a:lnTo>
                  <a:cubicBezTo>
                    <a:pt x="2667205" y="1393303"/>
                    <a:pt x="2665243" y="1395214"/>
                    <a:pt x="2665243" y="1397578"/>
                  </a:cubicBezTo>
                  <a:cubicBezTo>
                    <a:pt x="2665243" y="1397578"/>
                    <a:pt x="2665243" y="1397578"/>
                    <a:pt x="2665243" y="1431396"/>
                  </a:cubicBezTo>
                  <a:cubicBezTo>
                    <a:pt x="2665243" y="1433760"/>
                    <a:pt x="2667205" y="1435671"/>
                    <a:pt x="2669632" y="1435671"/>
                  </a:cubicBezTo>
                  <a:cubicBezTo>
                    <a:pt x="2669632" y="1435671"/>
                    <a:pt x="2669632" y="1435671"/>
                    <a:pt x="2705942" y="1435671"/>
                  </a:cubicBezTo>
                  <a:cubicBezTo>
                    <a:pt x="2708369" y="1435671"/>
                    <a:pt x="2710331" y="1433760"/>
                    <a:pt x="2710331" y="1431396"/>
                  </a:cubicBezTo>
                  <a:cubicBezTo>
                    <a:pt x="2710331" y="1431396"/>
                    <a:pt x="2710331" y="1431396"/>
                    <a:pt x="2710331" y="1397578"/>
                  </a:cubicBezTo>
                  <a:cubicBezTo>
                    <a:pt x="2710331" y="1395214"/>
                    <a:pt x="2708369" y="1393303"/>
                    <a:pt x="2705942" y="1393303"/>
                  </a:cubicBezTo>
                  <a:cubicBezTo>
                    <a:pt x="2705942" y="1393303"/>
                    <a:pt x="2705942" y="1393303"/>
                    <a:pt x="2705375" y="1393303"/>
                  </a:cubicBezTo>
                  <a:lnTo>
                    <a:pt x="2704978" y="1393303"/>
                  </a:lnTo>
                  <a:lnTo>
                    <a:pt x="2704651" y="1390067"/>
                  </a:lnTo>
                  <a:cubicBezTo>
                    <a:pt x="2703046" y="1382223"/>
                    <a:pt x="2696106" y="1376322"/>
                    <a:pt x="2687787" y="1376322"/>
                  </a:cubicBezTo>
                  <a:close/>
                  <a:moveTo>
                    <a:pt x="2810153" y="1376322"/>
                  </a:moveTo>
                  <a:cubicBezTo>
                    <a:pt x="2801834" y="1376322"/>
                    <a:pt x="2794894" y="1382223"/>
                    <a:pt x="2793289" y="1390067"/>
                  </a:cubicBezTo>
                  <a:lnTo>
                    <a:pt x="2792963" y="1393303"/>
                  </a:lnTo>
                  <a:lnTo>
                    <a:pt x="2791996" y="1393303"/>
                  </a:lnTo>
                  <a:cubicBezTo>
                    <a:pt x="2789570" y="1393303"/>
                    <a:pt x="2787609" y="1395214"/>
                    <a:pt x="2787609" y="1397578"/>
                  </a:cubicBezTo>
                  <a:cubicBezTo>
                    <a:pt x="2787609" y="1397578"/>
                    <a:pt x="2787609" y="1397578"/>
                    <a:pt x="2787609" y="1431396"/>
                  </a:cubicBezTo>
                  <a:cubicBezTo>
                    <a:pt x="2787609" y="1433760"/>
                    <a:pt x="2789570" y="1435671"/>
                    <a:pt x="2791996" y="1435671"/>
                  </a:cubicBezTo>
                  <a:cubicBezTo>
                    <a:pt x="2791996" y="1435671"/>
                    <a:pt x="2791996" y="1435671"/>
                    <a:pt x="2828309" y="1435671"/>
                  </a:cubicBezTo>
                  <a:cubicBezTo>
                    <a:pt x="2830735" y="1435671"/>
                    <a:pt x="2832697" y="1433760"/>
                    <a:pt x="2832697" y="1431396"/>
                  </a:cubicBezTo>
                  <a:cubicBezTo>
                    <a:pt x="2832697" y="1431396"/>
                    <a:pt x="2832697" y="1431396"/>
                    <a:pt x="2832697" y="1397578"/>
                  </a:cubicBezTo>
                  <a:cubicBezTo>
                    <a:pt x="2832697" y="1395214"/>
                    <a:pt x="2830735" y="1393303"/>
                    <a:pt x="2828309" y="1393303"/>
                  </a:cubicBezTo>
                  <a:cubicBezTo>
                    <a:pt x="2828309" y="1393303"/>
                    <a:pt x="2828309" y="1393303"/>
                    <a:pt x="2827741" y="1393303"/>
                  </a:cubicBezTo>
                  <a:lnTo>
                    <a:pt x="2827343" y="1393303"/>
                  </a:lnTo>
                  <a:lnTo>
                    <a:pt x="2827016" y="1390067"/>
                  </a:lnTo>
                  <a:cubicBezTo>
                    <a:pt x="2825412" y="1382223"/>
                    <a:pt x="2818472" y="1376322"/>
                    <a:pt x="2810153" y="1376322"/>
                  </a:cubicBezTo>
                  <a:close/>
                  <a:moveTo>
                    <a:pt x="3330376" y="1376322"/>
                  </a:moveTo>
                  <a:cubicBezTo>
                    <a:pt x="3322058" y="1376322"/>
                    <a:pt x="3315117" y="1382223"/>
                    <a:pt x="3313512" y="1390067"/>
                  </a:cubicBezTo>
                  <a:lnTo>
                    <a:pt x="3313186" y="1393303"/>
                  </a:lnTo>
                  <a:lnTo>
                    <a:pt x="3312221" y="1393303"/>
                  </a:lnTo>
                  <a:cubicBezTo>
                    <a:pt x="3309793" y="1393303"/>
                    <a:pt x="3307832" y="1395214"/>
                    <a:pt x="3307832" y="1397578"/>
                  </a:cubicBezTo>
                  <a:cubicBezTo>
                    <a:pt x="3307832" y="1397578"/>
                    <a:pt x="3307832" y="1397578"/>
                    <a:pt x="3307832" y="1431396"/>
                  </a:cubicBezTo>
                  <a:cubicBezTo>
                    <a:pt x="3307832" y="1433760"/>
                    <a:pt x="3309793" y="1435671"/>
                    <a:pt x="3312221" y="1435671"/>
                  </a:cubicBezTo>
                  <a:cubicBezTo>
                    <a:pt x="3312221" y="1435671"/>
                    <a:pt x="3312221" y="1435671"/>
                    <a:pt x="3348531" y="1435671"/>
                  </a:cubicBezTo>
                  <a:cubicBezTo>
                    <a:pt x="3350958" y="1435671"/>
                    <a:pt x="3352920" y="1433760"/>
                    <a:pt x="3352920" y="1431396"/>
                  </a:cubicBezTo>
                  <a:cubicBezTo>
                    <a:pt x="3352920" y="1431396"/>
                    <a:pt x="3352920" y="1431396"/>
                    <a:pt x="3352920" y="1397578"/>
                  </a:cubicBezTo>
                  <a:cubicBezTo>
                    <a:pt x="3352920" y="1395214"/>
                    <a:pt x="3350958" y="1393303"/>
                    <a:pt x="3348531" y="1393303"/>
                  </a:cubicBezTo>
                  <a:cubicBezTo>
                    <a:pt x="3348531" y="1393303"/>
                    <a:pt x="3348531" y="1393303"/>
                    <a:pt x="3347964" y="1393303"/>
                  </a:cubicBezTo>
                  <a:lnTo>
                    <a:pt x="3347566" y="1393303"/>
                  </a:lnTo>
                  <a:lnTo>
                    <a:pt x="3347240" y="1390067"/>
                  </a:lnTo>
                  <a:cubicBezTo>
                    <a:pt x="3345635" y="1382223"/>
                    <a:pt x="3338695" y="1376322"/>
                    <a:pt x="3330376" y="1376322"/>
                  </a:cubicBezTo>
                  <a:close/>
                  <a:moveTo>
                    <a:pt x="3442543" y="1376322"/>
                  </a:moveTo>
                  <a:cubicBezTo>
                    <a:pt x="3434225" y="1376322"/>
                    <a:pt x="3427284" y="1382223"/>
                    <a:pt x="3425679" y="1390067"/>
                  </a:cubicBezTo>
                  <a:lnTo>
                    <a:pt x="3425353" y="1393303"/>
                  </a:lnTo>
                  <a:lnTo>
                    <a:pt x="3424388" y="1393303"/>
                  </a:lnTo>
                  <a:cubicBezTo>
                    <a:pt x="3421960" y="1393303"/>
                    <a:pt x="3419999" y="1395214"/>
                    <a:pt x="3419999" y="1397578"/>
                  </a:cubicBezTo>
                  <a:cubicBezTo>
                    <a:pt x="3419999" y="1397578"/>
                    <a:pt x="3419999" y="1397578"/>
                    <a:pt x="3419999" y="1431396"/>
                  </a:cubicBezTo>
                  <a:cubicBezTo>
                    <a:pt x="3419999" y="1433760"/>
                    <a:pt x="3421960" y="1435671"/>
                    <a:pt x="3424388" y="1435671"/>
                  </a:cubicBezTo>
                  <a:cubicBezTo>
                    <a:pt x="3424388" y="1435671"/>
                    <a:pt x="3424388" y="1435671"/>
                    <a:pt x="3460698" y="1435671"/>
                  </a:cubicBezTo>
                  <a:cubicBezTo>
                    <a:pt x="3463125" y="1435671"/>
                    <a:pt x="3465087" y="1433760"/>
                    <a:pt x="3465087" y="1431396"/>
                  </a:cubicBezTo>
                  <a:cubicBezTo>
                    <a:pt x="3465087" y="1431396"/>
                    <a:pt x="3465087" y="1431396"/>
                    <a:pt x="3465087" y="1397578"/>
                  </a:cubicBezTo>
                  <a:cubicBezTo>
                    <a:pt x="3465087" y="1395214"/>
                    <a:pt x="3463125" y="1393303"/>
                    <a:pt x="3460698" y="1393303"/>
                  </a:cubicBezTo>
                  <a:cubicBezTo>
                    <a:pt x="3460698" y="1393303"/>
                    <a:pt x="3460698" y="1393303"/>
                    <a:pt x="3460131" y="1393303"/>
                  </a:cubicBezTo>
                  <a:lnTo>
                    <a:pt x="3459733" y="1393303"/>
                  </a:lnTo>
                  <a:lnTo>
                    <a:pt x="3459407" y="1390067"/>
                  </a:lnTo>
                  <a:cubicBezTo>
                    <a:pt x="3457802" y="1382223"/>
                    <a:pt x="3450862" y="1376322"/>
                    <a:pt x="3442543" y="1376322"/>
                  </a:cubicBezTo>
                  <a:close/>
                  <a:moveTo>
                    <a:pt x="3503701" y="1376322"/>
                  </a:moveTo>
                  <a:cubicBezTo>
                    <a:pt x="3495382" y="1376322"/>
                    <a:pt x="3488442" y="1382223"/>
                    <a:pt x="3486837" y="1390067"/>
                  </a:cubicBezTo>
                  <a:lnTo>
                    <a:pt x="3486511" y="1393303"/>
                  </a:lnTo>
                  <a:lnTo>
                    <a:pt x="3485546" y="1393303"/>
                  </a:lnTo>
                  <a:cubicBezTo>
                    <a:pt x="3483118" y="1393303"/>
                    <a:pt x="3481157" y="1395214"/>
                    <a:pt x="3481157" y="1397578"/>
                  </a:cubicBezTo>
                  <a:cubicBezTo>
                    <a:pt x="3481157" y="1397578"/>
                    <a:pt x="3481157" y="1397578"/>
                    <a:pt x="3481157" y="1431396"/>
                  </a:cubicBezTo>
                  <a:cubicBezTo>
                    <a:pt x="3481157" y="1433760"/>
                    <a:pt x="3483118" y="1435671"/>
                    <a:pt x="3485546" y="1435671"/>
                  </a:cubicBezTo>
                  <a:cubicBezTo>
                    <a:pt x="3485546" y="1435671"/>
                    <a:pt x="3485546" y="1435671"/>
                    <a:pt x="3521856" y="1435671"/>
                  </a:cubicBezTo>
                  <a:cubicBezTo>
                    <a:pt x="3524283" y="1435671"/>
                    <a:pt x="3526245" y="1433760"/>
                    <a:pt x="3526245" y="1431396"/>
                  </a:cubicBezTo>
                  <a:cubicBezTo>
                    <a:pt x="3526245" y="1431396"/>
                    <a:pt x="3526245" y="1431396"/>
                    <a:pt x="3526245" y="1397578"/>
                  </a:cubicBezTo>
                  <a:cubicBezTo>
                    <a:pt x="3526245" y="1395214"/>
                    <a:pt x="3524283" y="1393303"/>
                    <a:pt x="3521856" y="1393303"/>
                  </a:cubicBezTo>
                  <a:cubicBezTo>
                    <a:pt x="3521856" y="1393303"/>
                    <a:pt x="3521856" y="1393303"/>
                    <a:pt x="3521289" y="1393303"/>
                  </a:cubicBezTo>
                  <a:lnTo>
                    <a:pt x="3520891" y="1393303"/>
                  </a:lnTo>
                  <a:lnTo>
                    <a:pt x="3520565" y="1390067"/>
                  </a:lnTo>
                  <a:cubicBezTo>
                    <a:pt x="3518960" y="1382223"/>
                    <a:pt x="3512020" y="1376322"/>
                    <a:pt x="3503701" y="1376322"/>
                  </a:cubicBezTo>
                  <a:close/>
                  <a:moveTo>
                    <a:pt x="3564859" y="1376322"/>
                  </a:moveTo>
                  <a:cubicBezTo>
                    <a:pt x="3556540" y="1376322"/>
                    <a:pt x="3549600" y="1382223"/>
                    <a:pt x="3547995" y="1390067"/>
                  </a:cubicBezTo>
                  <a:lnTo>
                    <a:pt x="3547669" y="1393303"/>
                  </a:lnTo>
                  <a:lnTo>
                    <a:pt x="3546704" y="1393303"/>
                  </a:lnTo>
                  <a:cubicBezTo>
                    <a:pt x="3544276" y="1393303"/>
                    <a:pt x="3542315" y="1395214"/>
                    <a:pt x="3542315" y="1397578"/>
                  </a:cubicBezTo>
                  <a:cubicBezTo>
                    <a:pt x="3542315" y="1397578"/>
                    <a:pt x="3542315" y="1397578"/>
                    <a:pt x="3542315" y="1431396"/>
                  </a:cubicBezTo>
                  <a:cubicBezTo>
                    <a:pt x="3542315" y="1433760"/>
                    <a:pt x="3544276" y="1435671"/>
                    <a:pt x="3546704" y="1435671"/>
                  </a:cubicBezTo>
                  <a:cubicBezTo>
                    <a:pt x="3546704" y="1435671"/>
                    <a:pt x="3546704" y="1435671"/>
                    <a:pt x="3583014" y="1435671"/>
                  </a:cubicBezTo>
                  <a:cubicBezTo>
                    <a:pt x="3585441" y="1435671"/>
                    <a:pt x="3587403" y="1433760"/>
                    <a:pt x="3587403" y="1431396"/>
                  </a:cubicBezTo>
                  <a:cubicBezTo>
                    <a:pt x="3587403" y="1431396"/>
                    <a:pt x="3587403" y="1431396"/>
                    <a:pt x="3587403" y="1397578"/>
                  </a:cubicBezTo>
                  <a:cubicBezTo>
                    <a:pt x="3587403" y="1395214"/>
                    <a:pt x="3585441" y="1393303"/>
                    <a:pt x="3583014" y="1393303"/>
                  </a:cubicBezTo>
                  <a:cubicBezTo>
                    <a:pt x="3583014" y="1393303"/>
                    <a:pt x="3583014" y="1393303"/>
                    <a:pt x="3582447" y="1393303"/>
                  </a:cubicBezTo>
                  <a:lnTo>
                    <a:pt x="3582049" y="1393303"/>
                  </a:lnTo>
                  <a:lnTo>
                    <a:pt x="3581723" y="1390067"/>
                  </a:lnTo>
                  <a:cubicBezTo>
                    <a:pt x="3580118" y="1382223"/>
                    <a:pt x="3573178" y="1376322"/>
                    <a:pt x="3564859" y="1376322"/>
                  </a:cubicBezTo>
                  <a:close/>
                  <a:moveTo>
                    <a:pt x="3626017" y="1376322"/>
                  </a:moveTo>
                  <a:cubicBezTo>
                    <a:pt x="3617698" y="1376322"/>
                    <a:pt x="3610758" y="1382223"/>
                    <a:pt x="3609153" y="1390067"/>
                  </a:cubicBezTo>
                  <a:lnTo>
                    <a:pt x="3608827" y="1393303"/>
                  </a:lnTo>
                  <a:lnTo>
                    <a:pt x="3607862" y="1393303"/>
                  </a:lnTo>
                  <a:cubicBezTo>
                    <a:pt x="3605434" y="1393303"/>
                    <a:pt x="3603473" y="1395214"/>
                    <a:pt x="3603473" y="1397578"/>
                  </a:cubicBezTo>
                  <a:cubicBezTo>
                    <a:pt x="3603473" y="1397578"/>
                    <a:pt x="3603473" y="1397578"/>
                    <a:pt x="3603473" y="1431396"/>
                  </a:cubicBezTo>
                  <a:cubicBezTo>
                    <a:pt x="3603473" y="1433760"/>
                    <a:pt x="3605434" y="1435671"/>
                    <a:pt x="3607862" y="1435671"/>
                  </a:cubicBezTo>
                  <a:cubicBezTo>
                    <a:pt x="3607862" y="1435671"/>
                    <a:pt x="3607862" y="1435671"/>
                    <a:pt x="3644172" y="1435671"/>
                  </a:cubicBezTo>
                  <a:cubicBezTo>
                    <a:pt x="3646599" y="1435671"/>
                    <a:pt x="3648561" y="1433760"/>
                    <a:pt x="3648561" y="1431396"/>
                  </a:cubicBezTo>
                  <a:cubicBezTo>
                    <a:pt x="3648561" y="1431396"/>
                    <a:pt x="3648561" y="1431396"/>
                    <a:pt x="3648561" y="1397578"/>
                  </a:cubicBezTo>
                  <a:cubicBezTo>
                    <a:pt x="3648561" y="1395214"/>
                    <a:pt x="3646599" y="1393303"/>
                    <a:pt x="3644172" y="1393303"/>
                  </a:cubicBezTo>
                  <a:cubicBezTo>
                    <a:pt x="3644172" y="1393303"/>
                    <a:pt x="3644172" y="1393303"/>
                    <a:pt x="3643605" y="1393303"/>
                  </a:cubicBezTo>
                  <a:lnTo>
                    <a:pt x="3643207" y="1393303"/>
                  </a:lnTo>
                  <a:lnTo>
                    <a:pt x="3642881" y="1390067"/>
                  </a:lnTo>
                  <a:cubicBezTo>
                    <a:pt x="3641276" y="1382223"/>
                    <a:pt x="3634336" y="1376322"/>
                    <a:pt x="3626017" y="1376322"/>
                  </a:cubicBezTo>
                  <a:close/>
                  <a:moveTo>
                    <a:pt x="22545" y="1373355"/>
                  </a:moveTo>
                  <a:cubicBezTo>
                    <a:pt x="14226" y="1373355"/>
                    <a:pt x="7285" y="1379256"/>
                    <a:pt x="5680" y="1387100"/>
                  </a:cubicBezTo>
                  <a:lnTo>
                    <a:pt x="5354" y="1390336"/>
                  </a:lnTo>
                  <a:lnTo>
                    <a:pt x="4389" y="1390336"/>
                  </a:lnTo>
                  <a:cubicBezTo>
                    <a:pt x="1962" y="1390336"/>
                    <a:pt x="0" y="1392247"/>
                    <a:pt x="0" y="1394611"/>
                  </a:cubicBezTo>
                  <a:cubicBezTo>
                    <a:pt x="0" y="1394611"/>
                    <a:pt x="0" y="1394611"/>
                    <a:pt x="0" y="1428428"/>
                  </a:cubicBezTo>
                  <a:cubicBezTo>
                    <a:pt x="0" y="1430793"/>
                    <a:pt x="1962" y="1432704"/>
                    <a:pt x="4389" y="1432704"/>
                  </a:cubicBezTo>
                  <a:cubicBezTo>
                    <a:pt x="4389" y="1432704"/>
                    <a:pt x="4389" y="1432704"/>
                    <a:pt x="40700" y="1432704"/>
                  </a:cubicBezTo>
                  <a:cubicBezTo>
                    <a:pt x="43127" y="1432704"/>
                    <a:pt x="45089" y="1430793"/>
                    <a:pt x="45089" y="1428428"/>
                  </a:cubicBezTo>
                  <a:cubicBezTo>
                    <a:pt x="45089" y="1428428"/>
                    <a:pt x="45089" y="1428428"/>
                    <a:pt x="45089" y="1394611"/>
                  </a:cubicBezTo>
                  <a:cubicBezTo>
                    <a:pt x="45089" y="1392247"/>
                    <a:pt x="43127" y="1390336"/>
                    <a:pt x="40700" y="1390336"/>
                  </a:cubicBezTo>
                  <a:cubicBezTo>
                    <a:pt x="40700" y="1390336"/>
                    <a:pt x="40700" y="1390336"/>
                    <a:pt x="40132" y="1390336"/>
                  </a:cubicBezTo>
                  <a:lnTo>
                    <a:pt x="39735" y="1390336"/>
                  </a:lnTo>
                  <a:lnTo>
                    <a:pt x="39408" y="1387100"/>
                  </a:lnTo>
                  <a:cubicBezTo>
                    <a:pt x="37803" y="1379256"/>
                    <a:pt x="30863" y="1373355"/>
                    <a:pt x="22545" y="1373355"/>
                  </a:cubicBezTo>
                  <a:close/>
                  <a:moveTo>
                    <a:pt x="3738032" y="1337662"/>
                  </a:moveTo>
                  <a:cubicBezTo>
                    <a:pt x="3741599" y="1337662"/>
                    <a:pt x="3744473" y="1340492"/>
                    <a:pt x="3744473" y="1343970"/>
                  </a:cubicBezTo>
                  <a:cubicBezTo>
                    <a:pt x="3744473" y="1346364"/>
                    <a:pt x="3743118" y="1348451"/>
                    <a:pt x="3741104" y="1349518"/>
                  </a:cubicBezTo>
                  <a:cubicBezTo>
                    <a:pt x="3741104" y="1349518"/>
                    <a:pt x="3741104" y="1349518"/>
                    <a:pt x="3741104" y="1355227"/>
                  </a:cubicBezTo>
                  <a:cubicBezTo>
                    <a:pt x="3741104" y="1356894"/>
                    <a:pt x="3739733" y="1358236"/>
                    <a:pt x="3738032" y="1358236"/>
                  </a:cubicBezTo>
                  <a:cubicBezTo>
                    <a:pt x="3736347" y="1358236"/>
                    <a:pt x="3734960" y="1356894"/>
                    <a:pt x="3734960" y="1355227"/>
                  </a:cubicBezTo>
                  <a:cubicBezTo>
                    <a:pt x="3734960" y="1355227"/>
                    <a:pt x="3734960" y="1355227"/>
                    <a:pt x="3734960" y="1349518"/>
                  </a:cubicBezTo>
                  <a:cubicBezTo>
                    <a:pt x="3732961" y="1348451"/>
                    <a:pt x="3731590" y="1346364"/>
                    <a:pt x="3731590" y="1343970"/>
                  </a:cubicBezTo>
                  <a:cubicBezTo>
                    <a:pt x="3731590" y="1340492"/>
                    <a:pt x="3734481" y="1337662"/>
                    <a:pt x="3738032" y="1337662"/>
                  </a:cubicBezTo>
                  <a:close/>
                  <a:moveTo>
                    <a:pt x="22366" y="1335107"/>
                  </a:moveTo>
                  <a:cubicBezTo>
                    <a:pt x="25934" y="1335107"/>
                    <a:pt x="28807" y="1337937"/>
                    <a:pt x="28807" y="1341414"/>
                  </a:cubicBezTo>
                  <a:cubicBezTo>
                    <a:pt x="28807" y="1343808"/>
                    <a:pt x="27453" y="1345895"/>
                    <a:pt x="25438" y="1346962"/>
                  </a:cubicBezTo>
                  <a:cubicBezTo>
                    <a:pt x="25438" y="1346962"/>
                    <a:pt x="25438" y="1346962"/>
                    <a:pt x="25438" y="1352672"/>
                  </a:cubicBezTo>
                  <a:cubicBezTo>
                    <a:pt x="25438" y="1354338"/>
                    <a:pt x="24067" y="1355680"/>
                    <a:pt x="22366" y="1355680"/>
                  </a:cubicBezTo>
                  <a:cubicBezTo>
                    <a:pt x="20682" y="1355680"/>
                    <a:pt x="19294" y="1354338"/>
                    <a:pt x="19294" y="1352672"/>
                  </a:cubicBezTo>
                  <a:cubicBezTo>
                    <a:pt x="19294" y="1352672"/>
                    <a:pt x="19294" y="1352672"/>
                    <a:pt x="19294" y="1346962"/>
                  </a:cubicBezTo>
                  <a:cubicBezTo>
                    <a:pt x="17295" y="1345895"/>
                    <a:pt x="15925" y="1343808"/>
                    <a:pt x="15925" y="1341414"/>
                  </a:cubicBezTo>
                  <a:cubicBezTo>
                    <a:pt x="15925" y="1337937"/>
                    <a:pt x="18815" y="1335107"/>
                    <a:pt x="22366" y="1335107"/>
                  </a:cubicBezTo>
                  <a:close/>
                  <a:moveTo>
                    <a:pt x="3738210" y="1311330"/>
                  </a:moveTo>
                  <a:cubicBezTo>
                    <a:pt x="3741775" y="1311330"/>
                    <a:pt x="3744834" y="1313497"/>
                    <a:pt x="3746141" y="1316587"/>
                  </a:cubicBezTo>
                  <a:lnTo>
                    <a:pt x="3746770" y="1319704"/>
                  </a:lnTo>
                  <a:lnTo>
                    <a:pt x="3744566" y="1319704"/>
                  </a:lnTo>
                  <a:cubicBezTo>
                    <a:pt x="3741348" y="1319704"/>
                    <a:pt x="3737252" y="1319704"/>
                    <a:pt x="3732040" y="1319704"/>
                  </a:cubicBezTo>
                  <a:lnTo>
                    <a:pt x="3729650" y="1319704"/>
                  </a:lnTo>
                  <a:lnTo>
                    <a:pt x="3730280" y="1316587"/>
                  </a:lnTo>
                  <a:cubicBezTo>
                    <a:pt x="3731586" y="1313497"/>
                    <a:pt x="3734645" y="1311330"/>
                    <a:pt x="3738210" y="1311330"/>
                  </a:cubicBezTo>
                  <a:close/>
                  <a:moveTo>
                    <a:pt x="22545" y="1308774"/>
                  </a:moveTo>
                  <a:cubicBezTo>
                    <a:pt x="26110" y="1308774"/>
                    <a:pt x="29168" y="1310942"/>
                    <a:pt x="30475" y="1314031"/>
                  </a:cubicBezTo>
                  <a:lnTo>
                    <a:pt x="31104" y="1317148"/>
                  </a:lnTo>
                  <a:lnTo>
                    <a:pt x="28900" y="1317148"/>
                  </a:lnTo>
                  <a:cubicBezTo>
                    <a:pt x="25683" y="1317148"/>
                    <a:pt x="21587" y="1317148"/>
                    <a:pt x="16374" y="1317148"/>
                  </a:cubicBezTo>
                  <a:lnTo>
                    <a:pt x="13984" y="1317148"/>
                  </a:lnTo>
                  <a:lnTo>
                    <a:pt x="14614" y="1314031"/>
                  </a:lnTo>
                  <a:cubicBezTo>
                    <a:pt x="15921" y="1310942"/>
                    <a:pt x="18979" y="1308774"/>
                    <a:pt x="22545" y="1308774"/>
                  </a:cubicBezTo>
                  <a:close/>
                  <a:moveTo>
                    <a:pt x="3738210" y="1302723"/>
                  </a:moveTo>
                  <a:cubicBezTo>
                    <a:pt x="3729891" y="1302723"/>
                    <a:pt x="3722951" y="1308624"/>
                    <a:pt x="3721346" y="1316468"/>
                  </a:cubicBezTo>
                  <a:lnTo>
                    <a:pt x="3721020" y="1319704"/>
                  </a:lnTo>
                  <a:lnTo>
                    <a:pt x="3720055" y="1319704"/>
                  </a:lnTo>
                  <a:cubicBezTo>
                    <a:pt x="3717628" y="1319704"/>
                    <a:pt x="3715666" y="1321615"/>
                    <a:pt x="3715666" y="1323979"/>
                  </a:cubicBezTo>
                  <a:cubicBezTo>
                    <a:pt x="3715666" y="1323979"/>
                    <a:pt x="3715666" y="1323979"/>
                    <a:pt x="3715666" y="1357796"/>
                  </a:cubicBezTo>
                  <a:cubicBezTo>
                    <a:pt x="3715666" y="1360160"/>
                    <a:pt x="3717628" y="1362072"/>
                    <a:pt x="3720055" y="1362072"/>
                  </a:cubicBezTo>
                  <a:cubicBezTo>
                    <a:pt x="3720055" y="1362072"/>
                    <a:pt x="3720055" y="1362072"/>
                    <a:pt x="3756365" y="1362072"/>
                  </a:cubicBezTo>
                  <a:cubicBezTo>
                    <a:pt x="3758793" y="1362072"/>
                    <a:pt x="3760754" y="1360160"/>
                    <a:pt x="3760754" y="1357796"/>
                  </a:cubicBezTo>
                  <a:cubicBezTo>
                    <a:pt x="3760754" y="1357796"/>
                    <a:pt x="3760754" y="1357796"/>
                    <a:pt x="3760754" y="1323979"/>
                  </a:cubicBezTo>
                  <a:cubicBezTo>
                    <a:pt x="3760754" y="1321615"/>
                    <a:pt x="3758793" y="1319704"/>
                    <a:pt x="3756365" y="1319704"/>
                  </a:cubicBezTo>
                  <a:cubicBezTo>
                    <a:pt x="3756365" y="1319704"/>
                    <a:pt x="3756365" y="1319704"/>
                    <a:pt x="3755798" y="1319704"/>
                  </a:cubicBezTo>
                  <a:lnTo>
                    <a:pt x="3755400" y="1319704"/>
                  </a:lnTo>
                  <a:lnTo>
                    <a:pt x="3755074" y="1316468"/>
                  </a:lnTo>
                  <a:cubicBezTo>
                    <a:pt x="3753469" y="1308624"/>
                    <a:pt x="3746529" y="1302723"/>
                    <a:pt x="3738210" y="1302723"/>
                  </a:cubicBezTo>
                  <a:close/>
                  <a:moveTo>
                    <a:pt x="22545" y="1300167"/>
                  </a:moveTo>
                  <a:cubicBezTo>
                    <a:pt x="14226" y="1300167"/>
                    <a:pt x="7285" y="1306068"/>
                    <a:pt x="5680" y="1313912"/>
                  </a:cubicBezTo>
                  <a:lnTo>
                    <a:pt x="5354" y="1317148"/>
                  </a:lnTo>
                  <a:lnTo>
                    <a:pt x="4389" y="1317148"/>
                  </a:lnTo>
                  <a:cubicBezTo>
                    <a:pt x="1962" y="1317148"/>
                    <a:pt x="0" y="1319059"/>
                    <a:pt x="0" y="1321423"/>
                  </a:cubicBezTo>
                  <a:cubicBezTo>
                    <a:pt x="0" y="1321423"/>
                    <a:pt x="0" y="1321423"/>
                    <a:pt x="0" y="1355240"/>
                  </a:cubicBezTo>
                  <a:cubicBezTo>
                    <a:pt x="0" y="1357605"/>
                    <a:pt x="1962" y="1359516"/>
                    <a:pt x="4389" y="1359516"/>
                  </a:cubicBezTo>
                  <a:cubicBezTo>
                    <a:pt x="4389" y="1359516"/>
                    <a:pt x="4389" y="1359516"/>
                    <a:pt x="40700" y="1359516"/>
                  </a:cubicBezTo>
                  <a:cubicBezTo>
                    <a:pt x="43127" y="1359516"/>
                    <a:pt x="45089" y="1357605"/>
                    <a:pt x="45089" y="1355240"/>
                  </a:cubicBezTo>
                  <a:cubicBezTo>
                    <a:pt x="45089" y="1355240"/>
                    <a:pt x="45089" y="1355240"/>
                    <a:pt x="45089" y="1321423"/>
                  </a:cubicBezTo>
                  <a:cubicBezTo>
                    <a:pt x="45089" y="1319059"/>
                    <a:pt x="43127" y="1317148"/>
                    <a:pt x="40700" y="1317148"/>
                  </a:cubicBezTo>
                  <a:cubicBezTo>
                    <a:pt x="40700" y="1317148"/>
                    <a:pt x="40700" y="1317148"/>
                    <a:pt x="40132" y="1317148"/>
                  </a:cubicBezTo>
                  <a:lnTo>
                    <a:pt x="39735" y="1317148"/>
                  </a:lnTo>
                  <a:lnTo>
                    <a:pt x="39408" y="1313912"/>
                  </a:lnTo>
                  <a:cubicBezTo>
                    <a:pt x="37803" y="1306068"/>
                    <a:pt x="30863" y="1300167"/>
                    <a:pt x="22545" y="1300167"/>
                  </a:cubicBezTo>
                  <a:close/>
                  <a:moveTo>
                    <a:pt x="3738032" y="1259178"/>
                  </a:moveTo>
                  <a:cubicBezTo>
                    <a:pt x="3741599" y="1259178"/>
                    <a:pt x="3744473" y="1262008"/>
                    <a:pt x="3744473" y="1265485"/>
                  </a:cubicBezTo>
                  <a:cubicBezTo>
                    <a:pt x="3744473" y="1267879"/>
                    <a:pt x="3743118" y="1269966"/>
                    <a:pt x="3741104" y="1271033"/>
                  </a:cubicBezTo>
                  <a:cubicBezTo>
                    <a:pt x="3741104" y="1271033"/>
                    <a:pt x="3741104" y="1271033"/>
                    <a:pt x="3741104" y="1276743"/>
                  </a:cubicBezTo>
                  <a:cubicBezTo>
                    <a:pt x="3741104" y="1278409"/>
                    <a:pt x="3739733" y="1279751"/>
                    <a:pt x="3738032" y="1279751"/>
                  </a:cubicBezTo>
                  <a:cubicBezTo>
                    <a:pt x="3736347" y="1279751"/>
                    <a:pt x="3734960" y="1278409"/>
                    <a:pt x="3734960" y="1276743"/>
                  </a:cubicBezTo>
                  <a:cubicBezTo>
                    <a:pt x="3734960" y="1276743"/>
                    <a:pt x="3734960" y="1276743"/>
                    <a:pt x="3734960" y="1271033"/>
                  </a:cubicBezTo>
                  <a:cubicBezTo>
                    <a:pt x="3732961" y="1269966"/>
                    <a:pt x="3731590" y="1267879"/>
                    <a:pt x="3731590" y="1265485"/>
                  </a:cubicBezTo>
                  <a:cubicBezTo>
                    <a:pt x="3731590" y="1262008"/>
                    <a:pt x="3734481" y="1259178"/>
                    <a:pt x="3738032" y="1259178"/>
                  </a:cubicBezTo>
                  <a:close/>
                  <a:moveTo>
                    <a:pt x="23924" y="1235587"/>
                  </a:moveTo>
                  <a:cubicBezTo>
                    <a:pt x="23004" y="1235587"/>
                    <a:pt x="22085" y="1235403"/>
                    <a:pt x="21165" y="1235587"/>
                  </a:cubicBezTo>
                  <a:cubicBezTo>
                    <a:pt x="19878" y="1235771"/>
                    <a:pt x="18775" y="1236322"/>
                    <a:pt x="18039" y="1237242"/>
                  </a:cubicBezTo>
                  <a:cubicBezTo>
                    <a:pt x="16935" y="1238345"/>
                    <a:pt x="16384" y="1239816"/>
                    <a:pt x="16568" y="1241471"/>
                  </a:cubicBezTo>
                  <a:cubicBezTo>
                    <a:pt x="16568" y="1241655"/>
                    <a:pt x="16568" y="1241655"/>
                    <a:pt x="16568" y="1241839"/>
                  </a:cubicBezTo>
                  <a:cubicBezTo>
                    <a:pt x="16568" y="1253792"/>
                    <a:pt x="16568" y="1265745"/>
                    <a:pt x="16568" y="1277882"/>
                  </a:cubicBezTo>
                  <a:cubicBezTo>
                    <a:pt x="16568" y="1278250"/>
                    <a:pt x="16568" y="1278250"/>
                    <a:pt x="16200" y="1278250"/>
                  </a:cubicBezTo>
                  <a:cubicBezTo>
                    <a:pt x="14545" y="1278250"/>
                    <a:pt x="12890" y="1278250"/>
                    <a:pt x="11235" y="1278250"/>
                  </a:cubicBezTo>
                  <a:cubicBezTo>
                    <a:pt x="10316" y="1278250"/>
                    <a:pt x="9396" y="1278618"/>
                    <a:pt x="8477" y="1278986"/>
                  </a:cubicBezTo>
                  <a:cubicBezTo>
                    <a:pt x="6822" y="1280089"/>
                    <a:pt x="5902" y="1281560"/>
                    <a:pt x="5902" y="1283583"/>
                  </a:cubicBezTo>
                  <a:cubicBezTo>
                    <a:pt x="5902" y="1285054"/>
                    <a:pt x="6454" y="1286526"/>
                    <a:pt x="7741" y="1287444"/>
                  </a:cubicBezTo>
                  <a:cubicBezTo>
                    <a:pt x="8477" y="1287997"/>
                    <a:pt x="9396" y="1288548"/>
                    <a:pt x="10499" y="1288732"/>
                  </a:cubicBezTo>
                  <a:cubicBezTo>
                    <a:pt x="10499" y="1288732"/>
                    <a:pt x="10683" y="1288732"/>
                    <a:pt x="10683" y="1288732"/>
                  </a:cubicBezTo>
                  <a:cubicBezTo>
                    <a:pt x="10683" y="1288732"/>
                    <a:pt x="10867" y="1288732"/>
                    <a:pt x="10867" y="1288732"/>
                  </a:cubicBezTo>
                  <a:cubicBezTo>
                    <a:pt x="10867" y="1288548"/>
                    <a:pt x="11051" y="1288732"/>
                    <a:pt x="11235" y="1288732"/>
                  </a:cubicBezTo>
                  <a:cubicBezTo>
                    <a:pt x="18591" y="1288732"/>
                    <a:pt x="25947" y="1288732"/>
                    <a:pt x="33118" y="1288732"/>
                  </a:cubicBezTo>
                  <a:cubicBezTo>
                    <a:pt x="33302" y="1288732"/>
                    <a:pt x="33302" y="1288732"/>
                    <a:pt x="33486" y="1288732"/>
                  </a:cubicBezTo>
                  <a:cubicBezTo>
                    <a:pt x="33670" y="1288732"/>
                    <a:pt x="33854" y="1288732"/>
                    <a:pt x="34038" y="1288732"/>
                  </a:cubicBezTo>
                  <a:cubicBezTo>
                    <a:pt x="34222" y="1288548"/>
                    <a:pt x="34405" y="1288548"/>
                    <a:pt x="34590" y="1288548"/>
                  </a:cubicBezTo>
                  <a:cubicBezTo>
                    <a:pt x="35509" y="1288364"/>
                    <a:pt x="36244" y="1287812"/>
                    <a:pt x="36980" y="1287261"/>
                  </a:cubicBezTo>
                  <a:cubicBezTo>
                    <a:pt x="38083" y="1286158"/>
                    <a:pt x="38635" y="1284870"/>
                    <a:pt x="38635" y="1283399"/>
                  </a:cubicBezTo>
                  <a:cubicBezTo>
                    <a:pt x="38635" y="1282111"/>
                    <a:pt x="38267" y="1280825"/>
                    <a:pt x="37164" y="1279905"/>
                  </a:cubicBezTo>
                  <a:cubicBezTo>
                    <a:pt x="36061" y="1278802"/>
                    <a:pt x="34773" y="1278250"/>
                    <a:pt x="33302" y="1278250"/>
                  </a:cubicBezTo>
                  <a:cubicBezTo>
                    <a:pt x="31463" y="1278250"/>
                    <a:pt x="29625" y="1278250"/>
                    <a:pt x="27969" y="1278250"/>
                  </a:cubicBezTo>
                  <a:cubicBezTo>
                    <a:pt x="27786" y="1278250"/>
                    <a:pt x="27601" y="1278250"/>
                    <a:pt x="27601" y="1277882"/>
                  </a:cubicBezTo>
                  <a:cubicBezTo>
                    <a:pt x="27601" y="1267400"/>
                    <a:pt x="27601" y="1257102"/>
                    <a:pt x="27601" y="1246620"/>
                  </a:cubicBezTo>
                  <a:cubicBezTo>
                    <a:pt x="27601" y="1246437"/>
                    <a:pt x="27601" y="1246252"/>
                    <a:pt x="27969" y="1246252"/>
                  </a:cubicBezTo>
                  <a:cubicBezTo>
                    <a:pt x="29257" y="1246252"/>
                    <a:pt x="30728" y="1246252"/>
                    <a:pt x="32015" y="1246252"/>
                  </a:cubicBezTo>
                  <a:cubicBezTo>
                    <a:pt x="34222" y="1246252"/>
                    <a:pt x="35876" y="1245149"/>
                    <a:pt x="36980" y="1243126"/>
                  </a:cubicBezTo>
                  <a:cubicBezTo>
                    <a:pt x="37532" y="1242023"/>
                    <a:pt x="37532" y="1240736"/>
                    <a:pt x="37164" y="1239265"/>
                  </a:cubicBezTo>
                  <a:cubicBezTo>
                    <a:pt x="36428" y="1237242"/>
                    <a:pt x="34405" y="1235771"/>
                    <a:pt x="32199" y="1235771"/>
                  </a:cubicBezTo>
                  <a:cubicBezTo>
                    <a:pt x="29440" y="1235771"/>
                    <a:pt x="26682" y="1235587"/>
                    <a:pt x="23924" y="1235587"/>
                  </a:cubicBezTo>
                  <a:close/>
                  <a:moveTo>
                    <a:pt x="3738210" y="1232845"/>
                  </a:moveTo>
                  <a:cubicBezTo>
                    <a:pt x="3741775" y="1232845"/>
                    <a:pt x="3744834" y="1235012"/>
                    <a:pt x="3746141" y="1238102"/>
                  </a:cubicBezTo>
                  <a:lnTo>
                    <a:pt x="3746770" y="1241219"/>
                  </a:lnTo>
                  <a:lnTo>
                    <a:pt x="3744566" y="1241219"/>
                  </a:lnTo>
                  <a:cubicBezTo>
                    <a:pt x="3741348" y="1241219"/>
                    <a:pt x="3737252" y="1241219"/>
                    <a:pt x="3732040" y="1241219"/>
                  </a:cubicBezTo>
                  <a:lnTo>
                    <a:pt x="3729650" y="1241219"/>
                  </a:lnTo>
                  <a:lnTo>
                    <a:pt x="3730280" y="1238102"/>
                  </a:lnTo>
                  <a:cubicBezTo>
                    <a:pt x="3731586" y="1235012"/>
                    <a:pt x="3734645" y="1232845"/>
                    <a:pt x="3738210" y="1232845"/>
                  </a:cubicBezTo>
                  <a:close/>
                  <a:moveTo>
                    <a:pt x="3738210" y="1224238"/>
                  </a:moveTo>
                  <a:cubicBezTo>
                    <a:pt x="3729891" y="1224238"/>
                    <a:pt x="3722951" y="1230139"/>
                    <a:pt x="3721346" y="1237983"/>
                  </a:cubicBezTo>
                  <a:lnTo>
                    <a:pt x="3721020" y="1241219"/>
                  </a:lnTo>
                  <a:lnTo>
                    <a:pt x="3720055" y="1241219"/>
                  </a:lnTo>
                  <a:cubicBezTo>
                    <a:pt x="3717628" y="1241219"/>
                    <a:pt x="3715666" y="1243130"/>
                    <a:pt x="3715666" y="1245494"/>
                  </a:cubicBezTo>
                  <a:cubicBezTo>
                    <a:pt x="3715666" y="1245494"/>
                    <a:pt x="3715666" y="1245494"/>
                    <a:pt x="3715666" y="1279311"/>
                  </a:cubicBezTo>
                  <a:cubicBezTo>
                    <a:pt x="3715666" y="1281676"/>
                    <a:pt x="3717628" y="1283587"/>
                    <a:pt x="3720055" y="1283587"/>
                  </a:cubicBezTo>
                  <a:cubicBezTo>
                    <a:pt x="3720055" y="1283587"/>
                    <a:pt x="3720055" y="1283587"/>
                    <a:pt x="3756365" y="1283587"/>
                  </a:cubicBezTo>
                  <a:cubicBezTo>
                    <a:pt x="3758793" y="1283587"/>
                    <a:pt x="3760754" y="1281676"/>
                    <a:pt x="3760754" y="1279311"/>
                  </a:cubicBezTo>
                  <a:cubicBezTo>
                    <a:pt x="3760754" y="1279311"/>
                    <a:pt x="3760754" y="1279311"/>
                    <a:pt x="3760754" y="1245494"/>
                  </a:cubicBezTo>
                  <a:cubicBezTo>
                    <a:pt x="3760754" y="1243130"/>
                    <a:pt x="3758793" y="1241219"/>
                    <a:pt x="3756365" y="1241219"/>
                  </a:cubicBezTo>
                  <a:cubicBezTo>
                    <a:pt x="3756365" y="1241219"/>
                    <a:pt x="3756365" y="1241219"/>
                    <a:pt x="3755798" y="1241219"/>
                  </a:cubicBezTo>
                  <a:lnTo>
                    <a:pt x="3755400" y="1241219"/>
                  </a:lnTo>
                  <a:lnTo>
                    <a:pt x="3755074" y="1237983"/>
                  </a:lnTo>
                  <a:cubicBezTo>
                    <a:pt x="3753469" y="1230139"/>
                    <a:pt x="3746529" y="1224238"/>
                    <a:pt x="3738210" y="1224238"/>
                  </a:cubicBezTo>
                  <a:close/>
                  <a:moveTo>
                    <a:pt x="22366" y="1198843"/>
                  </a:moveTo>
                  <a:cubicBezTo>
                    <a:pt x="25934" y="1198843"/>
                    <a:pt x="28807" y="1201673"/>
                    <a:pt x="28807" y="1205151"/>
                  </a:cubicBezTo>
                  <a:cubicBezTo>
                    <a:pt x="28807" y="1207545"/>
                    <a:pt x="27453" y="1209631"/>
                    <a:pt x="25438" y="1210699"/>
                  </a:cubicBezTo>
                  <a:cubicBezTo>
                    <a:pt x="25438" y="1210699"/>
                    <a:pt x="25438" y="1210699"/>
                    <a:pt x="25438" y="1216408"/>
                  </a:cubicBezTo>
                  <a:cubicBezTo>
                    <a:pt x="25438" y="1218075"/>
                    <a:pt x="24067" y="1219416"/>
                    <a:pt x="22366" y="1219416"/>
                  </a:cubicBezTo>
                  <a:cubicBezTo>
                    <a:pt x="20682" y="1219416"/>
                    <a:pt x="19294" y="1218075"/>
                    <a:pt x="19294" y="1216408"/>
                  </a:cubicBezTo>
                  <a:cubicBezTo>
                    <a:pt x="19294" y="1216408"/>
                    <a:pt x="19294" y="1216408"/>
                    <a:pt x="19294" y="1210699"/>
                  </a:cubicBezTo>
                  <a:cubicBezTo>
                    <a:pt x="17295" y="1209631"/>
                    <a:pt x="15925" y="1207545"/>
                    <a:pt x="15925" y="1205151"/>
                  </a:cubicBezTo>
                  <a:cubicBezTo>
                    <a:pt x="15925" y="1201673"/>
                    <a:pt x="18815" y="1198843"/>
                    <a:pt x="22366" y="1198843"/>
                  </a:cubicBezTo>
                  <a:close/>
                  <a:moveTo>
                    <a:pt x="3738032" y="1180692"/>
                  </a:moveTo>
                  <a:cubicBezTo>
                    <a:pt x="3741599" y="1180692"/>
                    <a:pt x="3744473" y="1183522"/>
                    <a:pt x="3744473" y="1186999"/>
                  </a:cubicBezTo>
                  <a:cubicBezTo>
                    <a:pt x="3744473" y="1189393"/>
                    <a:pt x="3743118" y="1191480"/>
                    <a:pt x="3741104" y="1192547"/>
                  </a:cubicBezTo>
                  <a:cubicBezTo>
                    <a:pt x="3741104" y="1192547"/>
                    <a:pt x="3741104" y="1192547"/>
                    <a:pt x="3741104" y="1198257"/>
                  </a:cubicBezTo>
                  <a:cubicBezTo>
                    <a:pt x="3741104" y="1199923"/>
                    <a:pt x="3739733" y="1201265"/>
                    <a:pt x="3738032" y="1201265"/>
                  </a:cubicBezTo>
                  <a:cubicBezTo>
                    <a:pt x="3736347" y="1201265"/>
                    <a:pt x="3734960" y="1199923"/>
                    <a:pt x="3734960" y="1198257"/>
                  </a:cubicBezTo>
                  <a:cubicBezTo>
                    <a:pt x="3734960" y="1198257"/>
                    <a:pt x="3734960" y="1198257"/>
                    <a:pt x="3734960" y="1192547"/>
                  </a:cubicBezTo>
                  <a:cubicBezTo>
                    <a:pt x="3732961" y="1191480"/>
                    <a:pt x="3731590" y="1189393"/>
                    <a:pt x="3731590" y="1186999"/>
                  </a:cubicBezTo>
                  <a:cubicBezTo>
                    <a:pt x="3731590" y="1183522"/>
                    <a:pt x="3734481" y="1180692"/>
                    <a:pt x="3738032" y="1180692"/>
                  </a:cubicBezTo>
                  <a:close/>
                  <a:moveTo>
                    <a:pt x="22545" y="1172511"/>
                  </a:moveTo>
                  <a:cubicBezTo>
                    <a:pt x="26110" y="1172511"/>
                    <a:pt x="29168" y="1174678"/>
                    <a:pt x="30475" y="1177767"/>
                  </a:cubicBezTo>
                  <a:lnTo>
                    <a:pt x="31104" y="1180884"/>
                  </a:lnTo>
                  <a:lnTo>
                    <a:pt x="28900" y="1180884"/>
                  </a:lnTo>
                  <a:cubicBezTo>
                    <a:pt x="25683" y="1180884"/>
                    <a:pt x="21587" y="1180884"/>
                    <a:pt x="16374" y="1180884"/>
                  </a:cubicBezTo>
                  <a:lnTo>
                    <a:pt x="13984" y="1180884"/>
                  </a:lnTo>
                  <a:lnTo>
                    <a:pt x="14614" y="1177767"/>
                  </a:lnTo>
                  <a:cubicBezTo>
                    <a:pt x="15921" y="1174678"/>
                    <a:pt x="18979" y="1172511"/>
                    <a:pt x="22545" y="1172511"/>
                  </a:cubicBezTo>
                  <a:close/>
                  <a:moveTo>
                    <a:pt x="22545" y="1163904"/>
                  </a:moveTo>
                  <a:cubicBezTo>
                    <a:pt x="14226" y="1163904"/>
                    <a:pt x="7285" y="1169804"/>
                    <a:pt x="5680" y="1177648"/>
                  </a:cubicBezTo>
                  <a:lnTo>
                    <a:pt x="5354" y="1180884"/>
                  </a:lnTo>
                  <a:lnTo>
                    <a:pt x="4389" y="1180884"/>
                  </a:lnTo>
                  <a:cubicBezTo>
                    <a:pt x="1962" y="1180884"/>
                    <a:pt x="0" y="1182796"/>
                    <a:pt x="0" y="1185160"/>
                  </a:cubicBezTo>
                  <a:cubicBezTo>
                    <a:pt x="0" y="1185160"/>
                    <a:pt x="0" y="1185160"/>
                    <a:pt x="0" y="1218977"/>
                  </a:cubicBezTo>
                  <a:cubicBezTo>
                    <a:pt x="0" y="1221341"/>
                    <a:pt x="1962" y="1223252"/>
                    <a:pt x="4389" y="1223252"/>
                  </a:cubicBezTo>
                  <a:cubicBezTo>
                    <a:pt x="4389" y="1223252"/>
                    <a:pt x="4389" y="1223252"/>
                    <a:pt x="40700" y="1223252"/>
                  </a:cubicBezTo>
                  <a:cubicBezTo>
                    <a:pt x="43127" y="1223252"/>
                    <a:pt x="45089" y="1221341"/>
                    <a:pt x="45089" y="1218977"/>
                  </a:cubicBezTo>
                  <a:cubicBezTo>
                    <a:pt x="45089" y="1218977"/>
                    <a:pt x="45089" y="1218977"/>
                    <a:pt x="45089" y="1185160"/>
                  </a:cubicBezTo>
                  <a:cubicBezTo>
                    <a:pt x="45089" y="1182796"/>
                    <a:pt x="43127" y="1180884"/>
                    <a:pt x="40700" y="1180884"/>
                  </a:cubicBezTo>
                  <a:cubicBezTo>
                    <a:pt x="40700" y="1180884"/>
                    <a:pt x="40700" y="1180884"/>
                    <a:pt x="40132" y="1180884"/>
                  </a:cubicBezTo>
                  <a:lnTo>
                    <a:pt x="39735" y="1180884"/>
                  </a:lnTo>
                  <a:lnTo>
                    <a:pt x="39408" y="1177648"/>
                  </a:lnTo>
                  <a:cubicBezTo>
                    <a:pt x="37803" y="1169804"/>
                    <a:pt x="30863" y="1163904"/>
                    <a:pt x="22545" y="1163904"/>
                  </a:cubicBezTo>
                  <a:close/>
                  <a:moveTo>
                    <a:pt x="3738210" y="1154359"/>
                  </a:moveTo>
                  <a:cubicBezTo>
                    <a:pt x="3741775" y="1154359"/>
                    <a:pt x="3744834" y="1156527"/>
                    <a:pt x="3746141" y="1159616"/>
                  </a:cubicBezTo>
                  <a:lnTo>
                    <a:pt x="3746770" y="1162733"/>
                  </a:lnTo>
                  <a:lnTo>
                    <a:pt x="3744566" y="1162733"/>
                  </a:lnTo>
                  <a:cubicBezTo>
                    <a:pt x="3741348" y="1162733"/>
                    <a:pt x="3737252" y="1162733"/>
                    <a:pt x="3732040" y="1162733"/>
                  </a:cubicBezTo>
                  <a:lnTo>
                    <a:pt x="3729650" y="1162733"/>
                  </a:lnTo>
                  <a:lnTo>
                    <a:pt x="3730280" y="1159616"/>
                  </a:lnTo>
                  <a:cubicBezTo>
                    <a:pt x="3731586" y="1156527"/>
                    <a:pt x="3734645" y="1154359"/>
                    <a:pt x="3738210" y="1154359"/>
                  </a:cubicBezTo>
                  <a:close/>
                  <a:moveTo>
                    <a:pt x="3738210" y="1145752"/>
                  </a:moveTo>
                  <a:cubicBezTo>
                    <a:pt x="3729891" y="1145752"/>
                    <a:pt x="3722951" y="1151653"/>
                    <a:pt x="3721346" y="1159497"/>
                  </a:cubicBezTo>
                  <a:lnTo>
                    <a:pt x="3721020" y="1162733"/>
                  </a:lnTo>
                  <a:lnTo>
                    <a:pt x="3720055" y="1162733"/>
                  </a:lnTo>
                  <a:cubicBezTo>
                    <a:pt x="3717628" y="1162733"/>
                    <a:pt x="3715666" y="1164644"/>
                    <a:pt x="3715666" y="1167008"/>
                  </a:cubicBezTo>
                  <a:cubicBezTo>
                    <a:pt x="3715666" y="1167008"/>
                    <a:pt x="3715666" y="1167008"/>
                    <a:pt x="3715666" y="1200826"/>
                  </a:cubicBezTo>
                  <a:cubicBezTo>
                    <a:pt x="3715666" y="1203190"/>
                    <a:pt x="3717628" y="1205101"/>
                    <a:pt x="3720055" y="1205101"/>
                  </a:cubicBezTo>
                  <a:cubicBezTo>
                    <a:pt x="3720055" y="1205101"/>
                    <a:pt x="3720055" y="1205101"/>
                    <a:pt x="3756365" y="1205101"/>
                  </a:cubicBezTo>
                  <a:cubicBezTo>
                    <a:pt x="3758793" y="1205101"/>
                    <a:pt x="3760754" y="1203190"/>
                    <a:pt x="3760754" y="1200826"/>
                  </a:cubicBezTo>
                  <a:cubicBezTo>
                    <a:pt x="3760754" y="1200826"/>
                    <a:pt x="3760754" y="1200826"/>
                    <a:pt x="3760754" y="1167008"/>
                  </a:cubicBezTo>
                  <a:cubicBezTo>
                    <a:pt x="3760754" y="1164644"/>
                    <a:pt x="3758793" y="1162733"/>
                    <a:pt x="3756365" y="1162733"/>
                  </a:cubicBezTo>
                  <a:cubicBezTo>
                    <a:pt x="3756365" y="1162733"/>
                    <a:pt x="3756365" y="1162733"/>
                    <a:pt x="3755798" y="1162733"/>
                  </a:cubicBezTo>
                  <a:lnTo>
                    <a:pt x="3755400" y="1162733"/>
                  </a:lnTo>
                  <a:lnTo>
                    <a:pt x="3755074" y="1159497"/>
                  </a:lnTo>
                  <a:cubicBezTo>
                    <a:pt x="3753469" y="1151653"/>
                    <a:pt x="3746529" y="1145752"/>
                    <a:pt x="3738210" y="1145752"/>
                  </a:cubicBezTo>
                  <a:close/>
                  <a:moveTo>
                    <a:pt x="19786" y="1110126"/>
                  </a:moveTo>
                  <a:cubicBezTo>
                    <a:pt x="22627" y="1109207"/>
                    <a:pt x="25302" y="1109942"/>
                    <a:pt x="27643" y="1111781"/>
                  </a:cubicBezTo>
                  <a:cubicBezTo>
                    <a:pt x="28479" y="1112517"/>
                    <a:pt x="29148" y="1113252"/>
                    <a:pt x="29816" y="1114172"/>
                  </a:cubicBezTo>
                  <a:cubicBezTo>
                    <a:pt x="30318" y="1114908"/>
                    <a:pt x="30820" y="1115827"/>
                    <a:pt x="31321" y="1116746"/>
                  </a:cubicBezTo>
                  <a:cubicBezTo>
                    <a:pt x="31656" y="1117298"/>
                    <a:pt x="31822" y="1118034"/>
                    <a:pt x="31989" y="1118585"/>
                  </a:cubicBezTo>
                  <a:cubicBezTo>
                    <a:pt x="32324" y="1119505"/>
                    <a:pt x="32491" y="1120424"/>
                    <a:pt x="32659" y="1121344"/>
                  </a:cubicBezTo>
                  <a:cubicBezTo>
                    <a:pt x="33160" y="1122815"/>
                    <a:pt x="33327" y="1124286"/>
                    <a:pt x="33327" y="1126125"/>
                  </a:cubicBezTo>
                  <a:cubicBezTo>
                    <a:pt x="33327" y="1127596"/>
                    <a:pt x="33160" y="1129251"/>
                    <a:pt x="32659" y="1131090"/>
                  </a:cubicBezTo>
                  <a:cubicBezTo>
                    <a:pt x="32324" y="1132010"/>
                    <a:pt x="32157" y="1132745"/>
                    <a:pt x="31822" y="1133664"/>
                  </a:cubicBezTo>
                  <a:cubicBezTo>
                    <a:pt x="31488" y="1134768"/>
                    <a:pt x="30987" y="1135687"/>
                    <a:pt x="30318" y="1136607"/>
                  </a:cubicBezTo>
                  <a:cubicBezTo>
                    <a:pt x="29649" y="1137710"/>
                    <a:pt x="28813" y="1138629"/>
                    <a:pt x="27977" y="1139549"/>
                  </a:cubicBezTo>
                  <a:cubicBezTo>
                    <a:pt x="27142" y="1140285"/>
                    <a:pt x="26138" y="1141021"/>
                    <a:pt x="24968" y="1141388"/>
                  </a:cubicBezTo>
                  <a:cubicBezTo>
                    <a:pt x="21959" y="1142492"/>
                    <a:pt x="19117" y="1141939"/>
                    <a:pt x="16609" y="1139733"/>
                  </a:cubicBezTo>
                  <a:cubicBezTo>
                    <a:pt x="15773" y="1138997"/>
                    <a:pt x="15105" y="1138262"/>
                    <a:pt x="14436" y="1137342"/>
                  </a:cubicBezTo>
                  <a:cubicBezTo>
                    <a:pt x="13767" y="1136423"/>
                    <a:pt x="13265" y="1135503"/>
                    <a:pt x="12764" y="1134400"/>
                  </a:cubicBezTo>
                  <a:cubicBezTo>
                    <a:pt x="12597" y="1133849"/>
                    <a:pt x="12430" y="1133297"/>
                    <a:pt x="12096" y="1132929"/>
                  </a:cubicBezTo>
                  <a:cubicBezTo>
                    <a:pt x="11761" y="1132010"/>
                    <a:pt x="11426" y="1131090"/>
                    <a:pt x="11260" y="1129987"/>
                  </a:cubicBezTo>
                  <a:cubicBezTo>
                    <a:pt x="10758" y="1126860"/>
                    <a:pt x="10758" y="1123734"/>
                    <a:pt x="11594" y="1120608"/>
                  </a:cubicBezTo>
                  <a:cubicBezTo>
                    <a:pt x="11761" y="1119873"/>
                    <a:pt x="11928" y="1119137"/>
                    <a:pt x="12263" y="1118585"/>
                  </a:cubicBezTo>
                  <a:cubicBezTo>
                    <a:pt x="12597" y="1117850"/>
                    <a:pt x="12764" y="1117114"/>
                    <a:pt x="13098" y="1116562"/>
                  </a:cubicBezTo>
                  <a:cubicBezTo>
                    <a:pt x="13600" y="1115827"/>
                    <a:pt x="13935" y="1114908"/>
                    <a:pt x="14603" y="1114172"/>
                  </a:cubicBezTo>
                  <a:cubicBezTo>
                    <a:pt x="15272" y="1113252"/>
                    <a:pt x="16108" y="1112333"/>
                    <a:pt x="17111" y="1111598"/>
                  </a:cubicBezTo>
                  <a:cubicBezTo>
                    <a:pt x="17947" y="1111045"/>
                    <a:pt x="18783" y="1110494"/>
                    <a:pt x="19786" y="1110126"/>
                  </a:cubicBezTo>
                  <a:close/>
                  <a:moveTo>
                    <a:pt x="3738032" y="1102206"/>
                  </a:moveTo>
                  <a:cubicBezTo>
                    <a:pt x="3741599" y="1102206"/>
                    <a:pt x="3744473" y="1105036"/>
                    <a:pt x="3744473" y="1108514"/>
                  </a:cubicBezTo>
                  <a:cubicBezTo>
                    <a:pt x="3744473" y="1110908"/>
                    <a:pt x="3743118" y="1112994"/>
                    <a:pt x="3741104" y="1114062"/>
                  </a:cubicBezTo>
                  <a:cubicBezTo>
                    <a:pt x="3741104" y="1114062"/>
                    <a:pt x="3741104" y="1114062"/>
                    <a:pt x="3741104" y="1119771"/>
                  </a:cubicBezTo>
                  <a:cubicBezTo>
                    <a:pt x="3741104" y="1121438"/>
                    <a:pt x="3739733" y="1122780"/>
                    <a:pt x="3738032" y="1122780"/>
                  </a:cubicBezTo>
                  <a:cubicBezTo>
                    <a:pt x="3736347" y="1122780"/>
                    <a:pt x="3734960" y="1121438"/>
                    <a:pt x="3734960" y="1119771"/>
                  </a:cubicBezTo>
                  <a:cubicBezTo>
                    <a:pt x="3734960" y="1119771"/>
                    <a:pt x="3734960" y="1119771"/>
                    <a:pt x="3734960" y="1114062"/>
                  </a:cubicBezTo>
                  <a:cubicBezTo>
                    <a:pt x="3732961" y="1112994"/>
                    <a:pt x="3731590" y="1110908"/>
                    <a:pt x="3731590" y="1108514"/>
                  </a:cubicBezTo>
                  <a:cubicBezTo>
                    <a:pt x="3731590" y="1105036"/>
                    <a:pt x="3734481" y="1102206"/>
                    <a:pt x="3738032" y="1102206"/>
                  </a:cubicBezTo>
                  <a:close/>
                  <a:moveTo>
                    <a:pt x="23463" y="1099276"/>
                  </a:moveTo>
                  <a:cubicBezTo>
                    <a:pt x="20622" y="1099093"/>
                    <a:pt x="17780" y="1099644"/>
                    <a:pt x="15105" y="1100747"/>
                  </a:cubicBezTo>
                  <a:cubicBezTo>
                    <a:pt x="13265" y="1101483"/>
                    <a:pt x="11594" y="1102586"/>
                    <a:pt x="10089" y="1103874"/>
                  </a:cubicBezTo>
                  <a:cubicBezTo>
                    <a:pt x="9253" y="1104609"/>
                    <a:pt x="8585" y="1105345"/>
                    <a:pt x="7749" y="1106080"/>
                  </a:cubicBezTo>
                  <a:cubicBezTo>
                    <a:pt x="6913" y="1107000"/>
                    <a:pt x="6077" y="1108103"/>
                    <a:pt x="5408" y="1109023"/>
                  </a:cubicBezTo>
                  <a:cubicBezTo>
                    <a:pt x="4907" y="1109758"/>
                    <a:pt x="4405" y="1110678"/>
                    <a:pt x="4071" y="1111413"/>
                  </a:cubicBezTo>
                  <a:cubicBezTo>
                    <a:pt x="3402" y="1112517"/>
                    <a:pt x="2901" y="1113804"/>
                    <a:pt x="2566" y="1115091"/>
                  </a:cubicBezTo>
                  <a:cubicBezTo>
                    <a:pt x="2232" y="1115827"/>
                    <a:pt x="2064" y="1116746"/>
                    <a:pt x="1898" y="1117482"/>
                  </a:cubicBezTo>
                  <a:cubicBezTo>
                    <a:pt x="1563" y="1118585"/>
                    <a:pt x="1396" y="1119873"/>
                    <a:pt x="1229" y="1120976"/>
                  </a:cubicBezTo>
                  <a:cubicBezTo>
                    <a:pt x="727" y="1124286"/>
                    <a:pt x="727" y="1127596"/>
                    <a:pt x="1396" y="1130722"/>
                  </a:cubicBezTo>
                  <a:cubicBezTo>
                    <a:pt x="1563" y="1131826"/>
                    <a:pt x="1730" y="1132929"/>
                    <a:pt x="2064" y="1134032"/>
                  </a:cubicBezTo>
                  <a:cubicBezTo>
                    <a:pt x="2399" y="1134952"/>
                    <a:pt x="2566" y="1135687"/>
                    <a:pt x="2901" y="1136607"/>
                  </a:cubicBezTo>
                  <a:cubicBezTo>
                    <a:pt x="3235" y="1137158"/>
                    <a:pt x="3402" y="1137710"/>
                    <a:pt x="3570" y="1138262"/>
                  </a:cubicBezTo>
                  <a:cubicBezTo>
                    <a:pt x="4071" y="1139365"/>
                    <a:pt x="4573" y="1140285"/>
                    <a:pt x="5074" y="1141204"/>
                  </a:cubicBezTo>
                  <a:cubicBezTo>
                    <a:pt x="5575" y="1141939"/>
                    <a:pt x="6077" y="1142675"/>
                    <a:pt x="6578" y="1143411"/>
                  </a:cubicBezTo>
                  <a:cubicBezTo>
                    <a:pt x="7247" y="1144330"/>
                    <a:pt x="8083" y="1145250"/>
                    <a:pt x="8919" y="1145986"/>
                  </a:cubicBezTo>
                  <a:cubicBezTo>
                    <a:pt x="9588" y="1146721"/>
                    <a:pt x="10424" y="1147272"/>
                    <a:pt x="11092" y="1147824"/>
                  </a:cubicBezTo>
                  <a:cubicBezTo>
                    <a:pt x="12263" y="1148744"/>
                    <a:pt x="13600" y="1149479"/>
                    <a:pt x="14937" y="1150031"/>
                  </a:cubicBezTo>
                  <a:cubicBezTo>
                    <a:pt x="16609" y="1150767"/>
                    <a:pt x="18448" y="1151318"/>
                    <a:pt x="20287" y="1151502"/>
                  </a:cubicBezTo>
                  <a:cubicBezTo>
                    <a:pt x="20622" y="1151502"/>
                    <a:pt x="20788" y="1151502"/>
                    <a:pt x="21123" y="1151686"/>
                  </a:cubicBezTo>
                  <a:cubicBezTo>
                    <a:pt x="22126" y="1151686"/>
                    <a:pt x="22962" y="1151686"/>
                    <a:pt x="23965" y="1151686"/>
                  </a:cubicBezTo>
                  <a:cubicBezTo>
                    <a:pt x="23965" y="1151502"/>
                    <a:pt x="24132" y="1151686"/>
                    <a:pt x="24132" y="1151686"/>
                  </a:cubicBezTo>
                  <a:cubicBezTo>
                    <a:pt x="27309" y="1151318"/>
                    <a:pt x="30318" y="1150215"/>
                    <a:pt x="32993" y="1148376"/>
                  </a:cubicBezTo>
                  <a:cubicBezTo>
                    <a:pt x="34163" y="1147640"/>
                    <a:pt x="35166" y="1146721"/>
                    <a:pt x="36169" y="1145618"/>
                  </a:cubicBezTo>
                  <a:cubicBezTo>
                    <a:pt x="37005" y="1144882"/>
                    <a:pt x="37674" y="1143963"/>
                    <a:pt x="38343" y="1143043"/>
                  </a:cubicBezTo>
                  <a:cubicBezTo>
                    <a:pt x="38844" y="1142307"/>
                    <a:pt x="39346" y="1141572"/>
                    <a:pt x="39847" y="1140653"/>
                  </a:cubicBezTo>
                  <a:cubicBezTo>
                    <a:pt x="40349" y="1139733"/>
                    <a:pt x="40850" y="1138814"/>
                    <a:pt x="41351" y="1137710"/>
                  </a:cubicBezTo>
                  <a:cubicBezTo>
                    <a:pt x="41686" y="1136975"/>
                    <a:pt x="41853" y="1136423"/>
                    <a:pt x="42187" y="1135687"/>
                  </a:cubicBezTo>
                  <a:cubicBezTo>
                    <a:pt x="42522" y="1134952"/>
                    <a:pt x="42689" y="1134216"/>
                    <a:pt x="42857" y="1133481"/>
                  </a:cubicBezTo>
                  <a:cubicBezTo>
                    <a:pt x="43191" y="1132193"/>
                    <a:pt x="43358" y="1130906"/>
                    <a:pt x="43692" y="1129619"/>
                  </a:cubicBezTo>
                  <a:cubicBezTo>
                    <a:pt x="43859" y="1128883"/>
                    <a:pt x="43859" y="1128331"/>
                    <a:pt x="43859" y="1127596"/>
                  </a:cubicBezTo>
                  <a:cubicBezTo>
                    <a:pt x="43692" y="1128148"/>
                    <a:pt x="43525" y="1127963"/>
                    <a:pt x="43692" y="1127780"/>
                  </a:cubicBezTo>
                  <a:cubicBezTo>
                    <a:pt x="43692" y="1126492"/>
                    <a:pt x="43692" y="1125206"/>
                    <a:pt x="43692" y="1123918"/>
                  </a:cubicBezTo>
                  <a:cubicBezTo>
                    <a:pt x="43692" y="1123918"/>
                    <a:pt x="43692" y="1123918"/>
                    <a:pt x="43692" y="1123734"/>
                  </a:cubicBezTo>
                  <a:cubicBezTo>
                    <a:pt x="43692" y="1122631"/>
                    <a:pt x="43525" y="1121712"/>
                    <a:pt x="43358" y="1120608"/>
                  </a:cubicBezTo>
                  <a:cubicBezTo>
                    <a:pt x="43023" y="1119321"/>
                    <a:pt x="43023" y="1118034"/>
                    <a:pt x="42522" y="1116930"/>
                  </a:cubicBezTo>
                  <a:cubicBezTo>
                    <a:pt x="42187" y="1116195"/>
                    <a:pt x="42021" y="1115459"/>
                    <a:pt x="41853" y="1114723"/>
                  </a:cubicBezTo>
                  <a:cubicBezTo>
                    <a:pt x="41351" y="1113620"/>
                    <a:pt x="40850" y="1112333"/>
                    <a:pt x="40349" y="1111230"/>
                  </a:cubicBezTo>
                  <a:cubicBezTo>
                    <a:pt x="39847" y="1110310"/>
                    <a:pt x="39346" y="1109574"/>
                    <a:pt x="38844" y="1108655"/>
                  </a:cubicBezTo>
                  <a:cubicBezTo>
                    <a:pt x="38343" y="1107919"/>
                    <a:pt x="37841" y="1107184"/>
                    <a:pt x="37339" y="1106632"/>
                  </a:cubicBezTo>
                  <a:cubicBezTo>
                    <a:pt x="36838" y="1106080"/>
                    <a:pt x="36336" y="1105529"/>
                    <a:pt x="35835" y="1104977"/>
                  </a:cubicBezTo>
                  <a:cubicBezTo>
                    <a:pt x="34832" y="1104058"/>
                    <a:pt x="33829" y="1103138"/>
                    <a:pt x="32659" y="1102403"/>
                  </a:cubicBezTo>
                  <a:cubicBezTo>
                    <a:pt x="31822" y="1101851"/>
                    <a:pt x="30820" y="1101299"/>
                    <a:pt x="29984" y="1100932"/>
                  </a:cubicBezTo>
                  <a:cubicBezTo>
                    <a:pt x="27977" y="1100012"/>
                    <a:pt x="25804" y="1099461"/>
                    <a:pt x="23463" y="1099276"/>
                  </a:cubicBezTo>
                  <a:close/>
                  <a:moveTo>
                    <a:pt x="3738210" y="1075874"/>
                  </a:moveTo>
                  <a:cubicBezTo>
                    <a:pt x="3741775" y="1075874"/>
                    <a:pt x="3744834" y="1078041"/>
                    <a:pt x="3746141" y="1081130"/>
                  </a:cubicBezTo>
                  <a:lnTo>
                    <a:pt x="3746770" y="1084247"/>
                  </a:lnTo>
                  <a:lnTo>
                    <a:pt x="3744566" y="1084247"/>
                  </a:lnTo>
                  <a:cubicBezTo>
                    <a:pt x="3741348" y="1084247"/>
                    <a:pt x="3737252" y="1084247"/>
                    <a:pt x="3732040" y="1084247"/>
                  </a:cubicBezTo>
                  <a:lnTo>
                    <a:pt x="3729650" y="1084247"/>
                  </a:lnTo>
                  <a:lnTo>
                    <a:pt x="3730280" y="1081130"/>
                  </a:lnTo>
                  <a:cubicBezTo>
                    <a:pt x="3731586" y="1078041"/>
                    <a:pt x="3734645" y="1075874"/>
                    <a:pt x="3738210" y="1075874"/>
                  </a:cubicBezTo>
                  <a:close/>
                  <a:moveTo>
                    <a:pt x="3738210" y="1067267"/>
                  </a:moveTo>
                  <a:cubicBezTo>
                    <a:pt x="3729891" y="1067267"/>
                    <a:pt x="3722951" y="1073167"/>
                    <a:pt x="3721346" y="1081011"/>
                  </a:cubicBezTo>
                  <a:lnTo>
                    <a:pt x="3721020" y="1084247"/>
                  </a:lnTo>
                  <a:lnTo>
                    <a:pt x="3720055" y="1084247"/>
                  </a:lnTo>
                  <a:cubicBezTo>
                    <a:pt x="3717628" y="1084247"/>
                    <a:pt x="3715666" y="1086159"/>
                    <a:pt x="3715666" y="1088523"/>
                  </a:cubicBezTo>
                  <a:cubicBezTo>
                    <a:pt x="3715666" y="1088523"/>
                    <a:pt x="3715666" y="1088523"/>
                    <a:pt x="3715666" y="1122340"/>
                  </a:cubicBezTo>
                  <a:cubicBezTo>
                    <a:pt x="3715666" y="1124704"/>
                    <a:pt x="3717628" y="1126615"/>
                    <a:pt x="3720055" y="1126615"/>
                  </a:cubicBezTo>
                  <a:cubicBezTo>
                    <a:pt x="3720055" y="1126615"/>
                    <a:pt x="3720055" y="1126615"/>
                    <a:pt x="3756365" y="1126615"/>
                  </a:cubicBezTo>
                  <a:cubicBezTo>
                    <a:pt x="3758793" y="1126615"/>
                    <a:pt x="3760754" y="1124704"/>
                    <a:pt x="3760754" y="1122340"/>
                  </a:cubicBezTo>
                  <a:cubicBezTo>
                    <a:pt x="3760754" y="1122340"/>
                    <a:pt x="3760754" y="1122340"/>
                    <a:pt x="3760754" y="1088523"/>
                  </a:cubicBezTo>
                  <a:cubicBezTo>
                    <a:pt x="3760754" y="1086159"/>
                    <a:pt x="3758793" y="1084247"/>
                    <a:pt x="3756365" y="1084247"/>
                  </a:cubicBezTo>
                  <a:cubicBezTo>
                    <a:pt x="3756365" y="1084247"/>
                    <a:pt x="3756365" y="1084247"/>
                    <a:pt x="3755798" y="1084247"/>
                  </a:cubicBezTo>
                  <a:lnTo>
                    <a:pt x="3755400" y="1084247"/>
                  </a:lnTo>
                  <a:lnTo>
                    <a:pt x="3755074" y="1081011"/>
                  </a:lnTo>
                  <a:cubicBezTo>
                    <a:pt x="3753469" y="1073167"/>
                    <a:pt x="3746529" y="1067267"/>
                    <a:pt x="3738210" y="1067267"/>
                  </a:cubicBezTo>
                  <a:close/>
                  <a:moveTo>
                    <a:pt x="3739589" y="994423"/>
                  </a:moveTo>
                  <a:cubicBezTo>
                    <a:pt x="3738670" y="994423"/>
                    <a:pt x="3737750" y="994239"/>
                    <a:pt x="3736831" y="994423"/>
                  </a:cubicBezTo>
                  <a:cubicBezTo>
                    <a:pt x="3735544" y="994607"/>
                    <a:pt x="3734440" y="995159"/>
                    <a:pt x="3733705" y="996078"/>
                  </a:cubicBezTo>
                  <a:cubicBezTo>
                    <a:pt x="3732601" y="997181"/>
                    <a:pt x="3732050" y="998652"/>
                    <a:pt x="3732234" y="1000307"/>
                  </a:cubicBezTo>
                  <a:cubicBezTo>
                    <a:pt x="3732234" y="1000492"/>
                    <a:pt x="3732234" y="1000492"/>
                    <a:pt x="3732234" y="1000675"/>
                  </a:cubicBezTo>
                  <a:cubicBezTo>
                    <a:pt x="3732234" y="1012628"/>
                    <a:pt x="3732234" y="1024581"/>
                    <a:pt x="3732234" y="1036719"/>
                  </a:cubicBezTo>
                  <a:cubicBezTo>
                    <a:pt x="3732234" y="1037086"/>
                    <a:pt x="3732234" y="1037086"/>
                    <a:pt x="3731866" y="1037086"/>
                  </a:cubicBezTo>
                  <a:cubicBezTo>
                    <a:pt x="3730211" y="1037086"/>
                    <a:pt x="3728555" y="1037086"/>
                    <a:pt x="3726901" y="1037086"/>
                  </a:cubicBezTo>
                  <a:cubicBezTo>
                    <a:pt x="3725981" y="1037086"/>
                    <a:pt x="3725062" y="1037454"/>
                    <a:pt x="3724142" y="1037822"/>
                  </a:cubicBezTo>
                  <a:cubicBezTo>
                    <a:pt x="3722487" y="1038925"/>
                    <a:pt x="3721568" y="1040396"/>
                    <a:pt x="3721568" y="1042419"/>
                  </a:cubicBezTo>
                  <a:cubicBezTo>
                    <a:pt x="3721568" y="1043890"/>
                    <a:pt x="3722119" y="1045362"/>
                    <a:pt x="3723407" y="1046281"/>
                  </a:cubicBezTo>
                  <a:cubicBezTo>
                    <a:pt x="3724142" y="1046833"/>
                    <a:pt x="3725062" y="1047384"/>
                    <a:pt x="3726165" y="1047568"/>
                  </a:cubicBezTo>
                  <a:cubicBezTo>
                    <a:pt x="3726165" y="1047568"/>
                    <a:pt x="3726349" y="1047568"/>
                    <a:pt x="3726349" y="1047568"/>
                  </a:cubicBezTo>
                  <a:cubicBezTo>
                    <a:pt x="3726349" y="1047568"/>
                    <a:pt x="3726533" y="1047568"/>
                    <a:pt x="3726533" y="1047568"/>
                  </a:cubicBezTo>
                  <a:cubicBezTo>
                    <a:pt x="3726533" y="1047384"/>
                    <a:pt x="3726716" y="1047568"/>
                    <a:pt x="3726901" y="1047568"/>
                  </a:cubicBezTo>
                  <a:cubicBezTo>
                    <a:pt x="3734256" y="1047568"/>
                    <a:pt x="3741612" y="1047568"/>
                    <a:pt x="3748784" y="1047568"/>
                  </a:cubicBezTo>
                  <a:cubicBezTo>
                    <a:pt x="3748967" y="1047568"/>
                    <a:pt x="3748967" y="1047568"/>
                    <a:pt x="3749152" y="1047568"/>
                  </a:cubicBezTo>
                  <a:cubicBezTo>
                    <a:pt x="3749335" y="1047568"/>
                    <a:pt x="3749519" y="1047568"/>
                    <a:pt x="3749703" y="1047568"/>
                  </a:cubicBezTo>
                  <a:cubicBezTo>
                    <a:pt x="3749887" y="1047384"/>
                    <a:pt x="3750071" y="1047384"/>
                    <a:pt x="3750255" y="1047384"/>
                  </a:cubicBezTo>
                  <a:cubicBezTo>
                    <a:pt x="3751174" y="1047200"/>
                    <a:pt x="3751910" y="1046649"/>
                    <a:pt x="3752646" y="1046097"/>
                  </a:cubicBezTo>
                  <a:cubicBezTo>
                    <a:pt x="3753749" y="1044994"/>
                    <a:pt x="3754300" y="1043706"/>
                    <a:pt x="3754300" y="1042235"/>
                  </a:cubicBezTo>
                  <a:cubicBezTo>
                    <a:pt x="3754300" y="1040948"/>
                    <a:pt x="3753932" y="1039661"/>
                    <a:pt x="3752829" y="1038741"/>
                  </a:cubicBezTo>
                  <a:cubicBezTo>
                    <a:pt x="3751726" y="1037638"/>
                    <a:pt x="3750439" y="1037086"/>
                    <a:pt x="3748967" y="1037086"/>
                  </a:cubicBezTo>
                  <a:cubicBezTo>
                    <a:pt x="3747129" y="1037086"/>
                    <a:pt x="3745290" y="1037086"/>
                    <a:pt x="3743635" y="1037086"/>
                  </a:cubicBezTo>
                  <a:cubicBezTo>
                    <a:pt x="3743451" y="1037086"/>
                    <a:pt x="3743267" y="1037086"/>
                    <a:pt x="3743267" y="1036719"/>
                  </a:cubicBezTo>
                  <a:cubicBezTo>
                    <a:pt x="3743267" y="1026236"/>
                    <a:pt x="3743267" y="1015939"/>
                    <a:pt x="3743267" y="1005456"/>
                  </a:cubicBezTo>
                  <a:cubicBezTo>
                    <a:pt x="3743267" y="1005273"/>
                    <a:pt x="3743267" y="1005089"/>
                    <a:pt x="3743635" y="1005089"/>
                  </a:cubicBezTo>
                  <a:cubicBezTo>
                    <a:pt x="3744922" y="1005089"/>
                    <a:pt x="3746393" y="1005089"/>
                    <a:pt x="3747681" y="1005089"/>
                  </a:cubicBezTo>
                  <a:cubicBezTo>
                    <a:pt x="3749887" y="1005089"/>
                    <a:pt x="3751542" y="1003985"/>
                    <a:pt x="3752646" y="1001963"/>
                  </a:cubicBezTo>
                  <a:cubicBezTo>
                    <a:pt x="3753197" y="1000859"/>
                    <a:pt x="3753197" y="999572"/>
                    <a:pt x="3752829" y="998101"/>
                  </a:cubicBezTo>
                  <a:cubicBezTo>
                    <a:pt x="3752094" y="996078"/>
                    <a:pt x="3750071" y="994607"/>
                    <a:pt x="3747864" y="994607"/>
                  </a:cubicBezTo>
                  <a:cubicBezTo>
                    <a:pt x="3745106" y="994607"/>
                    <a:pt x="3742348" y="994423"/>
                    <a:pt x="3739589" y="994423"/>
                  </a:cubicBezTo>
                  <a:close/>
                  <a:moveTo>
                    <a:pt x="3739589" y="920118"/>
                  </a:moveTo>
                  <a:cubicBezTo>
                    <a:pt x="3738670" y="920118"/>
                    <a:pt x="3737750" y="919934"/>
                    <a:pt x="3736831" y="920118"/>
                  </a:cubicBezTo>
                  <a:cubicBezTo>
                    <a:pt x="3735544" y="920302"/>
                    <a:pt x="3734440" y="920854"/>
                    <a:pt x="3733705" y="921773"/>
                  </a:cubicBezTo>
                  <a:cubicBezTo>
                    <a:pt x="3732601" y="922876"/>
                    <a:pt x="3732050" y="924348"/>
                    <a:pt x="3732234" y="926002"/>
                  </a:cubicBezTo>
                  <a:cubicBezTo>
                    <a:pt x="3732234" y="926187"/>
                    <a:pt x="3732234" y="926187"/>
                    <a:pt x="3732234" y="926370"/>
                  </a:cubicBezTo>
                  <a:cubicBezTo>
                    <a:pt x="3732234" y="938324"/>
                    <a:pt x="3732234" y="950276"/>
                    <a:pt x="3732234" y="962414"/>
                  </a:cubicBezTo>
                  <a:cubicBezTo>
                    <a:pt x="3732234" y="962781"/>
                    <a:pt x="3732234" y="962781"/>
                    <a:pt x="3731866" y="962781"/>
                  </a:cubicBezTo>
                  <a:cubicBezTo>
                    <a:pt x="3730211" y="962781"/>
                    <a:pt x="3728555" y="962781"/>
                    <a:pt x="3726901" y="962781"/>
                  </a:cubicBezTo>
                  <a:cubicBezTo>
                    <a:pt x="3725981" y="962781"/>
                    <a:pt x="3725062" y="963149"/>
                    <a:pt x="3724142" y="963517"/>
                  </a:cubicBezTo>
                  <a:cubicBezTo>
                    <a:pt x="3722487" y="964620"/>
                    <a:pt x="3721568" y="966091"/>
                    <a:pt x="3721568" y="968114"/>
                  </a:cubicBezTo>
                  <a:cubicBezTo>
                    <a:pt x="3721568" y="969585"/>
                    <a:pt x="3722119" y="971057"/>
                    <a:pt x="3723407" y="971976"/>
                  </a:cubicBezTo>
                  <a:cubicBezTo>
                    <a:pt x="3724142" y="972528"/>
                    <a:pt x="3725062" y="973080"/>
                    <a:pt x="3726165" y="973263"/>
                  </a:cubicBezTo>
                  <a:cubicBezTo>
                    <a:pt x="3726165" y="973263"/>
                    <a:pt x="3726349" y="973263"/>
                    <a:pt x="3726349" y="973263"/>
                  </a:cubicBezTo>
                  <a:cubicBezTo>
                    <a:pt x="3726349" y="973263"/>
                    <a:pt x="3726533" y="973263"/>
                    <a:pt x="3726533" y="973263"/>
                  </a:cubicBezTo>
                  <a:cubicBezTo>
                    <a:pt x="3726533" y="973080"/>
                    <a:pt x="3726716" y="973263"/>
                    <a:pt x="3726901" y="973263"/>
                  </a:cubicBezTo>
                  <a:cubicBezTo>
                    <a:pt x="3734256" y="973263"/>
                    <a:pt x="3741612" y="973263"/>
                    <a:pt x="3748784" y="973263"/>
                  </a:cubicBezTo>
                  <a:cubicBezTo>
                    <a:pt x="3748967" y="973263"/>
                    <a:pt x="3748967" y="973263"/>
                    <a:pt x="3749152" y="973263"/>
                  </a:cubicBezTo>
                  <a:cubicBezTo>
                    <a:pt x="3749335" y="973263"/>
                    <a:pt x="3749519" y="973263"/>
                    <a:pt x="3749703" y="973263"/>
                  </a:cubicBezTo>
                  <a:cubicBezTo>
                    <a:pt x="3749887" y="973080"/>
                    <a:pt x="3750071" y="973080"/>
                    <a:pt x="3750255" y="973080"/>
                  </a:cubicBezTo>
                  <a:cubicBezTo>
                    <a:pt x="3751174" y="972895"/>
                    <a:pt x="3751910" y="972344"/>
                    <a:pt x="3752646" y="971792"/>
                  </a:cubicBezTo>
                  <a:cubicBezTo>
                    <a:pt x="3753749" y="970689"/>
                    <a:pt x="3754300" y="969401"/>
                    <a:pt x="3754300" y="967930"/>
                  </a:cubicBezTo>
                  <a:cubicBezTo>
                    <a:pt x="3754300" y="966643"/>
                    <a:pt x="3753932" y="965356"/>
                    <a:pt x="3752829" y="964436"/>
                  </a:cubicBezTo>
                  <a:cubicBezTo>
                    <a:pt x="3751726" y="963333"/>
                    <a:pt x="3750439" y="962781"/>
                    <a:pt x="3748967" y="962781"/>
                  </a:cubicBezTo>
                  <a:cubicBezTo>
                    <a:pt x="3747129" y="962781"/>
                    <a:pt x="3745290" y="962781"/>
                    <a:pt x="3743635" y="962781"/>
                  </a:cubicBezTo>
                  <a:cubicBezTo>
                    <a:pt x="3743451" y="962781"/>
                    <a:pt x="3743267" y="962781"/>
                    <a:pt x="3743267" y="962414"/>
                  </a:cubicBezTo>
                  <a:cubicBezTo>
                    <a:pt x="3743267" y="951932"/>
                    <a:pt x="3743267" y="941634"/>
                    <a:pt x="3743267" y="931152"/>
                  </a:cubicBezTo>
                  <a:cubicBezTo>
                    <a:pt x="3743267" y="930968"/>
                    <a:pt x="3743267" y="930784"/>
                    <a:pt x="3743635" y="930784"/>
                  </a:cubicBezTo>
                  <a:cubicBezTo>
                    <a:pt x="3744922" y="930784"/>
                    <a:pt x="3746393" y="930784"/>
                    <a:pt x="3747681" y="930784"/>
                  </a:cubicBezTo>
                  <a:cubicBezTo>
                    <a:pt x="3749887" y="930784"/>
                    <a:pt x="3751542" y="929680"/>
                    <a:pt x="3752646" y="927658"/>
                  </a:cubicBezTo>
                  <a:cubicBezTo>
                    <a:pt x="3753197" y="926555"/>
                    <a:pt x="3753197" y="925267"/>
                    <a:pt x="3752829" y="923796"/>
                  </a:cubicBezTo>
                  <a:cubicBezTo>
                    <a:pt x="3752094" y="921773"/>
                    <a:pt x="3750071" y="920302"/>
                    <a:pt x="3747864" y="920302"/>
                  </a:cubicBezTo>
                  <a:cubicBezTo>
                    <a:pt x="3745106" y="920302"/>
                    <a:pt x="3742348" y="920118"/>
                    <a:pt x="3739589" y="920118"/>
                  </a:cubicBezTo>
                  <a:close/>
                  <a:moveTo>
                    <a:pt x="3735451" y="856616"/>
                  </a:moveTo>
                  <a:cubicBezTo>
                    <a:pt x="3738294" y="855697"/>
                    <a:pt x="3740968" y="856432"/>
                    <a:pt x="3743309" y="858271"/>
                  </a:cubicBezTo>
                  <a:cubicBezTo>
                    <a:pt x="3744145" y="859007"/>
                    <a:pt x="3744813" y="859742"/>
                    <a:pt x="3745482" y="860662"/>
                  </a:cubicBezTo>
                  <a:cubicBezTo>
                    <a:pt x="3745984" y="861397"/>
                    <a:pt x="3746485" y="862316"/>
                    <a:pt x="3746986" y="863236"/>
                  </a:cubicBezTo>
                  <a:cubicBezTo>
                    <a:pt x="3747321" y="863787"/>
                    <a:pt x="3747488" y="864523"/>
                    <a:pt x="3747656" y="865075"/>
                  </a:cubicBezTo>
                  <a:cubicBezTo>
                    <a:pt x="3747989" y="865994"/>
                    <a:pt x="3748157" y="866914"/>
                    <a:pt x="3748324" y="867834"/>
                  </a:cubicBezTo>
                  <a:cubicBezTo>
                    <a:pt x="3748825" y="869305"/>
                    <a:pt x="3748993" y="870776"/>
                    <a:pt x="3748993" y="872615"/>
                  </a:cubicBezTo>
                  <a:cubicBezTo>
                    <a:pt x="3748993" y="874086"/>
                    <a:pt x="3748825" y="875741"/>
                    <a:pt x="3748324" y="877580"/>
                  </a:cubicBezTo>
                  <a:cubicBezTo>
                    <a:pt x="3747989" y="878499"/>
                    <a:pt x="3747822" y="879235"/>
                    <a:pt x="3747488" y="880154"/>
                  </a:cubicBezTo>
                  <a:cubicBezTo>
                    <a:pt x="3747154" y="881258"/>
                    <a:pt x="3746652" y="882177"/>
                    <a:pt x="3745984" y="883096"/>
                  </a:cubicBezTo>
                  <a:cubicBezTo>
                    <a:pt x="3745315" y="884200"/>
                    <a:pt x="3744479" y="885119"/>
                    <a:pt x="3743643" y="886039"/>
                  </a:cubicBezTo>
                  <a:cubicBezTo>
                    <a:pt x="3742807" y="886774"/>
                    <a:pt x="3741804" y="887510"/>
                    <a:pt x="3740634" y="887878"/>
                  </a:cubicBezTo>
                  <a:cubicBezTo>
                    <a:pt x="3737624" y="888982"/>
                    <a:pt x="3734783" y="888429"/>
                    <a:pt x="3732275" y="886223"/>
                  </a:cubicBezTo>
                  <a:cubicBezTo>
                    <a:pt x="3731439" y="885487"/>
                    <a:pt x="3730770" y="884752"/>
                    <a:pt x="3730101" y="883832"/>
                  </a:cubicBezTo>
                  <a:cubicBezTo>
                    <a:pt x="3729433" y="882913"/>
                    <a:pt x="3728932" y="881993"/>
                    <a:pt x="3728430" y="880890"/>
                  </a:cubicBezTo>
                  <a:cubicBezTo>
                    <a:pt x="3728262" y="880338"/>
                    <a:pt x="3728095" y="879787"/>
                    <a:pt x="3727761" y="879419"/>
                  </a:cubicBezTo>
                  <a:cubicBezTo>
                    <a:pt x="3727426" y="878499"/>
                    <a:pt x="3727092" y="877580"/>
                    <a:pt x="3726925" y="876477"/>
                  </a:cubicBezTo>
                  <a:cubicBezTo>
                    <a:pt x="3726423" y="873350"/>
                    <a:pt x="3726423" y="870224"/>
                    <a:pt x="3727260" y="867098"/>
                  </a:cubicBezTo>
                  <a:cubicBezTo>
                    <a:pt x="3727426" y="866362"/>
                    <a:pt x="3727594" y="865627"/>
                    <a:pt x="3727928" y="865075"/>
                  </a:cubicBezTo>
                  <a:cubicBezTo>
                    <a:pt x="3728262" y="864340"/>
                    <a:pt x="3728430" y="863604"/>
                    <a:pt x="3728764" y="863052"/>
                  </a:cubicBezTo>
                  <a:cubicBezTo>
                    <a:pt x="3729265" y="862316"/>
                    <a:pt x="3729600" y="861397"/>
                    <a:pt x="3730269" y="860662"/>
                  </a:cubicBezTo>
                  <a:cubicBezTo>
                    <a:pt x="3730937" y="859742"/>
                    <a:pt x="3731773" y="858823"/>
                    <a:pt x="3732776" y="858087"/>
                  </a:cubicBezTo>
                  <a:cubicBezTo>
                    <a:pt x="3733612" y="857535"/>
                    <a:pt x="3734448" y="856983"/>
                    <a:pt x="3735451" y="856616"/>
                  </a:cubicBezTo>
                  <a:close/>
                  <a:moveTo>
                    <a:pt x="3739129" y="845766"/>
                  </a:moveTo>
                  <a:cubicBezTo>
                    <a:pt x="3736287" y="845582"/>
                    <a:pt x="3733445" y="846134"/>
                    <a:pt x="3730770" y="847237"/>
                  </a:cubicBezTo>
                  <a:cubicBezTo>
                    <a:pt x="3728932" y="847973"/>
                    <a:pt x="3727260" y="849076"/>
                    <a:pt x="3725755" y="850364"/>
                  </a:cubicBezTo>
                  <a:cubicBezTo>
                    <a:pt x="3724919" y="851099"/>
                    <a:pt x="3724250" y="851835"/>
                    <a:pt x="3723414" y="852570"/>
                  </a:cubicBezTo>
                  <a:cubicBezTo>
                    <a:pt x="3722578" y="853490"/>
                    <a:pt x="3721743" y="854593"/>
                    <a:pt x="3721074" y="855512"/>
                  </a:cubicBezTo>
                  <a:cubicBezTo>
                    <a:pt x="3720572" y="856248"/>
                    <a:pt x="3720071" y="857168"/>
                    <a:pt x="3719736" y="857903"/>
                  </a:cubicBezTo>
                  <a:cubicBezTo>
                    <a:pt x="3719068" y="859007"/>
                    <a:pt x="3718566" y="860294"/>
                    <a:pt x="3718232" y="861581"/>
                  </a:cubicBezTo>
                  <a:cubicBezTo>
                    <a:pt x="3717898" y="862316"/>
                    <a:pt x="3717730" y="863236"/>
                    <a:pt x="3717563" y="863972"/>
                  </a:cubicBezTo>
                  <a:cubicBezTo>
                    <a:pt x="3717229" y="865075"/>
                    <a:pt x="3717061" y="866362"/>
                    <a:pt x="3716895" y="867466"/>
                  </a:cubicBezTo>
                  <a:cubicBezTo>
                    <a:pt x="3716393" y="870776"/>
                    <a:pt x="3716393" y="874086"/>
                    <a:pt x="3717061" y="877212"/>
                  </a:cubicBezTo>
                  <a:cubicBezTo>
                    <a:pt x="3717229" y="878316"/>
                    <a:pt x="3717396" y="879419"/>
                    <a:pt x="3717730" y="880522"/>
                  </a:cubicBezTo>
                  <a:cubicBezTo>
                    <a:pt x="3718064" y="881442"/>
                    <a:pt x="3718232" y="882177"/>
                    <a:pt x="3718566" y="883096"/>
                  </a:cubicBezTo>
                  <a:cubicBezTo>
                    <a:pt x="3718900" y="883648"/>
                    <a:pt x="3719068" y="884200"/>
                    <a:pt x="3719235" y="884752"/>
                  </a:cubicBezTo>
                  <a:cubicBezTo>
                    <a:pt x="3719736" y="885855"/>
                    <a:pt x="3720238" y="886774"/>
                    <a:pt x="3720739" y="887694"/>
                  </a:cubicBezTo>
                  <a:cubicBezTo>
                    <a:pt x="3721241" y="888429"/>
                    <a:pt x="3721743" y="889165"/>
                    <a:pt x="3722244" y="889900"/>
                  </a:cubicBezTo>
                  <a:cubicBezTo>
                    <a:pt x="3722913" y="890820"/>
                    <a:pt x="3723749" y="891739"/>
                    <a:pt x="3724585" y="892475"/>
                  </a:cubicBezTo>
                  <a:cubicBezTo>
                    <a:pt x="3725253" y="893211"/>
                    <a:pt x="3726089" y="893762"/>
                    <a:pt x="3726758" y="894314"/>
                  </a:cubicBezTo>
                  <a:cubicBezTo>
                    <a:pt x="3727928" y="895234"/>
                    <a:pt x="3729265" y="895969"/>
                    <a:pt x="3730603" y="896521"/>
                  </a:cubicBezTo>
                  <a:cubicBezTo>
                    <a:pt x="3732275" y="897257"/>
                    <a:pt x="3734113" y="897808"/>
                    <a:pt x="3735953" y="897992"/>
                  </a:cubicBezTo>
                  <a:cubicBezTo>
                    <a:pt x="3736287" y="897992"/>
                    <a:pt x="3736454" y="897992"/>
                    <a:pt x="3736788" y="898176"/>
                  </a:cubicBezTo>
                  <a:cubicBezTo>
                    <a:pt x="3737792" y="898176"/>
                    <a:pt x="3738627" y="898176"/>
                    <a:pt x="3739631" y="898176"/>
                  </a:cubicBezTo>
                  <a:cubicBezTo>
                    <a:pt x="3739631" y="897992"/>
                    <a:pt x="3739798" y="898176"/>
                    <a:pt x="3739798" y="898176"/>
                  </a:cubicBezTo>
                  <a:cubicBezTo>
                    <a:pt x="3742974" y="897808"/>
                    <a:pt x="3745984" y="896705"/>
                    <a:pt x="3748658" y="894866"/>
                  </a:cubicBezTo>
                  <a:cubicBezTo>
                    <a:pt x="3749829" y="894130"/>
                    <a:pt x="3750832" y="893211"/>
                    <a:pt x="3751835" y="892107"/>
                  </a:cubicBezTo>
                  <a:cubicBezTo>
                    <a:pt x="3752671" y="891371"/>
                    <a:pt x="3753339" y="890453"/>
                    <a:pt x="3754008" y="889533"/>
                  </a:cubicBezTo>
                  <a:cubicBezTo>
                    <a:pt x="3754509" y="888797"/>
                    <a:pt x="3755011" y="888062"/>
                    <a:pt x="3755512" y="887142"/>
                  </a:cubicBezTo>
                  <a:cubicBezTo>
                    <a:pt x="3756014" y="886223"/>
                    <a:pt x="3756516" y="885303"/>
                    <a:pt x="3757017" y="884200"/>
                  </a:cubicBezTo>
                  <a:cubicBezTo>
                    <a:pt x="3757351" y="883464"/>
                    <a:pt x="3757519" y="882913"/>
                    <a:pt x="3757853" y="882177"/>
                  </a:cubicBezTo>
                  <a:cubicBezTo>
                    <a:pt x="3758187" y="881442"/>
                    <a:pt x="3758355" y="880706"/>
                    <a:pt x="3758522" y="879970"/>
                  </a:cubicBezTo>
                  <a:cubicBezTo>
                    <a:pt x="3758856" y="878683"/>
                    <a:pt x="3759023" y="877396"/>
                    <a:pt x="3759358" y="876109"/>
                  </a:cubicBezTo>
                  <a:cubicBezTo>
                    <a:pt x="3759525" y="875373"/>
                    <a:pt x="3759525" y="874821"/>
                    <a:pt x="3759525" y="874086"/>
                  </a:cubicBezTo>
                  <a:cubicBezTo>
                    <a:pt x="3759358" y="874638"/>
                    <a:pt x="3759191" y="874453"/>
                    <a:pt x="3759358" y="874270"/>
                  </a:cubicBezTo>
                  <a:cubicBezTo>
                    <a:pt x="3759358" y="872982"/>
                    <a:pt x="3759358" y="871695"/>
                    <a:pt x="3759358" y="870408"/>
                  </a:cubicBezTo>
                  <a:cubicBezTo>
                    <a:pt x="3759358" y="870408"/>
                    <a:pt x="3759358" y="870408"/>
                    <a:pt x="3759358" y="870224"/>
                  </a:cubicBezTo>
                  <a:cubicBezTo>
                    <a:pt x="3759358" y="869121"/>
                    <a:pt x="3759191" y="868202"/>
                    <a:pt x="3759023" y="867098"/>
                  </a:cubicBezTo>
                  <a:cubicBezTo>
                    <a:pt x="3758689" y="865811"/>
                    <a:pt x="3758689" y="864523"/>
                    <a:pt x="3758187" y="863420"/>
                  </a:cubicBezTo>
                  <a:cubicBezTo>
                    <a:pt x="3757853" y="862684"/>
                    <a:pt x="3757686" y="861949"/>
                    <a:pt x="3757519" y="861213"/>
                  </a:cubicBezTo>
                  <a:cubicBezTo>
                    <a:pt x="3757017" y="860110"/>
                    <a:pt x="3756516" y="858823"/>
                    <a:pt x="3756014" y="857719"/>
                  </a:cubicBezTo>
                  <a:cubicBezTo>
                    <a:pt x="3755512" y="856800"/>
                    <a:pt x="3755011" y="856064"/>
                    <a:pt x="3754509" y="855145"/>
                  </a:cubicBezTo>
                  <a:cubicBezTo>
                    <a:pt x="3754008" y="854409"/>
                    <a:pt x="3753507" y="853674"/>
                    <a:pt x="3753005" y="853122"/>
                  </a:cubicBezTo>
                  <a:cubicBezTo>
                    <a:pt x="3752503" y="852570"/>
                    <a:pt x="3752002" y="852018"/>
                    <a:pt x="3751500" y="851467"/>
                  </a:cubicBezTo>
                  <a:cubicBezTo>
                    <a:pt x="3750497" y="850547"/>
                    <a:pt x="3749494" y="849628"/>
                    <a:pt x="3748324" y="848893"/>
                  </a:cubicBezTo>
                  <a:cubicBezTo>
                    <a:pt x="3747488" y="848340"/>
                    <a:pt x="3746485" y="847789"/>
                    <a:pt x="3745649" y="847421"/>
                  </a:cubicBezTo>
                  <a:cubicBezTo>
                    <a:pt x="3743643" y="846502"/>
                    <a:pt x="3741470" y="845950"/>
                    <a:pt x="3739129" y="845766"/>
                  </a:cubicBezTo>
                  <a:close/>
                  <a:moveTo>
                    <a:pt x="3735451" y="782311"/>
                  </a:moveTo>
                  <a:cubicBezTo>
                    <a:pt x="3738294" y="781392"/>
                    <a:pt x="3740968" y="782127"/>
                    <a:pt x="3743309" y="783966"/>
                  </a:cubicBezTo>
                  <a:cubicBezTo>
                    <a:pt x="3744145" y="784702"/>
                    <a:pt x="3744813" y="785437"/>
                    <a:pt x="3745482" y="786357"/>
                  </a:cubicBezTo>
                  <a:cubicBezTo>
                    <a:pt x="3745984" y="787093"/>
                    <a:pt x="3746485" y="788011"/>
                    <a:pt x="3746986" y="788931"/>
                  </a:cubicBezTo>
                  <a:cubicBezTo>
                    <a:pt x="3747321" y="789483"/>
                    <a:pt x="3747488" y="790219"/>
                    <a:pt x="3747656" y="790770"/>
                  </a:cubicBezTo>
                  <a:cubicBezTo>
                    <a:pt x="3747989" y="791690"/>
                    <a:pt x="3748157" y="792609"/>
                    <a:pt x="3748324" y="793529"/>
                  </a:cubicBezTo>
                  <a:cubicBezTo>
                    <a:pt x="3748825" y="795000"/>
                    <a:pt x="3748993" y="796471"/>
                    <a:pt x="3748993" y="798310"/>
                  </a:cubicBezTo>
                  <a:cubicBezTo>
                    <a:pt x="3748993" y="799781"/>
                    <a:pt x="3748825" y="801436"/>
                    <a:pt x="3748324" y="803275"/>
                  </a:cubicBezTo>
                  <a:cubicBezTo>
                    <a:pt x="3747989" y="804194"/>
                    <a:pt x="3747822" y="804930"/>
                    <a:pt x="3747488" y="805849"/>
                  </a:cubicBezTo>
                  <a:cubicBezTo>
                    <a:pt x="3747154" y="806953"/>
                    <a:pt x="3746652" y="807872"/>
                    <a:pt x="3745984" y="808791"/>
                  </a:cubicBezTo>
                  <a:cubicBezTo>
                    <a:pt x="3745315" y="809895"/>
                    <a:pt x="3744479" y="810814"/>
                    <a:pt x="3743643" y="811734"/>
                  </a:cubicBezTo>
                  <a:cubicBezTo>
                    <a:pt x="3742807" y="812470"/>
                    <a:pt x="3741804" y="813206"/>
                    <a:pt x="3740634" y="813573"/>
                  </a:cubicBezTo>
                  <a:cubicBezTo>
                    <a:pt x="3737624" y="814677"/>
                    <a:pt x="3734783" y="814124"/>
                    <a:pt x="3732275" y="811918"/>
                  </a:cubicBezTo>
                  <a:cubicBezTo>
                    <a:pt x="3731439" y="811182"/>
                    <a:pt x="3730770" y="810447"/>
                    <a:pt x="3730101" y="809527"/>
                  </a:cubicBezTo>
                  <a:cubicBezTo>
                    <a:pt x="3729433" y="808608"/>
                    <a:pt x="3728932" y="807688"/>
                    <a:pt x="3728430" y="806585"/>
                  </a:cubicBezTo>
                  <a:cubicBezTo>
                    <a:pt x="3728262" y="806034"/>
                    <a:pt x="3728095" y="805482"/>
                    <a:pt x="3727761" y="805114"/>
                  </a:cubicBezTo>
                  <a:cubicBezTo>
                    <a:pt x="3727426" y="804194"/>
                    <a:pt x="3727092" y="803275"/>
                    <a:pt x="3726925" y="802172"/>
                  </a:cubicBezTo>
                  <a:cubicBezTo>
                    <a:pt x="3726423" y="799045"/>
                    <a:pt x="3726423" y="795919"/>
                    <a:pt x="3727260" y="792793"/>
                  </a:cubicBezTo>
                  <a:cubicBezTo>
                    <a:pt x="3727426" y="792058"/>
                    <a:pt x="3727594" y="791322"/>
                    <a:pt x="3727928" y="790770"/>
                  </a:cubicBezTo>
                  <a:cubicBezTo>
                    <a:pt x="3728262" y="790035"/>
                    <a:pt x="3728430" y="789299"/>
                    <a:pt x="3728764" y="788747"/>
                  </a:cubicBezTo>
                  <a:cubicBezTo>
                    <a:pt x="3729265" y="788011"/>
                    <a:pt x="3729600" y="787093"/>
                    <a:pt x="3730269" y="786357"/>
                  </a:cubicBezTo>
                  <a:cubicBezTo>
                    <a:pt x="3730937" y="785437"/>
                    <a:pt x="3731773" y="784518"/>
                    <a:pt x="3732776" y="783782"/>
                  </a:cubicBezTo>
                  <a:cubicBezTo>
                    <a:pt x="3733612" y="783230"/>
                    <a:pt x="3734448" y="782679"/>
                    <a:pt x="3735451" y="782311"/>
                  </a:cubicBezTo>
                  <a:close/>
                  <a:moveTo>
                    <a:pt x="3739129" y="771461"/>
                  </a:moveTo>
                  <a:cubicBezTo>
                    <a:pt x="3736287" y="771278"/>
                    <a:pt x="3733445" y="771829"/>
                    <a:pt x="3730770" y="772932"/>
                  </a:cubicBezTo>
                  <a:cubicBezTo>
                    <a:pt x="3728932" y="773668"/>
                    <a:pt x="3727260" y="774771"/>
                    <a:pt x="3725755" y="776059"/>
                  </a:cubicBezTo>
                  <a:cubicBezTo>
                    <a:pt x="3724919" y="776794"/>
                    <a:pt x="3724250" y="777530"/>
                    <a:pt x="3723414" y="778265"/>
                  </a:cubicBezTo>
                  <a:cubicBezTo>
                    <a:pt x="3722578" y="779185"/>
                    <a:pt x="3721743" y="780288"/>
                    <a:pt x="3721074" y="781207"/>
                  </a:cubicBezTo>
                  <a:cubicBezTo>
                    <a:pt x="3720572" y="781943"/>
                    <a:pt x="3720071" y="782863"/>
                    <a:pt x="3719736" y="783598"/>
                  </a:cubicBezTo>
                  <a:cubicBezTo>
                    <a:pt x="3719068" y="784702"/>
                    <a:pt x="3718566" y="785989"/>
                    <a:pt x="3718232" y="787276"/>
                  </a:cubicBezTo>
                  <a:cubicBezTo>
                    <a:pt x="3717898" y="788011"/>
                    <a:pt x="3717730" y="788931"/>
                    <a:pt x="3717563" y="789667"/>
                  </a:cubicBezTo>
                  <a:cubicBezTo>
                    <a:pt x="3717229" y="790770"/>
                    <a:pt x="3717061" y="792058"/>
                    <a:pt x="3716895" y="793161"/>
                  </a:cubicBezTo>
                  <a:cubicBezTo>
                    <a:pt x="3716393" y="796471"/>
                    <a:pt x="3716393" y="799781"/>
                    <a:pt x="3717061" y="802907"/>
                  </a:cubicBezTo>
                  <a:cubicBezTo>
                    <a:pt x="3717229" y="804011"/>
                    <a:pt x="3717396" y="805114"/>
                    <a:pt x="3717730" y="806217"/>
                  </a:cubicBezTo>
                  <a:cubicBezTo>
                    <a:pt x="3718064" y="807137"/>
                    <a:pt x="3718232" y="807872"/>
                    <a:pt x="3718566" y="808791"/>
                  </a:cubicBezTo>
                  <a:cubicBezTo>
                    <a:pt x="3718900" y="809343"/>
                    <a:pt x="3719068" y="809895"/>
                    <a:pt x="3719235" y="810447"/>
                  </a:cubicBezTo>
                  <a:cubicBezTo>
                    <a:pt x="3719736" y="811550"/>
                    <a:pt x="3720238" y="812470"/>
                    <a:pt x="3720739" y="813389"/>
                  </a:cubicBezTo>
                  <a:cubicBezTo>
                    <a:pt x="3721241" y="814124"/>
                    <a:pt x="3721743" y="814860"/>
                    <a:pt x="3722244" y="815596"/>
                  </a:cubicBezTo>
                  <a:cubicBezTo>
                    <a:pt x="3722913" y="816515"/>
                    <a:pt x="3723749" y="817435"/>
                    <a:pt x="3724585" y="818170"/>
                  </a:cubicBezTo>
                  <a:cubicBezTo>
                    <a:pt x="3725253" y="818906"/>
                    <a:pt x="3726089" y="819457"/>
                    <a:pt x="3726758" y="820009"/>
                  </a:cubicBezTo>
                  <a:cubicBezTo>
                    <a:pt x="3727928" y="820929"/>
                    <a:pt x="3729265" y="821664"/>
                    <a:pt x="3730603" y="822216"/>
                  </a:cubicBezTo>
                  <a:cubicBezTo>
                    <a:pt x="3732275" y="822952"/>
                    <a:pt x="3734113" y="823503"/>
                    <a:pt x="3735953" y="823687"/>
                  </a:cubicBezTo>
                  <a:cubicBezTo>
                    <a:pt x="3736287" y="823687"/>
                    <a:pt x="3736454" y="823687"/>
                    <a:pt x="3736788" y="823871"/>
                  </a:cubicBezTo>
                  <a:cubicBezTo>
                    <a:pt x="3737792" y="823871"/>
                    <a:pt x="3738627" y="823871"/>
                    <a:pt x="3739631" y="823871"/>
                  </a:cubicBezTo>
                  <a:cubicBezTo>
                    <a:pt x="3739631" y="823687"/>
                    <a:pt x="3739798" y="823871"/>
                    <a:pt x="3739798" y="823871"/>
                  </a:cubicBezTo>
                  <a:cubicBezTo>
                    <a:pt x="3742974" y="823503"/>
                    <a:pt x="3745984" y="822400"/>
                    <a:pt x="3748658" y="820561"/>
                  </a:cubicBezTo>
                  <a:cubicBezTo>
                    <a:pt x="3749829" y="819825"/>
                    <a:pt x="3750832" y="818906"/>
                    <a:pt x="3751835" y="817803"/>
                  </a:cubicBezTo>
                  <a:cubicBezTo>
                    <a:pt x="3752671" y="817067"/>
                    <a:pt x="3753339" y="816148"/>
                    <a:pt x="3754008" y="815228"/>
                  </a:cubicBezTo>
                  <a:cubicBezTo>
                    <a:pt x="3754509" y="814492"/>
                    <a:pt x="3755011" y="813757"/>
                    <a:pt x="3755512" y="812838"/>
                  </a:cubicBezTo>
                  <a:cubicBezTo>
                    <a:pt x="3756014" y="811918"/>
                    <a:pt x="3756516" y="810999"/>
                    <a:pt x="3757017" y="809895"/>
                  </a:cubicBezTo>
                  <a:cubicBezTo>
                    <a:pt x="3757351" y="809159"/>
                    <a:pt x="3757519" y="808608"/>
                    <a:pt x="3757853" y="807872"/>
                  </a:cubicBezTo>
                  <a:cubicBezTo>
                    <a:pt x="3758187" y="807137"/>
                    <a:pt x="3758355" y="806401"/>
                    <a:pt x="3758522" y="805666"/>
                  </a:cubicBezTo>
                  <a:cubicBezTo>
                    <a:pt x="3758856" y="804378"/>
                    <a:pt x="3759023" y="803091"/>
                    <a:pt x="3759358" y="801804"/>
                  </a:cubicBezTo>
                  <a:cubicBezTo>
                    <a:pt x="3759525" y="801068"/>
                    <a:pt x="3759525" y="800516"/>
                    <a:pt x="3759525" y="799781"/>
                  </a:cubicBezTo>
                  <a:cubicBezTo>
                    <a:pt x="3759358" y="800333"/>
                    <a:pt x="3759191" y="800148"/>
                    <a:pt x="3759358" y="799965"/>
                  </a:cubicBezTo>
                  <a:cubicBezTo>
                    <a:pt x="3759358" y="798677"/>
                    <a:pt x="3759358" y="797390"/>
                    <a:pt x="3759358" y="796103"/>
                  </a:cubicBezTo>
                  <a:cubicBezTo>
                    <a:pt x="3759358" y="796103"/>
                    <a:pt x="3759358" y="796103"/>
                    <a:pt x="3759358" y="795919"/>
                  </a:cubicBezTo>
                  <a:cubicBezTo>
                    <a:pt x="3759358" y="794816"/>
                    <a:pt x="3759191" y="793897"/>
                    <a:pt x="3759023" y="792793"/>
                  </a:cubicBezTo>
                  <a:cubicBezTo>
                    <a:pt x="3758689" y="791506"/>
                    <a:pt x="3758689" y="790219"/>
                    <a:pt x="3758187" y="789115"/>
                  </a:cubicBezTo>
                  <a:cubicBezTo>
                    <a:pt x="3757853" y="788379"/>
                    <a:pt x="3757686" y="787644"/>
                    <a:pt x="3757519" y="786908"/>
                  </a:cubicBezTo>
                  <a:cubicBezTo>
                    <a:pt x="3757017" y="785805"/>
                    <a:pt x="3756516" y="784518"/>
                    <a:pt x="3756014" y="783414"/>
                  </a:cubicBezTo>
                  <a:cubicBezTo>
                    <a:pt x="3755512" y="782495"/>
                    <a:pt x="3755011" y="781759"/>
                    <a:pt x="3754509" y="780840"/>
                  </a:cubicBezTo>
                  <a:cubicBezTo>
                    <a:pt x="3754008" y="780104"/>
                    <a:pt x="3753507" y="779369"/>
                    <a:pt x="3753005" y="778817"/>
                  </a:cubicBezTo>
                  <a:cubicBezTo>
                    <a:pt x="3752503" y="778265"/>
                    <a:pt x="3752002" y="777714"/>
                    <a:pt x="3751500" y="777162"/>
                  </a:cubicBezTo>
                  <a:cubicBezTo>
                    <a:pt x="3750497" y="776243"/>
                    <a:pt x="3749494" y="775323"/>
                    <a:pt x="3748324" y="774588"/>
                  </a:cubicBezTo>
                  <a:cubicBezTo>
                    <a:pt x="3747488" y="774035"/>
                    <a:pt x="3746485" y="773484"/>
                    <a:pt x="3745649" y="773117"/>
                  </a:cubicBezTo>
                  <a:cubicBezTo>
                    <a:pt x="3743643" y="772197"/>
                    <a:pt x="3741470" y="771646"/>
                    <a:pt x="3739129" y="771461"/>
                  </a:cubicBezTo>
                  <a:close/>
                  <a:moveTo>
                    <a:pt x="3739589" y="697203"/>
                  </a:moveTo>
                  <a:cubicBezTo>
                    <a:pt x="3738670" y="697203"/>
                    <a:pt x="3737750" y="697020"/>
                    <a:pt x="3736831" y="697203"/>
                  </a:cubicBezTo>
                  <a:cubicBezTo>
                    <a:pt x="3735544" y="697388"/>
                    <a:pt x="3734440" y="697939"/>
                    <a:pt x="3733705" y="698859"/>
                  </a:cubicBezTo>
                  <a:cubicBezTo>
                    <a:pt x="3732601" y="699962"/>
                    <a:pt x="3732050" y="701433"/>
                    <a:pt x="3732234" y="703088"/>
                  </a:cubicBezTo>
                  <a:cubicBezTo>
                    <a:pt x="3732234" y="703272"/>
                    <a:pt x="3732234" y="703272"/>
                    <a:pt x="3732234" y="703456"/>
                  </a:cubicBezTo>
                  <a:cubicBezTo>
                    <a:pt x="3732234" y="715409"/>
                    <a:pt x="3732234" y="727362"/>
                    <a:pt x="3732234" y="739499"/>
                  </a:cubicBezTo>
                  <a:cubicBezTo>
                    <a:pt x="3732234" y="739866"/>
                    <a:pt x="3732234" y="739866"/>
                    <a:pt x="3731866" y="739866"/>
                  </a:cubicBezTo>
                  <a:cubicBezTo>
                    <a:pt x="3730211" y="739866"/>
                    <a:pt x="3728555" y="739866"/>
                    <a:pt x="3726901" y="739866"/>
                  </a:cubicBezTo>
                  <a:cubicBezTo>
                    <a:pt x="3725981" y="739866"/>
                    <a:pt x="3725062" y="740234"/>
                    <a:pt x="3724142" y="740602"/>
                  </a:cubicBezTo>
                  <a:cubicBezTo>
                    <a:pt x="3722487" y="741706"/>
                    <a:pt x="3721568" y="743177"/>
                    <a:pt x="3721568" y="745199"/>
                  </a:cubicBezTo>
                  <a:cubicBezTo>
                    <a:pt x="3721568" y="746670"/>
                    <a:pt x="3722119" y="748142"/>
                    <a:pt x="3723407" y="749061"/>
                  </a:cubicBezTo>
                  <a:cubicBezTo>
                    <a:pt x="3724142" y="749613"/>
                    <a:pt x="3725062" y="750165"/>
                    <a:pt x="3726165" y="750349"/>
                  </a:cubicBezTo>
                  <a:cubicBezTo>
                    <a:pt x="3726165" y="750349"/>
                    <a:pt x="3726349" y="750349"/>
                    <a:pt x="3726349" y="750349"/>
                  </a:cubicBezTo>
                  <a:cubicBezTo>
                    <a:pt x="3726349" y="750349"/>
                    <a:pt x="3726533" y="750349"/>
                    <a:pt x="3726533" y="750349"/>
                  </a:cubicBezTo>
                  <a:cubicBezTo>
                    <a:pt x="3726533" y="750165"/>
                    <a:pt x="3726716" y="750349"/>
                    <a:pt x="3726901" y="750349"/>
                  </a:cubicBezTo>
                  <a:cubicBezTo>
                    <a:pt x="3734256" y="750349"/>
                    <a:pt x="3741612" y="750349"/>
                    <a:pt x="3748784" y="750349"/>
                  </a:cubicBezTo>
                  <a:cubicBezTo>
                    <a:pt x="3748967" y="750349"/>
                    <a:pt x="3748967" y="750349"/>
                    <a:pt x="3749152" y="750349"/>
                  </a:cubicBezTo>
                  <a:cubicBezTo>
                    <a:pt x="3749335" y="750349"/>
                    <a:pt x="3749519" y="750349"/>
                    <a:pt x="3749703" y="750349"/>
                  </a:cubicBezTo>
                  <a:cubicBezTo>
                    <a:pt x="3749887" y="750165"/>
                    <a:pt x="3750071" y="750165"/>
                    <a:pt x="3750255" y="750165"/>
                  </a:cubicBezTo>
                  <a:cubicBezTo>
                    <a:pt x="3751174" y="749981"/>
                    <a:pt x="3751910" y="749429"/>
                    <a:pt x="3752646" y="748877"/>
                  </a:cubicBezTo>
                  <a:cubicBezTo>
                    <a:pt x="3753749" y="747774"/>
                    <a:pt x="3754300" y="746487"/>
                    <a:pt x="3754300" y="745016"/>
                  </a:cubicBezTo>
                  <a:cubicBezTo>
                    <a:pt x="3754300" y="743728"/>
                    <a:pt x="3753932" y="742441"/>
                    <a:pt x="3752829" y="741522"/>
                  </a:cubicBezTo>
                  <a:cubicBezTo>
                    <a:pt x="3751726" y="740419"/>
                    <a:pt x="3750439" y="739866"/>
                    <a:pt x="3748967" y="739866"/>
                  </a:cubicBezTo>
                  <a:cubicBezTo>
                    <a:pt x="3747129" y="739866"/>
                    <a:pt x="3745290" y="739866"/>
                    <a:pt x="3743635" y="739866"/>
                  </a:cubicBezTo>
                  <a:cubicBezTo>
                    <a:pt x="3743451" y="739866"/>
                    <a:pt x="3743267" y="739866"/>
                    <a:pt x="3743267" y="739499"/>
                  </a:cubicBezTo>
                  <a:cubicBezTo>
                    <a:pt x="3743267" y="729017"/>
                    <a:pt x="3743267" y="718719"/>
                    <a:pt x="3743267" y="708237"/>
                  </a:cubicBezTo>
                  <a:cubicBezTo>
                    <a:pt x="3743267" y="708053"/>
                    <a:pt x="3743267" y="707869"/>
                    <a:pt x="3743635" y="707869"/>
                  </a:cubicBezTo>
                  <a:cubicBezTo>
                    <a:pt x="3744922" y="707869"/>
                    <a:pt x="3746393" y="707869"/>
                    <a:pt x="3747681" y="707869"/>
                  </a:cubicBezTo>
                  <a:cubicBezTo>
                    <a:pt x="3749887" y="707869"/>
                    <a:pt x="3751542" y="706766"/>
                    <a:pt x="3752646" y="704743"/>
                  </a:cubicBezTo>
                  <a:cubicBezTo>
                    <a:pt x="3753197" y="703640"/>
                    <a:pt x="3753197" y="702353"/>
                    <a:pt x="3752829" y="700881"/>
                  </a:cubicBezTo>
                  <a:cubicBezTo>
                    <a:pt x="3752094" y="698859"/>
                    <a:pt x="3750071" y="697388"/>
                    <a:pt x="3747864" y="697388"/>
                  </a:cubicBezTo>
                  <a:cubicBezTo>
                    <a:pt x="3745106" y="697388"/>
                    <a:pt x="3742348" y="697203"/>
                    <a:pt x="3739589" y="697203"/>
                  </a:cubicBezTo>
                  <a:close/>
                  <a:moveTo>
                    <a:pt x="3738032" y="652196"/>
                  </a:moveTo>
                  <a:cubicBezTo>
                    <a:pt x="3741599" y="652196"/>
                    <a:pt x="3744473" y="655026"/>
                    <a:pt x="3744473" y="658504"/>
                  </a:cubicBezTo>
                  <a:cubicBezTo>
                    <a:pt x="3744473" y="660898"/>
                    <a:pt x="3743118" y="662985"/>
                    <a:pt x="3741104" y="664052"/>
                  </a:cubicBezTo>
                  <a:cubicBezTo>
                    <a:pt x="3741104" y="664052"/>
                    <a:pt x="3741104" y="664052"/>
                    <a:pt x="3741104" y="669761"/>
                  </a:cubicBezTo>
                  <a:cubicBezTo>
                    <a:pt x="3741104" y="671428"/>
                    <a:pt x="3739733" y="672770"/>
                    <a:pt x="3738032" y="672770"/>
                  </a:cubicBezTo>
                  <a:cubicBezTo>
                    <a:pt x="3736347" y="672770"/>
                    <a:pt x="3734960" y="671428"/>
                    <a:pt x="3734960" y="669761"/>
                  </a:cubicBezTo>
                  <a:cubicBezTo>
                    <a:pt x="3734960" y="669761"/>
                    <a:pt x="3734960" y="669761"/>
                    <a:pt x="3734960" y="664052"/>
                  </a:cubicBezTo>
                  <a:cubicBezTo>
                    <a:pt x="3732961" y="662985"/>
                    <a:pt x="3731590" y="660898"/>
                    <a:pt x="3731590" y="658504"/>
                  </a:cubicBezTo>
                  <a:cubicBezTo>
                    <a:pt x="3731590" y="655026"/>
                    <a:pt x="3734481" y="652196"/>
                    <a:pt x="3738032" y="652196"/>
                  </a:cubicBezTo>
                  <a:close/>
                  <a:moveTo>
                    <a:pt x="3738210" y="625864"/>
                  </a:moveTo>
                  <a:cubicBezTo>
                    <a:pt x="3741775" y="625864"/>
                    <a:pt x="3744834" y="628031"/>
                    <a:pt x="3746141" y="631120"/>
                  </a:cubicBezTo>
                  <a:lnTo>
                    <a:pt x="3746770" y="634238"/>
                  </a:lnTo>
                  <a:lnTo>
                    <a:pt x="3744566" y="634238"/>
                  </a:lnTo>
                  <a:cubicBezTo>
                    <a:pt x="3741348" y="634238"/>
                    <a:pt x="3737252" y="634238"/>
                    <a:pt x="3732040" y="634238"/>
                  </a:cubicBezTo>
                  <a:lnTo>
                    <a:pt x="3729650" y="634238"/>
                  </a:lnTo>
                  <a:lnTo>
                    <a:pt x="3730280" y="631120"/>
                  </a:lnTo>
                  <a:cubicBezTo>
                    <a:pt x="3731586" y="628031"/>
                    <a:pt x="3734645" y="625864"/>
                    <a:pt x="3738210" y="625864"/>
                  </a:cubicBezTo>
                  <a:close/>
                  <a:moveTo>
                    <a:pt x="3738210" y="617257"/>
                  </a:moveTo>
                  <a:cubicBezTo>
                    <a:pt x="3729891" y="617257"/>
                    <a:pt x="3722951" y="623158"/>
                    <a:pt x="3721346" y="631001"/>
                  </a:cubicBezTo>
                  <a:lnTo>
                    <a:pt x="3721020" y="634238"/>
                  </a:lnTo>
                  <a:lnTo>
                    <a:pt x="3720055" y="634238"/>
                  </a:lnTo>
                  <a:cubicBezTo>
                    <a:pt x="3717628" y="634238"/>
                    <a:pt x="3715666" y="636149"/>
                    <a:pt x="3715666" y="638513"/>
                  </a:cubicBezTo>
                  <a:cubicBezTo>
                    <a:pt x="3715666" y="638513"/>
                    <a:pt x="3715666" y="638513"/>
                    <a:pt x="3715666" y="672330"/>
                  </a:cubicBezTo>
                  <a:cubicBezTo>
                    <a:pt x="3715666" y="674694"/>
                    <a:pt x="3717628" y="676606"/>
                    <a:pt x="3720055" y="676606"/>
                  </a:cubicBezTo>
                  <a:cubicBezTo>
                    <a:pt x="3720055" y="676606"/>
                    <a:pt x="3720055" y="676606"/>
                    <a:pt x="3756365" y="676606"/>
                  </a:cubicBezTo>
                  <a:cubicBezTo>
                    <a:pt x="3758793" y="676606"/>
                    <a:pt x="3760754" y="674694"/>
                    <a:pt x="3760754" y="672330"/>
                  </a:cubicBezTo>
                  <a:cubicBezTo>
                    <a:pt x="3760754" y="672330"/>
                    <a:pt x="3760754" y="672330"/>
                    <a:pt x="3760754" y="638513"/>
                  </a:cubicBezTo>
                  <a:cubicBezTo>
                    <a:pt x="3760754" y="636149"/>
                    <a:pt x="3758793" y="634238"/>
                    <a:pt x="3756365" y="634238"/>
                  </a:cubicBezTo>
                  <a:cubicBezTo>
                    <a:pt x="3756365" y="634238"/>
                    <a:pt x="3756365" y="634238"/>
                    <a:pt x="3755798" y="634238"/>
                  </a:cubicBezTo>
                  <a:lnTo>
                    <a:pt x="3755400" y="634238"/>
                  </a:lnTo>
                  <a:lnTo>
                    <a:pt x="3755074" y="631001"/>
                  </a:lnTo>
                  <a:cubicBezTo>
                    <a:pt x="3753469" y="623158"/>
                    <a:pt x="3746529" y="617257"/>
                    <a:pt x="3738210" y="617257"/>
                  </a:cubicBezTo>
                  <a:close/>
                  <a:moveTo>
                    <a:pt x="3738032" y="573711"/>
                  </a:moveTo>
                  <a:cubicBezTo>
                    <a:pt x="3741599" y="573711"/>
                    <a:pt x="3744473" y="576541"/>
                    <a:pt x="3744473" y="580018"/>
                  </a:cubicBezTo>
                  <a:cubicBezTo>
                    <a:pt x="3744473" y="582412"/>
                    <a:pt x="3743118" y="584499"/>
                    <a:pt x="3741104" y="585566"/>
                  </a:cubicBezTo>
                  <a:cubicBezTo>
                    <a:pt x="3741104" y="585566"/>
                    <a:pt x="3741104" y="585566"/>
                    <a:pt x="3741104" y="591276"/>
                  </a:cubicBezTo>
                  <a:cubicBezTo>
                    <a:pt x="3741104" y="592942"/>
                    <a:pt x="3739733" y="594284"/>
                    <a:pt x="3738032" y="594284"/>
                  </a:cubicBezTo>
                  <a:cubicBezTo>
                    <a:pt x="3736347" y="594284"/>
                    <a:pt x="3734960" y="592942"/>
                    <a:pt x="3734960" y="591276"/>
                  </a:cubicBezTo>
                  <a:cubicBezTo>
                    <a:pt x="3734960" y="591276"/>
                    <a:pt x="3734960" y="591276"/>
                    <a:pt x="3734960" y="585566"/>
                  </a:cubicBezTo>
                  <a:cubicBezTo>
                    <a:pt x="3732961" y="584499"/>
                    <a:pt x="3731590" y="582412"/>
                    <a:pt x="3731590" y="580018"/>
                  </a:cubicBezTo>
                  <a:cubicBezTo>
                    <a:pt x="3731590" y="576541"/>
                    <a:pt x="3734481" y="573711"/>
                    <a:pt x="3738032" y="573711"/>
                  </a:cubicBezTo>
                  <a:close/>
                  <a:moveTo>
                    <a:pt x="3738210" y="547378"/>
                  </a:moveTo>
                  <a:cubicBezTo>
                    <a:pt x="3741775" y="547378"/>
                    <a:pt x="3744834" y="549546"/>
                    <a:pt x="3746141" y="552635"/>
                  </a:cubicBezTo>
                  <a:lnTo>
                    <a:pt x="3746770" y="555752"/>
                  </a:lnTo>
                  <a:lnTo>
                    <a:pt x="3744566" y="555752"/>
                  </a:lnTo>
                  <a:cubicBezTo>
                    <a:pt x="3741348" y="555752"/>
                    <a:pt x="3737252" y="555752"/>
                    <a:pt x="3732040" y="555752"/>
                  </a:cubicBezTo>
                  <a:lnTo>
                    <a:pt x="3729650" y="555752"/>
                  </a:lnTo>
                  <a:lnTo>
                    <a:pt x="3730280" y="552635"/>
                  </a:lnTo>
                  <a:cubicBezTo>
                    <a:pt x="3731586" y="549546"/>
                    <a:pt x="3734645" y="547378"/>
                    <a:pt x="3738210" y="547378"/>
                  </a:cubicBezTo>
                  <a:close/>
                  <a:moveTo>
                    <a:pt x="3738210" y="538771"/>
                  </a:moveTo>
                  <a:cubicBezTo>
                    <a:pt x="3729891" y="538771"/>
                    <a:pt x="3722951" y="544672"/>
                    <a:pt x="3721346" y="552516"/>
                  </a:cubicBezTo>
                  <a:lnTo>
                    <a:pt x="3721020" y="555752"/>
                  </a:lnTo>
                  <a:lnTo>
                    <a:pt x="3720055" y="555752"/>
                  </a:lnTo>
                  <a:cubicBezTo>
                    <a:pt x="3717628" y="555752"/>
                    <a:pt x="3715666" y="557663"/>
                    <a:pt x="3715666" y="560027"/>
                  </a:cubicBezTo>
                  <a:cubicBezTo>
                    <a:pt x="3715666" y="560027"/>
                    <a:pt x="3715666" y="560027"/>
                    <a:pt x="3715666" y="593845"/>
                  </a:cubicBezTo>
                  <a:cubicBezTo>
                    <a:pt x="3715666" y="596209"/>
                    <a:pt x="3717628" y="598120"/>
                    <a:pt x="3720055" y="598120"/>
                  </a:cubicBezTo>
                  <a:cubicBezTo>
                    <a:pt x="3720055" y="598120"/>
                    <a:pt x="3720055" y="598120"/>
                    <a:pt x="3756365" y="598120"/>
                  </a:cubicBezTo>
                  <a:cubicBezTo>
                    <a:pt x="3758793" y="598120"/>
                    <a:pt x="3760754" y="596209"/>
                    <a:pt x="3760754" y="593845"/>
                  </a:cubicBezTo>
                  <a:cubicBezTo>
                    <a:pt x="3760754" y="593845"/>
                    <a:pt x="3760754" y="593845"/>
                    <a:pt x="3760754" y="560027"/>
                  </a:cubicBezTo>
                  <a:cubicBezTo>
                    <a:pt x="3760754" y="557663"/>
                    <a:pt x="3758793" y="555752"/>
                    <a:pt x="3756365" y="555752"/>
                  </a:cubicBezTo>
                  <a:cubicBezTo>
                    <a:pt x="3756365" y="555752"/>
                    <a:pt x="3756365" y="555752"/>
                    <a:pt x="3755798" y="555752"/>
                  </a:cubicBezTo>
                  <a:lnTo>
                    <a:pt x="3755400" y="555752"/>
                  </a:lnTo>
                  <a:lnTo>
                    <a:pt x="3755074" y="552516"/>
                  </a:lnTo>
                  <a:cubicBezTo>
                    <a:pt x="3753469" y="544672"/>
                    <a:pt x="3746529" y="538771"/>
                    <a:pt x="3738210" y="538771"/>
                  </a:cubicBezTo>
                  <a:close/>
                  <a:moveTo>
                    <a:pt x="3735451" y="476730"/>
                  </a:moveTo>
                  <a:cubicBezTo>
                    <a:pt x="3738294" y="475811"/>
                    <a:pt x="3740968" y="476546"/>
                    <a:pt x="3743309" y="478385"/>
                  </a:cubicBezTo>
                  <a:cubicBezTo>
                    <a:pt x="3744145" y="479121"/>
                    <a:pt x="3744813" y="479856"/>
                    <a:pt x="3745482" y="480776"/>
                  </a:cubicBezTo>
                  <a:cubicBezTo>
                    <a:pt x="3745984" y="481512"/>
                    <a:pt x="3746485" y="482430"/>
                    <a:pt x="3746986" y="483350"/>
                  </a:cubicBezTo>
                  <a:cubicBezTo>
                    <a:pt x="3747321" y="483902"/>
                    <a:pt x="3747488" y="484638"/>
                    <a:pt x="3747656" y="485189"/>
                  </a:cubicBezTo>
                  <a:cubicBezTo>
                    <a:pt x="3747989" y="486109"/>
                    <a:pt x="3748157" y="487028"/>
                    <a:pt x="3748324" y="487948"/>
                  </a:cubicBezTo>
                  <a:cubicBezTo>
                    <a:pt x="3748825" y="489419"/>
                    <a:pt x="3748993" y="490890"/>
                    <a:pt x="3748993" y="492729"/>
                  </a:cubicBezTo>
                  <a:cubicBezTo>
                    <a:pt x="3748993" y="494200"/>
                    <a:pt x="3748825" y="495855"/>
                    <a:pt x="3748324" y="497694"/>
                  </a:cubicBezTo>
                  <a:cubicBezTo>
                    <a:pt x="3747989" y="498614"/>
                    <a:pt x="3747822" y="499349"/>
                    <a:pt x="3747488" y="500268"/>
                  </a:cubicBezTo>
                  <a:cubicBezTo>
                    <a:pt x="3747154" y="501372"/>
                    <a:pt x="3746652" y="502291"/>
                    <a:pt x="3745984" y="503211"/>
                  </a:cubicBezTo>
                  <a:cubicBezTo>
                    <a:pt x="3745315" y="504314"/>
                    <a:pt x="3744479" y="505233"/>
                    <a:pt x="3743643" y="506153"/>
                  </a:cubicBezTo>
                  <a:cubicBezTo>
                    <a:pt x="3742807" y="506889"/>
                    <a:pt x="3741804" y="507625"/>
                    <a:pt x="3740634" y="507992"/>
                  </a:cubicBezTo>
                  <a:cubicBezTo>
                    <a:pt x="3737624" y="509096"/>
                    <a:pt x="3734783" y="508543"/>
                    <a:pt x="3732275" y="506337"/>
                  </a:cubicBezTo>
                  <a:cubicBezTo>
                    <a:pt x="3731439" y="505601"/>
                    <a:pt x="3730770" y="504866"/>
                    <a:pt x="3730101" y="503946"/>
                  </a:cubicBezTo>
                  <a:cubicBezTo>
                    <a:pt x="3729433" y="503027"/>
                    <a:pt x="3728932" y="502107"/>
                    <a:pt x="3728430" y="501004"/>
                  </a:cubicBezTo>
                  <a:cubicBezTo>
                    <a:pt x="3728262" y="500453"/>
                    <a:pt x="3728095" y="499901"/>
                    <a:pt x="3727761" y="499533"/>
                  </a:cubicBezTo>
                  <a:cubicBezTo>
                    <a:pt x="3727426" y="498614"/>
                    <a:pt x="3727092" y="497694"/>
                    <a:pt x="3726925" y="496591"/>
                  </a:cubicBezTo>
                  <a:cubicBezTo>
                    <a:pt x="3726423" y="493464"/>
                    <a:pt x="3726423" y="490338"/>
                    <a:pt x="3727260" y="487212"/>
                  </a:cubicBezTo>
                  <a:cubicBezTo>
                    <a:pt x="3727426" y="486477"/>
                    <a:pt x="3727594" y="485741"/>
                    <a:pt x="3727928" y="485189"/>
                  </a:cubicBezTo>
                  <a:cubicBezTo>
                    <a:pt x="3728262" y="484454"/>
                    <a:pt x="3728430" y="483718"/>
                    <a:pt x="3728764" y="483166"/>
                  </a:cubicBezTo>
                  <a:cubicBezTo>
                    <a:pt x="3729265" y="482430"/>
                    <a:pt x="3729600" y="481512"/>
                    <a:pt x="3730269" y="480776"/>
                  </a:cubicBezTo>
                  <a:cubicBezTo>
                    <a:pt x="3730937" y="479856"/>
                    <a:pt x="3731773" y="478937"/>
                    <a:pt x="3732776" y="478201"/>
                  </a:cubicBezTo>
                  <a:cubicBezTo>
                    <a:pt x="3733612" y="477649"/>
                    <a:pt x="3734448" y="477098"/>
                    <a:pt x="3735451" y="476730"/>
                  </a:cubicBezTo>
                  <a:close/>
                  <a:moveTo>
                    <a:pt x="3739129" y="465880"/>
                  </a:moveTo>
                  <a:cubicBezTo>
                    <a:pt x="3736287" y="465697"/>
                    <a:pt x="3733445" y="466248"/>
                    <a:pt x="3730770" y="467351"/>
                  </a:cubicBezTo>
                  <a:cubicBezTo>
                    <a:pt x="3728932" y="468087"/>
                    <a:pt x="3727260" y="469190"/>
                    <a:pt x="3725755" y="470478"/>
                  </a:cubicBezTo>
                  <a:cubicBezTo>
                    <a:pt x="3724919" y="471213"/>
                    <a:pt x="3724250" y="471949"/>
                    <a:pt x="3723414" y="472684"/>
                  </a:cubicBezTo>
                  <a:cubicBezTo>
                    <a:pt x="3722578" y="473604"/>
                    <a:pt x="3721743" y="474707"/>
                    <a:pt x="3721074" y="475626"/>
                  </a:cubicBezTo>
                  <a:cubicBezTo>
                    <a:pt x="3720572" y="476362"/>
                    <a:pt x="3720071" y="477282"/>
                    <a:pt x="3719736" y="478017"/>
                  </a:cubicBezTo>
                  <a:cubicBezTo>
                    <a:pt x="3719068" y="479121"/>
                    <a:pt x="3718566" y="480408"/>
                    <a:pt x="3718232" y="481695"/>
                  </a:cubicBezTo>
                  <a:cubicBezTo>
                    <a:pt x="3717898" y="482430"/>
                    <a:pt x="3717730" y="483350"/>
                    <a:pt x="3717563" y="484086"/>
                  </a:cubicBezTo>
                  <a:cubicBezTo>
                    <a:pt x="3717229" y="485189"/>
                    <a:pt x="3717061" y="486477"/>
                    <a:pt x="3716895" y="487580"/>
                  </a:cubicBezTo>
                  <a:cubicBezTo>
                    <a:pt x="3716393" y="490890"/>
                    <a:pt x="3716393" y="494200"/>
                    <a:pt x="3717061" y="497326"/>
                  </a:cubicBezTo>
                  <a:cubicBezTo>
                    <a:pt x="3717229" y="498430"/>
                    <a:pt x="3717396" y="499533"/>
                    <a:pt x="3717730" y="500636"/>
                  </a:cubicBezTo>
                  <a:cubicBezTo>
                    <a:pt x="3718064" y="501556"/>
                    <a:pt x="3718232" y="502291"/>
                    <a:pt x="3718566" y="503211"/>
                  </a:cubicBezTo>
                  <a:cubicBezTo>
                    <a:pt x="3718900" y="503762"/>
                    <a:pt x="3719068" y="504314"/>
                    <a:pt x="3719235" y="504866"/>
                  </a:cubicBezTo>
                  <a:cubicBezTo>
                    <a:pt x="3719736" y="505969"/>
                    <a:pt x="3720238" y="506889"/>
                    <a:pt x="3720739" y="507808"/>
                  </a:cubicBezTo>
                  <a:cubicBezTo>
                    <a:pt x="3721241" y="508543"/>
                    <a:pt x="3721743" y="509279"/>
                    <a:pt x="3722244" y="510015"/>
                  </a:cubicBezTo>
                  <a:cubicBezTo>
                    <a:pt x="3722913" y="510934"/>
                    <a:pt x="3723749" y="511854"/>
                    <a:pt x="3724585" y="512589"/>
                  </a:cubicBezTo>
                  <a:cubicBezTo>
                    <a:pt x="3725253" y="513325"/>
                    <a:pt x="3726089" y="513876"/>
                    <a:pt x="3726758" y="514428"/>
                  </a:cubicBezTo>
                  <a:cubicBezTo>
                    <a:pt x="3727928" y="515348"/>
                    <a:pt x="3729265" y="516083"/>
                    <a:pt x="3730603" y="516635"/>
                  </a:cubicBezTo>
                  <a:cubicBezTo>
                    <a:pt x="3732275" y="517371"/>
                    <a:pt x="3734113" y="517922"/>
                    <a:pt x="3735953" y="518106"/>
                  </a:cubicBezTo>
                  <a:cubicBezTo>
                    <a:pt x="3736287" y="518106"/>
                    <a:pt x="3736454" y="518106"/>
                    <a:pt x="3736788" y="518290"/>
                  </a:cubicBezTo>
                  <a:cubicBezTo>
                    <a:pt x="3737792" y="518290"/>
                    <a:pt x="3738627" y="518290"/>
                    <a:pt x="3739631" y="518290"/>
                  </a:cubicBezTo>
                  <a:cubicBezTo>
                    <a:pt x="3739631" y="518106"/>
                    <a:pt x="3739798" y="518290"/>
                    <a:pt x="3739798" y="518290"/>
                  </a:cubicBezTo>
                  <a:cubicBezTo>
                    <a:pt x="3742974" y="517922"/>
                    <a:pt x="3745984" y="516819"/>
                    <a:pt x="3748658" y="514980"/>
                  </a:cubicBezTo>
                  <a:cubicBezTo>
                    <a:pt x="3749829" y="514244"/>
                    <a:pt x="3750832" y="513325"/>
                    <a:pt x="3751835" y="512222"/>
                  </a:cubicBezTo>
                  <a:cubicBezTo>
                    <a:pt x="3752671" y="511486"/>
                    <a:pt x="3753339" y="510567"/>
                    <a:pt x="3754008" y="509647"/>
                  </a:cubicBezTo>
                  <a:cubicBezTo>
                    <a:pt x="3754509" y="508911"/>
                    <a:pt x="3755011" y="508176"/>
                    <a:pt x="3755512" y="507257"/>
                  </a:cubicBezTo>
                  <a:cubicBezTo>
                    <a:pt x="3756014" y="506337"/>
                    <a:pt x="3756516" y="505418"/>
                    <a:pt x="3757017" y="504314"/>
                  </a:cubicBezTo>
                  <a:cubicBezTo>
                    <a:pt x="3757351" y="503578"/>
                    <a:pt x="3757519" y="503027"/>
                    <a:pt x="3757853" y="502291"/>
                  </a:cubicBezTo>
                  <a:cubicBezTo>
                    <a:pt x="3758187" y="501556"/>
                    <a:pt x="3758355" y="500820"/>
                    <a:pt x="3758522" y="500085"/>
                  </a:cubicBezTo>
                  <a:cubicBezTo>
                    <a:pt x="3758856" y="498797"/>
                    <a:pt x="3759023" y="497510"/>
                    <a:pt x="3759358" y="496223"/>
                  </a:cubicBezTo>
                  <a:cubicBezTo>
                    <a:pt x="3759525" y="495487"/>
                    <a:pt x="3759525" y="494935"/>
                    <a:pt x="3759525" y="494200"/>
                  </a:cubicBezTo>
                  <a:cubicBezTo>
                    <a:pt x="3759358" y="494752"/>
                    <a:pt x="3759191" y="494567"/>
                    <a:pt x="3759358" y="494384"/>
                  </a:cubicBezTo>
                  <a:cubicBezTo>
                    <a:pt x="3759358" y="493096"/>
                    <a:pt x="3759358" y="491809"/>
                    <a:pt x="3759358" y="490522"/>
                  </a:cubicBezTo>
                  <a:cubicBezTo>
                    <a:pt x="3759358" y="490522"/>
                    <a:pt x="3759358" y="490522"/>
                    <a:pt x="3759358" y="490338"/>
                  </a:cubicBezTo>
                  <a:cubicBezTo>
                    <a:pt x="3759358" y="489235"/>
                    <a:pt x="3759191" y="488316"/>
                    <a:pt x="3759023" y="487212"/>
                  </a:cubicBezTo>
                  <a:cubicBezTo>
                    <a:pt x="3758689" y="485925"/>
                    <a:pt x="3758689" y="484638"/>
                    <a:pt x="3758187" y="483534"/>
                  </a:cubicBezTo>
                  <a:cubicBezTo>
                    <a:pt x="3757853" y="482798"/>
                    <a:pt x="3757686" y="482063"/>
                    <a:pt x="3757519" y="481327"/>
                  </a:cubicBezTo>
                  <a:cubicBezTo>
                    <a:pt x="3757017" y="480224"/>
                    <a:pt x="3756516" y="478937"/>
                    <a:pt x="3756014" y="477834"/>
                  </a:cubicBezTo>
                  <a:cubicBezTo>
                    <a:pt x="3755512" y="476914"/>
                    <a:pt x="3755011" y="476178"/>
                    <a:pt x="3754509" y="475259"/>
                  </a:cubicBezTo>
                  <a:cubicBezTo>
                    <a:pt x="3754008" y="474523"/>
                    <a:pt x="3753507" y="473788"/>
                    <a:pt x="3753005" y="473236"/>
                  </a:cubicBezTo>
                  <a:cubicBezTo>
                    <a:pt x="3752503" y="472684"/>
                    <a:pt x="3752002" y="472133"/>
                    <a:pt x="3751500" y="471581"/>
                  </a:cubicBezTo>
                  <a:cubicBezTo>
                    <a:pt x="3750497" y="470662"/>
                    <a:pt x="3749494" y="469742"/>
                    <a:pt x="3748324" y="469007"/>
                  </a:cubicBezTo>
                  <a:cubicBezTo>
                    <a:pt x="3747488" y="468455"/>
                    <a:pt x="3746485" y="467903"/>
                    <a:pt x="3745649" y="467536"/>
                  </a:cubicBezTo>
                  <a:cubicBezTo>
                    <a:pt x="3743643" y="466616"/>
                    <a:pt x="3741470" y="466065"/>
                    <a:pt x="3739129" y="465880"/>
                  </a:cubicBezTo>
                  <a:close/>
                  <a:moveTo>
                    <a:pt x="3738032" y="420920"/>
                  </a:moveTo>
                  <a:cubicBezTo>
                    <a:pt x="3741599" y="420920"/>
                    <a:pt x="3744473" y="423750"/>
                    <a:pt x="3744473" y="427228"/>
                  </a:cubicBezTo>
                  <a:cubicBezTo>
                    <a:pt x="3744473" y="429622"/>
                    <a:pt x="3743118" y="431708"/>
                    <a:pt x="3741104" y="432776"/>
                  </a:cubicBezTo>
                  <a:cubicBezTo>
                    <a:pt x="3741104" y="432776"/>
                    <a:pt x="3741104" y="432776"/>
                    <a:pt x="3741104" y="438485"/>
                  </a:cubicBezTo>
                  <a:cubicBezTo>
                    <a:pt x="3741104" y="440152"/>
                    <a:pt x="3739733" y="441493"/>
                    <a:pt x="3738032" y="441493"/>
                  </a:cubicBezTo>
                  <a:cubicBezTo>
                    <a:pt x="3736347" y="441493"/>
                    <a:pt x="3734960" y="440152"/>
                    <a:pt x="3734960" y="438485"/>
                  </a:cubicBezTo>
                  <a:cubicBezTo>
                    <a:pt x="3734960" y="438485"/>
                    <a:pt x="3734960" y="438485"/>
                    <a:pt x="3734960" y="432776"/>
                  </a:cubicBezTo>
                  <a:cubicBezTo>
                    <a:pt x="3732961" y="431708"/>
                    <a:pt x="3731590" y="429622"/>
                    <a:pt x="3731590" y="427228"/>
                  </a:cubicBezTo>
                  <a:cubicBezTo>
                    <a:pt x="3731590" y="423750"/>
                    <a:pt x="3734481" y="420920"/>
                    <a:pt x="3738032" y="420920"/>
                  </a:cubicBezTo>
                  <a:close/>
                  <a:moveTo>
                    <a:pt x="3738210" y="394588"/>
                  </a:moveTo>
                  <a:cubicBezTo>
                    <a:pt x="3741775" y="394588"/>
                    <a:pt x="3744834" y="396755"/>
                    <a:pt x="3746141" y="399844"/>
                  </a:cubicBezTo>
                  <a:lnTo>
                    <a:pt x="3746770" y="402961"/>
                  </a:lnTo>
                  <a:lnTo>
                    <a:pt x="3744566" y="402961"/>
                  </a:lnTo>
                  <a:cubicBezTo>
                    <a:pt x="3741348" y="402961"/>
                    <a:pt x="3737252" y="402961"/>
                    <a:pt x="3732040" y="402961"/>
                  </a:cubicBezTo>
                  <a:lnTo>
                    <a:pt x="3729650" y="402961"/>
                  </a:lnTo>
                  <a:lnTo>
                    <a:pt x="3730280" y="399844"/>
                  </a:lnTo>
                  <a:cubicBezTo>
                    <a:pt x="3731586" y="396755"/>
                    <a:pt x="3734645" y="394588"/>
                    <a:pt x="3738210" y="394588"/>
                  </a:cubicBezTo>
                  <a:close/>
                  <a:moveTo>
                    <a:pt x="3738210" y="385981"/>
                  </a:moveTo>
                  <a:cubicBezTo>
                    <a:pt x="3729891" y="385981"/>
                    <a:pt x="3722951" y="391881"/>
                    <a:pt x="3721346" y="399725"/>
                  </a:cubicBezTo>
                  <a:lnTo>
                    <a:pt x="3721020" y="402961"/>
                  </a:lnTo>
                  <a:lnTo>
                    <a:pt x="3720055" y="402961"/>
                  </a:lnTo>
                  <a:cubicBezTo>
                    <a:pt x="3717628" y="402961"/>
                    <a:pt x="3715666" y="404873"/>
                    <a:pt x="3715666" y="407237"/>
                  </a:cubicBezTo>
                  <a:cubicBezTo>
                    <a:pt x="3715666" y="407237"/>
                    <a:pt x="3715666" y="407237"/>
                    <a:pt x="3715666" y="441054"/>
                  </a:cubicBezTo>
                  <a:cubicBezTo>
                    <a:pt x="3715666" y="443418"/>
                    <a:pt x="3717628" y="445329"/>
                    <a:pt x="3720055" y="445329"/>
                  </a:cubicBezTo>
                  <a:cubicBezTo>
                    <a:pt x="3720055" y="445329"/>
                    <a:pt x="3720055" y="445329"/>
                    <a:pt x="3756365" y="445329"/>
                  </a:cubicBezTo>
                  <a:cubicBezTo>
                    <a:pt x="3758793" y="445329"/>
                    <a:pt x="3760754" y="443418"/>
                    <a:pt x="3760754" y="441054"/>
                  </a:cubicBezTo>
                  <a:cubicBezTo>
                    <a:pt x="3760754" y="441054"/>
                    <a:pt x="3760754" y="441054"/>
                    <a:pt x="3760754" y="407237"/>
                  </a:cubicBezTo>
                  <a:cubicBezTo>
                    <a:pt x="3760754" y="404873"/>
                    <a:pt x="3758793" y="402961"/>
                    <a:pt x="3756365" y="402961"/>
                  </a:cubicBezTo>
                  <a:cubicBezTo>
                    <a:pt x="3756365" y="402961"/>
                    <a:pt x="3756365" y="402961"/>
                    <a:pt x="3755798" y="402961"/>
                  </a:cubicBezTo>
                  <a:lnTo>
                    <a:pt x="3755400" y="402961"/>
                  </a:lnTo>
                  <a:lnTo>
                    <a:pt x="3755074" y="399725"/>
                  </a:lnTo>
                  <a:cubicBezTo>
                    <a:pt x="3753469" y="391881"/>
                    <a:pt x="3746529" y="385981"/>
                    <a:pt x="3738210" y="385981"/>
                  </a:cubicBezTo>
                  <a:close/>
                  <a:moveTo>
                    <a:pt x="3738032" y="342435"/>
                  </a:moveTo>
                  <a:cubicBezTo>
                    <a:pt x="3741599" y="342435"/>
                    <a:pt x="3744473" y="345265"/>
                    <a:pt x="3744473" y="348742"/>
                  </a:cubicBezTo>
                  <a:cubicBezTo>
                    <a:pt x="3744473" y="351136"/>
                    <a:pt x="3743118" y="353223"/>
                    <a:pt x="3741104" y="354290"/>
                  </a:cubicBezTo>
                  <a:cubicBezTo>
                    <a:pt x="3741104" y="354290"/>
                    <a:pt x="3741104" y="354290"/>
                    <a:pt x="3741104" y="360000"/>
                  </a:cubicBezTo>
                  <a:cubicBezTo>
                    <a:pt x="3741104" y="361666"/>
                    <a:pt x="3739733" y="363008"/>
                    <a:pt x="3738032" y="363008"/>
                  </a:cubicBezTo>
                  <a:cubicBezTo>
                    <a:pt x="3736347" y="363008"/>
                    <a:pt x="3734960" y="361666"/>
                    <a:pt x="3734960" y="360000"/>
                  </a:cubicBezTo>
                  <a:cubicBezTo>
                    <a:pt x="3734960" y="360000"/>
                    <a:pt x="3734960" y="360000"/>
                    <a:pt x="3734960" y="354290"/>
                  </a:cubicBezTo>
                  <a:cubicBezTo>
                    <a:pt x="3732961" y="353223"/>
                    <a:pt x="3731590" y="351136"/>
                    <a:pt x="3731590" y="348742"/>
                  </a:cubicBezTo>
                  <a:cubicBezTo>
                    <a:pt x="3731590" y="345265"/>
                    <a:pt x="3734481" y="342435"/>
                    <a:pt x="3738032" y="342435"/>
                  </a:cubicBezTo>
                  <a:close/>
                  <a:moveTo>
                    <a:pt x="3738210" y="316102"/>
                  </a:moveTo>
                  <a:cubicBezTo>
                    <a:pt x="3741775" y="316102"/>
                    <a:pt x="3744834" y="318270"/>
                    <a:pt x="3746141" y="321359"/>
                  </a:cubicBezTo>
                  <a:lnTo>
                    <a:pt x="3746770" y="324476"/>
                  </a:lnTo>
                  <a:lnTo>
                    <a:pt x="3744566" y="324476"/>
                  </a:lnTo>
                  <a:cubicBezTo>
                    <a:pt x="3741348" y="324476"/>
                    <a:pt x="3737252" y="324476"/>
                    <a:pt x="3732040" y="324476"/>
                  </a:cubicBezTo>
                  <a:lnTo>
                    <a:pt x="3729650" y="324476"/>
                  </a:lnTo>
                  <a:lnTo>
                    <a:pt x="3730280" y="321359"/>
                  </a:lnTo>
                  <a:cubicBezTo>
                    <a:pt x="3731586" y="318270"/>
                    <a:pt x="3734645" y="316102"/>
                    <a:pt x="3738210" y="316102"/>
                  </a:cubicBezTo>
                  <a:close/>
                  <a:moveTo>
                    <a:pt x="3738210" y="307495"/>
                  </a:moveTo>
                  <a:cubicBezTo>
                    <a:pt x="3729891" y="307495"/>
                    <a:pt x="3722951" y="313396"/>
                    <a:pt x="3721346" y="321240"/>
                  </a:cubicBezTo>
                  <a:lnTo>
                    <a:pt x="3721020" y="324476"/>
                  </a:lnTo>
                  <a:lnTo>
                    <a:pt x="3720055" y="324476"/>
                  </a:lnTo>
                  <a:cubicBezTo>
                    <a:pt x="3717628" y="324476"/>
                    <a:pt x="3715666" y="326387"/>
                    <a:pt x="3715666" y="328751"/>
                  </a:cubicBezTo>
                  <a:cubicBezTo>
                    <a:pt x="3715666" y="328751"/>
                    <a:pt x="3715666" y="328751"/>
                    <a:pt x="3715666" y="362569"/>
                  </a:cubicBezTo>
                  <a:cubicBezTo>
                    <a:pt x="3715666" y="364933"/>
                    <a:pt x="3717628" y="366844"/>
                    <a:pt x="3720055" y="366844"/>
                  </a:cubicBezTo>
                  <a:cubicBezTo>
                    <a:pt x="3720055" y="366844"/>
                    <a:pt x="3720055" y="366844"/>
                    <a:pt x="3756365" y="366844"/>
                  </a:cubicBezTo>
                  <a:cubicBezTo>
                    <a:pt x="3758793" y="366844"/>
                    <a:pt x="3760754" y="364933"/>
                    <a:pt x="3760754" y="362569"/>
                  </a:cubicBezTo>
                  <a:cubicBezTo>
                    <a:pt x="3760754" y="362569"/>
                    <a:pt x="3760754" y="362569"/>
                    <a:pt x="3760754" y="328751"/>
                  </a:cubicBezTo>
                  <a:cubicBezTo>
                    <a:pt x="3760754" y="326387"/>
                    <a:pt x="3758793" y="324476"/>
                    <a:pt x="3756365" y="324476"/>
                  </a:cubicBezTo>
                  <a:cubicBezTo>
                    <a:pt x="3756365" y="324476"/>
                    <a:pt x="3756365" y="324476"/>
                    <a:pt x="3755798" y="324476"/>
                  </a:cubicBezTo>
                  <a:lnTo>
                    <a:pt x="3755400" y="324476"/>
                  </a:lnTo>
                  <a:lnTo>
                    <a:pt x="3755074" y="321240"/>
                  </a:lnTo>
                  <a:cubicBezTo>
                    <a:pt x="3753469" y="313396"/>
                    <a:pt x="3746529" y="307495"/>
                    <a:pt x="3738210" y="307495"/>
                  </a:cubicBezTo>
                  <a:close/>
                  <a:moveTo>
                    <a:pt x="3739589" y="234651"/>
                  </a:moveTo>
                  <a:cubicBezTo>
                    <a:pt x="3738670" y="234651"/>
                    <a:pt x="3737750" y="234467"/>
                    <a:pt x="3736831" y="234651"/>
                  </a:cubicBezTo>
                  <a:cubicBezTo>
                    <a:pt x="3735544" y="234835"/>
                    <a:pt x="3734440" y="235387"/>
                    <a:pt x="3733705" y="236306"/>
                  </a:cubicBezTo>
                  <a:cubicBezTo>
                    <a:pt x="3732601" y="237410"/>
                    <a:pt x="3732050" y="238881"/>
                    <a:pt x="3732234" y="240536"/>
                  </a:cubicBezTo>
                  <a:cubicBezTo>
                    <a:pt x="3732234" y="240720"/>
                    <a:pt x="3732234" y="240720"/>
                    <a:pt x="3732234" y="240903"/>
                  </a:cubicBezTo>
                  <a:cubicBezTo>
                    <a:pt x="3732234" y="252857"/>
                    <a:pt x="3732234" y="264809"/>
                    <a:pt x="3732234" y="276946"/>
                  </a:cubicBezTo>
                  <a:cubicBezTo>
                    <a:pt x="3732234" y="277314"/>
                    <a:pt x="3732234" y="277314"/>
                    <a:pt x="3731866" y="277314"/>
                  </a:cubicBezTo>
                  <a:cubicBezTo>
                    <a:pt x="3730211" y="277314"/>
                    <a:pt x="3728555" y="277314"/>
                    <a:pt x="3726901" y="277314"/>
                  </a:cubicBezTo>
                  <a:cubicBezTo>
                    <a:pt x="3725981" y="277314"/>
                    <a:pt x="3725062" y="277682"/>
                    <a:pt x="3724142" y="278050"/>
                  </a:cubicBezTo>
                  <a:cubicBezTo>
                    <a:pt x="3722487" y="279153"/>
                    <a:pt x="3721568" y="280624"/>
                    <a:pt x="3721568" y="282647"/>
                  </a:cubicBezTo>
                  <a:cubicBezTo>
                    <a:pt x="3721568" y="284118"/>
                    <a:pt x="3722119" y="285589"/>
                    <a:pt x="3723407" y="286509"/>
                  </a:cubicBezTo>
                  <a:cubicBezTo>
                    <a:pt x="3724142" y="287061"/>
                    <a:pt x="3725062" y="287613"/>
                    <a:pt x="3726165" y="287796"/>
                  </a:cubicBezTo>
                  <a:cubicBezTo>
                    <a:pt x="3726165" y="287796"/>
                    <a:pt x="3726349" y="287796"/>
                    <a:pt x="3726349" y="287796"/>
                  </a:cubicBezTo>
                  <a:cubicBezTo>
                    <a:pt x="3726349" y="287796"/>
                    <a:pt x="3726533" y="287796"/>
                    <a:pt x="3726533" y="287796"/>
                  </a:cubicBezTo>
                  <a:cubicBezTo>
                    <a:pt x="3726533" y="287613"/>
                    <a:pt x="3726716" y="287796"/>
                    <a:pt x="3726901" y="287796"/>
                  </a:cubicBezTo>
                  <a:cubicBezTo>
                    <a:pt x="3734256" y="287796"/>
                    <a:pt x="3741612" y="287796"/>
                    <a:pt x="3748784" y="287796"/>
                  </a:cubicBezTo>
                  <a:cubicBezTo>
                    <a:pt x="3748967" y="287796"/>
                    <a:pt x="3748967" y="287796"/>
                    <a:pt x="3749152" y="287796"/>
                  </a:cubicBezTo>
                  <a:cubicBezTo>
                    <a:pt x="3749335" y="287796"/>
                    <a:pt x="3749519" y="287796"/>
                    <a:pt x="3749703" y="287796"/>
                  </a:cubicBezTo>
                  <a:cubicBezTo>
                    <a:pt x="3749887" y="287613"/>
                    <a:pt x="3750071" y="287613"/>
                    <a:pt x="3750255" y="287613"/>
                  </a:cubicBezTo>
                  <a:cubicBezTo>
                    <a:pt x="3751174" y="287428"/>
                    <a:pt x="3751910" y="286877"/>
                    <a:pt x="3752646" y="286325"/>
                  </a:cubicBezTo>
                  <a:cubicBezTo>
                    <a:pt x="3753749" y="285222"/>
                    <a:pt x="3754300" y="283935"/>
                    <a:pt x="3754300" y="282463"/>
                  </a:cubicBezTo>
                  <a:cubicBezTo>
                    <a:pt x="3754300" y="281176"/>
                    <a:pt x="3753932" y="279889"/>
                    <a:pt x="3752829" y="278970"/>
                  </a:cubicBezTo>
                  <a:cubicBezTo>
                    <a:pt x="3751726" y="277867"/>
                    <a:pt x="3750439" y="277314"/>
                    <a:pt x="3748967" y="277314"/>
                  </a:cubicBezTo>
                  <a:cubicBezTo>
                    <a:pt x="3747129" y="277314"/>
                    <a:pt x="3745290" y="277314"/>
                    <a:pt x="3743635" y="277314"/>
                  </a:cubicBezTo>
                  <a:cubicBezTo>
                    <a:pt x="3743451" y="277314"/>
                    <a:pt x="3743267" y="277314"/>
                    <a:pt x="3743267" y="276946"/>
                  </a:cubicBezTo>
                  <a:cubicBezTo>
                    <a:pt x="3743267" y="266465"/>
                    <a:pt x="3743267" y="256167"/>
                    <a:pt x="3743267" y="245685"/>
                  </a:cubicBezTo>
                  <a:cubicBezTo>
                    <a:pt x="3743267" y="245501"/>
                    <a:pt x="3743267" y="245317"/>
                    <a:pt x="3743635" y="245317"/>
                  </a:cubicBezTo>
                  <a:cubicBezTo>
                    <a:pt x="3744922" y="245317"/>
                    <a:pt x="3746393" y="245317"/>
                    <a:pt x="3747681" y="245317"/>
                  </a:cubicBezTo>
                  <a:cubicBezTo>
                    <a:pt x="3749887" y="245317"/>
                    <a:pt x="3751542" y="244214"/>
                    <a:pt x="3752646" y="242191"/>
                  </a:cubicBezTo>
                  <a:cubicBezTo>
                    <a:pt x="3753197" y="241088"/>
                    <a:pt x="3753197" y="239800"/>
                    <a:pt x="3752829" y="238329"/>
                  </a:cubicBezTo>
                  <a:cubicBezTo>
                    <a:pt x="3752094" y="236306"/>
                    <a:pt x="3750071" y="234835"/>
                    <a:pt x="3747864" y="234835"/>
                  </a:cubicBezTo>
                  <a:cubicBezTo>
                    <a:pt x="3745106" y="234835"/>
                    <a:pt x="3742348" y="234651"/>
                    <a:pt x="3739589" y="234651"/>
                  </a:cubicBezTo>
                  <a:close/>
                  <a:moveTo>
                    <a:pt x="3738032" y="189644"/>
                  </a:moveTo>
                  <a:cubicBezTo>
                    <a:pt x="3741599" y="189644"/>
                    <a:pt x="3744473" y="192474"/>
                    <a:pt x="3744473" y="195952"/>
                  </a:cubicBezTo>
                  <a:cubicBezTo>
                    <a:pt x="3744473" y="198346"/>
                    <a:pt x="3743118" y="200432"/>
                    <a:pt x="3741104" y="201499"/>
                  </a:cubicBezTo>
                  <a:cubicBezTo>
                    <a:pt x="3741104" y="201499"/>
                    <a:pt x="3741104" y="201499"/>
                    <a:pt x="3741104" y="207209"/>
                  </a:cubicBezTo>
                  <a:cubicBezTo>
                    <a:pt x="3741104" y="208875"/>
                    <a:pt x="3739733" y="210217"/>
                    <a:pt x="3738032" y="210217"/>
                  </a:cubicBezTo>
                  <a:cubicBezTo>
                    <a:pt x="3736347" y="210217"/>
                    <a:pt x="3734960" y="208875"/>
                    <a:pt x="3734960" y="207209"/>
                  </a:cubicBezTo>
                  <a:cubicBezTo>
                    <a:pt x="3734960" y="207209"/>
                    <a:pt x="3734960" y="207209"/>
                    <a:pt x="3734960" y="201499"/>
                  </a:cubicBezTo>
                  <a:cubicBezTo>
                    <a:pt x="3732961" y="200432"/>
                    <a:pt x="3731590" y="198346"/>
                    <a:pt x="3731590" y="195952"/>
                  </a:cubicBezTo>
                  <a:cubicBezTo>
                    <a:pt x="3731590" y="192474"/>
                    <a:pt x="3734481" y="189644"/>
                    <a:pt x="3738032" y="189644"/>
                  </a:cubicBezTo>
                  <a:close/>
                  <a:moveTo>
                    <a:pt x="3738210" y="163312"/>
                  </a:moveTo>
                  <a:cubicBezTo>
                    <a:pt x="3741775" y="163312"/>
                    <a:pt x="3744834" y="165479"/>
                    <a:pt x="3746141" y="168568"/>
                  </a:cubicBezTo>
                  <a:lnTo>
                    <a:pt x="3746770" y="171685"/>
                  </a:lnTo>
                  <a:lnTo>
                    <a:pt x="3744566" y="171685"/>
                  </a:lnTo>
                  <a:cubicBezTo>
                    <a:pt x="3741348" y="171685"/>
                    <a:pt x="3737252" y="171685"/>
                    <a:pt x="3732040" y="171685"/>
                  </a:cubicBezTo>
                  <a:lnTo>
                    <a:pt x="3729650" y="171685"/>
                  </a:lnTo>
                  <a:lnTo>
                    <a:pt x="3730280" y="168568"/>
                  </a:lnTo>
                  <a:cubicBezTo>
                    <a:pt x="3731586" y="165479"/>
                    <a:pt x="3734645" y="163312"/>
                    <a:pt x="3738210" y="163312"/>
                  </a:cubicBezTo>
                  <a:close/>
                  <a:moveTo>
                    <a:pt x="3738210" y="154705"/>
                  </a:moveTo>
                  <a:cubicBezTo>
                    <a:pt x="3729891" y="154705"/>
                    <a:pt x="3722951" y="160605"/>
                    <a:pt x="3721346" y="168449"/>
                  </a:cubicBezTo>
                  <a:lnTo>
                    <a:pt x="3721020" y="171685"/>
                  </a:lnTo>
                  <a:lnTo>
                    <a:pt x="3720055" y="171685"/>
                  </a:lnTo>
                  <a:cubicBezTo>
                    <a:pt x="3717628" y="171685"/>
                    <a:pt x="3715666" y="173596"/>
                    <a:pt x="3715666" y="175961"/>
                  </a:cubicBezTo>
                  <a:cubicBezTo>
                    <a:pt x="3715666" y="175961"/>
                    <a:pt x="3715666" y="175961"/>
                    <a:pt x="3715666" y="209778"/>
                  </a:cubicBezTo>
                  <a:cubicBezTo>
                    <a:pt x="3715666" y="212142"/>
                    <a:pt x="3717628" y="214053"/>
                    <a:pt x="3720055" y="214053"/>
                  </a:cubicBezTo>
                  <a:cubicBezTo>
                    <a:pt x="3720055" y="214053"/>
                    <a:pt x="3720055" y="214053"/>
                    <a:pt x="3756365" y="214053"/>
                  </a:cubicBezTo>
                  <a:cubicBezTo>
                    <a:pt x="3758793" y="214053"/>
                    <a:pt x="3760754" y="212142"/>
                    <a:pt x="3760754" y="209778"/>
                  </a:cubicBezTo>
                  <a:cubicBezTo>
                    <a:pt x="3760754" y="209778"/>
                    <a:pt x="3760754" y="209778"/>
                    <a:pt x="3760754" y="175961"/>
                  </a:cubicBezTo>
                  <a:cubicBezTo>
                    <a:pt x="3760754" y="173596"/>
                    <a:pt x="3758793" y="171685"/>
                    <a:pt x="3756365" y="171685"/>
                  </a:cubicBezTo>
                  <a:cubicBezTo>
                    <a:pt x="3756365" y="171685"/>
                    <a:pt x="3756365" y="171685"/>
                    <a:pt x="3755798" y="171685"/>
                  </a:cubicBezTo>
                  <a:lnTo>
                    <a:pt x="3755400" y="171685"/>
                  </a:lnTo>
                  <a:lnTo>
                    <a:pt x="3755074" y="168449"/>
                  </a:lnTo>
                  <a:cubicBezTo>
                    <a:pt x="3753469" y="160605"/>
                    <a:pt x="3746529" y="154705"/>
                    <a:pt x="3738210" y="154705"/>
                  </a:cubicBezTo>
                  <a:close/>
                  <a:moveTo>
                    <a:pt x="3738032" y="111159"/>
                  </a:moveTo>
                  <a:cubicBezTo>
                    <a:pt x="3741599" y="111159"/>
                    <a:pt x="3744473" y="113989"/>
                    <a:pt x="3744473" y="117466"/>
                  </a:cubicBezTo>
                  <a:cubicBezTo>
                    <a:pt x="3744473" y="119860"/>
                    <a:pt x="3743118" y="121947"/>
                    <a:pt x="3741104" y="123014"/>
                  </a:cubicBezTo>
                  <a:cubicBezTo>
                    <a:pt x="3741104" y="123014"/>
                    <a:pt x="3741104" y="123014"/>
                    <a:pt x="3741104" y="128724"/>
                  </a:cubicBezTo>
                  <a:cubicBezTo>
                    <a:pt x="3741104" y="130390"/>
                    <a:pt x="3739733" y="131732"/>
                    <a:pt x="3738032" y="131732"/>
                  </a:cubicBezTo>
                  <a:cubicBezTo>
                    <a:pt x="3736347" y="131732"/>
                    <a:pt x="3734960" y="130390"/>
                    <a:pt x="3734960" y="128724"/>
                  </a:cubicBezTo>
                  <a:cubicBezTo>
                    <a:pt x="3734960" y="128724"/>
                    <a:pt x="3734960" y="128724"/>
                    <a:pt x="3734960" y="123014"/>
                  </a:cubicBezTo>
                  <a:cubicBezTo>
                    <a:pt x="3732961" y="121947"/>
                    <a:pt x="3731590" y="119860"/>
                    <a:pt x="3731590" y="117466"/>
                  </a:cubicBezTo>
                  <a:cubicBezTo>
                    <a:pt x="3731590" y="113989"/>
                    <a:pt x="3734481" y="111159"/>
                    <a:pt x="3738032" y="111159"/>
                  </a:cubicBezTo>
                  <a:close/>
                  <a:moveTo>
                    <a:pt x="3738210" y="84826"/>
                  </a:moveTo>
                  <a:cubicBezTo>
                    <a:pt x="3741775" y="84826"/>
                    <a:pt x="3744834" y="86994"/>
                    <a:pt x="3746141" y="90083"/>
                  </a:cubicBezTo>
                  <a:lnTo>
                    <a:pt x="3746770" y="93200"/>
                  </a:lnTo>
                  <a:lnTo>
                    <a:pt x="3744566" y="93200"/>
                  </a:lnTo>
                  <a:cubicBezTo>
                    <a:pt x="3741348" y="93200"/>
                    <a:pt x="3737252" y="93200"/>
                    <a:pt x="3732040" y="93200"/>
                  </a:cubicBezTo>
                  <a:lnTo>
                    <a:pt x="3729650" y="93200"/>
                  </a:lnTo>
                  <a:lnTo>
                    <a:pt x="3730280" y="90083"/>
                  </a:lnTo>
                  <a:cubicBezTo>
                    <a:pt x="3731586" y="86994"/>
                    <a:pt x="3734645" y="84826"/>
                    <a:pt x="3738210" y="84826"/>
                  </a:cubicBezTo>
                  <a:close/>
                  <a:moveTo>
                    <a:pt x="3738210" y="76219"/>
                  </a:moveTo>
                  <a:cubicBezTo>
                    <a:pt x="3729891" y="76219"/>
                    <a:pt x="3722951" y="82120"/>
                    <a:pt x="3721346" y="89964"/>
                  </a:cubicBezTo>
                  <a:lnTo>
                    <a:pt x="3721020" y="93200"/>
                  </a:lnTo>
                  <a:lnTo>
                    <a:pt x="3720055" y="93200"/>
                  </a:lnTo>
                  <a:cubicBezTo>
                    <a:pt x="3717628" y="93200"/>
                    <a:pt x="3715666" y="95111"/>
                    <a:pt x="3715666" y="97475"/>
                  </a:cubicBezTo>
                  <a:cubicBezTo>
                    <a:pt x="3715666" y="97475"/>
                    <a:pt x="3715666" y="97475"/>
                    <a:pt x="3715666" y="131292"/>
                  </a:cubicBezTo>
                  <a:cubicBezTo>
                    <a:pt x="3715666" y="133657"/>
                    <a:pt x="3717628" y="135568"/>
                    <a:pt x="3720055" y="135568"/>
                  </a:cubicBezTo>
                  <a:cubicBezTo>
                    <a:pt x="3720055" y="135568"/>
                    <a:pt x="3720055" y="135568"/>
                    <a:pt x="3756365" y="135568"/>
                  </a:cubicBezTo>
                  <a:cubicBezTo>
                    <a:pt x="3758793" y="135568"/>
                    <a:pt x="3760754" y="133657"/>
                    <a:pt x="3760754" y="131292"/>
                  </a:cubicBezTo>
                  <a:cubicBezTo>
                    <a:pt x="3760754" y="131292"/>
                    <a:pt x="3760754" y="131292"/>
                    <a:pt x="3760754" y="97475"/>
                  </a:cubicBezTo>
                  <a:cubicBezTo>
                    <a:pt x="3760754" y="95111"/>
                    <a:pt x="3758793" y="93200"/>
                    <a:pt x="3756365" y="93200"/>
                  </a:cubicBezTo>
                  <a:cubicBezTo>
                    <a:pt x="3756365" y="93200"/>
                    <a:pt x="3756365" y="93200"/>
                    <a:pt x="3755798" y="93200"/>
                  </a:cubicBezTo>
                  <a:lnTo>
                    <a:pt x="3755400" y="93200"/>
                  </a:lnTo>
                  <a:lnTo>
                    <a:pt x="3755074" y="89964"/>
                  </a:lnTo>
                  <a:cubicBezTo>
                    <a:pt x="3753469" y="82120"/>
                    <a:pt x="3746529" y="76219"/>
                    <a:pt x="3738210" y="76219"/>
                  </a:cubicBezTo>
                  <a:close/>
                  <a:moveTo>
                    <a:pt x="3738032" y="32673"/>
                  </a:moveTo>
                  <a:cubicBezTo>
                    <a:pt x="3741599" y="32673"/>
                    <a:pt x="3744473" y="35503"/>
                    <a:pt x="3744473" y="38980"/>
                  </a:cubicBezTo>
                  <a:cubicBezTo>
                    <a:pt x="3744473" y="41374"/>
                    <a:pt x="3743118" y="43461"/>
                    <a:pt x="3741104" y="44528"/>
                  </a:cubicBezTo>
                  <a:cubicBezTo>
                    <a:pt x="3741104" y="44528"/>
                    <a:pt x="3741104" y="44528"/>
                    <a:pt x="3741104" y="50238"/>
                  </a:cubicBezTo>
                  <a:cubicBezTo>
                    <a:pt x="3741104" y="51904"/>
                    <a:pt x="3739733" y="53246"/>
                    <a:pt x="3738032" y="53246"/>
                  </a:cubicBezTo>
                  <a:cubicBezTo>
                    <a:pt x="3736347" y="53246"/>
                    <a:pt x="3734960" y="51904"/>
                    <a:pt x="3734960" y="50238"/>
                  </a:cubicBezTo>
                  <a:cubicBezTo>
                    <a:pt x="3734960" y="50238"/>
                    <a:pt x="3734960" y="50238"/>
                    <a:pt x="3734960" y="44528"/>
                  </a:cubicBezTo>
                  <a:cubicBezTo>
                    <a:pt x="3732961" y="43461"/>
                    <a:pt x="3731590" y="41374"/>
                    <a:pt x="3731590" y="38980"/>
                  </a:cubicBezTo>
                  <a:cubicBezTo>
                    <a:pt x="3731590" y="35503"/>
                    <a:pt x="3734481" y="32673"/>
                    <a:pt x="3738032" y="32673"/>
                  </a:cubicBezTo>
                  <a:close/>
                  <a:moveTo>
                    <a:pt x="3738210" y="6340"/>
                  </a:moveTo>
                  <a:cubicBezTo>
                    <a:pt x="3741775" y="6340"/>
                    <a:pt x="3744834" y="8508"/>
                    <a:pt x="3746141" y="11597"/>
                  </a:cubicBezTo>
                  <a:lnTo>
                    <a:pt x="3746770" y="14714"/>
                  </a:lnTo>
                  <a:lnTo>
                    <a:pt x="3744566" y="14714"/>
                  </a:lnTo>
                  <a:cubicBezTo>
                    <a:pt x="3741348" y="14714"/>
                    <a:pt x="3737252" y="14714"/>
                    <a:pt x="3732040" y="14714"/>
                  </a:cubicBezTo>
                  <a:lnTo>
                    <a:pt x="3729650" y="14714"/>
                  </a:lnTo>
                  <a:lnTo>
                    <a:pt x="3730280" y="11597"/>
                  </a:lnTo>
                  <a:cubicBezTo>
                    <a:pt x="3731586" y="8508"/>
                    <a:pt x="3734645" y="6340"/>
                    <a:pt x="3738210" y="6340"/>
                  </a:cubicBezTo>
                  <a:close/>
                  <a:moveTo>
                    <a:pt x="3744525" y="0"/>
                  </a:moveTo>
                  <a:lnTo>
                    <a:pt x="3731895" y="0"/>
                  </a:lnTo>
                  <a:lnTo>
                    <a:pt x="3727260" y="1664"/>
                  </a:lnTo>
                  <a:cubicBezTo>
                    <a:pt x="3724285" y="4120"/>
                    <a:pt x="3722149" y="7556"/>
                    <a:pt x="3721346" y="11478"/>
                  </a:cubicBezTo>
                  <a:lnTo>
                    <a:pt x="3721020" y="14714"/>
                  </a:lnTo>
                  <a:lnTo>
                    <a:pt x="3720055" y="14714"/>
                  </a:lnTo>
                  <a:cubicBezTo>
                    <a:pt x="3717628" y="14714"/>
                    <a:pt x="3715666" y="16625"/>
                    <a:pt x="3715666" y="18989"/>
                  </a:cubicBezTo>
                  <a:cubicBezTo>
                    <a:pt x="3715666" y="18989"/>
                    <a:pt x="3715666" y="18989"/>
                    <a:pt x="3715666" y="52807"/>
                  </a:cubicBezTo>
                  <a:cubicBezTo>
                    <a:pt x="3715666" y="55171"/>
                    <a:pt x="3717628" y="57082"/>
                    <a:pt x="3720055" y="57082"/>
                  </a:cubicBezTo>
                  <a:cubicBezTo>
                    <a:pt x="3720055" y="57082"/>
                    <a:pt x="3720055" y="57082"/>
                    <a:pt x="3756365" y="57082"/>
                  </a:cubicBezTo>
                  <a:cubicBezTo>
                    <a:pt x="3758793" y="57082"/>
                    <a:pt x="3760754" y="55171"/>
                    <a:pt x="3760754" y="52807"/>
                  </a:cubicBezTo>
                  <a:cubicBezTo>
                    <a:pt x="3760754" y="52807"/>
                    <a:pt x="3760754" y="52807"/>
                    <a:pt x="3760754" y="18989"/>
                  </a:cubicBezTo>
                  <a:cubicBezTo>
                    <a:pt x="3760754" y="16625"/>
                    <a:pt x="3758793" y="14714"/>
                    <a:pt x="3756365" y="14714"/>
                  </a:cubicBezTo>
                  <a:cubicBezTo>
                    <a:pt x="3756365" y="14714"/>
                    <a:pt x="3756365" y="14714"/>
                    <a:pt x="3755798" y="14714"/>
                  </a:cubicBezTo>
                  <a:lnTo>
                    <a:pt x="3755400" y="14714"/>
                  </a:lnTo>
                  <a:lnTo>
                    <a:pt x="3755074" y="11478"/>
                  </a:lnTo>
                  <a:cubicBezTo>
                    <a:pt x="3754271" y="7556"/>
                    <a:pt x="3752135" y="4120"/>
                    <a:pt x="3749160" y="1664"/>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1203" name="Freeform: Shape 1202">
              <a:extLst>
                <a:ext uri="{FF2B5EF4-FFF2-40B4-BE49-F238E27FC236}">
                  <a16:creationId xmlns:a16="http://schemas.microsoft.com/office/drawing/2014/main" id="{8C943917-80AC-4A7E-8AB0-131A7EC387FC}"/>
                </a:ext>
              </a:extLst>
            </p:cNvPr>
            <p:cNvSpPr/>
            <p:nvPr/>
          </p:nvSpPr>
          <p:spPr>
            <a:xfrm flipH="1">
              <a:off x="4385087" y="3448077"/>
              <a:ext cx="1244209" cy="922125"/>
            </a:xfrm>
            <a:custGeom>
              <a:avLst/>
              <a:gdLst>
                <a:gd name="connsiteX0" fmla="*/ 133956 w 1383262"/>
                <a:gd name="connsiteY0" fmla="*/ 1000772 h 1025181"/>
                <a:gd name="connsiteX1" fmla="*/ 140397 w 1383262"/>
                <a:gd name="connsiteY1" fmla="*/ 1007080 h 1025181"/>
                <a:gd name="connsiteX2" fmla="*/ 137027 w 1383262"/>
                <a:gd name="connsiteY2" fmla="*/ 1012627 h 1025181"/>
                <a:gd name="connsiteX3" fmla="*/ 137027 w 1383262"/>
                <a:gd name="connsiteY3" fmla="*/ 1018337 h 1025181"/>
                <a:gd name="connsiteX4" fmla="*/ 133956 w 1383262"/>
                <a:gd name="connsiteY4" fmla="*/ 1021346 h 1025181"/>
                <a:gd name="connsiteX5" fmla="*/ 130884 w 1383262"/>
                <a:gd name="connsiteY5" fmla="*/ 1018337 h 1025181"/>
                <a:gd name="connsiteX6" fmla="*/ 130884 w 1383262"/>
                <a:gd name="connsiteY6" fmla="*/ 1012627 h 1025181"/>
                <a:gd name="connsiteX7" fmla="*/ 127514 w 1383262"/>
                <a:gd name="connsiteY7" fmla="*/ 1007080 h 1025181"/>
                <a:gd name="connsiteX8" fmla="*/ 133956 w 1383262"/>
                <a:gd name="connsiteY8" fmla="*/ 1000772 h 1025181"/>
                <a:gd name="connsiteX9" fmla="*/ 195248 w 1383262"/>
                <a:gd name="connsiteY9" fmla="*/ 1000772 h 1025181"/>
                <a:gd name="connsiteX10" fmla="*/ 201689 w 1383262"/>
                <a:gd name="connsiteY10" fmla="*/ 1007080 h 1025181"/>
                <a:gd name="connsiteX11" fmla="*/ 198319 w 1383262"/>
                <a:gd name="connsiteY11" fmla="*/ 1012627 h 1025181"/>
                <a:gd name="connsiteX12" fmla="*/ 198319 w 1383262"/>
                <a:gd name="connsiteY12" fmla="*/ 1018337 h 1025181"/>
                <a:gd name="connsiteX13" fmla="*/ 195248 w 1383262"/>
                <a:gd name="connsiteY13" fmla="*/ 1021346 h 1025181"/>
                <a:gd name="connsiteX14" fmla="*/ 192176 w 1383262"/>
                <a:gd name="connsiteY14" fmla="*/ 1018337 h 1025181"/>
                <a:gd name="connsiteX15" fmla="*/ 192176 w 1383262"/>
                <a:gd name="connsiteY15" fmla="*/ 1012627 h 1025181"/>
                <a:gd name="connsiteX16" fmla="*/ 188806 w 1383262"/>
                <a:gd name="connsiteY16" fmla="*/ 1007080 h 1025181"/>
                <a:gd name="connsiteX17" fmla="*/ 195248 w 1383262"/>
                <a:gd name="connsiteY17" fmla="*/ 1000772 h 1025181"/>
                <a:gd name="connsiteX18" fmla="*/ 369024 w 1383262"/>
                <a:gd name="connsiteY18" fmla="*/ 1000772 h 1025181"/>
                <a:gd name="connsiteX19" fmla="*/ 375465 w 1383262"/>
                <a:gd name="connsiteY19" fmla="*/ 1007080 h 1025181"/>
                <a:gd name="connsiteX20" fmla="*/ 372096 w 1383262"/>
                <a:gd name="connsiteY20" fmla="*/ 1012627 h 1025181"/>
                <a:gd name="connsiteX21" fmla="*/ 372096 w 1383262"/>
                <a:gd name="connsiteY21" fmla="*/ 1018337 h 1025181"/>
                <a:gd name="connsiteX22" fmla="*/ 369024 w 1383262"/>
                <a:gd name="connsiteY22" fmla="*/ 1021346 h 1025181"/>
                <a:gd name="connsiteX23" fmla="*/ 365952 w 1383262"/>
                <a:gd name="connsiteY23" fmla="*/ 1018337 h 1025181"/>
                <a:gd name="connsiteX24" fmla="*/ 365952 w 1383262"/>
                <a:gd name="connsiteY24" fmla="*/ 1012627 h 1025181"/>
                <a:gd name="connsiteX25" fmla="*/ 362583 w 1383262"/>
                <a:gd name="connsiteY25" fmla="*/ 1007080 h 1025181"/>
                <a:gd name="connsiteX26" fmla="*/ 369024 w 1383262"/>
                <a:gd name="connsiteY26" fmla="*/ 1000772 h 1025181"/>
                <a:gd name="connsiteX27" fmla="*/ 430316 w 1383262"/>
                <a:gd name="connsiteY27" fmla="*/ 1000772 h 1025181"/>
                <a:gd name="connsiteX28" fmla="*/ 436757 w 1383262"/>
                <a:gd name="connsiteY28" fmla="*/ 1007080 h 1025181"/>
                <a:gd name="connsiteX29" fmla="*/ 433388 w 1383262"/>
                <a:gd name="connsiteY29" fmla="*/ 1012627 h 1025181"/>
                <a:gd name="connsiteX30" fmla="*/ 433388 w 1383262"/>
                <a:gd name="connsiteY30" fmla="*/ 1018337 h 1025181"/>
                <a:gd name="connsiteX31" fmla="*/ 430316 w 1383262"/>
                <a:gd name="connsiteY31" fmla="*/ 1021346 h 1025181"/>
                <a:gd name="connsiteX32" fmla="*/ 427244 w 1383262"/>
                <a:gd name="connsiteY32" fmla="*/ 1018337 h 1025181"/>
                <a:gd name="connsiteX33" fmla="*/ 427244 w 1383262"/>
                <a:gd name="connsiteY33" fmla="*/ 1012627 h 1025181"/>
                <a:gd name="connsiteX34" fmla="*/ 423875 w 1383262"/>
                <a:gd name="connsiteY34" fmla="*/ 1007080 h 1025181"/>
                <a:gd name="connsiteX35" fmla="*/ 430316 w 1383262"/>
                <a:gd name="connsiteY35" fmla="*/ 1000772 h 1025181"/>
                <a:gd name="connsiteX36" fmla="*/ 604093 w 1383262"/>
                <a:gd name="connsiteY36" fmla="*/ 1000772 h 1025181"/>
                <a:gd name="connsiteX37" fmla="*/ 610534 w 1383262"/>
                <a:gd name="connsiteY37" fmla="*/ 1007080 h 1025181"/>
                <a:gd name="connsiteX38" fmla="*/ 607165 w 1383262"/>
                <a:gd name="connsiteY38" fmla="*/ 1012627 h 1025181"/>
                <a:gd name="connsiteX39" fmla="*/ 607165 w 1383262"/>
                <a:gd name="connsiteY39" fmla="*/ 1018337 h 1025181"/>
                <a:gd name="connsiteX40" fmla="*/ 604093 w 1383262"/>
                <a:gd name="connsiteY40" fmla="*/ 1021346 h 1025181"/>
                <a:gd name="connsiteX41" fmla="*/ 601021 w 1383262"/>
                <a:gd name="connsiteY41" fmla="*/ 1018337 h 1025181"/>
                <a:gd name="connsiteX42" fmla="*/ 601021 w 1383262"/>
                <a:gd name="connsiteY42" fmla="*/ 1012627 h 1025181"/>
                <a:gd name="connsiteX43" fmla="*/ 597651 w 1383262"/>
                <a:gd name="connsiteY43" fmla="*/ 1007080 h 1025181"/>
                <a:gd name="connsiteX44" fmla="*/ 604093 w 1383262"/>
                <a:gd name="connsiteY44" fmla="*/ 1000772 h 1025181"/>
                <a:gd name="connsiteX45" fmla="*/ 890353 w 1383262"/>
                <a:gd name="connsiteY45" fmla="*/ 1000772 h 1025181"/>
                <a:gd name="connsiteX46" fmla="*/ 896795 w 1383262"/>
                <a:gd name="connsiteY46" fmla="*/ 1007080 h 1025181"/>
                <a:gd name="connsiteX47" fmla="*/ 893425 w 1383262"/>
                <a:gd name="connsiteY47" fmla="*/ 1012627 h 1025181"/>
                <a:gd name="connsiteX48" fmla="*/ 893425 w 1383262"/>
                <a:gd name="connsiteY48" fmla="*/ 1018337 h 1025181"/>
                <a:gd name="connsiteX49" fmla="*/ 890353 w 1383262"/>
                <a:gd name="connsiteY49" fmla="*/ 1021346 h 1025181"/>
                <a:gd name="connsiteX50" fmla="*/ 887281 w 1383262"/>
                <a:gd name="connsiteY50" fmla="*/ 1018337 h 1025181"/>
                <a:gd name="connsiteX51" fmla="*/ 887281 w 1383262"/>
                <a:gd name="connsiteY51" fmla="*/ 1012627 h 1025181"/>
                <a:gd name="connsiteX52" fmla="*/ 883912 w 1383262"/>
                <a:gd name="connsiteY52" fmla="*/ 1007080 h 1025181"/>
                <a:gd name="connsiteX53" fmla="*/ 890353 w 1383262"/>
                <a:gd name="connsiteY53" fmla="*/ 1000772 h 1025181"/>
                <a:gd name="connsiteX54" fmla="*/ 951645 w 1383262"/>
                <a:gd name="connsiteY54" fmla="*/ 1000772 h 1025181"/>
                <a:gd name="connsiteX55" fmla="*/ 958087 w 1383262"/>
                <a:gd name="connsiteY55" fmla="*/ 1007080 h 1025181"/>
                <a:gd name="connsiteX56" fmla="*/ 954717 w 1383262"/>
                <a:gd name="connsiteY56" fmla="*/ 1012627 h 1025181"/>
                <a:gd name="connsiteX57" fmla="*/ 954717 w 1383262"/>
                <a:gd name="connsiteY57" fmla="*/ 1018337 h 1025181"/>
                <a:gd name="connsiteX58" fmla="*/ 951645 w 1383262"/>
                <a:gd name="connsiteY58" fmla="*/ 1021346 h 1025181"/>
                <a:gd name="connsiteX59" fmla="*/ 948573 w 1383262"/>
                <a:gd name="connsiteY59" fmla="*/ 1018337 h 1025181"/>
                <a:gd name="connsiteX60" fmla="*/ 948573 w 1383262"/>
                <a:gd name="connsiteY60" fmla="*/ 1012627 h 1025181"/>
                <a:gd name="connsiteX61" fmla="*/ 945204 w 1383262"/>
                <a:gd name="connsiteY61" fmla="*/ 1007080 h 1025181"/>
                <a:gd name="connsiteX62" fmla="*/ 951645 w 1383262"/>
                <a:gd name="connsiteY62" fmla="*/ 1000772 h 1025181"/>
                <a:gd name="connsiteX63" fmla="*/ 1074279 w 1383262"/>
                <a:gd name="connsiteY63" fmla="*/ 1000772 h 1025181"/>
                <a:gd name="connsiteX64" fmla="*/ 1080720 w 1383262"/>
                <a:gd name="connsiteY64" fmla="*/ 1007080 h 1025181"/>
                <a:gd name="connsiteX65" fmla="*/ 1077351 w 1383262"/>
                <a:gd name="connsiteY65" fmla="*/ 1012627 h 1025181"/>
                <a:gd name="connsiteX66" fmla="*/ 1077351 w 1383262"/>
                <a:gd name="connsiteY66" fmla="*/ 1018337 h 1025181"/>
                <a:gd name="connsiteX67" fmla="*/ 1074279 w 1383262"/>
                <a:gd name="connsiteY67" fmla="*/ 1021346 h 1025181"/>
                <a:gd name="connsiteX68" fmla="*/ 1071206 w 1383262"/>
                <a:gd name="connsiteY68" fmla="*/ 1018337 h 1025181"/>
                <a:gd name="connsiteX69" fmla="*/ 1071206 w 1383262"/>
                <a:gd name="connsiteY69" fmla="*/ 1012627 h 1025181"/>
                <a:gd name="connsiteX70" fmla="*/ 1067837 w 1383262"/>
                <a:gd name="connsiteY70" fmla="*/ 1007080 h 1025181"/>
                <a:gd name="connsiteX71" fmla="*/ 1074279 w 1383262"/>
                <a:gd name="connsiteY71" fmla="*/ 1000772 h 1025181"/>
                <a:gd name="connsiteX72" fmla="*/ 1360540 w 1383262"/>
                <a:gd name="connsiteY72" fmla="*/ 1000772 h 1025181"/>
                <a:gd name="connsiteX73" fmla="*/ 1366981 w 1383262"/>
                <a:gd name="connsiteY73" fmla="*/ 1007080 h 1025181"/>
                <a:gd name="connsiteX74" fmla="*/ 1363612 w 1383262"/>
                <a:gd name="connsiteY74" fmla="*/ 1012627 h 1025181"/>
                <a:gd name="connsiteX75" fmla="*/ 1363612 w 1383262"/>
                <a:gd name="connsiteY75" fmla="*/ 1018337 h 1025181"/>
                <a:gd name="connsiteX76" fmla="*/ 1360540 w 1383262"/>
                <a:gd name="connsiteY76" fmla="*/ 1021346 h 1025181"/>
                <a:gd name="connsiteX77" fmla="*/ 1357468 w 1383262"/>
                <a:gd name="connsiteY77" fmla="*/ 1018337 h 1025181"/>
                <a:gd name="connsiteX78" fmla="*/ 1357468 w 1383262"/>
                <a:gd name="connsiteY78" fmla="*/ 1012627 h 1025181"/>
                <a:gd name="connsiteX79" fmla="*/ 1354098 w 1383262"/>
                <a:gd name="connsiteY79" fmla="*/ 1007080 h 1025181"/>
                <a:gd name="connsiteX80" fmla="*/ 1360540 w 1383262"/>
                <a:gd name="connsiteY80" fmla="*/ 1000772 h 1025181"/>
                <a:gd name="connsiteX81" fmla="*/ 18915 w 1383262"/>
                <a:gd name="connsiteY81" fmla="*/ 982277 h 1025181"/>
                <a:gd name="connsiteX82" fmla="*/ 26772 w 1383262"/>
                <a:gd name="connsiteY82" fmla="*/ 983932 h 1025181"/>
                <a:gd name="connsiteX83" fmla="*/ 28945 w 1383262"/>
                <a:gd name="connsiteY83" fmla="*/ 986323 h 1025181"/>
                <a:gd name="connsiteX84" fmla="*/ 30450 w 1383262"/>
                <a:gd name="connsiteY84" fmla="*/ 988898 h 1025181"/>
                <a:gd name="connsiteX85" fmla="*/ 31118 w 1383262"/>
                <a:gd name="connsiteY85" fmla="*/ 990736 h 1025181"/>
                <a:gd name="connsiteX86" fmla="*/ 31787 w 1383262"/>
                <a:gd name="connsiteY86" fmla="*/ 993495 h 1025181"/>
                <a:gd name="connsiteX87" fmla="*/ 32456 w 1383262"/>
                <a:gd name="connsiteY87" fmla="*/ 998276 h 1025181"/>
                <a:gd name="connsiteX88" fmla="*/ 31787 w 1383262"/>
                <a:gd name="connsiteY88" fmla="*/ 1003241 h 1025181"/>
                <a:gd name="connsiteX89" fmla="*/ 30951 w 1383262"/>
                <a:gd name="connsiteY89" fmla="*/ 1005815 h 1025181"/>
                <a:gd name="connsiteX90" fmla="*/ 29446 w 1383262"/>
                <a:gd name="connsiteY90" fmla="*/ 1008758 h 1025181"/>
                <a:gd name="connsiteX91" fmla="*/ 27106 w 1383262"/>
                <a:gd name="connsiteY91" fmla="*/ 1011700 h 1025181"/>
                <a:gd name="connsiteX92" fmla="*/ 24097 w 1383262"/>
                <a:gd name="connsiteY92" fmla="*/ 1013539 h 1025181"/>
                <a:gd name="connsiteX93" fmla="*/ 15738 w 1383262"/>
                <a:gd name="connsiteY93" fmla="*/ 1011884 h 1025181"/>
                <a:gd name="connsiteX94" fmla="*/ 13565 w 1383262"/>
                <a:gd name="connsiteY94" fmla="*/ 1009493 h 1025181"/>
                <a:gd name="connsiteX95" fmla="*/ 11893 w 1383262"/>
                <a:gd name="connsiteY95" fmla="*/ 1006551 h 1025181"/>
                <a:gd name="connsiteX96" fmla="*/ 11224 w 1383262"/>
                <a:gd name="connsiteY96" fmla="*/ 1005080 h 1025181"/>
                <a:gd name="connsiteX97" fmla="*/ 10389 w 1383262"/>
                <a:gd name="connsiteY97" fmla="*/ 1002138 h 1025181"/>
                <a:gd name="connsiteX98" fmla="*/ 10722 w 1383262"/>
                <a:gd name="connsiteY98" fmla="*/ 992759 h 1025181"/>
                <a:gd name="connsiteX99" fmla="*/ 11392 w 1383262"/>
                <a:gd name="connsiteY99" fmla="*/ 990736 h 1025181"/>
                <a:gd name="connsiteX100" fmla="*/ 12227 w 1383262"/>
                <a:gd name="connsiteY100" fmla="*/ 988713 h 1025181"/>
                <a:gd name="connsiteX101" fmla="*/ 13732 w 1383262"/>
                <a:gd name="connsiteY101" fmla="*/ 986323 h 1025181"/>
                <a:gd name="connsiteX102" fmla="*/ 16240 w 1383262"/>
                <a:gd name="connsiteY102" fmla="*/ 983748 h 1025181"/>
                <a:gd name="connsiteX103" fmla="*/ 18915 w 1383262"/>
                <a:gd name="connsiteY103" fmla="*/ 982277 h 1025181"/>
                <a:gd name="connsiteX104" fmla="*/ 305127 w 1383262"/>
                <a:gd name="connsiteY104" fmla="*/ 982277 h 1025181"/>
                <a:gd name="connsiteX105" fmla="*/ 312985 w 1383262"/>
                <a:gd name="connsiteY105" fmla="*/ 983932 h 1025181"/>
                <a:gd name="connsiteX106" fmla="*/ 315158 w 1383262"/>
                <a:gd name="connsiteY106" fmla="*/ 986323 h 1025181"/>
                <a:gd name="connsiteX107" fmla="*/ 316662 w 1383262"/>
                <a:gd name="connsiteY107" fmla="*/ 988898 h 1025181"/>
                <a:gd name="connsiteX108" fmla="*/ 317331 w 1383262"/>
                <a:gd name="connsiteY108" fmla="*/ 990736 h 1025181"/>
                <a:gd name="connsiteX109" fmla="*/ 318000 w 1383262"/>
                <a:gd name="connsiteY109" fmla="*/ 993495 h 1025181"/>
                <a:gd name="connsiteX110" fmla="*/ 318669 w 1383262"/>
                <a:gd name="connsiteY110" fmla="*/ 998276 h 1025181"/>
                <a:gd name="connsiteX111" fmla="*/ 318000 w 1383262"/>
                <a:gd name="connsiteY111" fmla="*/ 1003241 h 1025181"/>
                <a:gd name="connsiteX112" fmla="*/ 317164 w 1383262"/>
                <a:gd name="connsiteY112" fmla="*/ 1005815 h 1025181"/>
                <a:gd name="connsiteX113" fmla="*/ 315659 w 1383262"/>
                <a:gd name="connsiteY113" fmla="*/ 1008758 h 1025181"/>
                <a:gd name="connsiteX114" fmla="*/ 313319 w 1383262"/>
                <a:gd name="connsiteY114" fmla="*/ 1011700 h 1025181"/>
                <a:gd name="connsiteX115" fmla="*/ 310310 w 1383262"/>
                <a:gd name="connsiteY115" fmla="*/ 1013539 h 1025181"/>
                <a:gd name="connsiteX116" fmla="*/ 301951 w 1383262"/>
                <a:gd name="connsiteY116" fmla="*/ 1011884 h 1025181"/>
                <a:gd name="connsiteX117" fmla="*/ 299778 w 1383262"/>
                <a:gd name="connsiteY117" fmla="*/ 1009493 h 1025181"/>
                <a:gd name="connsiteX118" fmla="*/ 298106 w 1383262"/>
                <a:gd name="connsiteY118" fmla="*/ 1006551 h 1025181"/>
                <a:gd name="connsiteX119" fmla="*/ 297437 w 1383262"/>
                <a:gd name="connsiteY119" fmla="*/ 1005080 h 1025181"/>
                <a:gd name="connsiteX120" fmla="*/ 296601 w 1383262"/>
                <a:gd name="connsiteY120" fmla="*/ 1002138 h 1025181"/>
                <a:gd name="connsiteX121" fmla="*/ 296935 w 1383262"/>
                <a:gd name="connsiteY121" fmla="*/ 992759 h 1025181"/>
                <a:gd name="connsiteX122" fmla="*/ 297605 w 1383262"/>
                <a:gd name="connsiteY122" fmla="*/ 990736 h 1025181"/>
                <a:gd name="connsiteX123" fmla="*/ 298440 w 1383262"/>
                <a:gd name="connsiteY123" fmla="*/ 988713 h 1025181"/>
                <a:gd name="connsiteX124" fmla="*/ 299945 w 1383262"/>
                <a:gd name="connsiteY124" fmla="*/ 986323 h 1025181"/>
                <a:gd name="connsiteX125" fmla="*/ 302453 w 1383262"/>
                <a:gd name="connsiteY125" fmla="*/ 983748 h 1025181"/>
                <a:gd name="connsiteX126" fmla="*/ 305127 w 1383262"/>
                <a:gd name="connsiteY126" fmla="*/ 982277 h 1025181"/>
                <a:gd name="connsiteX127" fmla="*/ 540196 w 1383262"/>
                <a:gd name="connsiteY127" fmla="*/ 982277 h 1025181"/>
                <a:gd name="connsiteX128" fmla="*/ 548053 w 1383262"/>
                <a:gd name="connsiteY128" fmla="*/ 983932 h 1025181"/>
                <a:gd name="connsiteX129" fmla="*/ 550226 w 1383262"/>
                <a:gd name="connsiteY129" fmla="*/ 986323 h 1025181"/>
                <a:gd name="connsiteX130" fmla="*/ 551731 w 1383262"/>
                <a:gd name="connsiteY130" fmla="*/ 988898 h 1025181"/>
                <a:gd name="connsiteX131" fmla="*/ 552399 w 1383262"/>
                <a:gd name="connsiteY131" fmla="*/ 990736 h 1025181"/>
                <a:gd name="connsiteX132" fmla="*/ 553069 w 1383262"/>
                <a:gd name="connsiteY132" fmla="*/ 993495 h 1025181"/>
                <a:gd name="connsiteX133" fmla="*/ 553737 w 1383262"/>
                <a:gd name="connsiteY133" fmla="*/ 998276 h 1025181"/>
                <a:gd name="connsiteX134" fmla="*/ 553069 w 1383262"/>
                <a:gd name="connsiteY134" fmla="*/ 1003241 h 1025181"/>
                <a:gd name="connsiteX135" fmla="*/ 552233 w 1383262"/>
                <a:gd name="connsiteY135" fmla="*/ 1005815 h 1025181"/>
                <a:gd name="connsiteX136" fmla="*/ 550728 w 1383262"/>
                <a:gd name="connsiteY136" fmla="*/ 1008758 h 1025181"/>
                <a:gd name="connsiteX137" fmla="*/ 548387 w 1383262"/>
                <a:gd name="connsiteY137" fmla="*/ 1011700 h 1025181"/>
                <a:gd name="connsiteX138" fmla="*/ 545379 w 1383262"/>
                <a:gd name="connsiteY138" fmla="*/ 1013539 h 1025181"/>
                <a:gd name="connsiteX139" fmla="*/ 537019 w 1383262"/>
                <a:gd name="connsiteY139" fmla="*/ 1011884 h 1025181"/>
                <a:gd name="connsiteX140" fmla="*/ 534846 w 1383262"/>
                <a:gd name="connsiteY140" fmla="*/ 1009493 h 1025181"/>
                <a:gd name="connsiteX141" fmla="*/ 533174 w 1383262"/>
                <a:gd name="connsiteY141" fmla="*/ 1006551 h 1025181"/>
                <a:gd name="connsiteX142" fmla="*/ 532506 w 1383262"/>
                <a:gd name="connsiteY142" fmla="*/ 1005080 h 1025181"/>
                <a:gd name="connsiteX143" fmla="*/ 531670 w 1383262"/>
                <a:gd name="connsiteY143" fmla="*/ 1002138 h 1025181"/>
                <a:gd name="connsiteX144" fmla="*/ 532004 w 1383262"/>
                <a:gd name="connsiteY144" fmla="*/ 992759 h 1025181"/>
                <a:gd name="connsiteX145" fmla="*/ 532673 w 1383262"/>
                <a:gd name="connsiteY145" fmla="*/ 990736 h 1025181"/>
                <a:gd name="connsiteX146" fmla="*/ 533508 w 1383262"/>
                <a:gd name="connsiteY146" fmla="*/ 988713 h 1025181"/>
                <a:gd name="connsiteX147" fmla="*/ 535013 w 1383262"/>
                <a:gd name="connsiteY147" fmla="*/ 986323 h 1025181"/>
                <a:gd name="connsiteX148" fmla="*/ 537521 w 1383262"/>
                <a:gd name="connsiteY148" fmla="*/ 983748 h 1025181"/>
                <a:gd name="connsiteX149" fmla="*/ 540196 w 1383262"/>
                <a:gd name="connsiteY149" fmla="*/ 982277 h 1025181"/>
                <a:gd name="connsiteX150" fmla="*/ 662829 w 1383262"/>
                <a:gd name="connsiteY150" fmla="*/ 982277 h 1025181"/>
                <a:gd name="connsiteX151" fmla="*/ 670687 w 1383262"/>
                <a:gd name="connsiteY151" fmla="*/ 983932 h 1025181"/>
                <a:gd name="connsiteX152" fmla="*/ 672860 w 1383262"/>
                <a:gd name="connsiteY152" fmla="*/ 986323 h 1025181"/>
                <a:gd name="connsiteX153" fmla="*/ 674364 w 1383262"/>
                <a:gd name="connsiteY153" fmla="*/ 988898 h 1025181"/>
                <a:gd name="connsiteX154" fmla="*/ 675033 w 1383262"/>
                <a:gd name="connsiteY154" fmla="*/ 990736 h 1025181"/>
                <a:gd name="connsiteX155" fmla="*/ 675702 w 1383262"/>
                <a:gd name="connsiteY155" fmla="*/ 993495 h 1025181"/>
                <a:gd name="connsiteX156" fmla="*/ 676371 w 1383262"/>
                <a:gd name="connsiteY156" fmla="*/ 998276 h 1025181"/>
                <a:gd name="connsiteX157" fmla="*/ 675702 w 1383262"/>
                <a:gd name="connsiteY157" fmla="*/ 1003241 h 1025181"/>
                <a:gd name="connsiteX158" fmla="*/ 674866 w 1383262"/>
                <a:gd name="connsiteY158" fmla="*/ 1005815 h 1025181"/>
                <a:gd name="connsiteX159" fmla="*/ 673361 w 1383262"/>
                <a:gd name="connsiteY159" fmla="*/ 1008758 h 1025181"/>
                <a:gd name="connsiteX160" fmla="*/ 671021 w 1383262"/>
                <a:gd name="connsiteY160" fmla="*/ 1011700 h 1025181"/>
                <a:gd name="connsiteX161" fmla="*/ 668012 w 1383262"/>
                <a:gd name="connsiteY161" fmla="*/ 1013539 h 1025181"/>
                <a:gd name="connsiteX162" fmla="*/ 659653 w 1383262"/>
                <a:gd name="connsiteY162" fmla="*/ 1011884 h 1025181"/>
                <a:gd name="connsiteX163" fmla="*/ 657480 w 1383262"/>
                <a:gd name="connsiteY163" fmla="*/ 1009493 h 1025181"/>
                <a:gd name="connsiteX164" fmla="*/ 655808 w 1383262"/>
                <a:gd name="connsiteY164" fmla="*/ 1006551 h 1025181"/>
                <a:gd name="connsiteX165" fmla="*/ 655139 w 1383262"/>
                <a:gd name="connsiteY165" fmla="*/ 1005080 h 1025181"/>
                <a:gd name="connsiteX166" fmla="*/ 654303 w 1383262"/>
                <a:gd name="connsiteY166" fmla="*/ 1002138 h 1025181"/>
                <a:gd name="connsiteX167" fmla="*/ 654637 w 1383262"/>
                <a:gd name="connsiteY167" fmla="*/ 992759 h 1025181"/>
                <a:gd name="connsiteX168" fmla="*/ 655307 w 1383262"/>
                <a:gd name="connsiteY168" fmla="*/ 990736 h 1025181"/>
                <a:gd name="connsiteX169" fmla="*/ 656142 w 1383262"/>
                <a:gd name="connsiteY169" fmla="*/ 988713 h 1025181"/>
                <a:gd name="connsiteX170" fmla="*/ 657647 w 1383262"/>
                <a:gd name="connsiteY170" fmla="*/ 986323 h 1025181"/>
                <a:gd name="connsiteX171" fmla="*/ 660154 w 1383262"/>
                <a:gd name="connsiteY171" fmla="*/ 983748 h 1025181"/>
                <a:gd name="connsiteX172" fmla="*/ 662829 w 1383262"/>
                <a:gd name="connsiteY172" fmla="*/ 982277 h 1025181"/>
                <a:gd name="connsiteX173" fmla="*/ 775313 w 1383262"/>
                <a:gd name="connsiteY173" fmla="*/ 982277 h 1025181"/>
                <a:gd name="connsiteX174" fmla="*/ 783171 w 1383262"/>
                <a:gd name="connsiteY174" fmla="*/ 983932 h 1025181"/>
                <a:gd name="connsiteX175" fmla="*/ 785344 w 1383262"/>
                <a:gd name="connsiteY175" fmla="*/ 986323 h 1025181"/>
                <a:gd name="connsiteX176" fmla="*/ 786848 w 1383262"/>
                <a:gd name="connsiteY176" fmla="*/ 988898 h 1025181"/>
                <a:gd name="connsiteX177" fmla="*/ 787518 w 1383262"/>
                <a:gd name="connsiteY177" fmla="*/ 990736 h 1025181"/>
                <a:gd name="connsiteX178" fmla="*/ 788186 w 1383262"/>
                <a:gd name="connsiteY178" fmla="*/ 993495 h 1025181"/>
                <a:gd name="connsiteX179" fmla="*/ 788855 w 1383262"/>
                <a:gd name="connsiteY179" fmla="*/ 998276 h 1025181"/>
                <a:gd name="connsiteX180" fmla="*/ 788186 w 1383262"/>
                <a:gd name="connsiteY180" fmla="*/ 1003241 h 1025181"/>
                <a:gd name="connsiteX181" fmla="*/ 787350 w 1383262"/>
                <a:gd name="connsiteY181" fmla="*/ 1005815 h 1025181"/>
                <a:gd name="connsiteX182" fmla="*/ 785846 w 1383262"/>
                <a:gd name="connsiteY182" fmla="*/ 1008758 h 1025181"/>
                <a:gd name="connsiteX183" fmla="*/ 783506 w 1383262"/>
                <a:gd name="connsiteY183" fmla="*/ 1011700 h 1025181"/>
                <a:gd name="connsiteX184" fmla="*/ 780496 w 1383262"/>
                <a:gd name="connsiteY184" fmla="*/ 1013539 h 1025181"/>
                <a:gd name="connsiteX185" fmla="*/ 772137 w 1383262"/>
                <a:gd name="connsiteY185" fmla="*/ 1011884 h 1025181"/>
                <a:gd name="connsiteX186" fmla="*/ 769963 w 1383262"/>
                <a:gd name="connsiteY186" fmla="*/ 1009493 h 1025181"/>
                <a:gd name="connsiteX187" fmla="*/ 768292 w 1383262"/>
                <a:gd name="connsiteY187" fmla="*/ 1006551 h 1025181"/>
                <a:gd name="connsiteX188" fmla="*/ 767623 w 1383262"/>
                <a:gd name="connsiteY188" fmla="*/ 1005080 h 1025181"/>
                <a:gd name="connsiteX189" fmla="*/ 766787 w 1383262"/>
                <a:gd name="connsiteY189" fmla="*/ 1002138 h 1025181"/>
                <a:gd name="connsiteX190" fmla="*/ 767122 w 1383262"/>
                <a:gd name="connsiteY190" fmla="*/ 992759 h 1025181"/>
                <a:gd name="connsiteX191" fmla="*/ 767790 w 1383262"/>
                <a:gd name="connsiteY191" fmla="*/ 990736 h 1025181"/>
                <a:gd name="connsiteX192" fmla="*/ 768626 w 1383262"/>
                <a:gd name="connsiteY192" fmla="*/ 988713 h 1025181"/>
                <a:gd name="connsiteX193" fmla="*/ 770131 w 1383262"/>
                <a:gd name="connsiteY193" fmla="*/ 986323 h 1025181"/>
                <a:gd name="connsiteX194" fmla="*/ 772638 w 1383262"/>
                <a:gd name="connsiteY194" fmla="*/ 983748 h 1025181"/>
                <a:gd name="connsiteX195" fmla="*/ 775313 w 1383262"/>
                <a:gd name="connsiteY195" fmla="*/ 982277 h 1025181"/>
                <a:gd name="connsiteX196" fmla="*/ 1010382 w 1383262"/>
                <a:gd name="connsiteY196" fmla="*/ 982277 h 1025181"/>
                <a:gd name="connsiteX197" fmla="*/ 1018239 w 1383262"/>
                <a:gd name="connsiteY197" fmla="*/ 983932 h 1025181"/>
                <a:gd name="connsiteX198" fmla="*/ 1020412 w 1383262"/>
                <a:gd name="connsiteY198" fmla="*/ 986323 h 1025181"/>
                <a:gd name="connsiteX199" fmla="*/ 1021917 w 1383262"/>
                <a:gd name="connsiteY199" fmla="*/ 988898 h 1025181"/>
                <a:gd name="connsiteX200" fmla="*/ 1022586 w 1383262"/>
                <a:gd name="connsiteY200" fmla="*/ 990736 h 1025181"/>
                <a:gd name="connsiteX201" fmla="*/ 1023255 w 1383262"/>
                <a:gd name="connsiteY201" fmla="*/ 993495 h 1025181"/>
                <a:gd name="connsiteX202" fmla="*/ 1023923 w 1383262"/>
                <a:gd name="connsiteY202" fmla="*/ 998276 h 1025181"/>
                <a:gd name="connsiteX203" fmla="*/ 1023255 w 1383262"/>
                <a:gd name="connsiteY203" fmla="*/ 1003241 h 1025181"/>
                <a:gd name="connsiteX204" fmla="*/ 1022419 w 1383262"/>
                <a:gd name="connsiteY204" fmla="*/ 1005815 h 1025181"/>
                <a:gd name="connsiteX205" fmla="*/ 1020914 w 1383262"/>
                <a:gd name="connsiteY205" fmla="*/ 1008758 h 1025181"/>
                <a:gd name="connsiteX206" fmla="*/ 1018573 w 1383262"/>
                <a:gd name="connsiteY206" fmla="*/ 1011700 h 1025181"/>
                <a:gd name="connsiteX207" fmla="*/ 1015564 w 1383262"/>
                <a:gd name="connsiteY207" fmla="*/ 1013539 h 1025181"/>
                <a:gd name="connsiteX208" fmla="*/ 1007206 w 1383262"/>
                <a:gd name="connsiteY208" fmla="*/ 1011884 h 1025181"/>
                <a:gd name="connsiteX209" fmla="*/ 1005032 w 1383262"/>
                <a:gd name="connsiteY209" fmla="*/ 1009493 h 1025181"/>
                <a:gd name="connsiteX210" fmla="*/ 1003360 w 1383262"/>
                <a:gd name="connsiteY210" fmla="*/ 1006551 h 1025181"/>
                <a:gd name="connsiteX211" fmla="*/ 1002692 w 1383262"/>
                <a:gd name="connsiteY211" fmla="*/ 1005080 h 1025181"/>
                <a:gd name="connsiteX212" fmla="*/ 1001856 w 1383262"/>
                <a:gd name="connsiteY212" fmla="*/ 1002138 h 1025181"/>
                <a:gd name="connsiteX213" fmla="*/ 1002190 w 1383262"/>
                <a:gd name="connsiteY213" fmla="*/ 992759 h 1025181"/>
                <a:gd name="connsiteX214" fmla="*/ 1002859 w 1383262"/>
                <a:gd name="connsiteY214" fmla="*/ 990736 h 1025181"/>
                <a:gd name="connsiteX215" fmla="*/ 1003695 w 1383262"/>
                <a:gd name="connsiteY215" fmla="*/ 988713 h 1025181"/>
                <a:gd name="connsiteX216" fmla="*/ 1005199 w 1383262"/>
                <a:gd name="connsiteY216" fmla="*/ 986323 h 1025181"/>
                <a:gd name="connsiteX217" fmla="*/ 1007707 w 1383262"/>
                <a:gd name="connsiteY217" fmla="*/ 983748 h 1025181"/>
                <a:gd name="connsiteX218" fmla="*/ 1010382 w 1383262"/>
                <a:gd name="connsiteY218" fmla="*/ 982277 h 1025181"/>
                <a:gd name="connsiteX219" fmla="*/ 1133015 w 1383262"/>
                <a:gd name="connsiteY219" fmla="*/ 982277 h 1025181"/>
                <a:gd name="connsiteX220" fmla="*/ 1140873 w 1383262"/>
                <a:gd name="connsiteY220" fmla="*/ 983932 h 1025181"/>
                <a:gd name="connsiteX221" fmla="*/ 1143046 w 1383262"/>
                <a:gd name="connsiteY221" fmla="*/ 986323 h 1025181"/>
                <a:gd name="connsiteX222" fmla="*/ 1144551 w 1383262"/>
                <a:gd name="connsiteY222" fmla="*/ 988898 h 1025181"/>
                <a:gd name="connsiteX223" fmla="*/ 1145220 w 1383262"/>
                <a:gd name="connsiteY223" fmla="*/ 990736 h 1025181"/>
                <a:gd name="connsiteX224" fmla="*/ 1145888 w 1383262"/>
                <a:gd name="connsiteY224" fmla="*/ 993495 h 1025181"/>
                <a:gd name="connsiteX225" fmla="*/ 1146557 w 1383262"/>
                <a:gd name="connsiteY225" fmla="*/ 998276 h 1025181"/>
                <a:gd name="connsiteX226" fmla="*/ 1145888 w 1383262"/>
                <a:gd name="connsiteY226" fmla="*/ 1003241 h 1025181"/>
                <a:gd name="connsiteX227" fmla="*/ 1145052 w 1383262"/>
                <a:gd name="connsiteY227" fmla="*/ 1005815 h 1025181"/>
                <a:gd name="connsiteX228" fmla="*/ 1143548 w 1383262"/>
                <a:gd name="connsiteY228" fmla="*/ 1008758 h 1025181"/>
                <a:gd name="connsiteX229" fmla="*/ 1141207 w 1383262"/>
                <a:gd name="connsiteY229" fmla="*/ 1011700 h 1025181"/>
                <a:gd name="connsiteX230" fmla="*/ 1138198 w 1383262"/>
                <a:gd name="connsiteY230" fmla="*/ 1013539 h 1025181"/>
                <a:gd name="connsiteX231" fmla="*/ 1129839 w 1383262"/>
                <a:gd name="connsiteY231" fmla="*/ 1011884 h 1025181"/>
                <a:gd name="connsiteX232" fmla="*/ 1127665 w 1383262"/>
                <a:gd name="connsiteY232" fmla="*/ 1009493 h 1025181"/>
                <a:gd name="connsiteX233" fmla="*/ 1125994 w 1383262"/>
                <a:gd name="connsiteY233" fmla="*/ 1006551 h 1025181"/>
                <a:gd name="connsiteX234" fmla="*/ 1125325 w 1383262"/>
                <a:gd name="connsiteY234" fmla="*/ 1005080 h 1025181"/>
                <a:gd name="connsiteX235" fmla="*/ 1124489 w 1383262"/>
                <a:gd name="connsiteY235" fmla="*/ 1002138 h 1025181"/>
                <a:gd name="connsiteX236" fmla="*/ 1124824 w 1383262"/>
                <a:gd name="connsiteY236" fmla="*/ 992759 h 1025181"/>
                <a:gd name="connsiteX237" fmla="*/ 1125492 w 1383262"/>
                <a:gd name="connsiteY237" fmla="*/ 990736 h 1025181"/>
                <a:gd name="connsiteX238" fmla="*/ 1126328 w 1383262"/>
                <a:gd name="connsiteY238" fmla="*/ 988713 h 1025181"/>
                <a:gd name="connsiteX239" fmla="*/ 1127833 w 1383262"/>
                <a:gd name="connsiteY239" fmla="*/ 986323 h 1025181"/>
                <a:gd name="connsiteX240" fmla="*/ 1130340 w 1383262"/>
                <a:gd name="connsiteY240" fmla="*/ 983748 h 1025181"/>
                <a:gd name="connsiteX241" fmla="*/ 1133015 w 1383262"/>
                <a:gd name="connsiteY241" fmla="*/ 982277 h 1025181"/>
                <a:gd name="connsiteX242" fmla="*/ 1296643 w 1383262"/>
                <a:gd name="connsiteY242" fmla="*/ 982277 h 1025181"/>
                <a:gd name="connsiteX243" fmla="*/ 1304500 w 1383262"/>
                <a:gd name="connsiteY243" fmla="*/ 983932 h 1025181"/>
                <a:gd name="connsiteX244" fmla="*/ 1306673 w 1383262"/>
                <a:gd name="connsiteY244" fmla="*/ 986323 h 1025181"/>
                <a:gd name="connsiteX245" fmla="*/ 1308179 w 1383262"/>
                <a:gd name="connsiteY245" fmla="*/ 988898 h 1025181"/>
                <a:gd name="connsiteX246" fmla="*/ 1308847 w 1383262"/>
                <a:gd name="connsiteY246" fmla="*/ 990736 h 1025181"/>
                <a:gd name="connsiteX247" fmla="*/ 1309516 w 1383262"/>
                <a:gd name="connsiteY247" fmla="*/ 993495 h 1025181"/>
                <a:gd name="connsiteX248" fmla="*/ 1310184 w 1383262"/>
                <a:gd name="connsiteY248" fmla="*/ 998276 h 1025181"/>
                <a:gd name="connsiteX249" fmla="*/ 1309516 w 1383262"/>
                <a:gd name="connsiteY249" fmla="*/ 1003241 h 1025181"/>
                <a:gd name="connsiteX250" fmla="*/ 1308680 w 1383262"/>
                <a:gd name="connsiteY250" fmla="*/ 1005815 h 1025181"/>
                <a:gd name="connsiteX251" fmla="*/ 1307175 w 1383262"/>
                <a:gd name="connsiteY251" fmla="*/ 1008758 h 1025181"/>
                <a:gd name="connsiteX252" fmla="*/ 1304834 w 1383262"/>
                <a:gd name="connsiteY252" fmla="*/ 1011700 h 1025181"/>
                <a:gd name="connsiteX253" fmla="*/ 1301826 w 1383262"/>
                <a:gd name="connsiteY253" fmla="*/ 1013539 h 1025181"/>
                <a:gd name="connsiteX254" fmla="*/ 1293467 w 1383262"/>
                <a:gd name="connsiteY254" fmla="*/ 1011884 h 1025181"/>
                <a:gd name="connsiteX255" fmla="*/ 1291293 w 1383262"/>
                <a:gd name="connsiteY255" fmla="*/ 1009493 h 1025181"/>
                <a:gd name="connsiteX256" fmla="*/ 1289621 w 1383262"/>
                <a:gd name="connsiteY256" fmla="*/ 1006551 h 1025181"/>
                <a:gd name="connsiteX257" fmla="*/ 1288953 w 1383262"/>
                <a:gd name="connsiteY257" fmla="*/ 1005080 h 1025181"/>
                <a:gd name="connsiteX258" fmla="*/ 1288117 w 1383262"/>
                <a:gd name="connsiteY258" fmla="*/ 1002138 h 1025181"/>
                <a:gd name="connsiteX259" fmla="*/ 1288451 w 1383262"/>
                <a:gd name="connsiteY259" fmla="*/ 992759 h 1025181"/>
                <a:gd name="connsiteX260" fmla="*/ 1289120 w 1383262"/>
                <a:gd name="connsiteY260" fmla="*/ 990736 h 1025181"/>
                <a:gd name="connsiteX261" fmla="*/ 1289956 w 1383262"/>
                <a:gd name="connsiteY261" fmla="*/ 988713 h 1025181"/>
                <a:gd name="connsiteX262" fmla="*/ 1291460 w 1383262"/>
                <a:gd name="connsiteY262" fmla="*/ 986323 h 1025181"/>
                <a:gd name="connsiteX263" fmla="*/ 1293968 w 1383262"/>
                <a:gd name="connsiteY263" fmla="*/ 983748 h 1025181"/>
                <a:gd name="connsiteX264" fmla="*/ 1296643 w 1383262"/>
                <a:gd name="connsiteY264" fmla="*/ 982277 h 1025181"/>
                <a:gd name="connsiteX265" fmla="*/ 134134 w 1383262"/>
                <a:gd name="connsiteY265" fmla="*/ 974439 h 1025181"/>
                <a:gd name="connsiteX266" fmla="*/ 142064 w 1383262"/>
                <a:gd name="connsiteY266" fmla="*/ 979696 h 1025181"/>
                <a:gd name="connsiteX267" fmla="*/ 142693 w 1383262"/>
                <a:gd name="connsiteY267" fmla="*/ 982813 h 1025181"/>
                <a:gd name="connsiteX268" fmla="*/ 140490 w 1383262"/>
                <a:gd name="connsiteY268" fmla="*/ 982813 h 1025181"/>
                <a:gd name="connsiteX269" fmla="*/ 127964 w 1383262"/>
                <a:gd name="connsiteY269" fmla="*/ 982813 h 1025181"/>
                <a:gd name="connsiteX270" fmla="*/ 125574 w 1383262"/>
                <a:gd name="connsiteY270" fmla="*/ 982813 h 1025181"/>
                <a:gd name="connsiteX271" fmla="*/ 126204 w 1383262"/>
                <a:gd name="connsiteY271" fmla="*/ 979696 h 1025181"/>
                <a:gd name="connsiteX272" fmla="*/ 134134 w 1383262"/>
                <a:gd name="connsiteY272" fmla="*/ 974439 h 1025181"/>
                <a:gd name="connsiteX273" fmla="*/ 195426 w 1383262"/>
                <a:gd name="connsiteY273" fmla="*/ 974439 h 1025181"/>
                <a:gd name="connsiteX274" fmla="*/ 203356 w 1383262"/>
                <a:gd name="connsiteY274" fmla="*/ 979696 h 1025181"/>
                <a:gd name="connsiteX275" fmla="*/ 203985 w 1383262"/>
                <a:gd name="connsiteY275" fmla="*/ 982813 h 1025181"/>
                <a:gd name="connsiteX276" fmla="*/ 201782 w 1383262"/>
                <a:gd name="connsiteY276" fmla="*/ 982813 h 1025181"/>
                <a:gd name="connsiteX277" fmla="*/ 189256 w 1383262"/>
                <a:gd name="connsiteY277" fmla="*/ 982813 h 1025181"/>
                <a:gd name="connsiteX278" fmla="*/ 186866 w 1383262"/>
                <a:gd name="connsiteY278" fmla="*/ 982813 h 1025181"/>
                <a:gd name="connsiteX279" fmla="*/ 187496 w 1383262"/>
                <a:gd name="connsiteY279" fmla="*/ 979696 h 1025181"/>
                <a:gd name="connsiteX280" fmla="*/ 195426 w 1383262"/>
                <a:gd name="connsiteY280" fmla="*/ 974439 h 1025181"/>
                <a:gd name="connsiteX281" fmla="*/ 369203 w 1383262"/>
                <a:gd name="connsiteY281" fmla="*/ 974439 h 1025181"/>
                <a:gd name="connsiteX282" fmla="*/ 377133 w 1383262"/>
                <a:gd name="connsiteY282" fmla="*/ 979696 h 1025181"/>
                <a:gd name="connsiteX283" fmla="*/ 377762 w 1383262"/>
                <a:gd name="connsiteY283" fmla="*/ 982813 h 1025181"/>
                <a:gd name="connsiteX284" fmla="*/ 375558 w 1383262"/>
                <a:gd name="connsiteY284" fmla="*/ 982813 h 1025181"/>
                <a:gd name="connsiteX285" fmla="*/ 363032 w 1383262"/>
                <a:gd name="connsiteY285" fmla="*/ 982813 h 1025181"/>
                <a:gd name="connsiteX286" fmla="*/ 360642 w 1383262"/>
                <a:gd name="connsiteY286" fmla="*/ 982813 h 1025181"/>
                <a:gd name="connsiteX287" fmla="*/ 361272 w 1383262"/>
                <a:gd name="connsiteY287" fmla="*/ 979696 h 1025181"/>
                <a:gd name="connsiteX288" fmla="*/ 369203 w 1383262"/>
                <a:gd name="connsiteY288" fmla="*/ 974439 h 1025181"/>
                <a:gd name="connsiteX289" fmla="*/ 430494 w 1383262"/>
                <a:gd name="connsiteY289" fmla="*/ 974439 h 1025181"/>
                <a:gd name="connsiteX290" fmla="*/ 438425 w 1383262"/>
                <a:gd name="connsiteY290" fmla="*/ 979696 h 1025181"/>
                <a:gd name="connsiteX291" fmla="*/ 439054 w 1383262"/>
                <a:gd name="connsiteY291" fmla="*/ 982813 h 1025181"/>
                <a:gd name="connsiteX292" fmla="*/ 436850 w 1383262"/>
                <a:gd name="connsiteY292" fmla="*/ 982813 h 1025181"/>
                <a:gd name="connsiteX293" fmla="*/ 424324 w 1383262"/>
                <a:gd name="connsiteY293" fmla="*/ 982813 h 1025181"/>
                <a:gd name="connsiteX294" fmla="*/ 421934 w 1383262"/>
                <a:gd name="connsiteY294" fmla="*/ 982813 h 1025181"/>
                <a:gd name="connsiteX295" fmla="*/ 422564 w 1383262"/>
                <a:gd name="connsiteY295" fmla="*/ 979696 h 1025181"/>
                <a:gd name="connsiteX296" fmla="*/ 430494 w 1383262"/>
                <a:gd name="connsiteY296" fmla="*/ 974439 h 1025181"/>
                <a:gd name="connsiteX297" fmla="*/ 604271 w 1383262"/>
                <a:gd name="connsiteY297" fmla="*/ 974439 h 1025181"/>
                <a:gd name="connsiteX298" fmla="*/ 612201 w 1383262"/>
                <a:gd name="connsiteY298" fmla="*/ 979696 h 1025181"/>
                <a:gd name="connsiteX299" fmla="*/ 612831 w 1383262"/>
                <a:gd name="connsiteY299" fmla="*/ 982813 h 1025181"/>
                <a:gd name="connsiteX300" fmla="*/ 610627 w 1383262"/>
                <a:gd name="connsiteY300" fmla="*/ 982813 h 1025181"/>
                <a:gd name="connsiteX301" fmla="*/ 598101 w 1383262"/>
                <a:gd name="connsiteY301" fmla="*/ 982813 h 1025181"/>
                <a:gd name="connsiteX302" fmla="*/ 595711 w 1383262"/>
                <a:gd name="connsiteY302" fmla="*/ 982813 h 1025181"/>
                <a:gd name="connsiteX303" fmla="*/ 596341 w 1383262"/>
                <a:gd name="connsiteY303" fmla="*/ 979696 h 1025181"/>
                <a:gd name="connsiteX304" fmla="*/ 604271 w 1383262"/>
                <a:gd name="connsiteY304" fmla="*/ 974439 h 1025181"/>
                <a:gd name="connsiteX305" fmla="*/ 890531 w 1383262"/>
                <a:gd name="connsiteY305" fmla="*/ 974439 h 1025181"/>
                <a:gd name="connsiteX306" fmla="*/ 898462 w 1383262"/>
                <a:gd name="connsiteY306" fmla="*/ 979696 h 1025181"/>
                <a:gd name="connsiteX307" fmla="*/ 899092 w 1383262"/>
                <a:gd name="connsiteY307" fmla="*/ 982813 h 1025181"/>
                <a:gd name="connsiteX308" fmla="*/ 896887 w 1383262"/>
                <a:gd name="connsiteY308" fmla="*/ 982813 h 1025181"/>
                <a:gd name="connsiteX309" fmla="*/ 884361 w 1383262"/>
                <a:gd name="connsiteY309" fmla="*/ 982813 h 1025181"/>
                <a:gd name="connsiteX310" fmla="*/ 881971 w 1383262"/>
                <a:gd name="connsiteY310" fmla="*/ 982813 h 1025181"/>
                <a:gd name="connsiteX311" fmla="*/ 882600 w 1383262"/>
                <a:gd name="connsiteY311" fmla="*/ 979696 h 1025181"/>
                <a:gd name="connsiteX312" fmla="*/ 890531 w 1383262"/>
                <a:gd name="connsiteY312" fmla="*/ 974439 h 1025181"/>
                <a:gd name="connsiteX313" fmla="*/ 951823 w 1383262"/>
                <a:gd name="connsiteY313" fmla="*/ 974439 h 1025181"/>
                <a:gd name="connsiteX314" fmla="*/ 959754 w 1383262"/>
                <a:gd name="connsiteY314" fmla="*/ 979696 h 1025181"/>
                <a:gd name="connsiteX315" fmla="*/ 960383 w 1383262"/>
                <a:gd name="connsiteY315" fmla="*/ 982813 h 1025181"/>
                <a:gd name="connsiteX316" fmla="*/ 958179 w 1383262"/>
                <a:gd name="connsiteY316" fmla="*/ 982813 h 1025181"/>
                <a:gd name="connsiteX317" fmla="*/ 945653 w 1383262"/>
                <a:gd name="connsiteY317" fmla="*/ 982813 h 1025181"/>
                <a:gd name="connsiteX318" fmla="*/ 943263 w 1383262"/>
                <a:gd name="connsiteY318" fmla="*/ 982813 h 1025181"/>
                <a:gd name="connsiteX319" fmla="*/ 943893 w 1383262"/>
                <a:gd name="connsiteY319" fmla="*/ 979696 h 1025181"/>
                <a:gd name="connsiteX320" fmla="*/ 951823 w 1383262"/>
                <a:gd name="connsiteY320" fmla="*/ 974439 h 1025181"/>
                <a:gd name="connsiteX321" fmla="*/ 1074457 w 1383262"/>
                <a:gd name="connsiteY321" fmla="*/ 974439 h 1025181"/>
                <a:gd name="connsiteX322" fmla="*/ 1082388 w 1383262"/>
                <a:gd name="connsiteY322" fmla="*/ 979696 h 1025181"/>
                <a:gd name="connsiteX323" fmla="*/ 1083017 w 1383262"/>
                <a:gd name="connsiteY323" fmla="*/ 982813 h 1025181"/>
                <a:gd name="connsiteX324" fmla="*/ 1080813 w 1383262"/>
                <a:gd name="connsiteY324" fmla="*/ 982813 h 1025181"/>
                <a:gd name="connsiteX325" fmla="*/ 1068287 w 1383262"/>
                <a:gd name="connsiteY325" fmla="*/ 982813 h 1025181"/>
                <a:gd name="connsiteX326" fmla="*/ 1065897 w 1383262"/>
                <a:gd name="connsiteY326" fmla="*/ 982813 h 1025181"/>
                <a:gd name="connsiteX327" fmla="*/ 1066526 w 1383262"/>
                <a:gd name="connsiteY327" fmla="*/ 979696 h 1025181"/>
                <a:gd name="connsiteX328" fmla="*/ 1074457 w 1383262"/>
                <a:gd name="connsiteY328" fmla="*/ 974439 h 1025181"/>
                <a:gd name="connsiteX329" fmla="*/ 1360718 w 1383262"/>
                <a:gd name="connsiteY329" fmla="*/ 974439 h 1025181"/>
                <a:gd name="connsiteX330" fmla="*/ 1368649 w 1383262"/>
                <a:gd name="connsiteY330" fmla="*/ 979696 h 1025181"/>
                <a:gd name="connsiteX331" fmla="*/ 1369278 w 1383262"/>
                <a:gd name="connsiteY331" fmla="*/ 982813 h 1025181"/>
                <a:gd name="connsiteX332" fmla="*/ 1367074 w 1383262"/>
                <a:gd name="connsiteY332" fmla="*/ 982813 h 1025181"/>
                <a:gd name="connsiteX333" fmla="*/ 1354548 w 1383262"/>
                <a:gd name="connsiteY333" fmla="*/ 982813 h 1025181"/>
                <a:gd name="connsiteX334" fmla="*/ 1352158 w 1383262"/>
                <a:gd name="connsiteY334" fmla="*/ 982813 h 1025181"/>
                <a:gd name="connsiteX335" fmla="*/ 1352788 w 1383262"/>
                <a:gd name="connsiteY335" fmla="*/ 979696 h 1025181"/>
                <a:gd name="connsiteX336" fmla="*/ 1360718 w 1383262"/>
                <a:gd name="connsiteY336" fmla="*/ 974439 h 1025181"/>
                <a:gd name="connsiteX337" fmla="*/ 79296 w 1383262"/>
                <a:gd name="connsiteY337" fmla="*/ 971474 h 1025181"/>
                <a:gd name="connsiteX338" fmla="*/ 76537 w 1383262"/>
                <a:gd name="connsiteY338" fmla="*/ 971474 h 1025181"/>
                <a:gd name="connsiteX339" fmla="*/ 73411 w 1383262"/>
                <a:gd name="connsiteY339" fmla="*/ 973130 h 1025181"/>
                <a:gd name="connsiteX340" fmla="*/ 71940 w 1383262"/>
                <a:gd name="connsiteY340" fmla="*/ 977359 h 1025181"/>
                <a:gd name="connsiteX341" fmla="*/ 71940 w 1383262"/>
                <a:gd name="connsiteY341" fmla="*/ 977727 h 1025181"/>
                <a:gd name="connsiteX342" fmla="*/ 71940 w 1383262"/>
                <a:gd name="connsiteY342" fmla="*/ 1013770 h 1025181"/>
                <a:gd name="connsiteX343" fmla="*/ 71572 w 1383262"/>
                <a:gd name="connsiteY343" fmla="*/ 1014137 h 1025181"/>
                <a:gd name="connsiteX344" fmla="*/ 66607 w 1383262"/>
                <a:gd name="connsiteY344" fmla="*/ 1014137 h 1025181"/>
                <a:gd name="connsiteX345" fmla="*/ 63849 w 1383262"/>
                <a:gd name="connsiteY345" fmla="*/ 1014873 h 1025181"/>
                <a:gd name="connsiteX346" fmla="*/ 61274 w 1383262"/>
                <a:gd name="connsiteY346" fmla="*/ 1019471 h 1025181"/>
                <a:gd name="connsiteX347" fmla="*/ 63113 w 1383262"/>
                <a:gd name="connsiteY347" fmla="*/ 1023332 h 1025181"/>
                <a:gd name="connsiteX348" fmla="*/ 65871 w 1383262"/>
                <a:gd name="connsiteY348" fmla="*/ 1024619 h 1025181"/>
                <a:gd name="connsiteX349" fmla="*/ 66055 w 1383262"/>
                <a:gd name="connsiteY349" fmla="*/ 1024619 h 1025181"/>
                <a:gd name="connsiteX350" fmla="*/ 66239 w 1383262"/>
                <a:gd name="connsiteY350" fmla="*/ 1024619 h 1025181"/>
                <a:gd name="connsiteX351" fmla="*/ 66607 w 1383262"/>
                <a:gd name="connsiteY351" fmla="*/ 1024619 h 1025181"/>
                <a:gd name="connsiteX352" fmla="*/ 88491 w 1383262"/>
                <a:gd name="connsiteY352" fmla="*/ 1024619 h 1025181"/>
                <a:gd name="connsiteX353" fmla="*/ 88858 w 1383262"/>
                <a:gd name="connsiteY353" fmla="*/ 1024619 h 1025181"/>
                <a:gd name="connsiteX354" fmla="*/ 89410 w 1383262"/>
                <a:gd name="connsiteY354" fmla="*/ 1024619 h 1025181"/>
                <a:gd name="connsiteX355" fmla="*/ 89962 w 1383262"/>
                <a:gd name="connsiteY355" fmla="*/ 1024436 h 1025181"/>
                <a:gd name="connsiteX356" fmla="*/ 92352 w 1383262"/>
                <a:gd name="connsiteY356" fmla="*/ 1023148 h 1025181"/>
                <a:gd name="connsiteX357" fmla="*/ 94007 w 1383262"/>
                <a:gd name="connsiteY357" fmla="*/ 1019287 h 1025181"/>
                <a:gd name="connsiteX358" fmla="*/ 92536 w 1383262"/>
                <a:gd name="connsiteY358" fmla="*/ 1015793 h 1025181"/>
                <a:gd name="connsiteX359" fmla="*/ 88674 w 1383262"/>
                <a:gd name="connsiteY359" fmla="*/ 1014137 h 1025181"/>
                <a:gd name="connsiteX360" fmla="*/ 83341 w 1383262"/>
                <a:gd name="connsiteY360" fmla="*/ 1014137 h 1025181"/>
                <a:gd name="connsiteX361" fmla="*/ 82973 w 1383262"/>
                <a:gd name="connsiteY361" fmla="*/ 1013770 h 1025181"/>
                <a:gd name="connsiteX362" fmla="*/ 82973 w 1383262"/>
                <a:gd name="connsiteY362" fmla="*/ 982508 h 1025181"/>
                <a:gd name="connsiteX363" fmla="*/ 83341 w 1383262"/>
                <a:gd name="connsiteY363" fmla="*/ 982140 h 1025181"/>
                <a:gd name="connsiteX364" fmla="*/ 87387 w 1383262"/>
                <a:gd name="connsiteY364" fmla="*/ 982140 h 1025181"/>
                <a:gd name="connsiteX365" fmla="*/ 92352 w 1383262"/>
                <a:gd name="connsiteY365" fmla="*/ 979014 h 1025181"/>
                <a:gd name="connsiteX366" fmla="*/ 92536 w 1383262"/>
                <a:gd name="connsiteY366" fmla="*/ 975152 h 1025181"/>
                <a:gd name="connsiteX367" fmla="*/ 87571 w 1383262"/>
                <a:gd name="connsiteY367" fmla="*/ 971658 h 1025181"/>
                <a:gd name="connsiteX368" fmla="*/ 79296 w 1383262"/>
                <a:gd name="connsiteY368" fmla="*/ 971474 h 1025181"/>
                <a:gd name="connsiteX369" fmla="*/ 253023 w 1383262"/>
                <a:gd name="connsiteY369" fmla="*/ 971474 h 1025181"/>
                <a:gd name="connsiteX370" fmla="*/ 250264 w 1383262"/>
                <a:gd name="connsiteY370" fmla="*/ 971474 h 1025181"/>
                <a:gd name="connsiteX371" fmla="*/ 247138 w 1383262"/>
                <a:gd name="connsiteY371" fmla="*/ 973130 h 1025181"/>
                <a:gd name="connsiteX372" fmla="*/ 245667 w 1383262"/>
                <a:gd name="connsiteY372" fmla="*/ 977359 h 1025181"/>
                <a:gd name="connsiteX373" fmla="*/ 245667 w 1383262"/>
                <a:gd name="connsiteY373" fmla="*/ 977727 h 1025181"/>
                <a:gd name="connsiteX374" fmla="*/ 245667 w 1383262"/>
                <a:gd name="connsiteY374" fmla="*/ 1013770 h 1025181"/>
                <a:gd name="connsiteX375" fmla="*/ 245299 w 1383262"/>
                <a:gd name="connsiteY375" fmla="*/ 1014137 h 1025181"/>
                <a:gd name="connsiteX376" fmla="*/ 240334 w 1383262"/>
                <a:gd name="connsiteY376" fmla="*/ 1014137 h 1025181"/>
                <a:gd name="connsiteX377" fmla="*/ 237576 w 1383262"/>
                <a:gd name="connsiteY377" fmla="*/ 1014873 h 1025181"/>
                <a:gd name="connsiteX378" fmla="*/ 235001 w 1383262"/>
                <a:gd name="connsiteY378" fmla="*/ 1019471 h 1025181"/>
                <a:gd name="connsiteX379" fmla="*/ 236840 w 1383262"/>
                <a:gd name="connsiteY379" fmla="*/ 1023332 h 1025181"/>
                <a:gd name="connsiteX380" fmla="*/ 239598 w 1383262"/>
                <a:gd name="connsiteY380" fmla="*/ 1024619 h 1025181"/>
                <a:gd name="connsiteX381" fmla="*/ 239782 w 1383262"/>
                <a:gd name="connsiteY381" fmla="*/ 1024619 h 1025181"/>
                <a:gd name="connsiteX382" fmla="*/ 239966 w 1383262"/>
                <a:gd name="connsiteY382" fmla="*/ 1024619 h 1025181"/>
                <a:gd name="connsiteX383" fmla="*/ 240334 w 1383262"/>
                <a:gd name="connsiteY383" fmla="*/ 1024619 h 1025181"/>
                <a:gd name="connsiteX384" fmla="*/ 262217 w 1383262"/>
                <a:gd name="connsiteY384" fmla="*/ 1024619 h 1025181"/>
                <a:gd name="connsiteX385" fmla="*/ 262585 w 1383262"/>
                <a:gd name="connsiteY385" fmla="*/ 1024619 h 1025181"/>
                <a:gd name="connsiteX386" fmla="*/ 263137 w 1383262"/>
                <a:gd name="connsiteY386" fmla="*/ 1024619 h 1025181"/>
                <a:gd name="connsiteX387" fmla="*/ 263689 w 1383262"/>
                <a:gd name="connsiteY387" fmla="*/ 1024436 h 1025181"/>
                <a:gd name="connsiteX388" fmla="*/ 266079 w 1383262"/>
                <a:gd name="connsiteY388" fmla="*/ 1023148 h 1025181"/>
                <a:gd name="connsiteX389" fmla="*/ 267734 w 1383262"/>
                <a:gd name="connsiteY389" fmla="*/ 1019287 h 1025181"/>
                <a:gd name="connsiteX390" fmla="*/ 266263 w 1383262"/>
                <a:gd name="connsiteY390" fmla="*/ 1015793 h 1025181"/>
                <a:gd name="connsiteX391" fmla="*/ 262401 w 1383262"/>
                <a:gd name="connsiteY391" fmla="*/ 1014137 h 1025181"/>
                <a:gd name="connsiteX392" fmla="*/ 257068 w 1383262"/>
                <a:gd name="connsiteY392" fmla="*/ 1014137 h 1025181"/>
                <a:gd name="connsiteX393" fmla="*/ 256700 w 1383262"/>
                <a:gd name="connsiteY393" fmla="*/ 1013770 h 1025181"/>
                <a:gd name="connsiteX394" fmla="*/ 256700 w 1383262"/>
                <a:gd name="connsiteY394" fmla="*/ 982508 h 1025181"/>
                <a:gd name="connsiteX395" fmla="*/ 257068 w 1383262"/>
                <a:gd name="connsiteY395" fmla="*/ 982140 h 1025181"/>
                <a:gd name="connsiteX396" fmla="*/ 261114 w 1383262"/>
                <a:gd name="connsiteY396" fmla="*/ 982140 h 1025181"/>
                <a:gd name="connsiteX397" fmla="*/ 266079 w 1383262"/>
                <a:gd name="connsiteY397" fmla="*/ 979014 h 1025181"/>
                <a:gd name="connsiteX398" fmla="*/ 266263 w 1383262"/>
                <a:gd name="connsiteY398" fmla="*/ 975152 h 1025181"/>
                <a:gd name="connsiteX399" fmla="*/ 261298 w 1383262"/>
                <a:gd name="connsiteY399" fmla="*/ 971658 h 1025181"/>
                <a:gd name="connsiteX400" fmla="*/ 253023 w 1383262"/>
                <a:gd name="connsiteY400" fmla="*/ 971474 h 1025181"/>
                <a:gd name="connsiteX401" fmla="*/ 488091 w 1383262"/>
                <a:gd name="connsiteY401" fmla="*/ 971474 h 1025181"/>
                <a:gd name="connsiteX402" fmla="*/ 485333 w 1383262"/>
                <a:gd name="connsiteY402" fmla="*/ 971474 h 1025181"/>
                <a:gd name="connsiteX403" fmla="*/ 482207 w 1383262"/>
                <a:gd name="connsiteY403" fmla="*/ 973130 h 1025181"/>
                <a:gd name="connsiteX404" fmla="*/ 480736 w 1383262"/>
                <a:gd name="connsiteY404" fmla="*/ 977359 h 1025181"/>
                <a:gd name="connsiteX405" fmla="*/ 480736 w 1383262"/>
                <a:gd name="connsiteY405" fmla="*/ 977727 h 1025181"/>
                <a:gd name="connsiteX406" fmla="*/ 480736 w 1383262"/>
                <a:gd name="connsiteY406" fmla="*/ 1013770 h 1025181"/>
                <a:gd name="connsiteX407" fmla="*/ 480368 w 1383262"/>
                <a:gd name="connsiteY407" fmla="*/ 1014137 h 1025181"/>
                <a:gd name="connsiteX408" fmla="*/ 475403 w 1383262"/>
                <a:gd name="connsiteY408" fmla="*/ 1014137 h 1025181"/>
                <a:gd name="connsiteX409" fmla="*/ 472644 w 1383262"/>
                <a:gd name="connsiteY409" fmla="*/ 1014873 h 1025181"/>
                <a:gd name="connsiteX410" fmla="*/ 470070 w 1383262"/>
                <a:gd name="connsiteY410" fmla="*/ 1019471 h 1025181"/>
                <a:gd name="connsiteX411" fmla="*/ 471908 w 1383262"/>
                <a:gd name="connsiteY411" fmla="*/ 1023332 h 1025181"/>
                <a:gd name="connsiteX412" fmla="*/ 474667 w 1383262"/>
                <a:gd name="connsiteY412" fmla="*/ 1024619 h 1025181"/>
                <a:gd name="connsiteX413" fmla="*/ 474850 w 1383262"/>
                <a:gd name="connsiteY413" fmla="*/ 1024619 h 1025181"/>
                <a:gd name="connsiteX414" fmla="*/ 475035 w 1383262"/>
                <a:gd name="connsiteY414" fmla="*/ 1024619 h 1025181"/>
                <a:gd name="connsiteX415" fmla="*/ 475403 w 1383262"/>
                <a:gd name="connsiteY415" fmla="*/ 1024619 h 1025181"/>
                <a:gd name="connsiteX416" fmla="*/ 497286 w 1383262"/>
                <a:gd name="connsiteY416" fmla="*/ 1024619 h 1025181"/>
                <a:gd name="connsiteX417" fmla="*/ 497653 w 1383262"/>
                <a:gd name="connsiteY417" fmla="*/ 1024619 h 1025181"/>
                <a:gd name="connsiteX418" fmla="*/ 498205 w 1383262"/>
                <a:gd name="connsiteY418" fmla="*/ 1024619 h 1025181"/>
                <a:gd name="connsiteX419" fmla="*/ 498757 w 1383262"/>
                <a:gd name="connsiteY419" fmla="*/ 1024436 h 1025181"/>
                <a:gd name="connsiteX420" fmla="*/ 501148 w 1383262"/>
                <a:gd name="connsiteY420" fmla="*/ 1023148 h 1025181"/>
                <a:gd name="connsiteX421" fmla="*/ 502802 w 1383262"/>
                <a:gd name="connsiteY421" fmla="*/ 1019287 h 1025181"/>
                <a:gd name="connsiteX422" fmla="*/ 501331 w 1383262"/>
                <a:gd name="connsiteY422" fmla="*/ 1015793 h 1025181"/>
                <a:gd name="connsiteX423" fmla="*/ 497470 w 1383262"/>
                <a:gd name="connsiteY423" fmla="*/ 1014137 h 1025181"/>
                <a:gd name="connsiteX424" fmla="*/ 492137 w 1383262"/>
                <a:gd name="connsiteY424" fmla="*/ 1014137 h 1025181"/>
                <a:gd name="connsiteX425" fmla="*/ 491769 w 1383262"/>
                <a:gd name="connsiteY425" fmla="*/ 1013770 h 1025181"/>
                <a:gd name="connsiteX426" fmla="*/ 491769 w 1383262"/>
                <a:gd name="connsiteY426" fmla="*/ 982508 h 1025181"/>
                <a:gd name="connsiteX427" fmla="*/ 492137 w 1383262"/>
                <a:gd name="connsiteY427" fmla="*/ 982140 h 1025181"/>
                <a:gd name="connsiteX428" fmla="*/ 496182 w 1383262"/>
                <a:gd name="connsiteY428" fmla="*/ 982140 h 1025181"/>
                <a:gd name="connsiteX429" fmla="*/ 501148 w 1383262"/>
                <a:gd name="connsiteY429" fmla="*/ 979014 h 1025181"/>
                <a:gd name="connsiteX430" fmla="*/ 501331 w 1383262"/>
                <a:gd name="connsiteY430" fmla="*/ 975152 h 1025181"/>
                <a:gd name="connsiteX431" fmla="*/ 496366 w 1383262"/>
                <a:gd name="connsiteY431" fmla="*/ 971658 h 1025181"/>
                <a:gd name="connsiteX432" fmla="*/ 488091 w 1383262"/>
                <a:gd name="connsiteY432" fmla="*/ 971474 h 1025181"/>
                <a:gd name="connsiteX433" fmla="*/ 723209 w 1383262"/>
                <a:gd name="connsiteY433" fmla="*/ 971474 h 1025181"/>
                <a:gd name="connsiteX434" fmla="*/ 720450 w 1383262"/>
                <a:gd name="connsiteY434" fmla="*/ 971474 h 1025181"/>
                <a:gd name="connsiteX435" fmla="*/ 717324 w 1383262"/>
                <a:gd name="connsiteY435" fmla="*/ 973130 h 1025181"/>
                <a:gd name="connsiteX436" fmla="*/ 715853 w 1383262"/>
                <a:gd name="connsiteY436" fmla="*/ 977359 h 1025181"/>
                <a:gd name="connsiteX437" fmla="*/ 715853 w 1383262"/>
                <a:gd name="connsiteY437" fmla="*/ 977727 h 1025181"/>
                <a:gd name="connsiteX438" fmla="*/ 715853 w 1383262"/>
                <a:gd name="connsiteY438" fmla="*/ 1013770 h 1025181"/>
                <a:gd name="connsiteX439" fmla="*/ 715485 w 1383262"/>
                <a:gd name="connsiteY439" fmla="*/ 1014137 h 1025181"/>
                <a:gd name="connsiteX440" fmla="*/ 710520 w 1383262"/>
                <a:gd name="connsiteY440" fmla="*/ 1014137 h 1025181"/>
                <a:gd name="connsiteX441" fmla="*/ 707762 w 1383262"/>
                <a:gd name="connsiteY441" fmla="*/ 1014873 h 1025181"/>
                <a:gd name="connsiteX442" fmla="*/ 705187 w 1383262"/>
                <a:gd name="connsiteY442" fmla="*/ 1019471 h 1025181"/>
                <a:gd name="connsiteX443" fmla="*/ 707026 w 1383262"/>
                <a:gd name="connsiteY443" fmla="*/ 1023332 h 1025181"/>
                <a:gd name="connsiteX444" fmla="*/ 709785 w 1383262"/>
                <a:gd name="connsiteY444" fmla="*/ 1024619 h 1025181"/>
                <a:gd name="connsiteX445" fmla="*/ 709969 w 1383262"/>
                <a:gd name="connsiteY445" fmla="*/ 1024619 h 1025181"/>
                <a:gd name="connsiteX446" fmla="*/ 710152 w 1383262"/>
                <a:gd name="connsiteY446" fmla="*/ 1024619 h 1025181"/>
                <a:gd name="connsiteX447" fmla="*/ 710520 w 1383262"/>
                <a:gd name="connsiteY447" fmla="*/ 1024619 h 1025181"/>
                <a:gd name="connsiteX448" fmla="*/ 732403 w 1383262"/>
                <a:gd name="connsiteY448" fmla="*/ 1024619 h 1025181"/>
                <a:gd name="connsiteX449" fmla="*/ 732771 w 1383262"/>
                <a:gd name="connsiteY449" fmla="*/ 1024619 h 1025181"/>
                <a:gd name="connsiteX450" fmla="*/ 733323 w 1383262"/>
                <a:gd name="connsiteY450" fmla="*/ 1024619 h 1025181"/>
                <a:gd name="connsiteX451" fmla="*/ 733874 w 1383262"/>
                <a:gd name="connsiteY451" fmla="*/ 1024436 h 1025181"/>
                <a:gd name="connsiteX452" fmla="*/ 736265 w 1383262"/>
                <a:gd name="connsiteY452" fmla="*/ 1023148 h 1025181"/>
                <a:gd name="connsiteX453" fmla="*/ 737920 w 1383262"/>
                <a:gd name="connsiteY453" fmla="*/ 1019287 h 1025181"/>
                <a:gd name="connsiteX454" fmla="*/ 736449 w 1383262"/>
                <a:gd name="connsiteY454" fmla="*/ 1015793 h 1025181"/>
                <a:gd name="connsiteX455" fmla="*/ 732588 w 1383262"/>
                <a:gd name="connsiteY455" fmla="*/ 1014137 h 1025181"/>
                <a:gd name="connsiteX456" fmla="*/ 727255 w 1383262"/>
                <a:gd name="connsiteY456" fmla="*/ 1014137 h 1025181"/>
                <a:gd name="connsiteX457" fmla="*/ 726887 w 1383262"/>
                <a:gd name="connsiteY457" fmla="*/ 1013770 h 1025181"/>
                <a:gd name="connsiteX458" fmla="*/ 726887 w 1383262"/>
                <a:gd name="connsiteY458" fmla="*/ 982508 h 1025181"/>
                <a:gd name="connsiteX459" fmla="*/ 727255 w 1383262"/>
                <a:gd name="connsiteY459" fmla="*/ 982140 h 1025181"/>
                <a:gd name="connsiteX460" fmla="*/ 731300 w 1383262"/>
                <a:gd name="connsiteY460" fmla="*/ 982140 h 1025181"/>
                <a:gd name="connsiteX461" fmla="*/ 736265 w 1383262"/>
                <a:gd name="connsiteY461" fmla="*/ 979014 h 1025181"/>
                <a:gd name="connsiteX462" fmla="*/ 736449 w 1383262"/>
                <a:gd name="connsiteY462" fmla="*/ 975152 h 1025181"/>
                <a:gd name="connsiteX463" fmla="*/ 731484 w 1383262"/>
                <a:gd name="connsiteY463" fmla="*/ 971658 h 1025181"/>
                <a:gd name="connsiteX464" fmla="*/ 723209 w 1383262"/>
                <a:gd name="connsiteY464" fmla="*/ 971474 h 1025181"/>
                <a:gd name="connsiteX465" fmla="*/ 835693 w 1383262"/>
                <a:gd name="connsiteY465" fmla="*/ 971474 h 1025181"/>
                <a:gd name="connsiteX466" fmla="*/ 832935 w 1383262"/>
                <a:gd name="connsiteY466" fmla="*/ 971474 h 1025181"/>
                <a:gd name="connsiteX467" fmla="*/ 829809 w 1383262"/>
                <a:gd name="connsiteY467" fmla="*/ 973130 h 1025181"/>
                <a:gd name="connsiteX468" fmla="*/ 828338 w 1383262"/>
                <a:gd name="connsiteY468" fmla="*/ 977359 h 1025181"/>
                <a:gd name="connsiteX469" fmla="*/ 828338 w 1383262"/>
                <a:gd name="connsiteY469" fmla="*/ 977727 h 1025181"/>
                <a:gd name="connsiteX470" fmla="*/ 828338 w 1383262"/>
                <a:gd name="connsiteY470" fmla="*/ 1013770 h 1025181"/>
                <a:gd name="connsiteX471" fmla="*/ 827970 w 1383262"/>
                <a:gd name="connsiteY471" fmla="*/ 1014137 h 1025181"/>
                <a:gd name="connsiteX472" fmla="*/ 823005 w 1383262"/>
                <a:gd name="connsiteY472" fmla="*/ 1014137 h 1025181"/>
                <a:gd name="connsiteX473" fmla="*/ 820246 w 1383262"/>
                <a:gd name="connsiteY473" fmla="*/ 1014873 h 1025181"/>
                <a:gd name="connsiteX474" fmla="*/ 817672 w 1383262"/>
                <a:gd name="connsiteY474" fmla="*/ 1019471 h 1025181"/>
                <a:gd name="connsiteX475" fmla="*/ 819511 w 1383262"/>
                <a:gd name="connsiteY475" fmla="*/ 1023332 h 1025181"/>
                <a:gd name="connsiteX476" fmla="*/ 822270 w 1383262"/>
                <a:gd name="connsiteY476" fmla="*/ 1024619 h 1025181"/>
                <a:gd name="connsiteX477" fmla="*/ 822453 w 1383262"/>
                <a:gd name="connsiteY477" fmla="*/ 1024619 h 1025181"/>
                <a:gd name="connsiteX478" fmla="*/ 822637 w 1383262"/>
                <a:gd name="connsiteY478" fmla="*/ 1024619 h 1025181"/>
                <a:gd name="connsiteX479" fmla="*/ 823005 w 1383262"/>
                <a:gd name="connsiteY479" fmla="*/ 1024619 h 1025181"/>
                <a:gd name="connsiteX480" fmla="*/ 844888 w 1383262"/>
                <a:gd name="connsiteY480" fmla="*/ 1024619 h 1025181"/>
                <a:gd name="connsiteX481" fmla="*/ 845256 w 1383262"/>
                <a:gd name="connsiteY481" fmla="*/ 1024619 h 1025181"/>
                <a:gd name="connsiteX482" fmla="*/ 845807 w 1383262"/>
                <a:gd name="connsiteY482" fmla="*/ 1024619 h 1025181"/>
                <a:gd name="connsiteX483" fmla="*/ 846359 w 1383262"/>
                <a:gd name="connsiteY483" fmla="*/ 1024436 h 1025181"/>
                <a:gd name="connsiteX484" fmla="*/ 848750 w 1383262"/>
                <a:gd name="connsiteY484" fmla="*/ 1023148 h 1025181"/>
                <a:gd name="connsiteX485" fmla="*/ 850404 w 1383262"/>
                <a:gd name="connsiteY485" fmla="*/ 1019287 h 1025181"/>
                <a:gd name="connsiteX486" fmla="*/ 848933 w 1383262"/>
                <a:gd name="connsiteY486" fmla="*/ 1015793 h 1025181"/>
                <a:gd name="connsiteX487" fmla="*/ 845072 w 1383262"/>
                <a:gd name="connsiteY487" fmla="*/ 1014137 h 1025181"/>
                <a:gd name="connsiteX488" fmla="*/ 839739 w 1383262"/>
                <a:gd name="connsiteY488" fmla="*/ 1014137 h 1025181"/>
                <a:gd name="connsiteX489" fmla="*/ 839371 w 1383262"/>
                <a:gd name="connsiteY489" fmla="*/ 1013770 h 1025181"/>
                <a:gd name="connsiteX490" fmla="*/ 839371 w 1383262"/>
                <a:gd name="connsiteY490" fmla="*/ 982508 h 1025181"/>
                <a:gd name="connsiteX491" fmla="*/ 839739 w 1383262"/>
                <a:gd name="connsiteY491" fmla="*/ 982140 h 1025181"/>
                <a:gd name="connsiteX492" fmla="*/ 843785 w 1383262"/>
                <a:gd name="connsiteY492" fmla="*/ 982140 h 1025181"/>
                <a:gd name="connsiteX493" fmla="*/ 848750 w 1383262"/>
                <a:gd name="connsiteY493" fmla="*/ 979014 h 1025181"/>
                <a:gd name="connsiteX494" fmla="*/ 848933 w 1383262"/>
                <a:gd name="connsiteY494" fmla="*/ 975152 h 1025181"/>
                <a:gd name="connsiteX495" fmla="*/ 843968 w 1383262"/>
                <a:gd name="connsiteY495" fmla="*/ 971658 h 1025181"/>
                <a:gd name="connsiteX496" fmla="*/ 835693 w 1383262"/>
                <a:gd name="connsiteY496" fmla="*/ 971474 h 1025181"/>
                <a:gd name="connsiteX497" fmla="*/ 1193395 w 1383262"/>
                <a:gd name="connsiteY497" fmla="*/ 971474 h 1025181"/>
                <a:gd name="connsiteX498" fmla="*/ 1190637 w 1383262"/>
                <a:gd name="connsiteY498" fmla="*/ 971474 h 1025181"/>
                <a:gd name="connsiteX499" fmla="*/ 1187511 w 1383262"/>
                <a:gd name="connsiteY499" fmla="*/ 973130 h 1025181"/>
                <a:gd name="connsiteX500" fmla="*/ 1186040 w 1383262"/>
                <a:gd name="connsiteY500" fmla="*/ 977359 h 1025181"/>
                <a:gd name="connsiteX501" fmla="*/ 1186040 w 1383262"/>
                <a:gd name="connsiteY501" fmla="*/ 977727 h 1025181"/>
                <a:gd name="connsiteX502" fmla="*/ 1186040 w 1383262"/>
                <a:gd name="connsiteY502" fmla="*/ 1013770 h 1025181"/>
                <a:gd name="connsiteX503" fmla="*/ 1185672 w 1383262"/>
                <a:gd name="connsiteY503" fmla="*/ 1014137 h 1025181"/>
                <a:gd name="connsiteX504" fmla="*/ 1180707 w 1383262"/>
                <a:gd name="connsiteY504" fmla="*/ 1014137 h 1025181"/>
                <a:gd name="connsiteX505" fmla="*/ 1177948 w 1383262"/>
                <a:gd name="connsiteY505" fmla="*/ 1014873 h 1025181"/>
                <a:gd name="connsiteX506" fmla="*/ 1175374 w 1383262"/>
                <a:gd name="connsiteY506" fmla="*/ 1019471 h 1025181"/>
                <a:gd name="connsiteX507" fmla="*/ 1177213 w 1383262"/>
                <a:gd name="connsiteY507" fmla="*/ 1023332 h 1025181"/>
                <a:gd name="connsiteX508" fmla="*/ 1179971 w 1383262"/>
                <a:gd name="connsiteY508" fmla="*/ 1024619 h 1025181"/>
                <a:gd name="connsiteX509" fmla="*/ 1180155 w 1383262"/>
                <a:gd name="connsiteY509" fmla="*/ 1024619 h 1025181"/>
                <a:gd name="connsiteX510" fmla="*/ 1180339 w 1383262"/>
                <a:gd name="connsiteY510" fmla="*/ 1024619 h 1025181"/>
                <a:gd name="connsiteX511" fmla="*/ 1180707 w 1383262"/>
                <a:gd name="connsiteY511" fmla="*/ 1024619 h 1025181"/>
                <a:gd name="connsiteX512" fmla="*/ 1202590 w 1383262"/>
                <a:gd name="connsiteY512" fmla="*/ 1024619 h 1025181"/>
                <a:gd name="connsiteX513" fmla="*/ 1202958 w 1383262"/>
                <a:gd name="connsiteY513" fmla="*/ 1024619 h 1025181"/>
                <a:gd name="connsiteX514" fmla="*/ 1203509 w 1383262"/>
                <a:gd name="connsiteY514" fmla="*/ 1024619 h 1025181"/>
                <a:gd name="connsiteX515" fmla="*/ 1204061 w 1383262"/>
                <a:gd name="connsiteY515" fmla="*/ 1024436 h 1025181"/>
                <a:gd name="connsiteX516" fmla="*/ 1206452 w 1383262"/>
                <a:gd name="connsiteY516" fmla="*/ 1023148 h 1025181"/>
                <a:gd name="connsiteX517" fmla="*/ 1208107 w 1383262"/>
                <a:gd name="connsiteY517" fmla="*/ 1019287 h 1025181"/>
                <a:gd name="connsiteX518" fmla="*/ 1206636 w 1383262"/>
                <a:gd name="connsiteY518" fmla="*/ 1015793 h 1025181"/>
                <a:gd name="connsiteX519" fmla="*/ 1202774 w 1383262"/>
                <a:gd name="connsiteY519" fmla="*/ 1014137 h 1025181"/>
                <a:gd name="connsiteX520" fmla="*/ 1197441 w 1383262"/>
                <a:gd name="connsiteY520" fmla="*/ 1014137 h 1025181"/>
                <a:gd name="connsiteX521" fmla="*/ 1197073 w 1383262"/>
                <a:gd name="connsiteY521" fmla="*/ 1013770 h 1025181"/>
                <a:gd name="connsiteX522" fmla="*/ 1197073 w 1383262"/>
                <a:gd name="connsiteY522" fmla="*/ 982508 h 1025181"/>
                <a:gd name="connsiteX523" fmla="*/ 1197441 w 1383262"/>
                <a:gd name="connsiteY523" fmla="*/ 982140 h 1025181"/>
                <a:gd name="connsiteX524" fmla="*/ 1201487 w 1383262"/>
                <a:gd name="connsiteY524" fmla="*/ 982140 h 1025181"/>
                <a:gd name="connsiteX525" fmla="*/ 1206452 w 1383262"/>
                <a:gd name="connsiteY525" fmla="*/ 979014 h 1025181"/>
                <a:gd name="connsiteX526" fmla="*/ 1206636 w 1383262"/>
                <a:gd name="connsiteY526" fmla="*/ 975152 h 1025181"/>
                <a:gd name="connsiteX527" fmla="*/ 1201670 w 1383262"/>
                <a:gd name="connsiteY527" fmla="*/ 971658 h 1025181"/>
                <a:gd name="connsiteX528" fmla="*/ 1193395 w 1383262"/>
                <a:gd name="connsiteY528" fmla="*/ 971474 h 1025181"/>
                <a:gd name="connsiteX529" fmla="*/ 1244538 w 1383262"/>
                <a:gd name="connsiteY529" fmla="*/ 971474 h 1025181"/>
                <a:gd name="connsiteX530" fmla="*/ 1241780 w 1383262"/>
                <a:gd name="connsiteY530" fmla="*/ 971474 h 1025181"/>
                <a:gd name="connsiteX531" fmla="*/ 1238654 w 1383262"/>
                <a:gd name="connsiteY531" fmla="*/ 973130 h 1025181"/>
                <a:gd name="connsiteX532" fmla="*/ 1237183 w 1383262"/>
                <a:gd name="connsiteY532" fmla="*/ 977359 h 1025181"/>
                <a:gd name="connsiteX533" fmla="*/ 1237183 w 1383262"/>
                <a:gd name="connsiteY533" fmla="*/ 977727 h 1025181"/>
                <a:gd name="connsiteX534" fmla="*/ 1237183 w 1383262"/>
                <a:gd name="connsiteY534" fmla="*/ 1013770 h 1025181"/>
                <a:gd name="connsiteX535" fmla="*/ 1236815 w 1383262"/>
                <a:gd name="connsiteY535" fmla="*/ 1014137 h 1025181"/>
                <a:gd name="connsiteX536" fmla="*/ 1231850 w 1383262"/>
                <a:gd name="connsiteY536" fmla="*/ 1014137 h 1025181"/>
                <a:gd name="connsiteX537" fmla="*/ 1229091 w 1383262"/>
                <a:gd name="connsiteY537" fmla="*/ 1014873 h 1025181"/>
                <a:gd name="connsiteX538" fmla="*/ 1226517 w 1383262"/>
                <a:gd name="connsiteY538" fmla="*/ 1019471 h 1025181"/>
                <a:gd name="connsiteX539" fmla="*/ 1228356 w 1383262"/>
                <a:gd name="connsiteY539" fmla="*/ 1023332 h 1025181"/>
                <a:gd name="connsiteX540" fmla="*/ 1231114 w 1383262"/>
                <a:gd name="connsiteY540" fmla="*/ 1024619 h 1025181"/>
                <a:gd name="connsiteX541" fmla="*/ 1231298 w 1383262"/>
                <a:gd name="connsiteY541" fmla="*/ 1024619 h 1025181"/>
                <a:gd name="connsiteX542" fmla="*/ 1231482 w 1383262"/>
                <a:gd name="connsiteY542" fmla="*/ 1024619 h 1025181"/>
                <a:gd name="connsiteX543" fmla="*/ 1231850 w 1383262"/>
                <a:gd name="connsiteY543" fmla="*/ 1024619 h 1025181"/>
                <a:gd name="connsiteX544" fmla="*/ 1253733 w 1383262"/>
                <a:gd name="connsiteY544" fmla="*/ 1024619 h 1025181"/>
                <a:gd name="connsiteX545" fmla="*/ 1254101 w 1383262"/>
                <a:gd name="connsiteY545" fmla="*/ 1024619 h 1025181"/>
                <a:gd name="connsiteX546" fmla="*/ 1254652 w 1383262"/>
                <a:gd name="connsiteY546" fmla="*/ 1024619 h 1025181"/>
                <a:gd name="connsiteX547" fmla="*/ 1255204 w 1383262"/>
                <a:gd name="connsiteY547" fmla="*/ 1024436 h 1025181"/>
                <a:gd name="connsiteX548" fmla="*/ 1257595 w 1383262"/>
                <a:gd name="connsiteY548" fmla="*/ 1023148 h 1025181"/>
                <a:gd name="connsiteX549" fmla="*/ 1259250 w 1383262"/>
                <a:gd name="connsiteY549" fmla="*/ 1019287 h 1025181"/>
                <a:gd name="connsiteX550" fmla="*/ 1257778 w 1383262"/>
                <a:gd name="connsiteY550" fmla="*/ 1015793 h 1025181"/>
                <a:gd name="connsiteX551" fmla="*/ 1253917 w 1383262"/>
                <a:gd name="connsiteY551" fmla="*/ 1014137 h 1025181"/>
                <a:gd name="connsiteX552" fmla="*/ 1248584 w 1383262"/>
                <a:gd name="connsiteY552" fmla="*/ 1014137 h 1025181"/>
                <a:gd name="connsiteX553" fmla="*/ 1248216 w 1383262"/>
                <a:gd name="connsiteY553" fmla="*/ 1013770 h 1025181"/>
                <a:gd name="connsiteX554" fmla="*/ 1248216 w 1383262"/>
                <a:gd name="connsiteY554" fmla="*/ 982508 h 1025181"/>
                <a:gd name="connsiteX555" fmla="*/ 1248584 w 1383262"/>
                <a:gd name="connsiteY555" fmla="*/ 982140 h 1025181"/>
                <a:gd name="connsiteX556" fmla="*/ 1252630 w 1383262"/>
                <a:gd name="connsiteY556" fmla="*/ 982140 h 1025181"/>
                <a:gd name="connsiteX557" fmla="*/ 1257595 w 1383262"/>
                <a:gd name="connsiteY557" fmla="*/ 979014 h 1025181"/>
                <a:gd name="connsiteX558" fmla="*/ 1257778 w 1383262"/>
                <a:gd name="connsiteY558" fmla="*/ 975152 h 1025181"/>
                <a:gd name="connsiteX559" fmla="*/ 1252813 w 1383262"/>
                <a:gd name="connsiteY559" fmla="*/ 971658 h 1025181"/>
                <a:gd name="connsiteX560" fmla="*/ 1244538 w 1383262"/>
                <a:gd name="connsiteY560" fmla="*/ 971474 h 1025181"/>
                <a:gd name="connsiteX561" fmla="*/ 22592 w 1383262"/>
                <a:gd name="connsiteY561" fmla="*/ 971427 h 1025181"/>
                <a:gd name="connsiteX562" fmla="*/ 14233 w 1383262"/>
                <a:gd name="connsiteY562" fmla="*/ 972898 h 1025181"/>
                <a:gd name="connsiteX563" fmla="*/ 9218 w 1383262"/>
                <a:gd name="connsiteY563" fmla="*/ 976025 h 1025181"/>
                <a:gd name="connsiteX564" fmla="*/ 6878 w 1383262"/>
                <a:gd name="connsiteY564" fmla="*/ 978231 h 1025181"/>
                <a:gd name="connsiteX565" fmla="*/ 4537 w 1383262"/>
                <a:gd name="connsiteY565" fmla="*/ 981174 h 1025181"/>
                <a:gd name="connsiteX566" fmla="*/ 3200 w 1383262"/>
                <a:gd name="connsiteY566" fmla="*/ 983564 h 1025181"/>
                <a:gd name="connsiteX567" fmla="*/ 1695 w 1383262"/>
                <a:gd name="connsiteY567" fmla="*/ 987242 h 1025181"/>
                <a:gd name="connsiteX568" fmla="*/ 1027 w 1383262"/>
                <a:gd name="connsiteY568" fmla="*/ 989633 h 1025181"/>
                <a:gd name="connsiteX569" fmla="*/ 358 w 1383262"/>
                <a:gd name="connsiteY569" fmla="*/ 993127 h 1025181"/>
                <a:gd name="connsiteX570" fmla="*/ 525 w 1383262"/>
                <a:gd name="connsiteY570" fmla="*/ 1002873 h 1025181"/>
                <a:gd name="connsiteX571" fmla="*/ 1193 w 1383262"/>
                <a:gd name="connsiteY571" fmla="*/ 1006183 h 1025181"/>
                <a:gd name="connsiteX572" fmla="*/ 2030 w 1383262"/>
                <a:gd name="connsiteY572" fmla="*/ 1008758 h 1025181"/>
                <a:gd name="connsiteX573" fmla="*/ 2698 w 1383262"/>
                <a:gd name="connsiteY573" fmla="*/ 1010413 h 1025181"/>
                <a:gd name="connsiteX574" fmla="*/ 4203 w 1383262"/>
                <a:gd name="connsiteY574" fmla="*/ 1013355 h 1025181"/>
                <a:gd name="connsiteX575" fmla="*/ 5707 w 1383262"/>
                <a:gd name="connsiteY575" fmla="*/ 1015561 h 1025181"/>
                <a:gd name="connsiteX576" fmla="*/ 8048 w 1383262"/>
                <a:gd name="connsiteY576" fmla="*/ 1018136 h 1025181"/>
                <a:gd name="connsiteX577" fmla="*/ 10221 w 1383262"/>
                <a:gd name="connsiteY577" fmla="*/ 1019975 h 1025181"/>
                <a:gd name="connsiteX578" fmla="*/ 14066 w 1383262"/>
                <a:gd name="connsiteY578" fmla="*/ 1022182 h 1025181"/>
                <a:gd name="connsiteX579" fmla="*/ 19416 w 1383262"/>
                <a:gd name="connsiteY579" fmla="*/ 1023653 h 1025181"/>
                <a:gd name="connsiteX580" fmla="*/ 20252 w 1383262"/>
                <a:gd name="connsiteY580" fmla="*/ 1023837 h 1025181"/>
                <a:gd name="connsiteX581" fmla="*/ 23094 w 1383262"/>
                <a:gd name="connsiteY581" fmla="*/ 1023837 h 1025181"/>
                <a:gd name="connsiteX582" fmla="*/ 23261 w 1383262"/>
                <a:gd name="connsiteY582" fmla="*/ 1023837 h 1025181"/>
                <a:gd name="connsiteX583" fmla="*/ 32121 w 1383262"/>
                <a:gd name="connsiteY583" fmla="*/ 1020527 h 1025181"/>
                <a:gd name="connsiteX584" fmla="*/ 35298 w 1383262"/>
                <a:gd name="connsiteY584" fmla="*/ 1017768 h 1025181"/>
                <a:gd name="connsiteX585" fmla="*/ 37471 w 1383262"/>
                <a:gd name="connsiteY585" fmla="*/ 1015194 h 1025181"/>
                <a:gd name="connsiteX586" fmla="*/ 38976 w 1383262"/>
                <a:gd name="connsiteY586" fmla="*/ 1012804 h 1025181"/>
                <a:gd name="connsiteX587" fmla="*/ 40480 w 1383262"/>
                <a:gd name="connsiteY587" fmla="*/ 1009861 h 1025181"/>
                <a:gd name="connsiteX588" fmla="*/ 41316 w 1383262"/>
                <a:gd name="connsiteY588" fmla="*/ 1007839 h 1025181"/>
                <a:gd name="connsiteX589" fmla="*/ 41985 w 1383262"/>
                <a:gd name="connsiteY589" fmla="*/ 1005632 h 1025181"/>
                <a:gd name="connsiteX590" fmla="*/ 42821 w 1383262"/>
                <a:gd name="connsiteY590" fmla="*/ 1001770 h 1025181"/>
                <a:gd name="connsiteX591" fmla="*/ 42988 w 1383262"/>
                <a:gd name="connsiteY591" fmla="*/ 999747 h 1025181"/>
                <a:gd name="connsiteX592" fmla="*/ 42821 w 1383262"/>
                <a:gd name="connsiteY592" fmla="*/ 999931 h 1025181"/>
                <a:gd name="connsiteX593" fmla="*/ 42821 w 1383262"/>
                <a:gd name="connsiteY593" fmla="*/ 996069 h 1025181"/>
                <a:gd name="connsiteX594" fmla="*/ 42821 w 1383262"/>
                <a:gd name="connsiteY594" fmla="*/ 995885 h 1025181"/>
                <a:gd name="connsiteX595" fmla="*/ 42487 w 1383262"/>
                <a:gd name="connsiteY595" fmla="*/ 992759 h 1025181"/>
                <a:gd name="connsiteX596" fmla="*/ 41651 w 1383262"/>
                <a:gd name="connsiteY596" fmla="*/ 989081 h 1025181"/>
                <a:gd name="connsiteX597" fmla="*/ 40982 w 1383262"/>
                <a:gd name="connsiteY597" fmla="*/ 986874 h 1025181"/>
                <a:gd name="connsiteX598" fmla="*/ 39478 w 1383262"/>
                <a:gd name="connsiteY598" fmla="*/ 983380 h 1025181"/>
                <a:gd name="connsiteX599" fmla="*/ 37973 w 1383262"/>
                <a:gd name="connsiteY599" fmla="*/ 980806 h 1025181"/>
                <a:gd name="connsiteX600" fmla="*/ 36468 w 1383262"/>
                <a:gd name="connsiteY600" fmla="*/ 978783 h 1025181"/>
                <a:gd name="connsiteX601" fmla="*/ 34964 w 1383262"/>
                <a:gd name="connsiteY601" fmla="*/ 977128 h 1025181"/>
                <a:gd name="connsiteX602" fmla="*/ 31787 w 1383262"/>
                <a:gd name="connsiteY602" fmla="*/ 974554 h 1025181"/>
                <a:gd name="connsiteX603" fmla="*/ 29113 w 1383262"/>
                <a:gd name="connsiteY603" fmla="*/ 973083 h 1025181"/>
                <a:gd name="connsiteX604" fmla="*/ 22592 w 1383262"/>
                <a:gd name="connsiteY604" fmla="*/ 971427 h 1025181"/>
                <a:gd name="connsiteX605" fmla="*/ 308805 w 1383262"/>
                <a:gd name="connsiteY605" fmla="*/ 971427 h 1025181"/>
                <a:gd name="connsiteX606" fmla="*/ 300446 w 1383262"/>
                <a:gd name="connsiteY606" fmla="*/ 972898 h 1025181"/>
                <a:gd name="connsiteX607" fmla="*/ 295431 w 1383262"/>
                <a:gd name="connsiteY607" fmla="*/ 976025 h 1025181"/>
                <a:gd name="connsiteX608" fmla="*/ 293091 w 1383262"/>
                <a:gd name="connsiteY608" fmla="*/ 978231 h 1025181"/>
                <a:gd name="connsiteX609" fmla="*/ 290750 w 1383262"/>
                <a:gd name="connsiteY609" fmla="*/ 981174 h 1025181"/>
                <a:gd name="connsiteX610" fmla="*/ 289412 w 1383262"/>
                <a:gd name="connsiteY610" fmla="*/ 983564 h 1025181"/>
                <a:gd name="connsiteX611" fmla="*/ 287908 w 1383262"/>
                <a:gd name="connsiteY611" fmla="*/ 987242 h 1025181"/>
                <a:gd name="connsiteX612" fmla="*/ 287239 w 1383262"/>
                <a:gd name="connsiteY612" fmla="*/ 989633 h 1025181"/>
                <a:gd name="connsiteX613" fmla="*/ 286571 w 1383262"/>
                <a:gd name="connsiteY613" fmla="*/ 993127 h 1025181"/>
                <a:gd name="connsiteX614" fmla="*/ 286737 w 1383262"/>
                <a:gd name="connsiteY614" fmla="*/ 1002873 h 1025181"/>
                <a:gd name="connsiteX615" fmla="*/ 287406 w 1383262"/>
                <a:gd name="connsiteY615" fmla="*/ 1006183 h 1025181"/>
                <a:gd name="connsiteX616" fmla="*/ 288243 w 1383262"/>
                <a:gd name="connsiteY616" fmla="*/ 1008758 h 1025181"/>
                <a:gd name="connsiteX617" fmla="*/ 288911 w 1383262"/>
                <a:gd name="connsiteY617" fmla="*/ 1010413 h 1025181"/>
                <a:gd name="connsiteX618" fmla="*/ 290416 w 1383262"/>
                <a:gd name="connsiteY618" fmla="*/ 1013355 h 1025181"/>
                <a:gd name="connsiteX619" fmla="*/ 291920 w 1383262"/>
                <a:gd name="connsiteY619" fmla="*/ 1015561 h 1025181"/>
                <a:gd name="connsiteX620" fmla="*/ 294260 w 1383262"/>
                <a:gd name="connsiteY620" fmla="*/ 1018136 h 1025181"/>
                <a:gd name="connsiteX621" fmla="*/ 296434 w 1383262"/>
                <a:gd name="connsiteY621" fmla="*/ 1019975 h 1025181"/>
                <a:gd name="connsiteX622" fmla="*/ 300279 w 1383262"/>
                <a:gd name="connsiteY622" fmla="*/ 1022182 h 1025181"/>
                <a:gd name="connsiteX623" fmla="*/ 305629 w 1383262"/>
                <a:gd name="connsiteY623" fmla="*/ 1023653 h 1025181"/>
                <a:gd name="connsiteX624" fmla="*/ 306465 w 1383262"/>
                <a:gd name="connsiteY624" fmla="*/ 1023837 h 1025181"/>
                <a:gd name="connsiteX625" fmla="*/ 309307 w 1383262"/>
                <a:gd name="connsiteY625" fmla="*/ 1023837 h 1025181"/>
                <a:gd name="connsiteX626" fmla="*/ 309474 w 1383262"/>
                <a:gd name="connsiteY626" fmla="*/ 1023837 h 1025181"/>
                <a:gd name="connsiteX627" fmla="*/ 318334 w 1383262"/>
                <a:gd name="connsiteY627" fmla="*/ 1020527 h 1025181"/>
                <a:gd name="connsiteX628" fmla="*/ 321510 w 1383262"/>
                <a:gd name="connsiteY628" fmla="*/ 1017768 h 1025181"/>
                <a:gd name="connsiteX629" fmla="*/ 323684 w 1383262"/>
                <a:gd name="connsiteY629" fmla="*/ 1015194 h 1025181"/>
                <a:gd name="connsiteX630" fmla="*/ 325189 w 1383262"/>
                <a:gd name="connsiteY630" fmla="*/ 1012804 h 1025181"/>
                <a:gd name="connsiteX631" fmla="*/ 326693 w 1383262"/>
                <a:gd name="connsiteY631" fmla="*/ 1009861 h 1025181"/>
                <a:gd name="connsiteX632" fmla="*/ 327529 w 1383262"/>
                <a:gd name="connsiteY632" fmla="*/ 1007839 h 1025181"/>
                <a:gd name="connsiteX633" fmla="*/ 328198 w 1383262"/>
                <a:gd name="connsiteY633" fmla="*/ 1005632 h 1025181"/>
                <a:gd name="connsiteX634" fmla="*/ 329034 w 1383262"/>
                <a:gd name="connsiteY634" fmla="*/ 1001770 h 1025181"/>
                <a:gd name="connsiteX635" fmla="*/ 329201 w 1383262"/>
                <a:gd name="connsiteY635" fmla="*/ 999747 h 1025181"/>
                <a:gd name="connsiteX636" fmla="*/ 329034 w 1383262"/>
                <a:gd name="connsiteY636" fmla="*/ 999931 h 1025181"/>
                <a:gd name="connsiteX637" fmla="*/ 329034 w 1383262"/>
                <a:gd name="connsiteY637" fmla="*/ 996069 h 1025181"/>
                <a:gd name="connsiteX638" fmla="*/ 329034 w 1383262"/>
                <a:gd name="connsiteY638" fmla="*/ 995885 h 1025181"/>
                <a:gd name="connsiteX639" fmla="*/ 328699 w 1383262"/>
                <a:gd name="connsiteY639" fmla="*/ 992759 h 1025181"/>
                <a:gd name="connsiteX640" fmla="*/ 327864 w 1383262"/>
                <a:gd name="connsiteY640" fmla="*/ 989081 h 1025181"/>
                <a:gd name="connsiteX641" fmla="*/ 327195 w 1383262"/>
                <a:gd name="connsiteY641" fmla="*/ 986874 h 1025181"/>
                <a:gd name="connsiteX642" fmla="*/ 325691 w 1383262"/>
                <a:gd name="connsiteY642" fmla="*/ 983380 h 1025181"/>
                <a:gd name="connsiteX643" fmla="*/ 324185 w 1383262"/>
                <a:gd name="connsiteY643" fmla="*/ 980806 h 1025181"/>
                <a:gd name="connsiteX644" fmla="*/ 322681 w 1383262"/>
                <a:gd name="connsiteY644" fmla="*/ 978783 h 1025181"/>
                <a:gd name="connsiteX645" fmla="*/ 321177 w 1383262"/>
                <a:gd name="connsiteY645" fmla="*/ 977128 h 1025181"/>
                <a:gd name="connsiteX646" fmla="*/ 318000 w 1383262"/>
                <a:gd name="connsiteY646" fmla="*/ 974554 h 1025181"/>
                <a:gd name="connsiteX647" fmla="*/ 315325 w 1383262"/>
                <a:gd name="connsiteY647" fmla="*/ 973083 h 1025181"/>
                <a:gd name="connsiteX648" fmla="*/ 308805 w 1383262"/>
                <a:gd name="connsiteY648" fmla="*/ 971427 h 1025181"/>
                <a:gd name="connsiteX649" fmla="*/ 543873 w 1383262"/>
                <a:gd name="connsiteY649" fmla="*/ 971427 h 1025181"/>
                <a:gd name="connsiteX650" fmla="*/ 535515 w 1383262"/>
                <a:gd name="connsiteY650" fmla="*/ 972898 h 1025181"/>
                <a:gd name="connsiteX651" fmla="*/ 530499 w 1383262"/>
                <a:gd name="connsiteY651" fmla="*/ 976025 h 1025181"/>
                <a:gd name="connsiteX652" fmla="*/ 528159 w 1383262"/>
                <a:gd name="connsiteY652" fmla="*/ 978231 h 1025181"/>
                <a:gd name="connsiteX653" fmla="*/ 525818 w 1383262"/>
                <a:gd name="connsiteY653" fmla="*/ 981174 h 1025181"/>
                <a:gd name="connsiteX654" fmla="*/ 524481 w 1383262"/>
                <a:gd name="connsiteY654" fmla="*/ 983564 h 1025181"/>
                <a:gd name="connsiteX655" fmla="*/ 522976 w 1383262"/>
                <a:gd name="connsiteY655" fmla="*/ 987242 h 1025181"/>
                <a:gd name="connsiteX656" fmla="*/ 522308 w 1383262"/>
                <a:gd name="connsiteY656" fmla="*/ 989633 h 1025181"/>
                <a:gd name="connsiteX657" fmla="*/ 521639 w 1383262"/>
                <a:gd name="connsiteY657" fmla="*/ 993127 h 1025181"/>
                <a:gd name="connsiteX658" fmla="*/ 521806 w 1383262"/>
                <a:gd name="connsiteY658" fmla="*/ 1002873 h 1025181"/>
                <a:gd name="connsiteX659" fmla="*/ 522474 w 1383262"/>
                <a:gd name="connsiteY659" fmla="*/ 1006183 h 1025181"/>
                <a:gd name="connsiteX660" fmla="*/ 523311 w 1383262"/>
                <a:gd name="connsiteY660" fmla="*/ 1008758 h 1025181"/>
                <a:gd name="connsiteX661" fmla="*/ 523980 w 1383262"/>
                <a:gd name="connsiteY661" fmla="*/ 1010413 h 1025181"/>
                <a:gd name="connsiteX662" fmla="*/ 525484 w 1383262"/>
                <a:gd name="connsiteY662" fmla="*/ 1013355 h 1025181"/>
                <a:gd name="connsiteX663" fmla="*/ 526988 w 1383262"/>
                <a:gd name="connsiteY663" fmla="*/ 1015561 h 1025181"/>
                <a:gd name="connsiteX664" fmla="*/ 529329 w 1383262"/>
                <a:gd name="connsiteY664" fmla="*/ 1018136 h 1025181"/>
                <a:gd name="connsiteX665" fmla="*/ 531503 w 1383262"/>
                <a:gd name="connsiteY665" fmla="*/ 1019975 h 1025181"/>
                <a:gd name="connsiteX666" fmla="*/ 535347 w 1383262"/>
                <a:gd name="connsiteY666" fmla="*/ 1022182 h 1025181"/>
                <a:gd name="connsiteX667" fmla="*/ 540697 w 1383262"/>
                <a:gd name="connsiteY667" fmla="*/ 1023653 h 1025181"/>
                <a:gd name="connsiteX668" fmla="*/ 541533 w 1383262"/>
                <a:gd name="connsiteY668" fmla="*/ 1023837 h 1025181"/>
                <a:gd name="connsiteX669" fmla="*/ 544375 w 1383262"/>
                <a:gd name="connsiteY669" fmla="*/ 1023837 h 1025181"/>
                <a:gd name="connsiteX670" fmla="*/ 544543 w 1383262"/>
                <a:gd name="connsiteY670" fmla="*/ 1023837 h 1025181"/>
                <a:gd name="connsiteX671" fmla="*/ 553403 w 1383262"/>
                <a:gd name="connsiteY671" fmla="*/ 1020527 h 1025181"/>
                <a:gd name="connsiteX672" fmla="*/ 556579 w 1383262"/>
                <a:gd name="connsiteY672" fmla="*/ 1017768 h 1025181"/>
                <a:gd name="connsiteX673" fmla="*/ 558753 w 1383262"/>
                <a:gd name="connsiteY673" fmla="*/ 1015194 h 1025181"/>
                <a:gd name="connsiteX674" fmla="*/ 560257 w 1383262"/>
                <a:gd name="connsiteY674" fmla="*/ 1012804 h 1025181"/>
                <a:gd name="connsiteX675" fmla="*/ 561761 w 1383262"/>
                <a:gd name="connsiteY675" fmla="*/ 1009861 h 1025181"/>
                <a:gd name="connsiteX676" fmla="*/ 562597 w 1383262"/>
                <a:gd name="connsiteY676" fmla="*/ 1007839 h 1025181"/>
                <a:gd name="connsiteX677" fmla="*/ 563267 w 1383262"/>
                <a:gd name="connsiteY677" fmla="*/ 1005632 h 1025181"/>
                <a:gd name="connsiteX678" fmla="*/ 564102 w 1383262"/>
                <a:gd name="connsiteY678" fmla="*/ 1001770 h 1025181"/>
                <a:gd name="connsiteX679" fmla="*/ 564269 w 1383262"/>
                <a:gd name="connsiteY679" fmla="*/ 999747 h 1025181"/>
                <a:gd name="connsiteX680" fmla="*/ 564102 w 1383262"/>
                <a:gd name="connsiteY680" fmla="*/ 999931 h 1025181"/>
                <a:gd name="connsiteX681" fmla="*/ 564102 w 1383262"/>
                <a:gd name="connsiteY681" fmla="*/ 996069 h 1025181"/>
                <a:gd name="connsiteX682" fmla="*/ 564102 w 1383262"/>
                <a:gd name="connsiteY682" fmla="*/ 995885 h 1025181"/>
                <a:gd name="connsiteX683" fmla="*/ 563768 w 1383262"/>
                <a:gd name="connsiteY683" fmla="*/ 992759 h 1025181"/>
                <a:gd name="connsiteX684" fmla="*/ 562932 w 1383262"/>
                <a:gd name="connsiteY684" fmla="*/ 989081 h 1025181"/>
                <a:gd name="connsiteX685" fmla="*/ 562263 w 1383262"/>
                <a:gd name="connsiteY685" fmla="*/ 986874 h 1025181"/>
                <a:gd name="connsiteX686" fmla="*/ 560759 w 1383262"/>
                <a:gd name="connsiteY686" fmla="*/ 983380 h 1025181"/>
                <a:gd name="connsiteX687" fmla="*/ 559254 w 1383262"/>
                <a:gd name="connsiteY687" fmla="*/ 980806 h 1025181"/>
                <a:gd name="connsiteX688" fmla="*/ 557749 w 1383262"/>
                <a:gd name="connsiteY688" fmla="*/ 978783 h 1025181"/>
                <a:gd name="connsiteX689" fmla="*/ 556245 w 1383262"/>
                <a:gd name="connsiteY689" fmla="*/ 977128 h 1025181"/>
                <a:gd name="connsiteX690" fmla="*/ 553069 w 1383262"/>
                <a:gd name="connsiteY690" fmla="*/ 974554 h 1025181"/>
                <a:gd name="connsiteX691" fmla="*/ 550394 w 1383262"/>
                <a:gd name="connsiteY691" fmla="*/ 973083 h 1025181"/>
                <a:gd name="connsiteX692" fmla="*/ 543873 w 1383262"/>
                <a:gd name="connsiteY692" fmla="*/ 971427 h 1025181"/>
                <a:gd name="connsiteX693" fmla="*/ 666507 w 1383262"/>
                <a:gd name="connsiteY693" fmla="*/ 971427 h 1025181"/>
                <a:gd name="connsiteX694" fmla="*/ 658148 w 1383262"/>
                <a:gd name="connsiteY694" fmla="*/ 972898 h 1025181"/>
                <a:gd name="connsiteX695" fmla="*/ 653133 w 1383262"/>
                <a:gd name="connsiteY695" fmla="*/ 976025 h 1025181"/>
                <a:gd name="connsiteX696" fmla="*/ 650792 w 1383262"/>
                <a:gd name="connsiteY696" fmla="*/ 978231 h 1025181"/>
                <a:gd name="connsiteX697" fmla="*/ 648452 w 1383262"/>
                <a:gd name="connsiteY697" fmla="*/ 981174 h 1025181"/>
                <a:gd name="connsiteX698" fmla="*/ 647114 w 1383262"/>
                <a:gd name="connsiteY698" fmla="*/ 983564 h 1025181"/>
                <a:gd name="connsiteX699" fmla="*/ 645610 w 1383262"/>
                <a:gd name="connsiteY699" fmla="*/ 987242 h 1025181"/>
                <a:gd name="connsiteX700" fmla="*/ 644941 w 1383262"/>
                <a:gd name="connsiteY700" fmla="*/ 989633 h 1025181"/>
                <a:gd name="connsiteX701" fmla="*/ 644273 w 1383262"/>
                <a:gd name="connsiteY701" fmla="*/ 993127 h 1025181"/>
                <a:gd name="connsiteX702" fmla="*/ 644439 w 1383262"/>
                <a:gd name="connsiteY702" fmla="*/ 1002873 h 1025181"/>
                <a:gd name="connsiteX703" fmla="*/ 645108 w 1383262"/>
                <a:gd name="connsiteY703" fmla="*/ 1006183 h 1025181"/>
                <a:gd name="connsiteX704" fmla="*/ 645945 w 1383262"/>
                <a:gd name="connsiteY704" fmla="*/ 1008758 h 1025181"/>
                <a:gd name="connsiteX705" fmla="*/ 646613 w 1383262"/>
                <a:gd name="connsiteY705" fmla="*/ 1010413 h 1025181"/>
                <a:gd name="connsiteX706" fmla="*/ 648118 w 1383262"/>
                <a:gd name="connsiteY706" fmla="*/ 1013355 h 1025181"/>
                <a:gd name="connsiteX707" fmla="*/ 649622 w 1383262"/>
                <a:gd name="connsiteY707" fmla="*/ 1015561 h 1025181"/>
                <a:gd name="connsiteX708" fmla="*/ 651963 w 1383262"/>
                <a:gd name="connsiteY708" fmla="*/ 1018136 h 1025181"/>
                <a:gd name="connsiteX709" fmla="*/ 654136 w 1383262"/>
                <a:gd name="connsiteY709" fmla="*/ 1019975 h 1025181"/>
                <a:gd name="connsiteX710" fmla="*/ 657981 w 1383262"/>
                <a:gd name="connsiteY710" fmla="*/ 1022182 h 1025181"/>
                <a:gd name="connsiteX711" fmla="*/ 663331 w 1383262"/>
                <a:gd name="connsiteY711" fmla="*/ 1023653 h 1025181"/>
                <a:gd name="connsiteX712" fmla="*/ 664167 w 1383262"/>
                <a:gd name="connsiteY712" fmla="*/ 1023837 h 1025181"/>
                <a:gd name="connsiteX713" fmla="*/ 667009 w 1383262"/>
                <a:gd name="connsiteY713" fmla="*/ 1023837 h 1025181"/>
                <a:gd name="connsiteX714" fmla="*/ 667176 w 1383262"/>
                <a:gd name="connsiteY714" fmla="*/ 1023837 h 1025181"/>
                <a:gd name="connsiteX715" fmla="*/ 676036 w 1383262"/>
                <a:gd name="connsiteY715" fmla="*/ 1020527 h 1025181"/>
                <a:gd name="connsiteX716" fmla="*/ 679212 w 1383262"/>
                <a:gd name="connsiteY716" fmla="*/ 1017768 h 1025181"/>
                <a:gd name="connsiteX717" fmla="*/ 681386 w 1383262"/>
                <a:gd name="connsiteY717" fmla="*/ 1015194 h 1025181"/>
                <a:gd name="connsiteX718" fmla="*/ 682891 w 1383262"/>
                <a:gd name="connsiteY718" fmla="*/ 1012804 h 1025181"/>
                <a:gd name="connsiteX719" fmla="*/ 684395 w 1383262"/>
                <a:gd name="connsiteY719" fmla="*/ 1009861 h 1025181"/>
                <a:gd name="connsiteX720" fmla="*/ 685231 w 1383262"/>
                <a:gd name="connsiteY720" fmla="*/ 1007839 h 1025181"/>
                <a:gd name="connsiteX721" fmla="*/ 685900 w 1383262"/>
                <a:gd name="connsiteY721" fmla="*/ 1005632 h 1025181"/>
                <a:gd name="connsiteX722" fmla="*/ 686736 w 1383262"/>
                <a:gd name="connsiteY722" fmla="*/ 1001770 h 1025181"/>
                <a:gd name="connsiteX723" fmla="*/ 686903 w 1383262"/>
                <a:gd name="connsiteY723" fmla="*/ 999747 h 1025181"/>
                <a:gd name="connsiteX724" fmla="*/ 686736 w 1383262"/>
                <a:gd name="connsiteY724" fmla="*/ 999931 h 1025181"/>
                <a:gd name="connsiteX725" fmla="*/ 686736 w 1383262"/>
                <a:gd name="connsiteY725" fmla="*/ 996069 h 1025181"/>
                <a:gd name="connsiteX726" fmla="*/ 686736 w 1383262"/>
                <a:gd name="connsiteY726" fmla="*/ 995885 h 1025181"/>
                <a:gd name="connsiteX727" fmla="*/ 686401 w 1383262"/>
                <a:gd name="connsiteY727" fmla="*/ 992759 h 1025181"/>
                <a:gd name="connsiteX728" fmla="*/ 685565 w 1383262"/>
                <a:gd name="connsiteY728" fmla="*/ 989081 h 1025181"/>
                <a:gd name="connsiteX729" fmla="*/ 684897 w 1383262"/>
                <a:gd name="connsiteY729" fmla="*/ 986874 h 1025181"/>
                <a:gd name="connsiteX730" fmla="*/ 683392 w 1383262"/>
                <a:gd name="connsiteY730" fmla="*/ 983380 h 1025181"/>
                <a:gd name="connsiteX731" fmla="*/ 681887 w 1383262"/>
                <a:gd name="connsiteY731" fmla="*/ 980806 h 1025181"/>
                <a:gd name="connsiteX732" fmla="*/ 680383 w 1383262"/>
                <a:gd name="connsiteY732" fmla="*/ 978783 h 1025181"/>
                <a:gd name="connsiteX733" fmla="*/ 678878 w 1383262"/>
                <a:gd name="connsiteY733" fmla="*/ 977128 h 1025181"/>
                <a:gd name="connsiteX734" fmla="*/ 675702 w 1383262"/>
                <a:gd name="connsiteY734" fmla="*/ 974554 h 1025181"/>
                <a:gd name="connsiteX735" fmla="*/ 673027 w 1383262"/>
                <a:gd name="connsiteY735" fmla="*/ 973083 h 1025181"/>
                <a:gd name="connsiteX736" fmla="*/ 666507 w 1383262"/>
                <a:gd name="connsiteY736" fmla="*/ 971427 h 1025181"/>
                <a:gd name="connsiteX737" fmla="*/ 778991 w 1383262"/>
                <a:gd name="connsiteY737" fmla="*/ 971427 h 1025181"/>
                <a:gd name="connsiteX738" fmla="*/ 770632 w 1383262"/>
                <a:gd name="connsiteY738" fmla="*/ 972898 h 1025181"/>
                <a:gd name="connsiteX739" fmla="*/ 765617 w 1383262"/>
                <a:gd name="connsiteY739" fmla="*/ 976025 h 1025181"/>
                <a:gd name="connsiteX740" fmla="*/ 763276 w 1383262"/>
                <a:gd name="connsiteY740" fmla="*/ 978231 h 1025181"/>
                <a:gd name="connsiteX741" fmla="*/ 760936 w 1383262"/>
                <a:gd name="connsiteY741" fmla="*/ 981174 h 1025181"/>
                <a:gd name="connsiteX742" fmla="*/ 759598 w 1383262"/>
                <a:gd name="connsiteY742" fmla="*/ 983564 h 1025181"/>
                <a:gd name="connsiteX743" fmla="*/ 758094 w 1383262"/>
                <a:gd name="connsiteY743" fmla="*/ 987242 h 1025181"/>
                <a:gd name="connsiteX744" fmla="*/ 757425 w 1383262"/>
                <a:gd name="connsiteY744" fmla="*/ 989633 h 1025181"/>
                <a:gd name="connsiteX745" fmla="*/ 756757 w 1383262"/>
                <a:gd name="connsiteY745" fmla="*/ 993127 h 1025181"/>
                <a:gd name="connsiteX746" fmla="*/ 756924 w 1383262"/>
                <a:gd name="connsiteY746" fmla="*/ 1002873 h 1025181"/>
                <a:gd name="connsiteX747" fmla="*/ 757593 w 1383262"/>
                <a:gd name="connsiteY747" fmla="*/ 1006183 h 1025181"/>
                <a:gd name="connsiteX748" fmla="*/ 758428 w 1383262"/>
                <a:gd name="connsiteY748" fmla="*/ 1008758 h 1025181"/>
                <a:gd name="connsiteX749" fmla="*/ 759097 w 1383262"/>
                <a:gd name="connsiteY749" fmla="*/ 1010413 h 1025181"/>
                <a:gd name="connsiteX750" fmla="*/ 760601 w 1383262"/>
                <a:gd name="connsiteY750" fmla="*/ 1013355 h 1025181"/>
                <a:gd name="connsiteX751" fmla="*/ 762106 w 1383262"/>
                <a:gd name="connsiteY751" fmla="*/ 1015561 h 1025181"/>
                <a:gd name="connsiteX752" fmla="*/ 764447 w 1383262"/>
                <a:gd name="connsiteY752" fmla="*/ 1018136 h 1025181"/>
                <a:gd name="connsiteX753" fmla="*/ 766620 w 1383262"/>
                <a:gd name="connsiteY753" fmla="*/ 1019975 h 1025181"/>
                <a:gd name="connsiteX754" fmla="*/ 770465 w 1383262"/>
                <a:gd name="connsiteY754" fmla="*/ 1022182 h 1025181"/>
                <a:gd name="connsiteX755" fmla="*/ 775815 w 1383262"/>
                <a:gd name="connsiteY755" fmla="*/ 1023653 h 1025181"/>
                <a:gd name="connsiteX756" fmla="*/ 776650 w 1383262"/>
                <a:gd name="connsiteY756" fmla="*/ 1023837 h 1025181"/>
                <a:gd name="connsiteX757" fmla="*/ 779493 w 1383262"/>
                <a:gd name="connsiteY757" fmla="*/ 1023837 h 1025181"/>
                <a:gd name="connsiteX758" fmla="*/ 779660 w 1383262"/>
                <a:gd name="connsiteY758" fmla="*/ 1023837 h 1025181"/>
                <a:gd name="connsiteX759" fmla="*/ 788521 w 1383262"/>
                <a:gd name="connsiteY759" fmla="*/ 1020527 h 1025181"/>
                <a:gd name="connsiteX760" fmla="*/ 791697 w 1383262"/>
                <a:gd name="connsiteY760" fmla="*/ 1017768 h 1025181"/>
                <a:gd name="connsiteX761" fmla="*/ 793870 w 1383262"/>
                <a:gd name="connsiteY761" fmla="*/ 1015194 h 1025181"/>
                <a:gd name="connsiteX762" fmla="*/ 795374 w 1383262"/>
                <a:gd name="connsiteY762" fmla="*/ 1012804 h 1025181"/>
                <a:gd name="connsiteX763" fmla="*/ 796880 w 1383262"/>
                <a:gd name="connsiteY763" fmla="*/ 1009861 h 1025181"/>
                <a:gd name="connsiteX764" fmla="*/ 797715 w 1383262"/>
                <a:gd name="connsiteY764" fmla="*/ 1007839 h 1025181"/>
                <a:gd name="connsiteX765" fmla="*/ 798384 w 1383262"/>
                <a:gd name="connsiteY765" fmla="*/ 1005632 h 1025181"/>
                <a:gd name="connsiteX766" fmla="*/ 799220 w 1383262"/>
                <a:gd name="connsiteY766" fmla="*/ 1001770 h 1025181"/>
                <a:gd name="connsiteX767" fmla="*/ 799387 w 1383262"/>
                <a:gd name="connsiteY767" fmla="*/ 999747 h 1025181"/>
                <a:gd name="connsiteX768" fmla="*/ 799220 w 1383262"/>
                <a:gd name="connsiteY768" fmla="*/ 999931 h 1025181"/>
                <a:gd name="connsiteX769" fmla="*/ 799220 w 1383262"/>
                <a:gd name="connsiteY769" fmla="*/ 996069 h 1025181"/>
                <a:gd name="connsiteX770" fmla="*/ 799220 w 1383262"/>
                <a:gd name="connsiteY770" fmla="*/ 995885 h 1025181"/>
                <a:gd name="connsiteX771" fmla="*/ 798885 w 1383262"/>
                <a:gd name="connsiteY771" fmla="*/ 992759 h 1025181"/>
                <a:gd name="connsiteX772" fmla="*/ 798049 w 1383262"/>
                <a:gd name="connsiteY772" fmla="*/ 989081 h 1025181"/>
                <a:gd name="connsiteX773" fmla="*/ 797381 w 1383262"/>
                <a:gd name="connsiteY773" fmla="*/ 986874 h 1025181"/>
                <a:gd name="connsiteX774" fmla="*/ 795876 w 1383262"/>
                <a:gd name="connsiteY774" fmla="*/ 983380 h 1025181"/>
                <a:gd name="connsiteX775" fmla="*/ 794372 w 1383262"/>
                <a:gd name="connsiteY775" fmla="*/ 980806 h 1025181"/>
                <a:gd name="connsiteX776" fmla="*/ 792867 w 1383262"/>
                <a:gd name="connsiteY776" fmla="*/ 978783 h 1025181"/>
                <a:gd name="connsiteX777" fmla="*/ 791362 w 1383262"/>
                <a:gd name="connsiteY777" fmla="*/ 977128 h 1025181"/>
                <a:gd name="connsiteX778" fmla="*/ 788186 w 1383262"/>
                <a:gd name="connsiteY778" fmla="*/ 974554 h 1025181"/>
                <a:gd name="connsiteX779" fmla="*/ 785511 w 1383262"/>
                <a:gd name="connsiteY779" fmla="*/ 973083 h 1025181"/>
                <a:gd name="connsiteX780" fmla="*/ 778991 w 1383262"/>
                <a:gd name="connsiteY780" fmla="*/ 971427 h 1025181"/>
                <a:gd name="connsiteX781" fmla="*/ 1014060 w 1383262"/>
                <a:gd name="connsiteY781" fmla="*/ 971427 h 1025181"/>
                <a:gd name="connsiteX782" fmla="*/ 1005700 w 1383262"/>
                <a:gd name="connsiteY782" fmla="*/ 972898 h 1025181"/>
                <a:gd name="connsiteX783" fmla="*/ 1000685 w 1383262"/>
                <a:gd name="connsiteY783" fmla="*/ 976025 h 1025181"/>
                <a:gd name="connsiteX784" fmla="*/ 998345 w 1383262"/>
                <a:gd name="connsiteY784" fmla="*/ 978231 h 1025181"/>
                <a:gd name="connsiteX785" fmla="*/ 996005 w 1383262"/>
                <a:gd name="connsiteY785" fmla="*/ 981174 h 1025181"/>
                <a:gd name="connsiteX786" fmla="*/ 994667 w 1383262"/>
                <a:gd name="connsiteY786" fmla="*/ 983564 h 1025181"/>
                <a:gd name="connsiteX787" fmla="*/ 993162 w 1383262"/>
                <a:gd name="connsiteY787" fmla="*/ 987242 h 1025181"/>
                <a:gd name="connsiteX788" fmla="*/ 992494 w 1383262"/>
                <a:gd name="connsiteY788" fmla="*/ 989633 h 1025181"/>
                <a:gd name="connsiteX789" fmla="*/ 991825 w 1383262"/>
                <a:gd name="connsiteY789" fmla="*/ 993127 h 1025181"/>
                <a:gd name="connsiteX790" fmla="*/ 991992 w 1383262"/>
                <a:gd name="connsiteY790" fmla="*/ 1002873 h 1025181"/>
                <a:gd name="connsiteX791" fmla="*/ 992661 w 1383262"/>
                <a:gd name="connsiteY791" fmla="*/ 1006183 h 1025181"/>
                <a:gd name="connsiteX792" fmla="*/ 993497 w 1383262"/>
                <a:gd name="connsiteY792" fmla="*/ 1008758 h 1025181"/>
                <a:gd name="connsiteX793" fmla="*/ 994165 w 1383262"/>
                <a:gd name="connsiteY793" fmla="*/ 1010413 h 1025181"/>
                <a:gd name="connsiteX794" fmla="*/ 995670 w 1383262"/>
                <a:gd name="connsiteY794" fmla="*/ 1013355 h 1025181"/>
                <a:gd name="connsiteX795" fmla="*/ 997175 w 1383262"/>
                <a:gd name="connsiteY795" fmla="*/ 1015561 h 1025181"/>
                <a:gd name="connsiteX796" fmla="*/ 999515 w 1383262"/>
                <a:gd name="connsiteY796" fmla="*/ 1018136 h 1025181"/>
                <a:gd name="connsiteX797" fmla="*/ 1001688 w 1383262"/>
                <a:gd name="connsiteY797" fmla="*/ 1019975 h 1025181"/>
                <a:gd name="connsiteX798" fmla="*/ 1005534 w 1383262"/>
                <a:gd name="connsiteY798" fmla="*/ 1022182 h 1025181"/>
                <a:gd name="connsiteX799" fmla="*/ 1010883 w 1383262"/>
                <a:gd name="connsiteY799" fmla="*/ 1023653 h 1025181"/>
                <a:gd name="connsiteX800" fmla="*/ 1011719 w 1383262"/>
                <a:gd name="connsiteY800" fmla="*/ 1023837 h 1025181"/>
                <a:gd name="connsiteX801" fmla="*/ 1014561 w 1383262"/>
                <a:gd name="connsiteY801" fmla="*/ 1023837 h 1025181"/>
                <a:gd name="connsiteX802" fmla="*/ 1014729 w 1383262"/>
                <a:gd name="connsiteY802" fmla="*/ 1023837 h 1025181"/>
                <a:gd name="connsiteX803" fmla="*/ 1023589 w 1383262"/>
                <a:gd name="connsiteY803" fmla="*/ 1020527 h 1025181"/>
                <a:gd name="connsiteX804" fmla="*/ 1026765 w 1383262"/>
                <a:gd name="connsiteY804" fmla="*/ 1017768 h 1025181"/>
                <a:gd name="connsiteX805" fmla="*/ 1028938 w 1383262"/>
                <a:gd name="connsiteY805" fmla="*/ 1015194 h 1025181"/>
                <a:gd name="connsiteX806" fmla="*/ 1030443 w 1383262"/>
                <a:gd name="connsiteY806" fmla="*/ 1012804 h 1025181"/>
                <a:gd name="connsiteX807" fmla="*/ 1031948 w 1383262"/>
                <a:gd name="connsiteY807" fmla="*/ 1009861 h 1025181"/>
                <a:gd name="connsiteX808" fmla="*/ 1032784 w 1383262"/>
                <a:gd name="connsiteY808" fmla="*/ 1007839 h 1025181"/>
                <a:gd name="connsiteX809" fmla="*/ 1033452 w 1383262"/>
                <a:gd name="connsiteY809" fmla="*/ 1005632 h 1025181"/>
                <a:gd name="connsiteX810" fmla="*/ 1034288 w 1383262"/>
                <a:gd name="connsiteY810" fmla="*/ 1001770 h 1025181"/>
                <a:gd name="connsiteX811" fmla="*/ 1034456 w 1383262"/>
                <a:gd name="connsiteY811" fmla="*/ 999747 h 1025181"/>
                <a:gd name="connsiteX812" fmla="*/ 1034288 w 1383262"/>
                <a:gd name="connsiteY812" fmla="*/ 999931 h 1025181"/>
                <a:gd name="connsiteX813" fmla="*/ 1034288 w 1383262"/>
                <a:gd name="connsiteY813" fmla="*/ 996069 h 1025181"/>
                <a:gd name="connsiteX814" fmla="*/ 1034288 w 1383262"/>
                <a:gd name="connsiteY814" fmla="*/ 995885 h 1025181"/>
                <a:gd name="connsiteX815" fmla="*/ 1033954 w 1383262"/>
                <a:gd name="connsiteY815" fmla="*/ 992759 h 1025181"/>
                <a:gd name="connsiteX816" fmla="*/ 1033118 w 1383262"/>
                <a:gd name="connsiteY816" fmla="*/ 989081 h 1025181"/>
                <a:gd name="connsiteX817" fmla="*/ 1032449 w 1383262"/>
                <a:gd name="connsiteY817" fmla="*/ 986874 h 1025181"/>
                <a:gd name="connsiteX818" fmla="*/ 1030945 w 1383262"/>
                <a:gd name="connsiteY818" fmla="*/ 983380 h 1025181"/>
                <a:gd name="connsiteX819" fmla="*/ 1029440 w 1383262"/>
                <a:gd name="connsiteY819" fmla="*/ 980806 h 1025181"/>
                <a:gd name="connsiteX820" fmla="*/ 1027935 w 1383262"/>
                <a:gd name="connsiteY820" fmla="*/ 978783 h 1025181"/>
                <a:gd name="connsiteX821" fmla="*/ 1026431 w 1383262"/>
                <a:gd name="connsiteY821" fmla="*/ 977128 h 1025181"/>
                <a:gd name="connsiteX822" fmla="*/ 1023255 w 1383262"/>
                <a:gd name="connsiteY822" fmla="*/ 974554 h 1025181"/>
                <a:gd name="connsiteX823" fmla="*/ 1020580 w 1383262"/>
                <a:gd name="connsiteY823" fmla="*/ 973083 h 1025181"/>
                <a:gd name="connsiteX824" fmla="*/ 1014060 w 1383262"/>
                <a:gd name="connsiteY824" fmla="*/ 971427 h 1025181"/>
                <a:gd name="connsiteX825" fmla="*/ 1136693 w 1383262"/>
                <a:gd name="connsiteY825" fmla="*/ 971427 h 1025181"/>
                <a:gd name="connsiteX826" fmla="*/ 1128335 w 1383262"/>
                <a:gd name="connsiteY826" fmla="*/ 972898 h 1025181"/>
                <a:gd name="connsiteX827" fmla="*/ 1123319 w 1383262"/>
                <a:gd name="connsiteY827" fmla="*/ 976025 h 1025181"/>
                <a:gd name="connsiteX828" fmla="*/ 1120978 w 1383262"/>
                <a:gd name="connsiteY828" fmla="*/ 978231 h 1025181"/>
                <a:gd name="connsiteX829" fmla="*/ 1118638 w 1383262"/>
                <a:gd name="connsiteY829" fmla="*/ 981174 h 1025181"/>
                <a:gd name="connsiteX830" fmla="*/ 1117300 w 1383262"/>
                <a:gd name="connsiteY830" fmla="*/ 983564 h 1025181"/>
                <a:gd name="connsiteX831" fmla="*/ 1115796 w 1383262"/>
                <a:gd name="connsiteY831" fmla="*/ 987242 h 1025181"/>
                <a:gd name="connsiteX832" fmla="*/ 1115127 w 1383262"/>
                <a:gd name="connsiteY832" fmla="*/ 989633 h 1025181"/>
                <a:gd name="connsiteX833" fmla="*/ 1114459 w 1383262"/>
                <a:gd name="connsiteY833" fmla="*/ 993127 h 1025181"/>
                <a:gd name="connsiteX834" fmla="*/ 1114626 w 1383262"/>
                <a:gd name="connsiteY834" fmla="*/ 1002873 h 1025181"/>
                <a:gd name="connsiteX835" fmla="*/ 1115294 w 1383262"/>
                <a:gd name="connsiteY835" fmla="*/ 1006183 h 1025181"/>
                <a:gd name="connsiteX836" fmla="*/ 1116130 w 1383262"/>
                <a:gd name="connsiteY836" fmla="*/ 1008758 h 1025181"/>
                <a:gd name="connsiteX837" fmla="*/ 1116799 w 1383262"/>
                <a:gd name="connsiteY837" fmla="*/ 1010413 h 1025181"/>
                <a:gd name="connsiteX838" fmla="*/ 1118303 w 1383262"/>
                <a:gd name="connsiteY838" fmla="*/ 1013355 h 1025181"/>
                <a:gd name="connsiteX839" fmla="*/ 1119809 w 1383262"/>
                <a:gd name="connsiteY839" fmla="*/ 1015561 h 1025181"/>
                <a:gd name="connsiteX840" fmla="*/ 1122149 w 1383262"/>
                <a:gd name="connsiteY840" fmla="*/ 1018136 h 1025181"/>
                <a:gd name="connsiteX841" fmla="*/ 1124322 w 1383262"/>
                <a:gd name="connsiteY841" fmla="*/ 1019975 h 1025181"/>
                <a:gd name="connsiteX842" fmla="*/ 1128167 w 1383262"/>
                <a:gd name="connsiteY842" fmla="*/ 1022182 h 1025181"/>
                <a:gd name="connsiteX843" fmla="*/ 1133517 w 1383262"/>
                <a:gd name="connsiteY843" fmla="*/ 1023653 h 1025181"/>
                <a:gd name="connsiteX844" fmla="*/ 1134352 w 1383262"/>
                <a:gd name="connsiteY844" fmla="*/ 1023837 h 1025181"/>
                <a:gd name="connsiteX845" fmla="*/ 1137195 w 1383262"/>
                <a:gd name="connsiteY845" fmla="*/ 1023837 h 1025181"/>
                <a:gd name="connsiteX846" fmla="*/ 1137362 w 1383262"/>
                <a:gd name="connsiteY846" fmla="*/ 1023837 h 1025181"/>
                <a:gd name="connsiteX847" fmla="*/ 1146223 w 1383262"/>
                <a:gd name="connsiteY847" fmla="*/ 1020527 h 1025181"/>
                <a:gd name="connsiteX848" fmla="*/ 1149399 w 1383262"/>
                <a:gd name="connsiteY848" fmla="*/ 1017768 h 1025181"/>
                <a:gd name="connsiteX849" fmla="*/ 1151572 w 1383262"/>
                <a:gd name="connsiteY849" fmla="*/ 1015194 h 1025181"/>
                <a:gd name="connsiteX850" fmla="*/ 1153076 w 1383262"/>
                <a:gd name="connsiteY850" fmla="*/ 1012804 h 1025181"/>
                <a:gd name="connsiteX851" fmla="*/ 1154582 w 1383262"/>
                <a:gd name="connsiteY851" fmla="*/ 1009861 h 1025181"/>
                <a:gd name="connsiteX852" fmla="*/ 1155417 w 1383262"/>
                <a:gd name="connsiteY852" fmla="*/ 1007839 h 1025181"/>
                <a:gd name="connsiteX853" fmla="*/ 1156086 w 1383262"/>
                <a:gd name="connsiteY853" fmla="*/ 1005632 h 1025181"/>
                <a:gd name="connsiteX854" fmla="*/ 1156922 w 1383262"/>
                <a:gd name="connsiteY854" fmla="*/ 1001770 h 1025181"/>
                <a:gd name="connsiteX855" fmla="*/ 1157089 w 1383262"/>
                <a:gd name="connsiteY855" fmla="*/ 999747 h 1025181"/>
                <a:gd name="connsiteX856" fmla="*/ 1156922 w 1383262"/>
                <a:gd name="connsiteY856" fmla="*/ 999931 h 1025181"/>
                <a:gd name="connsiteX857" fmla="*/ 1156922 w 1383262"/>
                <a:gd name="connsiteY857" fmla="*/ 996069 h 1025181"/>
                <a:gd name="connsiteX858" fmla="*/ 1156922 w 1383262"/>
                <a:gd name="connsiteY858" fmla="*/ 995885 h 1025181"/>
                <a:gd name="connsiteX859" fmla="*/ 1156587 w 1383262"/>
                <a:gd name="connsiteY859" fmla="*/ 992759 h 1025181"/>
                <a:gd name="connsiteX860" fmla="*/ 1155751 w 1383262"/>
                <a:gd name="connsiteY860" fmla="*/ 989081 h 1025181"/>
                <a:gd name="connsiteX861" fmla="*/ 1155083 w 1383262"/>
                <a:gd name="connsiteY861" fmla="*/ 986874 h 1025181"/>
                <a:gd name="connsiteX862" fmla="*/ 1153578 w 1383262"/>
                <a:gd name="connsiteY862" fmla="*/ 983380 h 1025181"/>
                <a:gd name="connsiteX863" fmla="*/ 1152074 w 1383262"/>
                <a:gd name="connsiteY863" fmla="*/ 980806 h 1025181"/>
                <a:gd name="connsiteX864" fmla="*/ 1150569 w 1383262"/>
                <a:gd name="connsiteY864" fmla="*/ 978783 h 1025181"/>
                <a:gd name="connsiteX865" fmla="*/ 1149064 w 1383262"/>
                <a:gd name="connsiteY865" fmla="*/ 977128 h 1025181"/>
                <a:gd name="connsiteX866" fmla="*/ 1145888 w 1383262"/>
                <a:gd name="connsiteY866" fmla="*/ 974554 h 1025181"/>
                <a:gd name="connsiteX867" fmla="*/ 1143213 w 1383262"/>
                <a:gd name="connsiteY867" fmla="*/ 973083 h 1025181"/>
                <a:gd name="connsiteX868" fmla="*/ 1136693 w 1383262"/>
                <a:gd name="connsiteY868" fmla="*/ 971427 h 1025181"/>
                <a:gd name="connsiteX869" fmla="*/ 1300321 w 1383262"/>
                <a:gd name="connsiteY869" fmla="*/ 971427 h 1025181"/>
                <a:gd name="connsiteX870" fmla="*/ 1291962 w 1383262"/>
                <a:gd name="connsiteY870" fmla="*/ 972898 h 1025181"/>
                <a:gd name="connsiteX871" fmla="*/ 1286946 w 1383262"/>
                <a:gd name="connsiteY871" fmla="*/ 976025 h 1025181"/>
                <a:gd name="connsiteX872" fmla="*/ 1284606 w 1383262"/>
                <a:gd name="connsiteY872" fmla="*/ 978231 h 1025181"/>
                <a:gd name="connsiteX873" fmla="*/ 1282266 w 1383262"/>
                <a:gd name="connsiteY873" fmla="*/ 981174 h 1025181"/>
                <a:gd name="connsiteX874" fmla="*/ 1280928 w 1383262"/>
                <a:gd name="connsiteY874" fmla="*/ 983564 h 1025181"/>
                <a:gd name="connsiteX875" fmla="*/ 1279423 w 1383262"/>
                <a:gd name="connsiteY875" fmla="*/ 987242 h 1025181"/>
                <a:gd name="connsiteX876" fmla="*/ 1278755 w 1383262"/>
                <a:gd name="connsiteY876" fmla="*/ 989633 h 1025181"/>
                <a:gd name="connsiteX877" fmla="*/ 1278086 w 1383262"/>
                <a:gd name="connsiteY877" fmla="*/ 993127 h 1025181"/>
                <a:gd name="connsiteX878" fmla="*/ 1278254 w 1383262"/>
                <a:gd name="connsiteY878" fmla="*/ 1002873 h 1025181"/>
                <a:gd name="connsiteX879" fmla="*/ 1278922 w 1383262"/>
                <a:gd name="connsiteY879" fmla="*/ 1006183 h 1025181"/>
                <a:gd name="connsiteX880" fmla="*/ 1279758 w 1383262"/>
                <a:gd name="connsiteY880" fmla="*/ 1008758 h 1025181"/>
                <a:gd name="connsiteX881" fmla="*/ 1280427 w 1383262"/>
                <a:gd name="connsiteY881" fmla="*/ 1010413 h 1025181"/>
                <a:gd name="connsiteX882" fmla="*/ 1281931 w 1383262"/>
                <a:gd name="connsiteY882" fmla="*/ 1013355 h 1025181"/>
                <a:gd name="connsiteX883" fmla="*/ 1283436 w 1383262"/>
                <a:gd name="connsiteY883" fmla="*/ 1015561 h 1025181"/>
                <a:gd name="connsiteX884" fmla="*/ 1285776 w 1383262"/>
                <a:gd name="connsiteY884" fmla="*/ 1018136 h 1025181"/>
                <a:gd name="connsiteX885" fmla="*/ 1287949 w 1383262"/>
                <a:gd name="connsiteY885" fmla="*/ 1019975 h 1025181"/>
                <a:gd name="connsiteX886" fmla="*/ 1291795 w 1383262"/>
                <a:gd name="connsiteY886" fmla="*/ 1022182 h 1025181"/>
                <a:gd name="connsiteX887" fmla="*/ 1297145 w 1383262"/>
                <a:gd name="connsiteY887" fmla="*/ 1023653 h 1025181"/>
                <a:gd name="connsiteX888" fmla="*/ 1297980 w 1383262"/>
                <a:gd name="connsiteY888" fmla="*/ 1023837 h 1025181"/>
                <a:gd name="connsiteX889" fmla="*/ 1300822 w 1383262"/>
                <a:gd name="connsiteY889" fmla="*/ 1023837 h 1025181"/>
                <a:gd name="connsiteX890" fmla="*/ 1300990 w 1383262"/>
                <a:gd name="connsiteY890" fmla="*/ 1023837 h 1025181"/>
                <a:gd name="connsiteX891" fmla="*/ 1309850 w 1383262"/>
                <a:gd name="connsiteY891" fmla="*/ 1020527 h 1025181"/>
                <a:gd name="connsiteX892" fmla="*/ 1313027 w 1383262"/>
                <a:gd name="connsiteY892" fmla="*/ 1017768 h 1025181"/>
                <a:gd name="connsiteX893" fmla="*/ 1315200 w 1383262"/>
                <a:gd name="connsiteY893" fmla="*/ 1015194 h 1025181"/>
                <a:gd name="connsiteX894" fmla="*/ 1316704 w 1383262"/>
                <a:gd name="connsiteY894" fmla="*/ 1012804 h 1025181"/>
                <a:gd name="connsiteX895" fmla="*/ 1318209 w 1383262"/>
                <a:gd name="connsiteY895" fmla="*/ 1009861 h 1025181"/>
                <a:gd name="connsiteX896" fmla="*/ 1319045 w 1383262"/>
                <a:gd name="connsiteY896" fmla="*/ 1007839 h 1025181"/>
                <a:gd name="connsiteX897" fmla="*/ 1319714 w 1383262"/>
                <a:gd name="connsiteY897" fmla="*/ 1005632 h 1025181"/>
                <a:gd name="connsiteX898" fmla="*/ 1320549 w 1383262"/>
                <a:gd name="connsiteY898" fmla="*/ 1001770 h 1025181"/>
                <a:gd name="connsiteX899" fmla="*/ 1320717 w 1383262"/>
                <a:gd name="connsiteY899" fmla="*/ 999747 h 1025181"/>
                <a:gd name="connsiteX900" fmla="*/ 1320549 w 1383262"/>
                <a:gd name="connsiteY900" fmla="*/ 999931 h 1025181"/>
                <a:gd name="connsiteX901" fmla="*/ 1320549 w 1383262"/>
                <a:gd name="connsiteY901" fmla="*/ 996069 h 1025181"/>
                <a:gd name="connsiteX902" fmla="*/ 1320549 w 1383262"/>
                <a:gd name="connsiteY902" fmla="*/ 995885 h 1025181"/>
                <a:gd name="connsiteX903" fmla="*/ 1320215 w 1383262"/>
                <a:gd name="connsiteY903" fmla="*/ 992759 h 1025181"/>
                <a:gd name="connsiteX904" fmla="*/ 1319379 w 1383262"/>
                <a:gd name="connsiteY904" fmla="*/ 989081 h 1025181"/>
                <a:gd name="connsiteX905" fmla="*/ 1318710 w 1383262"/>
                <a:gd name="connsiteY905" fmla="*/ 986874 h 1025181"/>
                <a:gd name="connsiteX906" fmla="*/ 1317206 w 1383262"/>
                <a:gd name="connsiteY906" fmla="*/ 983380 h 1025181"/>
                <a:gd name="connsiteX907" fmla="*/ 1315702 w 1383262"/>
                <a:gd name="connsiteY907" fmla="*/ 980806 h 1025181"/>
                <a:gd name="connsiteX908" fmla="*/ 1314196 w 1383262"/>
                <a:gd name="connsiteY908" fmla="*/ 978783 h 1025181"/>
                <a:gd name="connsiteX909" fmla="*/ 1312692 w 1383262"/>
                <a:gd name="connsiteY909" fmla="*/ 977128 h 1025181"/>
                <a:gd name="connsiteX910" fmla="*/ 1309516 w 1383262"/>
                <a:gd name="connsiteY910" fmla="*/ 974554 h 1025181"/>
                <a:gd name="connsiteX911" fmla="*/ 1306841 w 1383262"/>
                <a:gd name="connsiteY911" fmla="*/ 973083 h 1025181"/>
                <a:gd name="connsiteX912" fmla="*/ 1300321 w 1383262"/>
                <a:gd name="connsiteY912" fmla="*/ 971427 h 1025181"/>
                <a:gd name="connsiteX913" fmla="*/ 134134 w 1383262"/>
                <a:gd name="connsiteY913" fmla="*/ 965832 h 1025181"/>
                <a:gd name="connsiteX914" fmla="*/ 117270 w 1383262"/>
                <a:gd name="connsiteY914" fmla="*/ 979577 h 1025181"/>
                <a:gd name="connsiteX915" fmla="*/ 116944 w 1383262"/>
                <a:gd name="connsiteY915" fmla="*/ 982813 h 1025181"/>
                <a:gd name="connsiteX916" fmla="*/ 115979 w 1383262"/>
                <a:gd name="connsiteY916" fmla="*/ 982813 h 1025181"/>
                <a:gd name="connsiteX917" fmla="*/ 111590 w 1383262"/>
                <a:gd name="connsiteY917" fmla="*/ 987089 h 1025181"/>
                <a:gd name="connsiteX918" fmla="*/ 111590 w 1383262"/>
                <a:gd name="connsiteY918" fmla="*/ 1020906 h 1025181"/>
                <a:gd name="connsiteX919" fmla="*/ 115979 w 1383262"/>
                <a:gd name="connsiteY919" fmla="*/ 1025181 h 1025181"/>
                <a:gd name="connsiteX920" fmla="*/ 152289 w 1383262"/>
                <a:gd name="connsiteY920" fmla="*/ 1025181 h 1025181"/>
                <a:gd name="connsiteX921" fmla="*/ 156678 w 1383262"/>
                <a:gd name="connsiteY921" fmla="*/ 1020906 h 1025181"/>
                <a:gd name="connsiteX922" fmla="*/ 156678 w 1383262"/>
                <a:gd name="connsiteY922" fmla="*/ 987089 h 1025181"/>
                <a:gd name="connsiteX923" fmla="*/ 152289 w 1383262"/>
                <a:gd name="connsiteY923" fmla="*/ 982813 h 1025181"/>
                <a:gd name="connsiteX924" fmla="*/ 151722 w 1383262"/>
                <a:gd name="connsiteY924" fmla="*/ 982813 h 1025181"/>
                <a:gd name="connsiteX925" fmla="*/ 151324 w 1383262"/>
                <a:gd name="connsiteY925" fmla="*/ 982813 h 1025181"/>
                <a:gd name="connsiteX926" fmla="*/ 150998 w 1383262"/>
                <a:gd name="connsiteY926" fmla="*/ 979577 h 1025181"/>
                <a:gd name="connsiteX927" fmla="*/ 134134 w 1383262"/>
                <a:gd name="connsiteY927" fmla="*/ 965832 h 1025181"/>
                <a:gd name="connsiteX928" fmla="*/ 195426 w 1383262"/>
                <a:gd name="connsiteY928" fmla="*/ 965832 h 1025181"/>
                <a:gd name="connsiteX929" fmla="*/ 178561 w 1383262"/>
                <a:gd name="connsiteY929" fmla="*/ 979577 h 1025181"/>
                <a:gd name="connsiteX930" fmla="*/ 178236 w 1383262"/>
                <a:gd name="connsiteY930" fmla="*/ 982813 h 1025181"/>
                <a:gd name="connsiteX931" fmla="*/ 177271 w 1383262"/>
                <a:gd name="connsiteY931" fmla="*/ 982813 h 1025181"/>
                <a:gd name="connsiteX932" fmla="*/ 172882 w 1383262"/>
                <a:gd name="connsiteY932" fmla="*/ 987089 h 1025181"/>
                <a:gd name="connsiteX933" fmla="*/ 172882 w 1383262"/>
                <a:gd name="connsiteY933" fmla="*/ 1020906 h 1025181"/>
                <a:gd name="connsiteX934" fmla="*/ 177271 w 1383262"/>
                <a:gd name="connsiteY934" fmla="*/ 1025181 h 1025181"/>
                <a:gd name="connsiteX935" fmla="*/ 213581 w 1383262"/>
                <a:gd name="connsiteY935" fmla="*/ 1025181 h 1025181"/>
                <a:gd name="connsiteX936" fmla="*/ 217970 w 1383262"/>
                <a:gd name="connsiteY936" fmla="*/ 1020906 h 1025181"/>
                <a:gd name="connsiteX937" fmla="*/ 217970 w 1383262"/>
                <a:gd name="connsiteY937" fmla="*/ 987089 h 1025181"/>
                <a:gd name="connsiteX938" fmla="*/ 213581 w 1383262"/>
                <a:gd name="connsiteY938" fmla="*/ 982813 h 1025181"/>
                <a:gd name="connsiteX939" fmla="*/ 213013 w 1383262"/>
                <a:gd name="connsiteY939" fmla="*/ 982813 h 1025181"/>
                <a:gd name="connsiteX940" fmla="*/ 212616 w 1383262"/>
                <a:gd name="connsiteY940" fmla="*/ 982813 h 1025181"/>
                <a:gd name="connsiteX941" fmla="*/ 212290 w 1383262"/>
                <a:gd name="connsiteY941" fmla="*/ 979577 h 1025181"/>
                <a:gd name="connsiteX942" fmla="*/ 195426 w 1383262"/>
                <a:gd name="connsiteY942" fmla="*/ 965832 h 1025181"/>
                <a:gd name="connsiteX943" fmla="*/ 369203 w 1383262"/>
                <a:gd name="connsiteY943" fmla="*/ 965832 h 1025181"/>
                <a:gd name="connsiteX944" fmla="*/ 352338 w 1383262"/>
                <a:gd name="connsiteY944" fmla="*/ 979577 h 1025181"/>
                <a:gd name="connsiteX945" fmla="*/ 352012 w 1383262"/>
                <a:gd name="connsiteY945" fmla="*/ 982813 h 1025181"/>
                <a:gd name="connsiteX946" fmla="*/ 351047 w 1383262"/>
                <a:gd name="connsiteY946" fmla="*/ 982813 h 1025181"/>
                <a:gd name="connsiteX947" fmla="*/ 346658 w 1383262"/>
                <a:gd name="connsiteY947" fmla="*/ 987089 h 1025181"/>
                <a:gd name="connsiteX948" fmla="*/ 346658 w 1383262"/>
                <a:gd name="connsiteY948" fmla="*/ 1020906 h 1025181"/>
                <a:gd name="connsiteX949" fmla="*/ 351047 w 1383262"/>
                <a:gd name="connsiteY949" fmla="*/ 1025181 h 1025181"/>
                <a:gd name="connsiteX950" fmla="*/ 387358 w 1383262"/>
                <a:gd name="connsiteY950" fmla="*/ 1025181 h 1025181"/>
                <a:gd name="connsiteX951" fmla="*/ 391747 w 1383262"/>
                <a:gd name="connsiteY951" fmla="*/ 1020906 h 1025181"/>
                <a:gd name="connsiteX952" fmla="*/ 391747 w 1383262"/>
                <a:gd name="connsiteY952" fmla="*/ 987089 h 1025181"/>
                <a:gd name="connsiteX953" fmla="*/ 387358 w 1383262"/>
                <a:gd name="connsiteY953" fmla="*/ 982813 h 1025181"/>
                <a:gd name="connsiteX954" fmla="*/ 386790 w 1383262"/>
                <a:gd name="connsiteY954" fmla="*/ 982813 h 1025181"/>
                <a:gd name="connsiteX955" fmla="*/ 386393 w 1383262"/>
                <a:gd name="connsiteY955" fmla="*/ 982813 h 1025181"/>
                <a:gd name="connsiteX956" fmla="*/ 386066 w 1383262"/>
                <a:gd name="connsiteY956" fmla="*/ 979577 h 1025181"/>
                <a:gd name="connsiteX957" fmla="*/ 369203 w 1383262"/>
                <a:gd name="connsiteY957" fmla="*/ 965832 h 1025181"/>
                <a:gd name="connsiteX958" fmla="*/ 430494 w 1383262"/>
                <a:gd name="connsiteY958" fmla="*/ 965832 h 1025181"/>
                <a:gd name="connsiteX959" fmla="*/ 413630 w 1383262"/>
                <a:gd name="connsiteY959" fmla="*/ 979577 h 1025181"/>
                <a:gd name="connsiteX960" fmla="*/ 413304 w 1383262"/>
                <a:gd name="connsiteY960" fmla="*/ 982813 h 1025181"/>
                <a:gd name="connsiteX961" fmla="*/ 412339 w 1383262"/>
                <a:gd name="connsiteY961" fmla="*/ 982813 h 1025181"/>
                <a:gd name="connsiteX962" fmla="*/ 407950 w 1383262"/>
                <a:gd name="connsiteY962" fmla="*/ 987089 h 1025181"/>
                <a:gd name="connsiteX963" fmla="*/ 407950 w 1383262"/>
                <a:gd name="connsiteY963" fmla="*/ 1020906 h 1025181"/>
                <a:gd name="connsiteX964" fmla="*/ 412339 w 1383262"/>
                <a:gd name="connsiteY964" fmla="*/ 1025181 h 1025181"/>
                <a:gd name="connsiteX965" fmla="*/ 448650 w 1383262"/>
                <a:gd name="connsiteY965" fmla="*/ 1025181 h 1025181"/>
                <a:gd name="connsiteX966" fmla="*/ 453039 w 1383262"/>
                <a:gd name="connsiteY966" fmla="*/ 1020906 h 1025181"/>
                <a:gd name="connsiteX967" fmla="*/ 453039 w 1383262"/>
                <a:gd name="connsiteY967" fmla="*/ 987089 h 1025181"/>
                <a:gd name="connsiteX968" fmla="*/ 448650 w 1383262"/>
                <a:gd name="connsiteY968" fmla="*/ 982813 h 1025181"/>
                <a:gd name="connsiteX969" fmla="*/ 448082 w 1383262"/>
                <a:gd name="connsiteY969" fmla="*/ 982813 h 1025181"/>
                <a:gd name="connsiteX970" fmla="*/ 447685 w 1383262"/>
                <a:gd name="connsiteY970" fmla="*/ 982813 h 1025181"/>
                <a:gd name="connsiteX971" fmla="*/ 447358 w 1383262"/>
                <a:gd name="connsiteY971" fmla="*/ 979577 h 1025181"/>
                <a:gd name="connsiteX972" fmla="*/ 430494 w 1383262"/>
                <a:gd name="connsiteY972" fmla="*/ 965832 h 1025181"/>
                <a:gd name="connsiteX973" fmla="*/ 604271 w 1383262"/>
                <a:gd name="connsiteY973" fmla="*/ 965832 h 1025181"/>
                <a:gd name="connsiteX974" fmla="*/ 587406 w 1383262"/>
                <a:gd name="connsiteY974" fmla="*/ 979577 h 1025181"/>
                <a:gd name="connsiteX975" fmla="*/ 587081 w 1383262"/>
                <a:gd name="connsiteY975" fmla="*/ 982813 h 1025181"/>
                <a:gd name="connsiteX976" fmla="*/ 586116 w 1383262"/>
                <a:gd name="connsiteY976" fmla="*/ 982813 h 1025181"/>
                <a:gd name="connsiteX977" fmla="*/ 581727 w 1383262"/>
                <a:gd name="connsiteY977" fmla="*/ 987089 h 1025181"/>
                <a:gd name="connsiteX978" fmla="*/ 581727 w 1383262"/>
                <a:gd name="connsiteY978" fmla="*/ 1020906 h 1025181"/>
                <a:gd name="connsiteX979" fmla="*/ 586116 w 1383262"/>
                <a:gd name="connsiteY979" fmla="*/ 1025181 h 1025181"/>
                <a:gd name="connsiteX980" fmla="*/ 622426 w 1383262"/>
                <a:gd name="connsiteY980" fmla="*/ 1025181 h 1025181"/>
                <a:gd name="connsiteX981" fmla="*/ 626815 w 1383262"/>
                <a:gd name="connsiteY981" fmla="*/ 1020906 h 1025181"/>
                <a:gd name="connsiteX982" fmla="*/ 626815 w 1383262"/>
                <a:gd name="connsiteY982" fmla="*/ 987089 h 1025181"/>
                <a:gd name="connsiteX983" fmla="*/ 622426 w 1383262"/>
                <a:gd name="connsiteY983" fmla="*/ 982813 h 1025181"/>
                <a:gd name="connsiteX984" fmla="*/ 621858 w 1383262"/>
                <a:gd name="connsiteY984" fmla="*/ 982813 h 1025181"/>
                <a:gd name="connsiteX985" fmla="*/ 621461 w 1383262"/>
                <a:gd name="connsiteY985" fmla="*/ 982813 h 1025181"/>
                <a:gd name="connsiteX986" fmla="*/ 621135 w 1383262"/>
                <a:gd name="connsiteY986" fmla="*/ 979577 h 1025181"/>
                <a:gd name="connsiteX987" fmla="*/ 604271 w 1383262"/>
                <a:gd name="connsiteY987" fmla="*/ 965832 h 1025181"/>
                <a:gd name="connsiteX988" fmla="*/ 890531 w 1383262"/>
                <a:gd name="connsiteY988" fmla="*/ 965832 h 1025181"/>
                <a:gd name="connsiteX989" fmla="*/ 873667 w 1383262"/>
                <a:gd name="connsiteY989" fmla="*/ 979577 h 1025181"/>
                <a:gd name="connsiteX990" fmla="*/ 873341 w 1383262"/>
                <a:gd name="connsiteY990" fmla="*/ 982813 h 1025181"/>
                <a:gd name="connsiteX991" fmla="*/ 872377 w 1383262"/>
                <a:gd name="connsiteY991" fmla="*/ 982813 h 1025181"/>
                <a:gd name="connsiteX992" fmla="*/ 867987 w 1383262"/>
                <a:gd name="connsiteY992" fmla="*/ 987089 h 1025181"/>
                <a:gd name="connsiteX993" fmla="*/ 867987 w 1383262"/>
                <a:gd name="connsiteY993" fmla="*/ 1020906 h 1025181"/>
                <a:gd name="connsiteX994" fmla="*/ 872377 w 1383262"/>
                <a:gd name="connsiteY994" fmla="*/ 1025181 h 1025181"/>
                <a:gd name="connsiteX995" fmla="*/ 908687 w 1383262"/>
                <a:gd name="connsiteY995" fmla="*/ 1025181 h 1025181"/>
                <a:gd name="connsiteX996" fmla="*/ 913076 w 1383262"/>
                <a:gd name="connsiteY996" fmla="*/ 1020906 h 1025181"/>
                <a:gd name="connsiteX997" fmla="*/ 913076 w 1383262"/>
                <a:gd name="connsiteY997" fmla="*/ 987089 h 1025181"/>
                <a:gd name="connsiteX998" fmla="*/ 908687 w 1383262"/>
                <a:gd name="connsiteY998" fmla="*/ 982813 h 1025181"/>
                <a:gd name="connsiteX999" fmla="*/ 908119 w 1383262"/>
                <a:gd name="connsiteY999" fmla="*/ 982813 h 1025181"/>
                <a:gd name="connsiteX1000" fmla="*/ 907722 w 1383262"/>
                <a:gd name="connsiteY1000" fmla="*/ 982813 h 1025181"/>
                <a:gd name="connsiteX1001" fmla="*/ 907395 w 1383262"/>
                <a:gd name="connsiteY1001" fmla="*/ 979577 h 1025181"/>
                <a:gd name="connsiteX1002" fmla="*/ 890531 w 1383262"/>
                <a:gd name="connsiteY1002" fmla="*/ 965832 h 1025181"/>
                <a:gd name="connsiteX1003" fmla="*/ 951823 w 1383262"/>
                <a:gd name="connsiteY1003" fmla="*/ 965832 h 1025181"/>
                <a:gd name="connsiteX1004" fmla="*/ 934960 w 1383262"/>
                <a:gd name="connsiteY1004" fmla="*/ 979577 h 1025181"/>
                <a:gd name="connsiteX1005" fmla="*/ 934633 w 1383262"/>
                <a:gd name="connsiteY1005" fmla="*/ 982813 h 1025181"/>
                <a:gd name="connsiteX1006" fmla="*/ 933669 w 1383262"/>
                <a:gd name="connsiteY1006" fmla="*/ 982813 h 1025181"/>
                <a:gd name="connsiteX1007" fmla="*/ 929279 w 1383262"/>
                <a:gd name="connsiteY1007" fmla="*/ 987089 h 1025181"/>
                <a:gd name="connsiteX1008" fmla="*/ 929279 w 1383262"/>
                <a:gd name="connsiteY1008" fmla="*/ 1020906 h 1025181"/>
                <a:gd name="connsiteX1009" fmla="*/ 933669 w 1383262"/>
                <a:gd name="connsiteY1009" fmla="*/ 1025181 h 1025181"/>
                <a:gd name="connsiteX1010" fmla="*/ 969979 w 1383262"/>
                <a:gd name="connsiteY1010" fmla="*/ 1025181 h 1025181"/>
                <a:gd name="connsiteX1011" fmla="*/ 974368 w 1383262"/>
                <a:gd name="connsiteY1011" fmla="*/ 1020906 h 1025181"/>
                <a:gd name="connsiteX1012" fmla="*/ 974368 w 1383262"/>
                <a:gd name="connsiteY1012" fmla="*/ 987089 h 1025181"/>
                <a:gd name="connsiteX1013" fmla="*/ 969979 w 1383262"/>
                <a:gd name="connsiteY1013" fmla="*/ 982813 h 1025181"/>
                <a:gd name="connsiteX1014" fmla="*/ 969411 w 1383262"/>
                <a:gd name="connsiteY1014" fmla="*/ 982813 h 1025181"/>
                <a:gd name="connsiteX1015" fmla="*/ 969014 w 1383262"/>
                <a:gd name="connsiteY1015" fmla="*/ 982813 h 1025181"/>
                <a:gd name="connsiteX1016" fmla="*/ 968688 w 1383262"/>
                <a:gd name="connsiteY1016" fmla="*/ 979577 h 1025181"/>
                <a:gd name="connsiteX1017" fmla="*/ 951823 w 1383262"/>
                <a:gd name="connsiteY1017" fmla="*/ 965832 h 1025181"/>
                <a:gd name="connsiteX1018" fmla="*/ 1074457 w 1383262"/>
                <a:gd name="connsiteY1018" fmla="*/ 965832 h 1025181"/>
                <a:gd name="connsiteX1019" fmla="*/ 1057593 w 1383262"/>
                <a:gd name="connsiteY1019" fmla="*/ 979577 h 1025181"/>
                <a:gd name="connsiteX1020" fmla="*/ 1057267 w 1383262"/>
                <a:gd name="connsiteY1020" fmla="*/ 982813 h 1025181"/>
                <a:gd name="connsiteX1021" fmla="*/ 1056302 w 1383262"/>
                <a:gd name="connsiteY1021" fmla="*/ 982813 h 1025181"/>
                <a:gd name="connsiteX1022" fmla="*/ 1051913 w 1383262"/>
                <a:gd name="connsiteY1022" fmla="*/ 987089 h 1025181"/>
                <a:gd name="connsiteX1023" fmla="*/ 1051913 w 1383262"/>
                <a:gd name="connsiteY1023" fmla="*/ 1020906 h 1025181"/>
                <a:gd name="connsiteX1024" fmla="*/ 1056302 w 1383262"/>
                <a:gd name="connsiteY1024" fmla="*/ 1025181 h 1025181"/>
                <a:gd name="connsiteX1025" fmla="*/ 1092612 w 1383262"/>
                <a:gd name="connsiteY1025" fmla="*/ 1025181 h 1025181"/>
                <a:gd name="connsiteX1026" fmla="*/ 1097001 w 1383262"/>
                <a:gd name="connsiteY1026" fmla="*/ 1020906 h 1025181"/>
                <a:gd name="connsiteX1027" fmla="*/ 1097001 w 1383262"/>
                <a:gd name="connsiteY1027" fmla="*/ 987089 h 1025181"/>
                <a:gd name="connsiteX1028" fmla="*/ 1092612 w 1383262"/>
                <a:gd name="connsiteY1028" fmla="*/ 982813 h 1025181"/>
                <a:gd name="connsiteX1029" fmla="*/ 1092045 w 1383262"/>
                <a:gd name="connsiteY1029" fmla="*/ 982813 h 1025181"/>
                <a:gd name="connsiteX1030" fmla="*/ 1091647 w 1383262"/>
                <a:gd name="connsiteY1030" fmla="*/ 982813 h 1025181"/>
                <a:gd name="connsiteX1031" fmla="*/ 1091321 w 1383262"/>
                <a:gd name="connsiteY1031" fmla="*/ 979577 h 1025181"/>
                <a:gd name="connsiteX1032" fmla="*/ 1074457 w 1383262"/>
                <a:gd name="connsiteY1032" fmla="*/ 965832 h 1025181"/>
                <a:gd name="connsiteX1033" fmla="*/ 1360718 w 1383262"/>
                <a:gd name="connsiteY1033" fmla="*/ 965832 h 1025181"/>
                <a:gd name="connsiteX1034" fmla="*/ 1343854 w 1383262"/>
                <a:gd name="connsiteY1034" fmla="*/ 979577 h 1025181"/>
                <a:gd name="connsiteX1035" fmla="*/ 1343528 w 1383262"/>
                <a:gd name="connsiteY1035" fmla="*/ 982813 h 1025181"/>
                <a:gd name="connsiteX1036" fmla="*/ 1342563 w 1383262"/>
                <a:gd name="connsiteY1036" fmla="*/ 982813 h 1025181"/>
                <a:gd name="connsiteX1037" fmla="*/ 1338174 w 1383262"/>
                <a:gd name="connsiteY1037" fmla="*/ 987089 h 1025181"/>
                <a:gd name="connsiteX1038" fmla="*/ 1338174 w 1383262"/>
                <a:gd name="connsiteY1038" fmla="*/ 1020906 h 1025181"/>
                <a:gd name="connsiteX1039" fmla="*/ 1342563 w 1383262"/>
                <a:gd name="connsiteY1039" fmla="*/ 1025181 h 1025181"/>
                <a:gd name="connsiteX1040" fmla="*/ 1378873 w 1383262"/>
                <a:gd name="connsiteY1040" fmla="*/ 1025181 h 1025181"/>
                <a:gd name="connsiteX1041" fmla="*/ 1383262 w 1383262"/>
                <a:gd name="connsiteY1041" fmla="*/ 1020906 h 1025181"/>
                <a:gd name="connsiteX1042" fmla="*/ 1383262 w 1383262"/>
                <a:gd name="connsiteY1042" fmla="*/ 987089 h 1025181"/>
                <a:gd name="connsiteX1043" fmla="*/ 1378873 w 1383262"/>
                <a:gd name="connsiteY1043" fmla="*/ 982813 h 1025181"/>
                <a:gd name="connsiteX1044" fmla="*/ 1378305 w 1383262"/>
                <a:gd name="connsiteY1044" fmla="*/ 982813 h 1025181"/>
                <a:gd name="connsiteX1045" fmla="*/ 1377908 w 1383262"/>
                <a:gd name="connsiteY1045" fmla="*/ 982813 h 1025181"/>
                <a:gd name="connsiteX1046" fmla="*/ 1377582 w 1383262"/>
                <a:gd name="connsiteY1046" fmla="*/ 979577 h 1025181"/>
                <a:gd name="connsiteX1047" fmla="*/ 1360718 w 1383262"/>
                <a:gd name="connsiteY1047" fmla="*/ 965832 h 1025181"/>
                <a:gd name="connsiteX1048" fmla="*/ 1362073 w 1383262"/>
                <a:gd name="connsiteY1048" fmla="*/ 889884 h 1025181"/>
                <a:gd name="connsiteX1049" fmla="*/ 1359315 w 1383262"/>
                <a:gd name="connsiteY1049" fmla="*/ 889884 h 1025181"/>
                <a:gd name="connsiteX1050" fmla="*/ 1356188 w 1383262"/>
                <a:gd name="connsiteY1050" fmla="*/ 891540 h 1025181"/>
                <a:gd name="connsiteX1051" fmla="*/ 1354717 w 1383262"/>
                <a:gd name="connsiteY1051" fmla="*/ 895769 h 1025181"/>
                <a:gd name="connsiteX1052" fmla="*/ 1354717 w 1383262"/>
                <a:gd name="connsiteY1052" fmla="*/ 896137 h 1025181"/>
                <a:gd name="connsiteX1053" fmla="*/ 1354717 w 1383262"/>
                <a:gd name="connsiteY1053" fmla="*/ 932180 h 1025181"/>
                <a:gd name="connsiteX1054" fmla="*/ 1354349 w 1383262"/>
                <a:gd name="connsiteY1054" fmla="*/ 932548 h 1025181"/>
                <a:gd name="connsiteX1055" fmla="*/ 1349384 w 1383262"/>
                <a:gd name="connsiteY1055" fmla="*/ 932548 h 1025181"/>
                <a:gd name="connsiteX1056" fmla="*/ 1346626 w 1383262"/>
                <a:gd name="connsiteY1056" fmla="*/ 933283 h 1025181"/>
                <a:gd name="connsiteX1057" fmla="*/ 1344051 w 1383262"/>
                <a:gd name="connsiteY1057" fmla="*/ 937881 h 1025181"/>
                <a:gd name="connsiteX1058" fmla="*/ 1345890 w 1383262"/>
                <a:gd name="connsiteY1058" fmla="*/ 941742 h 1025181"/>
                <a:gd name="connsiteX1059" fmla="*/ 1348649 w 1383262"/>
                <a:gd name="connsiteY1059" fmla="*/ 943030 h 1025181"/>
                <a:gd name="connsiteX1060" fmla="*/ 1348833 w 1383262"/>
                <a:gd name="connsiteY1060" fmla="*/ 943030 h 1025181"/>
                <a:gd name="connsiteX1061" fmla="*/ 1349016 w 1383262"/>
                <a:gd name="connsiteY1061" fmla="*/ 943030 h 1025181"/>
                <a:gd name="connsiteX1062" fmla="*/ 1349384 w 1383262"/>
                <a:gd name="connsiteY1062" fmla="*/ 943030 h 1025181"/>
                <a:gd name="connsiteX1063" fmla="*/ 1371267 w 1383262"/>
                <a:gd name="connsiteY1063" fmla="*/ 943030 h 1025181"/>
                <a:gd name="connsiteX1064" fmla="*/ 1371635 w 1383262"/>
                <a:gd name="connsiteY1064" fmla="*/ 943030 h 1025181"/>
                <a:gd name="connsiteX1065" fmla="*/ 1372187 w 1383262"/>
                <a:gd name="connsiteY1065" fmla="*/ 943030 h 1025181"/>
                <a:gd name="connsiteX1066" fmla="*/ 1372739 w 1383262"/>
                <a:gd name="connsiteY1066" fmla="*/ 942846 h 1025181"/>
                <a:gd name="connsiteX1067" fmla="*/ 1375129 w 1383262"/>
                <a:gd name="connsiteY1067" fmla="*/ 941559 h 1025181"/>
                <a:gd name="connsiteX1068" fmla="*/ 1376785 w 1383262"/>
                <a:gd name="connsiteY1068" fmla="*/ 937697 h 1025181"/>
                <a:gd name="connsiteX1069" fmla="*/ 1375314 w 1383262"/>
                <a:gd name="connsiteY1069" fmla="*/ 934203 h 1025181"/>
                <a:gd name="connsiteX1070" fmla="*/ 1371452 w 1383262"/>
                <a:gd name="connsiteY1070" fmla="*/ 932548 h 1025181"/>
                <a:gd name="connsiteX1071" fmla="*/ 1366119 w 1383262"/>
                <a:gd name="connsiteY1071" fmla="*/ 932548 h 1025181"/>
                <a:gd name="connsiteX1072" fmla="*/ 1365751 w 1383262"/>
                <a:gd name="connsiteY1072" fmla="*/ 932180 h 1025181"/>
                <a:gd name="connsiteX1073" fmla="*/ 1365751 w 1383262"/>
                <a:gd name="connsiteY1073" fmla="*/ 900918 h 1025181"/>
                <a:gd name="connsiteX1074" fmla="*/ 1366119 w 1383262"/>
                <a:gd name="connsiteY1074" fmla="*/ 900550 h 1025181"/>
                <a:gd name="connsiteX1075" fmla="*/ 1370164 w 1383262"/>
                <a:gd name="connsiteY1075" fmla="*/ 900550 h 1025181"/>
                <a:gd name="connsiteX1076" fmla="*/ 1375129 w 1383262"/>
                <a:gd name="connsiteY1076" fmla="*/ 897424 h 1025181"/>
                <a:gd name="connsiteX1077" fmla="*/ 1375314 w 1383262"/>
                <a:gd name="connsiteY1077" fmla="*/ 893563 h 1025181"/>
                <a:gd name="connsiteX1078" fmla="*/ 1370348 w 1383262"/>
                <a:gd name="connsiteY1078" fmla="*/ 890069 h 1025181"/>
                <a:gd name="connsiteX1079" fmla="*/ 1362073 w 1383262"/>
                <a:gd name="connsiteY1079" fmla="*/ 889884 h 1025181"/>
                <a:gd name="connsiteX1080" fmla="*/ 1357935 w 1383262"/>
                <a:gd name="connsiteY1080" fmla="*/ 828626 h 1025181"/>
                <a:gd name="connsiteX1081" fmla="*/ 1365792 w 1383262"/>
                <a:gd name="connsiteY1081" fmla="*/ 830281 h 1025181"/>
                <a:gd name="connsiteX1082" fmla="*/ 1367965 w 1383262"/>
                <a:gd name="connsiteY1082" fmla="*/ 832672 h 1025181"/>
                <a:gd name="connsiteX1083" fmla="*/ 1369471 w 1383262"/>
                <a:gd name="connsiteY1083" fmla="*/ 835247 h 1025181"/>
                <a:gd name="connsiteX1084" fmla="*/ 1370139 w 1383262"/>
                <a:gd name="connsiteY1084" fmla="*/ 837085 h 1025181"/>
                <a:gd name="connsiteX1085" fmla="*/ 1370808 w 1383262"/>
                <a:gd name="connsiteY1085" fmla="*/ 839844 h 1025181"/>
                <a:gd name="connsiteX1086" fmla="*/ 1371476 w 1383262"/>
                <a:gd name="connsiteY1086" fmla="*/ 844625 h 1025181"/>
                <a:gd name="connsiteX1087" fmla="*/ 1370808 w 1383262"/>
                <a:gd name="connsiteY1087" fmla="*/ 849590 h 1025181"/>
                <a:gd name="connsiteX1088" fmla="*/ 1369972 w 1383262"/>
                <a:gd name="connsiteY1088" fmla="*/ 852164 h 1025181"/>
                <a:gd name="connsiteX1089" fmla="*/ 1368467 w 1383262"/>
                <a:gd name="connsiteY1089" fmla="*/ 855107 h 1025181"/>
                <a:gd name="connsiteX1090" fmla="*/ 1366127 w 1383262"/>
                <a:gd name="connsiteY1090" fmla="*/ 858050 h 1025181"/>
                <a:gd name="connsiteX1091" fmla="*/ 1363117 w 1383262"/>
                <a:gd name="connsiteY1091" fmla="*/ 859888 h 1025181"/>
                <a:gd name="connsiteX1092" fmla="*/ 1354759 w 1383262"/>
                <a:gd name="connsiteY1092" fmla="*/ 858233 h 1025181"/>
                <a:gd name="connsiteX1093" fmla="*/ 1352585 w 1383262"/>
                <a:gd name="connsiteY1093" fmla="*/ 855843 h 1025181"/>
                <a:gd name="connsiteX1094" fmla="*/ 1350913 w 1383262"/>
                <a:gd name="connsiteY1094" fmla="*/ 852900 h 1025181"/>
                <a:gd name="connsiteX1095" fmla="*/ 1350245 w 1383262"/>
                <a:gd name="connsiteY1095" fmla="*/ 851429 h 1025181"/>
                <a:gd name="connsiteX1096" fmla="*/ 1349409 w 1383262"/>
                <a:gd name="connsiteY1096" fmla="*/ 848487 h 1025181"/>
                <a:gd name="connsiteX1097" fmla="*/ 1349743 w 1383262"/>
                <a:gd name="connsiteY1097" fmla="*/ 839108 h 1025181"/>
                <a:gd name="connsiteX1098" fmla="*/ 1350412 w 1383262"/>
                <a:gd name="connsiteY1098" fmla="*/ 837085 h 1025181"/>
                <a:gd name="connsiteX1099" fmla="*/ 1351248 w 1383262"/>
                <a:gd name="connsiteY1099" fmla="*/ 835063 h 1025181"/>
                <a:gd name="connsiteX1100" fmla="*/ 1352752 w 1383262"/>
                <a:gd name="connsiteY1100" fmla="*/ 832672 h 1025181"/>
                <a:gd name="connsiteX1101" fmla="*/ 1355260 w 1383262"/>
                <a:gd name="connsiteY1101" fmla="*/ 830098 h 1025181"/>
                <a:gd name="connsiteX1102" fmla="*/ 1357935 w 1383262"/>
                <a:gd name="connsiteY1102" fmla="*/ 828626 h 1025181"/>
                <a:gd name="connsiteX1103" fmla="*/ 1361613 w 1383262"/>
                <a:gd name="connsiteY1103" fmla="*/ 817776 h 1025181"/>
                <a:gd name="connsiteX1104" fmla="*/ 1353254 w 1383262"/>
                <a:gd name="connsiteY1104" fmla="*/ 819248 h 1025181"/>
                <a:gd name="connsiteX1105" fmla="*/ 1348239 w 1383262"/>
                <a:gd name="connsiteY1105" fmla="*/ 822374 h 1025181"/>
                <a:gd name="connsiteX1106" fmla="*/ 1345898 w 1383262"/>
                <a:gd name="connsiteY1106" fmla="*/ 824580 h 1025181"/>
                <a:gd name="connsiteX1107" fmla="*/ 1343558 w 1383262"/>
                <a:gd name="connsiteY1107" fmla="*/ 827523 h 1025181"/>
                <a:gd name="connsiteX1108" fmla="*/ 1342220 w 1383262"/>
                <a:gd name="connsiteY1108" fmla="*/ 829913 h 1025181"/>
                <a:gd name="connsiteX1109" fmla="*/ 1340716 w 1383262"/>
                <a:gd name="connsiteY1109" fmla="*/ 833591 h 1025181"/>
                <a:gd name="connsiteX1110" fmla="*/ 1340047 w 1383262"/>
                <a:gd name="connsiteY1110" fmla="*/ 835982 h 1025181"/>
                <a:gd name="connsiteX1111" fmla="*/ 1339378 w 1383262"/>
                <a:gd name="connsiteY1111" fmla="*/ 839476 h 1025181"/>
                <a:gd name="connsiteX1112" fmla="*/ 1339545 w 1383262"/>
                <a:gd name="connsiteY1112" fmla="*/ 849222 h 1025181"/>
                <a:gd name="connsiteX1113" fmla="*/ 1340214 w 1383262"/>
                <a:gd name="connsiteY1113" fmla="*/ 852532 h 1025181"/>
                <a:gd name="connsiteX1114" fmla="*/ 1341050 w 1383262"/>
                <a:gd name="connsiteY1114" fmla="*/ 855107 h 1025181"/>
                <a:gd name="connsiteX1115" fmla="*/ 1341719 w 1383262"/>
                <a:gd name="connsiteY1115" fmla="*/ 856762 h 1025181"/>
                <a:gd name="connsiteX1116" fmla="*/ 1343223 w 1383262"/>
                <a:gd name="connsiteY1116" fmla="*/ 859704 h 1025181"/>
                <a:gd name="connsiteX1117" fmla="*/ 1344728 w 1383262"/>
                <a:gd name="connsiteY1117" fmla="*/ 861911 h 1025181"/>
                <a:gd name="connsiteX1118" fmla="*/ 1347068 w 1383262"/>
                <a:gd name="connsiteY1118" fmla="*/ 864486 h 1025181"/>
                <a:gd name="connsiteX1119" fmla="*/ 1349241 w 1383262"/>
                <a:gd name="connsiteY1119" fmla="*/ 866325 h 1025181"/>
                <a:gd name="connsiteX1120" fmla="*/ 1353087 w 1383262"/>
                <a:gd name="connsiteY1120" fmla="*/ 868531 h 1025181"/>
                <a:gd name="connsiteX1121" fmla="*/ 1358437 w 1383262"/>
                <a:gd name="connsiteY1121" fmla="*/ 870002 h 1025181"/>
                <a:gd name="connsiteX1122" fmla="*/ 1359273 w 1383262"/>
                <a:gd name="connsiteY1122" fmla="*/ 870186 h 1025181"/>
                <a:gd name="connsiteX1123" fmla="*/ 1362114 w 1383262"/>
                <a:gd name="connsiteY1123" fmla="*/ 870186 h 1025181"/>
                <a:gd name="connsiteX1124" fmla="*/ 1362282 w 1383262"/>
                <a:gd name="connsiteY1124" fmla="*/ 870186 h 1025181"/>
                <a:gd name="connsiteX1125" fmla="*/ 1371142 w 1383262"/>
                <a:gd name="connsiteY1125" fmla="*/ 866876 h 1025181"/>
                <a:gd name="connsiteX1126" fmla="*/ 1374318 w 1383262"/>
                <a:gd name="connsiteY1126" fmla="*/ 864118 h 1025181"/>
                <a:gd name="connsiteX1127" fmla="*/ 1376491 w 1383262"/>
                <a:gd name="connsiteY1127" fmla="*/ 861543 h 1025181"/>
                <a:gd name="connsiteX1128" fmla="*/ 1377997 w 1383262"/>
                <a:gd name="connsiteY1128" fmla="*/ 859153 h 1025181"/>
                <a:gd name="connsiteX1129" fmla="*/ 1379501 w 1383262"/>
                <a:gd name="connsiteY1129" fmla="*/ 856211 h 1025181"/>
                <a:gd name="connsiteX1130" fmla="*/ 1380337 w 1383262"/>
                <a:gd name="connsiteY1130" fmla="*/ 854188 h 1025181"/>
                <a:gd name="connsiteX1131" fmla="*/ 1381006 w 1383262"/>
                <a:gd name="connsiteY1131" fmla="*/ 851981 h 1025181"/>
                <a:gd name="connsiteX1132" fmla="*/ 1381841 w 1383262"/>
                <a:gd name="connsiteY1132" fmla="*/ 848119 h 1025181"/>
                <a:gd name="connsiteX1133" fmla="*/ 1382009 w 1383262"/>
                <a:gd name="connsiteY1133" fmla="*/ 846096 h 1025181"/>
                <a:gd name="connsiteX1134" fmla="*/ 1381841 w 1383262"/>
                <a:gd name="connsiteY1134" fmla="*/ 846280 h 1025181"/>
                <a:gd name="connsiteX1135" fmla="*/ 1381841 w 1383262"/>
                <a:gd name="connsiteY1135" fmla="*/ 842418 h 1025181"/>
                <a:gd name="connsiteX1136" fmla="*/ 1381841 w 1383262"/>
                <a:gd name="connsiteY1136" fmla="*/ 842235 h 1025181"/>
                <a:gd name="connsiteX1137" fmla="*/ 1381507 w 1383262"/>
                <a:gd name="connsiteY1137" fmla="*/ 839108 h 1025181"/>
                <a:gd name="connsiteX1138" fmla="*/ 1380671 w 1383262"/>
                <a:gd name="connsiteY1138" fmla="*/ 835431 h 1025181"/>
                <a:gd name="connsiteX1139" fmla="*/ 1380002 w 1383262"/>
                <a:gd name="connsiteY1139" fmla="*/ 833223 h 1025181"/>
                <a:gd name="connsiteX1140" fmla="*/ 1378498 w 1383262"/>
                <a:gd name="connsiteY1140" fmla="*/ 829730 h 1025181"/>
                <a:gd name="connsiteX1141" fmla="*/ 1376993 w 1383262"/>
                <a:gd name="connsiteY1141" fmla="*/ 827155 h 1025181"/>
                <a:gd name="connsiteX1142" fmla="*/ 1375489 w 1383262"/>
                <a:gd name="connsiteY1142" fmla="*/ 825132 h 1025181"/>
                <a:gd name="connsiteX1143" fmla="*/ 1373984 w 1383262"/>
                <a:gd name="connsiteY1143" fmla="*/ 823477 h 1025181"/>
                <a:gd name="connsiteX1144" fmla="*/ 1370808 w 1383262"/>
                <a:gd name="connsiteY1144" fmla="*/ 820903 h 1025181"/>
                <a:gd name="connsiteX1145" fmla="*/ 1368133 w 1383262"/>
                <a:gd name="connsiteY1145" fmla="*/ 819432 h 1025181"/>
                <a:gd name="connsiteX1146" fmla="*/ 1361613 w 1383262"/>
                <a:gd name="connsiteY1146" fmla="*/ 817776 h 1025181"/>
                <a:gd name="connsiteX1147" fmla="*/ 1357935 w 1383262"/>
                <a:gd name="connsiteY1147" fmla="*/ 756567 h 1025181"/>
                <a:gd name="connsiteX1148" fmla="*/ 1365792 w 1383262"/>
                <a:gd name="connsiteY1148" fmla="*/ 758222 h 1025181"/>
                <a:gd name="connsiteX1149" fmla="*/ 1367965 w 1383262"/>
                <a:gd name="connsiteY1149" fmla="*/ 760612 h 1025181"/>
                <a:gd name="connsiteX1150" fmla="*/ 1369471 w 1383262"/>
                <a:gd name="connsiteY1150" fmla="*/ 763187 h 1025181"/>
                <a:gd name="connsiteX1151" fmla="*/ 1370139 w 1383262"/>
                <a:gd name="connsiteY1151" fmla="*/ 765026 h 1025181"/>
                <a:gd name="connsiteX1152" fmla="*/ 1370808 w 1383262"/>
                <a:gd name="connsiteY1152" fmla="*/ 767784 h 1025181"/>
                <a:gd name="connsiteX1153" fmla="*/ 1371476 w 1383262"/>
                <a:gd name="connsiteY1153" fmla="*/ 772565 h 1025181"/>
                <a:gd name="connsiteX1154" fmla="*/ 1370808 w 1383262"/>
                <a:gd name="connsiteY1154" fmla="*/ 777530 h 1025181"/>
                <a:gd name="connsiteX1155" fmla="*/ 1369972 w 1383262"/>
                <a:gd name="connsiteY1155" fmla="*/ 780105 h 1025181"/>
                <a:gd name="connsiteX1156" fmla="*/ 1368467 w 1383262"/>
                <a:gd name="connsiteY1156" fmla="*/ 783048 h 1025181"/>
                <a:gd name="connsiteX1157" fmla="*/ 1366127 w 1383262"/>
                <a:gd name="connsiteY1157" fmla="*/ 785990 h 1025181"/>
                <a:gd name="connsiteX1158" fmla="*/ 1363117 w 1383262"/>
                <a:gd name="connsiteY1158" fmla="*/ 787828 h 1025181"/>
                <a:gd name="connsiteX1159" fmla="*/ 1354759 w 1383262"/>
                <a:gd name="connsiteY1159" fmla="*/ 786173 h 1025181"/>
                <a:gd name="connsiteX1160" fmla="*/ 1352585 w 1383262"/>
                <a:gd name="connsiteY1160" fmla="*/ 783783 h 1025181"/>
                <a:gd name="connsiteX1161" fmla="*/ 1350913 w 1383262"/>
                <a:gd name="connsiteY1161" fmla="*/ 780841 h 1025181"/>
                <a:gd name="connsiteX1162" fmla="*/ 1350245 w 1383262"/>
                <a:gd name="connsiteY1162" fmla="*/ 779369 h 1025181"/>
                <a:gd name="connsiteX1163" fmla="*/ 1349409 w 1383262"/>
                <a:gd name="connsiteY1163" fmla="*/ 776427 h 1025181"/>
                <a:gd name="connsiteX1164" fmla="*/ 1349743 w 1383262"/>
                <a:gd name="connsiteY1164" fmla="*/ 767048 h 1025181"/>
                <a:gd name="connsiteX1165" fmla="*/ 1350412 w 1383262"/>
                <a:gd name="connsiteY1165" fmla="*/ 765026 h 1025181"/>
                <a:gd name="connsiteX1166" fmla="*/ 1351248 w 1383262"/>
                <a:gd name="connsiteY1166" fmla="*/ 763003 h 1025181"/>
                <a:gd name="connsiteX1167" fmla="*/ 1352752 w 1383262"/>
                <a:gd name="connsiteY1167" fmla="*/ 760612 h 1025181"/>
                <a:gd name="connsiteX1168" fmla="*/ 1355260 w 1383262"/>
                <a:gd name="connsiteY1168" fmla="*/ 758038 h 1025181"/>
                <a:gd name="connsiteX1169" fmla="*/ 1357935 w 1383262"/>
                <a:gd name="connsiteY1169" fmla="*/ 756567 h 1025181"/>
                <a:gd name="connsiteX1170" fmla="*/ 1361613 w 1383262"/>
                <a:gd name="connsiteY1170" fmla="*/ 745717 h 1025181"/>
                <a:gd name="connsiteX1171" fmla="*/ 1353254 w 1383262"/>
                <a:gd name="connsiteY1171" fmla="*/ 747188 h 1025181"/>
                <a:gd name="connsiteX1172" fmla="*/ 1348239 w 1383262"/>
                <a:gd name="connsiteY1172" fmla="*/ 750314 h 1025181"/>
                <a:gd name="connsiteX1173" fmla="*/ 1345898 w 1383262"/>
                <a:gd name="connsiteY1173" fmla="*/ 752521 h 1025181"/>
                <a:gd name="connsiteX1174" fmla="*/ 1343558 w 1383262"/>
                <a:gd name="connsiteY1174" fmla="*/ 755464 h 1025181"/>
                <a:gd name="connsiteX1175" fmla="*/ 1342220 w 1383262"/>
                <a:gd name="connsiteY1175" fmla="*/ 757854 h 1025181"/>
                <a:gd name="connsiteX1176" fmla="*/ 1340716 w 1383262"/>
                <a:gd name="connsiteY1176" fmla="*/ 761532 h 1025181"/>
                <a:gd name="connsiteX1177" fmla="*/ 1340047 w 1383262"/>
                <a:gd name="connsiteY1177" fmla="*/ 763922 h 1025181"/>
                <a:gd name="connsiteX1178" fmla="*/ 1339378 w 1383262"/>
                <a:gd name="connsiteY1178" fmla="*/ 767416 h 1025181"/>
                <a:gd name="connsiteX1179" fmla="*/ 1339545 w 1383262"/>
                <a:gd name="connsiteY1179" fmla="*/ 777162 h 1025181"/>
                <a:gd name="connsiteX1180" fmla="*/ 1340214 w 1383262"/>
                <a:gd name="connsiteY1180" fmla="*/ 780473 h 1025181"/>
                <a:gd name="connsiteX1181" fmla="*/ 1341050 w 1383262"/>
                <a:gd name="connsiteY1181" fmla="*/ 783048 h 1025181"/>
                <a:gd name="connsiteX1182" fmla="*/ 1341719 w 1383262"/>
                <a:gd name="connsiteY1182" fmla="*/ 784702 h 1025181"/>
                <a:gd name="connsiteX1183" fmla="*/ 1343223 w 1383262"/>
                <a:gd name="connsiteY1183" fmla="*/ 787645 h 1025181"/>
                <a:gd name="connsiteX1184" fmla="*/ 1344728 w 1383262"/>
                <a:gd name="connsiteY1184" fmla="*/ 789851 h 1025181"/>
                <a:gd name="connsiteX1185" fmla="*/ 1347068 w 1383262"/>
                <a:gd name="connsiteY1185" fmla="*/ 792426 h 1025181"/>
                <a:gd name="connsiteX1186" fmla="*/ 1349241 w 1383262"/>
                <a:gd name="connsiteY1186" fmla="*/ 794265 h 1025181"/>
                <a:gd name="connsiteX1187" fmla="*/ 1353087 w 1383262"/>
                <a:gd name="connsiteY1187" fmla="*/ 796471 h 1025181"/>
                <a:gd name="connsiteX1188" fmla="*/ 1358437 w 1383262"/>
                <a:gd name="connsiteY1188" fmla="*/ 797942 h 1025181"/>
                <a:gd name="connsiteX1189" fmla="*/ 1359273 w 1383262"/>
                <a:gd name="connsiteY1189" fmla="*/ 798127 h 1025181"/>
                <a:gd name="connsiteX1190" fmla="*/ 1362114 w 1383262"/>
                <a:gd name="connsiteY1190" fmla="*/ 798127 h 1025181"/>
                <a:gd name="connsiteX1191" fmla="*/ 1362282 w 1383262"/>
                <a:gd name="connsiteY1191" fmla="*/ 798127 h 1025181"/>
                <a:gd name="connsiteX1192" fmla="*/ 1371142 w 1383262"/>
                <a:gd name="connsiteY1192" fmla="*/ 794817 h 1025181"/>
                <a:gd name="connsiteX1193" fmla="*/ 1374318 w 1383262"/>
                <a:gd name="connsiteY1193" fmla="*/ 792058 h 1025181"/>
                <a:gd name="connsiteX1194" fmla="*/ 1376492 w 1383262"/>
                <a:gd name="connsiteY1194" fmla="*/ 789484 h 1025181"/>
                <a:gd name="connsiteX1195" fmla="*/ 1377997 w 1383262"/>
                <a:gd name="connsiteY1195" fmla="*/ 787093 h 1025181"/>
                <a:gd name="connsiteX1196" fmla="*/ 1379501 w 1383262"/>
                <a:gd name="connsiteY1196" fmla="*/ 784151 h 1025181"/>
                <a:gd name="connsiteX1197" fmla="*/ 1380337 w 1383262"/>
                <a:gd name="connsiteY1197" fmla="*/ 782128 h 1025181"/>
                <a:gd name="connsiteX1198" fmla="*/ 1381006 w 1383262"/>
                <a:gd name="connsiteY1198" fmla="*/ 779921 h 1025181"/>
                <a:gd name="connsiteX1199" fmla="*/ 1381841 w 1383262"/>
                <a:gd name="connsiteY1199" fmla="*/ 776059 h 1025181"/>
                <a:gd name="connsiteX1200" fmla="*/ 1382009 w 1383262"/>
                <a:gd name="connsiteY1200" fmla="*/ 774037 h 1025181"/>
                <a:gd name="connsiteX1201" fmla="*/ 1381841 w 1383262"/>
                <a:gd name="connsiteY1201" fmla="*/ 774220 h 1025181"/>
                <a:gd name="connsiteX1202" fmla="*/ 1381841 w 1383262"/>
                <a:gd name="connsiteY1202" fmla="*/ 770358 h 1025181"/>
                <a:gd name="connsiteX1203" fmla="*/ 1381841 w 1383262"/>
                <a:gd name="connsiteY1203" fmla="*/ 770175 h 1025181"/>
                <a:gd name="connsiteX1204" fmla="*/ 1381507 w 1383262"/>
                <a:gd name="connsiteY1204" fmla="*/ 767048 h 1025181"/>
                <a:gd name="connsiteX1205" fmla="*/ 1380672 w 1383262"/>
                <a:gd name="connsiteY1205" fmla="*/ 763371 h 1025181"/>
                <a:gd name="connsiteX1206" fmla="*/ 1380002 w 1383262"/>
                <a:gd name="connsiteY1206" fmla="*/ 761164 h 1025181"/>
                <a:gd name="connsiteX1207" fmla="*/ 1378498 w 1383262"/>
                <a:gd name="connsiteY1207" fmla="*/ 757670 h 1025181"/>
                <a:gd name="connsiteX1208" fmla="*/ 1376993 w 1383262"/>
                <a:gd name="connsiteY1208" fmla="*/ 755096 h 1025181"/>
                <a:gd name="connsiteX1209" fmla="*/ 1375489 w 1383262"/>
                <a:gd name="connsiteY1209" fmla="*/ 753072 h 1025181"/>
                <a:gd name="connsiteX1210" fmla="*/ 1373984 w 1383262"/>
                <a:gd name="connsiteY1210" fmla="*/ 751418 h 1025181"/>
                <a:gd name="connsiteX1211" fmla="*/ 1370808 w 1383262"/>
                <a:gd name="connsiteY1211" fmla="*/ 748843 h 1025181"/>
                <a:gd name="connsiteX1212" fmla="*/ 1368133 w 1383262"/>
                <a:gd name="connsiteY1212" fmla="*/ 747372 h 1025181"/>
                <a:gd name="connsiteX1213" fmla="*/ 1361613 w 1383262"/>
                <a:gd name="connsiteY1213" fmla="*/ 745717 h 1025181"/>
                <a:gd name="connsiteX1214" fmla="*/ 1362073 w 1383262"/>
                <a:gd name="connsiteY1214" fmla="*/ 673704 h 1025181"/>
                <a:gd name="connsiteX1215" fmla="*/ 1359315 w 1383262"/>
                <a:gd name="connsiteY1215" fmla="*/ 673704 h 1025181"/>
                <a:gd name="connsiteX1216" fmla="*/ 1356188 w 1383262"/>
                <a:gd name="connsiteY1216" fmla="*/ 675359 h 1025181"/>
                <a:gd name="connsiteX1217" fmla="*/ 1354717 w 1383262"/>
                <a:gd name="connsiteY1217" fmla="*/ 679588 h 1025181"/>
                <a:gd name="connsiteX1218" fmla="*/ 1354717 w 1383262"/>
                <a:gd name="connsiteY1218" fmla="*/ 679956 h 1025181"/>
                <a:gd name="connsiteX1219" fmla="*/ 1354717 w 1383262"/>
                <a:gd name="connsiteY1219" fmla="*/ 716000 h 1025181"/>
                <a:gd name="connsiteX1220" fmla="*/ 1354349 w 1383262"/>
                <a:gd name="connsiteY1220" fmla="*/ 716367 h 1025181"/>
                <a:gd name="connsiteX1221" fmla="*/ 1349384 w 1383262"/>
                <a:gd name="connsiteY1221" fmla="*/ 716367 h 1025181"/>
                <a:gd name="connsiteX1222" fmla="*/ 1346626 w 1383262"/>
                <a:gd name="connsiteY1222" fmla="*/ 717103 h 1025181"/>
                <a:gd name="connsiteX1223" fmla="*/ 1344051 w 1383262"/>
                <a:gd name="connsiteY1223" fmla="*/ 721701 h 1025181"/>
                <a:gd name="connsiteX1224" fmla="*/ 1345890 w 1383262"/>
                <a:gd name="connsiteY1224" fmla="*/ 725562 h 1025181"/>
                <a:gd name="connsiteX1225" fmla="*/ 1348649 w 1383262"/>
                <a:gd name="connsiteY1225" fmla="*/ 726849 h 1025181"/>
                <a:gd name="connsiteX1226" fmla="*/ 1348833 w 1383262"/>
                <a:gd name="connsiteY1226" fmla="*/ 726849 h 1025181"/>
                <a:gd name="connsiteX1227" fmla="*/ 1349017 w 1383262"/>
                <a:gd name="connsiteY1227" fmla="*/ 726849 h 1025181"/>
                <a:gd name="connsiteX1228" fmla="*/ 1349384 w 1383262"/>
                <a:gd name="connsiteY1228" fmla="*/ 726849 h 1025181"/>
                <a:gd name="connsiteX1229" fmla="*/ 1371267 w 1383262"/>
                <a:gd name="connsiteY1229" fmla="*/ 726849 h 1025181"/>
                <a:gd name="connsiteX1230" fmla="*/ 1371635 w 1383262"/>
                <a:gd name="connsiteY1230" fmla="*/ 726849 h 1025181"/>
                <a:gd name="connsiteX1231" fmla="*/ 1372187 w 1383262"/>
                <a:gd name="connsiteY1231" fmla="*/ 726849 h 1025181"/>
                <a:gd name="connsiteX1232" fmla="*/ 1372739 w 1383262"/>
                <a:gd name="connsiteY1232" fmla="*/ 726666 h 1025181"/>
                <a:gd name="connsiteX1233" fmla="*/ 1375129 w 1383262"/>
                <a:gd name="connsiteY1233" fmla="*/ 725378 h 1025181"/>
                <a:gd name="connsiteX1234" fmla="*/ 1376785 w 1383262"/>
                <a:gd name="connsiteY1234" fmla="*/ 721516 h 1025181"/>
                <a:gd name="connsiteX1235" fmla="*/ 1375314 w 1383262"/>
                <a:gd name="connsiteY1235" fmla="*/ 718022 h 1025181"/>
                <a:gd name="connsiteX1236" fmla="*/ 1371452 w 1383262"/>
                <a:gd name="connsiteY1236" fmla="*/ 716367 h 1025181"/>
                <a:gd name="connsiteX1237" fmla="*/ 1366119 w 1383262"/>
                <a:gd name="connsiteY1237" fmla="*/ 716367 h 1025181"/>
                <a:gd name="connsiteX1238" fmla="*/ 1365751 w 1383262"/>
                <a:gd name="connsiteY1238" fmla="*/ 716000 h 1025181"/>
                <a:gd name="connsiteX1239" fmla="*/ 1365751 w 1383262"/>
                <a:gd name="connsiteY1239" fmla="*/ 684738 h 1025181"/>
                <a:gd name="connsiteX1240" fmla="*/ 1366119 w 1383262"/>
                <a:gd name="connsiteY1240" fmla="*/ 684370 h 1025181"/>
                <a:gd name="connsiteX1241" fmla="*/ 1370164 w 1383262"/>
                <a:gd name="connsiteY1241" fmla="*/ 684370 h 1025181"/>
                <a:gd name="connsiteX1242" fmla="*/ 1375129 w 1383262"/>
                <a:gd name="connsiteY1242" fmla="*/ 681244 h 1025181"/>
                <a:gd name="connsiteX1243" fmla="*/ 1375314 w 1383262"/>
                <a:gd name="connsiteY1243" fmla="*/ 677382 h 1025181"/>
                <a:gd name="connsiteX1244" fmla="*/ 1370349 w 1383262"/>
                <a:gd name="connsiteY1244" fmla="*/ 673888 h 1025181"/>
                <a:gd name="connsiteX1245" fmla="*/ 1362073 w 1383262"/>
                <a:gd name="connsiteY1245" fmla="*/ 673704 h 1025181"/>
                <a:gd name="connsiteX1246" fmla="*/ 1360515 w 1383262"/>
                <a:gd name="connsiteY1246" fmla="*/ 630942 h 1025181"/>
                <a:gd name="connsiteX1247" fmla="*/ 1366957 w 1383262"/>
                <a:gd name="connsiteY1247" fmla="*/ 637250 h 1025181"/>
                <a:gd name="connsiteX1248" fmla="*/ 1363587 w 1383262"/>
                <a:gd name="connsiteY1248" fmla="*/ 642797 h 1025181"/>
                <a:gd name="connsiteX1249" fmla="*/ 1363587 w 1383262"/>
                <a:gd name="connsiteY1249" fmla="*/ 648507 h 1025181"/>
                <a:gd name="connsiteX1250" fmla="*/ 1360515 w 1383262"/>
                <a:gd name="connsiteY1250" fmla="*/ 651516 h 1025181"/>
                <a:gd name="connsiteX1251" fmla="*/ 1357443 w 1383262"/>
                <a:gd name="connsiteY1251" fmla="*/ 648507 h 1025181"/>
                <a:gd name="connsiteX1252" fmla="*/ 1357443 w 1383262"/>
                <a:gd name="connsiteY1252" fmla="*/ 642797 h 1025181"/>
                <a:gd name="connsiteX1253" fmla="*/ 1354074 w 1383262"/>
                <a:gd name="connsiteY1253" fmla="*/ 637250 h 1025181"/>
                <a:gd name="connsiteX1254" fmla="*/ 1360515 w 1383262"/>
                <a:gd name="connsiteY1254" fmla="*/ 630942 h 1025181"/>
                <a:gd name="connsiteX1255" fmla="*/ 1360694 w 1383262"/>
                <a:gd name="connsiteY1255" fmla="*/ 604609 h 1025181"/>
                <a:gd name="connsiteX1256" fmla="*/ 1368624 w 1383262"/>
                <a:gd name="connsiteY1256" fmla="*/ 609866 h 1025181"/>
                <a:gd name="connsiteX1257" fmla="*/ 1369254 w 1383262"/>
                <a:gd name="connsiteY1257" fmla="*/ 612983 h 1025181"/>
                <a:gd name="connsiteX1258" fmla="*/ 1367050 w 1383262"/>
                <a:gd name="connsiteY1258" fmla="*/ 612983 h 1025181"/>
                <a:gd name="connsiteX1259" fmla="*/ 1354524 w 1383262"/>
                <a:gd name="connsiteY1259" fmla="*/ 612983 h 1025181"/>
                <a:gd name="connsiteX1260" fmla="*/ 1352134 w 1383262"/>
                <a:gd name="connsiteY1260" fmla="*/ 612983 h 1025181"/>
                <a:gd name="connsiteX1261" fmla="*/ 1352763 w 1383262"/>
                <a:gd name="connsiteY1261" fmla="*/ 609866 h 1025181"/>
                <a:gd name="connsiteX1262" fmla="*/ 1360694 w 1383262"/>
                <a:gd name="connsiteY1262" fmla="*/ 604609 h 1025181"/>
                <a:gd name="connsiteX1263" fmla="*/ 1360694 w 1383262"/>
                <a:gd name="connsiteY1263" fmla="*/ 596002 h 1025181"/>
                <a:gd name="connsiteX1264" fmla="*/ 1343830 w 1383262"/>
                <a:gd name="connsiteY1264" fmla="*/ 609747 h 1025181"/>
                <a:gd name="connsiteX1265" fmla="*/ 1343503 w 1383262"/>
                <a:gd name="connsiteY1265" fmla="*/ 612983 h 1025181"/>
                <a:gd name="connsiteX1266" fmla="*/ 1342539 w 1383262"/>
                <a:gd name="connsiteY1266" fmla="*/ 612983 h 1025181"/>
                <a:gd name="connsiteX1267" fmla="*/ 1338150 w 1383262"/>
                <a:gd name="connsiteY1267" fmla="*/ 617259 h 1025181"/>
                <a:gd name="connsiteX1268" fmla="*/ 1338150 w 1383262"/>
                <a:gd name="connsiteY1268" fmla="*/ 651076 h 1025181"/>
                <a:gd name="connsiteX1269" fmla="*/ 1342539 w 1383262"/>
                <a:gd name="connsiteY1269" fmla="*/ 655351 h 1025181"/>
                <a:gd name="connsiteX1270" fmla="*/ 1378849 w 1383262"/>
                <a:gd name="connsiteY1270" fmla="*/ 655351 h 1025181"/>
                <a:gd name="connsiteX1271" fmla="*/ 1383238 w 1383262"/>
                <a:gd name="connsiteY1271" fmla="*/ 651076 h 1025181"/>
                <a:gd name="connsiteX1272" fmla="*/ 1383238 w 1383262"/>
                <a:gd name="connsiteY1272" fmla="*/ 617259 h 1025181"/>
                <a:gd name="connsiteX1273" fmla="*/ 1378849 w 1383262"/>
                <a:gd name="connsiteY1273" fmla="*/ 612983 h 1025181"/>
                <a:gd name="connsiteX1274" fmla="*/ 1378282 w 1383262"/>
                <a:gd name="connsiteY1274" fmla="*/ 612983 h 1025181"/>
                <a:gd name="connsiteX1275" fmla="*/ 1377884 w 1383262"/>
                <a:gd name="connsiteY1275" fmla="*/ 612983 h 1025181"/>
                <a:gd name="connsiteX1276" fmla="*/ 1377558 w 1383262"/>
                <a:gd name="connsiteY1276" fmla="*/ 609747 h 1025181"/>
                <a:gd name="connsiteX1277" fmla="*/ 1360694 w 1383262"/>
                <a:gd name="connsiteY1277" fmla="*/ 596002 h 1025181"/>
                <a:gd name="connsiteX1278" fmla="*/ 1360515 w 1383262"/>
                <a:gd name="connsiteY1278" fmla="*/ 554702 h 1025181"/>
                <a:gd name="connsiteX1279" fmla="*/ 1366957 w 1383262"/>
                <a:gd name="connsiteY1279" fmla="*/ 561009 h 1025181"/>
                <a:gd name="connsiteX1280" fmla="*/ 1363587 w 1383262"/>
                <a:gd name="connsiteY1280" fmla="*/ 566557 h 1025181"/>
                <a:gd name="connsiteX1281" fmla="*/ 1363587 w 1383262"/>
                <a:gd name="connsiteY1281" fmla="*/ 572267 h 1025181"/>
                <a:gd name="connsiteX1282" fmla="*/ 1360515 w 1383262"/>
                <a:gd name="connsiteY1282" fmla="*/ 575275 h 1025181"/>
                <a:gd name="connsiteX1283" fmla="*/ 1357444 w 1383262"/>
                <a:gd name="connsiteY1283" fmla="*/ 572267 h 1025181"/>
                <a:gd name="connsiteX1284" fmla="*/ 1357444 w 1383262"/>
                <a:gd name="connsiteY1284" fmla="*/ 566557 h 1025181"/>
                <a:gd name="connsiteX1285" fmla="*/ 1354074 w 1383262"/>
                <a:gd name="connsiteY1285" fmla="*/ 561009 h 1025181"/>
                <a:gd name="connsiteX1286" fmla="*/ 1360515 w 1383262"/>
                <a:gd name="connsiteY1286" fmla="*/ 554702 h 1025181"/>
                <a:gd name="connsiteX1287" fmla="*/ 1360694 w 1383262"/>
                <a:gd name="connsiteY1287" fmla="*/ 528369 h 1025181"/>
                <a:gd name="connsiteX1288" fmla="*/ 1368624 w 1383262"/>
                <a:gd name="connsiteY1288" fmla="*/ 533626 h 1025181"/>
                <a:gd name="connsiteX1289" fmla="*/ 1369254 w 1383262"/>
                <a:gd name="connsiteY1289" fmla="*/ 536743 h 1025181"/>
                <a:gd name="connsiteX1290" fmla="*/ 1367050 w 1383262"/>
                <a:gd name="connsiteY1290" fmla="*/ 536743 h 1025181"/>
                <a:gd name="connsiteX1291" fmla="*/ 1354524 w 1383262"/>
                <a:gd name="connsiteY1291" fmla="*/ 536743 h 1025181"/>
                <a:gd name="connsiteX1292" fmla="*/ 1352134 w 1383262"/>
                <a:gd name="connsiteY1292" fmla="*/ 536743 h 1025181"/>
                <a:gd name="connsiteX1293" fmla="*/ 1352763 w 1383262"/>
                <a:gd name="connsiteY1293" fmla="*/ 533626 h 1025181"/>
                <a:gd name="connsiteX1294" fmla="*/ 1360694 w 1383262"/>
                <a:gd name="connsiteY1294" fmla="*/ 528369 h 1025181"/>
                <a:gd name="connsiteX1295" fmla="*/ 1360694 w 1383262"/>
                <a:gd name="connsiteY1295" fmla="*/ 519762 h 1025181"/>
                <a:gd name="connsiteX1296" fmla="*/ 1343830 w 1383262"/>
                <a:gd name="connsiteY1296" fmla="*/ 533507 h 1025181"/>
                <a:gd name="connsiteX1297" fmla="*/ 1343503 w 1383262"/>
                <a:gd name="connsiteY1297" fmla="*/ 536743 h 1025181"/>
                <a:gd name="connsiteX1298" fmla="*/ 1342539 w 1383262"/>
                <a:gd name="connsiteY1298" fmla="*/ 536743 h 1025181"/>
                <a:gd name="connsiteX1299" fmla="*/ 1338150 w 1383262"/>
                <a:gd name="connsiteY1299" fmla="*/ 541018 h 1025181"/>
                <a:gd name="connsiteX1300" fmla="*/ 1338150 w 1383262"/>
                <a:gd name="connsiteY1300" fmla="*/ 574835 h 1025181"/>
                <a:gd name="connsiteX1301" fmla="*/ 1342539 w 1383262"/>
                <a:gd name="connsiteY1301" fmla="*/ 579111 h 1025181"/>
                <a:gd name="connsiteX1302" fmla="*/ 1378849 w 1383262"/>
                <a:gd name="connsiteY1302" fmla="*/ 579111 h 1025181"/>
                <a:gd name="connsiteX1303" fmla="*/ 1383238 w 1383262"/>
                <a:gd name="connsiteY1303" fmla="*/ 574835 h 1025181"/>
                <a:gd name="connsiteX1304" fmla="*/ 1383238 w 1383262"/>
                <a:gd name="connsiteY1304" fmla="*/ 541018 h 1025181"/>
                <a:gd name="connsiteX1305" fmla="*/ 1378849 w 1383262"/>
                <a:gd name="connsiteY1305" fmla="*/ 536743 h 1025181"/>
                <a:gd name="connsiteX1306" fmla="*/ 1378282 w 1383262"/>
                <a:gd name="connsiteY1306" fmla="*/ 536743 h 1025181"/>
                <a:gd name="connsiteX1307" fmla="*/ 1377884 w 1383262"/>
                <a:gd name="connsiteY1307" fmla="*/ 536743 h 1025181"/>
                <a:gd name="connsiteX1308" fmla="*/ 1377558 w 1383262"/>
                <a:gd name="connsiteY1308" fmla="*/ 533507 h 1025181"/>
                <a:gd name="connsiteX1309" fmla="*/ 1360694 w 1383262"/>
                <a:gd name="connsiteY1309" fmla="*/ 519762 h 1025181"/>
                <a:gd name="connsiteX1310" fmla="*/ 1360515 w 1383262"/>
                <a:gd name="connsiteY1310" fmla="*/ 478461 h 1025181"/>
                <a:gd name="connsiteX1311" fmla="*/ 1366957 w 1383262"/>
                <a:gd name="connsiteY1311" fmla="*/ 484769 h 1025181"/>
                <a:gd name="connsiteX1312" fmla="*/ 1363587 w 1383262"/>
                <a:gd name="connsiteY1312" fmla="*/ 490316 h 1025181"/>
                <a:gd name="connsiteX1313" fmla="*/ 1363587 w 1383262"/>
                <a:gd name="connsiteY1313" fmla="*/ 496026 h 1025181"/>
                <a:gd name="connsiteX1314" fmla="*/ 1360515 w 1383262"/>
                <a:gd name="connsiteY1314" fmla="*/ 499034 h 1025181"/>
                <a:gd name="connsiteX1315" fmla="*/ 1357444 w 1383262"/>
                <a:gd name="connsiteY1315" fmla="*/ 496026 h 1025181"/>
                <a:gd name="connsiteX1316" fmla="*/ 1357444 w 1383262"/>
                <a:gd name="connsiteY1316" fmla="*/ 490316 h 1025181"/>
                <a:gd name="connsiteX1317" fmla="*/ 1354074 w 1383262"/>
                <a:gd name="connsiteY1317" fmla="*/ 484769 h 1025181"/>
                <a:gd name="connsiteX1318" fmla="*/ 1360515 w 1383262"/>
                <a:gd name="connsiteY1318" fmla="*/ 478461 h 1025181"/>
                <a:gd name="connsiteX1319" fmla="*/ 1360694 w 1383262"/>
                <a:gd name="connsiteY1319" fmla="*/ 452129 h 1025181"/>
                <a:gd name="connsiteX1320" fmla="*/ 1368624 w 1383262"/>
                <a:gd name="connsiteY1320" fmla="*/ 457385 h 1025181"/>
                <a:gd name="connsiteX1321" fmla="*/ 1369254 w 1383262"/>
                <a:gd name="connsiteY1321" fmla="*/ 460502 h 1025181"/>
                <a:gd name="connsiteX1322" fmla="*/ 1367050 w 1383262"/>
                <a:gd name="connsiteY1322" fmla="*/ 460502 h 1025181"/>
                <a:gd name="connsiteX1323" fmla="*/ 1354524 w 1383262"/>
                <a:gd name="connsiteY1323" fmla="*/ 460502 h 1025181"/>
                <a:gd name="connsiteX1324" fmla="*/ 1352134 w 1383262"/>
                <a:gd name="connsiteY1324" fmla="*/ 460502 h 1025181"/>
                <a:gd name="connsiteX1325" fmla="*/ 1352763 w 1383262"/>
                <a:gd name="connsiteY1325" fmla="*/ 457385 h 1025181"/>
                <a:gd name="connsiteX1326" fmla="*/ 1360694 w 1383262"/>
                <a:gd name="connsiteY1326" fmla="*/ 452129 h 1025181"/>
                <a:gd name="connsiteX1327" fmla="*/ 1360694 w 1383262"/>
                <a:gd name="connsiteY1327" fmla="*/ 443522 h 1025181"/>
                <a:gd name="connsiteX1328" fmla="*/ 1343830 w 1383262"/>
                <a:gd name="connsiteY1328" fmla="*/ 457266 h 1025181"/>
                <a:gd name="connsiteX1329" fmla="*/ 1343504 w 1383262"/>
                <a:gd name="connsiteY1329" fmla="*/ 460502 h 1025181"/>
                <a:gd name="connsiteX1330" fmla="*/ 1342539 w 1383262"/>
                <a:gd name="connsiteY1330" fmla="*/ 460502 h 1025181"/>
                <a:gd name="connsiteX1331" fmla="*/ 1338150 w 1383262"/>
                <a:gd name="connsiteY1331" fmla="*/ 464778 h 1025181"/>
                <a:gd name="connsiteX1332" fmla="*/ 1338150 w 1383262"/>
                <a:gd name="connsiteY1332" fmla="*/ 498595 h 1025181"/>
                <a:gd name="connsiteX1333" fmla="*/ 1342539 w 1383262"/>
                <a:gd name="connsiteY1333" fmla="*/ 502870 h 1025181"/>
                <a:gd name="connsiteX1334" fmla="*/ 1378849 w 1383262"/>
                <a:gd name="connsiteY1334" fmla="*/ 502870 h 1025181"/>
                <a:gd name="connsiteX1335" fmla="*/ 1383238 w 1383262"/>
                <a:gd name="connsiteY1335" fmla="*/ 498595 h 1025181"/>
                <a:gd name="connsiteX1336" fmla="*/ 1383238 w 1383262"/>
                <a:gd name="connsiteY1336" fmla="*/ 464778 h 1025181"/>
                <a:gd name="connsiteX1337" fmla="*/ 1378849 w 1383262"/>
                <a:gd name="connsiteY1337" fmla="*/ 460502 h 1025181"/>
                <a:gd name="connsiteX1338" fmla="*/ 1378282 w 1383262"/>
                <a:gd name="connsiteY1338" fmla="*/ 460502 h 1025181"/>
                <a:gd name="connsiteX1339" fmla="*/ 1377884 w 1383262"/>
                <a:gd name="connsiteY1339" fmla="*/ 460502 h 1025181"/>
                <a:gd name="connsiteX1340" fmla="*/ 1377558 w 1383262"/>
                <a:gd name="connsiteY1340" fmla="*/ 457266 h 1025181"/>
                <a:gd name="connsiteX1341" fmla="*/ 1360694 w 1383262"/>
                <a:gd name="connsiteY1341" fmla="*/ 443522 h 1025181"/>
                <a:gd name="connsiteX1342" fmla="*/ 1360515 w 1383262"/>
                <a:gd name="connsiteY1342" fmla="*/ 402221 h 1025181"/>
                <a:gd name="connsiteX1343" fmla="*/ 1366957 w 1383262"/>
                <a:gd name="connsiteY1343" fmla="*/ 408528 h 1025181"/>
                <a:gd name="connsiteX1344" fmla="*/ 1363587 w 1383262"/>
                <a:gd name="connsiteY1344" fmla="*/ 414076 h 1025181"/>
                <a:gd name="connsiteX1345" fmla="*/ 1363587 w 1383262"/>
                <a:gd name="connsiteY1345" fmla="*/ 419786 h 1025181"/>
                <a:gd name="connsiteX1346" fmla="*/ 1360515 w 1383262"/>
                <a:gd name="connsiteY1346" fmla="*/ 422794 h 1025181"/>
                <a:gd name="connsiteX1347" fmla="*/ 1357444 w 1383262"/>
                <a:gd name="connsiteY1347" fmla="*/ 419786 h 1025181"/>
                <a:gd name="connsiteX1348" fmla="*/ 1357444 w 1383262"/>
                <a:gd name="connsiteY1348" fmla="*/ 414076 h 1025181"/>
                <a:gd name="connsiteX1349" fmla="*/ 1354074 w 1383262"/>
                <a:gd name="connsiteY1349" fmla="*/ 408528 h 1025181"/>
                <a:gd name="connsiteX1350" fmla="*/ 1360515 w 1383262"/>
                <a:gd name="connsiteY1350" fmla="*/ 402221 h 1025181"/>
                <a:gd name="connsiteX1351" fmla="*/ 1360694 w 1383262"/>
                <a:gd name="connsiteY1351" fmla="*/ 375888 h 1025181"/>
                <a:gd name="connsiteX1352" fmla="*/ 1368624 w 1383262"/>
                <a:gd name="connsiteY1352" fmla="*/ 381145 h 1025181"/>
                <a:gd name="connsiteX1353" fmla="*/ 1369254 w 1383262"/>
                <a:gd name="connsiteY1353" fmla="*/ 384262 h 1025181"/>
                <a:gd name="connsiteX1354" fmla="*/ 1367050 w 1383262"/>
                <a:gd name="connsiteY1354" fmla="*/ 384262 h 1025181"/>
                <a:gd name="connsiteX1355" fmla="*/ 1354524 w 1383262"/>
                <a:gd name="connsiteY1355" fmla="*/ 384262 h 1025181"/>
                <a:gd name="connsiteX1356" fmla="*/ 1352134 w 1383262"/>
                <a:gd name="connsiteY1356" fmla="*/ 384262 h 1025181"/>
                <a:gd name="connsiteX1357" fmla="*/ 1352763 w 1383262"/>
                <a:gd name="connsiteY1357" fmla="*/ 381145 h 1025181"/>
                <a:gd name="connsiteX1358" fmla="*/ 1360694 w 1383262"/>
                <a:gd name="connsiteY1358" fmla="*/ 375888 h 1025181"/>
                <a:gd name="connsiteX1359" fmla="*/ 1360694 w 1383262"/>
                <a:gd name="connsiteY1359" fmla="*/ 367281 h 1025181"/>
                <a:gd name="connsiteX1360" fmla="*/ 1343830 w 1383262"/>
                <a:gd name="connsiteY1360" fmla="*/ 381026 h 1025181"/>
                <a:gd name="connsiteX1361" fmla="*/ 1343504 w 1383262"/>
                <a:gd name="connsiteY1361" fmla="*/ 384262 h 1025181"/>
                <a:gd name="connsiteX1362" fmla="*/ 1342539 w 1383262"/>
                <a:gd name="connsiteY1362" fmla="*/ 384262 h 1025181"/>
                <a:gd name="connsiteX1363" fmla="*/ 1338150 w 1383262"/>
                <a:gd name="connsiteY1363" fmla="*/ 388537 h 1025181"/>
                <a:gd name="connsiteX1364" fmla="*/ 1338150 w 1383262"/>
                <a:gd name="connsiteY1364" fmla="*/ 422355 h 1025181"/>
                <a:gd name="connsiteX1365" fmla="*/ 1342539 w 1383262"/>
                <a:gd name="connsiteY1365" fmla="*/ 426630 h 1025181"/>
                <a:gd name="connsiteX1366" fmla="*/ 1378849 w 1383262"/>
                <a:gd name="connsiteY1366" fmla="*/ 426630 h 1025181"/>
                <a:gd name="connsiteX1367" fmla="*/ 1383238 w 1383262"/>
                <a:gd name="connsiteY1367" fmla="*/ 422355 h 1025181"/>
                <a:gd name="connsiteX1368" fmla="*/ 1383238 w 1383262"/>
                <a:gd name="connsiteY1368" fmla="*/ 388537 h 1025181"/>
                <a:gd name="connsiteX1369" fmla="*/ 1378849 w 1383262"/>
                <a:gd name="connsiteY1369" fmla="*/ 384262 h 1025181"/>
                <a:gd name="connsiteX1370" fmla="*/ 1378282 w 1383262"/>
                <a:gd name="connsiteY1370" fmla="*/ 384262 h 1025181"/>
                <a:gd name="connsiteX1371" fmla="*/ 1377884 w 1383262"/>
                <a:gd name="connsiteY1371" fmla="*/ 384262 h 1025181"/>
                <a:gd name="connsiteX1372" fmla="*/ 1377558 w 1383262"/>
                <a:gd name="connsiteY1372" fmla="*/ 381026 h 1025181"/>
                <a:gd name="connsiteX1373" fmla="*/ 1360694 w 1383262"/>
                <a:gd name="connsiteY1373" fmla="*/ 367281 h 1025181"/>
                <a:gd name="connsiteX1374" fmla="*/ 1360515 w 1383262"/>
                <a:gd name="connsiteY1374" fmla="*/ 325980 h 1025181"/>
                <a:gd name="connsiteX1375" fmla="*/ 1366957 w 1383262"/>
                <a:gd name="connsiteY1375" fmla="*/ 332288 h 1025181"/>
                <a:gd name="connsiteX1376" fmla="*/ 1363587 w 1383262"/>
                <a:gd name="connsiteY1376" fmla="*/ 337836 h 1025181"/>
                <a:gd name="connsiteX1377" fmla="*/ 1363587 w 1383262"/>
                <a:gd name="connsiteY1377" fmla="*/ 343545 h 1025181"/>
                <a:gd name="connsiteX1378" fmla="*/ 1360515 w 1383262"/>
                <a:gd name="connsiteY1378" fmla="*/ 346553 h 1025181"/>
                <a:gd name="connsiteX1379" fmla="*/ 1357444 w 1383262"/>
                <a:gd name="connsiteY1379" fmla="*/ 343545 h 1025181"/>
                <a:gd name="connsiteX1380" fmla="*/ 1357444 w 1383262"/>
                <a:gd name="connsiteY1380" fmla="*/ 337836 h 1025181"/>
                <a:gd name="connsiteX1381" fmla="*/ 1354074 w 1383262"/>
                <a:gd name="connsiteY1381" fmla="*/ 332288 h 1025181"/>
                <a:gd name="connsiteX1382" fmla="*/ 1360515 w 1383262"/>
                <a:gd name="connsiteY1382" fmla="*/ 325980 h 1025181"/>
                <a:gd name="connsiteX1383" fmla="*/ 1360694 w 1383262"/>
                <a:gd name="connsiteY1383" fmla="*/ 299648 h 1025181"/>
                <a:gd name="connsiteX1384" fmla="*/ 1368624 w 1383262"/>
                <a:gd name="connsiteY1384" fmla="*/ 304904 h 1025181"/>
                <a:gd name="connsiteX1385" fmla="*/ 1369254 w 1383262"/>
                <a:gd name="connsiteY1385" fmla="*/ 308021 h 1025181"/>
                <a:gd name="connsiteX1386" fmla="*/ 1367050 w 1383262"/>
                <a:gd name="connsiteY1386" fmla="*/ 308021 h 1025181"/>
                <a:gd name="connsiteX1387" fmla="*/ 1354524 w 1383262"/>
                <a:gd name="connsiteY1387" fmla="*/ 308021 h 1025181"/>
                <a:gd name="connsiteX1388" fmla="*/ 1352134 w 1383262"/>
                <a:gd name="connsiteY1388" fmla="*/ 308021 h 1025181"/>
                <a:gd name="connsiteX1389" fmla="*/ 1352763 w 1383262"/>
                <a:gd name="connsiteY1389" fmla="*/ 304904 h 1025181"/>
                <a:gd name="connsiteX1390" fmla="*/ 1360694 w 1383262"/>
                <a:gd name="connsiteY1390" fmla="*/ 299648 h 1025181"/>
                <a:gd name="connsiteX1391" fmla="*/ 1360694 w 1383262"/>
                <a:gd name="connsiteY1391" fmla="*/ 291041 h 1025181"/>
                <a:gd name="connsiteX1392" fmla="*/ 1343830 w 1383262"/>
                <a:gd name="connsiteY1392" fmla="*/ 304785 h 1025181"/>
                <a:gd name="connsiteX1393" fmla="*/ 1343504 w 1383262"/>
                <a:gd name="connsiteY1393" fmla="*/ 308021 h 1025181"/>
                <a:gd name="connsiteX1394" fmla="*/ 1342539 w 1383262"/>
                <a:gd name="connsiteY1394" fmla="*/ 308021 h 1025181"/>
                <a:gd name="connsiteX1395" fmla="*/ 1338150 w 1383262"/>
                <a:gd name="connsiteY1395" fmla="*/ 312297 h 1025181"/>
                <a:gd name="connsiteX1396" fmla="*/ 1338150 w 1383262"/>
                <a:gd name="connsiteY1396" fmla="*/ 346114 h 1025181"/>
                <a:gd name="connsiteX1397" fmla="*/ 1342539 w 1383262"/>
                <a:gd name="connsiteY1397" fmla="*/ 350389 h 1025181"/>
                <a:gd name="connsiteX1398" fmla="*/ 1378849 w 1383262"/>
                <a:gd name="connsiteY1398" fmla="*/ 350389 h 1025181"/>
                <a:gd name="connsiteX1399" fmla="*/ 1383238 w 1383262"/>
                <a:gd name="connsiteY1399" fmla="*/ 346114 h 1025181"/>
                <a:gd name="connsiteX1400" fmla="*/ 1383238 w 1383262"/>
                <a:gd name="connsiteY1400" fmla="*/ 312297 h 1025181"/>
                <a:gd name="connsiteX1401" fmla="*/ 1378849 w 1383262"/>
                <a:gd name="connsiteY1401" fmla="*/ 308021 h 1025181"/>
                <a:gd name="connsiteX1402" fmla="*/ 1378282 w 1383262"/>
                <a:gd name="connsiteY1402" fmla="*/ 308021 h 1025181"/>
                <a:gd name="connsiteX1403" fmla="*/ 1377884 w 1383262"/>
                <a:gd name="connsiteY1403" fmla="*/ 308021 h 1025181"/>
                <a:gd name="connsiteX1404" fmla="*/ 1377558 w 1383262"/>
                <a:gd name="connsiteY1404" fmla="*/ 304785 h 1025181"/>
                <a:gd name="connsiteX1405" fmla="*/ 1360694 w 1383262"/>
                <a:gd name="connsiteY1405" fmla="*/ 291041 h 1025181"/>
                <a:gd name="connsiteX1406" fmla="*/ 1360515 w 1383262"/>
                <a:gd name="connsiteY1406" fmla="*/ 249740 h 1025181"/>
                <a:gd name="connsiteX1407" fmla="*/ 1366957 w 1383262"/>
                <a:gd name="connsiteY1407" fmla="*/ 256047 h 1025181"/>
                <a:gd name="connsiteX1408" fmla="*/ 1363587 w 1383262"/>
                <a:gd name="connsiteY1408" fmla="*/ 261595 h 1025181"/>
                <a:gd name="connsiteX1409" fmla="*/ 1363587 w 1383262"/>
                <a:gd name="connsiteY1409" fmla="*/ 267305 h 1025181"/>
                <a:gd name="connsiteX1410" fmla="*/ 1360515 w 1383262"/>
                <a:gd name="connsiteY1410" fmla="*/ 270313 h 1025181"/>
                <a:gd name="connsiteX1411" fmla="*/ 1357444 w 1383262"/>
                <a:gd name="connsiteY1411" fmla="*/ 267305 h 1025181"/>
                <a:gd name="connsiteX1412" fmla="*/ 1357444 w 1383262"/>
                <a:gd name="connsiteY1412" fmla="*/ 261595 h 1025181"/>
                <a:gd name="connsiteX1413" fmla="*/ 1354074 w 1383262"/>
                <a:gd name="connsiteY1413" fmla="*/ 256047 h 1025181"/>
                <a:gd name="connsiteX1414" fmla="*/ 1360515 w 1383262"/>
                <a:gd name="connsiteY1414" fmla="*/ 249740 h 1025181"/>
                <a:gd name="connsiteX1415" fmla="*/ 1360694 w 1383262"/>
                <a:gd name="connsiteY1415" fmla="*/ 223407 h 1025181"/>
                <a:gd name="connsiteX1416" fmla="*/ 1368624 w 1383262"/>
                <a:gd name="connsiteY1416" fmla="*/ 228664 h 1025181"/>
                <a:gd name="connsiteX1417" fmla="*/ 1369254 w 1383262"/>
                <a:gd name="connsiteY1417" fmla="*/ 231781 h 1025181"/>
                <a:gd name="connsiteX1418" fmla="*/ 1367050 w 1383262"/>
                <a:gd name="connsiteY1418" fmla="*/ 231781 h 1025181"/>
                <a:gd name="connsiteX1419" fmla="*/ 1354524 w 1383262"/>
                <a:gd name="connsiteY1419" fmla="*/ 231781 h 1025181"/>
                <a:gd name="connsiteX1420" fmla="*/ 1352134 w 1383262"/>
                <a:gd name="connsiteY1420" fmla="*/ 231781 h 1025181"/>
                <a:gd name="connsiteX1421" fmla="*/ 1352763 w 1383262"/>
                <a:gd name="connsiteY1421" fmla="*/ 228664 h 1025181"/>
                <a:gd name="connsiteX1422" fmla="*/ 1360694 w 1383262"/>
                <a:gd name="connsiteY1422" fmla="*/ 223407 h 1025181"/>
                <a:gd name="connsiteX1423" fmla="*/ 1360694 w 1383262"/>
                <a:gd name="connsiteY1423" fmla="*/ 214800 h 1025181"/>
                <a:gd name="connsiteX1424" fmla="*/ 1343830 w 1383262"/>
                <a:gd name="connsiteY1424" fmla="*/ 228545 h 1025181"/>
                <a:gd name="connsiteX1425" fmla="*/ 1343504 w 1383262"/>
                <a:gd name="connsiteY1425" fmla="*/ 231781 h 1025181"/>
                <a:gd name="connsiteX1426" fmla="*/ 1342539 w 1383262"/>
                <a:gd name="connsiteY1426" fmla="*/ 231781 h 1025181"/>
                <a:gd name="connsiteX1427" fmla="*/ 1338150 w 1383262"/>
                <a:gd name="connsiteY1427" fmla="*/ 236056 h 1025181"/>
                <a:gd name="connsiteX1428" fmla="*/ 1338150 w 1383262"/>
                <a:gd name="connsiteY1428" fmla="*/ 269874 h 1025181"/>
                <a:gd name="connsiteX1429" fmla="*/ 1342539 w 1383262"/>
                <a:gd name="connsiteY1429" fmla="*/ 274149 h 1025181"/>
                <a:gd name="connsiteX1430" fmla="*/ 1378849 w 1383262"/>
                <a:gd name="connsiteY1430" fmla="*/ 274149 h 1025181"/>
                <a:gd name="connsiteX1431" fmla="*/ 1383238 w 1383262"/>
                <a:gd name="connsiteY1431" fmla="*/ 269874 h 1025181"/>
                <a:gd name="connsiteX1432" fmla="*/ 1383238 w 1383262"/>
                <a:gd name="connsiteY1432" fmla="*/ 236056 h 1025181"/>
                <a:gd name="connsiteX1433" fmla="*/ 1378849 w 1383262"/>
                <a:gd name="connsiteY1433" fmla="*/ 231781 h 1025181"/>
                <a:gd name="connsiteX1434" fmla="*/ 1378282 w 1383262"/>
                <a:gd name="connsiteY1434" fmla="*/ 231781 h 1025181"/>
                <a:gd name="connsiteX1435" fmla="*/ 1377884 w 1383262"/>
                <a:gd name="connsiteY1435" fmla="*/ 231781 h 1025181"/>
                <a:gd name="connsiteX1436" fmla="*/ 1377558 w 1383262"/>
                <a:gd name="connsiteY1436" fmla="*/ 228545 h 1025181"/>
                <a:gd name="connsiteX1437" fmla="*/ 1360694 w 1383262"/>
                <a:gd name="connsiteY1437" fmla="*/ 214800 h 1025181"/>
                <a:gd name="connsiteX1438" fmla="*/ 1362073 w 1383262"/>
                <a:gd name="connsiteY1438" fmla="*/ 144201 h 1025181"/>
                <a:gd name="connsiteX1439" fmla="*/ 1359315 w 1383262"/>
                <a:gd name="connsiteY1439" fmla="*/ 144201 h 1025181"/>
                <a:gd name="connsiteX1440" fmla="*/ 1356188 w 1383262"/>
                <a:gd name="connsiteY1440" fmla="*/ 145857 h 1025181"/>
                <a:gd name="connsiteX1441" fmla="*/ 1354717 w 1383262"/>
                <a:gd name="connsiteY1441" fmla="*/ 150086 h 1025181"/>
                <a:gd name="connsiteX1442" fmla="*/ 1354717 w 1383262"/>
                <a:gd name="connsiteY1442" fmla="*/ 150454 h 1025181"/>
                <a:gd name="connsiteX1443" fmla="*/ 1354717 w 1383262"/>
                <a:gd name="connsiteY1443" fmla="*/ 186497 h 1025181"/>
                <a:gd name="connsiteX1444" fmla="*/ 1354350 w 1383262"/>
                <a:gd name="connsiteY1444" fmla="*/ 186864 h 1025181"/>
                <a:gd name="connsiteX1445" fmla="*/ 1349385 w 1383262"/>
                <a:gd name="connsiteY1445" fmla="*/ 186864 h 1025181"/>
                <a:gd name="connsiteX1446" fmla="*/ 1346626 w 1383262"/>
                <a:gd name="connsiteY1446" fmla="*/ 187600 h 1025181"/>
                <a:gd name="connsiteX1447" fmla="*/ 1344051 w 1383262"/>
                <a:gd name="connsiteY1447" fmla="*/ 192197 h 1025181"/>
                <a:gd name="connsiteX1448" fmla="*/ 1345890 w 1383262"/>
                <a:gd name="connsiteY1448" fmla="*/ 196059 h 1025181"/>
                <a:gd name="connsiteX1449" fmla="*/ 1348649 w 1383262"/>
                <a:gd name="connsiteY1449" fmla="*/ 197347 h 1025181"/>
                <a:gd name="connsiteX1450" fmla="*/ 1348833 w 1383262"/>
                <a:gd name="connsiteY1450" fmla="*/ 197347 h 1025181"/>
                <a:gd name="connsiteX1451" fmla="*/ 1349017 w 1383262"/>
                <a:gd name="connsiteY1451" fmla="*/ 197347 h 1025181"/>
                <a:gd name="connsiteX1452" fmla="*/ 1349385 w 1383262"/>
                <a:gd name="connsiteY1452" fmla="*/ 197347 h 1025181"/>
                <a:gd name="connsiteX1453" fmla="*/ 1371267 w 1383262"/>
                <a:gd name="connsiteY1453" fmla="*/ 197347 h 1025181"/>
                <a:gd name="connsiteX1454" fmla="*/ 1371635 w 1383262"/>
                <a:gd name="connsiteY1454" fmla="*/ 197347 h 1025181"/>
                <a:gd name="connsiteX1455" fmla="*/ 1372188 w 1383262"/>
                <a:gd name="connsiteY1455" fmla="*/ 197347 h 1025181"/>
                <a:gd name="connsiteX1456" fmla="*/ 1372739 w 1383262"/>
                <a:gd name="connsiteY1456" fmla="*/ 197163 h 1025181"/>
                <a:gd name="connsiteX1457" fmla="*/ 1375130 w 1383262"/>
                <a:gd name="connsiteY1457" fmla="*/ 195875 h 1025181"/>
                <a:gd name="connsiteX1458" fmla="*/ 1376785 w 1383262"/>
                <a:gd name="connsiteY1458" fmla="*/ 192014 h 1025181"/>
                <a:gd name="connsiteX1459" fmla="*/ 1375314 w 1383262"/>
                <a:gd name="connsiteY1459" fmla="*/ 188520 h 1025181"/>
                <a:gd name="connsiteX1460" fmla="*/ 1371452 w 1383262"/>
                <a:gd name="connsiteY1460" fmla="*/ 186864 h 1025181"/>
                <a:gd name="connsiteX1461" fmla="*/ 1366119 w 1383262"/>
                <a:gd name="connsiteY1461" fmla="*/ 186864 h 1025181"/>
                <a:gd name="connsiteX1462" fmla="*/ 1365751 w 1383262"/>
                <a:gd name="connsiteY1462" fmla="*/ 186497 h 1025181"/>
                <a:gd name="connsiteX1463" fmla="*/ 1365751 w 1383262"/>
                <a:gd name="connsiteY1463" fmla="*/ 155235 h 1025181"/>
                <a:gd name="connsiteX1464" fmla="*/ 1366119 w 1383262"/>
                <a:gd name="connsiteY1464" fmla="*/ 154867 h 1025181"/>
                <a:gd name="connsiteX1465" fmla="*/ 1370164 w 1383262"/>
                <a:gd name="connsiteY1465" fmla="*/ 154867 h 1025181"/>
                <a:gd name="connsiteX1466" fmla="*/ 1375130 w 1383262"/>
                <a:gd name="connsiteY1466" fmla="*/ 151741 h 1025181"/>
                <a:gd name="connsiteX1467" fmla="*/ 1375314 w 1383262"/>
                <a:gd name="connsiteY1467" fmla="*/ 147879 h 1025181"/>
                <a:gd name="connsiteX1468" fmla="*/ 1370349 w 1383262"/>
                <a:gd name="connsiteY1468" fmla="*/ 144386 h 1025181"/>
                <a:gd name="connsiteX1469" fmla="*/ 1362073 w 1383262"/>
                <a:gd name="connsiteY1469" fmla="*/ 144201 h 1025181"/>
                <a:gd name="connsiteX1470" fmla="*/ 1362073 w 1383262"/>
                <a:gd name="connsiteY1470" fmla="*/ 72142 h 1025181"/>
                <a:gd name="connsiteX1471" fmla="*/ 1359315 w 1383262"/>
                <a:gd name="connsiteY1471" fmla="*/ 72142 h 1025181"/>
                <a:gd name="connsiteX1472" fmla="*/ 1356188 w 1383262"/>
                <a:gd name="connsiteY1472" fmla="*/ 73797 h 1025181"/>
                <a:gd name="connsiteX1473" fmla="*/ 1354717 w 1383262"/>
                <a:gd name="connsiteY1473" fmla="*/ 78026 h 1025181"/>
                <a:gd name="connsiteX1474" fmla="*/ 1354717 w 1383262"/>
                <a:gd name="connsiteY1474" fmla="*/ 78394 h 1025181"/>
                <a:gd name="connsiteX1475" fmla="*/ 1354717 w 1383262"/>
                <a:gd name="connsiteY1475" fmla="*/ 114437 h 1025181"/>
                <a:gd name="connsiteX1476" fmla="*/ 1354350 w 1383262"/>
                <a:gd name="connsiteY1476" fmla="*/ 114805 h 1025181"/>
                <a:gd name="connsiteX1477" fmla="*/ 1349385 w 1383262"/>
                <a:gd name="connsiteY1477" fmla="*/ 114805 h 1025181"/>
                <a:gd name="connsiteX1478" fmla="*/ 1346626 w 1383262"/>
                <a:gd name="connsiteY1478" fmla="*/ 115541 h 1025181"/>
                <a:gd name="connsiteX1479" fmla="*/ 1344051 w 1383262"/>
                <a:gd name="connsiteY1479" fmla="*/ 120138 h 1025181"/>
                <a:gd name="connsiteX1480" fmla="*/ 1345890 w 1383262"/>
                <a:gd name="connsiteY1480" fmla="*/ 123999 h 1025181"/>
                <a:gd name="connsiteX1481" fmla="*/ 1348649 w 1383262"/>
                <a:gd name="connsiteY1481" fmla="*/ 125287 h 1025181"/>
                <a:gd name="connsiteX1482" fmla="*/ 1348833 w 1383262"/>
                <a:gd name="connsiteY1482" fmla="*/ 125287 h 1025181"/>
                <a:gd name="connsiteX1483" fmla="*/ 1349017 w 1383262"/>
                <a:gd name="connsiteY1483" fmla="*/ 125287 h 1025181"/>
                <a:gd name="connsiteX1484" fmla="*/ 1349385 w 1383262"/>
                <a:gd name="connsiteY1484" fmla="*/ 125287 h 1025181"/>
                <a:gd name="connsiteX1485" fmla="*/ 1371268 w 1383262"/>
                <a:gd name="connsiteY1485" fmla="*/ 125287 h 1025181"/>
                <a:gd name="connsiteX1486" fmla="*/ 1371635 w 1383262"/>
                <a:gd name="connsiteY1486" fmla="*/ 125287 h 1025181"/>
                <a:gd name="connsiteX1487" fmla="*/ 1372188 w 1383262"/>
                <a:gd name="connsiteY1487" fmla="*/ 125287 h 1025181"/>
                <a:gd name="connsiteX1488" fmla="*/ 1372739 w 1383262"/>
                <a:gd name="connsiteY1488" fmla="*/ 125103 h 1025181"/>
                <a:gd name="connsiteX1489" fmla="*/ 1375130 w 1383262"/>
                <a:gd name="connsiteY1489" fmla="*/ 123816 h 1025181"/>
                <a:gd name="connsiteX1490" fmla="*/ 1376785 w 1383262"/>
                <a:gd name="connsiteY1490" fmla="*/ 119954 h 1025181"/>
                <a:gd name="connsiteX1491" fmla="*/ 1375314 w 1383262"/>
                <a:gd name="connsiteY1491" fmla="*/ 116460 h 1025181"/>
                <a:gd name="connsiteX1492" fmla="*/ 1371452 w 1383262"/>
                <a:gd name="connsiteY1492" fmla="*/ 114805 h 1025181"/>
                <a:gd name="connsiteX1493" fmla="*/ 1366119 w 1383262"/>
                <a:gd name="connsiteY1493" fmla="*/ 114805 h 1025181"/>
                <a:gd name="connsiteX1494" fmla="*/ 1365751 w 1383262"/>
                <a:gd name="connsiteY1494" fmla="*/ 114437 h 1025181"/>
                <a:gd name="connsiteX1495" fmla="*/ 1365751 w 1383262"/>
                <a:gd name="connsiteY1495" fmla="*/ 83175 h 1025181"/>
                <a:gd name="connsiteX1496" fmla="*/ 1366119 w 1383262"/>
                <a:gd name="connsiteY1496" fmla="*/ 82807 h 1025181"/>
                <a:gd name="connsiteX1497" fmla="*/ 1370164 w 1383262"/>
                <a:gd name="connsiteY1497" fmla="*/ 82807 h 1025181"/>
                <a:gd name="connsiteX1498" fmla="*/ 1375130 w 1383262"/>
                <a:gd name="connsiteY1498" fmla="*/ 79681 h 1025181"/>
                <a:gd name="connsiteX1499" fmla="*/ 1375314 w 1383262"/>
                <a:gd name="connsiteY1499" fmla="*/ 75820 h 1025181"/>
                <a:gd name="connsiteX1500" fmla="*/ 1370349 w 1383262"/>
                <a:gd name="connsiteY1500" fmla="*/ 72326 h 1025181"/>
                <a:gd name="connsiteX1501" fmla="*/ 1362073 w 1383262"/>
                <a:gd name="connsiteY1501" fmla="*/ 72142 h 1025181"/>
                <a:gd name="connsiteX1502" fmla="*/ 1357936 w 1383262"/>
                <a:gd name="connsiteY1502" fmla="*/ 10885 h 1025181"/>
                <a:gd name="connsiteX1503" fmla="*/ 1365792 w 1383262"/>
                <a:gd name="connsiteY1503" fmla="*/ 12540 h 1025181"/>
                <a:gd name="connsiteX1504" fmla="*/ 1367966 w 1383262"/>
                <a:gd name="connsiteY1504" fmla="*/ 14930 h 1025181"/>
                <a:gd name="connsiteX1505" fmla="*/ 1369471 w 1383262"/>
                <a:gd name="connsiteY1505" fmla="*/ 17505 h 1025181"/>
                <a:gd name="connsiteX1506" fmla="*/ 1370139 w 1383262"/>
                <a:gd name="connsiteY1506" fmla="*/ 19344 h 1025181"/>
                <a:gd name="connsiteX1507" fmla="*/ 1370808 w 1383262"/>
                <a:gd name="connsiteY1507" fmla="*/ 22102 h 1025181"/>
                <a:gd name="connsiteX1508" fmla="*/ 1371477 w 1383262"/>
                <a:gd name="connsiteY1508" fmla="*/ 26884 h 1025181"/>
                <a:gd name="connsiteX1509" fmla="*/ 1370808 w 1383262"/>
                <a:gd name="connsiteY1509" fmla="*/ 31849 h 1025181"/>
                <a:gd name="connsiteX1510" fmla="*/ 1369972 w 1383262"/>
                <a:gd name="connsiteY1510" fmla="*/ 34423 h 1025181"/>
                <a:gd name="connsiteX1511" fmla="*/ 1368467 w 1383262"/>
                <a:gd name="connsiteY1511" fmla="*/ 37365 h 1025181"/>
                <a:gd name="connsiteX1512" fmla="*/ 1366127 w 1383262"/>
                <a:gd name="connsiteY1512" fmla="*/ 40308 h 1025181"/>
                <a:gd name="connsiteX1513" fmla="*/ 1363118 w 1383262"/>
                <a:gd name="connsiteY1513" fmla="*/ 42146 h 1025181"/>
                <a:gd name="connsiteX1514" fmla="*/ 1354759 w 1383262"/>
                <a:gd name="connsiteY1514" fmla="*/ 40492 h 1025181"/>
                <a:gd name="connsiteX1515" fmla="*/ 1352586 w 1383262"/>
                <a:gd name="connsiteY1515" fmla="*/ 38101 h 1025181"/>
                <a:gd name="connsiteX1516" fmla="*/ 1350914 w 1383262"/>
                <a:gd name="connsiteY1516" fmla="*/ 35159 h 1025181"/>
                <a:gd name="connsiteX1517" fmla="*/ 1350245 w 1383262"/>
                <a:gd name="connsiteY1517" fmla="*/ 33688 h 1025181"/>
                <a:gd name="connsiteX1518" fmla="*/ 1349409 w 1383262"/>
                <a:gd name="connsiteY1518" fmla="*/ 30745 h 1025181"/>
                <a:gd name="connsiteX1519" fmla="*/ 1349743 w 1383262"/>
                <a:gd name="connsiteY1519" fmla="*/ 21367 h 1025181"/>
                <a:gd name="connsiteX1520" fmla="*/ 1350413 w 1383262"/>
                <a:gd name="connsiteY1520" fmla="*/ 19344 h 1025181"/>
                <a:gd name="connsiteX1521" fmla="*/ 1351248 w 1383262"/>
                <a:gd name="connsiteY1521" fmla="*/ 17321 h 1025181"/>
                <a:gd name="connsiteX1522" fmla="*/ 1352753 w 1383262"/>
                <a:gd name="connsiteY1522" fmla="*/ 14930 h 1025181"/>
                <a:gd name="connsiteX1523" fmla="*/ 1355261 w 1383262"/>
                <a:gd name="connsiteY1523" fmla="*/ 12356 h 1025181"/>
                <a:gd name="connsiteX1524" fmla="*/ 1357936 w 1383262"/>
                <a:gd name="connsiteY1524" fmla="*/ 10885 h 1025181"/>
                <a:gd name="connsiteX1525" fmla="*/ 1361613 w 1383262"/>
                <a:gd name="connsiteY1525" fmla="*/ 35 h 1025181"/>
                <a:gd name="connsiteX1526" fmla="*/ 1353254 w 1383262"/>
                <a:gd name="connsiteY1526" fmla="*/ 1506 h 1025181"/>
                <a:gd name="connsiteX1527" fmla="*/ 1348239 w 1383262"/>
                <a:gd name="connsiteY1527" fmla="*/ 4633 h 1025181"/>
                <a:gd name="connsiteX1528" fmla="*/ 1345899 w 1383262"/>
                <a:gd name="connsiteY1528" fmla="*/ 6839 h 1025181"/>
                <a:gd name="connsiteX1529" fmla="*/ 1343558 w 1383262"/>
                <a:gd name="connsiteY1529" fmla="*/ 9781 h 1025181"/>
                <a:gd name="connsiteX1530" fmla="*/ 1342220 w 1383262"/>
                <a:gd name="connsiteY1530" fmla="*/ 12172 h 1025181"/>
                <a:gd name="connsiteX1531" fmla="*/ 1340716 w 1383262"/>
                <a:gd name="connsiteY1531" fmla="*/ 15850 h 1025181"/>
                <a:gd name="connsiteX1532" fmla="*/ 1340047 w 1383262"/>
                <a:gd name="connsiteY1532" fmla="*/ 18241 h 1025181"/>
                <a:gd name="connsiteX1533" fmla="*/ 1339379 w 1383262"/>
                <a:gd name="connsiteY1533" fmla="*/ 21734 h 1025181"/>
                <a:gd name="connsiteX1534" fmla="*/ 1339545 w 1383262"/>
                <a:gd name="connsiteY1534" fmla="*/ 31481 h 1025181"/>
                <a:gd name="connsiteX1535" fmla="*/ 1340214 w 1383262"/>
                <a:gd name="connsiteY1535" fmla="*/ 34791 h 1025181"/>
                <a:gd name="connsiteX1536" fmla="*/ 1341051 w 1383262"/>
                <a:gd name="connsiteY1536" fmla="*/ 37365 h 1025181"/>
                <a:gd name="connsiteX1537" fmla="*/ 1341719 w 1383262"/>
                <a:gd name="connsiteY1537" fmla="*/ 39021 h 1025181"/>
                <a:gd name="connsiteX1538" fmla="*/ 1343224 w 1383262"/>
                <a:gd name="connsiteY1538" fmla="*/ 41963 h 1025181"/>
                <a:gd name="connsiteX1539" fmla="*/ 1344728 w 1383262"/>
                <a:gd name="connsiteY1539" fmla="*/ 44169 h 1025181"/>
                <a:gd name="connsiteX1540" fmla="*/ 1347068 w 1383262"/>
                <a:gd name="connsiteY1540" fmla="*/ 46744 h 1025181"/>
                <a:gd name="connsiteX1541" fmla="*/ 1349242 w 1383262"/>
                <a:gd name="connsiteY1541" fmla="*/ 48583 h 1025181"/>
                <a:gd name="connsiteX1542" fmla="*/ 1353087 w 1383262"/>
                <a:gd name="connsiteY1542" fmla="*/ 50790 h 1025181"/>
                <a:gd name="connsiteX1543" fmla="*/ 1358437 w 1383262"/>
                <a:gd name="connsiteY1543" fmla="*/ 52261 h 1025181"/>
                <a:gd name="connsiteX1544" fmla="*/ 1359273 w 1383262"/>
                <a:gd name="connsiteY1544" fmla="*/ 52445 h 1025181"/>
                <a:gd name="connsiteX1545" fmla="*/ 1362115 w 1383262"/>
                <a:gd name="connsiteY1545" fmla="*/ 52445 h 1025181"/>
                <a:gd name="connsiteX1546" fmla="*/ 1362282 w 1383262"/>
                <a:gd name="connsiteY1546" fmla="*/ 52445 h 1025181"/>
                <a:gd name="connsiteX1547" fmla="*/ 1371142 w 1383262"/>
                <a:gd name="connsiteY1547" fmla="*/ 49135 h 1025181"/>
                <a:gd name="connsiteX1548" fmla="*/ 1374318 w 1383262"/>
                <a:gd name="connsiteY1548" fmla="*/ 46376 h 1025181"/>
                <a:gd name="connsiteX1549" fmla="*/ 1376492 w 1383262"/>
                <a:gd name="connsiteY1549" fmla="*/ 43802 h 1025181"/>
                <a:gd name="connsiteX1550" fmla="*/ 1377997 w 1383262"/>
                <a:gd name="connsiteY1550" fmla="*/ 41411 h 1025181"/>
                <a:gd name="connsiteX1551" fmla="*/ 1379501 w 1383262"/>
                <a:gd name="connsiteY1551" fmla="*/ 38469 h 1025181"/>
                <a:gd name="connsiteX1552" fmla="*/ 1380337 w 1383262"/>
                <a:gd name="connsiteY1552" fmla="*/ 36446 h 1025181"/>
                <a:gd name="connsiteX1553" fmla="*/ 1381006 w 1383262"/>
                <a:gd name="connsiteY1553" fmla="*/ 34239 h 1025181"/>
                <a:gd name="connsiteX1554" fmla="*/ 1381842 w 1383262"/>
                <a:gd name="connsiteY1554" fmla="*/ 30378 h 1025181"/>
                <a:gd name="connsiteX1555" fmla="*/ 1382009 w 1383262"/>
                <a:gd name="connsiteY1555" fmla="*/ 28355 h 1025181"/>
                <a:gd name="connsiteX1556" fmla="*/ 1381842 w 1383262"/>
                <a:gd name="connsiteY1556" fmla="*/ 28538 h 1025181"/>
                <a:gd name="connsiteX1557" fmla="*/ 1381842 w 1383262"/>
                <a:gd name="connsiteY1557" fmla="*/ 24677 h 1025181"/>
                <a:gd name="connsiteX1558" fmla="*/ 1381842 w 1383262"/>
                <a:gd name="connsiteY1558" fmla="*/ 24493 h 1025181"/>
                <a:gd name="connsiteX1559" fmla="*/ 1381507 w 1383262"/>
                <a:gd name="connsiteY1559" fmla="*/ 21367 h 1025181"/>
                <a:gd name="connsiteX1560" fmla="*/ 1380672 w 1383262"/>
                <a:gd name="connsiteY1560" fmla="*/ 17689 h 1025181"/>
                <a:gd name="connsiteX1561" fmla="*/ 1380003 w 1383262"/>
                <a:gd name="connsiteY1561" fmla="*/ 15482 h 1025181"/>
                <a:gd name="connsiteX1562" fmla="*/ 1378499 w 1383262"/>
                <a:gd name="connsiteY1562" fmla="*/ 11988 h 1025181"/>
                <a:gd name="connsiteX1563" fmla="*/ 1376993 w 1383262"/>
                <a:gd name="connsiteY1563" fmla="*/ 9414 h 1025181"/>
                <a:gd name="connsiteX1564" fmla="*/ 1375489 w 1383262"/>
                <a:gd name="connsiteY1564" fmla="*/ 7391 h 1025181"/>
                <a:gd name="connsiteX1565" fmla="*/ 1373985 w 1383262"/>
                <a:gd name="connsiteY1565" fmla="*/ 5736 h 1025181"/>
                <a:gd name="connsiteX1566" fmla="*/ 1370808 w 1383262"/>
                <a:gd name="connsiteY1566" fmla="*/ 3161 h 1025181"/>
                <a:gd name="connsiteX1567" fmla="*/ 1368133 w 1383262"/>
                <a:gd name="connsiteY1567" fmla="*/ 1690 h 1025181"/>
                <a:gd name="connsiteX1568" fmla="*/ 1361613 w 1383262"/>
                <a:gd name="connsiteY1568" fmla="*/ 35 h 1025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Lst>
              <a:rect l="l" t="t" r="r" b="b"/>
              <a:pathLst>
                <a:path w="1383262" h="1025181">
                  <a:moveTo>
                    <a:pt x="133956" y="1000772"/>
                  </a:moveTo>
                  <a:cubicBezTo>
                    <a:pt x="137523" y="1000772"/>
                    <a:pt x="140397" y="1003602"/>
                    <a:pt x="140397" y="1007080"/>
                  </a:cubicBezTo>
                  <a:cubicBezTo>
                    <a:pt x="140397" y="1009474"/>
                    <a:pt x="139043" y="1011560"/>
                    <a:pt x="137027" y="1012627"/>
                  </a:cubicBezTo>
                  <a:cubicBezTo>
                    <a:pt x="137027" y="1012627"/>
                    <a:pt x="137027" y="1012627"/>
                    <a:pt x="137027" y="1018337"/>
                  </a:cubicBezTo>
                  <a:cubicBezTo>
                    <a:pt x="137027" y="1020003"/>
                    <a:pt x="135657" y="1021346"/>
                    <a:pt x="133956" y="1021346"/>
                  </a:cubicBezTo>
                  <a:cubicBezTo>
                    <a:pt x="132271" y="1021346"/>
                    <a:pt x="130884" y="1020003"/>
                    <a:pt x="130884" y="1018337"/>
                  </a:cubicBezTo>
                  <a:cubicBezTo>
                    <a:pt x="130884" y="1018337"/>
                    <a:pt x="130884" y="1018337"/>
                    <a:pt x="130884" y="1012627"/>
                  </a:cubicBezTo>
                  <a:cubicBezTo>
                    <a:pt x="128885" y="1011560"/>
                    <a:pt x="127514" y="1009474"/>
                    <a:pt x="127514" y="1007080"/>
                  </a:cubicBezTo>
                  <a:cubicBezTo>
                    <a:pt x="127514" y="1003602"/>
                    <a:pt x="130405" y="1000772"/>
                    <a:pt x="133956" y="1000772"/>
                  </a:cubicBezTo>
                  <a:close/>
                  <a:moveTo>
                    <a:pt x="195248" y="1000772"/>
                  </a:moveTo>
                  <a:cubicBezTo>
                    <a:pt x="198815" y="1000772"/>
                    <a:pt x="201689" y="1003602"/>
                    <a:pt x="201689" y="1007080"/>
                  </a:cubicBezTo>
                  <a:cubicBezTo>
                    <a:pt x="201689" y="1009474"/>
                    <a:pt x="200334" y="1011560"/>
                    <a:pt x="198319" y="1012627"/>
                  </a:cubicBezTo>
                  <a:cubicBezTo>
                    <a:pt x="198319" y="1012627"/>
                    <a:pt x="198319" y="1012627"/>
                    <a:pt x="198319" y="1018337"/>
                  </a:cubicBezTo>
                  <a:cubicBezTo>
                    <a:pt x="198319" y="1020003"/>
                    <a:pt x="196949" y="1021346"/>
                    <a:pt x="195248" y="1021346"/>
                  </a:cubicBezTo>
                  <a:cubicBezTo>
                    <a:pt x="193563" y="1021346"/>
                    <a:pt x="192176" y="1020003"/>
                    <a:pt x="192176" y="1018337"/>
                  </a:cubicBezTo>
                  <a:cubicBezTo>
                    <a:pt x="192176" y="1018337"/>
                    <a:pt x="192176" y="1018337"/>
                    <a:pt x="192176" y="1012627"/>
                  </a:cubicBezTo>
                  <a:cubicBezTo>
                    <a:pt x="190177" y="1011560"/>
                    <a:pt x="188806" y="1009474"/>
                    <a:pt x="188806" y="1007080"/>
                  </a:cubicBezTo>
                  <a:cubicBezTo>
                    <a:pt x="188806" y="1003602"/>
                    <a:pt x="191697" y="1000772"/>
                    <a:pt x="195248" y="1000772"/>
                  </a:cubicBezTo>
                  <a:close/>
                  <a:moveTo>
                    <a:pt x="369024" y="1000772"/>
                  </a:moveTo>
                  <a:cubicBezTo>
                    <a:pt x="372592" y="1000772"/>
                    <a:pt x="375465" y="1003602"/>
                    <a:pt x="375465" y="1007080"/>
                  </a:cubicBezTo>
                  <a:cubicBezTo>
                    <a:pt x="375465" y="1009474"/>
                    <a:pt x="374111" y="1011560"/>
                    <a:pt x="372096" y="1012627"/>
                  </a:cubicBezTo>
                  <a:cubicBezTo>
                    <a:pt x="372096" y="1012627"/>
                    <a:pt x="372096" y="1012627"/>
                    <a:pt x="372096" y="1018337"/>
                  </a:cubicBezTo>
                  <a:cubicBezTo>
                    <a:pt x="372096" y="1020003"/>
                    <a:pt x="370725" y="1021346"/>
                    <a:pt x="369024" y="1021346"/>
                  </a:cubicBezTo>
                  <a:cubicBezTo>
                    <a:pt x="367340" y="1021346"/>
                    <a:pt x="365952" y="1020003"/>
                    <a:pt x="365952" y="1018337"/>
                  </a:cubicBezTo>
                  <a:cubicBezTo>
                    <a:pt x="365952" y="1018337"/>
                    <a:pt x="365952" y="1018337"/>
                    <a:pt x="365952" y="1012627"/>
                  </a:cubicBezTo>
                  <a:cubicBezTo>
                    <a:pt x="363953" y="1011560"/>
                    <a:pt x="362583" y="1009474"/>
                    <a:pt x="362583" y="1007080"/>
                  </a:cubicBezTo>
                  <a:cubicBezTo>
                    <a:pt x="362583" y="1003602"/>
                    <a:pt x="365473" y="1000772"/>
                    <a:pt x="369024" y="1000772"/>
                  </a:cubicBezTo>
                  <a:close/>
                  <a:moveTo>
                    <a:pt x="430316" y="1000772"/>
                  </a:moveTo>
                  <a:cubicBezTo>
                    <a:pt x="433884" y="1000772"/>
                    <a:pt x="436757" y="1003602"/>
                    <a:pt x="436757" y="1007080"/>
                  </a:cubicBezTo>
                  <a:cubicBezTo>
                    <a:pt x="436757" y="1009474"/>
                    <a:pt x="435403" y="1011560"/>
                    <a:pt x="433388" y="1012627"/>
                  </a:cubicBezTo>
                  <a:cubicBezTo>
                    <a:pt x="433388" y="1012627"/>
                    <a:pt x="433388" y="1012627"/>
                    <a:pt x="433388" y="1018337"/>
                  </a:cubicBezTo>
                  <a:cubicBezTo>
                    <a:pt x="433388" y="1020003"/>
                    <a:pt x="432017" y="1021346"/>
                    <a:pt x="430316" y="1021346"/>
                  </a:cubicBezTo>
                  <a:cubicBezTo>
                    <a:pt x="428632" y="1021346"/>
                    <a:pt x="427244" y="1020003"/>
                    <a:pt x="427244" y="1018337"/>
                  </a:cubicBezTo>
                  <a:cubicBezTo>
                    <a:pt x="427244" y="1018337"/>
                    <a:pt x="427244" y="1018337"/>
                    <a:pt x="427244" y="1012627"/>
                  </a:cubicBezTo>
                  <a:cubicBezTo>
                    <a:pt x="425245" y="1011560"/>
                    <a:pt x="423875" y="1009474"/>
                    <a:pt x="423875" y="1007080"/>
                  </a:cubicBezTo>
                  <a:cubicBezTo>
                    <a:pt x="423875" y="1003602"/>
                    <a:pt x="426765" y="1000772"/>
                    <a:pt x="430316" y="1000772"/>
                  </a:cubicBezTo>
                  <a:close/>
                  <a:moveTo>
                    <a:pt x="604093" y="1000772"/>
                  </a:moveTo>
                  <a:cubicBezTo>
                    <a:pt x="607660" y="1000772"/>
                    <a:pt x="610534" y="1003602"/>
                    <a:pt x="610534" y="1007080"/>
                  </a:cubicBezTo>
                  <a:cubicBezTo>
                    <a:pt x="610534" y="1009474"/>
                    <a:pt x="609179" y="1011560"/>
                    <a:pt x="607165" y="1012627"/>
                  </a:cubicBezTo>
                  <a:cubicBezTo>
                    <a:pt x="607165" y="1012627"/>
                    <a:pt x="607165" y="1012627"/>
                    <a:pt x="607165" y="1018337"/>
                  </a:cubicBezTo>
                  <a:cubicBezTo>
                    <a:pt x="607165" y="1020003"/>
                    <a:pt x="605794" y="1021346"/>
                    <a:pt x="604093" y="1021346"/>
                  </a:cubicBezTo>
                  <a:cubicBezTo>
                    <a:pt x="602408" y="1021346"/>
                    <a:pt x="601021" y="1020003"/>
                    <a:pt x="601021" y="1018337"/>
                  </a:cubicBezTo>
                  <a:cubicBezTo>
                    <a:pt x="601021" y="1018337"/>
                    <a:pt x="601021" y="1018337"/>
                    <a:pt x="601021" y="1012627"/>
                  </a:cubicBezTo>
                  <a:cubicBezTo>
                    <a:pt x="599022" y="1011560"/>
                    <a:pt x="597651" y="1009474"/>
                    <a:pt x="597651" y="1007080"/>
                  </a:cubicBezTo>
                  <a:cubicBezTo>
                    <a:pt x="597651" y="1003602"/>
                    <a:pt x="600542" y="1000772"/>
                    <a:pt x="604093" y="1000772"/>
                  </a:cubicBezTo>
                  <a:close/>
                  <a:moveTo>
                    <a:pt x="890353" y="1000772"/>
                  </a:moveTo>
                  <a:cubicBezTo>
                    <a:pt x="893920" y="1000772"/>
                    <a:pt x="896795" y="1003602"/>
                    <a:pt x="896795" y="1007080"/>
                  </a:cubicBezTo>
                  <a:cubicBezTo>
                    <a:pt x="896795" y="1009474"/>
                    <a:pt x="895440" y="1011560"/>
                    <a:pt x="893425" y="1012627"/>
                  </a:cubicBezTo>
                  <a:cubicBezTo>
                    <a:pt x="893425" y="1012627"/>
                    <a:pt x="893425" y="1012627"/>
                    <a:pt x="893425" y="1018337"/>
                  </a:cubicBezTo>
                  <a:cubicBezTo>
                    <a:pt x="893425" y="1020003"/>
                    <a:pt x="892054" y="1021346"/>
                    <a:pt x="890353" y="1021346"/>
                  </a:cubicBezTo>
                  <a:cubicBezTo>
                    <a:pt x="888669" y="1021346"/>
                    <a:pt x="887281" y="1020003"/>
                    <a:pt x="887281" y="1018337"/>
                  </a:cubicBezTo>
                  <a:cubicBezTo>
                    <a:pt x="887281" y="1018337"/>
                    <a:pt x="887281" y="1018337"/>
                    <a:pt x="887281" y="1012627"/>
                  </a:cubicBezTo>
                  <a:cubicBezTo>
                    <a:pt x="885283" y="1011560"/>
                    <a:pt x="883912" y="1009474"/>
                    <a:pt x="883912" y="1007080"/>
                  </a:cubicBezTo>
                  <a:cubicBezTo>
                    <a:pt x="883912" y="1003602"/>
                    <a:pt x="886802" y="1000772"/>
                    <a:pt x="890353" y="1000772"/>
                  </a:cubicBezTo>
                  <a:close/>
                  <a:moveTo>
                    <a:pt x="951645" y="1000772"/>
                  </a:moveTo>
                  <a:cubicBezTo>
                    <a:pt x="955212" y="1000772"/>
                    <a:pt x="958087" y="1003602"/>
                    <a:pt x="958087" y="1007080"/>
                  </a:cubicBezTo>
                  <a:cubicBezTo>
                    <a:pt x="958087" y="1009474"/>
                    <a:pt x="956732" y="1011560"/>
                    <a:pt x="954717" y="1012627"/>
                  </a:cubicBezTo>
                  <a:cubicBezTo>
                    <a:pt x="954717" y="1012627"/>
                    <a:pt x="954717" y="1012627"/>
                    <a:pt x="954717" y="1018337"/>
                  </a:cubicBezTo>
                  <a:cubicBezTo>
                    <a:pt x="954717" y="1020003"/>
                    <a:pt x="953346" y="1021346"/>
                    <a:pt x="951645" y="1021346"/>
                  </a:cubicBezTo>
                  <a:cubicBezTo>
                    <a:pt x="949960" y="1021346"/>
                    <a:pt x="948573" y="1020003"/>
                    <a:pt x="948573" y="1018337"/>
                  </a:cubicBezTo>
                  <a:cubicBezTo>
                    <a:pt x="948573" y="1018337"/>
                    <a:pt x="948573" y="1018337"/>
                    <a:pt x="948573" y="1012627"/>
                  </a:cubicBezTo>
                  <a:cubicBezTo>
                    <a:pt x="946575" y="1011560"/>
                    <a:pt x="945204" y="1009474"/>
                    <a:pt x="945204" y="1007080"/>
                  </a:cubicBezTo>
                  <a:cubicBezTo>
                    <a:pt x="945204" y="1003602"/>
                    <a:pt x="948094" y="1000772"/>
                    <a:pt x="951645" y="1000772"/>
                  </a:cubicBezTo>
                  <a:close/>
                  <a:moveTo>
                    <a:pt x="1074279" y="1000772"/>
                  </a:moveTo>
                  <a:cubicBezTo>
                    <a:pt x="1077846" y="1000772"/>
                    <a:pt x="1080720" y="1003602"/>
                    <a:pt x="1080720" y="1007080"/>
                  </a:cubicBezTo>
                  <a:cubicBezTo>
                    <a:pt x="1080720" y="1009474"/>
                    <a:pt x="1079365" y="1011560"/>
                    <a:pt x="1077351" y="1012627"/>
                  </a:cubicBezTo>
                  <a:cubicBezTo>
                    <a:pt x="1077351" y="1012627"/>
                    <a:pt x="1077351" y="1012627"/>
                    <a:pt x="1077351" y="1018337"/>
                  </a:cubicBezTo>
                  <a:cubicBezTo>
                    <a:pt x="1077351" y="1020003"/>
                    <a:pt x="1075980" y="1021346"/>
                    <a:pt x="1074279" y="1021346"/>
                  </a:cubicBezTo>
                  <a:cubicBezTo>
                    <a:pt x="1072594" y="1021346"/>
                    <a:pt x="1071206" y="1020003"/>
                    <a:pt x="1071206" y="1018337"/>
                  </a:cubicBezTo>
                  <a:cubicBezTo>
                    <a:pt x="1071206" y="1018337"/>
                    <a:pt x="1071206" y="1018337"/>
                    <a:pt x="1071206" y="1012627"/>
                  </a:cubicBezTo>
                  <a:cubicBezTo>
                    <a:pt x="1069208" y="1011560"/>
                    <a:pt x="1067837" y="1009474"/>
                    <a:pt x="1067837" y="1007080"/>
                  </a:cubicBezTo>
                  <a:cubicBezTo>
                    <a:pt x="1067837" y="1003602"/>
                    <a:pt x="1070728" y="1000772"/>
                    <a:pt x="1074279" y="1000772"/>
                  </a:cubicBezTo>
                  <a:close/>
                  <a:moveTo>
                    <a:pt x="1360540" y="1000772"/>
                  </a:moveTo>
                  <a:cubicBezTo>
                    <a:pt x="1364107" y="1000772"/>
                    <a:pt x="1366981" y="1003602"/>
                    <a:pt x="1366981" y="1007080"/>
                  </a:cubicBezTo>
                  <a:cubicBezTo>
                    <a:pt x="1366981" y="1009474"/>
                    <a:pt x="1365626" y="1011560"/>
                    <a:pt x="1363612" y="1012627"/>
                  </a:cubicBezTo>
                  <a:cubicBezTo>
                    <a:pt x="1363612" y="1012627"/>
                    <a:pt x="1363612" y="1012627"/>
                    <a:pt x="1363612" y="1018337"/>
                  </a:cubicBezTo>
                  <a:cubicBezTo>
                    <a:pt x="1363612" y="1020003"/>
                    <a:pt x="1362241" y="1021346"/>
                    <a:pt x="1360540" y="1021346"/>
                  </a:cubicBezTo>
                  <a:cubicBezTo>
                    <a:pt x="1358855" y="1021346"/>
                    <a:pt x="1357468" y="1020003"/>
                    <a:pt x="1357468" y="1018337"/>
                  </a:cubicBezTo>
                  <a:cubicBezTo>
                    <a:pt x="1357468" y="1018337"/>
                    <a:pt x="1357468" y="1018337"/>
                    <a:pt x="1357468" y="1012627"/>
                  </a:cubicBezTo>
                  <a:cubicBezTo>
                    <a:pt x="1355469" y="1011560"/>
                    <a:pt x="1354098" y="1009474"/>
                    <a:pt x="1354098" y="1007080"/>
                  </a:cubicBezTo>
                  <a:cubicBezTo>
                    <a:pt x="1354098" y="1003602"/>
                    <a:pt x="1356989" y="1000772"/>
                    <a:pt x="1360540" y="1000772"/>
                  </a:cubicBezTo>
                  <a:close/>
                  <a:moveTo>
                    <a:pt x="18915" y="982277"/>
                  </a:moveTo>
                  <a:cubicBezTo>
                    <a:pt x="21756" y="981358"/>
                    <a:pt x="24431" y="982093"/>
                    <a:pt x="26772" y="983932"/>
                  </a:cubicBezTo>
                  <a:cubicBezTo>
                    <a:pt x="27607" y="984668"/>
                    <a:pt x="28277" y="985403"/>
                    <a:pt x="28945" y="986323"/>
                  </a:cubicBezTo>
                  <a:cubicBezTo>
                    <a:pt x="29446" y="987059"/>
                    <a:pt x="29948" y="987977"/>
                    <a:pt x="30450" y="988898"/>
                  </a:cubicBezTo>
                  <a:cubicBezTo>
                    <a:pt x="30784" y="989449"/>
                    <a:pt x="30951" y="990184"/>
                    <a:pt x="31118" y="990736"/>
                  </a:cubicBezTo>
                  <a:cubicBezTo>
                    <a:pt x="31453" y="991656"/>
                    <a:pt x="31620" y="992575"/>
                    <a:pt x="31787" y="993495"/>
                  </a:cubicBezTo>
                  <a:cubicBezTo>
                    <a:pt x="32289" y="994966"/>
                    <a:pt x="32456" y="996437"/>
                    <a:pt x="32456" y="998276"/>
                  </a:cubicBezTo>
                  <a:cubicBezTo>
                    <a:pt x="32456" y="999747"/>
                    <a:pt x="32289" y="1001402"/>
                    <a:pt x="31787" y="1003241"/>
                  </a:cubicBezTo>
                  <a:cubicBezTo>
                    <a:pt x="31453" y="1004160"/>
                    <a:pt x="31286" y="1004896"/>
                    <a:pt x="30951" y="1005815"/>
                  </a:cubicBezTo>
                  <a:cubicBezTo>
                    <a:pt x="30617" y="1006919"/>
                    <a:pt x="30116" y="1007839"/>
                    <a:pt x="29446" y="1008758"/>
                  </a:cubicBezTo>
                  <a:cubicBezTo>
                    <a:pt x="28778" y="1009861"/>
                    <a:pt x="27942" y="1010781"/>
                    <a:pt x="27106" y="1011700"/>
                  </a:cubicBezTo>
                  <a:cubicBezTo>
                    <a:pt x="26270" y="1012436"/>
                    <a:pt x="25267" y="1013171"/>
                    <a:pt x="24097" y="1013539"/>
                  </a:cubicBezTo>
                  <a:cubicBezTo>
                    <a:pt x="21088" y="1014643"/>
                    <a:pt x="18245" y="1014090"/>
                    <a:pt x="15738" y="1011884"/>
                  </a:cubicBezTo>
                  <a:cubicBezTo>
                    <a:pt x="14902" y="1011148"/>
                    <a:pt x="14233" y="1010413"/>
                    <a:pt x="13565" y="1009493"/>
                  </a:cubicBezTo>
                  <a:cubicBezTo>
                    <a:pt x="12896" y="1008574"/>
                    <a:pt x="12394" y="1007654"/>
                    <a:pt x="11893" y="1006551"/>
                  </a:cubicBezTo>
                  <a:cubicBezTo>
                    <a:pt x="11726" y="1005999"/>
                    <a:pt x="11558" y="1005448"/>
                    <a:pt x="11224" y="1005080"/>
                  </a:cubicBezTo>
                  <a:cubicBezTo>
                    <a:pt x="10890" y="1004160"/>
                    <a:pt x="10555" y="1003241"/>
                    <a:pt x="10389" y="1002138"/>
                  </a:cubicBezTo>
                  <a:cubicBezTo>
                    <a:pt x="9887" y="999011"/>
                    <a:pt x="9887" y="995885"/>
                    <a:pt x="10722" y="992759"/>
                  </a:cubicBezTo>
                  <a:cubicBezTo>
                    <a:pt x="10890" y="992024"/>
                    <a:pt x="11057" y="991288"/>
                    <a:pt x="11392" y="990736"/>
                  </a:cubicBezTo>
                  <a:cubicBezTo>
                    <a:pt x="11726" y="990001"/>
                    <a:pt x="11893" y="989265"/>
                    <a:pt x="12227" y="988713"/>
                  </a:cubicBezTo>
                  <a:cubicBezTo>
                    <a:pt x="12729" y="987977"/>
                    <a:pt x="13064" y="987059"/>
                    <a:pt x="13732" y="986323"/>
                  </a:cubicBezTo>
                  <a:cubicBezTo>
                    <a:pt x="14401" y="985403"/>
                    <a:pt x="15237" y="984484"/>
                    <a:pt x="16240" y="983748"/>
                  </a:cubicBezTo>
                  <a:cubicBezTo>
                    <a:pt x="17076" y="983197"/>
                    <a:pt x="17911" y="982645"/>
                    <a:pt x="18915" y="982277"/>
                  </a:cubicBezTo>
                  <a:close/>
                  <a:moveTo>
                    <a:pt x="305127" y="982277"/>
                  </a:moveTo>
                  <a:cubicBezTo>
                    <a:pt x="307969" y="981358"/>
                    <a:pt x="310644" y="982093"/>
                    <a:pt x="312985" y="983932"/>
                  </a:cubicBezTo>
                  <a:cubicBezTo>
                    <a:pt x="313820" y="984668"/>
                    <a:pt x="314489" y="985403"/>
                    <a:pt x="315158" y="986323"/>
                  </a:cubicBezTo>
                  <a:cubicBezTo>
                    <a:pt x="315659" y="987059"/>
                    <a:pt x="316161" y="987977"/>
                    <a:pt x="316662" y="988898"/>
                  </a:cubicBezTo>
                  <a:cubicBezTo>
                    <a:pt x="316997" y="989449"/>
                    <a:pt x="317164" y="990184"/>
                    <a:pt x="317331" y="990736"/>
                  </a:cubicBezTo>
                  <a:cubicBezTo>
                    <a:pt x="317666" y="991656"/>
                    <a:pt x="317833" y="992575"/>
                    <a:pt x="318000" y="993495"/>
                  </a:cubicBezTo>
                  <a:cubicBezTo>
                    <a:pt x="318502" y="994966"/>
                    <a:pt x="318669" y="996437"/>
                    <a:pt x="318669" y="998276"/>
                  </a:cubicBezTo>
                  <a:cubicBezTo>
                    <a:pt x="318669" y="999747"/>
                    <a:pt x="318502" y="1001402"/>
                    <a:pt x="318000" y="1003241"/>
                  </a:cubicBezTo>
                  <a:cubicBezTo>
                    <a:pt x="317666" y="1004160"/>
                    <a:pt x="317498" y="1004896"/>
                    <a:pt x="317164" y="1005815"/>
                  </a:cubicBezTo>
                  <a:cubicBezTo>
                    <a:pt x="316830" y="1006919"/>
                    <a:pt x="316329" y="1007839"/>
                    <a:pt x="315659" y="1008758"/>
                  </a:cubicBezTo>
                  <a:cubicBezTo>
                    <a:pt x="314991" y="1009861"/>
                    <a:pt x="314155" y="1010781"/>
                    <a:pt x="313319" y="1011700"/>
                  </a:cubicBezTo>
                  <a:cubicBezTo>
                    <a:pt x="312483" y="1012436"/>
                    <a:pt x="311480" y="1013171"/>
                    <a:pt x="310310" y="1013539"/>
                  </a:cubicBezTo>
                  <a:cubicBezTo>
                    <a:pt x="307301" y="1014643"/>
                    <a:pt x="304458" y="1014090"/>
                    <a:pt x="301951" y="1011884"/>
                  </a:cubicBezTo>
                  <a:cubicBezTo>
                    <a:pt x="301115" y="1011148"/>
                    <a:pt x="300446" y="1010413"/>
                    <a:pt x="299778" y="1009493"/>
                  </a:cubicBezTo>
                  <a:cubicBezTo>
                    <a:pt x="299109" y="1008574"/>
                    <a:pt x="298607" y="1007654"/>
                    <a:pt x="298106" y="1006551"/>
                  </a:cubicBezTo>
                  <a:cubicBezTo>
                    <a:pt x="297939" y="1005999"/>
                    <a:pt x="297771" y="1005448"/>
                    <a:pt x="297437" y="1005080"/>
                  </a:cubicBezTo>
                  <a:cubicBezTo>
                    <a:pt x="297103" y="1004160"/>
                    <a:pt x="296768" y="1003241"/>
                    <a:pt x="296601" y="1002138"/>
                  </a:cubicBezTo>
                  <a:cubicBezTo>
                    <a:pt x="296099" y="999011"/>
                    <a:pt x="296099" y="995885"/>
                    <a:pt x="296935" y="992759"/>
                  </a:cubicBezTo>
                  <a:cubicBezTo>
                    <a:pt x="297103" y="992024"/>
                    <a:pt x="297270" y="991288"/>
                    <a:pt x="297605" y="990736"/>
                  </a:cubicBezTo>
                  <a:cubicBezTo>
                    <a:pt x="297939" y="990001"/>
                    <a:pt x="298106" y="989265"/>
                    <a:pt x="298440" y="988713"/>
                  </a:cubicBezTo>
                  <a:cubicBezTo>
                    <a:pt x="298942" y="987977"/>
                    <a:pt x="299276" y="987059"/>
                    <a:pt x="299945" y="986323"/>
                  </a:cubicBezTo>
                  <a:cubicBezTo>
                    <a:pt x="300613" y="985403"/>
                    <a:pt x="301449" y="984484"/>
                    <a:pt x="302453" y="983748"/>
                  </a:cubicBezTo>
                  <a:cubicBezTo>
                    <a:pt x="303288" y="983197"/>
                    <a:pt x="304124" y="982645"/>
                    <a:pt x="305127" y="982277"/>
                  </a:cubicBezTo>
                  <a:close/>
                  <a:moveTo>
                    <a:pt x="540196" y="982277"/>
                  </a:moveTo>
                  <a:cubicBezTo>
                    <a:pt x="543038" y="981358"/>
                    <a:pt x="545712" y="982093"/>
                    <a:pt x="548053" y="983932"/>
                  </a:cubicBezTo>
                  <a:cubicBezTo>
                    <a:pt x="548889" y="984668"/>
                    <a:pt x="549558" y="985403"/>
                    <a:pt x="550226" y="986323"/>
                  </a:cubicBezTo>
                  <a:cubicBezTo>
                    <a:pt x="550728" y="987059"/>
                    <a:pt x="551230" y="987977"/>
                    <a:pt x="551731" y="988898"/>
                  </a:cubicBezTo>
                  <a:cubicBezTo>
                    <a:pt x="552066" y="989449"/>
                    <a:pt x="552233" y="990184"/>
                    <a:pt x="552399" y="990736"/>
                  </a:cubicBezTo>
                  <a:cubicBezTo>
                    <a:pt x="552734" y="991656"/>
                    <a:pt x="552901" y="992575"/>
                    <a:pt x="553069" y="993495"/>
                  </a:cubicBezTo>
                  <a:cubicBezTo>
                    <a:pt x="553570" y="994966"/>
                    <a:pt x="553737" y="996437"/>
                    <a:pt x="553737" y="998276"/>
                  </a:cubicBezTo>
                  <a:cubicBezTo>
                    <a:pt x="553737" y="999747"/>
                    <a:pt x="553570" y="1001402"/>
                    <a:pt x="553069" y="1003241"/>
                  </a:cubicBezTo>
                  <a:cubicBezTo>
                    <a:pt x="552734" y="1004160"/>
                    <a:pt x="552567" y="1004896"/>
                    <a:pt x="552233" y="1005815"/>
                  </a:cubicBezTo>
                  <a:cubicBezTo>
                    <a:pt x="551898" y="1006919"/>
                    <a:pt x="551397" y="1007839"/>
                    <a:pt x="550728" y="1008758"/>
                  </a:cubicBezTo>
                  <a:cubicBezTo>
                    <a:pt x="550059" y="1009861"/>
                    <a:pt x="549223" y="1010781"/>
                    <a:pt x="548387" y="1011700"/>
                  </a:cubicBezTo>
                  <a:cubicBezTo>
                    <a:pt x="547552" y="1012436"/>
                    <a:pt x="546548" y="1013171"/>
                    <a:pt x="545379" y="1013539"/>
                  </a:cubicBezTo>
                  <a:cubicBezTo>
                    <a:pt x="542369" y="1014643"/>
                    <a:pt x="539527" y="1014090"/>
                    <a:pt x="537019" y="1011884"/>
                  </a:cubicBezTo>
                  <a:cubicBezTo>
                    <a:pt x="536183" y="1011148"/>
                    <a:pt x="535515" y="1010413"/>
                    <a:pt x="534846" y="1009493"/>
                  </a:cubicBezTo>
                  <a:cubicBezTo>
                    <a:pt x="534177" y="1008574"/>
                    <a:pt x="533676" y="1007654"/>
                    <a:pt x="533174" y="1006551"/>
                  </a:cubicBezTo>
                  <a:cubicBezTo>
                    <a:pt x="533007" y="1005999"/>
                    <a:pt x="532840" y="1005448"/>
                    <a:pt x="532506" y="1005080"/>
                  </a:cubicBezTo>
                  <a:cubicBezTo>
                    <a:pt x="532171" y="1004160"/>
                    <a:pt x="531836" y="1003241"/>
                    <a:pt x="531670" y="1002138"/>
                  </a:cubicBezTo>
                  <a:cubicBezTo>
                    <a:pt x="531168" y="999011"/>
                    <a:pt x="531168" y="995885"/>
                    <a:pt x="532004" y="992759"/>
                  </a:cubicBezTo>
                  <a:cubicBezTo>
                    <a:pt x="532171" y="992024"/>
                    <a:pt x="532338" y="991288"/>
                    <a:pt x="532673" y="990736"/>
                  </a:cubicBezTo>
                  <a:cubicBezTo>
                    <a:pt x="533007" y="990001"/>
                    <a:pt x="533174" y="989265"/>
                    <a:pt x="533508" y="988713"/>
                  </a:cubicBezTo>
                  <a:cubicBezTo>
                    <a:pt x="534010" y="987977"/>
                    <a:pt x="534345" y="987059"/>
                    <a:pt x="535013" y="986323"/>
                  </a:cubicBezTo>
                  <a:cubicBezTo>
                    <a:pt x="535682" y="985403"/>
                    <a:pt x="536518" y="984484"/>
                    <a:pt x="537521" y="983748"/>
                  </a:cubicBezTo>
                  <a:cubicBezTo>
                    <a:pt x="538357" y="983197"/>
                    <a:pt x="539193" y="982645"/>
                    <a:pt x="540196" y="982277"/>
                  </a:cubicBezTo>
                  <a:close/>
                  <a:moveTo>
                    <a:pt x="662829" y="982277"/>
                  </a:moveTo>
                  <a:cubicBezTo>
                    <a:pt x="665671" y="981358"/>
                    <a:pt x="668346" y="982093"/>
                    <a:pt x="670687" y="983932"/>
                  </a:cubicBezTo>
                  <a:cubicBezTo>
                    <a:pt x="671522" y="984668"/>
                    <a:pt x="672191" y="985403"/>
                    <a:pt x="672860" y="986323"/>
                  </a:cubicBezTo>
                  <a:cubicBezTo>
                    <a:pt x="673361" y="987059"/>
                    <a:pt x="673863" y="987977"/>
                    <a:pt x="674364" y="988898"/>
                  </a:cubicBezTo>
                  <a:cubicBezTo>
                    <a:pt x="674699" y="989449"/>
                    <a:pt x="674866" y="990184"/>
                    <a:pt x="675033" y="990736"/>
                  </a:cubicBezTo>
                  <a:cubicBezTo>
                    <a:pt x="675368" y="991656"/>
                    <a:pt x="675535" y="992575"/>
                    <a:pt x="675702" y="993495"/>
                  </a:cubicBezTo>
                  <a:cubicBezTo>
                    <a:pt x="676203" y="994966"/>
                    <a:pt x="676371" y="996437"/>
                    <a:pt x="676371" y="998276"/>
                  </a:cubicBezTo>
                  <a:cubicBezTo>
                    <a:pt x="676371" y="999747"/>
                    <a:pt x="676203" y="1001402"/>
                    <a:pt x="675702" y="1003241"/>
                  </a:cubicBezTo>
                  <a:cubicBezTo>
                    <a:pt x="675368" y="1004160"/>
                    <a:pt x="675200" y="1004896"/>
                    <a:pt x="674866" y="1005815"/>
                  </a:cubicBezTo>
                  <a:cubicBezTo>
                    <a:pt x="674532" y="1006919"/>
                    <a:pt x="674030" y="1007839"/>
                    <a:pt x="673361" y="1008758"/>
                  </a:cubicBezTo>
                  <a:cubicBezTo>
                    <a:pt x="672693" y="1009861"/>
                    <a:pt x="671857" y="1010781"/>
                    <a:pt x="671021" y="1011700"/>
                  </a:cubicBezTo>
                  <a:cubicBezTo>
                    <a:pt x="670185" y="1012436"/>
                    <a:pt x="669182" y="1013171"/>
                    <a:pt x="668012" y="1013539"/>
                  </a:cubicBezTo>
                  <a:cubicBezTo>
                    <a:pt x="665002" y="1014643"/>
                    <a:pt x="662160" y="1014090"/>
                    <a:pt x="659653" y="1011884"/>
                  </a:cubicBezTo>
                  <a:cubicBezTo>
                    <a:pt x="658817" y="1011148"/>
                    <a:pt x="658148" y="1010413"/>
                    <a:pt x="657480" y="1009493"/>
                  </a:cubicBezTo>
                  <a:cubicBezTo>
                    <a:pt x="656811" y="1008574"/>
                    <a:pt x="656309" y="1007654"/>
                    <a:pt x="655808" y="1006551"/>
                  </a:cubicBezTo>
                  <a:cubicBezTo>
                    <a:pt x="655640" y="1005999"/>
                    <a:pt x="655473" y="1005448"/>
                    <a:pt x="655139" y="1005080"/>
                  </a:cubicBezTo>
                  <a:cubicBezTo>
                    <a:pt x="654805" y="1004160"/>
                    <a:pt x="654470" y="1003241"/>
                    <a:pt x="654303" y="1002138"/>
                  </a:cubicBezTo>
                  <a:cubicBezTo>
                    <a:pt x="653801" y="999011"/>
                    <a:pt x="653801" y="995885"/>
                    <a:pt x="654637" y="992759"/>
                  </a:cubicBezTo>
                  <a:cubicBezTo>
                    <a:pt x="654805" y="992024"/>
                    <a:pt x="654972" y="991288"/>
                    <a:pt x="655307" y="990736"/>
                  </a:cubicBezTo>
                  <a:cubicBezTo>
                    <a:pt x="655640" y="990001"/>
                    <a:pt x="655808" y="989265"/>
                    <a:pt x="656142" y="988713"/>
                  </a:cubicBezTo>
                  <a:cubicBezTo>
                    <a:pt x="656644" y="987977"/>
                    <a:pt x="656978" y="987059"/>
                    <a:pt x="657647" y="986323"/>
                  </a:cubicBezTo>
                  <a:cubicBezTo>
                    <a:pt x="658315" y="985403"/>
                    <a:pt x="659151" y="984484"/>
                    <a:pt x="660154" y="983748"/>
                  </a:cubicBezTo>
                  <a:cubicBezTo>
                    <a:pt x="660990" y="983197"/>
                    <a:pt x="661826" y="982645"/>
                    <a:pt x="662829" y="982277"/>
                  </a:cubicBezTo>
                  <a:close/>
                  <a:moveTo>
                    <a:pt x="775313" y="982277"/>
                  </a:moveTo>
                  <a:cubicBezTo>
                    <a:pt x="778156" y="981358"/>
                    <a:pt x="780831" y="982093"/>
                    <a:pt x="783171" y="983932"/>
                  </a:cubicBezTo>
                  <a:cubicBezTo>
                    <a:pt x="784007" y="984668"/>
                    <a:pt x="784675" y="985403"/>
                    <a:pt x="785344" y="986323"/>
                  </a:cubicBezTo>
                  <a:cubicBezTo>
                    <a:pt x="785846" y="987059"/>
                    <a:pt x="786347" y="987977"/>
                    <a:pt x="786848" y="988898"/>
                  </a:cubicBezTo>
                  <a:cubicBezTo>
                    <a:pt x="787183" y="989449"/>
                    <a:pt x="787350" y="990184"/>
                    <a:pt x="787518" y="990736"/>
                  </a:cubicBezTo>
                  <a:cubicBezTo>
                    <a:pt x="787852" y="991656"/>
                    <a:pt x="788019" y="992575"/>
                    <a:pt x="788186" y="993495"/>
                  </a:cubicBezTo>
                  <a:cubicBezTo>
                    <a:pt x="788687" y="994966"/>
                    <a:pt x="788855" y="996437"/>
                    <a:pt x="788855" y="998276"/>
                  </a:cubicBezTo>
                  <a:cubicBezTo>
                    <a:pt x="788855" y="999747"/>
                    <a:pt x="788687" y="1001402"/>
                    <a:pt x="788186" y="1003241"/>
                  </a:cubicBezTo>
                  <a:cubicBezTo>
                    <a:pt x="787852" y="1004160"/>
                    <a:pt x="787685" y="1004896"/>
                    <a:pt x="787350" y="1005815"/>
                  </a:cubicBezTo>
                  <a:cubicBezTo>
                    <a:pt x="787016" y="1006919"/>
                    <a:pt x="786514" y="1007839"/>
                    <a:pt x="785846" y="1008758"/>
                  </a:cubicBezTo>
                  <a:cubicBezTo>
                    <a:pt x="785177" y="1009861"/>
                    <a:pt x="784341" y="1010781"/>
                    <a:pt x="783506" y="1011700"/>
                  </a:cubicBezTo>
                  <a:cubicBezTo>
                    <a:pt x="782669" y="1012436"/>
                    <a:pt x="781666" y="1013171"/>
                    <a:pt x="780496" y="1013539"/>
                  </a:cubicBezTo>
                  <a:cubicBezTo>
                    <a:pt x="777487" y="1014643"/>
                    <a:pt x="774645" y="1014090"/>
                    <a:pt x="772137" y="1011884"/>
                  </a:cubicBezTo>
                  <a:cubicBezTo>
                    <a:pt x="771301" y="1011148"/>
                    <a:pt x="770632" y="1010413"/>
                    <a:pt x="769963" y="1009493"/>
                  </a:cubicBezTo>
                  <a:cubicBezTo>
                    <a:pt x="769295" y="1008574"/>
                    <a:pt x="768794" y="1007654"/>
                    <a:pt x="768292" y="1006551"/>
                  </a:cubicBezTo>
                  <a:cubicBezTo>
                    <a:pt x="768125" y="1005999"/>
                    <a:pt x="767958" y="1005448"/>
                    <a:pt x="767623" y="1005080"/>
                  </a:cubicBezTo>
                  <a:cubicBezTo>
                    <a:pt x="767289" y="1004160"/>
                    <a:pt x="766955" y="1003241"/>
                    <a:pt x="766787" y="1002138"/>
                  </a:cubicBezTo>
                  <a:cubicBezTo>
                    <a:pt x="766285" y="999011"/>
                    <a:pt x="766285" y="995885"/>
                    <a:pt x="767122" y="992759"/>
                  </a:cubicBezTo>
                  <a:cubicBezTo>
                    <a:pt x="767289" y="992024"/>
                    <a:pt x="767456" y="991288"/>
                    <a:pt x="767790" y="990736"/>
                  </a:cubicBezTo>
                  <a:cubicBezTo>
                    <a:pt x="768125" y="990001"/>
                    <a:pt x="768292" y="989265"/>
                    <a:pt x="768626" y="988713"/>
                  </a:cubicBezTo>
                  <a:cubicBezTo>
                    <a:pt x="769128" y="987977"/>
                    <a:pt x="769462" y="987059"/>
                    <a:pt x="770131" y="986323"/>
                  </a:cubicBezTo>
                  <a:cubicBezTo>
                    <a:pt x="770799" y="985403"/>
                    <a:pt x="771635" y="984484"/>
                    <a:pt x="772638" y="983748"/>
                  </a:cubicBezTo>
                  <a:cubicBezTo>
                    <a:pt x="773474" y="983197"/>
                    <a:pt x="774310" y="982645"/>
                    <a:pt x="775313" y="982277"/>
                  </a:cubicBezTo>
                  <a:close/>
                  <a:moveTo>
                    <a:pt x="1010382" y="982277"/>
                  </a:moveTo>
                  <a:cubicBezTo>
                    <a:pt x="1013224" y="981358"/>
                    <a:pt x="1015899" y="982093"/>
                    <a:pt x="1018239" y="983932"/>
                  </a:cubicBezTo>
                  <a:cubicBezTo>
                    <a:pt x="1019075" y="984668"/>
                    <a:pt x="1019744" y="985403"/>
                    <a:pt x="1020412" y="986323"/>
                  </a:cubicBezTo>
                  <a:cubicBezTo>
                    <a:pt x="1020914" y="987059"/>
                    <a:pt x="1021416" y="987977"/>
                    <a:pt x="1021917" y="988898"/>
                  </a:cubicBezTo>
                  <a:cubicBezTo>
                    <a:pt x="1022251" y="989449"/>
                    <a:pt x="1022419" y="990184"/>
                    <a:pt x="1022586" y="990736"/>
                  </a:cubicBezTo>
                  <a:cubicBezTo>
                    <a:pt x="1022920" y="991656"/>
                    <a:pt x="1023087" y="992575"/>
                    <a:pt x="1023255" y="993495"/>
                  </a:cubicBezTo>
                  <a:cubicBezTo>
                    <a:pt x="1023756" y="994966"/>
                    <a:pt x="1023923" y="996437"/>
                    <a:pt x="1023923" y="998276"/>
                  </a:cubicBezTo>
                  <a:cubicBezTo>
                    <a:pt x="1023923" y="999747"/>
                    <a:pt x="1023756" y="1001402"/>
                    <a:pt x="1023255" y="1003241"/>
                  </a:cubicBezTo>
                  <a:cubicBezTo>
                    <a:pt x="1022920" y="1004160"/>
                    <a:pt x="1022753" y="1004896"/>
                    <a:pt x="1022419" y="1005815"/>
                  </a:cubicBezTo>
                  <a:cubicBezTo>
                    <a:pt x="1022084" y="1006919"/>
                    <a:pt x="1021583" y="1007839"/>
                    <a:pt x="1020914" y="1008758"/>
                  </a:cubicBezTo>
                  <a:cubicBezTo>
                    <a:pt x="1020245" y="1009861"/>
                    <a:pt x="1019409" y="1010781"/>
                    <a:pt x="1018573" y="1011700"/>
                  </a:cubicBezTo>
                  <a:cubicBezTo>
                    <a:pt x="1017737" y="1012436"/>
                    <a:pt x="1016734" y="1013171"/>
                    <a:pt x="1015564" y="1013539"/>
                  </a:cubicBezTo>
                  <a:cubicBezTo>
                    <a:pt x="1012555" y="1014643"/>
                    <a:pt x="1009713" y="1014090"/>
                    <a:pt x="1007206" y="1011884"/>
                  </a:cubicBezTo>
                  <a:cubicBezTo>
                    <a:pt x="1006370" y="1011148"/>
                    <a:pt x="1005700" y="1010413"/>
                    <a:pt x="1005032" y="1009493"/>
                  </a:cubicBezTo>
                  <a:cubicBezTo>
                    <a:pt x="1004363" y="1008574"/>
                    <a:pt x="1003862" y="1007654"/>
                    <a:pt x="1003360" y="1006551"/>
                  </a:cubicBezTo>
                  <a:cubicBezTo>
                    <a:pt x="1003193" y="1005999"/>
                    <a:pt x="1003026" y="1005448"/>
                    <a:pt x="1002692" y="1005080"/>
                  </a:cubicBezTo>
                  <a:cubicBezTo>
                    <a:pt x="1002357" y="1004160"/>
                    <a:pt x="1002023" y="1003241"/>
                    <a:pt x="1001856" y="1002138"/>
                  </a:cubicBezTo>
                  <a:cubicBezTo>
                    <a:pt x="1001354" y="999011"/>
                    <a:pt x="1001354" y="995885"/>
                    <a:pt x="1002190" y="992759"/>
                  </a:cubicBezTo>
                  <a:cubicBezTo>
                    <a:pt x="1002357" y="992024"/>
                    <a:pt x="1002524" y="991288"/>
                    <a:pt x="1002859" y="990736"/>
                  </a:cubicBezTo>
                  <a:cubicBezTo>
                    <a:pt x="1003193" y="990001"/>
                    <a:pt x="1003360" y="989265"/>
                    <a:pt x="1003695" y="988713"/>
                  </a:cubicBezTo>
                  <a:cubicBezTo>
                    <a:pt x="1004196" y="987977"/>
                    <a:pt x="1004531" y="987059"/>
                    <a:pt x="1005199" y="986323"/>
                  </a:cubicBezTo>
                  <a:cubicBezTo>
                    <a:pt x="1005868" y="985403"/>
                    <a:pt x="1006704" y="984484"/>
                    <a:pt x="1007707" y="983748"/>
                  </a:cubicBezTo>
                  <a:cubicBezTo>
                    <a:pt x="1008543" y="983197"/>
                    <a:pt x="1009379" y="982645"/>
                    <a:pt x="1010382" y="982277"/>
                  </a:cubicBezTo>
                  <a:close/>
                  <a:moveTo>
                    <a:pt x="1133015" y="982277"/>
                  </a:moveTo>
                  <a:cubicBezTo>
                    <a:pt x="1135858" y="981358"/>
                    <a:pt x="1138532" y="982093"/>
                    <a:pt x="1140873" y="983932"/>
                  </a:cubicBezTo>
                  <a:cubicBezTo>
                    <a:pt x="1141709" y="984668"/>
                    <a:pt x="1142377" y="985403"/>
                    <a:pt x="1143046" y="986323"/>
                  </a:cubicBezTo>
                  <a:cubicBezTo>
                    <a:pt x="1143548" y="987059"/>
                    <a:pt x="1144049" y="987977"/>
                    <a:pt x="1144551" y="988898"/>
                  </a:cubicBezTo>
                  <a:cubicBezTo>
                    <a:pt x="1144885" y="989449"/>
                    <a:pt x="1145052" y="990184"/>
                    <a:pt x="1145220" y="990736"/>
                  </a:cubicBezTo>
                  <a:cubicBezTo>
                    <a:pt x="1145553" y="991656"/>
                    <a:pt x="1145721" y="992575"/>
                    <a:pt x="1145888" y="993495"/>
                  </a:cubicBezTo>
                  <a:cubicBezTo>
                    <a:pt x="1146389" y="994966"/>
                    <a:pt x="1146557" y="996437"/>
                    <a:pt x="1146557" y="998276"/>
                  </a:cubicBezTo>
                  <a:cubicBezTo>
                    <a:pt x="1146557" y="999747"/>
                    <a:pt x="1146389" y="1001402"/>
                    <a:pt x="1145888" y="1003241"/>
                  </a:cubicBezTo>
                  <a:cubicBezTo>
                    <a:pt x="1145553" y="1004160"/>
                    <a:pt x="1145387" y="1004896"/>
                    <a:pt x="1145052" y="1005815"/>
                  </a:cubicBezTo>
                  <a:cubicBezTo>
                    <a:pt x="1144718" y="1006919"/>
                    <a:pt x="1144216" y="1007839"/>
                    <a:pt x="1143548" y="1008758"/>
                  </a:cubicBezTo>
                  <a:cubicBezTo>
                    <a:pt x="1142879" y="1009861"/>
                    <a:pt x="1142043" y="1010781"/>
                    <a:pt x="1141207" y="1011700"/>
                  </a:cubicBezTo>
                  <a:cubicBezTo>
                    <a:pt x="1140371" y="1012436"/>
                    <a:pt x="1139368" y="1013171"/>
                    <a:pt x="1138198" y="1013539"/>
                  </a:cubicBezTo>
                  <a:cubicBezTo>
                    <a:pt x="1135189" y="1014643"/>
                    <a:pt x="1132347" y="1014090"/>
                    <a:pt x="1129839" y="1011884"/>
                  </a:cubicBezTo>
                  <a:cubicBezTo>
                    <a:pt x="1129003" y="1011148"/>
                    <a:pt x="1128335" y="1010413"/>
                    <a:pt x="1127665" y="1009493"/>
                  </a:cubicBezTo>
                  <a:cubicBezTo>
                    <a:pt x="1126997" y="1008574"/>
                    <a:pt x="1126496" y="1007654"/>
                    <a:pt x="1125994" y="1006551"/>
                  </a:cubicBezTo>
                  <a:cubicBezTo>
                    <a:pt x="1125827" y="1005999"/>
                    <a:pt x="1125660" y="1005448"/>
                    <a:pt x="1125325" y="1005080"/>
                  </a:cubicBezTo>
                  <a:cubicBezTo>
                    <a:pt x="1124990" y="1004160"/>
                    <a:pt x="1124656" y="1003241"/>
                    <a:pt x="1124489" y="1002138"/>
                  </a:cubicBezTo>
                  <a:cubicBezTo>
                    <a:pt x="1123988" y="999011"/>
                    <a:pt x="1123988" y="995885"/>
                    <a:pt x="1124824" y="992759"/>
                  </a:cubicBezTo>
                  <a:cubicBezTo>
                    <a:pt x="1124990" y="992024"/>
                    <a:pt x="1125158" y="991288"/>
                    <a:pt x="1125492" y="990736"/>
                  </a:cubicBezTo>
                  <a:cubicBezTo>
                    <a:pt x="1125827" y="990001"/>
                    <a:pt x="1125994" y="989265"/>
                    <a:pt x="1126328" y="988713"/>
                  </a:cubicBezTo>
                  <a:cubicBezTo>
                    <a:pt x="1126829" y="987977"/>
                    <a:pt x="1127164" y="987059"/>
                    <a:pt x="1127833" y="986323"/>
                  </a:cubicBezTo>
                  <a:cubicBezTo>
                    <a:pt x="1128501" y="985403"/>
                    <a:pt x="1129337" y="984484"/>
                    <a:pt x="1130340" y="983748"/>
                  </a:cubicBezTo>
                  <a:cubicBezTo>
                    <a:pt x="1131176" y="983197"/>
                    <a:pt x="1132012" y="982645"/>
                    <a:pt x="1133015" y="982277"/>
                  </a:cubicBezTo>
                  <a:close/>
                  <a:moveTo>
                    <a:pt x="1296643" y="982277"/>
                  </a:moveTo>
                  <a:cubicBezTo>
                    <a:pt x="1299485" y="981358"/>
                    <a:pt x="1302160" y="982093"/>
                    <a:pt x="1304500" y="983932"/>
                  </a:cubicBezTo>
                  <a:cubicBezTo>
                    <a:pt x="1305336" y="984668"/>
                    <a:pt x="1306005" y="985403"/>
                    <a:pt x="1306673" y="986323"/>
                  </a:cubicBezTo>
                  <a:cubicBezTo>
                    <a:pt x="1307175" y="987059"/>
                    <a:pt x="1307677" y="987977"/>
                    <a:pt x="1308179" y="988898"/>
                  </a:cubicBezTo>
                  <a:cubicBezTo>
                    <a:pt x="1308513" y="989449"/>
                    <a:pt x="1308680" y="990184"/>
                    <a:pt x="1308847" y="990736"/>
                  </a:cubicBezTo>
                  <a:cubicBezTo>
                    <a:pt x="1309181" y="991656"/>
                    <a:pt x="1309348" y="992575"/>
                    <a:pt x="1309516" y="993495"/>
                  </a:cubicBezTo>
                  <a:cubicBezTo>
                    <a:pt x="1310017" y="994966"/>
                    <a:pt x="1310184" y="996437"/>
                    <a:pt x="1310184" y="998276"/>
                  </a:cubicBezTo>
                  <a:cubicBezTo>
                    <a:pt x="1310184" y="999747"/>
                    <a:pt x="1310017" y="1001402"/>
                    <a:pt x="1309516" y="1003241"/>
                  </a:cubicBezTo>
                  <a:cubicBezTo>
                    <a:pt x="1309181" y="1004160"/>
                    <a:pt x="1309014" y="1004896"/>
                    <a:pt x="1308680" y="1005815"/>
                  </a:cubicBezTo>
                  <a:cubicBezTo>
                    <a:pt x="1308345" y="1006919"/>
                    <a:pt x="1307844" y="1007839"/>
                    <a:pt x="1307175" y="1008758"/>
                  </a:cubicBezTo>
                  <a:cubicBezTo>
                    <a:pt x="1306507" y="1009861"/>
                    <a:pt x="1305670" y="1010781"/>
                    <a:pt x="1304834" y="1011700"/>
                  </a:cubicBezTo>
                  <a:cubicBezTo>
                    <a:pt x="1303999" y="1012436"/>
                    <a:pt x="1302996" y="1013171"/>
                    <a:pt x="1301826" y="1013539"/>
                  </a:cubicBezTo>
                  <a:cubicBezTo>
                    <a:pt x="1298817" y="1014643"/>
                    <a:pt x="1295974" y="1014090"/>
                    <a:pt x="1293467" y="1011884"/>
                  </a:cubicBezTo>
                  <a:cubicBezTo>
                    <a:pt x="1292631" y="1011148"/>
                    <a:pt x="1291962" y="1010413"/>
                    <a:pt x="1291293" y="1009493"/>
                  </a:cubicBezTo>
                  <a:cubicBezTo>
                    <a:pt x="1290624" y="1008574"/>
                    <a:pt x="1290123" y="1007654"/>
                    <a:pt x="1289621" y="1006551"/>
                  </a:cubicBezTo>
                  <a:cubicBezTo>
                    <a:pt x="1289455" y="1005999"/>
                    <a:pt x="1289287" y="1005448"/>
                    <a:pt x="1288953" y="1005080"/>
                  </a:cubicBezTo>
                  <a:cubicBezTo>
                    <a:pt x="1288618" y="1004160"/>
                    <a:pt x="1288284" y="1003241"/>
                    <a:pt x="1288117" y="1002138"/>
                  </a:cubicBezTo>
                  <a:cubicBezTo>
                    <a:pt x="1287616" y="999011"/>
                    <a:pt x="1287616" y="995885"/>
                    <a:pt x="1288451" y="992759"/>
                  </a:cubicBezTo>
                  <a:cubicBezTo>
                    <a:pt x="1288618" y="992024"/>
                    <a:pt x="1288785" y="991288"/>
                    <a:pt x="1289120" y="990736"/>
                  </a:cubicBezTo>
                  <a:cubicBezTo>
                    <a:pt x="1289455" y="990001"/>
                    <a:pt x="1289621" y="989265"/>
                    <a:pt x="1289956" y="988713"/>
                  </a:cubicBezTo>
                  <a:cubicBezTo>
                    <a:pt x="1290457" y="987977"/>
                    <a:pt x="1290792" y="987059"/>
                    <a:pt x="1291460" y="986323"/>
                  </a:cubicBezTo>
                  <a:cubicBezTo>
                    <a:pt x="1292129" y="985403"/>
                    <a:pt x="1292965" y="984484"/>
                    <a:pt x="1293968" y="983748"/>
                  </a:cubicBezTo>
                  <a:cubicBezTo>
                    <a:pt x="1294804" y="983197"/>
                    <a:pt x="1295640" y="982645"/>
                    <a:pt x="1296643" y="982277"/>
                  </a:cubicBezTo>
                  <a:close/>
                  <a:moveTo>
                    <a:pt x="134134" y="974439"/>
                  </a:moveTo>
                  <a:cubicBezTo>
                    <a:pt x="137699" y="974439"/>
                    <a:pt x="140758" y="976607"/>
                    <a:pt x="142064" y="979696"/>
                  </a:cubicBezTo>
                  <a:lnTo>
                    <a:pt x="142693" y="982813"/>
                  </a:lnTo>
                  <a:lnTo>
                    <a:pt x="140490" y="982813"/>
                  </a:lnTo>
                  <a:cubicBezTo>
                    <a:pt x="137272" y="982813"/>
                    <a:pt x="133176" y="982813"/>
                    <a:pt x="127964" y="982813"/>
                  </a:cubicBezTo>
                  <a:lnTo>
                    <a:pt x="125574" y="982813"/>
                  </a:lnTo>
                  <a:lnTo>
                    <a:pt x="126204" y="979696"/>
                  </a:lnTo>
                  <a:cubicBezTo>
                    <a:pt x="127510" y="976607"/>
                    <a:pt x="130569" y="974439"/>
                    <a:pt x="134134" y="974439"/>
                  </a:cubicBezTo>
                  <a:close/>
                  <a:moveTo>
                    <a:pt x="195426" y="974439"/>
                  </a:moveTo>
                  <a:cubicBezTo>
                    <a:pt x="198991" y="974439"/>
                    <a:pt x="202050" y="976607"/>
                    <a:pt x="203356" y="979696"/>
                  </a:cubicBezTo>
                  <a:lnTo>
                    <a:pt x="203985" y="982813"/>
                  </a:lnTo>
                  <a:lnTo>
                    <a:pt x="201782" y="982813"/>
                  </a:lnTo>
                  <a:cubicBezTo>
                    <a:pt x="198564" y="982813"/>
                    <a:pt x="194468" y="982813"/>
                    <a:pt x="189256" y="982813"/>
                  </a:cubicBezTo>
                  <a:lnTo>
                    <a:pt x="186866" y="982813"/>
                  </a:lnTo>
                  <a:lnTo>
                    <a:pt x="187496" y="979696"/>
                  </a:lnTo>
                  <a:cubicBezTo>
                    <a:pt x="188802" y="976607"/>
                    <a:pt x="191861" y="974439"/>
                    <a:pt x="195426" y="974439"/>
                  </a:cubicBezTo>
                  <a:close/>
                  <a:moveTo>
                    <a:pt x="369203" y="974439"/>
                  </a:moveTo>
                  <a:cubicBezTo>
                    <a:pt x="372768" y="974439"/>
                    <a:pt x="375826" y="976607"/>
                    <a:pt x="377133" y="979696"/>
                  </a:cubicBezTo>
                  <a:lnTo>
                    <a:pt x="377762" y="982813"/>
                  </a:lnTo>
                  <a:lnTo>
                    <a:pt x="375558" y="982813"/>
                  </a:lnTo>
                  <a:cubicBezTo>
                    <a:pt x="372341" y="982813"/>
                    <a:pt x="368245" y="982813"/>
                    <a:pt x="363032" y="982813"/>
                  </a:cubicBezTo>
                  <a:lnTo>
                    <a:pt x="360642" y="982813"/>
                  </a:lnTo>
                  <a:lnTo>
                    <a:pt x="361272" y="979696"/>
                  </a:lnTo>
                  <a:cubicBezTo>
                    <a:pt x="362579" y="976607"/>
                    <a:pt x="365637" y="974439"/>
                    <a:pt x="369203" y="974439"/>
                  </a:cubicBezTo>
                  <a:close/>
                  <a:moveTo>
                    <a:pt x="430494" y="974439"/>
                  </a:moveTo>
                  <a:cubicBezTo>
                    <a:pt x="434060" y="974439"/>
                    <a:pt x="437118" y="976607"/>
                    <a:pt x="438425" y="979696"/>
                  </a:cubicBezTo>
                  <a:lnTo>
                    <a:pt x="439054" y="982813"/>
                  </a:lnTo>
                  <a:lnTo>
                    <a:pt x="436850" y="982813"/>
                  </a:lnTo>
                  <a:cubicBezTo>
                    <a:pt x="433633" y="982813"/>
                    <a:pt x="429537" y="982813"/>
                    <a:pt x="424324" y="982813"/>
                  </a:cubicBezTo>
                  <a:lnTo>
                    <a:pt x="421934" y="982813"/>
                  </a:lnTo>
                  <a:lnTo>
                    <a:pt x="422564" y="979696"/>
                  </a:lnTo>
                  <a:cubicBezTo>
                    <a:pt x="423871" y="976607"/>
                    <a:pt x="426929" y="974439"/>
                    <a:pt x="430494" y="974439"/>
                  </a:cubicBezTo>
                  <a:close/>
                  <a:moveTo>
                    <a:pt x="604271" y="974439"/>
                  </a:moveTo>
                  <a:cubicBezTo>
                    <a:pt x="607836" y="974439"/>
                    <a:pt x="610895" y="976607"/>
                    <a:pt x="612201" y="979696"/>
                  </a:cubicBezTo>
                  <a:lnTo>
                    <a:pt x="612831" y="982813"/>
                  </a:lnTo>
                  <a:lnTo>
                    <a:pt x="610627" y="982813"/>
                  </a:lnTo>
                  <a:cubicBezTo>
                    <a:pt x="607409" y="982813"/>
                    <a:pt x="603313" y="982813"/>
                    <a:pt x="598101" y="982813"/>
                  </a:cubicBezTo>
                  <a:lnTo>
                    <a:pt x="595711" y="982813"/>
                  </a:lnTo>
                  <a:lnTo>
                    <a:pt x="596341" y="979696"/>
                  </a:lnTo>
                  <a:cubicBezTo>
                    <a:pt x="597647" y="976607"/>
                    <a:pt x="600706" y="974439"/>
                    <a:pt x="604271" y="974439"/>
                  </a:cubicBezTo>
                  <a:close/>
                  <a:moveTo>
                    <a:pt x="890531" y="974439"/>
                  </a:moveTo>
                  <a:cubicBezTo>
                    <a:pt x="894097" y="974439"/>
                    <a:pt x="897155" y="976607"/>
                    <a:pt x="898462" y="979696"/>
                  </a:cubicBezTo>
                  <a:lnTo>
                    <a:pt x="899092" y="982813"/>
                  </a:lnTo>
                  <a:lnTo>
                    <a:pt x="896887" y="982813"/>
                  </a:lnTo>
                  <a:cubicBezTo>
                    <a:pt x="893670" y="982813"/>
                    <a:pt x="889574" y="982813"/>
                    <a:pt x="884361" y="982813"/>
                  </a:cubicBezTo>
                  <a:lnTo>
                    <a:pt x="881971" y="982813"/>
                  </a:lnTo>
                  <a:lnTo>
                    <a:pt x="882600" y="979696"/>
                  </a:lnTo>
                  <a:cubicBezTo>
                    <a:pt x="883908" y="976607"/>
                    <a:pt x="886966" y="974439"/>
                    <a:pt x="890531" y="974439"/>
                  </a:cubicBezTo>
                  <a:close/>
                  <a:moveTo>
                    <a:pt x="951823" y="974439"/>
                  </a:moveTo>
                  <a:cubicBezTo>
                    <a:pt x="955389" y="974439"/>
                    <a:pt x="958447" y="976607"/>
                    <a:pt x="959754" y="979696"/>
                  </a:cubicBezTo>
                  <a:lnTo>
                    <a:pt x="960383" y="982813"/>
                  </a:lnTo>
                  <a:lnTo>
                    <a:pt x="958179" y="982813"/>
                  </a:lnTo>
                  <a:cubicBezTo>
                    <a:pt x="954961" y="982813"/>
                    <a:pt x="950866" y="982813"/>
                    <a:pt x="945653" y="982813"/>
                  </a:cubicBezTo>
                  <a:lnTo>
                    <a:pt x="943263" y="982813"/>
                  </a:lnTo>
                  <a:lnTo>
                    <a:pt x="943893" y="979696"/>
                  </a:lnTo>
                  <a:cubicBezTo>
                    <a:pt x="945200" y="976607"/>
                    <a:pt x="948258" y="974439"/>
                    <a:pt x="951823" y="974439"/>
                  </a:cubicBezTo>
                  <a:close/>
                  <a:moveTo>
                    <a:pt x="1074457" y="974439"/>
                  </a:moveTo>
                  <a:cubicBezTo>
                    <a:pt x="1078022" y="974439"/>
                    <a:pt x="1081081" y="976607"/>
                    <a:pt x="1082388" y="979696"/>
                  </a:cubicBezTo>
                  <a:lnTo>
                    <a:pt x="1083017" y="982813"/>
                  </a:lnTo>
                  <a:lnTo>
                    <a:pt x="1080813" y="982813"/>
                  </a:lnTo>
                  <a:cubicBezTo>
                    <a:pt x="1077595" y="982813"/>
                    <a:pt x="1073500" y="982813"/>
                    <a:pt x="1068287" y="982813"/>
                  </a:cubicBezTo>
                  <a:lnTo>
                    <a:pt x="1065897" y="982813"/>
                  </a:lnTo>
                  <a:lnTo>
                    <a:pt x="1066526" y="979696"/>
                  </a:lnTo>
                  <a:cubicBezTo>
                    <a:pt x="1067833" y="976607"/>
                    <a:pt x="1070892" y="974439"/>
                    <a:pt x="1074457" y="974439"/>
                  </a:cubicBezTo>
                  <a:close/>
                  <a:moveTo>
                    <a:pt x="1360718" y="974439"/>
                  </a:moveTo>
                  <a:cubicBezTo>
                    <a:pt x="1364283" y="974439"/>
                    <a:pt x="1367342" y="976607"/>
                    <a:pt x="1368649" y="979696"/>
                  </a:cubicBezTo>
                  <a:lnTo>
                    <a:pt x="1369278" y="982813"/>
                  </a:lnTo>
                  <a:lnTo>
                    <a:pt x="1367074" y="982813"/>
                  </a:lnTo>
                  <a:cubicBezTo>
                    <a:pt x="1363856" y="982813"/>
                    <a:pt x="1359760" y="982813"/>
                    <a:pt x="1354548" y="982813"/>
                  </a:cubicBezTo>
                  <a:lnTo>
                    <a:pt x="1352158" y="982813"/>
                  </a:lnTo>
                  <a:lnTo>
                    <a:pt x="1352788" y="979696"/>
                  </a:lnTo>
                  <a:cubicBezTo>
                    <a:pt x="1354094" y="976607"/>
                    <a:pt x="1357153" y="974439"/>
                    <a:pt x="1360718" y="974439"/>
                  </a:cubicBezTo>
                  <a:close/>
                  <a:moveTo>
                    <a:pt x="79296" y="971474"/>
                  </a:moveTo>
                  <a:cubicBezTo>
                    <a:pt x="78376" y="971474"/>
                    <a:pt x="77457" y="971290"/>
                    <a:pt x="76537" y="971474"/>
                  </a:cubicBezTo>
                  <a:cubicBezTo>
                    <a:pt x="75250" y="971658"/>
                    <a:pt x="74147" y="972210"/>
                    <a:pt x="73411" y="973130"/>
                  </a:cubicBezTo>
                  <a:cubicBezTo>
                    <a:pt x="72308" y="974233"/>
                    <a:pt x="71756" y="975704"/>
                    <a:pt x="71940" y="977359"/>
                  </a:cubicBezTo>
                  <a:cubicBezTo>
                    <a:pt x="71940" y="977543"/>
                    <a:pt x="71940" y="977543"/>
                    <a:pt x="71940" y="977727"/>
                  </a:cubicBezTo>
                  <a:cubicBezTo>
                    <a:pt x="71940" y="989680"/>
                    <a:pt x="71940" y="1001633"/>
                    <a:pt x="71940" y="1013770"/>
                  </a:cubicBezTo>
                  <a:cubicBezTo>
                    <a:pt x="71940" y="1014137"/>
                    <a:pt x="71940" y="1014137"/>
                    <a:pt x="71572" y="1014137"/>
                  </a:cubicBezTo>
                  <a:cubicBezTo>
                    <a:pt x="69918" y="1014137"/>
                    <a:pt x="68262" y="1014137"/>
                    <a:pt x="66607" y="1014137"/>
                  </a:cubicBezTo>
                  <a:cubicBezTo>
                    <a:pt x="65688" y="1014137"/>
                    <a:pt x="64768" y="1014505"/>
                    <a:pt x="63849" y="1014873"/>
                  </a:cubicBezTo>
                  <a:cubicBezTo>
                    <a:pt x="62194" y="1015976"/>
                    <a:pt x="61274" y="1017447"/>
                    <a:pt x="61274" y="1019471"/>
                  </a:cubicBezTo>
                  <a:cubicBezTo>
                    <a:pt x="61274" y="1020942"/>
                    <a:pt x="61826" y="1022413"/>
                    <a:pt x="63113" y="1023332"/>
                  </a:cubicBezTo>
                  <a:cubicBezTo>
                    <a:pt x="63849" y="1023884"/>
                    <a:pt x="64768" y="1024436"/>
                    <a:pt x="65871" y="1024619"/>
                  </a:cubicBezTo>
                  <a:cubicBezTo>
                    <a:pt x="65871" y="1024619"/>
                    <a:pt x="66055" y="1024619"/>
                    <a:pt x="66055" y="1024619"/>
                  </a:cubicBezTo>
                  <a:cubicBezTo>
                    <a:pt x="66055" y="1024619"/>
                    <a:pt x="66239" y="1024619"/>
                    <a:pt x="66239" y="1024619"/>
                  </a:cubicBezTo>
                  <a:cubicBezTo>
                    <a:pt x="66239" y="1024436"/>
                    <a:pt x="66423" y="1024619"/>
                    <a:pt x="66607" y="1024619"/>
                  </a:cubicBezTo>
                  <a:cubicBezTo>
                    <a:pt x="73963" y="1024619"/>
                    <a:pt x="81319" y="1024619"/>
                    <a:pt x="88491" y="1024619"/>
                  </a:cubicBezTo>
                  <a:cubicBezTo>
                    <a:pt x="88674" y="1024619"/>
                    <a:pt x="88674" y="1024619"/>
                    <a:pt x="88858" y="1024619"/>
                  </a:cubicBezTo>
                  <a:cubicBezTo>
                    <a:pt x="89042" y="1024619"/>
                    <a:pt x="89226" y="1024619"/>
                    <a:pt x="89410" y="1024619"/>
                  </a:cubicBezTo>
                  <a:cubicBezTo>
                    <a:pt x="89594" y="1024436"/>
                    <a:pt x="89777" y="1024436"/>
                    <a:pt x="89962" y="1024436"/>
                  </a:cubicBezTo>
                  <a:cubicBezTo>
                    <a:pt x="90881" y="1024251"/>
                    <a:pt x="91616" y="1023700"/>
                    <a:pt x="92352" y="1023148"/>
                  </a:cubicBezTo>
                  <a:cubicBezTo>
                    <a:pt x="93456" y="1022045"/>
                    <a:pt x="94007" y="1020758"/>
                    <a:pt x="94007" y="1019287"/>
                  </a:cubicBezTo>
                  <a:cubicBezTo>
                    <a:pt x="94007" y="1018000"/>
                    <a:pt x="93639" y="1016712"/>
                    <a:pt x="92536" y="1015793"/>
                  </a:cubicBezTo>
                  <a:cubicBezTo>
                    <a:pt x="91433" y="1014690"/>
                    <a:pt x="90145" y="1014137"/>
                    <a:pt x="88674" y="1014137"/>
                  </a:cubicBezTo>
                  <a:cubicBezTo>
                    <a:pt x="86835" y="1014137"/>
                    <a:pt x="84997" y="1014137"/>
                    <a:pt x="83341" y="1014137"/>
                  </a:cubicBezTo>
                  <a:cubicBezTo>
                    <a:pt x="83158" y="1014137"/>
                    <a:pt x="82973" y="1014137"/>
                    <a:pt x="82973" y="1013770"/>
                  </a:cubicBezTo>
                  <a:cubicBezTo>
                    <a:pt x="82973" y="1003288"/>
                    <a:pt x="82973" y="992990"/>
                    <a:pt x="82973" y="982508"/>
                  </a:cubicBezTo>
                  <a:cubicBezTo>
                    <a:pt x="82973" y="982324"/>
                    <a:pt x="82973" y="982140"/>
                    <a:pt x="83341" y="982140"/>
                  </a:cubicBezTo>
                  <a:cubicBezTo>
                    <a:pt x="84629" y="982140"/>
                    <a:pt x="86100" y="982140"/>
                    <a:pt x="87387" y="982140"/>
                  </a:cubicBezTo>
                  <a:cubicBezTo>
                    <a:pt x="89594" y="982140"/>
                    <a:pt x="91248" y="981037"/>
                    <a:pt x="92352" y="979014"/>
                  </a:cubicBezTo>
                  <a:cubicBezTo>
                    <a:pt x="92904" y="977911"/>
                    <a:pt x="92904" y="976623"/>
                    <a:pt x="92536" y="975152"/>
                  </a:cubicBezTo>
                  <a:cubicBezTo>
                    <a:pt x="91800" y="973130"/>
                    <a:pt x="89777" y="971658"/>
                    <a:pt x="87571" y="971658"/>
                  </a:cubicBezTo>
                  <a:cubicBezTo>
                    <a:pt x="84812" y="971658"/>
                    <a:pt x="82054" y="971474"/>
                    <a:pt x="79296" y="971474"/>
                  </a:cubicBezTo>
                  <a:close/>
                  <a:moveTo>
                    <a:pt x="253023" y="971474"/>
                  </a:moveTo>
                  <a:cubicBezTo>
                    <a:pt x="252103" y="971474"/>
                    <a:pt x="251184" y="971290"/>
                    <a:pt x="250264" y="971474"/>
                  </a:cubicBezTo>
                  <a:cubicBezTo>
                    <a:pt x="248977" y="971658"/>
                    <a:pt x="247873" y="972210"/>
                    <a:pt x="247138" y="973130"/>
                  </a:cubicBezTo>
                  <a:cubicBezTo>
                    <a:pt x="246034" y="974233"/>
                    <a:pt x="245483" y="975704"/>
                    <a:pt x="245667" y="977359"/>
                  </a:cubicBezTo>
                  <a:cubicBezTo>
                    <a:pt x="245667" y="977543"/>
                    <a:pt x="245667" y="977543"/>
                    <a:pt x="245667" y="977727"/>
                  </a:cubicBezTo>
                  <a:cubicBezTo>
                    <a:pt x="245667" y="989680"/>
                    <a:pt x="245667" y="1001633"/>
                    <a:pt x="245667" y="1013770"/>
                  </a:cubicBezTo>
                  <a:cubicBezTo>
                    <a:pt x="245667" y="1014137"/>
                    <a:pt x="245667" y="1014137"/>
                    <a:pt x="245299" y="1014137"/>
                  </a:cubicBezTo>
                  <a:cubicBezTo>
                    <a:pt x="243644" y="1014137"/>
                    <a:pt x="241989" y="1014137"/>
                    <a:pt x="240334" y="1014137"/>
                  </a:cubicBezTo>
                  <a:cubicBezTo>
                    <a:pt x="239415" y="1014137"/>
                    <a:pt x="238495" y="1014505"/>
                    <a:pt x="237576" y="1014873"/>
                  </a:cubicBezTo>
                  <a:cubicBezTo>
                    <a:pt x="235921" y="1015976"/>
                    <a:pt x="235001" y="1017447"/>
                    <a:pt x="235001" y="1019471"/>
                  </a:cubicBezTo>
                  <a:cubicBezTo>
                    <a:pt x="235001" y="1020942"/>
                    <a:pt x="235553" y="1022413"/>
                    <a:pt x="236840" y="1023332"/>
                  </a:cubicBezTo>
                  <a:cubicBezTo>
                    <a:pt x="237576" y="1023884"/>
                    <a:pt x="238495" y="1024436"/>
                    <a:pt x="239598" y="1024619"/>
                  </a:cubicBezTo>
                  <a:cubicBezTo>
                    <a:pt x="239598" y="1024619"/>
                    <a:pt x="239782" y="1024619"/>
                    <a:pt x="239782" y="1024619"/>
                  </a:cubicBezTo>
                  <a:cubicBezTo>
                    <a:pt x="239782" y="1024619"/>
                    <a:pt x="239966" y="1024619"/>
                    <a:pt x="239966" y="1024619"/>
                  </a:cubicBezTo>
                  <a:cubicBezTo>
                    <a:pt x="239966" y="1024436"/>
                    <a:pt x="240150" y="1024619"/>
                    <a:pt x="240334" y="1024619"/>
                  </a:cubicBezTo>
                  <a:cubicBezTo>
                    <a:pt x="247690" y="1024619"/>
                    <a:pt x="255045" y="1024619"/>
                    <a:pt x="262217" y="1024619"/>
                  </a:cubicBezTo>
                  <a:cubicBezTo>
                    <a:pt x="262401" y="1024619"/>
                    <a:pt x="262401" y="1024619"/>
                    <a:pt x="262585" y="1024619"/>
                  </a:cubicBezTo>
                  <a:cubicBezTo>
                    <a:pt x="262769" y="1024619"/>
                    <a:pt x="262953" y="1024619"/>
                    <a:pt x="263137" y="1024619"/>
                  </a:cubicBezTo>
                  <a:cubicBezTo>
                    <a:pt x="263321" y="1024436"/>
                    <a:pt x="263504" y="1024436"/>
                    <a:pt x="263689" y="1024436"/>
                  </a:cubicBezTo>
                  <a:cubicBezTo>
                    <a:pt x="264608" y="1024251"/>
                    <a:pt x="265343" y="1023700"/>
                    <a:pt x="266079" y="1023148"/>
                  </a:cubicBezTo>
                  <a:cubicBezTo>
                    <a:pt x="267182" y="1022045"/>
                    <a:pt x="267734" y="1020758"/>
                    <a:pt x="267734" y="1019287"/>
                  </a:cubicBezTo>
                  <a:cubicBezTo>
                    <a:pt x="267734" y="1018000"/>
                    <a:pt x="267366" y="1016712"/>
                    <a:pt x="266263" y="1015793"/>
                  </a:cubicBezTo>
                  <a:cubicBezTo>
                    <a:pt x="265160" y="1014690"/>
                    <a:pt x="263872" y="1014137"/>
                    <a:pt x="262401" y="1014137"/>
                  </a:cubicBezTo>
                  <a:cubicBezTo>
                    <a:pt x="260562" y="1014137"/>
                    <a:pt x="258724" y="1014137"/>
                    <a:pt x="257068" y="1014137"/>
                  </a:cubicBezTo>
                  <a:cubicBezTo>
                    <a:pt x="256885" y="1014137"/>
                    <a:pt x="256700" y="1014137"/>
                    <a:pt x="256700" y="1013770"/>
                  </a:cubicBezTo>
                  <a:cubicBezTo>
                    <a:pt x="256700" y="1003288"/>
                    <a:pt x="256700" y="992990"/>
                    <a:pt x="256700" y="982508"/>
                  </a:cubicBezTo>
                  <a:cubicBezTo>
                    <a:pt x="256700" y="982324"/>
                    <a:pt x="256700" y="982140"/>
                    <a:pt x="257068" y="982140"/>
                  </a:cubicBezTo>
                  <a:cubicBezTo>
                    <a:pt x="258356" y="982140"/>
                    <a:pt x="259827" y="982140"/>
                    <a:pt x="261114" y="982140"/>
                  </a:cubicBezTo>
                  <a:cubicBezTo>
                    <a:pt x="263321" y="982140"/>
                    <a:pt x="264975" y="981037"/>
                    <a:pt x="266079" y="979014"/>
                  </a:cubicBezTo>
                  <a:cubicBezTo>
                    <a:pt x="266631" y="977911"/>
                    <a:pt x="266631" y="976623"/>
                    <a:pt x="266263" y="975152"/>
                  </a:cubicBezTo>
                  <a:cubicBezTo>
                    <a:pt x="265527" y="973130"/>
                    <a:pt x="263504" y="971658"/>
                    <a:pt x="261298" y="971658"/>
                  </a:cubicBezTo>
                  <a:cubicBezTo>
                    <a:pt x="258539" y="971658"/>
                    <a:pt x="255781" y="971474"/>
                    <a:pt x="253023" y="971474"/>
                  </a:cubicBezTo>
                  <a:close/>
                  <a:moveTo>
                    <a:pt x="488091" y="971474"/>
                  </a:moveTo>
                  <a:cubicBezTo>
                    <a:pt x="487172" y="971474"/>
                    <a:pt x="486252" y="971290"/>
                    <a:pt x="485333" y="971474"/>
                  </a:cubicBezTo>
                  <a:cubicBezTo>
                    <a:pt x="484045" y="971658"/>
                    <a:pt x="482942" y="972210"/>
                    <a:pt x="482207" y="973130"/>
                  </a:cubicBezTo>
                  <a:cubicBezTo>
                    <a:pt x="481103" y="974233"/>
                    <a:pt x="480551" y="975704"/>
                    <a:pt x="480736" y="977359"/>
                  </a:cubicBezTo>
                  <a:cubicBezTo>
                    <a:pt x="480736" y="977543"/>
                    <a:pt x="480736" y="977543"/>
                    <a:pt x="480736" y="977727"/>
                  </a:cubicBezTo>
                  <a:cubicBezTo>
                    <a:pt x="480736" y="989680"/>
                    <a:pt x="480736" y="1001633"/>
                    <a:pt x="480736" y="1013770"/>
                  </a:cubicBezTo>
                  <a:cubicBezTo>
                    <a:pt x="480736" y="1014137"/>
                    <a:pt x="480736" y="1014137"/>
                    <a:pt x="480368" y="1014137"/>
                  </a:cubicBezTo>
                  <a:cubicBezTo>
                    <a:pt x="478713" y="1014137"/>
                    <a:pt x="477057" y="1014137"/>
                    <a:pt x="475403" y="1014137"/>
                  </a:cubicBezTo>
                  <a:cubicBezTo>
                    <a:pt x="474483" y="1014137"/>
                    <a:pt x="473564" y="1014505"/>
                    <a:pt x="472644" y="1014873"/>
                  </a:cubicBezTo>
                  <a:cubicBezTo>
                    <a:pt x="470989" y="1015976"/>
                    <a:pt x="470070" y="1017447"/>
                    <a:pt x="470070" y="1019471"/>
                  </a:cubicBezTo>
                  <a:cubicBezTo>
                    <a:pt x="470070" y="1020942"/>
                    <a:pt x="470621" y="1022413"/>
                    <a:pt x="471908" y="1023332"/>
                  </a:cubicBezTo>
                  <a:cubicBezTo>
                    <a:pt x="472644" y="1023884"/>
                    <a:pt x="473564" y="1024436"/>
                    <a:pt x="474667" y="1024619"/>
                  </a:cubicBezTo>
                  <a:cubicBezTo>
                    <a:pt x="474667" y="1024619"/>
                    <a:pt x="474850" y="1024619"/>
                    <a:pt x="474850" y="1024619"/>
                  </a:cubicBezTo>
                  <a:cubicBezTo>
                    <a:pt x="474850" y="1024619"/>
                    <a:pt x="475035" y="1024619"/>
                    <a:pt x="475035" y="1024619"/>
                  </a:cubicBezTo>
                  <a:cubicBezTo>
                    <a:pt x="475035" y="1024436"/>
                    <a:pt x="475218" y="1024619"/>
                    <a:pt x="475403" y="1024619"/>
                  </a:cubicBezTo>
                  <a:cubicBezTo>
                    <a:pt x="482758" y="1024619"/>
                    <a:pt x="490114" y="1024619"/>
                    <a:pt x="497286" y="1024619"/>
                  </a:cubicBezTo>
                  <a:cubicBezTo>
                    <a:pt x="497470" y="1024619"/>
                    <a:pt x="497470" y="1024619"/>
                    <a:pt x="497653" y="1024619"/>
                  </a:cubicBezTo>
                  <a:cubicBezTo>
                    <a:pt x="497837" y="1024619"/>
                    <a:pt x="498021" y="1024619"/>
                    <a:pt x="498205" y="1024619"/>
                  </a:cubicBezTo>
                  <a:cubicBezTo>
                    <a:pt x="498389" y="1024436"/>
                    <a:pt x="498573" y="1024436"/>
                    <a:pt x="498757" y="1024436"/>
                  </a:cubicBezTo>
                  <a:cubicBezTo>
                    <a:pt x="499677" y="1024251"/>
                    <a:pt x="500412" y="1023700"/>
                    <a:pt x="501148" y="1023148"/>
                  </a:cubicBezTo>
                  <a:cubicBezTo>
                    <a:pt x="502251" y="1022045"/>
                    <a:pt x="502802" y="1020758"/>
                    <a:pt x="502802" y="1019287"/>
                  </a:cubicBezTo>
                  <a:cubicBezTo>
                    <a:pt x="502802" y="1018000"/>
                    <a:pt x="502434" y="1016712"/>
                    <a:pt x="501331" y="1015793"/>
                  </a:cubicBezTo>
                  <a:cubicBezTo>
                    <a:pt x="500228" y="1014690"/>
                    <a:pt x="498941" y="1014137"/>
                    <a:pt x="497470" y="1014137"/>
                  </a:cubicBezTo>
                  <a:cubicBezTo>
                    <a:pt x="495630" y="1014137"/>
                    <a:pt x="493792" y="1014137"/>
                    <a:pt x="492137" y="1014137"/>
                  </a:cubicBezTo>
                  <a:cubicBezTo>
                    <a:pt x="491953" y="1014137"/>
                    <a:pt x="491769" y="1014137"/>
                    <a:pt x="491769" y="1013770"/>
                  </a:cubicBezTo>
                  <a:cubicBezTo>
                    <a:pt x="491769" y="1003288"/>
                    <a:pt x="491769" y="992990"/>
                    <a:pt x="491769" y="982508"/>
                  </a:cubicBezTo>
                  <a:cubicBezTo>
                    <a:pt x="491769" y="982324"/>
                    <a:pt x="491769" y="982140"/>
                    <a:pt x="492137" y="982140"/>
                  </a:cubicBezTo>
                  <a:cubicBezTo>
                    <a:pt x="493424" y="982140"/>
                    <a:pt x="494895" y="982140"/>
                    <a:pt x="496182" y="982140"/>
                  </a:cubicBezTo>
                  <a:cubicBezTo>
                    <a:pt x="498389" y="982140"/>
                    <a:pt x="500044" y="981037"/>
                    <a:pt x="501148" y="979014"/>
                  </a:cubicBezTo>
                  <a:cubicBezTo>
                    <a:pt x="501699" y="977911"/>
                    <a:pt x="501699" y="976623"/>
                    <a:pt x="501331" y="975152"/>
                  </a:cubicBezTo>
                  <a:cubicBezTo>
                    <a:pt x="500595" y="973130"/>
                    <a:pt x="498573" y="971658"/>
                    <a:pt x="496366" y="971658"/>
                  </a:cubicBezTo>
                  <a:cubicBezTo>
                    <a:pt x="493608" y="971658"/>
                    <a:pt x="490850" y="971474"/>
                    <a:pt x="488091" y="971474"/>
                  </a:cubicBezTo>
                  <a:close/>
                  <a:moveTo>
                    <a:pt x="723209" y="971474"/>
                  </a:moveTo>
                  <a:cubicBezTo>
                    <a:pt x="722289" y="971474"/>
                    <a:pt x="721370" y="971290"/>
                    <a:pt x="720450" y="971474"/>
                  </a:cubicBezTo>
                  <a:cubicBezTo>
                    <a:pt x="719163" y="971658"/>
                    <a:pt x="718060" y="972210"/>
                    <a:pt x="717324" y="973130"/>
                  </a:cubicBezTo>
                  <a:cubicBezTo>
                    <a:pt x="716221" y="974233"/>
                    <a:pt x="715669" y="975704"/>
                    <a:pt x="715853" y="977359"/>
                  </a:cubicBezTo>
                  <a:cubicBezTo>
                    <a:pt x="715853" y="977543"/>
                    <a:pt x="715853" y="977543"/>
                    <a:pt x="715853" y="977727"/>
                  </a:cubicBezTo>
                  <a:cubicBezTo>
                    <a:pt x="715853" y="989680"/>
                    <a:pt x="715853" y="1001633"/>
                    <a:pt x="715853" y="1013770"/>
                  </a:cubicBezTo>
                  <a:cubicBezTo>
                    <a:pt x="715853" y="1014137"/>
                    <a:pt x="715853" y="1014137"/>
                    <a:pt x="715485" y="1014137"/>
                  </a:cubicBezTo>
                  <a:cubicBezTo>
                    <a:pt x="713830" y="1014137"/>
                    <a:pt x="712175" y="1014137"/>
                    <a:pt x="710520" y="1014137"/>
                  </a:cubicBezTo>
                  <a:cubicBezTo>
                    <a:pt x="709601" y="1014137"/>
                    <a:pt x="708681" y="1014505"/>
                    <a:pt x="707762" y="1014873"/>
                  </a:cubicBezTo>
                  <a:cubicBezTo>
                    <a:pt x="706107" y="1015976"/>
                    <a:pt x="705187" y="1017447"/>
                    <a:pt x="705187" y="1019471"/>
                  </a:cubicBezTo>
                  <a:cubicBezTo>
                    <a:pt x="705187" y="1020942"/>
                    <a:pt x="705739" y="1022413"/>
                    <a:pt x="707026" y="1023332"/>
                  </a:cubicBezTo>
                  <a:cubicBezTo>
                    <a:pt x="707762" y="1023884"/>
                    <a:pt x="708681" y="1024436"/>
                    <a:pt x="709785" y="1024619"/>
                  </a:cubicBezTo>
                  <a:cubicBezTo>
                    <a:pt x="709785" y="1024619"/>
                    <a:pt x="709969" y="1024619"/>
                    <a:pt x="709969" y="1024619"/>
                  </a:cubicBezTo>
                  <a:cubicBezTo>
                    <a:pt x="709969" y="1024619"/>
                    <a:pt x="710152" y="1024619"/>
                    <a:pt x="710152" y="1024619"/>
                  </a:cubicBezTo>
                  <a:cubicBezTo>
                    <a:pt x="710152" y="1024436"/>
                    <a:pt x="710336" y="1024619"/>
                    <a:pt x="710520" y="1024619"/>
                  </a:cubicBezTo>
                  <a:cubicBezTo>
                    <a:pt x="717876" y="1024619"/>
                    <a:pt x="725231" y="1024619"/>
                    <a:pt x="732403" y="1024619"/>
                  </a:cubicBezTo>
                  <a:cubicBezTo>
                    <a:pt x="732588" y="1024619"/>
                    <a:pt x="732588" y="1024619"/>
                    <a:pt x="732771" y="1024619"/>
                  </a:cubicBezTo>
                  <a:cubicBezTo>
                    <a:pt x="732955" y="1024619"/>
                    <a:pt x="733139" y="1024619"/>
                    <a:pt x="733323" y="1024619"/>
                  </a:cubicBezTo>
                  <a:cubicBezTo>
                    <a:pt x="733506" y="1024436"/>
                    <a:pt x="733691" y="1024436"/>
                    <a:pt x="733874" y="1024436"/>
                  </a:cubicBezTo>
                  <a:cubicBezTo>
                    <a:pt x="734794" y="1024251"/>
                    <a:pt x="735530" y="1023700"/>
                    <a:pt x="736265" y="1023148"/>
                  </a:cubicBezTo>
                  <a:cubicBezTo>
                    <a:pt x="737368" y="1022045"/>
                    <a:pt x="737920" y="1020758"/>
                    <a:pt x="737920" y="1019287"/>
                  </a:cubicBezTo>
                  <a:cubicBezTo>
                    <a:pt x="737920" y="1018000"/>
                    <a:pt x="737553" y="1016712"/>
                    <a:pt x="736449" y="1015793"/>
                  </a:cubicBezTo>
                  <a:cubicBezTo>
                    <a:pt x="735346" y="1014690"/>
                    <a:pt x="734059" y="1014137"/>
                    <a:pt x="732588" y="1014137"/>
                  </a:cubicBezTo>
                  <a:cubicBezTo>
                    <a:pt x="730749" y="1014137"/>
                    <a:pt x="728909" y="1014137"/>
                    <a:pt x="727255" y="1014137"/>
                  </a:cubicBezTo>
                  <a:cubicBezTo>
                    <a:pt x="727070" y="1014137"/>
                    <a:pt x="726887" y="1014137"/>
                    <a:pt x="726887" y="1013770"/>
                  </a:cubicBezTo>
                  <a:cubicBezTo>
                    <a:pt x="726887" y="1003288"/>
                    <a:pt x="726887" y="992990"/>
                    <a:pt x="726887" y="982508"/>
                  </a:cubicBezTo>
                  <a:cubicBezTo>
                    <a:pt x="726887" y="982324"/>
                    <a:pt x="726887" y="982140"/>
                    <a:pt x="727255" y="982140"/>
                  </a:cubicBezTo>
                  <a:cubicBezTo>
                    <a:pt x="728542" y="982140"/>
                    <a:pt x="730013" y="982140"/>
                    <a:pt x="731300" y="982140"/>
                  </a:cubicBezTo>
                  <a:cubicBezTo>
                    <a:pt x="733506" y="982140"/>
                    <a:pt x="735162" y="981037"/>
                    <a:pt x="736265" y="979014"/>
                  </a:cubicBezTo>
                  <a:cubicBezTo>
                    <a:pt x="736817" y="977911"/>
                    <a:pt x="736817" y="976623"/>
                    <a:pt x="736449" y="975152"/>
                  </a:cubicBezTo>
                  <a:cubicBezTo>
                    <a:pt x="735713" y="973130"/>
                    <a:pt x="733691" y="971658"/>
                    <a:pt x="731484" y="971658"/>
                  </a:cubicBezTo>
                  <a:cubicBezTo>
                    <a:pt x="728726" y="971658"/>
                    <a:pt x="725967" y="971474"/>
                    <a:pt x="723209" y="971474"/>
                  </a:cubicBezTo>
                  <a:close/>
                  <a:moveTo>
                    <a:pt x="835693" y="971474"/>
                  </a:moveTo>
                  <a:cubicBezTo>
                    <a:pt x="834774" y="971474"/>
                    <a:pt x="833854" y="971290"/>
                    <a:pt x="832935" y="971474"/>
                  </a:cubicBezTo>
                  <a:cubicBezTo>
                    <a:pt x="831648" y="971658"/>
                    <a:pt x="830544" y="972210"/>
                    <a:pt x="829809" y="973130"/>
                  </a:cubicBezTo>
                  <a:cubicBezTo>
                    <a:pt x="828706" y="974233"/>
                    <a:pt x="828154" y="975704"/>
                    <a:pt x="828338" y="977359"/>
                  </a:cubicBezTo>
                  <a:cubicBezTo>
                    <a:pt x="828338" y="977543"/>
                    <a:pt x="828338" y="977543"/>
                    <a:pt x="828338" y="977727"/>
                  </a:cubicBezTo>
                  <a:cubicBezTo>
                    <a:pt x="828338" y="989680"/>
                    <a:pt x="828338" y="1001633"/>
                    <a:pt x="828338" y="1013770"/>
                  </a:cubicBezTo>
                  <a:cubicBezTo>
                    <a:pt x="828338" y="1014137"/>
                    <a:pt x="828338" y="1014137"/>
                    <a:pt x="827970" y="1014137"/>
                  </a:cubicBezTo>
                  <a:cubicBezTo>
                    <a:pt x="826315" y="1014137"/>
                    <a:pt x="824659" y="1014137"/>
                    <a:pt x="823005" y="1014137"/>
                  </a:cubicBezTo>
                  <a:cubicBezTo>
                    <a:pt x="822085" y="1014137"/>
                    <a:pt x="821166" y="1014505"/>
                    <a:pt x="820246" y="1014873"/>
                  </a:cubicBezTo>
                  <a:cubicBezTo>
                    <a:pt x="818591" y="1015976"/>
                    <a:pt x="817672" y="1017447"/>
                    <a:pt x="817672" y="1019471"/>
                  </a:cubicBezTo>
                  <a:cubicBezTo>
                    <a:pt x="817672" y="1020942"/>
                    <a:pt x="818223" y="1022413"/>
                    <a:pt x="819511" y="1023332"/>
                  </a:cubicBezTo>
                  <a:cubicBezTo>
                    <a:pt x="820246" y="1023884"/>
                    <a:pt x="821166" y="1024436"/>
                    <a:pt x="822270" y="1024619"/>
                  </a:cubicBezTo>
                  <a:cubicBezTo>
                    <a:pt x="822270" y="1024619"/>
                    <a:pt x="822453" y="1024619"/>
                    <a:pt x="822453" y="1024619"/>
                  </a:cubicBezTo>
                  <a:cubicBezTo>
                    <a:pt x="822453" y="1024619"/>
                    <a:pt x="822637" y="1024619"/>
                    <a:pt x="822637" y="1024619"/>
                  </a:cubicBezTo>
                  <a:cubicBezTo>
                    <a:pt x="822637" y="1024436"/>
                    <a:pt x="822821" y="1024619"/>
                    <a:pt x="823005" y="1024619"/>
                  </a:cubicBezTo>
                  <a:cubicBezTo>
                    <a:pt x="830360" y="1024619"/>
                    <a:pt x="837716" y="1024619"/>
                    <a:pt x="844888" y="1024619"/>
                  </a:cubicBezTo>
                  <a:cubicBezTo>
                    <a:pt x="845072" y="1024619"/>
                    <a:pt x="845072" y="1024619"/>
                    <a:pt x="845256" y="1024619"/>
                  </a:cubicBezTo>
                  <a:cubicBezTo>
                    <a:pt x="845439" y="1024619"/>
                    <a:pt x="845624" y="1024619"/>
                    <a:pt x="845807" y="1024619"/>
                  </a:cubicBezTo>
                  <a:cubicBezTo>
                    <a:pt x="845991" y="1024436"/>
                    <a:pt x="846175" y="1024436"/>
                    <a:pt x="846359" y="1024436"/>
                  </a:cubicBezTo>
                  <a:cubicBezTo>
                    <a:pt x="847279" y="1024251"/>
                    <a:pt x="848014" y="1023700"/>
                    <a:pt x="848750" y="1023148"/>
                  </a:cubicBezTo>
                  <a:cubicBezTo>
                    <a:pt x="849854" y="1022045"/>
                    <a:pt x="850404" y="1020758"/>
                    <a:pt x="850404" y="1019287"/>
                  </a:cubicBezTo>
                  <a:cubicBezTo>
                    <a:pt x="850404" y="1018000"/>
                    <a:pt x="850037" y="1016712"/>
                    <a:pt x="848933" y="1015793"/>
                  </a:cubicBezTo>
                  <a:cubicBezTo>
                    <a:pt x="847830" y="1014690"/>
                    <a:pt x="846543" y="1014137"/>
                    <a:pt x="845072" y="1014137"/>
                  </a:cubicBezTo>
                  <a:cubicBezTo>
                    <a:pt x="843233" y="1014137"/>
                    <a:pt x="841394" y="1014137"/>
                    <a:pt x="839739" y="1014137"/>
                  </a:cubicBezTo>
                  <a:cubicBezTo>
                    <a:pt x="839555" y="1014137"/>
                    <a:pt x="839371" y="1014137"/>
                    <a:pt x="839371" y="1013770"/>
                  </a:cubicBezTo>
                  <a:cubicBezTo>
                    <a:pt x="839371" y="1003288"/>
                    <a:pt x="839371" y="992990"/>
                    <a:pt x="839371" y="982508"/>
                  </a:cubicBezTo>
                  <a:cubicBezTo>
                    <a:pt x="839371" y="982324"/>
                    <a:pt x="839371" y="982140"/>
                    <a:pt x="839739" y="982140"/>
                  </a:cubicBezTo>
                  <a:cubicBezTo>
                    <a:pt x="841026" y="982140"/>
                    <a:pt x="842497" y="982140"/>
                    <a:pt x="843785" y="982140"/>
                  </a:cubicBezTo>
                  <a:cubicBezTo>
                    <a:pt x="845991" y="982140"/>
                    <a:pt x="847647" y="981037"/>
                    <a:pt x="848750" y="979014"/>
                  </a:cubicBezTo>
                  <a:cubicBezTo>
                    <a:pt x="849301" y="977911"/>
                    <a:pt x="849301" y="976623"/>
                    <a:pt x="848933" y="975152"/>
                  </a:cubicBezTo>
                  <a:cubicBezTo>
                    <a:pt x="848198" y="973130"/>
                    <a:pt x="846175" y="971658"/>
                    <a:pt x="843968" y="971658"/>
                  </a:cubicBezTo>
                  <a:cubicBezTo>
                    <a:pt x="841210" y="971658"/>
                    <a:pt x="838452" y="971474"/>
                    <a:pt x="835693" y="971474"/>
                  </a:cubicBezTo>
                  <a:close/>
                  <a:moveTo>
                    <a:pt x="1193395" y="971474"/>
                  </a:moveTo>
                  <a:cubicBezTo>
                    <a:pt x="1192476" y="971474"/>
                    <a:pt x="1191556" y="971290"/>
                    <a:pt x="1190637" y="971474"/>
                  </a:cubicBezTo>
                  <a:cubicBezTo>
                    <a:pt x="1189350" y="971658"/>
                    <a:pt x="1188247" y="972210"/>
                    <a:pt x="1187511" y="973130"/>
                  </a:cubicBezTo>
                  <a:cubicBezTo>
                    <a:pt x="1186407" y="974233"/>
                    <a:pt x="1185856" y="975704"/>
                    <a:pt x="1186040" y="977359"/>
                  </a:cubicBezTo>
                  <a:cubicBezTo>
                    <a:pt x="1186040" y="977543"/>
                    <a:pt x="1186040" y="977543"/>
                    <a:pt x="1186040" y="977727"/>
                  </a:cubicBezTo>
                  <a:cubicBezTo>
                    <a:pt x="1186040" y="989680"/>
                    <a:pt x="1186040" y="1001633"/>
                    <a:pt x="1186040" y="1013770"/>
                  </a:cubicBezTo>
                  <a:cubicBezTo>
                    <a:pt x="1186040" y="1014137"/>
                    <a:pt x="1186040" y="1014137"/>
                    <a:pt x="1185672" y="1014137"/>
                  </a:cubicBezTo>
                  <a:cubicBezTo>
                    <a:pt x="1184017" y="1014137"/>
                    <a:pt x="1182361" y="1014137"/>
                    <a:pt x="1180707" y="1014137"/>
                  </a:cubicBezTo>
                  <a:cubicBezTo>
                    <a:pt x="1179787" y="1014137"/>
                    <a:pt x="1178868" y="1014505"/>
                    <a:pt x="1177948" y="1014873"/>
                  </a:cubicBezTo>
                  <a:cubicBezTo>
                    <a:pt x="1176293" y="1015976"/>
                    <a:pt x="1175374" y="1017447"/>
                    <a:pt x="1175374" y="1019471"/>
                  </a:cubicBezTo>
                  <a:cubicBezTo>
                    <a:pt x="1175374" y="1020942"/>
                    <a:pt x="1175925" y="1022413"/>
                    <a:pt x="1177213" y="1023332"/>
                  </a:cubicBezTo>
                  <a:cubicBezTo>
                    <a:pt x="1177948" y="1023884"/>
                    <a:pt x="1178868" y="1024436"/>
                    <a:pt x="1179971" y="1024619"/>
                  </a:cubicBezTo>
                  <a:cubicBezTo>
                    <a:pt x="1179971" y="1024619"/>
                    <a:pt x="1180155" y="1024619"/>
                    <a:pt x="1180155" y="1024619"/>
                  </a:cubicBezTo>
                  <a:cubicBezTo>
                    <a:pt x="1180155" y="1024619"/>
                    <a:pt x="1180339" y="1024619"/>
                    <a:pt x="1180339" y="1024619"/>
                  </a:cubicBezTo>
                  <a:cubicBezTo>
                    <a:pt x="1180339" y="1024436"/>
                    <a:pt x="1180523" y="1024619"/>
                    <a:pt x="1180707" y="1024619"/>
                  </a:cubicBezTo>
                  <a:cubicBezTo>
                    <a:pt x="1188062" y="1024619"/>
                    <a:pt x="1195419" y="1024619"/>
                    <a:pt x="1202590" y="1024619"/>
                  </a:cubicBezTo>
                  <a:cubicBezTo>
                    <a:pt x="1202774" y="1024619"/>
                    <a:pt x="1202774" y="1024619"/>
                    <a:pt x="1202958" y="1024619"/>
                  </a:cubicBezTo>
                  <a:cubicBezTo>
                    <a:pt x="1203141" y="1024619"/>
                    <a:pt x="1203326" y="1024619"/>
                    <a:pt x="1203509" y="1024619"/>
                  </a:cubicBezTo>
                  <a:cubicBezTo>
                    <a:pt x="1203693" y="1024436"/>
                    <a:pt x="1203877" y="1024436"/>
                    <a:pt x="1204061" y="1024436"/>
                  </a:cubicBezTo>
                  <a:cubicBezTo>
                    <a:pt x="1204980" y="1024251"/>
                    <a:pt x="1205716" y="1023700"/>
                    <a:pt x="1206452" y="1023148"/>
                  </a:cubicBezTo>
                  <a:cubicBezTo>
                    <a:pt x="1207555" y="1022045"/>
                    <a:pt x="1208107" y="1020758"/>
                    <a:pt x="1208107" y="1019287"/>
                  </a:cubicBezTo>
                  <a:cubicBezTo>
                    <a:pt x="1208107" y="1018000"/>
                    <a:pt x="1207739" y="1016712"/>
                    <a:pt x="1206636" y="1015793"/>
                  </a:cubicBezTo>
                  <a:cubicBezTo>
                    <a:pt x="1205532" y="1014690"/>
                    <a:pt x="1204245" y="1014137"/>
                    <a:pt x="1202774" y="1014137"/>
                  </a:cubicBezTo>
                  <a:cubicBezTo>
                    <a:pt x="1200935" y="1014137"/>
                    <a:pt x="1199096" y="1014137"/>
                    <a:pt x="1197441" y="1014137"/>
                  </a:cubicBezTo>
                  <a:cubicBezTo>
                    <a:pt x="1197257" y="1014137"/>
                    <a:pt x="1197073" y="1014137"/>
                    <a:pt x="1197073" y="1013770"/>
                  </a:cubicBezTo>
                  <a:cubicBezTo>
                    <a:pt x="1197073" y="1003288"/>
                    <a:pt x="1197073" y="992990"/>
                    <a:pt x="1197073" y="982508"/>
                  </a:cubicBezTo>
                  <a:cubicBezTo>
                    <a:pt x="1197073" y="982324"/>
                    <a:pt x="1197073" y="982140"/>
                    <a:pt x="1197441" y="982140"/>
                  </a:cubicBezTo>
                  <a:cubicBezTo>
                    <a:pt x="1198728" y="982140"/>
                    <a:pt x="1200199" y="982140"/>
                    <a:pt x="1201487" y="982140"/>
                  </a:cubicBezTo>
                  <a:cubicBezTo>
                    <a:pt x="1203693" y="982140"/>
                    <a:pt x="1205348" y="981037"/>
                    <a:pt x="1206452" y="979014"/>
                  </a:cubicBezTo>
                  <a:cubicBezTo>
                    <a:pt x="1207003" y="977911"/>
                    <a:pt x="1207003" y="976623"/>
                    <a:pt x="1206636" y="975152"/>
                  </a:cubicBezTo>
                  <a:cubicBezTo>
                    <a:pt x="1205900" y="973130"/>
                    <a:pt x="1203877" y="971658"/>
                    <a:pt x="1201670" y="971658"/>
                  </a:cubicBezTo>
                  <a:cubicBezTo>
                    <a:pt x="1198912" y="971658"/>
                    <a:pt x="1196154" y="971474"/>
                    <a:pt x="1193395" y="971474"/>
                  </a:cubicBezTo>
                  <a:close/>
                  <a:moveTo>
                    <a:pt x="1244538" y="971474"/>
                  </a:moveTo>
                  <a:cubicBezTo>
                    <a:pt x="1243619" y="971474"/>
                    <a:pt x="1242699" y="971290"/>
                    <a:pt x="1241780" y="971474"/>
                  </a:cubicBezTo>
                  <a:cubicBezTo>
                    <a:pt x="1240493" y="971658"/>
                    <a:pt x="1239390" y="972210"/>
                    <a:pt x="1238654" y="973130"/>
                  </a:cubicBezTo>
                  <a:cubicBezTo>
                    <a:pt x="1237551" y="974233"/>
                    <a:pt x="1236999" y="975704"/>
                    <a:pt x="1237183" y="977359"/>
                  </a:cubicBezTo>
                  <a:cubicBezTo>
                    <a:pt x="1237183" y="977543"/>
                    <a:pt x="1237183" y="977543"/>
                    <a:pt x="1237183" y="977727"/>
                  </a:cubicBezTo>
                  <a:cubicBezTo>
                    <a:pt x="1237183" y="989680"/>
                    <a:pt x="1237183" y="1001633"/>
                    <a:pt x="1237183" y="1013770"/>
                  </a:cubicBezTo>
                  <a:cubicBezTo>
                    <a:pt x="1237183" y="1014137"/>
                    <a:pt x="1237183" y="1014137"/>
                    <a:pt x="1236815" y="1014137"/>
                  </a:cubicBezTo>
                  <a:cubicBezTo>
                    <a:pt x="1235160" y="1014137"/>
                    <a:pt x="1233504" y="1014137"/>
                    <a:pt x="1231850" y="1014137"/>
                  </a:cubicBezTo>
                  <a:cubicBezTo>
                    <a:pt x="1230930" y="1014137"/>
                    <a:pt x="1230011" y="1014505"/>
                    <a:pt x="1229091" y="1014873"/>
                  </a:cubicBezTo>
                  <a:cubicBezTo>
                    <a:pt x="1227436" y="1015976"/>
                    <a:pt x="1226517" y="1017447"/>
                    <a:pt x="1226517" y="1019471"/>
                  </a:cubicBezTo>
                  <a:cubicBezTo>
                    <a:pt x="1226517" y="1020942"/>
                    <a:pt x="1227068" y="1022413"/>
                    <a:pt x="1228356" y="1023332"/>
                  </a:cubicBezTo>
                  <a:cubicBezTo>
                    <a:pt x="1229091" y="1023884"/>
                    <a:pt x="1230011" y="1024436"/>
                    <a:pt x="1231114" y="1024619"/>
                  </a:cubicBezTo>
                  <a:cubicBezTo>
                    <a:pt x="1231114" y="1024619"/>
                    <a:pt x="1231298" y="1024619"/>
                    <a:pt x="1231298" y="1024619"/>
                  </a:cubicBezTo>
                  <a:cubicBezTo>
                    <a:pt x="1231298" y="1024619"/>
                    <a:pt x="1231482" y="1024619"/>
                    <a:pt x="1231482" y="1024619"/>
                  </a:cubicBezTo>
                  <a:cubicBezTo>
                    <a:pt x="1231482" y="1024436"/>
                    <a:pt x="1231666" y="1024619"/>
                    <a:pt x="1231850" y="1024619"/>
                  </a:cubicBezTo>
                  <a:cubicBezTo>
                    <a:pt x="1239205" y="1024619"/>
                    <a:pt x="1246562" y="1024619"/>
                    <a:pt x="1253733" y="1024619"/>
                  </a:cubicBezTo>
                  <a:cubicBezTo>
                    <a:pt x="1253917" y="1024619"/>
                    <a:pt x="1253917" y="1024619"/>
                    <a:pt x="1254101" y="1024619"/>
                  </a:cubicBezTo>
                  <a:cubicBezTo>
                    <a:pt x="1254284" y="1024619"/>
                    <a:pt x="1254469" y="1024619"/>
                    <a:pt x="1254652" y="1024619"/>
                  </a:cubicBezTo>
                  <a:cubicBezTo>
                    <a:pt x="1254836" y="1024436"/>
                    <a:pt x="1255020" y="1024436"/>
                    <a:pt x="1255204" y="1024436"/>
                  </a:cubicBezTo>
                  <a:cubicBezTo>
                    <a:pt x="1256124" y="1024251"/>
                    <a:pt x="1256859" y="1023700"/>
                    <a:pt x="1257595" y="1023148"/>
                  </a:cubicBezTo>
                  <a:cubicBezTo>
                    <a:pt x="1258698" y="1022045"/>
                    <a:pt x="1259250" y="1020758"/>
                    <a:pt x="1259250" y="1019287"/>
                  </a:cubicBezTo>
                  <a:cubicBezTo>
                    <a:pt x="1259250" y="1018000"/>
                    <a:pt x="1258882" y="1016712"/>
                    <a:pt x="1257778" y="1015793"/>
                  </a:cubicBezTo>
                  <a:cubicBezTo>
                    <a:pt x="1256675" y="1014690"/>
                    <a:pt x="1255388" y="1014137"/>
                    <a:pt x="1253917" y="1014137"/>
                  </a:cubicBezTo>
                  <a:cubicBezTo>
                    <a:pt x="1252078" y="1014137"/>
                    <a:pt x="1250239" y="1014137"/>
                    <a:pt x="1248584" y="1014137"/>
                  </a:cubicBezTo>
                  <a:cubicBezTo>
                    <a:pt x="1248400" y="1014137"/>
                    <a:pt x="1248216" y="1014137"/>
                    <a:pt x="1248216" y="1013770"/>
                  </a:cubicBezTo>
                  <a:cubicBezTo>
                    <a:pt x="1248216" y="1003288"/>
                    <a:pt x="1248216" y="992990"/>
                    <a:pt x="1248216" y="982508"/>
                  </a:cubicBezTo>
                  <a:cubicBezTo>
                    <a:pt x="1248216" y="982324"/>
                    <a:pt x="1248216" y="982140"/>
                    <a:pt x="1248584" y="982140"/>
                  </a:cubicBezTo>
                  <a:cubicBezTo>
                    <a:pt x="1249871" y="982140"/>
                    <a:pt x="1251342" y="982140"/>
                    <a:pt x="1252630" y="982140"/>
                  </a:cubicBezTo>
                  <a:cubicBezTo>
                    <a:pt x="1254836" y="982140"/>
                    <a:pt x="1256491" y="981037"/>
                    <a:pt x="1257595" y="979014"/>
                  </a:cubicBezTo>
                  <a:cubicBezTo>
                    <a:pt x="1258146" y="977911"/>
                    <a:pt x="1258146" y="976623"/>
                    <a:pt x="1257778" y="975152"/>
                  </a:cubicBezTo>
                  <a:cubicBezTo>
                    <a:pt x="1257043" y="973130"/>
                    <a:pt x="1255020" y="971658"/>
                    <a:pt x="1252813" y="971658"/>
                  </a:cubicBezTo>
                  <a:cubicBezTo>
                    <a:pt x="1250055" y="971658"/>
                    <a:pt x="1247297" y="971474"/>
                    <a:pt x="1244538" y="971474"/>
                  </a:cubicBezTo>
                  <a:close/>
                  <a:moveTo>
                    <a:pt x="22592" y="971427"/>
                  </a:moveTo>
                  <a:cubicBezTo>
                    <a:pt x="19751" y="971244"/>
                    <a:pt x="16908" y="971795"/>
                    <a:pt x="14233" y="972898"/>
                  </a:cubicBezTo>
                  <a:cubicBezTo>
                    <a:pt x="12394" y="973634"/>
                    <a:pt x="10722" y="974737"/>
                    <a:pt x="9218" y="976025"/>
                  </a:cubicBezTo>
                  <a:cubicBezTo>
                    <a:pt x="8382" y="976760"/>
                    <a:pt x="7714" y="977496"/>
                    <a:pt x="6878" y="978231"/>
                  </a:cubicBezTo>
                  <a:cubicBezTo>
                    <a:pt x="6042" y="979151"/>
                    <a:pt x="5206" y="980255"/>
                    <a:pt x="4537" y="981174"/>
                  </a:cubicBezTo>
                  <a:cubicBezTo>
                    <a:pt x="4035" y="981909"/>
                    <a:pt x="3534" y="982829"/>
                    <a:pt x="3200" y="983564"/>
                  </a:cubicBezTo>
                  <a:cubicBezTo>
                    <a:pt x="2531" y="984668"/>
                    <a:pt x="2030" y="985955"/>
                    <a:pt x="1695" y="987242"/>
                  </a:cubicBezTo>
                  <a:cubicBezTo>
                    <a:pt x="1361" y="987977"/>
                    <a:pt x="1193" y="988898"/>
                    <a:pt x="1027" y="989633"/>
                  </a:cubicBezTo>
                  <a:cubicBezTo>
                    <a:pt x="692" y="990736"/>
                    <a:pt x="525" y="992024"/>
                    <a:pt x="358" y="993127"/>
                  </a:cubicBezTo>
                  <a:cubicBezTo>
                    <a:pt x="-144" y="996437"/>
                    <a:pt x="-144" y="999747"/>
                    <a:pt x="525" y="1002873"/>
                  </a:cubicBezTo>
                  <a:cubicBezTo>
                    <a:pt x="692" y="1003977"/>
                    <a:pt x="859" y="1005080"/>
                    <a:pt x="1193" y="1006183"/>
                  </a:cubicBezTo>
                  <a:cubicBezTo>
                    <a:pt x="1528" y="1007103"/>
                    <a:pt x="1695" y="1007839"/>
                    <a:pt x="2030" y="1008758"/>
                  </a:cubicBezTo>
                  <a:cubicBezTo>
                    <a:pt x="2364" y="1009310"/>
                    <a:pt x="2531" y="1009861"/>
                    <a:pt x="2698" y="1010413"/>
                  </a:cubicBezTo>
                  <a:cubicBezTo>
                    <a:pt x="3200" y="1011516"/>
                    <a:pt x="3702" y="1012436"/>
                    <a:pt x="4203" y="1013355"/>
                  </a:cubicBezTo>
                  <a:cubicBezTo>
                    <a:pt x="4704" y="1014090"/>
                    <a:pt x="5206" y="1014826"/>
                    <a:pt x="5707" y="1015561"/>
                  </a:cubicBezTo>
                  <a:cubicBezTo>
                    <a:pt x="6376" y="1016482"/>
                    <a:pt x="7212" y="1017401"/>
                    <a:pt x="8048" y="1018136"/>
                  </a:cubicBezTo>
                  <a:cubicBezTo>
                    <a:pt x="8717" y="1018872"/>
                    <a:pt x="9553" y="1019424"/>
                    <a:pt x="10221" y="1019975"/>
                  </a:cubicBezTo>
                  <a:cubicBezTo>
                    <a:pt x="11392" y="1020895"/>
                    <a:pt x="12729" y="1021630"/>
                    <a:pt x="14066" y="1022182"/>
                  </a:cubicBezTo>
                  <a:cubicBezTo>
                    <a:pt x="15738" y="1022918"/>
                    <a:pt x="17577" y="1023469"/>
                    <a:pt x="19416" y="1023653"/>
                  </a:cubicBezTo>
                  <a:cubicBezTo>
                    <a:pt x="19751" y="1023653"/>
                    <a:pt x="19917" y="1023653"/>
                    <a:pt x="20252" y="1023837"/>
                  </a:cubicBezTo>
                  <a:cubicBezTo>
                    <a:pt x="21255" y="1023837"/>
                    <a:pt x="22091" y="1023837"/>
                    <a:pt x="23094" y="1023837"/>
                  </a:cubicBezTo>
                  <a:cubicBezTo>
                    <a:pt x="23094" y="1023653"/>
                    <a:pt x="23261" y="1023837"/>
                    <a:pt x="23261" y="1023837"/>
                  </a:cubicBezTo>
                  <a:cubicBezTo>
                    <a:pt x="26438" y="1023469"/>
                    <a:pt x="29446" y="1022366"/>
                    <a:pt x="32121" y="1020527"/>
                  </a:cubicBezTo>
                  <a:cubicBezTo>
                    <a:pt x="33292" y="1019791"/>
                    <a:pt x="34295" y="1018872"/>
                    <a:pt x="35298" y="1017768"/>
                  </a:cubicBezTo>
                  <a:cubicBezTo>
                    <a:pt x="36134" y="1017033"/>
                    <a:pt x="36803" y="1016114"/>
                    <a:pt x="37471" y="1015194"/>
                  </a:cubicBezTo>
                  <a:cubicBezTo>
                    <a:pt x="37973" y="1014458"/>
                    <a:pt x="38475" y="1013723"/>
                    <a:pt x="38976" y="1012804"/>
                  </a:cubicBezTo>
                  <a:cubicBezTo>
                    <a:pt x="39478" y="1011884"/>
                    <a:pt x="39979" y="1010964"/>
                    <a:pt x="40480" y="1009861"/>
                  </a:cubicBezTo>
                  <a:cubicBezTo>
                    <a:pt x="40815" y="1009125"/>
                    <a:pt x="40982" y="1008574"/>
                    <a:pt x="41316" y="1007839"/>
                  </a:cubicBezTo>
                  <a:cubicBezTo>
                    <a:pt x="41651" y="1007103"/>
                    <a:pt x="41818" y="1006367"/>
                    <a:pt x="41985" y="1005632"/>
                  </a:cubicBezTo>
                  <a:cubicBezTo>
                    <a:pt x="42319" y="1004344"/>
                    <a:pt x="42487" y="1003057"/>
                    <a:pt x="42821" y="1001770"/>
                  </a:cubicBezTo>
                  <a:cubicBezTo>
                    <a:pt x="42988" y="1001035"/>
                    <a:pt x="42988" y="1000482"/>
                    <a:pt x="42988" y="999747"/>
                  </a:cubicBezTo>
                  <a:cubicBezTo>
                    <a:pt x="42821" y="1000299"/>
                    <a:pt x="42654" y="1000115"/>
                    <a:pt x="42821" y="999931"/>
                  </a:cubicBezTo>
                  <a:cubicBezTo>
                    <a:pt x="42821" y="998644"/>
                    <a:pt x="42821" y="997356"/>
                    <a:pt x="42821" y="996069"/>
                  </a:cubicBezTo>
                  <a:cubicBezTo>
                    <a:pt x="42821" y="996069"/>
                    <a:pt x="42821" y="996069"/>
                    <a:pt x="42821" y="995885"/>
                  </a:cubicBezTo>
                  <a:cubicBezTo>
                    <a:pt x="42821" y="994782"/>
                    <a:pt x="42654" y="993863"/>
                    <a:pt x="42487" y="992759"/>
                  </a:cubicBezTo>
                  <a:cubicBezTo>
                    <a:pt x="42152" y="991472"/>
                    <a:pt x="42152" y="990184"/>
                    <a:pt x="41651" y="989081"/>
                  </a:cubicBezTo>
                  <a:cubicBezTo>
                    <a:pt x="41316" y="988345"/>
                    <a:pt x="41149" y="987610"/>
                    <a:pt x="40982" y="986874"/>
                  </a:cubicBezTo>
                  <a:cubicBezTo>
                    <a:pt x="40480" y="985771"/>
                    <a:pt x="39979" y="984484"/>
                    <a:pt x="39478" y="983380"/>
                  </a:cubicBezTo>
                  <a:cubicBezTo>
                    <a:pt x="38976" y="982461"/>
                    <a:pt x="38475" y="981726"/>
                    <a:pt x="37973" y="980806"/>
                  </a:cubicBezTo>
                  <a:cubicBezTo>
                    <a:pt x="37471" y="980070"/>
                    <a:pt x="36969" y="979335"/>
                    <a:pt x="36468" y="978783"/>
                  </a:cubicBezTo>
                  <a:cubicBezTo>
                    <a:pt x="35967" y="978231"/>
                    <a:pt x="35465" y="977680"/>
                    <a:pt x="34964" y="977128"/>
                  </a:cubicBezTo>
                  <a:cubicBezTo>
                    <a:pt x="33960" y="976208"/>
                    <a:pt x="32957" y="975289"/>
                    <a:pt x="31787" y="974554"/>
                  </a:cubicBezTo>
                  <a:cubicBezTo>
                    <a:pt x="30951" y="974002"/>
                    <a:pt x="29948" y="973451"/>
                    <a:pt x="29113" y="973083"/>
                  </a:cubicBezTo>
                  <a:cubicBezTo>
                    <a:pt x="27106" y="972163"/>
                    <a:pt x="24933" y="971611"/>
                    <a:pt x="22592" y="971427"/>
                  </a:cubicBezTo>
                  <a:close/>
                  <a:moveTo>
                    <a:pt x="308805" y="971427"/>
                  </a:moveTo>
                  <a:cubicBezTo>
                    <a:pt x="305963" y="971244"/>
                    <a:pt x="303121" y="971795"/>
                    <a:pt x="300446" y="972898"/>
                  </a:cubicBezTo>
                  <a:cubicBezTo>
                    <a:pt x="298607" y="973634"/>
                    <a:pt x="296935" y="974737"/>
                    <a:pt x="295431" y="976025"/>
                  </a:cubicBezTo>
                  <a:cubicBezTo>
                    <a:pt x="294595" y="976760"/>
                    <a:pt x="293926" y="977496"/>
                    <a:pt x="293091" y="978231"/>
                  </a:cubicBezTo>
                  <a:cubicBezTo>
                    <a:pt x="292255" y="979151"/>
                    <a:pt x="291419" y="980255"/>
                    <a:pt x="290750" y="981174"/>
                  </a:cubicBezTo>
                  <a:cubicBezTo>
                    <a:pt x="290248" y="981909"/>
                    <a:pt x="289747" y="982829"/>
                    <a:pt x="289412" y="983564"/>
                  </a:cubicBezTo>
                  <a:cubicBezTo>
                    <a:pt x="288744" y="984668"/>
                    <a:pt x="288243" y="985955"/>
                    <a:pt x="287908" y="987242"/>
                  </a:cubicBezTo>
                  <a:cubicBezTo>
                    <a:pt x="287573" y="987977"/>
                    <a:pt x="287406" y="988898"/>
                    <a:pt x="287239" y="989633"/>
                  </a:cubicBezTo>
                  <a:cubicBezTo>
                    <a:pt x="286905" y="990736"/>
                    <a:pt x="286737" y="992024"/>
                    <a:pt x="286571" y="993127"/>
                  </a:cubicBezTo>
                  <a:cubicBezTo>
                    <a:pt x="286069" y="996437"/>
                    <a:pt x="286069" y="999747"/>
                    <a:pt x="286737" y="1002873"/>
                  </a:cubicBezTo>
                  <a:cubicBezTo>
                    <a:pt x="286905" y="1003977"/>
                    <a:pt x="287072" y="1005080"/>
                    <a:pt x="287406" y="1006183"/>
                  </a:cubicBezTo>
                  <a:cubicBezTo>
                    <a:pt x="287741" y="1007103"/>
                    <a:pt x="287908" y="1007839"/>
                    <a:pt x="288243" y="1008758"/>
                  </a:cubicBezTo>
                  <a:cubicBezTo>
                    <a:pt x="288577" y="1009310"/>
                    <a:pt x="288744" y="1009861"/>
                    <a:pt x="288911" y="1010413"/>
                  </a:cubicBezTo>
                  <a:cubicBezTo>
                    <a:pt x="289412" y="1011516"/>
                    <a:pt x="289914" y="1012436"/>
                    <a:pt x="290416" y="1013355"/>
                  </a:cubicBezTo>
                  <a:cubicBezTo>
                    <a:pt x="290917" y="1014090"/>
                    <a:pt x="291419" y="1014826"/>
                    <a:pt x="291920" y="1015561"/>
                  </a:cubicBezTo>
                  <a:cubicBezTo>
                    <a:pt x="292589" y="1016482"/>
                    <a:pt x="293424" y="1017401"/>
                    <a:pt x="294260" y="1018136"/>
                  </a:cubicBezTo>
                  <a:cubicBezTo>
                    <a:pt x="294930" y="1018872"/>
                    <a:pt x="295766" y="1019424"/>
                    <a:pt x="296434" y="1019975"/>
                  </a:cubicBezTo>
                  <a:cubicBezTo>
                    <a:pt x="297605" y="1020895"/>
                    <a:pt x="298942" y="1021630"/>
                    <a:pt x="300279" y="1022182"/>
                  </a:cubicBezTo>
                  <a:cubicBezTo>
                    <a:pt x="301951" y="1022918"/>
                    <a:pt x="303790" y="1023469"/>
                    <a:pt x="305629" y="1023653"/>
                  </a:cubicBezTo>
                  <a:cubicBezTo>
                    <a:pt x="305963" y="1023653"/>
                    <a:pt x="306130" y="1023653"/>
                    <a:pt x="306465" y="1023837"/>
                  </a:cubicBezTo>
                  <a:cubicBezTo>
                    <a:pt x="307468" y="1023837"/>
                    <a:pt x="308304" y="1023837"/>
                    <a:pt x="309307" y="1023837"/>
                  </a:cubicBezTo>
                  <a:cubicBezTo>
                    <a:pt x="309307" y="1023653"/>
                    <a:pt x="309474" y="1023837"/>
                    <a:pt x="309474" y="1023837"/>
                  </a:cubicBezTo>
                  <a:cubicBezTo>
                    <a:pt x="312650" y="1023469"/>
                    <a:pt x="315659" y="1022366"/>
                    <a:pt x="318334" y="1020527"/>
                  </a:cubicBezTo>
                  <a:cubicBezTo>
                    <a:pt x="319505" y="1019791"/>
                    <a:pt x="320508" y="1018872"/>
                    <a:pt x="321510" y="1017768"/>
                  </a:cubicBezTo>
                  <a:cubicBezTo>
                    <a:pt x="322347" y="1017033"/>
                    <a:pt x="323016" y="1016114"/>
                    <a:pt x="323684" y="1015194"/>
                  </a:cubicBezTo>
                  <a:cubicBezTo>
                    <a:pt x="324185" y="1014458"/>
                    <a:pt x="324687" y="1013723"/>
                    <a:pt x="325189" y="1012804"/>
                  </a:cubicBezTo>
                  <a:cubicBezTo>
                    <a:pt x="325691" y="1011884"/>
                    <a:pt x="326192" y="1010964"/>
                    <a:pt x="326693" y="1009861"/>
                  </a:cubicBezTo>
                  <a:cubicBezTo>
                    <a:pt x="327028" y="1009125"/>
                    <a:pt x="327195" y="1008574"/>
                    <a:pt x="327529" y="1007839"/>
                  </a:cubicBezTo>
                  <a:cubicBezTo>
                    <a:pt x="327864" y="1007103"/>
                    <a:pt x="328031" y="1006367"/>
                    <a:pt x="328198" y="1005632"/>
                  </a:cubicBezTo>
                  <a:cubicBezTo>
                    <a:pt x="328532" y="1004344"/>
                    <a:pt x="328699" y="1003057"/>
                    <a:pt x="329034" y="1001770"/>
                  </a:cubicBezTo>
                  <a:cubicBezTo>
                    <a:pt x="329201" y="1001035"/>
                    <a:pt x="329201" y="1000482"/>
                    <a:pt x="329201" y="999747"/>
                  </a:cubicBezTo>
                  <a:cubicBezTo>
                    <a:pt x="329034" y="1000299"/>
                    <a:pt x="328867" y="1000115"/>
                    <a:pt x="329034" y="999931"/>
                  </a:cubicBezTo>
                  <a:cubicBezTo>
                    <a:pt x="329034" y="998644"/>
                    <a:pt x="329034" y="997356"/>
                    <a:pt x="329034" y="996069"/>
                  </a:cubicBezTo>
                  <a:cubicBezTo>
                    <a:pt x="329034" y="996069"/>
                    <a:pt x="329034" y="996069"/>
                    <a:pt x="329034" y="995885"/>
                  </a:cubicBezTo>
                  <a:cubicBezTo>
                    <a:pt x="329034" y="994782"/>
                    <a:pt x="328867" y="993863"/>
                    <a:pt x="328699" y="992759"/>
                  </a:cubicBezTo>
                  <a:cubicBezTo>
                    <a:pt x="328365" y="991472"/>
                    <a:pt x="328365" y="990184"/>
                    <a:pt x="327864" y="989081"/>
                  </a:cubicBezTo>
                  <a:cubicBezTo>
                    <a:pt x="327529" y="988345"/>
                    <a:pt x="327362" y="987610"/>
                    <a:pt x="327195" y="986874"/>
                  </a:cubicBezTo>
                  <a:cubicBezTo>
                    <a:pt x="326693" y="985771"/>
                    <a:pt x="326192" y="984484"/>
                    <a:pt x="325691" y="983380"/>
                  </a:cubicBezTo>
                  <a:cubicBezTo>
                    <a:pt x="325189" y="982461"/>
                    <a:pt x="324687" y="981726"/>
                    <a:pt x="324185" y="980806"/>
                  </a:cubicBezTo>
                  <a:cubicBezTo>
                    <a:pt x="323684" y="980070"/>
                    <a:pt x="323182" y="979335"/>
                    <a:pt x="322681" y="978783"/>
                  </a:cubicBezTo>
                  <a:cubicBezTo>
                    <a:pt x="322180" y="978231"/>
                    <a:pt x="321678" y="977680"/>
                    <a:pt x="321177" y="977128"/>
                  </a:cubicBezTo>
                  <a:cubicBezTo>
                    <a:pt x="320173" y="976208"/>
                    <a:pt x="319170" y="975289"/>
                    <a:pt x="318000" y="974554"/>
                  </a:cubicBezTo>
                  <a:cubicBezTo>
                    <a:pt x="317164" y="974002"/>
                    <a:pt x="316161" y="973451"/>
                    <a:pt x="315325" y="973083"/>
                  </a:cubicBezTo>
                  <a:cubicBezTo>
                    <a:pt x="313319" y="972163"/>
                    <a:pt x="311146" y="971611"/>
                    <a:pt x="308805" y="971427"/>
                  </a:cubicBezTo>
                  <a:close/>
                  <a:moveTo>
                    <a:pt x="543873" y="971427"/>
                  </a:moveTo>
                  <a:cubicBezTo>
                    <a:pt x="541032" y="971244"/>
                    <a:pt x="538190" y="971795"/>
                    <a:pt x="535515" y="972898"/>
                  </a:cubicBezTo>
                  <a:cubicBezTo>
                    <a:pt x="533676" y="973634"/>
                    <a:pt x="532004" y="974737"/>
                    <a:pt x="530499" y="976025"/>
                  </a:cubicBezTo>
                  <a:cubicBezTo>
                    <a:pt x="529663" y="976760"/>
                    <a:pt x="528995" y="977496"/>
                    <a:pt x="528159" y="978231"/>
                  </a:cubicBezTo>
                  <a:cubicBezTo>
                    <a:pt x="527323" y="979151"/>
                    <a:pt x="526487" y="980255"/>
                    <a:pt x="525818" y="981174"/>
                  </a:cubicBezTo>
                  <a:cubicBezTo>
                    <a:pt x="525317" y="981909"/>
                    <a:pt x="524815" y="982829"/>
                    <a:pt x="524481" y="983564"/>
                  </a:cubicBezTo>
                  <a:cubicBezTo>
                    <a:pt x="523812" y="984668"/>
                    <a:pt x="523311" y="985955"/>
                    <a:pt x="522976" y="987242"/>
                  </a:cubicBezTo>
                  <a:cubicBezTo>
                    <a:pt x="522642" y="987977"/>
                    <a:pt x="522474" y="988898"/>
                    <a:pt x="522308" y="989633"/>
                  </a:cubicBezTo>
                  <a:cubicBezTo>
                    <a:pt x="521973" y="990736"/>
                    <a:pt x="521806" y="992024"/>
                    <a:pt x="521639" y="993127"/>
                  </a:cubicBezTo>
                  <a:cubicBezTo>
                    <a:pt x="521137" y="996437"/>
                    <a:pt x="521137" y="999747"/>
                    <a:pt x="521806" y="1002873"/>
                  </a:cubicBezTo>
                  <a:cubicBezTo>
                    <a:pt x="521973" y="1003977"/>
                    <a:pt x="522141" y="1005080"/>
                    <a:pt x="522474" y="1006183"/>
                  </a:cubicBezTo>
                  <a:cubicBezTo>
                    <a:pt x="522809" y="1007103"/>
                    <a:pt x="522976" y="1007839"/>
                    <a:pt x="523311" y="1008758"/>
                  </a:cubicBezTo>
                  <a:cubicBezTo>
                    <a:pt x="523645" y="1009310"/>
                    <a:pt x="523812" y="1009861"/>
                    <a:pt x="523980" y="1010413"/>
                  </a:cubicBezTo>
                  <a:cubicBezTo>
                    <a:pt x="524481" y="1011516"/>
                    <a:pt x="524983" y="1012436"/>
                    <a:pt x="525484" y="1013355"/>
                  </a:cubicBezTo>
                  <a:cubicBezTo>
                    <a:pt x="525985" y="1014090"/>
                    <a:pt x="526487" y="1014826"/>
                    <a:pt x="526988" y="1015561"/>
                  </a:cubicBezTo>
                  <a:cubicBezTo>
                    <a:pt x="527657" y="1016482"/>
                    <a:pt x="528493" y="1017401"/>
                    <a:pt x="529329" y="1018136"/>
                  </a:cubicBezTo>
                  <a:cubicBezTo>
                    <a:pt x="529998" y="1018872"/>
                    <a:pt x="530834" y="1019424"/>
                    <a:pt x="531503" y="1019975"/>
                  </a:cubicBezTo>
                  <a:cubicBezTo>
                    <a:pt x="532673" y="1020895"/>
                    <a:pt x="534010" y="1021630"/>
                    <a:pt x="535347" y="1022182"/>
                  </a:cubicBezTo>
                  <a:cubicBezTo>
                    <a:pt x="537019" y="1022918"/>
                    <a:pt x="538858" y="1023469"/>
                    <a:pt x="540697" y="1023653"/>
                  </a:cubicBezTo>
                  <a:cubicBezTo>
                    <a:pt x="541032" y="1023653"/>
                    <a:pt x="541198" y="1023653"/>
                    <a:pt x="541533" y="1023837"/>
                  </a:cubicBezTo>
                  <a:cubicBezTo>
                    <a:pt x="542536" y="1023837"/>
                    <a:pt x="543372" y="1023837"/>
                    <a:pt x="544375" y="1023837"/>
                  </a:cubicBezTo>
                  <a:cubicBezTo>
                    <a:pt x="544375" y="1023653"/>
                    <a:pt x="544543" y="1023837"/>
                    <a:pt x="544543" y="1023837"/>
                  </a:cubicBezTo>
                  <a:cubicBezTo>
                    <a:pt x="547719" y="1023469"/>
                    <a:pt x="550728" y="1022366"/>
                    <a:pt x="553403" y="1020527"/>
                  </a:cubicBezTo>
                  <a:cubicBezTo>
                    <a:pt x="554573" y="1019791"/>
                    <a:pt x="555576" y="1018872"/>
                    <a:pt x="556579" y="1017768"/>
                  </a:cubicBezTo>
                  <a:cubicBezTo>
                    <a:pt x="557415" y="1017033"/>
                    <a:pt x="558084" y="1016114"/>
                    <a:pt x="558753" y="1015194"/>
                  </a:cubicBezTo>
                  <a:cubicBezTo>
                    <a:pt x="559254" y="1014458"/>
                    <a:pt x="559756" y="1013723"/>
                    <a:pt x="560257" y="1012804"/>
                  </a:cubicBezTo>
                  <a:cubicBezTo>
                    <a:pt x="560759" y="1011884"/>
                    <a:pt x="561260" y="1010964"/>
                    <a:pt x="561761" y="1009861"/>
                  </a:cubicBezTo>
                  <a:cubicBezTo>
                    <a:pt x="562096" y="1009125"/>
                    <a:pt x="562263" y="1008574"/>
                    <a:pt x="562597" y="1007839"/>
                  </a:cubicBezTo>
                  <a:cubicBezTo>
                    <a:pt x="562932" y="1007103"/>
                    <a:pt x="563099" y="1006367"/>
                    <a:pt x="563267" y="1005632"/>
                  </a:cubicBezTo>
                  <a:cubicBezTo>
                    <a:pt x="563601" y="1004344"/>
                    <a:pt x="563768" y="1003057"/>
                    <a:pt x="564102" y="1001770"/>
                  </a:cubicBezTo>
                  <a:cubicBezTo>
                    <a:pt x="564269" y="1001035"/>
                    <a:pt x="564269" y="1000482"/>
                    <a:pt x="564269" y="999747"/>
                  </a:cubicBezTo>
                  <a:cubicBezTo>
                    <a:pt x="564102" y="1000299"/>
                    <a:pt x="563935" y="1000115"/>
                    <a:pt x="564102" y="999931"/>
                  </a:cubicBezTo>
                  <a:cubicBezTo>
                    <a:pt x="564102" y="998644"/>
                    <a:pt x="564102" y="997356"/>
                    <a:pt x="564102" y="996069"/>
                  </a:cubicBezTo>
                  <a:cubicBezTo>
                    <a:pt x="564102" y="996069"/>
                    <a:pt x="564102" y="996069"/>
                    <a:pt x="564102" y="995885"/>
                  </a:cubicBezTo>
                  <a:cubicBezTo>
                    <a:pt x="564102" y="994782"/>
                    <a:pt x="563935" y="993863"/>
                    <a:pt x="563768" y="992759"/>
                  </a:cubicBezTo>
                  <a:cubicBezTo>
                    <a:pt x="563433" y="991472"/>
                    <a:pt x="563433" y="990184"/>
                    <a:pt x="562932" y="989081"/>
                  </a:cubicBezTo>
                  <a:cubicBezTo>
                    <a:pt x="562597" y="988345"/>
                    <a:pt x="562431" y="987610"/>
                    <a:pt x="562263" y="986874"/>
                  </a:cubicBezTo>
                  <a:cubicBezTo>
                    <a:pt x="561761" y="985771"/>
                    <a:pt x="561260" y="984484"/>
                    <a:pt x="560759" y="983380"/>
                  </a:cubicBezTo>
                  <a:cubicBezTo>
                    <a:pt x="560257" y="982461"/>
                    <a:pt x="559756" y="981726"/>
                    <a:pt x="559254" y="980806"/>
                  </a:cubicBezTo>
                  <a:cubicBezTo>
                    <a:pt x="558753" y="980070"/>
                    <a:pt x="558251" y="979335"/>
                    <a:pt x="557749" y="978783"/>
                  </a:cubicBezTo>
                  <a:cubicBezTo>
                    <a:pt x="557248" y="978231"/>
                    <a:pt x="556746" y="977680"/>
                    <a:pt x="556245" y="977128"/>
                  </a:cubicBezTo>
                  <a:cubicBezTo>
                    <a:pt x="555242" y="976208"/>
                    <a:pt x="554239" y="975289"/>
                    <a:pt x="553069" y="974554"/>
                  </a:cubicBezTo>
                  <a:cubicBezTo>
                    <a:pt x="552233" y="974002"/>
                    <a:pt x="551230" y="973451"/>
                    <a:pt x="550394" y="973083"/>
                  </a:cubicBezTo>
                  <a:cubicBezTo>
                    <a:pt x="548387" y="972163"/>
                    <a:pt x="546214" y="971611"/>
                    <a:pt x="543873" y="971427"/>
                  </a:cubicBezTo>
                  <a:close/>
                  <a:moveTo>
                    <a:pt x="666507" y="971427"/>
                  </a:moveTo>
                  <a:cubicBezTo>
                    <a:pt x="663665" y="971244"/>
                    <a:pt x="660823" y="971795"/>
                    <a:pt x="658148" y="972898"/>
                  </a:cubicBezTo>
                  <a:cubicBezTo>
                    <a:pt x="656309" y="973634"/>
                    <a:pt x="654637" y="974737"/>
                    <a:pt x="653133" y="976025"/>
                  </a:cubicBezTo>
                  <a:cubicBezTo>
                    <a:pt x="652297" y="976760"/>
                    <a:pt x="651628" y="977496"/>
                    <a:pt x="650792" y="978231"/>
                  </a:cubicBezTo>
                  <a:cubicBezTo>
                    <a:pt x="649957" y="979151"/>
                    <a:pt x="649121" y="980255"/>
                    <a:pt x="648452" y="981174"/>
                  </a:cubicBezTo>
                  <a:cubicBezTo>
                    <a:pt x="647950" y="981909"/>
                    <a:pt x="647449" y="982829"/>
                    <a:pt x="647114" y="983564"/>
                  </a:cubicBezTo>
                  <a:cubicBezTo>
                    <a:pt x="646446" y="984668"/>
                    <a:pt x="645945" y="985955"/>
                    <a:pt x="645610" y="987242"/>
                  </a:cubicBezTo>
                  <a:cubicBezTo>
                    <a:pt x="645275" y="987977"/>
                    <a:pt x="645108" y="988898"/>
                    <a:pt x="644941" y="989633"/>
                  </a:cubicBezTo>
                  <a:cubicBezTo>
                    <a:pt x="644607" y="990736"/>
                    <a:pt x="644439" y="992024"/>
                    <a:pt x="644273" y="993127"/>
                  </a:cubicBezTo>
                  <a:cubicBezTo>
                    <a:pt x="643771" y="996437"/>
                    <a:pt x="643771" y="999747"/>
                    <a:pt x="644439" y="1002873"/>
                  </a:cubicBezTo>
                  <a:cubicBezTo>
                    <a:pt x="644607" y="1003977"/>
                    <a:pt x="644774" y="1005080"/>
                    <a:pt x="645108" y="1006183"/>
                  </a:cubicBezTo>
                  <a:cubicBezTo>
                    <a:pt x="645443" y="1007103"/>
                    <a:pt x="645610" y="1007839"/>
                    <a:pt x="645945" y="1008758"/>
                  </a:cubicBezTo>
                  <a:cubicBezTo>
                    <a:pt x="646278" y="1009310"/>
                    <a:pt x="646446" y="1009861"/>
                    <a:pt x="646613" y="1010413"/>
                  </a:cubicBezTo>
                  <a:cubicBezTo>
                    <a:pt x="647114" y="1011516"/>
                    <a:pt x="647616" y="1012436"/>
                    <a:pt x="648118" y="1013355"/>
                  </a:cubicBezTo>
                  <a:cubicBezTo>
                    <a:pt x="648619" y="1014090"/>
                    <a:pt x="649121" y="1014826"/>
                    <a:pt x="649622" y="1015561"/>
                  </a:cubicBezTo>
                  <a:cubicBezTo>
                    <a:pt x="650291" y="1016482"/>
                    <a:pt x="651126" y="1017401"/>
                    <a:pt x="651963" y="1018136"/>
                  </a:cubicBezTo>
                  <a:cubicBezTo>
                    <a:pt x="652632" y="1018872"/>
                    <a:pt x="653467" y="1019424"/>
                    <a:pt x="654136" y="1019975"/>
                  </a:cubicBezTo>
                  <a:cubicBezTo>
                    <a:pt x="655307" y="1020895"/>
                    <a:pt x="656644" y="1021630"/>
                    <a:pt x="657981" y="1022182"/>
                  </a:cubicBezTo>
                  <a:cubicBezTo>
                    <a:pt x="659653" y="1022918"/>
                    <a:pt x="661492" y="1023469"/>
                    <a:pt x="663331" y="1023653"/>
                  </a:cubicBezTo>
                  <a:cubicBezTo>
                    <a:pt x="663665" y="1023653"/>
                    <a:pt x="663832" y="1023653"/>
                    <a:pt x="664167" y="1023837"/>
                  </a:cubicBezTo>
                  <a:cubicBezTo>
                    <a:pt x="665170" y="1023837"/>
                    <a:pt x="666006" y="1023837"/>
                    <a:pt x="667009" y="1023837"/>
                  </a:cubicBezTo>
                  <a:cubicBezTo>
                    <a:pt x="667009" y="1023653"/>
                    <a:pt x="667176" y="1023837"/>
                    <a:pt x="667176" y="1023837"/>
                  </a:cubicBezTo>
                  <a:cubicBezTo>
                    <a:pt x="670352" y="1023469"/>
                    <a:pt x="673361" y="1022366"/>
                    <a:pt x="676036" y="1020527"/>
                  </a:cubicBezTo>
                  <a:cubicBezTo>
                    <a:pt x="677207" y="1019791"/>
                    <a:pt x="678210" y="1018872"/>
                    <a:pt x="679212" y="1017768"/>
                  </a:cubicBezTo>
                  <a:cubicBezTo>
                    <a:pt x="680049" y="1017033"/>
                    <a:pt x="680718" y="1016114"/>
                    <a:pt x="681386" y="1015194"/>
                  </a:cubicBezTo>
                  <a:cubicBezTo>
                    <a:pt x="681887" y="1014458"/>
                    <a:pt x="682389" y="1013723"/>
                    <a:pt x="682891" y="1012804"/>
                  </a:cubicBezTo>
                  <a:cubicBezTo>
                    <a:pt x="683392" y="1011884"/>
                    <a:pt x="683894" y="1010964"/>
                    <a:pt x="684395" y="1009861"/>
                  </a:cubicBezTo>
                  <a:cubicBezTo>
                    <a:pt x="684730" y="1009125"/>
                    <a:pt x="684897" y="1008574"/>
                    <a:pt x="685231" y="1007839"/>
                  </a:cubicBezTo>
                  <a:cubicBezTo>
                    <a:pt x="685565" y="1007103"/>
                    <a:pt x="685733" y="1006367"/>
                    <a:pt x="685900" y="1005632"/>
                  </a:cubicBezTo>
                  <a:cubicBezTo>
                    <a:pt x="686234" y="1004344"/>
                    <a:pt x="686401" y="1003057"/>
                    <a:pt x="686736" y="1001770"/>
                  </a:cubicBezTo>
                  <a:cubicBezTo>
                    <a:pt x="686903" y="1001035"/>
                    <a:pt x="686903" y="1000482"/>
                    <a:pt x="686903" y="999747"/>
                  </a:cubicBezTo>
                  <a:cubicBezTo>
                    <a:pt x="686736" y="1000299"/>
                    <a:pt x="686569" y="1000115"/>
                    <a:pt x="686736" y="999931"/>
                  </a:cubicBezTo>
                  <a:cubicBezTo>
                    <a:pt x="686736" y="998644"/>
                    <a:pt x="686736" y="997356"/>
                    <a:pt x="686736" y="996069"/>
                  </a:cubicBezTo>
                  <a:cubicBezTo>
                    <a:pt x="686736" y="996069"/>
                    <a:pt x="686736" y="996069"/>
                    <a:pt x="686736" y="995885"/>
                  </a:cubicBezTo>
                  <a:cubicBezTo>
                    <a:pt x="686736" y="994782"/>
                    <a:pt x="686569" y="993863"/>
                    <a:pt x="686401" y="992759"/>
                  </a:cubicBezTo>
                  <a:cubicBezTo>
                    <a:pt x="686067" y="991472"/>
                    <a:pt x="686067" y="990184"/>
                    <a:pt x="685565" y="989081"/>
                  </a:cubicBezTo>
                  <a:cubicBezTo>
                    <a:pt x="685231" y="988345"/>
                    <a:pt x="685064" y="987610"/>
                    <a:pt x="684897" y="986874"/>
                  </a:cubicBezTo>
                  <a:cubicBezTo>
                    <a:pt x="684395" y="985771"/>
                    <a:pt x="683894" y="984484"/>
                    <a:pt x="683392" y="983380"/>
                  </a:cubicBezTo>
                  <a:cubicBezTo>
                    <a:pt x="682891" y="982461"/>
                    <a:pt x="682389" y="981726"/>
                    <a:pt x="681887" y="980806"/>
                  </a:cubicBezTo>
                  <a:cubicBezTo>
                    <a:pt x="681386" y="980070"/>
                    <a:pt x="680884" y="979335"/>
                    <a:pt x="680383" y="978783"/>
                  </a:cubicBezTo>
                  <a:cubicBezTo>
                    <a:pt x="679882" y="978231"/>
                    <a:pt x="679380" y="977680"/>
                    <a:pt x="678878" y="977128"/>
                  </a:cubicBezTo>
                  <a:cubicBezTo>
                    <a:pt x="677875" y="976208"/>
                    <a:pt x="676872" y="975289"/>
                    <a:pt x="675702" y="974554"/>
                  </a:cubicBezTo>
                  <a:cubicBezTo>
                    <a:pt x="674866" y="974002"/>
                    <a:pt x="673863" y="973451"/>
                    <a:pt x="673027" y="973083"/>
                  </a:cubicBezTo>
                  <a:cubicBezTo>
                    <a:pt x="671021" y="972163"/>
                    <a:pt x="668848" y="971611"/>
                    <a:pt x="666507" y="971427"/>
                  </a:cubicBezTo>
                  <a:close/>
                  <a:moveTo>
                    <a:pt x="778991" y="971427"/>
                  </a:moveTo>
                  <a:cubicBezTo>
                    <a:pt x="776149" y="971244"/>
                    <a:pt x="773307" y="971795"/>
                    <a:pt x="770632" y="972898"/>
                  </a:cubicBezTo>
                  <a:cubicBezTo>
                    <a:pt x="768794" y="973634"/>
                    <a:pt x="767122" y="974737"/>
                    <a:pt x="765617" y="976025"/>
                  </a:cubicBezTo>
                  <a:cubicBezTo>
                    <a:pt x="764781" y="976760"/>
                    <a:pt x="764112" y="977496"/>
                    <a:pt x="763276" y="978231"/>
                  </a:cubicBezTo>
                  <a:cubicBezTo>
                    <a:pt x="762441" y="979151"/>
                    <a:pt x="761605" y="980255"/>
                    <a:pt x="760936" y="981174"/>
                  </a:cubicBezTo>
                  <a:cubicBezTo>
                    <a:pt x="760434" y="981909"/>
                    <a:pt x="759933" y="982829"/>
                    <a:pt x="759598" y="983564"/>
                  </a:cubicBezTo>
                  <a:cubicBezTo>
                    <a:pt x="758930" y="984668"/>
                    <a:pt x="758428" y="985955"/>
                    <a:pt x="758094" y="987242"/>
                  </a:cubicBezTo>
                  <a:cubicBezTo>
                    <a:pt x="757760" y="987977"/>
                    <a:pt x="757593" y="988898"/>
                    <a:pt x="757425" y="989633"/>
                  </a:cubicBezTo>
                  <a:cubicBezTo>
                    <a:pt x="757091" y="990736"/>
                    <a:pt x="756924" y="992024"/>
                    <a:pt x="756757" y="993127"/>
                  </a:cubicBezTo>
                  <a:cubicBezTo>
                    <a:pt x="756255" y="996437"/>
                    <a:pt x="756255" y="999747"/>
                    <a:pt x="756924" y="1002873"/>
                  </a:cubicBezTo>
                  <a:cubicBezTo>
                    <a:pt x="757091" y="1003977"/>
                    <a:pt x="757258" y="1005080"/>
                    <a:pt x="757593" y="1006183"/>
                  </a:cubicBezTo>
                  <a:cubicBezTo>
                    <a:pt x="757927" y="1007103"/>
                    <a:pt x="758094" y="1007839"/>
                    <a:pt x="758428" y="1008758"/>
                  </a:cubicBezTo>
                  <a:cubicBezTo>
                    <a:pt x="758763" y="1009310"/>
                    <a:pt x="758930" y="1009861"/>
                    <a:pt x="759097" y="1010413"/>
                  </a:cubicBezTo>
                  <a:cubicBezTo>
                    <a:pt x="759598" y="1011516"/>
                    <a:pt x="760100" y="1012436"/>
                    <a:pt x="760601" y="1013355"/>
                  </a:cubicBezTo>
                  <a:cubicBezTo>
                    <a:pt x="761103" y="1014090"/>
                    <a:pt x="761605" y="1014826"/>
                    <a:pt x="762106" y="1015561"/>
                  </a:cubicBezTo>
                  <a:cubicBezTo>
                    <a:pt x="762775" y="1016482"/>
                    <a:pt x="763611" y="1017401"/>
                    <a:pt x="764447" y="1018136"/>
                  </a:cubicBezTo>
                  <a:cubicBezTo>
                    <a:pt x="765115" y="1018872"/>
                    <a:pt x="765951" y="1019424"/>
                    <a:pt x="766620" y="1019975"/>
                  </a:cubicBezTo>
                  <a:cubicBezTo>
                    <a:pt x="767790" y="1020895"/>
                    <a:pt x="769128" y="1021630"/>
                    <a:pt x="770465" y="1022182"/>
                  </a:cubicBezTo>
                  <a:cubicBezTo>
                    <a:pt x="772137" y="1022918"/>
                    <a:pt x="773976" y="1023469"/>
                    <a:pt x="775815" y="1023653"/>
                  </a:cubicBezTo>
                  <a:cubicBezTo>
                    <a:pt x="776149" y="1023653"/>
                    <a:pt x="776317" y="1023653"/>
                    <a:pt x="776650" y="1023837"/>
                  </a:cubicBezTo>
                  <a:cubicBezTo>
                    <a:pt x="777654" y="1023837"/>
                    <a:pt x="778490" y="1023837"/>
                    <a:pt x="779493" y="1023837"/>
                  </a:cubicBezTo>
                  <a:cubicBezTo>
                    <a:pt x="779493" y="1023653"/>
                    <a:pt x="779660" y="1023837"/>
                    <a:pt x="779660" y="1023837"/>
                  </a:cubicBezTo>
                  <a:cubicBezTo>
                    <a:pt x="782836" y="1023469"/>
                    <a:pt x="785846" y="1022366"/>
                    <a:pt x="788521" y="1020527"/>
                  </a:cubicBezTo>
                  <a:cubicBezTo>
                    <a:pt x="789691" y="1019791"/>
                    <a:pt x="790694" y="1018872"/>
                    <a:pt x="791697" y="1017768"/>
                  </a:cubicBezTo>
                  <a:cubicBezTo>
                    <a:pt x="792533" y="1017033"/>
                    <a:pt x="793201" y="1016114"/>
                    <a:pt x="793870" y="1015194"/>
                  </a:cubicBezTo>
                  <a:cubicBezTo>
                    <a:pt x="794372" y="1014458"/>
                    <a:pt x="794873" y="1013723"/>
                    <a:pt x="795374" y="1012804"/>
                  </a:cubicBezTo>
                  <a:cubicBezTo>
                    <a:pt x="795876" y="1011884"/>
                    <a:pt x="796378" y="1010964"/>
                    <a:pt x="796880" y="1009861"/>
                  </a:cubicBezTo>
                  <a:cubicBezTo>
                    <a:pt x="797214" y="1009125"/>
                    <a:pt x="797381" y="1008574"/>
                    <a:pt x="797715" y="1007839"/>
                  </a:cubicBezTo>
                  <a:cubicBezTo>
                    <a:pt x="798049" y="1007103"/>
                    <a:pt x="798217" y="1006367"/>
                    <a:pt x="798384" y="1005632"/>
                  </a:cubicBezTo>
                  <a:cubicBezTo>
                    <a:pt x="798718" y="1004344"/>
                    <a:pt x="798885" y="1003057"/>
                    <a:pt x="799220" y="1001770"/>
                  </a:cubicBezTo>
                  <a:cubicBezTo>
                    <a:pt x="799387" y="1001035"/>
                    <a:pt x="799387" y="1000482"/>
                    <a:pt x="799387" y="999747"/>
                  </a:cubicBezTo>
                  <a:cubicBezTo>
                    <a:pt x="799220" y="1000299"/>
                    <a:pt x="799053" y="1000115"/>
                    <a:pt x="799220" y="999931"/>
                  </a:cubicBezTo>
                  <a:cubicBezTo>
                    <a:pt x="799220" y="998644"/>
                    <a:pt x="799220" y="997356"/>
                    <a:pt x="799220" y="996069"/>
                  </a:cubicBezTo>
                  <a:cubicBezTo>
                    <a:pt x="799220" y="996069"/>
                    <a:pt x="799220" y="996069"/>
                    <a:pt x="799220" y="995885"/>
                  </a:cubicBezTo>
                  <a:cubicBezTo>
                    <a:pt x="799220" y="994782"/>
                    <a:pt x="799053" y="993863"/>
                    <a:pt x="798885" y="992759"/>
                  </a:cubicBezTo>
                  <a:cubicBezTo>
                    <a:pt x="798551" y="991472"/>
                    <a:pt x="798551" y="990184"/>
                    <a:pt x="798049" y="989081"/>
                  </a:cubicBezTo>
                  <a:cubicBezTo>
                    <a:pt x="797715" y="988345"/>
                    <a:pt x="797548" y="987610"/>
                    <a:pt x="797381" y="986874"/>
                  </a:cubicBezTo>
                  <a:cubicBezTo>
                    <a:pt x="796880" y="985771"/>
                    <a:pt x="796378" y="984484"/>
                    <a:pt x="795876" y="983380"/>
                  </a:cubicBezTo>
                  <a:cubicBezTo>
                    <a:pt x="795374" y="982461"/>
                    <a:pt x="794873" y="981726"/>
                    <a:pt x="794372" y="980806"/>
                  </a:cubicBezTo>
                  <a:cubicBezTo>
                    <a:pt x="793870" y="980070"/>
                    <a:pt x="793369" y="979335"/>
                    <a:pt x="792867" y="978783"/>
                  </a:cubicBezTo>
                  <a:cubicBezTo>
                    <a:pt x="792366" y="978231"/>
                    <a:pt x="791864" y="977680"/>
                    <a:pt x="791362" y="977128"/>
                  </a:cubicBezTo>
                  <a:cubicBezTo>
                    <a:pt x="790359" y="976208"/>
                    <a:pt x="789357" y="975289"/>
                    <a:pt x="788186" y="974554"/>
                  </a:cubicBezTo>
                  <a:cubicBezTo>
                    <a:pt x="787350" y="974002"/>
                    <a:pt x="786347" y="973451"/>
                    <a:pt x="785511" y="973083"/>
                  </a:cubicBezTo>
                  <a:cubicBezTo>
                    <a:pt x="783506" y="972163"/>
                    <a:pt x="781332" y="971611"/>
                    <a:pt x="778991" y="971427"/>
                  </a:cubicBezTo>
                  <a:close/>
                  <a:moveTo>
                    <a:pt x="1014060" y="971427"/>
                  </a:moveTo>
                  <a:cubicBezTo>
                    <a:pt x="1011218" y="971244"/>
                    <a:pt x="1008375" y="971795"/>
                    <a:pt x="1005700" y="972898"/>
                  </a:cubicBezTo>
                  <a:cubicBezTo>
                    <a:pt x="1003862" y="973634"/>
                    <a:pt x="1002190" y="974737"/>
                    <a:pt x="1000685" y="976025"/>
                  </a:cubicBezTo>
                  <a:cubicBezTo>
                    <a:pt x="999849" y="976760"/>
                    <a:pt x="999181" y="977496"/>
                    <a:pt x="998345" y="978231"/>
                  </a:cubicBezTo>
                  <a:cubicBezTo>
                    <a:pt x="997509" y="979151"/>
                    <a:pt x="996673" y="980255"/>
                    <a:pt x="996005" y="981174"/>
                  </a:cubicBezTo>
                  <a:cubicBezTo>
                    <a:pt x="995503" y="981909"/>
                    <a:pt x="995001" y="982829"/>
                    <a:pt x="994667" y="983564"/>
                  </a:cubicBezTo>
                  <a:cubicBezTo>
                    <a:pt x="993998" y="984668"/>
                    <a:pt x="993497" y="985955"/>
                    <a:pt x="993162" y="987242"/>
                  </a:cubicBezTo>
                  <a:cubicBezTo>
                    <a:pt x="992828" y="987977"/>
                    <a:pt x="992661" y="988898"/>
                    <a:pt x="992494" y="989633"/>
                  </a:cubicBezTo>
                  <a:cubicBezTo>
                    <a:pt x="992159" y="990736"/>
                    <a:pt x="991992" y="992024"/>
                    <a:pt x="991825" y="993127"/>
                  </a:cubicBezTo>
                  <a:cubicBezTo>
                    <a:pt x="991323" y="996437"/>
                    <a:pt x="991323" y="999747"/>
                    <a:pt x="991992" y="1002873"/>
                  </a:cubicBezTo>
                  <a:cubicBezTo>
                    <a:pt x="992159" y="1003977"/>
                    <a:pt x="992326" y="1005080"/>
                    <a:pt x="992661" y="1006183"/>
                  </a:cubicBezTo>
                  <a:cubicBezTo>
                    <a:pt x="992995" y="1007103"/>
                    <a:pt x="993162" y="1007839"/>
                    <a:pt x="993497" y="1008758"/>
                  </a:cubicBezTo>
                  <a:cubicBezTo>
                    <a:pt x="993831" y="1009310"/>
                    <a:pt x="993998" y="1009861"/>
                    <a:pt x="994165" y="1010413"/>
                  </a:cubicBezTo>
                  <a:cubicBezTo>
                    <a:pt x="994667" y="1011516"/>
                    <a:pt x="995169" y="1012436"/>
                    <a:pt x="995670" y="1013355"/>
                  </a:cubicBezTo>
                  <a:cubicBezTo>
                    <a:pt x="996172" y="1014090"/>
                    <a:pt x="996673" y="1014826"/>
                    <a:pt x="997175" y="1015561"/>
                  </a:cubicBezTo>
                  <a:cubicBezTo>
                    <a:pt x="997844" y="1016482"/>
                    <a:pt x="998679" y="1017401"/>
                    <a:pt x="999515" y="1018136"/>
                  </a:cubicBezTo>
                  <a:cubicBezTo>
                    <a:pt x="1000184" y="1018872"/>
                    <a:pt x="1001020" y="1019424"/>
                    <a:pt x="1001688" y="1019975"/>
                  </a:cubicBezTo>
                  <a:cubicBezTo>
                    <a:pt x="1002859" y="1020895"/>
                    <a:pt x="1004196" y="1021630"/>
                    <a:pt x="1005534" y="1022182"/>
                  </a:cubicBezTo>
                  <a:cubicBezTo>
                    <a:pt x="1007206" y="1022918"/>
                    <a:pt x="1009044" y="1023469"/>
                    <a:pt x="1010883" y="1023653"/>
                  </a:cubicBezTo>
                  <a:cubicBezTo>
                    <a:pt x="1011218" y="1023653"/>
                    <a:pt x="1011385" y="1023653"/>
                    <a:pt x="1011719" y="1023837"/>
                  </a:cubicBezTo>
                  <a:cubicBezTo>
                    <a:pt x="1012722" y="1023837"/>
                    <a:pt x="1013558" y="1023837"/>
                    <a:pt x="1014561" y="1023837"/>
                  </a:cubicBezTo>
                  <a:cubicBezTo>
                    <a:pt x="1014561" y="1023653"/>
                    <a:pt x="1014729" y="1023837"/>
                    <a:pt x="1014729" y="1023837"/>
                  </a:cubicBezTo>
                  <a:cubicBezTo>
                    <a:pt x="1017905" y="1023469"/>
                    <a:pt x="1020914" y="1022366"/>
                    <a:pt x="1023589" y="1020527"/>
                  </a:cubicBezTo>
                  <a:cubicBezTo>
                    <a:pt x="1024759" y="1019791"/>
                    <a:pt x="1025762" y="1018872"/>
                    <a:pt x="1026765" y="1017768"/>
                  </a:cubicBezTo>
                  <a:cubicBezTo>
                    <a:pt x="1027601" y="1017033"/>
                    <a:pt x="1028270" y="1016114"/>
                    <a:pt x="1028938" y="1015194"/>
                  </a:cubicBezTo>
                  <a:cubicBezTo>
                    <a:pt x="1029440" y="1014458"/>
                    <a:pt x="1029942" y="1013723"/>
                    <a:pt x="1030443" y="1012804"/>
                  </a:cubicBezTo>
                  <a:cubicBezTo>
                    <a:pt x="1030945" y="1011884"/>
                    <a:pt x="1031446" y="1010964"/>
                    <a:pt x="1031948" y="1009861"/>
                  </a:cubicBezTo>
                  <a:cubicBezTo>
                    <a:pt x="1032282" y="1009125"/>
                    <a:pt x="1032449" y="1008574"/>
                    <a:pt x="1032784" y="1007839"/>
                  </a:cubicBezTo>
                  <a:cubicBezTo>
                    <a:pt x="1033118" y="1007103"/>
                    <a:pt x="1033285" y="1006367"/>
                    <a:pt x="1033452" y="1005632"/>
                  </a:cubicBezTo>
                  <a:cubicBezTo>
                    <a:pt x="1033786" y="1004344"/>
                    <a:pt x="1033954" y="1003057"/>
                    <a:pt x="1034288" y="1001770"/>
                  </a:cubicBezTo>
                  <a:cubicBezTo>
                    <a:pt x="1034456" y="1001035"/>
                    <a:pt x="1034456" y="1000482"/>
                    <a:pt x="1034456" y="999747"/>
                  </a:cubicBezTo>
                  <a:cubicBezTo>
                    <a:pt x="1034288" y="1000299"/>
                    <a:pt x="1034121" y="1000115"/>
                    <a:pt x="1034288" y="999931"/>
                  </a:cubicBezTo>
                  <a:cubicBezTo>
                    <a:pt x="1034288" y="998644"/>
                    <a:pt x="1034288" y="997356"/>
                    <a:pt x="1034288" y="996069"/>
                  </a:cubicBezTo>
                  <a:cubicBezTo>
                    <a:pt x="1034288" y="996069"/>
                    <a:pt x="1034288" y="996069"/>
                    <a:pt x="1034288" y="995885"/>
                  </a:cubicBezTo>
                  <a:cubicBezTo>
                    <a:pt x="1034288" y="994782"/>
                    <a:pt x="1034121" y="993863"/>
                    <a:pt x="1033954" y="992759"/>
                  </a:cubicBezTo>
                  <a:cubicBezTo>
                    <a:pt x="1033620" y="991472"/>
                    <a:pt x="1033620" y="990184"/>
                    <a:pt x="1033118" y="989081"/>
                  </a:cubicBezTo>
                  <a:cubicBezTo>
                    <a:pt x="1032784" y="988345"/>
                    <a:pt x="1032617" y="987610"/>
                    <a:pt x="1032449" y="986874"/>
                  </a:cubicBezTo>
                  <a:cubicBezTo>
                    <a:pt x="1031948" y="985771"/>
                    <a:pt x="1031446" y="984484"/>
                    <a:pt x="1030945" y="983380"/>
                  </a:cubicBezTo>
                  <a:cubicBezTo>
                    <a:pt x="1030443" y="982461"/>
                    <a:pt x="1029942" y="981726"/>
                    <a:pt x="1029440" y="980806"/>
                  </a:cubicBezTo>
                  <a:cubicBezTo>
                    <a:pt x="1028938" y="980070"/>
                    <a:pt x="1028437" y="979335"/>
                    <a:pt x="1027935" y="978783"/>
                  </a:cubicBezTo>
                  <a:cubicBezTo>
                    <a:pt x="1027434" y="978231"/>
                    <a:pt x="1026933" y="977680"/>
                    <a:pt x="1026431" y="977128"/>
                  </a:cubicBezTo>
                  <a:cubicBezTo>
                    <a:pt x="1025428" y="976208"/>
                    <a:pt x="1024424" y="975289"/>
                    <a:pt x="1023255" y="974554"/>
                  </a:cubicBezTo>
                  <a:cubicBezTo>
                    <a:pt x="1022419" y="974002"/>
                    <a:pt x="1021416" y="973451"/>
                    <a:pt x="1020580" y="973083"/>
                  </a:cubicBezTo>
                  <a:cubicBezTo>
                    <a:pt x="1018573" y="972163"/>
                    <a:pt x="1016400" y="971611"/>
                    <a:pt x="1014060" y="971427"/>
                  </a:cubicBezTo>
                  <a:close/>
                  <a:moveTo>
                    <a:pt x="1136693" y="971427"/>
                  </a:moveTo>
                  <a:cubicBezTo>
                    <a:pt x="1133851" y="971244"/>
                    <a:pt x="1131009" y="971795"/>
                    <a:pt x="1128335" y="972898"/>
                  </a:cubicBezTo>
                  <a:cubicBezTo>
                    <a:pt x="1126496" y="973634"/>
                    <a:pt x="1124824" y="974737"/>
                    <a:pt x="1123319" y="976025"/>
                  </a:cubicBezTo>
                  <a:cubicBezTo>
                    <a:pt x="1122483" y="976760"/>
                    <a:pt x="1121814" y="977496"/>
                    <a:pt x="1120978" y="978231"/>
                  </a:cubicBezTo>
                  <a:cubicBezTo>
                    <a:pt x="1120142" y="979151"/>
                    <a:pt x="1119307" y="980255"/>
                    <a:pt x="1118638" y="981174"/>
                  </a:cubicBezTo>
                  <a:cubicBezTo>
                    <a:pt x="1118137" y="981909"/>
                    <a:pt x="1117635" y="982829"/>
                    <a:pt x="1117300" y="983564"/>
                  </a:cubicBezTo>
                  <a:cubicBezTo>
                    <a:pt x="1116632" y="984668"/>
                    <a:pt x="1116130" y="985955"/>
                    <a:pt x="1115796" y="987242"/>
                  </a:cubicBezTo>
                  <a:cubicBezTo>
                    <a:pt x="1115462" y="987977"/>
                    <a:pt x="1115294" y="988898"/>
                    <a:pt x="1115127" y="989633"/>
                  </a:cubicBezTo>
                  <a:cubicBezTo>
                    <a:pt x="1114793" y="990736"/>
                    <a:pt x="1114626" y="992024"/>
                    <a:pt x="1114459" y="993127"/>
                  </a:cubicBezTo>
                  <a:cubicBezTo>
                    <a:pt x="1113957" y="996437"/>
                    <a:pt x="1113957" y="999747"/>
                    <a:pt x="1114626" y="1002873"/>
                  </a:cubicBezTo>
                  <a:cubicBezTo>
                    <a:pt x="1114793" y="1003977"/>
                    <a:pt x="1114960" y="1005080"/>
                    <a:pt x="1115294" y="1006183"/>
                  </a:cubicBezTo>
                  <a:cubicBezTo>
                    <a:pt x="1115628" y="1007103"/>
                    <a:pt x="1115796" y="1007839"/>
                    <a:pt x="1116130" y="1008758"/>
                  </a:cubicBezTo>
                  <a:cubicBezTo>
                    <a:pt x="1116465" y="1009310"/>
                    <a:pt x="1116632" y="1009861"/>
                    <a:pt x="1116799" y="1010413"/>
                  </a:cubicBezTo>
                  <a:cubicBezTo>
                    <a:pt x="1117300" y="1011516"/>
                    <a:pt x="1117802" y="1012436"/>
                    <a:pt x="1118303" y="1013355"/>
                  </a:cubicBezTo>
                  <a:cubicBezTo>
                    <a:pt x="1118805" y="1014090"/>
                    <a:pt x="1119307" y="1014826"/>
                    <a:pt x="1119809" y="1015561"/>
                  </a:cubicBezTo>
                  <a:cubicBezTo>
                    <a:pt x="1120477" y="1016482"/>
                    <a:pt x="1121313" y="1017401"/>
                    <a:pt x="1122149" y="1018136"/>
                  </a:cubicBezTo>
                  <a:cubicBezTo>
                    <a:pt x="1122817" y="1018872"/>
                    <a:pt x="1123653" y="1019424"/>
                    <a:pt x="1124322" y="1019975"/>
                  </a:cubicBezTo>
                  <a:cubicBezTo>
                    <a:pt x="1125492" y="1020895"/>
                    <a:pt x="1126829" y="1021630"/>
                    <a:pt x="1128167" y="1022182"/>
                  </a:cubicBezTo>
                  <a:cubicBezTo>
                    <a:pt x="1129839" y="1022918"/>
                    <a:pt x="1131678" y="1023469"/>
                    <a:pt x="1133517" y="1023653"/>
                  </a:cubicBezTo>
                  <a:cubicBezTo>
                    <a:pt x="1133851" y="1023653"/>
                    <a:pt x="1134018" y="1023653"/>
                    <a:pt x="1134352" y="1023837"/>
                  </a:cubicBezTo>
                  <a:cubicBezTo>
                    <a:pt x="1135356" y="1023837"/>
                    <a:pt x="1136191" y="1023837"/>
                    <a:pt x="1137195" y="1023837"/>
                  </a:cubicBezTo>
                  <a:cubicBezTo>
                    <a:pt x="1137195" y="1023653"/>
                    <a:pt x="1137362" y="1023837"/>
                    <a:pt x="1137362" y="1023837"/>
                  </a:cubicBezTo>
                  <a:cubicBezTo>
                    <a:pt x="1140538" y="1023469"/>
                    <a:pt x="1143548" y="1022366"/>
                    <a:pt x="1146223" y="1020527"/>
                  </a:cubicBezTo>
                  <a:cubicBezTo>
                    <a:pt x="1147393" y="1019791"/>
                    <a:pt x="1148396" y="1018872"/>
                    <a:pt x="1149399" y="1017768"/>
                  </a:cubicBezTo>
                  <a:cubicBezTo>
                    <a:pt x="1150235" y="1017033"/>
                    <a:pt x="1150903" y="1016114"/>
                    <a:pt x="1151572" y="1015194"/>
                  </a:cubicBezTo>
                  <a:cubicBezTo>
                    <a:pt x="1152074" y="1014458"/>
                    <a:pt x="1152575" y="1013723"/>
                    <a:pt x="1153076" y="1012804"/>
                  </a:cubicBezTo>
                  <a:cubicBezTo>
                    <a:pt x="1153578" y="1011884"/>
                    <a:pt x="1154080" y="1010964"/>
                    <a:pt x="1154582" y="1009861"/>
                  </a:cubicBezTo>
                  <a:cubicBezTo>
                    <a:pt x="1154915" y="1009125"/>
                    <a:pt x="1155083" y="1008574"/>
                    <a:pt x="1155417" y="1007839"/>
                  </a:cubicBezTo>
                  <a:cubicBezTo>
                    <a:pt x="1155751" y="1007103"/>
                    <a:pt x="1155919" y="1006367"/>
                    <a:pt x="1156086" y="1005632"/>
                  </a:cubicBezTo>
                  <a:cubicBezTo>
                    <a:pt x="1156421" y="1004344"/>
                    <a:pt x="1156587" y="1003057"/>
                    <a:pt x="1156922" y="1001770"/>
                  </a:cubicBezTo>
                  <a:cubicBezTo>
                    <a:pt x="1157089" y="1001035"/>
                    <a:pt x="1157089" y="1000482"/>
                    <a:pt x="1157089" y="999747"/>
                  </a:cubicBezTo>
                  <a:cubicBezTo>
                    <a:pt x="1156922" y="1000299"/>
                    <a:pt x="1156755" y="1000115"/>
                    <a:pt x="1156922" y="999931"/>
                  </a:cubicBezTo>
                  <a:cubicBezTo>
                    <a:pt x="1156922" y="998644"/>
                    <a:pt x="1156922" y="997356"/>
                    <a:pt x="1156922" y="996069"/>
                  </a:cubicBezTo>
                  <a:cubicBezTo>
                    <a:pt x="1156922" y="996069"/>
                    <a:pt x="1156922" y="996069"/>
                    <a:pt x="1156922" y="995885"/>
                  </a:cubicBezTo>
                  <a:cubicBezTo>
                    <a:pt x="1156922" y="994782"/>
                    <a:pt x="1156755" y="993863"/>
                    <a:pt x="1156587" y="992759"/>
                  </a:cubicBezTo>
                  <a:cubicBezTo>
                    <a:pt x="1156253" y="991472"/>
                    <a:pt x="1156253" y="990184"/>
                    <a:pt x="1155751" y="989081"/>
                  </a:cubicBezTo>
                  <a:cubicBezTo>
                    <a:pt x="1155417" y="988345"/>
                    <a:pt x="1155250" y="987610"/>
                    <a:pt x="1155083" y="986874"/>
                  </a:cubicBezTo>
                  <a:cubicBezTo>
                    <a:pt x="1154582" y="985771"/>
                    <a:pt x="1154080" y="984484"/>
                    <a:pt x="1153578" y="983380"/>
                  </a:cubicBezTo>
                  <a:cubicBezTo>
                    <a:pt x="1153076" y="982461"/>
                    <a:pt x="1152575" y="981726"/>
                    <a:pt x="1152074" y="980806"/>
                  </a:cubicBezTo>
                  <a:cubicBezTo>
                    <a:pt x="1151572" y="980070"/>
                    <a:pt x="1151071" y="979335"/>
                    <a:pt x="1150569" y="978783"/>
                  </a:cubicBezTo>
                  <a:cubicBezTo>
                    <a:pt x="1150067" y="978231"/>
                    <a:pt x="1149566" y="977680"/>
                    <a:pt x="1149064" y="977128"/>
                  </a:cubicBezTo>
                  <a:cubicBezTo>
                    <a:pt x="1148061" y="976208"/>
                    <a:pt x="1147059" y="975289"/>
                    <a:pt x="1145888" y="974554"/>
                  </a:cubicBezTo>
                  <a:cubicBezTo>
                    <a:pt x="1145052" y="974002"/>
                    <a:pt x="1144049" y="973451"/>
                    <a:pt x="1143213" y="973083"/>
                  </a:cubicBezTo>
                  <a:cubicBezTo>
                    <a:pt x="1141207" y="972163"/>
                    <a:pt x="1139034" y="971611"/>
                    <a:pt x="1136693" y="971427"/>
                  </a:cubicBezTo>
                  <a:close/>
                  <a:moveTo>
                    <a:pt x="1300321" y="971427"/>
                  </a:moveTo>
                  <a:cubicBezTo>
                    <a:pt x="1297479" y="971244"/>
                    <a:pt x="1294637" y="971795"/>
                    <a:pt x="1291962" y="972898"/>
                  </a:cubicBezTo>
                  <a:cubicBezTo>
                    <a:pt x="1290123" y="973634"/>
                    <a:pt x="1288451" y="974737"/>
                    <a:pt x="1286946" y="976025"/>
                  </a:cubicBezTo>
                  <a:cubicBezTo>
                    <a:pt x="1286110" y="976760"/>
                    <a:pt x="1285442" y="977496"/>
                    <a:pt x="1284606" y="978231"/>
                  </a:cubicBezTo>
                  <a:cubicBezTo>
                    <a:pt x="1283770" y="979151"/>
                    <a:pt x="1282934" y="980255"/>
                    <a:pt x="1282266" y="981174"/>
                  </a:cubicBezTo>
                  <a:cubicBezTo>
                    <a:pt x="1281764" y="981909"/>
                    <a:pt x="1281262" y="982829"/>
                    <a:pt x="1280928" y="983564"/>
                  </a:cubicBezTo>
                  <a:cubicBezTo>
                    <a:pt x="1280259" y="984668"/>
                    <a:pt x="1279758" y="985955"/>
                    <a:pt x="1279423" y="987242"/>
                  </a:cubicBezTo>
                  <a:cubicBezTo>
                    <a:pt x="1279089" y="987977"/>
                    <a:pt x="1278922" y="988898"/>
                    <a:pt x="1278755" y="989633"/>
                  </a:cubicBezTo>
                  <a:cubicBezTo>
                    <a:pt x="1278421" y="990736"/>
                    <a:pt x="1278254" y="992024"/>
                    <a:pt x="1278086" y="993127"/>
                  </a:cubicBezTo>
                  <a:cubicBezTo>
                    <a:pt x="1277584" y="996437"/>
                    <a:pt x="1277584" y="999747"/>
                    <a:pt x="1278254" y="1002873"/>
                  </a:cubicBezTo>
                  <a:cubicBezTo>
                    <a:pt x="1278421" y="1003977"/>
                    <a:pt x="1278588" y="1005080"/>
                    <a:pt x="1278922" y="1006183"/>
                  </a:cubicBezTo>
                  <a:cubicBezTo>
                    <a:pt x="1279256" y="1007103"/>
                    <a:pt x="1279423" y="1007839"/>
                    <a:pt x="1279758" y="1008758"/>
                  </a:cubicBezTo>
                  <a:cubicBezTo>
                    <a:pt x="1280093" y="1009310"/>
                    <a:pt x="1280259" y="1009861"/>
                    <a:pt x="1280427" y="1010413"/>
                  </a:cubicBezTo>
                  <a:cubicBezTo>
                    <a:pt x="1280928" y="1011516"/>
                    <a:pt x="1281430" y="1012436"/>
                    <a:pt x="1281931" y="1013355"/>
                  </a:cubicBezTo>
                  <a:cubicBezTo>
                    <a:pt x="1282433" y="1014090"/>
                    <a:pt x="1282934" y="1014826"/>
                    <a:pt x="1283436" y="1015561"/>
                  </a:cubicBezTo>
                  <a:cubicBezTo>
                    <a:pt x="1284105" y="1016482"/>
                    <a:pt x="1284941" y="1017401"/>
                    <a:pt x="1285776" y="1018136"/>
                  </a:cubicBezTo>
                  <a:cubicBezTo>
                    <a:pt x="1286445" y="1018872"/>
                    <a:pt x="1287281" y="1019424"/>
                    <a:pt x="1287949" y="1019975"/>
                  </a:cubicBezTo>
                  <a:cubicBezTo>
                    <a:pt x="1289120" y="1020895"/>
                    <a:pt x="1290457" y="1021630"/>
                    <a:pt x="1291795" y="1022182"/>
                  </a:cubicBezTo>
                  <a:cubicBezTo>
                    <a:pt x="1293467" y="1022918"/>
                    <a:pt x="1295306" y="1023469"/>
                    <a:pt x="1297145" y="1023653"/>
                  </a:cubicBezTo>
                  <a:cubicBezTo>
                    <a:pt x="1297479" y="1023653"/>
                    <a:pt x="1297646" y="1023653"/>
                    <a:pt x="1297980" y="1023837"/>
                  </a:cubicBezTo>
                  <a:cubicBezTo>
                    <a:pt x="1298983" y="1023837"/>
                    <a:pt x="1299819" y="1023837"/>
                    <a:pt x="1300822" y="1023837"/>
                  </a:cubicBezTo>
                  <a:cubicBezTo>
                    <a:pt x="1300822" y="1023653"/>
                    <a:pt x="1300990" y="1023837"/>
                    <a:pt x="1300990" y="1023837"/>
                  </a:cubicBezTo>
                  <a:cubicBezTo>
                    <a:pt x="1304166" y="1023469"/>
                    <a:pt x="1307175" y="1022366"/>
                    <a:pt x="1309850" y="1020527"/>
                  </a:cubicBezTo>
                  <a:cubicBezTo>
                    <a:pt x="1311020" y="1019791"/>
                    <a:pt x="1312023" y="1018872"/>
                    <a:pt x="1313027" y="1017768"/>
                  </a:cubicBezTo>
                  <a:cubicBezTo>
                    <a:pt x="1313862" y="1017033"/>
                    <a:pt x="1314531" y="1016114"/>
                    <a:pt x="1315200" y="1015194"/>
                  </a:cubicBezTo>
                  <a:cubicBezTo>
                    <a:pt x="1315702" y="1014458"/>
                    <a:pt x="1316203" y="1013723"/>
                    <a:pt x="1316704" y="1012804"/>
                  </a:cubicBezTo>
                  <a:cubicBezTo>
                    <a:pt x="1317206" y="1011884"/>
                    <a:pt x="1317707" y="1010964"/>
                    <a:pt x="1318209" y="1009861"/>
                  </a:cubicBezTo>
                  <a:cubicBezTo>
                    <a:pt x="1318543" y="1009125"/>
                    <a:pt x="1318710" y="1008574"/>
                    <a:pt x="1319045" y="1007839"/>
                  </a:cubicBezTo>
                  <a:cubicBezTo>
                    <a:pt x="1319379" y="1007103"/>
                    <a:pt x="1319546" y="1006367"/>
                    <a:pt x="1319714" y="1005632"/>
                  </a:cubicBezTo>
                  <a:cubicBezTo>
                    <a:pt x="1320048" y="1004344"/>
                    <a:pt x="1320215" y="1003057"/>
                    <a:pt x="1320549" y="1001770"/>
                  </a:cubicBezTo>
                  <a:cubicBezTo>
                    <a:pt x="1320717" y="1001035"/>
                    <a:pt x="1320717" y="1000482"/>
                    <a:pt x="1320717" y="999747"/>
                  </a:cubicBezTo>
                  <a:cubicBezTo>
                    <a:pt x="1320549" y="1000299"/>
                    <a:pt x="1320382" y="1000115"/>
                    <a:pt x="1320549" y="999931"/>
                  </a:cubicBezTo>
                  <a:cubicBezTo>
                    <a:pt x="1320549" y="998644"/>
                    <a:pt x="1320549" y="997356"/>
                    <a:pt x="1320549" y="996069"/>
                  </a:cubicBezTo>
                  <a:cubicBezTo>
                    <a:pt x="1320549" y="996069"/>
                    <a:pt x="1320549" y="996069"/>
                    <a:pt x="1320549" y="995885"/>
                  </a:cubicBezTo>
                  <a:cubicBezTo>
                    <a:pt x="1320549" y="994782"/>
                    <a:pt x="1320382" y="993863"/>
                    <a:pt x="1320215" y="992759"/>
                  </a:cubicBezTo>
                  <a:cubicBezTo>
                    <a:pt x="1319881" y="991472"/>
                    <a:pt x="1319881" y="990184"/>
                    <a:pt x="1319379" y="989081"/>
                  </a:cubicBezTo>
                  <a:cubicBezTo>
                    <a:pt x="1319045" y="988345"/>
                    <a:pt x="1318878" y="987610"/>
                    <a:pt x="1318710" y="986874"/>
                  </a:cubicBezTo>
                  <a:cubicBezTo>
                    <a:pt x="1318209" y="985771"/>
                    <a:pt x="1317707" y="984484"/>
                    <a:pt x="1317206" y="983380"/>
                  </a:cubicBezTo>
                  <a:cubicBezTo>
                    <a:pt x="1316704" y="982461"/>
                    <a:pt x="1316203" y="981726"/>
                    <a:pt x="1315702" y="980806"/>
                  </a:cubicBezTo>
                  <a:cubicBezTo>
                    <a:pt x="1315200" y="980070"/>
                    <a:pt x="1314698" y="979335"/>
                    <a:pt x="1314196" y="978783"/>
                  </a:cubicBezTo>
                  <a:cubicBezTo>
                    <a:pt x="1313695" y="978231"/>
                    <a:pt x="1313194" y="977680"/>
                    <a:pt x="1312692" y="977128"/>
                  </a:cubicBezTo>
                  <a:cubicBezTo>
                    <a:pt x="1311689" y="976208"/>
                    <a:pt x="1310686" y="975289"/>
                    <a:pt x="1309516" y="974554"/>
                  </a:cubicBezTo>
                  <a:cubicBezTo>
                    <a:pt x="1308680" y="974002"/>
                    <a:pt x="1307677" y="973451"/>
                    <a:pt x="1306841" y="973083"/>
                  </a:cubicBezTo>
                  <a:cubicBezTo>
                    <a:pt x="1304834" y="972163"/>
                    <a:pt x="1302661" y="971611"/>
                    <a:pt x="1300321" y="971427"/>
                  </a:cubicBezTo>
                  <a:close/>
                  <a:moveTo>
                    <a:pt x="134134" y="965832"/>
                  </a:moveTo>
                  <a:cubicBezTo>
                    <a:pt x="125815" y="965832"/>
                    <a:pt x="118875" y="971733"/>
                    <a:pt x="117270" y="979577"/>
                  </a:cubicBezTo>
                  <a:lnTo>
                    <a:pt x="116944" y="982813"/>
                  </a:lnTo>
                  <a:lnTo>
                    <a:pt x="115979" y="982813"/>
                  </a:lnTo>
                  <a:cubicBezTo>
                    <a:pt x="113551" y="982813"/>
                    <a:pt x="111590" y="984724"/>
                    <a:pt x="111590" y="987089"/>
                  </a:cubicBezTo>
                  <a:cubicBezTo>
                    <a:pt x="111590" y="987089"/>
                    <a:pt x="111590" y="987089"/>
                    <a:pt x="111590" y="1020906"/>
                  </a:cubicBezTo>
                  <a:cubicBezTo>
                    <a:pt x="111590" y="1023270"/>
                    <a:pt x="113551" y="1025181"/>
                    <a:pt x="115979" y="1025181"/>
                  </a:cubicBezTo>
                  <a:cubicBezTo>
                    <a:pt x="115979" y="1025181"/>
                    <a:pt x="115979" y="1025181"/>
                    <a:pt x="152289" y="1025181"/>
                  </a:cubicBezTo>
                  <a:cubicBezTo>
                    <a:pt x="154716" y="1025181"/>
                    <a:pt x="156678" y="1023270"/>
                    <a:pt x="156678" y="1020906"/>
                  </a:cubicBezTo>
                  <a:cubicBezTo>
                    <a:pt x="156678" y="1020906"/>
                    <a:pt x="156678" y="1020906"/>
                    <a:pt x="156678" y="987089"/>
                  </a:cubicBezTo>
                  <a:cubicBezTo>
                    <a:pt x="156678" y="984724"/>
                    <a:pt x="154716" y="982813"/>
                    <a:pt x="152289" y="982813"/>
                  </a:cubicBezTo>
                  <a:cubicBezTo>
                    <a:pt x="152289" y="982813"/>
                    <a:pt x="152289" y="982813"/>
                    <a:pt x="151722" y="982813"/>
                  </a:cubicBezTo>
                  <a:lnTo>
                    <a:pt x="151324" y="982813"/>
                  </a:lnTo>
                  <a:lnTo>
                    <a:pt x="150998" y="979577"/>
                  </a:lnTo>
                  <a:cubicBezTo>
                    <a:pt x="149393" y="971733"/>
                    <a:pt x="142453" y="965832"/>
                    <a:pt x="134134" y="965832"/>
                  </a:cubicBezTo>
                  <a:close/>
                  <a:moveTo>
                    <a:pt x="195426" y="965832"/>
                  </a:moveTo>
                  <a:cubicBezTo>
                    <a:pt x="187107" y="965832"/>
                    <a:pt x="180167" y="971733"/>
                    <a:pt x="178561" y="979577"/>
                  </a:cubicBezTo>
                  <a:lnTo>
                    <a:pt x="178236" y="982813"/>
                  </a:lnTo>
                  <a:lnTo>
                    <a:pt x="177271" y="982813"/>
                  </a:lnTo>
                  <a:cubicBezTo>
                    <a:pt x="174843" y="982813"/>
                    <a:pt x="172882" y="984724"/>
                    <a:pt x="172882" y="987089"/>
                  </a:cubicBezTo>
                  <a:cubicBezTo>
                    <a:pt x="172882" y="987089"/>
                    <a:pt x="172882" y="987089"/>
                    <a:pt x="172882" y="1020906"/>
                  </a:cubicBezTo>
                  <a:cubicBezTo>
                    <a:pt x="172882" y="1023270"/>
                    <a:pt x="174843" y="1025181"/>
                    <a:pt x="177271" y="1025181"/>
                  </a:cubicBezTo>
                  <a:cubicBezTo>
                    <a:pt x="177271" y="1025181"/>
                    <a:pt x="177271" y="1025181"/>
                    <a:pt x="213581" y="1025181"/>
                  </a:cubicBezTo>
                  <a:cubicBezTo>
                    <a:pt x="216008" y="1025181"/>
                    <a:pt x="217970" y="1023270"/>
                    <a:pt x="217970" y="1020906"/>
                  </a:cubicBezTo>
                  <a:cubicBezTo>
                    <a:pt x="217970" y="1020906"/>
                    <a:pt x="217970" y="1020906"/>
                    <a:pt x="217970" y="987089"/>
                  </a:cubicBezTo>
                  <a:cubicBezTo>
                    <a:pt x="217970" y="984724"/>
                    <a:pt x="216008" y="982813"/>
                    <a:pt x="213581" y="982813"/>
                  </a:cubicBezTo>
                  <a:cubicBezTo>
                    <a:pt x="213581" y="982813"/>
                    <a:pt x="213581" y="982813"/>
                    <a:pt x="213013" y="982813"/>
                  </a:cubicBezTo>
                  <a:lnTo>
                    <a:pt x="212616" y="982813"/>
                  </a:lnTo>
                  <a:lnTo>
                    <a:pt x="212290" y="979577"/>
                  </a:lnTo>
                  <a:cubicBezTo>
                    <a:pt x="210685" y="971733"/>
                    <a:pt x="203745" y="965832"/>
                    <a:pt x="195426" y="965832"/>
                  </a:cubicBezTo>
                  <a:close/>
                  <a:moveTo>
                    <a:pt x="369203" y="965832"/>
                  </a:moveTo>
                  <a:cubicBezTo>
                    <a:pt x="360884" y="965832"/>
                    <a:pt x="353943" y="971733"/>
                    <a:pt x="352338" y="979577"/>
                  </a:cubicBezTo>
                  <a:lnTo>
                    <a:pt x="352012" y="982813"/>
                  </a:lnTo>
                  <a:lnTo>
                    <a:pt x="351047" y="982813"/>
                  </a:lnTo>
                  <a:cubicBezTo>
                    <a:pt x="348620" y="982813"/>
                    <a:pt x="346658" y="984724"/>
                    <a:pt x="346658" y="987089"/>
                  </a:cubicBezTo>
                  <a:cubicBezTo>
                    <a:pt x="346658" y="987089"/>
                    <a:pt x="346658" y="987089"/>
                    <a:pt x="346658" y="1020906"/>
                  </a:cubicBezTo>
                  <a:cubicBezTo>
                    <a:pt x="346658" y="1023270"/>
                    <a:pt x="348620" y="1025181"/>
                    <a:pt x="351047" y="1025181"/>
                  </a:cubicBezTo>
                  <a:cubicBezTo>
                    <a:pt x="351047" y="1025181"/>
                    <a:pt x="351047" y="1025181"/>
                    <a:pt x="387358" y="1025181"/>
                  </a:cubicBezTo>
                  <a:cubicBezTo>
                    <a:pt x="389785" y="1025181"/>
                    <a:pt x="391747" y="1023270"/>
                    <a:pt x="391747" y="1020906"/>
                  </a:cubicBezTo>
                  <a:cubicBezTo>
                    <a:pt x="391747" y="1020906"/>
                    <a:pt x="391747" y="1020906"/>
                    <a:pt x="391747" y="987089"/>
                  </a:cubicBezTo>
                  <a:cubicBezTo>
                    <a:pt x="391747" y="984724"/>
                    <a:pt x="389785" y="982813"/>
                    <a:pt x="387358" y="982813"/>
                  </a:cubicBezTo>
                  <a:cubicBezTo>
                    <a:pt x="387358" y="982813"/>
                    <a:pt x="387358" y="982813"/>
                    <a:pt x="386790" y="982813"/>
                  </a:cubicBezTo>
                  <a:lnTo>
                    <a:pt x="386393" y="982813"/>
                  </a:lnTo>
                  <a:lnTo>
                    <a:pt x="386066" y="979577"/>
                  </a:lnTo>
                  <a:cubicBezTo>
                    <a:pt x="384461" y="971733"/>
                    <a:pt x="377521" y="965832"/>
                    <a:pt x="369203" y="965832"/>
                  </a:cubicBezTo>
                  <a:close/>
                  <a:moveTo>
                    <a:pt x="430494" y="965832"/>
                  </a:moveTo>
                  <a:cubicBezTo>
                    <a:pt x="422176" y="965832"/>
                    <a:pt x="415235" y="971733"/>
                    <a:pt x="413630" y="979577"/>
                  </a:cubicBezTo>
                  <a:lnTo>
                    <a:pt x="413304" y="982813"/>
                  </a:lnTo>
                  <a:lnTo>
                    <a:pt x="412339" y="982813"/>
                  </a:lnTo>
                  <a:cubicBezTo>
                    <a:pt x="409912" y="982813"/>
                    <a:pt x="407950" y="984724"/>
                    <a:pt x="407950" y="987089"/>
                  </a:cubicBezTo>
                  <a:cubicBezTo>
                    <a:pt x="407950" y="987089"/>
                    <a:pt x="407950" y="987089"/>
                    <a:pt x="407950" y="1020906"/>
                  </a:cubicBezTo>
                  <a:cubicBezTo>
                    <a:pt x="407950" y="1023270"/>
                    <a:pt x="409912" y="1025181"/>
                    <a:pt x="412339" y="1025181"/>
                  </a:cubicBezTo>
                  <a:cubicBezTo>
                    <a:pt x="412339" y="1025181"/>
                    <a:pt x="412339" y="1025181"/>
                    <a:pt x="448650" y="1025181"/>
                  </a:cubicBezTo>
                  <a:cubicBezTo>
                    <a:pt x="451077" y="1025181"/>
                    <a:pt x="453039" y="1023270"/>
                    <a:pt x="453039" y="1020906"/>
                  </a:cubicBezTo>
                  <a:cubicBezTo>
                    <a:pt x="453039" y="1020906"/>
                    <a:pt x="453039" y="1020906"/>
                    <a:pt x="453039" y="987089"/>
                  </a:cubicBezTo>
                  <a:cubicBezTo>
                    <a:pt x="453039" y="984724"/>
                    <a:pt x="451077" y="982813"/>
                    <a:pt x="448650" y="982813"/>
                  </a:cubicBezTo>
                  <a:cubicBezTo>
                    <a:pt x="448650" y="982813"/>
                    <a:pt x="448650" y="982813"/>
                    <a:pt x="448082" y="982813"/>
                  </a:cubicBezTo>
                  <a:lnTo>
                    <a:pt x="447685" y="982813"/>
                  </a:lnTo>
                  <a:lnTo>
                    <a:pt x="447358" y="979577"/>
                  </a:lnTo>
                  <a:cubicBezTo>
                    <a:pt x="445753" y="971733"/>
                    <a:pt x="438813" y="965832"/>
                    <a:pt x="430494" y="965832"/>
                  </a:cubicBezTo>
                  <a:close/>
                  <a:moveTo>
                    <a:pt x="604271" y="965832"/>
                  </a:moveTo>
                  <a:cubicBezTo>
                    <a:pt x="595952" y="965832"/>
                    <a:pt x="589012" y="971733"/>
                    <a:pt x="587406" y="979577"/>
                  </a:cubicBezTo>
                  <a:lnTo>
                    <a:pt x="587081" y="982813"/>
                  </a:lnTo>
                  <a:lnTo>
                    <a:pt x="586116" y="982813"/>
                  </a:lnTo>
                  <a:cubicBezTo>
                    <a:pt x="583688" y="982813"/>
                    <a:pt x="581727" y="984724"/>
                    <a:pt x="581727" y="987089"/>
                  </a:cubicBezTo>
                  <a:cubicBezTo>
                    <a:pt x="581727" y="987089"/>
                    <a:pt x="581727" y="987089"/>
                    <a:pt x="581727" y="1020906"/>
                  </a:cubicBezTo>
                  <a:cubicBezTo>
                    <a:pt x="581727" y="1023270"/>
                    <a:pt x="583688" y="1025181"/>
                    <a:pt x="586116" y="1025181"/>
                  </a:cubicBezTo>
                  <a:cubicBezTo>
                    <a:pt x="586116" y="1025181"/>
                    <a:pt x="586116" y="1025181"/>
                    <a:pt x="622426" y="1025181"/>
                  </a:cubicBezTo>
                  <a:cubicBezTo>
                    <a:pt x="624853" y="1025181"/>
                    <a:pt x="626815" y="1023270"/>
                    <a:pt x="626815" y="1020906"/>
                  </a:cubicBezTo>
                  <a:cubicBezTo>
                    <a:pt x="626815" y="1020906"/>
                    <a:pt x="626815" y="1020906"/>
                    <a:pt x="626815" y="987089"/>
                  </a:cubicBezTo>
                  <a:cubicBezTo>
                    <a:pt x="626815" y="984724"/>
                    <a:pt x="624853" y="982813"/>
                    <a:pt x="622426" y="982813"/>
                  </a:cubicBezTo>
                  <a:cubicBezTo>
                    <a:pt x="622426" y="982813"/>
                    <a:pt x="622426" y="982813"/>
                    <a:pt x="621858" y="982813"/>
                  </a:cubicBezTo>
                  <a:lnTo>
                    <a:pt x="621461" y="982813"/>
                  </a:lnTo>
                  <a:lnTo>
                    <a:pt x="621135" y="979577"/>
                  </a:lnTo>
                  <a:cubicBezTo>
                    <a:pt x="619530" y="971733"/>
                    <a:pt x="612590" y="965832"/>
                    <a:pt x="604271" y="965832"/>
                  </a:cubicBezTo>
                  <a:close/>
                  <a:moveTo>
                    <a:pt x="890531" y="965832"/>
                  </a:moveTo>
                  <a:cubicBezTo>
                    <a:pt x="882213" y="965832"/>
                    <a:pt x="875273" y="971733"/>
                    <a:pt x="873667" y="979577"/>
                  </a:cubicBezTo>
                  <a:lnTo>
                    <a:pt x="873341" y="982813"/>
                  </a:lnTo>
                  <a:lnTo>
                    <a:pt x="872377" y="982813"/>
                  </a:lnTo>
                  <a:cubicBezTo>
                    <a:pt x="869949" y="982813"/>
                    <a:pt x="867987" y="984724"/>
                    <a:pt x="867987" y="987089"/>
                  </a:cubicBezTo>
                  <a:cubicBezTo>
                    <a:pt x="867987" y="987089"/>
                    <a:pt x="867987" y="987089"/>
                    <a:pt x="867987" y="1020906"/>
                  </a:cubicBezTo>
                  <a:cubicBezTo>
                    <a:pt x="867987" y="1023270"/>
                    <a:pt x="869949" y="1025181"/>
                    <a:pt x="872377" y="1025181"/>
                  </a:cubicBezTo>
                  <a:cubicBezTo>
                    <a:pt x="872377" y="1025181"/>
                    <a:pt x="872377" y="1025181"/>
                    <a:pt x="908687" y="1025181"/>
                  </a:cubicBezTo>
                  <a:cubicBezTo>
                    <a:pt x="911114" y="1025181"/>
                    <a:pt x="913076" y="1023270"/>
                    <a:pt x="913076" y="1020906"/>
                  </a:cubicBezTo>
                  <a:cubicBezTo>
                    <a:pt x="913076" y="1020906"/>
                    <a:pt x="913076" y="1020906"/>
                    <a:pt x="913076" y="987089"/>
                  </a:cubicBezTo>
                  <a:cubicBezTo>
                    <a:pt x="913076" y="984724"/>
                    <a:pt x="911114" y="982813"/>
                    <a:pt x="908687" y="982813"/>
                  </a:cubicBezTo>
                  <a:cubicBezTo>
                    <a:pt x="908687" y="982813"/>
                    <a:pt x="908687" y="982813"/>
                    <a:pt x="908119" y="982813"/>
                  </a:cubicBezTo>
                  <a:lnTo>
                    <a:pt x="907722" y="982813"/>
                  </a:lnTo>
                  <a:lnTo>
                    <a:pt x="907395" y="979577"/>
                  </a:lnTo>
                  <a:cubicBezTo>
                    <a:pt x="905791" y="971733"/>
                    <a:pt x="898850" y="965832"/>
                    <a:pt x="890531" y="965832"/>
                  </a:cubicBezTo>
                  <a:close/>
                  <a:moveTo>
                    <a:pt x="951823" y="965832"/>
                  </a:moveTo>
                  <a:cubicBezTo>
                    <a:pt x="943505" y="965832"/>
                    <a:pt x="936565" y="971733"/>
                    <a:pt x="934960" y="979577"/>
                  </a:cubicBezTo>
                  <a:lnTo>
                    <a:pt x="934633" y="982813"/>
                  </a:lnTo>
                  <a:lnTo>
                    <a:pt x="933669" y="982813"/>
                  </a:lnTo>
                  <a:cubicBezTo>
                    <a:pt x="931241" y="982813"/>
                    <a:pt x="929279" y="984724"/>
                    <a:pt x="929279" y="987089"/>
                  </a:cubicBezTo>
                  <a:cubicBezTo>
                    <a:pt x="929279" y="987089"/>
                    <a:pt x="929279" y="987089"/>
                    <a:pt x="929279" y="1020906"/>
                  </a:cubicBezTo>
                  <a:cubicBezTo>
                    <a:pt x="929279" y="1023270"/>
                    <a:pt x="931241" y="1025181"/>
                    <a:pt x="933669" y="1025181"/>
                  </a:cubicBezTo>
                  <a:cubicBezTo>
                    <a:pt x="933669" y="1025181"/>
                    <a:pt x="933669" y="1025181"/>
                    <a:pt x="969979" y="1025181"/>
                  </a:cubicBezTo>
                  <a:cubicBezTo>
                    <a:pt x="972406" y="1025181"/>
                    <a:pt x="974368" y="1023270"/>
                    <a:pt x="974368" y="1020906"/>
                  </a:cubicBezTo>
                  <a:cubicBezTo>
                    <a:pt x="974368" y="1020906"/>
                    <a:pt x="974368" y="1020906"/>
                    <a:pt x="974368" y="987089"/>
                  </a:cubicBezTo>
                  <a:cubicBezTo>
                    <a:pt x="974368" y="984724"/>
                    <a:pt x="972406" y="982813"/>
                    <a:pt x="969979" y="982813"/>
                  </a:cubicBezTo>
                  <a:cubicBezTo>
                    <a:pt x="969979" y="982813"/>
                    <a:pt x="969979" y="982813"/>
                    <a:pt x="969411" y="982813"/>
                  </a:cubicBezTo>
                  <a:lnTo>
                    <a:pt x="969014" y="982813"/>
                  </a:lnTo>
                  <a:lnTo>
                    <a:pt x="968688" y="979577"/>
                  </a:lnTo>
                  <a:cubicBezTo>
                    <a:pt x="967083" y="971733"/>
                    <a:pt x="960142" y="965832"/>
                    <a:pt x="951823" y="965832"/>
                  </a:cubicBezTo>
                  <a:close/>
                  <a:moveTo>
                    <a:pt x="1074457" y="965832"/>
                  </a:moveTo>
                  <a:cubicBezTo>
                    <a:pt x="1066138" y="965832"/>
                    <a:pt x="1059198" y="971733"/>
                    <a:pt x="1057593" y="979577"/>
                  </a:cubicBezTo>
                  <a:lnTo>
                    <a:pt x="1057267" y="982813"/>
                  </a:lnTo>
                  <a:lnTo>
                    <a:pt x="1056302" y="982813"/>
                  </a:lnTo>
                  <a:cubicBezTo>
                    <a:pt x="1053875" y="982813"/>
                    <a:pt x="1051913" y="984724"/>
                    <a:pt x="1051913" y="987089"/>
                  </a:cubicBezTo>
                  <a:cubicBezTo>
                    <a:pt x="1051913" y="987089"/>
                    <a:pt x="1051913" y="987089"/>
                    <a:pt x="1051913" y="1020906"/>
                  </a:cubicBezTo>
                  <a:cubicBezTo>
                    <a:pt x="1051913" y="1023270"/>
                    <a:pt x="1053875" y="1025181"/>
                    <a:pt x="1056302" y="1025181"/>
                  </a:cubicBezTo>
                  <a:cubicBezTo>
                    <a:pt x="1056302" y="1025181"/>
                    <a:pt x="1056302" y="1025181"/>
                    <a:pt x="1092612" y="1025181"/>
                  </a:cubicBezTo>
                  <a:cubicBezTo>
                    <a:pt x="1095040" y="1025181"/>
                    <a:pt x="1097001" y="1023270"/>
                    <a:pt x="1097001" y="1020906"/>
                  </a:cubicBezTo>
                  <a:cubicBezTo>
                    <a:pt x="1097001" y="1020906"/>
                    <a:pt x="1097001" y="1020906"/>
                    <a:pt x="1097001" y="987089"/>
                  </a:cubicBezTo>
                  <a:cubicBezTo>
                    <a:pt x="1097001" y="984724"/>
                    <a:pt x="1095040" y="982813"/>
                    <a:pt x="1092612" y="982813"/>
                  </a:cubicBezTo>
                  <a:cubicBezTo>
                    <a:pt x="1092612" y="982813"/>
                    <a:pt x="1092612" y="982813"/>
                    <a:pt x="1092045" y="982813"/>
                  </a:cubicBezTo>
                  <a:lnTo>
                    <a:pt x="1091647" y="982813"/>
                  </a:lnTo>
                  <a:lnTo>
                    <a:pt x="1091321" y="979577"/>
                  </a:lnTo>
                  <a:cubicBezTo>
                    <a:pt x="1089716" y="971733"/>
                    <a:pt x="1082775" y="965832"/>
                    <a:pt x="1074457" y="965832"/>
                  </a:cubicBezTo>
                  <a:close/>
                  <a:moveTo>
                    <a:pt x="1360718" y="965832"/>
                  </a:moveTo>
                  <a:cubicBezTo>
                    <a:pt x="1352399" y="965832"/>
                    <a:pt x="1345459" y="971733"/>
                    <a:pt x="1343854" y="979577"/>
                  </a:cubicBezTo>
                  <a:lnTo>
                    <a:pt x="1343528" y="982813"/>
                  </a:lnTo>
                  <a:lnTo>
                    <a:pt x="1342563" y="982813"/>
                  </a:lnTo>
                  <a:cubicBezTo>
                    <a:pt x="1340136" y="982813"/>
                    <a:pt x="1338174" y="984724"/>
                    <a:pt x="1338174" y="987089"/>
                  </a:cubicBezTo>
                  <a:cubicBezTo>
                    <a:pt x="1338174" y="987089"/>
                    <a:pt x="1338174" y="987089"/>
                    <a:pt x="1338174" y="1020906"/>
                  </a:cubicBezTo>
                  <a:cubicBezTo>
                    <a:pt x="1338174" y="1023270"/>
                    <a:pt x="1340136" y="1025181"/>
                    <a:pt x="1342563" y="1025181"/>
                  </a:cubicBezTo>
                  <a:cubicBezTo>
                    <a:pt x="1342563" y="1025181"/>
                    <a:pt x="1342563" y="1025181"/>
                    <a:pt x="1378873" y="1025181"/>
                  </a:cubicBezTo>
                  <a:cubicBezTo>
                    <a:pt x="1381301" y="1025181"/>
                    <a:pt x="1383262" y="1023270"/>
                    <a:pt x="1383262" y="1020906"/>
                  </a:cubicBezTo>
                  <a:cubicBezTo>
                    <a:pt x="1383262" y="1020906"/>
                    <a:pt x="1383262" y="1020906"/>
                    <a:pt x="1383262" y="987089"/>
                  </a:cubicBezTo>
                  <a:cubicBezTo>
                    <a:pt x="1383262" y="984724"/>
                    <a:pt x="1381301" y="982813"/>
                    <a:pt x="1378873" y="982813"/>
                  </a:cubicBezTo>
                  <a:cubicBezTo>
                    <a:pt x="1378873" y="982813"/>
                    <a:pt x="1378873" y="982813"/>
                    <a:pt x="1378305" y="982813"/>
                  </a:cubicBezTo>
                  <a:lnTo>
                    <a:pt x="1377908" y="982813"/>
                  </a:lnTo>
                  <a:lnTo>
                    <a:pt x="1377582" y="979577"/>
                  </a:lnTo>
                  <a:cubicBezTo>
                    <a:pt x="1375977" y="971733"/>
                    <a:pt x="1369037" y="965832"/>
                    <a:pt x="1360718" y="965832"/>
                  </a:cubicBezTo>
                  <a:close/>
                  <a:moveTo>
                    <a:pt x="1362073" y="889884"/>
                  </a:moveTo>
                  <a:cubicBezTo>
                    <a:pt x="1361153" y="889884"/>
                    <a:pt x="1360234" y="889701"/>
                    <a:pt x="1359315" y="889884"/>
                  </a:cubicBezTo>
                  <a:cubicBezTo>
                    <a:pt x="1358027" y="890069"/>
                    <a:pt x="1356924" y="890620"/>
                    <a:pt x="1356188" y="891540"/>
                  </a:cubicBezTo>
                  <a:cubicBezTo>
                    <a:pt x="1355085" y="892643"/>
                    <a:pt x="1354534" y="894114"/>
                    <a:pt x="1354717" y="895769"/>
                  </a:cubicBezTo>
                  <a:cubicBezTo>
                    <a:pt x="1354717" y="895953"/>
                    <a:pt x="1354717" y="895953"/>
                    <a:pt x="1354717" y="896137"/>
                  </a:cubicBezTo>
                  <a:cubicBezTo>
                    <a:pt x="1354717" y="908090"/>
                    <a:pt x="1354717" y="920043"/>
                    <a:pt x="1354717" y="932180"/>
                  </a:cubicBezTo>
                  <a:cubicBezTo>
                    <a:pt x="1354717" y="932548"/>
                    <a:pt x="1354717" y="932548"/>
                    <a:pt x="1354349" y="932548"/>
                  </a:cubicBezTo>
                  <a:cubicBezTo>
                    <a:pt x="1352694" y="932548"/>
                    <a:pt x="1351039" y="932548"/>
                    <a:pt x="1349384" y="932548"/>
                  </a:cubicBezTo>
                  <a:cubicBezTo>
                    <a:pt x="1348465" y="932548"/>
                    <a:pt x="1347545" y="932916"/>
                    <a:pt x="1346626" y="933283"/>
                  </a:cubicBezTo>
                  <a:cubicBezTo>
                    <a:pt x="1344971" y="934387"/>
                    <a:pt x="1344051" y="935858"/>
                    <a:pt x="1344051" y="937881"/>
                  </a:cubicBezTo>
                  <a:cubicBezTo>
                    <a:pt x="1344051" y="939352"/>
                    <a:pt x="1344603" y="940823"/>
                    <a:pt x="1345890" y="941742"/>
                  </a:cubicBezTo>
                  <a:cubicBezTo>
                    <a:pt x="1346626" y="942294"/>
                    <a:pt x="1347545" y="942846"/>
                    <a:pt x="1348649" y="943030"/>
                  </a:cubicBezTo>
                  <a:cubicBezTo>
                    <a:pt x="1348649" y="943030"/>
                    <a:pt x="1348833" y="943030"/>
                    <a:pt x="1348833" y="943030"/>
                  </a:cubicBezTo>
                  <a:cubicBezTo>
                    <a:pt x="1348833" y="943030"/>
                    <a:pt x="1349016" y="943030"/>
                    <a:pt x="1349016" y="943030"/>
                  </a:cubicBezTo>
                  <a:cubicBezTo>
                    <a:pt x="1349016" y="942846"/>
                    <a:pt x="1349201" y="943030"/>
                    <a:pt x="1349384" y="943030"/>
                  </a:cubicBezTo>
                  <a:cubicBezTo>
                    <a:pt x="1356740" y="943030"/>
                    <a:pt x="1364096" y="943030"/>
                    <a:pt x="1371267" y="943030"/>
                  </a:cubicBezTo>
                  <a:cubicBezTo>
                    <a:pt x="1371452" y="943030"/>
                    <a:pt x="1371452" y="943030"/>
                    <a:pt x="1371635" y="943030"/>
                  </a:cubicBezTo>
                  <a:cubicBezTo>
                    <a:pt x="1371819" y="943030"/>
                    <a:pt x="1372003" y="943030"/>
                    <a:pt x="1372187" y="943030"/>
                  </a:cubicBezTo>
                  <a:cubicBezTo>
                    <a:pt x="1372371" y="942846"/>
                    <a:pt x="1372555" y="942846"/>
                    <a:pt x="1372739" y="942846"/>
                  </a:cubicBezTo>
                  <a:cubicBezTo>
                    <a:pt x="1373658" y="942662"/>
                    <a:pt x="1374394" y="942110"/>
                    <a:pt x="1375129" y="941559"/>
                  </a:cubicBezTo>
                  <a:cubicBezTo>
                    <a:pt x="1376233" y="940455"/>
                    <a:pt x="1376785" y="939168"/>
                    <a:pt x="1376785" y="937697"/>
                  </a:cubicBezTo>
                  <a:cubicBezTo>
                    <a:pt x="1376785" y="936410"/>
                    <a:pt x="1376417" y="935123"/>
                    <a:pt x="1375314" y="934203"/>
                  </a:cubicBezTo>
                  <a:cubicBezTo>
                    <a:pt x="1374210" y="933100"/>
                    <a:pt x="1372923" y="932548"/>
                    <a:pt x="1371452" y="932548"/>
                  </a:cubicBezTo>
                  <a:cubicBezTo>
                    <a:pt x="1369613" y="932548"/>
                    <a:pt x="1367774" y="932548"/>
                    <a:pt x="1366119" y="932548"/>
                  </a:cubicBezTo>
                  <a:cubicBezTo>
                    <a:pt x="1365935" y="932548"/>
                    <a:pt x="1365751" y="932548"/>
                    <a:pt x="1365751" y="932180"/>
                  </a:cubicBezTo>
                  <a:cubicBezTo>
                    <a:pt x="1365751" y="921698"/>
                    <a:pt x="1365751" y="911400"/>
                    <a:pt x="1365751" y="900918"/>
                  </a:cubicBezTo>
                  <a:cubicBezTo>
                    <a:pt x="1365751" y="900734"/>
                    <a:pt x="1365751" y="900550"/>
                    <a:pt x="1366119" y="900550"/>
                  </a:cubicBezTo>
                  <a:cubicBezTo>
                    <a:pt x="1367406" y="900550"/>
                    <a:pt x="1368877" y="900550"/>
                    <a:pt x="1370164" y="900550"/>
                  </a:cubicBezTo>
                  <a:cubicBezTo>
                    <a:pt x="1372371" y="900550"/>
                    <a:pt x="1374026" y="899447"/>
                    <a:pt x="1375129" y="897424"/>
                  </a:cubicBezTo>
                  <a:cubicBezTo>
                    <a:pt x="1375681" y="896321"/>
                    <a:pt x="1375681" y="895034"/>
                    <a:pt x="1375314" y="893563"/>
                  </a:cubicBezTo>
                  <a:cubicBezTo>
                    <a:pt x="1374578" y="891540"/>
                    <a:pt x="1372555" y="890069"/>
                    <a:pt x="1370348" y="890069"/>
                  </a:cubicBezTo>
                  <a:cubicBezTo>
                    <a:pt x="1367590" y="890069"/>
                    <a:pt x="1364831" y="889884"/>
                    <a:pt x="1362073" y="889884"/>
                  </a:cubicBezTo>
                  <a:close/>
                  <a:moveTo>
                    <a:pt x="1357935" y="828626"/>
                  </a:moveTo>
                  <a:cubicBezTo>
                    <a:pt x="1360777" y="827707"/>
                    <a:pt x="1363452" y="828442"/>
                    <a:pt x="1365792" y="830281"/>
                  </a:cubicBezTo>
                  <a:cubicBezTo>
                    <a:pt x="1366628" y="831017"/>
                    <a:pt x="1367297" y="831752"/>
                    <a:pt x="1367965" y="832672"/>
                  </a:cubicBezTo>
                  <a:cubicBezTo>
                    <a:pt x="1368467" y="833408"/>
                    <a:pt x="1368969" y="834327"/>
                    <a:pt x="1369471" y="835247"/>
                  </a:cubicBezTo>
                  <a:cubicBezTo>
                    <a:pt x="1369804" y="835798"/>
                    <a:pt x="1369972" y="836534"/>
                    <a:pt x="1370139" y="837085"/>
                  </a:cubicBezTo>
                  <a:cubicBezTo>
                    <a:pt x="1370474" y="838005"/>
                    <a:pt x="1370640" y="838924"/>
                    <a:pt x="1370808" y="839844"/>
                  </a:cubicBezTo>
                  <a:cubicBezTo>
                    <a:pt x="1371309" y="841315"/>
                    <a:pt x="1371476" y="842786"/>
                    <a:pt x="1371476" y="844625"/>
                  </a:cubicBezTo>
                  <a:cubicBezTo>
                    <a:pt x="1371476" y="846096"/>
                    <a:pt x="1371309" y="847751"/>
                    <a:pt x="1370808" y="849590"/>
                  </a:cubicBezTo>
                  <a:cubicBezTo>
                    <a:pt x="1370474" y="850510"/>
                    <a:pt x="1370306" y="851245"/>
                    <a:pt x="1369972" y="852164"/>
                  </a:cubicBezTo>
                  <a:cubicBezTo>
                    <a:pt x="1369637" y="853268"/>
                    <a:pt x="1369136" y="854188"/>
                    <a:pt x="1368467" y="855107"/>
                  </a:cubicBezTo>
                  <a:cubicBezTo>
                    <a:pt x="1367799" y="856211"/>
                    <a:pt x="1366963" y="857130"/>
                    <a:pt x="1366127" y="858050"/>
                  </a:cubicBezTo>
                  <a:cubicBezTo>
                    <a:pt x="1365291" y="858785"/>
                    <a:pt x="1364288" y="859521"/>
                    <a:pt x="1363117" y="859888"/>
                  </a:cubicBezTo>
                  <a:cubicBezTo>
                    <a:pt x="1360109" y="860992"/>
                    <a:pt x="1357266" y="860440"/>
                    <a:pt x="1354759" y="858233"/>
                  </a:cubicBezTo>
                  <a:cubicBezTo>
                    <a:pt x="1353923" y="857497"/>
                    <a:pt x="1353254" y="856762"/>
                    <a:pt x="1352585" y="855843"/>
                  </a:cubicBezTo>
                  <a:cubicBezTo>
                    <a:pt x="1351916" y="854923"/>
                    <a:pt x="1351415" y="854003"/>
                    <a:pt x="1350913" y="852900"/>
                  </a:cubicBezTo>
                  <a:cubicBezTo>
                    <a:pt x="1350747" y="852349"/>
                    <a:pt x="1350579" y="851797"/>
                    <a:pt x="1350245" y="851429"/>
                  </a:cubicBezTo>
                  <a:cubicBezTo>
                    <a:pt x="1349911" y="850510"/>
                    <a:pt x="1349576" y="849590"/>
                    <a:pt x="1349409" y="848487"/>
                  </a:cubicBezTo>
                  <a:cubicBezTo>
                    <a:pt x="1348907" y="845360"/>
                    <a:pt x="1348907" y="842235"/>
                    <a:pt x="1349743" y="839108"/>
                  </a:cubicBezTo>
                  <a:cubicBezTo>
                    <a:pt x="1349911" y="838373"/>
                    <a:pt x="1350078" y="837637"/>
                    <a:pt x="1350412" y="837085"/>
                  </a:cubicBezTo>
                  <a:cubicBezTo>
                    <a:pt x="1350747" y="836350"/>
                    <a:pt x="1350913" y="835614"/>
                    <a:pt x="1351248" y="835063"/>
                  </a:cubicBezTo>
                  <a:cubicBezTo>
                    <a:pt x="1351750" y="834327"/>
                    <a:pt x="1352084" y="833408"/>
                    <a:pt x="1352752" y="832672"/>
                  </a:cubicBezTo>
                  <a:cubicBezTo>
                    <a:pt x="1353421" y="831752"/>
                    <a:pt x="1354257" y="830833"/>
                    <a:pt x="1355260" y="830098"/>
                  </a:cubicBezTo>
                  <a:cubicBezTo>
                    <a:pt x="1356096" y="829546"/>
                    <a:pt x="1356932" y="828994"/>
                    <a:pt x="1357935" y="828626"/>
                  </a:cubicBezTo>
                  <a:close/>
                  <a:moveTo>
                    <a:pt x="1361613" y="817776"/>
                  </a:moveTo>
                  <a:cubicBezTo>
                    <a:pt x="1358771" y="817593"/>
                    <a:pt x="1355929" y="818144"/>
                    <a:pt x="1353254" y="819248"/>
                  </a:cubicBezTo>
                  <a:cubicBezTo>
                    <a:pt x="1351415" y="819983"/>
                    <a:pt x="1349743" y="821087"/>
                    <a:pt x="1348239" y="822374"/>
                  </a:cubicBezTo>
                  <a:cubicBezTo>
                    <a:pt x="1347403" y="823109"/>
                    <a:pt x="1346734" y="823845"/>
                    <a:pt x="1345898" y="824580"/>
                  </a:cubicBezTo>
                  <a:cubicBezTo>
                    <a:pt x="1345062" y="825500"/>
                    <a:pt x="1344226" y="826604"/>
                    <a:pt x="1343558" y="827523"/>
                  </a:cubicBezTo>
                  <a:cubicBezTo>
                    <a:pt x="1343056" y="828259"/>
                    <a:pt x="1342554" y="829178"/>
                    <a:pt x="1342220" y="829913"/>
                  </a:cubicBezTo>
                  <a:cubicBezTo>
                    <a:pt x="1341551" y="831017"/>
                    <a:pt x="1341050" y="832304"/>
                    <a:pt x="1340716" y="833591"/>
                  </a:cubicBezTo>
                  <a:cubicBezTo>
                    <a:pt x="1340381" y="834327"/>
                    <a:pt x="1340214" y="835247"/>
                    <a:pt x="1340047" y="835982"/>
                  </a:cubicBezTo>
                  <a:cubicBezTo>
                    <a:pt x="1339713" y="837085"/>
                    <a:pt x="1339545" y="838373"/>
                    <a:pt x="1339378" y="839476"/>
                  </a:cubicBezTo>
                  <a:cubicBezTo>
                    <a:pt x="1338877" y="842786"/>
                    <a:pt x="1338877" y="846096"/>
                    <a:pt x="1339545" y="849222"/>
                  </a:cubicBezTo>
                  <a:cubicBezTo>
                    <a:pt x="1339713" y="850326"/>
                    <a:pt x="1339879" y="851429"/>
                    <a:pt x="1340214" y="852532"/>
                  </a:cubicBezTo>
                  <a:cubicBezTo>
                    <a:pt x="1340549" y="853452"/>
                    <a:pt x="1340716" y="854188"/>
                    <a:pt x="1341050" y="855107"/>
                  </a:cubicBezTo>
                  <a:cubicBezTo>
                    <a:pt x="1341385" y="855659"/>
                    <a:pt x="1341551" y="856211"/>
                    <a:pt x="1341719" y="856762"/>
                  </a:cubicBezTo>
                  <a:cubicBezTo>
                    <a:pt x="1342220" y="857865"/>
                    <a:pt x="1342722" y="858785"/>
                    <a:pt x="1343223" y="859704"/>
                  </a:cubicBezTo>
                  <a:cubicBezTo>
                    <a:pt x="1343725" y="860440"/>
                    <a:pt x="1344226" y="861175"/>
                    <a:pt x="1344728" y="861911"/>
                  </a:cubicBezTo>
                  <a:cubicBezTo>
                    <a:pt x="1345397" y="862831"/>
                    <a:pt x="1346233" y="863750"/>
                    <a:pt x="1347068" y="864486"/>
                  </a:cubicBezTo>
                  <a:cubicBezTo>
                    <a:pt x="1347737" y="865221"/>
                    <a:pt x="1348573" y="865773"/>
                    <a:pt x="1349241" y="866325"/>
                  </a:cubicBezTo>
                  <a:cubicBezTo>
                    <a:pt x="1350412" y="867244"/>
                    <a:pt x="1351750" y="867979"/>
                    <a:pt x="1353087" y="868531"/>
                  </a:cubicBezTo>
                  <a:cubicBezTo>
                    <a:pt x="1354759" y="869267"/>
                    <a:pt x="1356598" y="869819"/>
                    <a:pt x="1358437" y="870002"/>
                  </a:cubicBezTo>
                  <a:cubicBezTo>
                    <a:pt x="1358771" y="870002"/>
                    <a:pt x="1358938" y="870002"/>
                    <a:pt x="1359273" y="870186"/>
                  </a:cubicBezTo>
                  <a:cubicBezTo>
                    <a:pt x="1360275" y="870186"/>
                    <a:pt x="1361112" y="870186"/>
                    <a:pt x="1362114" y="870186"/>
                  </a:cubicBezTo>
                  <a:cubicBezTo>
                    <a:pt x="1362114" y="870002"/>
                    <a:pt x="1362282" y="870186"/>
                    <a:pt x="1362282" y="870186"/>
                  </a:cubicBezTo>
                  <a:cubicBezTo>
                    <a:pt x="1365458" y="869819"/>
                    <a:pt x="1368467" y="868715"/>
                    <a:pt x="1371142" y="866876"/>
                  </a:cubicBezTo>
                  <a:cubicBezTo>
                    <a:pt x="1372312" y="866140"/>
                    <a:pt x="1373315" y="865221"/>
                    <a:pt x="1374318" y="864118"/>
                  </a:cubicBezTo>
                  <a:cubicBezTo>
                    <a:pt x="1375154" y="863382"/>
                    <a:pt x="1375823" y="862463"/>
                    <a:pt x="1376491" y="861543"/>
                  </a:cubicBezTo>
                  <a:cubicBezTo>
                    <a:pt x="1376993" y="860807"/>
                    <a:pt x="1377495" y="860072"/>
                    <a:pt x="1377997" y="859153"/>
                  </a:cubicBezTo>
                  <a:cubicBezTo>
                    <a:pt x="1378498" y="858233"/>
                    <a:pt x="1378999" y="857314"/>
                    <a:pt x="1379501" y="856211"/>
                  </a:cubicBezTo>
                  <a:cubicBezTo>
                    <a:pt x="1379836" y="855475"/>
                    <a:pt x="1380002" y="854923"/>
                    <a:pt x="1380337" y="854188"/>
                  </a:cubicBezTo>
                  <a:cubicBezTo>
                    <a:pt x="1380671" y="853452"/>
                    <a:pt x="1380838" y="852716"/>
                    <a:pt x="1381006" y="851981"/>
                  </a:cubicBezTo>
                  <a:cubicBezTo>
                    <a:pt x="1381340" y="850693"/>
                    <a:pt x="1381507" y="849406"/>
                    <a:pt x="1381841" y="848119"/>
                  </a:cubicBezTo>
                  <a:cubicBezTo>
                    <a:pt x="1382009" y="847384"/>
                    <a:pt x="1382009" y="846832"/>
                    <a:pt x="1382009" y="846096"/>
                  </a:cubicBezTo>
                  <a:cubicBezTo>
                    <a:pt x="1381841" y="846648"/>
                    <a:pt x="1381674" y="846464"/>
                    <a:pt x="1381841" y="846280"/>
                  </a:cubicBezTo>
                  <a:cubicBezTo>
                    <a:pt x="1381841" y="844993"/>
                    <a:pt x="1381841" y="843706"/>
                    <a:pt x="1381841" y="842418"/>
                  </a:cubicBezTo>
                  <a:cubicBezTo>
                    <a:pt x="1381841" y="842418"/>
                    <a:pt x="1381841" y="842418"/>
                    <a:pt x="1381841" y="842235"/>
                  </a:cubicBezTo>
                  <a:cubicBezTo>
                    <a:pt x="1381841" y="841131"/>
                    <a:pt x="1381674" y="840212"/>
                    <a:pt x="1381507" y="839108"/>
                  </a:cubicBezTo>
                  <a:cubicBezTo>
                    <a:pt x="1381173" y="837821"/>
                    <a:pt x="1381173" y="836534"/>
                    <a:pt x="1380671" y="835431"/>
                  </a:cubicBezTo>
                  <a:cubicBezTo>
                    <a:pt x="1380337" y="834695"/>
                    <a:pt x="1380170" y="833959"/>
                    <a:pt x="1380002" y="833223"/>
                  </a:cubicBezTo>
                  <a:cubicBezTo>
                    <a:pt x="1379501" y="832120"/>
                    <a:pt x="1378999" y="830833"/>
                    <a:pt x="1378498" y="829730"/>
                  </a:cubicBezTo>
                  <a:cubicBezTo>
                    <a:pt x="1377997" y="828810"/>
                    <a:pt x="1377495" y="828075"/>
                    <a:pt x="1376993" y="827155"/>
                  </a:cubicBezTo>
                  <a:cubicBezTo>
                    <a:pt x="1376491" y="826419"/>
                    <a:pt x="1375990" y="825684"/>
                    <a:pt x="1375489" y="825132"/>
                  </a:cubicBezTo>
                  <a:cubicBezTo>
                    <a:pt x="1374987" y="824580"/>
                    <a:pt x="1374486" y="824029"/>
                    <a:pt x="1373984" y="823477"/>
                  </a:cubicBezTo>
                  <a:cubicBezTo>
                    <a:pt x="1372981" y="822558"/>
                    <a:pt x="1371978" y="821638"/>
                    <a:pt x="1370808" y="820903"/>
                  </a:cubicBezTo>
                  <a:cubicBezTo>
                    <a:pt x="1369972" y="820351"/>
                    <a:pt x="1368969" y="819800"/>
                    <a:pt x="1368133" y="819432"/>
                  </a:cubicBezTo>
                  <a:cubicBezTo>
                    <a:pt x="1366127" y="818512"/>
                    <a:pt x="1363953" y="817961"/>
                    <a:pt x="1361613" y="817776"/>
                  </a:cubicBezTo>
                  <a:close/>
                  <a:moveTo>
                    <a:pt x="1357935" y="756567"/>
                  </a:moveTo>
                  <a:cubicBezTo>
                    <a:pt x="1360777" y="755647"/>
                    <a:pt x="1363452" y="756382"/>
                    <a:pt x="1365792" y="758222"/>
                  </a:cubicBezTo>
                  <a:cubicBezTo>
                    <a:pt x="1366628" y="758957"/>
                    <a:pt x="1367297" y="759693"/>
                    <a:pt x="1367965" y="760612"/>
                  </a:cubicBezTo>
                  <a:cubicBezTo>
                    <a:pt x="1368467" y="761348"/>
                    <a:pt x="1368969" y="762267"/>
                    <a:pt x="1369471" y="763187"/>
                  </a:cubicBezTo>
                  <a:cubicBezTo>
                    <a:pt x="1369804" y="763739"/>
                    <a:pt x="1369972" y="764474"/>
                    <a:pt x="1370139" y="765026"/>
                  </a:cubicBezTo>
                  <a:cubicBezTo>
                    <a:pt x="1370474" y="765945"/>
                    <a:pt x="1370640" y="766865"/>
                    <a:pt x="1370808" y="767784"/>
                  </a:cubicBezTo>
                  <a:cubicBezTo>
                    <a:pt x="1371309" y="769255"/>
                    <a:pt x="1371476" y="770726"/>
                    <a:pt x="1371476" y="772565"/>
                  </a:cubicBezTo>
                  <a:cubicBezTo>
                    <a:pt x="1371476" y="774037"/>
                    <a:pt x="1371309" y="775691"/>
                    <a:pt x="1370808" y="777530"/>
                  </a:cubicBezTo>
                  <a:cubicBezTo>
                    <a:pt x="1370474" y="778450"/>
                    <a:pt x="1370306" y="779185"/>
                    <a:pt x="1369972" y="780105"/>
                  </a:cubicBezTo>
                  <a:cubicBezTo>
                    <a:pt x="1369637" y="781209"/>
                    <a:pt x="1369136" y="782128"/>
                    <a:pt x="1368467" y="783048"/>
                  </a:cubicBezTo>
                  <a:cubicBezTo>
                    <a:pt x="1367799" y="784151"/>
                    <a:pt x="1366963" y="785070"/>
                    <a:pt x="1366127" y="785990"/>
                  </a:cubicBezTo>
                  <a:cubicBezTo>
                    <a:pt x="1365291" y="786725"/>
                    <a:pt x="1364288" y="787461"/>
                    <a:pt x="1363117" y="787828"/>
                  </a:cubicBezTo>
                  <a:cubicBezTo>
                    <a:pt x="1360109" y="788932"/>
                    <a:pt x="1357266" y="788380"/>
                    <a:pt x="1354759" y="786173"/>
                  </a:cubicBezTo>
                  <a:cubicBezTo>
                    <a:pt x="1353923" y="785438"/>
                    <a:pt x="1353254" y="784702"/>
                    <a:pt x="1352585" y="783783"/>
                  </a:cubicBezTo>
                  <a:cubicBezTo>
                    <a:pt x="1351916" y="782863"/>
                    <a:pt x="1351415" y="781944"/>
                    <a:pt x="1350913" y="780841"/>
                  </a:cubicBezTo>
                  <a:cubicBezTo>
                    <a:pt x="1350747" y="780289"/>
                    <a:pt x="1350579" y="779737"/>
                    <a:pt x="1350245" y="779369"/>
                  </a:cubicBezTo>
                  <a:cubicBezTo>
                    <a:pt x="1349911" y="778450"/>
                    <a:pt x="1349576" y="777530"/>
                    <a:pt x="1349409" y="776427"/>
                  </a:cubicBezTo>
                  <a:cubicBezTo>
                    <a:pt x="1348907" y="773301"/>
                    <a:pt x="1348907" y="770175"/>
                    <a:pt x="1349743" y="767048"/>
                  </a:cubicBezTo>
                  <a:cubicBezTo>
                    <a:pt x="1349911" y="766313"/>
                    <a:pt x="1350078" y="765577"/>
                    <a:pt x="1350412" y="765026"/>
                  </a:cubicBezTo>
                  <a:cubicBezTo>
                    <a:pt x="1350747" y="764290"/>
                    <a:pt x="1350913" y="763554"/>
                    <a:pt x="1351248" y="763003"/>
                  </a:cubicBezTo>
                  <a:cubicBezTo>
                    <a:pt x="1351750" y="762267"/>
                    <a:pt x="1352084" y="761348"/>
                    <a:pt x="1352752" y="760612"/>
                  </a:cubicBezTo>
                  <a:cubicBezTo>
                    <a:pt x="1353421" y="759693"/>
                    <a:pt x="1354257" y="758773"/>
                    <a:pt x="1355260" y="758038"/>
                  </a:cubicBezTo>
                  <a:cubicBezTo>
                    <a:pt x="1356096" y="757486"/>
                    <a:pt x="1356932" y="756935"/>
                    <a:pt x="1357935" y="756567"/>
                  </a:cubicBezTo>
                  <a:close/>
                  <a:moveTo>
                    <a:pt x="1361613" y="745717"/>
                  </a:moveTo>
                  <a:cubicBezTo>
                    <a:pt x="1358771" y="745533"/>
                    <a:pt x="1355929" y="746085"/>
                    <a:pt x="1353254" y="747188"/>
                  </a:cubicBezTo>
                  <a:cubicBezTo>
                    <a:pt x="1351415" y="747924"/>
                    <a:pt x="1349743" y="749027"/>
                    <a:pt x="1348239" y="750314"/>
                  </a:cubicBezTo>
                  <a:cubicBezTo>
                    <a:pt x="1347403" y="751050"/>
                    <a:pt x="1346734" y="751785"/>
                    <a:pt x="1345898" y="752521"/>
                  </a:cubicBezTo>
                  <a:cubicBezTo>
                    <a:pt x="1345062" y="753440"/>
                    <a:pt x="1344226" y="754544"/>
                    <a:pt x="1343558" y="755464"/>
                  </a:cubicBezTo>
                  <a:cubicBezTo>
                    <a:pt x="1343056" y="756199"/>
                    <a:pt x="1342554" y="757118"/>
                    <a:pt x="1342220" y="757854"/>
                  </a:cubicBezTo>
                  <a:cubicBezTo>
                    <a:pt x="1341551" y="758957"/>
                    <a:pt x="1341050" y="760244"/>
                    <a:pt x="1340716" y="761532"/>
                  </a:cubicBezTo>
                  <a:cubicBezTo>
                    <a:pt x="1340381" y="762267"/>
                    <a:pt x="1340214" y="763187"/>
                    <a:pt x="1340047" y="763922"/>
                  </a:cubicBezTo>
                  <a:cubicBezTo>
                    <a:pt x="1339713" y="765026"/>
                    <a:pt x="1339545" y="766313"/>
                    <a:pt x="1339378" y="767416"/>
                  </a:cubicBezTo>
                  <a:cubicBezTo>
                    <a:pt x="1338877" y="770726"/>
                    <a:pt x="1338877" y="774037"/>
                    <a:pt x="1339545" y="777162"/>
                  </a:cubicBezTo>
                  <a:cubicBezTo>
                    <a:pt x="1339713" y="778266"/>
                    <a:pt x="1339879" y="779369"/>
                    <a:pt x="1340214" y="780473"/>
                  </a:cubicBezTo>
                  <a:cubicBezTo>
                    <a:pt x="1340549" y="781392"/>
                    <a:pt x="1340716" y="782128"/>
                    <a:pt x="1341050" y="783048"/>
                  </a:cubicBezTo>
                  <a:cubicBezTo>
                    <a:pt x="1341385" y="783599"/>
                    <a:pt x="1341551" y="784151"/>
                    <a:pt x="1341719" y="784702"/>
                  </a:cubicBezTo>
                  <a:cubicBezTo>
                    <a:pt x="1342220" y="785806"/>
                    <a:pt x="1342722" y="786725"/>
                    <a:pt x="1343223" y="787645"/>
                  </a:cubicBezTo>
                  <a:cubicBezTo>
                    <a:pt x="1343725" y="788380"/>
                    <a:pt x="1344226" y="789116"/>
                    <a:pt x="1344728" y="789851"/>
                  </a:cubicBezTo>
                  <a:cubicBezTo>
                    <a:pt x="1345397" y="790771"/>
                    <a:pt x="1346233" y="791690"/>
                    <a:pt x="1347068" y="792426"/>
                  </a:cubicBezTo>
                  <a:cubicBezTo>
                    <a:pt x="1347737" y="793161"/>
                    <a:pt x="1348573" y="793713"/>
                    <a:pt x="1349241" y="794265"/>
                  </a:cubicBezTo>
                  <a:cubicBezTo>
                    <a:pt x="1350412" y="795185"/>
                    <a:pt x="1351750" y="795920"/>
                    <a:pt x="1353087" y="796471"/>
                  </a:cubicBezTo>
                  <a:cubicBezTo>
                    <a:pt x="1354759" y="797207"/>
                    <a:pt x="1356598" y="797759"/>
                    <a:pt x="1358437" y="797942"/>
                  </a:cubicBezTo>
                  <a:cubicBezTo>
                    <a:pt x="1358771" y="797942"/>
                    <a:pt x="1358938" y="797942"/>
                    <a:pt x="1359273" y="798127"/>
                  </a:cubicBezTo>
                  <a:cubicBezTo>
                    <a:pt x="1360275" y="798127"/>
                    <a:pt x="1361112" y="798127"/>
                    <a:pt x="1362114" y="798127"/>
                  </a:cubicBezTo>
                  <a:cubicBezTo>
                    <a:pt x="1362114" y="797942"/>
                    <a:pt x="1362282" y="798127"/>
                    <a:pt x="1362282" y="798127"/>
                  </a:cubicBezTo>
                  <a:cubicBezTo>
                    <a:pt x="1365458" y="797759"/>
                    <a:pt x="1368467" y="796656"/>
                    <a:pt x="1371142" y="794817"/>
                  </a:cubicBezTo>
                  <a:cubicBezTo>
                    <a:pt x="1372312" y="794081"/>
                    <a:pt x="1373315" y="793161"/>
                    <a:pt x="1374318" y="792058"/>
                  </a:cubicBezTo>
                  <a:cubicBezTo>
                    <a:pt x="1375154" y="791323"/>
                    <a:pt x="1375823" y="790403"/>
                    <a:pt x="1376492" y="789484"/>
                  </a:cubicBezTo>
                  <a:cubicBezTo>
                    <a:pt x="1376993" y="788748"/>
                    <a:pt x="1377495" y="788013"/>
                    <a:pt x="1377997" y="787093"/>
                  </a:cubicBezTo>
                  <a:cubicBezTo>
                    <a:pt x="1378498" y="786173"/>
                    <a:pt x="1378999" y="785254"/>
                    <a:pt x="1379501" y="784151"/>
                  </a:cubicBezTo>
                  <a:cubicBezTo>
                    <a:pt x="1379836" y="783415"/>
                    <a:pt x="1380002" y="782863"/>
                    <a:pt x="1380337" y="782128"/>
                  </a:cubicBezTo>
                  <a:cubicBezTo>
                    <a:pt x="1380672" y="781392"/>
                    <a:pt x="1380838" y="780656"/>
                    <a:pt x="1381006" y="779921"/>
                  </a:cubicBezTo>
                  <a:cubicBezTo>
                    <a:pt x="1381340" y="778634"/>
                    <a:pt x="1381507" y="777347"/>
                    <a:pt x="1381841" y="776059"/>
                  </a:cubicBezTo>
                  <a:cubicBezTo>
                    <a:pt x="1382009" y="775324"/>
                    <a:pt x="1382009" y="774772"/>
                    <a:pt x="1382009" y="774037"/>
                  </a:cubicBezTo>
                  <a:cubicBezTo>
                    <a:pt x="1381841" y="774588"/>
                    <a:pt x="1381674" y="774405"/>
                    <a:pt x="1381841" y="774220"/>
                  </a:cubicBezTo>
                  <a:cubicBezTo>
                    <a:pt x="1381841" y="772933"/>
                    <a:pt x="1381841" y="771646"/>
                    <a:pt x="1381841" y="770358"/>
                  </a:cubicBezTo>
                  <a:cubicBezTo>
                    <a:pt x="1381841" y="770358"/>
                    <a:pt x="1381841" y="770358"/>
                    <a:pt x="1381841" y="770175"/>
                  </a:cubicBezTo>
                  <a:cubicBezTo>
                    <a:pt x="1381841" y="769072"/>
                    <a:pt x="1381674" y="768152"/>
                    <a:pt x="1381507" y="767048"/>
                  </a:cubicBezTo>
                  <a:cubicBezTo>
                    <a:pt x="1381173" y="765761"/>
                    <a:pt x="1381173" y="764474"/>
                    <a:pt x="1380672" y="763371"/>
                  </a:cubicBezTo>
                  <a:cubicBezTo>
                    <a:pt x="1380337" y="762635"/>
                    <a:pt x="1380170" y="761900"/>
                    <a:pt x="1380002" y="761164"/>
                  </a:cubicBezTo>
                  <a:cubicBezTo>
                    <a:pt x="1379501" y="760061"/>
                    <a:pt x="1378999" y="758773"/>
                    <a:pt x="1378498" y="757670"/>
                  </a:cubicBezTo>
                  <a:cubicBezTo>
                    <a:pt x="1377997" y="756750"/>
                    <a:pt x="1377495" y="756015"/>
                    <a:pt x="1376993" y="755096"/>
                  </a:cubicBezTo>
                  <a:cubicBezTo>
                    <a:pt x="1376492" y="754360"/>
                    <a:pt x="1375990" y="753625"/>
                    <a:pt x="1375489" y="753072"/>
                  </a:cubicBezTo>
                  <a:cubicBezTo>
                    <a:pt x="1374987" y="752521"/>
                    <a:pt x="1374486" y="751969"/>
                    <a:pt x="1373984" y="751418"/>
                  </a:cubicBezTo>
                  <a:cubicBezTo>
                    <a:pt x="1372981" y="750498"/>
                    <a:pt x="1371978" y="749578"/>
                    <a:pt x="1370808" y="748843"/>
                  </a:cubicBezTo>
                  <a:cubicBezTo>
                    <a:pt x="1369972" y="748292"/>
                    <a:pt x="1368969" y="747740"/>
                    <a:pt x="1368133" y="747372"/>
                  </a:cubicBezTo>
                  <a:cubicBezTo>
                    <a:pt x="1366127" y="746453"/>
                    <a:pt x="1363953" y="745901"/>
                    <a:pt x="1361613" y="745717"/>
                  </a:cubicBezTo>
                  <a:close/>
                  <a:moveTo>
                    <a:pt x="1362073" y="673704"/>
                  </a:moveTo>
                  <a:cubicBezTo>
                    <a:pt x="1361154" y="673704"/>
                    <a:pt x="1360234" y="673520"/>
                    <a:pt x="1359315" y="673704"/>
                  </a:cubicBezTo>
                  <a:cubicBezTo>
                    <a:pt x="1358027" y="673888"/>
                    <a:pt x="1356924" y="674440"/>
                    <a:pt x="1356188" y="675359"/>
                  </a:cubicBezTo>
                  <a:cubicBezTo>
                    <a:pt x="1355085" y="676462"/>
                    <a:pt x="1354534" y="677934"/>
                    <a:pt x="1354717" y="679588"/>
                  </a:cubicBezTo>
                  <a:cubicBezTo>
                    <a:pt x="1354717" y="679773"/>
                    <a:pt x="1354717" y="679773"/>
                    <a:pt x="1354717" y="679956"/>
                  </a:cubicBezTo>
                  <a:cubicBezTo>
                    <a:pt x="1354717" y="691910"/>
                    <a:pt x="1354717" y="703863"/>
                    <a:pt x="1354717" y="716000"/>
                  </a:cubicBezTo>
                  <a:cubicBezTo>
                    <a:pt x="1354717" y="716367"/>
                    <a:pt x="1354717" y="716367"/>
                    <a:pt x="1354349" y="716367"/>
                  </a:cubicBezTo>
                  <a:cubicBezTo>
                    <a:pt x="1352694" y="716367"/>
                    <a:pt x="1351040" y="716367"/>
                    <a:pt x="1349384" y="716367"/>
                  </a:cubicBezTo>
                  <a:cubicBezTo>
                    <a:pt x="1348465" y="716367"/>
                    <a:pt x="1347546" y="716735"/>
                    <a:pt x="1346626" y="717103"/>
                  </a:cubicBezTo>
                  <a:cubicBezTo>
                    <a:pt x="1344971" y="718206"/>
                    <a:pt x="1344051" y="719677"/>
                    <a:pt x="1344051" y="721701"/>
                  </a:cubicBezTo>
                  <a:cubicBezTo>
                    <a:pt x="1344051" y="723172"/>
                    <a:pt x="1344603" y="724643"/>
                    <a:pt x="1345890" y="725562"/>
                  </a:cubicBezTo>
                  <a:cubicBezTo>
                    <a:pt x="1346626" y="726114"/>
                    <a:pt x="1347546" y="726666"/>
                    <a:pt x="1348649" y="726849"/>
                  </a:cubicBezTo>
                  <a:cubicBezTo>
                    <a:pt x="1348649" y="726849"/>
                    <a:pt x="1348833" y="726849"/>
                    <a:pt x="1348833" y="726849"/>
                  </a:cubicBezTo>
                  <a:cubicBezTo>
                    <a:pt x="1348833" y="726849"/>
                    <a:pt x="1349017" y="726849"/>
                    <a:pt x="1349017" y="726849"/>
                  </a:cubicBezTo>
                  <a:cubicBezTo>
                    <a:pt x="1349017" y="726666"/>
                    <a:pt x="1349201" y="726849"/>
                    <a:pt x="1349384" y="726849"/>
                  </a:cubicBezTo>
                  <a:cubicBezTo>
                    <a:pt x="1356740" y="726849"/>
                    <a:pt x="1364096" y="726849"/>
                    <a:pt x="1371267" y="726849"/>
                  </a:cubicBezTo>
                  <a:cubicBezTo>
                    <a:pt x="1371452" y="726849"/>
                    <a:pt x="1371452" y="726849"/>
                    <a:pt x="1371635" y="726849"/>
                  </a:cubicBezTo>
                  <a:cubicBezTo>
                    <a:pt x="1371820" y="726849"/>
                    <a:pt x="1372003" y="726849"/>
                    <a:pt x="1372187" y="726849"/>
                  </a:cubicBezTo>
                  <a:cubicBezTo>
                    <a:pt x="1372371" y="726666"/>
                    <a:pt x="1372555" y="726666"/>
                    <a:pt x="1372739" y="726666"/>
                  </a:cubicBezTo>
                  <a:cubicBezTo>
                    <a:pt x="1373658" y="726481"/>
                    <a:pt x="1374394" y="725930"/>
                    <a:pt x="1375129" y="725378"/>
                  </a:cubicBezTo>
                  <a:cubicBezTo>
                    <a:pt x="1376233" y="724275"/>
                    <a:pt x="1376785" y="722987"/>
                    <a:pt x="1376785" y="721516"/>
                  </a:cubicBezTo>
                  <a:cubicBezTo>
                    <a:pt x="1376785" y="720229"/>
                    <a:pt x="1376417" y="718942"/>
                    <a:pt x="1375314" y="718022"/>
                  </a:cubicBezTo>
                  <a:cubicBezTo>
                    <a:pt x="1374210" y="716919"/>
                    <a:pt x="1372923" y="716367"/>
                    <a:pt x="1371452" y="716367"/>
                  </a:cubicBezTo>
                  <a:cubicBezTo>
                    <a:pt x="1369613" y="716367"/>
                    <a:pt x="1367774" y="716367"/>
                    <a:pt x="1366119" y="716367"/>
                  </a:cubicBezTo>
                  <a:cubicBezTo>
                    <a:pt x="1365935" y="716367"/>
                    <a:pt x="1365751" y="716367"/>
                    <a:pt x="1365751" y="716000"/>
                  </a:cubicBezTo>
                  <a:cubicBezTo>
                    <a:pt x="1365751" y="705518"/>
                    <a:pt x="1365751" y="695220"/>
                    <a:pt x="1365751" y="684738"/>
                  </a:cubicBezTo>
                  <a:cubicBezTo>
                    <a:pt x="1365751" y="684554"/>
                    <a:pt x="1365751" y="684370"/>
                    <a:pt x="1366119" y="684370"/>
                  </a:cubicBezTo>
                  <a:cubicBezTo>
                    <a:pt x="1367406" y="684370"/>
                    <a:pt x="1368877" y="684370"/>
                    <a:pt x="1370164" y="684370"/>
                  </a:cubicBezTo>
                  <a:cubicBezTo>
                    <a:pt x="1372371" y="684370"/>
                    <a:pt x="1374026" y="683267"/>
                    <a:pt x="1375129" y="681244"/>
                  </a:cubicBezTo>
                  <a:cubicBezTo>
                    <a:pt x="1375681" y="680141"/>
                    <a:pt x="1375681" y="678853"/>
                    <a:pt x="1375314" y="677382"/>
                  </a:cubicBezTo>
                  <a:cubicBezTo>
                    <a:pt x="1374578" y="675359"/>
                    <a:pt x="1372555" y="673888"/>
                    <a:pt x="1370349" y="673888"/>
                  </a:cubicBezTo>
                  <a:cubicBezTo>
                    <a:pt x="1367590" y="673888"/>
                    <a:pt x="1364831" y="673704"/>
                    <a:pt x="1362073" y="673704"/>
                  </a:cubicBezTo>
                  <a:close/>
                  <a:moveTo>
                    <a:pt x="1360515" y="630942"/>
                  </a:moveTo>
                  <a:cubicBezTo>
                    <a:pt x="1364083" y="630942"/>
                    <a:pt x="1366957" y="633772"/>
                    <a:pt x="1366957" y="637250"/>
                  </a:cubicBezTo>
                  <a:cubicBezTo>
                    <a:pt x="1366957" y="639644"/>
                    <a:pt x="1365603" y="641730"/>
                    <a:pt x="1363587" y="642797"/>
                  </a:cubicBezTo>
                  <a:cubicBezTo>
                    <a:pt x="1363587" y="642797"/>
                    <a:pt x="1363587" y="642797"/>
                    <a:pt x="1363587" y="648507"/>
                  </a:cubicBezTo>
                  <a:cubicBezTo>
                    <a:pt x="1363587" y="650173"/>
                    <a:pt x="1362217" y="651516"/>
                    <a:pt x="1360515" y="651516"/>
                  </a:cubicBezTo>
                  <a:cubicBezTo>
                    <a:pt x="1358831" y="651516"/>
                    <a:pt x="1357443" y="650173"/>
                    <a:pt x="1357443" y="648507"/>
                  </a:cubicBezTo>
                  <a:cubicBezTo>
                    <a:pt x="1357443" y="648507"/>
                    <a:pt x="1357443" y="648507"/>
                    <a:pt x="1357443" y="642797"/>
                  </a:cubicBezTo>
                  <a:cubicBezTo>
                    <a:pt x="1355445" y="641730"/>
                    <a:pt x="1354074" y="639644"/>
                    <a:pt x="1354074" y="637250"/>
                  </a:cubicBezTo>
                  <a:cubicBezTo>
                    <a:pt x="1354074" y="633772"/>
                    <a:pt x="1356964" y="630942"/>
                    <a:pt x="1360515" y="630942"/>
                  </a:cubicBezTo>
                  <a:close/>
                  <a:moveTo>
                    <a:pt x="1360694" y="604609"/>
                  </a:moveTo>
                  <a:cubicBezTo>
                    <a:pt x="1364259" y="604609"/>
                    <a:pt x="1367318" y="606777"/>
                    <a:pt x="1368624" y="609866"/>
                  </a:cubicBezTo>
                  <a:lnTo>
                    <a:pt x="1369254" y="612983"/>
                  </a:lnTo>
                  <a:lnTo>
                    <a:pt x="1367050" y="612983"/>
                  </a:lnTo>
                  <a:cubicBezTo>
                    <a:pt x="1363832" y="612983"/>
                    <a:pt x="1359737" y="612983"/>
                    <a:pt x="1354524" y="612983"/>
                  </a:cubicBezTo>
                  <a:lnTo>
                    <a:pt x="1352134" y="612983"/>
                  </a:lnTo>
                  <a:lnTo>
                    <a:pt x="1352763" y="609866"/>
                  </a:lnTo>
                  <a:cubicBezTo>
                    <a:pt x="1354070" y="606777"/>
                    <a:pt x="1357129" y="604609"/>
                    <a:pt x="1360694" y="604609"/>
                  </a:cubicBezTo>
                  <a:close/>
                  <a:moveTo>
                    <a:pt x="1360694" y="596002"/>
                  </a:moveTo>
                  <a:cubicBezTo>
                    <a:pt x="1352375" y="596002"/>
                    <a:pt x="1345435" y="601903"/>
                    <a:pt x="1343830" y="609747"/>
                  </a:cubicBezTo>
                  <a:lnTo>
                    <a:pt x="1343503" y="612983"/>
                  </a:lnTo>
                  <a:lnTo>
                    <a:pt x="1342539" y="612983"/>
                  </a:lnTo>
                  <a:cubicBezTo>
                    <a:pt x="1340111" y="612983"/>
                    <a:pt x="1338150" y="614894"/>
                    <a:pt x="1338150" y="617259"/>
                  </a:cubicBezTo>
                  <a:cubicBezTo>
                    <a:pt x="1338150" y="617259"/>
                    <a:pt x="1338150" y="617259"/>
                    <a:pt x="1338150" y="651076"/>
                  </a:cubicBezTo>
                  <a:cubicBezTo>
                    <a:pt x="1338150" y="653440"/>
                    <a:pt x="1340111" y="655351"/>
                    <a:pt x="1342539" y="655351"/>
                  </a:cubicBezTo>
                  <a:cubicBezTo>
                    <a:pt x="1342539" y="655351"/>
                    <a:pt x="1342539" y="655351"/>
                    <a:pt x="1378849" y="655351"/>
                  </a:cubicBezTo>
                  <a:cubicBezTo>
                    <a:pt x="1381276" y="655351"/>
                    <a:pt x="1383238" y="653440"/>
                    <a:pt x="1383238" y="651076"/>
                  </a:cubicBezTo>
                  <a:cubicBezTo>
                    <a:pt x="1383238" y="651076"/>
                    <a:pt x="1383238" y="651076"/>
                    <a:pt x="1383238" y="617259"/>
                  </a:cubicBezTo>
                  <a:cubicBezTo>
                    <a:pt x="1383238" y="614894"/>
                    <a:pt x="1381276" y="612983"/>
                    <a:pt x="1378849" y="612983"/>
                  </a:cubicBezTo>
                  <a:cubicBezTo>
                    <a:pt x="1378849" y="612983"/>
                    <a:pt x="1378849" y="612983"/>
                    <a:pt x="1378282" y="612983"/>
                  </a:cubicBezTo>
                  <a:lnTo>
                    <a:pt x="1377884" y="612983"/>
                  </a:lnTo>
                  <a:lnTo>
                    <a:pt x="1377558" y="609747"/>
                  </a:lnTo>
                  <a:cubicBezTo>
                    <a:pt x="1375953" y="601903"/>
                    <a:pt x="1369012" y="596002"/>
                    <a:pt x="1360694" y="596002"/>
                  </a:cubicBezTo>
                  <a:close/>
                  <a:moveTo>
                    <a:pt x="1360515" y="554702"/>
                  </a:moveTo>
                  <a:cubicBezTo>
                    <a:pt x="1364083" y="554702"/>
                    <a:pt x="1366957" y="557532"/>
                    <a:pt x="1366957" y="561009"/>
                  </a:cubicBezTo>
                  <a:cubicBezTo>
                    <a:pt x="1366957" y="563403"/>
                    <a:pt x="1365603" y="565490"/>
                    <a:pt x="1363587" y="566557"/>
                  </a:cubicBezTo>
                  <a:cubicBezTo>
                    <a:pt x="1363587" y="566557"/>
                    <a:pt x="1363587" y="566557"/>
                    <a:pt x="1363587" y="572267"/>
                  </a:cubicBezTo>
                  <a:cubicBezTo>
                    <a:pt x="1363587" y="573933"/>
                    <a:pt x="1362217" y="575275"/>
                    <a:pt x="1360515" y="575275"/>
                  </a:cubicBezTo>
                  <a:cubicBezTo>
                    <a:pt x="1358831" y="575275"/>
                    <a:pt x="1357444" y="573933"/>
                    <a:pt x="1357444" y="572267"/>
                  </a:cubicBezTo>
                  <a:cubicBezTo>
                    <a:pt x="1357444" y="572267"/>
                    <a:pt x="1357444" y="572267"/>
                    <a:pt x="1357444" y="566557"/>
                  </a:cubicBezTo>
                  <a:cubicBezTo>
                    <a:pt x="1355445" y="565490"/>
                    <a:pt x="1354074" y="563403"/>
                    <a:pt x="1354074" y="561009"/>
                  </a:cubicBezTo>
                  <a:cubicBezTo>
                    <a:pt x="1354074" y="557532"/>
                    <a:pt x="1356964" y="554702"/>
                    <a:pt x="1360515" y="554702"/>
                  </a:cubicBezTo>
                  <a:close/>
                  <a:moveTo>
                    <a:pt x="1360694" y="528369"/>
                  </a:moveTo>
                  <a:cubicBezTo>
                    <a:pt x="1364259" y="528369"/>
                    <a:pt x="1367318" y="530537"/>
                    <a:pt x="1368624" y="533626"/>
                  </a:cubicBezTo>
                  <a:lnTo>
                    <a:pt x="1369254" y="536743"/>
                  </a:lnTo>
                  <a:lnTo>
                    <a:pt x="1367050" y="536743"/>
                  </a:lnTo>
                  <a:cubicBezTo>
                    <a:pt x="1363832" y="536743"/>
                    <a:pt x="1359737" y="536743"/>
                    <a:pt x="1354524" y="536743"/>
                  </a:cubicBezTo>
                  <a:lnTo>
                    <a:pt x="1352134" y="536743"/>
                  </a:lnTo>
                  <a:lnTo>
                    <a:pt x="1352763" y="533626"/>
                  </a:lnTo>
                  <a:cubicBezTo>
                    <a:pt x="1354070" y="530537"/>
                    <a:pt x="1357129" y="528369"/>
                    <a:pt x="1360694" y="528369"/>
                  </a:cubicBezTo>
                  <a:close/>
                  <a:moveTo>
                    <a:pt x="1360694" y="519762"/>
                  </a:moveTo>
                  <a:cubicBezTo>
                    <a:pt x="1352375" y="519762"/>
                    <a:pt x="1345435" y="525663"/>
                    <a:pt x="1343830" y="533507"/>
                  </a:cubicBezTo>
                  <a:lnTo>
                    <a:pt x="1343503" y="536743"/>
                  </a:lnTo>
                  <a:lnTo>
                    <a:pt x="1342539" y="536743"/>
                  </a:lnTo>
                  <a:cubicBezTo>
                    <a:pt x="1340111" y="536743"/>
                    <a:pt x="1338150" y="538654"/>
                    <a:pt x="1338150" y="541018"/>
                  </a:cubicBezTo>
                  <a:cubicBezTo>
                    <a:pt x="1338150" y="541018"/>
                    <a:pt x="1338150" y="541018"/>
                    <a:pt x="1338150" y="574835"/>
                  </a:cubicBezTo>
                  <a:cubicBezTo>
                    <a:pt x="1338150" y="577200"/>
                    <a:pt x="1340111" y="579111"/>
                    <a:pt x="1342539" y="579111"/>
                  </a:cubicBezTo>
                  <a:cubicBezTo>
                    <a:pt x="1342539" y="579111"/>
                    <a:pt x="1342539" y="579111"/>
                    <a:pt x="1378849" y="579111"/>
                  </a:cubicBezTo>
                  <a:cubicBezTo>
                    <a:pt x="1381276" y="579111"/>
                    <a:pt x="1383238" y="577200"/>
                    <a:pt x="1383238" y="574835"/>
                  </a:cubicBezTo>
                  <a:cubicBezTo>
                    <a:pt x="1383238" y="574835"/>
                    <a:pt x="1383238" y="574835"/>
                    <a:pt x="1383238" y="541018"/>
                  </a:cubicBezTo>
                  <a:cubicBezTo>
                    <a:pt x="1383238" y="538654"/>
                    <a:pt x="1381276" y="536743"/>
                    <a:pt x="1378849" y="536743"/>
                  </a:cubicBezTo>
                  <a:cubicBezTo>
                    <a:pt x="1378849" y="536743"/>
                    <a:pt x="1378849" y="536743"/>
                    <a:pt x="1378282" y="536743"/>
                  </a:cubicBezTo>
                  <a:lnTo>
                    <a:pt x="1377884" y="536743"/>
                  </a:lnTo>
                  <a:lnTo>
                    <a:pt x="1377558" y="533507"/>
                  </a:lnTo>
                  <a:cubicBezTo>
                    <a:pt x="1375953" y="525663"/>
                    <a:pt x="1369013" y="519762"/>
                    <a:pt x="1360694" y="519762"/>
                  </a:cubicBezTo>
                  <a:close/>
                  <a:moveTo>
                    <a:pt x="1360515" y="478461"/>
                  </a:moveTo>
                  <a:cubicBezTo>
                    <a:pt x="1364083" y="478461"/>
                    <a:pt x="1366957" y="481291"/>
                    <a:pt x="1366957" y="484769"/>
                  </a:cubicBezTo>
                  <a:cubicBezTo>
                    <a:pt x="1366957" y="487163"/>
                    <a:pt x="1365603" y="489249"/>
                    <a:pt x="1363587" y="490316"/>
                  </a:cubicBezTo>
                  <a:cubicBezTo>
                    <a:pt x="1363587" y="490316"/>
                    <a:pt x="1363587" y="490316"/>
                    <a:pt x="1363587" y="496026"/>
                  </a:cubicBezTo>
                  <a:cubicBezTo>
                    <a:pt x="1363587" y="497692"/>
                    <a:pt x="1362217" y="499034"/>
                    <a:pt x="1360515" y="499034"/>
                  </a:cubicBezTo>
                  <a:cubicBezTo>
                    <a:pt x="1358831" y="499034"/>
                    <a:pt x="1357444" y="497692"/>
                    <a:pt x="1357444" y="496026"/>
                  </a:cubicBezTo>
                  <a:cubicBezTo>
                    <a:pt x="1357444" y="496026"/>
                    <a:pt x="1357444" y="496026"/>
                    <a:pt x="1357444" y="490316"/>
                  </a:cubicBezTo>
                  <a:cubicBezTo>
                    <a:pt x="1355445" y="489249"/>
                    <a:pt x="1354074" y="487163"/>
                    <a:pt x="1354074" y="484769"/>
                  </a:cubicBezTo>
                  <a:cubicBezTo>
                    <a:pt x="1354074" y="481291"/>
                    <a:pt x="1356964" y="478461"/>
                    <a:pt x="1360515" y="478461"/>
                  </a:cubicBezTo>
                  <a:close/>
                  <a:moveTo>
                    <a:pt x="1360694" y="452129"/>
                  </a:moveTo>
                  <a:cubicBezTo>
                    <a:pt x="1364259" y="452129"/>
                    <a:pt x="1367318" y="454296"/>
                    <a:pt x="1368624" y="457385"/>
                  </a:cubicBezTo>
                  <a:lnTo>
                    <a:pt x="1369254" y="460502"/>
                  </a:lnTo>
                  <a:lnTo>
                    <a:pt x="1367050" y="460502"/>
                  </a:lnTo>
                  <a:cubicBezTo>
                    <a:pt x="1363832" y="460502"/>
                    <a:pt x="1359737" y="460502"/>
                    <a:pt x="1354524" y="460502"/>
                  </a:cubicBezTo>
                  <a:lnTo>
                    <a:pt x="1352134" y="460502"/>
                  </a:lnTo>
                  <a:lnTo>
                    <a:pt x="1352763" y="457385"/>
                  </a:lnTo>
                  <a:cubicBezTo>
                    <a:pt x="1354070" y="454296"/>
                    <a:pt x="1357129" y="452129"/>
                    <a:pt x="1360694" y="452129"/>
                  </a:cubicBezTo>
                  <a:close/>
                  <a:moveTo>
                    <a:pt x="1360694" y="443522"/>
                  </a:moveTo>
                  <a:cubicBezTo>
                    <a:pt x="1352375" y="443522"/>
                    <a:pt x="1345435" y="449422"/>
                    <a:pt x="1343830" y="457266"/>
                  </a:cubicBezTo>
                  <a:lnTo>
                    <a:pt x="1343504" y="460502"/>
                  </a:lnTo>
                  <a:lnTo>
                    <a:pt x="1342539" y="460502"/>
                  </a:lnTo>
                  <a:cubicBezTo>
                    <a:pt x="1340111" y="460502"/>
                    <a:pt x="1338150" y="462413"/>
                    <a:pt x="1338150" y="464778"/>
                  </a:cubicBezTo>
                  <a:cubicBezTo>
                    <a:pt x="1338150" y="464778"/>
                    <a:pt x="1338150" y="464778"/>
                    <a:pt x="1338150" y="498595"/>
                  </a:cubicBezTo>
                  <a:cubicBezTo>
                    <a:pt x="1338150" y="500959"/>
                    <a:pt x="1340111" y="502870"/>
                    <a:pt x="1342539" y="502870"/>
                  </a:cubicBezTo>
                  <a:cubicBezTo>
                    <a:pt x="1342539" y="502870"/>
                    <a:pt x="1342539" y="502870"/>
                    <a:pt x="1378849" y="502870"/>
                  </a:cubicBezTo>
                  <a:cubicBezTo>
                    <a:pt x="1381276" y="502870"/>
                    <a:pt x="1383238" y="500959"/>
                    <a:pt x="1383238" y="498595"/>
                  </a:cubicBezTo>
                  <a:cubicBezTo>
                    <a:pt x="1383238" y="498595"/>
                    <a:pt x="1383238" y="498595"/>
                    <a:pt x="1383238" y="464778"/>
                  </a:cubicBezTo>
                  <a:cubicBezTo>
                    <a:pt x="1383238" y="462413"/>
                    <a:pt x="1381276" y="460502"/>
                    <a:pt x="1378849" y="460502"/>
                  </a:cubicBezTo>
                  <a:cubicBezTo>
                    <a:pt x="1378849" y="460502"/>
                    <a:pt x="1378849" y="460502"/>
                    <a:pt x="1378282" y="460502"/>
                  </a:cubicBezTo>
                  <a:lnTo>
                    <a:pt x="1377884" y="460502"/>
                  </a:lnTo>
                  <a:lnTo>
                    <a:pt x="1377558" y="457266"/>
                  </a:lnTo>
                  <a:cubicBezTo>
                    <a:pt x="1375953" y="449422"/>
                    <a:pt x="1369013" y="443522"/>
                    <a:pt x="1360694" y="443522"/>
                  </a:cubicBezTo>
                  <a:close/>
                  <a:moveTo>
                    <a:pt x="1360515" y="402221"/>
                  </a:moveTo>
                  <a:cubicBezTo>
                    <a:pt x="1364083" y="402221"/>
                    <a:pt x="1366957" y="405051"/>
                    <a:pt x="1366957" y="408528"/>
                  </a:cubicBezTo>
                  <a:cubicBezTo>
                    <a:pt x="1366957" y="410922"/>
                    <a:pt x="1365603" y="413009"/>
                    <a:pt x="1363587" y="414076"/>
                  </a:cubicBezTo>
                  <a:cubicBezTo>
                    <a:pt x="1363587" y="414076"/>
                    <a:pt x="1363587" y="414076"/>
                    <a:pt x="1363587" y="419786"/>
                  </a:cubicBezTo>
                  <a:cubicBezTo>
                    <a:pt x="1363587" y="421452"/>
                    <a:pt x="1362217" y="422794"/>
                    <a:pt x="1360515" y="422794"/>
                  </a:cubicBezTo>
                  <a:cubicBezTo>
                    <a:pt x="1358831" y="422794"/>
                    <a:pt x="1357444" y="421452"/>
                    <a:pt x="1357444" y="419786"/>
                  </a:cubicBezTo>
                  <a:cubicBezTo>
                    <a:pt x="1357444" y="419786"/>
                    <a:pt x="1357444" y="419786"/>
                    <a:pt x="1357444" y="414076"/>
                  </a:cubicBezTo>
                  <a:cubicBezTo>
                    <a:pt x="1355445" y="413009"/>
                    <a:pt x="1354074" y="410922"/>
                    <a:pt x="1354074" y="408528"/>
                  </a:cubicBezTo>
                  <a:cubicBezTo>
                    <a:pt x="1354074" y="405051"/>
                    <a:pt x="1356964" y="402221"/>
                    <a:pt x="1360515" y="402221"/>
                  </a:cubicBezTo>
                  <a:close/>
                  <a:moveTo>
                    <a:pt x="1360694" y="375888"/>
                  </a:moveTo>
                  <a:cubicBezTo>
                    <a:pt x="1364259" y="375888"/>
                    <a:pt x="1367318" y="378056"/>
                    <a:pt x="1368624" y="381145"/>
                  </a:cubicBezTo>
                  <a:lnTo>
                    <a:pt x="1369254" y="384262"/>
                  </a:lnTo>
                  <a:lnTo>
                    <a:pt x="1367050" y="384262"/>
                  </a:lnTo>
                  <a:cubicBezTo>
                    <a:pt x="1363832" y="384262"/>
                    <a:pt x="1359737" y="384262"/>
                    <a:pt x="1354524" y="384262"/>
                  </a:cubicBezTo>
                  <a:lnTo>
                    <a:pt x="1352134" y="384262"/>
                  </a:lnTo>
                  <a:lnTo>
                    <a:pt x="1352763" y="381145"/>
                  </a:lnTo>
                  <a:cubicBezTo>
                    <a:pt x="1354070" y="378056"/>
                    <a:pt x="1357129" y="375888"/>
                    <a:pt x="1360694" y="375888"/>
                  </a:cubicBezTo>
                  <a:close/>
                  <a:moveTo>
                    <a:pt x="1360694" y="367281"/>
                  </a:moveTo>
                  <a:cubicBezTo>
                    <a:pt x="1352375" y="367281"/>
                    <a:pt x="1345435" y="373182"/>
                    <a:pt x="1343830" y="381026"/>
                  </a:cubicBezTo>
                  <a:lnTo>
                    <a:pt x="1343504" y="384262"/>
                  </a:lnTo>
                  <a:lnTo>
                    <a:pt x="1342539" y="384262"/>
                  </a:lnTo>
                  <a:cubicBezTo>
                    <a:pt x="1340111" y="384262"/>
                    <a:pt x="1338150" y="386173"/>
                    <a:pt x="1338150" y="388537"/>
                  </a:cubicBezTo>
                  <a:cubicBezTo>
                    <a:pt x="1338150" y="388537"/>
                    <a:pt x="1338150" y="388537"/>
                    <a:pt x="1338150" y="422355"/>
                  </a:cubicBezTo>
                  <a:cubicBezTo>
                    <a:pt x="1338150" y="424719"/>
                    <a:pt x="1340111" y="426630"/>
                    <a:pt x="1342539" y="426630"/>
                  </a:cubicBezTo>
                  <a:cubicBezTo>
                    <a:pt x="1342539" y="426630"/>
                    <a:pt x="1342539" y="426630"/>
                    <a:pt x="1378849" y="426630"/>
                  </a:cubicBezTo>
                  <a:cubicBezTo>
                    <a:pt x="1381276" y="426630"/>
                    <a:pt x="1383238" y="424719"/>
                    <a:pt x="1383238" y="422355"/>
                  </a:cubicBezTo>
                  <a:cubicBezTo>
                    <a:pt x="1383238" y="422355"/>
                    <a:pt x="1383238" y="422355"/>
                    <a:pt x="1383238" y="388537"/>
                  </a:cubicBezTo>
                  <a:cubicBezTo>
                    <a:pt x="1383238" y="386173"/>
                    <a:pt x="1381276" y="384262"/>
                    <a:pt x="1378849" y="384262"/>
                  </a:cubicBezTo>
                  <a:cubicBezTo>
                    <a:pt x="1378849" y="384262"/>
                    <a:pt x="1378849" y="384262"/>
                    <a:pt x="1378282" y="384262"/>
                  </a:cubicBezTo>
                  <a:lnTo>
                    <a:pt x="1377884" y="384262"/>
                  </a:lnTo>
                  <a:lnTo>
                    <a:pt x="1377558" y="381026"/>
                  </a:lnTo>
                  <a:cubicBezTo>
                    <a:pt x="1375953" y="373182"/>
                    <a:pt x="1369013" y="367281"/>
                    <a:pt x="1360694" y="367281"/>
                  </a:cubicBezTo>
                  <a:close/>
                  <a:moveTo>
                    <a:pt x="1360515" y="325980"/>
                  </a:moveTo>
                  <a:cubicBezTo>
                    <a:pt x="1364083" y="325980"/>
                    <a:pt x="1366957" y="328810"/>
                    <a:pt x="1366957" y="332288"/>
                  </a:cubicBezTo>
                  <a:cubicBezTo>
                    <a:pt x="1366957" y="334682"/>
                    <a:pt x="1365603" y="336768"/>
                    <a:pt x="1363587" y="337836"/>
                  </a:cubicBezTo>
                  <a:cubicBezTo>
                    <a:pt x="1363587" y="337836"/>
                    <a:pt x="1363587" y="337836"/>
                    <a:pt x="1363587" y="343545"/>
                  </a:cubicBezTo>
                  <a:cubicBezTo>
                    <a:pt x="1363587" y="345212"/>
                    <a:pt x="1362217" y="346553"/>
                    <a:pt x="1360515" y="346553"/>
                  </a:cubicBezTo>
                  <a:cubicBezTo>
                    <a:pt x="1358831" y="346553"/>
                    <a:pt x="1357444" y="345212"/>
                    <a:pt x="1357444" y="343545"/>
                  </a:cubicBezTo>
                  <a:cubicBezTo>
                    <a:pt x="1357444" y="343545"/>
                    <a:pt x="1357444" y="343545"/>
                    <a:pt x="1357444" y="337836"/>
                  </a:cubicBezTo>
                  <a:cubicBezTo>
                    <a:pt x="1355445" y="336768"/>
                    <a:pt x="1354074" y="334682"/>
                    <a:pt x="1354074" y="332288"/>
                  </a:cubicBezTo>
                  <a:cubicBezTo>
                    <a:pt x="1354074" y="328810"/>
                    <a:pt x="1356964" y="325980"/>
                    <a:pt x="1360515" y="325980"/>
                  </a:cubicBezTo>
                  <a:close/>
                  <a:moveTo>
                    <a:pt x="1360694" y="299648"/>
                  </a:moveTo>
                  <a:cubicBezTo>
                    <a:pt x="1364259" y="299648"/>
                    <a:pt x="1367318" y="301815"/>
                    <a:pt x="1368624" y="304904"/>
                  </a:cubicBezTo>
                  <a:lnTo>
                    <a:pt x="1369254" y="308021"/>
                  </a:lnTo>
                  <a:lnTo>
                    <a:pt x="1367050" y="308021"/>
                  </a:lnTo>
                  <a:cubicBezTo>
                    <a:pt x="1363832" y="308021"/>
                    <a:pt x="1359737" y="308021"/>
                    <a:pt x="1354524" y="308021"/>
                  </a:cubicBezTo>
                  <a:lnTo>
                    <a:pt x="1352134" y="308021"/>
                  </a:lnTo>
                  <a:lnTo>
                    <a:pt x="1352763" y="304904"/>
                  </a:lnTo>
                  <a:cubicBezTo>
                    <a:pt x="1354070" y="301815"/>
                    <a:pt x="1357129" y="299648"/>
                    <a:pt x="1360694" y="299648"/>
                  </a:cubicBezTo>
                  <a:close/>
                  <a:moveTo>
                    <a:pt x="1360694" y="291041"/>
                  </a:moveTo>
                  <a:cubicBezTo>
                    <a:pt x="1352375" y="291041"/>
                    <a:pt x="1345435" y="296941"/>
                    <a:pt x="1343830" y="304785"/>
                  </a:cubicBezTo>
                  <a:lnTo>
                    <a:pt x="1343504" y="308021"/>
                  </a:lnTo>
                  <a:lnTo>
                    <a:pt x="1342539" y="308021"/>
                  </a:lnTo>
                  <a:cubicBezTo>
                    <a:pt x="1340111" y="308021"/>
                    <a:pt x="1338150" y="309933"/>
                    <a:pt x="1338150" y="312297"/>
                  </a:cubicBezTo>
                  <a:cubicBezTo>
                    <a:pt x="1338150" y="312297"/>
                    <a:pt x="1338150" y="312297"/>
                    <a:pt x="1338150" y="346114"/>
                  </a:cubicBezTo>
                  <a:cubicBezTo>
                    <a:pt x="1338150" y="348478"/>
                    <a:pt x="1340111" y="350389"/>
                    <a:pt x="1342539" y="350389"/>
                  </a:cubicBezTo>
                  <a:cubicBezTo>
                    <a:pt x="1342539" y="350389"/>
                    <a:pt x="1342539" y="350389"/>
                    <a:pt x="1378849" y="350389"/>
                  </a:cubicBezTo>
                  <a:cubicBezTo>
                    <a:pt x="1381276" y="350389"/>
                    <a:pt x="1383238" y="348478"/>
                    <a:pt x="1383238" y="346114"/>
                  </a:cubicBezTo>
                  <a:cubicBezTo>
                    <a:pt x="1383238" y="346114"/>
                    <a:pt x="1383238" y="346114"/>
                    <a:pt x="1383238" y="312297"/>
                  </a:cubicBezTo>
                  <a:cubicBezTo>
                    <a:pt x="1383238" y="309933"/>
                    <a:pt x="1381276" y="308021"/>
                    <a:pt x="1378849" y="308021"/>
                  </a:cubicBezTo>
                  <a:cubicBezTo>
                    <a:pt x="1378849" y="308021"/>
                    <a:pt x="1378849" y="308021"/>
                    <a:pt x="1378282" y="308021"/>
                  </a:cubicBezTo>
                  <a:lnTo>
                    <a:pt x="1377884" y="308021"/>
                  </a:lnTo>
                  <a:lnTo>
                    <a:pt x="1377558" y="304785"/>
                  </a:lnTo>
                  <a:cubicBezTo>
                    <a:pt x="1375953" y="296941"/>
                    <a:pt x="1369013" y="291041"/>
                    <a:pt x="1360694" y="291041"/>
                  </a:cubicBezTo>
                  <a:close/>
                  <a:moveTo>
                    <a:pt x="1360515" y="249740"/>
                  </a:moveTo>
                  <a:cubicBezTo>
                    <a:pt x="1364083" y="249740"/>
                    <a:pt x="1366957" y="252570"/>
                    <a:pt x="1366957" y="256047"/>
                  </a:cubicBezTo>
                  <a:cubicBezTo>
                    <a:pt x="1366957" y="258441"/>
                    <a:pt x="1365603" y="260528"/>
                    <a:pt x="1363587" y="261595"/>
                  </a:cubicBezTo>
                  <a:cubicBezTo>
                    <a:pt x="1363587" y="261595"/>
                    <a:pt x="1363587" y="261595"/>
                    <a:pt x="1363587" y="267305"/>
                  </a:cubicBezTo>
                  <a:cubicBezTo>
                    <a:pt x="1363587" y="268971"/>
                    <a:pt x="1362217" y="270313"/>
                    <a:pt x="1360515" y="270313"/>
                  </a:cubicBezTo>
                  <a:cubicBezTo>
                    <a:pt x="1358831" y="270313"/>
                    <a:pt x="1357444" y="268971"/>
                    <a:pt x="1357444" y="267305"/>
                  </a:cubicBezTo>
                  <a:cubicBezTo>
                    <a:pt x="1357444" y="267305"/>
                    <a:pt x="1357444" y="267305"/>
                    <a:pt x="1357444" y="261595"/>
                  </a:cubicBezTo>
                  <a:cubicBezTo>
                    <a:pt x="1355445" y="260528"/>
                    <a:pt x="1354074" y="258441"/>
                    <a:pt x="1354074" y="256047"/>
                  </a:cubicBezTo>
                  <a:cubicBezTo>
                    <a:pt x="1354074" y="252570"/>
                    <a:pt x="1356964" y="249740"/>
                    <a:pt x="1360515" y="249740"/>
                  </a:cubicBezTo>
                  <a:close/>
                  <a:moveTo>
                    <a:pt x="1360694" y="223407"/>
                  </a:moveTo>
                  <a:cubicBezTo>
                    <a:pt x="1364259" y="223407"/>
                    <a:pt x="1367318" y="225575"/>
                    <a:pt x="1368624" y="228664"/>
                  </a:cubicBezTo>
                  <a:lnTo>
                    <a:pt x="1369254" y="231781"/>
                  </a:lnTo>
                  <a:lnTo>
                    <a:pt x="1367050" y="231781"/>
                  </a:lnTo>
                  <a:cubicBezTo>
                    <a:pt x="1363832" y="231781"/>
                    <a:pt x="1359737" y="231781"/>
                    <a:pt x="1354524" y="231781"/>
                  </a:cubicBezTo>
                  <a:lnTo>
                    <a:pt x="1352134" y="231781"/>
                  </a:lnTo>
                  <a:lnTo>
                    <a:pt x="1352763" y="228664"/>
                  </a:lnTo>
                  <a:cubicBezTo>
                    <a:pt x="1354070" y="225575"/>
                    <a:pt x="1357129" y="223407"/>
                    <a:pt x="1360694" y="223407"/>
                  </a:cubicBezTo>
                  <a:close/>
                  <a:moveTo>
                    <a:pt x="1360694" y="214800"/>
                  </a:moveTo>
                  <a:cubicBezTo>
                    <a:pt x="1352375" y="214800"/>
                    <a:pt x="1345435" y="220701"/>
                    <a:pt x="1343830" y="228545"/>
                  </a:cubicBezTo>
                  <a:lnTo>
                    <a:pt x="1343504" y="231781"/>
                  </a:lnTo>
                  <a:lnTo>
                    <a:pt x="1342539" y="231781"/>
                  </a:lnTo>
                  <a:cubicBezTo>
                    <a:pt x="1340111" y="231781"/>
                    <a:pt x="1338150" y="233692"/>
                    <a:pt x="1338150" y="236056"/>
                  </a:cubicBezTo>
                  <a:cubicBezTo>
                    <a:pt x="1338150" y="236056"/>
                    <a:pt x="1338150" y="236056"/>
                    <a:pt x="1338150" y="269874"/>
                  </a:cubicBezTo>
                  <a:cubicBezTo>
                    <a:pt x="1338150" y="272238"/>
                    <a:pt x="1340111" y="274149"/>
                    <a:pt x="1342539" y="274149"/>
                  </a:cubicBezTo>
                  <a:cubicBezTo>
                    <a:pt x="1342539" y="274149"/>
                    <a:pt x="1342539" y="274149"/>
                    <a:pt x="1378849" y="274149"/>
                  </a:cubicBezTo>
                  <a:cubicBezTo>
                    <a:pt x="1381276" y="274149"/>
                    <a:pt x="1383238" y="272238"/>
                    <a:pt x="1383238" y="269874"/>
                  </a:cubicBezTo>
                  <a:cubicBezTo>
                    <a:pt x="1383238" y="269874"/>
                    <a:pt x="1383238" y="269874"/>
                    <a:pt x="1383238" y="236056"/>
                  </a:cubicBezTo>
                  <a:cubicBezTo>
                    <a:pt x="1383238" y="233692"/>
                    <a:pt x="1381276" y="231781"/>
                    <a:pt x="1378849" y="231781"/>
                  </a:cubicBezTo>
                  <a:cubicBezTo>
                    <a:pt x="1378849" y="231781"/>
                    <a:pt x="1378849" y="231781"/>
                    <a:pt x="1378282" y="231781"/>
                  </a:cubicBezTo>
                  <a:lnTo>
                    <a:pt x="1377884" y="231781"/>
                  </a:lnTo>
                  <a:lnTo>
                    <a:pt x="1377558" y="228545"/>
                  </a:lnTo>
                  <a:cubicBezTo>
                    <a:pt x="1375953" y="220701"/>
                    <a:pt x="1369013" y="214800"/>
                    <a:pt x="1360694" y="214800"/>
                  </a:cubicBezTo>
                  <a:close/>
                  <a:moveTo>
                    <a:pt x="1362073" y="144201"/>
                  </a:moveTo>
                  <a:cubicBezTo>
                    <a:pt x="1361154" y="144201"/>
                    <a:pt x="1360234" y="144018"/>
                    <a:pt x="1359315" y="144201"/>
                  </a:cubicBezTo>
                  <a:cubicBezTo>
                    <a:pt x="1358027" y="144386"/>
                    <a:pt x="1356924" y="144937"/>
                    <a:pt x="1356188" y="145857"/>
                  </a:cubicBezTo>
                  <a:cubicBezTo>
                    <a:pt x="1355085" y="146960"/>
                    <a:pt x="1354534" y="148431"/>
                    <a:pt x="1354717" y="150086"/>
                  </a:cubicBezTo>
                  <a:cubicBezTo>
                    <a:pt x="1354717" y="150270"/>
                    <a:pt x="1354717" y="150270"/>
                    <a:pt x="1354717" y="150454"/>
                  </a:cubicBezTo>
                  <a:cubicBezTo>
                    <a:pt x="1354717" y="162407"/>
                    <a:pt x="1354717" y="174360"/>
                    <a:pt x="1354717" y="186497"/>
                  </a:cubicBezTo>
                  <a:cubicBezTo>
                    <a:pt x="1354717" y="186864"/>
                    <a:pt x="1354717" y="186864"/>
                    <a:pt x="1354350" y="186864"/>
                  </a:cubicBezTo>
                  <a:cubicBezTo>
                    <a:pt x="1352694" y="186864"/>
                    <a:pt x="1351040" y="186864"/>
                    <a:pt x="1349385" y="186864"/>
                  </a:cubicBezTo>
                  <a:cubicBezTo>
                    <a:pt x="1348465" y="186864"/>
                    <a:pt x="1347546" y="187232"/>
                    <a:pt x="1346626" y="187600"/>
                  </a:cubicBezTo>
                  <a:cubicBezTo>
                    <a:pt x="1344971" y="188704"/>
                    <a:pt x="1344051" y="190175"/>
                    <a:pt x="1344051" y="192197"/>
                  </a:cubicBezTo>
                  <a:cubicBezTo>
                    <a:pt x="1344051" y="193668"/>
                    <a:pt x="1344604" y="195140"/>
                    <a:pt x="1345890" y="196059"/>
                  </a:cubicBezTo>
                  <a:cubicBezTo>
                    <a:pt x="1346626" y="196611"/>
                    <a:pt x="1347546" y="197163"/>
                    <a:pt x="1348649" y="197347"/>
                  </a:cubicBezTo>
                  <a:cubicBezTo>
                    <a:pt x="1348649" y="197347"/>
                    <a:pt x="1348833" y="197347"/>
                    <a:pt x="1348833" y="197347"/>
                  </a:cubicBezTo>
                  <a:cubicBezTo>
                    <a:pt x="1348833" y="197347"/>
                    <a:pt x="1349017" y="197347"/>
                    <a:pt x="1349017" y="197347"/>
                  </a:cubicBezTo>
                  <a:cubicBezTo>
                    <a:pt x="1349017" y="197163"/>
                    <a:pt x="1349201" y="197347"/>
                    <a:pt x="1349385" y="197347"/>
                  </a:cubicBezTo>
                  <a:cubicBezTo>
                    <a:pt x="1356741" y="197347"/>
                    <a:pt x="1364096" y="197347"/>
                    <a:pt x="1371267" y="197347"/>
                  </a:cubicBezTo>
                  <a:cubicBezTo>
                    <a:pt x="1371452" y="197347"/>
                    <a:pt x="1371452" y="197347"/>
                    <a:pt x="1371635" y="197347"/>
                  </a:cubicBezTo>
                  <a:cubicBezTo>
                    <a:pt x="1371820" y="197347"/>
                    <a:pt x="1372003" y="197347"/>
                    <a:pt x="1372188" y="197347"/>
                  </a:cubicBezTo>
                  <a:cubicBezTo>
                    <a:pt x="1372371" y="197163"/>
                    <a:pt x="1372555" y="197163"/>
                    <a:pt x="1372739" y="197163"/>
                  </a:cubicBezTo>
                  <a:cubicBezTo>
                    <a:pt x="1373659" y="196979"/>
                    <a:pt x="1374394" y="196427"/>
                    <a:pt x="1375130" y="195875"/>
                  </a:cubicBezTo>
                  <a:cubicBezTo>
                    <a:pt x="1376233" y="194772"/>
                    <a:pt x="1376785" y="193485"/>
                    <a:pt x="1376785" y="192014"/>
                  </a:cubicBezTo>
                  <a:cubicBezTo>
                    <a:pt x="1376785" y="190726"/>
                    <a:pt x="1376417" y="189439"/>
                    <a:pt x="1375314" y="188520"/>
                  </a:cubicBezTo>
                  <a:cubicBezTo>
                    <a:pt x="1374210" y="187417"/>
                    <a:pt x="1372923" y="186864"/>
                    <a:pt x="1371452" y="186864"/>
                  </a:cubicBezTo>
                  <a:cubicBezTo>
                    <a:pt x="1369613" y="186864"/>
                    <a:pt x="1367774" y="186864"/>
                    <a:pt x="1366119" y="186864"/>
                  </a:cubicBezTo>
                  <a:cubicBezTo>
                    <a:pt x="1365935" y="186864"/>
                    <a:pt x="1365751" y="186864"/>
                    <a:pt x="1365751" y="186497"/>
                  </a:cubicBezTo>
                  <a:cubicBezTo>
                    <a:pt x="1365751" y="176015"/>
                    <a:pt x="1365751" y="165717"/>
                    <a:pt x="1365751" y="155235"/>
                  </a:cubicBezTo>
                  <a:cubicBezTo>
                    <a:pt x="1365751" y="155051"/>
                    <a:pt x="1365751" y="154867"/>
                    <a:pt x="1366119" y="154867"/>
                  </a:cubicBezTo>
                  <a:cubicBezTo>
                    <a:pt x="1367406" y="154867"/>
                    <a:pt x="1368877" y="154867"/>
                    <a:pt x="1370164" y="154867"/>
                  </a:cubicBezTo>
                  <a:cubicBezTo>
                    <a:pt x="1372371" y="154867"/>
                    <a:pt x="1374026" y="153764"/>
                    <a:pt x="1375130" y="151741"/>
                  </a:cubicBezTo>
                  <a:cubicBezTo>
                    <a:pt x="1375681" y="150638"/>
                    <a:pt x="1375681" y="149351"/>
                    <a:pt x="1375314" y="147879"/>
                  </a:cubicBezTo>
                  <a:cubicBezTo>
                    <a:pt x="1374578" y="145857"/>
                    <a:pt x="1372555" y="144386"/>
                    <a:pt x="1370349" y="144386"/>
                  </a:cubicBezTo>
                  <a:cubicBezTo>
                    <a:pt x="1367590" y="144386"/>
                    <a:pt x="1364831" y="144201"/>
                    <a:pt x="1362073" y="144201"/>
                  </a:cubicBezTo>
                  <a:close/>
                  <a:moveTo>
                    <a:pt x="1362073" y="72142"/>
                  </a:moveTo>
                  <a:cubicBezTo>
                    <a:pt x="1361154" y="72142"/>
                    <a:pt x="1360234" y="71958"/>
                    <a:pt x="1359315" y="72142"/>
                  </a:cubicBezTo>
                  <a:cubicBezTo>
                    <a:pt x="1358027" y="72326"/>
                    <a:pt x="1356924" y="72877"/>
                    <a:pt x="1356188" y="73797"/>
                  </a:cubicBezTo>
                  <a:cubicBezTo>
                    <a:pt x="1355085" y="74900"/>
                    <a:pt x="1354534" y="76371"/>
                    <a:pt x="1354717" y="78026"/>
                  </a:cubicBezTo>
                  <a:cubicBezTo>
                    <a:pt x="1354717" y="78210"/>
                    <a:pt x="1354717" y="78210"/>
                    <a:pt x="1354717" y="78394"/>
                  </a:cubicBezTo>
                  <a:cubicBezTo>
                    <a:pt x="1354717" y="90347"/>
                    <a:pt x="1354717" y="102300"/>
                    <a:pt x="1354717" y="114437"/>
                  </a:cubicBezTo>
                  <a:cubicBezTo>
                    <a:pt x="1354717" y="114805"/>
                    <a:pt x="1354717" y="114805"/>
                    <a:pt x="1354350" y="114805"/>
                  </a:cubicBezTo>
                  <a:cubicBezTo>
                    <a:pt x="1352694" y="114805"/>
                    <a:pt x="1351040" y="114805"/>
                    <a:pt x="1349385" y="114805"/>
                  </a:cubicBezTo>
                  <a:cubicBezTo>
                    <a:pt x="1348465" y="114805"/>
                    <a:pt x="1347546" y="115173"/>
                    <a:pt x="1346626" y="115541"/>
                  </a:cubicBezTo>
                  <a:cubicBezTo>
                    <a:pt x="1344971" y="116644"/>
                    <a:pt x="1344051" y="118115"/>
                    <a:pt x="1344051" y="120138"/>
                  </a:cubicBezTo>
                  <a:cubicBezTo>
                    <a:pt x="1344051" y="121609"/>
                    <a:pt x="1344604" y="123081"/>
                    <a:pt x="1345890" y="123999"/>
                  </a:cubicBezTo>
                  <a:cubicBezTo>
                    <a:pt x="1346626" y="124552"/>
                    <a:pt x="1347546" y="125103"/>
                    <a:pt x="1348649" y="125287"/>
                  </a:cubicBezTo>
                  <a:cubicBezTo>
                    <a:pt x="1348649" y="125287"/>
                    <a:pt x="1348833" y="125287"/>
                    <a:pt x="1348833" y="125287"/>
                  </a:cubicBezTo>
                  <a:cubicBezTo>
                    <a:pt x="1348833" y="125287"/>
                    <a:pt x="1349017" y="125287"/>
                    <a:pt x="1349017" y="125287"/>
                  </a:cubicBezTo>
                  <a:cubicBezTo>
                    <a:pt x="1349017" y="125103"/>
                    <a:pt x="1349201" y="125287"/>
                    <a:pt x="1349385" y="125287"/>
                  </a:cubicBezTo>
                  <a:cubicBezTo>
                    <a:pt x="1356741" y="125287"/>
                    <a:pt x="1364096" y="125287"/>
                    <a:pt x="1371268" y="125287"/>
                  </a:cubicBezTo>
                  <a:cubicBezTo>
                    <a:pt x="1371452" y="125287"/>
                    <a:pt x="1371452" y="125287"/>
                    <a:pt x="1371635" y="125287"/>
                  </a:cubicBezTo>
                  <a:cubicBezTo>
                    <a:pt x="1371820" y="125287"/>
                    <a:pt x="1372003" y="125287"/>
                    <a:pt x="1372188" y="125287"/>
                  </a:cubicBezTo>
                  <a:cubicBezTo>
                    <a:pt x="1372371" y="125103"/>
                    <a:pt x="1372555" y="125103"/>
                    <a:pt x="1372739" y="125103"/>
                  </a:cubicBezTo>
                  <a:cubicBezTo>
                    <a:pt x="1373659" y="124919"/>
                    <a:pt x="1374394" y="124367"/>
                    <a:pt x="1375130" y="123816"/>
                  </a:cubicBezTo>
                  <a:cubicBezTo>
                    <a:pt x="1376233" y="122713"/>
                    <a:pt x="1376785" y="121425"/>
                    <a:pt x="1376785" y="119954"/>
                  </a:cubicBezTo>
                  <a:cubicBezTo>
                    <a:pt x="1376785" y="118667"/>
                    <a:pt x="1376417" y="117380"/>
                    <a:pt x="1375314" y="116460"/>
                  </a:cubicBezTo>
                  <a:cubicBezTo>
                    <a:pt x="1374210" y="115357"/>
                    <a:pt x="1372923" y="114805"/>
                    <a:pt x="1371452" y="114805"/>
                  </a:cubicBezTo>
                  <a:cubicBezTo>
                    <a:pt x="1369613" y="114805"/>
                    <a:pt x="1367774" y="114805"/>
                    <a:pt x="1366119" y="114805"/>
                  </a:cubicBezTo>
                  <a:cubicBezTo>
                    <a:pt x="1365935" y="114805"/>
                    <a:pt x="1365751" y="114805"/>
                    <a:pt x="1365751" y="114437"/>
                  </a:cubicBezTo>
                  <a:cubicBezTo>
                    <a:pt x="1365751" y="103955"/>
                    <a:pt x="1365751" y="93657"/>
                    <a:pt x="1365751" y="83175"/>
                  </a:cubicBezTo>
                  <a:cubicBezTo>
                    <a:pt x="1365751" y="82992"/>
                    <a:pt x="1365751" y="82807"/>
                    <a:pt x="1366119" y="82807"/>
                  </a:cubicBezTo>
                  <a:cubicBezTo>
                    <a:pt x="1367406" y="82807"/>
                    <a:pt x="1368877" y="82807"/>
                    <a:pt x="1370164" y="82807"/>
                  </a:cubicBezTo>
                  <a:cubicBezTo>
                    <a:pt x="1372371" y="82807"/>
                    <a:pt x="1374026" y="81704"/>
                    <a:pt x="1375130" y="79681"/>
                  </a:cubicBezTo>
                  <a:cubicBezTo>
                    <a:pt x="1375681" y="78578"/>
                    <a:pt x="1375681" y="77291"/>
                    <a:pt x="1375314" y="75820"/>
                  </a:cubicBezTo>
                  <a:cubicBezTo>
                    <a:pt x="1374578" y="73797"/>
                    <a:pt x="1372555" y="72326"/>
                    <a:pt x="1370349" y="72326"/>
                  </a:cubicBezTo>
                  <a:cubicBezTo>
                    <a:pt x="1367590" y="72326"/>
                    <a:pt x="1364831" y="72142"/>
                    <a:pt x="1362073" y="72142"/>
                  </a:cubicBezTo>
                  <a:close/>
                  <a:moveTo>
                    <a:pt x="1357936" y="10885"/>
                  </a:moveTo>
                  <a:cubicBezTo>
                    <a:pt x="1360777" y="9965"/>
                    <a:pt x="1363452" y="10701"/>
                    <a:pt x="1365792" y="12540"/>
                  </a:cubicBezTo>
                  <a:cubicBezTo>
                    <a:pt x="1366628" y="13276"/>
                    <a:pt x="1367298" y="14011"/>
                    <a:pt x="1367966" y="14930"/>
                  </a:cubicBezTo>
                  <a:cubicBezTo>
                    <a:pt x="1368467" y="15666"/>
                    <a:pt x="1368969" y="16585"/>
                    <a:pt x="1369471" y="17505"/>
                  </a:cubicBezTo>
                  <a:cubicBezTo>
                    <a:pt x="1369805" y="18056"/>
                    <a:pt x="1369972" y="18792"/>
                    <a:pt x="1370139" y="19344"/>
                  </a:cubicBezTo>
                  <a:cubicBezTo>
                    <a:pt x="1370474" y="20263"/>
                    <a:pt x="1370641" y="21183"/>
                    <a:pt x="1370808" y="22102"/>
                  </a:cubicBezTo>
                  <a:cubicBezTo>
                    <a:pt x="1371310" y="23574"/>
                    <a:pt x="1371477" y="25045"/>
                    <a:pt x="1371477" y="26884"/>
                  </a:cubicBezTo>
                  <a:cubicBezTo>
                    <a:pt x="1371477" y="28355"/>
                    <a:pt x="1371310" y="30010"/>
                    <a:pt x="1370808" y="31849"/>
                  </a:cubicBezTo>
                  <a:cubicBezTo>
                    <a:pt x="1370474" y="32768"/>
                    <a:pt x="1370306" y="33503"/>
                    <a:pt x="1369972" y="34423"/>
                  </a:cubicBezTo>
                  <a:cubicBezTo>
                    <a:pt x="1369638" y="35527"/>
                    <a:pt x="1369137" y="36446"/>
                    <a:pt x="1368467" y="37365"/>
                  </a:cubicBezTo>
                  <a:cubicBezTo>
                    <a:pt x="1367799" y="38469"/>
                    <a:pt x="1366963" y="39388"/>
                    <a:pt x="1366127" y="40308"/>
                  </a:cubicBezTo>
                  <a:cubicBezTo>
                    <a:pt x="1365291" y="41043"/>
                    <a:pt x="1364288" y="41779"/>
                    <a:pt x="1363118" y="42146"/>
                  </a:cubicBezTo>
                  <a:cubicBezTo>
                    <a:pt x="1360109" y="43250"/>
                    <a:pt x="1357266" y="42698"/>
                    <a:pt x="1354759" y="40492"/>
                  </a:cubicBezTo>
                  <a:cubicBezTo>
                    <a:pt x="1353923" y="39756"/>
                    <a:pt x="1353254" y="39021"/>
                    <a:pt x="1352586" y="38101"/>
                  </a:cubicBezTo>
                  <a:cubicBezTo>
                    <a:pt x="1351917" y="37182"/>
                    <a:pt x="1351415" y="36262"/>
                    <a:pt x="1350914" y="35159"/>
                  </a:cubicBezTo>
                  <a:cubicBezTo>
                    <a:pt x="1350747" y="34607"/>
                    <a:pt x="1350579" y="34056"/>
                    <a:pt x="1350245" y="33688"/>
                  </a:cubicBezTo>
                  <a:cubicBezTo>
                    <a:pt x="1349911" y="32768"/>
                    <a:pt x="1349576" y="31849"/>
                    <a:pt x="1349409" y="30745"/>
                  </a:cubicBezTo>
                  <a:cubicBezTo>
                    <a:pt x="1348907" y="27619"/>
                    <a:pt x="1348907" y="24493"/>
                    <a:pt x="1349743" y="21367"/>
                  </a:cubicBezTo>
                  <a:cubicBezTo>
                    <a:pt x="1349911" y="20631"/>
                    <a:pt x="1350078" y="19895"/>
                    <a:pt x="1350413" y="19344"/>
                  </a:cubicBezTo>
                  <a:cubicBezTo>
                    <a:pt x="1350747" y="18609"/>
                    <a:pt x="1350914" y="17873"/>
                    <a:pt x="1351248" y="17321"/>
                  </a:cubicBezTo>
                  <a:cubicBezTo>
                    <a:pt x="1351750" y="16585"/>
                    <a:pt x="1352084" y="15666"/>
                    <a:pt x="1352753" y="14930"/>
                  </a:cubicBezTo>
                  <a:cubicBezTo>
                    <a:pt x="1353421" y="14011"/>
                    <a:pt x="1354257" y="13091"/>
                    <a:pt x="1355261" y="12356"/>
                  </a:cubicBezTo>
                  <a:cubicBezTo>
                    <a:pt x="1356096" y="11804"/>
                    <a:pt x="1356932" y="11252"/>
                    <a:pt x="1357936" y="10885"/>
                  </a:cubicBezTo>
                  <a:close/>
                  <a:moveTo>
                    <a:pt x="1361613" y="35"/>
                  </a:moveTo>
                  <a:cubicBezTo>
                    <a:pt x="1358771" y="-149"/>
                    <a:pt x="1355929" y="403"/>
                    <a:pt x="1353254" y="1506"/>
                  </a:cubicBezTo>
                  <a:cubicBezTo>
                    <a:pt x="1351415" y="2242"/>
                    <a:pt x="1349743" y="3345"/>
                    <a:pt x="1348239" y="4633"/>
                  </a:cubicBezTo>
                  <a:cubicBezTo>
                    <a:pt x="1347403" y="5368"/>
                    <a:pt x="1346734" y="6104"/>
                    <a:pt x="1345899" y="6839"/>
                  </a:cubicBezTo>
                  <a:cubicBezTo>
                    <a:pt x="1345063" y="7758"/>
                    <a:pt x="1344227" y="8862"/>
                    <a:pt x="1343558" y="9781"/>
                  </a:cubicBezTo>
                  <a:cubicBezTo>
                    <a:pt x="1343056" y="10517"/>
                    <a:pt x="1342555" y="11437"/>
                    <a:pt x="1342220" y="12172"/>
                  </a:cubicBezTo>
                  <a:cubicBezTo>
                    <a:pt x="1341552" y="13276"/>
                    <a:pt x="1341051" y="14562"/>
                    <a:pt x="1340716" y="15850"/>
                  </a:cubicBezTo>
                  <a:cubicBezTo>
                    <a:pt x="1340381" y="16585"/>
                    <a:pt x="1340214" y="17505"/>
                    <a:pt x="1340047" y="18241"/>
                  </a:cubicBezTo>
                  <a:cubicBezTo>
                    <a:pt x="1339713" y="19344"/>
                    <a:pt x="1339545" y="20631"/>
                    <a:pt x="1339379" y="21734"/>
                  </a:cubicBezTo>
                  <a:cubicBezTo>
                    <a:pt x="1338877" y="25045"/>
                    <a:pt x="1338877" y="28355"/>
                    <a:pt x="1339545" y="31481"/>
                  </a:cubicBezTo>
                  <a:cubicBezTo>
                    <a:pt x="1339713" y="32585"/>
                    <a:pt x="1339880" y="33688"/>
                    <a:pt x="1340214" y="34791"/>
                  </a:cubicBezTo>
                  <a:cubicBezTo>
                    <a:pt x="1340549" y="35710"/>
                    <a:pt x="1340716" y="36446"/>
                    <a:pt x="1341051" y="37365"/>
                  </a:cubicBezTo>
                  <a:cubicBezTo>
                    <a:pt x="1341385" y="37917"/>
                    <a:pt x="1341552" y="38469"/>
                    <a:pt x="1341719" y="39021"/>
                  </a:cubicBezTo>
                  <a:cubicBezTo>
                    <a:pt x="1342220" y="40124"/>
                    <a:pt x="1342722" y="41043"/>
                    <a:pt x="1343224" y="41963"/>
                  </a:cubicBezTo>
                  <a:cubicBezTo>
                    <a:pt x="1343725" y="42698"/>
                    <a:pt x="1344227" y="43434"/>
                    <a:pt x="1344728" y="44169"/>
                  </a:cubicBezTo>
                  <a:cubicBezTo>
                    <a:pt x="1345397" y="45089"/>
                    <a:pt x="1346233" y="46008"/>
                    <a:pt x="1347068" y="46744"/>
                  </a:cubicBezTo>
                  <a:cubicBezTo>
                    <a:pt x="1347738" y="47479"/>
                    <a:pt x="1348574" y="48031"/>
                    <a:pt x="1349242" y="48583"/>
                  </a:cubicBezTo>
                  <a:cubicBezTo>
                    <a:pt x="1350413" y="49503"/>
                    <a:pt x="1351750" y="50238"/>
                    <a:pt x="1353087" y="50790"/>
                  </a:cubicBezTo>
                  <a:cubicBezTo>
                    <a:pt x="1354759" y="51525"/>
                    <a:pt x="1356598" y="52077"/>
                    <a:pt x="1358437" y="52261"/>
                  </a:cubicBezTo>
                  <a:cubicBezTo>
                    <a:pt x="1358771" y="52261"/>
                    <a:pt x="1358938" y="52261"/>
                    <a:pt x="1359273" y="52445"/>
                  </a:cubicBezTo>
                  <a:cubicBezTo>
                    <a:pt x="1360276" y="52445"/>
                    <a:pt x="1361112" y="52445"/>
                    <a:pt x="1362115" y="52445"/>
                  </a:cubicBezTo>
                  <a:cubicBezTo>
                    <a:pt x="1362115" y="52261"/>
                    <a:pt x="1362282" y="52445"/>
                    <a:pt x="1362282" y="52445"/>
                  </a:cubicBezTo>
                  <a:cubicBezTo>
                    <a:pt x="1365458" y="52077"/>
                    <a:pt x="1368467" y="50974"/>
                    <a:pt x="1371142" y="49135"/>
                  </a:cubicBezTo>
                  <a:cubicBezTo>
                    <a:pt x="1372313" y="48399"/>
                    <a:pt x="1373316" y="47479"/>
                    <a:pt x="1374318" y="46376"/>
                  </a:cubicBezTo>
                  <a:cubicBezTo>
                    <a:pt x="1375154" y="45640"/>
                    <a:pt x="1375824" y="44721"/>
                    <a:pt x="1376492" y="43802"/>
                  </a:cubicBezTo>
                  <a:cubicBezTo>
                    <a:pt x="1376993" y="43066"/>
                    <a:pt x="1377495" y="42331"/>
                    <a:pt x="1377997" y="41411"/>
                  </a:cubicBezTo>
                  <a:cubicBezTo>
                    <a:pt x="1378499" y="40492"/>
                    <a:pt x="1379000" y="39572"/>
                    <a:pt x="1379501" y="38469"/>
                  </a:cubicBezTo>
                  <a:cubicBezTo>
                    <a:pt x="1379836" y="37733"/>
                    <a:pt x="1380003" y="37182"/>
                    <a:pt x="1380337" y="36446"/>
                  </a:cubicBezTo>
                  <a:cubicBezTo>
                    <a:pt x="1380672" y="35710"/>
                    <a:pt x="1380839" y="34975"/>
                    <a:pt x="1381006" y="34239"/>
                  </a:cubicBezTo>
                  <a:cubicBezTo>
                    <a:pt x="1381340" y="32952"/>
                    <a:pt x="1381507" y="31665"/>
                    <a:pt x="1381842" y="30378"/>
                  </a:cubicBezTo>
                  <a:cubicBezTo>
                    <a:pt x="1382009" y="29642"/>
                    <a:pt x="1382009" y="29090"/>
                    <a:pt x="1382009" y="28355"/>
                  </a:cubicBezTo>
                  <a:cubicBezTo>
                    <a:pt x="1381842" y="28906"/>
                    <a:pt x="1381675" y="28722"/>
                    <a:pt x="1381842" y="28538"/>
                  </a:cubicBezTo>
                  <a:cubicBezTo>
                    <a:pt x="1381842" y="27251"/>
                    <a:pt x="1381842" y="25964"/>
                    <a:pt x="1381842" y="24677"/>
                  </a:cubicBezTo>
                  <a:cubicBezTo>
                    <a:pt x="1381842" y="24677"/>
                    <a:pt x="1381842" y="24677"/>
                    <a:pt x="1381842" y="24493"/>
                  </a:cubicBezTo>
                  <a:cubicBezTo>
                    <a:pt x="1381842" y="23390"/>
                    <a:pt x="1381675" y="22470"/>
                    <a:pt x="1381507" y="21367"/>
                  </a:cubicBezTo>
                  <a:cubicBezTo>
                    <a:pt x="1381173" y="20080"/>
                    <a:pt x="1381173" y="18792"/>
                    <a:pt x="1380672" y="17689"/>
                  </a:cubicBezTo>
                  <a:cubicBezTo>
                    <a:pt x="1380337" y="16953"/>
                    <a:pt x="1380170" y="16218"/>
                    <a:pt x="1380003" y="15482"/>
                  </a:cubicBezTo>
                  <a:cubicBezTo>
                    <a:pt x="1379501" y="14379"/>
                    <a:pt x="1379000" y="13091"/>
                    <a:pt x="1378499" y="11988"/>
                  </a:cubicBezTo>
                  <a:cubicBezTo>
                    <a:pt x="1377997" y="11069"/>
                    <a:pt x="1377495" y="10333"/>
                    <a:pt x="1376993" y="9414"/>
                  </a:cubicBezTo>
                  <a:cubicBezTo>
                    <a:pt x="1376492" y="8678"/>
                    <a:pt x="1375990" y="7943"/>
                    <a:pt x="1375489" y="7391"/>
                  </a:cubicBezTo>
                  <a:cubicBezTo>
                    <a:pt x="1374988" y="6839"/>
                    <a:pt x="1374486" y="6287"/>
                    <a:pt x="1373985" y="5736"/>
                  </a:cubicBezTo>
                  <a:cubicBezTo>
                    <a:pt x="1372981" y="4816"/>
                    <a:pt x="1371978" y="3897"/>
                    <a:pt x="1370808" y="3161"/>
                  </a:cubicBezTo>
                  <a:cubicBezTo>
                    <a:pt x="1369972" y="2609"/>
                    <a:pt x="1368969" y="2058"/>
                    <a:pt x="1368133" y="1690"/>
                  </a:cubicBezTo>
                  <a:cubicBezTo>
                    <a:pt x="1366127" y="771"/>
                    <a:pt x="1363954" y="219"/>
                    <a:pt x="1361613" y="35"/>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1201" name="Freeform: Shape 1200">
              <a:extLst>
                <a:ext uri="{FF2B5EF4-FFF2-40B4-BE49-F238E27FC236}">
                  <a16:creationId xmlns:a16="http://schemas.microsoft.com/office/drawing/2014/main" id="{BAAF10BC-E79E-4E86-8D08-1E1E454C0024}"/>
                </a:ext>
              </a:extLst>
            </p:cNvPr>
            <p:cNvSpPr/>
            <p:nvPr/>
          </p:nvSpPr>
          <p:spPr>
            <a:xfrm flipH="1">
              <a:off x="4542850" y="3438961"/>
              <a:ext cx="2092296" cy="626250"/>
            </a:xfrm>
            <a:custGeom>
              <a:avLst/>
              <a:gdLst>
                <a:gd name="connsiteX0" fmla="*/ 83014 w 2326130"/>
                <a:gd name="connsiteY0" fmla="*/ 671831 h 696240"/>
                <a:gd name="connsiteX1" fmla="*/ 89455 w 2326130"/>
                <a:gd name="connsiteY1" fmla="*/ 678139 h 696240"/>
                <a:gd name="connsiteX2" fmla="*/ 86086 w 2326130"/>
                <a:gd name="connsiteY2" fmla="*/ 683686 h 696240"/>
                <a:gd name="connsiteX3" fmla="*/ 86086 w 2326130"/>
                <a:gd name="connsiteY3" fmla="*/ 689396 h 696240"/>
                <a:gd name="connsiteX4" fmla="*/ 83014 w 2326130"/>
                <a:gd name="connsiteY4" fmla="*/ 692405 h 696240"/>
                <a:gd name="connsiteX5" fmla="*/ 79942 w 2326130"/>
                <a:gd name="connsiteY5" fmla="*/ 689396 h 696240"/>
                <a:gd name="connsiteX6" fmla="*/ 79942 w 2326130"/>
                <a:gd name="connsiteY6" fmla="*/ 683686 h 696240"/>
                <a:gd name="connsiteX7" fmla="*/ 76573 w 2326130"/>
                <a:gd name="connsiteY7" fmla="*/ 678139 h 696240"/>
                <a:gd name="connsiteX8" fmla="*/ 83014 w 2326130"/>
                <a:gd name="connsiteY8" fmla="*/ 671831 h 696240"/>
                <a:gd name="connsiteX9" fmla="*/ 370245 w 2326130"/>
                <a:gd name="connsiteY9" fmla="*/ 671831 h 696240"/>
                <a:gd name="connsiteX10" fmla="*/ 376685 w 2326130"/>
                <a:gd name="connsiteY10" fmla="*/ 678139 h 696240"/>
                <a:gd name="connsiteX11" fmla="*/ 373316 w 2326130"/>
                <a:gd name="connsiteY11" fmla="*/ 683686 h 696240"/>
                <a:gd name="connsiteX12" fmla="*/ 373316 w 2326130"/>
                <a:gd name="connsiteY12" fmla="*/ 689396 h 696240"/>
                <a:gd name="connsiteX13" fmla="*/ 370245 w 2326130"/>
                <a:gd name="connsiteY13" fmla="*/ 692405 h 696240"/>
                <a:gd name="connsiteX14" fmla="*/ 367172 w 2326130"/>
                <a:gd name="connsiteY14" fmla="*/ 689396 h 696240"/>
                <a:gd name="connsiteX15" fmla="*/ 367172 w 2326130"/>
                <a:gd name="connsiteY15" fmla="*/ 683686 h 696240"/>
                <a:gd name="connsiteX16" fmla="*/ 363803 w 2326130"/>
                <a:gd name="connsiteY16" fmla="*/ 678139 h 696240"/>
                <a:gd name="connsiteX17" fmla="*/ 370245 w 2326130"/>
                <a:gd name="connsiteY17" fmla="*/ 671831 h 696240"/>
                <a:gd name="connsiteX18" fmla="*/ 431730 w 2326130"/>
                <a:gd name="connsiteY18" fmla="*/ 671831 h 696240"/>
                <a:gd name="connsiteX19" fmla="*/ 438171 w 2326130"/>
                <a:gd name="connsiteY19" fmla="*/ 678139 h 696240"/>
                <a:gd name="connsiteX20" fmla="*/ 434802 w 2326130"/>
                <a:gd name="connsiteY20" fmla="*/ 683686 h 696240"/>
                <a:gd name="connsiteX21" fmla="*/ 434802 w 2326130"/>
                <a:gd name="connsiteY21" fmla="*/ 689396 h 696240"/>
                <a:gd name="connsiteX22" fmla="*/ 431730 w 2326130"/>
                <a:gd name="connsiteY22" fmla="*/ 692405 h 696240"/>
                <a:gd name="connsiteX23" fmla="*/ 428658 w 2326130"/>
                <a:gd name="connsiteY23" fmla="*/ 689396 h 696240"/>
                <a:gd name="connsiteX24" fmla="*/ 428658 w 2326130"/>
                <a:gd name="connsiteY24" fmla="*/ 683686 h 696240"/>
                <a:gd name="connsiteX25" fmla="*/ 425289 w 2326130"/>
                <a:gd name="connsiteY25" fmla="*/ 678139 h 696240"/>
                <a:gd name="connsiteX26" fmla="*/ 431730 w 2326130"/>
                <a:gd name="connsiteY26" fmla="*/ 671831 h 696240"/>
                <a:gd name="connsiteX27" fmla="*/ 554752 w 2326130"/>
                <a:gd name="connsiteY27" fmla="*/ 671831 h 696240"/>
                <a:gd name="connsiteX28" fmla="*/ 561192 w 2326130"/>
                <a:gd name="connsiteY28" fmla="*/ 678139 h 696240"/>
                <a:gd name="connsiteX29" fmla="*/ 557823 w 2326130"/>
                <a:gd name="connsiteY29" fmla="*/ 683686 h 696240"/>
                <a:gd name="connsiteX30" fmla="*/ 557823 w 2326130"/>
                <a:gd name="connsiteY30" fmla="*/ 689396 h 696240"/>
                <a:gd name="connsiteX31" fmla="*/ 554752 w 2326130"/>
                <a:gd name="connsiteY31" fmla="*/ 692405 h 696240"/>
                <a:gd name="connsiteX32" fmla="*/ 551679 w 2326130"/>
                <a:gd name="connsiteY32" fmla="*/ 689396 h 696240"/>
                <a:gd name="connsiteX33" fmla="*/ 551679 w 2326130"/>
                <a:gd name="connsiteY33" fmla="*/ 683686 h 696240"/>
                <a:gd name="connsiteX34" fmla="*/ 548310 w 2326130"/>
                <a:gd name="connsiteY34" fmla="*/ 678139 h 696240"/>
                <a:gd name="connsiteX35" fmla="*/ 554752 w 2326130"/>
                <a:gd name="connsiteY35" fmla="*/ 671831 h 696240"/>
                <a:gd name="connsiteX36" fmla="*/ 841982 w 2326130"/>
                <a:gd name="connsiteY36" fmla="*/ 671831 h 696240"/>
                <a:gd name="connsiteX37" fmla="*/ 848423 w 2326130"/>
                <a:gd name="connsiteY37" fmla="*/ 678139 h 696240"/>
                <a:gd name="connsiteX38" fmla="*/ 845053 w 2326130"/>
                <a:gd name="connsiteY38" fmla="*/ 683686 h 696240"/>
                <a:gd name="connsiteX39" fmla="*/ 845053 w 2326130"/>
                <a:gd name="connsiteY39" fmla="*/ 689396 h 696240"/>
                <a:gd name="connsiteX40" fmla="*/ 841982 w 2326130"/>
                <a:gd name="connsiteY40" fmla="*/ 692405 h 696240"/>
                <a:gd name="connsiteX41" fmla="*/ 838910 w 2326130"/>
                <a:gd name="connsiteY41" fmla="*/ 689396 h 696240"/>
                <a:gd name="connsiteX42" fmla="*/ 838910 w 2326130"/>
                <a:gd name="connsiteY42" fmla="*/ 683686 h 696240"/>
                <a:gd name="connsiteX43" fmla="*/ 835540 w 2326130"/>
                <a:gd name="connsiteY43" fmla="*/ 678139 h 696240"/>
                <a:gd name="connsiteX44" fmla="*/ 841982 w 2326130"/>
                <a:gd name="connsiteY44" fmla="*/ 671831 h 696240"/>
                <a:gd name="connsiteX45" fmla="*/ 1016340 w 2326130"/>
                <a:gd name="connsiteY45" fmla="*/ 671831 h 696240"/>
                <a:gd name="connsiteX46" fmla="*/ 1022781 w 2326130"/>
                <a:gd name="connsiteY46" fmla="*/ 678139 h 696240"/>
                <a:gd name="connsiteX47" fmla="*/ 1019412 w 2326130"/>
                <a:gd name="connsiteY47" fmla="*/ 683686 h 696240"/>
                <a:gd name="connsiteX48" fmla="*/ 1019412 w 2326130"/>
                <a:gd name="connsiteY48" fmla="*/ 689396 h 696240"/>
                <a:gd name="connsiteX49" fmla="*/ 1016340 w 2326130"/>
                <a:gd name="connsiteY49" fmla="*/ 692405 h 696240"/>
                <a:gd name="connsiteX50" fmla="*/ 1013268 w 2326130"/>
                <a:gd name="connsiteY50" fmla="*/ 689396 h 696240"/>
                <a:gd name="connsiteX51" fmla="*/ 1013268 w 2326130"/>
                <a:gd name="connsiteY51" fmla="*/ 683686 h 696240"/>
                <a:gd name="connsiteX52" fmla="*/ 1009899 w 2326130"/>
                <a:gd name="connsiteY52" fmla="*/ 678139 h 696240"/>
                <a:gd name="connsiteX53" fmla="*/ 1016340 w 2326130"/>
                <a:gd name="connsiteY53" fmla="*/ 671831 h 696240"/>
                <a:gd name="connsiteX54" fmla="*/ 1077826 w 2326130"/>
                <a:gd name="connsiteY54" fmla="*/ 671831 h 696240"/>
                <a:gd name="connsiteX55" fmla="*/ 1084267 w 2326130"/>
                <a:gd name="connsiteY55" fmla="*/ 678139 h 696240"/>
                <a:gd name="connsiteX56" fmla="*/ 1080898 w 2326130"/>
                <a:gd name="connsiteY56" fmla="*/ 683686 h 696240"/>
                <a:gd name="connsiteX57" fmla="*/ 1080898 w 2326130"/>
                <a:gd name="connsiteY57" fmla="*/ 689396 h 696240"/>
                <a:gd name="connsiteX58" fmla="*/ 1077826 w 2326130"/>
                <a:gd name="connsiteY58" fmla="*/ 692405 h 696240"/>
                <a:gd name="connsiteX59" fmla="*/ 1074754 w 2326130"/>
                <a:gd name="connsiteY59" fmla="*/ 689396 h 696240"/>
                <a:gd name="connsiteX60" fmla="*/ 1074754 w 2326130"/>
                <a:gd name="connsiteY60" fmla="*/ 683686 h 696240"/>
                <a:gd name="connsiteX61" fmla="*/ 1071384 w 2326130"/>
                <a:gd name="connsiteY61" fmla="*/ 678139 h 696240"/>
                <a:gd name="connsiteX62" fmla="*/ 1077826 w 2326130"/>
                <a:gd name="connsiteY62" fmla="*/ 671831 h 696240"/>
                <a:gd name="connsiteX63" fmla="*/ 1252183 w 2326130"/>
                <a:gd name="connsiteY63" fmla="*/ 671831 h 696240"/>
                <a:gd name="connsiteX64" fmla="*/ 1258625 w 2326130"/>
                <a:gd name="connsiteY64" fmla="*/ 678139 h 696240"/>
                <a:gd name="connsiteX65" fmla="*/ 1255255 w 2326130"/>
                <a:gd name="connsiteY65" fmla="*/ 683686 h 696240"/>
                <a:gd name="connsiteX66" fmla="*/ 1255255 w 2326130"/>
                <a:gd name="connsiteY66" fmla="*/ 689396 h 696240"/>
                <a:gd name="connsiteX67" fmla="*/ 1252183 w 2326130"/>
                <a:gd name="connsiteY67" fmla="*/ 692405 h 696240"/>
                <a:gd name="connsiteX68" fmla="*/ 1249111 w 2326130"/>
                <a:gd name="connsiteY68" fmla="*/ 689396 h 696240"/>
                <a:gd name="connsiteX69" fmla="*/ 1249111 w 2326130"/>
                <a:gd name="connsiteY69" fmla="*/ 683686 h 696240"/>
                <a:gd name="connsiteX70" fmla="*/ 1245742 w 2326130"/>
                <a:gd name="connsiteY70" fmla="*/ 678139 h 696240"/>
                <a:gd name="connsiteX71" fmla="*/ 1252183 w 2326130"/>
                <a:gd name="connsiteY71" fmla="*/ 671831 h 696240"/>
                <a:gd name="connsiteX72" fmla="*/ 1313669 w 2326130"/>
                <a:gd name="connsiteY72" fmla="*/ 671831 h 696240"/>
                <a:gd name="connsiteX73" fmla="*/ 1320111 w 2326130"/>
                <a:gd name="connsiteY73" fmla="*/ 678139 h 696240"/>
                <a:gd name="connsiteX74" fmla="*/ 1316741 w 2326130"/>
                <a:gd name="connsiteY74" fmla="*/ 683686 h 696240"/>
                <a:gd name="connsiteX75" fmla="*/ 1316741 w 2326130"/>
                <a:gd name="connsiteY75" fmla="*/ 689396 h 696240"/>
                <a:gd name="connsiteX76" fmla="*/ 1313669 w 2326130"/>
                <a:gd name="connsiteY76" fmla="*/ 692405 h 696240"/>
                <a:gd name="connsiteX77" fmla="*/ 1310597 w 2326130"/>
                <a:gd name="connsiteY77" fmla="*/ 689396 h 696240"/>
                <a:gd name="connsiteX78" fmla="*/ 1310597 w 2326130"/>
                <a:gd name="connsiteY78" fmla="*/ 683686 h 696240"/>
                <a:gd name="connsiteX79" fmla="*/ 1307228 w 2326130"/>
                <a:gd name="connsiteY79" fmla="*/ 678139 h 696240"/>
                <a:gd name="connsiteX80" fmla="*/ 1313669 w 2326130"/>
                <a:gd name="connsiteY80" fmla="*/ 671831 h 696240"/>
                <a:gd name="connsiteX81" fmla="*/ 1488027 w 2326130"/>
                <a:gd name="connsiteY81" fmla="*/ 671831 h 696240"/>
                <a:gd name="connsiteX82" fmla="*/ 1494468 w 2326130"/>
                <a:gd name="connsiteY82" fmla="*/ 678139 h 696240"/>
                <a:gd name="connsiteX83" fmla="*/ 1491099 w 2326130"/>
                <a:gd name="connsiteY83" fmla="*/ 683686 h 696240"/>
                <a:gd name="connsiteX84" fmla="*/ 1491099 w 2326130"/>
                <a:gd name="connsiteY84" fmla="*/ 689396 h 696240"/>
                <a:gd name="connsiteX85" fmla="*/ 1488027 w 2326130"/>
                <a:gd name="connsiteY85" fmla="*/ 692405 h 696240"/>
                <a:gd name="connsiteX86" fmla="*/ 1484955 w 2326130"/>
                <a:gd name="connsiteY86" fmla="*/ 689396 h 696240"/>
                <a:gd name="connsiteX87" fmla="*/ 1484955 w 2326130"/>
                <a:gd name="connsiteY87" fmla="*/ 683686 h 696240"/>
                <a:gd name="connsiteX88" fmla="*/ 1481586 w 2326130"/>
                <a:gd name="connsiteY88" fmla="*/ 678139 h 696240"/>
                <a:gd name="connsiteX89" fmla="*/ 1488027 w 2326130"/>
                <a:gd name="connsiteY89" fmla="*/ 671831 h 696240"/>
                <a:gd name="connsiteX90" fmla="*/ 1775258 w 2326130"/>
                <a:gd name="connsiteY90" fmla="*/ 671831 h 696240"/>
                <a:gd name="connsiteX91" fmla="*/ 1781698 w 2326130"/>
                <a:gd name="connsiteY91" fmla="*/ 678139 h 696240"/>
                <a:gd name="connsiteX92" fmla="*/ 1778330 w 2326130"/>
                <a:gd name="connsiteY92" fmla="*/ 683686 h 696240"/>
                <a:gd name="connsiteX93" fmla="*/ 1778330 w 2326130"/>
                <a:gd name="connsiteY93" fmla="*/ 689396 h 696240"/>
                <a:gd name="connsiteX94" fmla="*/ 1775258 w 2326130"/>
                <a:gd name="connsiteY94" fmla="*/ 692405 h 696240"/>
                <a:gd name="connsiteX95" fmla="*/ 1772185 w 2326130"/>
                <a:gd name="connsiteY95" fmla="*/ 689396 h 696240"/>
                <a:gd name="connsiteX96" fmla="*/ 1772185 w 2326130"/>
                <a:gd name="connsiteY96" fmla="*/ 683686 h 696240"/>
                <a:gd name="connsiteX97" fmla="*/ 1768816 w 2326130"/>
                <a:gd name="connsiteY97" fmla="*/ 678139 h 696240"/>
                <a:gd name="connsiteX98" fmla="*/ 1775258 w 2326130"/>
                <a:gd name="connsiteY98" fmla="*/ 671831 h 696240"/>
                <a:gd name="connsiteX99" fmla="*/ 1836743 w 2326130"/>
                <a:gd name="connsiteY99" fmla="*/ 671831 h 696240"/>
                <a:gd name="connsiteX100" fmla="*/ 1843185 w 2326130"/>
                <a:gd name="connsiteY100" fmla="*/ 678139 h 696240"/>
                <a:gd name="connsiteX101" fmla="*/ 1839816 w 2326130"/>
                <a:gd name="connsiteY101" fmla="*/ 683686 h 696240"/>
                <a:gd name="connsiteX102" fmla="*/ 1839816 w 2326130"/>
                <a:gd name="connsiteY102" fmla="*/ 689396 h 696240"/>
                <a:gd name="connsiteX103" fmla="*/ 1836743 w 2326130"/>
                <a:gd name="connsiteY103" fmla="*/ 692405 h 696240"/>
                <a:gd name="connsiteX104" fmla="*/ 1833671 w 2326130"/>
                <a:gd name="connsiteY104" fmla="*/ 689396 h 696240"/>
                <a:gd name="connsiteX105" fmla="*/ 1833671 w 2326130"/>
                <a:gd name="connsiteY105" fmla="*/ 683686 h 696240"/>
                <a:gd name="connsiteX106" fmla="*/ 1830302 w 2326130"/>
                <a:gd name="connsiteY106" fmla="*/ 678139 h 696240"/>
                <a:gd name="connsiteX107" fmla="*/ 1836743 w 2326130"/>
                <a:gd name="connsiteY107" fmla="*/ 671831 h 696240"/>
                <a:gd name="connsiteX108" fmla="*/ 1959765 w 2326130"/>
                <a:gd name="connsiteY108" fmla="*/ 671831 h 696240"/>
                <a:gd name="connsiteX109" fmla="*/ 1966206 w 2326130"/>
                <a:gd name="connsiteY109" fmla="*/ 678139 h 696240"/>
                <a:gd name="connsiteX110" fmla="*/ 1962837 w 2326130"/>
                <a:gd name="connsiteY110" fmla="*/ 683686 h 696240"/>
                <a:gd name="connsiteX111" fmla="*/ 1962837 w 2326130"/>
                <a:gd name="connsiteY111" fmla="*/ 689396 h 696240"/>
                <a:gd name="connsiteX112" fmla="*/ 1959765 w 2326130"/>
                <a:gd name="connsiteY112" fmla="*/ 692405 h 696240"/>
                <a:gd name="connsiteX113" fmla="*/ 1956692 w 2326130"/>
                <a:gd name="connsiteY113" fmla="*/ 689396 h 696240"/>
                <a:gd name="connsiteX114" fmla="*/ 1956692 w 2326130"/>
                <a:gd name="connsiteY114" fmla="*/ 683686 h 696240"/>
                <a:gd name="connsiteX115" fmla="*/ 1953323 w 2326130"/>
                <a:gd name="connsiteY115" fmla="*/ 678139 h 696240"/>
                <a:gd name="connsiteX116" fmla="*/ 1959765 w 2326130"/>
                <a:gd name="connsiteY116" fmla="*/ 671831 h 696240"/>
                <a:gd name="connsiteX117" fmla="*/ 2246995 w 2326130"/>
                <a:gd name="connsiteY117" fmla="*/ 671831 h 696240"/>
                <a:gd name="connsiteX118" fmla="*/ 2253436 w 2326130"/>
                <a:gd name="connsiteY118" fmla="*/ 678139 h 696240"/>
                <a:gd name="connsiteX119" fmla="*/ 2250067 w 2326130"/>
                <a:gd name="connsiteY119" fmla="*/ 683686 h 696240"/>
                <a:gd name="connsiteX120" fmla="*/ 2250067 w 2326130"/>
                <a:gd name="connsiteY120" fmla="*/ 689396 h 696240"/>
                <a:gd name="connsiteX121" fmla="*/ 2246995 w 2326130"/>
                <a:gd name="connsiteY121" fmla="*/ 692405 h 696240"/>
                <a:gd name="connsiteX122" fmla="*/ 2243923 w 2326130"/>
                <a:gd name="connsiteY122" fmla="*/ 689396 h 696240"/>
                <a:gd name="connsiteX123" fmla="*/ 2243923 w 2326130"/>
                <a:gd name="connsiteY123" fmla="*/ 683686 h 696240"/>
                <a:gd name="connsiteX124" fmla="*/ 2240553 w 2326130"/>
                <a:gd name="connsiteY124" fmla="*/ 678139 h 696240"/>
                <a:gd name="connsiteX125" fmla="*/ 2246995 w 2326130"/>
                <a:gd name="connsiteY125" fmla="*/ 671831 h 696240"/>
                <a:gd name="connsiteX126" fmla="*/ 18915 w 2326130"/>
                <a:gd name="connsiteY126" fmla="*/ 653336 h 696240"/>
                <a:gd name="connsiteX127" fmla="*/ 26772 w 2326130"/>
                <a:gd name="connsiteY127" fmla="*/ 654991 h 696240"/>
                <a:gd name="connsiteX128" fmla="*/ 28945 w 2326130"/>
                <a:gd name="connsiteY128" fmla="*/ 657382 h 696240"/>
                <a:gd name="connsiteX129" fmla="*/ 30450 w 2326130"/>
                <a:gd name="connsiteY129" fmla="*/ 659957 h 696240"/>
                <a:gd name="connsiteX130" fmla="*/ 31118 w 2326130"/>
                <a:gd name="connsiteY130" fmla="*/ 661795 h 696240"/>
                <a:gd name="connsiteX131" fmla="*/ 31787 w 2326130"/>
                <a:gd name="connsiteY131" fmla="*/ 664554 h 696240"/>
                <a:gd name="connsiteX132" fmla="*/ 32456 w 2326130"/>
                <a:gd name="connsiteY132" fmla="*/ 669335 h 696240"/>
                <a:gd name="connsiteX133" fmla="*/ 31787 w 2326130"/>
                <a:gd name="connsiteY133" fmla="*/ 674300 h 696240"/>
                <a:gd name="connsiteX134" fmla="*/ 30951 w 2326130"/>
                <a:gd name="connsiteY134" fmla="*/ 676874 h 696240"/>
                <a:gd name="connsiteX135" fmla="*/ 29446 w 2326130"/>
                <a:gd name="connsiteY135" fmla="*/ 679817 h 696240"/>
                <a:gd name="connsiteX136" fmla="*/ 27106 w 2326130"/>
                <a:gd name="connsiteY136" fmla="*/ 682759 h 696240"/>
                <a:gd name="connsiteX137" fmla="*/ 24097 w 2326130"/>
                <a:gd name="connsiteY137" fmla="*/ 684598 h 696240"/>
                <a:gd name="connsiteX138" fmla="*/ 15738 w 2326130"/>
                <a:gd name="connsiteY138" fmla="*/ 682943 h 696240"/>
                <a:gd name="connsiteX139" fmla="*/ 13565 w 2326130"/>
                <a:gd name="connsiteY139" fmla="*/ 680552 h 696240"/>
                <a:gd name="connsiteX140" fmla="*/ 11893 w 2326130"/>
                <a:gd name="connsiteY140" fmla="*/ 677610 h 696240"/>
                <a:gd name="connsiteX141" fmla="*/ 11224 w 2326130"/>
                <a:gd name="connsiteY141" fmla="*/ 676139 h 696240"/>
                <a:gd name="connsiteX142" fmla="*/ 10389 w 2326130"/>
                <a:gd name="connsiteY142" fmla="*/ 673197 h 696240"/>
                <a:gd name="connsiteX143" fmla="*/ 10722 w 2326130"/>
                <a:gd name="connsiteY143" fmla="*/ 663818 h 696240"/>
                <a:gd name="connsiteX144" fmla="*/ 11392 w 2326130"/>
                <a:gd name="connsiteY144" fmla="*/ 661795 h 696240"/>
                <a:gd name="connsiteX145" fmla="*/ 12227 w 2326130"/>
                <a:gd name="connsiteY145" fmla="*/ 659772 h 696240"/>
                <a:gd name="connsiteX146" fmla="*/ 13732 w 2326130"/>
                <a:gd name="connsiteY146" fmla="*/ 657382 h 696240"/>
                <a:gd name="connsiteX147" fmla="*/ 16240 w 2326130"/>
                <a:gd name="connsiteY147" fmla="*/ 654807 h 696240"/>
                <a:gd name="connsiteX148" fmla="*/ 18915 w 2326130"/>
                <a:gd name="connsiteY148" fmla="*/ 653336 h 696240"/>
                <a:gd name="connsiteX149" fmla="*/ 141945 w 2326130"/>
                <a:gd name="connsiteY149" fmla="*/ 653336 h 696240"/>
                <a:gd name="connsiteX150" fmla="*/ 149802 w 2326130"/>
                <a:gd name="connsiteY150" fmla="*/ 654991 h 696240"/>
                <a:gd name="connsiteX151" fmla="*/ 151975 w 2326130"/>
                <a:gd name="connsiteY151" fmla="*/ 657382 h 696240"/>
                <a:gd name="connsiteX152" fmla="*/ 153480 w 2326130"/>
                <a:gd name="connsiteY152" fmla="*/ 659957 h 696240"/>
                <a:gd name="connsiteX153" fmla="*/ 154148 w 2326130"/>
                <a:gd name="connsiteY153" fmla="*/ 661795 h 696240"/>
                <a:gd name="connsiteX154" fmla="*/ 154818 w 2326130"/>
                <a:gd name="connsiteY154" fmla="*/ 664554 h 696240"/>
                <a:gd name="connsiteX155" fmla="*/ 155486 w 2326130"/>
                <a:gd name="connsiteY155" fmla="*/ 669335 h 696240"/>
                <a:gd name="connsiteX156" fmla="*/ 154818 w 2326130"/>
                <a:gd name="connsiteY156" fmla="*/ 674300 h 696240"/>
                <a:gd name="connsiteX157" fmla="*/ 153981 w 2326130"/>
                <a:gd name="connsiteY157" fmla="*/ 676874 h 696240"/>
                <a:gd name="connsiteX158" fmla="*/ 152477 w 2326130"/>
                <a:gd name="connsiteY158" fmla="*/ 679817 h 696240"/>
                <a:gd name="connsiteX159" fmla="*/ 150136 w 2326130"/>
                <a:gd name="connsiteY159" fmla="*/ 682759 h 696240"/>
                <a:gd name="connsiteX160" fmla="*/ 147127 w 2326130"/>
                <a:gd name="connsiteY160" fmla="*/ 684598 h 696240"/>
                <a:gd name="connsiteX161" fmla="*/ 138768 w 2326130"/>
                <a:gd name="connsiteY161" fmla="*/ 682943 h 696240"/>
                <a:gd name="connsiteX162" fmla="*/ 136595 w 2326130"/>
                <a:gd name="connsiteY162" fmla="*/ 680552 h 696240"/>
                <a:gd name="connsiteX163" fmla="*/ 134923 w 2326130"/>
                <a:gd name="connsiteY163" fmla="*/ 677610 h 696240"/>
                <a:gd name="connsiteX164" fmla="*/ 134254 w 2326130"/>
                <a:gd name="connsiteY164" fmla="*/ 676139 h 696240"/>
                <a:gd name="connsiteX165" fmla="*/ 133419 w 2326130"/>
                <a:gd name="connsiteY165" fmla="*/ 673197 h 696240"/>
                <a:gd name="connsiteX166" fmla="*/ 133753 w 2326130"/>
                <a:gd name="connsiteY166" fmla="*/ 663818 h 696240"/>
                <a:gd name="connsiteX167" fmla="*/ 134422 w 2326130"/>
                <a:gd name="connsiteY167" fmla="*/ 661795 h 696240"/>
                <a:gd name="connsiteX168" fmla="*/ 135257 w 2326130"/>
                <a:gd name="connsiteY168" fmla="*/ 659772 h 696240"/>
                <a:gd name="connsiteX169" fmla="*/ 136762 w 2326130"/>
                <a:gd name="connsiteY169" fmla="*/ 657382 h 696240"/>
                <a:gd name="connsiteX170" fmla="*/ 139270 w 2326130"/>
                <a:gd name="connsiteY170" fmla="*/ 654807 h 696240"/>
                <a:gd name="connsiteX171" fmla="*/ 141945 w 2326130"/>
                <a:gd name="connsiteY171" fmla="*/ 653336 h 696240"/>
                <a:gd name="connsiteX172" fmla="*/ 254817 w 2326130"/>
                <a:gd name="connsiteY172" fmla="*/ 653336 h 696240"/>
                <a:gd name="connsiteX173" fmla="*/ 262674 w 2326130"/>
                <a:gd name="connsiteY173" fmla="*/ 654991 h 696240"/>
                <a:gd name="connsiteX174" fmla="*/ 264848 w 2326130"/>
                <a:gd name="connsiteY174" fmla="*/ 657382 h 696240"/>
                <a:gd name="connsiteX175" fmla="*/ 266352 w 2326130"/>
                <a:gd name="connsiteY175" fmla="*/ 659957 h 696240"/>
                <a:gd name="connsiteX176" fmla="*/ 267021 w 2326130"/>
                <a:gd name="connsiteY176" fmla="*/ 661795 h 696240"/>
                <a:gd name="connsiteX177" fmla="*/ 267690 w 2326130"/>
                <a:gd name="connsiteY177" fmla="*/ 664554 h 696240"/>
                <a:gd name="connsiteX178" fmla="*/ 268358 w 2326130"/>
                <a:gd name="connsiteY178" fmla="*/ 669335 h 696240"/>
                <a:gd name="connsiteX179" fmla="*/ 267690 w 2326130"/>
                <a:gd name="connsiteY179" fmla="*/ 674300 h 696240"/>
                <a:gd name="connsiteX180" fmla="*/ 266853 w 2326130"/>
                <a:gd name="connsiteY180" fmla="*/ 676874 h 696240"/>
                <a:gd name="connsiteX181" fmla="*/ 265349 w 2326130"/>
                <a:gd name="connsiteY181" fmla="*/ 679817 h 696240"/>
                <a:gd name="connsiteX182" fmla="*/ 263009 w 2326130"/>
                <a:gd name="connsiteY182" fmla="*/ 682759 h 696240"/>
                <a:gd name="connsiteX183" fmla="*/ 260000 w 2326130"/>
                <a:gd name="connsiteY183" fmla="*/ 684598 h 696240"/>
                <a:gd name="connsiteX184" fmla="*/ 251640 w 2326130"/>
                <a:gd name="connsiteY184" fmla="*/ 682943 h 696240"/>
                <a:gd name="connsiteX185" fmla="*/ 249467 w 2326130"/>
                <a:gd name="connsiteY185" fmla="*/ 680552 h 696240"/>
                <a:gd name="connsiteX186" fmla="*/ 247795 w 2326130"/>
                <a:gd name="connsiteY186" fmla="*/ 677610 h 696240"/>
                <a:gd name="connsiteX187" fmla="*/ 247127 w 2326130"/>
                <a:gd name="connsiteY187" fmla="*/ 676139 h 696240"/>
                <a:gd name="connsiteX188" fmla="*/ 246291 w 2326130"/>
                <a:gd name="connsiteY188" fmla="*/ 673197 h 696240"/>
                <a:gd name="connsiteX189" fmla="*/ 246625 w 2326130"/>
                <a:gd name="connsiteY189" fmla="*/ 663818 h 696240"/>
                <a:gd name="connsiteX190" fmla="*/ 247294 w 2326130"/>
                <a:gd name="connsiteY190" fmla="*/ 661795 h 696240"/>
                <a:gd name="connsiteX191" fmla="*/ 248129 w 2326130"/>
                <a:gd name="connsiteY191" fmla="*/ 659772 h 696240"/>
                <a:gd name="connsiteX192" fmla="*/ 249634 w 2326130"/>
                <a:gd name="connsiteY192" fmla="*/ 657382 h 696240"/>
                <a:gd name="connsiteX193" fmla="*/ 252142 w 2326130"/>
                <a:gd name="connsiteY193" fmla="*/ 654807 h 696240"/>
                <a:gd name="connsiteX194" fmla="*/ 254817 w 2326130"/>
                <a:gd name="connsiteY194" fmla="*/ 653336 h 696240"/>
                <a:gd name="connsiteX195" fmla="*/ 490661 w 2326130"/>
                <a:gd name="connsiteY195" fmla="*/ 653336 h 696240"/>
                <a:gd name="connsiteX196" fmla="*/ 498518 w 2326130"/>
                <a:gd name="connsiteY196" fmla="*/ 654991 h 696240"/>
                <a:gd name="connsiteX197" fmla="*/ 500691 w 2326130"/>
                <a:gd name="connsiteY197" fmla="*/ 657382 h 696240"/>
                <a:gd name="connsiteX198" fmla="*/ 502196 w 2326130"/>
                <a:gd name="connsiteY198" fmla="*/ 659957 h 696240"/>
                <a:gd name="connsiteX199" fmla="*/ 502864 w 2326130"/>
                <a:gd name="connsiteY199" fmla="*/ 661795 h 696240"/>
                <a:gd name="connsiteX200" fmla="*/ 503534 w 2326130"/>
                <a:gd name="connsiteY200" fmla="*/ 664554 h 696240"/>
                <a:gd name="connsiteX201" fmla="*/ 504202 w 2326130"/>
                <a:gd name="connsiteY201" fmla="*/ 669335 h 696240"/>
                <a:gd name="connsiteX202" fmla="*/ 503534 w 2326130"/>
                <a:gd name="connsiteY202" fmla="*/ 674300 h 696240"/>
                <a:gd name="connsiteX203" fmla="*/ 502697 w 2326130"/>
                <a:gd name="connsiteY203" fmla="*/ 676874 h 696240"/>
                <a:gd name="connsiteX204" fmla="*/ 501193 w 2326130"/>
                <a:gd name="connsiteY204" fmla="*/ 679817 h 696240"/>
                <a:gd name="connsiteX205" fmla="*/ 498852 w 2326130"/>
                <a:gd name="connsiteY205" fmla="*/ 682759 h 696240"/>
                <a:gd name="connsiteX206" fmla="*/ 495844 w 2326130"/>
                <a:gd name="connsiteY206" fmla="*/ 684598 h 696240"/>
                <a:gd name="connsiteX207" fmla="*/ 487484 w 2326130"/>
                <a:gd name="connsiteY207" fmla="*/ 682943 h 696240"/>
                <a:gd name="connsiteX208" fmla="*/ 485311 w 2326130"/>
                <a:gd name="connsiteY208" fmla="*/ 680552 h 696240"/>
                <a:gd name="connsiteX209" fmla="*/ 483639 w 2326130"/>
                <a:gd name="connsiteY209" fmla="*/ 677610 h 696240"/>
                <a:gd name="connsiteX210" fmla="*/ 482971 w 2326130"/>
                <a:gd name="connsiteY210" fmla="*/ 676139 h 696240"/>
                <a:gd name="connsiteX211" fmla="*/ 482135 w 2326130"/>
                <a:gd name="connsiteY211" fmla="*/ 673197 h 696240"/>
                <a:gd name="connsiteX212" fmla="*/ 482469 w 2326130"/>
                <a:gd name="connsiteY212" fmla="*/ 663818 h 696240"/>
                <a:gd name="connsiteX213" fmla="*/ 483138 w 2326130"/>
                <a:gd name="connsiteY213" fmla="*/ 661795 h 696240"/>
                <a:gd name="connsiteX214" fmla="*/ 483973 w 2326130"/>
                <a:gd name="connsiteY214" fmla="*/ 659772 h 696240"/>
                <a:gd name="connsiteX215" fmla="*/ 485478 w 2326130"/>
                <a:gd name="connsiteY215" fmla="*/ 657382 h 696240"/>
                <a:gd name="connsiteX216" fmla="*/ 487986 w 2326130"/>
                <a:gd name="connsiteY216" fmla="*/ 654807 h 696240"/>
                <a:gd name="connsiteX217" fmla="*/ 490661 w 2326130"/>
                <a:gd name="connsiteY217" fmla="*/ 653336 h 696240"/>
                <a:gd name="connsiteX218" fmla="*/ 613682 w 2326130"/>
                <a:gd name="connsiteY218" fmla="*/ 653336 h 696240"/>
                <a:gd name="connsiteX219" fmla="*/ 621540 w 2326130"/>
                <a:gd name="connsiteY219" fmla="*/ 654991 h 696240"/>
                <a:gd name="connsiteX220" fmla="*/ 623713 w 2326130"/>
                <a:gd name="connsiteY220" fmla="*/ 657382 h 696240"/>
                <a:gd name="connsiteX221" fmla="*/ 625217 w 2326130"/>
                <a:gd name="connsiteY221" fmla="*/ 659957 h 696240"/>
                <a:gd name="connsiteX222" fmla="*/ 625886 w 2326130"/>
                <a:gd name="connsiteY222" fmla="*/ 661795 h 696240"/>
                <a:gd name="connsiteX223" fmla="*/ 626555 w 2326130"/>
                <a:gd name="connsiteY223" fmla="*/ 664554 h 696240"/>
                <a:gd name="connsiteX224" fmla="*/ 627224 w 2326130"/>
                <a:gd name="connsiteY224" fmla="*/ 669335 h 696240"/>
                <a:gd name="connsiteX225" fmla="*/ 626555 w 2326130"/>
                <a:gd name="connsiteY225" fmla="*/ 674300 h 696240"/>
                <a:gd name="connsiteX226" fmla="*/ 625718 w 2326130"/>
                <a:gd name="connsiteY226" fmla="*/ 676874 h 696240"/>
                <a:gd name="connsiteX227" fmla="*/ 624214 w 2326130"/>
                <a:gd name="connsiteY227" fmla="*/ 679817 h 696240"/>
                <a:gd name="connsiteX228" fmla="*/ 621874 w 2326130"/>
                <a:gd name="connsiteY228" fmla="*/ 682759 h 696240"/>
                <a:gd name="connsiteX229" fmla="*/ 618865 w 2326130"/>
                <a:gd name="connsiteY229" fmla="*/ 684598 h 696240"/>
                <a:gd name="connsiteX230" fmla="*/ 610505 w 2326130"/>
                <a:gd name="connsiteY230" fmla="*/ 682943 h 696240"/>
                <a:gd name="connsiteX231" fmla="*/ 608332 w 2326130"/>
                <a:gd name="connsiteY231" fmla="*/ 680552 h 696240"/>
                <a:gd name="connsiteX232" fmla="*/ 606660 w 2326130"/>
                <a:gd name="connsiteY232" fmla="*/ 677610 h 696240"/>
                <a:gd name="connsiteX233" fmla="*/ 605992 w 2326130"/>
                <a:gd name="connsiteY233" fmla="*/ 676139 h 696240"/>
                <a:gd name="connsiteX234" fmla="*/ 605156 w 2326130"/>
                <a:gd name="connsiteY234" fmla="*/ 673197 h 696240"/>
                <a:gd name="connsiteX235" fmla="*/ 605490 w 2326130"/>
                <a:gd name="connsiteY235" fmla="*/ 663818 h 696240"/>
                <a:gd name="connsiteX236" fmla="*/ 606159 w 2326130"/>
                <a:gd name="connsiteY236" fmla="*/ 661795 h 696240"/>
                <a:gd name="connsiteX237" fmla="*/ 606994 w 2326130"/>
                <a:gd name="connsiteY237" fmla="*/ 659772 h 696240"/>
                <a:gd name="connsiteX238" fmla="*/ 608500 w 2326130"/>
                <a:gd name="connsiteY238" fmla="*/ 657382 h 696240"/>
                <a:gd name="connsiteX239" fmla="*/ 611007 w 2326130"/>
                <a:gd name="connsiteY239" fmla="*/ 654807 h 696240"/>
                <a:gd name="connsiteX240" fmla="*/ 613682 w 2326130"/>
                <a:gd name="connsiteY240" fmla="*/ 653336 h 696240"/>
                <a:gd name="connsiteX241" fmla="*/ 777891 w 2326130"/>
                <a:gd name="connsiteY241" fmla="*/ 653336 h 696240"/>
                <a:gd name="connsiteX242" fmla="*/ 785749 w 2326130"/>
                <a:gd name="connsiteY242" fmla="*/ 654991 h 696240"/>
                <a:gd name="connsiteX243" fmla="*/ 787922 w 2326130"/>
                <a:gd name="connsiteY243" fmla="*/ 657382 h 696240"/>
                <a:gd name="connsiteX244" fmla="*/ 789426 w 2326130"/>
                <a:gd name="connsiteY244" fmla="*/ 659957 h 696240"/>
                <a:gd name="connsiteX245" fmla="*/ 790095 w 2326130"/>
                <a:gd name="connsiteY245" fmla="*/ 661795 h 696240"/>
                <a:gd name="connsiteX246" fmla="*/ 790764 w 2326130"/>
                <a:gd name="connsiteY246" fmla="*/ 664554 h 696240"/>
                <a:gd name="connsiteX247" fmla="*/ 791433 w 2326130"/>
                <a:gd name="connsiteY247" fmla="*/ 669335 h 696240"/>
                <a:gd name="connsiteX248" fmla="*/ 790764 w 2326130"/>
                <a:gd name="connsiteY248" fmla="*/ 674300 h 696240"/>
                <a:gd name="connsiteX249" fmla="*/ 789928 w 2326130"/>
                <a:gd name="connsiteY249" fmla="*/ 676874 h 696240"/>
                <a:gd name="connsiteX250" fmla="*/ 788423 w 2326130"/>
                <a:gd name="connsiteY250" fmla="*/ 679817 h 696240"/>
                <a:gd name="connsiteX251" fmla="*/ 786083 w 2326130"/>
                <a:gd name="connsiteY251" fmla="*/ 682759 h 696240"/>
                <a:gd name="connsiteX252" fmla="*/ 783074 w 2326130"/>
                <a:gd name="connsiteY252" fmla="*/ 684598 h 696240"/>
                <a:gd name="connsiteX253" fmla="*/ 774714 w 2326130"/>
                <a:gd name="connsiteY253" fmla="*/ 682943 h 696240"/>
                <a:gd name="connsiteX254" fmla="*/ 772541 w 2326130"/>
                <a:gd name="connsiteY254" fmla="*/ 680552 h 696240"/>
                <a:gd name="connsiteX255" fmla="*/ 770870 w 2326130"/>
                <a:gd name="connsiteY255" fmla="*/ 677610 h 696240"/>
                <a:gd name="connsiteX256" fmla="*/ 770201 w 2326130"/>
                <a:gd name="connsiteY256" fmla="*/ 676139 h 696240"/>
                <a:gd name="connsiteX257" fmla="*/ 769365 w 2326130"/>
                <a:gd name="connsiteY257" fmla="*/ 673197 h 696240"/>
                <a:gd name="connsiteX258" fmla="*/ 769699 w 2326130"/>
                <a:gd name="connsiteY258" fmla="*/ 663818 h 696240"/>
                <a:gd name="connsiteX259" fmla="*/ 770368 w 2326130"/>
                <a:gd name="connsiteY259" fmla="*/ 661795 h 696240"/>
                <a:gd name="connsiteX260" fmla="*/ 771204 w 2326130"/>
                <a:gd name="connsiteY260" fmla="*/ 659772 h 696240"/>
                <a:gd name="connsiteX261" fmla="*/ 772709 w 2326130"/>
                <a:gd name="connsiteY261" fmla="*/ 657382 h 696240"/>
                <a:gd name="connsiteX262" fmla="*/ 775216 w 2326130"/>
                <a:gd name="connsiteY262" fmla="*/ 654807 h 696240"/>
                <a:gd name="connsiteX263" fmla="*/ 777891 w 2326130"/>
                <a:gd name="connsiteY263" fmla="*/ 653336 h 696240"/>
                <a:gd name="connsiteX264" fmla="*/ 900913 w 2326130"/>
                <a:gd name="connsiteY264" fmla="*/ 653336 h 696240"/>
                <a:gd name="connsiteX265" fmla="*/ 908770 w 2326130"/>
                <a:gd name="connsiteY265" fmla="*/ 654991 h 696240"/>
                <a:gd name="connsiteX266" fmla="*/ 910943 w 2326130"/>
                <a:gd name="connsiteY266" fmla="*/ 657382 h 696240"/>
                <a:gd name="connsiteX267" fmla="*/ 912448 w 2326130"/>
                <a:gd name="connsiteY267" fmla="*/ 659957 h 696240"/>
                <a:gd name="connsiteX268" fmla="*/ 913116 w 2326130"/>
                <a:gd name="connsiteY268" fmla="*/ 661795 h 696240"/>
                <a:gd name="connsiteX269" fmla="*/ 913785 w 2326130"/>
                <a:gd name="connsiteY269" fmla="*/ 664554 h 696240"/>
                <a:gd name="connsiteX270" fmla="*/ 914454 w 2326130"/>
                <a:gd name="connsiteY270" fmla="*/ 669335 h 696240"/>
                <a:gd name="connsiteX271" fmla="*/ 913785 w 2326130"/>
                <a:gd name="connsiteY271" fmla="*/ 674300 h 696240"/>
                <a:gd name="connsiteX272" fmla="*/ 912949 w 2326130"/>
                <a:gd name="connsiteY272" fmla="*/ 676874 h 696240"/>
                <a:gd name="connsiteX273" fmla="*/ 911444 w 2326130"/>
                <a:gd name="connsiteY273" fmla="*/ 679817 h 696240"/>
                <a:gd name="connsiteX274" fmla="*/ 909104 w 2326130"/>
                <a:gd name="connsiteY274" fmla="*/ 682759 h 696240"/>
                <a:gd name="connsiteX275" fmla="*/ 906095 w 2326130"/>
                <a:gd name="connsiteY275" fmla="*/ 684598 h 696240"/>
                <a:gd name="connsiteX276" fmla="*/ 897736 w 2326130"/>
                <a:gd name="connsiteY276" fmla="*/ 682943 h 696240"/>
                <a:gd name="connsiteX277" fmla="*/ 895563 w 2326130"/>
                <a:gd name="connsiteY277" fmla="*/ 680552 h 696240"/>
                <a:gd name="connsiteX278" fmla="*/ 893891 w 2326130"/>
                <a:gd name="connsiteY278" fmla="*/ 677610 h 696240"/>
                <a:gd name="connsiteX279" fmla="*/ 893222 w 2326130"/>
                <a:gd name="connsiteY279" fmla="*/ 676139 h 696240"/>
                <a:gd name="connsiteX280" fmla="*/ 892386 w 2326130"/>
                <a:gd name="connsiteY280" fmla="*/ 673197 h 696240"/>
                <a:gd name="connsiteX281" fmla="*/ 892720 w 2326130"/>
                <a:gd name="connsiteY281" fmla="*/ 663818 h 696240"/>
                <a:gd name="connsiteX282" fmla="*/ 893390 w 2326130"/>
                <a:gd name="connsiteY282" fmla="*/ 661795 h 696240"/>
                <a:gd name="connsiteX283" fmla="*/ 894225 w 2326130"/>
                <a:gd name="connsiteY283" fmla="*/ 659772 h 696240"/>
                <a:gd name="connsiteX284" fmla="*/ 895730 w 2326130"/>
                <a:gd name="connsiteY284" fmla="*/ 657382 h 696240"/>
                <a:gd name="connsiteX285" fmla="*/ 898238 w 2326130"/>
                <a:gd name="connsiteY285" fmla="*/ 654807 h 696240"/>
                <a:gd name="connsiteX286" fmla="*/ 900913 w 2326130"/>
                <a:gd name="connsiteY286" fmla="*/ 653336 h 696240"/>
                <a:gd name="connsiteX287" fmla="*/ 1188093 w 2326130"/>
                <a:gd name="connsiteY287" fmla="*/ 653336 h 696240"/>
                <a:gd name="connsiteX288" fmla="*/ 1195950 w 2326130"/>
                <a:gd name="connsiteY288" fmla="*/ 654991 h 696240"/>
                <a:gd name="connsiteX289" fmla="*/ 1198123 w 2326130"/>
                <a:gd name="connsiteY289" fmla="*/ 657382 h 696240"/>
                <a:gd name="connsiteX290" fmla="*/ 1199628 w 2326130"/>
                <a:gd name="connsiteY290" fmla="*/ 659957 h 696240"/>
                <a:gd name="connsiteX291" fmla="*/ 1200297 w 2326130"/>
                <a:gd name="connsiteY291" fmla="*/ 661795 h 696240"/>
                <a:gd name="connsiteX292" fmla="*/ 1200965 w 2326130"/>
                <a:gd name="connsiteY292" fmla="*/ 664554 h 696240"/>
                <a:gd name="connsiteX293" fmla="*/ 1201634 w 2326130"/>
                <a:gd name="connsiteY293" fmla="*/ 669335 h 696240"/>
                <a:gd name="connsiteX294" fmla="*/ 1200965 w 2326130"/>
                <a:gd name="connsiteY294" fmla="*/ 674300 h 696240"/>
                <a:gd name="connsiteX295" fmla="*/ 1200130 w 2326130"/>
                <a:gd name="connsiteY295" fmla="*/ 676874 h 696240"/>
                <a:gd name="connsiteX296" fmla="*/ 1198624 w 2326130"/>
                <a:gd name="connsiteY296" fmla="*/ 679817 h 696240"/>
                <a:gd name="connsiteX297" fmla="*/ 1196284 w 2326130"/>
                <a:gd name="connsiteY297" fmla="*/ 682759 h 696240"/>
                <a:gd name="connsiteX298" fmla="*/ 1193275 w 2326130"/>
                <a:gd name="connsiteY298" fmla="*/ 684598 h 696240"/>
                <a:gd name="connsiteX299" fmla="*/ 1184916 w 2326130"/>
                <a:gd name="connsiteY299" fmla="*/ 682943 h 696240"/>
                <a:gd name="connsiteX300" fmla="*/ 1182743 w 2326130"/>
                <a:gd name="connsiteY300" fmla="*/ 680552 h 696240"/>
                <a:gd name="connsiteX301" fmla="*/ 1181071 w 2326130"/>
                <a:gd name="connsiteY301" fmla="*/ 677610 h 696240"/>
                <a:gd name="connsiteX302" fmla="*/ 1180402 w 2326130"/>
                <a:gd name="connsiteY302" fmla="*/ 676139 h 696240"/>
                <a:gd name="connsiteX303" fmla="*/ 1179566 w 2326130"/>
                <a:gd name="connsiteY303" fmla="*/ 673197 h 696240"/>
                <a:gd name="connsiteX304" fmla="*/ 1179901 w 2326130"/>
                <a:gd name="connsiteY304" fmla="*/ 663818 h 696240"/>
                <a:gd name="connsiteX305" fmla="*/ 1180570 w 2326130"/>
                <a:gd name="connsiteY305" fmla="*/ 661795 h 696240"/>
                <a:gd name="connsiteX306" fmla="*/ 1181406 w 2326130"/>
                <a:gd name="connsiteY306" fmla="*/ 659772 h 696240"/>
                <a:gd name="connsiteX307" fmla="*/ 1182910 w 2326130"/>
                <a:gd name="connsiteY307" fmla="*/ 657382 h 696240"/>
                <a:gd name="connsiteX308" fmla="*/ 1185418 w 2326130"/>
                <a:gd name="connsiteY308" fmla="*/ 654807 h 696240"/>
                <a:gd name="connsiteX309" fmla="*/ 1188093 w 2326130"/>
                <a:gd name="connsiteY309" fmla="*/ 653336 h 696240"/>
                <a:gd name="connsiteX310" fmla="*/ 1423936 w 2326130"/>
                <a:gd name="connsiteY310" fmla="*/ 653336 h 696240"/>
                <a:gd name="connsiteX311" fmla="*/ 1431793 w 2326130"/>
                <a:gd name="connsiteY311" fmla="*/ 654991 h 696240"/>
                <a:gd name="connsiteX312" fmla="*/ 1433966 w 2326130"/>
                <a:gd name="connsiteY312" fmla="*/ 657382 h 696240"/>
                <a:gd name="connsiteX313" fmla="*/ 1435472 w 2326130"/>
                <a:gd name="connsiteY313" fmla="*/ 659957 h 696240"/>
                <a:gd name="connsiteX314" fmla="*/ 1436140 w 2326130"/>
                <a:gd name="connsiteY314" fmla="*/ 661795 h 696240"/>
                <a:gd name="connsiteX315" fmla="*/ 1436809 w 2326130"/>
                <a:gd name="connsiteY315" fmla="*/ 664554 h 696240"/>
                <a:gd name="connsiteX316" fmla="*/ 1437477 w 2326130"/>
                <a:gd name="connsiteY316" fmla="*/ 669335 h 696240"/>
                <a:gd name="connsiteX317" fmla="*/ 1436809 w 2326130"/>
                <a:gd name="connsiteY317" fmla="*/ 674300 h 696240"/>
                <a:gd name="connsiteX318" fmla="*/ 1435973 w 2326130"/>
                <a:gd name="connsiteY318" fmla="*/ 676874 h 696240"/>
                <a:gd name="connsiteX319" fmla="*/ 1434468 w 2326130"/>
                <a:gd name="connsiteY319" fmla="*/ 679817 h 696240"/>
                <a:gd name="connsiteX320" fmla="*/ 1432128 w 2326130"/>
                <a:gd name="connsiteY320" fmla="*/ 682759 h 696240"/>
                <a:gd name="connsiteX321" fmla="*/ 1429118 w 2326130"/>
                <a:gd name="connsiteY321" fmla="*/ 684598 h 696240"/>
                <a:gd name="connsiteX322" fmla="*/ 1420760 w 2326130"/>
                <a:gd name="connsiteY322" fmla="*/ 682943 h 696240"/>
                <a:gd name="connsiteX323" fmla="*/ 1418587 w 2326130"/>
                <a:gd name="connsiteY323" fmla="*/ 680552 h 696240"/>
                <a:gd name="connsiteX324" fmla="*/ 1416914 w 2326130"/>
                <a:gd name="connsiteY324" fmla="*/ 677610 h 696240"/>
                <a:gd name="connsiteX325" fmla="*/ 1416246 w 2326130"/>
                <a:gd name="connsiteY325" fmla="*/ 676139 h 696240"/>
                <a:gd name="connsiteX326" fmla="*/ 1415410 w 2326130"/>
                <a:gd name="connsiteY326" fmla="*/ 673197 h 696240"/>
                <a:gd name="connsiteX327" fmla="*/ 1415744 w 2326130"/>
                <a:gd name="connsiteY327" fmla="*/ 663818 h 696240"/>
                <a:gd name="connsiteX328" fmla="*/ 1416413 w 2326130"/>
                <a:gd name="connsiteY328" fmla="*/ 661795 h 696240"/>
                <a:gd name="connsiteX329" fmla="*/ 1417249 w 2326130"/>
                <a:gd name="connsiteY329" fmla="*/ 659772 h 696240"/>
                <a:gd name="connsiteX330" fmla="*/ 1418753 w 2326130"/>
                <a:gd name="connsiteY330" fmla="*/ 657382 h 696240"/>
                <a:gd name="connsiteX331" fmla="*/ 1421261 w 2326130"/>
                <a:gd name="connsiteY331" fmla="*/ 654807 h 696240"/>
                <a:gd name="connsiteX332" fmla="*/ 1423936 w 2326130"/>
                <a:gd name="connsiteY332" fmla="*/ 653336 h 696240"/>
                <a:gd name="connsiteX333" fmla="*/ 1546957 w 2326130"/>
                <a:gd name="connsiteY333" fmla="*/ 653336 h 696240"/>
                <a:gd name="connsiteX334" fmla="*/ 1554815 w 2326130"/>
                <a:gd name="connsiteY334" fmla="*/ 654991 h 696240"/>
                <a:gd name="connsiteX335" fmla="*/ 1556988 w 2326130"/>
                <a:gd name="connsiteY335" fmla="*/ 657382 h 696240"/>
                <a:gd name="connsiteX336" fmla="*/ 1558493 w 2326130"/>
                <a:gd name="connsiteY336" fmla="*/ 659957 h 696240"/>
                <a:gd name="connsiteX337" fmla="*/ 1559161 w 2326130"/>
                <a:gd name="connsiteY337" fmla="*/ 661795 h 696240"/>
                <a:gd name="connsiteX338" fmla="*/ 1559830 w 2326130"/>
                <a:gd name="connsiteY338" fmla="*/ 664554 h 696240"/>
                <a:gd name="connsiteX339" fmla="*/ 1560499 w 2326130"/>
                <a:gd name="connsiteY339" fmla="*/ 669335 h 696240"/>
                <a:gd name="connsiteX340" fmla="*/ 1559830 w 2326130"/>
                <a:gd name="connsiteY340" fmla="*/ 674300 h 696240"/>
                <a:gd name="connsiteX341" fmla="*/ 1558994 w 2326130"/>
                <a:gd name="connsiteY341" fmla="*/ 676874 h 696240"/>
                <a:gd name="connsiteX342" fmla="*/ 1557490 w 2326130"/>
                <a:gd name="connsiteY342" fmla="*/ 679817 h 696240"/>
                <a:gd name="connsiteX343" fmla="*/ 1555149 w 2326130"/>
                <a:gd name="connsiteY343" fmla="*/ 682759 h 696240"/>
                <a:gd name="connsiteX344" fmla="*/ 1552140 w 2326130"/>
                <a:gd name="connsiteY344" fmla="*/ 684598 h 696240"/>
                <a:gd name="connsiteX345" fmla="*/ 1543781 w 2326130"/>
                <a:gd name="connsiteY345" fmla="*/ 682943 h 696240"/>
                <a:gd name="connsiteX346" fmla="*/ 1541608 w 2326130"/>
                <a:gd name="connsiteY346" fmla="*/ 680552 h 696240"/>
                <a:gd name="connsiteX347" fmla="*/ 1539936 w 2326130"/>
                <a:gd name="connsiteY347" fmla="*/ 677610 h 696240"/>
                <a:gd name="connsiteX348" fmla="*/ 1539267 w 2326130"/>
                <a:gd name="connsiteY348" fmla="*/ 676139 h 696240"/>
                <a:gd name="connsiteX349" fmla="*/ 1538431 w 2326130"/>
                <a:gd name="connsiteY349" fmla="*/ 673197 h 696240"/>
                <a:gd name="connsiteX350" fmla="*/ 1538766 w 2326130"/>
                <a:gd name="connsiteY350" fmla="*/ 663818 h 696240"/>
                <a:gd name="connsiteX351" fmla="*/ 1539434 w 2326130"/>
                <a:gd name="connsiteY351" fmla="*/ 661795 h 696240"/>
                <a:gd name="connsiteX352" fmla="*/ 1540270 w 2326130"/>
                <a:gd name="connsiteY352" fmla="*/ 659772 h 696240"/>
                <a:gd name="connsiteX353" fmla="*/ 1541774 w 2326130"/>
                <a:gd name="connsiteY353" fmla="*/ 657382 h 696240"/>
                <a:gd name="connsiteX354" fmla="*/ 1544282 w 2326130"/>
                <a:gd name="connsiteY354" fmla="*/ 654807 h 696240"/>
                <a:gd name="connsiteX355" fmla="*/ 1546957 w 2326130"/>
                <a:gd name="connsiteY355" fmla="*/ 653336 h 696240"/>
                <a:gd name="connsiteX356" fmla="*/ 1659829 w 2326130"/>
                <a:gd name="connsiteY356" fmla="*/ 653336 h 696240"/>
                <a:gd name="connsiteX357" fmla="*/ 1667687 w 2326130"/>
                <a:gd name="connsiteY357" fmla="*/ 654991 h 696240"/>
                <a:gd name="connsiteX358" fmla="*/ 1669861 w 2326130"/>
                <a:gd name="connsiteY358" fmla="*/ 657382 h 696240"/>
                <a:gd name="connsiteX359" fmla="*/ 1671365 w 2326130"/>
                <a:gd name="connsiteY359" fmla="*/ 659957 h 696240"/>
                <a:gd name="connsiteX360" fmla="*/ 1672034 w 2326130"/>
                <a:gd name="connsiteY360" fmla="*/ 661795 h 696240"/>
                <a:gd name="connsiteX361" fmla="*/ 1672702 w 2326130"/>
                <a:gd name="connsiteY361" fmla="*/ 664554 h 696240"/>
                <a:gd name="connsiteX362" fmla="*/ 1673371 w 2326130"/>
                <a:gd name="connsiteY362" fmla="*/ 669335 h 696240"/>
                <a:gd name="connsiteX363" fmla="*/ 1672702 w 2326130"/>
                <a:gd name="connsiteY363" fmla="*/ 674300 h 696240"/>
                <a:gd name="connsiteX364" fmla="*/ 1671866 w 2326130"/>
                <a:gd name="connsiteY364" fmla="*/ 676874 h 696240"/>
                <a:gd name="connsiteX365" fmla="*/ 1670362 w 2326130"/>
                <a:gd name="connsiteY365" fmla="*/ 679817 h 696240"/>
                <a:gd name="connsiteX366" fmla="*/ 1668022 w 2326130"/>
                <a:gd name="connsiteY366" fmla="*/ 682759 h 696240"/>
                <a:gd name="connsiteX367" fmla="*/ 1665012 w 2326130"/>
                <a:gd name="connsiteY367" fmla="*/ 684598 h 696240"/>
                <a:gd name="connsiteX368" fmla="*/ 1656653 w 2326130"/>
                <a:gd name="connsiteY368" fmla="*/ 682943 h 696240"/>
                <a:gd name="connsiteX369" fmla="*/ 1654480 w 2326130"/>
                <a:gd name="connsiteY369" fmla="*/ 680552 h 696240"/>
                <a:gd name="connsiteX370" fmla="*/ 1652808 w 2326130"/>
                <a:gd name="connsiteY370" fmla="*/ 677610 h 696240"/>
                <a:gd name="connsiteX371" fmla="*/ 1652139 w 2326130"/>
                <a:gd name="connsiteY371" fmla="*/ 676139 h 696240"/>
                <a:gd name="connsiteX372" fmla="*/ 1651303 w 2326130"/>
                <a:gd name="connsiteY372" fmla="*/ 673197 h 696240"/>
                <a:gd name="connsiteX373" fmla="*/ 1651638 w 2326130"/>
                <a:gd name="connsiteY373" fmla="*/ 663818 h 696240"/>
                <a:gd name="connsiteX374" fmla="*/ 1652306 w 2326130"/>
                <a:gd name="connsiteY374" fmla="*/ 661795 h 696240"/>
                <a:gd name="connsiteX375" fmla="*/ 1653142 w 2326130"/>
                <a:gd name="connsiteY375" fmla="*/ 659772 h 696240"/>
                <a:gd name="connsiteX376" fmla="*/ 1654647 w 2326130"/>
                <a:gd name="connsiteY376" fmla="*/ 657382 h 696240"/>
                <a:gd name="connsiteX377" fmla="*/ 1657154 w 2326130"/>
                <a:gd name="connsiteY377" fmla="*/ 654807 h 696240"/>
                <a:gd name="connsiteX378" fmla="*/ 1659829 w 2326130"/>
                <a:gd name="connsiteY378" fmla="*/ 653336 h 696240"/>
                <a:gd name="connsiteX379" fmla="*/ 1895673 w 2326130"/>
                <a:gd name="connsiteY379" fmla="*/ 653336 h 696240"/>
                <a:gd name="connsiteX380" fmla="*/ 1903531 w 2326130"/>
                <a:gd name="connsiteY380" fmla="*/ 654991 h 696240"/>
                <a:gd name="connsiteX381" fmla="*/ 1905704 w 2326130"/>
                <a:gd name="connsiteY381" fmla="*/ 657382 h 696240"/>
                <a:gd name="connsiteX382" fmla="*/ 1907209 w 2326130"/>
                <a:gd name="connsiteY382" fmla="*/ 659957 h 696240"/>
                <a:gd name="connsiteX383" fmla="*/ 1907877 w 2326130"/>
                <a:gd name="connsiteY383" fmla="*/ 661795 h 696240"/>
                <a:gd name="connsiteX384" fmla="*/ 1908546 w 2326130"/>
                <a:gd name="connsiteY384" fmla="*/ 664554 h 696240"/>
                <a:gd name="connsiteX385" fmla="*/ 1909215 w 2326130"/>
                <a:gd name="connsiteY385" fmla="*/ 669335 h 696240"/>
                <a:gd name="connsiteX386" fmla="*/ 1908546 w 2326130"/>
                <a:gd name="connsiteY386" fmla="*/ 674300 h 696240"/>
                <a:gd name="connsiteX387" fmla="*/ 1907710 w 2326130"/>
                <a:gd name="connsiteY387" fmla="*/ 676874 h 696240"/>
                <a:gd name="connsiteX388" fmla="*/ 1906206 w 2326130"/>
                <a:gd name="connsiteY388" fmla="*/ 679817 h 696240"/>
                <a:gd name="connsiteX389" fmla="*/ 1903865 w 2326130"/>
                <a:gd name="connsiteY389" fmla="*/ 682759 h 696240"/>
                <a:gd name="connsiteX390" fmla="*/ 1900856 w 2326130"/>
                <a:gd name="connsiteY390" fmla="*/ 684598 h 696240"/>
                <a:gd name="connsiteX391" fmla="*/ 1892497 w 2326130"/>
                <a:gd name="connsiteY391" fmla="*/ 682943 h 696240"/>
                <a:gd name="connsiteX392" fmla="*/ 1890324 w 2326130"/>
                <a:gd name="connsiteY392" fmla="*/ 680552 h 696240"/>
                <a:gd name="connsiteX393" fmla="*/ 1888652 w 2326130"/>
                <a:gd name="connsiteY393" fmla="*/ 677610 h 696240"/>
                <a:gd name="connsiteX394" fmla="*/ 1887983 w 2326130"/>
                <a:gd name="connsiteY394" fmla="*/ 676139 h 696240"/>
                <a:gd name="connsiteX395" fmla="*/ 1887148 w 2326130"/>
                <a:gd name="connsiteY395" fmla="*/ 673197 h 696240"/>
                <a:gd name="connsiteX396" fmla="*/ 1887482 w 2326130"/>
                <a:gd name="connsiteY396" fmla="*/ 663818 h 696240"/>
                <a:gd name="connsiteX397" fmla="*/ 1888150 w 2326130"/>
                <a:gd name="connsiteY397" fmla="*/ 661795 h 696240"/>
                <a:gd name="connsiteX398" fmla="*/ 1888986 w 2326130"/>
                <a:gd name="connsiteY398" fmla="*/ 659772 h 696240"/>
                <a:gd name="connsiteX399" fmla="*/ 1890491 w 2326130"/>
                <a:gd name="connsiteY399" fmla="*/ 657382 h 696240"/>
                <a:gd name="connsiteX400" fmla="*/ 1892999 w 2326130"/>
                <a:gd name="connsiteY400" fmla="*/ 654807 h 696240"/>
                <a:gd name="connsiteX401" fmla="*/ 1895673 w 2326130"/>
                <a:gd name="connsiteY401" fmla="*/ 653336 h 696240"/>
                <a:gd name="connsiteX402" fmla="*/ 2018694 w 2326130"/>
                <a:gd name="connsiteY402" fmla="*/ 653336 h 696240"/>
                <a:gd name="connsiteX403" fmla="*/ 2026552 w 2326130"/>
                <a:gd name="connsiteY403" fmla="*/ 654991 h 696240"/>
                <a:gd name="connsiteX404" fmla="*/ 2028726 w 2326130"/>
                <a:gd name="connsiteY404" fmla="*/ 657382 h 696240"/>
                <a:gd name="connsiteX405" fmla="*/ 2030230 w 2326130"/>
                <a:gd name="connsiteY405" fmla="*/ 659957 h 696240"/>
                <a:gd name="connsiteX406" fmla="*/ 2030899 w 2326130"/>
                <a:gd name="connsiteY406" fmla="*/ 661795 h 696240"/>
                <a:gd name="connsiteX407" fmla="*/ 2031567 w 2326130"/>
                <a:gd name="connsiteY407" fmla="*/ 664554 h 696240"/>
                <a:gd name="connsiteX408" fmla="*/ 2032237 w 2326130"/>
                <a:gd name="connsiteY408" fmla="*/ 669335 h 696240"/>
                <a:gd name="connsiteX409" fmla="*/ 2031567 w 2326130"/>
                <a:gd name="connsiteY409" fmla="*/ 674300 h 696240"/>
                <a:gd name="connsiteX410" fmla="*/ 2030731 w 2326130"/>
                <a:gd name="connsiteY410" fmla="*/ 676874 h 696240"/>
                <a:gd name="connsiteX411" fmla="*/ 2029227 w 2326130"/>
                <a:gd name="connsiteY411" fmla="*/ 679817 h 696240"/>
                <a:gd name="connsiteX412" fmla="*/ 2026887 w 2326130"/>
                <a:gd name="connsiteY412" fmla="*/ 682759 h 696240"/>
                <a:gd name="connsiteX413" fmla="*/ 2023877 w 2326130"/>
                <a:gd name="connsiteY413" fmla="*/ 684598 h 696240"/>
                <a:gd name="connsiteX414" fmla="*/ 2015518 w 2326130"/>
                <a:gd name="connsiteY414" fmla="*/ 682943 h 696240"/>
                <a:gd name="connsiteX415" fmla="*/ 2013345 w 2326130"/>
                <a:gd name="connsiteY415" fmla="*/ 680552 h 696240"/>
                <a:gd name="connsiteX416" fmla="*/ 2011673 w 2326130"/>
                <a:gd name="connsiteY416" fmla="*/ 677610 h 696240"/>
                <a:gd name="connsiteX417" fmla="*/ 2011004 w 2326130"/>
                <a:gd name="connsiteY417" fmla="*/ 676139 h 696240"/>
                <a:gd name="connsiteX418" fmla="*/ 2010169 w 2326130"/>
                <a:gd name="connsiteY418" fmla="*/ 673197 h 696240"/>
                <a:gd name="connsiteX419" fmla="*/ 2010503 w 2326130"/>
                <a:gd name="connsiteY419" fmla="*/ 663818 h 696240"/>
                <a:gd name="connsiteX420" fmla="*/ 2011172 w 2326130"/>
                <a:gd name="connsiteY420" fmla="*/ 661795 h 696240"/>
                <a:gd name="connsiteX421" fmla="*/ 2012007 w 2326130"/>
                <a:gd name="connsiteY421" fmla="*/ 659772 h 696240"/>
                <a:gd name="connsiteX422" fmla="*/ 2013513 w 2326130"/>
                <a:gd name="connsiteY422" fmla="*/ 657382 h 696240"/>
                <a:gd name="connsiteX423" fmla="*/ 2016020 w 2326130"/>
                <a:gd name="connsiteY423" fmla="*/ 654807 h 696240"/>
                <a:gd name="connsiteX424" fmla="*/ 2018694 w 2326130"/>
                <a:gd name="connsiteY424" fmla="*/ 653336 h 696240"/>
                <a:gd name="connsiteX425" fmla="*/ 2182904 w 2326130"/>
                <a:gd name="connsiteY425" fmla="*/ 653336 h 696240"/>
                <a:gd name="connsiteX426" fmla="*/ 2190762 w 2326130"/>
                <a:gd name="connsiteY426" fmla="*/ 654991 h 696240"/>
                <a:gd name="connsiteX427" fmla="*/ 2192935 w 2326130"/>
                <a:gd name="connsiteY427" fmla="*/ 657382 h 696240"/>
                <a:gd name="connsiteX428" fmla="*/ 2194439 w 2326130"/>
                <a:gd name="connsiteY428" fmla="*/ 659957 h 696240"/>
                <a:gd name="connsiteX429" fmla="*/ 2195108 w 2326130"/>
                <a:gd name="connsiteY429" fmla="*/ 661795 h 696240"/>
                <a:gd name="connsiteX430" fmla="*/ 2195777 w 2326130"/>
                <a:gd name="connsiteY430" fmla="*/ 664554 h 696240"/>
                <a:gd name="connsiteX431" fmla="*/ 2196446 w 2326130"/>
                <a:gd name="connsiteY431" fmla="*/ 669335 h 696240"/>
                <a:gd name="connsiteX432" fmla="*/ 2195777 w 2326130"/>
                <a:gd name="connsiteY432" fmla="*/ 674300 h 696240"/>
                <a:gd name="connsiteX433" fmla="*/ 2194941 w 2326130"/>
                <a:gd name="connsiteY433" fmla="*/ 676874 h 696240"/>
                <a:gd name="connsiteX434" fmla="*/ 2193437 w 2326130"/>
                <a:gd name="connsiteY434" fmla="*/ 679817 h 696240"/>
                <a:gd name="connsiteX435" fmla="*/ 2191096 w 2326130"/>
                <a:gd name="connsiteY435" fmla="*/ 682759 h 696240"/>
                <a:gd name="connsiteX436" fmla="*/ 2188087 w 2326130"/>
                <a:gd name="connsiteY436" fmla="*/ 684598 h 696240"/>
                <a:gd name="connsiteX437" fmla="*/ 2179728 w 2326130"/>
                <a:gd name="connsiteY437" fmla="*/ 682943 h 696240"/>
                <a:gd name="connsiteX438" fmla="*/ 2177554 w 2326130"/>
                <a:gd name="connsiteY438" fmla="*/ 680552 h 696240"/>
                <a:gd name="connsiteX439" fmla="*/ 2175883 w 2326130"/>
                <a:gd name="connsiteY439" fmla="*/ 677610 h 696240"/>
                <a:gd name="connsiteX440" fmla="*/ 2175214 w 2326130"/>
                <a:gd name="connsiteY440" fmla="*/ 676139 h 696240"/>
                <a:gd name="connsiteX441" fmla="*/ 2174378 w 2326130"/>
                <a:gd name="connsiteY441" fmla="*/ 673197 h 696240"/>
                <a:gd name="connsiteX442" fmla="*/ 2174712 w 2326130"/>
                <a:gd name="connsiteY442" fmla="*/ 663818 h 696240"/>
                <a:gd name="connsiteX443" fmla="*/ 2175381 w 2326130"/>
                <a:gd name="connsiteY443" fmla="*/ 661795 h 696240"/>
                <a:gd name="connsiteX444" fmla="*/ 2176217 w 2326130"/>
                <a:gd name="connsiteY444" fmla="*/ 659772 h 696240"/>
                <a:gd name="connsiteX445" fmla="*/ 2177722 w 2326130"/>
                <a:gd name="connsiteY445" fmla="*/ 657382 h 696240"/>
                <a:gd name="connsiteX446" fmla="*/ 2180229 w 2326130"/>
                <a:gd name="connsiteY446" fmla="*/ 654807 h 696240"/>
                <a:gd name="connsiteX447" fmla="*/ 2182904 w 2326130"/>
                <a:gd name="connsiteY447" fmla="*/ 653336 h 696240"/>
                <a:gd name="connsiteX448" fmla="*/ 83192 w 2326130"/>
                <a:gd name="connsiteY448" fmla="*/ 645498 h 696240"/>
                <a:gd name="connsiteX449" fmla="*/ 91123 w 2326130"/>
                <a:gd name="connsiteY449" fmla="*/ 650755 h 696240"/>
                <a:gd name="connsiteX450" fmla="*/ 91752 w 2326130"/>
                <a:gd name="connsiteY450" fmla="*/ 653872 h 696240"/>
                <a:gd name="connsiteX451" fmla="*/ 89548 w 2326130"/>
                <a:gd name="connsiteY451" fmla="*/ 653872 h 696240"/>
                <a:gd name="connsiteX452" fmla="*/ 77022 w 2326130"/>
                <a:gd name="connsiteY452" fmla="*/ 653872 h 696240"/>
                <a:gd name="connsiteX453" fmla="*/ 74632 w 2326130"/>
                <a:gd name="connsiteY453" fmla="*/ 653872 h 696240"/>
                <a:gd name="connsiteX454" fmla="*/ 75261 w 2326130"/>
                <a:gd name="connsiteY454" fmla="*/ 650755 h 696240"/>
                <a:gd name="connsiteX455" fmla="*/ 83192 w 2326130"/>
                <a:gd name="connsiteY455" fmla="*/ 645498 h 696240"/>
                <a:gd name="connsiteX456" fmla="*/ 370423 w 2326130"/>
                <a:gd name="connsiteY456" fmla="*/ 645498 h 696240"/>
                <a:gd name="connsiteX457" fmla="*/ 378353 w 2326130"/>
                <a:gd name="connsiteY457" fmla="*/ 650755 h 696240"/>
                <a:gd name="connsiteX458" fmla="*/ 378982 w 2326130"/>
                <a:gd name="connsiteY458" fmla="*/ 653872 h 696240"/>
                <a:gd name="connsiteX459" fmla="*/ 376779 w 2326130"/>
                <a:gd name="connsiteY459" fmla="*/ 653872 h 696240"/>
                <a:gd name="connsiteX460" fmla="*/ 364253 w 2326130"/>
                <a:gd name="connsiteY460" fmla="*/ 653872 h 696240"/>
                <a:gd name="connsiteX461" fmla="*/ 361863 w 2326130"/>
                <a:gd name="connsiteY461" fmla="*/ 653872 h 696240"/>
                <a:gd name="connsiteX462" fmla="*/ 362492 w 2326130"/>
                <a:gd name="connsiteY462" fmla="*/ 650755 h 696240"/>
                <a:gd name="connsiteX463" fmla="*/ 370423 w 2326130"/>
                <a:gd name="connsiteY463" fmla="*/ 645498 h 696240"/>
                <a:gd name="connsiteX464" fmla="*/ 431909 w 2326130"/>
                <a:gd name="connsiteY464" fmla="*/ 645498 h 696240"/>
                <a:gd name="connsiteX465" fmla="*/ 439839 w 2326130"/>
                <a:gd name="connsiteY465" fmla="*/ 650755 h 696240"/>
                <a:gd name="connsiteX466" fmla="*/ 440468 w 2326130"/>
                <a:gd name="connsiteY466" fmla="*/ 653872 h 696240"/>
                <a:gd name="connsiteX467" fmla="*/ 438264 w 2326130"/>
                <a:gd name="connsiteY467" fmla="*/ 653872 h 696240"/>
                <a:gd name="connsiteX468" fmla="*/ 425738 w 2326130"/>
                <a:gd name="connsiteY468" fmla="*/ 653872 h 696240"/>
                <a:gd name="connsiteX469" fmla="*/ 423348 w 2326130"/>
                <a:gd name="connsiteY469" fmla="*/ 653872 h 696240"/>
                <a:gd name="connsiteX470" fmla="*/ 423978 w 2326130"/>
                <a:gd name="connsiteY470" fmla="*/ 650755 h 696240"/>
                <a:gd name="connsiteX471" fmla="*/ 431909 w 2326130"/>
                <a:gd name="connsiteY471" fmla="*/ 645498 h 696240"/>
                <a:gd name="connsiteX472" fmla="*/ 554930 w 2326130"/>
                <a:gd name="connsiteY472" fmla="*/ 645498 h 696240"/>
                <a:gd name="connsiteX473" fmla="*/ 562860 w 2326130"/>
                <a:gd name="connsiteY473" fmla="*/ 650755 h 696240"/>
                <a:gd name="connsiteX474" fmla="*/ 563489 w 2326130"/>
                <a:gd name="connsiteY474" fmla="*/ 653872 h 696240"/>
                <a:gd name="connsiteX475" fmla="*/ 561286 w 2326130"/>
                <a:gd name="connsiteY475" fmla="*/ 653872 h 696240"/>
                <a:gd name="connsiteX476" fmla="*/ 548760 w 2326130"/>
                <a:gd name="connsiteY476" fmla="*/ 653872 h 696240"/>
                <a:gd name="connsiteX477" fmla="*/ 546370 w 2326130"/>
                <a:gd name="connsiteY477" fmla="*/ 653872 h 696240"/>
                <a:gd name="connsiteX478" fmla="*/ 546999 w 2326130"/>
                <a:gd name="connsiteY478" fmla="*/ 650755 h 696240"/>
                <a:gd name="connsiteX479" fmla="*/ 554930 w 2326130"/>
                <a:gd name="connsiteY479" fmla="*/ 645498 h 696240"/>
                <a:gd name="connsiteX480" fmla="*/ 842160 w 2326130"/>
                <a:gd name="connsiteY480" fmla="*/ 645498 h 696240"/>
                <a:gd name="connsiteX481" fmla="*/ 850091 w 2326130"/>
                <a:gd name="connsiteY481" fmla="*/ 650755 h 696240"/>
                <a:gd name="connsiteX482" fmla="*/ 850720 w 2326130"/>
                <a:gd name="connsiteY482" fmla="*/ 653872 h 696240"/>
                <a:gd name="connsiteX483" fmla="*/ 848516 w 2326130"/>
                <a:gd name="connsiteY483" fmla="*/ 653872 h 696240"/>
                <a:gd name="connsiteX484" fmla="*/ 835990 w 2326130"/>
                <a:gd name="connsiteY484" fmla="*/ 653872 h 696240"/>
                <a:gd name="connsiteX485" fmla="*/ 833600 w 2326130"/>
                <a:gd name="connsiteY485" fmla="*/ 653872 h 696240"/>
                <a:gd name="connsiteX486" fmla="*/ 834230 w 2326130"/>
                <a:gd name="connsiteY486" fmla="*/ 650755 h 696240"/>
                <a:gd name="connsiteX487" fmla="*/ 842160 w 2326130"/>
                <a:gd name="connsiteY487" fmla="*/ 645498 h 696240"/>
                <a:gd name="connsiteX488" fmla="*/ 1016518 w 2326130"/>
                <a:gd name="connsiteY488" fmla="*/ 645498 h 696240"/>
                <a:gd name="connsiteX489" fmla="*/ 1024449 w 2326130"/>
                <a:gd name="connsiteY489" fmla="*/ 650755 h 696240"/>
                <a:gd name="connsiteX490" fmla="*/ 1025078 w 2326130"/>
                <a:gd name="connsiteY490" fmla="*/ 653872 h 696240"/>
                <a:gd name="connsiteX491" fmla="*/ 1022874 w 2326130"/>
                <a:gd name="connsiteY491" fmla="*/ 653872 h 696240"/>
                <a:gd name="connsiteX492" fmla="*/ 1010348 w 2326130"/>
                <a:gd name="connsiteY492" fmla="*/ 653872 h 696240"/>
                <a:gd name="connsiteX493" fmla="*/ 1007958 w 2326130"/>
                <a:gd name="connsiteY493" fmla="*/ 653872 h 696240"/>
                <a:gd name="connsiteX494" fmla="*/ 1008588 w 2326130"/>
                <a:gd name="connsiteY494" fmla="*/ 650755 h 696240"/>
                <a:gd name="connsiteX495" fmla="*/ 1016518 w 2326130"/>
                <a:gd name="connsiteY495" fmla="*/ 645498 h 696240"/>
                <a:gd name="connsiteX496" fmla="*/ 1078004 w 2326130"/>
                <a:gd name="connsiteY496" fmla="*/ 645498 h 696240"/>
                <a:gd name="connsiteX497" fmla="*/ 1085934 w 2326130"/>
                <a:gd name="connsiteY497" fmla="*/ 650755 h 696240"/>
                <a:gd name="connsiteX498" fmla="*/ 1086564 w 2326130"/>
                <a:gd name="connsiteY498" fmla="*/ 653872 h 696240"/>
                <a:gd name="connsiteX499" fmla="*/ 1084360 w 2326130"/>
                <a:gd name="connsiteY499" fmla="*/ 653872 h 696240"/>
                <a:gd name="connsiteX500" fmla="*/ 1071834 w 2326130"/>
                <a:gd name="connsiteY500" fmla="*/ 653872 h 696240"/>
                <a:gd name="connsiteX501" fmla="*/ 1069444 w 2326130"/>
                <a:gd name="connsiteY501" fmla="*/ 653872 h 696240"/>
                <a:gd name="connsiteX502" fmla="*/ 1070074 w 2326130"/>
                <a:gd name="connsiteY502" fmla="*/ 650755 h 696240"/>
                <a:gd name="connsiteX503" fmla="*/ 1078004 w 2326130"/>
                <a:gd name="connsiteY503" fmla="*/ 645498 h 696240"/>
                <a:gd name="connsiteX504" fmla="*/ 1252361 w 2326130"/>
                <a:gd name="connsiteY504" fmla="*/ 645498 h 696240"/>
                <a:gd name="connsiteX505" fmla="*/ 1260292 w 2326130"/>
                <a:gd name="connsiteY505" fmla="*/ 650755 h 696240"/>
                <a:gd name="connsiteX506" fmla="*/ 1260921 w 2326130"/>
                <a:gd name="connsiteY506" fmla="*/ 653872 h 696240"/>
                <a:gd name="connsiteX507" fmla="*/ 1258718 w 2326130"/>
                <a:gd name="connsiteY507" fmla="*/ 653872 h 696240"/>
                <a:gd name="connsiteX508" fmla="*/ 1246192 w 2326130"/>
                <a:gd name="connsiteY508" fmla="*/ 653872 h 696240"/>
                <a:gd name="connsiteX509" fmla="*/ 1243802 w 2326130"/>
                <a:gd name="connsiteY509" fmla="*/ 653872 h 696240"/>
                <a:gd name="connsiteX510" fmla="*/ 1244431 w 2326130"/>
                <a:gd name="connsiteY510" fmla="*/ 650755 h 696240"/>
                <a:gd name="connsiteX511" fmla="*/ 1252361 w 2326130"/>
                <a:gd name="connsiteY511" fmla="*/ 645498 h 696240"/>
                <a:gd name="connsiteX512" fmla="*/ 1313847 w 2326130"/>
                <a:gd name="connsiteY512" fmla="*/ 645498 h 696240"/>
                <a:gd name="connsiteX513" fmla="*/ 1321778 w 2326130"/>
                <a:gd name="connsiteY513" fmla="*/ 650755 h 696240"/>
                <a:gd name="connsiteX514" fmla="*/ 1322407 w 2326130"/>
                <a:gd name="connsiteY514" fmla="*/ 653872 h 696240"/>
                <a:gd name="connsiteX515" fmla="*/ 1320204 w 2326130"/>
                <a:gd name="connsiteY515" fmla="*/ 653872 h 696240"/>
                <a:gd name="connsiteX516" fmla="*/ 1307677 w 2326130"/>
                <a:gd name="connsiteY516" fmla="*/ 653872 h 696240"/>
                <a:gd name="connsiteX517" fmla="*/ 1305288 w 2326130"/>
                <a:gd name="connsiteY517" fmla="*/ 653872 h 696240"/>
                <a:gd name="connsiteX518" fmla="*/ 1305917 w 2326130"/>
                <a:gd name="connsiteY518" fmla="*/ 650755 h 696240"/>
                <a:gd name="connsiteX519" fmla="*/ 1313847 w 2326130"/>
                <a:gd name="connsiteY519" fmla="*/ 645498 h 696240"/>
                <a:gd name="connsiteX520" fmla="*/ 1488205 w 2326130"/>
                <a:gd name="connsiteY520" fmla="*/ 645498 h 696240"/>
                <a:gd name="connsiteX521" fmla="*/ 1496136 w 2326130"/>
                <a:gd name="connsiteY521" fmla="*/ 650755 h 696240"/>
                <a:gd name="connsiteX522" fmla="*/ 1496765 w 2326130"/>
                <a:gd name="connsiteY522" fmla="*/ 653872 h 696240"/>
                <a:gd name="connsiteX523" fmla="*/ 1494561 w 2326130"/>
                <a:gd name="connsiteY523" fmla="*/ 653872 h 696240"/>
                <a:gd name="connsiteX524" fmla="*/ 1482035 w 2326130"/>
                <a:gd name="connsiteY524" fmla="*/ 653872 h 696240"/>
                <a:gd name="connsiteX525" fmla="*/ 1479645 w 2326130"/>
                <a:gd name="connsiteY525" fmla="*/ 653872 h 696240"/>
                <a:gd name="connsiteX526" fmla="*/ 1480275 w 2326130"/>
                <a:gd name="connsiteY526" fmla="*/ 650755 h 696240"/>
                <a:gd name="connsiteX527" fmla="*/ 1488205 w 2326130"/>
                <a:gd name="connsiteY527" fmla="*/ 645498 h 696240"/>
                <a:gd name="connsiteX528" fmla="*/ 1775436 w 2326130"/>
                <a:gd name="connsiteY528" fmla="*/ 645498 h 696240"/>
                <a:gd name="connsiteX529" fmla="*/ 1783366 w 2326130"/>
                <a:gd name="connsiteY529" fmla="*/ 650755 h 696240"/>
                <a:gd name="connsiteX530" fmla="*/ 1783996 w 2326130"/>
                <a:gd name="connsiteY530" fmla="*/ 653872 h 696240"/>
                <a:gd name="connsiteX531" fmla="*/ 1781792 w 2326130"/>
                <a:gd name="connsiteY531" fmla="*/ 653872 h 696240"/>
                <a:gd name="connsiteX532" fmla="*/ 1769266 w 2326130"/>
                <a:gd name="connsiteY532" fmla="*/ 653872 h 696240"/>
                <a:gd name="connsiteX533" fmla="*/ 1766876 w 2326130"/>
                <a:gd name="connsiteY533" fmla="*/ 653872 h 696240"/>
                <a:gd name="connsiteX534" fmla="*/ 1767505 w 2326130"/>
                <a:gd name="connsiteY534" fmla="*/ 650755 h 696240"/>
                <a:gd name="connsiteX535" fmla="*/ 1775436 w 2326130"/>
                <a:gd name="connsiteY535" fmla="*/ 645498 h 696240"/>
                <a:gd name="connsiteX536" fmla="*/ 1836922 w 2326130"/>
                <a:gd name="connsiteY536" fmla="*/ 645498 h 696240"/>
                <a:gd name="connsiteX537" fmla="*/ 1844852 w 2326130"/>
                <a:gd name="connsiteY537" fmla="*/ 650755 h 696240"/>
                <a:gd name="connsiteX538" fmla="*/ 1845482 w 2326130"/>
                <a:gd name="connsiteY538" fmla="*/ 653872 h 696240"/>
                <a:gd name="connsiteX539" fmla="*/ 1843277 w 2326130"/>
                <a:gd name="connsiteY539" fmla="*/ 653872 h 696240"/>
                <a:gd name="connsiteX540" fmla="*/ 1830751 w 2326130"/>
                <a:gd name="connsiteY540" fmla="*/ 653872 h 696240"/>
                <a:gd name="connsiteX541" fmla="*/ 1828361 w 2326130"/>
                <a:gd name="connsiteY541" fmla="*/ 653872 h 696240"/>
                <a:gd name="connsiteX542" fmla="*/ 1828991 w 2326130"/>
                <a:gd name="connsiteY542" fmla="*/ 650755 h 696240"/>
                <a:gd name="connsiteX543" fmla="*/ 1836922 w 2326130"/>
                <a:gd name="connsiteY543" fmla="*/ 645498 h 696240"/>
                <a:gd name="connsiteX544" fmla="*/ 1959943 w 2326130"/>
                <a:gd name="connsiteY544" fmla="*/ 645498 h 696240"/>
                <a:gd name="connsiteX545" fmla="*/ 1967873 w 2326130"/>
                <a:gd name="connsiteY545" fmla="*/ 650755 h 696240"/>
                <a:gd name="connsiteX546" fmla="*/ 1968503 w 2326130"/>
                <a:gd name="connsiteY546" fmla="*/ 653872 h 696240"/>
                <a:gd name="connsiteX547" fmla="*/ 1966299 w 2326130"/>
                <a:gd name="connsiteY547" fmla="*/ 653872 h 696240"/>
                <a:gd name="connsiteX548" fmla="*/ 1953773 w 2326130"/>
                <a:gd name="connsiteY548" fmla="*/ 653872 h 696240"/>
                <a:gd name="connsiteX549" fmla="*/ 1951383 w 2326130"/>
                <a:gd name="connsiteY549" fmla="*/ 653872 h 696240"/>
                <a:gd name="connsiteX550" fmla="*/ 1952012 w 2326130"/>
                <a:gd name="connsiteY550" fmla="*/ 650755 h 696240"/>
                <a:gd name="connsiteX551" fmla="*/ 1959943 w 2326130"/>
                <a:gd name="connsiteY551" fmla="*/ 645498 h 696240"/>
                <a:gd name="connsiteX552" fmla="*/ 2247173 w 2326130"/>
                <a:gd name="connsiteY552" fmla="*/ 645498 h 696240"/>
                <a:gd name="connsiteX553" fmla="*/ 2255103 w 2326130"/>
                <a:gd name="connsiteY553" fmla="*/ 650755 h 696240"/>
                <a:gd name="connsiteX554" fmla="*/ 2255733 w 2326130"/>
                <a:gd name="connsiteY554" fmla="*/ 653872 h 696240"/>
                <a:gd name="connsiteX555" fmla="*/ 2253530 w 2326130"/>
                <a:gd name="connsiteY555" fmla="*/ 653872 h 696240"/>
                <a:gd name="connsiteX556" fmla="*/ 2241004 w 2326130"/>
                <a:gd name="connsiteY556" fmla="*/ 653872 h 696240"/>
                <a:gd name="connsiteX557" fmla="*/ 2238614 w 2326130"/>
                <a:gd name="connsiteY557" fmla="*/ 653872 h 696240"/>
                <a:gd name="connsiteX558" fmla="*/ 2239243 w 2326130"/>
                <a:gd name="connsiteY558" fmla="*/ 650755 h 696240"/>
                <a:gd name="connsiteX559" fmla="*/ 2247173 w 2326130"/>
                <a:gd name="connsiteY559" fmla="*/ 645498 h 696240"/>
                <a:gd name="connsiteX560" fmla="*/ 202518 w 2326130"/>
                <a:gd name="connsiteY560" fmla="*/ 642533 h 696240"/>
                <a:gd name="connsiteX561" fmla="*/ 199760 w 2326130"/>
                <a:gd name="connsiteY561" fmla="*/ 642533 h 696240"/>
                <a:gd name="connsiteX562" fmla="*/ 196634 w 2326130"/>
                <a:gd name="connsiteY562" fmla="*/ 644189 h 696240"/>
                <a:gd name="connsiteX563" fmla="*/ 195162 w 2326130"/>
                <a:gd name="connsiteY563" fmla="*/ 648418 h 696240"/>
                <a:gd name="connsiteX564" fmla="*/ 195162 w 2326130"/>
                <a:gd name="connsiteY564" fmla="*/ 648786 h 696240"/>
                <a:gd name="connsiteX565" fmla="*/ 195162 w 2326130"/>
                <a:gd name="connsiteY565" fmla="*/ 684829 h 696240"/>
                <a:gd name="connsiteX566" fmla="*/ 194795 w 2326130"/>
                <a:gd name="connsiteY566" fmla="*/ 685196 h 696240"/>
                <a:gd name="connsiteX567" fmla="*/ 189830 w 2326130"/>
                <a:gd name="connsiteY567" fmla="*/ 685196 h 696240"/>
                <a:gd name="connsiteX568" fmla="*/ 187071 w 2326130"/>
                <a:gd name="connsiteY568" fmla="*/ 685932 h 696240"/>
                <a:gd name="connsiteX569" fmla="*/ 184497 w 2326130"/>
                <a:gd name="connsiteY569" fmla="*/ 690530 h 696240"/>
                <a:gd name="connsiteX570" fmla="*/ 186335 w 2326130"/>
                <a:gd name="connsiteY570" fmla="*/ 694391 h 696240"/>
                <a:gd name="connsiteX571" fmla="*/ 189094 w 2326130"/>
                <a:gd name="connsiteY571" fmla="*/ 695678 h 696240"/>
                <a:gd name="connsiteX572" fmla="*/ 189278 w 2326130"/>
                <a:gd name="connsiteY572" fmla="*/ 695678 h 696240"/>
                <a:gd name="connsiteX573" fmla="*/ 189462 w 2326130"/>
                <a:gd name="connsiteY573" fmla="*/ 695678 h 696240"/>
                <a:gd name="connsiteX574" fmla="*/ 189830 w 2326130"/>
                <a:gd name="connsiteY574" fmla="*/ 695678 h 696240"/>
                <a:gd name="connsiteX575" fmla="*/ 211713 w 2326130"/>
                <a:gd name="connsiteY575" fmla="*/ 695678 h 696240"/>
                <a:gd name="connsiteX576" fmla="*/ 212080 w 2326130"/>
                <a:gd name="connsiteY576" fmla="*/ 695678 h 696240"/>
                <a:gd name="connsiteX577" fmla="*/ 212633 w 2326130"/>
                <a:gd name="connsiteY577" fmla="*/ 695678 h 696240"/>
                <a:gd name="connsiteX578" fmla="*/ 213184 w 2326130"/>
                <a:gd name="connsiteY578" fmla="*/ 695495 h 696240"/>
                <a:gd name="connsiteX579" fmla="*/ 215575 w 2326130"/>
                <a:gd name="connsiteY579" fmla="*/ 694207 h 696240"/>
                <a:gd name="connsiteX580" fmla="*/ 217230 w 2326130"/>
                <a:gd name="connsiteY580" fmla="*/ 690346 h 696240"/>
                <a:gd name="connsiteX581" fmla="*/ 215759 w 2326130"/>
                <a:gd name="connsiteY581" fmla="*/ 686852 h 696240"/>
                <a:gd name="connsiteX582" fmla="*/ 211897 w 2326130"/>
                <a:gd name="connsiteY582" fmla="*/ 685196 h 696240"/>
                <a:gd name="connsiteX583" fmla="*/ 206564 w 2326130"/>
                <a:gd name="connsiteY583" fmla="*/ 685196 h 696240"/>
                <a:gd name="connsiteX584" fmla="*/ 206196 w 2326130"/>
                <a:gd name="connsiteY584" fmla="*/ 684829 h 696240"/>
                <a:gd name="connsiteX585" fmla="*/ 206196 w 2326130"/>
                <a:gd name="connsiteY585" fmla="*/ 653567 h 696240"/>
                <a:gd name="connsiteX586" fmla="*/ 206564 w 2326130"/>
                <a:gd name="connsiteY586" fmla="*/ 653199 h 696240"/>
                <a:gd name="connsiteX587" fmla="*/ 210609 w 2326130"/>
                <a:gd name="connsiteY587" fmla="*/ 653199 h 696240"/>
                <a:gd name="connsiteX588" fmla="*/ 215575 w 2326130"/>
                <a:gd name="connsiteY588" fmla="*/ 650073 h 696240"/>
                <a:gd name="connsiteX589" fmla="*/ 215759 w 2326130"/>
                <a:gd name="connsiteY589" fmla="*/ 646211 h 696240"/>
                <a:gd name="connsiteX590" fmla="*/ 210794 w 2326130"/>
                <a:gd name="connsiteY590" fmla="*/ 642717 h 696240"/>
                <a:gd name="connsiteX591" fmla="*/ 202518 w 2326130"/>
                <a:gd name="connsiteY591" fmla="*/ 642533 h 696240"/>
                <a:gd name="connsiteX592" fmla="*/ 315391 w 2326130"/>
                <a:gd name="connsiteY592" fmla="*/ 642533 h 696240"/>
                <a:gd name="connsiteX593" fmla="*/ 312632 w 2326130"/>
                <a:gd name="connsiteY593" fmla="*/ 642533 h 696240"/>
                <a:gd name="connsiteX594" fmla="*/ 309506 w 2326130"/>
                <a:gd name="connsiteY594" fmla="*/ 644189 h 696240"/>
                <a:gd name="connsiteX595" fmla="*/ 308035 w 2326130"/>
                <a:gd name="connsiteY595" fmla="*/ 648418 h 696240"/>
                <a:gd name="connsiteX596" fmla="*/ 308035 w 2326130"/>
                <a:gd name="connsiteY596" fmla="*/ 648786 h 696240"/>
                <a:gd name="connsiteX597" fmla="*/ 308035 w 2326130"/>
                <a:gd name="connsiteY597" fmla="*/ 684829 h 696240"/>
                <a:gd name="connsiteX598" fmla="*/ 307667 w 2326130"/>
                <a:gd name="connsiteY598" fmla="*/ 685196 h 696240"/>
                <a:gd name="connsiteX599" fmla="*/ 302702 w 2326130"/>
                <a:gd name="connsiteY599" fmla="*/ 685196 h 696240"/>
                <a:gd name="connsiteX600" fmla="*/ 299944 w 2326130"/>
                <a:gd name="connsiteY600" fmla="*/ 685932 h 696240"/>
                <a:gd name="connsiteX601" fmla="*/ 297369 w 2326130"/>
                <a:gd name="connsiteY601" fmla="*/ 690530 h 696240"/>
                <a:gd name="connsiteX602" fmla="*/ 299208 w 2326130"/>
                <a:gd name="connsiteY602" fmla="*/ 694391 h 696240"/>
                <a:gd name="connsiteX603" fmla="*/ 301966 w 2326130"/>
                <a:gd name="connsiteY603" fmla="*/ 695678 h 696240"/>
                <a:gd name="connsiteX604" fmla="*/ 302150 w 2326130"/>
                <a:gd name="connsiteY604" fmla="*/ 695678 h 696240"/>
                <a:gd name="connsiteX605" fmla="*/ 302334 w 2326130"/>
                <a:gd name="connsiteY605" fmla="*/ 695678 h 696240"/>
                <a:gd name="connsiteX606" fmla="*/ 302702 w 2326130"/>
                <a:gd name="connsiteY606" fmla="*/ 695678 h 696240"/>
                <a:gd name="connsiteX607" fmla="*/ 324585 w 2326130"/>
                <a:gd name="connsiteY607" fmla="*/ 695678 h 696240"/>
                <a:gd name="connsiteX608" fmla="*/ 324953 w 2326130"/>
                <a:gd name="connsiteY608" fmla="*/ 695678 h 696240"/>
                <a:gd name="connsiteX609" fmla="*/ 325505 w 2326130"/>
                <a:gd name="connsiteY609" fmla="*/ 695678 h 696240"/>
                <a:gd name="connsiteX610" fmla="*/ 326057 w 2326130"/>
                <a:gd name="connsiteY610" fmla="*/ 695495 h 696240"/>
                <a:gd name="connsiteX611" fmla="*/ 328447 w 2326130"/>
                <a:gd name="connsiteY611" fmla="*/ 694207 h 696240"/>
                <a:gd name="connsiteX612" fmla="*/ 330102 w 2326130"/>
                <a:gd name="connsiteY612" fmla="*/ 690346 h 696240"/>
                <a:gd name="connsiteX613" fmla="*/ 328631 w 2326130"/>
                <a:gd name="connsiteY613" fmla="*/ 686852 h 696240"/>
                <a:gd name="connsiteX614" fmla="*/ 324769 w 2326130"/>
                <a:gd name="connsiteY614" fmla="*/ 685196 h 696240"/>
                <a:gd name="connsiteX615" fmla="*/ 319436 w 2326130"/>
                <a:gd name="connsiteY615" fmla="*/ 685196 h 696240"/>
                <a:gd name="connsiteX616" fmla="*/ 319068 w 2326130"/>
                <a:gd name="connsiteY616" fmla="*/ 684829 h 696240"/>
                <a:gd name="connsiteX617" fmla="*/ 319068 w 2326130"/>
                <a:gd name="connsiteY617" fmla="*/ 653567 h 696240"/>
                <a:gd name="connsiteX618" fmla="*/ 319436 w 2326130"/>
                <a:gd name="connsiteY618" fmla="*/ 653199 h 696240"/>
                <a:gd name="connsiteX619" fmla="*/ 323482 w 2326130"/>
                <a:gd name="connsiteY619" fmla="*/ 653199 h 696240"/>
                <a:gd name="connsiteX620" fmla="*/ 328447 w 2326130"/>
                <a:gd name="connsiteY620" fmla="*/ 650073 h 696240"/>
                <a:gd name="connsiteX621" fmla="*/ 328631 w 2326130"/>
                <a:gd name="connsiteY621" fmla="*/ 646211 h 696240"/>
                <a:gd name="connsiteX622" fmla="*/ 323666 w 2326130"/>
                <a:gd name="connsiteY622" fmla="*/ 642717 h 696240"/>
                <a:gd name="connsiteX623" fmla="*/ 315391 w 2326130"/>
                <a:gd name="connsiteY623" fmla="*/ 642533 h 696240"/>
                <a:gd name="connsiteX624" fmla="*/ 674256 w 2326130"/>
                <a:gd name="connsiteY624" fmla="*/ 642533 h 696240"/>
                <a:gd name="connsiteX625" fmla="*/ 671497 w 2326130"/>
                <a:gd name="connsiteY625" fmla="*/ 642533 h 696240"/>
                <a:gd name="connsiteX626" fmla="*/ 668371 w 2326130"/>
                <a:gd name="connsiteY626" fmla="*/ 644189 h 696240"/>
                <a:gd name="connsiteX627" fmla="*/ 666900 w 2326130"/>
                <a:gd name="connsiteY627" fmla="*/ 648418 h 696240"/>
                <a:gd name="connsiteX628" fmla="*/ 666900 w 2326130"/>
                <a:gd name="connsiteY628" fmla="*/ 648786 h 696240"/>
                <a:gd name="connsiteX629" fmla="*/ 666900 w 2326130"/>
                <a:gd name="connsiteY629" fmla="*/ 684829 h 696240"/>
                <a:gd name="connsiteX630" fmla="*/ 666532 w 2326130"/>
                <a:gd name="connsiteY630" fmla="*/ 685196 h 696240"/>
                <a:gd name="connsiteX631" fmla="*/ 661567 w 2326130"/>
                <a:gd name="connsiteY631" fmla="*/ 685196 h 696240"/>
                <a:gd name="connsiteX632" fmla="*/ 658809 w 2326130"/>
                <a:gd name="connsiteY632" fmla="*/ 685932 h 696240"/>
                <a:gd name="connsiteX633" fmla="*/ 656234 w 2326130"/>
                <a:gd name="connsiteY633" fmla="*/ 690530 h 696240"/>
                <a:gd name="connsiteX634" fmla="*/ 658073 w 2326130"/>
                <a:gd name="connsiteY634" fmla="*/ 694391 h 696240"/>
                <a:gd name="connsiteX635" fmla="*/ 660831 w 2326130"/>
                <a:gd name="connsiteY635" fmla="*/ 695678 h 696240"/>
                <a:gd name="connsiteX636" fmla="*/ 661015 w 2326130"/>
                <a:gd name="connsiteY636" fmla="*/ 695678 h 696240"/>
                <a:gd name="connsiteX637" fmla="*/ 661199 w 2326130"/>
                <a:gd name="connsiteY637" fmla="*/ 695678 h 696240"/>
                <a:gd name="connsiteX638" fmla="*/ 661567 w 2326130"/>
                <a:gd name="connsiteY638" fmla="*/ 695678 h 696240"/>
                <a:gd name="connsiteX639" fmla="*/ 683451 w 2326130"/>
                <a:gd name="connsiteY639" fmla="*/ 695678 h 696240"/>
                <a:gd name="connsiteX640" fmla="*/ 683818 w 2326130"/>
                <a:gd name="connsiteY640" fmla="*/ 695678 h 696240"/>
                <a:gd name="connsiteX641" fmla="*/ 684370 w 2326130"/>
                <a:gd name="connsiteY641" fmla="*/ 695678 h 696240"/>
                <a:gd name="connsiteX642" fmla="*/ 684922 w 2326130"/>
                <a:gd name="connsiteY642" fmla="*/ 695495 h 696240"/>
                <a:gd name="connsiteX643" fmla="*/ 687312 w 2326130"/>
                <a:gd name="connsiteY643" fmla="*/ 694207 h 696240"/>
                <a:gd name="connsiteX644" fmla="*/ 688967 w 2326130"/>
                <a:gd name="connsiteY644" fmla="*/ 690346 h 696240"/>
                <a:gd name="connsiteX645" fmla="*/ 687496 w 2326130"/>
                <a:gd name="connsiteY645" fmla="*/ 686852 h 696240"/>
                <a:gd name="connsiteX646" fmla="*/ 683634 w 2326130"/>
                <a:gd name="connsiteY646" fmla="*/ 685196 h 696240"/>
                <a:gd name="connsiteX647" fmla="*/ 678301 w 2326130"/>
                <a:gd name="connsiteY647" fmla="*/ 685196 h 696240"/>
                <a:gd name="connsiteX648" fmla="*/ 677933 w 2326130"/>
                <a:gd name="connsiteY648" fmla="*/ 684829 h 696240"/>
                <a:gd name="connsiteX649" fmla="*/ 677933 w 2326130"/>
                <a:gd name="connsiteY649" fmla="*/ 653567 h 696240"/>
                <a:gd name="connsiteX650" fmla="*/ 678301 w 2326130"/>
                <a:gd name="connsiteY650" fmla="*/ 653199 h 696240"/>
                <a:gd name="connsiteX651" fmla="*/ 682347 w 2326130"/>
                <a:gd name="connsiteY651" fmla="*/ 653199 h 696240"/>
                <a:gd name="connsiteX652" fmla="*/ 687312 w 2326130"/>
                <a:gd name="connsiteY652" fmla="*/ 650073 h 696240"/>
                <a:gd name="connsiteX653" fmla="*/ 687496 w 2326130"/>
                <a:gd name="connsiteY653" fmla="*/ 646211 h 696240"/>
                <a:gd name="connsiteX654" fmla="*/ 682531 w 2326130"/>
                <a:gd name="connsiteY654" fmla="*/ 642717 h 696240"/>
                <a:gd name="connsiteX655" fmla="*/ 674256 w 2326130"/>
                <a:gd name="connsiteY655" fmla="*/ 642533 h 696240"/>
                <a:gd name="connsiteX656" fmla="*/ 725593 w 2326130"/>
                <a:gd name="connsiteY656" fmla="*/ 642533 h 696240"/>
                <a:gd name="connsiteX657" fmla="*/ 722834 w 2326130"/>
                <a:gd name="connsiteY657" fmla="*/ 642533 h 696240"/>
                <a:gd name="connsiteX658" fmla="*/ 719708 w 2326130"/>
                <a:gd name="connsiteY658" fmla="*/ 644189 h 696240"/>
                <a:gd name="connsiteX659" fmla="*/ 718237 w 2326130"/>
                <a:gd name="connsiteY659" fmla="*/ 648418 h 696240"/>
                <a:gd name="connsiteX660" fmla="*/ 718237 w 2326130"/>
                <a:gd name="connsiteY660" fmla="*/ 648786 h 696240"/>
                <a:gd name="connsiteX661" fmla="*/ 718237 w 2326130"/>
                <a:gd name="connsiteY661" fmla="*/ 684829 h 696240"/>
                <a:gd name="connsiteX662" fmla="*/ 717869 w 2326130"/>
                <a:gd name="connsiteY662" fmla="*/ 685196 h 696240"/>
                <a:gd name="connsiteX663" fmla="*/ 712904 w 2326130"/>
                <a:gd name="connsiteY663" fmla="*/ 685196 h 696240"/>
                <a:gd name="connsiteX664" fmla="*/ 710146 w 2326130"/>
                <a:gd name="connsiteY664" fmla="*/ 685932 h 696240"/>
                <a:gd name="connsiteX665" fmla="*/ 707571 w 2326130"/>
                <a:gd name="connsiteY665" fmla="*/ 690530 h 696240"/>
                <a:gd name="connsiteX666" fmla="*/ 709410 w 2326130"/>
                <a:gd name="connsiteY666" fmla="*/ 694391 h 696240"/>
                <a:gd name="connsiteX667" fmla="*/ 712168 w 2326130"/>
                <a:gd name="connsiteY667" fmla="*/ 695678 h 696240"/>
                <a:gd name="connsiteX668" fmla="*/ 712352 w 2326130"/>
                <a:gd name="connsiteY668" fmla="*/ 695678 h 696240"/>
                <a:gd name="connsiteX669" fmla="*/ 712536 w 2326130"/>
                <a:gd name="connsiteY669" fmla="*/ 695678 h 696240"/>
                <a:gd name="connsiteX670" fmla="*/ 712904 w 2326130"/>
                <a:gd name="connsiteY670" fmla="*/ 695678 h 696240"/>
                <a:gd name="connsiteX671" fmla="*/ 734787 w 2326130"/>
                <a:gd name="connsiteY671" fmla="*/ 695678 h 696240"/>
                <a:gd name="connsiteX672" fmla="*/ 735155 w 2326130"/>
                <a:gd name="connsiteY672" fmla="*/ 695678 h 696240"/>
                <a:gd name="connsiteX673" fmla="*/ 735707 w 2326130"/>
                <a:gd name="connsiteY673" fmla="*/ 695678 h 696240"/>
                <a:gd name="connsiteX674" fmla="*/ 736259 w 2326130"/>
                <a:gd name="connsiteY674" fmla="*/ 695495 h 696240"/>
                <a:gd name="connsiteX675" fmla="*/ 738649 w 2326130"/>
                <a:gd name="connsiteY675" fmla="*/ 694207 h 696240"/>
                <a:gd name="connsiteX676" fmla="*/ 740304 w 2326130"/>
                <a:gd name="connsiteY676" fmla="*/ 690346 h 696240"/>
                <a:gd name="connsiteX677" fmla="*/ 738833 w 2326130"/>
                <a:gd name="connsiteY677" fmla="*/ 686852 h 696240"/>
                <a:gd name="connsiteX678" fmla="*/ 734971 w 2326130"/>
                <a:gd name="connsiteY678" fmla="*/ 685196 h 696240"/>
                <a:gd name="connsiteX679" fmla="*/ 729638 w 2326130"/>
                <a:gd name="connsiteY679" fmla="*/ 685196 h 696240"/>
                <a:gd name="connsiteX680" fmla="*/ 729270 w 2326130"/>
                <a:gd name="connsiteY680" fmla="*/ 684829 h 696240"/>
                <a:gd name="connsiteX681" fmla="*/ 729270 w 2326130"/>
                <a:gd name="connsiteY681" fmla="*/ 653567 h 696240"/>
                <a:gd name="connsiteX682" fmla="*/ 729638 w 2326130"/>
                <a:gd name="connsiteY682" fmla="*/ 653199 h 696240"/>
                <a:gd name="connsiteX683" fmla="*/ 733684 w 2326130"/>
                <a:gd name="connsiteY683" fmla="*/ 653199 h 696240"/>
                <a:gd name="connsiteX684" fmla="*/ 738649 w 2326130"/>
                <a:gd name="connsiteY684" fmla="*/ 650073 h 696240"/>
                <a:gd name="connsiteX685" fmla="*/ 738833 w 2326130"/>
                <a:gd name="connsiteY685" fmla="*/ 646211 h 696240"/>
                <a:gd name="connsiteX686" fmla="*/ 733868 w 2326130"/>
                <a:gd name="connsiteY686" fmla="*/ 642717 h 696240"/>
                <a:gd name="connsiteX687" fmla="*/ 725593 w 2326130"/>
                <a:gd name="connsiteY687" fmla="*/ 642533 h 696240"/>
                <a:gd name="connsiteX688" fmla="*/ 961486 w 2326130"/>
                <a:gd name="connsiteY688" fmla="*/ 642533 h 696240"/>
                <a:gd name="connsiteX689" fmla="*/ 958728 w 2326130"/>
                <a:gd name="connsiteY689" fmla="*/ 642533 h 696240"/>
                <a:gd name="connsiteX690" fmla="*/ 955602 w 2326130"/>
                <a:gd name="connsiteY690" fmla="*/ 644189 h 696240"/>
                <a:gd name="connsiteX691" fmla="*/ 954131 w 2326130"/>
                <a:gd name="connsiteY691" fmla="*/ 648418 h 696240"/>
                <a:gd name="connsiteX692" fmla="*/ 954131 w 2326130"/>
                <a:gd name="connsiteY692" fmla="*/ 648786 h 696240"/>
                <a:gd name="connsiteX693" fmla="*/ 954131 w 2326130"/>
                <a:gd name="connsiteY693" fmla="*/ 684829 h 696240"/>
                <a:gd name="connsiteX694" fmla="*/ 953763 w 2326130"/>
                <a:gd name="connsiteY694" fmla="*/ 685196 h 696240"/>
                <a:gd name="connsiteX695" fmla="*/ 948798 w 2326130"/>
                <a:gd name="connsiteY695" fmla="*/ 685196 h 696240"/>
                <a:gd name="connsiteX696" fmla="*/ 946039 w 2326130"/>
                <a:gd name="connsiteY696" fmla="*/ 685932 h 696240"/>
                <a:gd name="connsiteX697" fmla="*/ 943465 w 2326130"/>
                <a:gd name="connsiteY697" fmla="*/ 690530 h 696240"/>
                <a:gd name="connsiteX698" fmla="*/ 945303 w 2326130"/>
                <a:gd name="connsiteY698" fmla="*/ 694391 h 696240"/>
                <a:gd name="connsiteX699" fmla="*/ 948062 w 2326130"/>
                <a:gd name="connsiteY699" fmla="*/ 695678 h 696240"/>
                <a:gd name="connsiteX700" fmla="*/ 948246 w 2326130"/>
                <a:gd name="connsiteY700" fmla="*/ 695678 h 696240"/>
                <a:gd name="connsiteX701" fmla="*/ 948430 w 2326130"/>
                <a:gd name="connsiteY701" fmla="*/ 695678 h 696240"/>
                <a:gd name="connsiteX702" fmla="*/ 948798 w 2326130"/>
                <a:gd name="connsiteY702" fmla="*/ 695678 h 696240"/>
                <a:gd name="connsiteX703" fmla="*/ 970681 w 2326130"/>
                <a:gd name="connsiteY703" fmla="*/ 695678 h 696240"/>
                <a:gd name="connsiteX704" fmla="*/ 971048 w 2326130"/>
                <a:gd name="connsiteY704" fmla="*/ 695678 h 696240"/>
                <a:gd name="connsiteX705" fmla="*/ 971600 w 2326130"/>
                <a:gd name="connsiteY705" fmla="*/ 695678 h 696240"/>
                <a:gd name="connsiteX706" fmla="*/ 972152 w 2326130"/>
                <a:gd name="connsiteY706" fmla="*/ 695495 h 696240"/>
                <a:gd name="connsiteX707" fmla="*/ 974543 w 2326130"/>
                <a:gd name="connsiteY707" fmla="*/ 694207 h 696240"/>
                <a:gd name="connsiteX708" fmla="*/ 976197 w 2326130"/>
                <a:gd name="connsiteY708" fmla="*/ 690346 h 696240"/>
                <a:gd name="connsiteX709" fmla="*/ 974726 w 2326130"/>
                <a:gd name="connsiteY709" fmla="*/ 686852 h 696240"/>
                <a:gd name="connsiteX710" fmla="*/ 970865 w 2326130"/>
                <a:gd name="connsiteY710" fmla="*/ 685196 h 696240"/>
                <a:gd name="connsiteX711" fmla="*/ 965532 w 2326130"/>
                <a:gd name="connsiteY711" fmla="*/ 685196 h 696240"/>
                <a:gd name="connsiteX712" fmla="*/ 965164 w 2326130"/>
                <a:gd name="connsiteY712" fmla="*/ 684829 h 696240"/>
                <a:gd name="connsiteX713" fmla="*/ 965164 w 2326130"/>
                <a:gd name="connsiteY713" fmla="*/ 653567 h 696240"/>
                <a:gd name="connsiteX714" fmla="*/ 965532 w 2326130"/>
                <a:gd name="connsiteY714" fmla="*/ 653199 h 696240"/>
                <a:gd name="connsiteX715" fmla="*/ 969577 w 2326130"/>
                <a:gd name="connsiteY715" fmla="*/ 653199 h 696240"/>
                <a:gd name="connsiteX716" fmla="*/ 974543 w 2326130"/>
                <a:gd name="connsiteY716" fmla="*/ 650073 h 696240"/>
                <a:gd name="connsiteX717" fmla="*/ 974726 w 2326130"/>
                <a:gd name="connsiteY717" fmla="*/ 646211 h 696240"/>
                <a:gd name="connsiteX718" fmla="*/ 969761 w 2326130"/>
                <a:gd name="connsiteY718" fmla="*/ 642717 h 696240"/>
                <a:gd name="connsiteX719" fmla="*/ 961486 w 2326130"/>
                <a:gd name="connsiteY719" fmla="*/ 642533 h 696240"/>
                <a:gd name="connsiteX720" fmla="*/ 1135795 w 2326130"/>
                <a:gd name="connsiteY720" fmla="*/ 642533 h 696240"/>
                <a:gd name="connsiteX721" fmla="*/ 1133036 w 2326130"/>
                <a:gd name="connsiteY721" fmla="*/ 642533 h 696240"/>
                <a:gd name="connsiteX722" fmla="*/ 1129910 w 2326130"/>
                <a:gd name="connsiteY722" fmla="*/ 644189 h 696240"/>
                <a:gd name="connsiteX723" fmla="*/ 1128439 w 2326130"/>
                <a:gd name="connsiteY723" fmla="*/ 648418 h 696240"/>
                <a:gd name="connsiteX724" fmla="*/ 1128439 w 2326130"/>
                <a:gd name="connsiteY724" fmla="*/ 648786 h 696240"/>
                <a:gd name="connsiteX725" fmla="*/ 1128439 w 2326130"/>
                <a:gd name="connsiteY725" fmla="*/ 684829 h 696240"/>
                <a:gd name="connsiteX726" fmla="*/ 1128071 w 2326130"/>
                <a:gd name="connsiteY726" fmla="*/ 685196 h 696240"/>
                <a:gd name="connsiteX727" fmla="*/ 1123106 w 2326130"/>
                <a:gd name="connsiteY727" fmla="*/ 685196 h 696240"/>
                <a:gd name="connsiteX728" fmla="*/ 1120348 w 2326130"/>
                <a:gd name="connsiteY728" fmla="*/ 685932 h 696240"/>
                <a:gd name="connsiteX729" fmla="*/ 1117773 w 2326130"/>
                <a:gd name="connsiteY729" fmla="*/ 690530 h 696240"/>
                <a:gd name="connsiteX730" fmla="*/ 1119612 w 2326130"/>
                <a:gd name="connsiteY730" fmla="*/ 694391 h 696240"/>
                <a:gd name="connsiteX731" fmla="*/ 1122370 w 2326130"/>
                <a:gd name="connsiteY731" fmla="*/ 695678 h 696240"/>
                <a:gd name="connsiteX732" fmla="*/ 1122554 w 2326130"/>
                <a:gd name="connsiteY732" fmla="*/ 695678 h 696240"/>
                <a:gd name="connsiteX733" fmla="*/ 1122738 w 2326130"/>
                <a:gd name="connsiteY733" fmla="*/ 695678 h 696240"/>
                <a:gd name="connsiteX734" fmla="*/ 1123106 w 2326130"/>
                <a:gd name="connsiteY734" fmla="*/ 695678 h 696240"/>
                <a:gd name="connsiteX735" fmla="*/ 1144989 w 2326130"/>
                <a:gd name="connsiteY735" fmla="*/ 695678 h 696240"/>
                <a:gd name="connsiteX736" fmla="*/ 1145357 w 2326130"/>
                <a:gd name="connsiteY736" fmla="*/ 695678 h 696240"/>
                <a:gd name="connsiteX737" fmla="*/ 1145909 w 2326130"/>
                <a:gd name="connsiteY737" fmla="*/ 695678 h 696240"/>
                <a:gd name="connsiteX738" fmla="*/ 1146460 w 2326130"/>
                <a:gd name="connsiteY738" fmla="*/ 695495 h 696240"/>
                <a:gd name="connsiteX739" fmla="*/ 1148851 w 2326130"/>
                <a:gd name="connsiteY739" fmla="*/ 694207 h 696240"/>
                <a:gd name="connsiteX740" fmla="*/ 1150506 w 2326130"/>
                <a:gd name="connsiteY740" fmla="*/ 690346 h 696240"/>
                <a:gd name="connsiteX741" fmla="*/ 1149035 w 2326130"/>
                <a:gd name="connsiteY741" fmla="*/ 686852 h 696240"/>
                <a:gd name="connsiteX742" fmla="*/ 1145173 w 2326130"/>
                <a:gd name="connsiteY742" fmla="*/ 685196 h 696240"/>
                <a:gd name="connsiteX743" fmla="*/ 1139840 w 2326130"/>
                <a:gd name="connsiteY743" fmla="*/ 685196 h 696240"/>
                <a:gd name="connsiteX744" fmla="*/ 1139472 w 2326130"/>
                <a:gd name="connsiteY744" fmla="*/ 684829 h 696240"/>
                <a:gd name="connsiteX745" fmla="*/ 1139472 w 2326130"/>
                <a:gd name="connsiteY745" fmla="*/ 653567 h 696240"/>
                <a:gd name="connsiteX746" fmla="*/ 1139840 w 2326130"/>
                <a:gd name="connsiteY746" fmla="*/ 653199 h 696240"/>
                <a:gd name="connsiteX747" fmla="*/ 1143886 w 2326130"/>
                <a:gd name="connsiteY747" fmla="*/ 653199 h 696240"/>
                <a:gd name="connsiteX748" fmla="*/ 1148851 w 2326130"/>
                <a:gd name="connsiteY748" fmla="*/ 650073 h 696240"/>
                <a:gd name="connsiteX749" fmla="*/ 1149035 w 2326130"/>
                <a:gd name="connsiteY749" fmla="*/ 646211 h 696240"/>
                <a:gd name="connsiteX750" fmla="*/ 1144070 w 2326130"/>
                <a:gd name="connsiteY750" fmla="*/ 642717 h 696240"/>
                <a:gd name="connsiteX751" fmla="*/ 1135795 w 2326130"/>
                <a:gd name="connsiteY751" fmla="*/ 642533 h 696240"/>
                <a:gd name="connsiteX752" fmla="*/ 1371637 w 2326130"/>
                <a:gd name="connsiteY752" fmla="*/ 642533 h 696240"/>
                <a:gd name="connsiteX753" fmla="*/ 1368879 w 2326130"/>
                <a:gd name="connsiteY753" fmla="*/ 642533 h 696240"/>
                <a:gd name="connsiteX754" fmla="*/ 1365753 w 2326130"/>
                <a:gd name="connsiteY754" fmla="*/ 644189 h 696240"/>
                <a:gd name="connsiteX755" fmla="*/ 1364282 w 2326130"/>
                <a:gd name="connsiteY755" fmla="*/ 648418 h 696240"/>
                <a:gd name="connsiteX756" fmla="*/ 1364282 w 2326130"/>
                <a:gd name="connsiteY756" fmla="*/ 648786 h 696240"/>
                <a:gd name="connsiteX757" fmla="*/ 1364282 w 2326130"/>
                <a:gd name="connsiteY757" fmla="*/ 684829 h 696240"/>
                <a:gd name="connsiteX758" fmla="*/ 1363914 w 2326130"/>
                <a:gd name="connsiteY758" fmla="*/ 685196 h 696240"/>
                <a:gd name="connsiteX759" fmla="*/ 1358949 w 2326130"/>
                <a:gd name="connsiteY759" fmla="*/ 685196 h 696240"/>
                <a:gd name="connsiteX760" fmla="*/ 1356191 w 2326130"/>
                <a:gd name="connsiteY760" fmla="*/ 685932 h 696240"/>
                <a:gd name="connsiteX761" fmla="*/ 1353617 w 2326130"/>
                <a:gd name="connsiteY761" fmla="*/ 690530 h 696240"/>
                <a:gd name="connsiteX762" fmla="*/ 1355455 w 2326130"/>
                <a:gd name="connsiteY762" fmla="*/ 694391 h 696240"/>
                <a:gd name="connsiteX763" fmla="*/ 1358214 w 2326130"/>
                <a:gd name="connsiteY763" fmla="*/ 695678 h 696240"/>
                <a:gd name="connsiteX764" fmla="*/ 1358398 w 2326130"/>
                <a:gd name="connsiteY764" fmla="*/ 695678 h 696240"/>
                <a:gd name="connsiteX765" fmla="*/ 1358581 w 2326130"/>
                <a:gd name="connsiteY765" fmla="*/ 695678 h 696240"/>
                <a:gd name="connsiteX766" fmla="*/ 1358949 w 2326130"/>
                <a:gd name="connsiteY766" fmla="*/ 695678 h 696240"/>
                <a:gd name="connsiteX767" fmla="*/ 1380832 w 2326130"/>
                <a:gd name="connsiteY767" fmla="*/ 695678 h 696240"/>
                <a:gd name="connsiteX768" fmla="*/ 1381200 w 2326130"/>
                <a:gd name="connsiteY768" fmla="*/ 695678 h 696240"/>
                <a:gd name="connsiteX769" fmla="*/ 1381751 w 2326130"/>
                <a:gd name="connsiteY769" fmla="*/ 695678 h 696240"/>
                <a:gd name="connsiteX770" fmla="*/ 1382303 w 2326130"/>
                <a:gd name="connsiteY770" fmla="*/ 695495 h 696240"/>
                <a:gd name="connsiteX771" fmla="*/ 1384694 w 2326130"/>
                <a:gd name="connsiteY771" fmla="*/ 694207 h 696240"/>
                <a:gd name="connsiteX772" fmla="*/ 1386348 w 2326130"/>
                <a:gd name="connsiteY772" fmla="*/ 690346 h 696240"/>
                <a:gd name="connsiteX773" fmla="*/ 1384877 w 2326130"/>
                <a:gd name="connsiteY773" fmla="*/ 686852 h 696240"/>
                <a:gd name="connsiteX774" fmla="*/ 1381016 w 2326130"/>
                <a:gd name="connsiteY774" fmla="*/ 685196 h 696240"/>
                <a:gd name="connsiteX775" fmla="*/ 1375683 w 2326130"/>
                <a:gd name="connsiteY775" fmla="*/ 685196 h 696240"/>
                <a:gd name="connsiteX776" fmla="*/ 1375315 w 2326130"/>
                <a:gd name="connsiteY776" fmla="*/ 684829 h 696240"/>
                <a:gd name="connsiteX777" fmla="*/ 1375315 w 2326130"/>
                <a:gd name="connsiteY777" fmla="*/ 653567 h 696240"/>
                <a:gd name="connsiteX778" fmla="*/ 1375683 w 2326130"/>
                <a:gd name="connsiteY778" fmla="*/ 653199 h 696240"/>
                <a:gd name="connsiteX779" fmla="*/ 1379729 w 2326130"/>
                <a:gd name="connsiteY779" fmla="*/ 653199 h 696240"/>
                <a:gd name="connsiteX780" fmla="*/ 1384694 w 2326130"/>
                <a:gd name="connsiteY780" fmla="*/ 650073 h 696240"/>
                <a:gd name="connsiteX781" fmla="*/ 1384877 w 2326130"/>
                <a:gd name="connsiteY781" fmla="*/ 646211 h 696240"/>
                <a:gd name="connsiteX782" fmla="*/ 1379912 w 2326130"/>
                <a:gd name="connsiteY782" fmla="*/ 642717 h 696240"/>
                <a:gd name="connsiteX783" fmla="*/ 1371637 w 2326130"/>
                <a:gd name="connsiteY783" fmla="*/ 642533 h 696240"/>
                <a:gd name="connsiteX784" fmla="*/ 1607531 w 2326130"/>
                <a:gd name="connsiteY784" fmla="*/ 642533 h 696240"/>
                <a:gd name="connsiteX785" fmla="*/ 1604773 w 2326130"/>
                <a:gd name="connsiteY785" fmla="*/ 642533 h 696240"/>
                <a:gd name="connsiteX786" fmla="*/ 1601646 w 2326130"/>
                <a:gd name="connsiteY786" fmla="*/ 644189 h 696240"/>
                <a:gd name="connsiteX787" fmla="*/ 1600175 w 2326130"/>
                <a:gd name="connsiteY787" fmla="*/ 648418 h 696240"/>
                <a:gd name="connsiteX788" fmla="*/ 1600175 w 2326130"/>
                <a:gd name="connsiteY788" fmla="*/ 648786 h 696240"/>
                <a:gd name="connsiteX789" fmla="*/ 1600175 w 2326130"/>
                <a:gd name="connsiteY789" fmla="*/ 684829 h 696240"/>
                <a:gd name="connsiteX790" fmla="*/ 1599807 w 2326130"/>
                <a:gd name="connsiteY790" fmla="*/ 685196 h 696240"/>
                <a:gd name="connsiteX791" fmla="*/ 1594842 w 2326130"/>
                <a:gd name="connsiteY791" fmla="*/ 685196 h 696240"/>
                <a:gd name="connsiteX792" fmla="*/ 1592084 w 2326130"/>
                <a:gd name="connsiteY792" fmla="*/ 685932 h 696240"/>
                <a:gd name="connsiteX793" fmla="*/ 1589509 w 2326130"/>
                <a:gd name="connsiteY793" fmla="*/ 690530 h 696240"/>
                <a:gd name="connsiteX794" fmla="*/ 1591348 w 2326130"/>
                <a:gd name="connsiteY794" fmla="*/ 694391 h 696240"/>
                <a:gd name="connsiteX795" fmla="*/ 1594107 w 2326130"/>
                <a:gd name="connsiteY795" fmla="*/ 695678 h 696240"/>
                <a:gd name="connsiteX796" fmla="*/ 1594291 w 2326130"/>
                <a:gd name="connsiteY796" fmla="*/ 695678 h 696240"/>
                <a:gd name="connsiteX797" fmla="*/ 1594474 w 2326130"/>
                <a:gd name="connsiteY797" fmla="*/ 695678 h 696240"/>
                <a:gd name="connsiteX798" fmla="*/ 1594842 w 2326130"/>
                <a:gd name="connsiteY798" fmla="*/ 695678 h 696240"/>
                <a:gd name="connsiteX799" fmla="*/ 1616725 w 2326130"/>
                <a:gd name="connsiteY799" fmla="*/ 695678 h 696240"/>
                <a:gd name="connsiteX800" fmla="*/ 1617093 w 2326130"/>
                <a:gd name="connsiteY800" fmla="*/ 695678 h 696240"/>
                <a:gd name="connsiteX801" fmla="*/ 1617645 w 2326130"/>
                <a:gd name="connsiteY801" fmla="*/ 695678 h 696240"/>
                <a:gd name="connsiteX802" fmla="*/ 1618197 w 2326130"/>
                <a:gd name="connsiteY802" fmla="*/ 695495 h 696240"/>
                <a:gd name="connsiteX803" fmla="*/ 1620587 w 2326130"/>
                <a:gd name="connsiteY803" fmla="*/ 694207 h 696240"/>
                <a:gd name="connsiteX804" fmla="*/ 1622242 w 2326130"/>
                <a:gd name="connsiteY804" fmla="*/ 690346 h 696240"/>
                <a:gd name="connsiteX805" fmla="*/ 1620771 w 2326130"/>
                <a:gd name="connsiteY805" fmla="*/ 686852 h 696240"/>
                <a:gd name="connsiteX806" fmla="*/ 1616910 w 2326130"/>
                <a:gd name="connsiteY806" fmla="*/ 685196 h 696240"/>
                <a:gd name="connsiteX807" fmla="*/ 1611576 w 2326130"/>
                <a:gd name="connsiteY807" fmla="*/ 685196 h 696240"/>
                <a:gd name="connsiteX808" fmla="*/ 1611209 w 2326130"/>
                <a:gd name="connsiteY808" fmla="*/ 684829 h 696240"/>
                <a:gd name="connsiteX809" fmla="*/ 1611209 w 2326130"/>
                <a:gd name="connsiteY809" fmla="*/ 653567 h 696240"/>
                <a:gd name="connsiteX810" fmla="*/ 1611576 w 2326130"/>
                <a:gd name="connsiteY810" fmla="*/ 653199 h 696240"/>
                <a:gd name="connsiteX811" fmla="*/ 1615622 w 2326130"/>
                <a:gd name="connsiteY811" fmla="*/ 653199 h 696240"/>
                <a:gd name="connsiteX812" fmla="*/ 1620587 w 2326130"/>
                <a:gd name="connsiteY812" fmla="*/ 650073 h 696240"/>
                <a:gd name="connsiteX813" fmla="*/ 1620771 w 2326130"/>
                <a:gd name="connsiteY813" fmla="*/ 646211 h 696240"/>
                <a:gd name="connsiteX814" fmla="*/ 1615806 w 2326130"/>
                <a:gd name="connsiteY814" fmla="*/ 642717 h 696240"/>
                <a:gd name="connsiteX815" fmla="*/ 1607531 w 2326130"/>
                <a:gd name="connsiteY815" fmla="*/ 642533 h 696240"/>
                <a:gd name="connsiteX816" fmla="*/ 1720403 w 2326130"/>
                <a:gd name="connsiteY816" fmla="*/ 642533 h 696240"/>
                <a:gd name="connsiteX817" fmla="*/ 1717645 w 2326130"/>
                <a:gd name="connsiteY817" fmla="*/ 642533 h 696240"/>
                <a:gd name="connsiteX818" fmla="*/ 1714519 w 2326130"/>
                <a:gd name="connsiteY818" fmla="*/ 644189 h 696240"/>
                <a:gd name="connsiteX819" fmla="*/ 1713047 w 2326130"/>
                <a:gd name="connsiteY819" fmla="*/ 648418 h 696240"/>
                <a:gd name="connsiteX820" fmla="*/ 1713047 w 2326130"/>
                <a:gd name="connsiteY820" fmla="*/ 648786 h 696240"/>
                <a:gd name="connsiteX821" fmla="*/ 1713047 w 2326130"/>
                <a:gd name="connsiteY821" fmla="*/ 684829 h 696240"/>
                <a:gd name="connsiteX822" fmla="*/ 1712680 w 2326130"/>
                <a:gd name="connsiteY822" fmla="*/ 685196 h 696240"/>
                <a:gd name="connsiteX823" fmla="*/ 1707715 w 2326130"/>
                <a:gd name="connsiteY823" fmla="*/ 685196 h 696240"/>
                <a:gd name="connsiteX824" fmla="*/ 1704956 w 2326130"/>
                <a:gd name="connsiteY824" fmla="*/ 685932 h 696240"/>
                <a:gd name="connsiteX825" fmla="*/ 1702382 w 2326130"/>
                <a:gd name="connsiteY825" fmla="*/ 690530 h 696240"/>
                <a:gd name="connsiteX826" fmla="*/ 1704221 w 2326130"/>
                <a:gd name="connsiteY826" fmla="*/ 694391 h 696240"/>
                <a:gd name="connsiteX827" fmla="*/ 1706979 w 2326130"/>
                <a:gd name="connsiteY827" fmla="*/ 695678 h 696240"/>
                <a:gd name="connsiteX828" fmla="*/ 1707163 w 2326130"/>
                <a:gd name="connsiteY828" fmla="*/ 695678 h 696240"/>
                <a:gd name="connsiteX829" fmla="*/ 1707347 w 2326130"/>
                <a:gd name="connsiteY829" fmla="*/ 695678 h 696240"/>
                <a:gd name="connsiteX830" fmla="*/ 1707715 w 2326130"/>
                <a:gd name="connsiteY830" fmla="*/ 695678 h 696240"/>
                <a:gd name="connsiteX831" fmla="*/ 1729598 w 2326130"/>
                <a:gd name="connsiteY831" fmla="*/ 695678 h 696240"/>
                <a:gd name="connsiteX832" fmla="*/ 1729966 w 2326130"/>
                <a:gd name="connsiteY832" fmla="*/ 695678 h 696240"/>
                <a:gd name="connsiteX833" fmla="*/ 1730517 w 2326130"/>
                <a:gd name="connsiteY833" fmla="*/ 695678 h 696240"/>
                <a:gd name="connsiteX834" fmla="*/ 1731069 w 2326130"/>
                <a:gd name="connsiteY834" fmla="*/ 695495 h 696240"/>
                <a:gd name="connsiteX835" fmla="*/ 1733460 w 2326130"/>
                <a:gd name="connsiteY835" fmla="*/ 694207 h 696240"/>
                <a:gd name="connsiteX836" fmla="*/ 1735114 w 2326130"/>
                <a:gd name="connsiteY836" fmla="*/ 690346 h 696240"/>
                <a:gd name="connsiteX837" fmla="*/ 1733643 w 2326130"/>
                <a:gd name="connsiteY837" fmla="*/ 686852 h 696240"/>
                <a:gd name="connsiteX838" fmla="*/ 1729782 w 2326130"/>
                <a:gd name="connsiteY838" fmla="*/ 685196 h 696240"/>
                <a:gd name="connsiteX839" fmla="*/ 1724448 w 2326130"/>
                <a:gd name="connsiteY839" fmla="*/ 685196 h 696240"/>
                <a:gd name="connsiteX840" fmla="*/ 1724081 w 2326130"/>
                <a:gd name="connsiteY840" fmla="*/ 684829 h 696240"/>
                <a:gd name="connsiteX841" fmla="*/ 1724081 w 2326130"/>
                <a:gd name="connsiteY841" fmla="*/ 653567 h 696240"/>
                <a:gd name="connsiteX842" fmla="*/ 1724448 w 2326130"/>
                <a:gd name="connsiteY842" fmla="*/ 653199 h 696240"/>
                <a:gd name="connsiteX843" fmla="*/ 1728495 w 2326130"/>
                <a:gd name="connsiteY843" fmla="*/ 653199 h 696240"/>
                <a:gd name="connsiteX844" fmla="*/ 1733460 w 2326130"/>
                <a:gd name="connsiteY844" fmla="*/ 650073 h 696240"/>
                <a:gd name="connsiteX845" fmla="*/ 1733643 w 2326130"/>
                <a:gd name="connsiteY845" fmla="*/ 646211 h 696240"/>
                <a:gd name="connsiteX846" fmla="*/ 1728678 w 2326130"/>
                <a:gd name="connsiteY846" fmla="*/ 642717 h 696240"/>
                <a:gd name="connsiteX847" fmla="*/ 1720403 w 2326130"/>
                <a:gd name="connsiteY847" fmla="*/ 642533 h 696240"/>
                <a:gd name="connsiteX848" fmla="*/ 2079269 w 2326130"/>
                <a:gd name="connsiteY848" fmla="*/ 642533 h 696240"/>
                <a:gd name="connsiteX849" fmla="*/ 2076511 w 2326130"/>
                <a:gd name="connsiteY849" fmla="*/ 642533 h 696240"/>
                <a:gd name="connsiteX850" fmla="*/ 2073384 w 2326130"/>
                <a:gd name="connsiteY850" fmla="*/ 644189 h 696240"/>
                <a:gd name="connsiteX851" fmla="*/ 2071913 w 2326130"/>
                <a:gd name="connsiteY851" fmla="*/ 648418 h 696240"/>
                <a:gd name="connsiteX852" fmla="*/ 2071913 w 2326130"/>
                <a:gd name="connsiteY852" fmla="*/ 648786 h 696240"/>
                <a:gd name="connsiteX853" fmla="*/ 2071913 w 2326130"/>
                <a:gd name="connsiteY853" fmla="*/ 684829 h 696240"/>
                <a:gd name="connsiteX854" fmla="*/ 2071545 w 2326130"/>
                <a:gd name="connsiteY854" fmla="*/ 685196 h 696240"/>
                <a:gd name="connsiteX855" fmla="*/ 2066580 w 2326130"/>
                <a:gd name="connsiteY855" fmla="*/ 685196 h 696240"/>
                <a:gd name="connsiteX856" fmla="*/ 2063821 w 2326130"/>
                <a:gd name="connsiteY856" fmla="*/ 685932 h 696240"/>
                <a:gd name="connsiteX857" fmla="*/ 2061247 w 2326130"/>
                <a:gd name="connsiteY857" fmla="*/ 690530 h 696240"/>
                <a:gd name="connsiteX858" fmla="*/ 2063086 w 2326130"/>
                <a:gd name="connsiteY858" fmla="*/ 694391 h 696240"/>
                <a:gd name="connsiteX859" fmla="*/ 2065844 w 2326130"/>
                <a:gd name="connsiteY859" fmla="*/ 695678 h 696240"/>
                <a:gd name="connsiteX860" fmla="*/ 2066028 w 2326130"/>
                <a:gd name="connsiteY860" fmla="*/ 695678 h 696240"/>
                <a:gd name="connsiteX861" fmla="*/ 2066212 w 2326130"/>
                <a:gd name="connsiteY861" fmla="*/ 695678 h 696240"/>
                <a:gd name="connsiteX862" fmla="*/ 2066580 w 2326130"/>
                <a:gd name="connsiteY862" fmla="*/ 695678 h 696240"/>
                <a:gd name="connsiteX863" fmla="*/ 2088464 w 2326130"/>
                <a:gd name="connsiteY863" fmla="*/ 695678 h 696240"/>
                <a:gd name="connsiteX864" fmla="*/ 2088832 w 2326130"/>
                <a:gd name="connsiteY864" fmla="*/ 695678 h 696240"/>
                <a:gd name="connsiteX865" fmla="*/ 2089383 w 2326130"/>
                <a:gd name="connsiteY865" fmla="*/ 695678 h 696240"/>
                <a:gd name="connsiteX866" fmla="*/ 2089935 w 2326130"/>
                <a:gd name="connsiteY866" fmla="*/ 695495 h 696240"/>
                <a:gd name="connsiteX867" fmla="*/ 2092325 w 2326130"/>
                <a:gd name="connsiteY867" fmla="*/ 694207 h 696240"/>
                <a:gd name="connsiteX868" fmla="*/ 2093980 w 2326130"/>
                <a:gd name="connsiteY868" fmla="*/ 690346 h 696240"/>
                <a:gd name="connsiteX869" fmla="*/ 2092509 w 2326130"/>
                <a:gd name="connsiteY869" fmla="*/ 686852 h 696240"/>
                <a:gd name="connsiteX870" fmla="*/ 2088647 w 2326130"/>
                <a:gd name="connsiteY870" fmla="*/ 685196 h 696240"/>
                <a:gd name="connsiteX871" fmla="*/ 2083314 w 2326130"/>
                <a:gd name="connsiteY871" fmla="*/ 685196 h 696240"/>
                <a:gd name="connsiteX872" fmla="*/ 2082946 w 2326130"/>
                <a:gd name="connsiteY872" fmla="*/ 684829 h 696240"/>
                <a:gd name="connsiteX873" fmla="*/ 2082946 w 2326130"/>
                <a:gd name="connsiteY873" fmla="*/ 653567 h 696240"/>
                <a:gd name="connsiteX874" fmla="*/ 2083314 w 2326130"/>
                <a:gd name="connsiteY874" fmla="*/ 653199 h 696240"/>
                <a:gd name="connsiteX875" fmla="*/ 2087360 w 2326130"/>
                <a:gd name="connsiteY875" fmla="*/ 653199 h 696240"/>
                <a:gd name="connsiteX876" fmla="*/ 2092325 w 2326130"/>
                <a:gd name="connsiteY876" fmla="*/ 650073 h 696240"/>
                <a:gd name="connsiteX877" fmla="*/ 2092509 w 2326130"/>
                <a:gd name="connsiteY877" fmla="*/ 646211 h 696240"/>
                <a:gd name="connsiteX878" fmla="*/ 2087544 w 2326130"/>
                <a:gd name="connsiteY878" fmla="*/ 642717 h 696240"/>
                <a:gd name="connsiteX879" fmla="*/ 2079269 w 2326130"/>
                <a:gd name="connsiteY879" fmla="*/ 642533 h 696240"/>
                <a:gd name="connsiteX880" fmla="*/ 2130606 w 2326130"/>
                <a:gd name="connsiteY880" fmla="*/ 642533 h 696240"/>
                <a:gd name="connsiteX881" fmla="*/ 2127847 w 2326130"/>
                <a:gd name="connsiteY881" fmla="*/ 642533 h 696240"/>
                <a:gd name="connsiteX882" fmla="*/ 2124721 w 2326130"/>
                <a:gd name="connsiteY882" fmla="*/ 644189 h 696240"/>
                <a:gd name="connsiteX883" fmla="*/ 2123249 w 2326130"/>
                <a:gd name="connsiteY883" fmla="*/ 648418 h 696240"/>
                <a:gd name="connsiteX884" fmla="*/ 2123249 w 2326130"/>
                <a:gd name="connsiteY884" fmla="*/ 648786 h 696240"/>
                <a:gd name="connsiteX885" fmla="*/ 2123249 w 2326130"/>
                <a:gd name="connsiteY885" fmla="*/ 684829 h 696240"/>
                <a:gd name="connsiteX886" fmla="*/ 2122882 w 2326130"/>
                <a:gd name="connsiteY886" fmla="*/ 685196 h 696240"/>
                <a:gd name="connsiteX887" fmla="*/ 2117917 w 2326130"/>
                <a:gd name="connsiteY887" fmla="*/ 685196 h 696240"/>
                <a:gd name="connsiteX888" fmla="*/ 2115159 w 2326130"/>
                <a:gd name="connsiteY888" fmla="*/ 685932 h 696240"/>
                <a:gd name="connsiteX889" fmla="*/ 2112584 w 2326130"/>
                <a:gd name="connsiteY889" fmla="*/ 690530 h 696240"/>
                <a:gd name="connsiteX890" fmla="*/ 2114423 w 2326130"/>
                <a:gd name="connsiteY890" fmla="*/ 694391 h 696240"/>
                <a:gd name="connsiteX891" fmla="*/ 2117181 w 2326130"/>
                <a:gd name="connsiteY891" fmla="*/ 695678 h 696240"/>
                <a:gd name="connsiteX892" fmla="*/ 2117366 w 2326130"/>
                <a:gd name="connsiteY892" fmla="*/ 695678 h 696240"/>
                <a:gd name="connsiteX893" fmla="*/ 2117549 w 2326130"/>
                <a:gd name="connsiteY893" fmla="*/ 695678 h 696240"/>
                <a:gd name="connsiteX894" fmla="*/ 2117917 w 2326130"/>
                <a:gd name="connsiteY894" fmla="*/ 695678 h 696240"/>
                <a:gd name="connsiteX895" fmla="*/ 2139800 w 2326130"/>
                <a:gd name="connsiteY895" fmla="*/ 695678 h 696240"/>
                <a:gd name="connsiteX896" fmla="*/ 2140168 w 2326130"/>
                <a:gd name="connsiteY896" fmla="*/ 695678 h 696240"/>
                <a:gd name="connsiteX897" fmla="*/ 2140719 w 2326130"/>
                <a:gd name="connsiteY897" fmla="*/ 695678 h 696240"/>
                <a:gd name="connsiteX898" fmla="*/ 2141271 w 2326130"/>
                <a:gd name="connsiteY898" fmla="*/ 695495 h 696240"/>
                <a:gd name="connsiteX899" fmla="*/ 2143662 w 2326130"/>
                <a:gd name="connsiteY899" fmla="*/ 694207 h 696240"/>
                <a:gd name="connsiteX900" fmla="*/ 2145317 w 2326130"/>
                <a:gd name="connsiteY900" fmla="*/ 690346 h 696240"/>
                <a:gd name="connsiteX901" fmla="*/ 2143846 w 2326130"/>
                <a:gd name="connsiteY901" fmla="*/ 686852 h 696240"/>
                <a:gd name="connsiteX902" fmla="*/ 2139984 w 2326130"/>
                <a:gd name="connsiteY902" fmla="*/ 685196 h 696240"/>
                <a:gd name="connsiteX903" fmla="*/ 2134651 w 2326130"/>
                <a:gd name="connsiteY903" fmla="*/ 685196 h 696240"/>
                <a:gd name="connsiteX904" fmla="*/ 2134283 w 2326130"/>
                <a:gd name="connsiteY904" fmla="*/ 684829 h 696240"/>
                <a:gd name="connsiteX905" fmla="*/ 2134283 w 2326130"/>
                <a:gd name="connsiteY905" fmla="*/ 653567 h 696240"/>
                <a:gd name="connsiteX906" fmla="*/ 2134651 w 2326130"/>
                <a:gd name="connsiteY906" fmla="*/ 653199 h 696240"/>
                <a:gd name="connsiteX907" fmla="*/ 2138697 w 2326130"/>
                <a:gd name="connsiteY907" fmla="*/ 653199 h 696240"/>
                <a:gd name="connsiteX908" fmla="*/ 2143662 w 2326130"/>
                <a:gd name="connsiteY908" fmla="*/ 650073 h 696240"/>
                <a:gd name="connsiteX909" fmla="*/ 2143846 w 2326130"/>
                <a:gd name="connsiteY909" fmla="*/ 646211 h 696240"/>
                <a:gd name="connsiteX910" fmla="*/ 2138881 w 2326130"/>
                <a:gd name="connsiteY910" fmla="*/ 642717 h 696240"/>
                <a:gd name="connsiteX911" fmla="*/ 2130606 w 2326130"/>
                <a:gd name="connsiteY911" fmla="*/ 642533 h 696240"/>
                <a:gd name="connsiteX912" fmla="*/ 2304964 w 2326130"/>
                <a:gd name="connsiteY912" fmla="*/ 642533 h 696240"/>
                <a:gd name="connsiteX913" fmla="*/ 2302205 w 2326130"/>
                <a:gd name="connsiteY913" fmla="*/ 642533 h 696240"/>
                <a:gd name="connsiteX914" fmla="*/ 2299079 w 2326130"/>
                <a:gd name="connsiteY914" fmla="*/ 644189 h 696240"/>
                <a:gd name="connsiteX915" fmla="*/ 2297608 w 2326130"/>
                <a:gd name="connsiteY915" fmla="*/ 648418 h 696240"/>
                <a:gd name="connsiteX916" fmla="*/ 2297608 w 2326130"/>
                <a:gd name="connsiteY916" fmla="*/ 648786 h 696240"/>
                <a:gd name="connsiteX917" fmla="*/ 2297608 w 2326130"/>
                <a:gd name="connsiteY917" fmla="*/ 684829 h 696240"/>
                <a:gd name="connsiteX918" fmla="*/ 2297240 w 2326130"/>
                <a:gd name="connsiteY918" fmla="*/ 685196 h 696240"/>
                <a:gd name="connsiteX919" fmla="*/ 2292275 w 2326130"/>
                <a:gd name="connsiteY919" fmla="*/ 685196 h 696240"/>
                <a:gd name="connsiteX920" fmla="*/ 2289517 w 2326130"/>
                <a:gd name="connsiteY920" fmla="*/ 685932 h 696240"/>
                <a:gd name="connsiteX921" fmla="*/ 2286942 w 2326130"/>
                <a:gd name="connsiteY921" fmla="*/ 690530 h 696240"/>
                <a:gd name="connsiteX922" fmla="*/ 2288781 w 2326130"/>
                <a:gd name="connsiteY922" fmla="*/ 694391 h 696240"/>
                <a:gd name="connsiteX923" fmla="*/ 2291539 w 2326130"/>
                <a:gd name="connsiteY923" fmla="*/ 695678 h 696240"/>
                <a:gd name="connsiteX924" fmla="*/ 2291724 w 2326130"/>
                <a:gd name="connsiteY924" fmla="*/ 695678 h 696240"/>
                <a:gd name="connsiteX925" fmla="*/ 2291907 w 2326130"/>
                <a:gd name="connsiteY925" fmla="*/ 695678 h 696240"/>
                <a:gd name="connsiteX926" fmla="*/ 2292275 w 2326130"/>
                <a:gd name="connsiteY926" fmla="*/ 695678 h 696240"/>
                <a:gd name="connsiteX927" fmla="*/ 2314158 w 2326130"/>
                <a:gd name="connsiteY927" fmla="*/ 695678 h 696240"/>
                <a:gd name="connsiteX928" fmla="*/ 2314526 w 2326130"/>
                <a:gd name="connsiteY928" fmla="*/ 695678 h 696240"/>
                <a:gd name="connsiteX929" fmla="*/ 2315078 w 2326130"/>
                <a:gd name="connsiteY929" fmla="*/ 695678 h 696240"/>
                <a:gd name="connsiteX930" fmla="*/ 2315630 w 2326130"/>
                <a:gd name="connsiteY930" fmla="*/ 695495 h 696240"/>
                <a:gd name="connsiteX931" fmla="*/ 2318020 w 2326130"/>
                <a:gd name="connsiteY931" fmla="*/ 694207 h 696240"/>
                <a:gd name="connsiteX932" fmla="*/ 2319676 w 2326130"/>
                <a:gd name="connsiteY932" fmla="*/ 690346 h 696240"/>
                <a:gd name="connsiteX933" fmla="*/ 2318204 w 2326130"/>
                <a:gd name="connsiteY933" fmla="*/ 686852 h 696240"/>
                <a:gd name="connsiteX934" fmla="*/ 2314342 w 2326130"/>
                <a:gd name="connsiteY934" fmla="*/ 685196 h 696240"/>
                <a:gd name="connsiteX935" fmla="*/ 2309009 w 2326130"/>
                <a:gd name="connsiteY935" fmla="*/ 685196 h 696240"/>
                <a:gd name="connsiteX936" fmla="*/ 2308642 w 2326130"/>
                <a:gd name="connsiteY936" fmla="*/ 684829 h 696240"/>
                <a:gd name="connsiteX937" fmla="*/ 2308642 w 2326130"/>
                <a:gd name="connsiteY937" fmla="*/ 653567 h 696240"/>
                <a:gd name="connsiteX938" fmla="*/ 2309009 w 2326130"/>
                <a:gd name="connsiteY938" fmla="*/ 653199 h 696240"/>
                <a:gd name="connsiteX939" fmla="*/ 2313055 w 2326130"/>
                <a:gd name="connsiteY939" fmla="*/ 653199 h 696240"/>
                <a:gd name="connsiteX940" fmla="*/ 2318020 w 2326130"/>
                <a:gd name="connsiteY940" fmla="*/ 650073 h 696240"/>
                <a:gd name="connsiteX941" fmla="*/ 2318204 w 2326130"/>
                <a:gd name="connsiteY941" fmla="*/ 646211 h 696240"/>
                <a:gd name="connsiteX942" fmla="*/ 2313239 w 2326130"/>
                <a:gd name="connsiteY942" fmla="*/ 642717 h 696240"/>
                <a:gd name="connsiteX943" fmla="*/ 2304964 w 2326130"/>
                <a:gd name="connsiteY943" fmla="*/ 642533 h 696240"/>
                <a:gd name="connsiteX944" fmla="*/ 22592 w 2326130"/>
                <a:gd name="connsiteY944" fmla="*/ 642486 h 696240"/>
                <a:gd name="connsiteX945" fmla="*/ 14233 w 2326130"/>
                <a:gd name="connsiteY945" fmla="*/ 643957 h 696240"/>
                <a:gd name="connsiteX946" fmla="*/ 9218 w 2326130"/>
                <a:gd name="connsiteY946" fmla="*/ 647084 h 696240"/>
                <a:gd name="connsiteX947" fmla="*/ 6878 w 2326130"/>
                <a:gd name="connsiteY947" fmla="*/ 649290 h 696240"/>
                <a:gd name="connsiteX948" fmla="*/ 4537 w 2326130"/>
                <a:gd name="connsiteY948" fmla="*/ 652233 h 696240"/>
                <a:gd name="connsiteX949" fmla="*/ 3200 w 2326130"/>
                <a:gd name="connsiteY949" fmla="*/ 654623 h 696240"/>
                <a:gd name="connsiteX950" fmla="*/ 1695 w 2326130"/>
                <a:gd name="connsiteY950" fmla="*/ 658301 h 696240"/>
                <a:gd name="connsiteX951" fmla="*/ 1027 w 2326130"/>
                <a:gd name="connsiteY951" fmla="*/ 660692 h 696240"/>
                <a:gd name="connsiteX952" fmla="*/ 357 w 2326130"/>
                <a:gd name="connsiteY952" fmla="*/ 664186 h 696240"/>
                <a:gd name="connsiteX953" fmla="*/ 525 w 2326130"/>
                <a:gd name="connsiteY953" fmla="*/ 673932 h 696240"/>
                <a:gd name="connsiteX954" fmla="*/ 1193 w 2326130"/>
                <a:gd name="connsiteY954" fmla="*/ 677242 h 696240"/>
                <a:gd name="connsiteX955" fmla="*/ 2030 w 2326130"/>
                <a:gd name="connsiteY955" fmla="*/ 679817 h 696240"/>
                <a:gd name="connsiteX956" fmla="*/ 2698 w 2326130"/>
                <a:gd name="connsiteY956" fmla="*/ 681472 h 696240"/>
                <a:gd name="connsiteX957" fmla="*/ 4203 w 2326130"/>
                <a:gd name="connsiteY957" fmla="*/ 684414 h 696240"/>
                <a:gd name="connsiteX958" fmla="*/ 5707 w 2326130"/>
                <a:gd name="connsiteY958" fmla="*/ 686620 h 696240"/>
                <a:gd name="connsiteX959" fmla="*/ 8048 w 2326130"/>
                <a:gd name="connsiteY959" fmla="*/ 689195 h 696240"/>
                <a:gd name="connsiteX960" fmla="*/ 10221 w 2326130"/>
                <a:gd name="connsiteY960" fmla="*/ 691034 h 696240"/>
                <a:gd name="connsiteX961" fmla="*/ 14066 w 2326130"/>
                <a:gd name="connsiteY961" fmla="*/ 693241 h 696240"/>
                <a:gd name="connsiteX962" fmla="*/ 19416 w 2326130"/>
                <a:gd name="connsiteY962" fmla="*/ 694712 h 696240"/>
                <a:gd name="connsiteX963" fmla="*/ 20252 w 2326130"/>
                <a:gd name="connsiteY963" fmla="*/ 694896 h 696240"/>
                <a:gd name="connsiteX964" fmla="*/ 23094 w 2326130"/>
                <a:gd name="connsiteY964" fmla="*/ 694896 h 696240"/>
                <a:gd name="connsiteX965" fmla="*/ 23261 w 2326130"/>
                <a:gd name="connsiteY965" fmla="*/ 694896 h 696240"/>
                <a:gd name="connsiteX966" fmla="*/ 32121 w 2326130"/>
                <a:gd name="connsiteY966" fmla="*/ 691586 h 696240"/>
                <a:gd name="connsiteX967" fmla="*/ 35298 w 2326130"/>
                <a:gd name="connsiteY967" fmla="*/ 688827 h 696240"/>
                <a:gd name="connsiteX968" fmla="*/ 37471 w 2326130"/>
                <a:gd name="connsiteY968" fmla="*/ 686253 h 696240"/>
                <a:gd name="connsiteX969" fmla="*/ 38976 w 2326130"/>
                <a:gd name="connsiteY969" fmla="*/ 683863 h 696240"/>
                <a:gd name="connsiteX970" fmla="*/ 40480 w 2326130"/>
                <a:gd name="connsiteY970" fmla="*/ 680920 h 696240"/>
                <a:gd name="connsiteX971" fmla="*/ 41316 w 2326130"/>
                <a:gd name="connsiteY971" fmla="*/ 678898 h 696240"/>
                <a:gd name="connsiteX972" fmla="*/ 41985 w 2326130"/>
                <a:gd name="connsiteY972" fmla="*/ 676691 h 696240"/>
                <a:gd name="connsiteX973" fmla="*/ 42821 w 2326130"/>
                <a:gd name="connsiteY973" fmla="*/ 672829 h 696240"/>
                <a:gd name="connsiteX974" fmla="*/ 42988 w 2326130"/>
                <a:gd name="connsiteY974" fmla="*/ 670806 h 696240"/>
                <a:gd name="connsiteX975" fmla="*/ 42821 w 2326130"/>
                <a:gd name="connsiteY975" fmla="*/ 670990 h 696240"/>
                <a:gd name="connsiteX976" fmla="*/ 42821 w 2326130"/>
                <a:gd name="connsiteY976" fmla="*/ 667128 h 696240"/>
                <a:gd name="connsiteX977" fmla="*/ 42821 w 2326130"/>
                <a:gd name="connsiteY977" fmla="*/ 666944 h 696240"/>
                <a:gd name="connsiteX978" fmla="*/ 42487 w 2326130"/>
                <a:gd name="connsiteY978" fmla="*/ 663818 h 696240"/>
                <a:gd name="connsiteX979" fmla="*/ 41651 w 2326130"/>
                <a:gd name="connsiteY979" fmla="*/ 660140 h 696240"/>
                <a:gd name="connsiteX980" fmla="*/ 40982 w 2326130"/>
                <a:gd name="connsiteY980" fmla="*/ 657933 h 696240"/>
                <a:gd name="connsiteX981" fmla="*/ 39478 w 2326130"/>
                <a:gd name="connsiteY981" fmla="*/ 654439 h 696240"/>
                <a:gd name="connsiteX982" fmla="*/ 37973 w 2326130"/>
                <a:gd name="connsiteY982" fmla="*/ 651865 h 696240"/>
                <a:gd name="connsiteX983" fmla="*/ 36468 w 2326130"/>
                <a:gd name="connsiteY983" fmla="*/ 649842 h 696240"/>
                <a:gd name="connsiteX984" fmla="*/ 34964 w 2326130"/>
                <a:gd name="connsiteY984" fmla="*/ 648187 h 696240"/>
                <a:gd name="connsiteX985" fmla="*/ 31787 w 2326130"/>
                <a:gd name="connsiteY985" fmla="*/ 645613 h 696240"/>
                <a:gd name="connsiteX986" fmla="*/ 29113 w 2326130"/>
                <a:gd name="connsiteY986" fmla="*/ 644142 h 696240"/>
                <a:gd name="connsiteX987" fmla="*/ 22592 w 2326130"/>
                <a:gd name="connsiteY987" fmla="*/ 642486 h 696240"/>
                <a:gd name="connsiteX988" fmla="*/ 145622 w 2326130"/>
                <a:gd name="connsiteY988" fmla="*/ 642486 h 696240"/>
                <a:gd name="connsiteX989" fmla="*/ 137263 w 2326130"/>
                <a:gd name="connsiteY989" fmla="*/ 643957 h 696240"/>
                <a:gd name="connsiteX990" fmla="*/ 132248 w 2326130"/>
                <a:gd name="connsiteY990" fmla="*/ 647084 h 696240"/>
                <a:gd name="connsiteX991" fmla="*/ 129908 w 2326130"/>
                <a:gd name="connsiteY991" fmla="*/ 649290 h 696240"/>
                <a:gd name="connsiteX992" fmla="*/ 127567 w 2326130"/>
                <a:gd name="connsiteY992" fmla="*/ 652233 h 696240"/>
                <a:gd name="connsiteX993" fmla="*/ 126230 w 2326130"/>
                <a:gd name="connsiteY993" fmla="*/ 654623 h 696240"/>
                <a:gd name="connsiteX994" fmla="*/ 124725 w 2326130"/>
                <a:gd name="connsiteY994" fmla="*/ 658301 h 696240"/>
                <a:gd name="connsiteX995" fmla="*/ 124057 w 2326130"/>
                <a:gd name="connsiteY995" fmla="*/ 660692 h 696240"/>
                <a:gd name="connsiteX996" fmla="*/ 123387 w 2326130"/>
                <a:gd name="connsiteY996" fmla="*/ 664186 h 696240"/>
                <a:gd name="connsiteX997" fmla="*/ 123555 w 2326130"/>
                <a:gd name="connsiteY997" fmla="*/ 673932 h 696240"/>
                <a:gd name="connsiteX998" fmla="*/ 124223 w 2326130"/>
                <a:gd name="connsiteY998" fmla="*/ 677242 h 696240"/>
                <a:gd name="connsiteX999" fmla="*/ 125060 w 2326130"/>
                <a:gd name="connsiteY999" fmla="*/ 679817 h 696240"/>
                <a:gd name="connsiteX1000" fmla="*/ 125728 w 2326130"/>
                <a:gd name="connsiteY1000" fmla="*/ 681472 h 696240"/>
                <a:gd name="connsiteX1001" fmla="*/ 127233 w 2326130"/>
                <a:gd name="connsiteY1001" fmla="*/ 684414 h 696240"/>
                <a:gd name="connsiteX1002" fmla="*/ 128737 w 2326130"/>
                <a:gd name="connsiteY1002" fmla="*/ 686620 h 696240"/>
                <a:gd name="connsiteX1003" fmla="*/ 131078 w 2326130"/>
                <a:gd name="connsiteY1003" fmla="*/ 689195 h 696240"/>
                <a:gd name="connsiteX1004" fmla="*/ 133251 w 2326130"/>
                <a:gd name="connsiteY1004" fmla="*/ 691034 h 696240"/>
                <a:gd name="connsiteX1005" fmla="*/ 137096 w 2326130"/>
                <a:gd name="connsiteY1005" fmla="*/ 693241 h 696240"/>
                <a:gd name="connsiteX1006" fmla="*/ 142446 w 2326130"/>
                <a:gd name="connsiteY1006" fmla="*/ 694712 h 696240"/>
                <a:gd name="connsiteX1007" fmla="*/ 143282 w 2326130"/>
                <a:gd name="connsiteY1007" fmla="*/ 694896 h 696240"/>
                <a:gd name="connsiteX1008" fmla="*/ 146124 w 2326130"/>
                <a:gd name="connsiteY1008" fmla="*/ 694896 h 696240"/>
                <a:gd name="connsiteX1009" fmla="*/ 146291 w 2326130"/>
                <a:gd name="connsiteY1009" fmla="*/ 694896 h 696240"/>
                <a:gd name="connsiteX1010" fmla="*/ 155151 w 2326130"/>
                <a:gd name="connsiteY1010" fmla="*/ 691586 h 696240"/>
                <a:gd name="connsiteX1011" fmla="*/ 158328 w 2326130"/>
                <a:gd name="connsiteY1011" fmla="*/ 688827 h 696240"/>
                <a:gd name="connsiteX1012" fmla="*/ 160501 w 2326130"/>
                <a:gd name="connsiteY1012" fmla="*/ 686253 h 696240"/>
                <a:gd name="connsiteX1013" fmla="*/ 162006 w 2326130"/>
                <a:gd name="connsiteY1013" fmla="*/ 683863 h 696240"/>
                <a:gd name="connsiteX1014" fmla="*/ 163510 w 2326130"/>
                <a:gd name="connsiteY1014" fmla="*/ 680920 h 696240"/>
                <a:gd name="connsiteX1015" fmla="*/ 164346 w 2326130"/>
                <a:gd name="connsiteY1015" fmla="*/ 678898 h 696240"/>
                <a:gd name="connsiteX1016" fmla="*/ 165015 w 2326130"/>
                <a:gd name="connsiteY1016" fmla="*/ 676691 h 696240"/>
                <a:gd name="connsiteX1017" fmla="*/ 165851 w 2326130"/>
                <a:gd name="connsiteY1017" fmla="*/ 672829 h 696240"/>
                <a:gd name="connsiteX1018" fmla="*/ 166018 w 2326130"/>
                <a:gd name="connsiteY1018" fmla="*/ 670806 h 696240"/>
                <a:gd name="connsiteX1019" fmla="*/ 165851 w 2326130"/>
                <a:gd name="connsiteY1019" fmla="*/ 670990 h 696240"/>
                <a:gd name="connsiteX1020" fmla="*/ 165851 w 2326130"/>
                <a:gd name="connsiteY1020" fmla="*/ 667128 h 696240"/>
                <a:gd name="connsiteX1021" fmla="*/ 165851 w 2326130"/>
                <a:gd name="connsiteY1021" fmla="*/ 666944 h 696240"/>
                <a:gd name="connsiteX1022" fmla="*/ 165517 w 2326130"/>
                <a:gd name="connsiteY1022" fmla="*/ 663818 h 696240"/>
                <a:gd name="connsiteX1023" fmla="*/ 164681 w 2326130"/>
                <a:gd name="connsiteY1023" fmla="*/ 660140 h 696240"/>
                <a:gd name="connsiteX1024" fmla="*/ 164012 w 2326130"/>
                <a:gd name="connsiteY1024" fmla="*/ 657933 h 696240"/>
                <a:gd name="connsiteX1025" fmla="*/ 162508 w 2326130"/>
                <a:gd name="connsiteY1025" fmla="*/ 654439 h 696240"/>
                <a:gd name="connsiteX1026" fmla="*/ 161003 w 2326130"/>
                <a:gd name="connsiteY1026" fmla="*/ 651865 h 696240"/>
                <a:gd name="connsiteX1027" fmla="*/ 159498 w 2326130"/>
                <a:gd name="connsiteY1027" fmla="*/ 649842 h 696240"/>
                <a:gd name="connsiteX1028" fmla="*/ 157994 w 2326130"/>
                <a:gd name="connsiteY1028" fmla="*/ 648187 h 696240"/>
                <a:gd name="connsiteX1029" fmla="*/ 154818 w 2326130"/>
                <a:gd name="connsiteY1029" fmla="*/ 645613 h 696240"/>
                <a:gd name="connsiteX1030" fmla="*/ 152143 w 2326130"/>
                <a:gd name="connsiteY1030" fmla="*/ 644142 h 696240"/>
                <a:gd name="connsiteX1031" fmla="*/ 145622 w 2326130"/>
                <a:gd name="connsiteY1031" fmla="*/ 642486 h 696240"/>
                <a:gd name="connsiteX1032" fmla="*/ 258494 w 2326130"/>
                <a:gd name="connsiteY1032" fmla="*/ 642486 h 696240"/>
                <a:gd name="connsiteX1033" fmla="*/ 250136 w 2326130"/>
                <a:gd name="connsiteY1033" fmla="*/ 643957 h 696240"/>
                <a:gd name="connsiteX1034" fmla="*/ 245120 w 2326130"/>
                <a:gd name="connsiteY1034" fmla="*/ 647084 h 696240"/>
                <a:gd name="connsiteX1035" fmla="*/ 242780 w 2326130"/>
                <a:gd name="connsiteY1035" fmla="*/ 649290 h 696240"/>
                <a:gd name="connsiteX1036" fmla="*/ 240439 w 2326130"/>
                <a:gd name="connsiteY1036" fmla="*/ 652233 h 696240"/>
                <a:gd name="connsiteX1037" fmla="*/ 239102 w 2326130"/>
                <a:gd name="connsiteY1037" fmla="*/ 654623 h 696240"/>
                <a:gd name="connsiteX1038" fmla="*/ 237598 w 2326130"/>
                <a:gd name="connsiteY1038" fmla="*/ 658301 h 696240"/>
                <a:gd name="connsiteX1039" fmla="*/ 236929 w 2326130"/>
                <a:gd name="connsiteY1039" fmla="*/ 660692 h 696240"/>
                <a:gd name="connsiteX1040" fmla="*/ 236260 w 2326130"/>
                <a:gd name="connsiteY1040" fmla="*/ 664186 h 696240"/>
                <a:gd name="connsiteX1041" fmla="*/ 236427 w 2326130"/>
                <a:gd name="connsiteY1041" fmla="*/ 673932 h 696240"/>
                <a:gd name="connsiteX1042" fmla="*/ 237096 w 2326130"/>
                <a:gd name="connsiteY1042" fmla="*/ 677242 h 696240"/>
                <a:gd name="connsiteX1043" fmla="*/ 237932 w 2326130"/>
                <a:gd name="connsiteY1043" fmla="*/ 679817 h 696240"/>
                <a:gd name="connsiteX1044" fmla="*/ 238601 w 2326130"/>
                <a:gd name="connsiteY1044" fmla="*/ 681472 h 696240"/>
                <a:gd name="connsiteX1045" fmla="*/ 240105 w 2326130"/>
                <a:gd name="connsiteY1045" fmla="*/ 684414 h 696240"/>
                <a:gd name="connsiteX1046" fmla="*/ 241610 w 2326130"/>
                <a:gd name="connsiteY1046" fmla="*/ 686620 h 696240"/>
                <a:gd name="connsiteX1047" fmla="*/ 243950 w 2326130"/>
                <a:gd name="connsiteY1047" fmla="*/ 689195 h 696240"/>
                <a:gd name="connsiteX1048" fmla="*/ 246124 w 2326130"/>
                <a:gd name="connsiteY1048" fmla="*/ 691034 h 696240"/>
                <a:gd name="connsiteX1049" fmla="*/ 249968 w 2326130"/>
                <a:gd name="connsiteY1049" fmla="*/ 693241 h 696240"/>
                <a:gd name="connsiteX1050" fmla="*/ 255318 w 2326130"/>
                <a:gd name="connsiteY1050" fmla="*/ 694712 h 696240"/>
                <a:gd name="connsiteX1051" fmla="*/ 256154 w 2326130"/>
                <a:gd name="connsiteY1051" fmla="*/ 694896 h 696240"/>
                <a:gd name="connsiteX1052" fmla="*/ 258996 w 2326130"/>
                <a:gd name="connsiteY1052" fmla="*/ 694896 h 696240"/>
                <a:gd name="connsiteX1053" fmla="*/ 259163 w 2326130"/>
                <a:gd name="connsiteY1053" fmla="*/ 694896 h 696240"/>
                <a:gd name="connsiteX1054" fmla="*/ 268024 w 2326130"/>
                <a:gd name="connsiteY1054" fmla="*/ 691586 h 696240"/>
                <a:gd name="connsiteX1055" fmla="*/ 271200 w 2326130"/>
                <a:gd name="connsiteY1055" fmla="*/ 688827 h 696240"/>
                <a:gd name="connsiteX1056" fmla="*/ 273374 w 2326130"/>
                <a:gd name="connsiteY1056" fmla="*/ 686253 h 696240"/>
                <a:gd name="connsiteX1057" fmla="*/ 274878 w 2326130"/>
                <a:gd name="connsiteY1057" fmla="*/ 683863 h 696240"/>
                <a:gd name="connsiteX1058" fmla="*/ 276383 w 2326130"/>
                <a:gd name="connsiteY1058" fmla="*/ 680920 h 696240"/>
                <a:gd name="connsiteX1059" fmla="*/ 277218 w 2326130"/>
                <a:gd name="connsiteY1059" fmla="*/ 678898 h 696240"/>
                <a:gd name="connsiteX1060" fmla="*/ 277887 w 2326130"/>
                <a:gd name="connsiteY1060" fmla="*/ 676691 h 696240"/>
                <a:gd name="connsiteX1061" fmla="*/ 278724 w 2326130"/>
                <a:gd name="connsiteY1061" fmla="*/ 672829 h 696240"/>
                <a:gd name="connsiteX1062" fmla="*/ 278890 w 2326130"/>
                <a:gd name="connsiteY1062" fmla="*/ 670806 h 696240"/>
                <a:gd name="connsiteX1063" fmla="*/ 278724 w 2326130"/>
                <a:gd name="connsiteY1063" fmla="*/ 670990 h 696240"/>
                <a:gd name="connsiteX1064" fmla="*/ 278724 w 2326130"/>
                <a:gd name="connsiteY1064" fmla="*/ 667128 h 696240"/>
                <a:gd name="connsiteX1065" fmla="*/ 278724 w 2326130"/>
                <a:gd name="connsiteY1065" fmla="*/ 666944 h 696240"/>
                <a:gd name="connsiteX1066" fmla="*/ 278389 w 2326130"/>
                <a:gd name="connsiteY1066" fmla="*/ 663818 h 696240"/>
                <a:gd name="connsiteX1067" fmla="*/ 277553 w 2326130"/>
                <a:gd name="connsiteY1067" fmla="*/ 660140 h 696240"/>
                <a:gd name="connsiteX1068" fmla="*/ 276885 w 2326130"/>
                <a:gd name="connsiteY1068" fmla="*/ 657933 h 696240"/>
                <a:gd name="connsiteX1069" fmla="*/ 275380 w 2326130"/>
                <a:gd name="connsiteY1069" fmla="*/ 654439 h 696240"/>
                <a:gd name="connsiteX1070" fmla="*/ 273875 w 2326130"/>
                <a:gd name="connsiteY1070" fmla="*/ 651865 h 696240"/>
                <a:gd name="connsiteX1071" fmla="*/ 272371 w 2326130"/>
                <a:gd name="connsiteY1071" fmla="*/ 649842 h 696240"/>
                <a:gd name="connsiteX1072" fmla="*/ 270866 w 2326130"/>
                <a:gd name="connsiteY1072" fmla="*/ 648187 h 696240"/>
                <a:gd name="connsiteX1073" fmla="*/ 267690 w 2326130"/>
                <a:gd name="connsiteY1073" fmla="*/ 645613 h 696240"/>
                <a:gd name="connsiteX1074" fmla="*/ 265015 w 2326130"/>
                <a:gd name="connsiteY1074" fmla="*/ 644142 h 696240"/>
                <a:gd name="connsiteX1075" fmla="*/ 258494 w 2326130"/>
                <a:gd name="connsiteY1075" fmla="*/ 642486 h 696240"/>
                <a:gd name="connsiteX1076" fmla="*/ 494338 w 2326130"/>
                <a:gd name="connsiteY1076" fmla="*/ 642486 h 696240"/>
                <a:gd name="connsiteX1077" fmla="*/ 485980 w 2326130"/>
                <a:gd name="connsiteY1077" fmla="*/ 643957 h 696240"/>
                <a:gd name="connsiteX1078" fmla="*/ 480964 w 2326130"/>
                <a:gd name="connsiteY1078" fmla="*/ 647084 h 696240"/>
                <a:gd name="connsiteX1079" fmla="*/ 478624 w 2326130"/>
                <a:gd name="connsiteY1079" fmla="*/ 649290 h 696240"/>
                <a:gd name="connsiteX1080" fmla="*/ 476283 w 2326130"/>
                <a:gd name="connsiteY1080" fmla="*/ 652233 h 696240"/>
                <a:gd name="connsiteX1081" fmla="*/ 474946 w 2326130"/>
                <a:gd name="connsiteY1081" fmla="*/ 654623 h 696240"/>
                <a:gd name="connsiteX1082" fmla="*/ 473441 w 2326130"/>
                <a:gd name="connsiteY1082" fmla="*/ 658301 h 696240"/>
                <a:gd name="connsiteX1083" fmla="*/ 472773 w 2326130"/>
                <a:gd name="connsiteY1083" fmla="*/ 660692 h 696240"/>
                <a:gd name="connsiteX1084" fmla="*/ 472104 w 2326130"/>
                <a:gd name="connsiteY1084" fmla="*/ 664186 h 696240"/>
                <a:gd name="connsiteX1085" fmla="*/ 472271 w 2326130"/>
                <a:gd name="connsiteY1085" fmla="*/ 673932 h 696240"/>
                <a:gd name="connsiteX1086" fmla="*/ 472939 w 2326130"/>
                <a:gd name="connsiteY1086" fmla="*/ 677242 h 696240"/>
                <a:gd name="connsiteX1087" fmla="*/ 473776 w 2326130"/>
                <a:gd name="connsiteY1087" fmla="*/ 679817 h 696240"/>
                <a:gd name="connsiteX1088" fmla="*/ 474445 w 2326130"/>
                <a:gd name="connsiteY1088" fmla="*/ 681472 h 696240"/>
                <a:gd name="connsiteX1089" fmla="*/ 475949 w 2326130"/>
                <a:gd name="connsiteY1089" fmla="*/ 684414 h 696240"/>
                <a:gd name="connsiteX1090" fmla="*/ 477453 w 2326130"/>
                <a:gd name="connsiteY1090" fmla="*/ 686620 h 696240"/>
                <a:gd name="connsiteX1091" fmla="*/ 479794 w 2326130"/>
                <a:gd name="connsiteY1091" fmla="*/ 689195 h 696240"/>
                <a:gd name="connsiteX1092" fmla="*/ 481967 w 2326130"/>
                <a:gd name="connsiteY1092" fmla="*/ 691034 h 696240"/>
                <a:gd name="connsiteX1093" fmla="*/ 485812 w 2326130"/>
                <a:gd name="connsiteY1093" fmla="*/ 693241 h 696240"/>
                <a:gd name="connsiteX1094" fmla="*/ 491162 w 2326130"/>
                <a:gd name="connsiteY1094" fmla="*/ 694712 h 696240"/>
                <a:gd name="connsiteX1095" fmla="*/ 491998 w 2326130"/>
                <a:gd name="connsiteY1095" fmla="*/ 694896 h 696240"/>
                <a:gd name="connsiteX1096" fmla="*/ 494840 w 2326130"/>
                <a:gd name="connsiteY1096" fmla="*/ 694896 h 696240"/>
                <a:gd name="connsiteX1097" fmla="*/ 495008 w 2326130"/>
                <a:gd name="connsiteY1097" fmla="*/ 694896 h 696240"/>
                <a:gd name="connsiteX1098" fmla="*/ 503868 w 2326130"/>
                <a:gd name="connsiteY1098" fmla="*/ 691586 h 696240"/>
                <a:gd name="connsiteX1099" fmla="*/ 507044 w 2326130"/>
                <a:gd name="connsiteY1099" fmla="*/ 688827 h 696240"/>
                <a:gd name="connsiteX1100" fmla="*/ 509218 w 2326130"/>
                <a:gd name="connsiteY1100" fmla="*/ 686253 h 696240"/>
                <a:gd name="connsiteX1101" fmla="*/ 510722 w 2326130"/>
                <a:gd name="connsiteY1101" fmla="*/ 683863 h 696240"/>
                <a:gd name="connsiteX1102" fmla="*/ 512226 w 2326130"/>
                <a:gd name="connsiteY1102" fmla="*/ 680920 h 696240"/>
                <a:gd name="connsiteX1103" fmla="*/ 513062 w 2326130"/>
                <a:gd name="connsiteY1103" fmla="*/ 678898 h 696240"/>
                <a:gd name="connsiteX1104" fmla="*/ 513732 w 2326130"/>
                <a:gd name="connsiteY1104" fmla="*/ 676691 h 696240"/>
                <a:gd name="connsiteX1105" fmla="*/ 514567 w 2326130"/>
                <a:gd name="connsiteY1105" fmla="*/ 672829 h 696240"/>
                <a:gd name="connsiteX1106" fmla="*/ 514734 w 2326130"/>
                <a:gd name="connsiteY1106" fmla="*/ 670806 h 696240"/>
                <a:gd name="connsiteX1107" fmla="*/ 514567 w 2326130"/>
                <a:gd name="connsiteY1107" fmla="*/ 670990 h 696240"/>
                <a:gd name="connsiteX1108" fmla="*/ 514567 w 2326130"/>
                <a:gd name="connsiteY1108" fmla="*/ 667128 h 696240"/>
                <a:gd name="connsiteX1109" fmla="*/ 514567 w 2326130"/>
                <a:gd name="connsiteY1109" fmla="*/ 666944 h 696240"/>
                <a:gd name="connsiteX1110" fmla="*/ 514233 w 2326130"/>
                <a:gd name="connsiteY1110" fmla="*/ 663818 h 696240"/>
                <a:gd name="connsiteX1111" fmla="*/ 513397 w 2326130"/>
                <a:gd name="connsiteY1111" fmla="*/ 660140 h 696240"/>
                <a:gd name="connsiteX1112" fmla="*/ 512728 w 2326130"/>
                <a:gd name="connsiteY1112" fmla="*/ 657933 h 696240"/>
                <a:gd name="connsiteX1113" fmla="*/ 511224 w 2326130"/>
                <a:gd name="connsiteY1113" fmla="*/ 654439 h 696240"/>
                <a:gd name="connsiteX1114" fmla="*/ 509719 w 2326130"/>
                <a:gd name="connsiteY1114" fmla="*/ 651865 h 696240"/>
                <a:gd name="connsiteX1115" fmla="*/ 508214 w 2326130"/>
                <a:gd name="connsiteY1115" fmla="*/ 649842 h 696240"/>
                <a:gd name="connsiteX1116" fmla="*/ 506710 w 2326130"/>
                <a:gd name="connsiteY1116" fmla="*/ 648187 h 696240"/>
                <a:gd name="connsiteX1117" fmla="*/ 503534 w 2326130"/>
                <a:gd name="connsiteY1117" fmla="*/ 645613 h 696240"/>
                <a:gd name="connsiteX1118" fmla="*/ 500859 w 2326130"/>
                <a:gd name="connsiteY1118" fmla="*/ 644142 h 696240"/>
                <a:gd name="connsiteX1119" fmla="*/ 494338 w 2326130"/>
                <a:gd name="connsiteY1119" fmla="*/ 642486 h 696240"/>
                <a:gd name="connsiteX1120" fmla="*/ 617360 w 2326130"/>
                <a:gd name="connsiteY1120" fmla="*/ 642486 h 696240"/>
                <a:gd name="connsiteX1121" fmla="*/ 609001 w 2326130"/>
                <a:gd name="connsiteY1121" fmla="*/ 643957 h 696240"/>
                <a:gd name="connsiteX1122" fmla="*/ 603986 w 2326130"/>
                <a:gd name="connsiteY1122" fmla="*/ 647084 h 696240"/>
                <a:gd name="connsiteX1123" fmla="*/ 601645 w 2326130"/>
                <a:gd name="connsiteY1123" fmla="*/ 649290 h 696240"/>
                <a:gd name="connsiteX1124" fmla="*/ 599304 w 2326130"/>
                <a:gd name="connsiteY1124" fmla="*/ 652233 h 696240"/>
                <a:gd name="connsiteX1125" fmla="*/ 597967 w 2326130"/>
                <a:gd name="connsiteY1125" fmla="*/ 654623 h 696240"/>
                <a:gd name="connsiteX1126" fmla="*/ 596463 w 2326130"/>
                <a:gd name="connsiteY1126" fmla="*/ 658301 h 696240"/>
                <a:gd name="connsiteX1127" fmla="*/ 595794 w 2326130"/>
                <a:gd name="connsiteY1127" fmla="*/ 660692 h 696240"/>
                <a:gd name="connsiteX1128" fmla="*/ 595125 w 2326130"/>
                <a:gd name="connsiteY1128" fmla="*/ 664186 h 696240"/>
                <a:gd name="connsiteX1129" fmla="*/ 595292 w 2326130"/>
                <a:gd name="connsiteY1129" fmla="*/ 673932 h 696240"/>
                <a:gd name="connsiteX1130" fmla="*/ 595961 w 2326130"/>
                <a:gd name="connsiteY1130" fmla="*/ 677242 h 696240"/>
                <a:gd name="connsiteX1131" fmla="*/ 596797 w 2326130"/>
                <a:gd name="connsiteY1131" fmla="*/ 679817 h 696240"/>
                <a:gd name="connsiteX1132" fmla="*/ 597466 w 2326130"/>
                <a:gd name="connsiteY1132" fmla="*/ 681472 h 696240"/>
                <a:gd name="connsiteX1133" fmla="*/ 598970 w 2326130"/>
                <a:gd name="connsiteY1133" fmla="*/ 684414 h 696240"/>
                <a:gd name="connsiteX1134" fmla="*/ 600475 w 2326130"/>
                <a:gd name="connsiteY1134" fmla="*/ 686620 h 696240"/>
                <a:gd name="connsiteX1135" fmla="*/ 602815 w 2326130"/>
                <a:gd name="connsiteY1135" fmla="*/ 689195 h 696240"/>
                <a:gd name="connsiteX1136" fmla="*/ 604989 w 2326130"/>
                <a:gd name="connsiteY1136" fmla="*/ 691034 h 696240"/>
                <a:gd name="connsiteX1137" fmla="*/ 608833 w 2326130"/>
                <a:gd name="connsiteY1137" fmla="*/ 693241 h 696240"/>
                <a:gd name="connsiteX1138" fmla="*/ 614183 w 2326130"/>
                <a:gd name="connsiteY1138" fmla="*/ 694712 h 696240"/>
                <a:gd name="connsiteX1139" fmla="*/ 615019 w 2326130"/>
                <a:gd name="connsiteY1139" fmla="*/ 694896 h 696240"/>
                <a:gd name="connsiteX1140" fmla="*/ 617862 w 2326130"/>
                <a:gd name="connsiteY1140" fmla="*/ 694896 h 696240"/>
                <a:gd name="connsiteX1141" fmla="*/ 618029 w 2326130"/>
                <a:gd name="connsiteY1141" fmla="*/ 694896 h 696240"/>
                <a:gd name="connsiteX1142" fmla="*/ 626889 w 2326130"/>
                <a:gd name="connsiteY1142" fmla="*/ 691586 h 696240"/>
                <a:gd name="connsiteX1143" fmla="*/ 630065 w 2326130"/>
                <a:gd name="connsiteY1143" fmla="*/ 688827 h 696240"/>
                <a:gd name="connsiteX1144" fmla="*/ 632239 w 2326130"/>
                <a:gd name="connsiteY1144" fmla="*/ 686253 h 696240"/>
                <a:gd name="connsiteX1145" fmla="*/ 633743 w 2326130"/>
                <a:gd name="connsiteY1145" fmla="*/ 683863 h 696240"/>
                <a:gd name="connsiteX1146" fmla="*/ 635248 w 2326130"/>
                <a:gd name="connsiteY1146" fmla="*/ 680920 h 696240"/>
                <a:gd name="connsiteX1147" fmla="*/ 636084 w 2326130"/>
                <a:gd name="connsiteY1147" fmla="*/ 678898 h 696240"/>
                <a:gd name="connsiteX1148" fmla="*/ 636753 w 2326130"/>
                <a:gd name="connsiteY1148" fmla="*/ 676691 h 696240"/>
                <a:gd name="connsiteX1149" fmla="*/ 637589 w 2326130"/>
                <a:gd name="connsiteY1149" fmla="*/ 672829 h 696240"/>
                <a:gd name="connsiteX1150" fmla="*/ 637755 w 2326130"/>
                <a:gd name="connsiteY1150" fmla="*/ 670806 h 696240"/>
                <a:gd name="connsiteX1151" fmla="*/ 637589 w 2326130"/>
                <a:gd name="connsiteY1151" fmla="*/ 670990 h 696240"/>
                <a:gd name="connsiteX1152" fmla="*/ 637589 w 2326130"/>
                <a:gd name="connsiteY1152" fmla="*/ 667128 h 696240"/>
                <a:gd name="connsiteX1153" fmla="*/ 637589 w 2326130"/>
                <a:gd name="connsiteY1153" fmla="*/ 666944 h 696240"/>
                <a:gd name="connsiteX1154" fmla="*/ 637254 w 2326130"/>
                <a:gd name="connsiteY1154" fmla="*/ 663818 h 696240"/>
                <a:gd name="connsiteX1155" fmla="*/ 636418 w 2326130"/>
                <a:gd name="connsiteY1155" fmla="*/ 660140 h 696240"/>
                <a:gd name="connsiteX1156" fmla="*/ 635750 w 2326130"/>
                <a:gd name="connsiteY1156" fmla="*/ 657933 h 696240"/>
                <a:gd name="connsiteX1157" fmla="*/ 634245 w 2326130"/>
                <a:gd name="connsiteY1157" fmla="*/ 654439 h 696240"/>
                <a:gd name="connsiteX1158" fmla="*/ 632740 w 2326130"/>
                <a:gd name="connsiteY1158" fmla="*/ 651865 h 696240"/>
                <a:gd name="connsiteX1159" fmla="*/ 631236 w 2326130"/>
                <a:gd name="connsiteY1159" fmla="*/ 649842 h 696240"/>
                <a:gd name="connsiteX1160" fmla="*/ 629731 w 2326130"/>
                <a:gd name="connsiteY1160" fmla="*/ 648187 h 696240"/>
                <a:gd name="connsiteX1161" fmla="*/ 626555 w 2326130"/>
                <a:gd name="connsiteY1161" fmla="*/ 645613 h 696240"/>
                <a:gd name="connsiteX1162" fmla="*/ 623880 w 2326130"/>
                <a:gd name="connsiteY1162" fmla="*/ 644142 h 696240"/>
                <a:gd name="connsiteX1163" fmla="*/ 617360 w 2326130"/>
                <a:gd name="connsiteY1163" fmla="*/ 642486 h 696240"/>
                <a:gd name="connsiteX1164" fmla="*/ 781569 w 2326130"/>
                <a:gd name="connsiteY1164" fmla="*/ 642486 h 696240"/>
                <a:gd name="connsiteX1165" fmla="*/ 773210 w 2326130"/>
                <a:gd name="connsiteY1165" fmla="*/ 643957 h 696240"/>
                <a:gd name="connsiteX1166" fmla="*/ 768195 w 2326130"/>
                <a:gd name="connsiteY1166" fmla="*/ 647084 h 696240"/>
                <a:gd name="connsiteX1167" fmla="*/ 765854 w 2326130"/>
                <a:gd name="connsiteY1167" fmla="*/ 649290 h 696240"/>
                <a:gd name="connsiteX1168" fmla="*/ 763513 w 2326130"/>
                <a:gd name="connsiteY1168" fmla="*/ 652233 h 696240"/>
                <a:gd name="connsiteX1169" fmla="*/ 762176 w 2326130"/>
                <a:gd name="connsiteY1169" fmla="*/ 654623 h 696240"/>
                <a:gd name="connsiteX1170" fmla="*/ 760672 w 2326130"/>
                <a:gd name="connsiteY1170" fmla="*/ 658301 h 696240"/>
                <a:gd name="connsiteX1171" fmla="*/ 760003 w 2326130"/>
                <a:gd name="connsiteY1171" fmla="*/ 660692 h 696240"/>
                <a:gd name="connsiteX1172" fmla="*/ 759335 w 2326130"/>
                <a:gd name="connsiteY1172" fmla="*/ 664186 h 696240"/>
                <a:gd name="connsiteX1173" fmla="*/ 759501 w 2326130"/>
                <a:gd name="connsiteY1173" fmla="*/ 673932 h 696240"/>
                <a:gd name="connsiteX1174" fmla="*/ 760170 w 2326130"/>
                <a:gd name="connsiteY1174" fmla="*/ 677242 h 696240"/>
                <a:gd name="connsiteX1175" fmla="*/ 761006 w 2326130"/>
                <a:gd name="connsiteY1175" fmla="*/ 679817 h 696240"/>
                <a:gd name="connsiteX1176" fmla="*/ 761675 w 2326130"/>
                <a:gd name="connsiteY1176" fmla="*/ 681472 h 696240"/>
                <a:gd name="connsiteX1177" fmla="*/ 763179 w 2326130"/>
                <a:gd name="connsiteY1177" fmla="*/ 684414 h 696240"/>
                <a:gd name="connsiteX1178" fmla="*/ 764684 w 2326130"/>
                <a:gd name="connsiteY1178" fmla="*/ 686620 h 696240"/>
                <a:gd name="connsiteX1179" fmla="*/ 767024 w 2326130"/>
                <a:gd name="connsiteY1179" fmla="*/ 689195 h 696240"/>
                <a:gd name="connsiteX1180" fmla="*/ 769198 w 2326130"/>
                <a:gd name="connsiteY1180" fmla="*/ 691034 h 696240"/>
                <a:gd name="connsiteX1181" fmla="*/ 773043 w 2326130"/>
                <a:gd name="connsiteY1181" fmla="*/ 693241 h 696240"/>
                <a:gd name="connsiteX1182" fmla="*/ 778393 w 2326130"/>
                <a:gd name="connsiteY1182" fmla="*/ 694712 h 696240"/>
                <a:gd name="connsiteX1183" fmla="*/ 779228 w 2326130"/>
                <a:gd name="connsiteY1183" fmla="*/ 694896 h 696240"/>
                <a:gd name="connsiteX1184" fmla="*/ 782071 w 2326130"/>
                <a:gd name="connsiteY1184" fmla="*/ 694896 h 696240"/>
                <a:gd name="connsiteX1185" fmla="*/ 782238 w 2326130"/>
                <a:gd name="connsiteY1185" fmla="*/ 694896 h 696240"/>
                <a:gd name="connsiteX1186" fmla="*/ 791098 w 2326130"/>
                <a:gd name="connsiteY1186" fmla="*/ 691586 h 696240"/>
                <a:gd name="connsiteX1187" fmla="*/ 794274 w 2326130"/>
                <a:gd name="connsiteY1187" fmla="*/ 688827 h 696240"/>
                <a:gd name="connsiteX1188" fmla="*/ 796448 w 2326130"/>
                <a:gd name="connsiteY1188" fmla="*/ 686253 h 696240"/>
                <a:gd name="connsiteX1189" fmla="*/ 797952 w 2326130"/>
                <a:gd name="connsiteY1189" fmla="*/ 683863 h 696240"/>
                <a:gd name="connsiteX1190" fmla="*/ 799457 w 2326130"/>
                <a:gd name="connsiteY1190" fmla="*/ 680920 h 696240"/>
                <a:gd name="connsiteX1191" fmla="*/ 800293 w 2326130"/>
                <a:gd name="connsiteY1191" fmla="*/ 678898 h 696240"/>
                <a:gd name="connsiteX1192" fmla="*/ 800962 w 2326130"/>
                <a:gd name="connsiteY1192" fmla="*/ 676691 h 696240"/>
                <a:gd name="connsiteX1193" fmla="*/ 801798 w 2326130"/>
                <a:gd name="connsiteY1193" fmla="*/ 672829 h 696240"/>
                <a:gd name="connsiteX1194" fmla="*/ 801965 w 2326130"/>
                <a:gd name="connsiteY1194" fmla="*/ 670806 h 696240"/>
                <a:gd name="connsiteX1195" fmla="*/ 801798 w 2326130"/>
                <a:gd name="connsiteY1195" fmla="*/ 670990 h 696240"/>
                <a:gd name="connsiteX1196" fmla="*/ 801798 w 2326130"/>
                <a:gd name="connsiteY1196" fmla="*/ 667128 h 696240"/>
                <a:gd name="connsiteX1197" fmla="*/ 801798 w 2326130"/>
                <a:gd name="connsiteY1197" fmla="*/ 666944 h 696240"/>
                <a:gd name="connsiteX1198" fmla="*/ 801463 w 2326130"/>
                <a:gd name="connsiteY1198" fmla="*/ 663818 h 696240"/>
                <a:gd name="connsiteX1199" fmla="*/ 800627 w 2326130"/>
                <a:gd name="connsiteY1199" fmla="*/ 660140 h 696240"/>
                <a:gd name="connsiteX1200" fmla="*/ 799959 w 2326130"/>
                <a:gd name="connsiteY1200" fmla="*/ 657933 h 696240"/>
                <a:gd name="connsiteX1201" fmla="*/ 798454 w 2326130"/>
                <a:gd name="connsiteY1201" fmla="*/ 654439 h 696240"/>
                <a:gd name="connsiteX1202" fmla="*/ 796949 w 2326130"/>
                <a:gd name="connsiteY1202" fmla="*/ 651865 h 696240"/>
                <a:gd name="connsiteX1203" fmla="*/ 795445 w 2326130"/>
                <a:gd name="connsiteY1203" fmla="*/ 649842 h 696240"/>
                <a:gd name="connsiteX1204" fmla="*/ 793940 w 2326130"/>
                <a:gd name="connsiteY1204" fmla="*/ 648187 h 696240"/>
                <a:gd name="connsiteX1205" fmla="*/ 790764 w 2326130"/>
                <a:gd name="connsiteY1205" fmla="*/ 645613 h 696240"/>
                <a:gd name="connsiteX1206" fmla="*/ 788089 w 2326130"/>
                <a:gd name="connsiteY1206" fmla="*/ 644142 h 696240"/>
                <a:gd name="connsiteX1207" fmla="*/ 781569 w 2326130"/>
                <a:gd name="connsiteY1207" fmla="*/ 642486 h 696240"/>
                <a:gd name="connsiteX1208" fmla="*/ 904590 w 2326130"/>
                <a:gd name="connsiteY1208" fmla="*/ 642486 h 696240"/>
                <a:gd name="connsiteX1209" fmla="*/ 896231 w 2326130"/>
                <a:gd name="connsiteY1209" fmla="*/ 643957 h 696240"/>
                <a:gd name="connsiteX1210" fmla="*/ 891216 w 2326130"/>
                <a:gd name="connsiteY1210" fmla="*/ 647084 h 696240"/>
                <a:gd name="connsiteX1211" fmla="*/ 888876 w 2326130"/>
                <a:gd name="connsiteY1211" fmla="*/ 649290 h 696240"/>
                <a:gd name="connsiteX1212" fmla="*/ 886535 w 2326130"/>
                <a:gd name="connsiteY1212" fmla="*/ 652233 h 696240"/>
                <a:gd name="connsiteX1213" fmla="*/ 885197 w 2326130"/>
                <a:gd name="connsiteY1213" fmla="*/ 654623 h 696240"/>
                <a:gd name="connsiteX1214" fmla="*/ 883693 w 2326130"/>
                <a:gd name="connsiteY1214" fmla="*/ 658301 h 696240"/>
                <a:gd name="connsiteX1215" fmla="*/ 883024 w 2326130"/>
                <a:gd name="connsiteY1215" fmla="*/ 660692 h 696240"/>
                <a:gd name="connsiteX1216" fmla="*/ 882356 w 2326130"/>
                <a:gd name="connsiteY1216" fmla="*/ 664186 h 696240"/>
                <a:gd name="connsiteX1217" fmla="*/ 882523 w 2326130"/>
                <a:gd name="connsiteY1217" fmla="*/ 673932 h 696240"/>
                <a:gd name="connsiteX1218" fmla="*/ 883191 w 2326130"/>
                <a:gd name="connsiteY1218" fmla="*/ 677242 h 696240"/>
                <a:gd name="connsiteX1219" fmla="*/ 884028 w 2326130"/>
                <a:gd name="connsiteY1219" fmla="*/ 679817 h 696240"/>
                <a:gd name="connsiteX1220" fmla="*/ 884696 w 2326130"/>
                <a:gd name="connsiteY1220" fmla="*/ 681472 h 696240"/>
                <a:gd name="connsiteX1221" fmla="*/ 886201 w 2326130"/>
                <a:gd name="connsiteY1221" fmla="*/ 684414 h 696240"/>
                <a:gd name="connsiteX1222" fmla="*/ 887705 w 2326130"/>
                <a:gd name="connsiteY1222" fmla="*/ 686620 h 696240"/>
                <a:gd name="connsiteX1223" fmla="*/ 890045 w 2326130"/>
                <a:gd name="connsiteY1223" fmla="*/ 689195 h 696240"/>
                <a:gd name="connsiteX1224" fmla="*/ 892219 w 2326130"/>
                <a:gd name="connsiteY1224" fmla="*/ 691034 h 696240"/>
                <a:gd name="connsiteX1225" fmla="*/ 896064 w 2326130"/>
                <a:gd name="connsiteY1225" fmla="*/ 693241 h 696240"/>
                <a:gd name="connsiteX1226" fmla="*/ 901414 w 2326130"/>
                <a:gd name="connsiteY1226" fmla="*/ 694712 h 696240"/>
                <a:gd name="connsiteX1227" fmla="*/ 902250 w 2326130"/>
                <a:gd name="connsiteY1227" fmla="*/ 694896 h 696240"/>
                <a:gd name="connsiteX1228" fmla="*/ 905092 w 2326130"/>
                <a:gd name="connsiteY1228" fmla="*/ 694896 h 696240"/>
                <a:gd name="connsiteX1229" fmla="*/ 905259 w 2326130"/>
                <a:gd name="connsiteY1229" fmla="*/ 694896 h 696240"/>
                <a:gd name="connsiteX1230" fmla="*/ 914119 w 2326130"/>
                <a:gd name="connsiteY1230" fmla="*/ 691586 h 696240"/>
                <a:gd name="connsiteX1231" fmla="*/ 917296 w 2326130"/>
                <a:gd name="connsiteY1231" fmla="*/ 688827 h 696240"/>
                <a:gd name="connsiteX1232" fmla="*/ 919469 w 2326130"/>
                <a:gd name="connsiteY1232" fmla="*/ 686253 h 696240"/>
                <a:gd name="connsiteX1233" fmla="*/ 920974 w 2326130"/>
                <a:gd name="connsiteY1233" fmla="*/ 683863 h 696240"/>
                <a:gd name="connsiteX1234" fmla="*/ 922478 w 2326130"/>
                <a:gd name="connsiteY1234" fmla="*/ 680920 h 696240"/>
                <a:gd name="connsiteX1235" fmla="*/ 923314 w 2326130"/>
                <a:gd name="connsiteY1235" fmla="*/ 678898 h 696240"/>
                <a:gd name="connsiteX1236" fmla="*/ 923983 w 2326130"/>
                <a:gd name="connsiteY1236" fmla="*/ 676691 h 696240"/>
                <a:gd name="connsiteX1237" fmla="*/ 924819 w 2326130"/>
                <a:gd name="connsiteY1237" fmla="*/ 672829 h 696240"/>
                <a:gd name="connsiteX1238" fmla="*/ 924986 w 2326130"/>
                <a:gd name="connsiteY1238" fmla="*/ 670806 h 696240"/>
                <a:gd name="connsiteX1239" fmla="*/ 924819 w 2326130"/>
                <a:gd name="connsiteY1239" fmla="*/ 670990 h 696240"/>
                <a:gd name="connsiteX1240" fmla="*/ 924819 w 2326130"/>
                <a:gd name="connsiteY1240" fmla="*/ 667128 h 696240"/>
                <a:gd name="connsiteX1241" fmla="*/ 924819 w 2326130"/>
                <a:gd name="connsiteY1241" fmla="*/ 666944 h 696240"/>
                <a:gd name="connsiteX1242" fmla="*/ 924484 w 2326130"/>
                <a:gd name="connsiteY1242" fmla="*/ 663818 h 696240"/>
                <a:gd name="connsiteX1243" fmla="*/ 923649 w 2326130"/>
                <a:gd name="connsiteY1243" fmla="*/ 660140 h 696240"/>
                <a:gd name="connsiteX1244" fmla="*/ 922980 w 2326130"/>
                <a:gd name="connsiteY1244" fmla="*/ 657933 h 696240"/>
                <a:gd name="connsiteX1245" fmla="*/ 921476 w 2326130"/>
                <a:gd name="connsiteY1245" fmla="*/ 654439 h 696240"/>
                <a:gd name="connsiteX1246" fmla="*/ 919970 w 2326130"/>
                <a:gd name="connsiteY1246" fmla="*/ 651865 h 696240"/>
                <a:gd name="connsiteX1247" fmla="*/ 918466 w 2326130"/>
                <a:gd name="connsiteY1247" fmla="*/ 649842 h 696240"/>
                <a:gd name="connsiteX1248" fmla="*/ 916962 w 2326130"/>
                <a:gd name="connsiteY1248" fmla="*/ 648187 h 696240"/>
                <a:gd name="connsiteX1249" fmla="*/ 913785 w 2326130"/>
                <a:gd name="connsiteY1249" fmla="*/ 645613 h 696240"/>
                <a:gd name="connsiteX1250" fmla="*/ 911110 w 2326130"/>
                <a:gd name="connsiteY1250" fmla="*/ 644142 h 696240"/>
                <a:gd name="connsiteX1251" fmla="*/ 904590 w 2326130"/>
                <a:gd name="connsiteY1251" fmla="*/ 642486 h 696240"/>
                <a:gd name="connsiteX1252" fmla="*/ 1191771 w 2326130"/>
                <a:gd name="connsiteY1252" fmla="*/ 642486 h 696240"/>
                <a:gd name="connsiteX1253" fmla="*/ 1183412 w 2326130"/>
                <a:gd name="connsiteY1253" fmla="*/ 643957 h 696240"/>
                <a:gd name="connsiteX1254" fmla="*/ 1178396 w 2326130"/>
                <a:gd name="connsiteY1254" fmla="*/ 647084 h 696240"/>
                <a:gd name="connsiteX1255" fmla="*/ 1176056 w 2326130"/>
                <a:gd name="connsiteY1255" fmla="*/ 649290 h 696240"/>
                <a:gd name="connsiteX1256" fmla="*/ 1173715 w 2326130"/>
                <a:gd name="connsiteY1256" fmla="*/ 652233 h 696240"/>
                <a:gd name="connsiteX1257" fmla="*/ 1172378 w 2326130"/>
                <a:gd name="connsiteY1257" fmla="*/ 654623 h 696240"/>
                <a:gd name="connsiteX1258" fmla="*/ 1170873 w 2326130"/>
                <a:gd name="connsiteY1258" fmla="*/ 658301 h 696240"/>
                <a:gd name="connsiteX1259" fmla="*/ 1170204 w 2326130"/>
                <a:gd name="connsiteY1259" fmla="*/ 660692 h 696240"/>
                <a:gd name="connsiteX1260" fmla="*/ 1169536 w 2326130"/>
                <a:gd name="connsiteY1260" fmla="*/ 664186 h 696240"/>
                <a:gd name="connsiteX1261" fmla="*/ 1169703 w 2326130"/>
                <a:gd name="connsiteY1261" fmla="*/ 673932 h 696240"/>
                <a:gd name="connsiteX1262" fmla="*/ 1170371 w 2326130"/>
                <a:gd name="connsiteY1262" fmla="*/ 677242 h 696240"/>
                <a:gd name="connsiteX1263" fmla="*/ 1171208 w 2326130"/>
                <a:gd name="connsiteY1263" fmla="*/ 679817 h 696240"/>
                <a:gd name="connsiteX1264" fmla="*/ 1171876 w 2326130"/>
                <a:gd name="connsiteY1264" fmla="*/ 681472 h 696240"/>
                <a:gd name="connsiteX1265" fmla="*/ 1173381 w 2326130"/>
                <a:gd name="connsiteY1265" fmla="*/ 684414 h 696240"/>
                <a:gd name="connsiteX1266" fmla="*/ 1174886 w 2326130"/>
                <a:gd name="connsiteY1266" fmla="*/ 686620 h 696240"/>
                <a:gd name="connsiteX1267" fmla="*/ 1177225 w 2326130"/>
                <a:gd name="connsiteY1267" fmla="*/ 689195 h 696240"/>
                <a:gd name="connsiteX1268" fmla="*/ 1179399 w 2326130"/>
                <a:gd name="connsiteY1268" fmla="*/ 691034 h 696240"/>
                <a:gd name="connsiteX1269" fmla="*/ 1183245 w 2326130"/>
                <a:gd name="connsiteY1269" fmla="*/ 693241 h 696240"/>
                <a:gd name="connsiteX1270" fmla="*/ 1188595 w 2326130"/>
                <a:gd name="connsiteY1270" fmla="*/ 694712 h 696240"/>
                <a:gd name="connsiteX1271" fmla="*/ 1189430 w 2326130"/>
                <a:gd name="connsiteY1271" fmla="*/ 694896 h 696240"/>
                <a:gd name="connsiteX1272" fmla="*/ 1192272 w 2326130"/>
                <a:gd name="connsiteY1272" fmla="*/ 694896 h 696240"/>
                <a:gd name="connsiteX1273" fmla="*/ 1192439 w 2326130"/>
                <a:gd name="connsiteY1273" fmla="*/ 694896 h 696240"/>
                <a:gd name="connsiteX1274" fmla="*/ 1201300 w 2326130"/>
                <a:gd name="connsiteY1274" fmla="*/ 691586 h 696240"/>
                <a:gd name="connsiteX1275" fmla="*/ 1204476 w 2326130"/>
                <a:gd name="connsiteY1275" fmla="*/ 688827 h 696240"/>
                <a:gd name="connsiteX1276" fmla="*/ 1206649 w 2326130"/>
                <a:gd name="connsiteY1276" fmla="*/ 686253 h 696240"/>
                <a:gd name="connsiteX1277" fmla="*/ 1208154 w 2326130"/>
                <a:gd name="connsiteY1277" fmla="*/ 683863 h 696240"/>
                <a:gd name="connsiteX1278" fmla="*/ 1209659 w 2326130"/>
                <a:gd name="connsiteY1278" fmla="*/ 680920 h 696240"/>
                <a:gd name="connsiteX1279" fmla="*/ 1210495 w 2326130"/>
                <a:gd name="connsiteY1279" fmla="*/ 678898 h 696240"/>
                <a:gd name="connsiteX1280" fmla="*/ 1211163 w 2326130"/>
                <a:gd name="connsiteY1280" fmla="*/ 676691 h 696240"/>
                <a:gd name="connsiteX1281" fmla="*/ 1211999 w 2326130"/>
                <a:gd name="connsiteY1281" fmla="*/ 672829 h 696240"/>
                <a:gd name="connsiteX1282" fmla="*/ 1212166 w 2326130"/>
                <a:gd name="connsiteY1282" fmla="*/ 670806 h 696240"/>
                <a:gd name="connsiteX1283" fmla="*/ 1211999 w 2326130"/>
                <a:gd name="connsiteY1283" fmla="*/ 670990 h 696240"/>
                <a:gd name="connsiteX1284" fmla="*/ 1211999 w 2326130"/>
                <a:gd name="connsiteY1284" fmla="*/ 667128 h 696240"/>
                <a:gd name="connsiteX1285" fmla="*/ 1211999 w 2326130"/>
                <a:gd name="connsiteY1285" fmla="*/ 666944 h 696240"/>
                <a:gd name="connsiteX1286" fmla="*/ 1211665 w 2326130"/>
                <a:gd name="connsiteY1286" fmla="*/ 663818 h 696240"/>
                <a:gd name="connsiteX1287" fmla="*/ 1210829 w 2326130"/>
                <a:gd name="connsiteY1287" fmla="*/ 660140 h 696240"/>
                <a:gd name="connsiteX1288" fmla="*/ 1210160 w 2326130"/>
                <a:gd name="connsiteY1288" fmla="*/ 657933 h 696240"/>
                <a:gd name="connsiteX1289" fmla="*/ 1208656 w 2326130"/>
                <a:gd name="connsiteY1289" fmla="*/ 654439 h 696240"/>
                <a:gd name="connsiteX1290" fmla="*/ 1207151 w 2326130"/>
                <a:gd name="connsiteY1290" fmla="*/ 651865 h 696240"/>
                <a:gd name="connsiteX1291" fmla="*/ 1205646 w 2326130"/>
                <a:gd name="connsiteY1291" fmla="*/ 649842 h 696240"/>
                <a:gd name="connsiteX1292" fmla="*/ 1204142 w 2326130"/>
                <a:gd name="connsiteY1292" fmla="*/ 648187 h 696240"/>
                <a:gd name="connsiteX1293" fmla="*/ 1200965 w 2326130"/>
                <a:gd name="connsiteY1293" fmla="*/ 645613 h 696240"/>
                <a:gd name="connsiteX1294" fmla="*/ 1198290 w 2326130"/>
                <a:gd name="connsiteY1294" fmla="*/ 644142 h 696240"/>
                <a:gd name="connsiteX1295" fmla="*/ 1191771 w 2326130"/>
                <a:gd name="connsiteY1295" fmla="*/ 642486 h 696240"/>
                <a:gd name="connsiteX1296" fmla="*/ 1427614 w 2326130"/>
                <a:gd name="connsiteY1296" fmla="*/ 642486 h 696240"/>
                <a:gd name="connsiteX1297" fmla="*/ 1419255 w 2326130"/>
                <a:gd name="connsiteY1297" fmla="*/ 643957 h 696240"/>
                <a:gd name="connsiteX1298" fmla="*/ 1414240 w 2326130"/>
                <a:gd name="connsiteY1298" fmla="*/ 647084 h 696240"/>
                <a:gd name="connsiteX1299" fmla="*/ 1411899 w 2326130"/>
                <a:gd name="connsiteY1299" fmla="*/ 649290 h 696240"/>
                <a:gd name="connsiteX1300" fmla="*/ 1409559 w 2326130"/>
                <a:gd name="connsiteY1300" fmla="*/ 652233 h 696240"/>
                <a:gd name="connsiteX1301" fmla="*/ 1408221 w 2326130"/>
                <a:gd name="connsiteY1301" fmla="*/ 654623 h 696240"/>
                <a:gd name="connsiteX1302" fmla="*/ 1406717 w 2326130"/>
                <a:gd name="connsiteY1302" fmla="*/ 658301 h 696240"/>
                <a:gd name="connsiteX1303" fmla="*/ 1406048 w 2326130"/>
                <a:gd name="connsiteY1303" fmla="*/ 660692 h 696240"/>
                <a:gd name="connsiteX1304" fmla="*/ 1405379 w 2326130"/>
                <a:gd name="connsiteY1304" fmla="*/ 664186 h 696240"/>
                <a:gd name="connsiteX1305" fmla="*/ 1405546 w 2326130"/>
                <a:gd name="connsiteY1305" fmla="*/ 673932 h 696240"/>
                <a:gd name="connsiteX1306" fmla="*/ 1406215 w 2326130"/>
                <a:gd name="connsiteY1306" fmla="*/ 677242 h 696240"/>
                <a:gd name="connsiteX1307" fmla="*/ 1407051 w 2326130"/>
                <a:gd name="connsiteY1307" fmla="*/ 679817 h 696240"/>
                <a:gd name="connsiteX1308" fmla="*/ 1407719 w 2326130"/>
                <a:gd name="connsiteY1308" fmla="*/ 681472 h 696240"/>
                <a:gd name="connsiteX1309" fmla="*/ 1409224 w 2326130"/>
                <a:gd name="connsiteY1309" fmla="*/ 684414 h 696240"/>
                <a:gd name="connsiteX1310" fmla="*/ 1410729 w 2326130"/>
                <a:gd name="connsiteY1310" fmla="*/ 686620 h 696240"/>
                <a:gd name="connsiteX1311" fmla="*/ 1413069 w 2326130"/>
                <a:gd name="connsiteY1311" fmla="*/ 689195 h 696240"/>
                <a:gd name="connsiteX1312" fmla="*/ 1415242 w 2326130"/>
                <a:gd name="connsiteY1312" fmla="*/ 691034 h 696240"/>
                <a:gd name="connsiteX1313" fmla="*/ 1419088 w 2326130"/>
                <a:gd name="connsiteY1313" fmla="*/ 693241 h 696240"/>
                <a:gd name="connsiteX1314" fmla="*/ 1424438 w 2326130"/>
                <a:gd name="connsiteY1314" fmla="*/ 694712 h 696240"/>
                <a:gd name="connsiteX1315" fmla="*/ 1425274 w 2326130"/>
                <a:gd name="connsiteY1315" fmla="*/ 694896 h 696240"/>
                <a:gd name="connsiteX1316" fmla="*/ 1428115 w 2326130"/>
                <a:gd name="connsiteY1316" fmla="*/ 694896 h 696240"/>
                <a:gd name="connsiteX1317" fmla="*/ 1428283 w 2326130"/>
                <a:gd name="connsiteY1317" fmla="*/ 694896 h 696240"/>
                <a:gd name="connsiteX1318" fmla="*/ 1437143 w 2326130"/>
                <a:gd name="connsiteY1318" fmla="*/ 691586 h 696240"/>
                <a:gd name="connsiteX1319" fmla="*/ 1440319 w 2326130"/>
                <a:gd name="connsiteY1319" fmla="*/ 688827 h 696240"/>
                <a:gd name="connsiteX1320" fmla="*/ 1442493 w 2326130"/>
                <a:gd name="connsiteY1320" fmla="*/ 686253 h 696240"/>
                <a:gd name="connsiteX1321" fmla="*/ 1443998 w 2326130"/>
                <a:gd name="connsiteY1321" fmla="*/ 683863 h 696240"/>
                <a:gd name="connsiteX1322" fmla="*/ 1445502 w 2326130"/>
                <a:gd name="connsiteY1322" fmla="*/ 680920 h 696240"/>
                <a:gd name="connsiteX1323" fmla="*/ 1446338 w 2326130"/>
                <a:gd name="connsiteY1323" fmla="*/ 678898 h 696240"/>
                <a:gd name="connsiteX1324" fmla="*/ 1447007 w 2326130"/>
                <a:gd name="connsiteY1324" fmla="*/ 676691 h 696240"/>
                <a:gd name="connsiteX1325" fmla="*/ 1447842 w 2326130"/>
                <a:gd name="connsiteY1325" fmla="*/ 672829 h 696240"/>
                <a:gd name="connsiteX1326" fmla="*/ 1448010 w 2326130"/>
                <a:gd name="connsiteY1326" fmla="*/ 670806 h 696240"/>
                <a:gd name="connsiteX1327" fmla="*/ 1447842 w 2326130"/>
                <a:gd name="connsiteY1327" fmla="*/ 670990 h 696240"/>
                <a:gd name="connsiteX1328" fmla="*/ 1447842 w 2326130"/>
                <a:gd name="connsiteY1328" fmla="*/ 667128 h 696240"/>
                <a:gd name="connsiteX1329" fmla="*/ 1447842 w 2326130"/>
                <a:gd name="connsiteY1329" fmla="*/ 666944 h 696240"/>
                <a:gd name="connsiteX1330" fmla="*/ 1447508 w 2326130"/>
                <a:gd name="connsiteY1330" fmla="*/ 663818 h 696240"/>
                <a:gd name="connsiteX1331" fmla="*/ 1446673 w 2326130"/>
                <a:gd name="connsiteY1331" fmla="*/ 660140 h 696240"/>
                <a:gd name="connsiteX1332" fmla="*/ 1446003 w 2326130"/>
                <a:gd name="connsiteY1332" fmla="*/ 657933 h 696240"/>
                <a:gd name="connsiteX1333" fmla="*/ 1444499 w 2326130"/>
                <a:gd name="connsiteY1333" fmla="*/ 654439 h 696240"/>
                <a:gd name="connsiteX1334" fmla="*/ 1442994 w 2326130"/>
                <a:gd name="connsiteY1334" fmla="*/ 651865 h 696240"/>
                <a:gd name="connsiteX1335" fmla="*/ 1441490 w 2326130"/>
                <a:gd name="connsiteY1335" fmla="*/ 649842 h 696240"/>
                <a:gd name="connsiteX1336" fmla="*/ 1439985 w 2326130"/>
                <a:gd name="connsiteY1336" fmla="*/ 648187 h 696240"/>
                <a:gd name="connsiteX1337" fmla="*/ 1436809 w 2326130"/>
                <a:gd name="connsiteY1337" fmla="*/ 645613 h 696240"/>
                <a:gd name="connsiteX1338" fmla="*/ 1434134 w 2326130"/>
                <a:gd name="connsiteY1338" fmla="*/ 644142 h 696240"/>
                <a:gd name="connsiteX1339" fmla="*/ 1427614 w 2326130"/>
                <a:gd name="connsiteY1339" fmla="*/ 642486 h 696240"/>
                <a:gd name="connsiteX1340" fmla="*/ 1550635 w 2326130"/>
                <a:gd name="connsiteY1340" fmla="*/ 642486 h 696240"/>
                <a:gd name="connsiteX1341" fmla="*/ 1542276 w 2326130"/>
                <a:gd name="connsiteY1341" fmla="*/ 643957 h 696240"/>
                <a:gd name="connsiteX1342" fmla="*/ 1537261 w 2326130"/>
                <a:gd name="connsiteY1342" fmla="*/ 647084 h 696240"/>
                <a:gd name="connsiteX1343" fmla="*/ 1534920 w 2326130"/>
                <a:gd name="connsiteY1343" fmla="*/ 649290 h 696240"/>
                <a:gd name="connsiteX1344" fmla="*/ 1532580 w 2326130"/>
                <a:gd name="connsiteY1344" fmla="*/ 652233 h 696240"/>
                <a:gd name="connsiteX1345" fmla="*/ 1531243 w 2326130"/>
                <a:gd name="connsiteY1345" fmla="*/ 654623 h 696240"/>
                <a:gd name="connsiteX1346" fmla="*/ 1529738 w 2326130"/>
                <a:gd name="connsiteY1346" fmla="*/ 658301 h 696240"/>
                <a:gd name="connsiteX1347" fmla="*/ 1529069 w 2326130"/>
                <a:gd name="connsiteY1347" fmla="*/ 660692 h 696240"/>
                <a:gd name="connsiteX1348" fmla="*/ 1528400 w 2326130"/>
                <a:gd name="connsiteY1348" fmla="*/ 664186 h 696240"/>
                <a:gd name="connsiteX1349" fmla="*/ 1528568 w 2326130"/>
                <a:gd name="connsiteY1349" fmla="*/ 673932 h 696240"/>
                <a:gd name="connsiteX1350" fmla="*/ 1529236 w 2326130"/>
                <a:gd name="connsiteY1350" fmla="*/ 677242 h 696240"/>
                <a:gd name="connsiteX1351" fmla="*/ 1530072 w 2326130"/>
                <a:gd name="connsiteY1351" fmla="*/ 679817 h 696240"/>
                <a:gd name="connsiteX1352" fmla="*/ 1530741 w 2326130"/>
                <a:gd name="connsiteY1352" fmla="*/ 681472 h 696240"/>
                <a:gd name="connsiteX1353" fmla="*/ 1532246 w 2326130"/>
                <a:gd name="connsiteY1353" fmla="*/ 684414 h 696240"/>
                <a:gd name="connsiteX1354" fmla="*/ 1533750 w 2326130"/>
                <a:gd name="connsiteY1354" fmla="*/ 686620 h 696240"/>
                <a:gd name="connsiteX1355" fmla="*/ 1536091 w 2326130"/>
                <a:gd name="connsiteY1355" fmla="*/ 689195 h 696240"/>
                <a:gd name="connsiteX1356" fmla="*/ 1538264 w 2326130"/>
                <a:gd name="connsiteY1356" fmla="*/ 691034 h 696240"/>
                <a:gd name="connsiteX1357" fmla="*/ 1542109 w 2326130"/>
                <a:gd name="connsiteY1357" fmla="*/ 693241 h 696240"/>
                <a:gd name="connsiteX1358" fmla="*/ 1547459 w 2326130"/>
                <a:gd name="connsiteY1358" fmla="*/ 694712 h 696240"/>
                <a:gd name="connsiteX1359" fmla="*/ 1548295 w 2326130"/>
                <a:gd name="connsiteY1359" fmla="*/ 694896 h 696240"/>
                <a:gd name="connsiteX1360" fmla="*/ 1551136 w 2326130"/>
                <a:gd name="connsiteY1360" fmla="*/ 694896 h 696240"/>
                <a:gd name="connsiteX1361" fmla="*/ 1551304 w 2326130"/>
                <a:gd name="connsiteY1361" fmla="*/ 694896 h 696240"/>
                <a:gd name="connsiteX1362" fmla="*/ 1560164 w 2326130"/>
                <a:gd name="connsiteY1362" fmla="*/ 691586 h 696240"/>
                <a:gd name="connsiteX1363" fmla="*/ 1563341 w 2326130"/>
                <a:gd name="connsiteY1363" fmla="*/ 688827 h 696240"/>
                <a:gd name="connsiteX1364" fmla="*/ 1565514 w 2326130"/>
                <a:gd name="connsiteY1364" fmla="*/ 686253 h 696240"/>
                <a:gd name="connsiteX1365" fmla="*/ 1567019 w 2326130"/>
                <a:gd name="connsiteY1365" fmla="*/ 683863 h 696240"/>
                <a:gd name="connsiteX1366" fmla="*/ 1568523 w 2326130"/>
                <a:gd name="connsiteY1366" fmla="*/ 680920 h 696240"/>
                <a:gd name="connsiteX1367" fmla="*/ 1569359 w 2326130"/>
                <a:gd name="connsiteY1367" fmla="*/ 678898 h 696240"/>
                <a:gd name="connsiteX1368" fmla="*/ 1570028 w 2326130"/>
                <a:gd name="connsiteY1368" fmla="*/ 676691 h 696240"/>
                <a:gd name="connsiteX1369" fmla="*/ 1570864 w 2326130"/>
                <a:gd name="connsiteY1369" fmla="*/ 672829 h 696240"/>
                <a:gd name="connsiteX1370" fmla="*/ 1571031 w 2326130"/>
                <a:gd name="connsiteY1370" fmla="*/ 670806 h 696240"/>
                <a:gd name="connsiteX1371" fmla="*/ 1570864 w 2326130"/>
                <a:gd name="connsiteY1371" fmla="*/ 670990 h 696240"/>
                <a:gd name="connsiteX1372" fmla="*/ 1570864 w 2326130"/>
                <a:gd name="connsiteY1372" fmla="*/ 667128 h 696240"/>
                <a:gd name="connsiteX1373" fmla="*/ 1570864 w 2326130"/>
                <a:gd name="connsiteY1373" fmla="*/ 666944 h 696240"/>
                <a:gd name="connsiteX1374" fmla="*/ 1570530 w 2326130"/>
                <a:gd name="connsiteY1374" fmla="*/ 663818 h 696240"/>
                <a:gd name="connsiteX1375" fmla="*/ 1569694 w 2326130"/>
                <a:gd name="connsiteY1375" fmla="*/ 660140 h 696240"/>
                <a:gd name="connsiteX1376" fmla="*/ 1569025 w 2326130"/>
                <a:gd name="connsiteY1376" fmla="*/ 657933 h 696240"/>
                <a:gd name="connsiteX1377" fmla="*/ 1567520 w 2326130"/>
                <a:gd name="connsiteY1377" fmla="*/ 654439 h 696240"/>
                <a:gd name="connsiteX1378" fmla="*/ 1566016 w 2326130"/>
                <a:gd name="connsiteY1378" fmla="*/ 651865 h 696240"/>
                <a:gd name="connsiteX1379" fmla="*/ 1564511 w 2326130"/>
                <a:gd name="connsiteY1379" fmla="*/ 649842 h 696240"/>
                <a:gd name="connsiteX1380" fmla="*/ 1563006 w 2326130"/>
                <a:gd name="connsiteY1380" fmla="*/ 648187 h 696240"/>
                <a:gd name="connsiteX1381" fmla="*/ 1559830 w 2326130"/>
                <a:gd name="connsiteY1381" fmla="*/ 645613 h 696240"/>
                <a:gd name="connsiteX1382" fmla="*/ 1557155 w 2326130"/>
                <a:gd name="connsiteY1382" fmla="*/ 644142 h 696240"/>
                <a:gd name="connsiteX1383" fmla="*/ 1550635 w 2326130"/>
                <a:gd name="connsiteY1383" fmla="*/ 642486 h 696240"/>
                <a:gd name="connsiteX1384" fmla="*/ 1663507 w 2326130"/>
                <a:gd name="connsiteY1384" fmla="*/ 642486 h 696240"/>
                <a:gd name="connsiteX1385" fmla="*/ 1655149 w 2326130"/>
                <a:gd name="connsiteY1385" fmla="*/ 643957 h 696240"/>
                <a:gd name="connsiteX1386" fmla="*/ 1650133 w 2326130"/>
                <a:gd name="connsiteY1386" fmla="*/ 647084 h 696240"/>
                <a:gd name="connsiteX1387" fmla="*/ 1647792 w 2326130"/>
                <a:gd name="connsiteY1387" fmla="*/ 649290 h 696240"/>
                <a:gd name="connsiteX1388" fmla="*/ 1645452 w 2326130"/>
                <a:gd name="connsiteY1388" fmla="*/ 652233 h 696240"/>
                <a:gd name="connsiteX1389" fmla="*/ 1644115 w 2326130"/>
                <a:gd name="connsiteY1389" fmla="*/ 654623 h 696240"/>
                <a:gd name="connsiteX1390" fmla="*/ 1642611 w 2326130"/>
                <a:gd name="connsiteY1390" fmla="*/ 658301 h 696240"/>
                <a:gd name="connsiteX1391" fmla="*/ 1641941 w 2326130"/>
                <a:gd name="connsiteY1391" fmla="*/ 660692 h 696240"/>
                <a:gd name="connsiteX1392" fmla="*/ 1641273 w 2326130"/>
                <a:gd name="connsiteY1392" fmla="*/ 664186 h 696240"/>
                <a:gd name="connsiteX1393" fmla="*/ 1641440 w 2326130"/>
                <a:gd name="connsiteY1393" fmla="*/ 673932 h 696240"/>
                <a:gd name="connsiteX1394" fmla="*/ 1642109 w 2326130"/>
                <a:gd name="connsiteY1394" fmla="*/ 677242 h 696240"/>
                <a:gd name="connsiteX1395" fmla="*/ 1642944 w 2326130"/>
                <a:gd name="connsiteY1395" fmla="*/ 679817 h 696240"/>
                <a:gd name="connsiteX1396" fmla="*/ 1643613 w 2326130"/>
                <a:gd name="connsiteY1396" fmla="*/ 681472 h 696240"/>
                <a:gd name="connsiteX1397" fmla="*/ 1645118 w 2326130"/>
                <a:gd name="connsiteY1397" fmla="*/ 684414 h 696240"/>
                <a:gd name="connsiteX1398" fmla="*/ 1646623 w 2326130"/>
                <a:gd name="connsiteY1398" fmla="*/ 686620 h 696240"/>
                <a:gd name="connsiteX1399" fmla="*/ 1648963 w 2326130"/>
                <a:gd name="connsiteY1399" fmla="*/ 689195 h 696240"/>
                <a:gd name="connsiteX1400" fmla="*/ 1651137 w 2326130"/>
                <a:gd name="connsiteY1400" fmla="*/ 691034 h 696240"/>
                <a:gd name="connsiteX1401" fmla="*/ 1654981 w 2326130"/>
                <a:gd name="connsiteY1401" fmla="*/ 693241 h 696240"/>
                <a:gd name="connsiteX1402" fmla="*/ 1660331 w 2326130"/>
                <a:gd name="connsiteY1402" fmla="*/ 694712 h 696240"/>
                <a:gd name="connsiteX1403" fmla="*/ 1661167 w 2326130"/>
                <a:gd name="connsiteY1403" fmla="*/ 694896 h 696240"/>
                <a:gd name="connsiteX1404" fmla="*/ 1664009 w 2326130"/>
                <a:gd name="connsiteY1404" fmla="*/ 694896 h 696240"/>
                <a:gd name="connsiteX1405" fmla="*/ 1664176 w 2326130"/>
                <a:gd name="connsiteY1405" fmla="*/ 694896 h 696240"/>
                <a:gd name="connsiteX1406" fmla="*/ 1673037 w 2326130"/>
                <a:gd name="connsiteY1406" fmla="*/ 691586 h 696240"/>
                <a:gd name="connsiteX1407" fmla="*/ 1676213 w 2326130"/>
                <a:gd name="connsiteY1407" fmla="*/ 688827 h 696240"/>
                <a:gd name="connsiteX1408" fmla="*/ 1678387 w 2326130"/>
                <a:gd name="connsiteY1408" fmla="*/ 686253 h 696240"/>
                <a:gd name="connsiteX1409" fmla="*/ 1679891 w 2326130"/>
                <a:gd name="connsiteY1409" fmla="*/ 683863 h 696240"/>
                <a:gd name="connsiteX1410" fmla="*/ 1681396 w 2326130"/>
                <a:gd name="connsiteY1410" fmla="*/ 680920 h 696240"/>
                <a:gd name="connsiteX1411" fmla="*/ 1682231 w 2326130"/>
                <a:gd name="connsiteY1411" fmla="*/ 678898 h 696240"/>
                <a:gd name="connsiteX1412" fmla="*/ 1682900 w 2326130"/>
                <a:gd name="connsiteY1412" fmla="*/ 676691 h 696240"/>
                <a:gd name="connsiteX1413" fmla="*/ 1683736 w 2326130"/>
                <a:gd name="connsiteY1413" fmla="*/ 672829 h 696240"/>
                <a:gd name="connsiteX1414" fmla="*/ 1683903 w 2326130"/>
                <a:gd name="connsiteY1414" fmla="*/ 670806 h 696240"/>
                <a:gd name="connsiteX1415" fmla="*/ 1683736 w 2326130"/>
                <a:gd name="connsiteY1415" fmla="*/ 670990 h 696240"/>
                <a:gd name="connsiteX1416" fmla="*/ 1683736 w 2326130"/>
                <a:gd name="connsiteY1416" fmla="*/ 667128 h 696240"/>
                <a:gd name="connsiteX1417" fmla="*/ 1683736 w 2326130"/>
                <a:gd name="connsiteY1417" fmla="*/ 666944 h 696240"/>
                <a:gd name="connsiteX1418" fmla="*/ 1683402 w 2326130"/>
                <a:gd name="connsiteY1418" fmla="*/ 663818 h 696240"/>
                <a:gd name="connsiteX1419" fmla="*/ 1682566 w 2326130"/>
                <a:gd name="connsiteY1419" fmla="*/ 660140 h 696240"/>
                <a:gd name="connsiteX1420" fmla="*/ 1681897 w 2326130"/>
                <a:gd name="connsiteY1420" fmla="*/ 657933 h 696240"/>
                <a:gd name="connsiteX1421" fmla="*/ 1680392 w 2326130"/>
                <a:gd name="connsiteY1421" fmla="*/ 654439 h 696240"/>
                <a:gd name="connsiteX1422" fmla="*/ 1678888 w 2326130"/>
                <a:gd name="connsiteY1422" fmla="*/ 651865 h 696240"/>
                <a:gd name="connsiteX1423" fmla="*/ 1677384 w 2326130"/>
                <a:gd name="connsiteY1423" fmla="*/ 649842 h 696240"/>
                <a:gd name="connsiteX1424" fmla="*/ 1675879 w 2326130"/>
                <a:gd name="connsiteY1424" fmla="*/ 648187 h 696240"/>
                <a:gd name="connsiteX1425" fmla="*/ 1672702 w 2326130"/>
                <a:gd name="connsiteY1425" fmla="*/ 645613 h 696240"/>
                <a:gd name="connsiteX1426" fmla="*/ 1670027 w 2326130"/>
                <a:gd name="connsiteY1426" fmla="*/ 644142 h 696240"/>
                <a:gd name="connsiteX1427" fmla="*/ 1663507 w 2326130"/>
                <a:gd name="connsiteY1427" fmla="*/ 642486 h 696240"/>
                <a:gd name="connsiteX1428" fmla="*/ 1899351 w 2326130"/>
                <a:gd name="connsiteY1428" fmla="*/ 642486 h 696240"/>
                <a:gd name="connsiteX1429" fmla="*/ 1890993 w 2326130"/>
                <a:gd name="connsiteY1429" fmla="*/ 643957 h 696240"/>
                <a:gd name="connsiteX1430" fmla="*/ 1885977 w 2326130"/>
                <a:gd name="connsiteY1430" fmla="*/ 647084 h 696240"/>
                <a:gd name="connsiteX1431" fmla="*/ 1883637 w 2326130"/>
                <a:gd name="connsiteY1431" fmla="*/ 649290 h 696240"/>
                <a:gd name="connsiteX1432" fmla="*/ 1881296 w 2326130"/>
                <a:gd name="connsiteY1432" fmla="*/ 652233 h 696240"/>
                <a:gd name="connsiteX1433" fmla="*/ 1879959 w 2326130"/>
                <a:gd name="connsiteY1433" fmla="*/ 654623 h 696240"/>
                <a:gd name="connsiteX1434" fmla="*/ 1878454 w 2326130"/>
                <a:gd name="connsiteY1434" fmla="*/ 658301 h 696240"/>
                <a:gd name="connsiteX1435" fmla="*/ 1877786 w 2326130"/>
                <a:gd name="connsiteY1435" fmla="*/ 660692 h 696240"/>
                <a:gd name="connsiteX1436" fmla="*/ 1877117 w 2326130"/>
                <a:gd name="connsiteY1436" fmla="*/ 664186 h 696240"/>
                <a:gd name="connsiteX1437" fmla="*/ 1877284 w 2326130"/>
                <a:gd name="connsiteY1437" fmla="*/ 673932 h 696240"/>
                <a:gd name="connsiteX1438" fmla="*/ 1877952 w 2326130"/>
                <a:gd name="connsiteY1438" fmla="*/ 677242 h 696240"/>
                <a:gd name="connsiteX1439" fmla="*/ 1878788 w 2326130"/>
                <a:gd name="connsiteY1439" fmla="*/ 679817 h 696240"/>
                <a:gd name="connsiteX1440" fmla="*/ 1879458 w 2326130"/>
                <a:gd name="connsiteY1440" fmla="*/ 681472 h 696240"/>
                <a:gd name="connsiteX1441" fmla="*/ 1880962 w 2326130"/>
                <a:gd name="connsiteY1441" fmla="*/ 684414 h 696240"/>
                <a:gd name="connsiteX1442" fmla="*/ 1882466 w 2326130"/>
                <a:gd name="connsiteY1442" fmla="*/ 686620 h 696240"/>
                <a:gd name="connsiteX1443" fmla="*/ 1884807 w 2326130"/>
                <a:gd name="connsiteY1443" fmla="*/ 689195 h 696240"/>
                <a:gd name="connsiteX1444" fmla="*/ 1886981 w 2326130"/>
                <a:gd name="connsiteY1444" fmla="*/ 691034 h 696240"/>
                <a:gd name="connsiteX1445" fmla="*/ 1890825 w 2326130"/>
                <a:gd name="connsiteY1445" fmla="*/ 693241 h 696240"/>
                <a:gd name="connsiteX1446" fmla="*/ 1896175 w 2326130"/>
                <a:gd name="connsiteY1446" fmla="*/ 694712 h 696240"/>
                <a:gd name="connsiteX1447" fmla="*/ 1897011 w 2326130"/>
                <a:gd name="connsiteY1447" fmla="*/ 694896 h 696240"/>
                <a:gd name="connsiteX1448" fmla="*/ 1899853 w 2326130"/>
                <a:gd name="connsiteY1448" fmla="*/ 694896 h 696240"/>
                <a:gd name="connsiteX1449" fmla="*/ 1900020 w 2326130"/>
                <a:gd name="connsiteY1449" fmla="*/ 694896 h 696240"/>
                <a:gd name="connsiteX1450" fmla="*/ 1908881 w 2326130"/>
                <a:gd name="connsiteY1450" fmla="*/ 691586 h 696240"/>
                <a:gd name="connsiteX1451" fmla="*/ 1912057 w 2326130"/>
                <a:gd name="connsiteY1451" fmla="*/ 688827 h 696240"/>
                <a:gd name="connsiteX1452" fmla="*/ 1914231 w 2326130"/>
                <a:gd name="connsiteY1452" fmla="*/ 686253 h 696240"/>
                <a:gd name="connsiteX1453" fmla="*/ 1915735 w 2326130"/>
                <a:gd name="connsiteY1453" fmla="*/ 683863 h 696240"/>
                <a:gd name="connsiteX1454" fmla="*/ 1917239 w 2326130"/>
                <a:gd name="connsiteY1454" fmla="*/ 680920 h 696240"/>
                <a:gd name="connsiteX1455" fmla="*/ 1918075 w 2326130"/>
                <a:gd name="connsiteY1455" fmla="*/ 678898 h 696240"/>
                <a:gd name="connsiteX1456" fmla="*/ 1918744 w 2326130"/>
                <a:gd name="connsiteY1456" fmla="*/ 676691 h 696240"/>
                <a:gd name="connsiteX1457" fmla="*/ 1919580 w 2326130"/>
                <a:gd name="connsiteY1457" fmla="*/ 672829 h 696240"/>
                <a:gd name="connsiteX1458" fmla="*/ 1919747 w 2326130"/>
                <a:gd name="connsiteY1458" fmla="*/ 670806 h 696240"/>
                <a:gd name="connsiteX1459" fmla="*/ 1919580 w 2326130"/>
                <a:gd name="connsiteY1459" fmla="*/ 670990 h 696240"/>
                <a:gd name="connsiteX1460" fmla="*/ 1919580 w 2326130"/>
                <a:gd name="connsiteY1460" fmla="*/ 667128 h 696240"/>
                <a:gd name="connsiteX1461" fmla="*/ 1919580 w 2326130"/>
                <a:gd name="connsiteY1461" fmla="*/ 666944 h 696240"/>
                <a:gd name="connsiteX1462" fmla="*/ 1919246 w 2326130"/>
                <a:gd name="connsiteY1462" fmla="*/ 663818 h 696240"/>
                <a:gd name="connsiteX1463" fmla="*/ 1918410 w 2326130"/>
                <a:gd name="connsiteY1463" fmla="*/ 660140 h 696240"/>
                <a:gd name="connsiteX1464" fmla="*/ 1917741 w 2326130"/>
                <a:gd name="connsiteY1464" fmla="*/ 657933 h 696240"/>
                <a:gd name="connsiteX1465" fmla="*/ 1916236 w 2326130"/>
                <a:gd name="connsiteY1465" fmla="*/ 654439 h 696240"/>
                <a:gd name="connsiteX1466" fmla="*/ 1914732 w 2326130"/>
                <a:gd name="connsiteY1466" fmla="*/ 651865 h 696240"/>
                <a:gd name="connsiteX1467" fmla="*/ 1913227 w 2326130"/>
                <a:gd name="connsiteY1467" fmla="*/ 649842 h 696240"/>
                <a:gd name="connsiteX1468" fmla="*/ 1911723 w 2326130"/>
                <a:gd name="connsiteY1468" fmla="*/ 648187 h 696240"/>
                <a:gd name="connsiteX1469" fmla="*/ 1908546 w 2326130"/>
                <a:gd name="connsiteY1469" fmla="*/ 645613 h 696240"/>
                <a:gd name="connsiteX1470" fmla="*/ 1905872 w 2326130"/>
                <a:gd name="connsiteY1470" fmla="*/ 644142 h 696240"/>
                <a:gd name="connsiteX1471" fmla="*/ 1899351 w 2326130"/>
                <a:gd name="connsiteY1471" fmla="*/ 642486 h 696240"/>
                <a:gd name="connsiteX1472" fmla="*/ 2022373 w 2326130"/>
                <a:gd name="connsiteY1472" fmla="*/ 642486 h 696240"/>
                <a:gd name="connsiteX1473" fmla="*/ 2014014 w 2326130"/>
                <a:gd name="connsiteY1473" fmla="*/ 643957 h 696240"/>
                <a:gd name="connsiteX1474" fmla="*/ 2008999 w 2326130"/>
                <a:gd name="connsiteY1474" fmla="*/ 647084 h 696240"/>
                <a:gd name="connsiteX1475" fmla="*/ 2006658 w 2326130"/>
                <a:gd name="connsiteY1475" fmla="*/ 649290 h 696240"/>
                <a:gd name="connsiteX1476" fmla="*/ 2004317 w 2326130"/>
                <a:gd name="connsiteY1476" fmla="*/ 652233 h 696240"/>
                <a:gd name="connsiteX1477" fmla="*/ 2002980 w 2326130"/>
                <a:gd name="connsiteY1477" fmla="*/ 654623 h 696240"/>
                <a:gd name="connsiteX1478" fmla="*/ 2001476 w 2326130"/>
                <a:gd name="connsiteY1478" fmla="*/ 658301 h 696240"/>
                <a:gd name="connsiteX1479" fmla="*/ 2000807 w 2326130"/>
                <a:gd name="connsiteY1479" fmla="*/ 660692 h 696240"/>
                <a:gd name="connsiteX1480" fmla="*/ 2000138 w 2326130"/>
                <a:gd name="connsiteY1480" fmla="*/ 664186 h 696240"/>
                <a:gd name="connsiteX1481" fmla="*/ 2000305 w 2326130"/>
                <a:gd name="connsiteY1481" fmla="*/ 673932 h 696240"/>
                <a:gd name="connsiteX1482" fmla="*/ 2000974 w 2326130"/>
                <a:gd name="connsiteY1482" fmla="*/ 677242 h 696240"/>
                <a:gd name="connsiteX1483" fmla="*/ 2001810 w 2326130"/>
                <a:gd name="connsiteY1483" fmla="*/ 679817 h 696240"/>
                <a:gd name="connsiteX1484" fmla="*/ 2002479 w 2326130"/>
                <a:gd name="connsiteY1484" fmla="*/ 681472 h 696240"/>
                <a:gd name="connsiteX1485" fmla="*/ 2003983 w 2326130"/>
                <a:gd name="connsiteY1485" fmla="*/ 684414 h 696240"/>
                <a:gd name="connsiteX1486" fmla="*/ 2005488 w 2326130"/>
                <a:gd name="connsiteY1486" fmla="*/ 686620 h 696240"/>
                <a:gd name="connsiteX1487" fmla="*/ 2007828 w 2326130"/>
                <a:gd name="connsiteY1487" fmla="*/ 689195 h 696240"/>
                <a:gd name="connsiteX1488" fmla="*/ 2010002 w 2326130"/>
                <a:gd name="connsiteY1488" fmla="*/ 691034 h 696240"/>
                <a:gd name="connsiteX1489" fmla="*/ 2013846 w 2326130"/>
                <a:gd name="connsiteY1489" fmla="*/ 693241 h 696240"/>
                <a:gd name="connsiteX1490" fmla="*/ 2019196 w 2326130"/>
                <a:gd name="connsiteY1490" fmla="*/ 694712 h 696240"/>
                <a:gd name="connsiteX1491" fmla="*/ 2020032 w 2326130"/>
                <a:gd name="connsiteY1491" fmla="*/ 694896 h 696240"/>
                <a:gd name="connsiteX1492" fmla="*/ 2022875 w 2326130"/>
                <a:gd name="connsiteY1492" fmla="*/ 694896 h 696240"/>
                <a:gd name="connsiteX1493" fmla="*/ 2023041 w 2326130"/>
                <a:gd name="connsiteY1493" fmla="*/ 694896 h 696240"/>
                <a:gd name="connsiteX1494" fmla="*/ 2031902 w 2326130"/>
                <a:gd name="connsiteY1494" fmla="*/ 691586 h 696240"/>
                <a:gd name="connsiteX1495" fmla="*/ 2035078 w 2326130"/>
                <a:gd name="connsiteY1495" fmla="*/ 688827 h 696240"/>
                <a:gd name="connsiteX1496" fmla="*/ 2037252 w 2326130"/>
                <a:gd name="connsiteY1496" fmla="*/ 686253 h 696240"/>
                <a:gd name="connsiteX1497" fmla="*/ 2038756 w 2326130"/>
                <a:gd name="connsiteY1497" fmla="*/ 683863 h 696240"/>
                <a:gd name="connsiteX1498" fmla="*/ 2040261 w 2326130"/>
                <a:gd name="connsiteY1498" fmla="*/ 680920 h 696240"/>
                <a:gd name="connsiteX1499" fmla="*/ 2041097 w 2326130"/>
                <a:gd name="connsiteY1499" fmla="*/ 678898 h 696240"/>
                <a:gd name="connsiteX1500" fmla="*/ 2041765 w 2326130"/>
                <a:gd name="connsiteY1500" fmla="*/ 676691 h 696240"/>
                <a:gd name="connsiteX1501" fmla="*/ 2042601 w 2326130"/>
                <a:gd name="connsiteY1501" fmla="*/ 672829 h 696240"/>
                <a:gd name="connsiteX1502" fmla="*/ 2042768 w 2326130"/>
                <a:gd name="connsiteY1502" fmla="*/ 670806 h 696240"/>
                <a:gd name="connsiteX1503" fmla="*/ 2042601 w 2326130"/>
                <a:gd name="connsiteY1503" fmla="*/ 670990 h 696240"/>
                <a:gd name="connsiteX1504" fmla="*/ 2042601 w 2326130"/>
                <a:gd name="connsiteY1504" fmla="*/ 667128 h 696240"/>
                <a:gd name="connsiteX1505" fmla="*/ 2042601 w 2326130"/>
                <a:gd name="connsiteY1505" fmla="*/ 666944 h 696240"/>
                <a:gd name="connsiteX1506" fmla="*/ 2042267 w 2326130"/>
                <a:gd name="connsiteY1506" fmla="*/ 663818 h 696240"/>
                <a:gd name="connsiteX1507" fmla="*/ 2041431 w 2326130"/>
                <a:gd name="connsiteY1507" fmla="*/ 660140 h 696240"/>
                <a:gd name="connsiteX1508" fmla="*/ 2040762 w 2326130"/>
                <a:gd name="connsiteY1508" fmla="*/ 657933 h 696240"/>
                <a:gd name="connsiteX1509" fmla="*/ 2039258 w 2326130"/>
                <a:gd name="connsiteY1509" fmla="*/ 654439 h 696240"/>
                <a:gd name="connsiteX1510" fmla="*/ 2037753 w 2326130"/>
                <a:gd name="connsiteY1510" fmla="*/ 651865 h 696240"/>
                <a:gd name="connsiteX1511" fmla="*/ 2036249 w 2326130"/>
                <a:gd name="connsiteY1511" fmla="*/ 649842 h 696240"/>
                <a:gd name="connsiteX1512" fmla="*/ 2034744 w 2326130"/>
                <a:gd name="connsiteY1512" fmla="*/ 648187 h 696240"/>
                <a:gd name="connsiteX1513" fmla="*/ 2031567 w 2326130"/>
                <a:gd name="connsiteY1513" fmla="*/ 645613 h 696240"/>
                <a:gd name="connsiteX1514" fmla="*/ 2028893 w 2326130"/>
                <a:gd name="connsiteY1514" fmla="*/ 644142 h 696240"/>
                <a:gd name="connsiteX1515" fmla="*/ 2022373 w 2326130"/>
                <a:gd name="connsiteY1515" fmla="*/ 642486 h 696240"/>
                <a:gd name="connsiteX1516" fmla="*/ 2186582 w 2326130"/>
                <a:gd name="connsiteY1516" fmla="*/ 642486 h 696240"/>
                <a:gd name="connsiteX1517" fmla="*/ 2178224 w 2326130"/>
                <a:gd name="connsiteY1517" fmla="*/ 643957 h 696240"/>
                <a:gd name="connsiteX1518" fmla="*/ 2173208 w 2326130"/>
                <a:gd name="connsiteY1518" fmla="*/ 647084 h 696240"/>
                <a:gd name="connsiteX1519" fmla="*/ 2170867 w 2326130"/>
                <a:gd name="connsiteY1519" fmla="*/ 649290 h 696240"/>
                <a:gd name="connsiteX1520" fmla="*/ 2168527 w 2326130"/>
                <a:gd name="connsiteY1520" fmla="*/ 652233 h 696240"/>
                <a:gd name="connsiteX1521" fmla="*/ 2167190 w 2326130"/>
                <a:gd name="connsiteY1521" fmla="*/ 654623 h 696240"/>
                <a:gd name="connsiteX1522" fmla="*/ 2165685 w 2326130"/>
                <a:gd name="connsiteY1522" fmla="*/ 658301 h 696240"/>
                <a:gd name="connsiteX1523" fmla="*/ 2165016 w 2326130"/>
                <a:gd name="connsiteY1523" fmla="*/ 660692 h 696240"/>
                <a:gd name="connsiteX1524" fmla="*/ 2164348 w 2326130"/>
                <a:gd name="connsiteY1524" fmla="*/ 664186 h 696240"/>
                <a:gd name="connsiteX1525" fmla="*/ 2164514 w 2326130"/>
                <a:gd name="connsiteY1525" fmla="*/ 673932 h 696240"/>
                <a:gd name="connsiteX1526" fmla="*/ 2165183 w 2326130"/>
                <a:gd name="connsiteY1526" fmla="*/ 677242 h 696240"/>
                <a:gd name="connsiteX1527" fmla="*/ 2166019 w 2326130"/>
                <a:gd name="connsiteY1527" fmla="*/ 679817 h 696240"/>
                <a:gd name="connsiteX1528" fmla="*/ 2166688 w 2326130"/>
                <a:gd name="connsiteY1528" fmla="*/ 681472 h 696240"/>
                <a:gd name="connsiteX1529" fmla="*/ 2168192 w 2326130"/>
                <a:gd name="connsiteY1529" fmla="*/ 684414 h 696240"/>
                <a:gd name="connsiteX1530" fmla="*/ 2169698 w 2326130"/>
                <a:gd name="connsiteY1530" fmla="*/ 686620 h 696240"/>
                <a:gd name="connsiteX1531" fmla="*/ 2172037 w 2326130"/>
                <a:gd name="connsiteY1531" fmla="*/ 689195 h 696240"/>
                <a:gd name="connsiteX1532" fmla="*/ 2174211 w 2326130"/>
                <a:gd name="connsiteY1532" fmla="*/ 691034 h 696240"/>
                <a:gd name="connsiteX1533" fmla="*/ 2178056 w 2326130"/>
                <a:gd name="connsiteY1533" fmla="*/ 693241 h 696240"/>
                <a:gd name="connsiteX1534" fmla="*/ 2183406 w 2326130"/>
                <a:gd name="connsiteY1534" fmla="*/ 694712 h 696240"/>
                <a:gd name="connsiteX1535" fmla="*/ 2184241 w 2326130"/>
                <a:gd name="connsiteY1535" fmla="*/ 694896 h 696240"/>
                <a:gd name="connsiteX1536" fmla="*/ 2187084 w 2326130"/>
                <a:gd name="connsiteY1536" fmla="*/ 694896 h 696240"/>
                <a:gd name="connsiteX1537" fmla="*/ 2187251 w 2326130"/>
                <a:gd name="connsiteY1537" fmla="*/ 694896 h 696240"/>
                <a:gd name="connsiteX1538" fmla="*/ 2196112 w 2326130"/>
                <a:gd name="connsiteY1538" fmla="*/ 691586 h 696240"/>
                <a:gd name="connsiteX1539" fmla="*/ 2199288 w 2326130"/>
                <a:gd name="connsiteY1539" fmla="*/ 688827 h 696240"/>
                <a:gd name="connsiteX1540" fmla="*/ 2201461 w 2326130"/>
                <a:gd name="connsiteY1540" fmla="*/ 686253 h 696240"/>
                <a:gd name="connsiteX1541" fmla="*/ 2202965 w 2326130"/>
                <a:gd name="connsiteY1541" fmla="*/ 683863 h 696240"/>
                <a:gd name="connsiteX1542" fmla="*/ 2204471 w 2326130"/>
                <a:gd name="connsiteY1542" fmla="*/ 680920 h 696240"/>
                <a:gd name="connsiteX1543" fmla="*/ 2205306 w 2326130"/>
                <a:gd name="connsiteY1543" fmla="*/ 678898 h 696240"/>
                <a:gd name="connsiteX1544" fmla="*/ 2205975 w 2326130"/>
                <a:gd name="connsiteY1544" fmla="*/ 676691 h 696240"/>
                <a:gd name="connsiteX1545" fmla="*/ 2206811 w 2326130"/>
                <a:gd name="connsiteY1545" fmla="*/ 672829 h 696240"/>
                <a:gd name="connsiteX1546" fmla="*/ 2206978 w 2326130"/>
                <a:gd name="connsiteY1546" fmla="*/ 670806 h 696240"/>
                <a:gd name="connsiteX1547" fmla="*/ 2206811 w 2326130"/>
                <a:gd name="connsiteY1547" fmla="*/ 670990 h 696240"/>
                <a:gd name="connsiteX1548" fmla="*/ 2206811 w 2326130"/>
                <a:gd name="connsiteY1548" fmla="*/ 667128 h 696240"/>
                <a:gd name="connsiteX1549" fmla="*/ 2206811 w 2326130"/>
                <a:gd name="connsiteY1549" fmla="*/ 666944 h 696240"/>
                <a:gd name="connsiteX1550" fmla="*/ 2206476 w 2326130"/>
                <a:gd name="connsiteY1550" fmla="*/ 663818 h 696240"/>
                <a:gd name="connsiteX1551" fmla="*/ 2205640 w 2326130"/>
                <a:gd name="connsiteY1551" fmla="*/ 660140 h 696240"/>
                <a:gd name="connsiteX1552" fmla="*/ 2204972 w 2326130"/>
                <a:gd name="connsiteY1552" fmla="*/ 657933 h 696240"/>
                <a:gd name="connsiteX1553" fmla="*/ 2203467 w 2326130"/>
                <a:gd name="connsiteY1553" fmla="*/ 654439 h 696240"/>
                <a:gd name="connsiteX1554" fmla="*/ 2201962 w 2326130"/>
                <a:gd name="connsiteY1554" fmla="*/ 651865 h 696240"/>
                <a:gd name="connsiteX1555" fmla="*/ 2200458 w 2326130"/>
                <a:gd name="connsiteY1555" fmla="*/ 649842 h 696240"/>
                <a:gd name="connsiteX1556" fmla="*/ 2198953 w 2326130"/>
                <a:gd name="connsiteY1556" fmla="*/ 648187 h 696240"/>
                <a:gd name="connsiteX1557" fmla="*/ 2195777 w 2326130"/>
                <a:gd name="connsiteY1557" fmla="*/ 645613 h 696240"/>
                <a:gd name="connsiteX1558" fmla="*/ 2193102 w 2326130"/>
                <a:gd name="connsiteY1558" fmla="*/ 644142 h 696240"/>
                <a:gd name="connsiteX1559" fmla="*/ 2186582 w 2326130"/>
                <a:gd name="connsiteY1559" fmla="*/ 642486 h 696240"/>
                <a:gd name="connsiteX1560" fmla="*/ 83192 w 2326130"/>
                <a:gd name="connsiteY1560" fmla="*/ 636891 h 696240"/>
                <a:gd name="connsiteX1561" fmla="*/ 66328 w 2326130"/>
                <a:gd name="connsiteY1561" fmla="*/ 650636 h 696240"/>
                <a:gd name="connsiteX1562" fmla="*/ 66002 w 2326130"/>
                <a:gd name="connsiteY1562" fmla="*/ 653872 h 696240"/>
                <a:gd name="connsiteX1563" fmla="*/ 65037 w 2326130"/>
                <a:gd name="connsiteY1563" fmla="*/ 653872 h 696240"/>
                <a:gd name="connsiteX1564" fmla="*/ 60648 w 2326130"/>
                <a:gd name="connsiteY1564" fmla="*/ 658148 h 696240"/>
                <a:gd name="connsiteX1565" fmla="*/ 60648 w 2326130"/>
                <a:gd name="connsiteY1565" fmla="*/ 691965 h 696240"/>
                <a:gd name="connsiteX1566" fmla="*/ 65037 w 2326130"/>
                <a:gd name="connsiteY1566" fmla="*/ 696240 h 696240"/>
                <a:gd name="connsiteX1567" fmla="*/ 101347 w 2326130"/>
                <a:gd name="connsiteY1567" fmla="*/ 696240 h 696240"/>
                <a:gd name="connsiteX1568" fmla="*/ 105737 w 2326130"/>
                <a:gd name="connsiteY1568" fmla="*/ 691965 h 696240"/>
                <a:gd name="connsiteX1569" fmla="*/ 105737 w 2326130"/>
                <a:gd name="connsiteY1569" fmla="*/ 658148 h 696240"/>
                <a:gd name="connsiteX1570" fmla="*/ 101347 w 2326130"/>
                <a:gd name="connsiteY1570" fmla="*/ 653872 h 696240"/>
                <a:gd name="connsiteX1571" fmla="*/ 100780 w 2326130"/>
                <a:gd name="connsiteY1571" fmla="*/ 653872 h 696240"/>
                <a:gd name="connsiteX1572" fmla="*/ 100383 w 2326130"/>
                <a:gd name="connsiteY1572" fmla="*/ 653872 h 696240"/>
                <a:gd name="connsiteX1573" fmla="*/ 100056 w 2326130"/>
                <a:gd name="connsiteY1573" fmla="*/ 650636 h 696240"/>
                <a:gd name="connsiteX1574" fmla="*/ 83192 w 2326130"/>
                <a:gd name="connsiteY1574" fmla="*/ 636891 h 696240"/>
                <a:gd name="connsiteX1575" fmla="*/ 370423 w 2326130"/>
                <a:gd name="connsiteY1575" fmla="*/ 636891 h 696240"/>
                <a:gd name="connsiteX1576" fmla="*/ 353558 w 2326130"/>
                <a:gd name="connsiteY1576" fmla="*/ 650636 h 696240"/>
                <a:gd name="connsiteX1577" fmla="*/ 353233 w 2326130"/>
                <a:gd name="connsiteY1577" fmla="*/ 653872 h 696240"/>
                <a:gd name="connsiteX1578" fmla="*/ 352267 w 2326130"/>
                <a:gd name="connsiteY1578" fmla="*/ 653872 h 696240"/>
                <a:gd name="connsiteX1579" fmla="*/ 347879 w 2326130"/>
                <a:gd name="connsiteY1579" fmla="*/ 658148 h 696240"/>
                <a:gd name="connsiteX1580" fmla="*/ 347879 w 2326130"/>
                <a:gd name="connsiteY1580" fmla="*/ 691965 h 696240"/>
                <a:gd name="connsiteX1581" fmla="*/ 352267 w 2326130"/>
                <a:gd name="connsiteY1581" fmla="*/ 696240 h 696240"/>
                <a:gd name="connsiteX1582" fmla="*/ 388578 w 2326130"/>
                <a:gd name="connsiteY1582" fmla="*/ 696240 h 696240"/>
                <a:gd name="connsiteX1583" fmla="*/ 392967 w 2326130"/>
                <a:gd name="connsiteY1583" fmla="*/ 691965 h 696240"/>
                <a:gd name="connsiteX1584" fmla="*/ 392967 w 2326130"/>
                <a:gd name="connsiteY1584" fmla="*/ 658148 h 696240"/>
                <a:gd name="connsiteX1585" fmla="*/ 388578 w 2326130"/>
                <a:gd name="connsiteY1585" fmla="*/ 653872 h 696240"/>
                <a:gd name="connsiteX1586" fmla="*/ 388010 w 2326130"/>
                <a:gd name="connsiteY1586" fmla="*/ 653872 h 696240"/>
                <a:gd name="connsiteX1587" fmla="*/ 387613 w 2326130"/>
                <a:gd name="connsiteY1587" fmla="*/ 653872 h 696240"/>
                <a:gd name="connsiteX1588" fmla="*/ 387287 w 2326130"/>
                <a:gd name="connsiteY1588" fmla="*/ 650636 h 696240"/>
                <a:gd name="connsiteX1589" fmla="*/ 370423 w 2326130"/>
                <a:gd name="connsiteY1589" fmla="*/ 636891 h 696240"/>
                <a:gd name="connsiteX1590" fmla="*/ 431909 w 2326130"/>
                <a:gd name="connsiteY1590" fmla="*/ 636891 h 696240"/>
                <a:gd name="connsiteX1591" fmla="*/ 415044 w 2326130"/>
                <a:gd name="connsiteY1591" fmla="*/ 650636 h 696240"/>
                <a:gd name="connsiteX1592" fmla="*/ 414718 w 2326130"/>
                <a:gd name="connsiteY1592" fmla="*/ 653872 h 696240"/>
                <a:gd name="connsiteX1593" fmla="*/ 413753 w 2326130"/>
                <a:gd name="connsiteY1593" fmla="*/ 653872 h 696240"/>
                <a:gd name="connsiteX1594" fmla="*/ 409364 w 2326130"/>
                <a:gd name="connsiteY1594" fmla="*/ 658148 h 696240"/>
                <a:gd name="connsiteX1595" fmla="*/ 409364 w 2326130"/>
                <a:gd name="connsiteY1595" fmla="*/ 691965 h 696240"/>
                <a:gd name="connsiteX1596" fmla="*/ 413753 w 2326130"/>
                <a:gd name="connsiteY1596" fmla="*/ 696240 h 696240"/>
                <a:gd name="connsiteX1597" fmla="*/ 450064 w 2326130"/>
                <a:gd name="connsiteY1597" fmla="*/ 696240 h 696240"/>
                <a:gd name="connsiteX1598" fmla="*/ 454453 w 2326130"/>
                <a:gd name="connsiteY1598" fmla="*/ 691965 h 696240"/>
                <a:gd name="connsiteX1599" fmla="*/ 454453 w 2326130"/>
                <a:gd name="connsiteY1599" fmla="*/ 658148 h 696240"/>
                <a:gd name="connsiteX1600" fmla="*/ 450064 w 2326130"/>
                <a:gd name="connsiteY1600" fmla="*/ 653872 h 696240"/>
                <a:gd name="connsiteX1601" fmla="*/ 449496 w 2326130"/>
                <a:gd name="connsiteY1601" fmla="*/ 653872 h 696240"/>
                <a:gd name="connsiteX1602" fmla="*/ 449099 w 2326130"/>
                <a:gd name="connsiteY1602" fmla="*/ 653872 h 696240"/>
                <a:gd name="connsiteX1603" fmla="*/ 448772 w 2326130"/>
                <a:gd name="connsiteY1603" fmla="*/ 650636 h 696240"/>
                <a:gd name="connsiteX1604" fmla="*/ 431909 w 2326130"/>
                <a:gd name="connsiteY1604" fmla="*/ 636891 h 696240"/>
                <a:gd name="connsiteX1605" fmla="*/ 554930 w 2326130"/>
                <a:gd name="connsiteY1605" fmla="*/ 636891 h 696240"/>
                <a:gd name="connsiteX1606" fmla="*/ 538065 w 2326130"/>
                <a:gd name="connsiteY1606" fmla="*/ 650636 h 696240"/>
                <a:gd name="connsiteX1607" fmla="*/ 537739 w 2326130"/>
                <a:gd name="connsiteY1607" fmla="*/ 653872 h 696240"/>
                <a:gd name="connsiteX1608" fmla="*/ 536774 w 2326130"/>
                <a:gd name="connsiteY1608" fmla="*/ 653872 h 696240"/>
                <a:gd name="connsiteX1609" fmla="*/ 532386 w 2326130"/>
                <a:gd name="connsiteY1609" fmla="*/ 658148 h 696240"/>
                <a:gd name="connsiteX1610" fmla="*/ 532386 w 2326130"/>
                <a:gd name="connsiteY1610" fmla="*/ 691965 h 696240"/>
                <a:gd name="connsiteX1611" fmla="*/ 536774 w 2326130"/>
                <a:gd name="connsiteY1611" fmla="*/ 696240 h 696240"/>
                <a:gd name="connsiteX1612" fmla="*/ 573085 w 2326130"/>
                <a:gd name="connsiteY1612" fmla="*/ 696240 h 696240"/>
                <a:gd name="connsiteX1613" fmla="*/ 577474 w 2326130"/>
                <a:gd name="connsiteY1613" fmla="*/ 691965 h 696240"/>
                <a:gd name="connsiteX1614" fmla="*/ 577474 w 2326130"/>
                <a:gd name="connsiteY1614" fmla="*/ 658148 h 696240"/>
                <a:gd name="connsiteX1615" fmla="*/ 573085 w 2326130"/>
                <a:gd name="connsiteY1615" fmla="*/ 653872 h 696240"/>
                <a:gd name="connsiteX1616" fmla="*/ 572517 w 2326130"/>
                <a:gd name="connsiteY1616" fmla="*/ 653872 h 696240"/>
                <a:gd name="connsiteX1617" fmla="*/ 572120 w 2326130"/>
                <a:gd name="connsiteY1617" fmla="*/ 653872 h 696240"/>
                <a:gd name="connsiteX1618" fmla="*/ 571794 w 2326130"/>
                <a:gd name="connsiteY1618" fmla="*/ 650636 h 696240"/>
                <a:gd name="connsiteX1619" fmla="*/ 554930 w 2326130"/>
                <a:gd name="connsiteY1619" fmla="*/ 636891 h 696240"/>
                <a:gd name="connsiteX1620" fmla="*/ 842160 w 2326130"/>
                <a:gd name="connsiteY1620" fmla="*/ 636891 h 696240"/>
                <a:gd name="connsiteX1621" fmla="*/ 825296 w 2326130"/>
                <a:gd name="connsiteY1621" fmla="*/ 650636 h 696240"/>
                <a:gd name="connsiteX1622" fmla="*/ 824970 w 2326130"/>
                <a:gd name="connsiteY1622" fmla="*/ 653872 h 696240"/>
                <a:gd name="connsiteX1623" fmla="*/ 824005 w 2326130"/>
                <a:gd name="connsiteY1623" fmla="*/ 653872 h 696240"/>
                <a:gd name="connsiteX1624" fmla="*/ 819616 w 2326130"/>
                <a:gd name="connsiteY1624" fmla="*/ 658148 h 696240"/>
                <a:gd name="connsiteX1625" fmla="*/ 819616 w 2326130"/>
                <a:gd name="connsiteY1625" fmla="*/ 691965 h 696240"/>
                <a:gd name="connsiteX1626" fmla="*/ 824005 w 2326130"/>
                <a:gd name="connsiteY1626" fmla="*/ 696240 h 696240"/>
                <a:gd name="connsiteX1627" fmla="*/ 860316 w 2326130"/>
                <a:gd name="connsiteY1627" fmla="*/ 696240 h 696240"/>
                <a:gd name="connsiteX1628" fmla="*/ 864704 w 2326130"/>
                <a:gd name="connsiteY1628" fmla="*/ 691965 h 696240"/>
                <a:gd name="connsiteX1629" fmla="*/ 864704 w 2326130"/>
                <a:gd name="connsiteY1629" fmla="*/ 658148 h 696240"/>
                <a:gd name="connsiteX1630" fmla="*/ 860316 w 2326130"/>
                <a:gd name="connsiteY1630" fmla="*/ 653872 h 696240"/>
                <a:gd name="connsiteX1631" fmla="*/ 859748 w 2326130"/>
                <a:gd name="connsiteY1631" fmla="*/ 653872 h 696240"/>
                <a:gd name="connsiteX1632" fmla="*/ 859350 w 2326130"/>
                <a:gd name="connsiteY1632" fmla="*/ 653872 h 696240"/>
                <a:gd name="connsiteX1633" fmla="*/ 859024 w 2326130"/>
                <a:gd name="connsiteY1633" fmla="*/ 650636 h 696240"/>
                <a:gd name="connsiteX1634" fmla="*/ 842160 w 2326130"/>
                <a:gd name="connsiteY1634" fmla="*/ 636891 h 696240"/>
                <a:gd name="connsiteX1635" fmla="*/ 1016518 w 2326130"/>
                <a:gd name="connsiteY1635" fmla="*/ 636891 h 696240"/>
                <a:gd name="connsiteX1636" fmla="*/ 999654 w 2326130"/>
                <a:gd name="connsiteY1636" fmla="*/ 650636 h 696240"/>
                <a:gd name="connsiteX1637" fmla="*/ 999328 w 2326130"/>
                <a:gd name="connsiteY1637" fmla="*/ 653872 h 696240"/>
                <a:gd name="connsiteX1638" fmla="*/ 998363 w 2326130"/>
                <a:gd name="connsiteY1638" fmla="*/ 653872 h 696240"/>
                <a:gd name="connsiteX1639" fmla="*/ 993974 w 2326130"/>
                <a:gd name="connsiteY1639" fmla="*/ 658148 h 696240"/>
                <a:gd name="connsiteX1640" fmla="*/ 993974 w 2326130"/>
                <a:gd name="connsiteY1640" fmla="*/ 691965 h 696240"/>
                <a:gd name="connsiteX1641" fmla="*/ 998363 w 2326130"/>
                <a:gd name="connsiteY1641" fmla="*/ 696240 h 696240"/>
                <a:gd name="connsiteX1642" fmla="*/ 1034674 w 2326130"/>
                <a:gd name="connsiteY1642" fmla="*/ 696240 h 696240"/>
                <a:gd name="connsiteX1643" fmla="*/ 1039063 w 2326130"/>
                <a:gd name="connsiteY1643" fmla="*/ 691965 h 696240"/>
                <a:gd name="connsiteX1644" fmla="*/ 1039063 w 2326130"/>
                <a:gd name="connsiteY1644" fmla="*/ 658148 h 696240"/>
                <a:gd name="connsiteX1645" fmla="*/ 1034674 w 2326130"/>
                <a:gd name="connsiteY1645" fmla="*/ 653872 h 696240"/>
                <a:gd name="connsiteX1646" fmla="*/ 1034106 w 2326130"/>
                <a:gd name="connsiteY1646" fmla="*/ 653872 h 696240"/>
                <a:gd name="connsiteX1647" fmla="*/ 1033709 w 2326130"/>
                <a:gd name="connsiteY1647" fmla="*/ 653872 h 696240"/>
                <a:gd name="connsiteX1648" fmla="*/ 1033382 w 2326130"/>
                <a:gd name="connsiteY1648" fmla="*/ 650636 h 696240"/>
                <a:gd name="connsiteX1649" fmla="*/ 1016518 w 2326130"/>
                <a:gd name="connsiteY1649" fmla="*/ 636891 h 696240"/>
                <a:gd name="connsiteX1650" fmla="*/ 1078004 w 2326130"/>
                <a:gd name="connsiteY1650" fmla="*/ 636891 h 696240"/>
                <a:gd name="connsiteX1651" fmla="*/ 1061140 w 2326130"/>
                <a:gd name="connsiteY1651" fmla="*/ 650636 h 696240"/>
                <a:gd name="connsiteX1652" fmla="*/ 1060814 w 2326130"/>
                <a:gd name="connsiteY1652" fmla="*/ 653872 h 696240"/>
                <a:gd name="connsiteX1653" fmla="*/ 1059849 w 2326130"/>
                <a:gd name="connsiteY1653" fmla="*/ 653872 h 696240"/>
                <a:gd name="connsiteX1654" fmla="*/ 1055460 w 2326130"/>
                <a:gd name="connsiteY1654" fmla="*/ 658148 h 696240"/>
                <a:gd name="connsiteX1655" fmla="*/ 1055460 w 2326130"/>
                <a:gd name="connsiteY1655" fmla="*/ 691965 h 696240"/>
                <a:gd name="connsiteX1656" fmla="*/ 1059849 w 2326130"/>
                <a:gd name="connsiteY1656" fmla="*/ 696240 h 696240"/>
                <a:gd name="connsiteX1657" fmla="*/ 1096159 w 2326130"/>
                <a:gd name="connsiteY1657" fmla="*/ 696240 h 696240"/>
                <a:gd name="connsiteX1658" fmla="*/ 1100548 w 2326130"/>
                <a:gd name="connsiteY1658" fmla="*/ 691965 h 696240"/>
                <a:gd name="connsiteX1659" fmla="*/ 1100548 w 2326130"/>
                <a:gd name="connsiteY1659" fmla="*/ 658148 h 696240"/>
                <a:gd name="connsiteX1660" fmla="*/ 1096159 w 2326130"/>
                <a:gd name="connsiteY1660" fmla="*/ 653872 h 696240"/>
                <a:gd name="connsiteX1661" fmla="*/ 1095592 w 2326130"/>
                <a:gd name="connsiteY1661" fmla="*/ 653872 h 696240"/>
                <a:gd name="connsiteX1662" fmla="*/ 1095194 w 2326130"/>
                <a:gd name="connsiteY1662" fmla="*/ 653872 h 696240"/>
                <a:gd name="connsiteX1663" fmla="*/ 1094868 w 2326130"/>
                <a:gd name="connsiteY1663" fmla="*/ 650636 h 696240"/>
                <a:gd name="connsiteX1664" fmla="*/ 1078004 w 2326130"/>
                <a:gd name="connsiteY1664" fmla="*/ 636891 h 696240"/>
                <a:gd name="connsiteX1665" fmla="*/ 1252361 w 2326130"/>
                <a:gd name="connsiteY1665" fmla="*/ 636891 h 696240"/>
                <a:gd name="connsiteX1666" fmla="*/ 1235497 w 2326130"/>
                <a:gd name="connsiteY1666" fmla="*/ 650636 h 696240"/>
                <a:gd name="connsiteX1667" fmla="*/ 1235171 w 2326130"/>
                <a:gd name="connsiteY1667" fmla="*/ 653872 h 696240"/>
                <a:gd name="connsiteX1668" fmla="*/ 1234206 w 2326130"/>
                <a:gd name="connsiteY1668" fmla="*/ 653872 h 696240"/>
                <a:gd name="connsiteX1669" fmla="*/ 1229817 w 2326130"/>
                <a:gd name="connsiteY1669" fmla="*/ 658148 h 696240"/>
                <a:gd name="connsiteX1670" fmla="*/ 1229817 w 2326130"/>
                <a:gd name="connsiteY1670" fmla="*/ 691965 h 696240"/>
                <a:gd name="connsiteX1671" fmla="*/ 1234206 w 2326130"/>
                <a:gd name="connsiteY1671" fmla="*/ 696240 h 696240"/>
                <a:gd name="connsiteX1672" fmla="*/ 1270517 w 2326130"/>
                <a:gd name="connsiteY1672" fmla="*/ 696240 h 696240"/>
                <a:gd name="connsiteX1673" fmla="*/ 1274906 w 2326130"/>
                <a:gd name="connsiteY1673" fmla="*/ 691965 h 696240"/>
                <a:gd name="connsiteX1674" fmla="*/ 1274906 w 2326130"/>
                <a:gd name="connsiteY1674" fmla="*/ 658148 h 696240"/>
                <a:gd name="connsiteX1675" fmla="*/ 1270517 w 2326130"/>
                <a:gd name="connsiteY1675" fmla="*/ 653872 h 696240"/>
                <a:gd name="connsiteX1676" fmla="*/ 1269949 w 2326130"/>
                <a:gd name="connsiteY1676" fmla="*/ 653872 h 696240"/>
                <a:gd name="connsiteX1677" fmla="*/ 1269552 w 2326130"/>
                <a:gd name="connsiteY1677" fmla="*/ 653872 h 696240"/>
                <a:gd name="connsiteX1678" fmla="*/ 1269226 w 2326130"/>
                <a:gd name="connsiteY1678" fmla="*/ 650636 h 696240"/>
                <a:gd name="connsiteX1679" fmla="*/ 1252361 w 2326130"/>
                <a:gd name="connsiteY1679" fmla="*/ 636891 h 696240"/>
                <a:gd name="connsiteX1680" fmla="*/ 1313847 w 2326130"/>
                <a:gd name="connsiteY1680" fmla="*/ 636891 h 696240"/>
                <a:gd name="connsiteX1681" fmla="*/ 1296983 w 2326130"/>
                <a:gd name="connsiteY1681" fmla="*/ 650636 h 696240"/>
                <a:gd name="connsiteX1682" fmla="*/ 1296657 w 2326130"/>
                <a:gd name="connsiteY1682" fmla="*/ 653872 h 696240"/>
                <a:gd name="connsiteX1683" fmla="*/ 1295693 w 2326130"/>
                <a:gd name="connsiteY1683" fmla="*/ 653872 h 696240"/>
                <a:gd name="connsiteX1684" fmla="*/ 1291303 w 2326130"/>
                <a:gd name="connsiteY1684" fmla="*/ 658148 h 696240"/>
                <a:gd name="connsiteX1685" fmla="*/ 1291303 w 2326130"/>
                <a:gd name="connsiteY1685" fmla="*/ 691965 h 696240"/>
                <a:gd name="connsiteX1686" fmla="*/ 1295693 w 2326130"/>
                <a:gd name="connsiteY1686" fmla="*/ 696240 h 696240"/>
                <a:gd name="connsiteX1687" fmla="*/ 1332003 w 2326130"/>
                <a:gd name="connsiteY1687" fmla="*/ 696240 h 696240"/>
                <a:gd name="connsiteX1688" fmla="*/ 1336392 w 2326130"/>
                <a:gd name="connsiteY1688" fmla="*/ 691965 h 696240"/>
                <a:gd name="connsiteX1689" fmla="*/ 1336392 w 2326130"/>
                <a:gd name="connsiteY1689" fmla="*/ 658148 h 696240"/>
                <a:gd name="connsiteX1690" fmla="*/ 1332003 w 2326130"/>
                <a:gd name="connsiteY1690" fmla="*/ 653872 h 696240"/>
                <a:gd name="connsiteX1691" fmla="*/ 1331435 w 2326130"/>
                <a:gd name="connsiteY1691" fmla="*/ 653872 h 696240"/>
                <a:gd name="connsiteX1692" fmla="*/ 1331038 w 2326130"/>
                <a:gd name="connsiteY1692" fmla="*/ 653872 h 696240"/>
                <a:gd name="connsiteX1693" fmla="*/ 1330712 w 2326130"/>
                <a:gd name="connsiteY1693" fmla="*/ 650636 h 696240"/>
                <a:gd name="connsiteX1694" fmla="*/ 1313847 w 2326130"/>
                <a:gd name="connsiteY1694" fmla="*/ 636891 h 696240"/>
                <a:gd name="connsiteX1695" fmla="*/ 1488205 w 2326130"/>
                <a:gd name="connsiteY1695" fmla="*/ 636891 h 696240"/>
                <a:gd name="connsiteX1696" fmla="*/ 1471341 w 2326130"/>
                <a:gd name="connsiteY1696" fmla="*/ 650636 h 696240"/>
                <a:gd name="connsiteX1697" fmla="*/ 1471015 w 2326130"/>
                <a:gd name="connsiteY1697" fmla="*/ 653872 h 696240"/>
                <a:gd name="connsiteX1698" fmla="*/ 1470050 w 2326130"/>
                <a:gd name="connsiteY1698" fmla="*/ 653872 h 696240"/>
                <a:gd name="connsiteX1699" fmla="*/ 1465661 w 2326130"/>
                <a:gd name="connsiteY1699" fmla="*/ 658148 h 696240"/>
                <a:gd name="connsiteX1700" fmla="*/ 1465661 w 2326130"/>
                <a:gd name="connsiteY1700" fmla="*/ 691965 h 696240"/>
                <a:gd name="connsiteX1701" fmla="*/ 1470050 w 2326130"/>
                <a:gd name="connsiteY1701" fmla="*/ 696240 h 696240"/>
                <a:gd name="connsiteX1702" fmla="*/ 1506361 w 2326130"/>
                <a:gd name="connsiteY1702" fmla="*/ 696240 h 696240"/>
                <a:gd name="connsiteX1703" fmla="*/ 1510750 w 2326130"/>
                <a:gd name="connsiteY1703" fmla="*/ 691965 h 696240"/>
                <a:gd name="connsiteX1704" fmla="*/ 1510750 w 2326130"/>
                <a:gd name="connsiteY1704" fmla="*/ 658148 h 696240"/>
                <a:gd name="connsiteX1705" fmla="*/ 1506361 w 2326130"/>
                <a:gd name="connsiteY1705" fmla="*/ 653872 h 696240"/>
                <a:gd name="connsiteX1706" fmla="*/ 1505793 w 2326130"/>
                <a:gd name="connsiteY1706" fmla="*/ 653872 h 696240"/>
                <a:gd name="connsiteX1707" fmla="*/ 1505396 w 2326130"/>
                <a:gd name="connsiteY1707" fmla="*/ 653872 h 696240"/>
                <a:gd name="connsiteX1708" fmla="*/ 1505069 w 2326130"/>
                <a:gd name="connsiteY1708" fmla="*/ 650636 h 696240"/>
                <a:gd name="connsiteX1709" fmla="*/ 1488205 w 2326130"/>
                <a:gd name="connsiteY1709" fmla="*/ 636891 h 696240"/>
                <a:gd name="connsiteX1710" fmla="*/ 1775436 w 2326130"/>
                <a:gd name="connsiteY1710" fmla="*/ 636891 h 696240"/>
                <a:gd name="connsiteX1711" fmla="*/ 1758572 w 2326130"/>
                <a:gd name="connsiteY1711" fmla="*/ 650636 h 696240"/>
                <a:gd name="connsiteX1712" fmla="*/ 1758246 w 2326130"/>
                <a:gd name="connsiteY1712" fmla="*/ 653872 h 696240"/>
                <a:gd name="connsiteX1713" fmla="*/ 1757280 w 2326130"/>
                <a:gd name="connsiteY1713" fmla="*/ 653872 h 696240"/>
                <a:gd name="connsiteX1714" fmla="*/ 1752892 w 2326130"/>
                <a:gd name="connsiteY1714" fmla="*/ 658148 h 696240"/>
                <a:gd name="connsiteX1715" fmla="*/ 1752892 w 2326130"/>
                <a:gd name="connsiteY1715" fmla="*/ 691965 h 696240"/>
                <a:gd name="connsiteX1716" fmla="*/ 1757280 w 2326130"/>
                <a:gd name="connsiteY1716" fmla="*/ 696240 h 696240"/>
                <a:gd name="connsiteX1717" fmla="*/ 1793591 w 2326130"/>
                <a:gd name="connsiteY1717" fmla="*/ 696240 h 696240"/>
                <a:gd name="connsiteX1718" fmla="*/ 1797980 w 2326130"/>
                <a:gd name="connsiteY1718" fmla="*/ 691965 h 696240"/>
                <a:gd name="connsiteX1719" fmla="*/ 1797980 w 2326130"/>
                <a:gd name="connsiteY1719" fmla="*/ 658148 h 696240"/>
                <a:gd name="connsiteX1720" fmla="*/ 1793591 w 2326130"/>
                <a:gd name="connsiteY1720" fmla="*/ 653872 h 696240"/>
                <a:gd name="connsiteX1721" fmla="*/ 1793023 w 2326130"/>
                <a:gd name="connsiteY1721" fmla="*/ 653872 h 696240"/>
                <a:gd name="connsiteX1722" fmla="*/ 1792626 w 2326130"/>
                <a:gd name="connsiteY1722" fmla="*/ 653872 h 696240"/>
                <a:gd name="connsiteX1723" fmla="*/ 1792300 w 2326130"/>
                <a:gd name="connsiteY1723" fmla="*/ 650636 h 696240"/>
                <a:gd name="connsiteX1724" fmla="*/ 1775436 w 2326130"/>
                <a:gd name="connsiteY1724" fmla="*/ 636891 h 696240"/>
                <a:gd name="connsiteX1725" fmla="*/ 1836922 w 2326130"/>
                <a:gd name="connsiteY1725" fmla="*/ 636891 h 696240"/>
                <a:gd name="connsiteX1726" fmla="*/ 1820058 w 2326130"/>
                <a:gd name="connsiteY1726" fmla="*/ 650636 h 696240"/>
                <a:gd name="connsiteX1727" fmla="*/ 1819731 w 2326130"/>
                <a:gd name="connsiteY1727" fmla="*/ 653872 h 696240"/>
                <a:gd name="connsiteX1728" fmla="*/ 1818766 w 2326130"/>
                <a:gd name="connsiteY1728" fmla="*/ 653872 h 696240"/>
                <a:gd name="connsiteX1729" fmla="*/ 1814377 w 2326130"/>
                <a:gd name="connsiteY1729" fmla="*/ 658148 h 696240"/>
                <a:gd name="connsiteX1730" fmla="*/ 1814377 w 2326130"/>
                <a:gd name="connsiteY1730" fmla="*/ 691965 h 696240"/>
                <a:gd name="connsiteX1731" fmla="*/ 1818766 w 2326130"/>
                <a:gd name="connsiteY1731" fmla="*/ 696240 h 696240"/>
                <a:gd name="connsiteX1732" fmla="*/ 1855077 w 2326130"/>
                <a:gd name="connsiteY1732" fmla="*/ 696240 h 696240"/>
                <a:gd name="connsiteX1733" fmla="*/ 1859466 w 2326130"/>
                <a:gd name="connsiteY1733" fmla="*/ 691965 h 696240"/>
                <a:gd name="connsiteX1734" fmla="*/ 1859466 w 2326130"/>
                <a:gd name="connsiteY1734" fmla="*/ 658148 h 696240"/>
                <a:gd name="connsiteX1735" fmla="*/ 1855077 w 2326130"/>
                <a:gd name="connsiteY1735" fmla="*/ 653872 h 696240"/>
                <a:gd name="connsiteX1736" fmla="*/ 1854509 w 2326130"/>
                <a:gd name="connsiteY1736" fmla="*/ 653872 h 696240"/>
                <a:gd name="connsiteX1737" fmla="*/ 1854112 w 2326130"/>
                <a:gd name="connsiteY1737" fmla="*/ 653872 h 696240"/>
                <a:gd name="connsiteX1738" fmla="*/ 1853785 w 2326130"/>
                <a:gd name="connsiteY1738" fmla="*/ 650636 h 696240"/>
                <a:gd name="connsiteX1739" fmla="*/ 1836922 w 2326130"/>
                <a:gd name="connsiteY1739" fmla="*/ 636891 h 696240"/>
                <a:gd name="connsiteX1740" fmla="*/ 1959943 w 2326130"/>
                <a:gd name="connsiteY1740" fmla="*/ 636891 h 696240"/>
                <a:gd name="connsiteX1741" fmla="*/ 1943079 w 2326130"/>
                <a:gd name="connsiteY1741" fmla="*/ 650636 h 696240"/>
                <a:gd name="connsiteX1742" fmla="*/ 1942753 w 2326130"/>
                <a:gd name="connsiteY1742" fmla="*/ 653872 h 696240"/>
                <a:gd name="connsiteX1743" fmla="*/ 1941788 w 2326130"/>
                <a:gd name="connsiteY1743" fmla="*/ 653872 h 696240"/>
                <a:gd name="connsiteX1744" fmla="*/ 1937399 w 2326130"/>
                <a:gd name="connsiteY1744" fmla="*/ 658148 h 696240"/>
                <a:gd name="connsiteX1745" fmla="*/ 1937399 w 2326130"/>
                <a:gd name="connsiteY1745" fmla="*/ 691965 h 696240"/>
                <a:gd name="connsiteX1746" fmla="*/ 1941788 w 2326130"/>
                <a:gd name="connsiteY1746" fmla="*/ 696240 h 696240"/>
                <a:gd name="connsiteX1747" fmla="*/ 1978098 w 2326130"/>
                <a:gd name="connsiteY1747" fmla="*/ 696240 h 696240"/>
                <a:gd name="connsiteX1748" fmla="*/ 1982487 w 2326130"/>
                <a:gd name="connsiteY1748" fmla="*/ 691965 h 696240"/>
                <a:gd name="connsiteX1749" fmla="*/ 1982487 w 2326130"/>
                <a:gd name="connsiteY1749" fmla="*/ 658148 h 696240"/>
                <a:gd name="connsiteX1750" fmla="*/ 1978098 w 2326130"/>
                <a:gd name="connsiteY1750" fmla="*/ 653872 h 696240"/>
                <a:gd name="connsiteX1751" fmla="*/ 1977531 w 2326130"/>
                <a:gd name="connsiteY1751" fmla="*/ 653872 h 696240"/>
                <a:gd name="connsiteX1752" fmla="*/ 1977133 w 2326130"/>
                <a:gd name="connsiteY1752" fmla="*/ 653872 h 696240"/>
                <a:gd name="connsiteX1753" fmla="*/ 1976807 w 2326130"/>
                <a:gd name="connsiteY1753" fmla="*/ 650636 h 696240"/>
                <a:gd name="connsiteX1754" fmla="*/ 1959943 w 2326130"/>
                <a:gd name="connsiteY1754" fmla="*/ 636891 h 696240"/>
                <a:gd name="connsiteX1755" fmla="*/ 2247173 w 2326130"/>
                <a:gd name="connsiteY1755" fmla="*/ 636891 h 696240"/>
                <a:gd name="connsiteX1756" fmla="*/ 2230309 w 2326130"/>
                <a:gd name="connsiteY1756" fmla="*/ 650636 h 696240"/>
                <a:gd name="connsiteX1757" fmla="*/ 2229983 w 2326130"/>
                <a:gd name="connsiteY1757" fmla="*/ 653872 h 696240"/>
                <a:gd name="connsiteX1758" fmla="*/ 2229018 w 2326130"/>
                <a:gd name="connsiteY1758" fmla="*/ 653872 h 696240"/>
                <a:gd name="connsiteX1759" fmla="*/ 2224629 w 2326130"/>
                <a:gd name="connsiteY1759" fmla="*/ 658148 h 696240"/>
                <a:gd name="connsiteX1760" fmla="*/ 2224629 w 2326130"/>
                <a:gd name="connsiteY1760" fmla="*/ 691965 h 696240"/>
                <a:gd name="connsiteX1761" fmla="*/ 2229018 w 2326130"/>
                <a:gd name="connsiteY1761" fmla="*/ 696240 h 696240"/>
                <a:gd name="connsiteX1762" fmla="*/ 2265329 w 2326130"/>
                <a:gd name="connsiteY1762" fmla="*/ 696240 h 696240"/>
                <a:gd name="connsiteX1763" fmla="*/ 2269717 w 2326130"/>
                <a:gd name="connsiteY1763" fmla="*/ 691965 h 696240"/>
                <a:gd name="connsiteX1764" fmla="*/ 2269717 w 2326130"/>
                <a:gd name="connsiteY1764" fmla="*/ 658148 h 696240"/>
                <a:gd name="connsiteX1765" fmla="*/ 2265329 w 2326130"/>
                <a:gd name="connsiteY1765" fmla="*/ 653872 h 696240"/>
                <a:gd name="connsiteX1766" fmla="*/ 2264761 w 2326130"/>
                <a:gd name="connsiteY1766" fmla="*/ 653872 h 696240"/>
                <a:gd name="connsiteX1767" fmla="*/ 2264363 w 2326130"/>
                <a:gd name="connsiteY1767" fmla="*/ 653872 h 696240"/>
                <a:gd name="connsiteX1768" fmla="*/ 2264038 w 2326130"/>
                <a:gd name="connsiteY1768" fmla="*/ 650636 h 696240"/>
                <a:gd name="connsiteX1769" fmla="*/ 2247173 w 2326130"/>
                <a:gd name="connsiteY1769" fmla="*/ 636891 h 696240"/>
                <a:gd name="connsiteX1770" fmla="*/ 18915 w 2326130"/>
                <a:gd name="connsiteY1770" fmla="*/ 584256 h 696240"/>
                <a:gd name="connsiteX1771" fmla="*/ 26772 w 2326130"/>
                <a:gd name="connsiteY1771" fmla="*/ 585911 h 696240"/>
                <a:gd name="connsiteX1772" fmla="*/ 28945 w 2326130"/>
                <a:gd name="connsiteY1772" fmla="*/ 588302 h 696240"/>
                <a:gd name="connsiteX1773" fmla="*/ 30450 w 2326130"/>
                <a:gd name="connsiteY1773" fmla="*/ 590877 h 696240"/>
                <a:gd name="connsiteX1774" fmla="*/ 31118 w 2326130"/>
                <a:gd name="connsiteY1774" fmla="*/ 592715 h 696240"/>
                <a:gd name="connsiteX1775" fmla="*/ 31787 w 2326130"/>
                <a:gd name="connsiteY1775" fmla="*/ 595474 h 696240"/>
                <a:gd name="connsiteX1776" fmla="*/ 32456 w 2326130"/>
                <a:gd name="connsiteY1776" fmla="*/ 600255 h 696240"/>
                <a:gd name="connsiteX1777" fmla="*/ 31787 w 2326130"/>
                <a:gd name="connsiteY1777" fmla="*/ 605220 h 696240"/>
                <a:gd name="connsiteX1778" fmla="*/ 30951 w 2326130"/>
                <a:gd name="connsiteY1778" fmla="*/ 607794 h 696240"/>
                <a:gd name="connsiteX1779" fmla="*/ 29446 w 2326130"/>
                <a:gd name="connsiteY1779" fmla="*/ 610737 h 696240"/>
                <a:gd name="connsiteX1780" fmla="*/ 27106 w 2326130"/>
                <a:gd name="connsiteY1780" fmla="*/ 613679 h 696240"/>
                <a:gd name="connsiteX1781" fmla="*/ 24097 w 2326130"/>
                <a:gd name="connsiteY1781" fmla="*/ 615518 h 696240"/>
                <a:gd name="connsiteX1782" fmla="*/ 15738 w 2326130"/>
                <a:gd name="connsiteY1782" fmla="*/ 613863 h 696240"/>
                <a:gd name="connsiteX1783" fmla="*/ 13565 w 2326130"/>
                <a:gd name="connsiteY1783" fmla="*/ 611472 h 696240"/>
                <a:gd name="connsiteX1784" fmla="*/ 11893 w 2326130"/>
                <a:gd name="connsiteY1784" fmla="*/ 608530 h 696240"/>
                <a:gd name="connsiteX1785" fmla="*/ 11224 w 2326130"/>
                <a:gd name="connsiteY1785" fmla="*/ 607059 h 696240"/>
                <a:gd name="connsiteX1786" fmla="*/ 10389 w 2326130"/>
                <a:gd name="connsiteY1786" fmla="*/ 604117 h 696240"/>
                <a:gd name="connsiteX1787" fmla="*/ 10722 w 2326130"/>
                <a:gd name="connsiteY1787" fmla="*/ 594738 h 696240"/>
                <a:gd name="connsiteX1788" fmla="*/ 11392 w 2326130"/>
                <a:gd name="connsiteY1788" fmla="*/ 592715 h 696240"/>
                <a:gd name="connsiteX1789" fmla="*/ 12227 w 2326130"/>
                <a:gd name="connsiteY1789" fmla="*/ 590692 h 696240"/>
                <a:gd name="connsiteX1790" fmla="*/ 13732 w 2326130"/>
                <a:gd name="connsiteY1790" fmla="*/ 588302 h 696240"/>
                <a:gd name="connsiteX1791" fmla="*/ 16240 w 2326130"/>
                <a:gd name="connsiteY1791" fmla="*/ 585727 h 696240"/>
                <a:gd name="connsiteX1792" fmla="*/ 18915 w 2326130"/>
                <a:gd name="connsiteY1792" fmla="*/ 584256 h 696240"/>
                <a:gd name="connsiteX1793" fmla="*/ 2300827 w 2326130"/>
                <a:gd name="connsiteY1793" fmla="*/ 578264 h 696240"/>
                <a:gd name="connsiteX1794" fmla="*/ 2308684 w 2326130"/>
                <a:gd name="connsiteY1794" fmla="*/ 579918 h 696240"/>
                <a:gd name="connsiteX1795" fmla="*/ 2310857 w 2326130"/>
                <a:gd name="connsiteY1795" fmla="*/ 582309 h 696240"/>
                <a:gd name="connsiteX1796" fmla="*/ 2312362 w 2326130"/>
                <a:gd name="connsiteY1796" fmla="*/ 584884 h 696240"/>
                <a:gd name="connsiteX1797" fmla="*/ 2313031 w 2326130"/>
                <a:gd name="connsiteY1797" fmla="*/ 586722 h 696240"/>
                <a:gd name="connsiteX1798" fmla="*/ 2313699 w 2326130"/>
                <a:gd name="connsiteY1798" fmla="*/ 589481 h 696240"/>
                <a:gd name="connsiteX1799" fmla="*/ 2314368 w 2326130"/>
                <a:gd name="connsiteY1799" fmla="*/ 594262 h 696240"/>
                <a:gd name="connsiteX1800" fmla="*/ 2313699 w 2326130"/>
                <a:gd name="connsiteY1800" fmla="*/ 599227 h 696240"/>
                <a:gd name="connsiteX1801" fmla="*/ 2312864 w 2326130"/>
                <a:gd name="connsiteY1801" fmla="*/ 601801 h 696240"/>
                <a:gd name="connsiteX1802" fmla="*/ 2311359 w 2326130"/>
                <a:gd name="connsiteY1802" fmla="*/ 604744 h 696240"/>
                <a:gd name="connsiteX1803" fmla="*/ 2309019 w 2326130"/>
                <a:gd name="connsiteY1803" fmla="*/ 607687 h 696240"/>
                <a:gd name="connsiteX1804" fmla="*/ 2306009 w 2326130"/>
                <a:gd name="connsiteY1804" fmla="*/ 609525 h 696240"/>
                <a:gd name="connsiteX1805" fmla="*/ 2297650 w 2326130"/>
                <a:gd name="connsiteY1805" fmla="*/ 607870 h 696240"/>
                <a:gd name="connsiteX1806" fmla="*/ 2295477 w 2326130"/>
                <a:gd name="connsiteY1806" fmla="*/ 605480 h 696240"/>
                <a:gd name="connsiteX1807" fmla="*/ 2293806 w 2326130"/>
                <a:gd name="connsiteY1807" fmla="*/ 602537 h 696240"/>
                <a:gd name="connsiteX1808" fmla="*/ 2293136 w 2326130"/>
                <a:gd name="connsiteY1808" fmla="*/ 601066 h 696240"/>
                <a:gd name="connsiteX1809" fmla="*/ 2292300 w 2326130"/>
                <a:gd name="connsiteY1809" fmla="*/ 598124 h 696240"/>
                <a:gd name="connsiteX1810" fmla="*/ 2292635 w 2326130"/>
                <a:gd name="connsiteY1810" fmla="*/ 588745 h 696240"/>
                <a:gd name="connsiteX1811" fmla="*/ 2293304 w 2326130"/>
                <a:gd name="connsiteY1811" fmla="*/ 586722 h 696240"/>
                <a:gd name="connsiteX1812" fmla="*/ 2294140 w 2326130"/>
                <a:gd name="connsiteY1812" fmla="*/ 584700 h 696240"/>
                <a:gd name="connsiteX1813" fmla="*/ 2295644 w 2326130"/>
                <a:gd name="connsiteY1813" fmla="*/ 582309 h 696240"/>
                <a:gd name="connsiteX1814" fmla="*/ 2298152 w 2326130"/>
                <a:gd name="connsiteY1814" fmla="*/ 579735 h 696240"/>
                <a:gd name="connsiteX1815" fmla="*/ 2300827 w 2326130"/>
                <a:gd name="connsiteY1815" fmla="*/ 578264 h 696240"/>
                <a:gd name="connsiteX1816" fmla="*/ 22592 w 2326130"/>
                <a:gd name="connsiteY1816" fmla="*/ 573406 h 696240"/>
                <a:gd name="connsiteX1817" fmla="*/ 14233 w 2326130"/>
                <a:gd name="connsiteY1817" fmla="*/ 574877 h 696240"/>
                <a:gd name="connsiteX1818" fmla="*/ 9218 w 2326130"/>
                <a:gd name="connsiteY1818" fmla="*/ 578004 h 696240"/>
                <a:gd name="connsiteX1819" fmla="*/ 6878 w 2326130"/>
                <a:gd name="connsiteY1819" fmla="*/ 580210 h 696240"/>
                <a:gd name="connsiteX1820" fmla="*/ 4537 w 2326130"/>
                <a:gd name="connsiteY1820" fmla="*/ 583153 h 696240"/>
                <a:gd name="connsiteX1821" fmla="*/ 3200 w 2326130"/>
                <a:gd name="connsiteY1821" fmla="*/ 585543 h 696240"/>
                <a:gd name="connsiteX1822" fmla="*/ 1695 w 2326130"/>
                <a:gd name="connsiteY1822" fmla="*/ 589221 h 696240"/>
                <a:gd name="connsiteX1823" fmla="*/ 1027 w 2326130"/>
                <a:gd name="connsiteY1823" fmla="*/ 591612 h 696240"/>
                <a:gd name="connsiteX1824" fmla="*/ 357 w 2326130"/>
                <a:gd name="connsiteY1824" fmla="*/ 595106 h 696240"/>
                <a:gd name="connsiteX1825" fmla="*/ 525 w 2326130"/>
                <a:gd name="connsiteY1825" fmla="*/ 604852 h 696240"/>
                <a:gd name="connsiteX1826" fmla="*/ 1193 w 2326130"/>
                <a:gd name="connsiteY1826" fmla="*/ 608162 h 696240"/>
                <a:gd name="connsiteX1827" fmla="*/ 2030 w 2326130"/>
                <a:gd name="connsiteY1827" fmla="*/ 610737 h 696240"/>
                <a:gd name="connsiteX1828" fmla="*/ 2698 w 2326130"/>
                <a:gd name="connsiteY1828" fmla="*/ 612392 h 696240"/>
                <a:gd name="connsiteX1829" fmla="*/ 4203 w 2326130"/>
                <a:gd name="connsiteY1829" fmla="*/ 615334 h 696240"/>
                <a:gd name="connsiteX1830" fmla="*/ 5707 w 2326130"/>
                <a:gd name="connsiteY1830" fmla="*/ 617540 h 696240"/>
                <a:gd name="connsiteX1831" fmla="*/ 8048 w 2326130"/>
                <a:gd name="connsiteY1831" fmla="*/ 620115 h 696240"/>
                <a:gd name="connsiteX1832" fmla="*/ 10221 w 2326130"/>
                <a:gd name="connsiteY1832" fmla="*/ 621954 h 696240"/>
                <a:gd name="connsiteX1833" fmla="*/ 14066 w 2326130"/>
                <a:gd name="connsiteY1833" fmla="*/ 624161 h 696240"/>
                <a:gd name="connsiteX1834" fmla="*/ 19416 w 2326130"/>
                <a:gd name="connsiteY1834" fmla="*/ 625632 h 696240"/>
                <a:gd name="connsiteX1835" fmla="*/ 20252 w 2326130"/>
                <a:gd name="connsiteY1835" fmla="*/ 625816 h 696240"/>
                <a:gd name="connsiteX1836" fmla="*/ 23094 w 2326130"/>
                <a:gd name="connsiteY1836" fmla="*/ 625816 h 696240"/>
                <a:gd name="connsiteX1837" fmla="*/ 23261 w 2326130"/>
                <a:gd name="connsiteY1837" fmla="*/ 625816 h 696240"/>
                <a:gd name="connsiteX1838" fmla="*/ 32121 w 2326130"/>
                <a:gd name="connsiteY1838" fmla="*/ 622506 h 696240"/>
                <a:gd name="connsiteX1839" fmla="*/ 35298 w 2326130"/>
                <a:gd name="connsiteY1839" fmla="*/ 619747 h 696240"/>
                <a:gd name="connsiteX1840" fmla="*/ 37471 w 2326130"/>
                <a:gd name="connsiteY1840" fmla="*/ 617173 h 696240"/>
                <a:gd name="connsiteX1841" fmla="*/ 38976 w 2326130"/>
                <a:gd name="connsiteY1841" fmla="*/ 614782 h 696240"/>
                <a:gd name="connsiteX1842" fmla="*/ 40480 w 2326130"/>
                <a:gd name="connsiteY1842" fmla="*/ 611840 h 696240"/>
                <a:gd name="connsiteX1843" fmla="*/ 41316 w 2326130"/>
                <a:gd name="connsiteY1843" fmla="*/ 609817 h 696240"/>
                <a:gd name="connsiteX1844" fmla="*/ 41985 w 2326130"/>
                <a:gd name="connsiteY1844" fmla="*/ 607610 h 696240"/>
                <a:gd name="connsiteX1845" fmla="*/ 42821 w 2326130"/>
                <a:gd name="connsiteY1845" fmla="*/ 603749 h 696240"/>
                <a:gd name="connsiteX1846" fmla="*/ 42988 w 2326130"/>
                <a:gd name="connsiteY1846" fmla="*/ 601726 h 696240"/>
                <a:gd name="connsiteX1847" fmla="*/ 42821 w 2326130"/>
                <a:gd name="connsiteY1847" fmla="*/ 601910 h 696240"/>
                <a:gd name="connsiteX1848" fmla="*/ 42821 w 2326130"/>
                <a:gd name="connsiteY1848" fmla="*/ 598048 h 696240"/>
                <a:gd name="connsiteX1849" fmla="*/ 42821 w 2326130"/>
                <a:gd name="connsiteY1849" fmla="*/ 597864 h 696240"/>
                <a:gd name="connsiteX1850" fmla="*/ 42487 w 2326130"/>
                <a:gd name="connsiteY1850" fmla="*/ 594738 h 696240"/>
                <a:gd name="connsiteX1851" fmla="*/ 41651 w 2326130"/>
                <a:gd name="connsiteY1851" fmla="*/ 591060 h 696240"/>
                <a:gd name="connsiteX1852" fmla="*/ 40982 w 2326130"/>
                <a:gd name="connsiteY1852" fmla="*/ 588853 h 696240"/>
                <a:gd name="connsiteX1853" fmla="*/ 39478 w 2326130"/>
                <a:gd name="connsiteY1853" fmla="*/ 585359 h 696240"/>
                <a:gd name="connsiteX1854" fmla="*/ 37973 w 2326130"/>
                <a:gd name="connsiteY1854" fmla="*/ 582785 h 696240"/>
                <a:gd name="connsiteX1855" fmla="*/ 36468 w 2326130"/>
                <a:gd name="connsiteY1855" fmla="*/ 580762 h 696240"/>
                <a:gd name="connsiteX1856" fmla="*/ 34964 w 2326130"/>
                <a:gd name="connsiteY1856" fmla="*/ 579107 h 696240"/>
                <a:gd name="connsiteX1857" fmla="*/ 31787 w 2326130"/>
                <a:gd name="connsiteY1857" fmla="*/ 576533 h 696240"/>
                <a:gd name="connsiteX1858" fmla="*/ 29113 w 2326130"/>
                <a:gd name="connsiteY1858" fmla="*/ 575062 h 696240"/>
                <a:gd name="connsiteX1859" fmla="*/ 22592 w 2326130"/>
                <a:gd name="connsiteY1859" fmla="*/ 573406 h 696240"/>
                <a:gd name="connsiteX1860" fmla="*/ 2304505 w 2326130"/>
                <a:gd name="connsiteY1860" fmla="*/ 567413 h 696240"/>
                <a:gd name="connsiteX1861" fmla="*/ 2296145 w 2326130"/>
                <a:gd name="connsiteY1861" fmla="*/ 568885 h 696240"/>
                <a:gd name="connsiteX1862" fmla="*/ 2291130 w 2326130"/>
                <a:gd name="connsiteY1862" fmla="*/ 572011 h 696240"/>
                <a:gd name="connsiteX1863" fmla="*/ 2288790 w 2326130"/>
                <a:gd name="connsiteY1863" fmla="*/ 574217 h 696240"/>
                <a:gd name="connsiteX1864" fmla="*/ 2286449 w 2326130"/>
                <a:gd name="connsiteY1864" fmla="*/ 577160 h 696240"/>
                <a:gd name="connsiteX1865" fmla="*/ 2285112 w 2326130"/>
                <a:gd name="connsiteY1865" fmla="*/ 579550 h 696240"/>
                <a:gd name="connsiteX1866" fmla="*/ 2283607 w 2326130"/>
                <a:gd name="connsiteY1866" fmla="*/ 583229 h 696240"/>
                <a:gd name="connsiteX1867" fmla="*/ 2282938 w 2326130"/>
                <a:gd name="connsiteY1867" fmla="*/ 585619 h 696240"/>
                <a:gd name="connsiteX1868" fmla="*/ 2282270 w 2326130"/>
                <a:gd name="connsiteY1868" fmla="*/ 589113 h 696240"/>
                <a:gd name="connsiteX1869" fmla="*/ 2282437 w 2326130"/>
                <a:gd name="connsiteY1869" fmla="*/ 598859 h 696240"/>
                <a:gd name="connsiteX1870" fmla="*/ 2283106 w 2326130"/>
                <a:gd name="connsiteY1870" fmla="*/ 602169 h 696240"/>
                <a:gd name="connsiteX1871" fmla="*/ 2283942 w 2326130"/>
                <a:gd name="connsiteY1871" fmla="*/ 604744 h 696240"/>
                <a:gd name="connsiteX1872" fmla="*/ 2284610 w 2326130"/>
                <a:gd name="connsiteY1872" fmla="*/ 606399 h 696240"/>
                <a:gd name="connsiteX1873" fmla="*/ 2286115 w 2326130"/>
                <a:gd name="connsiteY1873" fmla="*/ 609341 h 696240"/>
                <a:gd name="connsiteX1874" fmla="*/ 2287620 w 2326130"/>
                <a:gd name="connsiteY1874" fmla="*/ 611548 h 696240"/>
                <a:gd name="connsiteX1875" fmla="*/ 2289960 w 2326130"/>
                <a:gd name="connsiteY1875" fmla="*/ 614123 h 696240"/>
                <a:gd name="connsiteX1876" fmla="*/ 2292133 w 2326130"/>
                <a:gd name="connsiteY1876" fmla="*/ 615962 h 696240"/>
                <a:gd name="connsiteX1877" fmla="*/ 2295979 w 2326130"/>
                <a:gd name="connsiteY1877" fmla="*/ 618168 h 696240"/>
                <a:gd name="connsiteX1878" fmla="*/ 2301328 w 2326130"/>
                <a:gd name="connsiteY1878" fmla="*/ 619639 h 696240"/>
                <a:gd name="connsiteX1879" fmla="*/ 2302164 w 2326130"/>
                <a:gd name="connsiteY1879" fmla="*/ 619824 h 696240"/>
                <a:gd name="connsiteX1880" fmla="*/ 2305006 w 2326130"/>
                <a:gd name="connsiteY1880" fmla="*/ 619824 h 696240"/>
                <a:gd name="connsiteX1881" fmla="*/ 2305173 w 2326130"/>
                <a:gd name="connsiteY1881" fmla="*/ 619824 h 696240"/>
                <a:gd name="connsiteX1882" fmla="*/ 2314034 w 2326130"/>
                <a:gd name="connsiteY1882" fmla="*/ 616513 h 696240"/>
                <a:gd name="connsiteX1883" fmla="*/ 2317210 w 2326130"/>
                <a:gd name="connsiteY1883" fmla="*/ 613755 h 696240"/>
                <a:gd name="connsiteX1884" fmla="*/ 2319384 w 2326130"/>
                <a:gd name="connsiteY1884" fmla="*/ 611180 h 696240"/>
                <a:gd name="connsiteX1885" fmla="*/ 2320888 w 2326130"/>
                <a:gd name="connsiteY1885" fmla="*/ 608790 h 696240"/>
                <a:gd name="connsiteX1886" fmla="*/ 2322393 w 2326130"/>
                <a:gd name="connsiteY1886" fmla="*/ 605848 h 696240"/>
                <a:gd name="connsiteX1887" fmla="*/ 2323229 w 2326130"/>
                <a:gd name="connsiteY1887" fmla="*/ 603825 h 696240"/>
                <a:gd name="connsiteX1888" fmla="*/ 2323897 w 2326130"/>
                <a:gd name="connsiteY1888" fmla="*/ 601618 h 696240"/>
                <a:gd name="connsiteX1889" fmla="*/ 2324733 w 2326130"/>
                <a:gd name="connsiteY1889" fmla="*/ 597756 h 696240"/>
                <a:gd name="connsiteX1890" fmla="*/ 2324900 w 2326130"/>
                <a:gd name="connsiteY1890" fmla="*/ 595733 h 696240"/>
                <a:gd name="connsiteX1891" fmla="*/ 2324733 w 2326130"/>
                <a:gd name="connsiteY1891" fmla="*/ 595917 h 696240"/>
                <a:gd name="connsiteX1892" fmla="*/ 2324733 w 2326130"/>
                <a:gd name="connsiteY1892" fmla="*/ 592055 h 696240"/>
                <a:gd name="connsiteX1893" fmla="*/ 2324733 w 2326130"/>
                <a:gd name="connsiteY1893" fmla="*/ 591872 h 696240"/>
                <a:gd name="connsiteX1894" fmla="*/ 2324399 w 2326130"/>
                <a:gd name="connsiteY1894" fmla="*/ 588745 h 696240"/>
                <a:gd name="connsiteX1895" fmla="*/ 2323563 w 2326130"/>
                <a:gd name="connsiteY1895" fmla="*/ 585068 h 696240"/>
                <a:gd name="connsiteX1896" fmla="*/ 2322894 w 2326130"/>
                <a:gd name="connsiteY1896" fmla="*/ 582861 h 696240"/>
                <a:gd name="connsiteX1897" fmla="*/ 2321390 w 2326130"/>
                <a:gd name="connsiteY1897" fmla="*/ 579367 h 696240"/>
                <a:gd name="connsiteX1898" fmla="*/ 2319885 w 2326130"/>
                <a:gd name="connsiteY1898" fmla="*/ 576792 h 696240"/>
                <a:gd name="connsiteX1899" fmla="*/ 2318380 w 2326130"/>
                <a:gd name="connsiteY1899" fmla="*/ 574769 h 696240"/>
                <a:gd name="connsiteX1900" fmla="*/ 2316876 w 2326130"/>
                <a:gd name="connsiteY1900" fmla="*/ 573114 h 696240"/>
                <a:gd name="connsiteX1901" fmla="*/ 2313699 w 2326130"/>
                <a:gd name="connsiteY1901" fmla="*/ 570540 h 696240"/>
                <a:gd name="connsiteX1902" fmla="*/ 2311024 w 2326130"/>
                <a:gd name="connsiteY1902" fmla="*/ 569069 h 696240"/>
                <a:gd name="connsiteX1903" fmla="*/ 2304505 w 2326130"/>
                <a:gd name="connsiteY1903" fmla="*/ 567413 h 696240"/>
                <a:gd name="connsiteX1904" fmla="*/ 2300827 w 2326130"/>
                <a:gd name="connsiteY1904" fmla="*/ 505363 h 696240"/>
                <a:gd name="connsiteX1905" fmla="*/ 2308684 w 2326130"/>
                <a:gd name="connsiteY1905" fmla="*/ 507017 h 696240"/>
                <a:gd name="connsiteX1906" fmla="*/ 2310857 w 2326130"/>
                <a:gd name="connsiteY1906" fmla="*/ 509408 h 696240"/>
                <a:gd name="connsiteX1907" fmla="*/ 2312362 w 2326130"/>
                <a:gd name="connsiteY1907" fmla="*/ 511983 h 696240"/>
                <a:gd name="connsiteX1908" fmla="*/ 2313031 w 2326130"/>
                <a:gd name="connsiteY1908" fmla="*/ 513821 h 696240"/>
                <a:gd name="connsiteX1909" fmla="*/ 2313699 w 2326130"/>
                <a:gd name="connsiteY1909" fmla="*/ 516580 h 696240"/>
                <a:gd name="connsiteX1910" fmla="*/ 2314369 w 2326130"/>
                <a:gd name="connsiteY1910" fmla="*/ 521361 h 696240"/>
                <a:gd name="connsiteX1911" fmla="*/ 2313699 w 2326130"/>
                <a:gd name="connsiteY1911" fmla="*/ 526326 h 696240"/>
                <a:gd name="connsiteX1912" fmla="*/ 2312864 w 2326130"/>
                <a:gd name="connsiteY1912" fmla="*/ 528900 h 696240"/>
                <a:gd name="connsiteX1913" fmla="*/ 2311359 w 2326130"/>
                <a:gd name="connsiteY1913" fmla="*/ 531843 h 696240"/>
                <a:gd name="connsiteX1914" fmla="*/ 2309019 w 2326130"/>
                <a:gd name="connsiteY1914" fmla="*/ 534786 h 696240"/>
                <a:gd name="connsiteX1915" fmla="*/ 2306009 w 2326130"/>
                <a:gd name="connsiteY1915" fmla="*/ 536624 h 696240"/>
                <a:gd name="connsiteX1916" fmla="*/ 2297650 w 2326130"/>
                <a:gd name="connsiteY1916" fmla="*/ 534969 h 696240"/>
                <a:gd name="connsiteX1917" fmla="*/ 2295477 w 2326130"/>
                <a:gd name="connsiteY1917" fmla="*/ 532579 h 696240"/>
                <a:gd name="connsiteX1918" fmla="*/ 2293806 w 2326130"/>
                <a:gd name="connsiteY1918" fmla="*/ 529636 h 696240"/>
                <a:gd name="connsiteX1919" fmla="*/ 2293136 w 2326130"/>
                <a:gd name="connsiteY1919" fmla="*/ 528165 h 696240"/>
                <a:gd name="connsiteX1920" fmla="*/ 2292300 w 2326130"/>
                <a:gd name="connsiteY1920" fmla="*/ 525223 h 696240"/>
                <a:gd name="connsiteX1921" fmla="*/ 2292635 w 2326130"/>
                <a:gd name="connsiteY1921" fmla="*/ 515844 h 696240"/>
                <a:gd name="connsiteX1922" fmla="*/ 2293304 w 2326130"/>
                <a:gd name="connsiteY1922" fmla="*/ 513821 h 696240"/>
                <a:gd name="connsiteX1923" fmla="*/ 2294140 w 2326130"/>
                <a:gd name="connsiteY1923" fmla="*/ 511799 h 696240"/>
                <a:gd name="connsiteX1924" fmla="*/ 2295644 w 2326130"/>
                <a:gd name="connsiteY1924" fmla="*/ 509408 h 696240"/>
                <a:gd name="connsiteX1925" fmla="*/ 2298152 w 2326130"/>
                <a:gd name="connsiteY1925" fmla="*/ 506834 h 696240"/>
                <a:gd name="connsiteX1926" fmla="*/ 2300827 w 2326130"/>
                <a:gd name="connsiteY1926" fmla="*/ 505363 h 696240"/>
                <a:gd name="connsiteX1927" fmla="*/ 23053 w 2326130"/>
                <a:gd name="connsiteY1927" fmla="*/ 502137 h 696240"/>
                <a:gd name="connsiteX1928" fmla="*/ 20294 w 2326130"/>
                <a:gd name="connsiteY1928" fmla="*/ 502137 h 696240"/>
                <a:gd name="connsiteX1929" fmla="*/ 17168 w 2326130"/>
                <a:gd name="connsiteY1929" fmla="*/ 503792 h 696240"/>
                <a:gd name="connsiteX1930" fmla="*/ 15696 w 2326130"/>
                <a:gd name="connsiteY1930" fmla="*/ 508021 h 696240"/>
                <a:gd name="connsiteX1931" fmla="*/ 15696 w 2326130"/>
                <a:gd name="connsiteY1931" fmla="*/ 508389 h 696240"/>
                <a:gd name="connsiteX1932" fmla="*/ 15696 w 2326130"/>
                <a:gd name="connsiteY1932" fmla="*/ 544433 h 696240"/>
                <a:gd name="connsiteX1933" fmla="*/ 15329 w 2326130"/>
                <a:gd name="connsiteY1933" fmla="*/ 544800 h 696240"/>
                <a:gd name="connsiteX1934" fmla="*/ 10364 w 2326130"/>
                <a:gd name="connsiteY1934" fmla="*/ 544800 h 696240"/>
                <a:gd name="connsiteX1935" fmla="*/ 7605 w 2326130"/>
                <a:gd name="connsiteY1935" fmla="*/ 545536 h 696240"/>
                <a:gd name="connsiteX1936" fmla="*/ 5031 w 2326130"/>
                <a:gd name="connsiteY1936" fmla="*/ 550133 h 696240"/>
                <a:gd name="connsiteX1937" fmla="*/ 6870 w 2326130"/>
                <a:gd name="connsiteY1937" fmla="*/ 553995 h 696240"/>
                <a:gd name="connsiteX1938" fmla="*/ 9628 w 2326130"/>
                <a:gd name="connsiteY1938" fmla="*/ 555282 h 696240"/>
                <a:gd name="connsiteX1939" fmla="*/ 9812 w 2326130"/>
                <a:gd name="connsiteY1939" fmla="*/ 555282 h 696240"/>
                <a:gd name="connsiteX1940" fmla="*/ 9996 w 2326130"/>
                <a:gd name="connsiteY1940" fmla="*/ 555282 h 696240"/>
                <a:gd name="connsiteX1941" fmla="*/ 10364 w 2326130"/>
                <a:gd name="connsiteY1941" fmla="*/ 555282 h 696240"/>
                <a:gd name="connsiteX1942" fmla="*/ 32247 w 2326130"/>
                <a:gd name="connsiteY1942" fmla="*/ 555282 h 696240"/>
                <a:gd name="connsiteX1943" fmla="*/ 32615 w 2326130"/>
                <a:gd name="connsiteY1943" fmla="*/ 555282 h 696240"/>
                <a:gd name="connsiteX1944" fmla="*/ 33167 w 2326130"/>
                <a:gd name="connsiteY1944" fmla="*/ 555282 h 696240"/>
                <a:gd name="connsiteX1945" fmla="*/ 33718 w 2326130"/>
                <a:gd name="connsiteY1945" fmla="*/ 555098 h 696240"/>
                <a:gd name="connsiteX1946" fmla="*/ 36109 w 2326130"/>
                <a:gd name="connsiteY1946" fmla="*/ 553811 h 696240"/>
                <a:gd name="connsiteX1947" fmla="*/ 37764 w 2326130"/>
                <a:gd name="connsiteY1947" fmla="*/ 549949 h 696240"/>
                <a:gd name="connsiteX1948" fmla="*/ 36293 w 2326130"/>
                <a:gd name="connsiteY1948" fmla="*/ 546455 h 696240"/>
                <a:gd name="connsiteX1949" fmla="*/ 32431 w 2326130"/>
                <a:gd name="connsiteY1949" fmla="*/ 544800 h 696240"/>
                <a:gd name="connsiteX1950" fmla="*/ 27098 w 2326130"/>
                <a:gd name="connsiteY1950" fmla="*/ 544800 h 696240"/>
                <a:gd name="connsiteX1951" fmla="*/ 26730 w 2326130"/>
                <a:gd name="connsiteY1951" fmla="*/ 544433 h 696240"/>
                <a:gd name="connsiteX1952" fmla="*/ 26730 w 2326130"/>
                <a:gd name="connsiteY1952" fmla="*/ 513170 h 696240"/>
                <a:gd name="connsiteX1953" fmla="*/ 27098 w 2326130"/>
                <a:gd name="connsiteY1953" fmla="*/ 512802 h 696240"/>
                <a:gd name="connsiteX1954" fmla="*/ 31143 w 2326130"/>
                <a:gd name="connsiteY1954" fmla="*/ 512802 h 696240"/>
                <a:gd name="connsiteX1955" fmla="*/ 36109 w 2326130"/>
                <a:gd name="connsiteY1955" fmla="*/ 509677 h 696240"/>
                <a:gd name="connsiteX1956" fmla="*/ 36293 w 2326130"/>
                <a:gd name="connsiteY1956" fmla="*/ 505815 h 696240"/>
                <a:gd name="connsiteX1957" fmla="*/ 31328 w 2326130"/>
                <a:gd name="connsiteY1957" fmla="*/ 502321 h 696240"/>
                <a:gd name="connsiteX1958" fmla="*/ 23053 w 2326130"/>
                <a:gd name="connsiteY1958" fmla="*/ 502137 h 696240"/>
                <a:gd name="connsiteX1959" fmla="*/ 2304505 w 2326130"/>
                <a:gd name="connsiteY1959" fmla="*/ 494512 h 696240"/>
                <a:gd name="connsiteX1960" fmla="*/ 2296145 w 2326130"/>
                <a:gd name="connsiteY1960" fmla="*/ 495984 h 696240"/>
                <a:gd name="connsiteX1961" fmla="*/ 2291130 w 2326130"/>
                <a:gd name="connsiteY1961" fmla="*/ 499110 h 696240"/>
                <a:gd name="connsiteX1962" fmla="*/ 2288790 w 2326130"/>
                <a:gd name="connsiteY1962" fmla="*/ 501316 h 696240"/>
                <a:gd name="connsiteX1963" fmla="*/ 2286449 w 2326130"/>
                <a:gd name="connsiteY1963" fmla="*/ 504259 h 696240"/>
                <a:gd name="connsiteX1964" fmla="*/ 2285112 w 2326130"/>
                <a:gd name="connsiteY1964" fmla="*/ 506649 h 696240"/>
                <a:gd name="connsiteX1965" fmla="*/ 2283607 w 2326130"/>
                <a:gd name="connsiteY1965" fmla="*/ 510327 h 696240"/>
                <a:gd name="connsiteX1966" fmla="*/ 2282938 w 2326130"/>
                <a:gd name="connsiteY1966" fmla="*/ 512718 h 696240"/>
                <a:gd name="connsiteX1967" fmla="*/ 2282270 w 2326130"/>
                <a:gd name="connsiteY1967" fmla="*/ 516212 h 696240"/>
                <a:gd name="connsiteX1968" fmla="*/ 2282437 w 2326130"/>
                <a:gd name="connsiteY1968" fmla="*/ 525958 h 696240"/>
                <a:gd name="connsiteX1969" fmla="*/ 2283106 w 2326130"/>
                <a:gd name="connsiteY1969" fmla="*/ 529268 h 696240"/>
                <a:gd name="connsiteX1970" fmla="*/ 2283942 w 2326130"/>
                <a:gd name="connsiteY1970" fmla="*/ 531843 h 696240"/>
                <a:gd name="connsiteX1971" fmla="*/ 2284610 w 2326130"/>
                <a:gd name="connsiteY1971" fmla="*/ 533498 h 696240"/>
                <a:gd name="connsiteX1972" fmla="*/ 2286115 w 2326130"/>
                <a:gd name="connsiteY1972" fmla="*/ 536440 h 696240"/>
                <a:gd name="connsiteX1973" fmla="*/ 2287620 w 2326130"/>
                <a:gd name="connsiteY1973" fmla="*/ 538647 h 696240"/>
                <a:gd name="connsiteX1974" fmla="*/ 2289960 w 2326130"/>
                <a:gd name="connsiteY1974" fmla="*/ 541222 h 696240"/>
                <a:gd name="connsiteX1975" fmla="*/ 2292133 w 2326130"/>
                <a:gd name="connsiteY1975" fmla="*/ 543061 h 696240"/>
                <a:gd name="connsiteX1976" fmla="*/ 2295979 w 2326130"/>
                <a:gd name="connsiteY1976" fmla="*/ 545267 h 696240"/>
                <a:gd name="connsiteX1977" fmla="*/ 2301328 w 2326130"/>
                <a:gd name="connsiteY1977" fmla="*/ 546738 h 696240"/>
                <a:gd name="connsiteX1978" fmla="*/ 2302164 w 2326130"/>
                <a:gd name="connsiteY1978" fmla="*/ 546923 h 696240"/>
                <a:gd name="connsiteX1979" fmla="*/ 2305006 w 2326130"/>
                <a:gd name="connsiteY1979" fmla="*/ 546923 h 696240"/>
                <a:gd name="connsiteX1980" fmla="*/ 2305173 w 2326130"/>
                <a:gd name="connsiteY1980" fmla="*/ 546923 h 696240"/>
                <a:gd name="connsiteX1981" fmla="*/ 2314034 w 2326130"/>
                <a:gd name="connsiteY1981" fmla="*/ 543612 h 696240"/>
                <a:gd name="connsiteX1982" fmla="*/ 2317210 w 2326130"/>
                <a:gd name="connsiteY1982" fmla="*/ 540854 h 696240"/>
                <a:gd name="connsiteX1983" fmla="*/ 2319384 w 2326130"/>
                <a:gd name="connsiteY1983" fmla="*/ 538279 h 696240"/>
                <a:gd name="connsiteX1984" fmla="*/ 2320888 w 2326130"/>
                <a:gd name="connsiteY1984" fmla="*/ 535889 h 696240"/>
                <a:gd name="connsiteX1985" fmla="*/ 2322393 w 2326130"/>
                <a:gd name="connsiteY1985" fmla="*/ 532947 h 696240"/>
                <a:gd name="connsiteX1986" fmla="*/ 2323229 w 2326130"/>
                <a:gd name="connsiteY1986" fmla="*/ 530924 h 696240"/>
                <a:gd name="connsiteX1987" fmla="*/ 2323897 w 2326130"/>
                <a:gd name="connsiteY1987" fmla="*/ 528717 h 696240"/>
                <a:gd name="connsiteX1988" fmla="*/ 2324733 w 2326130"/>
                <a:gd name="connsiteY1988" fmla="*/ 524855 h 696240"/>
                <a:gd name="connsiteX1989" fmla="*/ 2324900 w 2326130"/>
                <a:gd name="connsiteY1989" fmla="*/ 522832 h 696240"/>
                <a:gd name="connsiteX1990" fmla="*/ 2324733 w 2326130"/>
                <a:gd name="connsiteY1990" fmla="*/ 523016 h 696240"/>
                <a:gd name="connsiteX1991" fmla="*/ 2324733 w 2326130"/>
                <a:gd name="connsiteY1991" fmla="*/ 519154 h 696240"/>
                <a:gd name="connsiteX1992" fmla="*/ 2324733 w 2326130"/>
                <a:gd name="connsiteY1992" fmla="*/ 518971 h 696240"/>
                <a:gd name="connsiteX1993" fmla="*/ 2324399 w 2326130"/>
                <a:gd name="connsiteY1993" fmla="*/ 515844 h 696240"/>
                <a:gd name="connsiteX1994" fmla="*/ 2323563 w 2326130"/>
                <a:gd name="connsiteY1994" fmla="*/ 512167 h 696240"/>
                <a:gd name="connsiteX1995" fmla="*/ 2322894 w 2326130"/>
                <a:gd name="connsiteY1995" fmla="*/ 509960 h 696240"/>
                <a:gd name="connsiteX1996" fmla="*/ 2321390 w 2326130"/>
                <a:gd name="connsiteY1996" fmla="*/ 506466 h 696240"/>
                <a:gd name="connsiteX1997" fmla="*/ 2319885 w 2326130"/>
                <a:gd name="connsiteY1997" fmla="*/ 503891 h 696240"/>
                <a:gd name="connsiteX1998" fmla="*/ 2318380 w 2326130"/>
                <a:gd name="connsiteY1998" fmla="*/ 501868 h 696240"/>
                <a:gd name="connsiteX1999" fmla="*/ 2316876 w 2326130"/>
                <a:gd name="connsiteY1999" fmla="*/ 500213 h 696240"/>
                <a:gd name="connsiteX2000" fmla="*/ 2313699 w 2326130"/>
                <a:gd name="connsiteY2000" fmla="*/ 497639 h 696240"/>
                <a:gd name="connsiteX2001" fmla="*/ 2311024 w 2326130"/>
                <a:gd name="connsiteY2001" fmla="*/ 496168 h 696240"/>
                <a:gd name="connsiteX2002" fmla="*/ 2304505 w 2326130"/>
                <a:gd name="connsiteY2002" fmla="*/ 494512 h 696240"/>
                <a:gd name="connsiteX2003" fmla="*/ 2304964 w 2326130"/>
                <a:gd name="connsiteY2003" fmla="*/ 421658 h 696240"/>
                <a:gd name="connsiteX2004" fmla="*/ 2302207 w 2326130"/>
                <a:gd name="connsiteY2004" fmla="*/ 421658 h 696240"/>
                <a:gd name="connsiteX2005" fmla="*/ 2299080 w 2326130"/>
                <a:gd name="connsiteY2005" fmla="*/ 423314 h 696240"/>
                <a:gd name="connsiteX2006" fmla="*/ 2297609 w 2326130"/>
                <a:gd name="connsiteY2006" fmla="*/ 427543 h 696240"/>
                <a:gd name="connsiteX2007" fmla="*/ 2297609 w 2326130"/>
                <a:gd name="connsiteY2007" fmla="*/ 427911 h 696240"/>
                <a:gd name="connsiteX2008" fmla="*/ 2297609 w 2326130"/>
                <a:gd name="connsiteY2008" fmla="*/ 463954 h 696240"/>
                <a:gd name="connsiteX2009" fmla="*/ 2297242 w 2326130"/>
                <a:gd name="connsiteY2009" fmla="*/ 464321 h 696240"/>
                <a:gd name="connsiteX2010" fmla="*/ 2292276 w 2326130"/>
                <a:gd name="connsiteY2010" fmla="*/ 464321 h 696240"/>
                <a:gd name="connsiteX2011" fmla="*/ 2289517 w 2326130"/>
                <a:gd name="connsiteY2011" fmla="*/ 465057 h 696240"/>
                <a:gd name="connsiteX2012" fmla="*/ 2286943 w 2326130"/>
                <a:gd name="connsiteY2012" fmla="*/ 469655 h 696240"/>
                <a:gd name="connsiteX2013" fmla="*/ 2288782 w 2326130"/>
                <a:gd name="connsiteY2013" fmla="*/ 473516 h 696240"/>
                <a:gd name="connsiteX2014" fmla="*/ 2291541 w 2326130"/>
                <a:gd name="connsiteY2014" fmla="*/ 474804 h 696240"/>
                <a:gd name="connsiteX2015" fmla="*/ 2291724 w 2326130"/>
                <a:gd name="connsiteY2015" fmla="*/ 474804 h 696240"/>
                <a:gd name="connsiteX2016" fmla="*/ 2291908 w 2326130"/>
                <a:gd name="connsiteY2016" fmla="*/ 474804 h 696240"/>
                <a:gd name="connsiteX2017" fmla="*/ 2292276 w 2326130"/>
                <a:gd name="connsiteY2017" fmla="*/ 474804 h 696240"/>
                <a:gd name="connsiteX2018" fmla="*/ 2314159 w 2326130"/>
                <a:gd name="connsiteY2018" fmla="*/ 474804 h 696240"/>
                <a:gd name="connsiteX2019" fmla="*/ 2314527 w 2326130"/>
                <a:gd name="connsiteY2019" fmla="*/ 474804 h 696240"/>
                <a:gd name="connsiteX2020" fmla="*/ 2315079 w 2326130"/>
                <a:gd name="connsiteY2020" fmla="*/ 474804 h 696240"/>
                <a:gd name="connsiteX2021" fmla="*/ 2315630 w 2326130"/>
                <a:gd name="connsiteY2021" fmla="*/ 474620 h 696240"/>
                <a:gd name="connsiteX2022" fmla="*/ 2318021 w 2326130"/>
                <a:gd name="connsiteY2022" fmla="*/ 473333 h 696240"/>
                <a:gd name="connsiteX2023" fmla="*/ 2319676 w 2326130"/>
                <a:gd name="connsiteY2023" fmla="*/ 469471 h 696240"/>
                <a:gd name="connsiteX2024" fmla="*/ 2318205 w 2326130"/>
                <a:gd name="connsiteY2024" fmla="*/ 465977 h 696240"/>
                <a:gd name="connsiteX2025" fmla="*/ 2314343 w 2326130"/>
                <a:gd name="connsiteY2025" fmla="*/ 464321 h 696240"/>
                <a:gd name="connsiteX2026" fmla="*/ 2309011 w 2326130"/>
                <a:gd name="connsiteY2026" fmla="*/ 464321 h 696240"/>
                <a:gd name="connsiteX2027" fmla="*/ 2308643 w 2326130"/>
                <a:gd name="connsiteY2027" fmla="*/ 463954 h 696240"/>
                <a:gd name="connsiteX2028" fmla="*/ 2308643 w 2326130"/>
                <a:gd name="connsiteY2028" fmla="*/ 432692 h 696240"/>
                <a:gd name="connsiteX2029" fmla="*/ 2309011 w 2326130"/>
                <a:gd name="connsiteY2029" fmla="*/ 432324 h 696240"/>
                <a:gd name="connsiteX2030" fmla="*/ 2313056 w 2326130"/>
                <a:gd name="connsiteY2030" fmla="*/ 432324 h 696240"/>
                <a:gd name="connsiteX2031" fmla="*/ 2318021 w 2326130"/>
                <a:gd name="connsiteY2031" fmla="*/ 429198 h 696240"/>
                <a:gd name="connsiteX2032" fmla="*/ 2318205 w 2326130"/>
                <a:gd name="connsiteY2032" fmla="*/ 425336 h 696240"/>
                <a:gd name="connsiteX2033" fmla="*/ 2313240 w 2326130"/>
                <a:gd name="connsiteY2033" fmla="*/ 421843 h 696240"/>
                <a:gd name="connsiteX2034" fmla="*/ 2304964 w 2326130"/>
                <a:gd name="connsiteY2034" fmla="*/ 421658 h 696240"/>
                <a:gd name="connsiteX2035" fmla="*/ 2303407 w 2326130"/>
                <a:gd name="connsiteY2035" fmla="*/ 378055 h 696240"/>
                <a:gd name="connsiteX2036" fmla="*/ 2309848 w 2326130"/>
                <a:gd name="connsiteY2036" fmla="*/ 384363 h 696240"/>
                <a:gd name="connsiteX2037" fmla="*/ 2306479 w 2326130"/>
                <a:gd name="connsiteY2037" fmla="*/ 389911 h 696240"/>
                <a:gd name="connsiteX2038" fmla="*/ 2306479 w 2326130"/>
                <a:gd name="connsiteY2038" fmla="*/ 395620 h 696240"/>
                <a:gd name="connsiteX2039" fmla="*/ 2303407 w 2326130"/>
                <a:gd name="connsiteY2039" fmla="*/ 398629 h 696240"/>
                <a:gd name="connsiteX2040" fmla="*/ 2300335 w 2326130"/>
                <a:gd name="connsiteY2040" fmla="*/ 395620 h 696240"/>
                <a:gd name="connsiteX2041" fmla="*/ 2300335 w 2326130"/>
                <a:gd name="connsiteY2041" fmla="*/ 389911 h 696240"/>
                <a:gd name="connsiteX2042" fmla="*/ 2296965 w 2326130"/>
                <a:gd name="connsiteY2042" fmla="*/ 384363 h 696240"/>
                <a:gd name="connsiteX2043" fmla="*/ 2303407 w 2326130"/>
                <a:gd name="connsiteY2043" fmla="*/ 378055 h 696240"/>
                <a:gd name="connsiteX2044" fmla="*/ 2303586 w 2326130"/>
                <a:gd name="connsiteY2044" fmla="*/ 351723 h 696240"/>
                <a:gd name="connsiteX2045" fmla="*/ 2311516 w 2326130"/>
                <a:gd name="connsiteY2045" fmla="*/ 356979 h 696240"/>
                <a:gd name="connsiteX2046" fmla="*/ 2312145 w 2326130"/>
                <a:gd name="connsiteY2046" fmla="*/ 360096 h 696240"/>
                <a:gd name="connsiteX2047" fmla="*/ 2309942 w 2326130"/>
                <a:gd name="connsiteY2047" fmla="*/ 360096 h 696240"/>
                <a:gd name="connsiteX2048" fmla="*/ 2297416 w 2326130"/>
                <a:gd name="connsiteY2048" fmla="*/ 360096 h 696240"/>
                <a:gd name="connsiteX2049" fmla="*/ 2295026 w 2326130"/>
                <a:gd name="connsiteY2049" fmla="*/ 360096 h 696240"/>
                <a:gd name="connsiteX2050" fmla="*/ 2295655 w 2326130"/>
                <a:gd name="connsiteY2050" fmla="*/ 356979 h 696240"/>
                <a:gd name="connsiteX2051" fmla="*/ 2303586 w 2326130"/>
                <a:gd name="connsiteY2051" fmla="*/ 351723 h 696240"/>
                <a:gd name="connsiteX2052" fmla="*/ 2303586 w 2326130"/>
                <a:gd name="connsiteY2052" fmla="*/ 343116 h 696240"/>
                <a:gd name="connsiteX2053" fmla="*/ 2286721 w 2326130"/>
                <a:gd name="connsiteY2053" fmla="*/ 356860 h 696240"/>
                <a:gd name="connsiteX2054" fmla="*/ 2286396 w 2326130"/>
                <a:gd name="connsiteY2054" fmla="*/ 360096 h 696240"/>
                <a:gd name="connsiteX2055" fmla="*/ 2285430 w 2326130"/>
                <a:gd name="connsiteY2055" fmla="*/ 360096 h 696240"/>
                <a:gd name="connsiteX2056" fmla="*/ 2281042 w 2326130"/>
                <a:gd name="connsiteY2056" fmla="*/ 364372 h 696240"/>
                <a:gd name="connsiteX2057" fmla="*/ 2281042 w 2326130"/>
                <a:gd name="connsiteY2057" fmla="*/ 398189 h 696240"/>
                <a:gd name="connsiteX2058" fmla="*/ 2285430 w 2326130"/>
                <a:gd name="connsiteY2058" fmla="*/ 402464 h 696240"/>
                <a:gd name="connsiteX2059" fmla="*/ 2321741 w 2326130"/>
                <a:gd name="connsiteY2059" fmla="*/ 402464 h 696240"/>
                <a:gd name="connsiteX2060" fmla="*/ 2326129 w 2326130"/>
                <a:gd name="connsiteY2060" fmla="*/ 398189 h 696240"/>
                <a:gd name="connsiteX2061" fmla="*/ 2326129 w 2326130"/>
                <a:gd name="connsiteY2061" fmla="*/ 364372 h 696240"/>
                <a:gd name="connsiteX2062" fmla="*/ 2321741 w 2326130"/>
                <a:gd name="connsiteY2062" fmla="*/ 360096 h 696240"/>
                <a:gd name="connsiteX2063" fmla="*/ 2321173 w 2326130"/>
                <a:gd name="connsiteY2063" fmla="*/ 360096 h 696240"/>
                <a:gd name="connsiteX2064" fmla="*/ 2320776 w 2326130"/>
                <a:gd name="connsiteY2064" fmla="*/ 360096 h 696240"/>
                <a:gd name="connsiteX2065" fmla="*/ 2320450 w 2326130"/>
                <a:gd name="connsiteY2065" fmla="*/ 356860 h 696240"/>
                <a:gd name="connsiteX2066" fmla="*/ 2303586 w 2326130"/>
                <a:gd name="connsiteY2066" fmla="*/ 343116 h 696240"/>
                <a:gd name="connsiteX2067" fmla="*/ 2303407 w 2326130"/>
                <a:gd name="connsiteY2067" fmla="*/ 300973 h 696240"/>
                <a:gd name="connsiteX2068" fmla="*/ 2309848 w 2326130"/>
                <a:gd name="connsiteY2068" fmla="*/ 307281 h 696240"/>
                <a:gd name="connsiteX2069" fmla="*/ 2306479 w 2326130"/>
                <a:gd name="connsiteY2069" fmla="*/ 312829 h 696240"/>
                <a:gd name="connsiteX2070" fmla="*/ 2306479 w 2326130"/>
                <a:gd name="connsiteY2070" fmla="*/ 318539 h 696240"/>
                <a:gd name="connsiteX2071" fmla="*/ 2303407 w 2326130"/>
                <a:gd name="connsiteY2071" fmla="*/ 321547 h 696240"/>
                <a:gd name="connsiteX2072" fmla="*/ 2300335 w 2326130"/>
                <a:gd name="connsiteY2072" fmla="*/ 318539 h 696240"/>
                <a:gd name="connsiteX2073" fmla="*/ 2300335 w 2326130"/>
                <a:gd name="connsiteY2073" fmla="*/ 312829 h 696240"/>
                <a:gd name="connsiteX2074" fmla="*/ 2296965 w 2326130"/>
                <a:gd name="connsiteY2074" fmla="*/ 307281 h 696240"/>
                <a:gd name="connsiteX2075" fmla="*/ 2303407 w 2326130"/>
                <a:gd name="connsiteY2075" fmla="*/ 300973 h 696240"/>
                <a:gd name="connsiteX2076" fmla="*/ 2303586 w 2326130"/>
                <a:gd name="connsiteY2076" fmla="*/ 274641 h 696240"/>
                <a:gd name="connsiteX2077" fmla="*/ 2311516 w 2326130"/>
                <a:gd name="connsiteY2077" fmla="*/ 279898 h 696240"/>
                <a:gd name="connsiteX2078" fmla="*/ 2312145 w 2326130"/>
                <a:gd name="connsiteY2078" fmla="*/ 283015 h 696240"/>
                <a:gd name="connsiteX2079" fmla="*/ 2309942 w 2326130"/>
                <a:gd name="connsiteY2079" fmla="*/ 283015 h 696240"/>
                <a:gd name="connsiteX2080" fmla="*/ 2297416 w 2326130"/>
                <a:gd name="connsiteY2080" fmla="*/ 283015 h 696240"/>
                <a:gd name="connsiteX2081" fmla="*/ 2295026 w 2326130"/>
                <a:gd name="connsiteY2081" fmla="*/ 283015 h 696240"/>
                <a:gd name="connsiteX2082" fmla="*/ 2295655 w 2326130"/>
                <a:gd name="connsiteY2082" fmla="*/ 279898 h 696240"/>
                <a:gd name="connsiteX2083" fmla="*/ 2303586 w 2326130"/>
                <a:gd name="connsiteY2083" fmla="*/ 274641 h 696240"/>
                <a:gd name="connsiteX2084" fmla="*/ 2303586 w 2326130"/>
                <a:gd name="connsiteY2084" fmla="*/ 266034 h 696240"/>
                <a:gd name="connsiteX2085" fmla="*/ 2286721 w 2326130"/>
                <a:gd name="connsiteY2085" fmla="*/ 279779 h 696240"/>
                <a:gd name="connsiteX2086" fmla="*/ 2286396 w 2326130"/>
                <a:gd name="connsiteY2086" fmla="*/ 283015 h 696240"/>
                <a:gd name="connsiteX2087" fmla="*/ 2285430 w 2326130"/>
                <a:gd name="connsiteY2087" fmla="*/ 283015 h 696240"/>
                <a:gd name="connsiteX2088" fmla="*/ 2281042 w 2326130"/>
                <a:gd name="connsiteY2088" fmla="*/ 287290 h 696240"/>
                <a:gd name="connsiteX2089" fmla="*/ 2281042 w 2326130"/>
                <a:gd name="connsiteY2089" fmla="*/ 321107 h 696240"/>
                <a:gd name="connsiteX2090" fmla="*/ 2285430 w 2326130"/>
                <a:gd name="connsiteY2090" fmla="*/ 325383 h 696240"/>
                <a:gd name="connsiteX2091" fmla="*/ 2321741 w 2326130"/>
                <a:gd name="connsiteY2091" fmla="*/ 325383 h 696240"/>
                <a:gd name="connsiteX2092" fmla="*/ 2326130 w 2326130"/>
                <a:gd name="connsiteY2092" fmla="*/ 321107 h 696240"/>
                <a:gd name="connsiteX2093" fmla="*/ 2326130 w 2326130"/>
                <a:gd name="connsiteY2093" fmla="*/ 287290 h 696240"/>
                <a:gd name="connsiteX2094" fmla="*/ 2321741 w 2326130"/>
                <a:gd name="connsiteY2094" fmla="*/ 283015 h 696240"/>
                <a:gd name="connsiteX2095" fmla="*/ 2321173 w 2326130"/>
                <a:gd name="connsiteY2095" fmla="*/ 283015 h 696240"/>
                <a:gd name="connsiteX2096" fmla="*/ 2320776 w 2326130"/>
                <a:gd name="connsiteY2096" fmla="*/ 283015 h 696240"/>
                <a:gd name="connsiteX2097" fmla="*/ 2320450 w 2326130"/>
                <a:gd name="connsiteY2097" fmla="*/ 279779 h 696240"/>
                <a:gd name="connsiteX2098" fmla="*/ 2303586 w 2326130"/>
                <a:gd name="connsiteY2098" fmla="*/ 266034 h 696240"/>
                <a:gd name="connsiteX2099" fmla="*/ 2303407 w 2326130"/>
                <a:gd name="connsiteY2099" fmla="*/ 223892 h 696240"/>
                <a:gd name="connsiteX2100" fmla="*/ 2309848 w 2326130"/>
                <a:gd name="connsiteY2100" fmla="*/ 230199 h 696240"/>
                <a:gd name="connsiteX2101" fmla="*/ 2306479 w 2326130"/>
                <a:gd name="connsiteY2101" fmla="*/ 235747 h 696240"/>
                <a:gd name="connsiteX2102" fmla="*/ 2306479 w 2326130"/>
                <a:gd name="connsiteY2102" fmla="*/ 241457 h 696240"/>
                <a:gd name="connsiteX2103" fmla="*/ 2303407 w 2326130"/>
                <a:gd name="connsiteY2103" fmla="*/ 244465 h 696240"/>
                <a:gd name="connsiteX2104" fmla="*/ 2300335 w 2326130"/>
                <a:gd name="connsiteY2104" fmla="*/ 241457 h 696240"/>
                <a:gd name="connsiteX2105" fmla="*/ 2300335 w 2326130"/>
                <a:gd name="connsiteY2105" fmla="*/ 235747 h 696240"/>
                <a:gd name="connsiteX2106" fmla="*/ 2296965 w 2326130"/>
                <a:gd name="connsiteY2106" fmla="*/ 230199 h 696240"/>
                <a:gd name="connsiteX2107" fmla="*/ 2303407 w 2326130"/>
                <a:gd name="connsiteY2107" fmla="*/ 223892 h 696240"/>
                <a:gd name="connsiteX2108" fmla="*/ 2303586 w 2326130"/>
                <a:gd name="connsiteY2108" fmla="*/ 197559 h 696240"/>
                <a:gd name="connsiteX2109" fmla="*/ 2311516 w 2326130"/>
                <a:gd name="connsiteY2109" fmla="*/ 202816 h 696240"/>
                <a:gd name="connsiteX2110" fmla="*/ 2312145 w 2326130"/>
                <a:gd name="connsiteY2110" fmla="*/ 205933 h 696240"/>
                <a:gd name="connsiteX2111" fmla="*/ 2309942 w 2326130"/>
                <a:gd name="connsiteY2111" fmla="*/ 205933 h 696240"/>
                <a:gd name="connsiteX2112" fmla="*/ 2297416 w 2326130"/>
                <a:gd name="connsiteY2112" fmla="*/ 205933 h 696240"/>
                <a:gd name="connsiteX2113" fmla="*/ 2295026 w 2326130"/>
                <a:gd name="connsiteY2113" fmla="*/ 205933 h 696240"/>
                <a:gd name="connsiteX2114" fmla="*/ 2295655 w 2326130"/>
                <a:gd name="connsiteY2114" fmla="*/ 202816 h 696240"/>
                <a:gd name="connsiteX2115" fmla="*/ 2303586 w 2326130"/>
                <a:gd name="connsiteY2115" fmla="*/ 197559 h 696240"/>
                <a:gd name="connsiteX2116" fmla="*/ 2303586 w 2326130"/>
                <a:gd name="connsiteY2116" fmla="*/ 188952 h 696240"/>
                <a:gd name="connsiteX2117" fmla="*/ 2286721 w 2326130"/>
                <a:gd name="connsiteY2117" fmla="*/ 202697 h 696240"/>
                <a:gd name="connsiteX2118" fmla="*/ 2286396 w 2326130"/>
                <a:gd name="connsiteY2118" fmla="*/ 205933 h 696240"/>
                <a:gd name="connsiteX2119" fmla="*/ 2285430 w 2326130"/>
                <a:gd name="connsiteY2119" fmla="*/ 205933 h 696240"/>
                <a:gd name="connsiteX2120" fmla="*/ 2281042 w 2326130"/>
                <a:gd name="connsiteY2120" fmla="*/ 210208 h 696240"/>
                <a:gd name="connsiteX2121" fmla="*/ 2281042 w 2326130"/>
                <a:gd name="connsiteY2121" fmla="*/ 244026 h 696240"/>
                <a:gd name="connsiteX2122" fmla="*/ 2285430 w 2326130"/>
                <a:gd name="connsiteY2122" fmla="*/ 248301 h 696240"/>
                <a:gd name="connsiteX2123" fmla="*/ 2321741 w 2326130"/>
                <a:gd name="connsiteY2123" fmla="*/ 248301 h 696240"/>
                <a:gd name="connsiteX2124" fmla="*/ 2326130 w 2326130"/>
                <a:gd name="connsiteY2124" fmla="*/ 244026 h 696240"/>
                <a:gd name="connsiteX2125" fmla="*/ 2326130 w 2326130"/>
                <a:gd name="connsiteY2125" fmla="*/ 210208 h 696240"/>
                <a:gd name="connsiteX2126" fmla="*/ 2321741 w 2326130"/>
                <a:gd name="connsiteY2126" fmla="*/ 205933 h 696240"/>
                <a:gd name="connsiteX2127" fmla="*/ 2321173 w 2326130"/>
                <a:gd name="connsiteY2127" fmla="*/ 205933 h 696240"/>
                <a:gd name="connsiteX2128" fmla="*/ 2320776 w 2326130"/>
                <a:gd name="connsiteY2128" fmla="*/ 205933 h 696240"/>
                <a:gd name="connsiteX2129" fmla="*/ 2320450 w 2326130"/>
                <a:gd name="connsiteY2129" fmla="*/ 202697 h 696240"/>
                <a:gd name="connsiteX2130" fmla="*/ 2303586 w 2326130"/>
                <a:gd name="connsiteY2130" fmla="*/ 188952 h 696240"/>
                <a:gd name="connsiteX2131" fmla="*/ 2303407 w 2326130"/>
                <a:gd name="connsiteY2131" fmla="*/ 146810 h 696240"/>
                <a:gd name="connsiteX2132" fmla="*/ 2309848 w 2326130"/>
                <a:gd name="connsiteY2132" fmla="*/ 153117 h 696240"/>
                <a:gd name="connsiteX2133" fmla="*/ 2306479 w 2326130"/>
                <a:gd name="connsiteY2133" fmla="*/ 158665 h 696240"/>
                <a:gd name="connsiteX2134" fmla="*/ 2306479 w 2326130"/>
                <a:gd name="connsiteY2134" fmla="*/ 164375 h 696240"/>
                <a:gd name="connsiteX2135" fmla="*/ 2303407 w 2326130"/>
                <a:gd name="connsiteY2135" fmla="*/ 167383 h 696240"/>
                <a:gd name="connsiteX2136" fmla="*/ 2300336 w 2326130"/>
                <a:gd name="connsiteY2136" fmla="*/ 164375 h 696240"/>
                <a:gd name="connsiteX2137" fmla="*/ 2300336 w 2326130"/>
                <a:gd name="connsiteY2137" fmla="*/ 158665 h 696240"/>
                <a:gd name="connsiteX2138" fmla="*/ 2296966 w 2326130"/>
                <a:gd name="connsiteY2138" fmla="*/ 153117 h 696240"/>
                <a:gd name="connsiteX2139" fmla="*/ 2303407 w 2326130"/>
                <a:gd name="connsiteY2139" fmla="*/ 146810 h 696240"/>
                <a:gd name="connsiteX2140" fmla="*/ 2303586 w 2326130"/>
                <a:gd name="connsiteY2140" fmla="*/ 120477 h 696240"/>
                <a:gd name="connsiteX2141" fmla="*/ 2311516 w 2326130"/>
                <a:gd name="connsiteY2141" fmla="*/ 125734 h 696240"/>
                <a:gd name="connsiteX2142" fmla="*/ 2312145 w 2326130"/>
                <a:gd name="connsiteY2142" fmla="*/ 128851 h 696240"/>
                <a:gd name="connsiteX2143" fmla="*/ 2309942 w 2326130"/>
                <a:gd name="connsiteY2143" fmla="*/ 128851 h 696240"/>
                <a:gd name="connsiteX2144" fmla="*/ 2297416 w 2326130"/>
                <a:gd name="connsiteY2144" fmla="*/ 128851 h 696240"/>
                <a:gd name="connsiteX2145" fmla="*/ 2295026 w 2326130"/>
                <a:gd name="connsiteY2145" fmla="*/ 128851 h 696240"/>
                <a:gd name="connsiteX2146" fmla="*/ 2295655 w 2326130"/>
                <a:gd name="connsiteY2146" fmla="*/ 125734 h 696240"/>
                <a:gd name="connsiteX2147" fmla="*/ 2303586 w 2326130"/>
                <a:gd name="connsiteY2147" fmla="*/ 120477 h 696240"/>
                <a:gd name="connsiteX2148" fmla="*/ 2303586 w 2326130"/>
                <a:gd name="connsiteY2148" fmla="*/ 111870 h 696240"/>
                <a:gd name="connsiteX2149" fmla="*/ 2286721 w 2326130"/>
                <a:gd name="connsiteY2149" fmla="*/ 125615 h 696240"/>
                <a:gd name="connsiteX2150" fmla="*/ 2286396 w 2326130"/>
                <a:gd name="connsiteY2150" fmla="*/ 128851 h 696240"/>
                <a:gd name="connsiteX2151" fmla="*/ 2285430 w 2326130"/>
                <a:gd name="connsiteY2151" fmla="*/ 128851 h 696240"/>
                <a:gd name="connsiteX2152" fmla="*/ 2281042 w 2326130"/>
                <a:gd name="connsiteY2152" fmla="*/ 133126 h 696240"/>
                <a:gd name="connsiteX2153" fmla="*/ 2281042 w 2326130"/>
                <a:gd name="connsiteY2153" fmla="*/ 166944 h 696240"/>
                <a:gd name="connsiteX2154" fmla="*/ 2285430 w 2326130"/>
                <a:gd name="connsiteY2154" fmla="*/ 171219 h 696240"/>
                <a:gd name="connsiteX2155" fmla="*/ 2321741 w 2326130"/>
                <a:gd name="connsiteY2155" fmla="*/ 171219 h 696240"/>
                <a:gd name="connsiteX2156" fmla="*/ 2326130 w 2326130"/>
                <a:gd name="connsiteY2156" fmla="*/ 166944 h 696240"/>
                <a:gd name="connsiteX2157" fmla="*/ 2326130 w 2326130"/>
                <a:gd name="connsiteY2157" fmla="*/ 133126 h 696240"/>
                <a:gd name="connsiteX2158" fmla="*/ 2321741 w 2326130"/>
                <a:gd name="connsiteY2158" fmla="*/ 128851 h 696240"/>
                <a:gd name="connsiteX2159" fmla="*/ 2321173 w 2326130"/>
                <a:gd name="connsiteY2159" fmla="*/ 128851 h 696240"/>
                <a:gd name="connsiteX2160" fmla="*/ 2320776 w 2326130"/>
                <a:gd name="connsiteY2160" fmla="*/ 128851 h 696240"/>
                <a:gd name="connsiteX2161" fmla="*/ 2320450 w 2326130"/>
                <a:gd name="connsiteY2161" fmla="*/ 125615 h 696240"/>
                <a:gd name="connsiteX2162" fmla="*/ 2303586 w 2326130"/>
                <a:gd name="connsiteY2162" fmla="*/ 111870 h 696240"/>
                <a:gd name="connsiteX2163" fmla="*/ 2303407 w 2326130"/>
                <a:gd name="connsiteY2163" fmla="*/ 69728 h 696240"/>
                <a:gd name="connsiteX2164" fmla="*/ 2309848 w 2326130"/>
                <a:gd name="connsiteY2164" fmla="*/ 76036 h 696240"/>
                <a:gd name="connsiteX2165" fmla="*/ 2306479 w 2326130"/>
                <a:gd name="connsiteY2165" fmla="*/ 81583 h 696240"/>
                <a:gd name="connsiteX2166" fmla="*/ 2306479 w 2326130"/>
                <a:gd name="connsiteY2166" fmla="*/ 87293 h 696240"/>
                <a:gd name="connsiteX2167" fmla="*/ 2303407 w 2326130"/>
                <a:gd name="connsiteY2167" fmla="*/ 90301 h 696240"/>
                <a:gd name="connsiteX2168" fmla="*/ 2300336 w 2326130"/>
                <a:gd name="connsiteY2168" fmla="*/ 87293 h 696240"/>
                <a:gd name="connsiteX2169" fmla="*/ 2300336 w 2326130"/>
                <a:gd name="connsiteY2169" fmla="*/ 81583 h 696240"/>
                <a:gd name="connsiteX2170" fmla="*/ 2296966 w 2326130"/>
                <a:gd name="connsiteY2170" fmla="*/ 76036 h 696240"/>
                <a:gd name="connsiteX2171" fmla="*/ 2303407 w 2326130"/>
                <a:gd name="connsiteY2171" fmla="*/ 69728 h 696240"/>
                <a:gd name="connsiteX2172" fmla="*/ 2303586 w 2326130"/>
                <a:gd name="connsiteY2172" fmla="*/ 43396 h 696240"/>
                <a:gd name="connsiteX2173" fmla="*/ 2311516 w 2326130"/>
                <a:gd name="connsiteY2173" fmla="*/ 48652 h 696240"/>
                <a:gd name="connsiteX2174" fmla="*/ 2312145 w 2326130"/>
                <a:gd name="connsiteY2174" fmla="*/ 51769 h 696240"/>
                <a:gd name="connsiteX2175" fmla="*/ 2309942 w 2326130"/>
                <a:gd name="connsiteY2175" fmla="*/ 51769 h 696240"/>
                <a:gd name="connsiteX2176" fmla="*/ 2297416 w 2326130"/>
                <a:gd name="connsiteY2176" fmla="*/ 51769 h 696240"/>
                <a:gd name="connsiteX2177" fmla="*/ 2295026 w 2326130"/>
                <a:gd name="connsiteY2177" fmla="*/ 51769 h 696240"/>
                <a:gd name="connsiteX2178" fmla="*/ 2295655 w 2326130"/>
                <a:gd name="connsiteY2178" fmla="*/ 48652 h 696240"/>
                <a:gd name="connsiteX2179" fmla="*/ 2303586 w 2326130"/>
                <a:gd name="connsiteY2179" fmla="*/ 43396 h 696240"/>
                <a:gd name="connsiteX2180" fmla="*/ 2303586 w 2326130"/>
                <a:gd name="connsiteY2180" fmla="*/ 34789 h 696240"/>
                <a:gd name="connsiteX2181" fmla="*/ 2286721 w 2326130"/>
                <a:gd name="connsiteY2181" fmla="*/ 48533 h 696240"/>
                <a:gd name="connsiteX2182" fmla="*/ 2286396 w 2326130"/>
                <a:gd name="connsiteY2182" fmla="*/ 51769 h 696240"/>
                <a:gd name="connsiteX2183" fmla="*/ 2285430 w 2326130"/>
                <a:gd name="connsiteY2183" fmla="*/ 51769 h 696240"/>
                <a:gd name="connsiteX2184" fmla="*/ 2281042 w 2326130"/>
                <a:gd name="connsiteY2184" fmla="*/ 56045 h 696240"/>
                <a:gd name="connsiteX2185" fmla="*/ 2281042 w 2326130"/>
                <a:gd name="connsiteY2185" fmla="*/ 89862 h 696240"/>
                <a:gd name="connsiteX2186" fmla="*/ 2285430 w 2326130"/>
                <a:gd name="connsiteY2186" fmla="*/ 94137 h 696240"/>
                <a:gd name="connsiteX2187" fmla="*/ 2321741 w 2326130"/>
                <a:gd name="connsiteY2187" fmla="*/ 94137 h 696240"/>
                <a:gd name="connsiteX2188" fmla="*/ 2326130 w 2326130"/>
                <a:gd name="connsiteY2188" fmla="*/ 89862 h 696240"/>
                <a:gd name="connsiteX2189" fmla="*/ 2326130 w 2326130"/>
                <a:gd name="connsiteY2189" fmla="*/ 56045 h 696240"/>
                <a:gd name="connsiteX2190" fmla="*/ 2321741 w 2326130"/>
                <a:gd name="connsiteY2190" fmla="*/ 51769 h 696240"/>
                <a:gd name="connsiteX2191" fmla="*/ 2321173 w 2326130"/>
                <a:gd name="connsiteY2191" fmla="*/ 51769 h 696240"/>
                <a:gd name="connsiteX2192" fmla="*/ 2320776 w 2326130"/>
                <a:gd name="connsiteY2192" fmla="*/ 51769 h 696240"/>
                <a:gd name="connsiteX2193" fmla="*/ 2320450 w 2326130"/>
                <a:gd name="connsiteY2193" fmla="*/ 48533 h 696240"/>
                <a:gd name="connsiteX2194" fmla="*/ 2303586 w 2326130"/>
                <a:gd name="connsiteY2194" fmla="*/ 34789 h 696240"/>
                <a:gd name="connsiteX2195" fmla="*/ 2326130 w 2326130"/>
                <a:gd name="connsiteY2195" fmla="*/ 0 h 696240"/>
                <a:gd name="connsiteX2196" fmla="*/ 2309213 w 2326130"/>
                <a:gd name="connsiteY2196" fmla="*/ 0 h 696240"/>
                <a:gd name="connsiteX2197" fmla="*/ 2306479 w 2326130"/>
                <a:gd name="connsiteY2197" fmla="*/ 4502 h 696240"/>
                <a:gd name="connsiteX2198" fmla="*/ 2306479 w 2326130"/>
                <a:gd name="connsiteY2198" fmla="*/ 10211 h 696240"/>
                <a:gd name="connsiteX2199" fmla="*/ 2303407 w 2326130"/>
                <a:gd name="connsiteY2199" fmla="*/ 13220 h 696240"/>
                <a:gd name="connsiteX2200" fmla="*/ 2300336 w 2326130"/>
                <a:gd name="connsiteY2200" fmla="*/ 10211 h 696240"/>
                <a:gd name="connsiteX2201" fmla="*/ 2300336 w 2326130"/>
                <a:gd name="connsiteY2201" fmla="*/ 4502 h 696240"/>
                <a:gd name="connsiteX2202" fmla="*/ 2297602 w 2326130"/>
                <a:gd name="connsiteY2202" fmla="*/ 0 h 696240"/>
                <a:gd name="connsiteX2203" fmla="*/ 2281042 w 2326130"/>
                <a:gd name="connsiteY2203" fmla="*/ 0 h 696240"/>
                <a:gd name="connsiteX2204" fmla="*/ 2281042 w 2326130"/>
                <a:gd name="connsiteY2204" fmla="*/ 12780 h 696240"/>
                <a:gd name="connsiteX2205" fmla="*/ 2285430 w 2326130"/>
                <a:gd name="connsiteY2205" fmla="*/ 17056 h 696240"/>
                <a:gd name="connsiteX2206" fmla="*/ 2321741 w 2326130"/>
                <a:gd name="connsiteY2206" fmla="*/ 17056 h 696240"/>
                <a:gd name="connsiteX2207" fmla="*/ 2326130 w 2326130"/>
                <a:gd name="connsiteY2207" fmla="*/ 12780 h 696240"/>
                <a:gd name="connsiteX2208" fmla="*/ 2326130 w 2326130"/>
                <a:gd name="connsiteY2208" fmla="*/ 8553 h 6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Lst>
              <a:rect l="l" t="t" r="r" b="b"/>
              <a:pathLst>
                <a:path w="2326130" h="696240">
                  <a:moveTo>
                    <a:pt x="83014" y="671831"/>
                  </a:moveTo>
                  <a:cubicBezTo>
                    <a:pt x="86581" y="671831"/>
                    <a:pt x="89455" y="674661"/>
                    <a:pt x="89455" y="678139"/>
                  </a:cubicBezTo>
                  <a:cubicBezTo>
                    <a:pt x="89455" y="680533"/>
                    <a:pt x="88101" y="682619"/>
                    <a:pt x="86086" y="683686"/>
                  </a:cubicBezTo>
                  <a:cubicBezTo>
                    <a:pt x="86086" y="683686"/>
                    <a:pt x="86086" y="683686"/>
                    <a:pt x="86086" y="689396"/>
                  </a:cubicBezTo>
                  <a:cubicBezTo>
                    <a:pt x="86086" y="691062"/>
                    <a:pt x="84715" y="692405"/>
                    <a:pt x="83014" y="692405"/>
                  </a:cubicBezTo>
                  <a:cubicBezTo>
                    <a:pt x="81330" y="692405"/>
                    <a:pt x="79942" y="691062"/>
                    <a:pt x="79942" y="689396"/>
                  </a:cubicBezTo>
                  <a:cubicBezTo>
                    <a:pt x="79942" y="689396"/>
                    <a:pt x="79942" y="689396"/>
                    <a:pt x="79942" y="683686"/>
                  </a:cubicBezTo>
                  <a:cubicBezTo>
                    <a:pt x="77943" y="682619"/>
                    <a:pt x="76573" y="680533"/>
                    <a:pt x="76573" y="678139"/>
                  </a:cubicBezTo>
                  <a:cubicBezTo>
                    <a:pt x="76573" y="674661"/>
                    <a:pt x="79463" y="671831"/>
                    <a:pt x="83014" y="671831"/>
                  </a:cubicBezTo>
                  <a:close/>
                  <a:moveTo>
                    <a:pt x="370245" y="671831"/>
                  </a:moveTo>
                  <a:cubicBezTo>
                    <a:pt x="373812" y="671831"/>
                    <a:pt x="376685" y="674661"/>
                    <a:pt x="376685" y="678139"/>
                  </a:cubicBezTo>
                  <a:cubicBezTo>
                    <a:pt x="376685" y="680533"/>
                    <a:pt x="375331" y="682619"/>
                    <a:pt x="373316" y="683686"/>
                  </a:cubicBezTo>
                  <a:cubicBezTo>
                    <a:pt x="373316" y="683686"/>
                    <a:pt x="373316" y="683686"/>
                    <a:pt x="373316" y="689396"/>
                  </a:cubicBezTo>
                  <a:cubicBezTo>
                    <a:pt x="373316" y="691062"/>
                    <a:pt x="371946" y="692405"/>
                    <a:pt x="370245" y="692405"/>
                  </a:cubicBezTo>
                  <a:cubicBezTo>
                    <a:pt x="368560" y="692405"/>
                    <a:pt x="367172" y="691062"/>
                    <a:pt x="367172" y="689396"/>
                  </a:cubicBezTo>
                  <a:cubicBezTo>
                    <a:pt x="367172" y="689396"/>
                    <a:pt x="367172" y="689396"/>
                    <a:pt x="367172" y="683686"/>
                  </a:cubicBezTo>
                  <a:cubicBezTo>
                    <a:pt x="365174" y="682619"/>
                    <a:pt x="363803" y="680533"/>
                    <a:pt x="363803" y="678139"/>
                  </a:cubicBezTo>
                  <a:cubicBezTo>
                    <a:pt x="363803" y="674661"/>
                    <a:pt x="366694" y="671831"/>
                    <a:pt x="370245" y="671831"/>
                  </a:cubicBezTo>
                  <a:close/>
                  <a:moveTo>
                    <a:pt x="431730" y="671831"/>
                  </a:moveTo>
                  <a:cubicBezTo>
                    <a:pt x="435298" y="671831"/>
                    <a:pt x="438171" y="674661"/>
                    <a:pt x="438171" y="678139"/>
                  </a:cubicBezTo>
                  <a:cubicBezTo>
                    <a:pt x="438171" y="680533"/>
                    <a:pt x="436817" y="682619"/>
                    <a:pt x="434802" y="683686"/>
                  </a:cubicBezTo>
                  <a:cubicBezTo>
                    <a:pt x="434802" y="683686"/>
                    <a:pt x="434802" y="683686"/>
                    <a:pt x="434802" y="689396"/>
                  </a:cubicBezTo>
                  <a:cubicBezTo>
                    <a:pt x="434802" y="691062"/>
                    <a:pt x="433431" y="692405"/>
                    <a:pt x="431730" y="692405"/>
                  </a:cubicBezTo>
                  <a:cubicBezTo>
                    <a:pt x="430046" y="692405"/>
                    <a:pt x="428658" y="691062"/>
                    <a:pt x="428658" y="689396"/>
                  </a:cubicBezTo>
                  <a:cubicBezTo>
                    <a:pt x="428658" y="689396"/>
                    <a:pt x="428658" y="689396"/>
                    <a:pt x="428658" y="683686"/>
                  </a:cubicBezTo>
                  <a:cubicBezTo>
                    <a:pt x="426659" y="682619"/>
                    <a:pt x="425289" y="680533"/>
                    <a:pt x="425289" y="678139"/>
                  </a:cubicBezTo>
                  <a:cubicBezTo>
                    <a:pt x="425289" y="674661"/>
                    <a:pt x="428179" y="671831"/>
                    <a:pt x="431730" y="671831"/>
                  </a:cubicBezTo>
                  <a:close/>
                  <a:moveTo>
                    <a:pt x="554752" y="671831"/>
                  </a:moveTo>
                  <a:cubicBezTo>
                    <a:pt x="558319" y="671831"/>
                    <a:pt x="561192" y="674661"/>
                    <a:pt x="561192" y="678139"/>
                  </a:cubicBezTo>
                  <a:cubicBezTo>
                    <a:pt x="561192" y="680533"/>
                    <a:pt x="559838" y="682619"/>
                    <a:pt x="557823" y="683686"/>
                  </a:cubicBezTo>
                  <a:cubicBezTo>
                    <a:pt x="557823" y="683686"/>
                    <a:pt x="557823" y="683686"/>
                    <a:pt x="557823" y="689396"/>
                  </a:cubicBezTo>
                  <a:cubicBezTo>
                    <a:pt x="557823" y="691062"/>
                    <a:pt x="556453" y="692405"/>
                    <a:pt x="554752" y="692405"/>
                  </a:cubicBezTo>
                  <a:cubicBezTo>
                    <a:pt x="553067" y="692405"/>
                    <a:pt x="551679" y="691062"/>
                    <a:pt x="551679" y="689396"/>
                  </a:cubicBezTo>
                  <a:cubicBezTo>
                    <a:pt x="551679" y="689396"/>
                    <a:pt x="551679" y="689396"/>
                    <a:pt x="551679" y="683686"/>
                  </a:cubicBezTo>
                  <a:cubicBezTo>
                    <a:pt x="549681" y="682619"/>
                    <a:pt x="548310" y="680533"/>
                    <a:pt x="548310" y="678139"/>
                  </a:cubicBezTo>
                  <a:cubicBezTo>
                    <a:pt x="548310" y="674661"/>
                    <a:pt x="551201" y="671831"/>
                    <a:pt x="554752" y="671831"/>
                  </a:cubicBezTo>
                  <a:close/>
                  <a:moveTo>
                    <a:pt x="841982" y="671831"/>
                  </a:moveTo>
                  <a:cubicBezTo>
                    <a:pt x="845549" y="671831"/>
                    <a:pt x="848423" y="674661"/>
                    <a:pt x="848423" y="678139"/>
                  </a:cubicBezTo>
                  <a:cubicBezTo>
                    <a:pt x="848423" y="680533"/>
                    <a:pt x="847069" y="682619"/>
                    <a:pt x="845053" y="683686"/>
                  </a:cubicBezTo>
                  <a:cubicBezTo>
                    <a:pt x="845053" y="683686"/>
                    <a:pt x="845053" y="683686"/>
                    <a:pt x="845053" y="689396"/>
                  </a:cubicBezTo>
                  <a:cubicBezTo>
                    <a:pt x="845053" y="691062"/>
                    <a:pt x="843683" y="692405"/>
                    <a:pt x="841982" y="692405"/>
                  </a:cubicBezTo>
                  <a:cubicBezTo>
                    <a:pt x="840297" y="692405"/>
                    <a:pt x="838910" y="691062"/>
                    <a:pt x="838910" y="689396"/>
                  </a:cubicBezTo>
                  <a:cubicBezTo>
                    <a:pt x="838910" y="689396"/>
                    <a:pt x="838910" y="689396"/>
                    <a:pt x="838910" y="683686"/>
                  </a:cubicBezTo>
                  <a:cubicBezTo>
                    <a:pt x="836911" y="682619"/>
                    <a:pt x="835540" y="680533"/>
                    <a:pt x="835540" y="678139"/>
                  </a:cubicBezTo>
                  <a:cubicBezTo>
                    <a:pt x="835540" y="674661"/>
                    <a:pt x="838431" y="671831"/>
                    <a:pt x="841982" y="671831"/>
                  </a:cubicBezTo>
                  <a:close/>
                  <a:moveTo>
                    <a:pt x="1016340" y="671831"/>
                  </a:moveTo>
                  <a:cubicBezTo>
                    <a:pt x="1019907" y="671831"/>
                    <a:pt x="1022781" y="674661"/>
                    <a:pt x="1022781" y="678139"/>
                  </a:cubicBezTo>
                  <a:cubicBezTo>
                    <a:pt x="1022781" y="680533"/>
                    <a:pt x="1021427" y="682619"/>
                    <a:pt x="1019412" y="683686"/>
                  </a:cubicBezTo>
                  <a:cubicBezTo>
                    <a:pt x="1019412" y="683686"/>
                    <a:pt x="1019412" y="683686"/>
                    <a:pt x="1019412" y="689396"/>
                  </a:cubicBezTo>
                  <a:cubicBezTo>
                    <a:pt x="1019412" y="691062"/>
                    <a:pt x="1018041" y="692405"/>
                    <a:pt x="1016340" y="692405"/>
                  </a:cubicBezTo>
                  <a:cubicBezTo>
                    <a:pt x="1014655" y="692405"/>
                    <a:pt x="1013268" y="691062"/>
                    <a:pt x="1013268" y="689396"/>
                  </a:cubicBezTo>
                  <a:cubicBezTo>
                    <a:pt x="1013268" y="689396"/>
                    <a:pt x="1013268" y="689396"/>
                    <a:pt x="1013268" y="683686"/>
                  </a:cubicBezTo>
                  <a:cubicBezTo>
                    <a:pt x="1011269" y="682619"/>
                    <a:pt x="1009899" y="680533"/>
                    <a:pt x="1009899" y="678139"/>
                  </a:cubicBezTo>
                  <a:cubicBezTo>
                    <a:pt x="1009899" y="674661"/>
                    <a:pt x="1012789" y="671831"/>
                    <a:pt x="1016340" y="671831"/>
                  </a:cubicBezTo>
                  <a:close/>
                  <a:moveTo>
                    <a:pt x="1077826" y="671831"/>
                  </a:moveTo>
                  <a:cubicBezTo>
                    <a:pt x="1081393" y="671831"/>
                    <a:pt x="1084267" y="674661"/>
                    <a:pt x="1084267" y="678139"/>
                  </a:cubicBezTo>
                  <a:cubicBezTo>
                    <a:pt x="1084267" y="680533"/>
                    <a:pt x="1082913" y="682619"/>
                    <a:pt x="1080898" y="683686"/>
                  </a:cubicBezTo>
                  <a:cubicBezTo>
                    <a:pt x="1080898" y="683686"/>
                    <a:pt x="1080898" y="683686"/>
                    <a:pt x="1080898" y="689396"/>
                  </a:cubicBezTo>
                  <a:cubicBezTo>
                    <a:pt x="1080898" y="691062"/>
                    <a:pt x="1079527" y="692405"/>
                    <a:pt x="1077826" y="692405"/>
                  </a:cubicBezTo>
                  <a:cubicBezTo>
                    <a:pt x="1076141" y="692405"/>
                    <a:pt x="1074754" y="691062"/>
                    <a:pt x="1074754" y="689396"/>
                  </a:cubicBezTo>
                  <a:cubicBezTo>
                    <a:pt x="1074754" y="689396"/>
                    <a:pt x="1074754" y="689396"/>
                    <a:pt x="1074754" y="683686"/>
                  </a:cubicBezTo>
                  <a:cubicBezTo>
                    <a:pt x="1072755" y="682619"/>
                    <a:pt x="1071384" y="680533"/>
                    <a:pt x="1071384" y="678139"/>
                  </a:cubicBezTo>
                  <a:cubicBezTo>
                    <a:pt x="1071384" y="674661"/>
                    <a:pt x="1074275" y="671831"/>
                    <a:pt x="1077826" y="671831"/>
                  </a:cubicBezTo>
                  <a:close/>
                  <a:moveTo>
                    <a:pt x="1252183" y="671831"/>
                  </a:moveTo>
                  <a:cubicBezTo>
                    <a:pt x="1255751" y="671831"/>
                    <a:pt x="1258625" y="674661"/>
                    <a:pt x="1258625" y="678139"/>
                  </a:cubicBezTo>
                  <a:cubicBezTo>
                    <a:pt x="1258625" y="680533"/>
                    <a:pt x="1257270" y="682619"/>
                    <a:pt x="1255255" y="683686"/>
                  </a:cubicBezTo>
                  <a:cubicBezTo>
                    <a:pt x="1255255" y="683686"/>
                    <a:pt x="1255255" y="683686"/>
                    <a:pt x="1255255" y="689396"/>
                  </a:cubicBezTo>
                  <a:cubicBezTo>
                    <a:pt x="1255255" y="691062"/>
                    <a:pt x="1253884" y="692405"/>
                    <a:pt x="1252183" y="692405"/>
                  </a:cubicBezTo>
                  <a:cubicBezTo>
                    <a:pt x="1250499" y="692405"/>
                    <a:pt x="1249111" y="691062"/>
                    <a:pt x="1249111" y="689396"/>
                  </a:cubicBezTo>
                  <a:cubicBezTo>
                    <a:pt x="1249111" y="689396"/>
                    <a:pt x="1249111" y="689396"/>
                    <a:pt x="1249111" y="683686"/>
                  </a:cubicBezTo>
                  <a:cubicBezTo>
                    <a:pt x="1247113" y="682619"/>
                    <a:pt x="1245742" y="680533"/>
                    <a:pt x="1245742" y="678139"/>
                  </a:cubicBezTo>
                  <a:cubicBezTo>
                    <a:pt x="1245742" y="674661"/>
                    <a:pt x="1248632" y="671831"/>
                    <a:pt x="1252183" y="671831"/>
                  </a:cubicBezTo>
                  <a:close/>
                  <a:moveTo>
                    <a:pt x="1313669" y="671831"/>
                  </a:moveTo>
                  <a:cubicBezTo>
                    <a:pt x="1317236" y="671831"/>
                    <a:pt x="1320111" y="674661"/>
                    <a:pt x="1320111" y="678139"/>
                  </a:cubicBezTo>
                  <a:cubicBezTo>
                    <a:pt x="1320111" y="680533"/>
                    <a:pt x="1318756" y="682619"/>
                    <a:pt x="1316741" y="683686"/>
                  </a:cubicBezTo>
                  <a:cubicBezTo>
                    <a:pt x="1316741" y="683686"/>
                    <a:pt x="1316741" y="683686"/>
                    <a:pt x="1316741" y="689396"/>
                  </a:cubicBezTo>
                  <a:cubicBezTo>
                    <a:pt x="1316741" y="691062"/>
                    <a:pt x="1315370" y="692405"/>
                    <a:pt x="1313669" y="692405"/>
                  </a:cubicBezTo>
                  <a:cubicBezTo>
                    <a:pt x="1311984" y="692405"/>
                    <a:pt x="1310597" y="691062"/>
                    <a:pt x="1310597" y="689396"/>
                  </a:cubicBezTo>
                  <a:cubicBezTo>
                    <a:pt x="1310597" y="689396"/>
                    <a:pt x="1310597" y="689396"/>
                    <a:pt x="1310597" y="683686"/>
                  </a:cubicBezTo>
                  <a:cubicBezTo>
                    <a:pt x="1308599" y="682619"/>
                    <a:pt x="1307228" y="680533"/>
                    <a:pt x="1307228" y="678139"/>
                  </a:cubicBezTo>
                  <a:cubicBezTo>
                    <a:pt x="1307228" y="674661"/>
                    <a:pt x="1310118" y="671831"/>
                    <a:pt x="1313669" y="671831"/>
                  </a:cubicBezTo>
                  <a:close/>
                  <a:moveTo>
                    <a:pt x="1488027" y="671831"/>
                  </a:moveTo>
                  <a:cubicBezTo>
                    <a:pt x="1491594" y="671831"/>
                    <a:pt x="1494468" y="674661"/>
                    <a:pt x="1494468" y="678139"/>
                  </a:cubicBezTo>
                  <a:cubicBezTo>
                    <a:pt x="1494468" y="680533"/>
                    <a:pt x="1493114" y="682619"/>
                    <a:pt x="1491099" y="683686"/>
                  </a:cubicBezTo>
                  <a:cubicBezTo>
                    <a:pt x="1491099" y="683686"/>
                    <a:pt x="1491099" y="683686"/>
                    <a:pt x="1491099" y="689396"/>
                  </a:cubicBezTo>
                  <a:cubicBezTo>
                    <a:pt x="1491099" y="691062"/>
                    <a:pt x="1489728" y="692405"/>
                    <a:pt x="1488027" y="692405"/>
                  </a:cubicBezTo>
                  <a:cubicBezTo>
                    <a:pt x="1486342" y="692405"/>
                    <a:pt x="1484955" y="691062"/>
                    <a:pt x="1484955" y="689396"/>
                  </a:cubicBezTo>
                  <a:cubicBezTo>
                    <a:pt x="1484955" y="689396"/>
                    <a:pt x="1484955" y="689396"/>
                    <a:pt x="1484955" y="683686"/>
                  </a:cubicBezTo>
                  <a:cubicBezTo>
                    <a:pt x="1482956" y="682619"/>
                    <a:pt x="1481586" y="680533"/>
                    <a:pt x="1481586" y="678139"/>
                  </a:cubicBezTo>
                  <a:cubicBezTo>
                    <a:pt x="1481586" y="674661"/>
                    <a:pt x="1484476" y="671831"/>
                    <a:pt x="1488027" y="671831"/>
                  </a:cubicBezTo>
                  <a:close/>
                  <a:moveTo>
                    <a:pt x="1775258" y="671831"/>
                  </a:moveTo>
                  <a:cubicBezTo>
                    <a:pt x="1778825" y="671831"/>
                    <a:pt x="1781698" y="674661"/>
                    <a:pt x="1781698" y="678139"/>
                  </a:cubicBezTo>
                  <a:cubicBezTo>
                    <a:pt x="1781698" y="680533"/>
                    <a:pt x="1780344" y="682619"/>
                    <a:pt x="1778330" y="683686"/>
                  </a:cubicBezTo>
                  <a:cubicBezTo>
                    <a:pt x="1778330" y="683686"/>
                    <a:pt x="1778330" y="683686"/>
                    <a:pt x="1778330" y="689396"/>
                  </a:cubicBezTo>
                  <a:cubicBezTo>
                    <a:pt x="1778330" y="691062"/>
                    <a:pt x="1776959" y="692405"/>
                    <a:pt x="1775258" y="692405"/>
                  </a:cubicBezTo>
                  <a:cubicBezTo>
                    <a:pt x="1773573" y="692405"/>
                    <a:pt x="1772185" y="691062"/>
                    <a:pt x="1772185" y="689396"/>
                  </a:cubicBezTo>
                  <a:cubicBezTo>
                    <a:pt x="1772185" y="689396"/>
                    <a:pt x="1772185" y="689396"/>
                    <a:pt x="1772185" y="683686"/>
                  </a:cubicBezTo>
                  <a:cubicBezTo>
                    <a:pt x="1770187" y="682619"/>
                    <a:pt x="1768816" y="680533"/>
                    <a:pt x="1768816" y="678139"/>
                  </a:cubicBezTo>
                  <a:cubicBezTo>
                    <a:pt x="1768816" y="674661"/>
                    <a:pt x="1771707" y="671831"/>
                    <a:pt x="1775258" y="671831"/>
                  </a:cubicBezTo>
                  <a:close/>
                  <a:moveTo>
                    <a:pt x="1836743" y="671831"/>
                  </a:moveTo>
                  <a:cubicBezTo>
                    <a:pt x="1840311" y="671831"/>
                    <a:pt x="1843185" y="674661"/>
                    <a:pt x="1843185" y="678139"/>
                  </a:cubicBezTo>
                  <a:cubicBezTo>
                    <a:pt x="1843185" y="680533"/>
                    <a:pt x="1841830" y="682619"/>
                    <a:pt x="1839816" y="683686"/>
                  </a:cubicBezTo>
                  <a:cubicBezTo>
                    <a:pt x="1839816" y="683686"/>
                    <a:pt x="1839816" y="683686"/>
                    <a:pt x="1839816" y="689396"/>
                  </a:cubicBezTo>
                  <a:cubicBezTo>
                    <a:pt x="1839816" y="691062"/>
                    <a:pt x="1838444" y="692405"/>
                    <a:pt x="1836743" y="692405"/>
                  </a:cubicBezTo>
                  <a:cubicBezTo>
                    <a:pt x="1835059" y="692405"/>
                    <a:pt x="1833671" y="691062"/>
                    <a:pt x="1833671" y="689396"/>
                  </a:cubicBezTo>
                  <a:cubicBezTo>
                    <a:pt x="1833671" y="689396"/>
                    <a:pt x="1833671" y="689396"/>
                    <a:pt x="1833671" y="683686"/>
                  </a:cubicBezTo>
                  <a:cubicBezTo>
                    <a:pt x="1831673" y="682619"/>
                    <a:pt x="1830302" y="680533"/>
                    <a:pt x="1830302" y="678139"/>
                  </a:cubicBezTo>
                  <a:cubicBezTo>
                    <a:pt x="1830302" y="674661"/>
                    <a:pt x="1833192" y="671831"/>
                    <a:pt x="1836743" y="671831"/>
                  </a:cubicBezTo>
                  <a:close/>
                  <a:moveTo>
                    <a:pt x="1959765" y="671831"/>
                  </a:moveTo>
                  <a:cubicBezTo>
                    <a:pt x="1963332" y="671831"/>
                    <a:pt x="1966206" y="674661"/>
                    <a:pt x="1966206" y="678139"/>
                  </a:cubicBezTo>
                  <a:cubicBezTo>
                    <a:pt x="1966206" y="680533"/>
                    <a:pt x="1964851" y="682619"/>
                    <a:pt x="1962837" y="683686"/>
                  </a:cubicBezTo>
                  <a:cubicBezTo>
                    <a:pt x="1962837" y="683686"/>
                    <a:pt x="1962837" y="683686"/>
                    <a:pt x="1962837" y="689396"/>
                  </a:cubicBezTo>
                  <a:cubicBezTo>
                    <a:pt x="1962837" y="691062"/>
                    <a:pt x="1961466" y="692405"/>
                    <a:pt x="1959765" y="692405"/>
                  </a:cubicBezTo>
                  <a:cubicBezTo>
                    <a:pt x="1958080" y="692405"/>
                    <a:pt x="1956692" y="691062"/>
                    <a:pt x="1956692" y="689396"/>
                  </a:cubicBezTo>
                  <a:cubicBezTo>
                    <a:pt x="1956692" y="689396"/>
                    <a:pt x="1956692" y="689396"/>
                    <a:pt x="1956692" y="683686"/>
                  </a:cubicBezTo>
                  <a:cubicBezTo>
                    <a:pt x="1954694" y="682619"/>
                    <a:pt x="1953323" y="680533"/>
                    <a:pt x="1953323" y="678139"/>
                  </a:cubicBezTo>
                  <a:cubicBezTo>
                    <a:pt x="1953323" y="674661"/>
                    <a:pt x="1956214" y="671831"/>
                    <a:pt x="1959765" y="671831"/>
                  </a:cubicBezTo>
                  <a:close/>
                  <a:moveTo>
                    <a:pt x="2246995" y="671831"/>
                  </a:moveTo>
                  <a:cubicBezTo>
                    <a:pt x="2250562" y="671831"/>
                    <a:pt x="2253436" y="674661"/>
                    <a:pt x="2253436" y="678139"/>
                  </a:cubicBezTo>
                  <a:cubicBezTo>
                    <a:pt x="2253436" y="680533"/>
                    <a:pt x="2252082" y="682619"/>
                    <a:pt x="2250067" y="683686"/>
                  </a:cubicBezTo>
                  <a:cubicBezTo>
                    <a:pt x="2250067" y="683686"/>
                    <a:pt x="2250067" y="683686"/>
                    <a:pt x="2250067" y="689396"/>
                  </a:cubicBezTo>
                  <a:cubicBezTo>
                    <a:pt x="2250067" y="691062"/>
                    <a:pt x="2248696" y="692405"/>
                    <a:pt x="2246995" y="692405"/>
                  </a:cubicBezTo>
                  <a:cubicBezTo>
                    <a:pt x="2245310" y="692405"/>
                    <a:pt x="2243923" y="691062"/>
                    <a:pt x="2243923" y="689396"/>
                  </a:cubicBezTo>
                  <a:cubicBezTo>
                    <a:pt x="2243923" y="689396"/>
                    <a:pt x="2243923" y="689396"/>
                    <a:pt x="2243923" y="683686"/>
                  </a:cubicBezTo>
                  <a:cubicBezTo>
                    <a:pt x="2241925" y="682619"/>
                    <a:pt x="2240553" y="680533"/>
                    <a:pt x="2240553" y="678139"/>
                  </a:cubicBezTo>
                  <a:cubicBezTo>
                    <a:pt x="2240553" y="674661"/>
                    <a:pt x="2243444" y="671831"/>
                    <a:pt x="2246995" y="671831"/>
                  </a:cubicBezTo>
                  <a:close/>
                  <a:moveTo>
                    <a:pt x="18915" y="653336"/>
                  </a:moveTo>
                  <a:cubicBezTo>
                    <a:pt x="21756" y="652417"/>
                    <a:pt x="24431" y="653152"/>
                    <a:pt x="26772" y="654991"/>
                  </a:cubicBezTo>
                  <a:cubicBezTo>
                    <a:pt x="27607" y="655727"/>
                    <a:pt x="28277" y="656462"/>
                    <a:pt x="28945" y="657382"/>
                  </a:cubicBezTo>
                  <a:cubicBezTo>
                    <a:pt x="29446" y="658118"/>
                    <a:pt x="29948" y="659036"/>
                    <a:pt x="30450" y="659957"/>
                  </a:cubicBezTo>
                  <a:cubicBezTo>
                    <a:pt x="30784" y="660508"/>
                    <a:pt x="30951" y="661243"/>
                    <a:pt x="31118" y="661795"/>
                  </a:cubicBezTo>
                  <a:cubicBezTo>
                    <a:pt x="31453" y="662715"/>
                    <a:pt x="31620" y="663634"/>
                    <a:pt x="31787" y="664554"/>
                  </a:cubicBezTo>
                  <a:cubicBezTo>
                    <a:pt x="32289" y="666025"/>
                    <a:pt x="32456" y="667496"/>
                    <a:pt x="32456" y="669335"/>
                  </a:cubicBezTo>
                  <a:cubicBezTo>
                    <a:pt x="32456" y="670806"/>
                    <a:pt x="32289" y="672461"/>
                    <a:pt x="31787" y="674300"/>
                  </a:cubicBezTo>
                  <a:cubicBezTo>
                    <a:pt x="31453" y="675219"/>
                    <a:pt x="31286" y="675955"/>
                    <a:pt x="30951" y="676874"/>
                  </a:cubicBezTo>
                  <a:cubicBezTo>
                    <a:pt x="30617" y="677978"/>
                    <a:pt x="30116" y="678898"/>
                    <a:pt x="29446" y="679817"/>
                  </a:cubicBezTo>
                  <a:cubicBezTo>
                    <a:pt x="28778" y="680920"/>
                    <a:pt x="27942" y="681840"/>
                    <a:pt x="27106" y="682759"/>
                  </a:cubicBezTo>
                  <a:cubicBezTo>
                    <a:pt x="26270" y="683495"/>
                    <a:pt x="25267" y="684230"/>
                    <a:pt x="24097" y="684598"/>
                  </a:cubicBezTo>
                  <a:cubicBezTo>
                    <a:pt x="21088" y="685702"/>
                    <a:pt x="18245" y="685149"/>
                    <a:pt x="15738" y="682943"/>
                  </a:cubicBezTo>
                  <a:cubicBezTo>
                    <a:pt x="14902" y="682207"/>
                    <a:pt x="14233" y="681472"/>
                    <a:pt x="13565" y="680552"/>
                  </a:cubicBezTo>
                  <a:cubicBezTo>
                    <a:pt x="12896" y="679633"/>
                    <a:pt x="12394" y="678713"/>
                    <a:pt x="11893" y="677610"/>
                  </a:cubicBezTo>
                  <a:cubicBezTo>
                    <a:pt x="11726" y="677059"/>
                    <a:pt x="11558" y="676507"/>
                    <a:pt x="11224" y="676139"/>
                  </a:cubicBezTo>
                  <a:cubicBezTo>
                    <a:pt x="10890" y="675219"/>
                    <a:pt x="10555" y="674300"/>
                    <a:pt x="10389" y="673197"/>
                  </a:cubicBezTo>
                  <a:cubicBezTo>
                    <a:pt x="9887" y="670070"/>
                    <a:pt x="9887" y="666944"/>
                    <a:pt x="10722" y="663818"/>
                  </a:cubicBezTo>
                  <a:cubicBezTo>
                    <a:pt x="10890" y="663083"/>
                    <a:pt x="11057" y="662347"/>
                    <a:pt x="11392" y="661795"/>
                  </a:cubicBezTo>
                  <a:cubicBezTo>
                    <a:pt x="11726" y="661060"/>
                    <a:pt x="11893" y="660324"/>
                    <a:pt x="12227" y="659772"/>
                  </a:cubicBezTo>
                  <a:cubicBezTo>
                    <a:pt x="12729" y="659036"/>
                    <a:pt x="13064" y="658118"/>
                    <a:pt x="13732" y="657382"/>
                  </a:cubicBezTo>
                  <a:cubicBezTo>
                    <a:pt x="14401" y="656462"/>
                    <a:pt x="15237" y="655543"/>
                    <a:pt x="16240" y="654807"/>
                  </a:cubicBezTo>
                  <a:cubicBezTo>
                    <a:pt x="17076" y="654256"/>
                    <a:pt x="17911" y="653704"/>
                    <a:pt x="18915" y="653336"/>
                  </a:cubicBezTo>
                  <a:close/>
                  <a:moveTo>
                    <a:pt x="141945" y="653336"/>
                  </a:moveTo>
                  <a:cubicBezTo>
                    <a:pt x="144786" y="652417"/>
                    <a:pt x="147461" y="653152"/>
                    <a:pt x="149802" y="654991"/>
                  </a:cubicBezTo>
                  <a:cubicBezTo>
                    <a:pt x="150637" y="655727"/>
                    <a:pt x="151307" y="656462"/>
                    <a:pt x="151975" y="657382"/>
                  </a:cubicBezTo>
                  <a:cubicBezTo>
                    <a:pt x="152477" y="658118"/>
                    <a:pt x="152978" y="659036"/>
                    <a:pt x="153480" y="659957"/>
                  </a:cubicBezTo>
                  <a:cubicBezTo>
                    <a:pt x="153814" y="660508"/>
                    <a:pt x="153981" y="661243"/>
                    <a:pt x="154148" y="661795"/>
                  </a:cubicBezTo>
                  <a:cubicBezTo>
                    <a:pt x="154483" y="662715"/>
                    <a:pt x="154650" y="663634"/>
                    <a:pt x="154818" y="664554"/>
                  </a:cubicBezTo>
                  <a:cubicBezTo>
                    <a:pt x="155319" y="666025"/>
                    <a:pt x="155486" y="667496"/>
                    <a:pt x="155486" y="669335"/>
                  </a:cubicBezTo>
                  <a:cubicBezTo>
                    <a:pt x="155486" y="670806"/>
                    <a:pt x="155319" y="672461"/>
                    <a:pt x="154818" y="674300"/>
                  </a:cubicBezTo>
                  <a:cubicBezTo>
                    <a:pt x="154483" y="675219"/>
                    <a:pt x="154316" y="675955"/>
                    <a:pt x="153981" y="676874"/>
                  </a:cubicBezTo>
                  <a:cubicBezTo>
                    <a:pt x="153647" y="677978"/>
                    <a:pt x="153146" y="678898"/>
                    <a:pt x="152477" y="679817"/>
                  </a:cubicBezTo>
                  <a:cubicBezTo>
                    <a:pt x="151808" y="680920"/>
                    <a:pt x="150972" y="681840"/>
                    <a:pt x="150136" y="682759"/>
                  </a:cubicBezTo>
                  <a:cubicBezTo>
                    <a:pt x="149300" y="683495"/>
                    <a:pt x="148297" y="684230"/>
                    <a:pt x="147127" y="684598"/>
                  </a:cubicBezTo>
                  <a:cubicBezTo>
                    <a:pt x="144118" y="685702"/>
                    <a:pt x="141275" y="685149"/>
                    <a:pt x="138768" y="682943"/>
                  </a:cubicBezTo>
                  <a:cubicBezTo>
                    <a:pt x="137932" y="682207"/>
                    <a:pt x="137263" y="681472"/>
                    <a:pt x="136595" y="680552"/>
                  </a:cubicBezTo>
                  <a:cubicBezTo>
                    <a:pt x="135926" y="679633"/>
                    <a:pt x="135424" y="678713"/>
                    <a:pt x="134923" y="677610"/>
                  </a:cubicBezTo>
                  <a:cubicBezTo>
                    <a:pt x="134756" y="677059"/>
                    <a:pt x="134588" y="676507"/>
                    <a:pt x="134254" y="676139"/>
                  </a:cubicBezTo>
                  <a:cubicBezTo>
                    <a:pt x="133920" y="675219"/>
                    <a:pt x="133585" y="674300"/>
                    <a:pt x="133419" y="673197"/>
                  </a:cubicBezTo>
                  <a:cubicBezTo>
                    <a:pt x="132917" y="670070"/>
                    <a:pt x="132917" y="666944"/>
                    <a:pt x="133753" y="663818"/>
                  </a:cubicBezTo>
                  <a:cubicBezTo>
                    <a:pt x="133920" y="663083"/>
                    <a:pt x="134087" y="662347"/>
                    <a:pt x="134422" y="661795"/>
                  </a:cubicBezTo>
                  <a:cubicBezTo>
                    <a:pt x="134756" y="661060"/>
                    <a:pt x="134923" y="660324"/>
                    <a:pt x="135257" y="659772"/>
                  </a:cubicBezTo>
                  <a:cubicBezTo>
                    <a:pt x="135759" y="659036"/>
                    <a:pt x="136094" y="658118"/>
                    <a:pt x="136762" y="657382"/>
                  </a:cubicBezTo>
                  <a:cubicBezTo>
                    <a:pt x="137431" y="656462"/>
                    <a:pt x="138267" y="655543"/>
                    <a:pt x="139270" y="654807"/>
                  </a:cubicBezTo>
                  <a:cubicBezTo>
                    <a:pt x="140106" y="654256"/>
                    <a:pt x="140942" y="653704"/>
                    <a:pt x="141945" y="653336"/>
                  </a:cubicBezTo>
                  <a:close/>
                  <a:moveTo>
                    <a:pt x="254817" y="653336"/>
                  </a:moveTo>
                  <a:cubicBezTo>
                    <a:pt x="257659" y="652417"/>
                    <a:pt x="260334" y="653152"/>
                    <a:pt x="262674" y="654991"/>
                  </a:cubicBezTo>
                  <a:cubicBezTo>
                    <a:pt x="263510" y="655727"/>
                    <a:pt x="264179" y="656462"/>
                    <a:pt x="264848" y="657382"/>
                  </a:cubicBezTo>
                  <a:cubicBezTo>
                    <a:pt x="265349" y="658118"/>
                    <a:pt x="265851" y="659036"/>
                    <a:pt x="266352" y="659957"/>
                  </a:cubicBezTo>
                  <a:cubicBezTo>
                    <a:pt x="266687" y="660508"/>
                    <a:pt x="266853" y="661243"/>
                    <a:pt x="267021" y="661795"/>
                  </a:cubicBezTo>
                  <a:cubicBezTo>
                    <a:pt x="267355" y="662715"/>
                    <a:pt x="267523" y="663634"/>
                    <a:pt x="267690" y="664554"/>
                  </a:cubicBezTo>
                  <a:cubicBezTo>
                    <a:pt x="268191" y="666025"/>
                    <a:pt x="268358" y="667496"/>
                    <a:pt x="268358" y="669335"/>
                  </a:cubicBezTo>
                  <a:cubicBezTo>
                    <a:pt x="268358" y="670806"/>
                    <a:pt x="268191" y="672461"/>
                    <a:pt x="267690" y="674300"/>
                  </a:cubicBezTo>
                  <a:cubicBezTo>
                    <a:pt x="267355" y="675219"/>
                    <a:pt x="267188" y="675955"/>
                    <a:pt x="266853" y="676874"/>
                  </a:cubicBezTo>
                  <a:cubicBezTo>
                    <a:pt x="266519" y="677978"/>
                    <a:pt x="266018" y="678898"/>
                    <a:pt x="265349" y="679817"/>
                  </a:cubicBezTo>
                  <a:cubicBezTo>
                    <a:pt x="264680" y="680920"/>
                    <a:pt x="263844" y="681840"/>
                    <a:pt x="263009" y="682759"/>
                  </a:cubicBezTo>
                  <a:cubicBezTo>
                    <a:pt x="262173" y="683495"/>
                    <a:pt x="261169" y="684230"/>
                    <a:pt x="260000" y="684598"/>
                  </a:cubicBezTo>
                  <a:cubicBezTo>
                    <a:pt x="256990" y="685702"/>
                    <a:pt x="254148" y="685149"/>
                    <a:pt x="251640" y="682943"/>
                  </a:cubicBezTo>
                  <a:cubicBezTo>
                    <a:pt x="250804" y="682207"/>
                    <a:pt x="250136" y="681472"/>
                    <a:pt x="249467" y="680552"/>
                  </a:cubicBezTo>
                  <a:cubicBezTo>
                    <a:pt x="248799" y="679633"/>
                    <a:pt x="248297" y="678713"/>
                    <a:pt x="247795" y="677610"/>
                  </a:cubicBezTo>
                  <a:cubicBezTo>
                    <a:pt x="247628" y="677059"/>
                    <a:pt x="247461" y="676507"/>
                    <a:pt x="247127" y="676139"/>
                  </a:cubicBezTo>
                  <a:cubicBezTo>
                    <a:pt x="246792" y="675219"/>
                    <a:pt x="246458" y="674300"/>
                    <a:pt x="246291" y="673197"/>
                  </a:cubicBezTo>
                  <a:cubicBezTo>
                    <a:pt x="245789" y="670070"/>
                    <a:pt x="245789" y="666944"/>
                    <a:pt x="246625" y="663818"/>
                  </a:cubicBezTo>
                  <a:cubicBezTo>
                    <a:pt x="246792" y="663083"/>
                    <a:pt x="246959" y="662347"/>
                    <a:pt x="247294" y="661795"/>
                  </a:cubicBezTo>
                  <a:cubicBezTo>
                    <a:pt x="247628" y="661060"/>
                    <a:pt x="247795" y="660324"/>
                    <a:pt x="248129" y="659772"/>
                  </a:cubicBezTo>
                  <a:cubicBezTo>
                    <a:pt x="248631" y="659036"/>
                    <a:pt x="248966" y="658118"/>
                    <a:pt x="249634" y="657382"/>
                  </a:cubicBezTo>
                  <a:cubicBezTo>
                    <a:pt x="250303" y="656462"/>
                    <a:pt x="251139" y="655543"/>
                    <a:pt x="252142" y="654807"/>
                  </a:cubicBezTo>
                  <a:cubicBezTo>
                    <a:pt x="252978" y="654256"/>
                    <a:pt x="253814" y="653704"/>
                    <a:pt x="254817" y="653336"/>
                  </a:cubicBezTo>
                  <a:close/>
                  <a:moveTo>
                    <a:pt x="490661" y="653336"/>
                  </a:moveTo>
                  <a:cubicBezTo>
                    <a:pt x="493502" y="652417"/>
                    <a:pt x="496177" y="653152"/>
                    <a:pt x="498518" y="654991"/>
                  </a:cubicBezTo>
                  <a:cubicBezTo>
                    <a:pt x="499354" y="655727"/>
                    <a:pt x="500023" y="656462"/>
                    <a:pt x="500691" y="657382"/>
                  </a:cubicBezTo>
                  <a:cubicBezTo>
                    <a:pt x="501193" y="658118"/>
                    <a:pt x="501695" y="659036"/>
                    <a:pt x="502196" y="659957"/>
                  </a:cubicBezTo>
                  <a:cubicBezTo>
                    <a:pt x="502531" y="660508"/>
                    <a:pt x="502697" y="661243"/>
                    <a:pt x="502864" y="661795"/>
                  </a:cubicBezTo>
                  <a:cubicBezTo>
                    <a:pt x="503199" y="662715"/>
                    <a:pt x="503366" y="663634"/>
                    <a:pt x="503534" y="664554"/>
                  </a:cubicBezTo>
                  <a:cubicBezTo>
                    <a:pt x="504035" y="666025"/>
                    <a:pt x="504202" y="667496"/>
                    <a:pt x="504202" y="669335"/>
                  </a:cubicBezTo>
                  <a:cubicBezTo>
                    <a:pt x="504202" y="670806"/>
                    <a:pt x="504035" y="672461"/>
                    <a:pt x="503534" y="674300"/>
                  </a:cubicBezTo>
                  <a:cubicBezTo>
                    <a:pt x="503199" y="675219"/>
                    <a:pt x="503032" y="675955"/>
                    <a:pt x="502697" y="676874"/>
                  </a:cubicBezTo>
                  <a:cubicBezTo>
                    <a:pt x="502363" y="677978"/>
                    <a:pt x="501862" y="678898"/>
                    <a:pt x="501193" y="679817"/>
                  </a:cubicBezTo>
                  <a:cubicBezTo>
                    <a:pt x="500524" y="680920"/>
                    <a:pt x="499688" y="681840"/>
                    <a:pt x="498852" y="682759"/>
                  </a:cubicBezTo>
                  <a:cubicBezTo>
                    <a:pt x="498017" y="683495"/>
                    <a:pt x="497013" y="684230"/>
                    <a:pt x="495844" y="684598"/>
                  </a:cubicBezTo>
                  <a:cubicBezTo>
                    <a:pt x="492834" y="685702"/>
                    <a:pt x="489992" y="685149"/>
                    <a:pt x="487484" y="682943"/>
                  </a:cubicBezTo>
                  <a:cubicBezTo>
                    <a:pt x="486648" y="682207"/>
                    <a:pt x="485980" y="681472"/>
                    <a:pt x="485311" y="680552"/>
                  </a:cubicBezTo>
                  <a:cubicBezTo>
                    <a:pt x="484642" y="679633"/>
                    <a:pt x="484141" y="678713"/>
                    <a:pt x="483639" y="677610"/>
                  </a:cubicBezTo>
                  <a:cubicBezTo>
                    <a:pt x="483472" y="677059"/>
                    <a:pt x="483305" y="676507"/>
                    <a:pt x="482971" y="676139"/>
                  </a:cubicBezTo>
                  <a:cubicBezTo>
                    <a:pt x="482636" y="675219"/>
                    <a:pt x="482301" y="674300"/>
                    <a:pt x="482135" y="673197"/>
                  </a:cubicBezTo>
                  <a:cubicBezTo>
                    <a:pt x="481633" y="670070"/>
                    <a:pt x="481633" y="666944"/>
                    <a:pt x="482469" y="663818"/>
                  </a:cubicBezTo>
                  <a:cubicBezTo>
                    <a:pt x="482636" y="663083"/>
                    <a:pt x="482803" y="662347"/>
                    <a:pt x="483138" y="661795"/>
                  </a:cubicBezTo>
                  <a:cubicBezTo>
                    <a:pt x="483472" y="661060"/>
                    <a:pt x="483639" y="660324"/>
                    <a:pt x="483973" y="659772"/>
                  </a:cubicBezTo>
                  <a:cubicBezTo>
                    <a:pt x="484475" y="659036"/>
                    <a:pt x="484810" y="658118"/>
                    <a:pt x="485478" y="657382"/>
                  </a:cubicBezTo>
                  <a:cubicBezTo>
                    <a:pt x="486147" y="656462"/>
                    <a:pt x="486983" y="655543"/>
                    <a:pt x="487986" y="654807"/>
                  </a:cubicBezTo>
                  <a:cubicBezTo>
                    <a:pt x="488822" y="654256"/>
                    <a:pt x="489658" y="653704"/>
                    <a:pt x="490661" y="653336"/>
                  </a:cubicBezTo>
                  <a:close/>
                  <a:moveTo>
                    <a:pt x="613682" y="653336"/>
                  </a:moveTo>
                  <a:cubicBezTo>
                    <a:pt x="616524" y="652417"/>
                    <a:pt x="619199" y="653152"/>
                    <a:pt x="621540" y="654991"/>
                  </a:cubicBezTo>
                  <a:cubicBezTo>
                    <a:pt x="622375" y="655727"/>
                    <a:pt x="623044" y="656462"/>
                    <a:pt x="623713" y="657382"/>
                  </a:cubicBezTo>
                  <a:cubicBezTo>
                    <a:pt x="624214" y="658118"/>
                    <a:pt x="624716" y="659036"/>
                    <a:pt x="625217" y="659957"/>
                  </a:cubicBezTo>
                  <a:cubicBezTo>
                    <a:pt x="625552" y="660508"/>
                    <a:pt x="625718" y="661243"/>
                    <a:pt x="625886" y="661795"/>
                  </a:cubicBezTo>
                  <a:cubicBezTo>
                    <a:pt x="626220" y="662715"/>
                    <a:pt x="626388" y="663634"/>
                    <a:pt x="626555" y="664554"/>
                  </a:cubicBezTo>
                  <a:cubicBezTo>
                    <a:pt x="627056" y="666025"/>
                    <a:pt x="627224" y="667496"/>
                    <a:pt x="627224" y="669335"/>
                  </a:cubicBezTo>
                  <a:cubicBezTo>
                    <a:pt x="627224" y="670806"/>
                    <a:pt x="627056" y="672461"/>
                    <a:pt x="626555" y="674300"/>
                  </a:cubicBezTo>
                  <a:cubicBezTo>
                    <a:pt x="626220" y="675219"/>
                    <a:pt x="626053" y="675955"/>
                    <a:pt x="625718" y="676874"/>
                  </a:cubicBezTo>
                  <a:cubicBezTo>
                    <a:pt x="625384" y="677978"/>
                    <a:pt x="624883" y="678898"/>
                    <a:pt x="624214" y="679817"/>
                  </a:cubicBezTo>
                  <a:cubicBezTo>
                    <a:pt x="623545" y="680920"/>
                    <a:pt x="622709" y="681840"/>
                    <a:pt x="621874" y="682759"/>
                  </a:cubicBezTo>
                  <a:cubicBezTo>
                    <a:pt x="621038" y="683495"/>
                    <a:pt x="620035" y="684230"/>
                    <a:pt x="618865" y="684598"/>
                  </a:cubicBezTo>
                  <a:cubicBezTo>
                    <a:pt x="615855" y="685702"/>
                    <a:pt x="613013" y="685149"/>
                    <a:pt x="610505" y="682943"/>
                  </a:cubicBezTo>
                  <a:cubicBezTo>
                    <a:pt x="609669" y="682207"/>
                    <a:pt x="609001" y="681472"/>
                    <a:pt x="608332" y="680552"/>
                  </a:cubicBezTo>
                  <a:cubicBezTo>
                    <a:pt x="607664" y="679633"/>
                    <a:pt x="607162" y="678713"/>
                    <a:pt x="606660" y="677610"/>
                  </a:cubicBezTo>
                  <a:cubicBezTo>
                    <a:pt x="606493" y="677059"/>
                    <a:pt x="606326" y="676507"/>
                    <a:pt x="605992" y="676139"/>
                  </a:cubicBezTo>
                  <a:cubicBezTo>
                    <a:pt x="605657" y="675219"/>
                    <a:pt x="605323" y="674300"/>
                    <a:pt x="605156" y="673197"/>
                  </a:cubicBezTo>
                  <a:cubicBezTo>
                    <a:pt x="604654" y="670070"/>
                    <a:pt x="604654" y="666944"/>
                    <a:pt x="605490" y="663818"/>
                  </a:cubicBezTo>
                  <a:cubicBezTo>
                    <a:pt x="605657" y="663083"/>
                    <a:pt x="605825" y="662347"/>
                    <a:pt x="606159" y="661795"/>
                  </a:cubicBezTo>
                  <a:cubicBezTo>
                    <a:pt x="606493" y="661060"/>
                    <a:pt x="606660" y="660324"/>
                    <a:pt x="606994" y="659772"/>
                  </a:cubicBezTo>
                  <a:cubicBezTo>
                    <a:pt x="607496" y="659036"/>
                    <a:pt x="607831" y="658118"/>
                    <a:pt x="608500" y="657382"/>
                  </a:cubicBezTo>
                  <a:cubicBezTo>
                    <a:pt x="609168" y="656462"/>
                    <a:pt x="610004" y="655543"/>
                    <a:pt x="611007" y="654807"/>
                  </a:cubicBezTo>
                  <a:cubicBezTo>
                    <a:pt x="611843" y="654256"/>
                    <a:pt x="612679" y="653704"/>
                    <a:pt x="613682" y="653336"/>
                  </a:cubicBezTo>
                  <a:close/>
                  <a:moveTo>
                    <a:pt x="777891" y="653336"/>
                  </a:moveTo>
                  <a:cubicBezTo>
                    <a:pt x="780733" y="652417"/>
                    <a:pt x="783408" y="653152"/>
                    <a:pt x="785749" y="654991"/>
                  </a:cubicBezTo>
                  <a:cubicBezTo>
                    <a:pt x="786584" y="655727"/>
                    <a:pt x="787253" y="656462"/>
                    <a:pt x="787922" y="657382"/>
                  </a:cubicBezTo>
                  <a:cubicBezTo>
                    <a:pt x="788423" y="658118"/>
                    <a:pt x="788925" y="659036"/>
                    <a:pt x="789426" y="659957"/>
                  </a:cubicBezTo>
                  <a:cubicBezTo>
                    <a:pt x="789761" y="660508"/>
                    <a:pt x="789928" y="661243"/>
                    <a:pt x="790095" y="661795"/>
                  </a:cubicBezTo>
                  <a:cubicBezTo>
                    <a:pt x="790430" y="662715"/>
                    <a:pt x="790597" y="663634"/>
                    <a:pt x="790764" y="664554"/>
                  </a:cubicBezTo>
                  <a:cubicBezTo>
                    <a:pt x="791265" y="666025"/>
                    <a:pt x="791433" y="667496"/>
                    <a:pt x="791433" y="669335"/>
                  </a:cubicBezTo>
                  <a:cubicBezTo>
                    <a:pt x="791433" y="670806"/>
                    <a:pt x="791265" y="672461"/>
                    <a:pt x="790764" y="674300"/>
                  </a:cubicBezTo>
                  <a:cubicBezTo>
                    <a:pt x="790430" y="675219"/>
                    <a:pt x="790262" y="675955"/>
                    <a:pt x="789928" y="676874"/>
                  </a:cubicBezTo>
                  <a:cubicBezTo>
                    <a:pt x="789594" y="677978"/>
                    <a:pt x="789092" y="678898"/>
                    <a:pt x="788423" y="679817"/>
                  </a:cubicBezTo>
                  <a:cubicBezTo>
                    <a:pt x="787755" y="680920"/>
                    <a:pt x="786919" y="681840"/>
                    <a:pt x="786083" y="682759"/>
                  </a:cubicBezTo>
                  <a:cubicBezTo>
                    <a:pt x="785247" y="683495"/>
                    <a:pt x="784244" y="684230"/>
                    <a:pt x="783074" y="684598"/>
                  </a:cubicBezTo>
                  <a:cubicBezTo>
                    <a:pt x="780064" y="685702"/>
                    <a:pt x="777222" y="685149"/>
                    <a:pt x="774714" y="682943"/>
                  </a:cubicBezTo>
                  <a:cubicBezTo>
                    <a:pt x="773879" y="682207"/>
                    <a:pt x="773210" y="681472"/>
                    <a:pt x="772541" y="680552"/>
                  </a:cubicBezTo>
                  <a:cubicBezTo>
                    <a:pt x="771873" y="679633"/>
                    <a:pt x="771371" y="678713"/>
                    <a:pt x="770870" y="677610"/>
                  </a:cubicBezTo>
                  <a:cubicBezTo>
                    <a:pt x="770702" y="677059"/>
                    <a:pt x="770535" y="676507"/>
                    <a:pt x="770201" y="676139"/>
                  </a:cubicBezTo>
                  <a:cubicBezTo>
                    <a:pt x="769866" y="675219"/>
                    <a:pt x="769532" y="674300"/>
                    <a:pt x="769365" y="673197"/>
                  </a:cubicBezTo>
                  <a:cubicBezTo>
                    <a:pt x="768863" y="670070"/>
                    <a:pt x="768863" y="666944"/>
                    <a:pt x="769699" y="663818"/>
                  </a:cubicBezTo>
                  <a:cubicBezTo>
                    <a:pt x="769866" y="663083"/>
                    <a:pt x="770034" y="662347"/>
                    <a:pt x="770368" y="661795"/>
                  </a:cubicBezTo>
                  <a:cubicBezTo>
                    <a:pt x="770702" y="661060"/>
                    <a:pt x="770870" y="660324"/>
                    <a:pt x="771204" y="659772"/>
                  </a:cubicBezTo>
                  <a:cubicBezTo>
                    <a:pt x="771706" y="659036"/>
                    <a:pt x="772040" y="658118"/>
                    <a:pt x="772709" y="657382"/>
                  </a:cubicBezTo>
                  <a:cubicBezTo>
                    <a:pt x="773377" y="656462"/>
                    <a:pt x="774213" y="655543"/>
                    <a:pt x="775216" y="654807"/>
                  </a:cubicBezTo>
                  <a:cubicBezTo>
                    <a:pt x="776052" y="654256"/>
                    <a:pt x="776888" y="653704"/>
                    <a:pt x="777891" y="653336"/>
                  </a:cubicBezTo>
                  <a:close/>
                  <a:moveTo>
                    <a:pt x="900913" y="653336"/>
                  </a:moveTo>
                  <a:cubicBezTo>
                    <a:pt x="903754" y="652417"/>
                    <a:pt x="906429" y="653152"/>
                    <a:pt x="908770" y="654991"/>
                  </a:cubicBezTo>
                  <a:cubicBezTo>
                    <a:pt x="909605" y="655727"/>
                    <a:pt x="910275" y="656462"/>
                    <a:pt x="910943" y="657382"/>
                  </a:cubicBezTo>
                  <a:cubicBezTo>
                    <a:pt x="911444" y="658118"/>
                    <a:pt x="911946" y="659036"/>
                    <a:pt x="912448" y="659957"/>
                  </a:cubicBezTo>
                  <a:cubicBezTo>
                    <a:pt x="912782" y="660508"/>
                    <a:pt x="912949" y="661243"/>
                    <a:pt x="913116" y="661795"/>
                  </a:cubicBezTo>
                  <a:cubicBezTo>
                    <a:pt x="913451" y="662715"/>
                    <a:pt x="913618" y="663634"/>
                    <a:pt x="913785" y="664554"/>
                  </a:cubicBezTo>
                  <a:cubicBezTo>
                    <a:pt x="914287" y="666025"/>
                    <a:pt x="914454" y="667496"/>
                    <a:pt x="914454" y="669335"/>
                  </a:cubicBezTo>
                  <a:cubicBezTo>
                    <a:pt x="914454" y="670806"/>
                    <a:pt x="914287" y="672461"/>
                    <a:pt x="913785" y="674300"/>
                  </a:cubicBezTo>
                  <a:cubicBezTo>
                    <a:pt x="913451" y="675219"/>
                    <a:pt x="913283" y="675955"/>
                    <a:pt x="912949" y="676874"/>
                  </a:cubicBezTo>
                  <a:cubicBezTo>
                    <a:pt x="912615" y="677978"/>
                    <a:pt x="912114" y="678898"/>
                    <a:pt x="911444" y="679817"/>
                  </a:cubicBezTo>
                  <a:cubicBezTo>
                    <a:pt x="910776" y="680920"/>
                    <a:pt x="909940" y="681840"/>
                    <a:pt x="909104" y="682759"/>
                  </a:cubicBezTo>
                  <a:cubicBezTo>
                    <a:pt x="908268" y="683495"/>
                    <a:pt x="907265" y="684230"/>
                    <a:pt x="906095" y="684598"/>
                  </a:cubicBezTo>
                  <a:cubicBezTo>
                    <a:pt x="903086" y="685702"/>
                    <a:pt x="900243" y="685149"/>
                    <a:pt x="897736" y="682943"/>
                  </a:cubicBezTo>
                  <a:cubicBezTo>
                    <a:pt x="896900" y="682207"/>
                    <a:pt x="896231" y="681472"/>
                    <a:pt x="895563" y="680552"/>
                  </a:cubicBezTo>
                  <a:cubicBezTo>
                    <a:pt x="894894" y="679633"/>
                    <a:pt x="894392" y="678713"/>
                    <a:pt x="893891" y="677610"/>
                  </a:cubicBezTo>
                  <a:cubicBezTo>
                    <a:pt x="893724" y="677059"/>
                    <a:pt x="893556" y="676507"/>
                    <a:pt x="893222" y="676139"/>
                  </a:cubicBezTo>
                  <a:cubicBezTo>
                    <a:pt x="892888" y="675219"/>
                    <a:pt x="892553" y="674300"/>
                    <a:pt x="892386" y="673197"/>
                  </a:cubicBezTo>
                  <a:cubicBezTo>
                    <a:pt x="891884" y="670070"/>
                    <a:pt x="891884" y="666944"/>
                    <a:pt x="892720" y="663818"/>
                  </a:cubicBezTo>
                  <a:cubicBezTo>
                    <a:pt x="892888" y="663083"/>
                    <a:pt x="893055" y="662347"/>
                    <a:pt x="893390" y="661795"/>
                  </a:cubicBezTo>
                  <a:cubicBezTo>
                    <a:pt x="893724" y="661060"/>
                    <a:pt x="893891" y="660324"/>
                    <a:pt x="894225" y="659772"/>
                  </a:cubicBezTo>
                  <a:cubicBezTo>
                    <a:pt x="894727" y="659036"/>
                    <a:pt x="895061" y="658118"/>
                    <a:pt x="895730" y="657382"/>
                  </a:cubicBezTo>
                  <a:cubicBezTo>
                    <a:pt x="896399" y="656462"/>
                    <a:pt x="897234" y="655543"/>
                    <a:pt x="898238" y="654807"/>
                  </a:cubicBezTo>
                  <a:cubicBezTo>
                    <a:pt x="899073" y="654256"/>
                    <a:pt x="899909" y="653704"/>
                    <a:pt x="900913" y="653336"/>
                  </a:cubicBezTo>
                  <a:close/>
                  <a:moveTo>
                    <a:pt x="1188093" y="653336"/>
                  </a:moveTo>
                  <a:cubicBezTo>
                    <a:pt x="1190934" y="652417"/>
                    <a:pt x="1193610" y="653152"/>
                    <a:pt x="1195950" y="654991"/>
                  </a:cubicBezTo>
                  <a:cubicBezTo>
                    <a:pt x="1196785" y="655727"/>
                    <a:pt x="1197455" y="656462"/>
                    <a:pt x="1198123" y="657382"/>
                  </a:cubicBezTo>
                  <a:cubicBezTo>
                    <a:pt x="1198624" y="658118"/>
                    <a:pt x="1199126" y="659036"/>
                    <a:pt x="1199628" y="659957"/>
                  </a:cubicBezTo>
                  <a:cubicBezTo>
                    <a:pt x="1199962" y="660508"/>
                    <a:pt x="1200130" y="661243"/>
                    <a:pt x="1200297" y="661795"/>
                  </a:cubicBezTo>
                  <a:cubicBezTo>
                    <a:pt x="1200631" y="662715"/>
                    <a:pt x="1200798" y="663634"/>
                    <a:pt x="1200965" y="664554"/>
                  </a:cubicBezTo>
                  <a:cubicBezTo>
                    <a:pt x="1201467" y="666025"/>
                    <a:pt x="1201634" y="667496"/>
                    <a:pt x="1201634" y="669335"/>
                  </a:cubicBezTo>
                  <a:cubicBezTo>
                    <a:pt x="1201634" y="670806"/>
                    <a:pt x="1201467" y="672461"/>
                    <a:pt x="1200965" y="674300"/>
                  </a:cubicBezTo>
                  <a:cubicBezTo>
                    <a:pt x="1200631" y="675219"/>
                    <a:pt x="1200463" y="675955"/>
                    <a:pt x="1200130" y="676874"/>
                  </a:cubicBezTo>
                  <a:cubicBezTo>
                    <a:pt x="1199795" y="677978"/>
                    <a:pt x="1199294" y="678898"/>
                    <a:pt x="1198624" y="679817"/>
                  </a:cubicBezTo>
                  <a:cubicBezTo>
                    <a:pt x="1197956" y="680920"/>
                    <a:pt x="1197120" y="681840"/>
                    <a:pt x="1196284" y="682759"/>
                  </a:cubicBezTo>
                  <a:cubicBezTo>
                    <a:pt x="1195448" y="683495"/>
                    <a:pt x="1194446" y="684230"/>
                    <a:pt x="1193275" y="684598"/>
                  </a:cubicBezTo>
                  <a:cubicBezTo>
                    <a:pt x="1190266" y="685702"/>
                    <a:pt x="1187424" y="685149"/>
                    <a:pt x="1184916" y="682943"/>
                  </a:cubicBezTo>
                  <a:cubicBezTo>
                    <a:pt x="1184080" y="682207"/>
                    <a:pt x="1183412" y="681472"/>
                    <a:pt x="1182743" y="680552"/>
                  </a:cubicBezTo>
                  <a:cubicBezTo>
                    <a:pt x="1182074" y="679633"/>
                    <a:pt x="1181573" y="678713"/>
                    <a:pt x="1181071" y="677610"/>
                  </a:cubicBezTo>
                  <a:cubicBezTo>
                    <a:pt x="1180904" y="677059"/>
                    <a:pt x="1180736" y="676507"/>
                    <a:pt x="1180402" y="676139"/>
                  </a:cubicBezTo>
                  <a:cubicBezTo>
                    <a:pt x="1180068" y="675219"/>
                    <a:pt x="1179734" y="674300"/>
                    <a:pt x="1179566" y="673197"/>
                  </a:cubicBezTo>
                  <a:cubicBezTo>
                    <a:pt x="1179065" y="670070"/>
                    <a:pt x="1179065" y="666944"/>
                    <a:pt x="1179901" y="663818"/>
                  </a:cubicBezTo>
                  <a:cubicBezTo>
                    <a:pt x="1180068" y="663083"/>
                    <a:pt x="1180235" y="662347"/>
                    <a:pt x="1180570" y="661795"/>
                  </a:cubicBezTo>
                  <a:cubicBezTo>
                    <a:pt x="1180904" y="661060"/>
                    <a:pt x="1181071" y="660324"/>
                    <a:pt x="1181406" y="659772"/>
                  </a:cubicBezTo>
                  <a:cubicBezTo>
                    <a:pt x="1181907" y="659036"/>
                    <a:pt x="1182241" y="658118"/>
                    <a:pt x="1182910" y="657382"/>
                  </a:cubicBezTo>
                  <a:cubicBezTo>
                    <a:pt x="1183579" y="656462"/>
                    <a:pt x="1184414" y="655543"/>
                    <a:pt x="1185418" y="654807"/>
                  </a:cubicBezTo>
                  <a:cubicBezTo>
                    <a:pt x="1186254" y="654256"/>
                    <a:pt x="1187089" y="653704"/>
                    <a:pt x="1188093" y="653336"/>
                  </a:cubicBezTo>
                  <a:close/>
                  <a:moveTo>
                    <a:pt x="1423936" y="653336"/>
                  </a:moveTo>
                  <a:cubicBezTo>
                    <a:pt x="1426778" y="652417"/>
                    <a:pt x="1429453" y="653152"/>
                    <a:pt x="1431793" y="654991"/>
                  </a:cubicBezTo>
                  <a:cubicBezTo>
                    <a:pt x="1432629" y="655727"/>
                    <a:pt x="1433298" y="656462"/>
                    <a:pt x="1433966" y="657382"/>
                  </a:cubicBezTo>
                  <a:cubicBezTo>
                    <a:pt x="1434468" y="658118"/>
                    <a:pt x="1434970" y="659036"/>
                    <a:pt x="1435472" y="659957"/>
                  </a:cubicBezTo>
                  <a:cubicBezTo>
                    <a:pt x="1435805" y="660508"/>
                    <a:pt x="1435973" y="661243"/>
                    <a:pt x="1436140" y="661795"/>
                  </a:cubicBezTo>
                  <a:cubicBezTo>
                    <a:pt x="1436475" y="662715"/>
                    <a:pt x="1436641" y="663634"/>
                    <a:pt x="1436809" y="664554"/>
                  </a:cubicBezTo>
                  <a:cubicBezTo>
                    <a:pt x="1437311" y="666025"/>
                    <a:pt x="1437477" y="667496"/>
                    <a:pt x="1437477" y="669335"/>
                  </a:cubicBezTo>
                  <a:cubicBezTo>
                    <a:pt x="1437477" y="670806"/>
                    <a:pt x="1437311" y="672461"/>
                    <a:pt x="1436809" y="674300"/>
                  </a:cubicBezTo>
                  <a:cubicBezTo>
                    <a:pt x="1436475" y="675219"/>
                    <a:pt x="1436307" y="675955"/>
                    <a:pt x="1435973" y="676874"/>
                  </a:cubicBezTo>
                  <a:cubicBezTo>
                    <a:pt x="1435638" y="677978"/>
                    <a:pt x="1435137" y="678898"/>
                    <a:pt x="1434468" y="679817"/>
                  </a:cubicBezTo>
                  <a:cubicBezTo>
                    <a:pt x="1433800" y="680920"/>
                    <a:pt x="1432964" y="681840"/>
                    <a:pt x="1432128" y="682759"/>
                  </a:cubicBezTo>
                  <a:cubicBezTo>
                    <a:pt x="1431292" y="683495"/>
                    <a:pt x="1430289" y="684230"/>
                    <a:pt x="1429118" y="684598"/>
                  </a:cubicBezTo>
                  <a:cubicBezTo>
                    <a:pt x="1426110" y="685702"/>
                    <a:pt x="1423267" y="685149"/>
                    <a:pt x="1420760" y="682943"/>
                  </a:cubicBezTo>
                  <a:cubicBezTo>
                    <a:pt x="1419924" y="682207"/>
                    <a:pt x="1419255" y="681472"/>
                    <a:pt x="1418587" y="680552"/>
                  </a:cubicBezTo>
                  <a:cubicBezTo>
                    <a:pt x="1417917" y="679633"/>
                    <a:pt x="1417416" y="678713"/>
                    <a:pt x="1416914" y="677610"/>
                  </a:cubicBezTo>
                  <a:cubicBezTo>
                    <a:pt x="1416748" y="677059"/>
                    <a:pt x="1416580" y="676507"/>
                    <a:pt x="1416246" y="676139"/>
                  </a:cubicBezTo>
                  <a:cubicBezTo>
                    <a:pt x="1415912" y="675219"/>
                    <a:pt x="1415577" y="674300"/>
                    <a:pt x="1415410" y="673197"/>
                  </a:cubicBezTo>
                  <a:cubicBezTo>
                    <a:pt x="1414908" y="670070"/>
                    <a:pt x="1414908" y="666944"/>
                    <a:pt x="1415744" y="663818"/>
                  </a:cubicBezTo>
                  <a:cubicBezTo>
                    <a:pt x="1415912" y="663083"/>
                    <a:pt x="1416079" y="662347"/>
                    <a:pt x="1416413" y="661795"/>
                  </a:cubicBezTo>
                  <a:cubicBezTo>
                    <a:pt x="1416748" y="661060"/>
                    <a:pt x="1416914" y="660324"/>
                    <a:pt x="1417249" y="659772"/>
                  </a:cubicBezTo>
                  <a:cubicBezTo>
                    <a:pt x="1417751" y="659036"/>
                    <a:pt x="1418085" y="658118"/>
                    <a:pt x="1418753" y="657382"/>
                  </a:cubicBezTo>
                  <a:cubicBezTo>
                    <a:pt x="1419422" y="656462"/>
                    <a:pt x="1420258" y="655543"/>
                    <a:pt x="1421261" y="654807"/>
                  </a:cubicBezTo>
                  <a:cubicBezTo>
                    <a:pt x="1422097" y="654256"/>
                    <a:pt x="1422933" y="653704"/>
                    <a:pt x="1423936" y="653336"/>
                  </a:cubicBezTo>
                  <a:close/>
                  <a:moveTo>
                    <a:pt x="1546957" y="653336"/>
                  </a:moveTo>
                  <a:cubicBezTo>
                    <a:pt x="1549799" y="652417"/>
                    <a:pt x="1552474" y="653152"/>
                    <a:pt x="1554815" y="654991"/>
                  </a:cubicBezTo>
                  <a:cubicBezTo>
                    <a:pt x="1555650" y="655727"/>
                    <a:pt x="1556319" y="656462"/>
                    <a:pt x="1556988" y="657382"/>
                  </a:cubicBezTo>
                  <a:cubicBezTo>
                    <a:pt x="1557490" y="658118"/>
                    <a:pt x="1557991" y="659036"/>
                    <a:pt x="1558493" y="659957"/>
                  </a:cubicBezTo>
                  <a:cubicBezTo>
                    <a:pt x="1558827" y="660508"/>
                    <a:pt x="1558994" y="661243"/>
                    <a:pt x="1559161" y="661795"/>
                  </a:cubicBezTo>
                  <a:cubicBezTo>
                    <a:pt x="1559496" y="662715"/>
                    <a:pt x="1559663" y="663634"/>
                    <a:pt x="1559830" y="664554"/>
                  </a:cubicBezTo>
                  <a:cubicBezTo>
                    <a:pt x="1560332" y="666025"/>
                    <a:pt x="1560499" y="667496"/>
                    <a:pt x="1560499" y="669335"/>
                  </a:cubicBezTo>
                  <a:cubicBezTo>
                    <a:pt x="1560499" y="670806"/>
                    <a:pt x="1560332" y="672461"/>
                    <a:pt x="1559830" y="674300"/>
                  </a:cubicBezTo>
                  <a:cubicBezTo>
                    <a:pt x="1559496" y="675219"/>
                    <a:pt x="1559329" y="675955"/>
                    <a:pt x="1558994" y="676874"/>
                  </a:cubicBezTo>
                  <a:cubicBezTo>
                    <a:pt x="1558660" y="677978"/>
                    <a:pt x="1558158" y="678898"/>
                    <a:pt x="1557490" y="679817"/>
                  </a:cubicBezTo>
                  <a:cubicBezTo>
                    <a:pt x="1556821" y="680920"/>
                    <a:pt x="1555985" y="681840"/>
                    <a:pt x="1555149" y="682759"/>
                  </a:cubicBezTo>
                  <a:cubicBezTo>
                    <a:pt x="1554313" y="683495"/>
                    <a:pt x="1553310" y="684230"/>
                    <a:pt x="1552140" y="684598"/>
                  </a:cubicBezTo>
                  <a:cubicBezTo>
                    <a:pt x="1549131" y="685702"/>
                    <a:pt x="1546288" y="685149"/>
                    <a:pt x="1543781" y="682943"/>
                  </a:cubicBezTo>
                  <a:cubicBezTo>
                    <a:pt x="1542945" y="682207"/>
                    <a:pt x="1542276" y="681472"/>
                    <a:pt x="1541608" y="680552"/>
                  </a:cubicBezTo>
                  <a:cubicBezTo>
                    <a:pt x="1540939" y="679633"/>
                    <a:pt x="1540437" y="678713"/>
                    <a:pt x="1539936" y="677610"/>
                  </a:cubicBezTo>
                  <a:cubicBezTo>
                    <a:pt x="1539769" y="677059"/>
                    <a:pt x="1539601" y="676507"/>
                    <a:pt x="1539267" y="676139"/>
                  </a:cubicBezTo>
                  <a:cubicBezTo>
                    <a:pt x="1538933" y="675219"/>
                    <a:pt x="1538598" y="674300"/>
                    <a:pt x="1538431" y="673197"/>
                  </a:cubicBezTo>
                  <a:cubicBezTo>
                    <a:pt x="1537930" y="670070"/>
                    <a:pt x="1537930" y="666944"/>
                    <a:pt x="1538766" y="663818"/>
                  </a:cubicBezTo>
                  <a:cubicBezTo>
                    <a:pt x="1538933" y="663083"/>
                    <a:pt x="1539100" y="662347"/>
                    <a:pt x="1539434" y="661795"/>
                  </a:cubicBezTo>
                  <a:cubicBezTo>
                    <a:pt x="1539769" y="661060"/>
                    <a:pt x="1539936" y="660324"/>
                    <a:pt x="1540270" y="659772"/>
                  </a:cubicBezTo>
                  <a:cubicBezTo>
                    <a:pt x="1540772" y="659036"/>
                    <a:pt x="1541106" y="658118"/>
                    <a:pt x="1541774" y="657382"/>
                  </a:cubicBezTo>
                  <a:cubicBezTo>
                    <a:pt x="1542444" y="656462"/>
                    <a:pt x="1543280" y="655543"/>
                    <a:pt x="1544282" y="654807"/>
                  </a:cubicBezTo>
                  <a:cubicBezTo>
                    <a:pt x="1545119" y="654256"/>
                    <a:pt x="1545954" y="653704"/>
                    <a:pt x="1546957" y="653336"/>
                  </a:cubicBezTo>
                  <a:close/>
                  <a:moveTo>
                    <a:pt x="1659829" y="653336"/>
                  </a:moveTo>
                  <a:cubicBezTo>
                    <a:pt x="1662672" y="652417"/>
                    <a:pt x="1665347" y="653152"/>
                    <a:pt x="1667687" y="654991"/>
                  </a:cubicBezTo>
                  <a:cubicBezTo>
                    <a:pt x="1668523" y="655727"/>
                    <a:pt x="1669191" y="656462"/>
                    <a:pt x="1669861" y="657382"/>
                  </a:cubicBezTo>
                  <a:cubicBezTo>
                    <a:pt x="1670362" y="658118"/>
                    <a:pt x="1670863" y="659036"/>
                    <a:pt x="1671365" y="659957"/>
                  </a:cubicBezTo>
                  <a:cubicBezTo>
                    <a:pt x="1671700" y="660508"/>
                    <a:pt x="1671866" y="661243"/>
                    <a:pt x="1672034" y="661795"/>
                  </a:cubicBezTo>
                  <a:cubicBezTo>
                    <a:pt x="1672368" y="662715"/>
                    <a:pt x="1672535" y="663634"/>
                    <a:pt x="1672702" y="664554"/>
                  </a:cubicBezTo>
                  <a:cubicBezTo>
                    <a:pt x="1673204" y="666025"/>
                    <a:pt x="1673371" y="667496"/>
                    <a:pt x="1673371" y="669335"/>
                  </a:cubicBezTo>
                  <a:cubicBezTo>
                    <a:pt x="1673371" y="670806"/>
                    <a:pt x="1673204" y="672461"/>
                    <a:pt x="1672702" y="674300"/>
                  </a:cubicBezTo>
                  <a:cubicBezTo>
                    <a:pt x="1672368" y="675219"/>
                    <a:pt x="1672201" y="675955"/>
                    <a:pt x="1671866" y="676874"/>
                  </a:cubicBezTo>
                  <a:cubicBezTo>
                    <a:pt x="1671532" y="677978"/>
                    <a:pt x="1671030" y="678898"/>
                    <a:pt x="1670362" y="679817"/>
                  </a:cubicBezTo>
                  <a:cubicBezTo>
                    <a:pt x="1669693" y="680920"/>
                    <a:pt x="1668857" y="681840"/>
                    <a:pt x="1668022" y="682759"/>
                  </a:cubicBezTo>
                  <a:cubicBezTo>
                    <a:pt x="1667186" y="683495"/>
                    <a:pt x="1666182" y="684230"/>
                    <a:pt x="1665012" y="684598"/>
                  </a:cubicBezTo>
                  <a:cubicBezTo>
                    <a:pt x="1662003" y="685702"/>
                    <a:pt x="1659161" y="685149"/>
                    <a:pt x="1656653" y="682943"/>
                  </a:cubicBezTo>
                  <a:cubicBezTo>
                    <a:pt x="1655817" y="682207"/>
                    <a:pt x="1655149" y="681472"/>
                    <a:pt x="1654480" y="680552"/>
                  </a:cubicBezTo>
                  <a:cubicBezTo>
                    <a:pt x="1653811" y="679633"/>
                    <a:pt x="1653310" y="678713"/>
                    <a:pt x="1652808" y="677610"/>
                  </a:cubicBezTo>
                  <a:cubicBezTo>
                    <a:pt x="1652641" y="677059"/>
                    <a:pt x="1652474" y="676507"/>
                    <a:pt x="1652139" y="676139"/>
                  </a:cubicBezTo>
                  <a:cubicBezTo>
                    <a:pt x="1651805" y="675219"/>
                    <a:pt x="1651471" y="674300"/>
                    <a:pt x="1651303" y="673197"/>
                  </a:cubicBezTo>
                  <a:cubicBezTo>
                    <a:pt x="1650802" y="670070"/>
                    <a:pt x="1650802" y="666944"/>
                    <a:pt x="1651638" y="663818"/>
                  </a:cubicBezTo>
                  <a:cubicBezTo>
                    <a:pt x="1651805" y="663083"/>
                    <a:pt x="1651972" y="662347"/>
                    <a:pt x="1652306" y="661795"/>
                  </a:cubicBezTo>
                  <a:cubicBezTo>
                    <a:pt x="1652641" y="661060"/>
                    <a:pt x="1652808" y="660324"/>
                    <a:pt x="1653142" y="659772"/>
                  </a:cubicBezTo>
                  <a:cubicBezTo>
                    <a:pt x="1653644" y="659036"/>
                    <a:pt x="1653978" y="658118"/>
                    <a:pt x="1654647" y="657382"/>
                  </a:cubicBezTo>
                  <a:cubicBezTo>
                    <a:pt x="1655316" y="656462"/>
                    <a:pt x="1656152" y="655543"/>
                    <a:pt x="1657154" y="654807"/>
                  </a:cubicBezTo>
                  <a:cubicBezTo>
                    <a:pt x="1657991" y="654256"/>
                    <a:pt x="1658827" y="653704"/>
                    <a:pt x="1659829" y="653336"/>
                  </a:cubicBezTo>
                  <a:close/>
                  <a:moveTo>
                    <a:pt x="1895673" y="653336"/>
                  </a:moveTo>
                  <a:cubicBezTo>
                    <a:pt x="1898516" y="652417"/>
                    <a:pt x="1901190" y="653152"/>
                    <a:pt x="1903531" y="654991"/>
                  </a:cubicBezTo>
                  <a:cubicBezTo>
                    <a:pt x="1904367" y="655727"/>
                    <a:pt x="1905035" y="656462"/>
                    <a:pt x="1905704" y="657382"/>
                  </a:cubicBezTo>
                  <a:cubicBezTo>
                    <a:pt x="1906206" y="658118"/>
                    <a:pt x="1906707" y="659036"/>
                    <a:pt x="1907209" y="659957"/>
                  </a:cubicBezTo>
                  <a:cubicBezTo>
                    <a:pt x="1907544" y="660508"/>
                    <a:pt x="1907710" y="661243"/>
                    <a:pt x="1907877" y="661795"/>
                  </a:cubicBezTo>
                  <a:cubicBezTo>
                    <a:pt x="1908212" y="662715"/>
                    <a:pt x="1908379" y="663634"/>
                    <a:pt x="1908546" y="664554"/>
                  </a:cubicBezTo>
                  <a:cubicBezTo>
                    <a:pt x="1909048" y="666025"/>
                    <a:pt x="1909215" y="667496"/>
                    <a:pt x="1909215" y="669335"/>
                  </a:cubicBezTo>
                  <a:cubicBezTo>
                    <a:pt x="1909215" y="670806"/>
                    <a:pt x="1909048" y="672461"/>
                    <a:pt x="1908546" y="674300"/>
                  </a:cubicBezTo>
                  <a:cubicBezTo>
                    <a:pt x="1908212" y="675219"/>
                    <a:pt x="1908045" y="675955"/>
                    <a:pt x="1907710" y="676874"/>
                  </a:cubicBezTo>
                  <a:cubicBezTo>
                    <a:pt x="1907376" y="677978"/>
                    <a:pt x="1906874" y="678898"/>
                    <a:pt x="1906206" y="679817"/>
                  </a:cubicBezTo>
                  <a:cubicBezTo>
                    <a:pt x="1905537" y="680920"/>
                    <a:pt x="1904701" y="681840"/>
                    <a:pt x="1903865" y="682759"/>
                  </a:cubicBezTo>
                  <a:cubicBezTo>
                    <a:pt x="1903030" y="683495"/>
                    <a:pt x="1902026" y="684230"/>
                    <a:pt x="1900856" y="684598"/>
                  </a:cubicBezTo>
                  <a:cubicBezTo>
                    <a:pt x="1897847" y="685702"/>
                    <a:pt x="1895005" y="685149"/>
                    <a:pt x="1892497" y="682943"/>
                  </a:cubicBezTo>
                  <a:cubicBezTo>
                    <a:pt x="1891661" y="682207"/>
                    <a:pt x="1890993" y="681472"/>
                    <a:pt x="1890324" y="680552"/>
                  </a:cubicBezTo>
                  <a:cubicBezTo>
                    <a:pt x="1889655" y="679633"/>
                    <a:pt x="1889154" y="678713"/>
                    <a:pt x="1888652" y="677610"/>
                  </a:cubicBezTo>
                  <a:cubicBezTo>
                    <a:pt x="1888485" y="677059"/>
                    <a:pt x="1888318" y="676507"/>
                    <a:pt x="1887983" y="676139"/>
                  </a:cubicBezTo>
                  <a:cubicBezTo>
                    <a:pt x="1887649" y="675219"/>
                    <a:pt x="1887314" y="674300"/>
                    <a:pt x="1887148" y="673197"/>
                  </a:cubicBezTo>
                  <a:cubicBezTo>
                    <a:pt x="1886646" y="670070"/>
                    <a:pt x="1886646" y="666944"/>
                    <a:pt x="1887482" y="663818"/>
                  </a:cubicBezTo>
                  <a:cubicBezTo>
                    <a:pt x="1887649" y="663083"/>
                    <a:pt x="1887816" y="662347"/>
                    <a:pt x="1888150" y="661795"/>
                  </a:cubicBezTo>
                  <a:cubicBezTo>
                    <a:pt x="1888485" y="661060"/>
                    <a:pt x="1888652" y="660324"/>
                    <a:pt x="1888986" y="659772"/>
                  </a:cubicBezTo>
                  <a:cubicBezTo>
                    <a:pt x="1889488" y="659036"/>
                    <a:pt x="1889822" y="658118"/>
                    <a:pt x="1890491" y="657382"/>
                  </a:cubicBezTo>
                  <a:cubicBezTo>
                    <a:pt x="1891160" y="656462"/>
                    <a:pt x="1891996" y="655543"/>
                    <a:pt x="1892999" y="654807"/>
                  </a:cubicBezTo>
                  <a:cubicBezTo>
                    <a:pt x="1893835" y="654256"/>
                    <a:pt x="1894671" y="653704"/>
                    <a:pt x="1895673" y="653336"/>
                  </a:cubicBezTo>
                  <a:close/>
                  <a:moveTo>
                    <a:pt x="2018694" y="653336"/>
                  </a:moveTo>
                  <a:cubicBezTo>
                    <a:pt x="2021537" y="652417"/>
                    <a:pt x="2024212" y="653152"/>
                    <a:pt x="2026552" y="654991"/>
                  </a:cubicBezTo>
                  <a:cubicBezTo>
                    <a:pt x="2027388" y="655727"/>
                    <a:pt x="2028056" y="656462"/>
                    <a:pt x="2028726" y="657382"/>
                  </a:cubicBezTo>
                  <a:cubicBezTo>
                    <a:pt x="2029227" y="658118"/>
                    <a:pt x="2029728" y="659036"/>
                    <a:pt x="2030230" y="659957"/>
                  </a:cubicBezTo>
                  <a:cubicBezTo>
                    <a:pt x="2030565" y="660508"/>
                    <a:pt x="2030731" y="661243"/>
                    <a:pt x="2030899" y="661795"/>
                  </a:cubicBezTo>
                  <a:cubicBezTo>
                    <a:pt x="2031233" y="662715"/>
                    <a:pt x="2031400" y="663634"/>
                    <a:pt x="2031567" y="664554"/>
                  </a:cubicBezTo>
                  <a:cubicBezTo>
                    <a:pt x="2032069" y="666025"/>
                    <a:pt x="2032237" y="667496"/>
                    <a:pt x="2032237" y="669335"/>
                  </a:cubicBezTo>
                  <a:cubicBezTo>
                    <a:pt x="2032237" y="670806"/>
                    <a:pt x="2032069" y="672461"/>
                    <a:pt x="2031567" y="674300"/>
                  </a:cubicBezTo>
                  <a:cubicBezTo>
                    <a:pt x="2031233" y="675219"/>
                    <a:pt x="2031066" y="675955"/>
                    <a:pt x="2030731" y="676874"/>
                  </a:cubicBezTo>
                  <a:cubicBezTo>
                    <a:pt x="2030397" y="677978"/>
                    <a:pt x="2029896" y="678898"/>
                    <a:pt x="2029227" y="679817"/>
                  </a:cubicBezTo>
                  <a:cubicBezTo>
                    <a:pt x="2028558" y="680920"/>
                    <a:pt x="2027723" y="681840"/>
                    <a:pt x="2026887" y="682759"/>
                  </a:cubicBezTo>
                  <a:cubicBezTo>
                    <a:pt x="2026051" y="683495"/>
                    <a:pt x="2025048" y="684230"/>
                    <a:pt x="2023877" y="684598"/>
                  </a:cubicBezTo>
                  <a:cubicBezTo>
                    <a:pt x="2020868" y="685702"/>
                    <a:pt x="2018026" y="685149"/>
                    <a:pt x="2015518" y="682943"/>
                  </a:cubicBezTo>
                  <a:cubicBezTo>
                    <a:pt x="2014682" y="682207"/>
                    <a:pt x="2014014" y="681472"/>
                    <a:pt x="2013345" y="680552"/>
                  </a:cubicBezTo>
                  <a:cubicBezTo>
                    <a:pt x="2012677" y="679633"/>
                    <a:pt x="2012175" y="678713"/>
                    <a:pt x="2011673" y="677610"/>
                  </a:cubicBezTo>
                  <a:cubicBezTo>
                    <a:pt x="2011506" y="677059"/>
                    <a:pt x="2011339" y="676507"/>
                    <a:pt x="2011004" y="676139"/>
                  </a:cubicBezTo>
                  <a:cubicBezTo>
                    <a:pt x="2010670" y="675219"/>
                    <a:pt x="2010336" y="674300"/>
                    <a:pt x="2010169" y="673197"/>
                  </a:cubicBezTo>
                  <a:cubicBezTo>
                    <a:pt x="2009667" y="670070"/>
                    <a:pt x="2009667" y="666944"/>
                    <a:pt x="2010503" y="663818"/>
                  </a:cubicBezTo>
                  <a:cubicBezTo>
                    <a:pt x="2010670" y="663083"/>
                    <a:pt x="2010838" y="662347"/>
                    <a:pt x="2011172" y="661795"/>
                  </a:cubicBezTo>
                  <a:cubicBezTo>
                    <a:pt x="2011506" y="661060"/>
                    <a:pt x="2011673" y="660324"/>
                    <a:pt x="2012007" y="659772"/>
                  </a:cubicBezTo>
                  <a:cubicBezTo>
                    <a:pt x="2012509" y="659036"/>
                    <a:pt x="2012843" y="658118"/>
                    <a:pt x="2013513" y="657382"/>
                  </a:cubicBezTo>
                  <a:cubicBezTo>
                    <a:pt x="2014181" y="656462"/>
                    <a:pt x="2015017" y="655543"/>
                    <a:pt x="2016020" y="654807"/>
                  </a:cubicBezTo>
                  <a:cubicBezTo>
                    <a:pt x="2016856" y="654256"/>
                    <a:pt x="2017692" y="653704"/>
                    <a:pt x="2018694" y="653336"/>
                  </a:cubicBezTo>
                  <a:close/>
                  <a:moveTo>
                    <a:pt x="2182904" y="653336"/>
                  </a:moveTo>
                  <a:cubicBezTo>
                    <a:pt x="2185747" y="652417"/>
                    <a:pt x="2188422" y="653152"/>
                    <a:pt x="2190762" y="654991"/>
                  </a:cubicBezTo>
                  <a:cubicBezTo>
                    <a:pt x="2191598" y="655727"/>
                    <a:pt x="2192266" y="656462"/>
                    <a:pt x="2192935" y="657382"/>
                  </a:cubicBezTo>
                  <a:cubicBezTo>
                    <a:pt x="2193437" y="658118"/>
                    <a:pt x="2193938" y="659036"/>
                    <a:pt x="2194439" y="659957"/>
                  </a:cubicBezTo>
                  <a:cubicBezTo>
                    <a:pt x="2194774" y="660508"/>
                    <a:pt x="2194941" y="661243"/>
                    <a:pt x="2195108" y="661795"/>
                  </a:cubicBezTo>
                  <a:cubicBezTo>
                    <a:pt x="2195442" y="662715"/>
                    <a:pt x="2195610" y="663634"/>
                    <a:pt x="2195777" y="664554"/>
                  </a:cubicBezTo>
                  <a:cubicBezTo>
                    <a:pt x="2196278" y="666025"/>
                    <a:pt x="2196446" y="667496"/>
                    <a:pt x="2196446" y="669335"/>
                  </a:cubicBezTo>
                  <a:cubicBezTo>
                    <a:pt x="2196446" y="670806"/>
                    <a:pt x="2196278" y="672461"/>
                    <a:pt x="2195777" y="674300"/>
                  </a:cubicBezTo>
                  <a:cubicBezTo>
                    <a:pt x="2195442" y="675219"/>
                    <a:pt x="2195276" y="675955"/>
                    <a:pt x="2194941" y="676874"/>
                  </a:cubicBezTo>
                  <a:cubicBezTo>
                    <a:pt x="2194607" y="677978"/>
                    <a:pt x="2194105" y="678898"/>
                    <a:pt x="2193437" y="679817"/>
                  </a:cubicBezTo>
                  <a:cubicBezTo>
                    <a:pt x="2192768" y="680920"/>
                    <a:pt x="2191932" y="681840"/>
                    <a:pt x="2191096" y="682759"/>
                  </a:cubicBezTo>
                  <a:cubicBezTo>
                    <a:pt x="2190261" y="683495"/>
                    <a:pt x="2189257" y="684230"/>
                    <a:pt x="2188087" y="684598"/>
                  </a:cubicBezTo>
                  <a:cubicBezTo>
                    <a:pt x="2185077" y="685702"/>
                    <a:pt x="2182236" y="685149"/>
                    <a:pt x="2179728" y="682943"/>
                  </a:cubicBezTo>
                  <a:cubicBezTo>
                    <a:pt x="2178892" y="682207"/>
                    <a:pt x="2178224" y="681472"/>
                    <a:pt x="2177554" y="680552"/>
                  </a:cubicBezTo>
                  <a:cubicBezTo>
                    <a:pt x="2176886" y="679633"/>
                    <a:pt x="2176385" y="678713"/>
                    <a:pt x="2175883" y="677610"/>
                  </a:cubicBezTo>
                  <a:cubicBezTo>
                    <a:pt x="2175715" y="677059"/>
                    <a:pt x="2175549" y="676507"/>
                    <a:pt x="2175214" y="676139"/>
                  </a:cubicBezTo>
                  <a:cubicBezTo>
                    <a:pt x="2174879" y="675219"/>
                    <a:pt x="2174545" y="674300"/>
                    <a:pt x="2174378" y="673197"/>
                  </a:cubicBezTo>
                  <a:cubicBezTo>
                    <a:pt x="2173876" y="670070"/>
                    <a:pt x="2173876" y="666944"/>
                    <a:pt x="2174712" y="663818"/>
                  </a:cubicBezTo>
                  <a:cubicBezTo>
                    <a:pt x="2174879" y="663083"/>
                    <a:pt x="2175047" y="662347"/>
                    <a:pt x="2175381" y="661795"/>
                  </a:cubicBezTo>
                  <a:cubicBezTo>
                    <a:pt x="2175715" y="661060"/>
                    <a:pt x="2175883" y="660324"/>
                    <a:pt x="2176217" y="659772"/>
                  </a:cubicBezTo>
                  <a:cubicBezTo>
                    <a:pt x="2176719" y="659036"/>
                    <a:pt x="2177053" y="658118"/>
                    <a:pt x="2177722" y="657382"/>
                  </a:cubicBezTo>
                  <a:cubicBezTo>
                    <a:pt x="2178390" y="656462"/>
                    <a:pt x="2179226" y="655543"/>
                    <a:pt x="2180229" y="654807"/>
                  </a:cubicBezTo>
                  <a:cubicBezTo>
                    <a:pt x="2181065" y="654256"/>
                    <a:pt x="2181901" y="653704"/>
                    <a:pt x="2182904" y="653336"/>
                  </a:cubicBezTo>
                  <a:close/>
                  <a:moveTo>
                    <a:pt x="83192" y="645498"/>
                  </a:moveTo>
                  <a:cubicBezTo>
                    <a:pt x="86758" y="645498"/>
                    <a:pt x="89816" y="647666"/>
                    <a:pt x="91123" y="650755"/>
                  </a:cubicBezTo>
                  <a:lnTo>
                    <a:pt x="91752" y="653872"/>
                  </a:lnTo>
                  <a:lnTo>
                    <a:pt x="89548" y="653872"/>
                  </a:lnTo>
                  <a:cubicBezTo>
                    <a:pt x="86330" y="653872"/>
                    <a:pt x="82235" y="653872"/>
                    <a:pt x="77022" y="653872"/>
                  </a:cubicBezTo>
                  <a:lnTo>
                    <a:pt x="74632" y="653872"/>
                  </a:lnTo>
                  <a:lnTo>
                    <a:pt x="75261" y="650755"/>
                  </a:lnTo>
                  <a:cubicBezTo>
                    <a:pt x="76569" y="647666"/>
                    <a:pt x="79627" y="645498"/>
                    <a:pt x="83192" y="645498"/>
                  </a:cubicBezTo>
                  <a:close/>
                  <a:moveTo>
                    <a:pt x="370423" y="645498"/>
                  </a:moveTo>
                  <a:cubicBezTo>
                    <a:pt x="373988" y="645498"/>
                    <a:pt x="377047" y="647666"/>
                    <a:pt x="378353" y="650755"/>
                  </a:cubicBezTo>
                  <a:lnTo>
                    <a:pt x="378982" y="653872"/>
                  </a:lnTo>
                  <a:lnTo>
                    <a:pt x="376779" y="653872"/>
                  </a:lnTo>
                  <a:cubicBezTo>
                    <a:pt x="373561" y="653872"/>
                    <a:pt x="369465" y="653872"/>
                    <a:pt x="364253" y="653872"/>
                  </a:cubicBezTo>
                  <a:lnTo>
                    <a:pt x="361863" y="653872"/>
                  </a:lnTo>
                  <a:lnTo>
                    <a:pt x="362492" y="650755"/>
                  </a:lnTo>
                  <a:cubicBezTo>
                    <a:pt x="363799" y="647666"/>
                    <a:pt x="366858" y="645498"/>
                    <a:pt x="370423" y="645498"/>
                  </a:cubicBezTo>
                  <a:close/>
                  <a:moveTo>
                    <a:pt x="431909" y="645498"/>
                  </a:moveTo>
                  <a:cubicBezTo>
                    <a:pt x="435474" y="645498"/>
                    <a:pt x="438532" y="647666"/>
                    <a:pt x="439839" y="650755"/>
                  </a:cubicBezTo>
                  <a:lnTo>
                    <a:pt x="440468" y="653872"/>
                  </a:lnTo>
                  <a:lnTo>
                    <a:pt x="438264" y="653872"/>
                  </a:lnTo>
                  <a:cubicBezTo>
                    <a:pt x="435047" y="653872"/>
                    <a:pt x="430951" y="653872"/>
                    <a:pt x="425738" y="653872"/>
                  </a:cubicBezTo>
                  <a:lnTo>
                    <a:pt x="423348" y="653872"/>
                  </a:lnTo>
                  <a:lnTo>
                    <a:pt x="423978" y="650755"/>
                  </a:lnTo>
                  <a:cubicBezTo>
                    <a:pt x="425285" y="647666"/>
                    <a:pt x="428343" y="645498"/>
                    <a:pt x="431909" y="645498"/>
                  </a:cubicBezTo>
                  <a:close/>
                  <a:moveTo>
                    <a:pt x="554930" y="645498"/>
                  </a:moveTo>
                  <a:cubicBezTo>
                    <a:pt x="558495" y="645498"/>
                    <a:pt x="561554" y="647666"/>
                    <a:pt x="562860" y="650755"/>
                  </a:cubicBezTo>
                  <a:lnTo>
                    <a:pt x="563489" y="653872"/>
                  </a:lnTo>
                  <a:lnTo>
                    <a:pt x="561286" y="653872"/>
                  </a:lnTo>
                  <a:cubicBezTo>
                    <a:pt x="558068" y="653872"/>
                    <a:pt x="553972" y="653872"/>
                    <a:pt x="548760" y="653872"/>
                  </a:cubicBezTo>
                  <a:lnTo>
                    <a:pt x="546370" y="653872"/>
                  </a:lnTo>
                  <a:lnTo>
                    <a:pt x="546999" y="650755"/>
                  </a:lnTo>
                  <a:cubicBezTo>
                    <a:pt x="548306" y="647666"/>
                    <a:pt x="551365" y="645498"/>
                    <a:pt x="554930" y="645498"/>
                  </a:cubicBezTo>
                  <a:close/>
                  <a:moveTo>
                    <a:pt x="842160" y="645498"/>
                  </a:moveTo>
                  <a:cubicBezTo>
                    <a:pt x="845725" y="645498"/>
                    <a:pt x="848784" y="647666"/>
                    <a:pt x="850091" y="650755"/>
                  </a:cubicBezTo>
                  <a:lnTo>
                    <a:pt x="850720" y="653872"/>
                  </a:lnTo>
                  <a:lnTo>
                    <a:pt x="848516" y="653872"/>
                  </a:lnTo>
                  <a:cubicBezTo>
                    <a:pt x="845298" y="653872"/>
                    <a:pt x="841203" y="653872"/>
                    <a:pt x="835990" y="653872"/>
                  </a:cubicBezTo>
                  <a:lnTo>
                    <a:pt x="833600" y="653872"/>
                  </a:lnTo>
                  <a:lnTo>
                    <a:pt x="834230" y="650755"/>
                  </a:lnTo>
                  <a:cubicBezTo>
                    <a:pt x="835536" y="647666"/>
                    <a:pt x="838595" y="645498"/>
                    <a:pt x="842160" y="645498"/>
                  </a:cubicBezTo>
                  <a:close/>
                  <a:moveTo>
                    <a:pt x="1016518" y="645498"/>
                  </a:moveTo>
                  <a:cubicBezTo>
                    <a:pt x="1020084" y="645498"/>
                    <a:pt x="1023142" y="647666"/>
                    <a:pt x="1024449" y="650755"/>
                  </a:cubicBezTo>
                  <a:lnTo>
                    <a:pt x="1025078" y="653872"/>
                  </a:lnTo>
                  <a:lnTo>
                    <a:pt x="1022874" y="653872"/>
                  </a:lnTo>
                  <a:cubicBezTo>
                    <a:pt x="1019656" y="653872"/>
                    <a:pt x="1015561" y="653872"/>
                    <a:pt x="1010348" y="653872"/>
                  </a:cubicBezTo>
                  <a:lnTo>
                    <a:pt x="1007958" y="653872"/>
                  </a:lnTo>
                  <a:lnTo>
                    <a:pt x="1008588" y="650755"/>
                  </a:lnTo>
                  <a:cubicBezTo>
                    <a:pt x="1009895" y="647666"/>
                    <a:pt x="1012953" y="645498"/>
                    <a:pt x="1016518" y="645498"/>
                  </a:cubicBezTo>
                  <a:close/>
                  <a:moveTo>
                    <a:pt x="1078004" y="645498"/>
                  </a:moveTo>
                  <a:cubicBezTo>
                    <a:pt x="1081569" y="645498"/>
                    <a:pt x="1084628" y="647666"/>
                    <a:pt x="1085934" y="650755"/>
                  </a:cubicBezTo>
                  <a:lnTo>
                    <a:pt x="1086564" y="653872"/>
                  </a:lnTo>
                  <a:lnTo>
                    <a:pt x="1084360" y="653872"/>
                  </a:lnTo>
                  <a:cubicBezTo>
                    <a:pt x="1081142" y="653872"/>
                    <a:pt x="1077046" y="653872"/>
                    <a:pt x="1071834" y="653872"/>
                  </a:cubicBezTo>
                  <a:lnTo>
                    <a:pt x="1069444" y="653872"/>
                  </a:lnTo>
                  <a:lnTo>
                    <a:pt x="1070074" y="650755"/>
                  </a:lnTo>
                  <a:cubicBezTo>
                    <a:pt x="1071380" y="647666"/>
                    <a:pt x="1074439" y="645498"/>
                    <a:pt x="1078004" y="645498"/>
                  </a:cubicBezTo>
                  <a:close/>
                  <a:moveTo>
                    <a:pt x="1252361" y="645498"/>
                  </a:moveTo>
                  <a:cubicBezTo>
                    <a:pt x="1255927" y="645498"/>
                    <a:pt x="1258986" y="647666"/>
                    <a:pt x="1260292" y="650755"/>
                  </a:cubicBezTo>
                  <a:lnTo>
                    <a:pt x="1260921" y="653872"/>
                  </a:lnTo>
                  <a:lnTo>
                    <a:pt x="1258718" y="653872"/>
                  </a:lnTo>
                  <a:cubicBezTo>
                    <a:pt x="1255500" y="653872"/>
                    <a:pt x="1251405" y="653872"/>
                    <a:pt x="1246192" y="653872"/>
                  </a:cubicBezTo>
                  <a:lnTo>
                    <a:pt x="1243802" y="653872"/>
                  </a:lnTo>
                  <a:lnTo>
                    <a:pt x="1244431" y="650755"/>
                  </a:lnTo>
                  <a:cubicBezTo>
                    <a:pt x="1245738" y="647666"/>
                    <a:pt x="1248796" y="645498"/>
                    <a:pt x="1252361" y="645498"/>
                  </a:cubicBezTo>
                  <a:close/>
                  <a:moveTo>
                    <a:pt x="1313847" y="645498"/>
                  </a:moveTo>
                  <a:cubicBezTo>
                    <a:pt x="1317413" y="645498"/>
                    <a:pt x="1320471" y="647666"/>
                    <a:pt x="1321778" y="650755"/>
                  </a:cubicBezTo>
                  <a:lnTo>
                    <a:pt x="1322407" y="653872"/>
                  </a:lnTo>
                  <a:lnTo>
                    <a:pt x="1320204" y="653872"/>
                  </a:lnTo>
                  <a:cubicBezTo>
                    <a:pt x="1316985" y="653872"/>
                    <a:pt x="1312890" y="653872"/>
                    <a:pt x="1307677" y="653872"/>
                  </a:cubicBezTo>
                  <a:lnTo>
                    <a:pt x="1305288" y="653872"/>
                  </a:lnTo>
                  <a:lnTo>
                    <a:pt x="1305917" y="650755"/>
                  </a:lnTo>
                  <a:cubicBezTo>
                    <a:pt x="1307223" y="647666"/>
                    <a:pt x="1310282" y="645498"/>
                    <a:pt x="1313847" y="645498"/>
                  </a:cubicBezTo>
                  <a:close/>
                  <a:moveTo>
                    <a:pt x="1488205" y="645498"/>
                  </a:moveTo>
                  <a:cubicBezTo>
                    <a:pt x="1491771" y="645498"/>
                    <a:pt x="1494829" y="647666"/>
                    <a:pt x="1496136" y="650755"/>
                  </a:cubicBezTo>
                  <a:lnTo>
                    <a:pt x="1496765" y="653872"/>
                  </a:lnTo>
                  <a:lnTo>
                    <a:pt x="1494561" y="653872"/>
                  </a:lnTo>
                  <a:cubicBezTo>
                    <a:pt x="1491343" y="653872"/>
                    <a:pt x="1487248" y="653872"/>
                    <a:pt x="1482035" y="653872"/>
                  </a:cubicBezTo>
                  <a:lnTo>
                    <a:pt x="1479645" y="653872"/>
                  </a:lnTo>
                  <a:lnTo>
                    <a:pt x="1480275" y="650755"/>
                  </a:lnTo>
                  <a:cubicBezTo>
                    <a:pt x="1481582" y="647666"/>
                    <a:pt x="1484640" y="645498"/>
                    <a:pt x="1488205" y="645498"/>
                  </a:cubicBezTo>
                  <a:close/>
                  <a:moveTo>
                    <a:pt x="1775436" y="645498"/>
                  </a:moveTo>
                  <a:cubicBezTo>
                    <a:pt x="1779001" y="645498"/>
                    <a:pt x="1782060" y="647666"/>
                    <a:pt x="1783366" y="650755"/>
                  </a:cubicBezTo>
                  <a:lnTo>
                    <a:pt x="1783996" y="653872"/>
                  </a:lnTo>
                  <a:lnTo>
                    <a:pt x="1781792" y="653872"/>
                  </a:lnTo>
                  <a:cubicBezTo>
                    <a:pt x="1778574" y="653872"/>
                    <a:pt x="1774478" y="653872"/>
                    <a:pt x="1769266" y="653872"/>
                  </a:cubicBezTo>
                  <a:lnTo>
                    <a:pt x="1766876" y="653872"/>
                  </a:lnTo>
                  <a:lnTo>
                    <a:pt x="1767505" y="650755"/>
                  </a:lnTo>
                  <a:cubicBezTo>
                    <a:pt x="1768812" y="647666"/>
                    <a:pt x="1771871" y="645498"/>
                    <a:pt x="1775436" y="645498"/>
                  </a:cubicBezTo>
                  <a:close/>
                  <a:moveTo>
                    <a:pt x="1836922" y="645498"/>
                  </a:moveTo>
                  <a:cubicBezTo>
                    <a:pt x="1840487" y="645498"/>
                    <a:pt x="1843545" y="647666"/>
                    <a:pt x="1844852" y="650755"/>
                  </a:cubicBezTo>
                  <a:lnTo>
                    <a:pt x="1845482" y="653872"/>
                  </a:lnTo>
                  <a:lnTo>
                    <a:pt x="1843277" y="653872"/>
                  </a:lnTo>
                  <a:cubicBezTo>
                    <a:pt x="1840060" y="653872"/>
                    <a:pt x="1835964" y="653872"/>
                    <a:pt x="1830751" y="653872"/>
                  </a:cubicBezTo>
                  <a:lnTo>
                    <a:pt x="1828361" y="653872"/>
                  </a:lnTo>
                  <a:lnTo>
                    <a:pt x="1828991" y="650755"/>
                  </a:lnTo>
                  <a:cubicBezTo>
                    <a:pt x="1830298" y="647666"/>
                    <a:pt x="1833356" y="645498"/>
                    <a:pt x="1836922" y="645498"/>
                  </a:cubicBezTo>
                  <a:close/>
                  <a:moveTo>
                    <a:pt x="1959943" y="645498"/>
                  </a:moveTo>
                  <a:cubicBezTo>
                    <a:pt x="1963508" y="645498"/>
                    <a:pt x="1966567" y="647666"/>
                    <a:pt x="1967873" y="650755"/>
                  </a:cubicBezTo>
                  <a:lnTo>
                    <a:pt x="1968503" y="653872"/>
                  </a:lnTo>
                  <a:lnTo>
                    <a:pt x="1966299" y="653872"/>
                  </a:lnTo>
                  <a:cubicBezTo>
                    <a:pt x="1963081" y="653872"/>
                    <a:pt x="1958985" y="653872"/>
                    <a:pt x="1953773" y="653872"/>
                  </a:cubicBezTo>
                  <a:lnTo>
                    <a:pt x="1951383" y="653872"/>
                  </a:lnTo>
                  <a:lnTo>
                    <a:pt x="1952012" y="650755"/>
                  </a:lnTo>
                  <a:cubicBezTo>
                    <a:pt x="1953319" y="647666"/>
                    <a:pt x="1956378" y="645498"/>
                    <a:pt x="1959943" y="645498"/>
                  </a:cubicBezTo>
                  <a:close/>
                  <a:moveTo>
                    <a:pt x="2247173" y="645498"/>
                  </a:moveTo>
                  <a:cubicBezTo>
                    <a:pt x="2250738" y="645498"/>
                    <a:pt x="2253798" y="647666"/>
                    <a:pt x="2255103" y="650755"/>
                  </a:cubicBezTo>
                  <a:lnTo>
                    <a:pt x="2255733" y="653872"/>
                  </a:lnTo>
                  <a:lnTo>
                    <a:pt x="2253530" y="653872"/>
                  </a:lnTo>
                  <a:cubicBezTo>
                    <a:pt x="2250311" y="653872"/>
                    <a:pt x="2246216" y="653872"/>
                    <a:pt x="2241004" y="653872"/>
                  </a:cubicBezTo>
                  <a:lnTo>
                    <a:pt x="2238614" y="653872"/>
                  </a:lnTo>
                  <a:lnTo>
                    <a:pt x="2239243" y="650755"/>
                  </a:lnTo>
                  <a:cubicBezTo>
                    <a:pt x="2240549" y="647666"/>
                    <a:pt x="2243608" y="645498"/>
                    <a:pt x="2247173" y="645498"/>
                  </a:cubicBezTo>
                  <a:close/>
                  <a:moveTo>
                    <a:pt x="202518" y="642533"/>
                  </a:moveTo>
                  <a:cubicBezTo>
                    <a:pt x="201599" y="642533"/>
                    <a:pt x="200679" y="642349"/>
                    <a:pt x="199760" y="642533"/>
                  </a:cubicBezTo>
                  <a:cubicBezTo>
                    <a:pt x="198472" y="642717"/>
                    <a:pt x="197369" y="643269"/>
                    <a:pt x="196634" y="644189"/>
                  </a:cubicBezTo>
                  <a:cubicBezTo>
                    <a:pt x="195530" y="645292"/>
                    <a:pt x="194979" y="646763"/>
                    <a:pt x="195162" y="648418"/>
                  </a:cubicBezTo>
                  <a:cubicBezTo>
                    <a:pt x="195162" y="648602"/>
                    <a:pt x="195162" y="648602"/>
                    <a:pt x="195162" y="648786"/>
                  </a:cubicBezTo>
                  <a:cubicBezTo>
                    <a:pt x="195162" y="660739"/>
                    <a:pt x="195162" y="672692"/>
                    <a:pt x="195162" y="684829"/>
                  </a:cubicBezTo>
                  <a:cubicBezTo>
                    <a:pt x="195162" y="685196"/>
                    <a:pt x="195162" y="685196"/>
                    <a:pt x="194795" y="685196"/>
                  </a:cubicBezTo>
                  <a:cubicBezTo>
                    <a:pt x="193139" y="685196"/>
                    <a:pt x="191485" y="685196"/>
                    <a:pt x="189830" y="685196"/>
                  </a:cubicBezTo>
                  <a:cubicBezTo>
                    <a:pt x="188910" y="685196"/>
                    <a:pt x="187991" y="685564"/>
                    <a:pt x="187071" y="685932"/>
                  </a:cubicBezTo>
                  <a:cubicBezTo>
                    <a:pt x="185417" y="687035"/>
                    <a:pt x="184497" y="688506"/>
                    <a:pt x="184497" y="690530"/>
                  </a:cubicBezTo>
                  <a:cubicBezTo>
                    <a:pt x="184497" y="692001"/>
                    <a:pt x="185049" y="693472"/>
                    <a:pt x="186335" y="694391"/>
                  </a:cubicBezTo>
                  <a:cubicBezTo>
                    <a:pt x="187071" y="694943"/>
                    <a:pt x="187991" y="695495"/>
                    <a:pt x="189094" y="695678"/>
                  </a:cubicBezTo>
                  <a:cubicBezTo>
                    <a:pt x="189094" y="695678"/>
                    <a:pt x="189278" y="695678"/>
                    <a:pt x="189278" y="695678"/>
                  </a:cubicBezTo>
                  <a:cubicBezTo>
                    <a:pt x="189278" y="695678"/>
                    <a:pt x="189462" y="695678"/>
                    <a:pt x="189462" y="695678"/>
                  </a:cubicBezTo>
                  <a:cubicBezTo>
                    <a:pt x="189462" y="695495"/>
                    <a:pt x="189646" y="695678"/>
                    <a:pt x="189830" y="695678"/>
                  </a:cubicBezTo>
                  <a:cubicBezTo>
                    <a:pt x="197186" y="695678"/>
                    <a:pt x="204541" y="695678"/>
                    <a:pt x="211713" y="695678"/>
                  </a:cubicBezTo>
                  <a:cubicBezTo>
                    <a:pt x="211897" y="695678"/>
                    <a:pt x="211897" y="695678"/>
                    <a:pt x="212080" y="695678"/>
                  </a:cubicBezTo>
                  <a:cubicBezTo>
                    <a:pt x="212265" y="695678"/>
                    <a:pt x="212448" y="695678"/>
                    <a:pt x="212633" y="695678"/>
                  </a:cubicBezTo>
                  <a:cubicBezTo>
                    <a:pt x="212816" y="695495"/>
                    <a:pt x="213000" y="695495"/>
                    <a:pt x="213184" y="695495"/>
                  </a:cubicBezTo>
                  <a:cubicBezTo>
                    <a:pt x="214104" y="695310"/>
                    <a:pt x="214839" y="694759"/>
                    <a:pt x="215575" y="694207"/>
                  </a:cubicBezTo>
                  <a:cubicBezTo>
                    <a:pt x="216678" y="693104"/>
                    <a:pt x="217230" y="691817"/>
                    <a:pt x="217230" y="690346"/>
                  </a:cubicBezTo>
                  <a:cubicBezTo>
                    <a:pt x="217230" y="689059"/>
                    <a:pt x="216862" y="687771"/>
                    <a:pt x="215759" y="686852"/>
                  </a:cubicBezTo>
                  <a:cubicBezTo>
                    <a:pt x="214655" y="685749"/>
                    <a:pt x="213368" y="685196"/>
                    <a:pt x="211897" y="685196"/>
                  </a:cubicBezTo>
                  <a:cubicBezTo>
                    <a:pt x="210058" y="685196"/>
                    <a:pt x="208219" y="685196"/>
                    <a:pt x="206564" y="685196"/>
                  </a:cubicBezTo>
                  <a:cubicBezTo>
                    <a:pt x="206380" y="685196"/>
                    <a:pt x="206196" y="685196"/>
                    <a:pt x="206196" y="684829"/>
                  </a:cubicBezTo>
                  <a:cubicBezTo>
                    <a:pt x="206196" y="674347"/>
                    <a:pt x="206196" y="664049"/>
                    <a:pt x="206196" y="653567"/>
                  </a:cubicBezTo>
                  <a:cubicBezTo>
                    <a:pt x="206196" y="653383"/>
                    <a:pt x="206196" y="653199"/>
                    <a:pt x="206564" y="653199"/>
                  </a:cubicBezTo>
                  <a:cubicBezTo>
                    <a:pt x="207851" y="653199"/>
                    <a:pt x="209322" y="653199"/>
                    <a:pt x="210609" y="653199"/>
                  </a:cubicBezTo>
                  <a:cubicBezTo>
                    <a:pt x="212816" y="653199"/>
                    <a:pt x="214471" y="652096"/>
                    <a:pt x="215575" y="650073"/>
                  </a:cubicBezTo>
                  <a:cubicBezTo>
                    <a:pt x="216126" y="648970"/>
                    <a:pt x="216126" y="647682"/>
                    <a:pt x="215759" y="646211"/>
                  </a:cubicBezTo>
                  <a:cubicBezTo>
                    <a:pt x="215023" y="644189"/>
                    <a:pt x="213000" y="642717"/>
                    <a:pt x="210794" y="642717"/>
                  </a:cubicBezTo>
                  <a:cubicBezTo>
                    <a:pt x="208035" y="642717"/>
                    <a:pt x="205276" y="642533"/>
                    <a:pt x="202518" y="642533"/>
                  </a:cubicBezTo>
                  <a:close/>
                  <a:moveTo>
                    <a:pt x="315391" y="642533"/>
                  </a:moveTo>
                  <a:cubicBezTo>
                    <a:pt x="314471" y="642533"/>
                    <a:pt x="313552" y="642349"/>
                    <a:pt x="312632" y="642533"/>
                  </a:cubicBezTo>
                  <a:cubicBezTo>
                    <a:pt x="311345" y="642717"/>
                    <a:pt x="310241" y="643269"/>
                    <a:pt x="309506" y="644189"/>
                  </a:cubicBezTo>
                  <a:cubicBezTo>
                    <a:pt x="308402" y="645292"/>
                    <a:pt x="307851" y="646763"/>
                    <a:pt x="308035" y="648418"/>
                  </a:cubicBezTo>
                  <a:cubicBezTo>
                    <a:pt x="308035" y="648602"/>
                    <a:pt x="308035" y="648602"/>
                    <a:pt x="308035" y="648786"/>
                  </a:cubicBezTo>
                  <a:cubicBezTo>
                    <a:pt x="308035" y="660739"/>
                    <a:pt x="308035" y="672692"/>
                    <a:pt x="308035" y="684829"/>
                  </a:cubicBezTo>
                  <a:cubicBezTo>
                    <a:pt x="308035" y="685196"/>
                    <a:pt x="308035" y="685196"/>
                    <a:pt x="307667" y="685196"/>
                  </a:cubicBezTo>
                  <a:cubicBezTo>
                    <a:pt x="306012" y="685196"/>
                    <a:pt x="304357" y="685196"/>
                    <a:pt x="302702" y="685196"/>
                  </a:cubicBezTo>
                  <a:cubicBezTo>
                    <a:pt x="301783" y="685196"/>
                    <a:pt x="300863" y="685564"/>
                    <a:pt x="299944" y="685932"/>
                  </a:cubicBezTo>
                  <a:cubicBezTo>
                    <a:pt x="298289" y="687035"/>
                    <a:pt x="297369" y="688506"/>
                    <a:pt x="297369" y="690530"/>
                  </a:cubicBezTo>
                  <a:cubicBezTo>
                    <a:pt x="297369" y="692001"/>
                    <a:pt x="297921" y="693472"/>
                    <a:pt x="299208" y="694391"/>
                  </a:cubicBezTo>
                  <a:cubicBezTo>
                    <a:pt x="299944" y="694943"/>
                    <a:pt x="300863" y="695495"/>
                    <a:pt x="301966" y="695678"/>
                  </a:cubicBezTo>
                  <a:cubicBezTo>
                    <a:pt x="301966" y="695678"/>
                    <a:pt x="302150" y="695678"/>
                    <a:pt x="302150" y="695678"/>
                  </a:cubicBezTo>
                  <a:cubicBezTo>
                    <a:pt x="302150" y="695678"/>
                    <a:pt x="302334" y="695678"/>
                    <a:pt x="302334" y="695678"/>
                  </a:cubicBezTo>
                  <a:cubicBezTo>
                    <a:pt x="302334" y="695495"/>
                    <a:pt x="302518" y="695678"/>
                    <a:pt x="302702" y="695678"/>
                  </a:cubicBezTo>
                  <a:cubicBezTo>
                    <a:pt x="310058" y="695678"/>
                    <a:pt x="317413" y="695678"/>
                    <a:pt x="324585" y="695678"/>
                  </a:cubicBezTo>
                  <a:cubicBezTo>
                    <a:pt x="324769" y="695678"/>
                    <a:pt x="324769" y="695678"/>
                    <a:pt x="324953" y="695678"/>
                  </a:cubicBezTo>
                  <a:cubicBezTo>
                    <a:pt x="325137" y="695678"/>
                    <a:pt x="325321" y="695678"/>
                    <a:pt x="325505" y="695678"/>
                  </a:cubicBezTo>
                  <a:cubicBezTo>
                    <a:pt x="325689" y="695495"/>
                    <a:pt x="325872" y="695495"/>
                    <a:pt x="326057" y="695495"/>
                  </a:cubicBezTo>
                  <a:cubicBezTo>
                    <a:pt x="326976" y="695310"/>
                    <a:pt x="327711" y="694759"/>
                    <a:pt x="328447" y="694207"/>
                  </a:cubicBezTo>
                  <a:cubicBezTo>
                    <a:pt x="329550" y="693104"/>
                    <a:pt x="330102" y="691817"/>
                    <a:pt x="330102" y="690346"/>
                  </a:cubicBezTo>
                  <a:cubicBezTo>
                    <a:pt x="330102" y="689059"/>
                    <a:pt x="329734" y="687771"/>
                    <a:pt x="328631" y="686852"/>
                  </a:cubicBezTo>
                  <a:cubicBezTo>
                    <a:pt x="327528" y="685749"/>
                    <a:pt x="326240" y="685196"/>
                    <a:pt x="324769" y="685196"/>
                  </a:cubicBezTo>
                  <a:cubicBezTo>
                    <a:pt x="322930" y="685196"/>
                    <a:pt x="321092" y="685196"/>
                    <a:pt x="319436" y="685196"/>
                  </a:cubicBezTo>
                  <a:cubicBezTo>
                    <a:pt x="319253" y="685196"/>
                    <a:pt x="319068" y="685196"/>
                    <a:pt x="319068" y="684829"/>
                  </a:cubicBezTo>
                  <a:cubicBezTo>
                    <a:pt x="319068" y="674347"/>
                    <a:pt x="319068" y="664049"/>
                    <a:pt x="319068" y="653567"/>
                  </a:cubicBezTo>
                  <a:cubicBezTo>
                    <a:pt x="319068" y="653383"/>
                    <a:pt x="319068" y="653199"/>
                    <a:pt x="319436" y="653199"/>
                  </a:cubicBezTo>
                  <a:cubicBezTo>
                    <a:pt x="320724" y="653199"/>
                    <a:pt x="322195" y="653199"/>
                    <a:pt x="323482" y="653199"/>
                  </a:cubicBezTo>
                  <a:cubicBezTo>
                    <a:pt x="325689" y="653199"/>
                    <a:pt x="327343" y="652096"/>
                    <a:pt x="328447" y="650073"/>
                  </a:cubicBezTo>
                  <a:cubicBezTo>
                    <a:pt x="328999" y="648970"/>
                    <a:pt x="328999" y="647682"/>
                    <a:pt x="328631" y="646211"/>
                  </a:cubicBezTo>
                  <a:cubicBezTo>
                    <a:pt x="327895" y="644189"/>
                    <a:pt x="325872" y="642717"/>
                    <a:pt x="323666" y="642717"/>
                  </a:cubicBezTo>
                  <a:cubicBezTo>
                    <a:pt x="320907" y="642717"/>
                    <a:pt x="318149" y="642533"/>
                    <a:pt x="315391" y="642533"/>
                  </a:cubicBezTo>
                  <a:close/>
                  <a:moveTo>
                    <a:pt x="674256" y="642533"/>
                  </a:moveTo>
                  <a:cubicBezTo>
                    <a:pt x="673336" y="642533"/>
                    <a:pt x="672417" y="642349"/>
                    <a:pt x="671497" y="642533"/>
                  </a:cubicBezTo>
                  <a:cubicBezTo>
                    <a:pt x="670210" y="642717"/>
                    <a:pt x="669107" y="643269"/>
                    <a:pt x="668371" y="644189"/>
                  </a:cubicBezTo>
                  <a:cubicBezTo>
                    <a:pt x="667268" y="645292"/>
                    <a:pt x="666716" y="646763"/>
                    <a:pt x="666900" y="648418"/>
                  </a:cubicBezTo>
                  <a:cubicBezTo>
                    <a:pt x="666900" y="648602"/>
                    <a:pt x="666900" y="648602"/>
                    <a:pt x="666900" y="648786"/>
                  </a:cubicBezTo>
                  <a:cubicBezTo>
                    <a:pt x="666900" y="660739"/>
                    <a:pt x="666900" y="672692"/>
                    <a:pt x="666900" y="684829"/>
                  </a:cubicBezTo>
                  <a:cubicBezTo>
                    <a:pt x="666900" y="685196"/>
                    <a:pt x="666900" y="685196"/>
                    <a:pt x="666532" y="685196"/>
                  </a:cubicBezTo>
                  <a:cubicBezTo>
                    <a:pt x="664878" y="685196"/>
                    <a:pt x="663222" y="685196"/>
                    <a:pt x="661567" y="685196"/>
                  </a:cubicBezTo>
                  <a:cubicBezTo>
                    <a:pt x="660648" y="685196"/>
                    <a:pt x="659728" y="685564"/>
                    <a:pt x="658809" y="685932"/>
                  </a:cubicBezTo>
                  <a:cubicBezTo>
                    <a:pt x="657154" y="687035"/>
                    <a:pt x="656234" y="688506"/>
                    <a:pt x="656234" y="690530"/>
                  </a:cubicBezTo>
                  <a:cubicBezTo>
                    <a:pt x="656234" y="692001"/>
                    <a:pt x="656786" y="693472"/>
                    <a:pt x="658073" y="694391"/>
                  </a:cubicBezTo>
                  <a:cubicBezTo>
                    <a:pt x="658809" y="694943"/>
                    <a:pt x="659728" y="695495"/>
                    <a:pt x="660831" y="695678"/>
                  </a:cubicBezTo>
                  <a:cubicBezTo>
                    <a:pt x="660831" y="695678"/>
                    <a:pt x="661015" y="695678"/>
                    <a:pt x="661015" y="695678"/>
                  </a:cubicBezTo>
                  <a:cubicBezTo>
                    <a:pt x="661015" y="695678"/>
                    <a:pt x="661199" y="695678"/>
                    <a:pt x="661199" y="695678"/>
                  </a:cubicBezTo>
                  <a:cubicBezTo>
                    <a:pt x="661199" y="695495"/>
                    <a:pt x="661383" y="695678"/>
                    <a:pt x="661567" y="695678"/>
                  </a:cubicBezTo>
                  <a:cubicBezTo>
                    <a:pt x="668923" y="695678"/>
                    <a:pt x="676279" y="695678"/>
                    <a:pt x="683451" y="695678"/>
                  </a:cubicBezTo>
                  <a:cubicBezTo>
                    <a:pt x="683634" y="695678"/>
                    <a:pt x="683634" y="695678"/>
                    <a:pt x="683818" y="695678"/>
                  </a:cubicBezTo>
                  <a:cubicBezTo>
                    <a:pt x="684002" y="695678"/>
                    <a:pt x="684186" y="695678"/>
                    <a:pt x="684370" y="695678"/>
                  </a:cubicBezTo>
                  <a:cubicBezTo>
                    <a:pt x="684554" y="695495"/>
                    <a:pt x="684737" y="695495"/>
                    <a:pt x="684922" y="695495"/>
                  </a:cubicBezTo>
                  <a:cubicBezTo>
                    <a:pt x="685841" y="695310"/>
                    <a:pt x="686576" y="694759"/>
                    <a:pt x="687312" y="694207"/>
                  </a:cubicBezTo>
                  <a:cubicBezTo>
                    <a:pt x="688415" y="693104"/>
                    <a:pt x="688967" y="691817"/>
                    <a:pt x="688967" y="690346"/>
                  </a:cubicBezTo>
                  <a:cubicBezTo>
                    <a:pt x="688967" y="689059"/>
                    <a:pt x="688599" y="687771"/>
                    <a:pt x="687496" y="686852"/>
                  </a:cubicBezTo>
                  <a:cubicBezTo>
                    <a:pt x="686393" y="685749"/>
                    <a:pt x="685105" y="685196"/>
                    <a:pt x="683634" y="685196"/>
                  </a:cubicBezTo>
                  <a:cubicBezTo>
                    <a:pt x="681795" y="685196"/>
                    <a:pt x="679957" y="685196"/>
                    <a:pt x="678301" y="685196"/>
                  </a:cubicBezTo>
                  <a:cubicBezTo>
                    <a:pt x="678118" y="685196"/>
                    <a:pt x="677933" y="685196"/>
                    <a:pt x="677933" y="684829"/>
                  </a:cubicBezTo>
                  <a:cubicBezTo>
                    <a:pt x="677933" y="674347"/>
                    <a:pt x="677933" y="664049"/>
                    <a:pt x="677933" y="653567"/>
                  </a:cubicBezTo>
                  <a:cubicBezTo>
                    <a:pt x="677933" y="653383"/>
                    <a:pt x="677933" y="653199"/>
                    <a:pt x="678301" y="653199"/>
                  </a:cubicBezTo>
                  <a:cubicBezTo>
                    <a:pt x="679589" y="653199"/>
                    <a:pt x="681060" y="653199"/>
                    <a:pt x="682347" y="653199"/>
                  </a:cubicBezTo>
                  <a:cubicBezTo>
                    <a:pt x="684554" y="653199"/>
                    <a:pt x="686208" y="652096"/>
                    <a:pt x="687312" y="650073"/>
                  </a:cubicBezTo>
                  <a:cubicBezTo>
                    <a:pt x="687864" y="648970"/>
                    <a:pt x="687864" y="647682"/>
                    <a:pt x="687496" y="646211"/>
                  </a:cubicBezTo>
                  <a:cubicBezTo>
                    <a:pt x="686760" y="644189"/>
                    <a:pt x="684737" y="642717"/>
                    <a:pt x="682531" y="642717"/>
                  </a:cubicBezTo>
                  <a:cubicBezTo>
                    <a:pt x="679772" y="642717"/>
                    <a:pt x="677014" y="642533"/>
                    <a:pt x="674256" y="642533"/>
                  </a:cubicBezTo>
                  <a:close/>
                  <a:moveTo>
                    <a:pt x="725593" y="642533"/>
                  </a:moveTo>
                  <a:cubicBezTo>
                    <a:pt x="724673" y="642533"/>
                    <a:pt x="723754" y="642349"/>
                    <a:pt x="722834" y="642533"/>
                  </a:cubicBezTo>
                  <a:cubicBezTo>
                    <a:pt x="721547" y="642717"/>
                    <a:pt x="720443" y="643269"/>
                    <a:pt x="719708" y="644189"/>
                  </a:cubicBezTo>
                  <a:cubicBezTo>
                    <a:pt x="718604" y="645292"/>
                    <a:pt x="718053" y="646763"/>
                    <a:pt x="718237" y="648418"/>
                  </a:cubicBezTo>
                  <a:cubicBezTo>
                    <a:pt x="718237" y="648602"/>
                    <a:pt x="718237" y="648602"/>
                    <a:pt x="718237" y="648786"/>
                  </a:cubicBezTo>
                  <a:cubicBezTo>
                    <a:pt x="718237" y="660739"/>
                    <a:pt x="718237" y="672692"/>
                    <a:pt x="718237" y="684829"/>
                  </a:cubicBezTo>
                  <a:cubicBezTo>
                    <a:pt x="718237" y="685196"/>
                    <a:pt x="718237" y="685196"/>
                    <a:pt x="717869" y="685196"/>
                  </a:cubicBezTo>
                  <a:cubicBezTo>
                    <a:pt x="716214" y="685196"/>
                    <a:pt x="714559" y="685196"/>
                    <a:pt x="712904" y="685196"/>
                  </a:cubicBezTo>
                  <a:cubicBezTo>
                    <a:pt x="711985" y="685196"/>
                    <a:pt x="711065" y="685564"/>
                    <a:pt x="710146" y="685932"/>
                  </a:cubicBezTo>
                  <a:cubicBezTo>
                    <a:pt x="708491" y="687035"/>
                    <a:pt x="707571" y="688506"/>
                    <a:pt x="707571" y="690530"/>
                  </a:cubicBezTo>
                  <a:cubicBezTo>
                    <a:pt x="707571" y="692001"/>
                    <a:pt x="708123" y="693472"/>
                    <a:pt x="709410" y="694391"/>
                  </a:cubicBezTo>
                  <a:cubicBezTo>
                    <a:pt x="710146" y="694943"/>
                    <a:pt x="711065" y="695495"/>
                    <a:pt x="712168" y="695678"/>
                  </a:cubicBezTo>
                  <a:cubicBezTo>
                    <a:pt x="712168" y="695678"/>
                    <a:pt x="712352" y="695678"/>
                    <a:pt x="712352" y="695678"/>
                  </a:cubicBezTo>
                  <a:cubicBezTo>
                    <a:pt x="712352" y="695678"/>
                    <a:pt x="712536" y="695678"/>
                    <a:pt x="712536" y="695678"/>
                  </a:cubicBezTo>
                  <a:cubicBezTo>
                    <a:pt x="712536" y="695495"/>
                    <a:pt x="712720" y="695678"/>
                    <a:pt x="712904" y="695678"/>
                  </a:cubicBezTo>
                  <a:cubicBezTo>
                    <a:pt x="720260" y="695678"/>
                    <a:pt x="727615" y="695678"/>
                    <a:pt x="734787" y="695678"/>
                  </a:cubicBezTo>
                  <a:cubicBezTo>
                    <a:pt x="734971" y="695678"/>
                    <a:pt x="734971" y="695678"/>
                    <a:pt x="735155" y="695678"/>
                  </a:cubicBezTo>
                  <a:cubicBezTo>
                    <a:pt x="735339" y="695678"/>
                    <a:pt x="735523" y="695678"/>
                    <a:pt x="735707" y="695678"/>
                  </a:cubicBezTo>
                  <a:cubicBezTo>
                    <a:pt x="735891" y="695495"/>
                    <a:pt x="736074" y="695495"/>
                    <a:pt x="736259" y="695495"/>
                  </a:cubicBezTo>
                  <a:cubicBezTo>
                    <a:pt x="737178" y="695310"/>
                    <a:pt x="737913" y="694759"/>
                    <a:pt x="738649" y="694207"/>
                  </a:cubicBezTo>
                  <a:cubicBezTo>
                    <a:pt x="739752" y="693104"/>
                    <a:pt x="740304" y="691817"/>
                    <a:pt x="740304" y="690346"/>
                  </a:cubicBezTo>
                  <a:cubicBezTo>
                    <a:pt x="740304" y="689059"/>
                    <a:pt x="739936" y="687771"/>
                    <a:pt x="738833" y="686852"/>
                  </a:cubicBezTo>
                  <a:cubicBezTo>
                    <a:pt x="737730" y="685749"/>
                    <a:pt x="736442" y="685196"/>
                    <a:pt x="734971" y="685196"/>
                  </a:cubicBezTo>
                  <a:cubicBezTo>
                    <a:pt x="733132" y="685196"/>
                    <a:pt x="731294" y="685196"/>
                    <a:pt x="729638" y="685196"/>
                  </a:cubicBezTo>
                  <a:cubicBezTo>
                    <a:pt x="729455" y="685196"/>
                    <a:pt x="729270" y="685196"/>
                    <a:pt x="729270" y="684829"/>
                  </a:cubicBezTo>
                  <a:cubicBezTo>
                    <a:pt x="729270" y="674347"/>
                    <a:pt x="729270" y="664049"/>
                    <a:pt x="729270" y="653567"/>
                  </a:cubicBezTo>
                  <a:cubicBezTo>
                    <a:pt x="729270" y="653383"/>
                    <a:pt x="729270" y="653199"/>
                    <a:pt x="729638" y="653199"/>
                  </a:cubicBezTo>
                  <a:cubicBezTo>
                    <a:pt x="730926" y="653199"/>
                    <a:pt x="732397" y="653199"/>
                    <a:pt x="733684" y="653199"/>
                  </a:cubicBezTo>
                  <a:cubicBezTo>
                    <a:pt x="735891" y="653199"/>
                    <a:pt x="737545" y="652096"/>
                    <a:pt x="738649" y="650073"/>
                  </a:cubicBezTo>
                  <a:cubicBezTo>
                    <a:pt x="739201" y="648970"/>
                    <a:pt x="739201" y="647682"/>
                    <a:pt x="738833" y="646211"/>
                  </a:cubicBezTo>
                  <a:cubicBezTo>
                    <a:pt x="738097" y="644189"/>
                    <a:pt x="736074" y="642717"/>
                    <a:pt x="733868" y="642717"/>
                  </a:cubicBezTo>
                  <a:cubicBezTo>
                    <a:pt x="731109" y="642717"/>
                    <a:pt x="728351" y="642533"/>
                    <a:pt x="725593" y="642533"/>
                  </a:cubicBezTo>
                  <a:close/>
                  <a:moveTo>
                    <a:pt x="961486" y="642533"/>
                  </a:moveTo>
                  <a:cubicBezTo>
                    <a:pt x="960567" y="642533"/>
                    <a:pt x="959647" y="642349"/>
                    <a:pt x="958728" y="642533"/>
                  </a:cubicBezTo>
                  <a:cubicBezTo>
                    <a:pt x="957440" y="642717"/>
                    <a:pt x="956337" y="643269"/>
                    <a:pt x="955602" y="644189"/>
                  </a:cubicBezTo>
                  <a:cubicBezTo>
                    <a:pt x="954498" y="645292"/>
                    <a:pt x="953946" y="646763"/>
                    <a:pt x="954131" y="648418"/>
                  </a:cubicBezTo>
                  <a:cubicBezTo>
                    <a:pt x="954131" y="648602"/>
                    <a:pt x="954131" y="648602"/>
                    <a:pt x="954131" y="648786"/>
                  </a:cubicBezTo>
                  <a:cubicBezTo>
                    <a:pt x="954131" y="660739"/>
                    <a:pt x="954131" y="672692"/>
                    <a:pt x="954131" y="684829"/>
                  </a:cubicBezTo>
                  <a:cubicBezTo>
                    <a:pt x="954131" y="685196"/>
                    <a:pt x="954131" y="685196"/>
                    <a:pt x="953763" y="685196"/>
                  </a:cubicBezTo>
                  <a:cubicBezTo>
                    <a:pt x="952108" y="685196"/>
                    <a:pt x="950453" y="685196"/>
                    <a:pt x="948798" y="685196"/>
                  </a:cubicBezTo>
                  <a:cubicBezTo>
                    <a:pt x="947878" y="685196"/>
                    <a:pt x="946959" y="685564"/>
                    <a:pt x="946039" y="685932"/>
                  </a:cubicBezTo>
                  <a:cubicBezTo>
                    <a:pt x="944384" y="687035"/>
                    <a:pt x="943465" y="688506"/>
                    <a:pt x="943465" y="690530"/>
                  </a:cubicBezTo>
                  <a:cubicBezTo>
                    <a:pt x="943465" y="692001"/>
                    <a:pt x="944016" y="693472"/>
                    <a:pt x="945303" y="694391"/>
                  </a:cubicBezTo>
                  <a:cubicBezTo>
                    <a:pt x="946039" y="694943"/>
                    <a:pt x="946959" y="695495"/>
                    <a:pt x="948062" y="695678"/>
                  </a:cubicBezTo>
                  <a:cubicBezTo>
                    <a:pt x="948062" y="695678"/>
                    <a:pt x="948246" y="695678"/>
                    <a:pt x="948246" y="695678"/>
                  </a:cubicBezTo>
                  <a:cubicBezTo>
                    <a:pt x="948246" y="695678"/>
                    <a:pt x="948430" y="695678"/>
                    <a:pt x="948430" y="695678"/>
                  </a:cubicBezTo>
                  <a:cubicBezTo>
                    <a:pt x="948430" y="695495"/>
                    <a:pt x="948613" y="695678"/>
                    <a:pt x="948798" y="695678"/>
                  </a:cubicBezTo>
                  <a:cubicBezTo>
                    <a:pt x="956153" y="695678"/>
                    <a:pt x="963509" y="695678"/>
                    <a:pt x="970681" y="695678"/>
                  </a:cubicBezTo>
                  <a:cubicBezTo>
                    <a:pt x="970865" y="695678"/>
                    <a:pt x="970865" y="695678"/>
                    <a:pt x="971048" y="695678"/>
                  </a:cubicBezTo>
                  <a:cubicBezTo>
                    <a:pt x="971233" y="695678"/>
                    <a:pt x="971416" y="695678"/>
                    <a:pt x="971600" y="695678"/>
                  </a:cubicBezTo>
                  <a:cubicBezTo>
                    <a:pt x="971784" y="695495"/>
                    <a:pt x="971968" y="695495"/>
                    <a:pt x="972152" y="695495"/>
                  </a:cubicBezTo>
                  <a:cubicBezTo>
                    <a:pt x="973072" y="695310"/>
                    <a:pt x="973807" y="694759"/>
                    <a:pt x="974543" y="694207"/>
                  </a:cubicBezTo>
                  <a:cubicBezTo>
                    <a:pt x="975646" y="693104"/>
                    <a:pt x="976197" y="691817"/>
                    <a:pt x="976197" y="690346"/>
                  </a:cubicBezTo>
                  <a:cubicBezTo>
                    <a:pt x="976197" y="689059"/>
                    <a:pt x="975830" y="687771"/>
                    <a:pt x="974726" y="686852"/>
                  </a:cubicBezTo>
                  <a:cubicBezTo>
                    <a:pt x="973623" y="685749"/>
                    <a:pt x="972336" y="685196"/>
                    <a:pt x="970865" y="685196"/>
                  </a:cubicBezTo>
                  <a:cubicBezTo>
                    <a:pt x="969026" y="685196"/>
                    <a:pt x="967187" y="685196"/>
                    <a:pt x="965532" y="685196"/>
                  </a:cubicBezTo>
                  <a:cubicBezTo>
                    <a:pt x="965348" y="685196"/>
                    <a:pt x="965164" y="685196"/>
                    <a:pt x="965164" y="684829"/>
                  </a:cubicBezTo>
                  <a:cubicBezTo>
                    <a:pt x="965164" y="674347"/>
                    <a:pt x="965164" y="664049"/>
                    <a:pt x="965164" y="653567"/>
                  </a:cubicBezTo>
                  <a:cubicBezTo>
                    <a:pt x="965164" y="653383"/>
                    <a:pt x="965164" y="653199"/>
                    <a:pt x="965532" y="653199"/>
                  </a:cubicBezTo>
                  <a:cubicBezTo>
                    <a:pt x="966819" y="653199"/>
                    <a:pt x="968290" y="653199"/>
                    <a:pt x="969577" y="653199"/>
                  </a:cubicBezTo>
                  <a:cubicBezTo>
                    <a:pt x="971784" y="653199"/>
                    <a:pt x="973439" y="652096"/>
                    <a:pt x="974543" y="650073"/>
                  </a:cubicBezTo>
                  <a:cubicBezTo>
                    <a:pt x="975094" y="648970"/>
                    <a:pt x="975094" y="647682"/>
                    <a:pt x="974726" y="646211"/>
                  </a:cubicBezTo>
                  <a:cubicBezTo>
                    <a:pt x="973990" y="644189"/>
                    <a:pt x="971968" y="642717"/>
                    <a:pt x="969761" y="642717"/>
                  </a:cubicBezTo>
                  <a:cubicBezTo>
                    <a:pt x="967003" y="642717"/>
                    <a:pt x="964245" y="642533"/>
                    <a:pt x="961486" y="642533"/>
                  </a:cubicBezTo>
                  <a:close/>
                  <a:moveTo>
                    <a:pt x="1135795" y="642533"/>
                  </a:moveTo>
                  <a:cubicBezTo>
                    <a:pt x="1134875" y="642533"/>
                    <a:pt x="1133956" y="642349"/>
                    <a:pt x="1133036" y="642533"/>
                  </a:cubicBezTo>
                  <a:cubicBezTo>
                    <a:pt x="1131749" y="642717"/>
                    <a:pt x="1130645" y="643269"/>
                    <a:pt x="1129910" y="644189"/>
                  </a:cubicBezTo>
                  <a:cubicBezTo>
                    <a:pt x="1128806" y="645292"/>
                    <a:pt x="1128255" y="646763"/>
                    <a:pt x="1128439" y="648418"/>
                  </a:cubicBezTo>
                  <a:cubicBezTo>
                    <a:pt x="1128439" y="648602"/>
                    <a:pt x="1128439" y="648602"/>
                    <a:pt x="1128439" y="648786"/>
                  </a:cubicBezTo>
                  <a:cubicBezTo>
                    <a:pt x="1128439" y="660739"/>
                    <a:pt x="1128439" y="672692"/>
                    <a:pt x="1128439" y="684829"/>
                  </a:cubicBezTo>
                  <a:cubicBezTo>
                    <a:pt x="1128439" y="685196"/>
                    <a:pt x="1128439" y="685196"/>
                    <a:pt x="1128071" y="685196"/>
                  </a:cubicBezTo>
                  <a:cubicBezTo>
                    <a:pt x="1126416" y="685196"/>
                    <a:pt x="1124761" y="685196"/>
                    <a:pt x="1123106" y="685196"/>
                  </a:cubicBezTo>
                  <a:cubicBezTo>
                    <a:pt x="1122187" y="685196"/>
                    <a:pt x="1121267" y="685564"/>
                    <a:pt x="1120348" y="685932"/>
                  </a:cubicBezTo>
                  <a:cubicBezTo>
                    <a:pt x="1118693" y="687035"/>
                    <a:pt x="1117773" y="688506"/>
                    <a:pt x="1117773" y="690530"/>
                  </a:cubicBezTo>
                  <a:cubicBezTo>
                    <a:pt x="1117773" y="692001"/>
                    <a:pt x="1118325" y="693472"/>
                    <a:pt x="1119612" y="694391"/>
                  </a:cubicBezTo>
                  <a:cubicBezTo>
                    <a:pt x="1120348" y="694943"/>
                    <a:pt x="1121267" y="695495"/>
                    <a:pt x="1122370" y="695678"/>
                  </a:cubicBezTo>
                  <a:cubicBezTo>
                    <a:pt x="1122370" y="695678"/>
                    <a:pt x="1122554" y="695678"/>
                    <a:pt x="1122554" y="695678"/>
                  </a:cubicBezTo>
                  <a:cubicBezTo>
                    <a:pt x="1122554" y="695678"/>
                    <a:pt x="1122738" y="695678"/>
                    <a:pt x="1122738" y="695678"/>
                  </a:cubicBezTo>
                  <a:cubicBezTo>
                    <a:pt x="1122738" y="695495"/>
                    <a:pt x="1122922" y="695678"/>
                    <a:pt x="1123106" y="695678"/>
                  </a:cubicBezTo>
                  <a:cubicBezTo>
                    <a:pt x="1130462" y="695678"/>
                    <a:pt x="1137817" y="695678"/>
                    <a:pt x="1144989" y="695678"/>
                  </a:cubicBezTo>
                  <a:cubicBezTo>
                    <a:pt x="1145173" y="695678"/>
                    <a:pt x="1145173" y="695678"/>
                    <a:pt x="1145357" y="695678"/>
                  </a:cubicBezTo>
                  <a:cubicBezTo>
                    <a:pt x="1145541" y="695678"/>
                    <a:pt x="1145725" y="695678"/>
                    <a:pt x="1145909" y="695678"/>
                  </a:cubicBezTo>
                  <a:cubicBezTo>
                    <a:pt x="1146093" y="695495"/>
                    <a:pt x="1146276" y="695495"/>
                    <a:pt x="1146460" y="695495"/>
                  </a:cubicBezTo>
                  <a:cubicBezTo>
                    <a:pt x="1147380" y="695310"/>
                    <a:pt x="1148115" y="694759"/>
                    <a:pt x="1148851" y="694207"/>
                  </a:cubicBezTo>
                  <a:cubicBezTo>
                    <a:pt x="1149954" y="693104"/>
                    <a:pt x="1150506" y="691817"/>
                    <a:pt x="1150506" y="690346"/>
                  </a:cubicBezTo>
                  <a:cubicBezTo>
                    <a:pt x="1150506" y="689059"/>
                    <a:pt x="1150138" y="687771"/>
                    <a:pt x="1149035" y="686852"/>
                  </a:cubicBezTo>
                  <a:cubicBezTo>
                    <a:pt x="1147932" y="685749"/>
                    <a:pt x="1146644" y="685196"/>
                    <a:pt x="1145173" y="685196"/>
                  </a:cubicBezTo>
                  <a:cubicBezTo>
                    <a:pt x="1143334" y="685196"/>
                    <a:pt x="1141496" y="685196"/>
                    <a:pt x="1139840" y="685196"/>
                  </a:cubicBezTo>
                  <a:cubicBezTo>
                    <a:pt x="1139656" y="685196"/>
                    <a:pt x="1139472" y="685196"/>
                    <a:pt x="1139472" y="684829"/>
                  </a:cubicBezTo>
                  <a:cubicBezTo>
                    <a:pt x="1139472" y="674347"/>
                    <a:pt x="1139472" y="664049"/>
                    <a:pt x="1139472" y="653567"/>
                  </a:cubicBezTo>
                  <a:cubicBezTo>
                    <a:pt x="1139472" y="653383"/>
                    <a:pt x="1139472" y="653199"/>
                    <a:pt x="1139840" y="653199"/>
                  </a:cubicBezTo>
                  <a:cubicBezTo>
                    <a:pt x="1141128" y="653199"/>
                    <a:pt x="1142599" y="653199"/>
                    <a:pt x="1143886" y="653199"/>
                  </a:cubicBezTo>
                  <a:cubicBezTo>
                    <a:pt x="1146093" y="653199"/>
                    <a:pt x="1147748" y="652096"/>
                    <a:pt x="1148851" y="650073"/>
                  </a:cubicBezTo>
                  <a:cubicBezTo>
                    <a:pt x="1149403" y="648970"/>
                    <a:pt x="1149403" y="647682"/>
                    <a:pt x="1149035" y="646211"/>
                  </a:cubicBezTo>
                  <a:cubicBezTo>
                    <a:pt x="1148300" y="644189"/>
                    <a:pt x="1146276" y="642717"/>
                    <a:pt x="1144070" y="642717"/>
                  </a:cubicBezTo>
                  <a:cubicBezTo>
                    <a:pt x="1141311" y="642717"/>
                    <a:pt x="1138553" y="642533"/>
                    <a:pt x="1135795" y="642533"/>
                  </a:cubicBezTo>
                  <a:close/>
                  <a:moveTo>
                    <a:pt x="1371637" y="642533"/>
                  </a:moveTo>
                  <a:cubicBezTo>
                    <a:pt x="1370718" y="642533"/>
                    <a:pt x="1369798" y="642349"/>
                    <a:pt x="1368879" y="642533"/>
                  </a:cubicBezTo>
                  <a:cubicBezTo>
                    <a:pt x="1367592" y="642717"/>
                    <a:pt x="1366488" y="643269"/>
                    <a:pt x="1365753" y="644189"/>
                  </a:cubicBezTo>
                  <a:cubicBezTo>
                    <a:pt x="1364650" y="645292"/>
                    <a:pt x="1364098" y="646763"/>
                    <a:pt x="1364282" y="648418"/>
                  </a:cubicBezTo>
                  <a:cubicBezTo>
                    <a:pt x="1364282" y="648602"/>
                    <a:pt x="1364282" y="648602"/>
                    <a:pt x="1364282" y="648786"/>
                  </a:cubicBezTo>
                  <a:cubicBezTo>
                    <a:pt x="1364282" y="660739"/>
                    <a:pt x="1364282" y="672692"/>
                    <a:pt x="1364282" y="684829"/>
                  </a:cubicBezTo>
                  <a:cubicBezTo>
                    <a:pt x="1364282" y="685196"/>
                    <a:pt x="1364282" y="685196"/>
                    <a:pt x="1363914" y="685196"/>
                  </a:cubicBezTo>
                  <a:cubicBezTo>
                    <a:pt x="1362259" y="685196"/>
                    <a:pt x="1360605" y="685196"/>
                    <a:pt x="1358949" y="685196"/>
                  </a:cubicBezTo>
                  <a:cubicBezTo>
                    <a:pt x="1358030" y="685196"/>
                    <a:pt x="1357110" y="685564"/>
                    <a:pt x="1356191" y="685932"/>
                  </a:cubicBezTo>
                  <a:cubicBezTo>
                    <a:pt x="1354536" y="687035"/>
                    <a:pt x="1353617" y="688506"/>
                    <a:pt x="1353617" y="690530"/>
                  </a:cubicBezTo>
                  <a:cubicBezTo>
                    <a:pt x="1353617" y="692001"/>
                    <a:pt x="1354168" y="693472"/>
                    <a:pt x="1355455" y="694391"/>
                  </a:cubicBezTo>
                  <a:cubicBezTo>
                    <a:pt x="1356191" y="694943"/>
                    <a:pt x="1357110" y="695495"/>
                    <a:pt x="1358214" y="695678"/>
                  </a:cubicBezTo>
                  <a:cubicBezTo>
                    <a:pt x="1358214" y="695678"/>
                    <a:pt x="1358398" y="695678"/>
                    <a:pt x="1358398" y="695678"/>
                  </a:cubicBezTo>
                  <a:cubicBezTo>
                    <a:pt x="1358398" y="695678"/>
                    <a:pt x="1358581" y="695678"/>
                    <a:pt x="1358581" y="695678"/>
                  </a:cubicBezTo>
                  <a:cubicBezTo>
                    <a:pt x="1358581" y="695495"/>
                    <a:pt x="1358766" y="695678"/>
                    <a:pt x="1358949" y="695678"/>
                  </a:cubicBezTo>
                  <a:cubicBezTo>
                    <a:pt x="1366304" y="695678"/>
                    <a:pt x="1373660" y="695678"/>
                    <a:pt x="1380832" y="695678"/>
                  </a:cubicBezTo>
                  <a:cubicBezTo>
                    <a:pt x="1381016" y="695678"/>
                    <a:pt x="1381016" y="695678"/>
                    <a:pt x="1381200" y="695678"/>
                  </a:cubicBezTo>
                  <a:cubicBezTo>
                    <a:pt x="1381383" y="695678"/>
                    <a:pt x="1381567" y="695678"/>
                    <a:pt x="1381751" y="695678"/>
                  </a:cubicBezTo>
                  <a:cubicBezTo>
                    <a:pt x="1381935" y="695495"/>
                    <a:pt x="1382119" y="695495"/>
                    <a:pt x="1382303" y="695495"/>
                  </a:cubicBezTo>
                  <a:cubicBezTo>
                    <a:pt x="1383223" y="695310"/>
                    <a:pt x="1383958" y="694759"/>
                    <a:pt x="1384694" y="694207"/>
                  </a:cubicBezTo>
                  <a:cubicBezTo>
                    <a:pt x="1385797" y="693104"/>
                    <a:pt x="1386348" y="691817"/>
                    <a:pt x="1386348" y="690346"/>
                  </a:cubicBezTo>
                  <a:cubicBezTo>
                    <a:pt x="1386348" y="689059"/>
                    <a:pt x="1385981" y="687771"/>
                    <a:pt x="1384877" y="686852"/>
                  </a:cubicBezTo>
                  <a:cubicBezTo>
                    <a:pt x="1383774" y="685749"/>
                    <a:pt x="1382487" y="685196"/>
                    <a:pt x="1381016" y="685196"/>
                  </a:cubicBezTo>
                  <a:cubicBezTo>
                    <a:pt x="1379177" y="685196"/>
                    <a:pt x="1377338" y="685196"/>
                    <a:pt x="1375683" y="685196"/>
                  </a:cubicBezTo>
                  <a:cubicBezTo>
                    <a:pt x="1375499" y="685196"/>
                    <a:pt x="1375315" y="685196"/>
                    <a:pt x="1375315" y="684829"/>
                  </a:cubicBezTo>
                  <a:cubicBezTo>
                    <a:pt x="1375315" y="674347"/>
                    <a:pt x="1375315" y="664049"/>
                    <a:pt x="1375315" y="653567"/>
                  </a:cubicBezTo>
                  <a:cubicBezTo>
                    <a:pt x="1375315" y="653383"/>
                    <a:pt x="1375315" y="653199"/>
                    <a:pt x="1375683" y="653199"/>
                  </a:cubicBezTo>
                  <a:cubicBezTo>
                    <a:pt x="1376970" y="653199"/>
                    <a:pt x="1378441" y="653199"/>
                    <a:pt x="1379729" y="653199"/>
                  </a:cubicBezTo>
                  <a:cubicBezTo>
                    <a:pt x="1381935" y="653199"/>
                    <a:pt x="1383591" y="652096"/>
                    <a:pt x="1384694" y="650073"/>
                  </a:cubicBezTo>
                  <a:cubicBezTo>
                    <a:pt x="1385245" y="648970"/>
                    <a:pt x="1385245" y="647682"/>
                    <a:pt x="1384877" y="646211"/>
                  </a:cubicBezTo>
                  <a:cubicBezTo>
                    <a:pt x="1384142" y="644189"/>
                    <a:pt x="1382119" y="642717"/>
                    <a:pt x="1379912" y="642717"/>
                  </a:cubicBezTo>
                  <a:cubicBezTo>
                    <a:pt x="1377154" y="642717"/>
                    <a:pt x="1374396" y="642533"/>
                    <a:pt x="1371637" y="642533"/>
                  </a:cubicBezTo>
                  <a:close/>
                  <a:moveTo>
                    <a:pt x="1607531" y="642533"/>
                  </a:moveTo>
                  <a:cubicBezTo>
                    <a:pt x="1606611" y="642533"/>
                    <a:pt x="1605692" y="642349"/>
                    <a:pt x="1604773" y="642533"/>
                  </a:cubicBezTo>
                  <a:cubicBezTo>
                    <a:pt x="1603485" y="642717"/>
                    <a:pt x="1602382" y="643269"/>
                    <a:pt x="1601646" y="644189"/>
                  </a:cubicBezTo>
                  <a:cubicBezTo>
                    <a:pt x="1600543" y="645292"/>
                    <a:pt x="1599992" y="646763"/>
                    <a:pt x="1600175" y="648418"/>
                  </a:cubicBezTo>
                  <a:cubicBezTo>
                    <a:pt x="1600175" y="648602"/>
                    <a:pt x="1600175" y="648602"/>
                    <a:pt x="1600175" y="648786"/>
                  </a:cubicBezTo>
                  <a:cubicBezTo>
                    <a:pt x="1600175" y="660739"/>
                    <a:pt x="1600175" y="672692"/>
                    <a:pt x="1600175" y="684829"/>
                  </a:cubicBezTo>
                  <a:cubicBezTo>
                    <a:pt x="1600175" y="685196"/>
                    <a:pt x="1600175" y="685196"/>
                    <a:pt x="1599807" y="685196"/>
                  </a:cubicBezTo>
                  <a:cubicBezTo>
                    <a:pt x="1598152" y="685196"/>
                    <a:pt x="1596497" y="685196"/>
                    <a:pt x="1594842" y="685196"/>
                  </a:cubicBezTo>
                  <a:cubicBezTo>
                    <a:pt x="1593923" y="685196"/>
                    <a:pt x="1593003" y="685564"/>
                    <a:pt x="1592084" y="685932"/>
                  </a:cubicBezTo>
                  <a:cubicBezTo>
                    <a:pt x="1590429" y="687035"/>
                    <a:pt x="1589509" y="688506"/>
                    <a:pt x="1589509" y="690530"/>
                  </a:cubicBezTo>
                  <a:cubicBezTo>
                    <a:pt x="1589509" y="692001"/>
                    <a:pt x="1590061" y="693472"/>
                    <a:pt x="1591348" y="694391"/>
                  </a:cubicBezTo>
                  <a:cubicBezTo>
                    <a:pt x="1592084" y="694943"/>
                    <a:pt x="1593003" y="695495"/>
                    <a:pt x="1594107" y="695678"/>
                  </a:cubicBezTo>
                  <a:cubicBezTo>
                    <a:pt x="1594107" y="695678"/>
                    <a:pt x="1594291" y="695678"/>
                    <a:pt x="1594291" y="695678"/>
                  </a:cubicBezTo>
                  <a:cubicBezTo>
                    <a:pt x="1594291" y="695678"/>
                    <a:pt x="1594474" y="695678"/>
                    <a:pt x="1594474" y="695678"/>
                  </a:cubicBezTo>
                  <a:cubicBezTo>
                    <a:pt x="1594474" y="695495"/>
                    <a:pt x="1594659" y="695678"/>
                    <a:pt x="1594842" y="695678"/>
                  </a:cubicBezTo>
                  <a:cubicBezTo>
                    <a:pt x="1602198" y="695678"/>
                    <a:pt x="1609553" y="695678"/>
                    <a:pt x="1616725" y="695678"/>
                  </a:cubicBezTo>
                  <a:cubicBezTo>
                    <a:pt x="1616910" y="695678"/>
                    <a:pt x="1616910" y="695678"/>
                    <a:pt x="1617093" y="695678"/>
                  </a:cubicBezTo>
                  <a:cubicBezTo>
                    <a:pt x="1617277" y="695678"/>
                    <a:pt x="1617461" y="695678"/>
                    <a:pt x="1617645" y="695678"/>
                  </a:cubicBezTo>
                  <a:cubicBezTo>
                    <a:pt x="1617829" y="695495"/>
                    <a:pt x="1618013" y="695495"/>
                    <a:pt x="1618197" y="695495"/>
                  </a:cubicBezTo>
                  <a:cubicBezTo>
                    <a:pt x="1619116" y="695310"/>
                    <a:pt x="1619852" y="694759"/>
                    <a:pt x="1620587" y="694207"/>
                  </a:cubicBezTo>
                  <a:cubicBezTo>
                    <a:pt x="1621690" y="693104"/>
                    <a:pt x="1622242" y="691817"/>
                    <a:pt x="1622242" y="690346"/>
                  </a:cubicBezTo>
                  <a:cubicBezTo>
                    <a:pt x="1622242" y="689059"/>
                    <a:pt x="1621875" y="687771"/>
                    <a:pt x="1620771" y="686852"/>
                  </a:cubicBezTo>
                  <a:cubicBezTo>
                    <a:pt x="1619668" y="685749"/>
                    <a:pt x="1618381" y="685196"/>
                    <a:pt x="1616910" y="685196"/>
                  </a:cubicBezTo>
                  <a:cubicBezTo>
                    <a:pt x="1615071" y="685196"/>
                    <a:pt x="1613232" y="685196"/>
                    <a:pt x="1611576" y="685196"/>
                  </a:cubicBezTo>
                  <a:cubicBezTo>
                    <a:pt x="1611393" y="685196"/>
                    <a:pt x="1611209" y="685196"/>
                    <a:pt x="1611209" y="684829"/>
                  </a:cubicBezTo>
                  <a:cubicBezTo>
                    <a:pt x="1611209" y="674347"/>
                    <a:pt x="1611209" y="664049"/>
                    <a:pt x="1611209" y="653567"/>
                  </a:cubicBezTo>
                  <a:cubicBezTo>
                    <a:pt x="1611209" y="653383"/>
                    <a:pt x="1611209" y="653199"/>
                    <a:pt x="1611576" y="653199"/>
                  </a:cubicBezTo>
                  <a:cubicBezTo>
                    <a:pt x="1612864" y="653199"/>
                    <a:pt x="1614335" y="653199"/>
                    <a:pt x="1615622" y="653199"/>
                  </a:cubicBezTo>
                  <a:cubicBezTo>
                    <a:pt x="1617829" y="653199"/>
                    <a:pt x="1619484" y="652096"/>
                    <a:pt x="1620587" y="650073"/>
                  </a:cubicBezTo>
                  <a:cubicBezTo>
                    <a:pt x="1621139" y="648970"/>
                    <a:pt x="1621139" y="647682"/>
                    <a:pt x="1620771" y="646211"/>
                  </a:cubicBezTo>
                  <a:cubicBezTo>
                    <a:pt x="1620036" y="644189"/>
                    <a:pt x="1618013" y="642717"/>
                    <a:pt x="1615806" y="642717"/>
                  </a:cubicBezTo>
                  <a:cubicBezTo>
                    <a:pt x="1613047" y="642717"/>
                    <a:pt x="1610289" y="642533"/>
                    <a:pt x="1607531" y="642533"/>
                  </a:cubicBezTo>
                  <a:close/>
                  <a:moveTo>
                    <a:pt x="1720403" y="642533"/>
                  </a:moveTo>
                  <a:cubicBezTo>
                    <a:pt x="1719484" y="642533"/>
                    <a:pt x="1718564" y="642349"/>
                    <a:pt x="1717645" y="642533"/>
                  </a:cubicBezTo>
                  <a:cubicBezTo>
                    <a:pt x="1716358" y="642717"/>
                    <a:pt x="1715255" y="643269"/>
                    <a:pt x="1714519" y="644189"/>
                  </a:cubicBezTo>
                  <a:cubicBezTo>
                    <a:pt x="1713415" y="645292"/>
                    <a:pt x="1712864" y="646763"/>
                    <a:pt x="1713047" y="648418"/>
                  </a:cubicBezTo>
                  <a:cubicBezTo>
                    <a:pt x="1713047" y="648602"/>
                    <a:pt x="1713047" y="648602"/>
                    <a:pt x="1713047" y="648786"/>
                  </a:cubicBezTo>
                  <a:cubicBezTo>
                    <a:pt x="1713047" y="660739"/>
                    <a:pt x="1713047" y="672692"/>
                    <a:pt x="1713047" y="684829"/>
                  </a:cubicBezTo>
                  <a:cubicBezTo>
                    <a:pt x="1713047" y="685196"/>
                    <a:pt x="1713047" y="685196"/>
                    <a:pt x="1712680" y="685196"/>
                  </a:cubicBezTo>
                  <a:cubicBezTo>
                    <a:pt x="1711025" y="685196"/>
                    <a:pt x="1709369" y="685196"/>
                    <a:pt x="1707715" y="685196"/>
                  </a:cubicBezTo>
                  <a:cubicBezTo>
                    <a:pt x="1706795" y="685196"/>
                    <a:pt x="1705876" y="685564"/>
                    <a:pt x="1704956" y="685932"/>
                  </a:cubicBezTo>
                  <a:cubicBezTo>
                    <a:pt x="1703301" y="687035"/>
                    <a:pt x="1702382" y="688506"/>
                    <a:pt x="1702382" y="690530"/>
                  </a:cubicBezTo>
                  <a:cubicBezTo>
                    <a:pt x="1702382" y="692001"/>
                    <a:pt x="1702933" y="693472"/>
                    <a:pt x="1704221" y="694391"/>
                  </a:cubicBezTo>
                  <a:cubicBezTo>
                    <a:pt x="1704956" y="694943"/>
                    <a:pt x="1705876" y="695495"/>
                    <a:pt x="1706979" y="695678"/>
                  </a:cubicBezTo>
                  <a:cubicBezTo>
                    <a:pt x="1706979" y="695678"/>
                    <a:pt x="1707163" y="695678"/>
                    <a:pt x="1707163" y="695678"/>
                  </a:cubicBezTo>
                  <a:cubicBezTo>
                    <a:pt x="1707163" y="695678"/>
                    <a:pt x="1707347" y="695678"/>
                    <a:pt x="1707347" y="695678"/>
                  </a:cubicBezTo>
                  <a:cubicBezTo>
                    <a:pt x="1707347" y="695495"/>
                    <a:pt x="1707531" y="695678"/>
                    <a:pt x="1707715" y="695678"/>
                  </a:cubicBezTo>
                  <a:cubicBezTo>
                    <a:pt x="1715070" y="695678"/>
                    <a:pt x="1722426" y="695678"/>
                    <a:pt x="1729598" y="695678"/>
                  </a:cubicBezTo>
                  <a:cubicBezTo>
                    <a:pt x="1729782" y="695678"/>
                    <a:pt x="1729782" y="695678"/>
                    <a:pt x="1729966" y="695678"/>
                  </a:cubicBezTo>
                  <a:cubicBezTo>
                    <a:pt x="1730149" y="695678"/>
                    <a:pt x="1730334" y="695678"/>
                    <a:pt x="1730517" y="695678"/>
                  </a:cubicBezTo>
                  <a:cubicBezTo>
                    <a:pt x="1730701" y="695495"/>
                    <a:pt x="1730885" y="695495"/>
                    <a:pt x="1731069" y="695495"/>
                  </a:cubicBezTo>
                  <a:cubicBezTo>
                    <a:pt x="1731988" y="695310"/>
                    <a:pt x="1732724" y="694759"/>
                    <a:pt x="1733460" y="694207"/>
                  </a:cubicBezTo>
                  <a:cubicBezTo>
                    <a:pt x="1734563" y="693104"/>
                    <a:pt x="1735114" y="691817"/>
                    <a:pt x="1735114" y="690346"/>
                  </a:cubicBezTo>
                  <a:cubicBezTo>
                    <a:pt x="1735114" y="689059"/>
                    <a:pt x="1734747" y="687771"/>
                    <a:pt x="1733643" y="686852"/>
                  </a:cubicBezTo>
                  <a:cubicBezTo>
                    <a:pt x="1732540" y="685749"/>
                    <a:pt x="1731253" y="685196"/>
                    <a:pt x="1729782" y="685196"/>
                  </a:cubicBezTo>
                  <a:cubicBezTo>
                    <a:pt x="1727943" y="685196"/>
                    <a:pt x="1726104" y="685196"/>
                    <a:pt x="1724448" y="685196"/>
                  </a:cubicBezTo>
                  <a:cubicBezTo>
                    <a:pt x="1724265" y="685196"/>
                    <a:pt x="1724081" y="685196"/>
                    <a:pt x="1724081" y="684829"/>
                  </a:cubicBezTo>
                  <a:cubicBezTo>
                    <a:pt x="1724081" y="674347"/>
                    <a:pt x="1724081" y="664049"/>
                    <a:pt x="1724081" y="653567"/>
                  </a:cubicBezTo>
                  <a:cubicBezTo>
                    <a:pt x="1724081" y="653383"/>
                    <a:pt x="1724081" y="653199"/>
                    <a:pt x="1724448" y="653199"/>
                  </a:cubicBezTo>
                  <a:cubicBezTo>
                    <a:pt x="1725736" y="653199"/>
                    <a:pt x="1727207" y="653199"/>
                    <a:pt x="1728495" y="653199"/>
                  </a:cubicBezTo>
                  <a:cubicBezTo>
                    <a:pt x="1730701" y="653199"/>
                    <a:pt x="1732356" y="652096"/>
                    <a:pt x="1733460" y="650073"/>
                  </a:cubicBezTo>
                  <a:cubicBezTo>
                    <a:pt x="1734011" y="648970"/>
                    <a:pt x="1734011" y="647682"/>
                    <a:pt x="1733643" y="646211"/>
                  </a:cubicBezTo>
                  <a:cubicBezTo>
                    <a:pt x="1732908" y="644189"/>
                    <a:pt x="1730885" y="642717"/>
                    <a:pt x="1728678" y="642717"/>
                  </a:cubicBezTo>
                  <a:cubicBezTo>
                    <a:pt x="1725920" y="642717"/>
                    <a:pt x="1723162" y="642533"/>
                    <a:pt x="1720403" y="642533"/>
                  </a:cubicBezTo>
                  <a:close/>
                  <a:moveTo>
                    <a:pt x="2079269" y="642533"/>
                  </a:moveTo>
                  <a:cubicBezTo>
                    <a:pt x="2078349" y="642533"/>
                    <a:pt x="2077430" y="642349"/>
                    <a:pt x="2076511" y="642533"/>
                  </a:cubicBezTo>
                  <a:cubicBezTo>
                    <a:pt x="2075223" y="642717"/>
                    <a:pt x="2074120" y="643269"/>
                    <a:pt x="2073384" y="644189"/>
                  </a:cubicBezTo>
                  <a:cubicBezTo>
                    <a:pt x="2072281" y="645292"/>
                    <a:pt x="2071729" y="646763"/>
                    <a:pt x="2071913" y="648418"/>
                  </a:cubicBezTo>
                  <a:cubicBezTo>
                    <a:pt x="2071913" y="648602"/>
                    <a:pt x="2071913" y="648602"/>
                    <a:pt x="2071913" y="648786"/>
                  </a:cubicBezTo>
                  <a:cubicBezTo>
                    <a:pt x="2071913" y="660739"/>
                    <a:pt x="2071913" y="672692"/>
                    <a:pt x="2071913" y="684829"/>
                  </a:cubicBezTo>
                  <a:cubicBezTo>
                    <a:pt x="2071913" y="685196"/>
                    <a:pt x="2071913" y="685196"/>
                    <a:pt x="2071545" y="685196"/>
                  </a:cubicBezTo>
                  <a:cubicBezTo>
                    <a:pt x="2069890" y="685196"/>
                    <a:pt x="2068234" y="685196"/>
                    <a:pt x="2066580" y="685196"/>
                  </a:cubicBezTo>
                  <a:cubicBezTo>
                    <a:pt x="2065660" y="685196"/>
                    <a:pt x="2064741" y="685564"/>
                    <a:pt x="2063821" y="685932"/>
                  </a:cubicBezTo>
                  <a:cubicBezTo>
                    <a:pt x="2062166" y="687035"/>
                    <a:pt x="2061247" y="688506"/>
                    <a:pt x="2061247" y="690530"/>
                  </a:cubicBezTo>
                  <a:cubicBezTo>
                    <a:pt x="2061247" y="692001"/>
                    <a:pt x="2061798" y="693472"/>
                    <a:pt x="2063086" y="694391"/>
                  </a:cubicBezTo>
                  <a:cubicBezTo>
                    <a:pt x="2063821" y="694943"/>
                    <a:pt x="2064741" y="695495"/>
                    <a:pt x="2065844" y="695678"/>
                  </a:cubicBezTo>
                  <a:cubicBezTo>
                    <a:pt x="2065844" y="695678"/>
                    <a:pt x="2066028" y="695678"/>
                    <a:pt x="2066028" y="695678"/>
                  </a:cubicBezTo>
                  <a:cubicBezTo>
                    <a:pt x="2066028" y="695678"/>
                    <a:pt x="2066212" y="695678"/>
                    <a:pt x="2066212" y="695678"/>
                  </a:cubicBezTo>
                  <a:cubicBezTo>
                    <a:pt x="2066212" y="695495"/>
                    <a:pt x="2066396" y="695678"/>
                    <a:pt x="2066580" y="695678"/>
                  </a:cubicBezTo>
                  <a:cubicBezTo>
                    <a:pt x="2073935" y="695678"/>
                    <a:pt x="2081292" y="695678"/>
                    <a:pt x="2088464" y="695678"/>
                  </a:cubicBezTo>
                  <a:cubicBezTo>
                    <a:pt x="2088647" y="695678"/>
                    <a:pt x="2088647" y="695678"/>
                    <a:pt x="2088832" y="695678"/>
                  </a:cubicBezTo>
                  <a:cubicBezTo>
                    <a:pt x="2089015" y="695678"/>
                    <a:pt x="2089199" y="695678"/>
                    <a:pt x="2089383" y="695678"/>
                  </a:cubicBezTo>
                  <a:cubicBezTo>
                    <a:pt x="2089567" y="695495"/>
                    <a:pt x="2089750" y="695495"/>
                    <a:pt x="2089935" y="695495"/>
                  </a:cubicBezTo>
                  <a:cubicBezTo>
                    <a:pt x="2090854" y="695310"/>
                    <a:pt x="2091589" y="694759"/>
                    <a:pt x="2092325" y="694207"/>
                  </a:cubicBezTo>
                  <a:cubicBezTo>
                    <a:pt x="2093428" y="693104"/>
                    <a:pt x="2093980" y="691817"/>
                    <a:pt x="2093980" y="690346"/>
                  </a:cubicBezTo>
                  <a:cubicBezTo>
                    <a:pt x="2093980" y="689059"/>
                    <a:pt x="2093613" y="687771"/>
                    <a:pt x="2092509" y="686852"/>
                  </a:cubicBezTo>
                  <a:cubicBezTo>
                    <a:pt x="2091406" y="685749"/>
                    <a:pt x="2090119" y="685196"/>
                    <a:pt x="2088647" y="685196"/>
                  </a:cubicBezTo>
                  <a:cubicBezTo>
                    <a:pt x="2086809" y="685196"/>
                    <a:pt x="2084970" y="685196"/>
                    <a:pt x="2083314" y="685196"/>
                  </a:cubicBezTo>
                  <a:cubicBezTo>
                    <a:pt x="2083131" y="685196"/>
                    <a:pt x="2082946" y="685196"/>
                    <a:pt x="2082946" y="684829"/>
                  </a:cubicBezTo>
                  <a:cubicBezTo>
                    <a:pt x="2082946" y="674347"/>
                    <a:pt x="2082946" y="664049"/>
                    <a:pt x="2082946" y="653567"/>
                  </a:cubicBezTo>
                  <a:cubicBezTo>
                    <a:pt x="2082946" y="653383"/>
                    <a:pt x="2082946" y="653199"/>
                    <a:pt x="2083314" y="653199"/>
                  </a:cubicBezTo>
                  <a:cubicBezTo>
                    <a:pt x="2084602" y="653199"/>
                    <a:pt x="2086073" y="653199"/>
                    <a:pt x="2087360" y="653199"/>
                  </a:cubicBezTo>
                  <a:cubicBezTo>
                    <a:pt x="2089567" y="653199"/>
                    <a:pt x="2091222" y="652096"/>
                    <a:pt x="2092325" y="650073"/>
                  </a:cubicBezTo>
                  <a:cubicBezTo>
                    <a:pt x="2092877" y="648970"/>
                    <a:pt x="2092877" y="647682"/>
                    <a:pt x="2092509" y="646211"/>
                  </a:cubicBezTo>
                  <a:cubicBezTo>
                    <a:pt x="2091774" y="644189"/>
                    <a:pt x="2089750" y="642717"/>
                    <a:pt x="2087544" y="642717"/>
                  </a:cubicBezTo>
                  <a:cubicBezTo>
                    <a:pt x="2084785" y="642717"/>
                    <a:pt x="2082027" y="642533"/>
                    <a:pt x="2079269" y="642533"/>
                  </a:cubicBezTo>
                  <a:close/>
                  <a:moveTo>
                    <a:pt x="2130606" y="642533"/>
                  </a:moveTo>
                  <a:cubicBezTo>
                    <a:pt x="2129686" y="642533"/>
                    <a:pt x="2128767" y="642349"/>
                    <a:pt x="2127847" y="642533"/>
                  </a:cubicBezTo>
                  <a:cubicBezTo>
                    <a:pt x="2126560" y="642717"/>
                    <a:pt x="2125456" y="643269"/>
                    <a:pt x="2124721" y="644189"/>
                  </a:cubicBezTo>
                  <a:cubicBezTo>
                    <a:pt x="2123618" y="645292"/>
                    <a:pt x="2123066" y="646763"/>
                    <a:pt x="2123249" y="648418"/>
                  </a:cubicBezTo>
                  <a:cubicBezTo>
                    <a:pt x="2123249" y="648602"/>
                    <a:pt x="2123249" y="648602"/>
                    <a:pt x="2123249" y="648786"/>
                  </a:cubicBezTo>
                  <a:cubicBezTo>
                    <a:pt x="2123249" y="660739"/>
                    <a:pt x="2123249" y="672692"/>
                    <a:pt x="2123249" y="684829"/>
                  </a:cubicBezTo>
                  <a:cubicBezTo>
                    <a:pt x="2123249" y="685196"/>
                    <a:pt x="2123249" y="685196"/>
                    <a:pt x="2122882" y="685196"/>
                  </a:cubicBezTo>
                  <a:cubicBezTo>
                    <a:pt x="2121227" y="685196"/>
                    <a:pt x="2119572" y="685196"/>
                    <a:pt x="2117917" y="685196"/>
                  </a:cubicBezTo>
                  <a:cubicBezTo>
                    <a:pt x="2116998" y="685196"/>
                    <a:pt x="2116078" y="685564"/>
                    <a:pt x="2115159" y="685932"/>
                  </a:cubicBezTo>
                  <a:cubicBezTo>
                    <a:pt x="2113504" y="687035"/>
                    <a:pt x="2112584" y="688506"/>
                    <a:pt x="2112584" y="690530"/>
                  </a:cubicBezTo>
                  <a:cubicBezTo>
                    <a:pt x="2112584" y="692001"/>
                    <a:pt x="2113136" y="693472"/>
                    <a:pt x="2114423" y="694391"/>
                  </a:cubicBezTo>
                  <a:cubicBezTo>
                    <a:pt x="2115159" y="694943"/>
                    <a:pt x="2116078" y="695495"/>
                    <a:pt x="2117181" y="695678"/>
                  </a:cubicBezTo>
                  <a:cubicBezTo>
                    <a:pt x="2117181" y="695678"/>
                    <a:pt x="2117366" y="695678"/>
                    <a:pt x="2117366" y="695678"/>
                  </a:cubicBezTo>
                  <a:cubicBezTo>
                    <a:pt x="2117366" y="695678"/>
                    <a:pt x="2117549" y="695678"/>
                    <a:pt x="2117549" y="695678"/>
                  </a:cubicBezTo>
                  <a:cubicBezTo>
                    <a:pt x="2117549" y="695495"/>
                    <a:pt x="2117733" y="695678"/>
                    <a:pt x="2117917" y="695678"/>
                  </a:cubicBezTo>
                  <a:cubicBezTo>
                    <a:pt x="2125273" y="695678"/>
                    <a:pt x="2132628" y="695678"/>
                    <a:pt x="2139800" y="695678"/>
                  </a:cubicBezTo>
                  <a:cubicBezTo>
                    <a:pt x="2139984" y="695678"/>
                    <a:pt x="2139984" y="695678"/>
                    <a:pt x="2140168" y="695678"/>
                  </a:cubicBezTo>
                  <a:cubicBezTo>
                    <a:pt x="2140352" y="695678"/>
                    <a:pt x="2140536" y="695678"/>
                    <a:pt x="2140719" y="695678"/>
                  </a:cubicBezTo>
                  <a:cubicBezTo>
                    <a:pt x="2140904" y="695495"/>
                    <a:pt x="2141088" y="695495"/>
                    <a:pt x="2141271" y="695495"/>
                  </a:cubicBezTo>
                  <a:cubicBezTo>
                    <a:pt x="2142191" y="695310"/>
                    <a:pt x="2142927" y="694759"/>
                    <a:pt x="2143662" y="694207"/>
                  </a:cubicBezTo>
                  <a:cubicBezTo>
                    <a:pt x="2144765" y="693104"/>
                    <a:pt x="2145317" y="691817"/>
                    <a:pt x="2145317" y="690346"/>
                  </a:cubicBezTo>
                  <a:cubicBezTo>
                    <a:pt x="2145317" y="689059"/>
                    <a:pt x="2144949" y="687771"/>
                    <a:pt x="2143846" y="686852"/>
                  </a:cubicBezTo>
                  <a:cubicBezTo>
                    <a:pt x="2142743" y="685749"/>
                    <a:pt x="2141455" y="685196"/>
                    <a:pt x="2139984" y="685196"/>
                  </a:cubicBezTo>
                  <a:cubicBezTo>
                    <a:pt x="2138146" y="685196"/>
                    <a:pt x="2136306" y="685196"/>
                    <a:pt x="2134651" y="685196"/>
                  </a:cubicBezTo>
                  <a:cubicBezTo>
                    <a:pt x="2134467" y="685196"/>
                    <a:pt x="2134283" y="685196"/>
                    <a:pt x="2134283" y="684829"/>
                  </a:cubicBezTo>
                  <a:cubicBezTo>
                    <a:pt x="2134283" y="674347"/>
                    <a:pt x="2134283" y="664049"/>
                    <a:pt x="2134283" y="653567"/>
                  </a:cubicBezTo>
                  <a:cubicBezTo>
                    <a:pt x="2134283" y="653383"/>
                    <a:pt x="2134283" y="653199"/>
                    <a:pt x="2134651" y="653199"/>
                  </a:cubicBezTo>
                  <a:cubicBezTo>
                    <a:pt x="2135939" y="653199"/>
                    <a:pt x="2137410" y="653199"/>
                    <a:pt x="2138697" y="653199"/>
                  </a:cubicBezTo>
                  <a:cubicBezTo>
                    <a:pt x="2140904" y="653199"/>
                    <a:pt x="2142559" y="652096"/>
                    <a:pt x="2143662" y="650073"/>
                  </a:cubicBezTo>
                  <a:cubicBezTo>
                    <a:pt x="2144214" y="648970"/>
                    <a:pt x="2144214" y="647682"/>
                    <a:pt x="2143846" y="646211"/>
                  </a:cubicBezTo>
                  <a:cubicBezTo>
                    <a:pt x="2143110" y="644189"/>
                    <a:pt x="2141088" y="642717"/>
                    <a:pt x="2138881" y="642717"/>
                  </a:cubicBezTo>
                  <a:cubicBezTo>
                    <a:pt x="2136122" y="642717"/>
                    <a:pt x="2133364" y="642533"/>
                    <a:pt x="2130606" y="642533"/>
                  </a:cubicBezTo>
                  <a:close/>
                  <a:moveTo>
                    <a:pt x="2304964" y="642533"/>
                  </a:moveTo>
                  <a:cubicBezTo>
                    <a:pt x="2304044" y="642533"/>
                    <a:pt x="2303125" y="642349"/>
                    <a:pt x="2302205" y="642533"/>
                  </a:cubicBezTo>
                  <a:cubicBezTo>
                    <a:pt x="2300918" y="642717"/>
                    <a:pt x="2299815" y="643269"/>
                    <a:pt x="2299079" y="644189"/>
                  </a:cubicBezTo>
                  <a:cubicBezTo>
                    <a:pt x="2297976" y="645292"/>
                    <a:pt x="2297425" y="646763"/>
                    <a:pt x="2297608" y="648418"/>
                  </a:cubicBezTo>
                  <a:cubicBezTo>
                    <a:pt x="2297608" y="648602"/>
                    <a:pt x="2297608" y="648602"/>
                    <a:pt x="2297608" y="648786"/>
                  </a:cubicBezTo>
                  <a:cubicBezTo>
                    <a:pt x="2297608" y="660739"/>
                    <a:pt x="2297608" y="672692"/>
                    <a:pt x="2297608" y="684829"/>
                  </a:cubicBezTo>
                  <a:cubicBezTo>
                    <a:pt x="2297608" y="685196"/>
                    <a:pt x="2297608" y="685196"/>
                    <a:pt x="2297240" y="685196"/>
                  </a:cubicBezTo>
                  <a:cubicBezTo>
                    <a:pt x="2295585" y="685196"/>
                    <a:pt x="2293930" y="685196"/>
                    <a:pt x="2292275" y="685196"/>
                  </a:cubicBezTo>
                  <a:cubicBezTo>
                    <a:pt x="2291356" y="685196"/>
                    <a:pt x="2290436" y="685564"/>
                    <a:pt x="2289517" y="685932"/>
                  </a:cubicBezTo>
                  <a:cubicBezTo>
                    <a:pt x="2287862" y="687035"/>
                    <a:pt x="2286942" y="688506"/>
                    <a:pt x="2286942" y="690530"/>
                  </a:cubicBezTo>
                  <a:cubicBezTo>
                    <a:pt x="2286942" y="692001"/>
                    <a:pt x="2287495" y="693472"/>
                    <a:pt x="2288781" y="694391"/>
                  </a:cubicBezTo>
                  <a:cubicBezTo>
                    <a:pt x="2289517" y="694943"/>
                    <a:pt x="2290436" y="695495"/>
                    <a:pt x="2291539" y="695678"/>
                  </a:cubicBezTo>
                  <a:cubicBezTo>
                    <a:pt x="2291539" y="695678"/>
                    <a:pt x="2291724" y="695678"/>
                    <a:pt x="2291724" y="695678"/>
                  </a:cubicBezTo>
                  <a:cubicBezTo>
                    <a:pt x="2291724" y="695678"/>
                    <a:pt x="2291907" y="695678"/>
                    <a:pt x="2291907" y="695678"/>
                  </a:cubicBezTo>
                  <a:cubicBezTo>
                    <a:pt x="2291907" y="695495"/>
                    <a:pt x="2292091" y="695678"/>
                    <a:pt x="2292275" y="695678"/>
                  </a:cubicBezTo>
                  <a:cubicBezTo>
                    <a:pt x="2299631" y="695678"/>
                    <a:pt x="2306987" y="695678"/>
                    <a:pt x="2314158" y="695678"/>
                  </a:cubicBezTo>
                  <a:cubicBezTo>
                    <a:pt x="2314342" y="695678"/>
                    <a:pt x="2314342" y="695678"/>
                    <a:pt x="2314526" y="695678"/>
                  </a:cubicBezTo>
                  <a:cubicBezTo>
                    <a:pt x="2314711" y="695678"/>
                    <a:pt x="2314894" y="695678"/>
                    <a:pt x="2315078" y="695678"/>
                  </a:cubicBezTo>
                  <a:cubicBezTo>
                    <a:pt x="2315262" y="695495"/>
                    <a:pt x="2315446" y="695495"/>
                    <a:pt x="2315630" y="695495"/>
                  </a:cubicBezTo>
                  <a:cubicBezTo>
                    <a:pt x="2316549" y="695310"/>
                    <a:pt x="2317285" y="694759"/>
                    <a:pt x="2318020" y="694207"/>
                  </a:cubicBezTo>
                  <a:cubicBezTo>
                    <a:pt x="2319123" y="693104"/>
                    <a:pt x="2319676" y="691817"/>
                    <a:pt x="2319676" y="690346"/>
                  </a:cubicBezTo>
                  <a:cubicBezTo>
                    <a:pt x="2319676" y="689059"/>
                    <a:pt x="2319307" y="687771"/>
                    <a:pt x="2318204" y="686852"/>
                  </a:cubicBezTo>
                  <a:cubicBezTo>
                    <a:pt x="2317101" y="685749"/>
                    <a:pt x="2315813" y="685196"/>
                    <a:pt x="2314342" y="685196"/>
                  </a:cubicBezTo>
                  <a:cubicBezTo>
                    <a:pt x="2312504" y="685196"/>
                    <a:pt x="2310665" y="685196"/>
                    <a:pt x="2309009" y="685196"/>
                  </a:cubicBezTo>
                  <a:cubicBezTo>
                    <a:pt x="2308826" y="685196"/>
                    <a:pt x="2308642" y="685196"/>
                    <a:pt x="2308642" y="684829"/>
                  </a:cubicBezTo>
                  <a:cubicBezTo>
                    <a:pt x="2308642" y="674347"/>
                    <a:pt x="2308642" y="664049"/>
                    <a:pt x="2308642" y="653567"/>
                  </a:cubicBezTo>
                  <a:cubicBezTo>
                    <a:pt x="2308642" y="653383"/>
                    <a:pt x="2308642" y="653199"/>
                    <a:pt x="2309009" y="653199"/>
                  </a:cubicBezTo>
                  <a:cubicBezTo>
                    <a:pt x="2310297" y="653199"/>
                    <a:pt x="2311768" y="653199"/>
                    <a:pt x="2313055" y="653199"/>
                  </a:cubicBezTo>
                  <a:cubicBezTo>
                    <a:pt x="2315262" y="653199"/>
                    <a:pt x="2316917" y="652096"/>
                    <a:pt x="2318020" y="650073"/>
                  </a:cubicBezTo>
                  <a:cubicBezTo>
                    <a:pt x="2318572" y="648970"/>
                    <a:pt x="2318572" y="647682"/>
                    <a:pt x="2318204" y="646211"/>
                  </a:cubicBezTo>
                  <a:cubicBezTo>
                    <a:pt x="2317469" y="644189"/>
                    <a:pt x="2315446" y="642717"/>
                    <a:pt x="2313239" y="642717"/>
                  </a:cubicBezTo>
                  <a:cubicBezTo>
                    <a:pt x="2310481" y="642717"/>
                    <a:pt x="2307722" y="642533"/>
                    <a:pt x="2304964" y="642533"/>
                  </a:cubicBezTo>
                  <a:close/>
                  <a:moveTo>
                    <a:pt x="22592" y="642486"/>
                  </a:moveTo>
                  <a:cubicBezTo>
                    <a:pt x="19751" y="642303"/>
                    <a:pt x="16908" y="642854"/>
                    <a:pt x="14233" y="643957"/>
                  </a:cubicBezTo>
                  <a:cubicBezTo>
                    <a:pt x="12394" y="644693"/>
                    <a:pt x="10722" y="645796"/>
                    <a:pt x="9218" y="647084"/>
                  </a:cubicBezTo>
                  <a:cubicBezTo>
                    <a:pt x="8382" y="647819"/>
                    <a:pt x="7714" y="648555"/>
                    <a:pt x="6878" y="649290"/>
                  </a:cubicBezTo>
                  <a:cubicBezTo>
                    <a:pt x="6042" y="650210"/>
                    <a:pt x="5206" y="651314"/>
                    <a:pt x="4537" y="652233"/>
                  </a:cubicBezTo>
                  <a:cubicBezTo>
                    <a:pt x="4035" y="652968"/>
                    <a:pt x="3534" y="653888"/>
                    <a:pt x="3200" y="654623"/>
                  </a:cubicBezTo>
                  <a:cubicBezTo>
                    <a:pt x="2531" y="655727"/>
                    <a:pt x="2030" y="657014"/>
                    <a:pt x="1695" y="658301"/>
                  </a:cubicBezTo>
                  <a:cubicBezTo>
                    <a:pt x="1361" y="659036"/>
                    <a:pt x="1193" y="659957"/>
                    <a:pt x="1027" y="660692"/>
                  </a:cubicBezTo>
                  <a:cubicBezTo>
                    <a:pt x="692" y="661795"/>
                    <a:pt x="525" y="663083"/>
                    <a:pt x="357" y="664186"/>
                  </a:cubicBezTo>
                  <a:cubicBezTo>
                    <a:pt x="-144" y="667496"/>
                    <a:pt x="-144" y="670806"/>
                    <a:pt x="525" y="673932"/>
                  </a:cubicBezTo>
                  <a:cubicBezTo>
                    <a:pt x="692" y="675036"/>
                    <a:pt x="859" y="676139"/>
                    <a:pt x="1193" y="677242"/>
                  </a:cubicBezTo>
                  <a:cubicBezTo>
                    <a:pt x="1528" y="678162"/>
                    <a:pt x="1695" y="678898"/>
                    <a:pt x="2030" y="679817"/>
                  </a:cubicBezTo>
                  <a:cubicBezTo>
                    <a:pt x="2364" y="680369"/>
                    <a:pt x="2531" y="680920"/>
                    <a:pt x="2698" y="681472"/>
                  </a:cubicBezTo>
                  <a:cubicBezTo>
                    <a:pt x="3200" y="682575"/>
                    <a:pt x="3702" y="683495"/>
                    <a:pt x="4203" y="684414"/>
                  </a:cubicBezTo>
                  <a:cubicBezTo>
                    <a:pt x="4704" y="685149"/>
                    <a:pt x="5206" y="685885"/>
                    <a:pt x="5707" y="686620"/>
                  </a:cubicBezTo>
                  <a:cubicBezTo>
                    <a:pt x="6376" y="687541"/>
                    <a:pt x="7212" y="688460"/>
                    <a:pt x="8048" y="689195"/>
                  </a:cubicBezTo>
                  <a:cubicBezTo>
                    <a:pt x="8717" y="689931"/>
                    <a:pt x="9553" y="690483"/>
                    <a:pt x="10221" y="691034"/>
                  </a:cubicBezTo>
                  <a:cubicBezTo>
                    <a:pt x="11392" y="691954"/>
                    <a:pt x="12729" y="692689"/>
                    <a:pt x="14066" y="693241"/>
                  </a:cubicBezTo>
                  <a:cubicBezTo>
                    <a:pt x="15738" y="693977"/>
                    <a:pt x="17577" y="694528"/>
                    <a:pt x="19416" y="694712"/>
                  </a:cubicBezTo>
                  <a:cubicBezTo>
                    <a:pt x="19751" y="694712"/>
                    <a:pt x="19917" y="694712"/>
                    <a:pt x="20252" y="694896"/>
                  </a:cubicBezTo>
                  <a:cubicBezTo>
                    <a:pt x="21255" y="694896"/>
                    <a:pt x="22091" y="694896"/>
                    <a:pt x="23094" y="694896"/>
                  </a:cubicBezTo>
                  <a:cubicBezTo>
                    <a:pt x="23094" y="694712"/>
                    <a:pt x="23261" y="694896"/>
                    <a:pt x="23261" y="694896"/>
                  </a:cubicBezTo>
                  <a:cubicBezTo>
                    <a:pt x="26438" y="694528"/>
                    <a:pt x="29446" y="693425"/>
                    <a:pt x="32121" y="691586"/>
                  </a:cubicBezTo>
                  <a:cubicBezTo>
                    <a:pt x="33292" y="690850"/>
                    <a:pt x="34294" y="689931"/>
                    <a:pt x="35298" y="688827"/>
                  </a:cubicBezTo>
                  <a:cubicBezTo>
                    <a:pt x="36134" y="688092"/>
                    <a:pt x="36803" y="687173"/>
                    <a:pt x="37471" y="686253"/>
                  </a:cubicBezTo>
                  <a:cubicBezTo>
                    <a:pt x="37973" y="685517"/>
                    <a:pt x="38475" y="684782"/>
                    <a:pt x="38976" y="683863"/>
                  </a:cubicBezTo>
                  <a:cubicBezTo>
                    <a:pt x="39478" y="682943"/>
                    <a:pt x="39979" y="682023"/>
                    <a:pt x="40480" y="680920"/>
                  </a:cubicBezTo>
                  <a:cubicBezTo>
                    <a:pt x="40815" y="680184"/>
                    <a:pt x="40982" y="679633"/>
                    <a:pt x="41316" y="678898"/>
                  </a:cubicBezTo>
                  <a:cubicBezTo>
                    <a:pt x="41651" y="678162"/>
                    <a:pt x="41818" y="677426"/>
                    <a:pt x="41985" y="676691"/>
                  </a:cubicBezTo>
                  <a:cubicBezTo>
                    <a:pt x="42319" y="675403"/>
                    <a:pt x="42487" y="674116"/>
                    <a:pt x="42821" y="672829"/>
                  </a:cubicBezTo>
                  <a:cubicBezTo>
                    <a:pt x="42988" y="672094"/>
                    <a:pt x="42988" y="671541"/>
                    <a:pt x="42988" y="670806"/>
                  </a:cubicBezTo>
                  <a:cubicBezTo>
                    <a:pt x="42821" y="671358"/>
                    <a:pt x="42654" y="671174"/>
                    <a:pt x="42821" y="670990"/>
                  </a:cubicBezTo>
                  <a:cubicBezTo>
                    <a:pt x="42821" y="669703"/>
                    <a:pt x="42821" y="668415"/>
                    <a:pt x="42821" y="667128"/>
                  </a:cubicBezTo>
                  <a:cubicBezTo>
                    <a:pt x="42821" y="667128"/>
                    <a:pt x="42821" y="667128"/>
                    <a:pt x="42821" y="666944"/>
                  </a:cubicBezTo>
                  <a:cubicBezTo>
                    <a:pt x="42821" y="665841"/>
                    <a:pt x="42654" y="664922"/>
                    <a:pt x="42487" y="663818"/>
                  </a:cubicBezTo>
                  <a:cubicBezTo>
                    <a:pt x="42152" y="662531"/>
                    <a:pt x="42152" y="661243"/>
                    <a:pt x="41651" y="660140"/>
                  </a:cubicBezTo>
                  <a:cubicBezTo>
                    <a:pt x="41316" y="659404"/>
                    <a:pt x="41149" y="658669"/>
                    <a:pt x="40982" y="657933"/>
                  </a:cubicBezTo>
                  <a:cubicBezTo>
                    <a:pt x="40480" y="656830"/>
                    <a:pt x="39979" y="655543"/>
                    <a:pt x="39478" y="654439"/>
                  </a:cubicBezTo>
                  <a:cubicBezTo>
                    <a:pt x="38976" y="653520"/>
                    <a:pt x="38475" y="652785"/>
                    <a:pt x="37973" y="651865"/>
                  </a:cubicBezTo>
                  <a:cubicBezTo>
                    <a:pt x="37471" y="651129"/>
                    <a:pt x="36969" y="650394"/>
                    <a:pt x="36468" y="649842"/>
                  </a:cubicBezTo>
                  <a:cubicBezTo>
                    <a:pt x="35967" y="649290"/>
                    <a:pt x="35465" y="648739"/>
                    <a:pt x="34964" y="648187"/>
                  </a:cubicBezTo>
                  <a:cubicBezTo>
                    <a:pt x="33960" y="647267"/>
                    <a:pt x="32957" y="646348"/>
                    <a:pt x="31787" y="645613"/>
                  </a:cubicBezTo>
                  <a:cubicBezTo>
                    <a:pt x="30951" y="645061"/>
                    <a:pt x="29948" y="644510"/>
                    <a:pt x="29113" y="644142"/>
                  </a:cubicBezTo>
                  <a:cubicBezTo>
                    <a:pt x="27106" y="643222"/>
                    <a:pt x="24932" y="642670"/>
                    <a:pt x="22592" y="642486"/>
                  </a:cubicBezTo>
                  <a:close/>
                  <a:moveTo>
                    <a:pt x="145622" y="642486"/>
                  </a:moveTo>
                  <a:cubicBezTo>
                    <a:pt x="142781" y="642303"/>
                    <a:pt x="139938" y="642854"/>
                    <a:pt x="137263" y="643957"/>
                  </a:cubicBezTo>
                  <a:cubicBezTo>
                    <a:pt x="135424" y="644693"/>
                    <a:pt x="133753" y="645796"/>
                    <a:pt x="132248" y="647084"/>
                  </a:cubicBezTo>
                  <a:cubicBezTo>
                    <a:pt x="131412" y="647819"/>
                    <a:pt x="130744" y="648555"/>
                    <a:pt x="129908" y="649290"/>
                  </a:cubicBezTo>
                  <a:cubicBezTo>
                    <a:pt x="129072" y="650210"/>
                    <a:pt x="128236" y="651314"/>
                    <a:pt x="127567" y="652233"/>
                  </a:cubicBezTo>
                  <a:cubicBezTo>
                    <a:pt x="127066" y="652968"/>
                    <a:pt x="126564" y="653888"/>
                    <a:pt x="126230" y="654623"/>
                  </a:cubicBezTo>
                  <a:cubicBezTo>
                    <a:pt x="125561" y="655727"/>
                    <a:pt x="125060" y="657014"/>
                    <a:pt x="124725" y="658301"/>
                  </a:cubicBezTo>
                  <a:cubicBezTo>
                    <a:pt x="124391" y="659036"/>
                    <a:pt x="124223" y="659957"/>
                    <a:pt x="124057" y="660692"/>
                  </a:cubicBezTo>
                  <a:cubicBezTo>
                    <a:pt x="123722" y="661795"/>
                    <a:pt x="123555" y="663083"/>
                    <a:pt x="123387" y="664186"/>
                  </a:cubicBezTo>
                  <a:cubicBezTo>
                    <a:pt x="122886" y="667496"/>
                    <a:pt x="122886" y="670806"/>
                    <a:pt x="123555" y="673932"/>
                  </a:cubicBezTo>
                  <a:cubicBezTo>
                    <a:pt x="123722" y="675036"/>
                    <a:pt x="123889" y="676139"/>
                    <a:pt x="124223" y="677242"/>
                  </a:cubicBezTo>
                  <a:cubicBezTo>
                    <a:pt x="124558" y="678162"/>
                    <a:pt x="124725" y="678898"/>
                    <a:pt x="125060" y="679817"/>
                  </a:cubicBezTo>
                  <a:cubicBezTo>
                    <a:pt x="125394" y="680369"/>
                    <a:pt x="125561" y="680920"/>
                    <a:pt x="125728" y="681472"/>
                  </a:cubicBezTo>
                  <a:cubicBezTo>
                    <a:pt x="126230" y="682575"/>
                    <a:pt x="126732" y="683495"/>
                    <a:pt x="127233" y="684414"/>
                  </a:cubicBezTo>
                  <a:cubicBezTo>
                    <a:pt x="127734" y="685149"/>
                    <a:pt x="128236" y="685885"/>
                    <a:pt x="128737" y="686620"/>
                  </a:cubicBezTo>
                  <a:cubicBezTo>
                    <a:pt x="129406" y="687541"/>
                    <a:pt x="130242" y="688460"/>
                    <a:pt x="131078" y="689195"/>
                  </a:cubicBezTo>
                  <a:cubicBezTo>
                    <a:pt x="131747" y="689931"/>
                    <a:pt x="132583" y="690483"/>
                    <a:pt x="133251" y="691034"/>
                  </a:cubicBezTo>
                  <a:cubicBezTo>
                    <a:pt x="134422" y="691954"/>
                    <a:pt x="135759" y="692689"/>
                    <a:pt x="137096" y="693241"/>
                  </a:cubicBezTo>
                  <a:cubicBezTo>
                    <a:pt x="138768" y="693977"/>
                    <a:pt x="140607" y="694528"/>
                    <a:pt x="142446" y="694712"/>
                  </a:cubicBezTo>
                  <a:cubicBezTo>
                    <a:pt x="142781" y="694712"/>
                    <a:pt x="142947" y="694712"/>
                    <a:pt x="143282" y="694896"/>
                  </a:cubicBezTo>
                  <a:cubicBezTo>
                    <a:pt x="144285" y="694896"/>
                    <a:pt x="145121" y="694896"/>
                    <a:pt x="146124" y="694896"/>
                  </a:cubicBezTo>
                  <a:cubicBezTo>
                    <a:pt x="146124" y="694712"/>
                    <a:pt x="146291" y="694896"/>
                    <a:pt x="146291" y="694896"/>
                  </a:cubicBezTo>
                  <a:cubicBezTo>
                    <a:pt x="149468" y="694528"/>
                    <a:pt x="152477" y="693425"/>
                    <a:pt x="155151" y="691586"/>
                  </a:cubicBezTo>
                  <a:cubicBezTo>
                    <a:pt x="156322" y="690850"/>
                    <a:pt x="157324" y="689931"/>
                    <a:pt x="158328" y="688827"/>
                  </a:cubicBezTo>
                  <a:cubicBezTo>
                    <a:pt x="159164" y="688092"/>
                    <a:pt x="159833" y="687173"/>
                    <a:pt x="160501" y="686253"/>
                  </a:cubicBezTo>
                  <a:cubicBezTo>
                    <a:pt x="161003" y="685517"/>
                    <a:pt x="161505" y="684782"/>
                    <a:pt x="162006" y="683863"/>
                  </a:cubicBezTo>
                  <a:cubicBezTo>
                    <a:pt x="162508" y="682943"/>
                    <a:pt x="163009" y="682023"/>
                    <a:pt x="163510" y="680920"/>
                  </a:cubicBezTo>
                  <a:cubicBezTo>
                    <a:pt x="163845" y="680184"/>
                    <a:pt x="164012" y="679633"/>
                    <a:pt x="164346" y="678898"/>
                  </a:cubicBezTo>
                  <a:cubicBezTo>
                    <a:pt x="164681" y="678162"/>
                    <a:pt x="164848" y="677426"/>
                    <a:pt x="165015" y="676691"/>
                  </a:cubicBezTo>
                  <a:cubicBezTo>
                    <a:pt x="165349" y="675403"/>
                    <a:pt x="165517" y="674116"/>
                    <a:pt x="165851" y="672829"/>
                  </a:cubicBezTo>
                  <a:cubicBezTo>
                    <a:pt x="166018" y="672094"/>
                    <a:pt x="166018" y="671541"/>
                    <a:pt x="166018" y="670806"/>
                  </a:cubicBezTo>
                  <a:cubicBezTo>
                    <a:pt x="165851" y="671358"/>
                    <a:pt x="165684" y="671174"/>
                    <a:pt x="165851" y="670990"/>
                  </a:cubicBezTo>
                  <a:cubicBezTo>
                    <a:pt x="165851" y="669703"/>
                    <a:pt x="165851" y="668415"/>
                    <a:pt x="165851" y="667128"/>
                  </a:cubicBezTo>
                  <a:cubicBezTo>
                    <a:pt x="165851" y="667128"/>
                    <a:pt x="165851" y="667128"/>
                    <a:pt x="165851" y="666944"/>
                  </a:cubicBezTo>
                  <a:cubicBezTo>
                    <a:pt x="165851" y="665841"/>
                    <a:pt x="165684" y="664922"/>
                    <a:pt x="165517" y="663818"/>
                  </a:cubicBezTo>
                  <a:cubicBezTo>
                    <a:pt x="165182" y="662531"/>
                    <a:pt x="165182" y="661243"/>
                    <a:pt x="164681" y="660140"/>
                  </a:cubicBezTo>
                  <a:cubicBezTo>
                    <a:pt x="164346" y="659404"/>
                    <a:pt x="164180" y="658669"/>
                    <a:pt x="164012" y="657933"/>
                  </a:cubicBezTo>
                  <a:cubicBezTo>
                    <a:pt x="163510" y="656830"/>
                    <a:pt x="163009" y="655543"/>
                    <a:pt x="162508" y="654439"/>
                  </a:cubicBezTo>
                  <a:cubicBezTo>
                    <a:pt x="162006" y="653520"/>
                    <a:pt x="161505" y="652785"/>
                    <a:pt x="161003" y="651865"/>
                  </a:cubicBezTo>
                  <a:cubicBezTo>
                    <a:pt x="160501" y="651129"/>
                    <a:pt x="159999" y="650394"/>
                    <a:pt x="159498" y="649842"/>
                  </a:cubicBezTo>
                  <a:cubicBezTo>
                    <a:pt x="158997" y="649290"/>
                    <a:pt x="158495" y="648739"/>
                    <a:pt x="157994" y="648187"/>
                  </a:cubicBezTo>
                  <a:cubicBezTo>
                    <a:pt x="156991" y="647267"/>
                    <a:pt x="155987" y="646348"/>
                    <a:pt x="154818" y="645613"/>
                  </a:cubicBezTo>
                  <a:cubicBezTo>
                    <a:pt x="153981" y="645061"/>
                    <a:pt x="152978" y="644510"/>
                    <a:pt x="152143" y="644142"/>
                  </a:cubicBezTo>
                  <a:cubicBezTo>
                    <a:pt x="150136" y="643222"/>
                    <a:pt x="147963" y="642670"/>
                    <a:pt x="145622" y="642486"/>
                  </a:cubicBezTo>
                  <a:close/>
                  <a:moveTo>
                    <a:pt x="258494" y="642486"/>
                  </a:moveTo>
                  <a:cubicBezTo>
                    <a:pt x="255653" y="642303"/>
                    <a:pt x="252811" y="642854"/>
                    <a:pt x="250136" y="643957"/>
                  </a:cubicBezTo>
                  <a:cubicBezTo>
                    <a:pt x="248297" y="644693"/>
                    <a:pt x="246625" y="645796"/>
                    <a:pt x="245120" y="647084"/>
                  </a:cubicBezTo>
                  <a:cubicBezTo>
                    <a:pt x="244285" y="647819"/>
                    <a:pt x="243616" y="648555"/>
                    <a:pt x="242780" y="649290"/>
                  </a:cubicBezTo>
                  <a:cubicBezTo>
                    <a:pt x="241944" y="650210"/>
                    <a:pt x="241108" y="651314"/>
                    <a:pt x="240439" y="652233"/>
                  </a:cubicBezTo>
                  <a:cubicBezTo>
                    <a:pt x="239938" y="652968"/>
                    <a:pt x="239437" y="653888"/>
                    <a:pt x="239102" y="654623"/>
                  </a:cubicBezTo>
                  <a:cubicBezTo>
                    <a:pt x="238433" y="655727"/>
                    <a:pt x="237932" y="657014"/>
                    <a:pt x="237598" y="658301"/>
                  </a:cubicBezTo>
                  <a:cubicBezTo>
                    <a:pt x="237263" y="659036"/>
                    <a:pt x="237096" y="659957"/>
                    <a:pt x="236929" y="660692"/>
                  </a:cubicBezTo>
                  <a:cubicBezTo>
                    <a:pt x="236594" y="661795"/>
                    <a:pt x="236427" y="663083"/>
                    <a:pt x="236260" y="664186"/>
                  </a:cubicBezTo>
                  <a:cubicBezTo>
                    <a:pt x="235758" y="667496"/>
                    <a:pt x="235758" y="670806"/>
                    <a:pt x="236427" y="673932"/>
                  </a:cubicBezTo>
                  <a:cubicBezTo>
                    <a:pt x="236594" y="675036"/>
                    <a:pt x="236762" y="676139"/>
                    <a:pt x="237096" y="677242"/>
                  </a:cubicBezTo>
                  <a:cubicBezTo>
                    <a:pt x="237430" y="678162"/>
                    <a:pt x="237598" y="678898"/>
                    <a:pt x="237932" y="679817"/>
                  </a:cubicBezTo>
                  <a:cubicBezTo>
                    <a:pt x="238266" y="680369"/>
                    <a:pt x="238433" y="680920"/>
                    <a:pt x="238601" y="681472"/>
                  </a:cubicBezTo>
                  <a:cubicBezTo>
                    <a:pt x="239102" y="682575"/>
                    <a:pt x="239604" y="683495"/>
                    <a:pt x="240105" y="684414"/>
                  </a:cubicBezTo>
                  <a:cubicBezTo>
                    <a:pt x="240606" y="685149"/>
                    <a:pt x="241108" y="685885"/>
                    <a:pt x="241610" y="686620"/>
                  </a:cubicBezTo>
                  <a:cubicBezTo>
                    <a:pt x="242278" y="687541"/>
                    <a:pt x="243114" y="688460"/>
                    <a:pt x="243950" y="689195"/>
                  </a:cubicBezTo>
                  <a:cubicBezTo>
                    <a:pt x="244619" y="689931"/>
                    <a:pt x="245455" y="690483"/>
                    <a:pt x="246124" y="691034"/>
                  </a:cubicBezTo>
                  <a:cubicBezTo>
                    <a:pt x="247294" y="691954"/>
                    <a:pt x="248631" y="692689"/>
                    <a:pt x="249968" y="693241"/>
                  </a:cubicBezTo>
                  <a:cubicBezTo>
                    <a:pt x="251640" y="693977"/>
                    <a:pt x="253479" y="694528"/>
                    <a:pt x="255318" y="694712"/>
                  </a:cubicBezTo>
                  <a:cubicBezTo>
                    <a:pt x="255653" y="694712"/>
                    <a:pt x="255820" y="694712"/>
                    <a:pt x="256154" y="694896"/>
                  </a:cubicBezTo>
                  <a:cubicBezTo>
                    <a:pt x="257157" y="694896"/>
                    <a:pt x="257993" y="694896"/>
                    <a:pt x="258996" y="694896"/>
                  </a:cubicBezTo>
                  <a:cubicBezTo>
                    <a:pt x="258996" y="694712"/>
                    <a:pt x="259163" y="694896"/>
                    <a:pt x="259163" y="694896"/>
                  </a:cubicBezTo>
                  <a:cubicBezTo>
                    <a:pt x="262340" y="694528"/>
                    <a:pt x="265349" y="693425"/>
                    <a:pt x="268024" y="691586"/>
                  </a:cubicBezTo>
                  <a:cubicBezTo>
                    <a:pt x="269194" y="690850"/>
                    <a:pt x="270197" y="689931"/>
                    <a:pt x="271200" y="688827"/>
                  </a:cubicBezTo>
                  <a:cubicBezTo>
                    <a:pt x="272036" y="688092"/>
                    <a:pt x="272705" y="687173"/>
                    <a:pt x="273374" y="686253"/>
                  </a:cubicBezTo>
                  <a:cubicBezTo>
                    <a:pt x="273875" y="685517"/>
                    <a:pt x="274377" y="684782"/>
                    <a:pt x="274878" y="683863"/>
                  </a:cubicBezTo>
                  <a:cubicBezTo>
                    <a:pt x="275380" y="682943"/>
                    <a:pt x="275881" y="682023"/>
                    <a:pt x="276383" y="680920"/>
                  </a:cubicBezTo>
                  <a:cubicBezTo>
                    <a:pt x="276717" y="680184"/>
                    <a:pt x="276885" y="679633"/>
                    <a:pt x="277218" y="678898"/>
                  </a:cubicBezTo>
                  <a:cubicBezTo>
                    <a:pt x="277553" y="678162"/>
                    <a:pt x="277720" y="677426"/>
                    <a:pt x="277887" y="676691"/>
                  </a:cubicBezTo>
                  <a:cubicBezTo>
                    <a:pt x="278222" y="675403"/>
                    <a:pt x="278389" y="674116"/>
                    <a:pt x="278724" y="672829"/>
                  </a:cubicBezTo>
                  <a:cubicBezTo>
                    <a:pt x="278890" y="672094"/>
                    <a:pt x="278890" y="671541"/>
                    <a:pt x="278890" y="670806"/>
                  </a:cubicBezTo>
                  <a:cubicBezTo>
                    <a:pt x="278724" y="671358"/>
                    <a:pt x="278556" y="671174"/>
                    <a:pt x="278724" y="670990"/>
                  </a:cubicBezTo>
                  <a:cubicBezTo>
                    <a:pt x="278724" y="669703"/>
                    <a:pt x="278724" y="668415"/>
                    <a:pt x="278724" y="667128"/>
                  </a:cubicBezTo>
                  <a:cubicBezTo>
                    <a:pt x="278724" y="667128"/>
                    <a:pt x="278724" y="667128"/>
                    <a:pt x="278724" y="666944"/>
                  </a:cubicBezTo>
                  <a:cubicBezTo>
                    <a:pt x="278724" y="665841"/>
                    <a:pt x="278556" y="664922"/>
                    <a:pt x="278389" y="663818"/>
                  </a:cubicBezTo>
                  <a:cubicBezTo>
                    <a:pt x="278054" y="662531"/>
                    <a:pt x="278054" y="661243"/>
                    <a:pt x="277553" y="660140"/>
                  </a:cubicBezTo>
                  <a:cubicBezTo>
                    <a:pt x="277218" y="659404"/>
                    <a:pt x="277052" y="658669"/>
                    <a:pt x="276885" y="657933"/>
                  </a:cubicBezTo>
                  <a:cubicBezTo>
                    <a:pt x="276383" y="656830"/>
                    <a:pt x="275881" y="655543"/>
                    <a:pt x="275380" y="654439"/>
                  </a:cubicBezTo>
                  <a:cubicBezTo>
                    <a:pt x="274878" y="653520"/>
                    <a:pt x="274377" y="652785"/>
                    <a:pt x="273875" y="651865"/>
                  </a:cubicBezTo>
                  <a:cubicBezTo>
                    <a:pt x="273374" y="651129"/>
                    <a:pt x="272872" y="650394"/>
                    <a:pt x="272371" y="649842"/>
                  </a:cubicBezTo>
                  <a:cubicBezTo>
                    <a:pt x="271869" y="649290"/>
                    <a:pt x="271367" y="648739"/>
                    <a:pt x="270866" y="648187"/>
                  </a:cubicBezTo>
                  <a:cubicBezTo>
                    <a:pt x="269863" y="647267"/>
                    <a:pt x="268860" y="646348"/>
                    <a:pt x="267690" y="645613"/>
                  </a:cubicBezTo>
                  <a:cubicBezTo>
                    <a:pt x="266853" y="645061"/>
                    <a:pt x="265851" y="644510"/>
                    <a:pt x="265015" y="644142"/>
                  </a:cubicBezTo>
                  <a:cubicBezTo>
                    <a:pt x="263009" y="643222"/>
                    <a:pt x="260835" y="642670"/>
                    <a:pt x="258494" y="642486"/>
                  </a:cubicBezTo>
                  <a:close/>
                  <a:moveTo>
                    <a:pt x="494338" y="642486"/>
                  </a:moveTo>
                  <a:cubicBezTo>
                    <a:pt x="491497" y="642303"/>
                    <a:pt x="488655" y="642854"/>
                    <a:pt x="485980" y="643957"/>
                  </a:cubicBezTo>
                  <a:cubicBezTo>
                    <a:pt x="484141" y="644693"/>
                    <a:pt x="482469" y="645796"/>
                    <a:pt x="480964" y="647084"/>
                  </a:cubicBezTo>
                  <a:cubicBezTo>
                    <a:pt x="480128" y="647819"/>
                    <a:pt x="479460" y="648555"/>
                    <a:pt x="478624" y="649290"/>
                  </a:cubicBezTo>
                  <a:cubicBezTo>
                    <a:pt x="477788" y="650210"/>
                    <a:pt x="476952" y="651314"/>
                    <a:pt x="476283" y="652233"/>
                  </a:cubicBezTo>
                  <a:cubicBezTo>
                    <a:pt x="475782" y="652968"/>
                    <a:pt x="475280" y="653888"/>
                    <a:pt x="474946" y="654623"/>
                  </a:cubicBezTo>
                  <a:cubicBezTo>
                    <a:pt x="474277" y="655727"/>
                    <a:pt x="473776" y="657014"/>
                    <a:pt x="473441" y="658301"/>
                  </a:cubicBezTo>
                  <a:cubicBezTo>
                    <a:pt x="473107" y="659036"/>
                    <a:pt x="472939" y="659957"/>
                    <a:pt x="472773" y="660692"/>
                  </a:cubicBezTo>
                  <a:cubicBezTo>
                    <a:pt x="472438" y="661795"/>
                    <a:pt x="472271" y="663083"/>
                    <a:pt x="472104" y="664186"/>
                  </a:cubicBezTo>
                  <a:cubicBezTo>
                    <a:pt x="471602" y="667496"/>
                    <a:pt x="471602" y="670806"/>
                    <a:pt x="472271" y="673932"/>
                  </a:cubicBezTo>
                  <a:cubicBezTo>
                    <a:pt x="472438" y="675036"/>
                    <a:pt x="472606" y="676139"/>
                    <a:pt x="472939" y="677242"/>
                  </a:cubicBezTo>
                  <a:cubicBezTo>
                    <a:pt x="473274" y="678162"/>
                    <a:pt x="473441" y="678898"/>
                    <a:pt x="473776" y="679817"/>
                  </a:cubicBezTo>
                  <a:cubicBezTo>
                    <a:pt x="474110" y="680369"/>
                    <a:pt x="474277" y="680920"/>
                    <a:pt x="474445" y="681472"/>
                  </a:cubicBezTo>
                  <a:cubicBezTo>
                    <a:pt x="474946" y="682575"/>
                    <a:pt x="475448" y="683495"/>
                    <a:pt x="475949" y="684414"/>
                  </a:cubicBezTo>
                  <a:cubicBezTo>
                    <a:pt x="476450" y="685149"/>
                    <a:pt x="476952" y="685885"/>
                    <a:pt x="477453" y="686620"/>
                  </a:cubicBezTo>
                  <a:cubicBezTo>
                    <a:pt x="478122" y="687541"/>
                    <a:pt x="478958" y="688460"/>
                    <a:pt x="479794" y="689195"/>
                  </a:cubicBezTo>
                  <a:cubicBezTo>
                    <a:pt x="480463" y="689931"/>
                    <a:pt x="481299" y="690483"/>
                    <a:pt x="481967" y="691034"/>
                  </a:cubicBezTo>
                  <a:cubicBezTo>
                    <a:pt x="483138" y="691954"/>
                    <a:pt x="484475" y="692689"/>
                    <a:pt x="485812" y="693241"/>
                  </a:cubicBezTo>
                  <a:cubicBezTo>
                    <a:pt x="487484" y="693977"/>
                    <a:pt x="489323" y="694528"/>
                    <a:pt x="491162" y="694712"/>
                  </a:cubicBezTo>
                  <a:cubicBezTo>
                    <a:pt x="491497" y="694712"/>
                    <a:pt x="491663" y="694712"/>
                    <a:pt x="491998" y="694896"/>
                  </a:cubicBezTo>
                  <a:cubicBezTo>
                    <a:pt x="493001" y="694896"/>
                    <a:pt x="493837" y="694896"/>
                    <a:pt x="494840" y="694896"/>
                  </a:cubicBezTo>
                  <a:cubicBezTo>
                    <a:pt x="494840" y="694712"/>
                    <a:pt x="495008" y="694896"/>
                    <a:pt x="495008" y="694896"/>
                  </a:cubicBezTo>
                  <a:cubicBezTo>
                    <a:pt x="498184" y="694528"/>
                    <a:pt x="501193" y="693425"/>
                    <a:pt x="503868" y="691586"/>
                  </a:cubicBezTo>
                  <a:cubicBezTo>
                    <a:pt x="505038" y="690850"/>
                    <a:pt x="506041" y="689931"/>
                    <a:pt x="507044" y="688827"/>
                  </a:cubicBezTo>
                  <a:cubicBezTo>
                    <a:pt x="507880" y="688092"/>
                    <a:pt x="508549" y="687173"/>
                    <a:pt x="509218" y="686253"/>
                  </a:cubicBezTo>
                  <a:cubicBezTo>
                    <a:pt x="509719" y="685517"/>
                    <a:pt x="510221" y="684782"/>
                    <a:pt x="510722" y="683863"/>
                  </a:cubicBezTo>
                  <a:cubicBezTo>
                    <a:pt x="511224" y="682943"/>
                    <a:pt x="511725" y="682023"/>
                    <a:pt x="512226" y="680920"/>
                  </a:cubicBezTo>
                  <a:cubicBezTo>
                    <a:pt x="512561" y="680184"/>
                    <a:pt x="512728" y="679633"/>
                    <a:pt x="513062" y="678898"/>
                  </a:cubicBezTo>
                  <a:cubicBezTo>
                    <a:pt x="513397" y="678162"/>
                    <a:pt x="513564" y="677426"/>
                    <a:pt x="513732" y="676691"/>
                  </a:cubicBezTo>
                  <a:cubicBezTo>
                    <a:pt x="514066" y="675403"/>
                    <a:pt x="514233" y="674116"/>
                    <a:pt x="514567" y="672829"/>
                  </a:cubicBezTo>
                  <a:cubicBezTo>
                    <a:pt x="514734" y="672094"/>
                    <a:pt x="514734" y="671541"/>
                    <a:pt x="514734" y="670806"/>
                  </a:cubicBezTo>
                  <a:cubicBezTo>
                    <a:pt x="514567" y="671358"/>
                    <a:pt x="514400" y="671174"/>
                    <a:pt x="514567" y="670990"/>
                  </a:cubicBezTo>
                  <a:cubicBezTo>
                    <a:pt x="514567" y="669703"/>
                    <a:pt x="514567" y="668415"/>
                    <a:pt x="514567" y="667128"/>
                  </a:cubicBezTo>
                  <a:cubicBezTo>
                    <a:pt x="514567" y="667128"/>
                    <a:pt x="514567" y="667128"/>
                    <a:pt x="514567" y="666944"/>
                  </a:cubicBezTo>
                  <a:cubicBezTo>
                    <a:pt x="514567" y="665841"/>
                    <a:pt x="514400" y="664922"/>
                    <a:pt x="514233" y="663818"/>
                  </a:cubicBezTo>
                  <a:cubicBezTo>
                    <a:pt x="513898" y="662531"/>
                    <a:pt x="513898" y="661243"/>
                    <a:pt x="513397" y="660140"/>
                  </a:cubicBezTo>
                  <a:cubicBezTo>
                    <a:pt x="513062" y="659404"/>
                    <a:pt x="512896" y="658669"/>
                    <a:pt x="512728" y="657933"/>
                  </a:cubicBezTo>
                  <a:cubicBezTo>
                    <a:pt x="512226" y="656830"/>
                    <a:pt x="511725" y="655543"/>
                    <a:pt x="511224" y="654439"/>
                  </a:cubicBezTo>
                  <a:cubicBezTo>
                    <a:pt x="510722" y="653520"/>
                    <a:pt x="510221" y="652785"/>
                    <a:pt x="509719" y="651865"/>
                  </a:cubicBezTo>
                  <a:cubicBezTo>
                    <a:pt x="509218" y="651129"/>
                    <a:pt x="508716" y="650394"/>
                    <a:pt x="508214" y="649842"/>
                  </a:cubicBezTo>
                  <a:cubicBezTo>
                    <a:pt x="507713" y="649290"/>
                    <a:pt x="507211" y="648739"/>
                    <a:pt x="506710" y="648187"/>
                  </a:cubicBezTo>
                  <a:cubicBezTo>
                    <a:pt x="505707" y="647267"/>
                    <a:pt x="504704" y="646348"/>
                    <a:pt x="503534" y="645613"/>
                  </a:cubicBezTo>
                  <a:cubicBezTo>
                    <a:pt x="502697" y="645061"/>
                    <a:pt x="501695" y="644510"/>
                    <a:pt x="500859" y="644142"/>
                  </a:cubicBezTo>
                  <a:cubicBezTo>
                    <a:pt x="498852" y="643222"/>
                    <a:pt x="496679" y="642670"/>
                    <a:pt x="494338" y="642486"/>
                  </a:cubicBezTo>
                  <a:close/>
                  <a:moveTo>
                    <a:pt x="617360" y="642486"/>
                  </a:moveTo>
                  <a:cubicBezTo>
                    <a:pt x="614518" y="642303"/>
                    <a:pt x="611676" y="642854"/>
                    <a:pt x="609001" y="643957"/>
                  </a:cubicBezTo>
                  <a:cubicBezTo>
                    <a:pt x="607162" y="644693"/>
                    <a:pt x="605490" y="645796"/>
                    <a:pt x="603986" y="647084"/>
                  </a:cubicBezTo>
                  <a:cubicBezTo>
                    <a:pt x="603150" y="647819"/>
                    <a:pt x="602481" y="648555"/>
                    <a:pt x="601645" y="649290"/>
                  </a:cubicBezTo>
                  <a:cubicBezTo>
                    <a:pt x="600809" y="650210"/>
                    <a:pt x="599973" y="651314"/>
                    <a:pt x="599304" y="652233"/>
                  </a:cubicBezTo>
                  <a:cubicBezTo>
                    <a:pt x="598803" y="652968"/>
                    <a:pt x="598302" y="653888"/>
                    <a:pt x="597967" y="654623"/>
                  </a:cubicBezTo>
                  <a:cubicBezTo>
                    <a:pt x="597298" y="655727"/>
                    <a:pt x="596797" y="657014"/>
                    <a:pt x="596463" y="658301"/>
                  </a:cubicBezTo>
                  <a:cubicBezTo>
                    <a:pt x="596128" y="659036"/>
                    <a:pt x="595961" y="659957"/>
                    <a:pt x="595794" y="660692"/>
                  </a:cubicBezTo>
                  <a:cubicBezTo>
                    <a:pt x="595459" y="661795"/>
                    <a:pt x="595292" y="663083"/>
                    <a:pt x="595125" y="664186"/>
                  </a:cubicBezTo>
                  <a:cubicBezTo>
                    <a:pt x="594624" y="667496"/>
                    <a:pt x="594624" y="670806"/>
                    <a:pt x="595292" y="673932"/>
                  </a:cubicBezTo>
                  <a:cubicBezTo>
                    <a:pt x="595459" y="675036"/>
                    <a:pt x="595627" y="676139"/>
                    <a:pt x="595961" y="677242"/>
                  </a:cubicBezTo>
                  <a:cubicBezTo>
                    <a:pt x="596295" y="678162"/>
                    <a:pt x="596463" y="678898"/>
                    <a:pt x="596797" y="679817"/>
                  </a:cubicBezTo>
                  <a:cubicBezTo>
                    <a:pt x="597131" y="680369"/>
                    <a:pt x="597298" y="680920"/>
                    <a:pt x="597466" y="681472"/>
                  </a:cubicBezTo>
                  <a:cubicBezTo>
                    <a:pt x="597967" y="682575"/>
                    <a:pt x="598469" y="683495"/>
                    <a:pt x="598970" y="684414"/>
                  </a:cubicBezTo>
                  <a:cubicBezTo>
                    <a:pt x="599471" y="685149"/>
                    <a:pt x="599973" y="685885"/>
                    <a:pt x="600475" y="686620"/>
                  </a:cubicBezTo>
                  <a:cubicBezTo>
                    <a:pt x="601143" y="687541"/>
                    <a:pt x="601979" y="688460"/>
                    <a:pt x="602815" y="689195"/>
                  </a:cubicBezTo>
                  <a:cubicBezTo>
                    <a:pt x="603484" y="689931"/>
                    <a:pt x="604320" y="690483"/>
                    <a:pt x="604989" y="691034"/>
                  </a:cubicBezTo>
                  <a:cubicBezTo>
                    <a:pt x="606159" y="691954"/>
                    <a:pt x="607496" y="692689"/>
                    <a:pt x="608833" y="693241"/>
                  </a:cubicBezTo>
                  <a:cubicBezTo>
                    <a:pt x="610505" y="693977"/>
                    <a:pt x="612344" y="694528"/>
                    <a:pt x="614183" y="694712"/>
                  </a:cubicBezTo>
                  <a:cubicBezTo>
                    <a:pt x="614518" y="694712"/>
                    <a:pt x="614685" y="694712"/>
                    <a:pt x="615019" y="694896"/>
                  </a:cubicBezTo>
                  <a:cubicBezTo>
                    <a:pt x="616022" y="694896"/>
                    <a:pt x="616858" y="694896"/>
                    <a:pt x="617862" y="694896"/>
                  </a:cubicBezTo>
                  <a:cubicBezTo>
                    <a:pt x="617862" y="694712"/>
                    <a:pt x="618029" y="694896"/>
                    <a:pt x="618029" y="694896"/>
                  </a:cubicBezTo>
                  <a:cubicBezTo>
                    <a:pt x="621205" y="694528"/>
                    <a:pt x="624214" y="693425"/>
                    <a:pt x="626889" y="691586"/>
                  </a:cubicBezTo>
                  <a:cubicBezTo>
                    <a:pt x="628059" y="690850"/>
                    <a:pt x="629063" y="689931"/>
                    <a:pt x="630065" y="688827"/>
                  </a:cubicBezTo>
                  <a:cubicBezTo>
                    <a:pt x="630902" y="688092"/>
                    <a:pt x="631570" y="687173"/>
                    <a:pt x="632239" y="686253"/>
                  </a:cubicBezTo>
                  <a:cubicBezTo>
                    <a:pt x="632740" y="685517"/>
                    <a:pt x="633242" y="684782"/>
                    <a:pt x="633743" y="683863"/>
                  </a:cubicBezTo>
                  <a:cubicBezTo>
                    <a:pt x="634245" y="682943"/>
                    <a:pt x="634746" y="682023"/>
                    <a:pt x="635248" y="680920"/>
                  </a:cubicBezTo>
                  <a:cubicBezTo>
                    <a:pt x="635582" y="680184"/>
                    <a:pt x="635750" y="679633"/>
                    <a:pt x="636084" y="678898"/>
                  </a:cubicBezTo>
                  <a:cubicBezTo>
                    <a:pt x="636418" y="678162"/>
                    <a:pt x="636585" y="677426"/>
                    <a:pt x="636753" y="676691"/>
                  </a:cubicBezTo>
                  <a:cubicBezTo>
                    <a:pt x="637087" y="675403"/>
                    <a:pt x="637254" y="674116"/>
                    <a:pt x="637589" y="672829"/>
                  </a:cubicBezTo>
                  <a:cubicBezTo>
                    <a:pt x="637755" y="672094"/>
                    <a:pt x="637755" y="671541"/>
                    <a:pt x="637755" y="670806"/>
                  </a:cubicBezTo>
                  <a:cubicBezTo>
                    <a:pt x="637589" y="671358"/>
                    <a:pt x="637421" y="671174"/>
                    <a:pt x="637589" y="670990"/>
                  </a:cubicBezTo>
                  <a:cubicBezTo>
                    <a:pt x="637589" y="669703"/>
                    <a:pt x="637589" y="668415"/>
                    <a:pt x="637589" y="667128"/>
                  </a:cubicBezTo>
                  <a:cubicBezTo>
                    <a:pt x="637589" y="667128"/>
                    <a:pt x="637589" y="667128"/>
                    <a:pt x="637589" y="666944"/>
                  </a:cubicBezTo>
                  <a:cubicBezTo>
                    <a:pt x="637589" y="665841"/>
                    <a:pt x="637421" y="664922"/>
                    <a:pt x="637254" y="663818"/>
                  </a:cubicBezTo>
                  <a:cubicBezTo>
                    <a:pt x="636919" y="662531"/>
                    <a:pt x="636919" y="661243"/>
                    <a:pt x="636418" y="660140"/>
                  </a:cubicBezTo>
                  <a:cubicBezTo>
                    <a:pt x="636084" y="659404"/>
                    <a:pt x="635917" y="658669"/>
                    <a:pt x="635750" y="657933"/>
                  </a:cubicBezTo>
                  <a:cubicBezTo>
                    <a:pt x="635248" y="656830"/>
                    <a:pt x="634746" y="655543"/>
                    <a:pt x="634245" y="654439"/>
                  </a:cubicBezTo>
                  <a:cubicBezTo>
                    <a:pt x="633743" y="653520"/>
                    <a:pt x="633242" y="652785"/>
                    <a:pt x="632740" y="651865"/>
                  </a:cubicBezTo>
                  <a:cubicBezTo>
                    <a:pt x="632239" y="651129"/>
                    <a:pt x="631737" y="650394"/>
                    <a:pt x="631236" y="649842"/>
                  </a:cubicBezTo>
                  <a:cubicBezTo>
                    <a:pt x="630734" y="649290"/>
                    <a:pt x="630232" y="648739"/>
                    <a:pt x="629731" y="648187"/>
                  </a:cubicBezTo>
                  <a:cubicBezTo>
                    <a:pt x="628728" y="647267"/>
                    <a:pt x="627725" y="646348"/>
                    <a:pt x="626555" y="645613"/>
                  </a:cubicBezTo>
                  <a:cubicBezTo>
                    <a:pt x="625718" y="645061"/>
                    <a:pt x="624716" y="644510"/>
                    <a:pt x="623880" y="644142"/>
                  </a:cubicBezTo>
                  <a:cubicBezTo>
                    <a:pt x="621874" y="643222"/>
                    <a:pt x="619701" y="642670"/>
                    <a:pt x="617360" y="642486"/>
                  </a:cubicBezTo>
                  <a:close/>
                  <a:moveTo>
                    <a:pt x="781569" y="642486"/>
                  </a:moveTo>
                  <a:cubicBezTo>
                    <a:pt x="778727" y="642303"/>
                    <a:pt x="775885" y="642854"/>
                    <a:pt x="773210" y="643957"/>
                  </a:cubicBezTo>
                  <a:cubicBezTo>
                    <a:pt x="771371" y="644693"/>
                    <a:pt x="769699" y="645796"/>
                    <a:pt x="768195" y="647084"/>
                  </a:cubicBezTo>
                  <a:cubicBezTo>
                    <a:pt x="767359" y="647819"/>
                    <a:pt x="766690" y="648555"/>
                    <a:pt x="765854" y="649290"/>
                  </a:cubicBezTo>
                  <a:cubicBezTo>
                    <a:pt x="765019" y="650210"/>
                    <a:pt x="764183" y="651314"/>
                    <a:pt x="763513" y="652233"/>
                  </a:cubicBezTo>
                  <a:cubicBezTo>
                    <a:pt x="763012" y="652968"/>
                    <a:pt x="762511" y="653888"/>
                    <a:pt x="762176" y="654623"/>
                  </a:cubicBezTo>
                  <a:cubicBezTo>
                    <a:pt x="761508" y="655727"/>
                    <a:pt x="761006" y="657014"/>
                    <a:pt x="760672" y="658301"/>
                  </a:cubicBezTo>
                  <a:cubicBezTo>
                    <a:pt x="760337" y="659036"/>
                    <a:pt x="760170" y="659957"/>
                    <a:pt x="760003" y="660692"/>
                  </a:cubicBezTo>
                  <a:cubicBezTo>
                    <a:pt x="759669" y="661795"/>
                    <a:pt x="759501" y="663083"/>
                    <a:pt x="759335" y="664186"/>
                  </a:cubicBezTo>
                  <a:cubicBezTo>
                    <a:pt x="758833" y="667496"/>
                    <a:pt x="758833" y="670806"/>
                    <a:pt x="759501" y="673932"/>
                  </a:cubicBezTo>
                  <a:cubicBezTo>
                    <a:pt x="759669" y="675036"/>
                    <a:pt x="759836" y="676139"/>
                    <a:pt x="760170" y="677242"/>
                  </a:cubicBezTo>
                  <a:cubicBezTo>
                    <a:pt x="760504" y="678162"/>
                    <a:pt x="760672" y="678898"/>
                    <a:pt x="761006" y="679817"/>
                  </a:cubicBezTo>
                  <a:cubicBezTo>
                    <a:pt x="761340" y="680369"/>
                    <a:pt x="761508" y="680920"/>
                    <a:pt x="761675" y="681472"/>
                  </a:cubicBezTo>
                  <a:cubicBezTo>
                    <a:pt x="762176" y="682575"/>
                    <a:pt x="762678" y="683495"/>
                    <a:pt x="763179" y="684414"/>
                  </a:cubicBezTo>
                  <a:cubicBezTo>
                    <a:pt x="763681" y="685149"/>
                    <a:pt x="764183" y="685885"/>
                    <a:pt x="764684" y="686620"/>
                  </a:cubicBezTo>
                  <a:cubicBezTo>
                    <a:pt x="765352" y="687541"/>
                    <a:pt x="766188" y="688460"/>
                    <a:pt x="767024" y="689195"/>
                  </a:cubicBezTo>
                  <a:cubicBezTo>
                    <a:pt x="767693" y="689931"/>
                    <a:pt x="768529" y="690483"/>
                    <a:pt x="769198" y="691034"/>
                  </a:cubicBezTo>
                  <a:cubicBezTo>
                    <a:pt x="770368" y="691954"/>
                    <a:pt x="771706" y="692689"/>
                    <a:pt x="773043" y="693241"/>
                  </a:cubicBezTo>
                  <a:cubicBezTo>
                    <a:pt x="774714" y="693977"/>
                    <a:pt x="776554" y="694528"/>
                    <a:pt x="778393" y="694712"/>
                  </a:cubicBezTo>
                  <a:cubicBezTo>
                    <a:pt x="778727" y="694712"/>
                    <a:pt x="778894" y="694712"/>
                    <a:pt x="779228" y="694896"/>
                  </a:cubicBezTo>
                  <a:cubicBezTo>
                    <a:pt x="780232" y="694896"/>
                    <a:pt x="781068" y="694896"/>
                    <a:pt x="782071" y="694896"/>
                  </a:cubicBezTo>
                  <a:cubicBezTo>
                    <a:pt x="782071" y="694712"/>
                    <a:pt x="782238" y="694896"/>
                    <a:pt x="782238" y="694896"/>
                  </a:cubicBezTo>
                  <a:cubicBezTo>
                    <a:pt x="785414" y="694528"/>
                    <a:pt x="788423" y="693425"/>
                    <a:pt x="791098" y="691586"/>
                  </a:cubicBezTo>
                  <a:cubicBezTo>
                    <a:pt x="792269" y="690850"/>
                    <a:pt x="793272" y="689931"/>
                    <a:pt x="794274" y="688827"/>
                  </a:cubicBezTo>
                  <a:cubicBezTo>
                    <a:pt x="795111" y="688092"/>
                    <a:pt x="795779" y="687173"/>
                    <a:pt x="796448" y="686253"/>
                  </a:cubicBezTo>
                  <a:cubicBezTo>
                    <a:pt x="796949" y="685517"/>
                    <a:pt x="797451" y="684782"/>
                    <a:pt x="797952" y="683863"/>
                  </a:cubicBezTo>
                  <a:cubicBezTo>
                    <a:pt x="798454" y="682943"/>
                    <a:pt x="798956" y="682023"/>
                    <a:pt x="799457" y="680920"/>
                  </a:cubicBezTo>
                  <a:cubicBezTo>
                    <a:pt x="799792" y="680184"/>
                    <a:pt x="799959" y="679633"/>
                    <a:pt x="800293" y="678898"/>
                  </a:cubicBezTo>
                  <a:cubicBezTo>
                    <a:pt x="800627" y="678162"/>
                    <a:pt x="800795" y="677426"/>
                    <a:pt x="800962" y="676691"/>
                  </a:cubicBezTo>
                  <a:cubicBezTo>
                    <a:pt x="801296" y="675403"/>
                    <a:pt x="801463" y="674116"/>
                    <a:pt x="801798" y="672829"/>
                  </a:cubicBezTo>
                  <a:cubicBezTo>
                    <a:pt x="801965" y="672094"/>
                    <a:pt x="801965" y="671541"/>
                    <a:pt x="801965" y="670806"/>
                  </a:cubicBezTo>
                  <a:cubicBezTo>
                    <a:pt x="801798" y="671358"/>
                    <a:pt x="801631" y="671174"/>
                    <a:pt x="801798" y="670990"/>
                  </a:cubicBezTo>
                  <a:cubicBezTo>
                    <a:pt x="801798" y="669703"/>
                    <a:pt x="801798" y="668415"/>
                    <a:pt x="801798" y="667128"/>
                  </a:cubicBezTo>
                  <a:cubicBezTo>
                    <a:pt x="801798" y="667128"/>
                    <a:pt x="801798" y="667128"/>
                    <a:pt x="801798" y="666944"/>
                  </a:cubicBezTo>
                  <a:cubicBezTo>
                    <a:pt x="801798" y="665841"/>
                    <a:pt x="801631" y="664922"/>
                    <a:pt x="801463" y="663818"/>
                  </a:cubicBezTo>
                  <a:cubicBezTo>
                    <a:pt x="801129" y="662531"/>
                    <a:pt x="801129" y="661243"/>
                    <a:pt x="800627" y="660140"/>
                  </a:cubicBezTo>
                  <a:cubicBezTo>
                    <a:pt x="800293" y="659404"/>
                    <a:pt x="800126" y="658669"/>
                    <a:pt x="799959" y="657933"/>
                  </a:cubicBezTo>
                  <a:cubicBezTo>
                    <a:pt x="799457" y="656830"/>
                    <a:pt x="798956" y="655543"/>
                    <a:pt x="798454" y="654439"/>
                  </a:cubicBezTo>
                  <a:cubicBezTo>
                    <a:pt x="797952" y="653520"/>
                    <a:pt x="797451" y="652785"/>
                    <a:pt x="796949" y="651865"/>
                  </a:cubicBezTo>
                  <a:cubicBezTo>
                    <a:pt x="796448" y="651129"/>
                    <a:pt x="795946" y="650394"/>
                    <a:pt x="795445" y="649842"/>
                  </a:cubicBezTo>
                  <a:cubicBezTo>
                    <a:pt x="794944" y="649290"/>
                    <a:pt x="794442" y="648739"/>
                    <a:pt x="793940" y="648187"/>
                  </a:cubicBezTo>
                  <a:cubicBezTo>
                    <a:pt x="792937" y="647267"/>
                    <a:pt x="791934" y="646348"/>
                    <a:pt x="790764" y="645613"/>
                  </a:cubicBezTo>
                  <a:cubicBezTo>
                    <a:pt x="789928" y="645061"/>
                    <a:pt x="788925" y="644510"/>
                    <a:pt x="788089" y="644142"/>
                  </a:cubicBezTo>
                  <a:cubicBezTo>
                    <a:pt x="786083" y="643222"/>
                    <a:pt x="783910" y="642670"/>
                    <a:pt x="781569" y="642486"/>
                  </a:cubicBezTo>
                  <a:close/>
                  <a:moveTo>
                    <a:pt x="904590" y="642486"/>
                  </a:moveTo>
                  <a:cubicBezTo>
                    <a:pt x="901748" y="642303"/>
                    <a:pt x="898906" y="642854"/>
                    <a:pt x="896231" y="643957"/>
                  </a:cubicBezTo>
                  <a:cubicBezTo>
                    <a:pt x="894392" y="644693"/>
                    <a:pt x="892720" y="645796"/>
                    <a:pt x="891216" y="647084"/>
                  </a:cubicBezTo>
                  <a:cubicBezTo>
                    <a:pt x="890380" y="647819"/>
                    <a:pt x="889711" y="648555"/>
                    <a:pt x="888876" y="649290"/>
                  </a:cubicBezTo>
                  <a:cubicBezTo>
                    <a:pt x="888040" y="650210"/>
                    <a:pt x="887204" y="651314"/>
                    <a:pt x="886535" y="652233"/>
                  </a:cubicBezTo>
                  <a:cubicBezTo>
                    <a:pt x="886033" y="652968"/>
                    <a:pt x="885532" y="653888"/>
                    <a:pt x="885197" y="654623"/>
                  </a:cubicBezTo>
                  <a:cubicBezTo>
                    <a:pt x="884529" y="655727"/>
                    <a:pt x="884028" y="657014"/>
                    <a:pt x="883693" y="658301"/>
                  </a:cubicBezTo>
                  <a:cubicBezTo>
                    <a:pt x="883358" y="659036"/>
                    <a:pt x="883191" y="659957"/>
                    <a:pt x="883024" y="660692"/>
                  </a:cubicBezTo>
                  <a:cubicBezTo>
                    <a:pt x="882690" y="661795"/>
                    <a:pt x="882523" y="663083"/>
                    <a:pt x="882356" y="664186"/>
                  </a:cubicBezTo>
                  <a:cubicBezTo>
                    <a:pt x="881854" y="667496"/>
                    <a:pt x="881854" y="670806"/>
                    <a:pt x="882523" y="673932"/>
                  </a:cubicBezTo>
                  <a:cubicBezTo>
                    <a:pt x="882690" y="675036"/>
                    <a:pt x="882857" y="676139"/>
                    <a:pt x="883191" y="677242"/>
                  </a:cubicBezTo>
                  <a:cubicBezTo>
                    <a:pt x="883526" y="678162"/>
                    <a:pt x="883693" y="678898"/>
                    <a:pt x="884028" y="679817"/>
                  </a:cubicBezTo>
                  <a:cubicBezTo>
                    <a:pt x="884362" y="680369"/>
                    <a:pt x="884529" y="680920"/>
                    <a:pt x="884696" y="681472"/>
                  </a:cubicBezTo>
                  <a:cubicBezTo>
                    <a:pt x="885197" y="682575"/>
                    <a:pt x="885699" y="683495"/>
                    <a:pt x="886201" y="684414"/>
                  </a:cubicBezTo>
                  <a:cubicBezTo>
                    <a:pt x="886702" y="685149"/>
                    <a:pt x="887204" y="685885"/>
                    <a:pt x="887705" y="686620"/>
                  </a:cubicBezTo>
                  <a:cubicBezTo>
                    <a:pt x="888374" y="687541"/>
                    <a:pt x="889210" y="688460"/>
                    <a:pt x="890045" y="689195"/>
                  </a:cubicBezTo>
                  <a:cubicBezTo>
                    <a:pt x="890715" y="689931"/>
                    <a:pt x="891551" y="690483"/>
                    <a:pt x="892219" y="691034"/>
                  </a:cubicBezTo>
                  <a:cubicBezTo>
                    <a:pt x="893390" y="691954"/>
                    <a:pt x="894727" y="692689"/>
                    <a:pt x="896064" y="693241"/>
                  </a:cubicBezTo>
                  <a:cubicBezTo>
                    <a:pt x="897736" y="693977"/>
                    <a:pt x="899575" y="694528"/>
                    <a:pt x="901414" y="694712"/>
                  </a:cubicBezTo>
                  <a:cubicBezTo>
                    <a:pt x="901748" y="694712"/>
                    <a:pt x="901915" y="694712"/>
                    <a:pt x="902250" y="694896"/>
                  </a:cubicBezTo>
                  <a:cubicBezTo>
                    <a:pt x="903253" y="694896"/>
                    <a:pt x="904089" y="694896"/>
                    <a:pt x="905092" y="694896"/>
                  </a:cubicBezTo>
                  <a:cubicBezTo>
                    <a:pt x="905092" y="694712"/>
                    <a:pt x="905259" y="694896"/>
                    <a:pt x="905259" y="694896"/>
                  </a:cubicBezTo>
                  <a:cubicBezTo>
                    <a:pt x="908435" y="694528"/>
                    <a:pt x="911444" y="693425"/>
                    <a:pt x="914119" y="691586"/>
                  </a:cubicBezTo>
                  <a:cubicBezTo>
                    <a:pt x="915290" y="690850"/>
                    <a:pt x="916293" y="689931"/>
                    <a:pt x="917296" y="688827"/>
                  </a:cubicBezTo>
                  <a:cubicBezTo>
                    <a:pt x="918132" y="688092"/>
                    <a:pt x="918801" y="687173"/>
                    <a:pt x="919469" y="686253"/>
                  </a:cubicBezTo>
                  <a:cubicBezTo>
                    <a:pt x="919970" y="685517"/>
                    <a:pt x="920472" y="684782"/>
                    <a:pt x="920974" y="683863"/>
                  </a:cubicBezTo>
                  <a:cubicBezTo>
                    <a:pt x="921476" y="682943"/>
                    <a:pt x="921977" y="682023"/>
                    <a:pt x="922478" y="680920"/>
                  </a:cubicBezTo>
                  <a:cubicBezTo>
                    <a:pt x="922813" y="680184"/>
                    <a:pt x="922980" y="679633"/>
                    <a:pt x="923314" y="678898"/>
                  </a:cubicBezTo>
                  <a:cubicBezTo>
                    <a:pt x="923649" y="678162"/>
                    <a:pt x="923816" y="677426"/>
                    <a:pt x="923983" y="676691"/>
                  </a:cubicBezTo>
                  <a:cubicBezTo>
                    <a:pt x="924317" y="675403"/>
                    <a:pt x="924484" y="674116"/>
                    <a:pt x="924819" y="672829"/>
                  </a:cubicBezTo>
                  <a:cubicBezTo>
                    <a:pt x="924986" y="672094"/>
                    <a:pt x="924986" y="671541"/>
                    <a:pt x="924986" y="670806"/>
                  </a:cubicBezTo>
                  <a:cubicBezTo>
                    <a:pt x="924819" y="671358"/>
                    <a:pt x="924652" y="671174"/>
                    <a:pt x="924819" y="670990"/>
                  </a:cubicBezTo>
                  <a:cubicBezTo>
                    <a:pt x="924819" y="669703"/>
                    <a:pt x="924819" y="668415"/>
                    <a:pt x="924819" y="667128"/>
                  </a:cubicBezTo>
                  <a:cubicBezTo>
                    <a:pt x="924819" y="667128"/>
                    <a:pt x="924819" y="667128"/>
                    <a:pt x="924819" y="666944"/>
                  </a:cubicBezTo>
                  <a:cubicBezTo>
                    <a:pt x="924819" y="665841"/>
                    <a:pt x="924652" y="664922"/>
                    <a:pt x="924484" y="663818"/>
                  </a:cubicBezTo>
                  <a:cubicBezTo>
                    <a:pt x="924150" y="662531"/>
                    <a:pt x="924150" y="661243"/>
                    <a:pt x="923649" y="660140"/>
                  </a:cubicBezTo>
                  <a:cubicBezTo>
                    <a:pt x="923314" y="659404"/>
                    <a:pt x="923147" y="658669"/>
                    <a:pt x="922980" y="657933"/>
                  </a:cubicBezTo>
                  <a:cubicBezTo>
                    <a:pt x="922478" y="656830"/>
                    <a:pt x="921977" y="655543"/>
                    <a:pt x="921476" y="654439"/>
                  </a:cubicBezTo>
                  <a:cubicBezTo>
                    <a:pt x="920974" y="653520"/>
                    <a:pt x="920472" y="652785"/>
                    <a:pt x="919970" y="651865"/>
                  </a:cubicBezTo>
                  <a:cubicBezTo>
                    <a:pt x="919469" y="651129"/>
                    <a:pt x="918967" y="650394"/>
                    <a:pt x="918466" y="649842"/>
                  </a:cubicBezTo>
                  <a:cubicBezTo>
                    <a:pt x="917965" y="649290"/>
                    <a:pt x="917463" y="648739"/>
                    <a:pt x="916962" y="648187"/>
                  </a:cubicBezTo>
                  <a:cubicBezTo>
                    <a:pt x="915958" y="647267"/>
                    <a:pt x="914955" y="646348"/>
                    <a:pt x="913785" y="645613"/>
                  </a:cubicBezTo>
                  <a:cubicBezTo>
                    <a:pt x="912949" y="645061"/>
                    <a:pt x="911946" y="644510"/>
                    <a:pt x="911110" y="644142"/>
                  </a:cubicBezTo>
                  <a:cubicBezTo>
                    <a:pt x="909104" y="643222"/>
                    <a:pt x="906931" y="642670"/>
                    <a:pt x="904590" y="642486"/>
                  </a:cubicBezTo>
                  <a:close/>
                  <a:moveTo>
                    <a:pt x="1191771" y="642486"/>
                  </a:moveTo>
                  <a:cubicBezTo>
                    <a:pt x="1188928" y="642303"/>
                    <a:pt x="1186086" y="642854"/>
                    <a:pt x="1183412" y="643957"/>
                  </a:cubicBezTo>
                  <a:cubicBezTo>
                    <a:pt x="1181573" y="644693"/>
                    <a:pt x="1179901" y="645796"/>
                    <a:pt x="1178396" y="647084"/>
                  </a:cubicBezTo>
                  <a:cubicBezTo>
                    <a:pt x="1177560" y="647819"/>
                    <a:pt x="1176892" y="648555"/>
                    <a:pt x="1176056" y="649290"/>
                  </a:cubicBezTo>
                  <a:cubicBezTo>
                    <a:pt x="1175220" y="650210"/>
                    <a:pt x="1174384" y="651314"/>
                    <a:pt x="1173715" y="652233"/>
                  </a:cubicBezTo>
                  <a:cubicBezTo>
                    <a:pt x="1173214" y="652968"/>
                    <a:pt x="1172712" y="653888"/>
                    <a:pt x="1172378" y="654623"/>
                  </a:cubicBezTo>
                  <a:cubicBezTo>
                    <a:pt x="1171709" y="655727"/>
                    <a:pt x="1171208" y="657014"/>
                    <a:pt x="1170873" y="658301"/>
                  </a:cubicBezTo>
                  <a:cubicBezTo>
                    <a:pt x="1170538" y="659036"/>
                    <a:pt x="1170371" y="659957"/>
                    <a:pt x="1170204" y="660692"/>
                  </a:cubicBezTo>
                  <a:cubicBezTo>
                    <a:pt x="1169870" y="661795"/>
                    <a:pt x="1169703" y="663083"/>
                    <a:pt x="1169536" y="664186"/>
                  </a:cubicBezTo>
                  <a:cubicBezTo>
                    <a:pt x="1169034" y="667496"/>
                    <a:pt x="1169034" y="670806"/>
                    <a:pt x="1169703" y="673932"/>
                  </a:cubicBezTo>
                  <a:cubicBezTo>
                    <a:pt x="1169870" y="675036"/>
                    <a:pt x="1170037" y="676139"/>
                    <a:pt x="1170371" y="677242"/>
                  </a:cubicBezTo>
                  <a:cubicBezTo>
                    <a:pt x="1170706" y="678162"/>
                    <a:pt x="1170873" y="678898"/>
                    <a:pt x="1171208" y="679817"/>
                  </a:cubicBezTo>
                  <a:cubicBezTo>
                    <a:pt x="1171542" y="680369"/>
                    <a:pt x="1171709" y="680920"/>
                    <a:pt x="1171876" y="681472"/>
                  </a:cubicBezTo>
                  <a:cubicBezTo>
                    <a:pt x="1172378" y="682575"/>
                    <a:pt x="1172879" y="683495"/>
                    <a:pt x="1173381" y="684414"/>
                  </a:cubicBezTo>
                  <a:cubicBezTo>
                    <a:pt x="1173883" y="685149"/>
                    <a:pt x="1174384" y="685885"/>
                    <a:pt x="1174886" y="686620"/>
                  </a:cubicBezTo>
                  <a:cubicBezTo>
                    <a:pt x="1175554" y="687541"/>
                    <a:pt x="1176390" y="688460"/>
                    <a:pt x="1177225" y="689195"/>
                  </a:cubicBezTo>
                  <a:cubicBezTo>
                    <a:pt x="1177895" y="689931"/>
                    <a:pt x="1178731" y="690483"/>
                    <a:pt x="1179399" y="691034"/>
                  </a:cubicBezTo>
                  <a:cubicBezTo>
                    <a:pt x="1180570" y="691954"/>
                    <a:pt x="1181907" y="692689"/>
                    <a:pt x="1183245" y="693241"/>
                  </a:cubicBezTo>
                  <a:cubicBezTo>
                    <a:pt x="1184916" y="693977"/>
                    <a:pt x="1186755" y="694528"/>
                    <a:pt x="1188595" y="694712"/>
                  </a:cubicBezTo>
                  <a:cubicBezTo>
                    <a:pt x="1188928" y="694712"/>
                    <a:pt x="1189095" y="694712"/>
                    <a:pt x="1189430" y="694896"/>
                  </a:cubicBezTo>
                  <a:cubicBezTo>
                    <a:pt x="1190433" y="694896"/>
                    <a:pt x="1191269" y="694896"/>
                    <a:pt x="1192272" y="694896"/>
                  </a:cubicBezTo>
                  <a:cubicBezTo>
                    <a:pt x="1192272" y="694712"/>
                    <a:pt x="1192439" y="694896"/>
                    <a:pt x="1192439" y="694896"/>
                  </a:cubicBezTo>
                  <a:cubicBezTo>
                    <a:pt x="1195616" y="694528"/>
                    <a:pt x="1198624" y="693425"/>
                    <a:pt x="1201300" y="691586"/>
                  </a:cubicBezTo>
                  <a:cubicBezTo>
                    <a:pt x="1202470" y="690850"/>
                    <a:pt x="1203473" y="689931"/>
                    <a:pt x="1204476" y="688827"/>
                  </a:cubicBezTo>
                  <a:cubicBezTo>
                    <a:pt x="1205312" y="688092"/>
                    <a:pt x="1205981" y="687173"/>
                    <a:pt x="1206649" y="686253"/>
                  </a:cubicBezTo>
                  <a:cubicBezTo>
                    <a:pt x="1207151" y="685517"/>
                    <a:pt x="1207652" y="684782"/>
                    <a:pt x="1208154" y="683863"/>
                  </a:cubicBezTo>
                  <a:cubicBezTo>
                    <a:pt x="1208656" y="682943"/>
                    <a:pt x="1209157" y="682023"/>
                    <a:pt x="1209659" y="680920"/>
                  </a:cubicBezTo>
                  <a:cubicBezTo>
                    <a:pt x="1209993" y="680184"/>
                    <a:pt x="1210160" y="679633"/>
                    <a:pt x="1210495" y="678898"/>
                  </a:cubicBezTo>
                  <a:cubicBezTo>
                    <a:pt x="1210829" y="678162"/>
                    <a:pt x="1210996" y="677426"/>
                    <a:pt x="1211163" y="676691"/>
                  </a:cubicBezTo>
                  <a:cubicBezTo>
                    <a:pt x="1211497" y="675403"/>
                    <a:pt x="1211665" y="674116"/>
                    <a:pt x="1211999" y="672829"/>
                  </a:cubicBezTo>
                  <a:cubicBezTo>
                    <a:pt x="1212166" y="672094"/>
                    <a:pt x="1212166" y="671541"/>
                    <a:pt x="1212166" y="670806"/>
                  </a:cubicBezTo>
                  <a:cubicBezTo>
                    <a:pt x="1211999" y="671358"/>
                    <a:pt x="1211832" y="671174"/>
                    <a:pt x="1211999" y="670990"/>
                  </a:cubicBezTo>
                  <a:cubicBezTo>
                    <a:pt x="1211999" y="669703"/>
                    <a:pt x="1211999" y="668415"/>
                    <a:pt x="1211999" y="667128"/>
                  </a:cubicBezTo>
                  <a:cubicBezTo>
                    <a:pt x="1211999" y="667128"/>
                    <a:pt x="1211999" y="667128"/>
                    <a:pt x="1211999" y="666944"/>
                  </a:cubicBezTo>
                  <a:cubicBezTo>
                    <a:pt x="1211999" y="665841"/>
                    <a:pt x="1211832" y="664922"/>
                    <a:pt x="1211665" y="663818"/>
                  </a:cubicBezTo>
                  <a:cubicBezTo>
                    <a:pt x="1211331" y="662531"/>
                    <a:pt x="1211331" y="661243"/>
                    <a:pt x="1210829" y="660140"/>
                  </a:cubicBezTo>
                  <a:cubicBezTo>
                    <a:pt x="1210495" y="659404"/>
                    <a:pt x="1210327" y="658669"/>
                    <a:pt x="1210160" y="657933"/>
                  </a:cubicBezTo>
                  <a:cubicBezTo>
                    <a:pt x="1209659" y="656830"/>
                    <a:pt x="1209157" y="655543"/>
                    <a:pt x="1208656" y="654439"/>
                  </a:cubicBezTo>
                  <a:cubicBezTo>
                    <a:pt x="1208154" y="653520"/>
                    <a:pt x="1207652" y="652785"/>
                    <a:pt x="1207151" y="651865"/>
                  </a:cubicBezTo>
                  <a:cubicBezTo>
                    <a:pt x="1206649" y="651129"/>
                    <a:pt x="1206148" y="650394"/>
                    <a:pt x="1205646" y="649842"/>
                  </a:cubicBezTo>
                  <a:cubicBezTo>
                    <a:pt x="1205145" y="649290"/>
                    <a:pt x="1204643" y="648739"/>
                    <a:pt x="1204142" y="648187"/>
                  </a:cubicBezTo>
                  <a:cubicBezTo>
                    <a:pt x="1203138" y="647267"/>
                    <a:pt x="1202136" y="646348"/>
                    <a:pt x="1200965" y="645613"/>
                  </a:cubicBezTo>
                  <a:cubicBezTo>
                    <a:pt x="1200130" y="645061"/>
                    <a:pt x="1199126" y="644510"/>
                    <a:pt x="1198290" y="644142"/>
                  </a:cubicBezTo>
                  <a:cubicBezTo>
                    <a:pt x="1196284" y="643222"/>
                    <a:pt x="1194111" y="642670"/>
                    <a:pt x="1191771" y="642486"/>
                  </a:cubicBezTo>
                  <a:close/>
                  <a:moveTo>
                    <a:pt x="1427614" y="642486"/>
                  </a:moveTo>
                  <a:cubicBezTo>
                    <a:pt x="1424772" y="642303"/>
                    <a:pt x="1421930" y="642854"/>
                    <a:pt x="1419255" y="643957"/>
                  </a:cubicBezTo>
                  <a:cubicBezTo>
                    <a:pt x="1417416" y="644693"/>
                    <a:pt x="1415744" y="645796"/>
                    <a:pt x="1414240" y="647084"/>
                  </a:cubicBezTo>
                  <a:cubicBezTo>
                    <a:pt x="1413404" y="647819"/>
                    <a:pt x="1412735" y="648555"/>
                    <a:pt x="1411899" y="649290"/>
                  </a:cubicBezTo>
                  <a:cubicBezTo>
                    <a:pt x="1411063" y="650210"/>
                    <a:pt x="1410227" y="651314"/>
                    <a:pt x="1409559" y="652233"/>
                  </a:cubicBezTo>
                  <a:cubicBezTo>
                    <a:pt x="1409057" y="652968"/>
                    <a:pt x="1408555" y="653888"/>
                    <a:pt x="1408221" y="654623"/>
                  </a:cubicBezTo>
                  <a:cubicBezTo>
                    <a:pt x="1407552" y="655727"/>
                    <a:pt x="1407051" y="657014"/>
                    <a:pt x="1406717" y="658301"/>
                  </a:cubicBezTo>
                  <a:cubicBezTo>
                    <a:pt x="1406382" y="659036"/>
                    <a:pt x="1406215" y="659957"/>
                    <a:pt x="1406048" y="660692"/>
                  </a:cubicBezTo>
                  <a:cubicBezTo>
                    <a:pt x="1405714" y="661795"/>
                    <a:pt x="1405546" y="663083"/>
                    <a:pt x="1405379" y="664186"/>
                  </a:cubicBezTo>
                  <a:cubicBezTo>
                    <a:pt x="1404878" y="667496"/>
                    <a:pt x="1404878" y="670806"/>
                    <a:pt x="1405546" y="673932"/>
                  </a:cubicBezTo>
                  <a:cubicBezTo>
                    <a:pt x="1405714" y="675036"/>
                    <a:pt x="1405881" y="676139"/>
                    <a:pt x="1406215" y="677242"/>
                  </a:cubicBezTo>
                  <a:cubicBezTo>
                    <a:pt x="1406550" y="678162"/>
                    <a:pt x="1406717" y="678898"/>
                    <a:pt x="1407051" y="679817"/>
                  </a:cubicBezTo>
                  <a:cubicBezTo>
                    <a:pt x="1407386" y="680369"/>
                    <a:pt x="1407552" y="680920"/>
                    <a:pt x="1407719" y="681472"/>
                  </a:cubicBezTo>
                  <a:cubicBezTo>
                    <a:pt x="1408221" y="682575"/>
                    <a:pt x="1408723" y="683495"/>
                    <a:pt x="1409224" y="684414"/>
                  </a:cubicBezTo>
                  <a:cubicBezTo>
                    <a:pt x="1409726" y="685149"/>
                    <a:pt x="1410227" y="685885"/>
                    <a:pt x="1410729" y="686620"/>
                  </a:cubicBezTo>
                  <a:cubicBezTo>
                    <a:pt x="1411398" y="687541"/>
                    <a:pt x="1412234" y="688460"/>
                    <a:pt x="1413069" y="689195"/>
                  </a:cubicBezTo>
                  <a:cubicBezTo>
                    <a:pt x="1413738" y="689931"/>
                    <a:pt x="1414574" y="690483"/>
                    <a:pt x="1415242" y="691034"/>
                  </a:cubicBezTo>
                  <a:cubicBezTo>
                    <a:pt x="1416413" y="691954"/>
                    <a:pt x="1417751" y="692689"/>
                    <a:pt x="1419088" y="693241"/>
                  </a:cubicBezTo>
                  <a:cubicBezTo>
                    <a:pt x="1420760" y="693977"/>
                    <a:pt x="1422599" y="694528"/>
                    <a:pt x="1424438" y="694712"/>
                  </a:cubicBezTo>
                  <a:cubicBezTo>
                    <a:pt x="1424772" y="694712"/>
                    <a:pt x="1424939" y="694712"/>
                    <a:pt x="1425274" y="694896"/>
                  </a:cubicBezTo>
                  <a:cubicBezTo>
                    <a:pt x="1426276" y="694896"/>
                    <a:pt x="1427113" y="694896"/>
                    <a:pt x="1428115" y="694896"/>
                  </a:cubicBezTo>
                  <a:cubicBezTo>
                    <a:pt x="1428115" y="694712"/>
                    <a:pt x="1428283" y="694896"/>
                    <a:pt x="1428283" y="694896"/>
                  </a:cubicBezTo>
                  <a:cubicBezTo>
                    <a:pt x="1431459" y="694528"/>
                    <a:pt x="1434468" y="693425"/>
                    <a:pt x="1437143" y="691586"/>
                  </a:cubicBezTo>
                  <a:cubicBezTo>
                    <a:pt x="1438313" y="690850"/>
                    <a:pt x="1439316" y="689931"/>
                    <a:pt x="1440319" y="688827"/>
                  </a:cubicBezTo>
                  <a:cubicBezTo>
                    <a:pt x="1441155" y="688092"/>
                    <a:pt x="1441824" y="687173"/>
                    <a:pt x="1442493" y="686253"/>
                  </a:cubicBezTo>
                  <a:cubicBezTo>
                    <a:pt x="1442994" y="685517"/>
                    <a:pt x="1443496" y="684782"/>
                    <a:pt x="1443998" y="683863"/>
                  </a:cubicBezTo>
                  <a:cubicBezTo>
                    <a:pt x="1444499" y="682943"/>
                    <a:pt x="1445000" y="682023"/>
                    <a:pt x="1445502" y="680920"/>
                  </a:cubicBezTo>
                  <a:cubicBezTo>
                    <a:pt x="1445837" y="680184"/>
                    <a:pt x="1446003" y="679633"/>
                    <a:pt x="1446338" y="678898"/>
                  </a:cubicBezTo>
                  <a:cubicBezTo>
                    <a:pt x="1446673" y="678162"/>
                    <a:pt x="1446839" y="677426"/>
                    <a:pt x="1447007" y="676691"/>
                  </a:cubicBezTo>
                  <a:cubicBezTo>
                    <a:pt x="1447341" y="675403"/>
                    <a:pt x="1447508" y="674116"/>
                    <a:pt x="1447842" y="672829"/>
                  </a:cubicBezTo>
                  <a:cubicBezTo>
                    <a:pt x="1448010" y="672094"/>
                    <a:pt x="1448010" y="671541"/>
                    <a:pt x="1448010" y="670806"/>
                  </a:cubicBezTo>
                  <a:cubicBezTo>
                    <a:pt x="1447842" y="671358"/>
                    <a:pt x="1447675" y="671174"/>
                    <a:pt x="1447842" y="670990"/>
                  </a:cubicBezTo>
                  <a:cubicBezTo>
                    <a:pt x="1447842" y="669703"/>
                    <a:pt x="1447842" y="668415"/>
                    <a:pt x="1447842" y="667128"/>
                  </a:cubicBezTo>
                  <a:cubicBezTo>
                    <a:pt x="1447842" y="667128"/>
                    <a:pt x="1447842" y="667128"/>
                    <a:pt x="1447842" y="666944"/>
                  </a:cubicBezTo>
                  <a:cubicBezTo>
                    <a:pt x="1447842" y="665841"/>
                    <a:pt x="1447675" y="664922"/>
                    <a:pt x="1447508" y="663818"/>
                  </a:cubicBezTo>
                  <a:cubicBezTo>
                    <a:pt x="1447174" y="662531"/>
                    <a:pt x="1447174" y="661243"/>
                    <a:pt x="1446673" y="660140"/>
                  </a:cubicBezTo>
                  <a:cubicBezTo>
                    <a:pt x="1446338" y="659404"/>
                    <a:pt x="1446171" y="658669"/>
                    <a:pt x="1446003" y="657933"/>
                  </a:cubicBezTo>
                  <a:cubicBezTo>
                    <a:pt x="1445502" y="656830"/>
                    <a:pt x="1445000" y="655543"/>
                    <a:pt x="1444499" y="654439"/>
                  </a:cubicBezTo>
                  <a:cubicBezTo>
                    <a:pt x="1443998" y="653520"/>
                    <a:pt x="1443496" y="652785"/>
                    <a:pt x="1442994" y="651865"/>
                  </a:cubicBezTo>
                  <a:cubicBezTo>
                    <a:pt x="1442493" y="651129"/>
                    <a:pt x="1441991" y="650394"/>
                    <a:pt x="1441490" y="649842"/>
                  </a:cubicBezTo>
                  <a:cubicBezTo>
                    <a:pt x="1440988" y="649290"/>
                    <a:pt x="1440487" y="648739"/>
                    <a:pt x="1439985" y="648187"/>
                  </a:cubicBezTo>
                  <a:cubicBezTo>
                    <a:pt x="1438982" y="647267"/>
                    <a:pt x="1437979" y="646348"/>
                    <a:pt x="1436809" y="645613"/>
                  </a:cubicBezTo>
                  <a:cubicBezTo>
                    <a:pt x="1435973" y="645061"/>
                    <a:pt x="1434970" y="644510"/>
                    <a:pt x="1434134" y="644142"/>
                  </a:cubicBezTo>
                  <a:cubicBezTo>
                    <a:pt x="1432128" y="643222"/>
                    <a:pt x="1429954" y="642670"/>
                    <a:pt x="1427614" y="642486"/>
                  </a:cubicBezTo>
                  <a:close/>
                  <a:moveTo>
                    <a:pt x="1550635" y="642486"/>
                  </a:moveTo>
                  <a:cubicBezTo>
                    <a:pt x="1547793" y="642303"/>
                    <a:pt x="1544951" y="642854"/>
                    <a:pt x="1542276" y="643957"/>
                  </a:cubicBezTo>
                  <a:cubicBezTo>
                    <a:pt x="1540437" y="644693"/>
                    <a:pt x="1538766" y="645796"/>
                    <a:pt x="1537261" y="647084"/>
                  </a:cubicBezTo>
                  <a:cubicBezTo>
                    <a:pt x="1536425" y="647819"/>
                    <a:pt x="1535757" y="648555"/>
                    <a:pt x="1534920" y="649290"/>
                  </a:cubicBezTo>
                  <a:cubicBezTo>
                    <a:pt x="1534084" y="650210"/>
                    <a:pt x="1533248" y="651314"/>
                    <a:pt x="1532580" y="652233"/>
                  </a:cubicBezTo>
                  <a:cubicBezTo>
                    <a:pt x="1532079" y="652968"/>
                    <a:pt x="1531577" y="653888"/>
                    <a:pt x="1531243" y="654623"/>
                  </a:cubicBezTo>
                  <a:cubicBezTo>
                    <a:pt x="1530574" y="655727"/>
                    <a:pt x="1530072" y="657014"/>
                    <a:pt x="1529738" y="658301"/>
                  </a:cubicBezTo>
                  <a:cubicBezTo>
                    <a:pt x="1529404" y="659036"/>
                    <a:pt x="1529236" y="659957"/>
                    <a:pt x="1529069" y="660692"/>
                  </a:cubicBezTo>
                  <a:cubicBezTo>
                    <a:pt x="1528735" y="661795"/>
                    <a:pt x="1528568" y="663083"/>
                    <a:pt x="1528400" y="664186"/>
                  </a:cubicBezTo>
                  <a:cubicBezTo>
                    <a:pt x="1527899" y="667496"/>
                    <a:pt x="1527899" y="670806"/>
                    <a:pt x="1528568" y="673932"/>
                  </a:cubicBezTo>
                  <a:cubicBezTo>
                    <a:pt x="1528735" y="675036"/>
                    <a:pt x="1528902" y="676139"/>
                    <a:pt x="1529236" y="677242"/>
                  </a:cubicBezTo>
                  <a:cubicBezTo>
                    <a:pt x="1529571" y="678162"/>
                    <a:pt x="1529738" y="678898"/>
                    <a:pt x="1530072" y="679817"/>
                  </a:cubicBezTo>
                  <a:cubicBezTo>
                    <a:pt x="1530407" y="680369"/>
                    <a:pt x="1530574" y="680920"/>
                    <a:pt x="1530741" y="681472"/>
                  </a:cubicBezTo>
                  <a:cubicBezTo>
                    <a:pt x="1531243" y="682575"/>
                    <a:pt x="1531744" y="683495"/>
                    <a:pt x="1532246" y="684414"/>
                  </a:cubicBezTo>
                  <a:cubicBezTo>
                    <a:pt x="1532747" y="685149"/>
                    <a:pt x="1533248" y="685885"/>
                    <a:pt x="1533750" y="686620"/>
                  </a:cubicBezTo>
                  <a:cubicBezTo>
                    <a:pt x="1534419" y="687541"/>
                    <a:pt x="1535255" y="688460"/>
                    <a:pt x="1536091" y="689195"/>
                  </a:cubicBezTo>
                  <a:cubicBezTo>
                    <a:pt x="1536759" y="689931"/>
                    <a:pt x="1537595" y="690483"/>
                    <a:pt x="1538264" y="691034"/>
                  </a:cubicBezTo>
                  <a:cubicBezTo>
                    <a:pt x="1539434" y="691954"/>
                    <a:pt x="1540772" y="692689"/>
                    <a:pt x="1542109" y="693241"/>
                  </a:cubicBezTo>
                  <a:cubicBezTo>
                    <a:pt x="1543781" y="693977"/>
                    <a:pt x="1545620" y="694528"/>
                    <a:pt x="1547459" y="694712"/>
                  </a:cubicBezTo>
                  <a:cubicBezTo>
                    <a:pt x="1547793" y="694712"/>
                    <a:pt x="1547960" y="694712"/>
                    <a:pt x="1548295" y="694896"/>
                  </a:cubicBezTo>
                  <a:cubicBezTo>
                    <a:pt x="1549298" y="694896"/>
                    <a:pt x="1550134" y="694896"/>
                    <a:pt x="1551136" y="694896"/>
                  </a:cubicBezTo>
                  <a:cubicBezTo>
                    <a:pt x="1551136" y="694712"/>
                    <a:pt x="1551304" y="694896"/>
                    <a:pt x="1551304" y="694896"/>
                  </a:cubicBezTo>
                  <a:cubicBezTo>
                    <a:pt x="1554481" y="694528"/>
                    <a:pt x="1557490" y="693425"/>
                    <a:pt x="1560164" y="691586"/>
                  </a:cubicBezTo>
                  <a:cubicBezTo>
                    <a:pt x="1561334" y="690850"/>
                    <a:pt x="1562337" y="689931"/>
                    <a:pt x="1563341" y="688827"/>
                  </a:cubicBezTo>
                  <a:cubicBezTo>
                    <a:pt x="1564177" y="688092"/>
                    <a:pt x="1564845" y="687173"/>
                    <a:pt x="1565514" y="686253"/>
                  </a:cubicBezTo>
                  <a:cubicBezTo>
                    <a:pt x="1566016" y="685517"/>
                    <a:pt x="1566517" y="684782"/>
                    <a:pt x="1567019" y="683863"/>
                  </a:cubicBezTo>
                  <a:cubicBezTo>
                    <a:pt x="1567520" y="682943"/>
                    <a:pt x="1568022" y="682023"/>
                    <a:pt x="1568523" y="680920"/>
                  </a:cubicBezTo>
                  <a:cubicBezTo>
                    <a:pt x="1568858" y="680184"/>
                    <a:pt x="1569025" y="679633"/>
                    <a:pt x="1569359" y="678898"/>
                  </a:cubicBezTo>
                  <a:cubicBezTo>
                    <a:pt x="1569694" y="678162"/>
                    <a:pt x="1569860" y="677426"/>
                    <a:pt x="1570028" y="676691"/>
                  </a:cubicBezTo>
                  <a:cubicBezTo>
                    <a:pt x="1570362" y="675403"/>
                    <a:pt x="1570530" y="674116"/>
                    <a:pt x="1570864" y="672829"/>
                  </a:cubicBezTo>
                  <a:cubicBezTo>
                    <a:pt x="1571031" y="672094"/>
                    <a:pt x="1571031" y="671541"/>
                    <a:pt x="1571031" y="670806"/>
                  </a:cubicBezTo>
                  <a:cubicBezTo>
                    <a:pt x="1570864" y="671358"/>
                    <a:pt x="1570696" y="671174"/>
                    <a:pt x="1570864" y="670990"/>
                  </a:cubicBezTo>
                  <a:cubicBezTo>
                    <a:pt x="1570864" y="669703"/>
                    <a:pt x="1570864" y="668415"/>
                    <a:pt x="1570864" y="667128"/>
                  </a:cubicBezTo>
                  <a:cubicBezTo>
                    <a:pt x="1570864" y="667128"/>
                    <a:pt x="1570864" y="667128"/>
                    <a:pt x="1570864" y="666944"/>
                  </a:cubicBezTo>
                  <a:cubicBezTo>
                    <a:pt x="1570864" y="665841"/>
                    <a:pt x="1570696" y="664922"/>
                    <a:pt x="1570530" y="663818"/>
                  </a:cubicBezTo>
                  <a:cubicBezTo>
                    <a:pt x="1570195" y="662531"/>
                    <a:pt x="1570195" y="661243"/>
                    <a:pt x="1569694" y="660140"/>
                  </a:cubicBezTo>
                  <a:cubicBezTo>
                    <a:pt x="1569359" y="659404"/>
                    <a:pt x="1569192" y="658669"/>
                    <a:pt x="1569025" y="657933"/>
                  </a:cubicBezTo>
                  <a:cubicBezTo>
                    <a:pt x="1568523" y="656830"/>
                    <a:pt x="1568022" y="655543"/>
                    <a:pt x="1567520" y="654439"/>
                  </a:cubicBezTo>
                  <a:cubicBezTo>
                    <a:pt x="1567019" y="653520"/>
                    <a:pt x="1566517" y="652785"/>
                    <a:pt x="1566016" y="651865"/>
                  </a:cubicBezTo>
                  <a:cubicBezTo>
                    <a:pt x="1565514" y="651129"/>
                    <a:pt x="1565012" y="650394"/>
                    <a:pt x="1564511" y="649842"/>
                  </a:cubicBezTo>
                  <a:cubicBezTo>
                    <a:pt x="1564009" y="649290"/>
                    <a:pt x="1563508" y="648739"/>
                    <a:pt x="1563006" y="648187"/>
                  </a:cubicBezTo>
                  <a:cubicBezTo>
                    <a:pt x="1562004" y="647267"/>
                    <a:pt x="1561000" y="646348"/>
                    <a:pt x="1559830" y="645613"/>
                  </a:cubicBezTo>
                  <a:cubicBezTo>
                    <a:pt x="1558994" y="645061"/>
                    <a:pt x="1557991" y="644510"/>
                    <a:pt x="1557155" y="644142"/>
                  </a:cubicBezTo>
                  <a:cubicBezTo>
                    <a:pt x="1555149" y="643222"/>
                    <a:pt x="1552976" y="642670"/>
                    <a:pt x="1550635" y="642486"/>
                  </a:cubicBezTo>
                  <a:close/>
                  <a:moveTo>
                    <a:pt x="1663507" y="642486"/>
                  </a:moveTo>
                  <a:cubicBezTo>
                    <a:pt x="1660665" y="642303"/>
                    <a:pt x="1657824" y="642854"/>
                    <a:pt x="1655149" y="643957"/>
                  </a:cubicBezTo>
                  <a:cubicBezTo>
                    <a:pt x="1653310" y="644693"/>
                    <a:pt x="1651638" y="645796"/>
                    <a:pt x="1650133" y="647084"/>
                  </a:cubicBezTo>
                  <a:cubicBezTo>
                    <a:pt x="1649298" y="647819"/>
                    <a:pt x="1648629" y="648555"/>
                    <a:pt x="1647792" y="649290"/>
                  </a:cubicBezTo>
                  <a:cubicBezTo>
                    <a:pt x="1646957" y="650210"/>
                    <a:pt x="1646121" y="651314"/>
                    <a:pt x="1645452" y="652233"/>
                  </a:cubicBezTo>
                  <a:cubicBezTo>
                    <a:pt x="1644951" y="652968"/>
                    <a:pt x="1644449" y="653888"/>
                    <a:pt x="1644115" y="654623"/>
                  </a:cubicBezTo>
                  <a:cubicBezTo>
                    <a:pt x="1643446" y="655727"/>
                    <a:pt x="1642944" y="657014"/>
                    <a:pt x="1642611" y="658301"/>
                  </a:cubicBezTo>
                  <a:cubicBezTo>
                    <a:pt x="1642276" y="659036"/>
                    <a:pt x="1642109" y="659957"/>
                    <a:pt x="1641941" y="660692"/>
                  </a:cubicBezTo>
                  <a:cubicBezTo>
                    <a:pt x="1641607" y="661795"/>
                    <a:pt x="1641440" y="663083"/>
                    <a:pt x="1641273" y="664186"/>
                  </a:cubicBezTo>
                  <a:cubicBezTo>
                    <a:pt x="1640771" y="667496"/>
                    <a:pt x="1640771" y="670806"/>
                    <a:pt x="1641440" y="673932"/>
                  </a:cubicBezTo>
                  <a:cubicBezTo>
                    <a:pt x="1641607" y="675036"/>
                    <a:pt x="1641775" y="676139"/>
                    <a:pt x="1642109" y="677242"/>
                  </a:cubicBezTo>
                  <a:cubicBezTo>
                    <a:pt x="1642443" y="678162"/>
                    <a:pt x="1642611" y="678898"/>
                    <a:pt x="1642944" y="679817"/>
                  </a:cubicBezTo>
                  <a:cubicBezTo>
                    <a:pt x="1643279" y="680369"/>
                    <a:pt x="1643446" y="680920"/>
                    <a:pt x="1643613" y="681472"/>
                  </a:cubicBezTo>
                  <a:cubicBezTo>
                    <a:pt x="1644115" y="682575"/>
                    <a:pt x="1644616" y="683495"/>
                    <a:pt x="1645118" y="684414"/>
                  </a:cubicBezTo>
                  <a:cubicBezTo>
                    <a:pt x="1645619" y="685149"/>
                    <a:pt x="1646121" y="685885"/>
                    <a:pt x="1646623" y="686620"/>
                  </a:cubicBezTo>
                  <a:cubicBezTo>
                    <a:pt x="1647291" y="687541"/>
                    <a:pt x="1648127" y="688460"/>
                    <a:pt x="1648963" y="689195"/>
                  </a:cubicBezTo>
                  <a:cubicBezTo>
                    <a:pt x="1649631" y="689931"/>
                    <a:pt x="1650467" y="690483"/>
                    <a:pt x="1651137" y="691034"/>
                  </a:cubicBezTo>
                  <a:cubicBezTo>
                    <a:pt x="1652306" y="691954"/>
                    <a:pt x="1653644" y="692689"/>
                    <a:pt x="1654981" y="693241"/>
                  </a:cubicBezTo>
                  <a:cubicBezTo>
                    <a:pt x="1656653" y="693977"/>
                    <a:pt x="1658492" y="694528"/>
                    <a:pt x="1660331" y="694712"/>
                  </a:cubicBezTo>
                  <a:cubicBezTo>
                    <a:pt x="1660665" y="694712"/>
                    <a:pt x="1660833" y="694712"/>
                    <a:pt x="1661167" y="694896"/>
                  </a:cubicBezTo>
                  <a:cubicBezTo>
                    <a:pt x="1662170" y="694896"/>
                    <a:pt x="1663006" y="694896"/>
                    <a:pt x="1664009" y="694896"/>
                  </a:cubicBezTo>
                  <a:cubicBezTo>
                    <a:pt x="1664009" y="694712"/>
                    <a:pt x="1664176" y="694896"/>
                    <a:pt x="1664176" y="694896"/>
                  </a:cubicBezTo>
                  <a:cubicBezTo>
                    <a:pt x="1667353" y="694528"/>
                    <a:pt x="1670362" y="693425"/>
                    <a:pt x="1673037" y="691586"/>
                  </a:cubicBezTo>
                  <a:cubicBezTo>
                    <a:pt x="1674207" y="690850"/>
                    <a:pt x="1675210" y="689931"/>
                    <a:pt x="1676213" y="688827"/>
                  </a:cubicBezTo>
                  <a:cubicBezTo>
                    <a:pt x="1677049" y="688092"/>
                    <a:pt x="1677717" y="687173"/>
                    <a:pt x="1678387" y="686253"/>
                  </a:cubicBezTo>
                  <a:cubicBezTo>
                    <a:pt x="1678888" y="685517"/>
                    <a:pt x="1679390" y="684782"/>
                    <a:pt x="1679891" y="683863"/>
                  </a:cubicBezTo>
                  <a:cubicBezTo>
                    <a:pt x="1680392" y="682943"/>
                    <a:pt x="1680894" y="682023"/>
                    <a:pt x="1681396" y="680920"/>
                  </a:cubicBezTo>
                  <a:cubicBezTo>
                    <a:pt x="1681730" y="680184"/>
                    <a:pt x="1681897" y="679633"/>
                    <a:pt x="1682231" y="678898"/>
                  </a:cubicBezTo>
                  <a:cubicBezTo>
                    <a:pt x="1682566" y="678162"/>
                    <a:pt x="1682733" y="677426"/>
                    <a:pt x="1682900" y="676691"/>
                  </a:cubicBezTo>
                  <a:cubicBezTo>
                    <a:pt x="1683235" y="675403"/>
                    <a:pt x="1683402" y="674116"/>
                    <a:pt x="1683736" y="672829"/>
                  </a:cubicBezTo>
                  <a:cubicBezTo>
                    <a:pt x="1683903" y="672094"/>
                    <a:pt x="1683903" y="671541"/>
                    <a:pt x="1683903" y="670806"/>
                  </a:cubicBezTo>
                  <a:cubicBezTo>
                    <a:pt x="1683736" y="671358"/>
                    <a:pt x="1683569" y="671174"/>
                    <a:pt x="1683736" y="670990"/>
                  </a:cubicBezTo>
                  <a:cubicBezTo>
                    <a:pt x="1683736" y="669703"/>
                    <a:pt x="1683736" y="668415"/>
                    <a:pt x="1683736" y="667128"/>
                  </a:cubicBezTo>
                  <a:cubicBezTo>
                    <a:pt x="1683736" y="667128"/>
                    <a:pt x="1683736" y="667128"/>
                    <a:pt x="1683736" y="666944"/>
                  </a:cubicBezTo>
                  <a:cubicBezTo>
                    <a:pt x="1683736" y="665841"/>
                    <a:pt x="1683569" y="664922"/>
                    <a:pt x="1683402" y="663818"/>
                  </a:cubicBezTo>
                  <a:cubicBezTo>
                    <a:pt x="1683067" y="662531"/>
                    <a:pt x="1683067" y="661243"/>
                    <a:pt x="1682566" y="660140"/>
                  </a:cubicBezTo>
                  <a:cubicBezTo>
                    <a:pt x="1682231" y="659404"/>
                    <a:pt x="1682064" y="658669"/>
                    <a:pt x="1681897" y="657933"/>
                  </a:cubicBezTo>
                  <a:cubicBezTo>
                    <a:pt x="1681396" y="656830"/>
                    <a:pt x="1680894" y="655543"/>
                    <a:pt x="1680392" y="654439"/>
                  </a:cubicBezTo>
                  <a:cubicBezTo>
                    <a:pt x="1679891" y="653520"/>
                    <a:pt x="1679390" y="652785"/>
                    <a:pt x="1678888" y="651865"/>
                  </a:cubicBezTo>
                  <a:cubicBezTo>
                    <a:pt x="1678387" y="651129"/>
                    <a:pt x="1677885" y="650394"/>
                    <a:pt x="1677384" y="649842"/>
                  </a:cubicBezTo>
                  <a:cubicBezTo>
                    <a:pt x="1676882" y="649290"/>
                    <a:pt x="1676380" y="648739"/>
                    <a:pt x="1675879" y="648187"/>
                  </a:cubicBezTo>
                  <a:cubicBezTo>
                    <a:pt x="1674876" y="647267"/>
                    <a:pt x="1673873" y="646348"/>
                    <a:pt x="1672702" y="645613"/>
                  </a:cubicBezTo>
                  <a:cubicBezTo>
                    <a:pt x="1671866" y="645061"/>
                    <a:pt x="1670863" y="644510"/>
                    <a:pt x="1670027" y="644142"/>
                  </a:cubicBezTo>
                  <a:cubicBezTo>
                    <a:pt x="1668022" y="643222"/>
                    <a:pt x="1665848" y="642670"/>
                    <a:pt x="1663507" y="642486"/>
                  </a:cubicBezTo>
                  <a:close/>
                  <a:moveTo>
                    <a:pt x="1899351" y="642486"/>
                  </a:moveTo>
                  <a:cubicBezTo>
                    <a:pt x="1896510" y="642303"/>
                    <a:pt x="1893668" y="642854"/>
                    <a:pt x="1890993" y="643957"/>
                  </a:cubicBezTo>
                  <a:cubicBezTo>
                    <a:pt x="1889154" y="644693"/>
                    <a:pt x="1887482" y="645796"/>
                    <a:pt x="1885977" y="647084"/>
                  </a:cubicBezTo>
                  <a:cubicBezTo>
                    <a:pt x="1885141" y="647819"/>
                    <a:pt x="1884473" y="648555"/>
                    <a:pt x="1883637" y="649290"/>
                  </a:cubicBezTo>
                  <a:cubicBezTo>
                    <a:pt x="1882801" y="650210"/>
                    <a:pt x="1881965" y="651314"/>
                    <a:pt x="1881296" y="652233"/>
                  </a:cubicBezTo>
                  <a:cubicBezTo>
                    <a:pt x="1880795" y="652968"/>
                    <a:pt x="1880293" y="653888"/>
                    <a:pt x="1879959" y="654623"/>
                  </a:cubicBezTo>
                  <a:cubicBezTo>
                    <a:pt x="1879290" y="655727"/>
                    <a:pt x="1878788" y="657014"/>
                    <a:pt x="1878454" y="658301"/>
                  </a:cubicBezTo>
                  <a:cubicBezTo>
                    <a:pt x="1878120" y="659036"/>
                    <a:pt x="1877952" y="659957"/>
                    <a:pt x="1877786" y="660692"/>
                  </a:cubicBezTo>
                  <a:cubicBezTo>
                    <a:pt x="1877451" y="661795"/>
                    <a:pt x="1877284" y="663083"/>
                    <a:pt x="1877117" y="664186"/>
                  </a:cubicBezTo>
                  <a:cubicBezTo>
                    <a:pt x="1876615" y="667496"/>
                    <a:pt x="1876615" y="670806"/>
                    <a:pt x="1877284" y="673932"/>
                  </a:cubicBezTo>
                  <a:cubicBezTo>
                    <a:pt x="1877451" y="675036"/>
                    <a:pt x="1877619" y="676139"/>
                    <a:pt x="1877952" y="677242"/>
                  </a:cubicBezTo>
                  <a:cubicBezTo>
                    <a:pt x="1878287" y="678162"/>
                    <a:pt x="1878454" y="678898"/>
                    <a:pt x="1878788" y="679817"/>
                  </a:cubicBezTo>
                  <a:cubicBezTo>
                    <a:pt x="1879123" y="680369"/>
                    <a:pt x="1879290" y="680920"/>
                    <a:pt x="1879458" y="681472"/>
                  </a:cubicBezTo>
                  <a:cubicBezTo>
                    <a:pt x="1879959" y="682575"/>
                    <a:pt x="1880460" y="683495"/>
                    <a:pt x="1880962" y="684414"/>
                  </a:cubicBezTo>
                  <a:cubicBezTo>
                    <a:pt x="1881463" y="685149"/>
                    <a:pt x="1881965" y="685885"/>
                    <a:pt x="1882466" y="686620"/>
                  </a:cubicBezTo>
                  <a:cubicBezTo>
                    <a:pt x="1883135" y="687541"/>
                    <a:pt x="1883971" y="688460"/>
                    <a:pt x="1884807" y="689195"/>
                  </a:cubicBezTo>
                  <a:cubicBezTo>
                    <a:pt x="1885475" y="689931"/>
                    <a:pt x="1886311" y="690483"/>
                    <a:pt x="1886981" y="691034"/>
                  </a:cubicBezTo>
                  <a:cubicBezTo>
                    <a:pt x="1888150" y="691954"/>
                    <a:pt x="1889488" y="692689"/>
                    <a:pt x="1890825" y="693241"/>
                  </a:cubicBezTo>
                  <a:cubicBezTo>
                    <a:pt x="1892497" y="693977"/>
                    <a:pt x="1894336" y="694528"/>
                    <a:pt x="1896175" y="694712"/>
                  </a:cubicBezTo>
                  <a:cubicBezTo>
                    <a:pt x="1896510" y="694712"/>
                    <a:pt x="1896676" y="694712"/>
                    <a:pt x="1897011" y="694896"/>
                  </a:cubicBezTo>
                  <a:cubicBezTo>
                    <a:pt x="1898014" y="694896"/>
                    <a:pt x="1898850" y="694896"/>
                    <a:pt x="1899853" y="694896"/>
                  </a:cubicBezTo>
                  <a:cubicBezTo>
                    <a:pt x="1899853" y="694712"/>
                    <a:pt x="1900020" y="694896"/>
                    <a:pt x="1900020" y="694896"/>
                  </a:cubicBezTo>
                  <a:cubicBezTo>
                    <a:pt x="1903197" y="694528"/>
                    <a:pt x="1906206" y="693425"/>
                    <a:pt x="1908881" y="691586"/>
                  </a:cubicBezTo>
                  <a:cubicBezTo>
                    <a:pt x="1910051" y="690850"/>
                    <a:pt x="1911054" y="689931"/>
                    <a:pt x="1912057" y="688827"/>
                  </a:cubicBezTo>
                  <a:cubicBezTo>
                    <a:pt x="1912893" y="688092"/>
                    <a:pt x="1913562" y="687173"/>
                    <a:pt x="1914231" y="686253"/>
                  </a:cubicBezTo>
                  <a:cubicBezTo>
                    <a:pt x="1914732" y="685517"/>
                    <a:pt x="1915234" y="684782"/>
                    <a:pt x="1915735" y="683863"/>
                  </a:cubicBezTo>
                  <a:cubicBezTo>
                    <a:pt x="1916236" y="682943"/>
                    <a:pt x="1916738" y="682023"/>
                    <a:pt x="1917239" y="680920"/>
                  </a:cubicBezTo>
                  <a:cubicBezTo>
                    <a:pt x="1917574" y="680184"/>
                    <a:pt x="1917741" y="679633"/>
                    <a:pt x="1918075" y="678898"/>
                  </a:cubicBezTo>
                  <a:cubicBezTo>
                    <a:pt x="1918410" y="678162"/>
                    <a:pt x="1918577" y="677426"/>
                    <a:pt x="1918744" y="676691"/>
                  </a:cubicBezTo>
                  <a:cubicBezTo>
                    <a:pt x="1919079" y="675403"/>
                    <a:pt x="1919246" y="674116"/>
                    <a:pt x="1919580" y="672829"/>
                  </a:cubicBezTo>
                  <a:cubicBezTo>
                    <a:pt x="1919747" y="672094"/>
                    <a:pt x="1919747" y="671541"/>
                    <a:pt x="1919747" y="670806"/>
                  </a:cubicBezTo>
                  <a:cubicBezTo>
                    <a:pt x="1919580" y="671358"/>
                    <a:pt x="1919413" y="671174"/>
                    <a:pt x="1919580" y="670990"/>
                  </a:cubicBezTo>
                  <a:cubicBezTo>
                    <a:pt x="1919580" y="669703"/>
                    <a:pt x="1919580" y="668415"/>
                    <a:pt x="1919580" y="667128"/>
                  </a:cubicBezTo>
                  <a:cubicBezTo>
                    <a:pt x="1919580" y="667128"/>
                    <a:pt x="1919580" y="667128"/>
                    <a:pt x="1919580" y="666944"/>
                  </a:cubicBezTo>
                  <a:cubicBezTo>
                    <a:pt x="1919580" y="665841"/>
                    <a:pt x="1919413" y="664922"/>
                    <a:pt x="1919246" y="663818"/>
                  </a:cubicBezTo>
                  <a:cubicBezTo>
                    <a:pt x="1918911" y="662531"/>
                    <a:pt x="1918911" y="661243"/>
                    <a:pt x="1918410" y="660140"/>
                  </a:cubicBezTo>
                  <a:cubicBezTo>
                    <a:pt x="1918075" y="659404"/>
                    <a:pt x="1917908" y="658669"/>
                    <a:pt x="1917741" y="657933"/>
                  </a:cubicBezTo>
                  <a:cubicBezTo>
                    <a:pt x="1917239" y="656830"/>
                    <a:pt x="1916738" y="655543"/>
                    <a:pt x="1916236" y="654439"/>
                  </a:cubicBezTo>
                  <a:cubicBezTo>
                    <a:pt x="1915735" y="653520"/>
                    <a:pt x="1915234" y="652785"/>
                    <a:pt x="1914732" y="651865"/>
                  </a:cubicBezTo>
                  <a:cubicBezTo>
                    <a:pt x="1914231" y="651129"/>
                    <a:pt x="1913729" y="650394"/>
                    <a:pt x="1913227" y="649842"/>
                  </a:cubicBezTo>
                  <a:cubicBezTo>
                    <a:pt x="1912725" y="649290"/>
                    <a:pt x="1912224" y="648739"/>
                    <a:pt x="1911723" y="648187"/>
                  </a:cubicBezTo>
                  <a:cubicBezTo>
                    <a:pt x="1910720" y="647267"/>
                    <a:pt x="1909717" y="646348"/>
                    <a:pt x="1908546" y="645613"/>
                  </a:cubicBezTo>
                  <a:cubicBezTo>
                    <a:pt x="1907710" y="645061"/>
                    <a:pt x="1906707" y="644510"/>
                    <a:pt x="1905872" y="644142"/>
                  </a:cubicBezTo>
                  <a:cubicBezTo>
                    <a:pt x="1903865" y="643222"/>
                    <a:pt x="1901692" y="642670"/>
                    <a:pt x="1899351" y="642486"/>
                  </a:cubicBezTo>
                  <a:close/>
                  <a:moveTo>
                    <a:pt x="2022373" y="642486"/>
                  </a:moveTo>
                  <a:cubicBezTo>
                    <a:pt x="2019531" y="642303"/>
                    <a:pt x="2016689" y="642854"/>
                    <a:pt x="2014014" y="643957"/>
                  </a:cubicBezTo>
                  <a:cubicBezTo>
                    <a:pt x="2012175" y="644693"/>
                    <a:pt x="2010503" y="645796"/>
                    <a:pt x="2008999" y="647084"/>
                  </a:cubicBezTo>
                  <a:cubicBezTo>
                    <a:pt x="2008163" y="647819"/>
                    <a:pt x="2007494" y="648555"/>
                    <a:pt x="2006658" y="649290"/>
                  </a:cubicBezTo>
                  <a:cubicBezTo>
                    <a:pt x="2005822" y="650210"/>
                    <a:pt x="2004986" y="651314"/>
                    <a:pt x="2004317" y="652233"/>
                  </a:cubicBezTo>
                  <a:cubicBezTo>
                    <a:pt x="2003816" y="652968"/>
                    <a:pt x="2003314" y="653888"/>
                    <a:pt x="2002980" y="654623"/>
                  </a:cubicBezTo>
                  <a:cubicBezTo>
                    <a:pt x="2002311" y="655727"/>
                    <a:pt x="2001810" y="657014"/>
                    <a:pt x="2001476" y="658301"/>
                  </a:cubicBezTo>
                  <a:cubicBezTo>
                    <a:pt x="2001141" y="659036"/>
                    <a:pt x="2000974" y="659957"/>
                    <a:pt x="2000807" y="660692"/>
                  </a:cubicBezTo>
                  <a:cubicBezTo>
                    <a:pt x="2000472" y="661795"/>
                    <a:pt x="2000305" y="663083"/>
                    <a:pt x="2000138" y="664186"/>
                  </a:cubicBezTo>
                  <a:cubicBezTo>
                    <a:pt x="1999637" y="667496"/>
                    <a:pt x="1999637" y="670806"/>
                    <a:pt x="2000305" y="673932"/>
                  </a:cubicBezTo>
                  <a:cubicBezTo>
                    <a:pt x="2000472" y="675036"/>
                    <a:pt x="2000640" y="676139"/>
                    <a:pt x="2000974" y="677242"/>
                  </a:cubicBezTo>
                  <a:cubicBezTo>
                    <a:pt x="2001308" y="678162"/>
                    <a:pt x="2001476" y="678898"/>
                    <a:pt x="2001810" y="679817"/>
                  </a:cubicBezTo>
                  <a:cubicBezTo>
                    <a:pt x="2002144" y="680369"/>
                    <a:pt x="2002311" y="680920"/>
                    <a:pt x="2002479" y="681472"/>
                  </a:cubicBezTo>
                  <a:cubicBezTo>
                    <a:pt x="2002980" y="682575"/>
                    <a:pt x="2003481" y="683495"/>
                    <a:pt x="2003983" y="684414"/>
                  </a:cubicBezTo>
                  <a:cubicBezTo>
                    <a:pt x="2004485" y="685149"/>
                    <a:pt x="2004986" y="685885"/>
                    <a:pt x="2005488" y="686620"/>
                  </a:cubicBezTo>
                  <a:cubicBezTo>
                    <a:pt x="2006156" y="687541"/>
                    <a:pt x="2006992" y="688460"/>
                    <a:pt x="2007828" y="689195"/>
                  </a:cubicBezTo>
                  <a:cubicBezTo>
                    <a:pt x="2008497" y="689931"/>
                    <a:pt x="2009332" y="690483"/>
                    <a:pt x="2010002" y="691034"/>
                  </a:cubicBezTo>
                  <a:cubicBezTo>
                    <a:pt x="2011172" y="691954"/>
                    <a:pt x="2012509" y="692689"/>
                    <a:pt x="2013846" y="693241"/>
                  </a:cubicBezTo>
                  <a:cubicBezTo>
                    <a:pt x="2015518" y="693977"/>
                    <a:pt x="2017357" y="694528"/>
                    <a:pt x="2019196" y="694712"/>
                  </a:cubicBezTo>
                  <a:cubicBezTo>
                    <a:pt x="2019531" y="694712"/>
                    <a:pt x="2019698" y="694712"/>
                    <a:pt x="2020032" y="694896"/>
                  </a:cubicBezTo>
                  <a:cubicBezTo>
                    <a:pt x="2021035" y="694896"/>
                    <a:pt x="2021871" y="694896"/>
                    <a:pt x="2022875" y="694896"/>
                  </a:cubicBezTo>
                  <a:cubicBezTo>
                    <a:pt x="2022875" y="694712"/>
                    <a:pt x="2023041" y="694896"/>
                    <a:pt x="2023041" y="694896"/>
                  </a:cubicBezTo>
                  <a:cubicBezTo>
                    <a:pt x="2026218" y="694528"/>
                    <a:pt x="2029227" y="693425"/>
                    <a:pt x="2031902" y="691586"/>
                  </a:cubicBezTo>
                  <a:cubicBezTo>
                    <a:pt x="2033072" y="690850"/>
                    <a:pt x="2034075" y="689931"/>
                    <a:pt x="2035078" y="688827"/>
                  </a:cubicBezTo>
                  <a:cubicBezTo>
                    <a:pt x="2035914" y="688092"/>
                    <a:pt x="2036583" y="687173"/>
                    <a:pt x="2037252" y="686253"/>
                  </a:cubicBezTo>
                  <a:cubicBezTo>
                    <a:pt x="2037753" y="685517"/>
                    <a:pt x="2038255" y="684782"/>
                    <a:pt x="2038756" y="683863"/>
                  </a:cubicBezTo>
                  <a:cubicBezTo>
                    <a:pt x="2039258" y="682943"/>
                    <a:pt x="2039759" y="682023"/>
                    <a:pt x="2040261" y="680920"/>
                  </a:cubicBezTo>
                  <a:cubicBezTo>
                    <a:pt x="2040595" y="680184"/>
                    <a:pt x="2040762" y="679633"/>
                    <a:pt x="2041097" y="678898"/>
                  </a:cubicBezTo>
                  <a:cubicBezTo>
                    <a:pt x="2041431" y="678162"/>
                    <a:pt x="2041599" y="677426"/>
                    <a:pt x="2041765" y="676691"/>
                  </a:cubicBezTo>
                  <a:cubicBezTo>
                    <a:pt x="2042100" y="675403"/>
                    <a:pt x="2042267" y="674116"/>
                    <a:pt x="2042601" y="672829"/>
                  </a:cubicBezTo>
                  <a:cubicBezTo>
                    <a:pt x="2042768" y="672094"/>
                    <a:pt x="2042768" y="671541"/>
                    <a:pt x="2042768" y="670806"/>
                  </a:cubicBezTo>
                  <a:cubicBezTo>
                    <a:pt x="2042601" y="671358"/>
                    <a:pt x="2042434" y="671174"/>
                    <a:pt x="2042601" y="670990"/>
                  </a:cubicBezTo>
                  <a:cubicBezTo>
                    <a:pt x="2042601" y="669703"/>
                    <a:pt x="2042601" y="668415"/>
                    <a:pt x="2042601" y="667128"/>
                  </a:cubicBezTo>
                  <a:cubicBezTo>
                    <a:pt x="2042601" y="667128"/>
                    <a:pt x="2042601" y="667128"/>
                    <a:pt x="2042601" y="666944"/>
                  </a:cubicBezTo>
                  <a:cubicBezTo>
                    <a:pt x="2042601" y="665841"/>
                    <a:pt x="2042434" y="664922"/>
                    <a:pt x="2042267" y="663818"/>
                  </a:cubicBezTo>
                  <a:cubicBezTo>
                    <a:pt x="2041932" y="662531"/>
                    <a:pt x="2041932" y="661243"/>
                    <a:pt x="2041431" y="660140"/>
                  </a:cubicBezTo>
                  <a:cubicBezTo>
                    <a:pt x="2041097" y="659404"/>
                    <a:pt x="2040929" y="658669"/>
                    <a:pt x="2040762" y="657933"/>
                  </a:cubicBezTo>
                  <a:cubicBezTo>
                    <a:pt x="2040261" y="656830"/>
                    <a:pt x="2039759" y="655543"/>
                    <a:pt x="2039258" y="654439"/>
                  </a:cubicBezTo>
                  <a:cubicBezTo>
                    <a:pt x="2038756" y="653520"/>
                    <a:pt x="2038255" y="652785"/>
                    <a:pt x="2037753" y="651865"/>
                  </a:cubicBezTo>
                  <a:cubicBezTo>
                    <a:pt x="2037252" y="651129"/>
                    <a:pt x="2036750" y="650394"/>
                    <a:pt x="2036249" y="649842"/>
                  </a:cubicBezTo>
                  <a:cubicBezTo>
                    <a:pt x="2035747" y="649290"/>
                    <a:pt x="2035245" y="648739"/>
                    <a:pt x="2034744" y="648187"/>
                  </a:cubicBezTo>
                  <a:cubicBezTo>
                    <a:pt x="2033741" y="647267"/>
                    <a:pt x="2032738" y="646348"/>
                    <a:pt x="2031567" y="645613"/>
                  </a:cubicBezTo>
                  <a:cubicBezTo>
                    <a:pt x="2030731" y="645061"/>
                    <a:pt x="2029728" y="644510"/>
                    <a:pt x="2028893" y="644142"/>
                  </a:cubicBezTo>
                  <a:cubicBezTo>
                    <a:pt x="2026887" y="643222"/>
                    <a:pt x="2024713" y="642670"/>
                    <a:pt x="2022373" y="642486"/>
                  </a:cubicBezTo>
                  <a:close/>
                  <a:moveTo>
                    <a:pt x="2186582" y="642486"/>
                  </a:moveTo>
                  <a:cubicBezTo>
                    <a:pt x="2183740" y="642303"/>
                    <a:pt x="2180898" y="642854"/>
                    <a:pt x="2178224" y="643957"/>
                  </a:cubicBezTo>
                  <a:cubicBezTo>
                    <a:pt x="2176385" y="644693"/>
                    <a:pt x="2174712" y="645796"/>
                    <a:pt x="2173208" y="647084"/>
                  </a:cubicBezTo>
                  <a:cubicBezTo>
                    <a:pt x="2172372" y="647819"/>
                    <a:pt x="2171703" y="648555"/>
                    <a:pt x="2170867" y="649290"/>
                  </a:cubicBezTo>
                  <a:cubicBezTo>
                    <a:pt x="2170031" y="650210"/>
                    <a:pt x="2169196" y="651314"/>
                    <a:pt x="2168527" y="652233"/>
                  </a:cubicBezTo>
                  <a:cubicBezTo>
                    <a:pt x="2168025" y="652968"/>
                    <a:pt x="2167524" y="653888"/>
                    <a:pt x="2167190" y="654623"/>
                  </a:cubicBezTo>
                  <a:cubicBezTo>
                    <a:pt x="2166521" y="655727"/>
                    <a:pt x="2166019" y="657014"/>
                    <a:pt x="2165685" y="658301"/>
                  </a:cubicBezTo>
                  <a:cubicBezTo>
                    <a:pt x="2165351" y="659036"/>
                    <a:pt x="2165183" y="659957"/>
                    <a:pt x="2165016" y="660692"/>
                  </a:cubicBezTo>
                  <a:cubicBezTo>
                    <a:pt x="2164682" y="661795"/>
                    <a:pt x="2164514" y="663083"/>
                    <a:pt x="2164348" y="664186"/>
                  </a:cubicBezTo>
                  <a:cubicBezTo>
                    <a:pt x="2163846" y="667496"/>
                    <a:pt x="2163846" y="670806"/>
                    <a:pt x="2164514" y="673932"/>
                  </a:cubicBezTo>
                  <a:cubicBezTo>
                    <a:pt x="2164682" y="675036"/>
                    <a:pt x="2164849" y="676139"/>
                    <a:pt x="2165183" y="677242"/>
                  </a:cubicBezTo>
                  <a:cubicBezTo>
                    <a:pt x="2165517" y="678162"/>
                    <a:pt x="2165685" y="678898"/>
                    <a:pt x="2166019" y="679817"/>
                  </a:cubicBezTo>
                  <a:cubicBezTo>
                    <a:pt x="2166353" y="680369"/>
                    <a:pt x="2166521" y="680920"/>
                    <a:pt x="2166688" y="681472"/>
                  </a:cubicBezTo>
                  <a:cubicBezTo>
                    <a:pt x="2167190" y="682575"/>
                    <a:pt x="2167691" y="683495"/>
                    <a:pt x="2168192" y="684414"/>
                  </a:cubicBezTo>
                  <a:cubicBezTo>
                    <a:pt x="2168694" y="685149"/>
                    <a:pt x="2169196" y="685885"/>
                    <a:pt x="2169698" y="686620"/>
                  </a:cubicBezTo>
                  <a:cubicBezTo>
                    <a:pt x="2170366" y="687541"/>
                    <a:pt x="2171202" y="688460"/>
                    <a:pt x="2172037" y="689195"/>
                  </a:cubicBezTo>
                  <a:cubicBezTo>
                    <a:pt x="2172706" y="689931"/>
                    <a:pt x="2173542" y="690483"/>
                    <a:pt x="2174211" y="691034"/>
                  </a:cubicBezTo>
                  <a:cubicBezTo>
                    <a:pt x="2175381" y="691954"/>
                    <a:pt x="2176719" y="692689"/>
                    <a:pt x="2178056" y="693241"/>
                  </a:cubicBezTo>
                  <a:cubicBezTo>
                    <a:pt x="2179728" y="693977"/>
                    <a:pt x="2181567" y="694528"/>
                    <a:pt x="2183406" y="694712"/>
                  </a:cubicBezTo>
                  <a:cubicBezTo>
                    <a:pt x="2183740" y="694712"/>
                    <a:pt x="2183907" y="694712"/>
                    <a:pt x="2184241" y="694896"/>
                  </a:cubicBezTo>
                  <a:cubicBezTo>
                    <a:pt x="2185245" y="694896"/>
                    <a:pt x="2186080" y="694896"/>
                    <a:pt x="2187084" y="694896"/>
                  </a:cubicBezTo>
                  <a:cubicBezTo>
                    <a:pt x="2187084" y="694712"/>
                    <a:pt x="2187251" y="694896"/>
                    <a:pt x="2187251" y="694896"/>
                  </a:cubicBezTo>
                  <a:cubicBezTo>
                    <a:pt x="2190427" y="694528"/>
                    <a:pt x="2193437" y="693425"/>
                    <a:pt x="2196112" y="691586"/>
                  </a:cubicBezTo>
                  <a:cubicBezTo>
                    <a:pt x="2197282" y="690850"/>
                    <a:pt x="2198285" y="689931"/>
                    <a:pt x="2199288" y="688827"/>
                  </a:cubicBezTo>
                  <a:cubicBezTo>
                    <a:pt x="2200123" y="688092"/>
                    <a:pt x="2200792" y="687173"/>
                    <a:pt x="2201461" y="686253"/>
                  </a:cubicBezTo>
                  <a:cubicBezTo>
                    <a:pt x="2201962" y="685517"/>
                    <a:pt x="2202464" y="684782"/>
                    <a:pt x="2202965" y="683863"/>
                  </a:cubicBezTo>
                  <a:cubicBezTo>
                    <a:pt x="2203467" y="682943"/>
                    <a:pt x="2203969" y="682023"/>
                    <a:pt x="2204471" y="680920"/>
                  </a:cubicBezTo>
                  <a:cubicBezTo>
                    <a:pt x="2204804" y="680184"/>
                    <a:pt x="2204972" y="679633"/>
                    <a:pt x="2205306" y="678898"/>
                  </a:cubicBezTo>
                  <a:cubicBezTo>
                    <a:pt x="2205640" y="678162"/>
                    <a:pt x="2205808" y="677426"/>
                    <a:pt x="2205975" y="676691"/>
                  </a:cubicBezTo>
                  <a:cubicBezTo>
                    <a:pt x="2206309" y="675403"/>
                    <a:pt x="2206476" y="674116"/>
                    <a:pt x="2206811" y="672829"/>
                  </a:cubicBezTo>
                  <a:cubicBezTo>
                    <a:pt x="2206978" y="672094"/>
                    <a:pt x="2206978" y="671541"/>
                    <a:pt x="2206978" y="670806"/>
                  </a:cubicBezTo>
                  <a:cubicBezTo>
                    <a:pt x="2206811" y="671358"/>
                    <a:pt x="2206644" y="671174"/>
                    <a:pt x="2206811" y="670990"/>
                  </a:cubicBezTo>
                  <a:cubicBezTo>
                    <a:pt x="2206811" y="669703"/>
                    <a:pt x="2206811" y="668415"/>
                    <a:pt x="2206811" y="667128"/>
                  </a:cubicBezTo>
                  <a:cubicBezTo>
                    <a:pt x="2206811" y="667128"/>
                    <a:pt x="2206811" y="667128"/>
                    <a:pt x="2206811" y="666944"/>
                  </a:cubicBezTo>
                  <a:cubicBezTo>
                    <a:pt x="2206811" y="665841"/>
                    <a:pt x="2206644" y="664922"/>
                    <a:pt x="2206476" y="663818"/>
                  </a:cubicBezTo>
                  <a:cubicBezTo>
                    <a:pt x="2206142" y="662531"/>
                    <a:pt x="2206142" y="661243"/>
                    <a:pt x="2205640" y="660140"/>
                  </a:cubicBezTo>
                  <a:cubicBezTo>
                    <a:pt x="2205306" y="659404"/>
                    <a:pt x="2205139" y="658669"/>
                    <a:pt x="2204972" y="657933"/>
                  </a:cubicBezTo>
                  <a:cubicBezTo>
                    <a:pt x="2204471" y="656830"/>
                    <a:pt x="2203969" y="655543"/>
                    <a:pt x="2203467" y="654439"/>
                  </a:cubicBezTo>
                  <a:cubicBezTo>
                    <a:pt x="2202965" y="653520"/>
                    <a:pt x="2202464" y="652785"/>
                    <a:pt x="2201962" y="651865"/>
                  </a:cubicBezTo>
                  <a:cubicBezTo>
                    <a:pt x="2201461" y="651129"/>
                    <a:pt x="2200959" y="650394"/>
                    <a:pt x="2200458" y="649842"/>
                  </a:cubicBezTo>
                  <a:cubicBezTo>
                    <a:pt x="2199957" y="649290"/>
                    <a:pt x="2199455" y="648739"/>
                    <a:pt x="2198953" y="648187"/>
                  </a:cubicBezTo>
                  <a:cubicBezTo>
                    <a:pt x="2197950" y="647267"/>
                    <a:pt x="2196948" y="646348"/>
                    <a:pt x="2195777" y="645613"/>
                  </a:cubicBezTo>
                  <a:cubicBezTo>
                    <a:pt x="2194941" y="645061"/>
                    <a:pt x="2193938" y="644510"/>
                    <a:pt x="2193102" y="644142"/>
                  </a:cubicBezTo>
                  <a:cubicBezTo>
                    <a:pt x="2191096" y="643222"/>
                    <a:pt x="2188923" y="642670"/>
                    <a:pt x="2186582" y="642486"/>
                  </a:cubicBezTo>
                  <a:close/>
                  <a:moveTo>
                    <a:pt x="83192" y="636891"/>
                  </a:moveTo>
                  <a:cubicBezTo>
                    <a:pt x="74874" y="636891"/>
                    <a:pt x="67933" y="642792"/>
                    <a:pt x="66328" y="650636"/>
                  </a:cubicBezTo>
                  <a:lnTo>
                    <a:pt x="66002" y="653872"/>
                  </a:lnTo>
                  <a:lnTo>
                    <a:pt x="65037" y="653872"/>
                  </a:lnTo>
                  <a:cubicBezTo>
                    <a:pt x="62610" y="653872"/>
                    <a:pt x="60648" y="655783"/>
                    <a:pt x="60648" y="658148"/>
                  </a:cubicBezTo>
                  <a:cubicBezTo>
                    <a:pt x="60648" y="658148"/>
                    <a:pt x="60648" y="658148"/>
                    <a:pt x="60648" y="691965"/>
                  </a:cubicBezTo>
                  <a:cubicBezTo>
                    <a:pt x="60648" y="694329"/>
                    <a:pt x="62610" y="696240"/>
                    <a:pt x="65037" y="696240"/>
                  </a:cubicBezTo>
                  <a:cubicBezTo>
                    <a:pt x="65037" y="696240"/>
                    <a:pt x="65037" y="696240"/>
                    <a:pt x="101347" y="696240"/>
                  </a:cubicBezTo>
                  <a:cubicBezTo>
                    <a:pt x="103774" y="696240"/>
                    <a:pt x="105737" y="694329"/>
                    <a:pt x="105737" y="691965"/>
                  </a:cubicBezTo>
                  <a:cubicBezTo>
                    <a:pt x="105737" y="691965"/>
                    <a:pt x="105737" y="691965"/>
                    <a:pt x="105737" y="658148"/>
                  </a:cubicBezTo>
                  <a:cubicBezTo>
                    <a:pt x="105737" y="655783"/>
                    <a:pt x="103774" y="653872"/>
                    <a:pt x="101347" y="653872"/>
                  </a:cubicBezTo>
                  <a:cubicBezTo>
                    <a:pt x="101347" y="653872"/>
                    <a:pt x="101347" y="653872"/>
                    <a:pt x="100780" y="653872"/>
                  </a:cubicBezTo>
                  <a:lnTo>
                    <a:pt x="100383" y="653872"/>
                  </a:lnTo>
                  <a:lnTo>
                    <a:pt x="100056" y="650636"/>
                  </a:lnTo>
                  <a:cubicBezTo>
                    <a:pt x="98451" y="642792"/>
                    <a:pt x="91511" y="636891"/>
                    <a:pt x="83192" y="636891"/>
                  </a:cubicBezTo>
                  <a:close/>
                  <a:moveTo>
                    <a:pt x="370423" y="636891"/>
                  </a:moveTo>
                  <a:cubicBezTo>
                    <a:pt x="362104" y="636891"/>
                    <a:pt x="355163" y="642792"/>
                    <a:pt x="353558" y="650636"/>
                  </a:cubicBezTo>
                  <a:lnTo>
                    <a:pt x="353233" y="653872"/>
                  </a:lnTo>
                  <a:lnTo>
                    <a:pt x="352267" y="653872"/>
                  </a:lnTo>
                  <a:cubicBezTo>
                    <a:pt x="349840" y="653872"/>
                    <a:pt x="347879" y="655783"/>
                    <a:pt x="347879" y="658148"/>
                  </a:cubicBezTo>
                  <a:cubicBezTo>
                    <a:pt x="347879" y="658148"/>
                    <a:pt x="347879" y="658148"/>
                    <a:pt x="347879" y="691965"/>
                  </a:cubicBezTo>
                  <a:cubicBezTo>
                    <a:pt x="347879" y="694329"/>
                    <a:pt x="349840" y="696240"/>
                    <a:pt x="352267" y="696240"/>
                  </a:cubicBezTo>
                  <a:cubicBezTo>
                    <a:pt x="352267" y="696240"/>
                    <a:pt x="352267" y="696240"/>
                    <a:pt x="388578" y="696240"/>
                  </a:cubicBezTo>
                  <a:cubicBezTo>
                    <a:pt x="391005" y="696240"/>
                    <a:pt x="392967" y="694329"/>
                    <a:pt x="392967" y="691965"/>
                  </a:cubicBezTo>
                  <a:cubicBezTo>
                    <a:pt x="392967" y="691965"/>
                    <a:pt x="392967" y="691965"/>
                    <a:pt x="392967" y="658148"/>
                  </a:cubicBezTo>
                  <a:cubicBezTo>
                    <a:pt x="392967" y="655783"/>
                    <a:pt x="391005" y="653872"/>
                    <a:pt x="388578" y="653872"/>
                  </a:cubicBezTo>
                  <a:cubicBezTo>
                    <a:pt x="388578" y="653872"/>
                    <a:pt x="388578" y="653872"/>
                    <a:pt x="388010" y="653872"/>
                  </a:cubicBezTo>
                  <a:lnTo>
                    <a:pt x="387613" y="653872"/>
                  </a:lnTo>
                  <a:lnTo>
                    <a:pt x="387287" y="650636"/>
                  </a:lnTo>
                  <a:cubicBezTo>
                    <a:pt x="385682" y="642792"/>
                    <a:pt x="378741" y="636891"/>
                    <a:pt x="370423" y="636891"/>
                  </a:cubicBezTo>
                  <a:close/>
                  <a:moveTo>
                    <a:pt x="431909" y="636891"/>
                  </a:moveTo>
                  <a:cubicBezTo>
                    <a:pt x="423590" y="636891"/>
                    <a:pt x="416649" y="642792"/>
                    <a:pt x="415044" y="650636"/>
                  </a:cubicBezTo>
                  <a:lnTo>
                    <a:pt x="414718" y="653872"/>
                  </a:lnTo>
                  <a:lnTo>
                    <a:pt x="413753" y="653872"/>
                  </a:lnTo>
                  <a:cubicBezTo>
                    <a:pt x="411326" y="653872"/>
                    <a:pt x="409364" y="655783"/>
                    <a:pt x="409364" y="658148"/>
                  </a:cubicBezTo>
                  <a:cubicBezTo>
                    <a:pt x="409364" y="658148"/>
                    <a:pt x="409364" y="658148"/>
                    <a:pt x="409364" y="691965"/>
                  </a:cubicBezTo>
                  <a:cubicBezTo>
                    <a:pt x="409364" y="694329"/>
                    <a:pt x="411326" y="696240"/>
                    <a:pt x="413753" y="696240"/>
                  </a:cubicBezTo>
                  <a:cubicBezTo>
                    <a:pt x="413753" y="696240"/>
                    <a:pt x="413753" y="696240"/>
                    <a:pt x="450064" y="696240"/>
                  </a:cubicBezTo>
                  <a:cubicBezTo>
                    <a:pt x="452491" y="696240"/>
                    <a:pt x="454453" y="694329"/>
                    <a:pt x="454453" y="691965"/>
                  </a:cubicBezTo>
                  <a:cubicBezTo>
                    <a:pt x="454453" y="691965"/>
                    <a:pt x="454453" y="691965"/>
                    <a:pt x="454453" y="658148"/>
                  </a:cubicBezTo>
                  <a:cubicBezTo>
                    <a:pt x="454453" y="655783"/>
                    <a:pt x="452491" y="653872"/>
                    <a:pt x="450064" y="653872"/>
                  </a:cubicBezTo>
                  <a:cubicBezTo>
                    <a:pt x="450064" y="653872"/>
                    <a:pt x="450064" y="653872"/>
                    <a:pt x="449496" y="653872"/>
                  </a:cubicBezTo>
                  <a:lnTo>
                    <a:pt x="449099" y="653872"/>
                  </a:lnTo>
                  <a:lnTo>
                    <a:pt x="448772" y="650636"/>
                  </a:lnTo>
                  <a:cubicBezTo>
                    <a:pt x="447167" y="642792"/>
                    <a:pt x="440227" y="636891"/>
                    <a:pt x="431909" y="636891"/>
                  </a:cubicBezTo>
                  <a:close/>
                  <a:moveTo>
                    <a:pt x="554930" y="636891"/>
                  </a:moveTo>
                  <a:cubicBezTo>
                    <a:pt x="546611" y="636891"/>
                    <a:pt x="539670" y="642792"/>
                    <a:pt x="538065" y="650636"/>
                  </a:cubicBezTo>
                  <a:lnTo>
                    <a:pt x="537739" y="653872"/>
                  </a:lnTo>
                  <a:lnTo>
                    <a:pt x="536774" y="653872"/>
                  </a:lnTo>
                  <a:cubicBezTo>
                    <a:pt x="534347" y="653872"/>
                    <a:pt x="532386" y="655783"/>
                    <a:pt x="532386" y="658148"/>
                  </a:cubicBezTo>
                  <a:cubicBezTo>
                    <a:pt x="532386" y="658148"/>
                    <a:pt x="532386" y="658148"/>
                    <a:pt x="532386" y="691965"/>
                  </a:cubicBezTo>
                  <a:cubicBezTo>
                    <a:pt x="532386" y="694329"/>
                    <a:pt x="534347" y="696240"/>
                    <a:pt x="536774" y="696240"/>
                  </a:cubicBezTo>
                  <a:cubicBezTo>
                    <a:pt x="536774" y="696240"/>
                    <a:pt x="536774" y="696240"/>
                    <a:pt x="573085" y="696240"/>
                  </a:cubicBezTo>
                  <a:cubicBezTo>
                    <a:pt x="575512" y="696240"/>
                    <a:pt x="577474" y="694329"/>
                    <a:pt x="577474" y="691965"/>
                  </a:cubicBezTo>
                  <a:cubicBezTo>
                    <a:pt x="577474" y="691965"/>
                    <a:pt x="577474" y="691965"/>
                    <a:pt x="577474" y="658148"/>
                  </a:cubicBezTo>
                  <a:cubicBezTo>
                    <a:pt x="577474" y="655783"/>
                    <a:pt x="575512" y="653872"/>
                    <a:pt x="573085" y="653872"/>
                  </a:cubicBezTo>
                  <a:cubicBezTo>
                    <a:pt x="573085" y="653872"/>
                    <a:pt x="573085" y="653872"/>
                    <a:pt x="572517" y="653872"/>
                  </a:cubicBezTo>
                  <a:lnTo>
                    <a:pt x="572120" y="653872"/>
                  </a:lnTo>
                  <a:lnTo>
                    <a:pt x="571794" y="650636"/>
                  </a:lnTo>
                  <a:cubicBezTo>
                    <a:pt x="570188" y="642792"/>
                    <a:pt x="563248" y="636891"/>
                    <a:pt x="554930" y="636891"/>
                  </a:cubicBezTo>
                  <a:close/>
                  <a:moveTo>
                    <a:pt x="842160" y="636891"/>
                  </a:moveTo>
                  <a:cubicBezTo>
                    <a:pt x="833842" y="636891"/>
                    <a:pt x="826901" y="642792"/>
                    <a:pt x="825296" y="650636"/>
                  </a:cubicBezTo>
                  <a:lnTo>
                    <a:pt x="824970" y="653872"/>
                  </a:lnTo>
                  <a:lnTo>
                    <a:pt x="824005" y="653872"/>
                  </a:lnTo>
                  <a:cubicBezTo>
                    <a:pt x="821577" y="653872"/>
                    <a:pt x="819616" y="655783"/>
                    <a:pt x="819616" y="658148"/>
                  </a:cubicBezTo>
                  <a:cubicBezTo>
                    <a:pt x="819616" y="658148"/>
                    <a:pt x="819616" y="658148"/>
                    <a:pt x="819616" y="691965"/>
                  </a:cubicBezTo>
                  <a:cubicBezTo>
                    <a:pt x="819616" y="694329"/>
                    <a:pt x="821577" y="696240"/>
                    <a:pt x="824005" y="696240"/>
                  </a:cubicBezTo>
                  <a:cubicBezTo>
                    <a:pt x="824005" y="696240"/>
                    <a:pt x="824005" y="696240"/>
                    <a:pt x="860316" y="696240"/>
                  </a:cubicBezTo>
                  <a:cubicBezTo>
                    <a:pt x="862742" y="696240"/>
                    <a:pt x="864704" y="694329"/>
                    <a:pt x="864704" y="691965"/>
                  </a:cubicBezTo>
                  <a:cubicBezTo>
                    <a:pt x="864704" y="691965"/>
                    <a:pt x="864704" y="691965"/>
                    <a:pt x="864704" y="658148"/>
                  </a:cubicBezTo>
                  <a:cubicBezTo>
                    <a:pt x="864704" y="655783"/>
                    <a:pt x="862742" y="653872"/>
                    <a:pt x="860316" y="653872"/>
                  </a:cubicBezTo>
                  <a:cubicBezTo>
                    <a:pt x="860316" y="653872"/>
                    <a:pt x="860316" y="653872"/>
                    <a:pt x="859748" y="653872"/>
                  </a:cubicBezTo>
                  <a:lnTo>
                    <a:pt x="859350" y="653872"/>
                  </a:lnTo>
                  <a:lnTo>
                    <a:pt x="859024" y="650636"/>
                  </a:lnTo>
                  <a:cubicBezTo>
                    <a:pt x="857419" y="642792"/>
                    <a:pt x="850479" y="636891"/>
                    <a:pt x="842160" y="636891"/>
                  </a:cubicBezTo>
                  <a:close/>
                  <a:moveTo>
                    <a:pt x="1016518" y="636891"/>
                  </a:moveTo>
                  <a:cubicBezTo>
                    <a:pt x="1008200" y="636891"/>
                    <a:pt x="1001259" y="642792"/>
                    <a:pt x="999654" y="650636"/>
                  </a:cubicBezTo>
                  <a:lnTo>
                    <a:pt x="999328" y="653872"/>
                  </a:lnTo>
                  <a:lnTo>
                    <a:pt x="998363" y="653872"/>
                  </a:lnTo>
                  <a:cubicBezTo>
                    <a:pt x="995936" y="653872"/>
                    <a:pt x="993974" y="655783"/>
                    <a:pt x="993974" y="658148"/>
                  </a:cubicBezTo>
                  <a:cubicBezTo>
                    <a:pt x="993974" y="658148"/>
                    <a:pt x="993974" y="658148"/>
                    <a:pt x="993974" y="691965"/>
                  </a:cubicBezTo>
                  <a:cubicBezTo>
                    <a:pt x="993974" y="694329"/>
                    <a:pt x="995936" y="696240"/>
                    <a:pt x="998363" y="696240"/>
                  </a:cubicBezTo>
                  <a:cubicBezTo>
                    <a:pt x="998363" y="696240"/>
                    <a:pt x="998363" y="696240"/>
                    <a:pt x="1034674" y="696240"/>
                  </a:cubicBezTo>
                  <a:cubicBezTo>
                    <a:pt x="1037100" y="696240"/>
                    <a:pt x="1039063" y="694329"/>
                    <a:pt x="1039063" y="691965"/>
                  </a:cubicBezTo>
                  <a:cubicBezTo>
                    <a:pt x="1039063" y="691965"/>
                    <a:pt x="1039063" y="691965"/>
                    <a:pt x="1039063" y="658148"/>
                  </a:cubicBezTo>
                  <a:cubicBezTo>
                    <a:pt x="1039063" y="655783"/>
                    <a:pt x="1037100" y="653872"/>
                    <a:pt x="1034674" y="653872"/>
                  </a:cubicBezTo>
                  <a:cubicBezTo>
                    <a:pt x="1034674" y="653872"/>
                    <a:pt x="1034674" y="653872"/>
                    <a:pt x="1034106" y="653872"/>
                  </a:cubicBezTo>
                  <a:lnTo>
                    <a:pt x="1033709" y="653872"/>
                  </a:lnTo>
                  <a:lnTo>
                    <a:pt x="1033382" y="650636"/>
                  </a:lnTo>
                  <a:cubicBezTo>
                    <a:pt x="1031777" y="642792"/>
                    <a:pt x="1024837" y="636891"/>
                    <a:pt x="1016518" y="636891"/>
                  </a:cubicBezTo>
                  <a:close/>
                  <a:moveTo>
                    <a:pt x="1078004" y="636891"/>
                  </a:moveTo>
                  <a:cubicBezTo>
                    <a:pt x="1069685" y="636891"/>
                    <a:pt x="1062745" y="642792"/>
                    <a:pt x="1061140" y="650636"/>
                  </a:cubicBezTo>
                  <a:lnTo>
                    <a:pt x="1060814" y="653872"/>
                  </a:lnTo>
                  <a:lnTo>
                    <a:pt x="1059849" y="653872"/>
                  </a:lnTo>
                  <a:cubicBezTo>
                    <a:pt x="1057421" y="653872"/>
                    <a:pt x="1055460" y="655783"/>
                    <a:pt x="1055460" y="658148"/>
                  </a:cubicBezTo>
                  <a:cubicBezTo>
                    <a:pt x="1055460" y="658148"/>
                    <a:pt x="1055460" y="658148"/>
                    <a:pt x="1055460" y="691965"/>
                  </a:cubicBezTo>
                  <a:cubicBezTo>
                    <a:pt x="1055460" y="694329"/>
                    <a:pt x="1057421" y="696240"/>
                    <a:pt x="1059849" y="696240"/>
                  </a:cubicBezTo>
                  <a:cubicBezTo>
                    <a:pt x="1059849" y="696240"/>
                    <a:pt x="1059849" y="696240"/>
                    <a:pt x="1096159" y="696240"/>
                  </a:cubicBezTo>
                  <a:cubicBezTo>
                    <a:pt x="1098586" y="696240"/>
                    <a:pt x="1100548" y="694329"/>
                    <a:pt x="1100548" y="691965"/>
                  </a:cubicBezTo>
                  <a:cubicBezTo>
                    <a:pt x="1100548" y="691965"/>
                    <a:pt x="1100548" y="691965"/>
                    <a:pt x="1100548" y="658148"/>
                  </a:cubicBezTo>
                  <a:cubicBezTo>
                    <a:pt x="1100548" y="655783"/>
                    <a:pt x="1098586" y="653872"/>
                    <a:pt x="1096159" y="653872"/>
                  </a:cubicBezTo>
                  <a:cubicBezTo>
                    <a:pt x="1096159" y="653872"/>
                    <a:pt x="1096159" y="653872"/>
                    <a:pt x="1095592" y="653872"/>
                  </a:cubicBezTo>
                  <a:lnTo>
                    <a:pt x="1095194" y="653872"/>
                  </a:lnTo>
                  <a:lnTo>
                    <a:pt x="1094868" y="650636"/>
                  </a:lnTo>
                  <a:cubicBezTo>
                    <a:pt x="1093263" y="642792"/>
                    <a:pt x="1086323" y="636891"/>
                    <a:pt x="1078004" y="636891"/>
                  </a:cubicBezTo>
                  <a:close/>
                  <a:moveTo>
                    <a:pt x="1252361" y="636891"/>
                  </a:moveTo>
                  <a:cubicBezTo>
                    <a:pt x="1244043" y="636891"/>
                    <a:pt x="1237103" y="642792"/>
                    <a:pt x="1235497" y="650636"/>
                  </a:cubicBezTo>
                  <a:lnTo>
                    <a:pt x="1235171" y="653872"/>
                  </a:lnTo>
                  <a:lnTo>
                    <a:pt x="1234206" y="653872"/>
                  </a:lnTo>
                  <a:cubicBezTo>
                    <a:pt x="1231779" y="653872"/>
                    <a:pt x="1229817" y="655783"/>
                    <a:pt x="1229817" y="658148"/>
                  </a:cubicBezTo>
                  <a:cubicBezTo>
                    <a:pt x="1229817" y="658148"/>
                    <a:pt x="1229817" y="658148"/>
                    <a:pt x="1229817" y="691965"/>
                  </a:cubicBezTo>
                  <a:cubicBezTo>
                    <a:pt x="1229817" y="694329"/>
                    <a:pt x="1231779" y="696240"/>
                    <a:pt x="1234206" y="696240"/>
                  </a:cubicBezTo>
                  <a:cubicBezTo>
                    <a:pt x="1234206" y="696240"/>
                    <a:pt x="1234206" y="696240"/>
                    <a:pt x="1270517" y="696240"/>
                  </a:cubicBezTo>
                  <a:cubicBezTo>
                    <a:pt x="1272944" y="696240"/>
                    <a:pt x="1274906" y="694329"/>
                    <a:pt x="1274906" y="691965"/>
                  </a:cubicBezTo>
                  <a:cubicBezTo>
                    <a:pt x="1274906" y="691965"/>
                    <a:pt x="1274906" y="691965"/>
                    <a:pt x="1274906" y="658148"/>
                  </a:cubicBezTo>
                  <a:cubicBezTo>
                    <a:pt x="1274906" y="655783"/>
                    <a:pt x="1272944" y="653872"/>
                    <a:pt x="1270517" y="653872"/>
                  </a:cubicBezTo>
                  <a:cubicBezTo>
                    <a:pt x="1270517" y="653872"/>
                    <a:pt x="1270517" y="653872"/>
                    <a:pt x="1269949" y="653872"/>
                  </a:cubicBezTo>
                  <a:lnTo>
                    <a:pt x="1269552" y="653872"/>
                  </a:lnTo>
                  <a:lnTo>
                    <a:pt x="1269226" y="650636"/>
                  </a:lnTo>
                  <a:cubicBezTo>
                    <a:pt x="1267621" y="642792"/>
                    <a:pt x="1260680" y="636891"/>
                    <a:pt x="1252361" y="636891"/>
                  </a:cubicBezTo>
                  <a:close/>
                  <a:moveTo>
                    <a:pt x="1313847" y="636891"/>
                  </a:moveTo>
                  <a:cubicBezTo>
                    <a:pt x="1305529" y="636891"/>
                    <a:pt x="1298589" y="642792"/>
                    <a:pt x="1296983" y="650636"/>
                  </a:cubicBezTo>
                  <a:lnTo>
                    <a:pt x="1296657" y="653872"/>
                  </a:lnTo>
                  <a:lnTo>
                    <a:pt x="1295693" y="653872"/>
                  </a:lnTo>
                  <a:cubicBezTo>
                    <a:pt x="1293265" y="653872"/>
                    <a:pt x="1291303" y="655783"/>
                    <a:pt x="1291303" y="658148"/>
                  </a:cubicBezTo>
                  <a:cubicBezTo>
                    <a:pt x="1291303" y="658148"/>
                    <a:pt x="1291303" y="658148"/>
                    <a:pt x="1291303" y="691965"/>
                  </a:cubicBezTo>
                  <a:cubicBezTo>
                    <a:pt x="1291303" y="694329"/>
                    <a:pt x="1293265" y="696240"/>
                    <a:pt x="1295693" y="696240"/>
                  </a:cubicBezTo>
                  <a:cubicBezTo>
                    <a:pt x="1295693" y="696240"/>
                    <a:pt x="1295693" y="696240"/>
                    <a:pt x="1332003" y="696240"/>
                  </a:cubicBezTo>
                  <a:cubicBezTo>
                    <a:pt x="1334430" y="696240"/>
                    <a:pt x="1336392" y="694329"/>
                    <a:pt x="1336392" y="691965"/>
                  </a:cubicBezTo>
                  <a:cubicBezTo>
                    <a:pt x="1336392" y="691965"/>
                    <a:pt x="1336392" y="691965"/>
                    <a:pt x="1336392" y="658148"/>
                  </a:cubicBezTo>
                  <a:cubicBezTo>
                    <a:pt x="1336392" y="655783"/>
                    <a:pt x="1334430" y="653872"/>
                    <a:pt x="1332003" y="653872"/>
                  </a:cubicBezTo>
                  <a:cubicBezTo>
                    <a:pt x="1332003" y="653872"/>
                    <a:pt x="1332003" y="653872"/>
                    <a:pt x="1331435" y="653872"/>
                  </a:cubicBezTo>
                  <a:lnTo>
                    <a:pt x="1331038" y="653872"/>
                  </a:lnTo>
                  <a:lnTo>
                    <a:pt x="1330712" y="650636"/>
                  </a:lnTo>
                  <a:cubicBezTo>
                    <a:pt x="1329106" y="642792"/>
                    <a:pt x="1322166" y="636891"/>
                    <a:pt x="1313847" y="636891"/>
                  </a:cubicBezTo>
                  <a:close/>
                  <a:moveTo>
                    <a:pt x="1488205" y="636891"/>
                  </a:moveTo>
                  <a:cubicBezTo>
                    <a:pt x="1479887" y="636891"/>
                    <a:pt x="1472947" y="642792"/>
                    <a:pt x="1471341" y="650636"/>
                  </a:cubicBezTo>
                  <a:lnTo>
                    <a:pt x="1471015" y="653872"/>
                  </a:lnTo>
                  <a:lnTo>
                    <a:pt x="1470050" y="653872"/>
                  </a:lnTo>
                  <a:cubicBezTo>
                    <a:pt x="1467623" y="653872"/>
                    <a:pt x="1465661" y="655783"/>
                    <a:pt x="1465661" y="658148"/>
                  </a:cubicBezTo>
                  <a:cubicBezTo>
                    <a:pt x="1465661" y="658148"/>
                    <a:pt x="1465661" y="658148"/>
                    <a:pt x="1465661" y="691965"/>
                  </a:cubicBezTo>
                  <a:cubicBezTo>
                    <a:pt x="1465661" y="694329"/>
                    <a:pt x="1467623" y="696240"/>
                    <a:pt x="1470050" y="696240"/>
                  </a:cubicBezTo>
                  <a:cubicBezTo>
                    <a:pt x="1470050" y="696240"/>
                    <a:pt x="1470050" y="696240"/>
                    <a:pt x="1506361" y="696240"/>
                  </a:cubicBezTo>
                  <a:cubicBezTo>
                    <a:pt x="1508787" y="696240"/>
                    <a:pt x="1510750" y="694329"/>
                    <a:pt x="1510750" y="691965"/>
                  </a:cubicBezTo>
                  <a:cubicBezTo>
                    <a:pt x="1510750" y="691965"/>
                    <a:pt x="1510750" y="691965"/>
                    <a:pt x="1510750" y="658148"/>
                  </a:cubicBezTo>
                  <a:cubicBezTo>
                    <a:pt x="1510750" y="655783"/>
                    <a:pt x="1508787" y="653872"/>
                    <a:pt x="1506361" y="653872"/>
                  </a:cubicBezTo>
                  <a:cubicBezTo>
                    <a:pt x="1506361" y="653872"/>
                    <a:pt x="1506361" y="653872"/>
                    <a:pt x="1505793" y="653872"/>
                  </a:cubicBezTo>
                  <a:lnTo>
                    <a:pt x="1505396" y="653872"/>
                  </a:lnTo>
                  <a:lnTo>
                    <a:pt x="1505069" y="650636"/>
                  </a:lnTo>
                  <a:cubicBezTo>
                    <a:pt x="1503464" y="642792"/>
                    <a:pt x="1496524" y="636891"/>
                    <a:pt x="1488205" y="636891"/>
                  </a:cubicBezTo>
                  <a:close/>
                  <a:moveTo>
                    <a:pt x="1775436" y="636891"/>
                  </a:moveTo>
                  <a:cubicBezTo>
                    <a:pt x="1767117" y="636891"/>
                    <a:pt x="1760177" y="642792"/>
                    <a:pt x="1758572" y="650636"/>
                  </a:cubicBezTo>
                  <a:lnTo>
                    <a:pt x="1758246" y="653872"/>
                  </a:lnTo>
                  <a:lnTo>
                    <a:pt x="1757280" y="653872"/>
                  </a:lnTo>
                  <a:cubicBezTo>
                    <a:pt x="1754854" y="653872"/>
                    <a:pt x="1752892" y="655783"/>
                    <a:pt x="1752892" y="658148"/>
                  </a:cubicBezTo>
                  <a:cubicBezTo>
                    <a:pt x="1752892" y="658148"/>
                    <a:pt x="1752892" y="658148"/>
                    <a:pt x="1752892" y="691965"/>
                  </a:cubicBezTo>
                  <a:cubicBezTo>
                    <a:pt x="1752892" y="694329"/>
                    <a:pt x="1754854" y="696240"/>
                    <a:pt x="1757280" y="696240"/>
                  </a:cubicBezTo>
                  <a:cubicBezTo>
                    <a:pt x="1757280" y="696240"/>
                    <a:pt x="1757280" y="696240"/>
                    <a:pt x="1793591" y="696240"/>
                  </a:cubicBezTo>
                  <a:cubicBezTo>
                    <a:pt x="1796019" y="696240"/>
                    <a:pt x="1797980" y="694329"/>
                    <a:pt x="1797980" y="691965"/>
                  </a:cubicBezTo>
                  <a:cubicBezTo>
                    <a:pt x="1797980" y="691965"/>
                    <a:pt x="1797980" y="691965"/>
                    <a:pt x="1797980" y="658148"/>
                  </a:cubicBezTo>
                  <a:cubicBezTo>
                    <a:pt x="1797980" y="655783"/>
                    <a:pt x="1796019" y="653872"/>
                    <a:pt x="1793591" y="653872"/>
                  </a:cubicBezTo>
                  <a:cubicBezTo>
                    <a:pt x="1793591" y="653872"/>
                    <a:pt x="1793591" y="653872"/>
                    <a:pt x="1793023" y="653872"/>
                  </a:cubicBezTo>
                  <a:lnTo>
                    <a:pt x="1792626" y="653872"/>
                  </a:lnTo>
                  <a:lnTo>
                    <a:pt x="1792300" y="650636"/>
                  </a:lnTo>
                  <a:cubicBezTo>
                    <a:pt x="1790695" y="642792"/>
                    <a:pt x="1783754" y="636891"/>
                    <a:pt x="1775436" y="636891"/>
                  </a:cubicBezTo>
                  <a:close/>
                  <a:moveTo>
                    <a:pt x="1836922" y="636891"/>
                  </a:moveTo>
                  <a:cubicBezTo>
                    <a:pt x="1828603" y="636891"/>
                    <a:pt x="1821663" y="642792"/>
                    <a:pt x="1820058" y="650636"/>
                  </a:cubicBezTo>
                  <a:lnTo>
                    <a:pt x="1819731" y="653872"/>
                  </a:lnTo>
                  <a:lnTo>
                    <a:pt x="1818766" y="653872"/>
                  </a:lnTo>
                  <a:cubicBezTo>
                    <a:pt x="1816339" y="653872"/>
                    <a:pt x="1814377" y="655783"/>
                    <a:pt x="1814377" y="658148"/>
                  </a:cubicBezTo>
                  <a:cubicBezTo>
                    <a:pt x="1814377" y="658148"/>
                    <a:pt x="1814377" y="658148"/>
                    <a:pt x="1814377" y="691965"/>
                  </a:cubicBezTo>
                  <a:cubicBezTo>
                    <a:pt x="1814377" y="694329"/>
                    <a:pt x="1816339" y="696240"/>
                    <a:pt x="1818766" y="696240"/>
                  </a:cubicBezTo>
                  <a:cubicBezTo>
                    <a:pt x="1818766" y="696240"/>
                    <a:pt x="1818766" y="696240"/>
                    <a:pt x="1855077" y="696240"/>
                  </a:cubicBezTo>
                  <a:cubicBezTo>
                    <a:pt x="1857504" y="696240"/>
                    <a:pt x="1859466" y="694329"/>
                    <a:pt x="1859466" y="691965"/>
                  </a:cubicBezTo>
                  <a:cubicBezTo>
                    <a:pt x="1859466" y="691965"/>
                    <a:pt x="1859466" y="691965"/>
                    <a:pt x="1859466" y="658148"/>
                  </a:cubicBezTo>
                  <a:cubicBezTo>
                    <a:pt x="1859466" y="655783"/>
                    <a:pt x="1857504" y="653872"/>
                    <a:pt x="1855077" y="653872"/>
                  </a:cubicBezTo>
                  <a:cubicBezTo>
                    <a:pt x="1855077" y="653872"/>
                    <a:pt x="1855077" y="653872"/>
                    <a:pt x="1854509" y="653872"/>
                  </a:cubicBezTo>
                  <a:lnTo>
                    <a:pt x="1854112" y="653872"/>
                  </a:lnTo>
                  <a:lnTo>
                    <a:pt x="1853785" y="650636"/>
                  </a:lnTo>
                  <a:cubicBezTo>
                    <a:pt x="1852180" y="642792"/>
                    <a:pt x="1845240" y="636891"/>
                    <a:pt x="1836922" y="636891"/>
                  </a:cubicBezTo>
                  <a:close/>
                  <a:moveTo>
                    <a:pt x="1959943" y="636891"/>
                  </a:moveTo>
                  <a:cubicBezTo>
                    <a:pt x="1951624" y="636891"/>
                    <a:pt x="1944684" y="642792"/>
                    <a:pt x="1943079" y="650636"/>
                  </a:cubicBezTo>
                  <a:lnTo>
                    <a:pt x="1942753" y="653872"/>
                  </a:lnTo>
                  <a:lnTo>
                    <a:pt x="1941788" y="653872"/>
                  </a:lnTo>
                  <a:cubicBezTo>
                    <a:pt x="1939361" y="653872"/>
                    <a:pt x="1937399" y="655783"/>
                    <a:pt x="1937399" y="658148"/>
                  </a:cubicBezTo>
                  <a:cubicBezTo>
                    <a:pt x="1937399" y="658148"/>
                    <a:pt x="1937399" y="658148"/>
                    <a:pt x="1937399" y="691965"/>
                  </a:cubicBezTo>
                  <a:cubicBezTo>
                    <a:pt x="1937399" y="694329"/>
                    <a:pt x="1939361" y="696240"/>
                    <a:pt x="1941788" y="696240"/>
                  </a:cubicBezTo>
                  <a:cubicBezTo>
                    <a:pt x="1941788" y="696240"/>
                    <a:pt x="1941788" y="696240"/>
                    <a:pt x="1978098" y="696240"/>
                  </a:cubicBezTo>
                  <a:cubicBezTo>
                    <a:pt x="1980526" y="696240"/>
                    <a:pt x="1982487" y="694329"/>
                    <a:pt x="1982487" y="691965"/>
                  </a:cubicBezTo>
                  <a:cubicBezTo>
                    <a:pt x="1982487" y="691965"/>
                    <a:pt x="1982487" y="691965"/>
                    <a:pt x="1982487" y="658148"/>
                  </a:cubicBezTo>
                  <a:cubicBezTo>
                    <a:pt x="1982487" y="655783"/>
                    <a:pt x="1980526" y="653872"/>
                    <a:pt x="1978098" y="653872"/>
                  </a:cubicBezTo>
                  <a:cubicBezTo>
                    <a:pt x="1978098" y="653872"/>
                    <a:pt x="1978098" y="653872"/>
                    <a:pt x="1977531" y="653872"/>
                  </a:cubicBezTo>
                  <a:lnTo>
                    <a:pt x="1977133" y="653872"/>
                  </a:lnTo>
                  <a:lnTo>
                    <a:pt x="1976807" y="650636"/>
                  </a:lnTo>
                  <a:cubicBezTo>
                    <a:pt x="1975202" y="642792"/>
                    <a:pt x="1968261" y="636891"/>
                    <a:pt x="1959943" y="636891"/>
                  </a:cubicBezTo>
                  <a:close/>
                  <a:moveTo>
                    <a:pt x="2247173" y="636891"/>
                  </a:moveTo>
                  <a:cubicBezTo>
                    <a:pt x="2238854" y="636891"/>
                    <a:pt x="2231914" y="642792"/>
                    <a:pt x="2230309" y="650636"/>
                  </a:cubicBezTo>
                  <a:lnTo>
                    <a:pt x="2229983" y="653872"/>
                  </a:lnTo>
                  <a:lnTo>
                    <a:pt x="2229018" y="653872"/>
                  </a:lnTo>
                  <a:cubicBezTo>
                    <a:pt x="2226591" y="653872"/>
                    <a:pt x="2224629" y="655783"/>
                    <a:pt x="2224629" y="658148"/>
                  </a:cubicBezTo>
                  <a:cubicBezTo>
                    <a:pt x="2224629" y="658148"/>
                    <a:pt x="2224629" y="658148"/>
                    <a:pt x="2224629" y="691965"/>
                  </a:cubicBezTo>
                  <a:cubicBezTo>
                    <a:pt x="2224629" y="694329"/>
                    <a:pt x="2226591" y="696240"/>
                    <a:pt x="2229018" y="696240"/>
                  </a:cubicBezTo>
                  <a:cubicBezTo>
                    <a:pt x="2229018" y="696240"/>
                    <a:pt x="2229018" y="696240"/>
                    <a:pt x="2265329" y="696240"/>
                  </a:cubicBezTo>
                  <a:cubicBezTo>
                    <a:pt x="2267756" y="696240"/>
                    <a:pt x="2269717" y="694329"/>
                    <a:pt x="2269717" y="691965"/>
                  </a:cubicBezTo>
                  <a:cubicBezTo>
                    <a:pt x="2269717" y="691965"/>
                    <a:pt x="2269717" y="691965"/>
                    <a:pt x="2269717" y="658148"/>
                  </a:cubicBezTo>
                  <a:cubicBezTo>
                    <a:pt x="2269717" y="655783"/>
                    <a:pt x="2267756" y="653872"/>
                    <a:pt x="2265329" y="653872"/>
                  </a:cubicBezTo>
                  <a:cubicBezTo>
                    <a:pt x="2265329" y="653872"/>
                    <a:pt x="2265329" y="653872"/>
                    <a:pt x="2264761" y="653872"/>
                  </a:cubicBezTo>
                  <a:lnTo>
                    <a:pt x="2264363" y="653872"/>
                  </a:lnTo>
                  <a:lnTo>
                    <a:pt x="2264038" y="650636"/>
                  </a:lnTo>
                  <a:cubicBezTo>
                    <a:pt x="2262433" y="642792"/>
                    <a:pt x="2255492" y="636891"/>
                    <a:pt x="2247173" y="636891"/>
                  </a:cubicBezTo>
                  <a:close/>
                  <a:moveTo>
                    <a:pt x="18915" y="584256"/>
                  </a:moveTo>
                  <a:cubicBezTo>
                    <a:pt x="21756" y="583337"/>
                    <a:pt x="24431" y="584072"/>
                    <a:pt x="26772" y="585911"/>
                  </a:cubicBezTo>
                  <a:cubicBezTo>
                    <a:pt x="27607" y="586647"/>
                    <a:pt x="28277" y="587382"/>
                    <a:pt x="28945" y="588302"/>
                  </a:cubicBezTo>
                  <a:cubicBezTo>
                    <a:pt x="29446" y="589037"/>
                    <a:pt x="29948" y="589956"/>
                    <a:pt x="30450" y="590877"/>
                  </a:cubicBezTo>
                  <a:cubicBezTo>
                    <a:pt x="30784" y="591428"/>
                    <a:pt x="30951" y="592163"/>
                    <a:pt x="31118" y="592715"/>
                  </a:cubicBezTo>
                  <a:cubicBezTo>
                    <a:pt x="31453" y="593634"/>
                    <a:pt x="31620" y="594554"/>
                    <a:pt x="31787" y="595474"/>
                  </a:cubicBezTo>
                  <a:cubicBezTo>
                    <a:pt x="32289" y="596945"/>
                    <a:pt x="32456" y="598416"/>
                    <a:pt x="32456" y="600255"/>
                  </a:cubicBezTo>
                  <a:cubicBezTo>
                    <a:pt x="32456" y="601726"/>
                    <a:pt x="32289" y="603381"/>
                    <a:pt x="31787" y="605220"/>
                  </a:cubicBezTo>
                  <a:cubicBezTo>
                    <a:pt x="31453" y="606139"/>
                    <a:pt x="31286" y="606875"/>
                    <a:pt x="30951" y="607794"/>
                  </a:cubicBezTo>
                  <a:cubicBezTo>
                    <a:pt x="30617" y="608898"/>
                    <a:pt x="30116" y="609817"/>
                    <a:pt x="29446" y="610737"/>
                  </a:cubicBezTo>
                  <a:cubicBezTo>
                    <a:pt x="28778" y="611840"/>
                    <a:pt x="27942" y="612760"/>
                    <a:pt x="27106" y="613679"/>
                  </a:cubicBezTo>
                  <a:cubicBezTo>
                    <a:pt x="26270" y="614414"/>
                    <a:pt x="25267" y="615150"/>
                    <a:pt x="24097" y="615518"/>
                  </a:cubicBezTo>
                  <a:cubicBezTo>
                    <a:pt x="21088" y="616621"/>
                    <a:pt x="18245" y="616069"/>
                    <a:pt x="15738" y="613863"/>
                  </a:cubicBezTo>
                  <a:cubicBezTo>
                    <a:pt x="14902" y="613127"/>
                    <a:pt x="14233" y="612392"/>
                    <a:pt x="13565" y="611472"/>
                  </a:cubicBezTo>
                  <a:cubicBezTo>
                    <a:pt x="12896" y="610553"/>
                    <a:pt x="12394" y="609633"/>
                    <a:pt x="11893" y="608530"/>
                  </a:cubicBezTo>
                  <a:cubicBezTo>
                    <a:pt x="11726" y="607978"/>
                    <a:pt x="11558" y="607427"/>
                    <a:pt x="11224" y="607059"/>
                  </a:cubicBezTo>
                  <a:cubicBezTo>
                    <a:pt x="10890" y="606139"/>
                    <a:pt x="10555" y="605220"/>
                    <a:pt x="10389" y="604117"/>
                  </a:cubicBezTo>
                  <a:cubicBezTo>
                    <a:pt x="9887" y="600990"/>
                    <a:pt x="9887" y="597864"/>
                    <a:pt x="10722" y="594738"/>
                  </a:cubicBezTo>
                  <a:cubicBezTo>
                    <a:pt x="10890" y="594002"/>
                    <a:pt x="11057" y="593267"/>
                    <a:pt x="11392" y="592715"/>
                  </a:cubicBezTo>
                  <a:cubicBezTo>
                    <a:pt x="11726" y="591980"/>
                    <a:pt x="11893" y="591244"/>
                    <a:pt x="12227" y="590692"/>
                  </a:cubicBezTo>
                  <a:cubicBezTo>
                    <a:pt x="12729" y="589956"/>
                    <a:pt x="13064" y="589037"/>
                    <a:pt x="13732" y="588302"/>
                  </a:cubicBezTo>
                  <a:cubicBezTo>
                    <a:pt x="14401" y="587382"/>
                    <a:pt x="15237" y="586463"/>
                    <a:pt x="16240" y="585727"/>
                  </a:cubicBezTo>
                  <a:cubicBezTo>
                    <a:pt x="17076" y="585176"/>
                    <a:pt x="17911" y="584624"/>
                    <a:pt x="18915" y="584256"/>
                  </a:cubicBezTo>
                  <a:close/>
                  <a:moveTo>
                    <a:pt x="2300827" y="578264"/>
                  </a:moveTo>
                  <a:cubicBezTo>
                    <a:pt x="2303669" y="577344"/>
                    <a:pt x="2306344" y="578079"/>
                    <a:pt x="2308684" y="579918"/>
                  </a:cubicBezTo>
                  <a:cubicBezTo>
                    <a:pt x="2309520" y="580654"/>
                    <a:pt x="2310189" y="581389"/>
                    <a:pt x="2310857" y="582309"/>
                  </a:cubicBezTo>
                  <a:cubicBezTo>
                    <a:pt x="2311359" y="583045"/>
                    <a:pt x="2311860" y="583964"/>
                    <a:pt x="2312362" y="584884"/>
                  </a:cubicBezTo>
                  <a:cubicBezTo>
                    <a:pt x="2312696" y="585436"/>
                    <a:pt x="2312864" y="586171"/>
                    <a:pt x="2313031" y="586722"/>
                  </a:cubicBezTo>
                  <a:cubicBezTo>
                    <a:pt x="2313365" y="587642"/>
                    <a:pt x="2313532" y="588561"/>
                    <a:pt x="2313699" y="589481"/>
                  </a:cubicBezTo>
                  <a:cubicBezTo>
                    <a:pt x="2314201" y="590952"/>
                    <a:pt x="2314368" y="592423"/>
                    <a:pt x="2314368" y="594262"/>
                  </a:cubicBezTo>
                  <a:cubicBezTo>
                    <a:pt x="2314368" y="595733"/>
                    <a:pt x="2314201" y="597388"/>
                    <a:pt x="2313699" y="599227"/>
                  </a:cubicBezTo>
                  <a:cubicBezTo>
                    <a:pt x="2313365" y="600147"/>
                    <a:pt x="2313198" y="600882"/>
                    <a:pt x="2312864" y="601801"/>
                  </a:cubicBezTo>
                  <a:cubicBezTo>
                    <a:pt x="2312529" y="602905"/>
                    <a:pt x="2312028" y="603825"/>
                    <a:pt x="2311359" y="604744"/>
                  </a:cubicBezTo>
                  <a:cubicBezTo>
                    <a:pt x="2310690" y="605848"/>
                    <a:pt x="2309854" y="606767"/>
                    <a:pt x="2309019" y="607687"/>
                  </a:cubicBezTo>
                  <a:cubicBezTo>
                    <a:pt x="2308182" y="608422"/>
                    <a:pt x="2307180" y="609158"/>
                    <a:pt x="2306009" y="609525"/>
                  </a:cubicBezTo>
                  <a:cubicBezTo>
                    <a:pt x="2303000" y="610629"/>
                    <a:pt x="2300158" y="610077"/>
                    <a:pt x="2297650" y="607870"/>
                  </a:cubicBezTo>
                  <a:cubicBezTo>
                    <a:pt x="2296814" y="607134"/>
                    <a:pt x="2296145" y="606399"/>
                    <a:pt x="2295477" y="605480"/>
                  </a:cubicBezTo>
                  <a:cubicBezTo>
                    <a:pt x="2294808" y="604560"/>
                    <a:pt x="2294307" y="603641"/>
                    <a:pt x="2293806" y="602537"/>
                  </a:cubicBezTo>
                  <a:cubicBezTo>
                    <a:pt x="2293638" y="601986"/>
                    <a:pt x="2293471" y="601434"/>
                    <a:pt x="2293136" y="601066"/>
                  </a:cubicBezTo>
                  <a:cubicBezTo>
                    <a:pt x="2292802" y="600147"/>
                    <a:pt x="2292468" y="599227"/>
                    <a:pt x="2292300" y="598124"/>
                  </a:cubicBezTo>
                  <a:cubicBezTo>
                    <a:pt x="2291799" y="594997"/>
                    <a:pt x="2291799" y="591872"/>
                    <a:pt x="2292635" y="588745"/>
                  </a:cubicBezTo>
                  <a:cubicBezTo>
                    <a:pt x="2292802" y="588010"/>
                    <a:pt x="2292969" y="587274"/>
                    <a:pt x="2293304" y="586722"/>
                  </a:cubicBezTo>
                  <a:cubicBezTo>
                    <a:pt x="2293638" y="585987"/>
                    <a:pt x="2293806" y="585251"/>
                    <a:pt x="2294140" y="584700"/>
                  </a:cubicBezTo>
                  <a:cubicBezTo>
                    <a:pt x="2294641" y="583964"/>
                    <a:pt x="2294975" y="583045"/>
                    <a:pt x="2295644" y="582309"/>
                  </a:cubicBezTo>
                  <a:cubicBezTo>
                    <a:pt x="2296313" y="581389"/>
                    <a:pt x="2297149" y="580470"/>
                    <a:pt x="2298152" y="579735"/>
                  </a:cubicBezTo>
                  <a:cubicBezTo>
                    <a:pt x="2298988" y="579183"/>
                    <a:pt x="2299823" y="578632"/>
                    <a:pt x="2300827" y="578264"/>
                  </a:cubicBezTo>
                  <a:close/>
                  <a:moveTo>
                    <a:pt x="22592" y="573406"/>
                  </a:moveTo>
                  <a:cubicBezTo>
                    <a:pt x="19751" y="573222"/>
                    <a:pt x="16908" y="573774"/>
                    <a:pt x="14233" y="574877"/>
                  </a:cubicBezTo>
                  <a:cubicBezTo>
                    <a:pt x="12394" y="575613"/>
                    <a:pt x="10722" y="576716"/>
                    <a:pt x="9218" y="578004"/>
                  </a:cubicBezTo>
                  <a:cubicBezTo>
                    <a:pt x="8382" y="578739"/>
                    <a:pt x="7714" y="579475"/>
                    <a:pt x="6878" y="580210"/>
                  </a:cubicBezTo>
                  <a:cubicBezTo>
                    <a:pt x="6042" y="581130"/>
                    <a:pt x="5206" y="582233"/>
                    <a:pt x="4537" y="583153"/>
                  </a:cubicBezTo>
                  <a:cubicBezTo>
                    <a:pt x="4035" y="583888"/>
                    <a:pt x="3534" y="584808"/>
                    <a:pt x="3200" y="585543"/>
                  </a:cubicBezTo>
                  <a:cubicBezTo>
                    <a:pt x="2531" y="586647"/>
                    <a:pt x="2030" y="587934"/>
                    <a:pt x="1695" y="589221"/>
                  </a:cubicBezTo>
                  <a:cubicBezTo>
                    <a:pt x="1361" y="589956"/>
                    <a:pt x="1193" y="590877"/>
                    <a:pt x="1027" y="591612"/>
                  </a:cubicBezTo>
                  <a:cubicBezTo>
                    <a:pt x="692" y="592715"/>
                    <a:pt x="525" y="594002"/>
                    <a:pt x="357" y="595106"/>
                  </a:cubicBezTo>
                  <a:cubicBezTo>
                    <a:pt x="-144" y="598416"/>
                    <a:pt x="-144" y="601726"/>
                    <a:pt x="525" y="604852"/>
                  </a:cubicBezTo>
                  <a:cubicBezTo>
                    <a:pt x="692" y="605956"/>
                    <a:pt x="859" y="607059"/>
                    <a:pt x="1193" y="608162"/>
                  </a:cubicBezTo>
                  <a:cubicBezTo>
                    <a:pt x="1528" y="609082"/>
                    <a:pt x="1695" y="609817"/>
                    <a:pt x="2030" y="610737"/>
                  </a:cubicBezTo>
                  <a:cubicBezTo>
                    <a:pt x="2364" y="611289"/>
                    <a:pt x="2531" y="611840"/>
                    <a:pt x="2698" y="612392"/>
                  </a:cubicBezTo>
                  <a:cubicBezTo>
                    <a:pt x="3200" y="613495"/>
                    <a:pt x="3702" y="614414"/>
                    <a:pt x="4203" y="615334"/>
                  </a:cubicBezTo>
                  <a:cubicBezTo>
                    <a:pt x="4704" y="616069"/>
                    <a:pt x="5206" y="616805"/>
                    <a:pt x="5707" y="617540"/>
                  </a:cubicBezTo>
                  <a:cubicBezTo>
                    <a:pt x="6376" y="618461"/>
                    <a:pt x="7212" y="619379"/>
                    <a:pt x="8048" y="620115"/>
                  </a:cubicBezTo>
                  <a:cubicBezTo>
                    <a:pt x="8717" y="620851"/>
                    <a:pt x="9553" y="621403"/>
                    <a:pt x="10221" y="621954"/>
                  </a:cubicBezTo>
                  <a:cubicBezTo>
                    <a:pt x="11392" y="622874"/>
                    <a:pt x="12729" y="623609"/>
                    <a:pt x="14066" y="624161"/>
                  </a:cubicBezTo>
                  <a:cubicBezTo>
                    <a:pt x="15738" y="624897"/>
                    <a:pt x="17577" y="625448"/>
                    <a:pt x="19416" y="625632"/>
                  </a:cubicBezTo>
                  <a:cubicBezTo>
                    <a:pt x="19751" y="625632"/>
                    <a:pt x="19917" y="625632"/>
                    <a:pt x="20252" y="625816"/>
                  </a:cubicBezTo>
                  <a:cubicBezTo>
                    <a:pt x="21255" y="625816"/>
                    <a:pt x="22091" y="625816"/>
                    <a:pt x="23094" y="625816"/>
                  </a:cubicBezTo>
                  <a:cubicBezTo>
                    <a:pt x="23094" y="625632"/>
                    <a:pt x="23261" y="625816"/>
                    <a:pt x="23261" y="625816"/>
                  </a:cubicBezTo>
                  <a:cubicBezTo>
                    <a:pt x="26438" y="625448"/>
                    <a:pt x="29446" y="624345"/>
                    <a:pt x="32121" y="622506"/>
                  </a:cubicBezTo>
                  <a:cubicBezTo>
                    <a:pt x="33292" y="621770"/>
                    <a:pt x="34294" y="620851"/>
                    <a:pt x="35298" y="619747"/>
                  </a:cubicBezTo>
                  <a:cubicBezTo>
                    <a:pt x="36134" y="619012"/>
                    <a:pt x="36803" y="618093"/>
                    <a:pt x="37471" y="617173"/>
                  </a:cubicBezTo>
                  <a:cubicBezTo>
                    <a:pt x="37973" y="616437"/>
                    <a:pt x="38475" y="615702"/>
                    <a:pt x="38976" y="614782"/>
                  </a:cubicBezTo>
                  <a:cubicBezTo>
                    <a:pt x="39478" y="613863"/>
                    <a:pt x="39979" y="612943"/>
                    <a:pt x="40480" y="611840"/>
                  </a:cubicBezTo>
                  <a:cubicBezTo>
                    <a:pt x="40815" y="611104"/>
                    <a:pt x="40982" y="610553"/>
                    <a:pt x="41316" y="609817"/>
                  </a:cubicBezTo>
                  <a:cubicBezTo>
                    <a:pt x="41651" y="609082"/>
                    <a:pt x="41818" y="608346"/>
                    <a:pt x="41985" y="607610"/>
                  </a:cubicBezTo>
                  <a:cubicBezTo>
                    <a:pt x="42319" y="606323"/>
                    <a:pt x="42487" y="605036"/>
                    <a:pt x="42821" y="603749"/>
                  </a:cubicBezTo>
                  <a:cubicBezTo>
                    <a:pt x="42988" y="603013"/>
                    <a:pt x="42988" y="602461"/>
                    <a:pt x="42988" y="601726"/>
                  </a:cubicBezTo>
                  <a:cubicBezTo>
                    <a:pt x="42821" y="602278"/>
                    <a:pt x="42654" y="602094"/>
                    <a:pt x="42821" y="601910"/>
                  </a:cubicBezTo>
                  <a:cubicBezTo>
                    <a:pt x="42821" y="600623"/>
                    <a:pt x="42821" y="599335"/>
                    <a:pt x="42821" y="598048"/>
                  </a:cubicBezTo>
                  <a:cubicBezTo>
                    <a:pt x="42821" y="598048"/>
                    <a:pt x="42821" y="598048"/>
                    <a:pt x="42821" y="597864"/>
                  </a:cubicBezTo>
                  <a:cubicBezTo>
                    <a:pt x="42821" y="596761"/>
                    <a:pt x="42654" y="595842"/>
                    <a:pt x="42487" y="594738"/>
                  </a:cubicBezTo>
                  <a:cubicBezTo>
                    <a:pt x="42152" y="593451"/>
                    <a:pt x="42152" y="592163"/>
                    <a:pt x="41651" y="591060"/>
                  </a:cubicBezTo>
                  <a:cubicBezTo>
                    <a:pt x="41316" y="590324"/>
                    <a:pt x="41149" y="589589"/>
                    <a:pt x="40982" y="588853"/>
                  </a:cubicBezTo>
                  <a:cubicBezTo>
                    <a:pt x="40480" y="587750"/>
                    <a:pt x="39979" y="586463"/>
                    <a:pt x="39478" y="585359"/>
                  </a:cubicBezTo>
                  <a:cubicBezTo>
                    <a:pt x="38976" y="584440"/>
                    <a:pt x="38475" y="583705"/>
                    <a:pt x="37973" y="582785"/>
                  </a:cubicBezTo>
                  <a:cubicBezTo>
                    <a:pt x="37471" y="582049"/>
                    <a:pt x="36969" y="581314"/>
                    <a:pt x="36468" y="580762"/>
                  </a:cubicBezTo>
                  <a:cubicBezTo>
                    <a:pt x="35967" y="580210"/>
                    <a:pt x="35465" y="579659"/>
                    <a:pt x="34964" y="579107"/>
                  </a:cubicBezTo>
                  <a:cubicBezTo>
                    <a:pt x="33960" y="578187"/>
                    <a:pt x="32957" y="577268"/>
                    <a:pt x="31787" y="576533"/>
                  </a:cubicBezTo>
                  <a:cubicBezTo>
                    <a:pt x="30951" y="575981"/>
                    <a:pt x="29948" y="575429"/>
                    <a:pt x="29113" y="575062"/>
                  </a:cubicBezTo>
                  <a:cubicBezTo>
                    <a:pt x="27106" y="574142"/>
                    <a:pt x="24932" y="573590"/>
                    <a:pt x="22592" y="573406"/>
                  </a:cubicBezTo>
                  <a:close/>
                  <a:moveTo>
                    <a:pt x="2304505" y="567413"/>
                  </a:moveTo>
                  <a:cubicBezTo>
                    <a:pt x="2301662" y="567230"/>
                    <a:pt x="2298821" y="567781"/>
                    <a:pt x="2296145" y="568885"/>
                  </a:cubicBezTo>
                  <a:cubicBezTo>
                    <a:pt x="2294307" y="569620"/>
                    <a:pt x="2292635" y="570724"/>
                    <a:pt x="2291130" y="572011"/>
                  </a:cubicBezTo>
                  <a:cubicBezTo>
                    <a:pt x="2290294" y="572746"/>
                    <a:pt x="2289626" y="573482"/>
                    <a:pt x="2288790" y="574217"/>
                  </a:cubicBezTo>
                  <a:cubicBezTo>
                    <a:pt x="2287954" y="575137"/>
                    <a:pt x="2287118" y="576241"/>
                    <a:pt x="2286449" y="577160"/>
                  </a:cubicBezTo>
                  <a:cubicBezTo>
                    <a:pt x="2285948" y="577896"/>
                    <a:pt x="2285446" y="578815"/>
                    <a:pt x="2285112" y="579550"/>
                  </a:cubicBezTo>
                  <a:cubicBezTo>
                    <a:pt x="2284443" y="580654"/>
                    <a:pt x="2283942" y="581941"/>
                    <a:pt x="2283607" y="583229"/>
                  </a:cubicBezTo>
                  <a:cubicBezTo>
                    <a:pt x="2283273" y="583964"/>
                    <a:pt x="2283106" y="584884"/>
                    <a:pt x="2282938" y="585619"/>
                  </a:cubicBezTo>
                  <a:cubicBezTo>
                    <a:pt x="2282605" y="586722"/>
                    <a:pt x="2282437" y="588010"/>
                    <a:pt x="2282270" y="589113"/>
                  </a:cubicBezTo>
                  <a:cubicBezTo>
                    <a:pt x="2281768" y="592423"/>
                    <a:pt x="2281768" y="595733"/>
                    <a:pt x="2282437" y="598859"/>
                  </a:cubicBezTo>
                  <a:cubicBezTo>
                    <a:pt x="2282605" y="599963"/>
                    <a:pt x="2282771" y="601066"/>
                    <a:pt x="2283106" y="602169"/>
                  </a:cubicBezTo>
                  <a:cubicBezTo>
                    <a:pt x="2283440" y="603089"/>
                    <a:pt x="2283607" y="603825"/>
                    <a:pt x="2283942" y="604744"/>
                  </a:cubicBezTo>
                  <a:cubicBezTo>
                    <a:pt x="2284276" y="605296"/>
                    <a:pt x="2284443" y="605848"/>
                    <a:pt x="2284610" y="606399"/>
                  </a:cubicBezTo>
                  <a:cubicBezTo>
                    <a:pt x="2285112" y="607502"/>
                    <a:pt x="2285613" y="608422"/>
                    <a:pt x="2286115" y="609341"/>
                  </a:cubicBezTo>
                  <a:cubicBezTo>
                    <a:pt x="2286617" y="610077"/>
                    <a:pt x="2287118" y="610813"/>
                    <a:pt x="2287620" y="611548"/>
                  </a:cubicBezTo>
                  <a:cubicBezTo>
                    <a:pt x="2288288" y="612468"/>
                    <a:pt x="2289124" y="613387"/>
                    <a:pt x="2289960" y="614123"/>
                  </a:cubicBezTo>
                  <a:cubicBezTo>
                    <a:pt x="2290629" y="614858"/>
                    <a:pt x="2291465" y="615410"/>
                    <a:pt x="2292133" y="615962"/>
                  </a:cubicBezTo>
                  <a:cubicBezTo>
                    <a:pt x="2293304" y="616881"/>
                    <a:pt x="2294641" y="617617"/>
                    <a:pt x="2295979" y="618168"/>
                  </a:cubicBezTo>
                  <a:cubicBezTo>
                    <a:pt x="2297650" y="618904"/>
                    <a:pt x="2299489" y="619456"/>
                    <a:pt x="2301328" y="619639"/>
                  </a:cubicBezTo>
                  <a:cubicBezTo>
                    <a:pt x="2301662" y="619639"/>
                    <a:pt x="2301830" y="619639"/>
                    <a:pt x="2302164" y="619824"/>
                  </a:cubicBezTo>
                  <a:cubicBezTo>
                    <a:pt x="2303167" y="619824"/>
                    <a:pt x="2304003" y="619824"/>
                    <a:pt x="2305006" y="619824"/>
                  </a:cubicBezTo>
                  <a:cubicBezTo>
                    <a:pt x="2305006" y="619639"/>
                    <a:pt x="2305173" y="619824"/>
                    <a:pt x="2305173" y="619824"/>
                  </a:cubicBezTo>
                  <a:cubicBezTo>
                    <a:pt x="2308349" y="619456"/>
                    <a:pt x="2311359" y="618352"/>
                    <a:pt x="2314034" y="616513"/>
                  </a:cubicBezTo>
                  <a:cubicBezTo>
                    <a:pt x="2315204" y="615777"/>
                    <a:pt x="2316207" y="614858"/>
                    <a:pt x="2317210" y="613755"/>
                  </a:cubicBezTo>
                  <a:cubicBezTo>
                    <a:pt x="2318046" y="613020"/>
                    <a:pt x="2318715" y="612100"/>
                    <a:pt x="2319384" y="611180"/>
                  </a:cubicBezTo>
                  <a:cubicBezTo>
                    <a:pt x="2319885" y="610445"/>
                    <a:pt x="2320386" y="609709"/>
                    <a:pt x="2320888" y="608790"/>
                  </a:cubicBezTo>
                  <a:cubicBezTo>
                    <a:pt x="2321390" y="607870"/>
                    <a:pt x="2321891" y="606951"/>
                    <a:pt x="2322393" y="605848"/>
                  </a:cubicBezTo>
                  <a:cubicBezTo>
                    <a:pt x="2322727" y="605112"/>
                    <a:pt x="2322894" y="604560"/>
                    <a:pt x="2323229" y="603825"/>
                  </a:cubicBezTo>
                  <a:cubicBezTo>
                    <a:pt x="2323563" y="603089"/>
                    <a:pt x="2323730" y="602353"/>
                    <a:pt x="2323897" y="601618"/>
                  </a:cubicBezTo>
                  <a:cubicBezTo>
                    <a:pt x="2324231" y="600330"/>
                    <a:pt x="2324399" y="599044"/>
                    <a:pt x="2324733" y="597756"/>
                  </a:cubicBezTo>
                  <a:cubicBezTo>
                    <a:pt x="2324900" y="597021"/>
                    <a:pt x="2324900" y="596469"/>
                    <a:pt x="2324900" y="595733"/>
                  </a:cubicBezTo>
                  <a:cubicBezTo>
                    <a:pt x="2324733" y="596285"/>
                    <a:pt x="2324566" y="596101"/>
                    <a:pt x="2324733" y="595917"/>
                  </a:cubicBezTo>
                  <a:cubicBezTo>
                    <a:pt x="2324733" y="594630"/>
                    <a:pt x="2324733" y="593343"/>
                    <a:pt x="2324733" y="592055"/>
                  </a:cubicBezTo>
                  <a:cubicBezTo>
                    <a:pt x="2324733" y="592055"/>
                    <a:pt x="2324733" y="592055"/>
                    <a:pt x="2324733" y="591872"/>
                  </a:cubicBezTo>
                  <a:cubicBezTo>
                    <a:pt x="2324733" y="590768"/>
                    <a:pt x="2324566" y="589849"/>
                    <a:pt x="2324399" y="588745"/>
                  </a:cubicBezTo>
                  <a:cubicBezTo>
                    <a:pt x="2324065" y="587458"/>
                    <a:pt x="2324065" y="586171"/>
                    <a:pt x="2323563" y="585068"/>
                  </a:cubicBezTo>
                  <a:cubicBezTo>
                    <a:pt x="2323229" y="584332"/>
                    <a:pt x="2323061" y="583596"/>
                    <a:pt x="2322894" y="582861"/>
                  </a:cubicBezTo>
                  <a:cubicBezTo>
                    <a:pt x="2322393" y="581757"/>
                    <a:pt x="2321891" y="580470"/>
                    <a:pt x="2321390" y="579367"/>
                  </a:cubicBezTo>
                  <a:cubicBezTo>
                    <a:pt x="2320888" y="578447"/>
                    <a:pt x="2320386" y="577712"/>
                    <a:pt x="2319885" y="576792"/>
                  </a:cubicBezTo>
                  <a:cubicBezTo>
                    <a:pt x="2319384" y="576057"/>
                    <a:pt x="2318882" y="575321"/>
                    <a:pt x="2318380" y="574769"/>
                  </a:cubicBezTo>
                  <a:cubicBezTo>
                    <a:pt x="2317879" y="574217"/>
                    <a:pt x="2317378" y="573666"/>
                    <a:pt x="2316876" y="573114"/>
                  </a:cubicBezTo>
                  <a:cubicBezTo>
                    <a:pt x="2315872" y="572195"/>
                    <a:pt x="2314869" y="571275"/>
                    <a:pt x="2313699" y="570540"/>
                  </a:cubicBezTo>
                  <a:cubicBezTo>
                    <a:pt x="2312864" y="569988"/>
                    <a:pt x="2311860" y="569437"/>
                    <a:pt x="2311024" y="569069"/>
                  </a:cubicBezTo>
                  <a:cubicBezTo>
                    <a:pt x="2309019" y="568149"/>
                    <a:pt x="2306845" y="567598"/>
                    <a:pt x="2304505" y="567413"/>
                  </a:cubicBezTo>
                  <a:close/>
                  <a:moveTo>
                    <a:pt x="2300827" y="505363"/>
                  </a:moveTo>
                  <a:cubicBezTo>
                    <a:pt x="2303669" y="504443"/>
                    <a:pt x="2306344" y="505178"/>
                    <a:pt x="2308684" y="507017"/>
                  </a:cubicBezTo>
                  <a:cubicBezTo>
                    <a:pt x="2309520" y="507753"/>
                    <a:pt x="2310189" y="508488"/>
                    <a:pt x="2310857" y="509408"/>
                  </a:cubicBezTo>
                  <a:cubicBezTo>
                    <a:pt x="2311359" y="510144"/>
                    <a:pt x="2311860" y="511063"/>
                    <a:pt x="2312362" y="511983"/>
                  </a:cubicBezTo>
                  <a:cubicBezTo>
                    <a:pt x="2312696" y="512535"/>
                    <a:pt x="2312864" y="513270"/>
                    <a:pt x="2313031" y="513821"/>
                  </a:cubicBezTo>
                  <a:cubicBezTo>
                    <a:pt x="2313365" y="514741"/>
                    <a:pt x="2313532" y="515660"/>
                    <a:pt x="2313699" y="516580"/>
                  </a:cubicBezTo>
                  <a:cubicBezTo>
                    <a:pt x="2314201" y="518051"/>
                    <a:pt x="2314369" y="519522"/>
                    <a:pt x="2314369" y="521361"/>
                  </a:cubicBezTo>
                  <a:cubicBezTo>
                    <a:pt x="2314369" y="522832"/>
                    <a:pt x="2314201" y="524487"/>
                    <a:pt x="2313699" y="526326"/>
                  </a:cubicBezTo>
                  <a:cubicBezTo>
                    <a:pt x="2313365" y="527246"/>
                    <a:pt x="2313198" y="527981"/>
                    <a:pt x="2312864" y="528900"/>
                  </a:cubicBezTo>
                  <a:cubicBezTo>
                    <a:pt x="2312530" y="530004"/>
                    <a:pt x="2312028" y="530924"/>
                    <a:pt x="2311359" y="531843"/>
                  </a:cubicBezTo>
                  <a:cubicBezTo>
                    <a:pt x="2310690" y="532947"/>
                    <a:pt x="2309854" y="533866"/>
                    <a:pt x="2309019" y="534786"/>
                  </a:cubicBezTo>
                  <a:cubicBezTo>
                    <a:pt x="2308182" y="535521"/>
                    <a:pt x="2307180" y="536257"/>
                    <a:pt x="2306009" y="536624"/>
                  </a:cubicBezTo>
                  <a:cubicBezTo>
                    <a:pt x="2303000" y="537728"/>
                    <a:pt x="2300158" y="537176"/>
                    <a:pt x="2297650" y="534969"/>
                  </a:cubicBezTo>
                  <a:cubicBezTo>
                    <a:pt x="2296814" y="534233"/>
                    <a:pt x="2296145" y="533498"/>
                    <a:pt x="2295477" y="532579"/>
                  </a:cubicBezTo>
                  <a:cubicBezTo>
                    <a:pt x="2294808" y="531659"/>
                    <a:pt x="2294307" y="530740"/>
                    <a:pt x="2293806" y="529636"/>
                  </a:cubicBezTo>
                  <a:cubicBezTo>
                    <a:pt x="2293638" y="529085"/>
                    <a:pt x="2293471" y="528533"/>
                    <a:pt x="2293136" y="528165"/>
                  </a:cubicBezTo>
                  <a:cubicBezTo>
                    <a:pt x="2292802" y="527246"/>
                    <a:pt x="2292468" y="526326"/>
                    <a:pt x="2292300" y="525223"/>
                  </a:cubicBezTo>
                  <a:cubicBezTo>
                    <a:pt x="2291799" y="522096"/>
                    <a:pt x="2291799" y="518971"/>
                    <a:pt x="2292635" y="515844"/>
                  </a:cubicBezTo>
                  <a:cubicBezTo>
                    <a:pt x="2292802" y="515109"/>
                    <a:pt x="2292969" y="514373"/>
                    <a:pt x="2293304" y="513821"/>
                  </a:cubicBezTo>
                  <a:cubicBezTo>
                    <a:pt x="2293638" y="513086"/>
                    <a:pt x="2293806" y="512350"/>
                    <a:pt x="2294140" y="511799"/>
                  </a:cubicBezTo>
                  <a:cubicBezTo>
                    <a:pt x="2294641" y="511063"/>
                    <a:pt x="2294975" y="510144"/>
                    <a:pt x="2295644" y="509408"/>
                  </a:cubicBezTo>
                  <a:cubicBezTo>
                    <a:pt x="2296313" y="508488"/>
                    <a:pt x="2297149" y="507569"/>
                    <a:pt x="2298152" y="506834"/>
                  </a:cubicBezTo>
                  <a:cubicBezTo>
                    <a:pt x="2298988" y="506282"/>
                    <a:pt x="2299823" y="505730"/>
                    <a:pt x="2300827" y="505363"/>
                  </a:cubicBezTo>
                  <a:close/>
                  <a:moveTo>
                    <a:pt x="23053" y="502137"/>
                  </a:moveTo>
                  <a:cubicBezTo>
                    <a:pt x="22133" y="502137"/>
                    <a:pt x="21214" y="501953"/>
                    <a:pt x="20294" y="502137"/>
                  </a:cubicBezTo>
                  <a:cubicBezTo>
                    <a:pt x="19006" y="502321"/>
                    <a:pt x="17903" y="502873"/>
                    <a:pt x="17168" y="503792"/>
                  </a:cubicBezTo>
                  <a:cubicBezTo>
                    <a:pt x="16064" y="504895"/>
                    <a:pt x="15513" y="506366"/>
                    <a:pt x="15696" y="508021"/>
                  </a:cubicBezTo>
                  <a:cubicBezTo>
                    <a:pt x="15696" y="508205"/>
                    <a:pt x="15696" y="508205"/>
                    <a:pt x="15696" y="508389"/>
                  </a:cubicBezTo>
                  <a:cubicBezTo>
                    <a:pt x="15696" y="520342"/>
                    <a:pt x="15696" y="532296"/>
                    <a:pt x="15696" y="544433"/>
                  </a:cubicBezTo>
                  <a:cubicBezTo>
                    <a:pt x="15696" y="544800"/>
                    <a:pt x="15696" y="544800"/>
                    <a:pt x="15329" y="544800"/>
                  </a:cubicBezTo>
                  <a:cubicBezTo>
                    <a:pt x="13674" y="544800"/>
                    <a:pt x="12019" y="544800"/>
                    <a:pt x="10364" y="544800"/>
                  </a:cubicBezTo>
                  <a:cubicBezTo>
                    <a:pt x="9445" y="544800"/>
                    <a:pt x="8525" y="545168"/>
                    <a:pt x="7605" y="545536"/>
                  </a:cubicBezTo>
                  <a:cubicBezTo>
                    <a:pt x="5951" y="546639"/>
                    <a:pt x="5031" y="548110"/>
                    <a:pt x="5031" y="550133"/>
                  </a:cubicBezTo>
                  <a:cubicBezTo>
                    <a:pt x="5031" y="551605"/>
                    <a:pt x="5583" y="553076"/>
                    <a:pt x="6870" y="553995"/>
                  </a:cubicBezTo>
                  <a:cubicBezTo>
                    <a:pt x="7605" y="554547"/>
                    <a:pt x="8525" y="555098"/>
                    <a:pt x="9628" y="555282"/>
                  </a:cubicBezTo>
                  <a:cubicBezTo>
                    <a:pt x="9628" y="555282"/>
                    <a:pt x="9812" y="555282"/>
                    <a:pt x="9812" y="555282"/>
                  </a:cubicBezTo>
                  <a:cubicBezTo>
                    <a:pt x="9812" y="555282"/>
                    <a:pt x="9996" y="555282"/>
                    <a:pt x="9996" y="555282"/>
                  </a:cubicBezTo>
                  <a:cubicBezTo>
                    <a:pt x="9996" y="555098"/>
                    <a:pt x="10180" y="555282"/>
                    <a:pt x="10364" y="555282"/>
                  </a:cubicBezTo>
                  <a:cubicBezTo>
                    <a:pt x="17720" y="555282"/>
                    <a:pt x="25075" y="555282"/>
                    <a:pt x="32247" y="555282"/>
                  </a:cubicBezTo>
                  <a:cubicBezTo>
                    <a:pt x="32431" y="555282"/>
                    <a:pt x="32431" y="555282"/>
                    <a:pt x="32615" y="555282"/>
                  </a:cubicBezTo>
                  <a:cubicBezTo>
                    <a:pt x="32799" y="555282"/>
                    <a:pt x="32982" y="555282"/>
                    <a:pt x="33167" y="555282"/>
                  </a:cubicBezTo>
                  <a:cubicBezTo>
                    <a:pt x="33350" y="555098"/>
                    <a:pt x="33534" y="555098"/>
                    <a:pt x="33718" y="555098"/>
                  </a:cubicBezTo>
                  <a:cubicBezTo>
                    <a:pt x="34638" y="554914"/>
                    <a:pt x="35373" y="554362"/>
                    <a:pt x="36109" y="553811"/>
                  </a:cubicBezTo>
                  <a:cubicBezTo>
                    <a:pt x="37212" y="552708"/>
                    <a:pt x="37764" y="551420"/>
                    <a:pt x="37764" y="549949"/>
                  </a:cubicBezTo>
                  <a:cubicBezTo>
                    <a:pt x="37764" y="548662"/>
                    <a:pt x="37396" y="547375"/>
                    <a:pt x="36293" y="546455"/>
                  </a:cubicBezTo>
                  <a:cubicBezTo>
                    <a:pt x="35189" y="545352"/>
                    <a:pt x="33902" y="544800"/>
                    <a:pt x="32431" y="544800"/>
                  </a:cubicBezTo>
                  <a:cubicBezTo>
                    <a:pt x="30592" y="544800"/>
                    <a:pt x="28753" y="544800"/>
                    <a:pt x="27098" y="544800"/>
                  </a:cubicBezTo>
                  <a:cubicBezTo>
                    <a:pt x="26914" y="544800"/>
                    <a:pt x="26730" y="544800"/>
                    <a:pt x="26730" y="544433"/>
                  </a:cubicBezTo>
                  <a:cubicBezTo>
                    <a:pt x="26730" y="533950"/>
                    <a:pt x="26730" y="523653"/>
                    <a:pt x="26730" y="513170"/>
                  </a:cubicBezTo>
                  <a:cubicBezTo>
                    <a:pt x="26730" y="512987"/>
                    <a:pt x="26730" y="512802"/>
                    <a:pt x="27098" y="512802"/>
                  </a:cubicBezTo>
                  <a:cubicBezTo>
                    <a:pt x="28385" y="512802"/>
                    <a:pt x="29857" y="512802"/>
                    <a:pt x="31143" y="512802"/>
                  </a:cubicBezTo>
                  <a:cubicBezTo>
                    <a:pt x="33350" y="512802"/>
                    <a:pt x="35005" y="511699"/>
                    <a:pt x="36109" y="509677"/>
                  </a:cubicBezTo>
                  <a:cubicBezTo>
                    <a:pt x="36661" y="508573"/>
                    <a:pt x="36661" y="507286"/>
                    <a:pt x="36293" y="505815"/>
                  </a:cubicBezTo>
                  <a:cubicBezTo>
                    <a:pt x="35557" y="503792"/>
                    <a:pt x="33534" y="502321"/>
                    <a:pt x="31328" y="502321"/>
                  </a:cubicBezTo>
                  <a:cubicBezTo>
                    <a:pt x="28569" y="502321"/>
                    <a:pt x="25810" y="502137"/>
                    <a:pt x="23053" y="502137"/>
                  </a:cubicBezTo>
                  <a:close/>
                  <a:moveTo>
                    <a:pt x="2304505" y="494512"/>
                  </a:moveTo>
                  <a:cubicBezTo>
                    <a:pt x="2301662" y="494329"/>
                    <a:pt x="2298821" y="494880"/>
                    <a:pt x="2296145" y="495984"/>
                  </a:cubicBezTo>
                  <a:cubicBezTo>
                    <a:pt x="2294307" y="496719"/>
                    <a:pt x="2292635" y="497823"/>
                    <a:pt x="2291130" y="499110"/>
                  </a:cubicBezTo>
                  <a:cubicBezTo>
                    <a:pt x="2290294" y="499845"/>
                    <a:pt x="2289626" y="500581"/>
                    <a:pt x="2288790" y="501316"/>
                  </a:cubicBezTo>
                  <a:cubicBezTo>
                    <a:pt x="2287954" y="502236"/>
                    <a:pt x="2287118" y="503340"/>
                    <a:pt x="2286449" y="504259"/>
                  </a:cubicBezTo>
                  <a:cubicBezTo>
                    <a:pt x="2285948" y="504995"/>
                    <a:pt x="2285446" y="505914"/>
                    <a:pt x="2285112" y="506649"/>
                  </a:cubicBezTo>
                  <a:cubicBezTo>
                    <a:pt x="2284443" y="507753"/>
                    <a:pt x="2283942" y="509040"/>
                    <a:pt x="2283607" y="510327"/>
                  </a:cubicBezTo>
                  <a:cubicBezTo>
                    <a:pt x="2283273" y="511063"/>
                    <a:pt x="2283106" y="511983"/>
                    <a:pt x="2282938" y="512718"/>
                  </a:cubicBezTo>
                  <a:cubicBezTo>
                    <a:pt x="2282605" y="513821"/>
                    <a:pt x="2282437" y="515109"/>
                    <a:pt x="2282270" y="516212"/>
                  </a:cubicBezTo>
                  <a:cubicBezTo>
                    <a:pt x="2281768" y="519522"/>
                    <a:pt x="2281768" y="522832"/>
                    <a:pt x="2282437" y="525958"/>
                  </a:cubicBezTo>
                  <a:cubicBezTo>
                    <a:pt x="2282605" y="527062"/>
                    <a:pt x="2282771" y="528165"/>
                    <a:pt x="2283106" y="529268"/>
                  </a:cubicBezTo>
                  <a:cubicBezTo>
                    <a:pt x="2283440" y="530188"/>
                    <a:pt x="2283607" y="530924"/>
                    <a:pt x="2283942" y="531843"/>
                  </a:cubicBezTo>
                  <a:cubicBezTo>
                    <a:pt x="2284276" y="532395"/>
                    <a:pt x="2284443" y="532947"/>
                    <a:pt x="2284610" y="533498"/>
                  </a:cubicBezTo>
                  <a:cubicBezTo>
                    <a:pt x="2285112" y="534601"/>
                    <a:pt x="2285613" y="535521"/>
                    <a:pt x="2286115" y="536440"/>
                  </a:cubicBezTo>
                  <a:cubicBezTo>
                    <a:pt x="2286617" y="537176"/>
                    <a:pt x="2287118" y="537911"/>
                    <a:pt x="2287620" y="538647"/>
                  </a:cubicBezTo>
                  <a:cubicBezTo>
                    <a:pt x="2288288" y="539567"/>
                    <a:pt x="2289124" y="540486"/>
                    <a:pt x="2289960" y="541222"/>
                  </a:cubicBezTo>
                  <a:cubicBezTo>
                    <a:pt x="2290629" y="541957"/>
                    <a:pt x="2291465" y="542509"/>
                    <a:pt x="2292133" y="543061"/>
                  </a:cubicBezTo>
                  <a:cubicBezTo>
                    <a:pt x="2293304" y="543980"/>
                    <a:pt x="2294641" y="544716"/>
                    <a:pt x="2295979" y="545267"/>
                  </a:cubicBezTo>
                  <a:cubicBezTo>
                    <a:pt x="2297650" y="546003"/>
                    <a:pt x="2299489" y="546555"/>
                    <a:pt x="2301328" y="546738"/>
                  </a:cubicBezTo>
                  <a:cubicBezTo>
                    <a:pt x="2301662" y="546738"/>
                    <a:pt x="2301830" y="546738"/>
                    <a:pt x="2302164" y="546923"/>
                  </a:cubicBezTo>
                  <a:cubicBezTo>
                    <a:pt x="2303167" y="546923"/>
                    <a:pt x="2304003" y="546923"/>
                    <a:pt x="2305006" y="546923"/>
                  </a:cubicBezTo>
                  <a:cubicBezTo>
                    <a:pt x="2305006" y="546738"/>
                    <a:pt x="2305173" y="546923"/>
                    <a:pt x="2305173" y="546923"/>
                  </a:cubicBezTo>
                  <a:cubicBezTo>
                    <a:pt x="2308349" y="546555"/>
                    <a:pt x="2311359" y="545451"/>
                    <a:pt x="2314034" y="543612"/>
                  </a:cubicBezTo>
                  <a:cubicBezTo>
                    <a:pt x="2315204" y="542876"/>
                    <a:pt x="2316207" y="541957"/>
                    <a:pt x="2317210" y="540854"/>
                  </a:cubicBezTo>
                  <a:cubicBezTo>
                    <a:pt x="2318046" y="540119"/>
                    <a:pt x="2318715" y="539199"/>
                    <a:pt x="2319384" y="538279"/>
                  </a:cubicBezTo>
                  <a:cubicBezTo>
                    <a:pt x="2319885" y="537544"/>
                    <a:pt x="2320386" y="536808"/>
                    <a:pt x="2320888" y="535889"/>
                  </a:cubicBezTo>
                  <a:cubicBezTo>
                    <a:pt x="2321390" y="534969"/>
                    <a:pt x="2321891" y="534050"/>
                    <a:pt x="2322393" y="532947"/>
                  </a:cubicBezTo>
                  <a:cubicBezTo>
                    <a:pt x="2322727" y="532211"/>
                    <a:pt x="2322894" y="531659"/>
                    <a:pt x="2323229" y="530924"/>
                  </a:cubicBezTo>
                  <a:cubicBezTo>
                    <a:pt x="2323563" y="530188"/>
                    <a:pt x="2323730" y="529452"/>
                    <a:pt x="2323897" y="528717"/>
                  </a:cubicBezTo>
                  <a:cubicBezTo>
                    <a:pt x="2324231" y="527429"/>
                    <a:pt x="2324399" y="526143"/>
                    <a:pt x="2324733" y="524855"/>
                  </a:cubicBezTo>
                  <a:cubicBezTo>
                    <a:pt x="2324900" y="524120"/>
                    <a:pt x="2324900" y="523568"/>
                    <a:pt x="2324900" y="522832"/>
                  </a:cubicBezTo>
                  <a:cubicBezTo>
                    <a:pt x="2324733" y="523384"/>
                    <a:pt x="2324566" y="523200"/>
                    <a:pt x="2324733" y="523016"/>
                  </a:cubicBezTo>
                  <a:cubicBezTo>
                    <a:pt x="2324733" y="521729"/>
                    <a:pt x="2324733" y="520442"/>
                    <a:pt x="2324733" y="519154"/>
                  </a:cubicBezTo>
                  <a:cubicBezTo>
                    <a:pt x="2324733" y="519154"/>
                    <a:pt x="2324733" y="519154"/>
                    <a:pt x="2324733" y="518971"/>
                  </a:cubicBezTo>
                  <a:cubicBezTo>
                    <a:pt x="2324733" y="517867"/>
                    <a:pt x="2324566" y="516948"/>
                    <a:pt x="2324399" y="515844"/>
                  </a:cubicBezTo>
                  <a:cubicBezTo>
                    <a:pt x="2324065" y="514557"/>
                    <a:pt x="2324065" y="513270"/>
                    <a:pt x="2323563" y="512167"/>
                  </a:cubicBezTo>
                  <a:cubicBezTo>
                    <a:pt x="2323229" y="511431"/>
                    <a:pt x="2323061" y="510695"/>
                    <a:pt x="2322894" y="509960"/>
                  </a:cubicBezTo>
                  <a:cubicBezTo>
                    <a:pt x="2322393" y="508856"/>
                    <a:pt x="2321891" y="507569"/>
                    <a:pt x="2321390" y="506466"/>
                  </a:cubicBezTo>
                  <a:cubicBezTo>
                    <a:pt x="2320888" y="505546"/>
                    <a:pt x="2320386" y="504811"/>
                    <a:pt x="2319885" y="503891"/>
                  </a:cubicBezTo>
                  <a:cubicBezTo>
                    <a:pt x="2319384" y="503156"/>
                    <a:pt x="2318882" y="502420"/>
                    <a:pt x="2318380" y="501868"/>
                  </a:cubicBezTo>
                  <a:cubicBezTo>
                    <a:pt x="2317879" y="501316"/>
                    <a:pt x="2317378" y="500765"/>
                    <a:pt x="2316876" y="500213"/>
                  </a:cubicBezTo>
                  <a:cubicBezTo>
                    <a:pt x="2315872" y="499294"/>
                    <a:pt x="2314869" y="498374"/>
                    <a:pt x="2313699" y="497639"/>
                  </a:cubicBezTo>
                  <a:cubicBezTo>
                    <a:pt x="2312864" y="497087"/>
                    <a:pt x="2311860" y="496536"/>
                    <a:pt x="2311024" y="496168"/>
                  </a:cubicBezTo>
                  <a:cubicBezTo>
                    <a:pt x="2309019" y="495248"/>
                    <a:pt x="2306845" y="494697"/>
                    <a:pt x="2304505" y="494512"/>
                  </a:cubicBezTo>
                  <a:close/>
                  <a:moveTo>
                    <a:pt x="2304964" y="421658"/>
                  </a:moveTo>
                  <a:cubicBezTo>
                    <a:pt x="2304046" y="421658"/>
                    <a:pt x="2303125" y="421475"/>
                    <a:pt x="2302207" y="421658"/>
                  </a:cubicBezTo>
                  <a:cubicBezTo>
                    <a:pt x="2300919" y="421843"/>
                    <a:pt x="2299816" y="422394"/>
                    <a:pt x="2299080" y="423314"/>
                  </a:cubicBezTo>
                  <a:cubicBezTo>
                    <a:pt x="2297977" y="424417"/>
                    <a:pt x="2297425" y="425888"/>
                    <a:pt x="2297609" y="427543"/>
                  </a:cubicBezTo>
                  <a:cubicBezTo>
                    <a:pt x="2297609" y="427727"/>
                    <a:pt x="2297609" y="427727"/>
                    <a:pt x="2297609" y="427911"/>
                  </a:cubicBezTo>
                  <a:cubicBezTo>
                    <a:pt x="2297609" y="439864"/>
                    <a:pt x="2297609" y="451817"/>
                    <a:pt x="2297609" y="463954"/>
                  </a:cubicBezTo>
                  <a:cubicBezTo>
                    <a:pt x="2297609" y="464321"/>
                    <a:pt x="2297609" y="464321"/>
                    <a:pt x="2297242" y="464321"/>
                  </a:cubicBezTo>
                  <a:cubicBezTo>
                    <a:pt x="2295586" y="464321"/>
                    <a:pt x="2293931" y="464321"/>
                    <a:pt x="2292276" y="464321"/>
                  </a:cubicBezTo>
                  <a:cubicBezTo>
                    <a:pt x="2291356" y="464321"/>
                    <a:pt x="2290437" y="464689"/>
                    <a:pt x="2289517" y="465057"/>
                  </a:cubicBezTo>
                  <a:cubicBezTo>
                    <a:pt x="2287863" y="466161"/>
                    <a:pt x="2286943" y="467632"/>
                    <a:pt x="2286943" y="469655"/>
                  </a:cubicBezTo>
                  <a:cubicBezTo>
                    <a:pt x="2286943" y="471126"/>
                    <a:pt x="2287495" y="472597"/>
                    <a:pt x="2288782" y="473516"/>
                  </a:cubicBezTo>
                  <a:cubicBezTo>
                    <a:pt x="2289517" y="474068"/>
                    <a:pt x="2290437" y="474620"/>
                    <a:pt x="2291541" y="474804"/>
                  </a:cubicBezTo>
                  <a:cubicBezTo>
                    <a:pt x="2291541" y="474804"/>
                    <a:pt x="2291724" y="474804"/>
                    <a:pt x="2291724" y="474804"/>
                  </a:cubicBezTo>
                  <a:cubicBezTo>
                    <a:pt x="2291724" y="474804"/>
                    <a:pt x="2291908" y="474804"/>
                    <a:pt x="2291908" y="474804"/>
                  </a:cubicBezTo>
                  <a:cubicBezTo>
                    <a:pt x="2291908" y="474620"/>
                    <a:pt x="2292092" y="474804"/>
                    <a:pt x="2292276" y="474804"/>
                  </a:cubicBezTo>
                  <a:cubicBezTo>
                    <a:pt x="2299632" y="474804"/>
                    <a:pt x="2306988" y="474804"/>
                    <a:pt x="2314159" y="474804"/>
                  </a:cubicBezTo>
                  <a:cubicBezTo>
                    <a:pt x="2314343" y="474804"/>
                    <a:pt x="2314343" y="474804"/>
                    <a:pt x="2314527" y="474804"/>
                  </a:cubicBezTo>
                  <a:cubicBezTo>
                    <a:pt x="2314711" y="474804"/>
                    <a:pt x="2314895" y="474804"/>
                    <a:pt x="2315079" y="474804"/>
                  </a:cubicBezTo>
                  <a:cubicBezTo>
                    <a:pt x="2315263" y="474620"/>
                    <a:pt x="2315447" y="474620"/>
                    <a:pt x="2315630" y="474620"/>
                  </a:cubicBezTo>
                  <a:cubicBezTo>
                    <a:pt x="2316550" y="474436"/>
                    <a:pt x="2317286" y="473884"/>
                    <a:pt x="2318021" y="473333"/>
                  </a:cubicBezTo>
                  <a:cubicBezTo>
                    <a:pt x="2319124" y="472229"/>
                    <a:pt x="2319676" y="470942"/>
                    <a:pt x="2319676" y="469471"/>
                  </a:cubicBezTo>
                  <a:cubicBezTo>
                    <a:pt x="2319676" y="468184"/>
                    <a:pt x="2319308" y="466896"/>
                    <a:pt x="2318205" y="465977"/>
                  </a:cubicBezTo>
                  <a:cubicBezTo>
                    <a:pt x="2317101" y="464874"/>
                    <a:pt x="2315815" y="464321"/>
                    <a:pt x="2314343" y="464321"/>
                  </a:cubicBezTo>
                  <a:cubicBezTo>
                    <a:pt x="2312504" y="464321"/>
                    <a:pt x="2310665" y="464321"/>
                    <a:pt x="2309011" y="464321"/>
                  </a:cubicBezTo>
                  <a:cubicBezTo>
                    <a:pt x="2308827" y="464321"/>
                    <a:pt x="2308643" y="464321"/>
                    <a:pt x="2308643" y="463954"/>
                  </a:cubicBezTo>
                  <a:cubicBezTo>
                    <a:pt x="2308643" y="453472"/>
                    <a:pt x="2308643" y="443174"/>
                    <a:pt x="2308643" y="432692"/>
                  </a:cubicBezTo>
                  <a:cubicBezTo>
                    <a:pt x="2308643" y="432508"/>
                    <a:pt x="2308643" y="432324"/>
                    <a:pt x="2309011" y="432324"/>
                  </a:cubicBezTo>
                  <a:cubicBezTo>
                    <a:pt x="2310298" y="432324"/>
                    <a:pt x="2311769" y="432324"/>
                    <a:pt x="2313056" y="432324"/>
                  </a:cubicBezTo>
                  <a:cubicBezTo>
                    <a:pt x="2315263" y="432324"/>
                    <a:pt x="2316918" y="431221"/>
                    <a:pt x="2318021" y="429198"/>
                  </a:cubicBezTo>
                  <a:cubicBezTo>
                    <a:pt x="2318573" y="428095"/>
                    <a:pt x="2318573" y="426808"/>
                    <a:pt x="2318205" y="425336"/>
                  </a:cubicBezTo>
                  <a:cubicBezTo>
                    <a:pt x="2317469" y="423314"/>
                    <a:pt x="2315447" y="421843"/>
                    <a:pt x="2313240" y="421843"/>
                  </a:cubicBezTo>
                  <a:cubicBezTo>
                    <a:pt x="2310481" y="421843"/>
                    <a:pt x="2307723" y="421658"/>
                    <a:pt x="2304964" y="421658"/>
                  </a:cubicBezTo>
                  <a:close/>
                  <a:moveTo>
                    <a:pt x="2303407" y="378055"/>
                  </a:moveTo>
                  <a:cubicBezTo>
                    <a:pt x="2306975" y="378055"/>
                    <a:pt x="2309848" y="380885"/>
                    <a:pt x="2309848" y="384363"/>
                  </a:cubicBezTo>
                  <a:cubicBezTo>
                    <a:pt x="2309848" y="386757"/>
                    <a:pt x="2308494" y="388843"/>
                    <a:pt x="2306479" y="389911"/>
                  </a:cubicBezTo>
                  <a:cubicBezTo>
                    <a:pt x="2306479" y="389911"/>
                    <a:pt x="2306479" y="389911"/>
                    <a:pt x="2306479" y="395620"/>
                  </a:cubicBezTo>
                  <a:cubicBezTo>
                    <a:pt x="2306479" y="397287"/>
                    <a:pt x="2305108" y="398629"/>
                    <a:pt x="2303407" y="398629"/>
                  </a:cubicBezTo>
                  <a:cubicBezTo>
                    <a:pt x="2301722" y="398629"/>
                    <a:pt x="2300335" y="397287"/>
                    <a:pt x="2300335" y="395620"/>
                  </a:cubicBezTo>
                  <a:cubicBezTo>
                    <a:pt x="2300335" y="395620"/>
                    <a:pt x="2300335" y="395620"/>
                    <a:pt x="2300335" y="389911"/>
                  </a:cubicBezTo>
                  <a:cubicBezTo>
                    <a:pt x="2298337" y="388843"/>
                    <a:pt x="2296965" y="386757"/>
                    <a:pt x="2296965" y="384363"/>
                  </a:cubicBezTo>
                  <a:cubicBezTo>
                    <a:pt x="2296965" y="380885"/>
                    <a:pt x="2299856" y="378055"/>
                    <a:pt x="2303407" y="378055"/>
                  </a:cubicBezTo>
                  <a:close/>
                  <a:moveTo>
                    <a:pt x="2303586" y="351723"/>
                  </a:moveTo>
                  <a:cubicBezTo>
                    <a:pt x="2307151" y="351723"/>
                    <a:pt x="2310210" y="353890"/>
                    <a:pt x="2311516" y="356979"/>
                  </a:cubicBezTo>
                  <a:lnTo>
                    <a:pt x="2312145" y="360096"/>
                  </a:lnTo>
                  <a:lnTo>
                    <a:pt x="2309942" y="360096"/>
                  </a:lnTo>
                  <a:cubicBezTo>
                    <a:pt x="2306724" y="360096"/>
                    <a:pt x="2302628" y="360096"/>
                    <a:pt x="2297416" y="360096"/>
                  </a:cubicBezTo>
                  <a:lnTo>
                    <a:pt x="2295026" y="360096"/>
                  </a:lnTo>
                  <a:lnTo>
                    <a:pt x="2295655" y="356979"/>
                  </a:lnTo>
                  <a:cubicBezTo>
                    <a:pt x="2296961" y="353890"/>
                    <a:pt x="2300021" y="351723"/>
                    <a:pt x="2303586" y="351723"/>
                  </a:cubicBezTo>
                  <a:close/>
                  <a:moveTo>
                    <a:pt x="2303586" y="343116"/>
                  </a:moveTo>
                  <a:cubicBezTo>
                    <a:pt x="2295267" y="343116"/>
                    <a:pt x="2288326" y="349016"/>
                    <a:pt x="2286721" y="356860"/>
                  </a:cubicBezTo>
                  <a:lnTo>
                    <a:pt x="2286396" y="360096"/>
                  </a:lnTo>
                  <a:lnTo>
                    <a:pt x="2285430" y="360096"/>
                  </a:lnTo>
                  <a:cubicBezTo>
                    <a:pt x="2283003" y="360096"/>
                    <a:pt x="2281042" y="362008"/>
                    <a:pt x="2281042" y="364372"/>
                  </a:cubicBezTo>
                  <a:cubicBezTo>
                    <a:pt x="2281042" y="364372"/>
                    <a:pt x="2281042" y="364372"/>
                    <a:pt x="2281042" y="398189"/>
                  </a:cubicBezTo>
                  <a:cubicBezTo>
                    <a:pt x="2281042" y="400553"/>
                    <a:pt x="2283003" y="402464"/>
                    <a:pt x="2285430" y="402464"/>
                  </a:cubicBezTo>
                  <a:cubicBezTo>
                    <a:pt x="2285430" y="402464"/>
                    <a:pt x="2285430" y="402464"/>
                    <a:pt x="2321741" y="402464"/>
                  </a:cubicBezTo>
                  <a:cubicBezTo>
                    <a:pt x="2324168" y="402464"/>
                    <a:pt x="2326129" y="400553"/>
                    <a:pt x="2326129" y="398189"/>
                  </a:cubicBezTo>
                  <a:cubicBezTo>
                    <a:pt x="2326129" y="398189"/>
                    <a:pt x="2326129" y="398189"/>
                    <a:pt x="2326129" y="364372"/>
                  </a:cubicBezTo>
                  <a:cubicBezTo>
                    <a:pt x="2326129" y="362008"/>
                    <a:pt x="2324168" y="360096"/>
                    <a:pt x="2321741" y="360096"/>
                  </a:cubicBezTo>
                  <a:cubicBezTo>
                    <a:pt x="2321741" y="360096"/>
                    <a:pt x="2321741" y="360096"/>
                    <a:pt x="2321173" y="360096"/>
                  </a:cubicBezTo>
                  <a:lnTo>
                    <a:pt x="2320776" y="360096"/>
                  </a:lnTo>
                  <a:lnTo>
                    <a:pt x="2320450" y="356860"/>
                  </a:lnTo>
                  <a:cubicBezTo>
                    <a:pt x="2318845" y="349016"/>
                    <a:pt x="2311905" y="343116"/>
                    <a:pt x="2303586" y="343116"/>
                  </a:cubicBezTo>
                  <a:close/>
                  <a:moveTo>
                    <a:pt x="2303407" y="300973"/>
                  </a:moveTo>
                  <a:cubicBezTo>
                    <a:pt x="2306975" y="300973"/>
                    <a:pt x="2309848" y="303803"/>
                    <a:pt x="2309848" y="307281"/>
                  </a:cubicBezTo>
                  <a:cubicBezTo>
                    <a:pt x="2309848" y="309675"/>
                    <a:pt x="2308494" y="311762"/>
                    <a:pt x="2306479" y="312829"/>
                  </a:cubicBezTo>
                  <a:cubicBezTo>
                    <a:pt x="2306479" y="312829"/>
                    <a:pt x="2306479" y="312829"/>
                    <a:pt x="2306479" y="318539"/>
                  </a:cubicBezTo>
                  <a:cubicBezTo>
                    <a:pt x="2306479" y="320205"/>
                    <a:pt x="2305108" y="321547"/>
                    <a:pt x="2303407" y="321547"/>
                  </a:cubicBezTo>
                  <a:cubicBezTo>
                    <a:pt x="2301722" y="321547"/>
                    <a:pt x="2300335" y="320205"/>
                    <a:pt x="2300335" y="318539"/>
                  </a:cubicBezTo>
                  <a:cubicBezTo>
                    <a:pt x="2300335" y="318539"/>
                    <a:pt x="2300335" y="318539"/>
                    <a:pt x="2300335" y="312829"/>
                  </a:cubicBezTo>
                  <a:cubicBezTo>
                    <a:pt x="2298337" y="311762"/>
                    <a:pt x="2296965" y="309675"/>
                    <a:pt x="2296965" y="307281"/>
                  </a:cubicBezTo>
                  <a:cubicBezTo>
                    <a:pt x="2296965" y="303803"/>
                    <a:pt x="2299856" y="300973"/>
                    <a:pt x="2303407" y="300973"/>
                  </a:cubicBezTo>
                  <a:close/>
                  <a:moveTo>
                    <a:pt x="2303586" y="274641"/>
                  </a:moveTo>
                  <a:cubicBezTo>
                    <a:pt x="2307151" y="274641"/>
                    <a:pt x="2310210" y="276808"/>
                    <a:pt x="2311516" y="279898"/>
                  </a:cubicBezTo>
                  <a:lnTo>
                    <a:pt x="2312145" y="283015"/>
                  </a:lnTo>
                  <a:lnTo>
                    <a:pt x="2309942" y="283015"/>
                  </a:lnTo>
                  <a:cubicBezTo>
                    <a:pt x="2306724" y="283015"/>
                    <a:pt x="2302628" y="283015"/>
                    <a:pt x="2297416" y="283015"/>
                  </a:cubicBezTo>
                  <a:lnTo>
                    <a:pt x="2295026" y="283015"/>
                  </a:lnTo>
                  <a:lnTo>
                    <a:pt x="2295655" y="279898"/>
                  </a:lnTo>
                  <a:cubicBezTo>
                    <a:pt x="2296961" y="276808"/>
                    <a:pt x="2300021" y="274641"/>
                    <a:pt x="2303586" y="274641"/>
                  </a:cubicBezTo>
                  <a:close/>
                  <a:moveTo>
                    <a:pt x="2303586" y="266034"/>
                  </a:moveTo>
                  <a:cubicBezTo>
                    <a:pt x="2295267" y="266034"/>
                    <a:pt x="2288326" y="271935"/>
                    <a:pt x="2286721" y="279779"/>
                  </a:cubicBezTo>
                  <a:lnTo>
                    <a:pt x="2286396" y="283015"/>
                  </a:lnTo>
                  <a:lnTo>
                    <a:pt x="2285430" y="283015"/>
                  </a:lnTo>
                  <a:cubicBezTo>
                    <a:pt x="2283003" y="283015"/>
                    <a:pt x="2281042" y="284926"/>
                    <a:pt x="2281042" y="287290"/>
                  </a:cubicBezTo>
                  <a:cubicBezTo>
                    <a:pt x="2281042" y="287290"/>
                    <a:pt x="2281042" y="287290"/>
                    <a:pt x="2281042" y="321107"/>
                  </a:cubicBezTo>
                  <a:cubicBezTo>
                    <a:pt x="2281042" y="323471"/>
                    <a:pt x="2283003" y="325383"/>
                    <a:pt x="2285430" y="325383"/>
                  </a:cubicBezTo>
                  <a:cubicBezTo>
                    <a:pt x="2285430" y="325383"/>
                    <a:pt x="2285430" y="325383"/>
                    <a:pt x="2321741" y="325383"/>
                  </a:cubicBezTo>
                  <a:cubicBezTo>
                    <a:pt x="2324168" y="325383"/>
                    <a:pt x="2326130" y="323471"/>
                    <a:pt x="2326130" y="321107"/>
                  </a:cubicBezTo>
                  <a:cubicBezTo>
                    <a:pt x="2326130" y="321107"/>
                    <a:pt x="2326130" y="321107"/>
                    <a:pt x="2326130" y="287290"/>
                  </a:cubicBezTo>
                  <a:cubicBezTo>
                    <a:pt x="2326130" y="284926"/>
                    <a:pt x="2324168" y="283015"/>
                    <a:pt x="2321741" y="283015"/>
                  </a:cubicBezTo>
                  <a:cubicBezTo>
                    <a:pt x="2321741" y="283015"/>
                    <a:pt x="2321741" y="283015"/>
                    <a:pt x="2321173" y="283015"/>
                  </a:cubicBezTo>
                  <a:lnTo>
                    <a:pt x="2320776" y="283015"/>
                  </a:lnTo>
                  <a:lnTo>
                    <a:pt x="2320450" y="279779"/>
                  </a:lnTo>
                  <a:cubicBezTo>
                    <a:pt x="2318845" y="271935"/>
                    <a:pt x="2311905" y="266034"/>
                    <a:pt x="2303586" y="266034"/>
                  </a:cubicBezTo>
                  <a:close/>
                  <a:moveTo>
                    <a:pt x="2303407" y="223892"/>
                  </a:moveTo>
                  <a:cubicBezTo>
                    <a:pt x="2306975" y="223892"/>
                    <a:pt x="2309848" y="226722"/>
                    <a:pt x="2309848" y="230199"/>
                  </a:cubicBezTo>
                  <a:cubicBezTo>
                    <a:pt x="2309848" y="232593"/>
                    <a:pt x="2308494" y="234680"/>
                    <a:pt x="2306479" y="235747"/>
                  </a:cubicBezTo>
                  <a:cubicBezTo>
                    <a:pt x="2306479" y="235747"/>
                    <a:pt x="2306479" y="235747"/>
                    <a:pt x="2306479" y="241457"/>
                  </a:cubicBezTo>
                  <a:cubicBezTo>
                    <a:pt x="2306479" y="243123"/>
                    <a:pt x="2305109" y="244465"/>
                    <a:pt x="2303407" y="244465"/>
                  </a:cubicBezTo>
                  <a:cubicBezTo>
                    <a:pt x="2301722" y="244465"/>
                    <a:pt x="2300335" y="243123"/>
                    <a:pt x="2300335" y="241457"/>
                  </a:cubicBezTo>
                  <a:cubicBezTo>
                    <a:pt x="2300335" y="241457"/>
                    <a:pt x="2300335" y="241457"/>
                    <a:pt x="2300335" y="235747"/>
                  </a:cubicBezTo>
                  <a:cubicBezTo>
                    <a:pt x="2298337" y="234680"/>
                    <a:pt x="2296965" y="232593"/>
                    <a:pt x="2296965" y="230199"/>
                  </a:cubicBezTo>
                  <a:cubicBezTo>
                    <a:pt x="2296965" y="226722"/>
                    <a:pt x="2299856" y="223892"/>
                    <a:pt x="2303407" y="223892"/>
                  </a:cubicBezTo>
                  <a:close/>
                  <a:moveTo>
                    <a:pt x="2303586" y="197559"/>
                  </a:moveTo>
                  <a:cubicBezTo>
                    <a:pt x="2307151" y="197559"/>
                    <a:pt x="2310210" y="199727"/>
                    <a:pt x="2311516" y="202816"/>
                  </a:cubicBezTo>
                  <a:lnTo>
                    <a:pt x="2312145" y="205933"/>
                  </a:lnTo>
                  <a:lnTo>
                    <a:pt x="2309942" y="205933"/>
                  </a:lnTo>
                  <a:cubicBezTo>
                    <a:pt x="2306724" y="205933"/>
                    <a:pt x="2302628" y="205933"/>
                    <a:pt x="2297416" y="205933"/>
                  </a:cubicBezTo>
                  <a:lnTo>
                    <a:pt x="2295026" y="205933"/>
                  </a:lnTo>
                  <a:lnTo>
                    <a:pt x="2295655" y="202816"/>
                  </a:lnTo>
                  <a:cubicBezTo>
                    <a:pt x="2296961" y="199727"/>
                    <a:pt x="2300021" y="197559"/>
                    <a:pt x="2303586" y="197559"/>
                  </a:cubicBezTo>
                  <a:close/>
                  <a:moveTo>
                    <a:pt x="2303586" y="188952"/>
                  </a:moveTo>
                  <a:cubicBezTo>
                    <a:pt x="2295267" y="188952"/>
                    <a:pt x="2288326" y="194853"/>
                    <a:pt x="2286721" y="202697"/>
                  </a:cubicBezTo>
                  <a:lnTo>
                    <a:pt x="2286396" y="205933"/>
                  </a:lnTo>
                  <a:lnTo>
                    <a:pt x="2285430" y="205933"/>
                  </a:lnTo>
                  <a:cubicBezTo>
                    <a:pt x="2283003" y="205933"/>
                    <a:pt x="2281042" y="207844"/>
                    <a:pt x="2281042" y="210208"/>
                  </a:cubicBezTo>
                  <a:cubicBezTo>
                    <a:pt x="2281042" y="210208"/>
                    <a:pt x="2281042" y="210208"/>
                    <a:pt x="2281042" y="244026"/>
                  </a:cubicBezTo>
                  <a:cubicBezTo>
                    <a:pt x="2281042" y="246390"/>
                    <a:pt x="2283003" y="248301"/>
                    <a:pt x="2285430" y="248301"/>
                  </a:cubicBezTo>
                  <a:cubicBezTo>
                    <a:pt x="2285430" y="248301"/>
                    <a:pt x="2285430" y="248301"/>
                    <a:pt x="2321741" y="248301"/>
                  </a:cubicBezTo>
                  <a:cubicBezTo>
                    <a:pt x="2324168" y="248301"/>
                    <a:pt x="2326130" y="246390"/>
                    <a:pt x="2326130" y="244026"/>
                  </a:cubicBezTo>
                  <a:cubicBezTo>
                    <a:pt x="2326130" y="244026"/>
                    <a:pt x="2326130" y="244026"/>
                    <a:pt x="2326130" y="210208"/>
                  </a:cubicBezTo>
                  <a:cubicBezTo>
                    <a:pt x="2326130" y="207844"/>
                    <a:pt x="2324168" y="205933"/>
                    <a:pt x="2321741" y="205933"/>
                  </a:cubicBezTo>
                  <a:cubicBezTo>
                    <a:pt x="2321741" y="205933"/>
                    <a:pt x="2321741" y="205933"/>
                    <a:pt x="2321173" y="205933"/>
                  </a:cubicBezTo>
                  <a:lnTo>
                    <a:pt x="2320776" y="205933"/>
                  </a:lnTo>
                  <a:lnTo>
                    <a:pt x="2320450" y="202697"/>
                  </a:lnTo>
                  <a:cubicBezTo>
                    <a:pt x="2318845" y="194853"/>
                    <a:pt x="2311905" y="188952"/>
                    <a:pt x="2303586" y="188952"/>
                  </a:cubicBezTo>
                  <a:close/>
                  <a:moveTo>
                    <a:pt x="2303407" y="146810"/>
                  </a:moveTo>
                  <a:cubicBezTo>
                    <a:pt x="2306975" y="146810"/>
                    <a:pt x="2309848" y="149640"/>
                    <a:pt x="2309848" y="153117"/>
                  </a:cubicBezTo>
                  <a:cubicBezTo>
                    <a:pt x="2309848" y="155512"/>
                    <a:pt x="2308494" y="157598"/>
                    <a:pt x="2306479" y="158665"/>
                  </a:cubicBezTo>
                  <a:cubicBezTo>
                    <a:pt x="2306479" y="158665"/>
                    <a:pt x="2306479" y="158665"/>
                    <a:pt x="2306479" y="164375"/>
                  </a:cubicBezTo>
                  <a:cubicBezTo>
                    <a:pt x="2306479" y="166041"/>
                    <a:pt x="2305109" y="167383"/>
                    <a:pt x="2303407" y="167383"/>
                  </a:cubicBezTo>
                  <a:cubicBezTo>
                    <a:pt x="2301722" y="167383"/>
                    <a:pt x="2300336" y="166041"/>
                    <a:pt x="2300336" y="164375"/>
                  </a:cubicBezTo>
                  <a:cubicBezTo>
                    <a:pt x="2300336" y="164375"/>
                    <a:pt x="2300336" y="164375"/>
                    <a:pt x="2300336" y="158665"/>
                  </a:cubicBezTo>
                  <a:cubicBezTo>
                    <a:pt x="2298337" y="157598"/>
                    <a:pt x="2296966" y="155512"/>
                    <a:pt x="2296966" y="153117"/>
                  </a:cubicBezTo>
                  <a:cubicBezTo>
                    <a:pt x="2296966" y="149640"/>
                    <a:pt x="2299856" y="146810"/>
                    <a:pt x="2303407" y="146810"/>
                  </a:cubicBezTo>
                  <a:close/>
                  <a:moveTo>
                    <a:pt x="2303586" y="120477"/>
                  </a:moveTo>
                  <a:cubicBezTo>
                    <a:pt x="2307151" y="120477"/>
                    <a:pt x="2310210" y="122645"/>
                    <a:pt x="2311516" y="125734"/>
                  </a:cubicBezTo>
                  <a:lnTo>
                    <a:pt x="2312145" y="128851"/>
                  </a:lnTo>
                  <a:lnTo>
                    <a:pt x="2309942" y="128851"/>
                  </a:lnTo>
                  <a:cubicBezTo>
                    <a:pt x="2306724" y="128851"/>
                    <a:pt x="2302628" y="128851"/>
                    <a:pt x="2297416" y="128851"/>
                  </a:cubicBezTo>
                  <a:lnTo>
                    <a:pt x="2295026" y="128851"/>
                  </a:lnTo>
                  <a:lnTo>
                    <a:pt x="2295655" y="125734"/>
                  </a:lnTo>
                  <a:cubicBezTo>
                    <a:pt x="2296961" y="122645"/>
                    <a:pt x="2300021" y="120477"/>
                    <a:pt x="2303586" y="120477"/>
                  </a:cubicBezTo>
                  <a:close/>
                  <a:moveTo>
                    <a:pt x="2303586" y="111870"/>
                  </a:moveTo>
                  <a:cubicBezTo>
                    <a:pt x="2295267" y="111870"/>
                    <a:pt x="2288326" y="117771"/>
                    <a:pt x="2286721" y="125615"/>
                  </a:cubicBezTo>
                  <a:lnTo>
                    <a:pt x="2286396" y="128851"/>
                  </a:lnTo>
                  <a:lnTo>
                    <a:pt x="2285430" y="128851"/>
                  </a:lnTo>
                  <a:cubicBezTo>
                    <a:pt x="2283003" y="128851"/>
                    <a:pt x="2281042" y="130762"/>
                    <a:pt x="2281042" y="133126"/>
                  </a:cubicBezTo>
                  <a:cubicBezTo>
                    <a:pt x="2281042" y="133126"/>
                    <a:pt x="2281042" y="133126"/>
                    <a:pt x="2281042" y="166944"/>
                  </a:cubicBezTo>
                  <a:cubicBezTo>
                    <a:pt x="2281042" y="169308"/>
                    <a:pt x="2283003" y="171219"/>
                    <a:pt x="2285430" y="171219"/>
                  </a:cubicBezTo>
                  <a:cubicBezTo>
                    <a:pt x="2285430" y="171219"/>
                    <a:pt x="2285430" y="171219"/>
                    <a:pt x="2321741" y="171219"/>
                  </a:cubicBezTo>
                  <a:cubicBezTo>
                    <a:pt x="2324168" y="171219"/>
                    <a:pt x="2326130" y="169308"/>
                    <a:pt x="2326130" y="166944"/>
                  </a:cubicBezTo>
                  <a:cubicBezTo>
                    <a:pt x="2326130" y="166944"/>
                    <a:pt x="2326130" y="166944"/>
                    <a:pt x="2326130" y="133126"/>
                  </a:cubicBezTo>
                  <a:cubicBezTo>
                    <a:pt x="2326130" y="130762"/>
                    <a:pt x="2324168" y="128851"/>
                    <a:pt x="2321741" y="128851"/>
                  </a:cubicBezTo>
                  <a:cubicBezTo>
                    <a:pt x="2321741" y="128851"/>
                    <a:pt x="2321741" y="128851"/>
                    <a:pt x="2321173" y="128851"/>
                  </a:cubicBezTo>
                  <a:lnTo>
                    <a:pt x="2320776" y="128851"/>
                  </a:lnTo>
                  <a:lnTo>
                    <a:pt x="2320450" y="125615"/>
                  </a:lnTo>
                  <a:cubicBezTo>
                    <a:pt x="2318845" y="117771"/>
                    <a:pt x="2311905" y="111870"/>
                    <a:pt x="2303586" y="111870"/>
                  </a:cubicBezTo>
                  <a:close/>
                  <a:moveTo>
                    <a:pt x="2303407" y="69728"/>
                  </a:moveTo>
                  <a:cubicBezTo>
                    <a:pt x="2306975" y="69728"/>
                    <a:pt x="2309848" y="72558"/>
                    <a:pt x="2309848" y="76036"/>
                  </a:cubicBezTo>
                  <a:cubicBezTo>
                    <a:pt x="2309848" y="78430"/>
                    <a:pt x="2308494" y="80516"/>
                    <a:pt x="2306479" y="81583"/>
                  </a:cubicBezTo>
                  <a:cubicBezTo>
                    <a:pt x="2306479" y="81583"/>
                    <a:pt x="2306479" y="81583"/>
                    <a:pt x="2306479" y="87293"/>
                  </a:cubicBezTo>
                  <a:cubicBezTo>
                    <a:pt x="2306479" y="88959"/>
                    <a:pt x="2305109" y="90301"/>
                    <a:pt x="2303407" y="90301"/>
                  </a:cubicBezTo>
                  <a:cubicBezTo>
                    <a:pt x="2301722" y="90301"/>
                    <a:pt x="2300336" y="88959"/>
                    <a:pt x="2300336" y="87293"/>
                  </a:cubicBezTo>
                  <a:cubicBezTo>
                    <a:pt x="2300336" y="87293"/>
                    <a:pt x="2300336" y="87293"/>
                    <a:pt x="2300336" y="81583"/>
                  </a:cubicBezTo>
                  <a:cubicBezTo>
                    <a:pt x="2298337" y="80516"/>
                    <a:pt x="2296966" y="78430"/>
                    <a:pt x="2296966" y="76036"/>
                  </a:cubicBezTo>
                  <a:cubicBezTo>
                    <a:pt x="2296966" y="72558"/>
                    <a:pt x="2299856" y="69728"/>
                    <a:pt x="2303407" y="69728"/>
                  </a:cubicBezTo>
                  <a:close/>
                  <a:moveTo>
                    <a:pt x="2303586" y="43396"/>
                  </a:moveTo>
                  <a:cubicBezTo>
                    <a:pt x="2307151" y="43396"/>
                    <a:pt x="2310210" y="45563"/>
                    <a:pt x="2311516" y="48652"/>
                  </a:cubicBezTo>
                  <a:lnTo>
                    <a:pt x="2312145" y="51769"/>
                  </a:lnTo>
                  <a:lnTo>
                    <a:pt x="2309942" y="51769"/>
                  </a:lnTo>
                  <a:cubicBezTo>
                    <a:pt x="2306724" y="51769"/>
                    <a:pt x="2302628" y="51769"/>
                    <a:pt x="2297416" y="51769"/>
                  </a:cubicBezTo>
                  <a:lnTo>
                    <a:pt x="2295026" y="51769"/>
                  </a:lnTo>
                  <a:lnTo>
                    <a:pt x="2295655" y="48652"/>
                  </a:lnTo>
                  <a:cubicBezTo>
                    <a:pt x="2296961" y="45563"/>
                    <a:pt x="2300021" y="43396"/>
                    <a:pt x="2303586" y="43396"/>
                  </a:cubicBezTo>
                  <a:close/>
                  <a:moveTo>
                    <a:pt x="2303586" y="34789"/>
                  </a:moveTo>
                  <a:cubicBezTo>
                    <a:pt x="2295267" y="34789"/>
                    <a:pt x="2288326" y="40689"/>
                    <a:pt x="2286721" y="48533"/>
                  </a:cubicBezTo>
                  <a:lnTo>
                    <a:pt x="2286396" y="51769"/>
                  </a:lnTo>
                  <a:lnTo>
                    <a:pt x="2285430" y="51769"/>
                  </a:lnTo>
                  <a:cubicBezTo>
                    <a:pt x="2283003" y="51769"/>
                    <a:pt x="2281042" y="53680"/>
                    <a:pt x="2281042" y="56045"/>
                  </a:cubicBezTo>
                  <a:cubicBezTo>
                    <a:pt x="2281042" y="56045"/>
                    <a:pt x="2281042" y="56045"/>
                    <a:pt x="2281042" y="89862"/>
                  </a:cubicBezTo>
                  <a:cubicBezTo>
                    <a:pt x="2281042" y="92226"/>
                    <a:pt x="2283003" y="94137"/>
                    <a:pt x="2285430" y="94137"/>
                  </a:cubicBezTo>
                  <a:cubicBezTo>
                    <a:pt x="2285430" y="94137"/>
                    <a:pt x="2285430" y="94137"/>
                    <a:pt x="2321741" y="94137"/>
                  </a:cubicBezTo>
                  <a:cubicBezTo>
                    <a:pt x="2324168" y="94137"/>
                    <a:pt x="2326130" y="92226"/>
                    <a:pt x="2326130" y="89862"/>
                  </a:cubicBezTo>
                  <a:cubicBezTo>
                    <a:pt x="2326130" y="89862"/>
                    <a:pt x="2326130" y="89862"/>
                    <a:pt x="2326130" y="56045"/>
                  </a:cubicBezTo>
                  <a:cubicBezTo>
                    <a:pt x="2326130" y="53680"/>
                    <a:pt x="2324168" y="51769"/>
                    <a:pt x="2321741" y="51769"/>
                  </a:cubicBezTo>
                  <a:cubicBezTo>
                    <a:pt x="2321741" y="51769"/>
                    <a:pt x="2321741" y="51769"/>
                    <a:pt x="2321173" y="51769"/>
                  </a:cubicBezTo>
                  <a:lnTo>
                    <a:pt x="2320776" y="51769"/>
                  </a:lnTo>
                  <a:lnTo>
                    <a:pt x="2320450" y="48533"/>
                  </a:lnTo>
                  <a:cubicBezTo>
                    <a:pt x="2318845" y="40689"/>
                    <a:pt x="2311905" y="34789"/>
                    <a:pt x="2303586" y="34789"/>
                  </a:cubicBezTo>
                  <a:close/>
                  <a:moveTo>
                    <a:pt x="2326130" y="0"/>
                  </a:moveTo>
                  <a:lnTo>
                    <a:pt x="2309213" y="0"/>
                  </a:lnTo>
                  <a:lnTo>
                    <a:pt x="2306479" y="4502"/>
                  </a:lnTo>
                  <a:cubicBezTo>
                    <a:pt x="2306479" y="4502"/>
                    <a:pt x="2306479" y="4502"/>
                    <a:pt x="2306479" y="10211"/>
                  </a:cubicBezTo>
                  <a:cubicBezTo>
                    <a:pt x="2306479" y="11878"/>
                    <a:pt x="2305109" y="13220"/>
                    <a:pt x="2303407" y="13220"/>
                  </a:cubicBezTo>
                  <a:cubicBezTo>
                    <a:pt x="2301722" y="13220"/>
                    <a:pt x="2300336" y="11878"/>
                    <a:pt x="2300336" y="10211"/>
                  </a:cubicBezTo>
                  <a:cubicBezTo>
                    <a:pt x="2300336" y="10211"/>
                    <a:pt x="2300336" y="10211"/>
                    <a:pt x="2300336" y="4502"/>
                  </a:cubicBezTo>
                  <a:lnTo>
                    <a:pt x="2297602" y="0"/>
                  </a:lnTo>
                  <a:lnTo>
                    <a:pt x="2281042" y="0"/>
                  </a:lnTo>
                  <a:lnTo>
                    <a:pt x="2281042" y="12780"/>
                  </a:lnTo>
                  <a:cubicBezTo>
                    <a:pt x="2281042" y="15144"/>
                    <a:pt x="2283003" y="17056"/>
                    <a:pt x="2285430" y="17056"/>
                  </a:cubicBezTo>
                  <a:cubicBezTo>
                    <a:pt x="2285430" y="17056"/>
                    <a:pt x="2285430" y="17056"/>
                    <a:pt x="2321741" y="17056"/>
                  </a:cubicBezTo>
                  <a:cubicBezTo>
                    <a:pt x="2324168" y="17056"/>
                    <a:pt x="2326130" y="15144"/>
                    <a:pt x="2326130" y="12780"/>
                  </a:cubicBezTo>
                  <a:cubicBezTo>
                    <a:pt x="2326130" y="12780"/>
                    <a:pt x="2326130" y="12780"/>
                    <a:pt x="2326130" y="8553"/>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1958" name="Freeform: Shape 1957">
              <a:extLst>
                <a:ext uri="{FF2B5EF4-FFF2-40B4-BE49-F238E27FC236}">
                  <a16:creationId xmlns:a16="http://schemas.microsoft.com/office/drawing/2014/main" id="{2DF17EAC-1401-44C2-9147-CF6086BB8BD9}"/>
                </a:ext>
              </a:extLst>
            </p:cNvPr>
            <p:cNvSpPr/>
            <p:nvPr/>
          </p:nvSpPr>
          <p:spPr>
            <a:xfrm flipH="1">
              <a:off x="4925776" y="2934587"/>
              <a:ext cx="671964" cy="251644"/>
            </a:xfrm>
            <a:custGeom>
              <a:avLst/>
              <a:gdLst>
                <a:gd name="connsiteX0" fmla="*/ 726173 w 747062"/>
                <a:gd name="connsiteY0" fmla="*/ 226623 h 279768"/>
                <a:gd name="connsiteX1" fmla="*/ 723415 w 747062"/>
                <a:gd name="connsiteY1" fmla="*/ 226623 h 279768"/>
                <a:gd name="connsiteX2" fmla="*/ 720289 w 747062"/>
                <a:gd name="connsiteY2" fmla="*/ 228278 h 279768"/>
                <a:gd name="connsiteX3" fmla="*/ 718818 w 747062"/>
                <a:gd name="connsiteY3" fmla="*/ 232507 h 279768"/>
                <a:gd name="connsiteX4" fmla="*/ 718818 w 747062"/>
                <a:gd name="connsiteY4" fmla="*/ 232875 h 279768"/>
                <a:gd name="connsiteX5" fmla="*/ 718818 w 747062"/>
                <a:gd name="connsiteY5" fmla="*/ 268919 h 279768"/>
                <a:gd name="connsiteX6" fmla="*/ 718450 w 747062"/>
                <a:gd name="connsiteY6" fmla="*/ 269286 h 279768"/>
                <a:gd name="connsiteX7" fmla="*/ 713485 w 747062"/>
                <a:gd name="connsiteY7" fmla="*/ 269286 h 279768"/>
                <a:gd name="connsiteX8" fmla="*/ 710726 w 747062"/>
                <a:gd name="connsiteY8" fmla="*/ 270022 h 279768"/>
                <a:gd name="connsiteX9" fmla="*/ 708152 w 747062"/>
                <a:gd name="connsiteY9" fmla="*/ 274620 h 279768"/>
                <a:gd name="connsiteX10" fmla="*/ 709990 w 747062"/>
                <a:gd name="connsiteY10" fmla="*/ 278481 h 279768"/>
                <a:gd name="connsiteX11" fmla="*/ 712749 w 747062"/>
                <a:gd name="connsiteY11" fmla="*/ 279768 h 279768"/>
                <a:gd name="connsiteX12" fmla="*/ 712932 w 747062"/>
                <a:gd name="connsiteY12" fmla="*/ 279768 h 279768"/>
                <a:gd name="connsiteX13" fmla="*/ 713117 w 747062"/>
                <a:gd name="connsiteY13" fmla="*/ 279768 h 279768"/>
                <a:gd name="connsiteX14" fmla="*/ 713485 w 747062"/>
                <a:gd name="connsiteY14" fmla="*/ 279768 h 279768"/>
                <a:gd name="connsiteX15" fmla="*/ 735368 w 747062"/>
                <a:gd name="connsiteY15" fmla="*/ 279768 h 279768"/>
                <a:gd name="connsiteX16" fmla="*/ 735735 w 747062"/>
                <a:gd name="connsiteY16" fmla="*/ 279768 h 279768"/>
                <a:gd name="connsiteX17" fmla="*/ 736287 w 747062"/>
                <a:gd name="connsiteY17" fmla="*/ 279768 h 279768"/>
                <a:gd name="connsiteX18" fmla="*/ 736839 w 747062"/>
                <a:gd name="connsiteY18" fmla="*/ 279585 h 279768"/>
                <a:gd name="connsiteX19" fmla="*/ 739230 w 747062"/>
                <a:gd name="connsiteY19" fmla="*/ 278297 h 279768"/>
                <a:gd name="connsiteX20" fmla="*/ 740884 w 747062"/>
                <a:gd name="connsiteY20" fmla="*/ 274435 h 279768"/>
                <a:gd name="connsiteX21" fmla="*/ 739413 w 747062"/>
                <a:gd name="connsiteY21" fmla="*/ 270942 h 279768"/>
                <a:gd name="connsiteX22" fmla="*/ 735551 w 747062"/>
                <a:gd name="connsiteY22" fmla="*/ 269286 h 279768"/>
                <a:gd name="connsiteX23" fmla="*/ 730219 w 747062"/>
                <a:gd name="connsiteY23" fmla="*/ 269286 h 279768"/>
                <a:gd name="connsiteX24" fmla="*/ 729851 w 747062"/>
                <a:gd name="connsiteY24" fmla="*/ 268919 h 279768"/>
                <a:gd name="connsiteX25" fmla="*/ 729851 w 747062"/>
                <a:gd name="connsiteY25" fmla="*/ 237657 h 279768"/>
                <a:gd name="connsiteX26" fmla="*/ 730219 w 747062"/>
                <a:gd name="connsiteY26" fmla="*/ 237289 h 279768"/>
                <a:gd name="connsiteX27" fmla="*/ 734264 w 747062"/>
                <a:gd name="connsiteY27" fmla="*/ 237289 h 279768"/>
                <a:gd name="connsiteX28" fmla="*/ 739230 w 747062"/>
                <a:gd name="connsiteY28" fmla="*/ 234163 h 279768"/>
                <a:gd name="connsiteX29" fmla="*/ 739413 w 747062"/>
                <a:gd name="connsiteY29" fmla="*/ 230301 h 279768"/>
                <a:gd name="connsiteX30" fmla="*/ 734448 w 747062"/>
                <a:gd name="connsiteY30" fmla="*/ 226807 h 279768"/>
                <a:gd name="connsiteX31" fmla="*/ 726173 w 747062"/>
                <a:gd name="connsiteY31" fmla="*/ 226623 h 279768"/>
                <a:gd name="connsiteX32" fmla="*/ 724339 w 747062"/>
                <a:gd name="connsiteY32" fmla="*/ 182261 h 279768"/>
                <a:gd name="connsiteX33" fmla="*/ 730780 w 747062"/>
                <a:gd name="connsiteY33" fmla="*/ 188568 h 279768"/>
                <a:gd name="connsiteX34" fmla="*/ 727412 w 747062"/>
                <a:gd name="connsiteY34" fmla="*/ 194116 h 279768"/>
                <a:gd name="connsiteX35" fmla="*/ 727412 w 747062"/>
                <a:gd name="connsiteY35" fmla="*/ 199826 h 279768"/>
                <a:gd name="connsiteX36" fmla="*/ 724339 w 747062"/>
                <a:gd name="connsiteY36" fmla="*/ 202835 h 279768"/>
                <a:gd name="connsiteX37" fmla="*/ 721267 w 747062"/>
                <a:gd name="connsiteY37" fmla="*/ 199826 h 279768"/>
                <a:gd name="connsiteX38" fmla="*/ 721267 w 747062"/>
                <a:gd name="connsiteY38" fmla="*/ 194116 h 279768"/>
                <a:gd name="connsiteX39" fmla="*/ 717898 w 747062"/>
                <a:gd name="connsiteY39" fmla="*/ 188568 h 279768"/>
                <a:gd name="connsiteX40" fmla="*/ 724339 w 747062"/>
                <a:gd name="connsiteY40" fmla="*/ 182261 h 279768"/>
                <a:gd name="connsiteX41" fmla="*/ 724518 w 747062"/>
                <a:gd name="connsiteY41" fmla="*/ 155928 h 279768"/>
                <a:gd name="connsiteX42" fmla="*/ 732448 w 747062"/>
                <a:gd name="connsiteY42" fmla="*/ 161185 h 279768"/>
                <a:gd name="connsiteX43" fmla="*/ 733078 w 747062"/>
                <a:gd name="connsiteY43" fmla="*/ 164302 h 279768"/>
                <a:gd name="connsiteX44" fmla="*/ 730873 w 747062"/>
                <a:gd name="connsiteY44" fmla="*/ 164302 h 279768"/>
                <a:gd name="connsiteX45" fmla="*/ 718348 w 747062"/>
                <a:gd name="connsiteY45" fmla="*/ 164302 h 279768"/>
                <a:gd name="connsiteX46" fmla="*/ 715958 w 747062"/>
                <a:gd name="connsiteY46" fmla="*/ 164302 h 279768"/>
                <a:gd name="connsiteX47" fmla="*/ 716587 w 747062"/>
                <a:gd name="connsiteY47" fmla="*/ 161185 h 279768"/>
                <a:gd name="connsiteX48" fmla="*/ 724518 w 747062"/>
                <a:gd name="connsiteY48" fmla="*/ 155928 h 279768"/>
                <a:gd name="connsiteX49" fmla="*/ 724518 w 747062"/>
                <a:gd name="connsiteY49" fmla="*/ 147321 h 279768"/>
                <a:gd name="connsiteX50" fmla="*/ 707654 w 747062"/>
                <a:gd name="connsiteY50" fmla="*/ 161066 h 279768"/>
                <a:gd name="connsiteX51" fmla="*/ 707327 w 747062"/>
                <a:gd name="connsiteY51" fmla="*/ 164302 h 279768"/>
                <a:gd name="connsiteX52" fmla="*/ 706362 w 747062"/>
                <a:gd name="connsiteY52" fmla="*/ 164302 h 279768"/>
                <a:gd name="connsiteX53" fmla="*/ 701973 w 747062"/>
                <a:gd name="connsiteY53" fmla="*/ 168578 h 279768"/>
                <a:gd name="connsiteX54" fmla="*/ 701973 w 747062"/>
                <a:gd name="connsiteY54" fmla="*/ 202395 h 279768"/>
                <a:gd name="connsiteX55" fmla="*/ 706362 w 747062"/>
                <a:gd name="connsiteY55" fmla="*/ 206670 h 279768"/>
                <a:gd name="connsiteX56" fmla="*/ 742673 w 747062"/>
                <a:gd name="connsiteY56" fmla="*/ 206670 h 279768"/>
                <a:gd name="connsiteX57" fmla="*/ 747062 w 747062"/>
                <a:gd name="connsiteY57" fmla="*/ 202395 h 279768"/>
                <a:gd name="connsiteX58" fmla="*/ 747062 w 747062"/>
                <a:gd name="connsiteY58" fmla="*/ 168578 h 279768"/>
                <a:gd name="connsiteX59" fmla="*/ 742673 w 747062"/>
                <a:gd name="connsiteY59" fmla="*/ 164302 h 279768"/>
                <a:gd name="connsiteX60" fmla="*/ 742105 w 747062"/>
                <a:gd name="connsiteY60" fmla="*/ 164302 h 279768"/>
                <a:gd name="connsiteX61" fmla="*/ 741708 w 747062"/>
                <a:gd name="connsiteY61" fmla="*/ 164302 h 279768"/>
                <a:gd name="connsiteX62" fmla="*/ 741382 w 747062"/>
                <a:gd name="connsiteY62" fmla="*/ 161066 h 279768"/>
                <a:gd name="connsiteX63" fmla="*/ 724518 w 747062"/>
                <a:gd name="connsiteY63" fmla="*/ 147321 h 279768"/>
                <a:gd name="connsiteX64" fmla="*/ 726173 w 747062"/>
                <a:gd name="connsiteY64" fmla="*/ 81843 h 279768"/>
                <a:gd name="connsiteX65" fmla="*/ 723415 w 747062"/>
                <a:gd name="connsiteY65" fmla="*/ 81843 h 279768"/>
                <a:gd name="connsiteX66" fmla="*/ 720289 w 747062"/>
                <a:gd name="connsiteY66" fmla="*/ 83498 h 279768"/>
                <a:gd name="connsiteX67" fmla="*/ 718818 w 747062"/>
                <a:gd name="connsiteY67" fmla="*/ 87727 h 279768"/>
                <a:gd name="connsiteX68" fmla="*/ 718818 w 747062"/>
                <a:gd name="connsiteY68" fmla="*/ 88095 h 279768"/>
                <a:gd name="connsiteX69" fmla="*/ 718818 w 747062"/>
                <a:gd name="connsiteY69" fmla="*/ 124139 h 279768"/>
                <a:gd name="connsiteX70" fmla="*/ 718450 w 747062"/>
                <a:gd name="connsiteY70" fmla="*/ 124506 h 279768"/>
                <a:gd name="connsiteX71" fmla="*/ 713485 w 747062"/>
                <a:gd name="connsiteY71" fmla="*/ 124506 h 279768"/>
                <a:gd name="connsiteX72" fmla="*/ 710726 w 747062"/>
                <a:gd name="connsiteY72" fmla="*/ 125242 h 279768"/>
                <a:gd name="connsiteX73" fmla="*/ 708152 w 747062"/>
                <a:gd name="connsiteY73" fmla="*/ 129840 h 279768"/>
                <a:gd name="connsiteX74" fmla="*/ 709990 w 747062"/>
                <a:gd name="connsiteY74" fmla="*/ 133701 h 279768"/>
                <a:gd name="connsiteX75" fmla="*/ 712749 w 747062"/>
                <a:gd name="connsiteY75" fmla="*/ 134988 h 279768"/>
                <a:gd name="connsiteX76" fmla="*/ 712932 w 747062"/>
                <a:gd name="connsiteY76" fmla="*/ 134988 h 279768"/>
                <a:gd name="connsiteX77" fmla="*/ 713117 w 747062"/>
                <a:gd name="connsiteY77" fmla="*/ 134988 h 279768"/>
                <a:gd name="connsiteX78" fmla="*/ 713485 w 747062"/>
                <a:gd name="connsiteY78" fmla="*/ 134988 h 279768"/>
                <a:gd name="connsiteX79" fmla="*/ 735368 w 747062"/>
                <a:gd name="connsiteY79" fmla="*/ 134988 h 279768"/>
                <a:gd name="connsiteX80" fmla="*/ 735735 w 747062"/>
                <a:gd name="connsiteY80" fmla="*/ 134988 h 279768"/>
                <a:gd name="connsiteX81" fmla="*/ 736287 w 747062"/>
                <a:gd name="connsiteY81" fmla="*/ 134988 h 279768"/>
                <a:gd name="connsiteX82" fmla="*/ 736839 w 747062"/>
                <a:gd name="connsiteY82" fmla="*/ 134805 h 279768"/>
                <a:gd name="connsiteX83" fmla="*/ 739230 w 747062"/>
                <a:gd name="connsiteY83" fmla="*/ 133517 h 279768"/>
                <a:gd name="connsiteX84" fmla="*/ 740884 w 747062"/>
                <a:gd name="connsiteY84" fmla="*/ 129655 h 279768"/>
                <a:gd name="connsiteX85" fmla="*/ 739413 w 747062"/>
                <a:gd name="connsiteY85" fmla="*/ 126162 h 279768"/>
                <a:gd name="connsiteX86" fmla="*/ 735551 w 747062"/>
                <a:gd name="connsiteY86" fmla="*/ 124506 h 279768"/>
                <a:gd name="connsiteX87" fmla="*/ 730219 w 747062"/>
                <a:gd name="connsiteY87" fmla="*/ 124506 h 279768"/>
                <a:gd name="connsiteX88" fmla="*/ 729851 w 747062"/>
                <a:gd name="connsiteY88" fmla="*/ 124139 h 279768"/>
                <a:gd name="connsiteX89" fmla="*/ 729851 w 747062"/>
                <a:gd name="connsiteY89" fmla="*/ 92877 h 279768"/>
                <a:gd name="connsiteX90" fmla="*/ 730219 w 747062"/>
                <a:gd name="connsiteY90" fmla="*/ 92509 h 279768"/>
                <a:gd name="connsiteX91" fmla="*/ 734264 w 747062"/>
                <a:gd name="connsiteY91" fmla="*/ 92509 h 279768"/>
                <a:gd name="connsiteX92" fmla="*/ 739230 w 747062"/>
                <a:gd name="connsiteY92" fmla="*/ 89383 h 279768"/>
                <a:gd name="connsiteX93" fmla="*/ 739413 w 747062"/>
                <a:gd name="connsiteY93" fmla="*/ 85521 h 279768"/>
                <a:gd name="connsiteX94" fmla="*/ 734448 w 747062"/>
                <a:gd name="connsiteY94" fmla="*/ 82027 h 279768"/>
                <a:gd name="connsiteX95" fmla="*/ 726173 w 747062"/>
                <a:gd name="connsiteY95" fmla="*/ 81843 h 279768"/>
                <a:gd name="connsiteX96" fmla="*/ 724339 w 747062"/>
                <a:gd name="connsiteY96" fmla="*/ 37481 h 279768"/>
                <a:gd name="connsiteX97" fmla="*/ 730780 w 747062"/>
                <a:gd name="connsiteY97" fmla="*/ 43788 h 279768"/>
                <a:gd name="connsiteX98" fmla="*/ 727412 w 747062"/>
                <a:gd name="connsiteY98" fmla="*/ 49336 h 279768"/>
                <a:gd name="connsiteX99" fmla="*/ 727412 w 747062"/>
                <a:gd name="connsiteY99" fmla="*/ 55046 h 279768"/>
                <a:gd name="connsiteX100" fmla="*/ 724339 w 747062"/>
                <a:gd name="connsiteY100" fmla="*/ 58055 h 279768"/>
                <a:gd name="connsiteX101" fmla="*/ 721267 w 747062"/>
                <a:gd name="connsiteY101" fmla="*/ 55046 h 279768"/>
                <a:gd name="connsiteX102" fmla="*/ 721267 w 747062"/>
                <a:gd name="connsiteY102" fmla="*/ 49336 h 279768"/>
                <a:gd name="connsiteX103" fmla="*/ 717898 w 747062"/>
                <a:gd name="connsiteY103" fmla="*/ 43788 h 279768"/>
                <a:gd name="connsiteX104" fmla="*/ 724339 w 747062"/>
                <a:gd name="connsiteY104" fmla="*/ 37481 h 279768"/>
                <a:gd name="connsiteX105" fmla="*/ 187344 w 747062"/>
                <a:gd name="connsiteY105" fmla="*/ 34940 h 279768"/>
                <a:gd name="connsiteX106" fmla="*/ 193785 w 747062"/>
                <a:gd name="connsiteY106" fmla="*/ 41247 h 279768"/>
                <a:gd name="connsiteX107" fmla="*/ 190416 w 747062"/>
                <a:gd name="connsiteY107" fmla="*/ 46795 h 279768"/>
                <a:gd name="connsiteX108" fmla="*/ 190416 w 747062"/>
                <a:gd name="connsiteY108" fmla="*/ 52505 h 279768"/>
                <a:gd name="connsiteX109" fmla="*/ 187344 w 747062"/>
                <a:gd name="connsiteY109" fmla="*/ 55514 h 279768"/>
                <a:gd name="connsiteX110" fmla="*/ 184272 w 747062"/>
                <a:gd name="connsiteY110" fmla="*/ 52505 h 279768"/>
                <a:gd name="connsiteX111" fmla="*/ 184272 w 747062"/>
                <a:gd name="connsiteY111" fmla="*/ 46795 h 279768"/>
                <a:gd name="connsiteX112" fmla="*/ 180903 w 747062"/>
                <a:gd name="connsiteY112" fmla="*/ 41247 h 279768"/>
                <a:gd name="connsiteX113" fmla="*/ 187344 w 747062"/>
                <a:gd name="connsiteY113" fmla="*/ 34940 h 279768"/>
                <a:gd name="connsiteX114" fmla="*/ 249361 w 747062"/>
                <a:gd name="connsiteY114" fmla="*/ 34940 h 279768"/>
                <a:gd name="connsiteX115" fmla="*/ 255802 w 747062"/>
                <a:gd name="connsiteY115" fmla="*/ 41247 h 279768"/>
                <a:gd name="connsiteX116" fmla="*/ 252433 w 747062"/>
                <a:gd name="connsiteY116" fmla="*/ 46795 h 279768"/>
                <a:gd name="connsiteX117" fmla="*/ 252433 w 747062"/>
                <a:gd name="connsiteY117" fmla="*/ 52505 h 279768"/>
                <a:gd name="connsiteX118" fmla="*/ 249361 w 747062"/>
                <a:gd name="connsiteY118" fmla="*/ 55514 h 279768"/>
                <a:gd name="connsiteX119" fmla="*/ 246289 w 747062"/>
                <a:gd name="connsiteY119" fmla="*/ 52505 h 279768"/>
                <a:gd name="connsiteX120" fmla="*/ 246289 w 747062"/>
                <a:gd name="connsiteY120" fmla="*/ 46795 h 279768"/>
                <a:gd name="connsiteX121" fmla="*/ 242919 w 747062"/>
                <a:gd name="connsiteY121" fmla="*/ 41247 h 279768"/>
                <a:gd name="connsiteX122" fmla="*/ 249361 w 747062"/>
                <a:gd name="connsiteY122" fmla="*/ 34940 h 279768"/>
                <a:gd name="connsiteX123" fmla="*/ 373445 w 747062"/>
                <a:gd name="connsiteY123" fmla="*/ 34940 h 279768"/>
                <a:gd name="connsiteX124" fmla="*/ 379885 w 747062"/>
                <a:gd name="connsiteY124" fmla="*/ 41247 h 279768"/>
                <a:gd name="connsiteX125" fmla="*/ 376517 w 747062"/>
                <a:gd name="connsiteY125" fmla="*/ 46795 h 279768"/>
                <a:gd name="connsiteX126" fmla="*/ 376517 w 747062"/>
                <a:gd name="connsiteY126" fmla="*/ 52505 h 279768"/>
                <a:gd name="connsiteX127" fmla="*/ 373445 w 747062"/>
                <a:gd name="connsiteY127" fmla="*/ 55514 h 279768"/>
                <a:gd name="connsiteX128" fmla="*/ 370372 w 747062"/>
                <a:gd name="connsiteY128" fmla="*/ 52505 h 279768"/>
                <a:gd name="connsiteX129" fmla="*/ 370372 w 747062"/>
                <a:gd name="connsiteY129" fmla="*/ 46795 h 279768"/>
                <a:gd name="connsiteX130" fmla="*/ 367003 w 747062"/>
                <a:gd name="connsiteY130" fmla="*/ 41247 h 279768"/>
                <a:gd name="connsiteX131" fmla="*/ 373445 w 747062"/>
                <a:gd name="connsiteY131" fmla="*/ 34940 h 279768"/>
                <a:gd name="connsiteX132" fmla="*/ 663331 w 747062"/>
                <a:gd name="connsiteY132" fmla="*/ 34940 h 279768"/>
                <a:gd name="connsiteX133" fmla="*/ 669772 w 747062"/>
                <a:gd name="connsiteY133" fmla="*/ 41247 h 279768"/>
                <a:gd name="connsiteX134" fmla="*/ 666403 w 747062"/>
                <a:gd name="connsiteY134" fmla="*/ 46795 h 279768"/>
                <a:gd name="connsiteX135" fmla="*/ 666403 w 747062"/>
                <a:gd name="connsiteY135" fmla="*/ 52505 h 279768"/>
                <a:gd name="connsiteX136" fmla="*/ 663331 w 747062"/>
                <a:gd name="connsiteY136" fmla="*/ 55514 h 279768"/>
                <a:gd name="connsiteX137" fmla="*/ 660259 w 747062"/>
                <a:gd name="connsiteY137" fmla="*/ 52505 h 279768"/>
                <a:gd name="connsiteX138" fmla="*/ 660259 w 747062"/>
                <a:gd name="connsiteY138" fmla="*/ 46795 h 279768"/>
                <a:gd name="connsiteX139" fmla="*/ 656889 w 747062"/>
                <a:gd name="connsiteY139" fmla="*/ 41247 h 279768"/>
                <a:gd name="connsiteX140" fmla="*/ 663331 w 747062"/>
                <a:gd name="connsiteY140" fmla="*/ 34940 h 279768"/>
                <a:gd name="connsiteX141" fmla="*/ 70854 w 747062"/>
                <a:gd name="connsiteY141" fmla="*/ 16445 h 279768"/>
                <a:gd name="connsiteX142" fmla="*/ 78712 w 747062"/>
                <a:gd name="connsiteY142" fmla="*/ 18100 h 279768"/>
                <a:gd name="connsiteX143" fmla="*/ 80885 w 747062"/>
                <a:gd name="connsiteY143" fmla="*/ 20490 h 279768"/>
                <a:gd name="connsiteX144" fmla="*/ 82389 w 747062"/>
                <a:gd name="connsiteY144" fmla="*/ 23065 h 279768"/>
                <a:gd name="connsiteX145" fmla="*/ 83058 w 747062"/>
                <a:gd name="connsiteY145" fmla="*/ 24904 h 279768"/>
                <a:gd name="connsiteX146" fmla="*/ 83727 w 747062"/>
                <a:gd name="connsiteY146" fmla="*/ 27662 h 279768"/>
                <a:gd name="connsiteX147" fmla="*/ 84396 w 747062"/>
                <a:gd name="connsiteY147" fmla="*/ 32444 h 279768"/>
                <a:gd name="connsiteX148" fmla="*/ 83727 w 747062"/>
                <a:gd name="connsiteY148" fmla="*/ 37409 h 279768"/>
                <a:gd name="connsiteX149" fmla="*/ 82890 w 747062"/>
                <a:gd name="connsiteY149" fmla="*/ 39983 h 279768"/>
                <a:gd name="connsiteX150" fmla="*/ 81386 w 747062"/>
                <a:gd name="connsiteY150" fmla="*/ 42926 h 279768"/>
                <a:gd name="connsiteX151" fmla="*/ 79046 w 747062"/>
                <a:gd name="connsiteY151" fmla="*/ 45868 h 279768"/>
                <a:gd name="connsiteX152" fmla="*/ 76037 w 747062"/>
                <a:gd name="connsiteY152" fmla="*/ 47707 h 279768"/>
                <a:gd name="connsiteX153" fmla="*/ 67677 w 747062"/>
                <a:gd name="connsiteY153" fmla="*/ 46052 h 279768"/>
                <a:gd name="connsiteX154" fmla="*/ 65504 w 747062"/>
                <a:gd name="connsiteY154" fmla="*/ 43661 h 279768"/>
                <a:gd name="connsiteX155" fmla="*/ 63832 w 747062"/>
                <a:gd name="connsiteY155" fmla="*/ 40719 h 279768"/>
                <a:gd name="connsiteX156" fmla="*/ 63164 w 747062"/>
                <a:gd name="connsiteY156" fmla="*/ 39248 h 279768"/>
                <a:gd name="connsiteX157" fmla="*/ 62328 w 747062"/>
                <a:gd name="connsiteY157" fmla="*/ 36306 h 279768"/>
                <a:gd name="connsiteX158" fmla="*/ 62662 w 747062"/>
                <a:gd name="connsiteY158" fmla="*/ 26927 h 279768"/>
                <a:gd name="connsiteX159" fmla="*/ 63331 w 747062"/>
                <a:gd name="connsiteY159" fmla="*/ 24904 h 279768"/>
                <a:gd name="connsiteX160" fmla="*/ 64166 w 747062"/>
                <a:gd name="connsiteY160" fmla="*/ 22881 h 279768"/>
                <a:gd name="connsiteX161" fmla="*/ 65672 w 747062"/>
                <a:gd name="connsiteY161" fmla="*/ 20490 h 279768"/>
                <a:gd name="connsiteX162" fmla="*/ 68179 w 747062"/>
                <a:gd name="connsiteY162" fmla="*/ 17916 h 279768"/>
                <a:gd name="connsiteX163" fmla="*/ 70854 w 747062"/>
                <a:gd name="connsiteY163" fmla="*/ 16445 h 279768"/>
                <a:gd name="connsiteX164" fmla="*/ 308823 w 747062"/>
                <a:gd name="connsiteY164" fmla="*/ 16445 h 279768"/>
                <a:gd name="connsiteX165" fmla="*/ 316680 w 747062"/>
                <a:gd name="connsiteY165" fmla="*/ 18100 h 279768"/>
                <a:gd name="connsiteX166" fmla="*/ 318853 w 747062"/>
                <a:gd name="connsiteY166" fmla="*/ 20490 h 279768"/>
                <a:gd name="connsiteX167" fmla="*/ 320358 w 747062"/>
                <a:gd name="connsiteY167" fmla="*/ 23065 h 279768"/>
                <a:gd name="connsiteX168" fmla="*/ 321027 w 747062"/>
                <a:gd name="connsiteY168" fmla="*/ 24904 h 279768"/>
                <a:gd name="connsiteX169" fmla="*/ 321695 w 747062"/>
                <a:gd name="connsiteY169" fmla="*/ 27662 h 279768"/>
                <a:gd name="connsiteX170" fmla="*/ 322364 w 747062"/>
                <a:gd name="connsiteY170" fmla="*/ 32444 h 279768"/>
                <a:gd name="connsiteX171" fmla="*/ 321695 w 747062"/>
                <a:gd name="connsiteY171" fmla="*/ 37409 h 279768"/>
                <a:gd name="connsiteX172" fmla="*/ 320860 w 747062"/>
                <a:gd name="connsiteY172" fmla="*/ 39983 h 279768"/>
                <a:gd name="connsiteX173" fmla="*/ 319355 w 747062"/>
                <a:gd name="connsiteY173" fmla="*/ 42926 h 279768"/>
                <a:gd name="connsiteX174" fmla="*/ 317014 w 747062"/>
                <a:gd name="connsiteY174" fmla="*/ 45868 h 279768"/>
                <a:gd name="connsiteX175" fmla="*/ 314005 w 747062"/>
                <a:gd name="connsiteY175" fmla="*/ 47707 h 279768"/>
                <a:gd name="connsiteX176" fmla="*/ 305646 w 747062"/>
                <a:gd name="connsiteY176" fmla="*/ 46052 h 279768"/>
                <a:gd name="connsiteX177" fmla="*/ 303473 w 747062"/>
                <a:gd name="connsiteY177" fmla="*/ 43661 h 279768"/>
                <a:gd name="connsiteX178" fmla="*/ 301801 w 747062"/>
                <a:gd name="connsiteY178" fmla="*/ 40719 h 279768"/>
                <a:gd name="connsiteX179" fmla="*/ 301132 w 747062"/>
                <a:gd name="connsiteY179" fmla="*/ 39248 h 279768"/>
                <a:gd name="connsiteX180" fmla="*/ 300297 w 747062"/>
                <a:gd name="connsiteY180" fmla="*/ 36306 h 279768"/>
                <a:gd name="connsiteX181" fmla="*/ 300631 w 747062"/>
                <a:gd name="connsiteY181" fmla="*/ 26927 h 279768"/>
                <a:gd name="connsiteX182" fmla="*/ 301300 w 747062"/>
                <a:gd name="connsiteY182" fmla="*/ 24904 h 279768"/>
                <a:gd name="connsiteX183" fmla="*/ 302136 w 747062"/>
                <a:gd name="connsiteY183" fmla="*/ 22881 h 279768"/>
                <a:gd name="connsiteX184" fmla="*/ 303640 w 747062"/>
                <a:gd name="connsiteY184" fmla="*/ 20490 h 279768"/>
                <a:gd name="connsiteX185" fmla="*/ 306148 w 747062"/>
                <a:gd name="connsiteY185" fmla="*/ 17916 h 279768"/>
                <a:gd name="connsiteX186" fmla="*/ 308823 w 747062"/>
                <a:gd name="connsiteY186" fmla="*/ 16445 h 279768"/>
                <a:gd name="connsiteX187" fmla="*/ 432906 w 747062"/>
                <a:gd name="connsiteY187" fmla="*/ 16445 h 279768"/>
                <a:gd name="connsiteX188" fmla="*/ 440764 w 747062"/>
                <a:gd name="connsiteY188" fmla="*/ 18100 h 279768"/>
                <a:gd name="connsiteX189" fmla="*/ 442937 w 747062"/>
                <a:gd name="connsiteY189" fmla="*/ 20490 h 279768"/>
                <a:gd name="connsiteX190" fmla="*/ 444441 w 747062"/>
                <a:gd name="connsiteY190" fmla="*/ 23065 h 279768"/>
                <a:gd name="connsiteX191" fmla="*/ 445110 w 747062"/>
                <a:gd name="connsiteY191" fmla="*/ 24904 h 279768"/>
                <a:gd name="connsiteX192" fmla="*/ 445779 w 747062"/>
                <a:gd name="connsiteY192" fmla="*/ 27662 h 279768"/>
                <a:gd name="connsiteX193" fmla="*/ 446448 w 747062"/>
                <a:gd name="connsiteY193" fmla="*/ 32444 h 279768"/>
                <a:gd name="connsiteX194" fmla="*/ 445779 w 747062"/>
                <a:gd name="connsiteY194" fmla="*/ 37409 h 279768"/>
                <a:gd name="connsiteX195" fmla="*/ 444943 w 747062"/>
                <a:gd name="connsiteY195" fmla="*/ 39983 h 279768"/>
                <a:gd name="connsiteX196" fmla="*/ 443439 w 747062"/>
                <a:gd name="connsiteY196" fmla="*/ 42926 h 279768"/>
                <a:gd name="connsiteX197" fmla="*/ 441098 w 747062"/>
                <a:gd name="connsiteY197" fmla="*/ 45868 h 279768"/>
                <a:gd name="connsiteX198" fmla="*/ 438089 w 747062"/>
                <a:gd name="connsiteY198" fmla="*/ 47707 h 279768"/>
                <a:gd name="connsiteX199" fmla="*/ 429730 w 747062"/>
                <a:gd name="connsiteY199" fmla="*/ 46052 h 279768"/>
                <a:gd name="connsiteX200" fmla="*/ 427556 w 747062"/>
                <a:gd name="connsiteY200" fmla="*/ 43661 h 279768"/>
                <a:gd name="connsiteX201" fmla="*/ 425885 w 747062"/>
                <a:gd name="connsiteY201" fmla="*/ 40719 h 279768"/>
                <a:gd name="connsiteX202" fmla="*/ 425216 w 747062"/>
                <a:gd name="connsiteY202" fmla="*/ 39248 h 279768"/>
                <a:gd name="connsiteX203" fmla="*/ 424380 w 747062"/>
                <a:gd name="connsiteY203" fmla="*/ 36306 h 279768"/>
                <a:gd name="connsiteX204" fmla="*/ 424714 w 747062"/>
                <a:gd name="connsiteY204" fmla="*/ 26927 h 279768"/>
                <a:gd name="connsiteX205" fmla="*/ 425383 w 747062"/>
                <a:gd name="connsiteY205" fmla="*/ 24904 h 279768"/>
                <a:gd name="connsiteX206" fmla="*/ 426219 w 747062"/>
                <a:gd name="connsiteY206" fmla="*/ 22881 h 279768"/>
                <a:gd name="connsiteX207" fmla="*/ 427724 w 747062"/>
                <a:gd name="connsiteY207" fmla="*/ 20490 h 279768"/>
                <a:gd name="connsiteX208" fmla="*/ 430231 w 747062"/>
                <a:gd name="connsiteY208" fmla="*/ 17916 h 279768"/>
                <a:gd name="connsiteX209" fmla="*/ 432906 w 747062"/>
                <a:gd name="connsiteY209" fmla="*/ 16445 h 279768"/>
                <a:gd name="connsiteX210" fmla="*/ 598709 w 747062"/>
                <a:gd name="connsiteY210" fmla="*/ 16445 h 279768"/>
                <a:gd name="connsiteX211" fmla="*/ 606566 w 747062"/>
                <a:gd name="connsiteY211" fmla="*/ 18100 h 279768"/>
                <a:gd name="connsiteX212" fmla="*/ 608739 w 747062"/>
                <a:gd name="connsiteY212" fmla="*/ 20490 h 279768"/>
                <a:gd name="connsiteX213" fmla="*/ 610244 w 747062"/>
                <a:gd name="connsiteY213" fmla="*/ 23065 h 279768"/>
                <a:gd name="connsiteX214" fmla="*/ 610913 w 747062"/>
                <a:gd name="connsiteY214" fmla="*/ 24904 h 279768"/>
                <a:gd name="connsiteX215" fmla="*/ 611582 w 747062"/>
                <a:gd name="connsiteY215" fmla="*/ 27662 h 279768"/>
                <a:gd name="connsiteX216" fmla="*/ 612250 w 747062"/>
                <a:gd name="connsiteY216" fmla="*/ 32444 h 279768"/>
                <a:gd name="connsiteX217" fmla="*/ 611582 w 747062"/>
                <a:gd name="connsiteY217" fmla="*/ 37409 h 279768"/>
                <a:gd name="connsiteX218" fmla="*/ 610746 w 747062"/>
                <a:gd name="connsiteY218" fmla="*/ 39983 h 279768"/>
                <a:gd name="connsiteX219" fmla="*/ 609241 w 747062"/>
                <a:gd name="connsiteY219" fmla="*/ 42926 h 279768"/>
                <a:gd name="connsiteX220" fmla="*/ 606900 w 747062"/>
                <a:gd name="connsiteY220" fmla="*/ 45868 h 279768"/>
                <a:gd name="connsiteX221" fmla="*/ 603892 w 747062"/>
                <a:gd name="connsiteY221" fmla="*/ 47707 h 279768"/>
                <a:gd name="connsiteX222" fmla="*/ 595533 w 747062"/>
                <a:gd name="connsiteY222" fmla="*/ 46052 h 279768"/>
                <a:gd name="connsiteX223" fmla="*/ 593359 w 747062"/>
                <a:gd name="connsiteY223" fmla="*/ 43661 h 279768"/>
                <a:gd name="connsiteX224" fmla="*/ 591687 w 747062"/>
                <a:gd name="connsiteY224" fmla="*/ 40719 h 279768"/>
                <a:gd name="connsiteX225" fmla="*/ 591019 w 747062"/>
                <a:gd name="connsiteY225" fmla="*/ 39248 h 279768"/>
                <a:gd name="connsiteX226" fmla="*/ 590183 w 747062"/>
                <a:gd name="connsiteY226" fmla="*/ 36306 h 279768"/>
                <a:gd name="connsiteX227" fmla="*/ 590517 w 747062"/>
                <a:gd name="connsiteY227" fmla="*/ 26927 h 279768"/>
                <a:gd name="connsiteX228" fmla="*/ 591186 w 747062"/>
                <a:gd name="connsiteY228" fmla="*/ 24904 h 279768"/>
                <a:gd name="connsiteX229" fmla="*/ 592022 w 747062"/>
                <a:gd name="connsiteY229" fmla="*/ 22881 h 279768"/>
                <a:gd name="connsiteX230" fmla="*/ 593526 w 747062"/>
                <a:gd name="connsiteY230" fmla="*/ 20490 h 279768"/>
                <a:gd name="connsiteX231" fmla="*/ 596034 w 747062"/>
                <a:gd name="connsiteY231" fmla="*/ 17916 h 279768"/>
                <a:gd name="connsiteX232" fmla="*/ 598709 w 747062"/>
                <a:gd name="connsiteY232" fmla="*/ 16445 h 279768"/>
                <a:gd name="connsiteX233" fmla="*/ 724518 w 747062"/>
                <a:gd name="connsiteY233" fmla="*/ 11148 h 279768"/>
                <a:gd name="connsiteX234" fmla="*/ 732448 w 747062"/>
                <a:gd name="connsiteY234" fmla="*/ 16405 h 279768"/>
                <a:gd name="connsiteX235" fmla="*/ 733078 w 747062"/>
                <a:gd name="connsiteY235" fmla="*/ 19522 h 279768"/>
                <a:gd name="connsiteX236" fmla="*/ 730873 w 747062"/>
                <a:gd name="connsiteY236" fmla="*/ 19522 h 279768"/>
                <a:gd name="connsiteX237" fmla="*/ 718348 w 747062"/>
                <a:gd name="connsiteY237" fmla="*/ 19522 h 279768"/>
                <a:gd name="connsiteX238" fmla="*/ 715958 w 747062"/>
                <a:gd name="connsiteY238" fmla="*/ 19522 h 279768"/>
                <a:gd name="connsiteX239" fmla="*/ 716587 w 747062"/>
                <a:gd name="connsiteY239" fmla="*/ 16405 h 279768"/>
                <a:gd name="connsiteX240" fmla="*/ 724518 w 747062"/>
                <a:gd name="connsiteY240" fmla="*/ 11148 h 279768"/>
                <a:gd name="connsiteX241" fmla="*/ 187522 w 747062"/>
                <a:gd name="connsiteY241" fmla="*/ 8607 h 279768"/>
                <a:gd name="connsiteX242" fmla="*/ 195453 w 747062"/>
                <a:gd name="connsiteY242" fmla="*/ 13864 h 279768"/>
                <a:gd name="connsiteX243" fmla="*/ 196082 w 747062"/>
                <a:gd name="connsiteY243" fmla="*/ 16981 h 279768"/>
                <a:gd name="connsiteX244" fmla="*/ 193878 w 747062"/>
                <a:gd name="connsiteY244" fmla="*/ 16981 h 279768"/>
                <a:gd name="connsiteX245" fmla="*/ 181352 w 747062"/>
                <a:gd name="connsiteY245" fmla="*/ 16981 h 279768"/>
                <a:gd name="connsiteX246" fmla="*/ 178962 w 747062"/>
                <a:gd name="connsiteY246" fmla="*/ 16981 h 279768"/>
                <a:gd name="connsiteX247" fmla="*/ 179592 w 747062"/>
                <a:gd name="connsiteY247" fmla="*/ 13864 h 279768"/>
                <a:gd name="connsiteX248" fmla="*/ 187522 w 747062"/>
                <a:gd name="connsiteY248" fmla="*/ 8607 h 279768"/>
                <a:gd name="connsiteX249" fmla="*/ 249539 w 747062"/>
                <a:gd name="connsiteY249" fmla="*/ 8607 h 279768"/>
                <a:gd name="connsiteX250" fmla="*/ 257469 w 747062"/>
                <a:gd name="connsiteY250" fmla="*/ 13864 h 279768"/>
                <a:gd name="connsiteX251" fmla="*/ 258099 w 747062"/>
                <a:gd name="connsiteY251" fmla="*/ 16981 h 279768"/>
                <a:gd name="connsiteX252" fmla="*/ 255895 w 747062"/>
                <a:gd name="connsiteY252" fmla="*/ 16981 h 279768"/>
                <a:gd name="connsiteX253" fmla="*/ 243369 w 747062"/>
                <a:gd name="connsiteY253" fmla="*/ 16981 h 279768"/>
                <a:gd name="connsiteX254" fmla="*/ 240979 w 747062"/>
                <a:gd name="connsiteY254" fmla="*/ 16981 h 279768"/>
                <a:gd name="connsiteX255" fmla="*/ 241609 w 747062"/>
                <a:gd name="connsiteY255" fmla="*/ 13864 h 279768"/>
                <a:gd name="connsiteX256" fmla="*/ 249539 w 747062"/>
                <a:gd name="connsiteY256" fmla="*/ 8607 h 279768"/>
                <a:gd name="connsiteX257" fmla="*/ 373623 w 747062"/>
                <a:gd name="connsiteY257" fmla="*/ 8607 h 279768"/>
                <a:gd name="connsiteX258" fmla="*/ 381553 w 747062"/>
                <a:gd name="connsiteY258" fmla="*/ 13864 h 279768"/>
                <a:gd name="connsiteX259" fmla="*/ 382183 w 747062"/>
                <a:gd name="connsiteY259" fmla="*/ 16981 h 279768"/>
                <a:gd name="connsiteX260" fmla="*/ 379979 w 747062"/>
                <a:gd name="connsiteY260" fmla="*/ 16981 h 279768"/>
                <a:gd name="connsiteX261" fmla="*/ 367453 w 747062"/>
                <a:gd name="connsiteY261" fmla="*/ 16981 h 279768"/>
                <a:gd name="connsiteX262" fmla="*/ 365063 w 747062"/>
                <a:gd name="connsiteY262" fmla="*/ 16981 h 279768"/>
                <a:gd name="connsiteX263" fmla="*/ 365692 w 747062"/>
                <a:gd name="connsiteY263" fmla="*/ 13864 h 279768"/>
                <a:gd name="connsiteX264" fmla="*/ 373623 w 747062"/>
                <a:gd name="connsiteY264" fmla="*/ 8607 h 279768"/>
                <a:gd name="connsiteX265" fmla="*/ 663509 w 747062"/>
                <a:gd name="connsiteY265" fmla="*/ 8607 h 279768"/>
                <a:gd name="connsiteX266" fmla="*/ 671439 w 747062"/>
                <a:gd name="connsiteY266" fmla="*/ 13864 h 279768"/>
                <a:gd name="connsiteX267" fmla="*/ 672069 w 747062"/>
                <a:gd name="connsiteY267" fmla="*/ 16981 h 279768"/>
                <a:gd name="connsiteX268" fmla="*/ 669865 w 747062"/>
                <a:gd name="connsiteY268" fmla="*/ 16981 h 279768"/>
                <a:gd name="connsiteX269" fmla="*/ 657339 w 747062"/>
                <a:gd name="connsiteY269" fmla="*/ 16981 h 279768"/>
                <a:gd name="connsiteX270" fmla="*/ 654949 w 747062"/>
                <a:gd name="connsiteY270" fmla="*/ 16981 h 279768"/>
                <a:gd name="connsiteX271" fmla="*/ 655579 w 747062"/>
                <a:gd name="connsiteY271" fmla="*/ 13864 h 279768"/>
                <a:gd name="connsiteX272" fmla="*/ 663509 w 747062"/>
                <a:gd name="connsiteY272" fmla="*/ 8607 h 279768"/>
                <a:gd name="connsiteX273" fmla="*/ 18022 w 747062"/>
                <a:gd name="connsiteY273" fmla="*/ 5642 h 279768"/>
                <a:gd name="connsiteX274" fmla="*/ 15263 w 747062"/>
                <a:gd name="connsiteY274" fmla="*/ 5642 h 279768"/>
                <a:gd name="connsiteX275" fmla="*/ 12137 w 747062"/>
                <a:gd name="connsiteY275" fmla="*/ 7297 h 279768"/>
                <a:gd name="connsiteX276" fmla="*/ 10666 w 747062"/>
                <a:gd name="connsiteY276" fmla="*/ 11526 h 279768"/>
                <a:gd name="connsiteX277" fmla="*/ 10666 w 747062"/>
                <a:gd name="connsiteY277" fmla="*/ 11894 h 279768"/>
                <a:gd name="connsiteX278" fmla="*/ 10666 w 747062"/>
                <a:gd name="connsiteY278" fmla="*/ 47938 h 279768"/>
                <a:gd name="connsiteX279" fmla="*/ 10298 w 747062"/>
                <a:gd name="connsiteY279" fmla="*/ 48305 h 279768"/>
                <a:gd name="connsiteX280" fmla="*/ 5333 w 747062"/>
                <a:gd name="connsiteY280" fmla="*/ 48305 h 279768"/>
                <a:gd name="connsiteX281" fmla="*/ 2575 w 747062"/>
                <a:gd name="connsiteY281" fmla="*/ 49041 h 279768"/>
                <a:gd name="connsiteX282" fmla="*/ 0 w 747062"/>
                <a:gd name="connsiteY282" fmla="*/ 53639 h 279768"/>
                <a:gd name="connsiteX283" fmla="*/ 1839 w 747062"/>
                <a:gd name="connsiteY283" fmla="*/ 57500 h 279768"/>
                <a:gd name="connsiteX284" fmla="*/ 4597 w 747062"/>
                <a:gd name="connsiteY284" fmla="*/ 58787 h 279768"/>
                <a:gd name="connsiteX285" fmla="*/ 4781 w 747062"/>
                <a:gd name="connsiteY285" fmla="*/ 58787 h 279768"/>
                <a:gd name="connsiteX286" fmla="*/ 4965 w 747062"/>
                <a:gd name="connsiteY286" fmla="*/ 58787 h 279768"/>
                <a:gd name="connsiteX287" fmla="*/ 5333 w 747062"/>
                <a:gd name="connsiteY287" fmla="*/ 58787 h 279768"/>
                <a:gd name="connsiteX288" fmla="*/ 27216 w 747062"/>
                <a:gd name="connsiteY288" fmla="*/ 58787 h 279768"/>
                <a:gd name="connsiteX289" fmla="*/ 27584 w 747062"/>
                <a:gd name="connsiteY289" fmla="*/ 58787 h 279768"/>
                <a:gd name="connsiteX290" fmla="*/ 28136 w 747062"/>
                <a:gd name="connsiteY290" fmla="*/ 58787 h 279768"/>
                <a:gd name="connsiteX291" fmla="*/ 28687 w 747062"/>
                <a:gd name="connsiteY291" fmla="*/ 58604 h 279768"/>
                <a:gd name="connsiteX292" fmla="*/ 31078 w 747062"/>
                <a:gd name="connsiteY292" fmla="*/ 57316 h 279768"/>
                <a:gd name="connsiteX293" fmla="*/ 32733 w 747062"/>
                <a:gd name="connsiteY293" fmla="*/ 53454 h 279768"/>
                <a:gd name="connsiteX294" fmla="*/ 31262 w 747062"/>
                <a:gd name="connsiteY294" fmla="*/ 49961 h 279768"/>
                <a:gd name="connsiteX295" fmla="*/ 27400 w 747062"/>
                <a:gd name="connsiteY295" fmla="*/ 48305 h 279768"/>
                <a:gd name="connsiteX296" fmla="*/ 22067 w 747062"/>
                <a:gd name="connsiteY296" fmla="*/ 48305 h 279768"/>
                <a:gd name="connsiteX297" fmla="*/ 21699 w 747062"/>
                <a:gd name="connsiteY297" fmla="*/ 47938 h 279768"/>
                <a:gd name="connsiteX298" fmla="*/ 21699 w 747062"/>
                <a:gd name="connsiteY298" fmla="*/ 16676 h 279768"/>
                <a:gd name="connsiteX299" fmla="*/ 22067 w 747062"/>
                <a:gd name="connsiteY299" fmla="*/ 16308 h 279768"/>
                <a:gd name="connsiteX300" fmla="*/ 26112 w 747062"/>
                <a:gd name="connsiteY300" fmla="*/ 16308 h 279768"/>
                <a:gd name="connsiteX301" fmla="*/ 31078 w 747062"/>
                <a:gd name="connsiteY301" fmla="*/ 13182 h 279768"/>
                <a:gd name="connsiteX302" fmla="*/ 31262 w 747062"/>
                <a:gd name="connsiteY302" fmla="*/ 9320 h 279768"/>
                <a:gd name="connsiteX303" fmla="*/ 26297 w 747062"/>
                <a:gd name="connsiteY303" fmla="*/ 5826 h 279768"/>
                <a:gd name="connsiteX304" fmla="*/ 18022 w 747062"/>
                <a:gd name="connsiteY304" fmla="*/ 5642 h 279768"/>
                <a:gd name="connsiteX305" fmla="*/ 131959 w 747062"/>
                <a:gd name="connsiteY305" fmla="*/ 5642 h 279768"/>
                <a:gd name="connsiteX306" fmla="*/ 129200 w 747062"/>
                <a:gd name="connsiteY306" fmla="*/ 5642 h 279768"/>
                <a:gd name="connsiteX307" fmla="*/ 126075 w 747062"/>
                <a:gd name="connsiteY307" fmla="*/ 7297 h 279768"/>
                <a:gd name="connsiteX308" fmla="*/ 124603 w 747062"/>
                <a:gd name="connsiteY308" fmla="*/ 11526 h 279768"/>
                <a:gd name="connsiteX309" fmla="*/ 124603 w 747062"/>
                <a:gd name="connsiteY309" fmla="*/ 11894 h 279768"/>
                <a:gd name="connsiteX310" fmla="*/ 124603 w 747062"/>
                <a:gd name="connsiteY310" fmla="*/ 47938 h 279768"/>
                <a:gd name="connsiteX311" fmla="*/ 124235 w 747062"/>
                <a:gd name="connsiteY311" fmla="*/ 48305 h 279768"/>
                <a:gd name="connsiteX312" fmla="*/ 119271 w 747062"/>
                <a:gd name="connsiteY312" fmla="*/ 48305 h 279768"/>
                <a:gd name="connsiteX313" fmla="*/ 116512 w 747062"/>
                <a:gd name="connsiteY313" fmla="*/ 49041 h 279768"/>
                <a:gd name="connsiteX314" fmla="*/ 113938 w 747062"/>
                <a:gd name="connsiteY314" fmla="*/ 53639 h 279768"/>
                <a:gd name="connsiteX315" fmla="*/ 115776 w 747062"/>
                <a:gd name="connsiteY315" fmla="*/ 57500 h 279768"/>
                <a:gd name="connsiteX316" fmla="*/ 118535 w 747062"/>
                <a:gd name="connsiteY316" fmla="*/ 58787 h 279768"/>
                <a:gd name="connsiteX317" fmla="*/ 118718 w 747062"/>
                <a:gd name="connsiteY317" fmla="*/ 58787 h 279768"/>
                <a:gd name="connsiteX318" fmla="*/ 118903 w 747062"/>
                <a:gd name="connsiteY318" fmla="*/ 58787 h 279768"/>
                <a:gd name="connsiteX319" fmla="*/ 119271 w 747062"/>
                <a:gd name="connsiteY319" fmla="*/ 58787 h 279768"/>
                <a:gd name="connsiteX320" fmla="*/ 141154 w 747062"/>
                <a:gd name="connsiteY320" fmla="*/ 58787 h 279768"/>
                <a:gd name="connsiteX321" fmla="*/ 141521 w 747062"/>
                <a:gd name="connsiteY321" fmla="*/ 58787 h 279768"/>
                <a:gd name="connsiteX322" fmla="*/ 142073 w 747062"/>
                <a:gd name="connsiteY322" fmla="*/ 58787 h 279768"/>
                <a:gd name="connsiteX323" fmla="*/ 142625 w 747062"/>
                <a:gd name="connsiteY323" fmla="*/ 58604 h 279768"/>
                <a:gd name="connsiteX324" fmla="*/ 145015 w 747062"/>
                <a:gd name="connsiteY324" fmla="*/ 57316 h 279768"/>
                <a:gd name="connsiteX325" fmla="*/ 146670 w 747062"/>
                <a:gd name="connsiteY325" fmla="*/ 53454 h 279768"/>
                <a:gd name="connsiteX326" fmla="*/ 145199 w 747062"/>
                <a:gd name="connsiteY326" fmla="*/ 49961 h 279768"/>
                <a:gd name="connsiteX327" fmla="*/ 141337 w 747062"/>
                <a:gd name="connsiteY327" fmla="*/ 48305 h 279768"/>
                <a:gd name="connsiteX328" fmla="*/ 136004 w 747062"/>
                <a:gd name="connsiteY328" fmla="*/ 48305 h 279768"/>
                <a:gd name="connsiteX329" fmla="*/ 135636 w 747062"/>
                <a:gd name="connsiteY329" fmla="*/ 47938 h 279768"/>
                <a:gd name="connsiteX330" fmla="*/ 135636 w 747062"/>
                <a:gd name="connsiteY330" fmla="*/ 16676 h 279768"/>
                <a:gd name="connsiteX331" fmla="*/ 136004 w 747062"/>
                <a:gd name="connsiteY331" fmla="*/ 16308 h 279768"/>
                <a:gd name="connsiteX332" fmla="*/ 140050 w 747062"/>
                <a:gd name="connsiteY332" fmla="*/ 16308 h 279768"/>
                <a:gd name="connsiteX333" fmla="*/ 145015 w 747062"/>
                <a:gd name="connsiteY333" fmla="*/ 13182 h 279768"/>
                <a:gd name="connsiteX334" fmla="*/ 145199 w 747062"/>
                <a:gd name="connsiteY334" fmla="*/ 9320 h 279768"/>
                <a:gd name="connsiteX335" fmla="*/ 140234 w 747062"/>
                <a:gd name="connsiteY335" fmla="*/ 5826 h 279768"/>
                <a:gd name="connsiteX336" fmla="*/ 131959 w 747062"/>
                <a:gd name="connsiteY336" fmla="*/ 5642 h 279768"/>
                <a:gd name="connsiteX337" fmla="*/ 494011 w 747062"/>
                <a:gd name="connsiteY337" fmla="*/ 5642 h 279768"/>
                <a:gd name="connsiteX338" fmla="*/ 491253 w 747062"/>
                <a:gd name="connsiteY338" fmla="*/ 5642 h 279768"/>
                <a:gd name="connsiteX339" fmla="*/ 488127 w 747062"/>
                <a:gd name="connsiteY339" fmla="*/ 7297 h 279768"/>
                <a:gd name="connsiteX340" fmla="*/ 486656 w 747062"/>
                <a:gd name="connsiteY340" fmla="*/ 11526 h 279768"/>
                <a:gd name="connsiteX341" fmla="*/ 486656 w 747062"/>
                <a:gd name="connsiteY341" fmla="*/ 11894 h 279768"/>
                <a:gd name="connsiteX342" fmla="*/ 486656 w 747062"/>
                <a:gd name="connsiteY342" fmla="*/ 47938 h 279768"/>
                <a:gd name="connsiteX343" fmla="*/ 486288 w 747062"/>
                <a:gd name="connsiteY343" fmla="*/ 48305 h 279768"/>
                <a:gd name="connsiteX344" fmla="*/ 481323 w 747062"/>
                <a:gd name="connsiteY344" fmla="*/ 48305 h 279768"/>
                <a:gd name="connsiteX345" fmla="*/ 478564 w 747062"/>
                <a:gd name="connsiteY345" fmla="*/ 49041 h 279768"/>
                <a:gd name="connsiteX346" fmla="*/ 475990 w 747062"/>
                <a:gd name="connsiteY346" fmla="*/ 53639 h 279768"/>
                <a:gd name="connsiteX347" fmla="*/ 477828 w 747062"/>
                <a:gd name="connsiteY347" fmla="*/ 57500 h 279768"/>
                <a:gd name="connsiteX348" fmla="*/ 480587 w 747062"/>
                <a:gd name="connsiteY348" fmla="*/ 58787 h 279768"/>
                <a:gd name="connsiteX349" fmla="*/ 480771 w 747062"/>
                <a:gd name="connsiteY349" fmla="*/ 58787 h 279768"/>
                <a:gd name="connsiteX350" fmla="*/ 480955 w 747062"/>
                <a:gd name="connsiteY350" fmla="*/ 58787 h 279768"/>
                <a:gd name="connsiteX351" fmla="*/ 481323 w 747062"/>
                <a:gd name="connsiteY351" fmla="*/ 58787 h 279768"/>
                <a:gd name="connsiteX352" fmla="*/ 503206 w 747062"/>
                <a:gd name="connsiteY352" fmla="*/ 58787 h 279768"/>
                <a:gd name="connsiteX353" fmla="*/ 503574 w 747062"/>
                <a:gd name="connsiteY353" fmla="*/ 58787 h 279768"/>
                <a:gd name="connsiteX354" fmla="*/ 504125 w 747062"/>
                <a:gd name="connsiteY354" fmla="*/ 58787 h 279768"/>
                <a:gd name="connsiteX355" fmla="*/ 504677 w 747062"/>
                <a:gd name="connsiteY355" fmla="*/ 58604 h 279768"/>
                <a:gd name="connsiteX356" fmla="*/ 507068 w 747062"/>
                <a:gd name="connsiteY356" fmla="*/ 57316 h 279768"/>
                <a:gd name="connsiteX357" fmla="*/ 508722 w 747062"/>
                <a:gd name="connsiteY357" fmla="*/ 53454 h 279768"/>
                <a:gd name="connsiteX358" fmla="*/ 507251 w 747062"/>
                <a:gd name="connsiteY358" fmla="*/ 49961 h 279768"/>
                <a:gd name="connsiteX359" fmla="*/ 503389 w 747062"/>
                <a:gd name="connsiteY359" fmla="*/ 48305 h 279768"/>
                <a:gd name="connsiteX360" fmla="*/ 498057 w 747062"/>
                <a:gd name="connsiteY360" fmla="*/ 48305 h 279768"/>
                <a:gd name="connsiteX361" fmla="*/ 497689 w 747062"/>
                <a:gd name="connsiteY361" fmla="*/ 47938 h 279768"/>
                <a:gd name="connsiteX362" fmla="*/ 497689 w 747062"/>
                <a:gd name="connsiteY362" fmla="*/ 16676 h 279768"/>
                <a:gd name="connsiteX363" fmla="*/ 498057 w 747062"/>
                <a:gd name="connsiteY363" fmla="*/ 16308 h 279768"/>
                <a:gd name="connsiteX364" fmla="*/ 502102 w 747062"/>
                <a:gd name="connsiteY364" fmla="*/ 16308 h 279768"/>
                <a:gd name="connsiteX365" fmla="*/ 507068 w 747062"/>
                <a:gd name="connsiteY365" fmla="*/ 13182 h 279768"/>
                <a:gd name="connsiteX366" fmla="*/ 507251 w 747062"/>
                <a:gd name="connsiteY366" fmla="*/ 9320 h 279768"/>
                <a:gd name="connsiteX367" fmla="*/ 502286 w 747062"/>
                <a:gd name="connsiteY367" fmla="*/ 5826 h 279768"/>
                <a:gd name="connsiteX368" fmla="*/ 494011 w 747062"/>
                <a:gd name="connsiteY368" fmla="*/ 5642 h 279768"/>
                <a:gd name="connsiteX369" fmla="*/ 545879 w 747062"/>
                <a:gd name="connsiteY369" fmla="*/ 5642 h 279768"/>
                <a:gd name="connsiteX370" fmla="*/ 543121 w 747062"/>
                <a:gd name="connsiteY370" fmla="*/ 5642 h 279768"/>
                <a:gd name="connsiteX371" fmla="*/ 539995 w 747062"/>
                <a:gd name="connsiteY371" fmla="*/ 7297 h 279768"/>
                <a:gd name="connsiteX372" fmla="*/ 538524 w 747062"/>
                <a:gd name="connsiteY372" fmla="*/ 11526 h 279768"/>
                <a:gd name="connsiteX373" fmla="*/ 538524 w 747062"/>
                <a:gd name="connsiteY373" fmla="*/ 11894 h 279768"/>
                <a:gd name="connsiteX374" fmla="*/ 538524 w 747062"/>
                <a:gd name="connsiteY374" fmla="*/ 47938 h 279768"/>
                <a:gd name="connsiteX375" fmla="*/ 538156 w 747062"/>
                <a:gd name="connsiteY375" fmla="*/ 48305 h 279768"/>
                <a:gd name="connsiteX376" fmla="*/ 533191 w 747062"/>
                <a:gd name="connsiteY376" fmla="*/ 48305 h 279768"/>
                <a:gd name="connsiteX377" fmla="*/ 530432 w 747062"/>
                <a:gd name="connsiteY377" fmla="*/ 49041 h 279768"/>
                <a:gd name="connsiteX378" fmla="*/ 527858 w 747062"/>
                <a:gd name="connsiteY378" fmla="*/ 53639 h 279768"/>
                <a:gd name="connsiteX379" fmla="*/ 529696 w 747062"/>
                <a:gd name="connsiteY379" fmla="*/ 57500 h 279768"/>
                <a:gd name="connsiteX380" fmla="*/ 532455 w 747062"/>
                <a:gd name="connsiteY380" fmla="*/ 58787 h 279768"/>
                <a:gd name="connsiteX381" fmla="*/ 532639 w 747062"/>
                <a:gd name="connsiteY381" fmla="*/ 58787 h 279768"/>
                <a:gd name="connsiteX382" fmla="*/ 532823 w 747062"/>
                <a:gd name="connsiteY382" fmla="*/ 58787 h 279768"/>
                <a:gd name="connsiteX383" fmla="*/ 533191 w 747062"/>
                <a:gd name="connsiteY383" fmla="*/ 58787 h 279768"/>
                <a:gd name="connsiteX384" fmla="*/ 555074 w 747062"/>
                <a:gd name="connsiteY384" fmla="*/ 58787 h 279768"/>
                <a:gd name="connsiteX385" fmla="*/ 555442 w 747062"/>
                <a:gd name="connsiteY385" fmla="*/ 58787 h 279768"/>
                <a:gd name="connsiteX386" fmla="*/ 555993 w 747062"/>
                <a:gd name="connsiteY386" fmla="*/ 58787 h 279768"/>
                <a:gd name="connsiteX387" fmla="*/ 556545 w 747062"/>
                <a:gd name="connsiteY387" fmla="*/ 58604 h 279768"/>
                <a:gd name="connsiteX388" fmla="*/ 558936 w 747062"/>
                <a:gd name="connsiteY388" fmla="*/ 57316 h 279768"/>
                <a:gd name="connsiteX389" fmla="*/ 560590 w 747062"/>
                <a:gd name="connsiteY389" fmla="*/ 53454 h 279768"/>
                <a:gd name="connsiteX390" fmla="*/ 559119 w 747062"/>
                <a:gd name="connsiteY390" fmla="*/ 49961 h 279768"/>
                <a:gd name="connsiteX391" fmla="*/ 555257 w 747062"/>
                <a:gd name="connsiteY391" fmla="*/ 48305 h 279768"/>
                <a:gd name="connsiteX392" fmla="*/ 549925 w 747062"/>
                <a:gd name="connsiteY392" fmla="*/ 48305 h 279768"/>
                <a:gd name="connsiteX393" fmla="*/ 549557 w 747062"/>
                <a:gd name="connsiteY393" fmla="*/ 47938 h 279768"/>
                <a:gd name="connsiteX394" fmla="*/ 549557 w 747062"/>
                <a:gd name="connsiteY394" fmla="*/ 16676 h 279768"/>
                <a:gd name="connsiteX395" fmla="*/ 549925 w 747062"/>
                <a:gd name="connsiteY395" fmla="*/ 16308 h 279768"/>
                <a:gd name="connsiteX396" fmla="*/ 553970 w 747062"/>
                <a:gd name="connsiteY396" fmla="*/ 16308 h 279768"/>
                <a:gd name="connsiteX397" fmla="*/ 558936 w 747062"/>
                <a:gd name="connsiteY397" fmla="*/ 13182 h 279768"/>
                <a:gd name="connsiteX398" fmla="*/ 559119 w 747062"/>
                <a:gd name="connsiteY398" fmla="*/ 9320 h 279768"/>
                <a:gd name="connsiteX399" fmla="*/ 554154 w 747062"/>
                <a:gd name="connsiteY399" fmla="*/ 5826 h 279768"/>
                <a:gd name="connsiteX400" fmla="*/ 545879 w 747062"/>
                <a:gd name="connsiteY400" fmla="*/ 5642 h 279768"/>
                <a:gd name="connsiteX401" fmla="*/ 74532 w 747062"/>
                <a:gd name="connsiteY401" fmla="*/ 5595 h 279768"/>
                <a:gd name="connsiteX402" fmla="*/ 66173 w 747062"/>
                <a:gd name="connsiteY402" fmla="*/ 7066 h 279768"/>
                <a:gd name="connsiteX403" fmla="*/ 61158 w 747062"/>
                <a:gd name="connsiteY403" fmla="*/ 10193 h 279768"/>
                <a:gd name="connsiteX404" fmla="*/ 58817 w 747062"/>
                <a:gd name="connsiteY404" fmla="*/ 12399 h 279768"/>
                <a:gd name="connsiteX405" fmla="*/ 56476 w 747062"/>
                <a:gd name="connsiteY405" fmla="*/ 15342 h 279768"/>
                <a:gd name="connsiteX406" fmla="*/ 55139 w 747062"/>
                <a:gd name="connsiteY406" fmla="*/ 17732 h 279768"/>
                <a:gd name="connsiteX407" fmla="*/ 53635 w 747062"/>
                <a:gd name="connsiteY407" fmla="*/ 21410 h 279768"/>
                <a:gd name="connsiteX408" fmla="*/ 52966 w 747062"/>
                <a:gd name="connsiteY408" fmla="*/ 23801 h 279768"/>
                <a:gd name="connsiteX409" fmla="*/ 52297 w 747062"/>
                <a:gd name="connsiteY409" fmla="*/ 27295 h 279768"/>
                <a:gd name="connsiteX410" fmla="*/ 52464 w 747062"/>
                <a:gd name="connsiteY410" fmla="*/ 37041 h 279768"/>
                <a:gd name="connsiteX411" fmla="*/ 53133 w 747062"/>
                <a:gd name="connsiteY411" fmla="*/ 40351 h 279768"/>
                <a:gd name="connsiteX412" fmla="*/ 53969 w 747062"/>
                <a:gd name="connsiteY412" fmla="*/ 42926 h 279768"/>
                <a:gd name="connsiteX413" fmla="*/ 54638 w 747062"/>
                <a:gd name="connsiteY413" fmla="*/ 44581 h 279768"/>
                <a:gd name="connsiteX414" fmla="*/ 56142 w 747062"/>
                <a:gd name="connsiteY414" fmla="*/ 47523 h 279768"/>
                <a:gd name="connsiteX415" fmla="*/ 57647 w 747062"/>
                <a:gd name="connsiteY415" fmla="*/ 49729 h 279768"/>
                <a:gd name="connsiteX416" fmla="*/ 59987 w 747062"/>
                <a:gd name="connsiteY416" fmla="*/ 52304 h 279768"/>
                <a:gd name="connsiteX417" fmla="*/ 62161 w 747062"/>
                <a:gd name="connsiteY417" fmla="*/ 54143 h 279768"/>
                <a:gd name="connsiteX418" fmla="*/ 66005 w 747062"/>
                <a:gd name="connsiteY418" fmla="*/ 56350 h 279768"/>
                <a:gd name="connsiteX419" fmla="*/ 71355 w 747062"/>
                <a:gd name="connsiteY419" fmla="*/ 57821 h 279768"/>
                <a:gd name="connsiteX420" fmla="*/ 72191 w 747062"/>
                <a:gd name="connsiteY420" fmla="*/ 58005 h 279768"/>
                <a:gd name="connsiteX421" fmla="*/ 75034 w 747062"/>
                <a:gd name="connsiteY421" fmla="*/ 58005 h 279768"/>
                <a:gd name="connsiteX422" fmla="*/ 75201 w 747062"/>
                <a:gd name="connsiteY422" fmla="*/ 58005 h 279768"/>
                <a:gd name="connsiteX423" fmla="*/ 84061 w 747062"/>
                <a:gd name="connsiteY423" fmla="*/ 54695 h 279768"/>
                <a:gd name="connsiteX424" fmla="*/ 87237 w 747062"/>
                <a:gd name="connsiteY424" fmla="*/ 51936 h 279768"/>
                <a:gd name="connsiteX425" fmla="*/ 89411 w 747062"/>
                <a:gd name="connsiteY425" fmla="*/ 49362 h 279768"/>
                <a:gd name="connsiteX426" fmla="*/ 90915 w 747062"/>
                <a:gd name="connsiteY426" fmla="*/ 46971 h 279768"/>
                <a:gd name="connsiteX427" fmla="*/ 92420 w 747062"/>
                <a:gd name="connsiteY427" fmla="*/ 44029 h 279768"/>
                <a:gd name="connsiteX428" fmla="*/ 93256 w 747062"/>
                <a:gd name="connsiteY428" fmla="*/ 42006 h 279768"/>
                <a:gd name="connsiteX429" fmla="*/ 93925 w 747062"/>
                <a:gd name="connsiteY429" fmla="*/ 39799 h 279768"/>
                <a:gd name="connsiteX430" fmla="*/ 94761 w 747062"/>
                <a:gd name="connsiteY430" fmla="*/ 35938 h 279768"/>
                <a:gd name="connsiteX431" fmla="*/ 94927 w 747062"/>
                <a:gd name="connsiteY431" fmla="*/ 33915 h 279768"/>
                <a:gd name="connsiteX432" fmla="*/ 94761 w 747062"/>
                <a:gd name="connsiteY432" fmla="*/ 34099 h 279768"/>
                <a:gd name="connsiteX433" fmla="*/ 94761 w 747062"/>
                <a:gd name="connsiteY433" fmla="*/ 30237 h 279768"/>
                <a:gd name="connsiteX434" fmla="*/ 94761 w 747062"/>
                <a:gd name="connsiteY434" fmla="*/ 30053 h 279768"/>
                <a:gd name="connsiteX435" fmla="*/ 94426 w 747062"/>
                <a:gd name="connsiteY435" fmla="*/ 26927 h 279768"/>
                <a:gd name="connsiteX436" fmla="*/ 93590 w 747062"/>
                <a:gd name="connsiteY436" fmla="*/ 23249 h 279768"/>
                <a:gd name="connsiteX437" fmla="*/ 92922 w 747062"/>
                <a:gd name="connsiteY437" fmla="*/ 21042 h 279768"/>
                <a:gd name="connsiteX438" fmla="*/ 91417 w 747062"/>
                <a:gd name="connsiteY438" fmla="*/ 17548 h 279768"/>
                <a:gd name="connsiteX439" fmla="*/ 89912 w 747062"/>
                <a:gd name="connsiteY439" fmla="*/ 14974 h 279768"/>
                <a:gd name="connsiteX440" fmla="*/ 88408 w 747062"/>
                <a:gd name="connsiteY440" fmla="*/ 12951 h 279768"/>
                <a:gd name="connsiteX441" fmla="*/ 86903 w 747062"/>
                <a:gd name="connsiteY441" fmla="*/ 11296 h 279768"/>
                <a:gd name="connsiteX442" fmla="*/ 83727 w 747062"/>
                <a:gd name="connsiteY442" fmla="*/ 8721 h 279768"/>
                <a:gd name="connsiteX443" fmla="*/ 81052 w 747062"/>
                <a:gd name="connsiteY443" fmla="*/ 7250 h 279768"/>
                <a:gd name="connsiteX444" fmla="*/ 74532 w 747062"/>
                <a:gd name="connsiteY444" fmla="*/ 5595 h 279768"/>
                <a:gd name="connsiteX445" fmla="*/ 312500 w 747062"/>
                <a:gd name="connsiteY445" fmla="*/ 5595 h 279768"/>
                <a:gd name="connsiteX446" fmla="*/ 304141 w 747062"/>
                <a:gd name="connsiteY446" fmla="*/ 7066 h 279768"/>
                <a:gd name="connsiteX447" fmla="*/ 299126 w 747062"/>
                <a:gd name="connsiteY447" fmla="*/ 10193 h 279768"/>
                <a:gd name="connsiteX448" fmla="*/ 296786 w 747062"/>
                <a:gd name="connsiteY448" fmla="*/ 12399 h 279768"/>
                <a:gd name="connsiteX449" fmla="*/ 294445 w 747062"/>
                <a:gd name="connsiteY449" fmla="*/ 15342 h 279768"/>
                <a:gd name="connsiteX450" fmla="*/ 293108 w 747062"/>
                <a:gd name="connsiteY450" fmla="*/ 17732 h 279768"/>
                <a:gd name="connsiteX451" fmla="*/ 291603 w 747062"/>
                <a:gd name="connsiteY451" fmla="*/ 21410 h 279768"/>
                <a:gd name="connsiteX452" fmla="*/ 290935 w 747062"/>
                <a:gd name="connsiteY452" fmla="*/ 23801 h 279768"/>
                <a:gd name="connsiteX453" fmla="*/ 290266 w 747062"/>
                <a:gd name="connsiteY453" fmla="*/ 27295 h 279768"/>
                <a:gd name="connsiteX454" fmla="*/ 290433 w 747062"/>
                <a:gd name="connsiteY454" fmla="*/ 37041 h 279768"/>
                <a:gd name="connsiteX455" fmla="*/ 291102 w 747062"/>
                <a:gd name="connsiteY455" fmla="*/ 40351 h 279768"/>
                <a:gd name="connsiteX456" fmla="*/ 291938 w 747062"/>
                <a:gd name="connsiteY456" fmla="*/ 42926 h 279768"/>
                <a:gd name="connsiteX457" fmla="*/ 292606 w 747062"/>
                <a:gd name="connsiteY457" fmla="*/ 44581 h 279768"/>
                <a:gd name="connsiteX458" fmla="*/ 294111 w 747062"/>
                <a:gd name="connsiteY458" fmla="*/ 47523 h 279768"/>
                <a:gd name="connsiteX459" fmla="*/ 295615 w 747062"/>
                <a:gd name="connsiteY459" fmla="*/ 49729 h 279768"/>
                <a:gd name="connsiteX460" fmla="*/ 297956 w 747062"/>
                <a:gd name="connsiteY460" fmla="*/ 52304 h 279768"/>
                <a:gd name="connsiteX461" fmla="*/ 300129 w 747062"/>
                <a:gd name="connsiteY461" fmla="*/ 54143 h 279768"/>
                <a:gd name="connsiteX462" fmla="*/ 303975 w 747062"/>
                <a:gd name="connsiteY462" fmla="*/ 56350 h 279768"/>
                <a:gd name="connsiteX463" fmla="*/ 309324 w 747062"/>
                <a:gd name="connsiteY463" fmla="*/ 57821 h 279768"/>
                <a:gd name="connsiteX464" fmla="*/ 310160 w 747062"/>
                <a:gd name="connsiteY464" fmla="*/ 58005 h 279768"/>
                <a:gd name="connsiteX465" fmla="*/ 313002 w 747062"/>
                <a:gd name="connsiteY465" fmla="*/ 58005 h 279768"/>
                <a:gd name="connsiteX466" fmla="*/ 313169 w 747062"/>
                <a:gd name="connsiteY466" fmla="*/ 58005 h 279768"/>
                <a:gd name="connsiteX467" fmla="*/ 322029 w 747062"/>
                <a:gd name="connsiteY467" fmla="*/ 54695 h 279768"/>
                <a:gd name="connsiteX468" fmla="*/ 325206 w 747062"/>
                <a:gd name="connsiteY468" fmla="*/ 51936 h 279768"/>
                <a:gd name="connsiteX469" fmla="*/ 327379 w 747062"/>
                <a:gd name="connsiteY469" fmla="*/ 49362 h 279768"/>
                <a:gd name="connsiteX470" fmla="*/ 328884 w 747062"/>
                <a:gd name="connsiteY470" fmla="*/ 46971 h 279768"/>
                <a:gd name="connsiteX471" fmla="*/ 330389 w 747062"/>
                <a:gd name="connsiteY471" fmla="*/ 44029 h 279768"/>
                <a:gd name="connsiteX472" fmla="*/ 331224 w 747062"/>
                <a:gd name="connsiteY472" fmla="*/ 42006 h 279768"/>
                <a:gd name="connsiteX473" fmla="*/ 331893 w 747062"/>
                <a:gd name="connsiteY473" fmla="*/ 39799 h 279768"/>
                <a:gd name="connsiteX474" fmla="*/ 332729 w 747062"/>
                <a:gd name="connsiteY474" fmla="*/ 35938 h 279768"/>
                <a:gd name="connsiteX475" fmla="*/ 332896 w 747062"/>
                <a:gd name="connsiteY475" fmla="*/ 33915 h 279768"/>
                <a:gd name="connsiteX476" fmla="*/ 332729 w 747062"/>
                <a:gd name="connsiteY476" fmla="*/ 34099 h 279768"/>
                <a:gd name="connsiteX477" fmla="*/ 332729 w 747062"/>
                <a:gd name="connsiteY477" fmla="*/ 30237 h 279768"/>
                <a:gd name="connsiteX478" fmla="*/ 332729 w 747062"/>
                <a:gd name="connsiteY478" fmla="*/ 30053 h 279768"/>
                <a:gd name="connsiteX479" fmla="*/ 332395 w 747062"/>
                <a:gd name="connsiteY479" fmla="*/ 26927 h 279768"/>
                <a:gd name="connsiteX480" fmla="*/ 331559 w 747062"/>
                <a:gd name="connsiteY480" fmla="*/ 23249 h 279768"/>
                <a:gd name="connsiteX481" fmla="*/ 330890 w 747062"/>
                <a:gd name="connsiteY481" fmla="*/ 21042 h 279768"/>
                <a:gd name="connsiteX482" fmla="*/ 329386 w 747062"/>
                <a:gd name="connsiteY482" fmla="*/ 17548 h 279768"/>
                <a:gd name="connsiteX483" fmla="*/ 327881 w 747062"/>
                <a:gd name="connsiteY483" fmla="*/ 14974 h 279768"/>
                <a:gd name="connsiteX484" fmla="*/ 326376 w 747062"/>
                <a:gd name="connsiteY484" fmla="*/ 12951 h 279768"/>
                <a:gd name="connsiteX485" fmla="*/ 324872 w 747062"/>
                <a:gd name="connsiteY485" fmla="*/ 11296 h 279768"/>
                <a:gd name="connsiteX486" fmla="*/ 321695 w 747062"/>
                <a:gd name="connsiteY486" fmla="*/ 8721 h 279768"/>
                <a:gd name="connsiteX487" fmla="*/ 319021 w 747062"/>
                <a:gd name="connsiteY487" fmla="*/ 7250 h 279768"/>
                <a:gd name="connsiteX488" fmla="*/ 312500 w 747062"/>
                <a:gd name="connsiteY488" fmla="*/ 5595 h 279768"/>
                <a:gd name="connsiteX489" fmla="*/ 436584 w 747062"/>
                <a:gd name="connsiteY489" fmla="*/ 5595 h 279768"/>
                <a:gd name="connsiteX490" fmla="*/ 428225 w 747062"/>
                <a:gd name="connsiteY490" fmla="*/ 7066 h 279768"/>
                <a:gd name="connsiteX491" fmla="*/ 423210 w 747062"/>
                <a:gd name="connsiteY491" fmla="*/ 10193 h 279768"/>
                <a:gd name="connsiteX492" fmla="*/ 420869 w 747062"/>
                <a:gd name="connsiteY492" fmla="*/ 12399 h 279768"/>
                <a:gd name="connsiteX493" fmla="*/ 418529 w 747062"/>
                <a:gd name="connsiteY493" fmla="*/ 15342 h 279768"/>
                <a:gd name="connsiteX494" fmla="*/ 417191 w 747062"/>
                <a:gd name="connsiteY494" fmla="*/ 17732 h 279768"/>
                <a:gd name="connsiteX495" fmla="*/ 415687 w 747062"/>
                <a:gd name="connsiteY495" fmla="*/ 21410 h 279768"/>
                <a:gd name="connsiteX496" fmla="*/ 415018 w 747062"/>
                <a:gd name="connsiteY496" fmla="*/ 23801 h 279768"/>
                <a:gd name="connsiteX497" fmla="*/ 414350 w 747062"/>
                <a:gd name="connsiteY497" fmla="*/ 27295 h 279768"/>
                <a:gd name="connsiteX498" fmla="*/ 414516 w 747062"/>
                <a:gd name="connsiteY498" fmla="*/ 37041 h 279768"/>
                <a:gd name="connsiteX499" fmla="*/ 415185 w 747062"/>
                <a:gd name="connsiteY499" fmla="*/ 40351 h 279768"/>
                <a:gd name="connsiteX500" fmla="*/ 416021 w 747062"/>
                <a:gd name="connsiteY500" fmla="*/ 42926 h 279768"/>
                <a:gd name="connsiteX501" fmla="*/ 416690 w 747062"/>
                <a:gd name="connsiteY501" fmla="*/ 44581 h 279768"/>
                <a:gd name="connsiteX502" fmla="*/ 418194 w 747062"/>
                <a:gd name="connsiteY502" fmla="*/ 47523 h 279768"/>
                <a:gd name="connsiteX503" fmla="*/ 419699 w 747062"/>
                <a:gd name="connsiteY503" fmla="*/ 49729 h 279768"/>
                <a:gd name="connsiteX504" fmla="*/ 422040 w 747062"/>
                <a:gd name="connsiteY504" fmla="*/ 52304 h 279768"/>
                <a:gd name="connsiteX505" fmla="*/ 424213 w 747062"/>
                <a:gd name="connsiteY505" fmla="*/ 54143 h 279768"/>
                <a:gd name="connsiteX506" fmla="*/ 428058 w 747062"/>
                <a:gd name="connsiteY506" fmla="*/ 56350 h 279768"/>
                <a:gd name="connsiteX507" fmla="*/ 433407 w 747062"/>
                <a:gd name="connsiteY507" fmla="*/ 57821 h 279768"/>
                <a:gd name="connsiteX508" fmla="*/ 434243 w 747062"/>
                <a:gd name="connsiteY508" fmla="*/ 58005 h 279768"/>
                <a:gd name="connsiteX509" fmla="*/ 437086 w 747062"/>
                <a:gd name="connsiteY509" fmla="*/ 58005 h 279768"/>
                <a:gd name="connsiteX510" fmla="*/ 437253 w 747062"/>
                <a:gd name="connsiteY510" fmla="*/ 58005 h 279768"/>
                <a:gd name="connsiteX511" fmla="*/ 446113 w 747062"/>
                <a:gd name="connsiteY511" fmla="*/ 54695 h 279768"/>
                <a:gd name="connsiteX512" fmla="*/ 449290 w 747062"/>
                <a:gd name="connsiteY512" fmla="*/ 51936 h 279768"/>
                <a:gd name="connsiteX513" fmla="*/ 451463 w 747062"/>
                <a:gd name="connsiteY513" fmla="*/ 49362 h 279768"/>
                <a:gd name="connsiteX514" fmla="*/ 452967 w 747062"/>
                <a:gd name="connsiteY514" fmla="*/ 46971 h 279768"/>
                <a:gd name="connsiteX515" fmla="*/ 454472 w 747062"/>
                <a:gd name="connsiteY515" fmla="*/ 44029 h 279768"/>
                <a:gd name="connsiteX516" fmla="*/ 455308 w 747062"/>
                <a:gd name="connsiteY516" fmla="*/ 42006 h 279768"/>
                <a:gd name="connsiteX517" fmla="*/ 455977 w 747062"/>
                <a:gd name="connsiteY517" fmla="*/ 39799 h 279768"/>
                <a:gd name="connsiteX518" fmla="*/ 456813 w 747062"/>
                <a:gd name="connsiteY518" fmla="*/ 35938 h 279768"/>
                <a:gd name="connsiteX519" fmla="*/ 456979 w 747062"/>
                <a:gd name="connsiteY519" fmla="*/ 33915 h 279768"/>
                <a:gd name="connsiteX520" fmla="*/ 456813 w 747062"/>
                <a:gd name="connsiteY520" fmla="*/ 34099 h 279768"/>
                <a:gd name="connsiteX521" fmla="*/ 456813 w 747062"/>
                <a:gd name="connsiteY521" fmla="*/ 30237 h 279768"/>
                <a:gd name="connsiteX522" fmla="*/ 456813 w 747062"/>
                <a:gd name="connsiteY522" fmla="*/ 30053 h 279768"/>
                <a:gd name="connsiteX523" fmla="*/ 456478 w 747062"/>
                <a:gd name="connsiteY523" fmla="*/ 26927 h 279768"/>
                <a:gd name="connsiteX524" fmla="*/ 455642 w 747062"/>
                <a:gd name="connsiteY524" fmla="*/ 23249 h 279768"/>
                <a:gd name="connsiteX525" fmla="*/ 454974 w 747062"/>
                <a:gd name="connsiteY525" fmla="*/ 21042 h 279768"/>
                <a:gd name="connsiteX526" fmla="*/ 453469 w 747062"/>
                <a:gd name="connsiteY526" fmla="*/ 17548 h 279768"/>
                <a:gd name="connsiteX527" fmla="*/ 451964 w 747062"/>
                <a:gd name="connsiteY527" fmla="*/ 14974 h 279768"/>
                <a:gd name="connsiteX528" fmla="*/ 450460 w 747062"/>
                <a:gd name="connsiteY528" fmla="*/ 12951 h 279768"/>
                <a:gd name="connsiteX529" fmla="*/ 448955 w 747062"/>
                <a:gd name="connsiteY529" fmla="*/ 11296 h 279768"/>
                <a:gd name="connsiteX530" fmla="*/ 445779 w 747062"/>
                <a:gd name="connsiteY530" fmla="*/ 8721 h 279768"/>
                <a:gd name="connsiteX531" fmla="*/ 443104 w 747062"/>
                <a:gd name="connsiteY531" fmla="*/ 7250 h 279768"/>
                <a:gd name="connsiteX532" fmla="*/ 436584 w 747062"/>
                <a:gd name="connsiteY532" fmla="*/ 5595 h 279768"/>
                <a:gd name="connsiteX533" fmla="*/ 602386 w 747062"/>
                <a:gd name="connsiteY533" fmla="*/ 5595 h 279768"/>
                <a:gd name="connsiteX534" fmla="*/ 594028 w 747062"/>
                <a:gd name="connsiteY534" fmla="*/ 7066 h 279768"/>
                <a:gd name="connsiteX535" fmla="*/ 589012 w 747062"/>
                <a:gd name="connsiteY535" fmla="*/ 10193 h 279768"/>
                <a:gd name="connsiteX536" fmla="*/ 586672 w 747062"/>
                <a:gd name="connsiteY536" fmla="*/ 12399 h 279768"/>
                <a:gd name="connsiteX537" fmla="*/ 584332 w 747062"/>
                <a:gd name="connsiteY537" fmla="*/ 15342 h 279768"/>
                <a:gd name="connsiteX538" fmla="*/ 582994 w 747062"/>
                <a:gd name="connsiteY538" fmla="*/ 17732 h 279768"/>
                <a:gd name="connsiteX539" fmla="*/ 581489 w 747062"/>
                <a:gd name="connsiteY539" fmla="*/ 21410 h 279768"/>
                <a:gd name="connsiteX540" fmla="*/ 580821 w 747062"/>
                <a:gd name="connsiteY540" fmla="*/ 23801 h 279768"/>
                <a:gd name="connsiteX541" fmla="*/ 580152 w 747062"/>
                <a:gd name="connsiteY541" fmla="*/ 27295 h 279768"/>
                <a:gd name="connsiteX542" fmla="*/ 580319 w 747062"/>
                <a:gd name="connsiteY542" fmla="*/ 37041 h 279768"/>
                <a:gd name="connsiteX543" fmla="*/ 580988 w 747062"/>
                <a:gd name="connsiteY543" fmla="*/ 40351 h 279768"/>
                <a:gd name="connsiteX544" fmla="*/ 581824 w 747062"/>
                <a:gd name="connsiteY544" fmla="*/ 42926 h 279768"/>
                <a:gd name="connsiteX545" fmla="*/ 582493 w 747062"/>
                <a:gd name="connsiteY545" fmla="*/ 44581 h 279768"/>
                <a:gd name="connsiteX546" fmla="*/ 583997 w 747062"/>
                <a:gd name="connsiteY546" fmla="*/ 47523 h 279768"/>
                <a:gd name="connsiteX547" fmla="*/ 585501 w 747062"/>
                <a:gd name="connsiteY547" fmla="*/ 49729 h 279768"/>
                <a:gd name="connsiteX548" fmla="*/ 587842 w 747062"/>
                <a:gd name="connsiteY548" fmla="*/ 52304 h 279768"/>
                <a:gd name="connsiteX549" fmla="*/ 590015 w 747062"/>
                <a:gd name="connsiteY549" fmla="*/ 54143 h 279768"/>
                <a:gd name="connsiteX550" fmla="*/ 593861 w 747062"/>
                <a:gd name="connsiteY550" fmla="*/ 56350 h 279768"/>
                <a:gd name="connsiteX551" fmla="*/ 599210 w 747062"/>
                <a:gd name="connsiteY551" fmla="*/ 57821 h 279768"/>
                <a:gd name="connsiteX552" fmla="*/ 600046 w 747062"/>
                <a:gd name="connsiteY552" fmla="*/ 58005 h 279768"/>
                <a:gd name="connsiteX553" fmla="*/ 602888 w 747062"/>
                <a:gd name="connsiteY553" fmla="*/ 58005 h 279768"/>
                <a:gd name="connsiteX554" fmla="*/ 603056 w 747062"/>
                <a:gd name="connsiteY554" fmla="*/ 58005 h 279768"/>
                <a:gd name="connsiteX555" fmla="*/ 611916 w 747062"/>
                <a:gd name="connsiteY555" fmla="*/ 54695 h 279768"/>
                <a:gd name="connsiteX556" fmla="*/ 615092 w 747062"/>
                <a:gd name="connsiteY556" fmla="*/ 51936 h 279768"/>
                <a:gd name="connsiteX557" fmla="*/ 617266 w 747062"/>
                <a:gd name="connsiteY557" fmla="*/ 49362 h 279768"/>
                <a:gd name="connsiteX558" fmla="*/ 618770 w 747062"/>
                <a:gd name="connsiteY558" fmla="*/ 46971 h 279768"/>
                <a:gd name="connsiteX559" fmla="*/ 620275 w 747062"/>
                <a:gd name="connsiteY559" fmla="*/ 44029 h 279768"/>
                <a:gd name="connsiteX560" fmla="*/ 621110 w 747062"/>
                <a:gd name="connsiteY560" fmla="*/ 42006 h 279768"/>
                <a:gd name="connsiteX561" fmla="*/ 621780 w 747062"/>
                <a:gd name="connsiteY561" fmla="*/ 39799 h 279768"/>
                <a:gd name="connsiteX562" fmla="*/ 622615 w 747062"/>
                <a:gd name="connsiteY562" fmla="*/ 35938 h 279768"/>
                <a:gd name="connsiteX563" fmla="*/ 622782 w 747062"/>
                <a:gd name="connsiteY563" fmla="*/ 33915 h 279768"/>
                <a:gd name="connsiteX564" fmla="*/ 622615 w 747062"/>
                <a:gd name="connsiteY564" fmla="*/ 34099 h 279768"/>
                <a:gd name="connsiteX565" fmla="*/ 622615 w 747062"/>
                <a:gd name="connsiteY565" fmla="*/ 30237 h 279768"/>
                <a:gd name="connsiteX566" fmla="*/ 622615 w 747062"/>
                <a:gd name="connsiteY566" fmla="*/ 30053 h 279768"/>
                <a:gd name="connsiteX567" fmla="*/ 622281 w 747062"/>
                <a:gd name="connsiteY567" fmla="*/ 26927 h 279768"/>
                <a:gd name="connsiteX568" fmla="*/ 621445 w 747062"/>
                <a:gd name="connsiteY568" fmla="*/ 23249 h 279768"/>
                <a:gd name="connsiteX569" fmla="*/ 620776 w 747062"/>
                <a:gd name="connsiteY569" fmla="*/ 21042 h 279768"/>
                <a:gd name="connsiteX570" fmla="*/ 619272 w 747062"/>
                <a:gd name="connsiteY570" fmla="*/ 17548 h 279768"/>
                <a:gd name="connsiteX571" fmla="*/ 617767 w 747062"/>
                <a:gd name="connsiteY571" fmla="*/ 14974 h 279768"/>
                <a:gd name="connsiteX572" fmla="*/ 616262 w 747062"/>
                <a:gd name="connsiteY572" fmla="*/ 12951 h 279768"/>
                <a:gd name="connsiteX573" fmla="*/ 614758 w 747062"/>
                <a:gd name="connsiteY573" fmla="*/ 11296 h 279768"/>
                <a:gd name="connsiteX574" fmla="*/ 611582 w 747062"/>
                <a:gd name="connsiteY574" fmla="*/ 8721 h 279768"/>
                <a:gd name="connsiteX575" fmla="*/ 608907 w 747062"/>
                <a:gd name="connsiteY575" fmla="*/ 7250 h 279768"/>
                <a:gd name="connsiteX576" fmla="*/ 602386 w 747062"/>
                <a:gd name="connsiteY576" fmla="*/ 5595 h 279768"/>
                <a:gd name="connsiteX577" fmla="*/ 724518 w 747062"/>
                <a:gd name="connsiteY577" fmla="*/ 2541 h 279768"/>
                <a:gd name="connsiteX578" fmla="*/ 707654 w 747062"/>
                <a:gd name="connsiteY578" fmla="*/ 16286 h 279768"/>
                <a:gd name="connsiteX579" fmla="*/ 707327 w 747062"/>
                <a:gd name="connsiteY579" fmla="*/ 19522 h 279768"/>
                <a:gd name="connsiteX580" fmla="*/ 706362 w 747062"/>
                <a:gd name="connsiteY580" fmla="*/ 19522 h 279768"/>
                <a:gd name="connsiteX581" fmla="*/ 701973 w 747062"/>
                <a:gd name="connsiteY581" fmla="*/ 23798 h 279768"/>
                <a:gd name="connsiteX582" fmla="*/ 701973 w 747062"/>
                <a:gd name="connsiteY582" fmla="*/ 57615 h 279768"/>
                <a:gd name="connsiteX583" fmla="*/ 706362 w 747062"/>
                <a:gd name="connsiteY583" fmla="*/ 61890 h 279768"/>
                <a:gd name="connsiteX584" fmla="*/ 742673 w 747062"/>
                <a:gd name="connsiteY584" fmla="*/ 61890 h 279768"/>
                <a:gd name="connsiteX585" fmla="*/ 747062 w 747062"/>
                <a:gd name="connsiteY585" fmla="*/ 57615 h 279768"/>
                <a:gd name="connsiteX586" fmla="*/ 747062 w 747062"/>
                <a:gd name="connsiteY586" fmla="*/ 23798 h 279768"/>
                <a:gd name="connsiteX587" fmla="*/ 742673 w 747062"/>
                <a:gd name="connsiteY587" fmla="*/ 19522 h 279768"/>
                <a:gd name="connsiteX588" fmla="*/ 742105 w 747062"/>
                <a:gd name="connsiteY588" fmla="*/ 19522 h 279768"/>
                <a:gd name="connsiteX589" fmla="*/ 741708 w 747062"/>
                <a:gd name="connsiteY589" fmla="*/ 19522 h 279768"/>
                <a:gd name="connsiteX590" fmla="*/ 741382 w 747062"/>
                <a:gd name="connsiteY590" fmla="*/ 16286 h 279768"/>
                <a:gd name="connsiteX591" fmla="*/ 724518 w 747062"/>
                <a:gd name="connsiteY591" fmla="*/ 2541 h 279768"/>
                <a:gd name="connsiteX592" fmla="*/ 187522 w 747062"/>
                <a:gd name="connsiteY592" fmla="*/ 0 h 279768"/>
                <a:gd name="connsiteX593" fmla="*/ 170658 w 747062"/>
                <a:gd name="connsiteY593" fmla="*/ 13745 h 279768"/>
                <a:gd name="connsiteX594" fmla="*/ 170332 w 747062"/>
                <a:gd name="connsiteY594" fmla="*/ 16981 h 279768"/>
                <a:gd name="connsiteX595" fmla="*/ 169367 w 747062"/>
                <a:gd name="connsiteY595" fmla="*/ 16981 h 279768"/>
                <a:gd name="connsiteX596" fmla="*/ 164978 w 747062"/>
                <a:gd name="connsiteY596" fmla="*/ 21257 h 279768"/>
                <a:gd name="connsiteX597" fmla="*/ 164978 w 747062"/>
                <a:gd name="connsiteY597" fmla="*/ 55074 h 279768"/>
                <a:gd name="connsiteX598" fmla="*/ 169367 w 747062"/>
                <a:gd name="connsiteY598" fmla="*/ 59349 h 279768"/>
                <a:gd name="connsiteX599" fmla="*/ 205678 w 747062"/>
                <a:gd name="connsiteY599" fmla="*/ 59349 h 279768"/>
                <a:gd name="connsiteX600" fmla="*/ 210066 w 747062"/>
                <a:gd name="connsiteY600" fmla="*/ 55074 h 279768"/>
                <a:gd name="connsiteX601" fmla="*/ 210066 w 747062"/>
                <a:gd name="connsiteY601" fmla="*/ 21257 h 279768"/>
                <a:gd name="connsiteX602" fmla="*/ 205678 w 747062"/>
                <a:gd name="connsiteY602" fmla="*/ 16981 h 279768"/>
                <a:gd name="connsiteX603" fmla="*/ 205110 w 747062"/>
                <a:gd name="connsiteY603" fmla="*/ 16981 h 279768"/>
                <a:gd name="connsiteX604" fmla="*/ 204712 w 747062"/>
                <a:gd name="connsiteY604" fmla="*/ 16981 h 279768"/>
                <a:gd name="connsiteX605" fmla="*/ 204386 w 747062"/>
                <a:gd name="connsiteY605" fmla="*/ 13745 h 279768"/>
                <a:gd name="connsiteX606" fmla="*/ 187522 w 747062"/>
                <a:gd name="connsiteY606" fmla="*/ 0 h 279768"/>
                <a:gd name="connsiteX607" fmla="*/ 249539 w 747062"/>
                <a:gd name="connsiteY607" fmla="*/ 0 h 279768"/>
                <a:gd name="connsiteX608" fmla="*/ 232675 w 747062"/>
                <a:gd name="connsiteY608" fmla="*/ 13745 h 279768"/>
                <a:gd name="connsiteX609" fmla="*/ 232349 w 747062"/>
                <a:gd name="connsiteY609" fmla="*/ 16981 h 279768"/>
                <a:gd name="connsiteX610" fmla="*/ 231384 w 747062"/>
                <a:gd name="connsiteY610" fmla="*/ 16981 h 279768"/>
                <a:gd name="connsiteX611" fmla="*/ 226995 w 747062"/>
                <a:gd name="connsiteY611" fmla="*/ 21257 h 279768"/>
                <a:gd name="connsiteX612" fmla="*/ 226995 w 747062"/>
                <a:gd name="connsiteY612" fmla="*/ 55074 h 279768"/>
                <a:gd name="connsiteX613" fmla="*/ 231384 w 747062"/>
                <a:gd name="connsiteY613" fmla="*/ 59349 h 279768"/>
                <a:gd name="connsiteX614" fmla="*/ 267695 w 747062"/>
                <a:gd name="connsiteY614" fmla="*/ 59349 h 279768"/>
                <a:gd name="connsiteX615" fmla="*/ 272083 w 747062"/>
                <a:gd name="connsiteY615" fmla="*/ 55074 h 279768"/>
                <a:gd name="connsiteX616" fmla="*/ 272083 w 747062"/>
                <a:gd name="connsiteY616" fmla="*/ 21257 h 279768"/>
                <a:gd name="connsiteX617" fmla="*/ 267695 w 747062"/>
                <a:gd name="connsiteY617" fmla="*/ 16981 h 279768"/>
                <a:gd name="connsiteX618" fmla="*/ 267127 w 747062"/>
                <a:gd name="connsiteY618" fmla="*/ 16981 h 279768"/>
                <a:gd name="connsiteX619" fmla="*/ 266729 w 747062"/>
                <a:gd name="connsiteY619" fmla="*/ 16981 h 279768"/>
                <a:gd name="connsiteX620" fmla="*/ 266403 w 747062"/>
                <a:gd name="connsiteY620" fmla="*/ 13745 h 279768"/>
                <a:gd name="connsiteX621" fmla="*/ 249539 w 747062"/>
                <a:gd name="connsiteY621" fmla="*/ 0 h 279768"/>
                <a:gd name="connsiteX622" fmla="*/ 373623 w 747062"/>
                <a:gd name="connsiteY622" fmla="*/ 0 h 279768"/>
                <a:gd name="connsiteX623" fmla="*/ 356759 w 747062"/>
                <a:gd name="connsiteY623" fmla="*/ 13745 h 279768"/>
                <a:gd name="connsiteX624" fmla="*/ 356432 w 747062"/>
                <a:gd name="connsiteY624" fmla="*/ 16981 h 279768"/>
                <a:gd name="connsiteX625" fmla="*/ 355467 w 747062"/>
                <a:gd name="connsiteY625" fmla="*/ 16981 h 279768"/>
                <a:gd name="connsiteX626" fmla="*/ 351078 w 747062"/>
                <a:gd name="connsiteY626" fmla="*/ 21257 h 279768"/>
                <a:gd name="connsiteX627" fmla="*/ 351078 w 747062"/>
                <a:gd name="connsiteY627" fmla="*/ 55074 h 279768"/>
                <a:gd name="connsiteX628" fmla="*/ 355467 w 747062"/>
                <a:gd name="connsiteY628" fmla="*/ 59349 h 279768"/>
                <a:gd name="connsiteX629" fmla="*/ 391778 w 747062"/>
                <a:gd name="connsiteY629" fmla="*/ 59349 h 279768"/>
                <a:gd name="connsiteX630" fmla="*/ 396167 w 747062"/>
                <a:gd name="connsiteY630" fmla="*/ 55074 h 279768"/>
                <a:gd name="connsiteX631" fmla="*/ 396167 w 747062"/>
                <a:gd name="connsiteY631" fmla="*/ 21257 h 279768"/>
                <a:gd name="connsiteX632" fmla="*/ 391778 w 747062"/>
                <a:gd name="connsiteY632" fmla="*/ 16981 h 279768"/>
                <a:gd name="connsiteX633" fmla="*/ 391210 w 747062"/>
                <a:gd name="connsiteY633" fmla="*/ 16981 h 279768"/>
                <a:gd name="connsiteX634" fmla="*/ 390813 w 747062"/>
                <a:gd name="connsiteY634" fmla="*/ 16981 h 279768"/>
                <a:gd name="connsiteX635" fmla="*/ 390487 w 747062"/>
                <a:gd name="connsiteY635" fmla="*/ 13745 h 279768"/>
                <a:gd name="connsiteX636" fmla="*/ 373623 w 747062"/>
                <a:gd name="connsiteY636" fmla="*/ 0 h 279768"/>
                <a:gd name="connsiteX637" fmla="*/ 663509 w 747062"/>
                <a:gd name="connsiteY637" fmla="*/ 0 h 279768"/>
                <a:gd name="connsiteX638" fmla="*/ 646645 w 747062"/>
                <a:gd name="connsiteY638" fmla="*/ 13745 h 279768"/>
                <a:gd name="connsiteX639" fmla="*/ 646319 w 747062"/>
                <a:gd name="connsiteY639" fmla="*/ 16981 h 279768"/>
                <a:gd name="connsiteX640" fmla="*/ 645354 w 747062"/>
                <a:gd name="connsiteY640" fmla="*/ 16981 h 279768"/>
                <a:gd name="connsiteX641" fmla="*/ 640965 w 747062"/>
                <a:gd name="connsiteY641" fmla="*/ 21257 h 279768"/>
                <a:gd name="connsiteX642" fmla="*/ 640965 w 747062"/>
                <a:gd name="connsiteY642" fmla="*/ 55074 h 279768"/>
                <a:gd name="connsiteX643" fmla="*/ 645354 w 747062"/>
                <a:gd name="connsiteY643" fmla="*/ 59349 h 279768"/>
                <a:gd name="connsiteX644" fmla="*/ 681664 w 747062"/>
                <a:gd name="connsiteY644" fmla="*/ 59349 h 279768"/>
                <a:gd name="connsiteX645" fmla="*/ 686053 w 747062"/>
                <a:gd name="connsiteY645" fmla="*/ 55074 h 279768"/>
                <a:gd name="connsiteX646" fmla="*/ 686053 w 747062"/>
                <a:gd name="connsiteY646" fmla="*/ 21257 h 279768"/>
                <a:gd name="connsiteX647" fmla="*/ 681664 w 747062"/>
                <a:gd name="connsiteY647" fmla="*/ 16981 h 279768"/>
                <a:gd name="connsiteX648" fmla="*/ 681096 w 747062"/>
                <a:gd name="connsiteY648" fmla="*/ 16981 h 279768"/>
                <a:gd name="connsiteX649" fmla="*/ 680699 w 747062"/>
                <a:gd name="connsiteY649" fmla="*/ 16981 h 279768"/>
                <a:gd name="connsiteX650" fmla="*/ 680373 w 747062"/>
                <a:gd name="connsiteY650" fmla="*/ 13745 h 279768"/>
                <a:gd name="connsiteX651" fmla="*/ 663509 w 747062"/>
                <a:gd name="connsiteY651" fmla="*/ 0 h 27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Lst>
              <a:rect l="l" t="t" r="r" b="b"/>
              <a:pathLst>
                <a:path w="747062" h="279768">
                  <a:moveTo>
                    <a:pt x="726173" y="226623"/>
                  </a:moveTo>
                  <a:cubicBezTo>
                    <a:pt x="725254" y="226623"/>
                    <a:pt x="724334" y="226439"/>
                    <a:pt x="723415" y="226623"/>
                  </a:cubicBezTo>
                  <a:cubicBezTo>
                    <a:pt x="722127" y="226807"/>
                    <a:pt x="721024" y="227359"/>
                    <a:pt x="720289" y="228278"/>
                  </a:cubicBezTo>
                  <a:cubicBezTo>
                    <a:pt x="719185" y="229381"/>
                    <a:pt x="718633" y="230852"/>
                    <a:pt x="718818" y="232507"/>
                  </a:cubicBezTo>
                  <a:cubicBezTo>
                    <a:pt x="718818" y="232692"/>
                    <a:pt x="718818" y="232692"/>
                    <a:pt x="718818" y="232875"/>
                  </a:cubicBezTo>
                  <a:cubicBezTo>
                    <a:pt x="718818" y="244829"/>
                    <a:pt x="718818" y="256782"/>
                    <a:pt x="718818" y="268919"/>
                  </a:cubicBezTo>
                  <a:cubicBezTo>
                    <a:pt x="718818" y="269286"/>
                    <a:pt x="718818" y="269286"/>
                    <a:pt x="718450" y="269286"/>
                  </a:cubicBezTo>
                  <a:cubicBezTo>
                    <a:pt x="716795" y="269286"/>
                    <a:pt x="715139" y="269286"/>
                    <a:pt x="713485" y="269286"/>
                  </a:cubicBezTo>
                  <a:cubicBezTo>
                    <a:pt x="712565" y="269286"/>
                    <a:pt x="711646" y="269654"/>
                    <a:pt x="710726" y="270022"/>
                  </a:cubicBezTo>
                  <a:cubicBezTo>
                    <a:pt x="709071" y="271125"/>
                    <a:pt x="708152" y="272596"/>
                    <a:pt x="708152" y="274620"/>
                  </a:cubicBezTo>
                  <a:cubicBezTo>
                    <a:pt x="708152" y="276091"/>
                    <a:pt x="708703" y="277562"/>
                    <a:pt x="709990" y="278481"/>
                  </a:cubicBezTo>
                  <a:cubicBezTo>
                    <a:pt x="710726" y="279033"/>
                    <a:pt x="711646" y="279585"/>
                    <a:pt x="712749" y="279768"/>
                  </a:cubicBezTo>
                  <a:cubicBezTo>
                    <a:pt x="712749" y="279768"/>
                    <a:pt x="712932" y="279768"/>
                    <a:pt x="712932" y="279768"/>
                  </a:cubicBezTo>
                  <a:cubicBezTo>
                    <a:pt x="712932" y="279768"/>
                    <a:pt x="713117" y="279768"/>
                    <a:pt x="713117" y="279768"/>
                  </a:cubicBezTo>
                  <a:cubicBezTo>
                    <a:pt x="713117" y="279585"/>
                    <a:pt x="713300" y="279768"/>
                    <a:pt x="713485" y="279768"/>
                  </a:cubicBezTo>
                  <a:cubicBezTo>
                    <a:pt x="720840" y="279768"/>
                    <a:pt x="728196" y="279768"/>
                    <a:pt x="735368" y="279768"/>
                  </a:cubicBezTo>
                  <a:cubicBezTo>
                    <a:pt x="735551" y="279768"/>
                    <a:pt x="735551" y="279768"/>
                    <a:pt x="735735" y="279768"/>
                  </a:cubicBezTo>
                  <a:cubicBezTo>
                    <a:pt x="735919" y="279768"/>
                    <a:pt x="736103" y="279768"/>
                    <a:pt x="736287" y="279768"/>
                  </a:cubicBezTo>
                  <a:cubicBezTo>
                    <a:pt x="736471" y="279585"/>
                    <a:pt x="736655" y="279585"/>
                    <a:pt x="736839" y="279585"/>
                  </a:cubicBezTo>
                  <a:cubicBezTo>
                    <a:pt x="737758" y="279400"/>
                    <a:pt x="738494" y="278849"/>
                    <a:pt x="739230" y="278297"/>
                  </a:cubicBezTo>
                  <a:cubicBezTo>
                    <a:pt x="740333" y="277194"/>
                    <a:pt x="740884" y="275906"/>
                    <a:pt x="740884" y="274435"/>
                  </a:cubicBezTo>
                  <a:cubicBezTo>
                    <a:pt x="740884" y="273149"/>
                    <a:pt x="740516" y="271861"/>
                    <a:pt x="739413" y="270942"/>
                  </a:cubicBezTo>
                  <a:cubicBezTo>
                    <a:pt x="738310" y="269838"/>
                    <a:pt x="737023" y="269286"/>
                    <a:pt x="735551" y="269286"/>
                  </a:cubicBezTo>
                  <a:cubicBezTo>
                    <a:pt x="733712" y="269286"/>
                    <a:pt x="731874" y="269286"/>
                    <a:pt x="730219" y="269286"/>
                  </a:cubicBezTo>
                  <a:cubicBezTo>
                    <a:pt x="730035" y="269286"/>
                    <a:pt x="729851" y="269286"/>
                    <a:pt x="729851" y="268919"/>
                  </a:cubicBezTo>
                  <a:cubicBezTo>
                    <a:pt x="729851" y="258437"/>
                    <a:pt x="729851" y="248139"/>
                    <a:pt x="729851" y="237657"/>
                  </a:cubicBezTo>
                  <a:cubicBezTo>
                    <a:pt x="729851" y="237473"/>
                    <a:pt x="729851" y="237289"/>
                    <a:pt x="730219" y="237289"/>
                  </a:cubicBezTo>
                  <a:cubicBezTo>
                    <a:pt x="731506" y="237289"/>
                    <a:pt x="732977" y="237289"/>
                    <a:pt x="734264" y="237289"/>
                  </a:cubicBezTo>
                  <a:cubicBezTo>
                    <a:pt x="736471" y="237289"/>
                    <a:pt x="738126" y="236185"/>
                    <a:pt x="739230" y="234163"/>
                  </a:cubicBezTo>
                  <a:cubicBezTo>
                    <a:pt x="739781" y="233060"/>
                    <a:pt x="739781" y="231772"/>
                    <a:pt x="739413" y="230301"/>
                  </a:cubicBezTo>
                  <a:cubicBezTo>
                    <a:pt x="738677" y="228278"/>
                    <a:pt x="736655" y="226807"/>
                    <a:pt x="734448" y="226807"/>
                  </a:cubicBezTo>
                  <a:cubicBezTo>
                    <a:pt x="731690" y="226807"/>
                    <a:pt x="728932" y="226623"/>
                    <a:pt x="726173" y="226623"/>
                  </a:cubicBezTo>
                  <a:close/>
                  <a:moveTo>
                    <a:pt x="724339" y="182261"/>
                  </a:moveTo>
                  <a:cubicBezTo>
                    <a:pt x="727907" y="182261"/>
                    <a:pt x="730780" y="185091"/>
                    <a:pt x="730780" y="188568"/>
                  </a:cubicBezTo>
                  <a:cubicBezTo>
                    <a:pt x="730780" y="190962"/>
                    <a:pt x="729426" y="193049"/>
                    <a:pt x="727412" y="194116"/>
                  </a:cubicBezTo>
                  <a:cubicBezTo>
                    <a:pt x="727412" y="194116"/>
                    <a:pt x="727412" y="194116"/>
                    <a:pt x="727412" y="199826"/>
                  </a:cubicBezTo>
                  <a:cubicBezTo>
                    <a:pt x="727412" y="201492"/>
                    <a:pt x="726040" y="202835"/>
                    <a:pt x="724339" y="202835"/>
                  </a:cubicBezTo>
                  <a:cubicBezTo>
                    <a:pt x="722655" y="202835"/>
                    <a:pt x="721267" y="201492"/>
                    <a:pt x="721267" y="199826"/>
                  </a:cubicBezTo>
                  <a:cubicBezTo>
                    <a:pt x="721267" y="199826"/>
                    <a:pt x="721267" y="199826"/>
                    <a:pt x="721267" y="194116"/>
                  </a:cubicBezTo>
                  <a:cubicBezTo>
                    <a:pt x="719269" y="193049"/>
                    <a:pt x="717898" y="190962"/>
                    <a:pt x="717898" y="188568"/>
                  </a:cubicBezTo>
                  <a:cubicBezTo>
                    <a:pt x="717898" y="185091"/>
                    <a:pt x="720789" y="182261"/>
                    <a:pt x="724339" y="182261"/>
                  </a:cubicBezTo>
                  <a:close/>
                  <a:moveTo>
                    <a:pt x="724518" y="155928"/>
                  </a:moveTo>
                  <a:cubicBezTo>
                    <a:pt x="728083" y="155928"/>
                    <a:pt x="731141" y="158096"/>
                    <a:pt x="732448" y="161185"/>
                  </a:cubicBezTo>
                  <a:lnTo>
                    <a:pt x="733078" y="164302"/>
                  </a:lnTo>
                  <a:lnTo>
                    <a:pt x="730873" y="164302"/>
                  </a:lnTo>
                  <a:cubicBezTo>
                    <a:pt x="727656" y="164302"/>
                    <a:pt x="723560" y="164302"/>
                    <a:pt x="718348" y="164302"/>
                  </a:cubicBezTo>
                  <a:lnTo>
                    <a:pt x="715958" y="164302"/>
                  </a:lnTo>
                  <a:lnTo>
                    <a:pt x="716587" y="161185"/>
                  </a:lnTo>
                  <a:cubicBezTo>
                    <a:pt x="717894" y="158096"/>
                    <a:pt x="720952" y="155928"/>
                    <a:pt x="724518" y="155928"/>
                  </a:cubicBezTo>
                  <a:close/>
                  <a:moveTo>
                    <a:pt x="724518" y="147321"/>
                  </a:moveTo>
                  <a:cubicBezTo>
                    <a:pt x="716199" y="147321"/>
                    <a:pt x="709259" y="153222"/>
                    <a:pt x="707654" y="161066"/>
                  </a:cubicBezTo>
                  <a:lnTo>
                    <a:pt x="707327" y="164302"/>
                  </a:lnTo>
                  <a:lnTo>
                    <a:pt x="706362" y="164302"/>
                  </a:lnTo>
                  <a:cubicBezTo>
                    <a:pt x="703936" y="164302"/>
                    <a:pt x="701973" y="166213"/>
                    <a:pt x="701973" y="168578"/>
                  </a:cubicBezTo>
                  <a:cubicBezTo>
                    <a:pt x="701973" y="168578"/>
                    <a:pt x="701973" y="168578"/>
                    <a:pt x="701973" y="202395"/>
                  </a:cubicBezTo>
                  <a:cubicBezTo>
                    <a:pt x="701973" y="204759"/>
                    <a:pt x="703936" y="206670"/>
                    <a:pt x="706362" y="206670"/>
                  </a:cubicBezTo>
                  <a:cubicBezTo>
                    <a:pt x="706362" y="206670"/>
                    <a:pt x="706362" y="206670"/>
                    <a:pt x="742673" y="206670"/>
                  </a:cubicBezTo>
                  <a:cubicBezTo>
                    <a:pt x="745100" y="206670"/>
                    <a:pt x="747062" y="204759"/>
                    <a:pt x="747062" y="202395"/>
                  </a:cubicBezTo>
                  <a:cubicBezTo>
                    <a:pt x="747062" y="202395"/>
                    <a:pt x="747062" y="202395"/>
                    <a:pt x="747062" y="168578"/>
                  </a:cubicBezTo>
                  <a:cubicBezTo>
                    <a:pt x="747062" y="166213"/>
                    <a:pt x="745100" y="164302"/>
                    <a:pt x="742673" y="164302"/>
                  </a:cubicBezTo>
                  <a:cubicBezTo>
                    <a:pt x="742673" y="164302"/>
                    <a:pt x="742673" y="164302"/>
                    <a:pt x="742105" y="164302"/>
                  </a:cubicBezTo>
                  <a:lnTo>
                    <a:pt x="741708" y="164302"/>
                  </a:lnTo>
                  <a:lnTo>
                    <a:pt x="741382" y="161066"/>
                  </a:lnTo>
                  <a:cubicBezTo>
                    <a:pt x="739777" y="153222"/>
                    <a:pt x="732836" y="147321"/>
                    <a:pt x="724518" y="147321"/>
                  </a:cubicBezTo>
                  <a:close/>
                  <a:moveTo>
                    <a:pt x="726173" y="81843"/>
                  </a:moveTo>
                  <a:cubicBezTo>
                    <a:pt x="725254" y="81843"/>
                    <a:pt x="724334" y="81659"/>
                    <a:pt x="723415" y="81843"/>
                  </a:cubicBezTo>
                  <a:cubicBezTo>
                    <a:pt x="722127" y="82027"/>
                    <a:pt x="721024" y="82579"/>
                    <a:pt x="720289" y="83498"/>
                  </a:cubicBezTo>
                  <a:cubicBezTo>
                    <a:pt x="719185" y="84601"/>
                    <a:pt x="718633" y="86072"/>
                    <a:pt x="718818" y="87727"/>
                  </a:cubicBezTo>
                  <a:cubicBezTo>
                    <a:pt x="718818" y="87912"/>
                    <a:pt x="718818" y="87912"/>
                    <a:pt x="718818" y="88095"/>
                  </a:cubicBezTo>
                  <a:cubicBezTo>
                    <a:pt x="718818" y="100049"/>
                    <a:pt x="718818" y="112002"/>
                    <a:pt x="718818" y="124139"/>
                  </a:cubicBezTo>
                  <a:cubicBezTo>
                    <a:pt x="718818" y="124506"/>
                    <a:pt x="718818" y="124506"/>
                    <a:pt x="718450" y="124506"/>
                  </a:cubicBezTo>
                  <a:cubicBezTo>
                    <a:pt x="716795" y="124506"/>
                    <a:pt x="715139" y="124506"/>
                    <a:pt x="713485" y="124506"/>
                  </a:cubicBezTo>
                  <a:cubicBezTo>
                    <a:pt x="712565" y="124506"/>
                    <a:pt x="711646" y="124874"/>
                    <a:pt x="710726" y="125242"/>
                  </a:cubicBezTo>
                  <a:cubicBezTo>
                    <a:pt x="709071" y="126345"/>
                    <a:pt x="708152" y="127816"/>
                    <a:pt x="708152" y="129840"/>
                  </a:cubicBezTo>
                  <a:cubicBezTo>
                    <a:pt x="708152" y="131311"/>
                    <a:pt x="708703" y="132782"/>
                    <a:pt x="709990" y="133701"/>
                  </a:cubicBezTo>
                  <a:cubicBezTo>
                    <a:pt x="710726" y="134253"/>
                    <a:pt x="711646" y="134805"/>
                    <a:pt x="712749" y="134988"/>
                  </a:cubicBezTo>
                  <a:cubicBezTo>
                    <a:pt x="712749" y="134988"/>
                    <a:pt x="712932" y="134988"/>
                    <a:pt x="712932" y="134988"/>
                  </a:cubicBezTo>
                  <a:cubicBezTo>
                    <a:pt x="712932" y="134988"/>
                    <a:pt x="713117" y="134988"/>
                    <a:pt x="713117" y="134988"/>
                  </a:cubicBezTo>
                  <a:cubicBezTo>
                    <a:pt x="713117" y="134805"/>
                    <a:pt x="713300" y="134988"/>
                    <a:pt x="713485" y="134988"/>
                  </a:cubicBezTo>
                  <a:cubicBezTo>
                    <a:pt x="720840" y="134988"/>
                    <a:pt x="728196" y="134988"/>
                    <a:pt x="735368" y="134988"/>
                  </a:cubicBezTo>
                  <a:cubicBezTo>
                    <a:pt x="735551" y="134988"/>
                    <a:pt x="735551" y="134988"/>
                    <a:pt x="735735" y="134988"/>
                  </a:cubicBezTo>
                  <a:cubicBezTo>
                    <a:pt x="735919" y="134988"/>
                    <a:pt x="736103" y="134988"/>
                    <a:pt x="736287" y="134988"/>
                  </a:cubicBezTo>
                  <a:cubicBezTo>
                    <a:pt x="736471" y="134805"/>
                    <a:pt x="736655" y="134805"/>
                    <a:pt x="736839" y="134805"/>
                  </a:cubicBezTo>
                  <a:cubicBezTo>
                    <a:pt x="737758" y="134620"/>
                    <a:pt x="738494" y="134069"/>
                    <a:pt x="739230" y="133517"/>
                  </a:cubicBezTo>
                  <a:cubicBezTo>
                    <a:pt x="740333" y="132414"/>
                    <a:pt x="740884" y="131126"/>
                    <a:pt x="740884" y="129655"/>
                  </a:cubicBezTo>
                  <a:cubicBezTo>
                    <a:pt x="740884" y="128369"/>
                    <a:pt x="740516" y="127081"/>
                    <a:pt x="739413" y="126162"/>
                  </a:cubicBezTo>
                  <a:cubicBezTo>
                    <a:pt x="738310" y="125058"/>
                    <a:pt x="737023" y="124506"/>
                    <a:pt x="735551" y="124506"/>
                  </a:cubicBezTo>
                  <a:cubicBezTo>
                    <a:pt x="733712" y="124506"/>
                    <a:pt x="731874" y="124506"/>
                    <a:pt x="730219" y="124506"/>
                  </a:cubicBezTo>
                  <a:cubicBezTo>
                    <a:pt x="730035" y="124506"/>
                    <a:pt x="729851" y="124506"/>
                    <a:pt x="729851" y="124139"/>
                  </a:cubicBezTo>
                  <a:cubicBezTo>
                    <a:pt x="729851" y="113657"/>
                    <a:pt x="729851" y="103359"/>
                    <a:pt x="729851" y="92877"/>
                  </a:cubicBezTo>
                  <a:cubicBezTo>
                    <a:pt x="729851" y="92693"/>
                    <a:pt x="729851" y="92509"/>
                    <a:pt x="730219" y="92509"/>
                  </a:cubicBezTo>
                  <a:cubicBezTo>
                    <a:pt x="731506" y="92509"/>
                    <a:pt x="732977" y="92509"/>
                    <a:pt x="734264" y="92509"/>
                  </a:cubicBezTo>
                  <a:cubicBezTo>
                    <a:pt x="736471" y="92509"/>
                    <a:pt x="738126" y="91405"/>
                    <a:pt x="739230" y="89383"/>
                  </a:cubicBezTo>
                  <a:cubicBezTo>
                    <a:pt x="739781" y="88280"/>
                    <a:pt x="739781" y="86992"/>
                    <a:pt x="739413" y="85521"/>
                  </a:cubicBezTo>
                  <a:cubicBezTo>
                    <a:pt x="738677" y="83498"/>
                    <a:pt x="736655" y="82027"/>
                    <a:pt x="734448" y="82027"/>
                  </a:cubicBezTo>
                  <a:cubicBezTo>
                    <a:pt x="731690" y="82027"/>
                    <a:pt x="728932" y="81843"/>
                    <a:pt x="726173" y="81843"/>
                  </a:cubicBezTo>
                  <a:close/>
                  <a:moveTo>
                    <a:pt x="724339" y="37481"/>
                  </a:moveTo>
                  <a:cubicBezTo>
                    <a:pt x="727907" y="37481"/>
                    <a:pt x="730780" y="40311"/>
                    <a:pt x="730780" y="43788"/>
                  </a:cubicBezTo>
                  <a:cubicBezTo>
                    <a:pt x="730780" y="46182"/>
                    <a:pt x="729426" y="48269"/>
                    <a:pt x="727412" y="49336"/>
                  </a:cubicBezTo>
                  <a:cubicBezTo>
                    <a:pt x="727412" y="49336"/>
                    <a:pt x="727412" y="49336"/>
                    <a:pt x="727412" y="55046"/>
                  </a:cubicBezTo>
                  <a:cubicBezTo>
                    <a:pt x="727412" y="56712"/>
                    <a:pt x="726040" y="58055"/>
                    <a:pt x="724339" y="58055"/>
                  </a:cubicBezTo>
                  <a:cubicBezTo>
                    <a:pt x="722655" y="58055"/>
                    <a:pt x="721267" y="56712"/>
                    <a:pt x="721267" y="55046"/>
                  </a:cubicBezTo>
                  <a:cubicBezTo>
                    <a:pt x="721267" y="55046"/>
                    <a:pt x="721267" y="55046"/>
                    <a:pt x="721267" y="49336"/>
                  </a:cubicBezTo>
                  <a:cubicBezTo>
                    <a:pt x="719269" y="48269"/>
                    <a:pt x="717898" y="46182"/>
                    <a:pt x="717898" y="43788"/>
                  </a:cubicBezTo>
                  <a:cubicBezTo>
                    <a:pt x="717898" y="40311"/>
                    <a:pt x="720789" y="37481"/>
                    <a:pt x="724339" y="37481"/>
                  </a:cubicBezTo>
                  <a:close/>
                  <a:moveTo>
                    <a:pt x="187344" y="34940"/>
                  </a:moveTo>
                  <a:cubicBezTo>
                    <a:pt x="190911" y="34940"/>
                    <a:pt x="193785" y="37770"/>
                    <a:pt x="193785" y="41247"/>
                  </a:cubicBezTo>
                  <a:cubicBezTo>
                    <a:pt x="193785" y="43641"/>
                    <a:pt x="192431" y="45728"/>
                    <a:pt x="190416" y="46795"/>
                  </a:cubicBezTo>
                  <a:cubicBezTo>
                    <a:pt x="190416" y="46795"/>
                    <a:pt x="190416" y="46795"/>
                    <a:pt x="190416" y="52505"/>
                  </a:cubicBezTo>
                  <a:cubicBezTo>
                    <a:pt x="190416" y="54171"/>
                    <a:pt x="189045" y="55514"/>
                    <a:pt x="187344" y="55514"/>
                  </a:cubicBezTo>
                  <a:cubicBezTo>
                    <a:pt x="185659" y="55514"/>
                    <a:pt x="184272" y="54171"/>
                    <a:pt x="184272" y="52505"/>
                  </a:cubicBezTo>
                  <a:cubicBezTo>
                    <a:pt x="184272" y="52505"/>
                    <a:pt x="184272" y="52505"/>
                    <a:pt x="184272" y="46795"/>
                  </a:cubicBezTo>
                  <a:cubicBezTo>
                    <a:pt x="182274" y="45728"/>
                    <a:pt x="180903" y="43641"/>
                    <a:pt x="180903" y="41247"/>
                  </a:cubicBezTo>
                  <a:cubicBezTo>
                    <a:pt x="180903" y="37770"/>
                    <a:pt x="183793" y="34940"/>
                    <a:pt x="187344" y="34940"/>
                  </a:cubicBezTo>
                  <a:close/>
                  <a:moveTo>
                    <a:pt x="249361" y="34940"/>
                  </a:moveTo>
                  <a:cubicBezTo>
                    <a:pt x="252928" y="34940"/>
                    <a:pt x="255802" y="37770"/>
                    <a:pt x="255802" y="41247"/>
                  </a:cubicBezTo>
                  <a:cubicBezTo>
                    <a:pt x="255802" y="43641"/>
                    <a:pt x="254448" y="45728"/>
                    <a:pt x="252433" y="46795"/>
                  </a:cubicBezTo>
                  <a:cubicBezTo>
                    <a:pt x="252433" y="46795"/>
                    <a:pt x="252433" y="46795"/>
                    <a:pt x="252433" y="52505"/>
                  </a:cubicBezTo>
                  <a:cubicBezTo>
                    <a:pt x="252433" y="54171"/>
                    <a:pt x="251062" y="55514"/>
                    <a:pt x="249361" y="55514"/>
                  </a:cubicBezTo>
                  <a:cubicBezTo>
                    <a:pt x="247676" y="55514"/>
                    <a:pt x="246289" y="54171"/>
                    <a:pt x="246289" y="52505"/>
                  </a:cubicBezTo>
                  <a:cubicBezTo>
                    <a:pt x="246289" y="52505"/>
                    <a:pt x="246289" y="52505"/>
                    <a:pt x="246289" y="46795"/>
                  </a:cubicBezTo>
                  <a:cubicBezTo>
                    <a:pt x="244291" y="45728"/>
                    <a:pt x="242919" y="43641"/>
                    <a:pt x="242919" y="41247"/>
                  </a:cubicBezTo>
                  <a:cubicBezTo>
                    <a:pt x="242919" y="37770"/>
                    <a:pt x="245810" y="34940"/>
                    <a:pt x="249361" y="34940"/>
                  </a:cubicBezTo>
                  <a:close/>
                  <a:moveTo>
                    <a:pt x="373445" y="34940"/>
                  </a:moveTo>
                  <a:cubicBezTo>
                    <a:pt x="377012" y="34940"/>
                    <a:pt x="379885" y="37770"/>
                    <a:pt x="379885" y="41247"/>
                  </a:cubicBezTo>
                  <a:cubicBezTo>
                    <a:pt x="379885" y="43641"/>
                    <a:pt x="378531" y="45728"/>
                    <a:pt x="376517" y="46795"/>
                  </a:cubicBezTo>
                  <a:cubicBezTo>
                    <a:pt x="376517" y="46795"/>
                    <a:pt x="376517" y="46795"/>
                    <a:pt x="376517" y="52505"/>
                  </a:cubicBezTo>
                  <a:cubicBezTo>
                    <a:pt x="376517" y="54171"/>
                    <a:pt x="375146" y="55514"/>
                    <a:pt x="373445" y="55514"/>
                  </a:cubicBezTo>
                  <a:cubicBezTo>
                    <a:pt x="371760" y="55514"/>
                    <a:pt x="370372" y="54171"/>
                    <a:pt x="370372" y="52505"/>
                  </a:cubicBezTo>
                  <a:cubicBezTo>
                    <a:pt x="370372" y="52505"/>
                    <a:pt x="370372" y="52505"/>
                    <a:pt x="370372" y="46795"/>
                  </a:cubicBezTo>
                  <a:cubicBezTo>
                    <a:pt x="368374" y="45728"/>
                    <a:pt x="367003" y="43641"/>
                    <a:pt x="367003" y="41247"/>
                  </a:cubicBezTo>
                  <a:cubicBezTo>
                    <a:pt x="367003" y="37770"/>
                    <a:pt x="369894" y="34940"/>
                    <a:pt x="373445" y="34940"/>
                  </a:cubicBezTo>
                  <a:close/>
                  <a:moveTo>
                    <a:pt x="663331" y="34940"/>
                  </a:moveTo>
                  <a:cubicBezTo>
                    <a:pt x="666898" y="34940"/>
                    <a:pt x="669772" y="37770"/>
                    <a:pt x="669772" y="41247"/>
                  </a:cubicBezTo>
                  <a:cubicBezTo>
                    <a:pt x="669772" y="43641"/>
                    <a:pt x="668417" y="45728"/>
                    <a:pt x="666403" y="46795"/>
                  </a:cubicBezTo>
                  <a:cubicBezTo>
                    <a:pt x="666403" y="46795"/>
                    <a:pt x="666403" y="46795"/>
                    <a:pt x="666403" y="52505"/>
                  </a:cubicBezTo>
                  <a:cubicBezTo>
                    <a:pt x="666403" y="54171"/>
                    <a:pt x="665032" y="55514"/>
                    <a:pt x="663331" y="55514"/>
                  </a:cubicBezTo>
                  <a:cubicBezTo>
                    <a:pt x="661646" y="55514"/>
                    <a:pt x="660259" y="54171"/>
                    <a:pt x="660259" y="52505"/>
                  </a:cubicBezTo>
                  <a:cubicBezTo>
                    <a:pt x="660259" y="52505"/>
                    <a:pt x="660259" y="52505"/>
                    <a:pt x="660259" y="46795"/>
                  </a:cubicBezTo>
                  <a:cubicBezTo>
                    <a:pt x="658260" y="45728"/>
                    <a:pt x="656889" y="43641"/>
                    <a:pt x="656889" y="41247"/>
                  </a:cubicBezTo>
                  <a:cubicBezTo>
                    <a:pt x="656889" y="37770"/>
                    <a:pt x="659780" y="34940"/>
                    <a:pt x="663331" y="34940"/>
                  </a:cubicBezTo>
                  <a:close/>
                  <a:moveTo>
                    <a:pt x="70854" y="16445"/>
                  </a:moveTo>
                  <a:cubicBezTo>
                    <a:pt x="73696" y="15525"/>
                    <a:pt x="76371" y="16261"/>
                    <a:pt x="78712" y="18100"/>
                  </a:cubicBezTo>
                  <a:cubicBezTo>
                    <a:pt x="79547" y="18836"/>
                    <a:pt x="80216" y="19571"/>
                    <a:pt x="80885" y="20490"/>
                  </a:cubicBezTo>
                  <a:cubicBezTo>
                    <a:pt x="81386" y="21226"/>
                    <a:pt x="81888" y="22145"/>
                    <a:pt x="82389" y="23065"/>
                  </a:cubicBezTo>
                  <a:cubicBezTo>
                    <a:pt x="82724" y="23617"/>
                    <a:pt x="82890" y="24352"/>
                    <a:pt x="83058" y="24904"/>
                  </a:cubicBezTo>
                  <a:cubicBezTo>
                    <a:pt x="83392" y="25823"/>
                    <a:pt x="83560" y="26743"/>
                    <a:pt x="83727" y="27662"/>
                  </a:cubicBezTo>
                  <a:cubicBezTo>
                    <a:pt x="84228" y="29134"/>
                    <a:pt x="84396" y="30605"/>
                    <a:pt x="84396" y="32444"/>
                  </a:cubicBezTo>
                  <a:cubicBezTo>
                    <a:pt x="84396" y="33915"/>
                    <a:pt x="84228" y="35570"/>
                    <a:pt x="83727" y="37409"/>
                  </a:cubicBezTo>
                  <a:cubicBezTo>
                    <a:pt x="83392" y="38328"/>
                    <a:pt x="83225" y="39064"/>
                    <a:pt x="82890" y="39983"/>
                  </a:cubicBezTo>
                  <a:cubicBezTo>
                    <a:pt x="82556" y="41087"/>
                    <a:pt x="82055" y="42006"/>
                    <a:pt x="81386" y="42926"/>
                  </a:cubicBezTo>
                  <a:cubicBezTo>
                    <a:pt x="80717" y="44029"/>
                    <a:pt x="79881" y="44949"/>
                    <a:pt x="79046" y="45868"/>
                  </a:cubicBezTo>
                  <a:cubicBezTo>
                    <a:pt x="78210" y="46603"/>
                    <a:pt x="77207" y="47339"/>
                    <a:pt x="76037" y="47707"/>
                  </a:cubicBezTo>
                  <a:cubicBezTo>
                    <a:pt x="73027" y="48810"/>
                    <a:pt x="70185" y="48258"/>
                    <a:pt x="67677" y="46052"/>
                  </a:cubicBezTo>
                  <a:cubicBezTo>
                    <a:pt x="66841" y="45316"/>
                    <a:pt x="66173" y="44581"/>
                    <a:pt x="65504" y="43661"/>
                  </a:cubicBezTo>
                  <a:cubicBezTo>
                    <a:pt x="64836" y="42742"/>
                    <a:pt x="64334" y="41822"/>
                    <a:pt x="63832" y="40719"/>
                  </a:cubicBezTo>
                  <a:cubicBezTo>
                    <a:pt x="63665" y="40167"/>
                    <a:pt x="63498" y="39616"/>
                    <a:pt x="63164" y="39248"/>
                  </a:cubicBezTo>
                  <a:cubicBezTo>
                    <a:pt x="62829" y="38328"/>
                    <a:pt x="62495" y="37409"/>
                    <a:pt x="62328" y="36306"/>
                  </a:cubicBezTo>
                  <a:cubicBezTo>
                    <a:pt x="61826" y="33179"/>
                    <a:pt x="61826" y="30053"/>
                    <a:pt x="62662" y="26927"/>
                  </a:cubicBezTo>
                  <a:cubicBezTo>
                    <a:pt x="62829" y="26191"/>
                    <a:pt x="62997" y="25455"/>
                    <a:pt x="63331" y="24904"/>
                  </a:cubicBezTo>
                  <a:cubicBezTo>
                    <a:pt x="63665" y="24169"/>
                    <a:pt x="63832" y="23433"/>
                    <a:pt x="64166" y="22881"/>
                  </a:cubicBezTo>
                  <a:cubicBezTo>
                    <a:pt x="64668" y="22145"/>
                    <a:pt x="65003" y="21226"/>
                    <a:pt x="65672" y="20490"/>
                  </a:cubicBezTo>
                  <a:cubicBezTo>
                    <a:pt x="66340" y="19571"/>
                    <a:pt x="67176" y="18651"/>
                    <a:pt x="68179" y="17916"/>
                  </a:cubicBezTo>
                  <a:cubicBezTo>
                    <a:pt x="69015" y="17365"/>
                    <a:pt x="69851" y="16813"/>
                    <a:pt x="70854" y="16445"/>
                  </a:cubicBezTo>
                  <a:close/>
                  <a:moveTo>
                    <a:pt x="308823" y="16445"/>
                  </a:moveTo>
                  <a:cubicBezTo>
                    <a:pt x="311665" y="15525"/>
                    <a:pt x="314339" y="16261"/>
                    <a:pt x="316680" y="18100"/>
                  </a:cubicBezTo>
                  <a:cubicBezTo>
                    <a:pt x="317516" y="18836"/>
                    <a:pt x="318185" y="19571"/>
                    <a:pt x="318853" y="20490"/>
                  </a:cubicBezTo>
                  <a:cubicBezTo>
                    <a:pt x="319355" y="21226"/>
                    <a:pt x="319856" y="22145"/>
                    <a:pt x="320358" y="23065"/>
                  </a:cubicBezTo>
                  <a:cubicBezTo>
                    <a:pt x="320692" y="23617"/>
                    <a:pt x="320860" y="24352"/>
                    <a:pt x="321027" y="24904"/>
                  </a:cubicBezTo>
                  <a:cubicBezTo>
                    <a:pt x="321361" y="25823"/>
                    <a:pt x="321528" y="26743"/>
                    <a:pt x="321695" y="27662"/>
                  </a:cubicBezTo>
                  <a:cubicBezTo>
                    <a:pt x="322197" y="29134"/>
                    <a:pt x="322364" y="30605"/>
                    <a:pt x="322364" y="32444"/>
                  </a:cubicBezTo>
                  <a:cubicBezTo>
                    <a:pt x="322364" y="33915"/>
                    <a:pt x="322197" y="35570"/>
                    <a:pt x="321695" y="37409"/>
                  </a:cubicBezTo>
                  <a:cubicBezTo>
                    <a:pt x="321361" y="38328"/>
                    <a:pt x="321194" y="39064"/>
                    <a:pt x="320860" y="39983"/>
                  </a:cubicBezTo>
                  <a:cubicBezTo>
                    <a:pt x="320525" y="41087"/>
                    <a:pt x="320024" y="42006"/>
                    <a:pt x="319355" y="42926"/>
                  </a:cubicBezTo>
                  <a:cubicBezTo>
                    <a:pt x="318686" y="44029"/>
                    <a:pt x="317850" y="44949"/>
                    <a:pt x="317014" y="45868"/>
                  </a:cubicBezTo>
                  <a:cubicBezTo>
                    <a:pt x="316178" y="46603"/>
                    <a:pt x="315175" y="47339"/>
                    <a:pt x="314005" y="47707"/>
                  </a:cubicBezTo>
                  <a:cubicBezTo>
                    <a:pt x="310996" y="48810"/>
                    <a:pt x="308154" y="48258"/>
                    <a:pt x="305646" y="46052"/>
                  </a:cubicBezTo>
                  <a:cubicBezTo>
                    <a:pt x="304810" y="45316"/>
                    <a:pt x="304141" y="44581"/>
                    <a:pt x="303473" y="43661"/>
                  </a:cubicBezTo>
                  <a:cubicBezTo>
                    <a:pt x="302804" y="42742"/>
                    <a:pt x="302303" y="41822"/>
                    <a:pt x="301801" y="40719"/>
                  </a:cubicBezTo>
                  <a:cubicBezTo>
                    <a:pt x="301634" y="40167"/>
                    <a:pt x="301466" y="39616"/>
                    <a:pt x="301132" y="39248"/>
                  </a:cubicBezTo>
                  <a:cubicBezTo>
                    <a:pt x="300798" y="38328"/>
                    <a:pt x="300464" y="37409"/>
                    <a:pt x="300297" y="36306"/>
                  </a:cubicBezTo>
                  <a:cubicBezTo>
                    <a:pt x="299795" y="33179"/>
                    <a:pt x="299795" y="30053"/>
                    <a:pt x="300631" y="26927"/>
                  </a:cubicBezTo>
                  <a:cubicBezTo>
                    <a:pt x="300798" y="26191"/>
                    <a:pt x="300965" y="25455"/>
                    <a:pt x="301300" y="24904"/>
                  </a:cubicBezTo>
                  <a:cubicBezTo>
                    <a:pt x="301634" y="24169"/>
                    <a:pt x="301801" y="23433"/>
                    <a:pt x="302136" y="22881"/>
                  </a:cubicBezTo>
                  <a:cubicBezTo>
                    <a:pt x="302637" y="22145"/>
                    <a:pt x="302972" y="21226"/>
                    <a:pt x="303640" y="20490"/>
                  </a:cubicBezTo>
                  <a:cubicBezTo>
                    <a:pt x="304309" y="19571"/>
                    <a:pt x="305145" y="18651"/>
                    <a:pt x="306148" y="17916"/>
                  </a:cubicBezTo>
                  <a:cubicBezTo>
                    <a:pt x="306984" y="17365"/>
                    <a:pt x="307819" y="16813"/>
                    <a:pt x="308823" y="16445"/>
                  </a:cubicBezTo>
                  <a:close/>
                  <a:moveTo>
                    <a:pt x="432906" y="16445"/>
                  </a:moveTo>
                  <a:cubicBezTo>
                    <a:pt x="435748" y="15525"/>
                    <a:pt x="438423" y="16261"/>
                    <a:pt x="440764" y="18100"/>
                  </a:cubicBezTo>
                  <a:cubicBezTo>
                    <a:pt x="441600" y="18836"/>
                    <a:pt x="442268" y="19571"/>
                    <a:pt x="442937" y="20490"/>
                  </a:cubicBezTo>
                  <a:cubicBezTo>
                    <a:pt x="443439" y="21226"/>
                    <a:pt x="443940" y="22145"/>
                    <a:pt x="444441" y="23065"/>
                  </a:cubicBezTo>
                  <a:cubicBezTo>
                    <a:pt x="444776" y="23617"/>
                    <a:pt x="444943" y="24352"/>
                    <a:pt x="445110" y="24904"/>
                  </a:cubicBezTo>
                  <a:cubicBezTo>
                    <a:pt x="445444" y="25823"/>
                    <a:pt x="445612" y="26743"/>
                    <a:pt x="445779" y="27662"/>
                  </a:cubicBezTo>
                  <a:cubicBezTo>
                    <a:pt x="446280" y="29134"/>
                    <a:pt x="446448" y="30605"/>
                    <a:pt x="446448" y="32444"/>
                  </a:cubicBezTo>
                  <a:cubicBezTo>
                    <a:pt x="446448" y="33915"/>
                    <a:pt x="446280" y="35570"/>
                    <a:pt x="445779" y="37409"/>
                  </a:cubicBezTo>
                  <a:cubicBezTo>
                    <a:pt x="445444" y="38328"/>
                    <a:pt x="445277" y="39064"/>
                    <a:pt x="444943" y="39983"/>
                  </a:cubicBezTo>
                  <a:cubicBezTo>
                    <a:pt x="444609" y="41087"/>
                    <a:pt x="444107" y="42006"/>
                    <a:pt x="443439" y="42926"/>
                  </a:cubicBezTo>
                  <a:cubicBezTo>
                    <a:pt x="442769" y="44029"/>
                    <a:pt x="441934" y="44949"/>
                    <a:pt x="441098" y="45868"/>
                  </a:cubicBezTo>
                  <a:cubicBezTo>
                    <a:pt x="440262" y="46603"/>
                    <a:pt x="439259" y="47339"/>
                    <a:pt x="438089" y="47707"/>
                  </a:cubicBezTo>
                  <a:cubicBezTo>
                    <a:pt x="435079" y="48810"/>
                    <a:pt x="432238" y="48258"/>
                    <a:pt x="429730" y="46052"/>
                  </a:cubicBezTo>
                  <a:cubicBezTo>
                    <a:pt x="428893" y="45316"/>
                    <a:pt x="428225" y="44581"/>
                    <a:pt x="427556" y="43661"/>
                  </a:cubicBezTo>
                  <a:cubicBezTo>
                    <a:pt x="426888" y="42742"/>
                    <a:pt x="426386" y="41822"/>
                    <a:pt x="425885" y="40719"/>
                  </a:cubicBezTo>
                  <a:cubicBezTo>
                    <a:pt x="425717" y="40167"/>
                    <a:pt x="425550" y="39616"/>
                    <a:pt x="425216" y="39248"/>
                  </a:cubicBezTo>
                  <a:cubicBezTo>
                    <a:pt x="424881" y="38328"/>
                    <a:pt x="424547" y="37409"/>
                    <a:pt x="424380" y="36306"/>
                  </a:cubicBezTo>
                  <a:cubicBezTo>
                    <a:pt x="423878" y="33179"/>
                    <a:pt x="423878" y="30053"/>
                    <a:pt x="424714" y="26927"/>
                  </a:cubicBezTo>
                  <a:cubicBezTo>
                    <a:pt x="424881" y="26191"/>
                    <a:pt x="425049" y="25455"/>
                    <a:pt x="425383" y="24904"/>
                  </a:cubicBezTo>
                  <a:cubicBezTo>
                    <a:pt x="425717" y="24169"/>
                    <a:pt x="425885" y="23433"/>
                    <a:pt x="426219" y="22881"/>
                  </a:cubicBezTo>
                  <a:cubicBezTo>
                    <a:pt x="426720" y="22145"/>
                    <a:pt x="427055" y="21226"/>
                    <a:pt x="427724" y="20490"/>
                  </a:cubicBezTo>
                  <a:cubicBezTo>
                    <a:pt x="428392" y="19571"/>
                    <a:pt x="429228" y="18651"/>
                    <a:pt x="430231" y="17916"/>
                  </a:cubicBezTo>
                  <a:cubicBezTo>
                    <a:pt x="431067" y="17365"/>
                    <a:pt x="431903" y="16813"/>
                    <a:pt x="432906" y="16445"/>
                  </a:cubicBezTo>
                  <a:close/>
                  <a:moveTo>
                    <a:pt x="598709" y="16445"/>
                  </a:moveTo>
                  <a:cubicBezTo>
                    <a:pt x="601550" y="15525"/>
                    <a:pt x="604225" y="16261"/>
                    <a:pt x="606566" y="18100"/>
                  </a:cubicBezTo>
                  <a:cubicBezTo>
                    <a:pt x="607402" y="18836"/>
                    <a:pt x="608071" y="19571"/>
                    <a:pt x="608739" y="20490"/>
                  </a:cubicBezTo>
                  <a:cubicBezTo>
                    <a:pt x="609241" y="21226"/>
                    <a:pt x="609743" y="22145"/>
                    <a:pt x="610244" y="23065"/>
                  </a:cubicBezTo>
                  <a:cubicBezTo>
                    <a:pt x="610579" y="23617"/>
                    <a:pt x="610746" y="24352"/>
                    <a:pt x="610913" y="24904"/>
                  </a:cubicBezTo>
                  <a:cubicBezTo>
                    <a:pt x="611247" y="25823"/>
                    <a:pt x="611414" y="26743"/>
                    <a:pt x="611582" y="27662"/>
                  </a:cubicBezTo>
                  <a:cubicBezTo>
                    <a:pt x="612083" y="29134"/>
                    <a:pt x="612250" y="30605"/>
                    <a:pt x="612250" y="32444"/>
                  </a:cubicBezTo>
                  <a:cubicBezTo>
                    <a:pt x="612250" y="33915"/>
                    <a:pt x="612083" y="35570"/>
                    <a:pt x="611582" y="37409"/>
                  </a:cubicBezTo>
                  <a:cubicBezTo>
                    <a:pt x="611247" y="38328"/>
                    <a:pt x="611080" y="39064"/>
                    <a:pt x="610746" y="39983"/>
                  </a:cubicBezTo>
                  <a:cubicBezTo>
                    <a:pt x="610411" y="41087"/>
                    <a:pt x="609910" y="42006"/>
                    <a:pt x="609241" y="42926"/>
                  </a:cubicBezTo>
                  <a:cubicBezTo>
                    <a:pt x="608572" y="44029"/>
                    <a:pt x="607736" y="44949"/>
                    <a:pt x="606900" y="45868"/>
                  </a:cubicBezTo>
                  <a:cubicBezTo>
                    <a:pt x="606065" y="46603"/>
                    <a:pt x="605061" y="47339"/>
                    <a:pt x="603892" y="47707"/>
                  </a:cubicBezTo>
                  <a:cubicBezTo>
                    <a:pt x="600882" y="48810"/>
                    <a:pt x="598040" y="48258"/>
                    <a:pt x="595533" y="46052"/>
                  </a:cubicBezTo>
                  <a:cubicBezTo>
                    <a:pt x="594696" y="45316"/>
                    <a:pt x="594028" y="44581"/>
                    <a:pt x="593359" y="43661"/>
                  </a:cubicBezTo>
                  <a:cubicBezTo>
                    <a:pt x="592690" y="42742"/>
                    <a:pt x="592189" y="41822"/>
                    <a:pt x="591687" y="40719"/>
                  </a:cubicBezTo>
                  <a:cubicBezTo>
                    <a:pt x="591520" y="40167"/>
                    <a:pt x="591353" y="39616"/>
                    <a:pt x="591019" y="39248"/>
                  </a:cubicBezTo>
                  <a:cubicBezTo>
                    <a:pt x="590684" y="38328"/>
                    <a:pt x="590350" y="37409"/>
                    <a:pt x="590183" y="36306"/>
                  </a:cubicBezTo>
                  <a:cubicBezTo>
                    <a:pt x="589681" y="33179"/>
                    <a:pt x="589681" y="30053"/>
                    <a:pt x="590517" y="26927"/>
                  </a:cubicBezTo>
                  <a:cubicBezTo>
                    <a:pt x="590684" y="26191"/>
                    <a:pt x="590851" y="25455"/>
                    <a:pt x="591186" y="24904"/>
                  </a:cubicBezTo>
                  <a:cubicBezTo>
                    <a:pt x="591520" y="24169"/>
                    <a:pt x="591687" y="23433"/>
                    <a:pt x="592022" y="22881"/>
                  </a:cubicBezTo>
                  <a:cubicBezTo>
                    <a:pt x="592523" y="22145"/>
                    <a:pt x="592858" y="21226"/>
                    <a:pt x="593526" y="20490"/>
                  </a:cubicBezTo>
                  <a:cubicBezTo>
                    <a:pt x="594195" y="19571"/>
                    <a:pt x="595031" y="18651"/>
                    <a:pt x="596034" y="17916"/>
                  </a:cubicBezTo>
                  <a:cubicBezTo>
                    <a:pt x="596870" y="17365"/>
                    <a:pt x="597706" y="16813"/>
                    <a:pt x="598709" y="16445"/>
                  </a:cubicBezTo>
                  <a:close/>
                  <a:moveTo>
                    <a:pt x="724518" y="11148"/>
                  </a:moveTo>
                  <a:cubicBezTo>
                    <a:pt x="728083" y="11148"/>
                    <a:pt x="731141" y="13316"/>
                    <a:pt x="732448" y="16405"/>
                  </a:cubicBezTo>
                  <a:lnTo>
                    <a:pt x="733078" y="19522"/>
                  </a:lnTo>
                  <a:lnTo>
                    <a:pt x="730873" y="19522"/>
                  </a:lnTo>
                  <a:cubicBezTo>
                    <a:pt x="727656" y="19522"/>
                    <a:pt x="723560" y="19522"/>
                    <a:pt x="718348" y="19522"/>
                  </a:cubicBezTo>
                  <a:lnTo>
                    <a:pt x="715958" y="19522"/>
                  </a:lnTo>
                  <a:lnTo>
                    <a:pt x="716587" y="16405"/>
                  </a:lnTo>
                  <a:cubicBezTo>
                    <a:pt x="717894" y="13316"/>
                    <a:pt x="720952" y="11148"/>
                    <a:pt x="724518" y="11148"/>
                  </a:cubicBezTo>
                  <a:close/>
                  <a:moveTo>
                    <a:pt x="187522" y="8607"/>
                  </a:moveTo>
                  <a:cubicBezTo>
                    <a:pt x="191087" y="8607"/>
                    <a:pt x="194146" y="10775"/>
                    <a:pt x="195453" y="13864"/>
                  </a:cubicBezTo>
                  <a:lnTo>
                    <a:pt x="196082" y="16981"/>
                  </a:lnTo>
                  <a:lnTo>
                    <a:pt x="193878" y="16981"/>
                  </a:lnTo>
                  <a:cubicBezTo>
                    <a:pt x="190660" y="16981"/>
                    <a:pt x="186565" y="16981"/>
                    <a:pt x="181352" y="16981"/>
                  </a:cubicBezTo>
                  <a:lnTo>
                    <a:pt x="178962" y="16981"/>
                  </a:lnTo>
                  <a:lnTo>
                    <a:pt x="179592" y="13864"/>
                  </a:lnTo>
                  <a:cubicBezTo>
                    <a:pt x="180898" y="10775"/>
                    <a:pt x="183957" y="8607"/>
                    <a:pt x="187522" y="8607"/>
                  </a:cubicBezTo>
                  <a:close/>
                  <a:moveTo>
                    <a:pt x="249539" y="8607"/>
                  </a:moveTo>
                  <a:cubicBezTo>
                    <a:pt x="253104" y="8607"/>
                    <a:pt x="256163" y="10775"/>
                    <a:pt x="257469" y="13864"/>
                  </a:cubicBezTo>
                  <a:lnTo>
                    <a:pt x="258099" y="16981"/>
                  </a:lnTo>
                  <a:lnTo>
                    <a:pt x="255895" y="16981"/>
                  </a:lnTo>
                  <a:cubicBezTo>
                    <a:pt x="252677" y="16981"/>
                    <a:pt x="248582" y="16981"/>
                    <a:pt x="243369" y="16981"/>
                  </a:cubicBezTo>
                  <a:lnTo>
                    <a:pt x="240979" y="16981"/>
                  </a:lnTo>
                  <a:lnTo>
                    <a:pt x="241609" y="13864"/>
                  </a:lnTo>
                  <a:cubicBezTo>
                    <a:pt x="242915" y="10775"/>
                    <a:pt x="245974" y="8607"/>
                    <a:pt x="249539" y="8607"/>
                  </a:cubicBezTo>
                  <a:close/>
                  <a:moveTo>
                    <a:pt x="373623" y="8607"/>
                  </a:moveTo>
                  <a:cubicBezTo>
                    <a:pt x="377188" y="8607"/>
                    <a:pt x="380246" y="10775"/>
                    <a:pt x="381553" y="13864"/>
                  </a:cubicBezTo>
                  <a:lnTo>
                    <a:pt x="382183" y="16981"/>
                  </a:lnTo>
                  <a:lnTo>
                    <a:pt x="379979" y="16981"/>
                  </a:lnTo>
                  <a:cubicBezTo>
                    <a:pt x="376761" y="16981"/>
                    <a:pt x="372665" y="16981"/>
                    <a:pt x="367453" y="16981"/>
                  </a:cubicBezTo>
                  <a:lnTo>
                    <a:pt x="365063" y="16981"/>
                  </a:lnTo>
                  <a:lnTo>
                    <a:pt x="365692" y="13864"/>
                  </a:lnTo>
                  <a:cubicBezTo>
                    <a:pt x="366999" y="10775"/>
                    <a:pt x="370057" y="8607"/>
                    <a:pt x="373623" y="8607"/>
                  </a:cubicBezTo>
                  <a:close/>
                  <a:moveTo>
                    <a:pt x="663509" y="8607"/>
                  </a:moveTo>
                  <a:cubicBezTo>
                    <a:pt x="667074" y="8607"/>
                    <a:pt x="670133" y="10775"/>
                    <a:pt x="671439" y="13864"/>
                  </a:cubicBezTo>
                  <a:lnTo>
                    <a:pt x="672069" y="16981"/>
                  </a:lnTo>
                  <a:lnTo>
                    <a:pt x="669865" y="16981"/>
                  </a:lnTo>
                  <a:cubicBezTo>
                    <a:pt x="666647" y="16981"/>
                    <a:pt x="662551" y="16981"/>
                    <a:pt x="657339" y="16981"/>
                  </a:cubicBezTo>
                  <a:lnTo>
                    <a:pt x="654949" y="16981"/>
                  </a:lnTo>
                  <a:lnTo>
                    <a:pt x="655579" y="13864"/>
                  </a:lnTo>
                  <a:cubicBezTo>
                    <a:pt x="656885" y="10775"/>
                    <a:pt x="659944" y="8607"/>
                    <a:pt x="663509" y="8607"/>
                  </a:cubicBezTo>
                  <a:close/>
                  <a:moveTo>
                    <a:pt x="18022" y="5642"/>
                  </a:moveTo>
                  <a:cubicBezTo>
                    <a:pt x="17102" y="5642"/>
                    <a:pt x="16183" y="5458"/>
                    <a:pt x="15263" y="5642"/>
                  </a:cubicBezTo>
                  <a:cubicBezTo>
                    <a:pt x="13976" y="5826"/>
                    <a:pt x="12872" y="6378"/>
                    <a:pt x="12137" y="7297"/>
                  </a:cubicBezTo>
                  <a:cubicBezTo>
                    <a:pt x="11033" y="8400"/>
                    <a:pt x="10482" y="9872"/>
                    <a:pt x="10666" y="11526"/>
                  </a:cubicBezTo>
                  <a:cubicBezTo>
                    <a:pt x="10666" y="11711"/>
                    <a:pt x="10666" y="11711"/>
                    <a:pt x="10666" y="11894"/>
                  </a:cubicBezTo>
                  <a:cubicBezTo>
                    <a:pt x="10666" y="23848"/>
                    <a:pt x="10666" y="35801"/>
                    <a:pt x="10666" y="47938"/>
                  </a:cubicBezTo>
                  <a:cubicBezTo>
                    <a:pt x="10666" y="48305"/>
                    <a:pt x="10666" y="48305"/>
                    <a:pt x="10298" y="48305"/>
                  </a:cubicBezTo>
                  <a:cubicBezTo>
                    <a:pt x="8643" y="48305"/>
                    <a:pt x="6988" y="48305"/>
                    <a:pt x="5333" y="48305"/>
                  </a:cubicBezTo>
                  <a:cubicBezTo>
                    <a:pt x="4414" y="48305"/>
                    <a:pt x="3494" y="48673"/>
                    <a:pt x="2575" y="49041"/>
                  </a:cubicBezTo>
                  <a:cubicBezTo>
                    <a:pt x="920" y="50144"/>
                    <a:pt x="0" y="51615"/>
                    <a:pt x="0" y="53639"/>
                  </a:cubicBezTo>
                  <a:cubicBezTo>
                    <a:pt x="0" y="55110"/>
                    <a:pt x="552" y="56581"/>
                    <a:pt x="1839" y="57500"/>
                  </a:cubicBezTo>
                  <a:cubicBezTo>
                    <a:pt x="2575" y="58052"/>
                    <a:pt x="3494" y="58604"/>
                    <a:pt x="4597" y="58787"/>
                  </a:cubicBezTo>
                  <a:cubicBezTo>
                    <a:pt x="4597" y="58787"/>
                    <a:pt x="4781" y="58787"/>
                    <a:pt x="4781" y="58787"/>
                  </a:cubicBezTo>
                  <a:cubicBezTo>
                    <a:pt x="4781" y="58787"/>
                    <a:pt x="4965" y="58787"/>
                    <a:pt x="4965" y="58787"/>
                  </a:cubicBezTo>
                  <a:cubicBezTo>
                    <a:pt x="4965" y="58604"/>
                    <a:pt x="5149" y="58787"/>
                    <a:pt x="5333" y="58787"/>
                  </a:cubicBezTo>
                  <a:cubicBezTo>
                    <a:pt x="12689" y="58787"/>
                    <a:pt x="20044" y="58787"/>
                    <a:pt x="27216" y="58787"/>
                  </a:cubicBezTo>
                  <a:cubicBezTo>
                    <a:pt x="27400" y="58787"/>
                    <a:pt x="27400" y="58787"/>
                    <a:pt x="27584" y="58787"/>
                  </a:cubicBezTo>
                  <a:cubicBezTo>
                    <a:pt x="27768" y="58787"/>
                    <a:pt x="27952" y="58787"/>
                    <a:pt x="28136" y="58787"/>
                  </a:cubicBezTo>
                  <a:cubicBezTo>
                    <a:pt x="28319" y="58604"/>
                    <a:pt x="28503" y="58604"/>
                    <a:pt x="28687" y="58604"/>
                  </a:cubicBezTo>
                  <a:cubicBezTo>
                    <a:pt x="29607" y="58419"/>
                    <a:pt x="30342" y="57868"/>
                    <a:pt x="31078" y="57316"/>
                  </a:cubicBezTo>
                  <a:cubicBezTo>
                    <a:pt x="32181" y="56213"/>
                    <a:pt x="32733" y="54926"/>
                    <a:pt x="32733" y="53454"/>
                  </a:cubicBezTo>
                  <a:cubicBezTo>
                    <a:pt x="32733" y="52168"/>
                    <a:pt x="32365" y="50880"/>
                    <a:pt x="31262" y="49961"/>
                  </a:cubicBezTo>
                  <a:cubicBezTo>
                    <a:pt x="30159" y="48857"/>
                    <a:pt x="28871" y="48305"/>
                    <a:pt x="27400" y="48305"/>
                  </a:cubicBezTo>
                  <a:cubicBezTo>
                    <a:pt x="25561" y="48305"/>
                    <a:pt x="23722" y="48305"/>
                    <a:pt x="22067" y="48305"/>
                  </a:cubicBezTo>
                  <a:cubicBezTo>
                    <a:pt x="21883" y="48305"/>
                    <a:pt x="21699" y="48305"/>
                    <a:pt x="21699" y="47938"/>
                  </a:cubicBezTo>
                  <a:cubicBezTo>
                    <a:pt x="21699" y="37456"/>
                    <a:pt x="21699" y="27158"/>
                    <a:pt x="21699" y="16676"/>
                  </a:cubicBezTo>
                  <a:cubicBezTo>
                    <a:pt x="21699" y="16492"/>
                    <a:pt x="21699" y="16308"/>
                    <a:pt x="22067" y="16308"/>
                  </a:cubicBezTo>
                  <a:cubicBezTo>
                    <a:pt x="23355" y="16308"/>
                    <a:pt x="24826" y="16308"/>
                    <a:pt x="26112" y="16308"/>
                  </a:cubicBezTo>
                  <a:cubicBezTo>
                    <a:pt x="28319" y="16308"/>
                    <a:pt x="29974" y="15204"/>
                    <a:pt x="31078" y="13182"/>
                  </a:cubicBezTo>
                  <a:cubicBezTo>
                    <a:pt x="31630" y="12079"/>
                    <a:pt x="31630" y="10791"/>
                    <a:pt x="31262" y="9320"/>
                  </a:cubicBezTo>
                  <a:cubicBezTo>
                    <a:pt x="30526" y="7297"/>
                    <a:pt x="28503" y="5826"/>
                    <a:pt x="26297" y="5826"/>
                  </a:cubicBezTo>
                  <a:cubicBezTo>
                    <a:pt x="23538" y="5826"/>
                    <a:pt x="20780" y="5642"/>
                    <a:pt x="18022" y="5642"/>
                  </a:cubicBezTo>
                  <a:close/>
                  <a:moveTo>
                    <a:pt x="131959" y="5642"/>
                  </a:moveTo>
                  <a:cubicBezTo>
                    <a:pt x="131039" y="5642"/>
                    <a:pt x="130120" y="5458"/>
                    <a:pt x="129200" y="5642"/>
                  </a:cubicBezTo>
                  <a:cubicBezTo>
                    <a:pt x="127913" y="5826"/>
                    <a:pt x="126810" y="6378"/>
                    <a:pt x="126075" y="7297"/>
                  </a:cubicBezTo>
                  <a:cubicBezTo>
                    <a:pt x="124971" y="8400"/>
                    <a:pt x="124419" y="9872"/>
                    <a:pt x="124603" y="11526"/>
                  </a:cubicBezTo>
                  <a:cubicBezTo>
                    <a:pt x="124603" y="11711"/>
                    <a:pt x="124603" y="11711"/>
                    <a:pt x="124603" y="11894"/>
                  </a:cubicBezTo>
                  <a:cubicBezTo>
                    <a:pt x="124603" y="23848"/>
                    <a:pt x="124603" y="35801"/>
                    <a:pt x="124603" y="47938"/>
                  </a:cubicBezTo>
                  <a:cubicBezTo>
                    <a:pt x="124603" y="48305"/>
                    <a:pt x="124603" y="48305"/>
                    <a:pt x="124235" y="48305"/>
                  </a:cubicBezTo>
                  <a:cubicBezTo>
                    <a:pt x="122581" y="48305"/>
                    <a:pt x="120925" y="48305"/>
                    <a:pt x="119271" y="48305"/>
                  </a:cubicBezTo>
                  <a:cubicBezTo>
                    <a:pt x="118351" y="48305"/>
                    <a:pt x="117431" y="48673"/>
                    <a:pt x="116512" y="49041"/>
                  </a:cubicBezTo>
                  <a:cubicBezTo>
                    <a:pt x="114857" y="50144"/>
                    <a:pt x="113938" y="51615"/>
                    <a:pt x="113938" y="53639"/>
                  </a:cubicBezTo>
                  <a:cubicBezTo>
                    <a:pt x="113938" y="55110"/>
                    <a:pt x="114489" y="56581"/>
                    <a:pt x="115776" y="57500"/>
                  </a:cubicBezTo>
                  <a:cubicBezTo>
                    <a:pt x="116512" y="58052"/>
                    <a:pt x="117431" y="58604"/>
                    <a:pt x="118535" y="58787"/>
                  </a:cubicBezTo>
                  <a:cubicBezTo>
                    <a:pt x="118535" y="58787"/>
                    <a:pt x="118718" y="58787"/>
                    <a:pt x="118718" y="58787"/>
                  </a:cubicBezTo>
                  <a:cubicBezTo>
                    <a:pt x="118718" y="58787"/>
                    <a:pt x="118903" y="58787"/>
                    <a:pt x="118903" y="58787"/>
                  </a:cubicBezTo>
                  <a:cubicBezTo>
                    <a:pt x="118903" y="58604"/>
                    <a:pt x="119086" y="58787"/>
                    <a:pt x="119271" y="58787"/>
                  </a:cubicBezTo>
                  <a:cubicBezTo>
                    <a:pt x="126626" y="58787"/>
                    <a:pt x="133982" y="58787"/>
                    <a:pt x="141154" y="58787"/>
                  </a:cubicBezTo>
                  <a:cubicBezTo>
                    <a:pt x="141337" y="58787"/>
                    <a:pt x="141337" y="58787"/>
                    <a:pt x="141521" y="58787"/>
                  </a:cubicBezTo>
                  <a:cubicBezTo>
                    <a:pt x="141705" y="58787"/>
                    <a:pt x="141889" y="58787"/>
                    <a:pt x="142073" y="58787"/>
                  </a:cubicBezTo>
                  <a:cubicBezTo>
                    <a:pt x="142257" y="58604"/>
                    <a:pt x="142440" y="58604"/>
                    <a:pt x="142625" y="58604"/>
                  </a:cubicBezTo>
                  <a:cubicBezTo>
                    <a:pt x="143544" y="58419"/>
                    <a:pt x="144280" y="57868"/>
                    <a:pt x="145015" y="57316"/>
                  </a:cubicBezTo>
                  <a:cubicBezTo>
                    <a:pt x="146119" y="56213"/>
                    <a:pt x="146670" y="54926"/>
                    <a:pt x="146670" y="53454"/>
                  </a:cubicBezTo>
                  <a:cubicBezTo>
                    <a:pt x="146670" y="52168"/>
                    <a:pt x="146302" y="50880"/>
                    <a:pt x="145199" y="49961"/>
                  </a:cubicBezTo>
                  <a:cubicBezTo>
                    <a:pt x="144096" y="48857"/>
                    <a:pt x="142808" y="48305"/>
                    <a:pt x="141337" y="48305"/>
                  </a:cubicBezTo>
                  <a:cubicBezTo>
                    <a:pt x="139498" y="48305"/>
                    <a:pt x="137660" y="48305"/>
                    <a:pt x="136004" y="48305"/>
                  </a:cubicBezTo>
                  <a:cubicBezTo>
                    <a:pt x="135821" y="48305"/>
                    <a:pt x="135636" y="48305"/>
                    <a:pt x="135636" y="47938"/>
                  </a:cubicBezTo>
                  <a:cubicBezTo>
                    <a:pt x="135636" y="37456"/>
                    <a:pt x="135636" y="27158"/>
                    <a:pt x="135636" y="16676"/>
                  </a:cubicBezTo>
                  <a:cubicBezTo>
                    <a:pt x="135636" y="16492"/>
                    <a:pt x="135636" y="16308"/>
                    <a:pt x="136004" y="16308"/>
                  </a:cubicBezTo>
                  <a:cubicBezTo>
                    <a:pt x="137292" y="16308"/>
                    <a:pt x="138763" y="16308"/>
                    <a:pt x="140050" y="16308"/>
                  </a:cubicBezTo>
                  <a:cubicBezTo>
                    <a:pt x="142257" y="16308"/>
                    <a:pt x="143912" y="15204"/>
                    <a:pt x="145015" y="13182"/>
                  </a:cubicBezTo>
                  <a:cubicBezTo>
                    <a:pt x="145567" y="12079"/>
                    <a:pt x="145567" y="10791"/>
                    <a:pt x="145199" y="9320"/>
                  </a:cubicBezTo>
                  <a:cubicBezTo>
                    <a:pt x="144463" y="7297"/>
                    <a:pt x="142440" y="5826"/>
                    <a:pt x="140234" y="5826"/>
                  </a:cubicBezTo>
                  <a:cubicBezTo>
                    <a:pt x="137476" y="5826"/>
                    <a:pt x="134718" y="5642"/>
                    <a:pt x="131959" y="5642"/>
                  </a:cubicBezTo>
                  <a:close/>
                  <a:moveTo>
                    <a:pt x="494011" y="5642"/>
                  </a:moveTo>
                  <a:cubicBezTo>
                    <a:pt x="493092" y="5642"/>
                    <a:pt x="492172" y="5458"/>
                    <a:pt x="491253" y="5642"/>
                  </a:cubicBezTo>
                  <a:cubicBezTo>
                    <a:pt x="489965" y="5826"/>
                    <a:pt x="488862" y="6378"/>
                    <a:pt x="488127" y="7297"/>
                  </a:cubicBezTo>
                  <a:cubicBezTo>
                    <a:pt x="487023" y="8400"/>
                    <a:pt x="486471" y="9872"/>
                    <a:pt x="486656" y="11526"/>
                  </a:cubicBezTo>
                  <a:cubicBezTo>
                    <a:pt x="486656" y="11711"/>
                    <a:pt x="486656" y="11711"/>
                    <a:pt x="486656" y="11894"/>
                  </a:cubicBezTo>
                  <a:cubicBezTo>
                    <a:pt x="486656" y="23848"/>
                    <a:pt x="486656" y="35801"/>
                    <a:pt x="486656" y="47938"/>
                  </a:cubicBezTo>
                  <a:cubicBezTo>
                    <a:pt x="486656" y="48305"/>
                    <a:pt x="486656" y="48305"/>
                    <a:pt x="486288" y="48305"/>
                  </a:cubicBezTo>
                  <a:cubicBezTo>
                    <a:pt x="484633" y="48305"/>
                    <a:pt x="482977" y="48305"/>
                    <a:pt x="481323" y="48305"/>
                  </a:cubicBezTo>
                  <a:cubicBezTo>
                    <a:pt x="480403" y="48305"/>
                    <a:pt x="479484" y="48673"/>
                    <a:pt x="478564" y="49041"/>
                  </a:cubicBezTo>
                  <a:cubicBezTo>
                    <a:pt x="476909" y="50144"/>
                    <a:pt x="475990" y="51615"/>
                    <a:pt x="475990" y="53639"/>
                  </a:cubicBezTo>
                  <a:cubicBezTo>
                    <a:pt x="475990" y="55110"/>
                    <a:pt x="476541" y="56581"/>
                    <a:pt x="477828" y="57500"/>
                  </a:cubicBezTo>
                  <a:cubicBezTo>
                    <a:pt x="478564" y="58052"/>
                    <a:pt x="479484" y="58604"/>
                    <a:pt x="480587" y="58787"/>
                  </a:cubicBezTo>
                  <a:cubicBezTo>
                    <a:pt x="480587" y="58787"/>
                    <a:pt x="480771" y="58787"/>
                    <a:pt x="480771" y="58787"/>
                  </a:cubicBezTo>
                  <a:cubicBezTo>
                    <a:pt x="480771" y="58787"/>
                    <a:pt x="480955" y="58787"/>
                    <a:pt x="480955" y="58787"/>
                  </a:cubicBezTo>
                  <a:cubicBezTo>
                    <a:pt x="480955" y="58604"/>
                    <a:pt x="481138" y="58787"/>
                    <a:pt x="481323" y="58787"/>
                  </a:cubicBezTo>
                  <a:cubicBezTo>
                    <a:pt x="488678" y="58787"/>
                    <a:pt x="496034" y="58787"/>
                    <a:pt x="503206" y="58787"/>
                  </a:cubicBezTo>
                  <a:cubicBezTo>
                    <a:pt x="503389" y="58787"/>
                    <a:pt x="503389" y="58787"/>
                    <a:pt x="503574" y="58787"/>
                  </a:cubicBezTo>
                  <a:cubicBezTo>
                    <a:pt x="503757" y="58787"/>
                    <a:pt x="503941" y="58787"/>
                    <a:pt x="504125" y="58787"/>
                  </a:cubicBezTo>
                  <a:cubicBezTo>
                    <a:pt x="504309" y="58604"/>
                    <a:pt x="504493" y="58604"/>
                    <a:pt x="504677" y="58604"/>
                  </a:cubicBezTo>
                  <a:cubicBezTo>
                    <a:pt x="505596" y="58419"/>
                    <a:pt x="506332" y="57868"/>
                    <a:pt x="507068" y="57316"/>
                  </a:cubicBezTo>
                  <a:cubicBezTo>
                    <a:pt x="508171" y="56213"/>
                    <a:pt x="508722" y="54926"/>
                    <a:pt x="508722" y="53454"/>
                  </a:cubicBezTo>
                  <a:cubicBezTo>
                    <a:pt x="508722" y="52168"/>
                    <a:pt x="508354" y="50880"/>
                    <a:pt x="507251" y="49961"/>
                  </a:cubicBezTo>
                  <a:cubicBezTo>
                    <a:pt x="506148" y="48857"/>
                    <a:pt x="504861" y="48305"/>
                    <a:pt x="503389" y="48305"/>
                  </a:cubicBezTo>
                  <a:cubicBezTo>
                    <a:pt x="501550" y="48305"/>
                    <a:pt x="499712" y="48305"/>
                    <a:pt x="498057" y="48305"/>
                  </a:cubicBezTo>
                  <a:cubicBezTo>
                    <a:pt x="497873" y="48305"/>
                    <a:pt x="497689" y="48305"/>
                    <a:pt x="497689" y="47938"/>
                  </a:cubicBezTo>
                  <a:cubicBezTo>
                    <a:pt x="497689" y="37456"/>
                    <a:pt x="497689" y="27158"/>
                    <a:pt x="497689" y="16676"/>
                  </a:cubicBezTo>
                  <a:cubicBezTo>
                    <a:pt x="497689" y="16492"/>
                    <a:pt x="497689" y="16308"/>
                    <a:pt x="498057" y="16308"/>
                  </a:cubicBezTo>
                  <a:cubicBezTo>
                    <a:pt x="499344" y="16308"/>
                    <a:pt x="500815" y="16308"/>
                    <a:pt x="502102" y="16308"/>
                  </a:cubicBezTo>
                  <a:cubicBezTo>
                    <a:pt x="504309" y="16308"/>
                    <a:pt x="505964" y="15204"/>
                    <a:pt x="507068" y="13182"/>
                  </a:cubicBezTo>
                  <a:cubicBezTo>
                    <a:pt x="507619" y="12079"/>
                    <a:pt x="507619" y="10791"/>
                    <a:pt x="507251" y="9320"/>
                  </a:cubicBezTo>
                  <a:cubicBezTo>
                    <a:pt x="506516" y="7297"/>
                    <a:pt x="504493" y="5826"/>
                    <a:pt x="502286" y="5826"/>
                  </a:cubicBezTo>
                  <a:cubicBezTo>
                    <a:pt x="499528" y="5826"/>
                    <a:pt x="496770" y="5642"/>
                    <a:pt x="494011" y="5642"/>
                  </a:cubicBezTo>
                  <a:close/>
                  <a:moveTo>
                    <a:pt x="545879" y="5642"/>
                  </a:moveTo>
                  <a:cubicBezTo>
                    <a:pt x="544960" y="5642"/>
                    <a:pt x="544040" y="5458"/>
                    <a:pt x="543121" y="5642"/>
                  </a:cubicBezTo>
                  <a:cubicBezTo>
                    <a:pt x="541833" y="5826"/>
                    <a:pt x="540730" y="6378"/>
                    <a:pt x="539995" y="7297"/>
                  </a:cubicBezTo>
                  <a:cubicBezTo>
                    <a:pt x="538891" y="8400"/>
                    <a:pt x="538339" y="9872"/>
                    <a:pt x="538524" y="11526"/>
                  </a:cubicBezTo>
                  <a:cubicBezTo>
                    <a:pt x="538524" y="11711"/>
                    <a:pt x="538524" y="11711"/>
                    <a:pt x="538524" y="11894"/>
                  </a:cubicBezTo>
                  <a:cubicBezTo>
                    <a:pt x="538524" y="23848"/>
                    <a:pt x="538524" y="35801"/>
                    <a:pt x="538524" y="47938"/>
                  </a:cubicBezTo>
                  <a:cubicBezTo>
                    <a:pt x="538524" y="48305"/>
                    <a:pt x="538524" y="48305"/>
                    <a:pt x="538156" y="48305"/>
                  </a:cubicBezTo>
                  <a:cubicBezTo>
                    <a:pt x="536501" y="48305"/>
                    <a:pt x="534845" y="48305"/>
                    <a:pt x="533191" y="48305"/>
                  </a:cubicBezTo>
                  <a:cubicBezTo>
                    <a:pt x="532271" y="48305"/>
                    <a:pt x="531352" y="48673"/>
                    <a:pt x="530432" y="49041"/>
                  </a:cubicBezTo>
                  <a:cubicBezTo>
                    <a:pt x="528777" y="50144"/>
                    <a:pt x="527858" y="51615"/>
                    <a:pt x="527858" y="53639"/>
                  </a:cubicBezTo>
                  <a:cubicBezTo>
                    <a:pt x="527858" y="55110"/>
                    <a:pt x="528409" y="56581"/>
                    <a:pt x="529696" y="57500"/>
                  </a:cubicBezTo>
                  <a:cubicBezTo>
                    <a:pt x="530432" y="58052"/>
                    <a:pt x="531352" y="58604"/>
                    <a:pt x="532455" y="58787"/>
                  </a:cubicBezTo>
                  <a:cubicBezTo>
                    <a:pt x="532455" y="58787"/>
                    <a:pt x="532639" y="58787"/>
                    <a:pt x="532639" y="58787"/>
                  </a:cubicBezTo>
                  <a:cubicBezTo>
                    <a:pt x="532639" y="58787"/>
                    <a:pt x="532823" y="58787"/>
                    <a:pt x="532823" y="58787"/>
                  </a:cubicBezTo>
                  <a:cubicBezTo>
                    <a:pt x="532823" y="58604"/>
                    <a:pt x="533006" y="58787"/>
                    <a:pt x="533191" y="58787"/>
                  </a:cubicBezTo>
                  <a:cubicBezTo>
                    <a:pt x="540546" y="58787"/>
                    <a:pt x="547902" y="58787"/>
                    <a:pt x="555074" y="58787"/>
                  </a:cubicBezTo>
                  <a:cubicBezTo>
                    <a:pt x="555257" y="58787"/>
                    <a:pt x="555257" y="58787"/>
                    <a:pt x="555442" y="58787"/>
                  </a:cubicBezTo>
                  <a:cubicBezTo>
                    <a:pt x="555625" y="58787"/>
                    <a:pt x="555809" y="58787"/>
                    <a:pt x="555993" y="58787"/>
                  </a:cubicBezTo>
                  <a:cubicBezTo>
                    <a:pt x="556177" y="58604"/>
                    <a:pt x="556361" y="58604"/>
                    <a:pt x="556545" y="58604"/>
                  </a:cubicBezTo>
                  <a:cubicBezTo>
                    <a:pt x="557464" y="58419"/>
                    <a:pt x="558200" y="57868"/>
                    <a:pt x="558936" y="57316"/>
                  </a:cubicBezTo>
                  <a:cubicBezTo>
                    <a:pt x="560039" y="56213"/>
                    <a:pt x="560590" y="54926"/>
                    <a:pt x="560590" y="53454"/>
                  </a:cubicBezTo>
                  <a:cubicBezTo>
                    <a:pt x="560590" y="52168"/>
                    <a:pt x="560222" y="50880"/>
                    <a:pt x="559119" y="49961"/>
                  </a:cubicBezTo>
                  <a:cubicBezTo>
                    <a:pt x="558016" y="48857"/>
                    <a:pt x="556729" y="48305"/>
                    <a:pt x="555257" y="48305"/>
                  </a:cubicBezTo>
                  <a:cubicBezTo>
                    <a:pt x="553418" y="48305"/>
                    <a:pt x="551580" y="48305"/>
                    <a:pt x="549925" y="48305"/>
                  </a:cubicBezTo>
                  <a:cubicBezTo>
                    <a:pt x="549741" y="48305"/>
                    <a:pt x="549557" y="48305"/>
                    <a:pt x="549557" y="47938"/>
                  </a:cubicBezTo>
                  <a:cubicBezTo>
                    <a:pt x="549557" y="37456"/>
                    <a:pt x="549557" y="27158"/>
                    <a:pt x="549557" y="16676"/>
                  </a:cubicBezTo>
                  <a:cubicBezTo>
                    <a:pt x="549557" y="16492"/>
                    <a:pt x="549557" y="16308"/>
                    <a:pt x="549925" y="16308"/>
                  </a:cubicBezTo>
                  <a:cubicBezTo>
                    <a:pt x="551212" y="16308"/>
                    <a:pt x="552683" y="16308"/>
                    <a:pt x="553970" y="16308"/>
                  </a:cubicBezTo>
                  <a:cubicBezTo>
                    <a:pt x="556177" y="16308"/>
                    <a:pt x="557832" y="15204"/>
                    <a:pt x="558936" y="13182"/>
                  </a:cubicBezTo>
                  <a:cubicBezTo>
                    <a:pt x="559487" y="12079"/>
                    <a:pt x="559487" y="10791"/>
                    <a:pt x="559119" y="9320"/>
                  </a:cubicBezTo>
                  <a:cubicBezTo>
                    <a:pt x="558384" y="7297"/>
                    <a:pt x="556361" y="5826"/>
                    <a:pt x="554154" y="5826"/>
                  </a:cubicBezTo>
                  <a:cubicBezTo>
                    <a:pt x="551396" y="5826"/>
                    <a:pt x="548638" y="5642"/>
                    <a:pt x="545879" y="5642"/>
                  </a:cubicBezTo>
                  <a:close/>
                  <a:moveTo>
                    <a:pt x="74532" y="5595"/>
                  </a:moveTo>
                  <a:cubicBezTo>
                    <a:pt x="71690" y="5411"/>
                    <a:pt x="68848" y="5963"/>
                    <a:pt x="66173" y="7066"/>
                  </a:cubicBezTo>
                  <a:cubicBezTo>
                    <a:pt x="64334" y="7802"/>
                    <a:pt x="62662" y="8905"/>
                    <a:pt x="61158" y="10193"/>
                  </a:cubicBezTo>
                  <a:cubicBezTo>
                    <a:pt x="60322" y="10928"/>
                    <a:pt x="59653" y="11664"/>
                    <a:pt x="58817" y="12399"/>
                  </a:cubicBezTo>
                  <a:cubicBezTo>
                    <a:pt x="57981" y="13318"/>
                    <a:pt x="57145" y="14422"/>
                    <a:pt x="56476" y="15342"/>
                  </a:cubicBezTo>
                  <a:cubicBezTo>
                    <a:pt x="55975" y="16077"/>
                    <a:pt x="55474" y="16997"/>
                    <a:pt x="55139" y="17732"/>
                  </a:cubicBezTo>
                  <a:cubicBezTo>
                    <a:pt x="54470" y="18836"/>
                    <a:pt x="53969" y="20123"/>
                    <a:pt x="53635" y="21410"/>
                  </a:cubicBezTo>
                  <a:cubicBezTo>
                    <a:pt x="53300" y="22145"/>
                    <a:pt x="53133" y="23065"/>
                    <a:pt x="52966" y="23801"/>
                  </a:cubicBezTo>
                  <a:cubicBezTo>
                    <a:pt x="52631" y="24904"/>
                    <a:pt x="52464" y="26191"/>
                    <a:pt x="52297" y="27295"/>
                  </a:cubicBezTo>
                  <a:cubicBezTo>
                    <a:pt x="51796" y="30605"/>
                    <a:pt x="51796" y="33915"/>
                    <a:pt x="52464" y="37041"/>
                  </a:cubicBezTo>
                  <a:cubicBezTo>
                    <a:pt x="52631" y="38145"/>
                    <a:pt x="52799" y="39248"/>
                    <a:pt x="53133" y="40351"/>
                  </a:cubicBezTo>
                  <a:cubicBezTo>
                    <a:pt x="53467" y="41271"/>
                    <a:pt x="53635" y="42006"/>
                    <a:pt x="53969" y="42926"/>
                  </a:cubicBezTo>
                  <a:cubicBezTo>
                    <a:pt x="54303" y="43478"/>
                    <a:pt x="54470" y="44029"/>
                    <a:pt x="54638" y="44581"/>
                  </a:cubicBezTo>
                  <a:cubicBezTo>
                    <a:pt x="55139" y="45684"/>
                    <a:pt x="55641" y="46603"/>
                    <a:pt x="56142" y="47523"/>
                  </a:cubicBezTo>
                  <a:cubicBezTo>
                    <a:pt x="56643" y="48258"/>
                    <a:pt x="57145" y="48994"/>
                    <a:pt x="57647" y="49729"/>
                  </a:cubicBezTo>
                  <a:cubicBezTo>
                    <a:pt x="58315" y="50650"/>
                    <a:pt x="59151" y="51568"/>
                    <a:pt x="59987" y="52304"/>
                  </a:cubicBezTo>
                  <a:cubicBezTo>
                    <a:pt x="60656" y="53040"/>
                    <a:pt x="61492" y="53592"/>
                    <a:pt x="62161" y="54143"/>
                  </a:cubicBezTo>
                  <a:cubicBezTo>
                    <a:pt x="63331" y="55063"/>
                    <a:pt x="64668" y="55798"/>
                    <a:pt x="66005" y="56350"/>
                  </a:cubicBezTo>
                  <a:cubicBezTo>
                    <a:pt x="67677" y="57086"/>
                    <a:pt x="69516" y="57637"/>
                    <a:pt x="71355" y="57821"/>
                  </a:cubicBezTo>
                  <a:cubicBezTo>
                    <a:pt x="71690" y="57821"/>
                    <a:pt x="71857" y="57821"/>
                    <a:pt x="72191" y="58005"/>
                  </a:cubicBezTo>
                  <a:cubicBezTo>
                    <a:pt x="73194" y="58005"/>
                    <a:pt x="74030" y="58005"/>
                    <a:pt x="75034" y="58005"/>
                  </a:cubicBezTo>
                  <a:cubicBezTo>
                    <a:pt x="75034" y="57821"/>
                    <a:pt x="75201" y="58005"/>
                    <a:pt x="75201" y="58005"/>
                  </a:cubicBezTo>
                  <a:cubicBezTo>
                    <a:pt x="78377" y="57637"/>
                    <a:pt x="81386" y="56534"/>
                    <a:pt x="84061" y="54695"/>
                  </a:cubicBezTo>
                  <a:cubicBezTo>
                    <a:pt x="85231" y="53959"/>
                    <a:pt x="86235" y="53040"/>
                    <a:pt x="87237" y="51936"/>
                  </a:cubicBezTo>
                  <a:cubicBezTo>
                    <a:pt x="88074" y="51201"/>
                    <a:pt x="88742" y="50282"/>
                    <a:pt x="89411" y="49362"/>
                  </a:cubicBezTo>
                  <a:cubicBezTo>
                    <a:pt x="89912" y="48626"/>
                    <a:pt x="90414" y="47891"/>
                    <a:pt x="90915" y="46971"/>
                  </a:cubicBezTo>
                  <a:cubicBezTo>
                    <a:pt x="91417" y="46052"/>
                    <a:pt x="91918" y="45132"/>
                    <a:pt x="92420" y="44029"/>
                  </a:cubicBezTo>
                  <a:cubicBezTo>
                    <a:pt x="92754" y="43293"/>
                    <a:pt x="92922" y="42742"/>
                    <a:pt x="93256" y="42006"/>
                  </a:cubicBezTo>
                  <a:cubicBezTo>
                    <a:pt x="93590" y="41271"/>
                    <a:pt x="93757" y="40535"/>
                    <a:pt x="93925" y="39799"/>
                  </a:cubicBezTo>
                  <a:cubicBezTo>
                    <a:pt x="94259" y="38512"/>
                    <a:pt x="94426" y="37225"/>
                    <a:pt x="94761" y="35938"/>
                  </a:cubicBezTo>
                  <a:cubicBezTo>
                    <a:pt x="94927" y="35202"/>
                    <a:pt x="94927" y="34650"/>
                    <a:pt x="94927" y="33915"/>
                  </a:cubicBezTo>
                  <a:cubicBezTo>
                    <a:pt x="94761" y="34466"/>
                    <a:pt x="94593" y="34283"/>
                    <a:pt x="94761" y="34099"/>
                  </a:cubicBezTo>
                  <a:cubicBezTo>
                    <a:pt x="94761" y="32812"/>
                    <a:pt x="94761" y="31524"/>
                    <a:pt x="94761" y="30237"/>
                  </a:cubicBezTo>
                  <a:cubicBezTo>
                    <a:pt x="94761" y="30237"/>
                    <a:pt x="94761" y="30237"/>
                    <a:pt x="94761" y="30053"/>
                  </a:cubicBezTo>
                  <a:cubicBezTo>
                    <a:pt x="94761" y="28950"/>
                    <a:pt x="94593" y="28030"/>
                    <a:pt x="94426" y="26927"/>
                  </a:cubicBezTo>
                  <a:cubicBezTo>
                    <a:pt x="94091" y="25640"/>
                    <a:pt x="94091" y="24352"/>
                    <a:pt x="93590" y="23249"/>
                  </a:cubicBezTo>
                  <a:cubicBezTo>
                    <a:pt x="93256" y="22513"/>
                    <a:pt x="93089" y="21778"/>
                    <a:pt x="92922" y="21042"/>
                  </a:cubicBezTo>
                  <a:cubicBezTo>
                    <a:pt x="92420" y="19939"/>
                    <a:pt x="91918" y="18651"/>
                    <a:pt x="91417" y="17548"/>
                  </a:cubicBezTo>
                  <a:cubicBezTo>
                    <a:pt x="90915" y="16629"/>
                    <a:pt x="90414" y="15893"/>
                    <a:pt x="89912" y="14974"/>
                  </a:cubicBezTo>
                  <a:cubicBezTo>
                    <a:pt x="89411" y="14238"/>
                    <a:pt x="88909" y="13503"/>
                    <a:pt x="88408" y="12951"/>
                  </a:cubicBezTo>
                  <a:cubicBezTo>
                    <a:pt x="87906" y="12399"/>
                    <a:pt x="87404" y="11847"/>
                    <a:pt x="86903" y="11296"/>
                  </a:cubicBezTo>
                  <a:cubicBezTo>
                    <a:pt x="85900" y="10376"/>
                    <a:pt x="84897" y="9457"/>
                    <a:pt x="83727" y="8721"/>
                  </a:cubicBezTo>
                  <a:cubicBezTo>
                    <a:pt x="82890" y="8170"/>
                    <a:pt x="81888" y="7618"/>
                    <a:pt x="81052" y="7250"/>
                  </a:cubicBezTo>
                  <a:cubicBezTo>
                    <a:pt x="79046" y="6331"/>
                    <a:pt x="76873" y="5779"/>
                    <a:pt x="74532" y="5595"/>
                  </a:cubicBezTo>
                  <a:close/>
                  <a:moveTo>
                    <a:pt x="312500" y="5595"/>
                  </a:moveTo>
                  <a:cubicBezTo>
                    <a:pt x="309659" y="5411"/>
                    <a:pt x="306816" y="5963"/>
                    <a:pt x="304141" y="7066"/>
                  </a:cubicBezTo>
                  <a:cubicBezTo>
                    <a:pt x="302303" y="7802"/>
                    <a:pt x="300631" y="8905"/>
                    <a:pt x="299126" y="10193"/>
                  </a:cubicBezTo>
                  <a:cubicBezTo>
                    <a:pt x="298290" y="10928"/>
                    <a:pt x="297622" y="11664"/>
                    <a:pt x="296786" y="12399"/>
                  </a:cubicBezTo>
                  <a:cubicBezTo>
                    <a:pt x="295950" y="13318"/>
                    <a:pt x="295114" y="14422"/>
                    <a:pt x="294445" y="15342"/>
                  </a:cubicBezTo>
                  <a:cubicBezTo>
                    <a:pt x="293943" y="16077"/>
                    <a:pt x="293442" y="16997"/>
                    <a:pt x="293108" y="17732"/>
                  </a:cubicBezTo>
                  <a:cubicBezTo>
                    <a:pt x="292439" y="18836"/>
                    <a:pt x="291938" y="20123"/>
                    <a:pt x="291603" y="21410"/>
                  </a:cubicBezTo>
                  <a:cubicBezTo>
                    <a:pt x="291269" y="22145"/>
                    <a:pt x="291102" y="23065"/>
                    <a:pt x="290935" y="23801"/>
                  </a:cubicBezTo>
                  <a:cubicBezTo>
                    <a:pt x="290600" y="24904"/>
                    <a:pt x="290433" y="26191"/>
                    <a:pt x="290266" y="27295"/>
                  </a:cubicBezTo>
                  <a:cubicBezTo>
                    <a:pt x="289764" y="30605"/>
                    <a:pt x="289764" y="33915"/>
                    <a:pt x="290433" y="37041"/>
                  </a:cubicBezTo>
                  <a:cubicBezTo>
                    <a:pt x="290600" y="38145"/>
                    <a:pt x="290767" y="39248"/>
                    <a:pt x="291102" y="40351"/>
                  </a:cubicBezTo>
                  <a:cubicBezTo>
                    <a:pt x="291436" y="41271"/>
                    <a:pt x="291603" y="42006"/>
                    <a:pt x="291938" y="42926"/>
                  </a:cubicBezTo>
                  <a:cubicBezTo>
                    <a:pt x="292272" y="43478"/>
                    <a:pt x="292439" y="44029"/>
                    <a:pt x="292606" y="44581"/>
                  </a:cubicBezTo>
                  <a:cubicBezTo>
                    <a:pt x="293108" y="45684"/>
                    <a:pt x="293610" y="46603"/>
                    <a:pt x="294111" y="47523"/>
                  </a:cubicBezTo>
                  <a:cubicBezTo>
                    <a:pt x="294613" y="48258"/>
                    <a:pt x="295114" y="48994"/>
                    <a:pt x="295615" y="49729"/>
                  </a:cubicBezTo>
                  <a:cubicBezTo>
                    <a:pt x="296284" y="50650"/>
                    <a:pt x="297120" y="51568"/>
                    <a:pt x="297956" y="52304"/>
                  </a:cubicBezTo>
                  <a:cubicBezTo>
                    <a:pt x="298625" y="53040"/>
                    <a:pt x="299461" y="53592"/>
                    <a:pt x="300129" y="54143"/>
                  </a:cubicBezTo>
                  <a:cubicBezTo>
                    <a:pt x="301300" y="55063"/>
                    <a:pt x="302637" y="55798"/>
                    <a:pt x="303975" y="56350"/>
                  </a:cubicBezTo>
                  <a:cubicBezTo>
                    <a:pt x="305646" y="57086"/>
                    <a:pt x="307485" y="57637"/>
                    <a:pt x="309324" y="57821"/>
                  </a:cubicBezTo>
                  <a:cubicBezTo>
                    <a:pt x="309659" y="57821"/>
                    <a:pt x="309826" y="57821"/>
                    <a:pt x="310160" y="58005"/>
                  </a:cubicBezTo>
                  <a:cubicBezTo>
                    <a:pt x="311163" y="58005"/>
                    <a:pt x="311999" y="58005"/>
                    <a:pt x="313002" y="58005"/>
                  </a:cubicBezTo>
                  <a:cubicBezTo>
                    <a:pt x="313002" y="57821"/>
                    <a:pt x="313169" y="58005"/>
                    <a:pt x="313169" y="58005"/>
                  </a:cubicBezTo>
                  <a:cubicBezTo>
                    <a:pt x="316346" y="57637"/>
                    <a:pt x="319355" y="56534"/>
                    <a:pt x="322029" y="54695"/>
                  </a:cubicBezTo>
                  <a:cubicBezTo>
                    <a:pt x="323200" y="53959"/>
                    <a:pt x="324203" y="53040"/>
                    <a:pt x="325206" y="51936"/>
                  </a:cubicBezTo>
                  <a:cubicBezTo>
                    <a:pt x="326042" y="51201"/>
                    <a:pt x="326711" y="50282"/>
                    <a:pt x="327379" y="49362"/>
                  </a:cubicBezTo>
                  <a:cubicBezTo>
                    <a:pt x="327881" y="48626"/>
                    <a:pt x="328383" y="47891"/>
                    <a:pt x="328884" y="46971"/>
                  </a:cubicBezTo>
                  <a:cubicBezTo>
                    <a:pt x="329386" y="46052"/>
                    <a:pt x="329887" y="45132"/>
                    <a:pt x="330389" y="44029"/>
                  </a:cubicBezTo>
                  <a:cubicBezTo>
                    <a:pt x="330723" y="43293"/>
                    <a:pt x="330890" y="42742"/>
                    <a:pt x="331224" y="42006"/>
                  </a:cubicBezTo>
                  <a:cubicBezTo>
                    <a:pt x="331559" y="41271"/>
                    <a:pt x="331726" y="40535"/>
                    <a:pt x="331893" y="39799"/>
                  </a:cubicBezTo>
                  <a:cubicBezTo>
                    <a:pt x="332227" y="38512"/>
                    <a:pt x="332395" y="37225"/>
                    <a:pt x="332729" y="35938"/>
                  </a:cubicBezTo>
                  <a:cubicBezTo>
                    <a:pt x="332896" y="35202"/>
                    <a:pt x="332896" y="34650"/>
                    <a:pt x="332896" y="33915"/>
                  </a:cubicBezTo>
                  <a:cubicBezTo>
                    <a:pt x="332729" y="34466"/>
                    <a:pt x="332562" y="34283"/>
                    <a:pt x="332729" y="34099"/>
                  </a:cubicBezTo>
                  <a:cubicBezTo>
                    <a:pt x="332729" y="32812"/>
                    <a:pt x="332729" y="31524"/>
                    <a:pt x="332729" y="30237"/>
                  </a:cubicBezTo>
                  <a:cubicBezTo>
                    <a:pt x="332729" y="30237"/>
                    <a:pt x="332729" y="30237"/>
                    <a:pt x="332729" y="30053"/>
                  </a:cubicBezTo>
                  <a:cubicBezTo>
                    <a:pt x="332729" y="28950"/>
                    <a:pt x="332562" y="28030"/>
                    <a:pt x="332395" y="26927"/>
                  </a:cubicBezTo>
                  <a:cubicBezTo>
                    <a:pt x="332061" y="25640"/>
                    <a:pt x="332061" y="24352"/>
                    <a:pt x="331559" y="23249"/>
                  </a:cubicBezTo>
                  <a:cubicBezTo>
                    <a:pt x="331224" y="22513"/>
                    <a:pt x="331057" y="21778"/>
                    <a:pt x="330890" y="21042"/>
                  </a:cubicBezTo>
                  <a:cubicBezTo>
                    <a:pt x="330389" y="19939"/>
                    <a:pt x="329887" y="18651"/>
                    <a:pt x="329386" y="17548"/>
                  </a:cubicBezTo>
                  <a:cubicBezTo>
                    <a:pt x="328884" y="16629"/>
                    <a:pt x="328383" y="15893"/>
                    <a:pt x="327881" y="14974"/>
                  </a:cubicBezTo>
                  <a:cubicBezTo>
                    <a:pt x="327379" y="14238"/>
                    <a:pt x="326878" y="13503"/>
                    <a:pt x="326376" y="12951"/>
                  </a:cubicBezTo>
                  <a:cubicBezTo>
                    <a:pt x="325875" y="12399"/>
                    <a:pt x="325373" y="11847"/>
                    <a:pt x="324872" y="11296"/>
                  </a:cubicBezTo>
                  <a:cubicBezTo>
                    <a:pt x="323868" y="10376"/>
                    <a:pt x="322865" y="9457"/>
                    <a:pt x="321695" y="8721"/>
                  </a:cubicBezTo>
                  <a:cubicBezTo>
                    <a:pt x="320860" y="8170"/>
                    <a:pt x="319856" y="7618"/>
                    <a:pt x="319021" y="7250"/>
                  </a:cubicBezTo>
                  <a:cubicBezTo>
                    <a:pt x="317014" y="6331"/>
                    <a:pt x="314841" y="5779"/>
                    <a:pt x="312500" y="5595"/>
                  </a:cubicBezTo>
                  <a:close/>
                  <a:moveTo>
                    <a:pt x="436584" y="5595"/>
                  </a:moveTo>
                  <a:cubicBezTo>
                    <a:pt x="433742" y="5411"/>
                    <a:pt x="430900" y="5963"/>
                    <a:pt x="428225" y="7066"/>
                  </a:cubicBezTo>
                  <a:cubicBezTo>
                    <a:pt x="426386" y="7802"/>
                    <a:pt x="424714" y="8905"/>
                    <a:pt x="423210" y="10193"/>
                  </a:cubicBezTo>
                  <a:cubicBezTo>
                    <a:pt x="422374" y="10928"/>
                    <a:pt x="421705" y="11664"/>
                    <a:pt x="420869" y="12399"/>
                  </a:cubicBezTo>
                  <a:cubicBezTo>
                    <a:pt x="420033" y="13318"/>
                    <a:pt x="419198" y="14422"/>
                    <a:pt x="418529" y="15342"/>
                  </a:cubicBezTo>
                  <a:cubicBezTo>
                    <a:pt x="418027" y="16077"/>
                    <a:pt x="417526" y="16997"/>
                    <a:pt x="417191" y="17732"/>
                  </a:cubicBezTo>
                  <a:cubicBezTo>
                    <a:pt x="416523" y="18836"/>
                    <a:pt x="416021" y="20123"/>
                    <a:pt x="415687" y="21410"/>
                  </a:cubicBezTo>
                  <a:cubicBezTo>
                    <a:pt x="415352" y="22145"/>
                    <a:pt x="415185" y="23065"/>
                    <a:pt x="415018" y="23801"/>
                  </a:cubicBezTo>
                  <a:cubicBezTo>
                    <a:pt x="414684" y="24904"/>
                    <a:pt x="414516" y="26191"/>
                    <a:pt x="414350" y="27295"/>
                  </a:cubicBezTo>
                  <a:cubicBezTo>
                    <a:pt x="413848" y="30605"/>
                    <a:pt x="413848" y="33915"/>
                    <a:pt x="414516" y="37041"/>
                  </a:cubicBezTo>
                  <a:cubicBezTo>
                    <a:pt x="414684" y="38145"/>
                    <a:pt x="414851" y="39248"/>
                    <a:pt x="415185" y="40351"/>
                  </a:cubicBezTo>
                  <a:cubicBezTo>
                    <a:pt x="415519" y="41271"/>
                    <a:pt x="415687" y="42006"/>
                    <a:pt x="416021" y="42926"/>
                  </a:cubicBezTo>
                  <a:cubicBezTo>
                    <a:pt x="416355" y="43478"/>
                    <a:pt x="416523" y="44029"/>
                    <a:pt x="416690" y="44581"/>
                  </a:cubicBezTo>
                  <a:cubicBezTo>
                    <a:pt x="417191" y="45684"/>
                    <a:pt x="417693" y="46603"/>
                    <a:pt x="418194" y="47523"/>
                  </a:cubicBezTo>
                  <a:cubicBezTo>
                    <a:pt x="418696" y="48258"/>
                    <a:pt x="419198" y="48994"/>
                    <a:pt x="419699" y="49729"/>
                  </a:cubicBezTo>
                  <a:cubicBezTo>
                    <a:pt x="420368" y="50650"/>
                    <a:pt x="421203" y="51568"/>
                    <a:pt x="422040" y="52304"/>
                  </a:cubicBezTo>
                  <a:cubicBezTo>
                    <a:pt x="422708" y="53040"/>
                    <a:pt x="423544" y="53592"/>
                    <a:pt x="424213" y="54143"/>
                  </a:cubicBezTo>
                  <a:cubicBezTo>
                    <a:pt x="425383" y="55063"/>
                    <a:pt x="426720" y="55798"/>
                    <a:pt x="428058" y="56350"/>
                  </a:cubicBezTo>
                  <a:cubicBezTo>
                    <a:pt x="429730" y="57086"/>
                    <a:pt x="431568" y="57637"/>
                    <a:pt x="433407" y="57821"/>
                  </a:cubicBezTo>
                  <a:cubicBezTo>
                    <a:pt x="433742" y="57821"/>
                    <a:pt x="433909" y="57821"/>
                    <a:pt x="434243" y="58005"/>
                  </a:cubicBezTo>
                  <a:cubicBezTo>
                    <a:pt x="435247" y="58005"/>
                    <a:pt x="436082" y="58005"/>
                    <a:pt x="437086" y="58005"/>
                  </a:cubicBezTo>
                  <a:cubicBezTo>
                    <a:pt x="437086" y="57821"/>
                    <a:pt x="437253" y="58005"/>
                    <a:pt x="437253" y="58005"/>
                  </a:cubicBezTo>
                  <a:cubicBezTo>
                    <a:pt x="440429" y="57637"/>
                    <a:pt x="443439" y="56534"/>
                    <a:pt x="446113" y="54695"/>
                  </a:cubicBezTo>
                  <a:cubicBezTo>
                    <a:pt x="447283" y="53959"/>
                    <a:pt x="448287" y="53040"/>
                    <a:pt x="449290" y="51936"/>
                  </a:cubicBezTo>
                  <a:cubicBezTo>
                    <a:pt x="450126" y="51201"/>
                    <a:pt x="450794" y="50282"/>
                    <a:pt x="451463" y="49362"/>
                  </a:cubicBezTo>
                  <a:cubicBezTo>
                    <a:pt x="451964" y="48626"/>
                    <a:pt x="452466" y="47891"/>
                    <a:pt x="452967" y="46971"/>
                  </a:cubicBezTo>
                  <a:cubicBezTo>
                    <a:pt x="453469" y="46052"/>
                    <a:pt x="453971" y="45132"/>
                    <a:pt x="454472" y="44029"/>
                  </a:cubicBezTo>
                  <a:cubicBezTo>
                    <a:pt x="454806" y="43293"/>
                    <a:pt x="454974" y="42742"/>
                    <a:pt x="455308" y="42006"/>
                  </a:cubicBezTo>
                  <a:cubicBezTo>
                    <a:pt x="455642" y="41271"/>
                    <a:pt x="455810" y="40535"/>
                    <a:pt x="455977" y="39799"/>
                  </a:cubicBezTo>
                  <a:cubicBezTo>
                    <a:pt x="456311" y="38512"/>
                    <a:pt x="456478" y="37225"/>
                    <a:pt x="456813" y="35938"/>
                  </a:cubicBezTo>
                  <a:cubicBezTo>
                    <a:pt x="456979" y="35202"/>
                    <a:pt x="456979" y="34650"/>
                    <a:pt x="456979" y="33915"/>
                  </a:cubicBezTo>
                  <a:cubicBezTo>
                    <a:pt x="456813" y="34466"/>
                    <a:pt x="456645" y="34283"/>
                    <a:pt x="456813" y="34099"/>
                  </a:cubicBezTo>
                  <a:cubicBezTo>
                    <a:pt x="456813" y="32812"/>
                    <a:pt x="456813" y="31524"/>
                    <a:pt x="456813" y="30237"/>
                  </a:cubicBezTo>
                  <a:cubicBezTo>
                    <a:pt x="456813" y="30237"/>
                    <a:pt x="456813" y="30237"/>
                    <a:pt x="456813" y="30053"/>
                  </a:cubicBezTo>
                  <a:cubicBezTo>
                    <a:pt x="456813" y="28950"/>
                    <a:pt x="456645" y="28030"/>
                    <a:pt x="456478" y="26927"/>
                  </a:cubicBezTo>
                  <a:cubicBezTo>
                    <a:pt x="456144" y="25640"/>
                    <a:pt x="456144" y="24352"/>
                    <a:pt x="455642" y="23249"/>
                  </a:cubicBezTo>
                  <a:cubicBezTo>
                    <a:pt x="455308" y="22513"/>
                    <a:pt x="455141" y="21778"/>
                    <a:pt x="454974" y="21042"/>
                  </a:cubicBezTo>
                  <a:cubicBezTo>
                    <a:pt x="454472" y="19939"/>
                    <a:pt x="453971" y="18651"/>
                    <a:pt x="453469" y="17548"/>
                  </a:cubicBezTo>
                  <a:cubicBezTo>
                    <a:pt x="452967" y="16629"/>
                    <a:pt x="452466" y="15893"/>
                    <a:pt x="451964" y="14974"/>
                  </a:cubicBezTo>
                  <a:cubicBezTo>
                    <a:pt x="451463" y="14238"/>
                    <a:pt x="450962" y="13503"/>
                    <a:pt x="450460" y="12951"/>
                  </a:cubicBezTo>
                  <a:cubicBezTo>
                    <a:pt x="449958" y="12399"/>
                    <a:pt x="449456" y="11847"/>
                    <a:pt x="448955" y="11296"/>
                  </a:cubicBezTo>
                  <a:cubicBezTo>
                    <a:pt x="447952" y="10376"/>
                    <a:pt x="446949" y="9457"/>
                    <a:pt x="445779" y="8721"/>
                  </a:cubicBezTo>
                  <a:cubicBezTo>
                    <a:pt x="444943" y="8170"/>
                    <a:pt x="443940" y="7618"/>
                    <a:pt x="443104" y="7250"/>
                  </a:cubicBezTo>
                  <a:cubicBezTo>
                    <a:pt x="441098" y="6331"/>
                    <a:pt x="438925" y="5779"/>
                    <a:pt x="436584" y="5595"/>
                  </a:cubicBezTo>
                  <a:close/>
                  <a:moveTo>
                    <a:pt x="602386" y="5595"/>
                  </a:moveTo>
                  <a:cubicBezTo>
                    <a:pt x="599545" y="5411"/>
                    <a:pt x="596703" y="5963"/>
                    <a:pt x="594028" y="7066"/>
                  </a:cubicBezTo>
                  <a:cubicBezTo>
                    <a:pt x="592189" y="7802"/>
                    <a:pt x="590517" y="8905"/>
                    <a:pt x="589012" y="10193"/>
                  </a:cubicBezTo>
                  <a:cubicBezTo>
                    <a:pt x="588176" y="10928"/>
                    <a:pt x="587508" y="11664"/>
                    <a:pt x="586672" y="12399"/>
                  </a:cubicBezTo>
                  <a:cubicBezTo>
                    <a:pt x="585836" y="13318"/>
                    <a:pt x="585000" y="14422"/>
                    <a:pt x="584332" y="15342"/>
                  </a:cubicBezTo>
                  <a:cubicBezTo>
                    <a:pt x="583830" y="16077"/>
                    <a:pt x="583328" y="16997"/>
                    <a:pt x="582994" y="17732"/>
                  </a:cubicBezTo>
                  <a:cubicBezTo>
                    <a:pt x="582325" y="18836"/>
                    <a:pt x="581824" y="20123"/>
                    <a:pt x="581489" y="21410"/>
                  </a:cubicBezTo>
                  <a:cubicBezTo>
                    <a:pt x="581155" y="22145"/>
                    <a:pt x="580988" y="23065"/>
                    <a:pt x="580821" y="23801"/>
                  </a:cubicBezTo>
                  <a:cubicBezTo>
                    <a:pt x="580486" y="24904"/>
                    <a:pt x="580319" y="26191"/>
                    <a:pt x="580152" y="27295"/>
                  </a:cubicBezTo>
                  <a:cubicBezTo>
                    <a:pt x="579650" y="30605"/>
                    <a:pt x="579650" y="33915"/>
                    <a:pt x="580319" y="37041"/>
                  </a:cubicBezTo>
                  <a:cubicBezTo>
                    <a:pt x="580486" y="38145"/>
                    <a:pt x="580654" y="39248"/>
                    <a:pt x="580988" y="40351"/>
                  </a:cubicBezTo>
                  <a:cubicBezTo>
                    <a:pt x="581322" y="41271"/>
                    <a:pt x="581489" y="42006"/>
                    <a:pt x="581824" y="42926"/>
                  </a:cubicBezTo>
                  <a:cubicBezTo>
                    <a:pt x="582158" y="43478"/>
                    <a:pt x="582325" y="44029"/>
                    <a:pt x="582493" y="44581"/>
                  </a:cubicBezTo>
                  <a:cubicBezTo>
                    <a:pt x="582994" y="45684"/>
                    <a:pt x="583496" y="46603"/>
                    <a:pt x="583997" y="47523"/>
                  </a:cubicBezTo>
                  <a:cubicBezTo>
                    <a:pt x="584499" y="48258"/>
                    <a:pt x="585000" y="48994"/>
                    <a:pt x="585501" y="49729"/>
                  </a:cubicBezTo>
                  <a:cubicBezTo>
                    <a:pt x="586171" y="50650"/>
                    <a:pt x="587006" y="51568"/>
                    <a:pt x="587842" y="52304"/>
                  </a:cubicBezTo>
                  <a:cubicBezTo>
                    <a:pt x="588511" y="53040"/>
                    <a:pt x="589347" y="53592"/>
                    <a:pt x="590015" y="54143"/>
                  </a:cubicBezTo>
                  <a:cubicBezTo>
                    <a:pt x="591186" y="55063"/>
                    <a:pt x="592523" y="55798"/>
                    <a:pt x="593861" y="56350"/>
                  </a:cubicBezTo>
                  <a:cubicBezTo>
                    <a:pt x="595533" y="57086"/>
                    <a:pt x="597371" y="57637"/>
                    <a:pt x="599210" y="57821"/>
                  </a:cubicBezTo>
                  <a:cubicBezTo>
                    <a:pt x="599545" y="57821"/>
                    <a:pt x="599712" y="57821"/>
                    <a:pt x="600046" y="58005"/>
                  </a:cubicBezTo>
                  <a:cubicBezTo>
                    <a:pt x="601049" y="58005"/>
                    <a:pt x="601885" y="58005"/>
                    <a:pt x="602888" y="58005"/>
                  </a:cubicBezTo>
                  <a:cubicBezTo>
                    <a:pt x="602888" y="57821"/>
                    <a:pt x="603056" y="58005"/>
                    <a:pt x="603056" y="58005"/>
                  </a:cubicBezTo>
                  <a:cubicBezTo>
                    <a:pt x="606232" y="57637"/>
                    <a:pt x="609241" y="56534"/>
                    <a:pt x="611916" y="54695"/>
                  </a:cubicBezTo>
                  <a:cubicBezTo>
                    <a:pt x="613086" y="53959"/>
                    <a:pt x="614089" y="53040"/>
                    <a:pt x="615092" y="51936"/>
                  </a:cubicBezTo>
                  <a:cubicBezTo>
                    <a:pt x="615928" y="51201"/>
                    <a:pt x="616597" y="50282"/>
                    <a:pt x="617266" y="49362"/>
                  </a:cubicBezTo>
                  <a:cubicBezTo>
                    <a:pt x="617767" y="48626"/>
                    <a:pt x="618269" y="47891"/>
                    <a:pt x="618770" y="46971"/>
                  </a:cubicBezTo>
                  <a:cubicBezTo>
                    <a:pt x="619272" y="46052"/>
                    <a:pt x="619773" y="45132"/>
                    <a:pt x="620275" y="44029"/>
                  </a:cubicBezTo>
                  <a:cubicBezTo>
                    <a:pt x="620609" y="43293"/>
                    <a:pt x="620776" y="42742"/>
                    <a:pt x="621110" y="42006"/>
                  </a:cubicBezTo>
                  <a:cubicBezTo>
                    <a:pt x="621445" y="41271"/>
                    <a:pt x="621612" y="40535"/>
                    <a:pt x="621780" y="39799"/>
                  </a:cubicBezTo>
                  <a:cubicBezTo>
                    <a:pt x="622114" y="38512"/>
                    <a:pt x="622281" y="37225"/>
                    <a:pt x="622615" y="35938"/>
                  </a:cubicBezTo>
                  <a:cubicBezTo>
                    <a:pt x="622782" y="35202"/>
                    <a:pt x="622782" y="34650"/>
                    <a:pt x="622782" y="33915"/>
                  </a:cubicBezTo>
                  <a:cubicBezTo>
                    <a:pt x="622615" y="34466"/>
                    <a:pt x="622448" y="34283"/>
                    <a:pt x="622615" y="34099"/>
                  </a:cubicBezTo>
                  <a:cubicBezTo>
                    <a:pt x="622615" y="32812"/>
                    <a:pt x="622615" y="31524"/>
                    <a:pt x="622615" y="30237"/>
                  </a:cubicBezTo>
                  <a:cubicBezTo>
                    <a:pt x="622615" y="30237"/>
                    <a:pt x="622615" y="30237"/>
                    <a:pt x="622615" y="30053"/>
                  </a:cubicBezTo>
                  <a:cubicBezTo>
                    <a:pt x="622615" y="28950"/>
                    <a:pt x="622448" y="28030"/>
                    <a:pt x="622281" y="26927"/>
                  </a:cubicBezTo>
                  <a:cubicBezTo>
                    <a:pt x="621947" y="25640"/>
                    <a:pt x="621947" y="24352"/>
                    <a:pt x="621445" y="23249"/>
                  </a:cubicBezTo>
                  <a:cubicBezTo>
                    <a:pt x="621110" y="22513"/>
                    <a:pt x="620944" y="21778"/>
                    <a:pt x="620776" y="21042"/>
                  </a:cubicBezTo>
                  <a:cubicBezTo>
                    <a:pt x="620275" y="19939"/>
                    <a:pt x="619773" y="18651"/>
                    <a:pt x="619272" y="17548"/>
                  </a:cubicBezTo>
                  <a:cubicBezTo>
                    <a:pt x="618770" y="16629"/>
                    <a:pt x="618269" y="15893"/>
                    <a:pt x="617767" y="14974"/>
                  </a:cubicBezTo>
                  <a:cubicBezTo>
                    <a:pt x="617266" y="14238"/>
                    <a:pt x="616764" y="13503"/>
                    <a:pt x="616262" y="12951"/>
                  </a:cubicBezTo>
                  <a:cubicBezTo>
                    <a:pt x="615761" y="12399"/>
                    <a:pt x="615259" y="11847"/>
                    <a:pt x="614758" y="11296"/>
                  </a:cubicBezTo>
                  <a:cubicBezTo>
                    <a:pt x="613755" y="10376"/>
                    <a:pt x="612752" y="9457"/>
                    <a:pt x="611582" y="8721"/>
                  </a:cubicBezTo>
                  <a:cubicBezTo>
                    <a:pt x="610746" y="8170"/>
                    <a:pt x="609743" y="7618"/>
                    <a:pt x="608907" y="7250"/>
                  </a:cubicBezTo>
                  <a:cubicBezTo>
                    <a:pt x="606900" y="6331"/>
                    <a:pt x="604727" y="5779"/>
                    <a:pt x="602386" y="5595"/>
                  </a:cubicBezTo>
                  <a:close/>
                  <a:moveTo>
                    <a:pt x="724518" y="2541"/>
                  </a:moveTo>
                  <a:cubicBezTo>
                    <a:pt x="716199" y="2541"/>
                    <a:pt x="709259" y="8442"/>
                    <a:pt x="707654" y="16286"/>
                  </a:cubicBezTo>
                  <a:lnTo>
                    <a:pt x="707327" y="19522"/>
                  </a:lnTo>
                  <a:lnTo>
                    <a:pt x="706362" y="19522"/>
                  </a:lnTo>
                  <a:cubicBezTo>
                    <a:pt x="703936" y="19522"/>
                    <a:pt x="701973" y="21433"/>
                    <a:pt x="701973" y="23798"/>
                  </a:cubicBezTo>
                  <a:cubicBezTo>
                    <a:pt x="701973" y="23798"/>
                    <a:pt x="701973" y="23798"/>
                    <a:pt x="701973" y="57615"/>
                  </a:cubicBezTo>
                  <a:cubicBezTo>
                    <a:pt x="701973" y="59979"/>
                    <a:pt x="703936" y="61890"/>
                    <a:pt x="706362" y="61890"/>
                  </a:cubicBezTo>
                  <a:cubicBezTo>
                    <a:pt x="706362" y="61890"/>
                    <a:pt x="706362" y="61890"/>
                    <a:pt x="742673" y="61890"/>
                  </a:cubicBezTo>
                  <a:cubicBezTo>
                    <a:pt x="745100" y="61890"/>
                    <a:pt x="747062" y="59979"/>
                    <a:pt x="747062" y="57615"/>
                  </a:cubicBezTo>
                  <a:cubicBezTo>
                    <a:pt x="747062" y="57615"/>
                    <a:pt x="747062" y="57615"/>
                    <a:pt x="747062" y="23798"/>
                  </a:cubicBezTo>
                  <a:cubicBezTo>
                    <a:pt x="747062" y="21433"/>
                    <a:pt x="745100" y="19522"/>
                    <a:pt x="742673" y="19522"/>
                  </a:cubicBezTo>
                  <a:cubicBezTo>
                    <a:pt x="742673" y="19522"/>
                    <a:pt x="742673" y="19522"/>
                    <a:pt x="742105" y="19522"/>
                  </a:cubicBezTo>
                  <a:lnTo>
                    <a:pt x="741708" y="19522"/>
                  </a:lnTo>
                  <a:lnTo>
                    <a:pt x="741382" y="16286"/>
                  </a:lnTo>
                  <a:cubicBezTo>
                    <a:pt x="739777" y="8442"/>
                    <a:pt x="732836" y="2541"/>
                    <a:pt x="724518" y="2541"/>
                  </a:cubicBezTo>
                  <a:close/>
                  <a:moveTo>
                    <a:pt x="187522" y="0"/>
                  </a:moveTo>
                  <a:cubicBezTo>
                    <a:pt x="179204" y="0"/>
                    <a:pt x="172264" y="5901"/>
                    <a:pt x="170658" y="13745"/>
                  </a:cubicBezTo>
                  <a:lnTo>
                    <a:pt x="170332" y="16981"/>
                  </a:lnTo>
                  <a:lnTo>
                    <a:pt x="169367" y="16981"/>
                  </a:lnTo>
                  <a:cubicBezTo>
                    <a:pt x="166940" y="16981"/>
                    <a:pt x="164978" y="18892"/>
                    <a:pt x="164978" y="21257"/>
                  </a:cubicBezTo>
                  <a:cubicBezTo>
                    <a:pt x="164978" y="21257"/>
                    <a:pt x="164978" y="21257"/>
                    <a:pt x="164978" y="55074"/>
                  </a:cubicBezTo>
                  <a:cubicBezTo>
                    <a:pt x="164978" y="57438"/>
                    <a:pt x="166940" y="59349"/>
                    <a:pt x="169367" y="59349"/>
                  </a:cubicBezTo>
                  <a:cubicBezTo>
                    <a:pt x="169367" y="59349"/>
                    <a:pt x="169367" y="59349"/>
                    <a:pt x="205678" y="59349"/>
                  </a:cubicBezTo>
                  <a:cubicBezTo>
                    <a:pt x="208105" y="59349"/>
                    <a:pt x="210066" y="57438"/>
                    <a:pt x="210066" y="55074"/>
                  </a:cubicBezTo>
                  <a:cubicBezTo>
                    <a:pt x="210066" y="55074"/>
                    <a:pt x="210066" y="55074"/>
                    <a:pt x="210066" y="21257"/>
                  </a:cubicBezTo>
                  <a:cubicBezTo>
                    <a:pt x="210066" y="18892"/>
                    <a:pt x="208105" y="16981"/>
                    <a:pt x="205678" y="16981"/>
                  </a:cubicBezTo>
                  <a:cubicBezTo>
                    <a:pt x="205678" y="16981"/>
                    <a:pt x="205678" y="16981"/>
                    <a:pt x="205110" y="16981"/>
                  </a:cubicBezTo>
                  <a:lnTo>
                    <a:pt x="204712" y="16981"/>
                  </a:lnTo>
                  <a:lnTo>
                    <a:pt x="204386" y="13745"/>
                  </a:lnTo>
                  <a:cubicBezTo>
                    <a:pt x="202782" y="5901"/>
                    <a:pt x="195841" y="0"/>
                    <a:pt x="187522" y="0"/>
                  </a:cubicBezTo>
                  <a:close/>
                  <a:moveTo>
                    <a:pt x="249539" y="0"/>
                  </a:moveTo>
                  <a:cubicBezTo>
                    <a:pt x="241221" y="0"/>
                    <a:pt x="234280" y="5901"/>
                    <a:pt x="232675" y="13745"/>
                  </a:cubicBezTo>
                  <a:lnTo>
                    <a:pt x="232349" y="16981"/>
                  </a:lnTo>
                  <a:lnTo>
                    <a:pt x="231384" y="16981"/>
                  </a:lnTo>
                  <a:cubicBezTo>
                    <a:pt x="228957" y="16981"/>
                    <a:pt x="226995" y="18892"/>
                    <a:pt x="226995" y="21257"/>
                  </a:cubicBezTo>
                  <a:cubicBezTo>
                    <a:pt x="226995" y="21257"/>
                    <a:pt x="226995" y="21257"/>
                    <a:pt x="226995" y="55074"/>
                  </a:cubicBezTo>
                  <a:cubicBezTo>
                    <a:pt x="226995" y="57438"/>
                    <a:pt x="228957" y="59349"/>
                    <a:pt x="231384" y="59349"/>
                  </a:cubicBezTo>
                  <a:cubicBezTo>
                    <a:pt x="231384" y="59349"/>
                    <a:pt x="231384" y="59349"/>
                    <a:pt x="267695" y="59349"/>
                  </a:cubicBezTo>
                  <a:cubicBezTo>
                    <a:pt x="270122" y="59349"/>
                    <a:pt x="272083" y="57438"/>
                    <a:pt x="272083" y="55074"/>
                  </a:cubicBezTo>
                  <a:cubicBezTo>
                    <a:pt x="272083" y="55074"/>
                    <a:pt x="272083" y="55074"/>
                    <a:pt x="272083" y="21257"/>
                  </a:cubicBezTo>
                  <a:cubicBezTo>
                    <a:pt x="272083" y="18892"/>
                    <a:pt x="270122" y="16981"/>
                    <a:pt x="267695" y="16981"/>
                  </a:cubicBezTo>
                  <a:cubicBezTo>
                    <a:pt x="267695" y="16981"/>
                    <a:pt x="267695" y="16981"/>
                    <a:pt x="267127" y="16981"/>
                  </a:cubicBezTo>
                  <a:lnTo>
                    <a:pt x="266729" y="16981"/>
                  </a:lnTo>
                  <a:lnTo>
                    <a:pt x="266403" y="13745"/>
                  </a:lnTo>
                  <a:cubicBezTo>
                    <a:pt x="264799" y="5901"/>
                    <a:pt x="257858" y="0"/>
                    <a:pt x="249539" y="0"/>
                  </a:cubicBezTo>
                  <a:close/>
                  <a:moveTo>
                    <a:pt x="373623" y="0"/>
                  </a:moveTo>
                  <a:cubicBezTo>
                    <a:pt x="365304" y="0"/>
                    <a:pt x="358364" y="5901"/>
                    <a:pt x="356759" y="13745"/>
                  </a:cubicBezTo>
                  <a:lnTo>
                    <a:pt x="356432" y="16981"/>
                  </a:lnTo>
                  <a:lnTo>
                    <a:pt x="355467" y="16981"/>
                  </a:lnTo>
                  <a:cubicBezTo>
                    <a:pt x="353041" y="16981"/>
                    <a:pt x="351078" y="18892"/>
                    <a:pt x="351078" y="21257"/>
                  </a:cubicBezTo>
                  <a:cubicBezTo>
                    <a:pt x="351078" y="21257"/>
                    <a:pt x="351078" y="21257"/>
                    <a:pt x="351078" y="55074"/>
                  </a:cubicBezTo>
                  <a:cubicBezTo>
                    <a:pt x="351078" y="57438"/>
                    <a:pt x="353041" y="59349"/>
                    <a:pt x="355467" y="59349"/>
                  </a:cubicBezTo>
                  <a:cubicBezTo>
                    <a:pt x="355467" y="59349"/>
                    <a:pt x="355467" y="59349"/>
                    <a:pt x="391778" y="59349"/>
                  </a:cubicBezTo>
                  <a:cubicBezTo>
                    <a:pt x="394205" y="59349"/>
                    <a:pt x="396167" y="57438"/>
                    <a:pt x="396167" y="55074"/>
                  </a:cubicBezTo>
                  <a:cubicBezTo>
                    <a:pt x="396167" y="55074"/>
                    <a:pt x="396167" y="55074"/>
                    <a:pt x="396167" y="21257"/>
                  </a:cubicBezTo>
                  <a:cubicBezTo>
                    <a:pt x="396167" y="18892"/>
                    <a:pt x="394205" y="16981"/>
                    <a:pt x="391778" y="16981"/>
                  </a:cubicBezTo>
                  <a:cubicBezTo>
                    <a:pt x="391778" y="16981"/>
                    <a:pt x="391778" y="16981"/>
                    <a:pt x="391210" y="16981"/>
                  </a:cubicBezTo>
                  <a:lnTo>
                    <a:pt x="390813" y="16981"/>
                  </a:lnTo>
                  <a:lnTo>
                    <a:pt x="390487" y="13745"/>
                  </a:lnTo>
                  <a:cubicBezTo>
                    <a:pt x="388882" y="5901"/>
                    <a:pt x="381941" y="0"/>
                    <a:pt x="373623" y="0"/>
                  </a:cubicBezTo>
                  <a:close/>
                  <a:moveTo>
                    <a:pt x="663509" y="0"/>
                  </a:moveTo>
                  <a:cubicBezTo>
                    <a:pt x="655190" y="0"/>
                    <a:pt x="648250" y="5901"/>
                    <a:pt x="646645" y="13745"/>
                  </a:cubicBezTo>
                  <a:lnTo>
                    <a:pt x="646319" y="16981"/>
                  </a:lnTo>
                  <a:lnTo>
                    <a:pt x="645354" y="16981"/>
                  </a:lnTo>
                  <a:cubicBezTo>
                    <a:pt x="642927" y="16981"/>
                    <a:pt x="640965" y="18892"/>
                    <a:pt x="640965" y="21257"/>
                  </a:cubicBezTo>
                  <a:cubicBezTo>
                    <a:pt x="640965" y="21257"/>
                    <a:pt x="640965" y="21257"/>
                    <a:pt x="640965" y="55074"/>
                  </a:cubicBezTo>
                  <a:cubicBezTo>
                    <a:pt x="640965" y="57438"/>
                    <a:pt x="642927" y="59349"/>
                    <a:pt x="645354" y="59349"/>
                  </a:cubicBezTo>
                  <a:cubicBezTo>
                    <a:pt x="645354" y="59349"/>
                    <a:pt x="645354" y="59349"/>
                    <a:pt x="681664" y="59349"/>
                  </a:cubicBezTo>
                  <a:cubicBezTo>
                    <a:pt x="684092" y="59349"/>
                    <a:pt x="686053" y="57438"/>
                    <a:pt x="686053" y="55074"/>
                  </a:cubicBezTo>
                  <a:cubicBezTo>
                    <a:pt x="686053" y="55074"/>
                    <a:pt x="686053" y="55074"/>
                    <a:pt x="686053" y="21257"/>
                  </a:cubicBezTo>
                  <a:cubicBezTo>
                    <a:pt x="686053" y="18892"/>
                    <a:pt x="684092" y="16981"/>
                    <a:pt x="681664" y="16981"/>
                  </a:cubicBezTo>
                  <a:cubicBezTo>
                    <a:pt x="681664" y="16981"/>
                    <a:pt x="681664" y="16981"/>
                    <a:pt x="681096" y="16981"/>
                  </a:cubicBezTo>
                  <a:lnTo>
                    <a:pt x="680699" y="16981"/>
                  </a:lnTo>
                  <a:lnTo>
                    <a:pt x="680373" y="13745"/>
                  </a:lnTo>
                  <a:cubicBezTo>
                    <a:pt x="678768" y="5901"/>
                    <a:pt x="671828" y="0"/>
                    <a:pt x="663509"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1199" name="Freeform: Shape 1198">
              <a:extLst>
                <a:ext uri="{FF2B5EF4-FFF2-40B4-BE49-F238E27FC236}">
                  <a16:creationId xmlns:a16="http://schemas.microsoft.com/office/drawing/2014/main" id="{C0CFC5C3-50AD-40AA-89AF-A3A3C086B53D}"/>
                </a:ext>
              </a:extLst>
            </p:cNvPr>
            <p:cNvSpPr/>
            <p:nvPr/>
          </p:nvSpPr>
          <p:spPr>
            <a:xfrm>
              <a:off x="4682474" y="3441250"/>
              <a:ext cx="2102644" cy="178291"/>
            </a:xfrm>
            <a:custGeom>
              <a:avLst/>
              <a:gdLst>
                <a:gd name="connsiteX0" fmla="*/ 2254372 w 2337635"/>
                <a:gd name="connsiteY0" fmla="*/ 173808 h 198217"/>
                <a:gd name="connsiteX1" fmla="*/ 2247931 w 2337635"/>
                <a:gd name="connsiteY1" fmla="*/ 180116 h 198217"/>
                <a:gd name="connsiteX2" fmla="*/ 2251300 w 2337635"/>
                <a:gd name="connsiteY2" fmla="*/ 185663 h 198217"/>
                <a:gd name="connsiteX3" fmla="*/ 2251300 w 2337635"/>
                <a:gd name="connsiteY3" fmla="*/ 191373 h 198217"/>
                <a:gd name="connsiteX4" fmla="*/ 2254372 w 2337635"/>
                <a:gd name="connsiteY4" fmla="*/ 194382 h 198217"/>
                <a:gd name="connsiteX5" fmla="*/ 2257444 w 2337635"/>
                <a:gd name="connsiteY5" fmla="*/ 191373 h 198217"/>
                <a:gd name="connsiteX6" fmla="*/ 2257444 w 2337635"/>
                <a:gd name="connsiteY6" fmla="*/ 185663 h 198217"/>
                <a:gd name="connsiteX7" fmla="*/ 2260813 w 2337635"/>
                <a:gd name="connsiteY7" fmla="*/ 180116 h 198217"/>
                <a:gd name="connsiteX8" fmla="*/ 2254372 w 2337635"/>
                <a:gd name="connsiteY8" fmla="*/ 173808 h 198217"/>
                <a:gd name="connsiteX9" fmla="*/ 1965802 w 2337635"/>
                <a:gd name="connsiteY9" fmla="*/ 173808 h 198217"/>
                <a:gd name="connsiteX10" fmla="*/ 1959361 w 2337635"/>
                <a:gd name="connsiteY10" fmla="*/ 180116 h 198217"/>
                <a:gd name="connsiteX11" fmla="*/ 1962730 w 2337635"/>
                <a:gd name="connsiteY11" fmla="*/ 185663 h 198217"/>
                <a:gd name="connsiteX12" fmla="*/ 1962730 w 2337635"/>
                <a:gd name="connsiteY12" fmla="*/ 191373 h 198217"/>
                <a:gd name="connsiteX13" fmla="*/ 1965802 w 2337635"/>
                <a:gd name="connsiteY13" fmla="*/ 194382 h 198217"/>
                <a:gd name="connsiteX14" fmla="*/ 1968874 w 2337635"/>
                <a:gd name="connsiteY14" fmla="*/ 191373 h 198217"/>
                <a:gd name="connsiteX15" fmla="*/ 1968874 w 2337635"/>
                <a:gd name="connsiteY15" fmla="*/ 185663 h 198217"/>
                <a:gd name="connsiteX16" fmla="*/ 1972243 w 2337635"/>
                <a:gd name="connsiteY16" fmla="*/ 180116 h 198217"/>
                <a:gd name="connsiteX17" fmla="*/ 1965802 w 2337635"/>
                <a:gd name="connsiteY17" fmla="*/ 173808 h 198217"/>
                <a:gd name="connsiteX18" fmla="*/ 1904048 w 2337635"/>
                <a:gd name="connsiteY18" fmla="*/ 173808 h 198217"/>
                <a:gd name="connsiteX19" fmla="*/ 1897607 w 2337635"/>
                <a:gd name="connsiteY19" fmla="*/ 180116 h 198217"/>
                <a:gd name="connsiteX20" fmla="*/ 1900976 w 2337635"/>
                <a:gd name="connsiteY20" fmla="*/ 185663 h 198217"/>
                <a:gd name="connsiteX21" fmla="*/ 1900976 w 2337635"/>
                <a:gd name="connsiteY21" fmla="*/ 191373 h 198217"/>
                <a:gd name="connsiteX22" fmla="*/ 1904048 w 2337635"/>
                <a:gd name="connsiteY22" fmla="*/ 194382 h 198217"/>
                <a:gd name="connsiteX23" fmla="*/ 1907120 w 2337635"/>
                <a:gd name="connsiteY23" fmla="*/ 191373 h 198217"/>
                <a:gd name="connsiteX24" fmla="*/ 1907120 w 2337635"/>
                <a:gd name="connsiteY24" fmla="*/ 185663 h 198217"/>
                <a:gd name="connsiteX25" fmla="*/ 1910489 w 2337635"/>
                <a:gd name="connsiteY25" fmla="*/ 180116 h 198217"/>
                <a:gd name="connsiteX26" fmla="*/ 1904048 w 2337635"/>
                <a:gd name="connsiteY26" fmla="*/ 173808 h 198217"/>
                <a:gd name="connsiteX27" fmla="*/ 1780491 w 2337635"/>
                <a:gd name="connsiteY27" fmla="*/ 173808 h 198217"/>
                <a:gd name="connsiteX28" fmla="*/ 1774050 w 2337635"/>
                <a:gd name="connsiteY28" fmla="*/ 180116 h 198217"/>
                <a:gd name="connsiteX29" fmla="*/ 1777419 w 2337635"/>
                <a:gd name="connsiteY29" fmla="*/ 185663 h 198217"/>
                <a:gd name="connsiteX30" fmla="*/ 1777419 w 2337635"/>
                <a:gd name="connsiteY30" fmla="*/ 191373 h 198217"/>
                <a:gd name="connsiteX31" fmla="*/ 1780491 w 2337635"/>
                <a:gd name="connsiteY31" fmla="*/ 194382 h 198217"/>
                <a:gd name="connsiteX32" fmla="*/ 1783563 w 2337635"/>
                <a:gd name="connsiteY32" fmla="*/ 191373 h 198217"/>
                <a:gd name="connsiteX33" fmla="*/ 1783563 w 2337635"/>
                <a:gd name="connsiteY33" fmla="*/ 185663 h 198217"/>
                <a:gd name="connsiteX34" fmla="*/ 1786932 w 2337635"/>
                <a:gd name="connsiteY34" fmla="*/ 180116 h 198217"/>
                <a:gd name="connsiteX35" fmla="*/ 1780491 w 2337635"/>
                <a:gd name="connsiteY35" fmla="*/ 173808 h 198217"/>
                <a:gd name="connsiteX36" fmla="*/ 1491921 w 2337635"/>
                <a:gd name="connsiteY36" fmla="*/ 173808 h 198217"/>
                <a:gd name="connsiteX37" fmla="*/ 1485480 w 2337635"/>
                <a:gd name="connsiteY37" fmla="*/ 180116 h 198217"/>
                <a:gd name="connsiteX38" fmla="*/ 1488849 w 2337635"/>
                <a:gd name="connsiteY38" fmla="*/ 185663 h 198217"/>
                <a:gd name="connsiteX39" fmla="*/ 1488849 w 2337635"/>
                <a:gd name="connsiteY39" fmla="*/ 191373 h 198217"/>
                <a:gd name="connsiteX40" fmla="*/ 1491921 w 2337635"/>
                <a:gd name="connsiteY40" fmla="*/ 194382 h 198217"/>
                <a:gd name="connsiteX41" fmla="*/ 1494993 w 2337635"/>
                <a:gd name="connsiteY41" fmla="*/ 191373 h 198217"/>
                <a:gd name="connsiteX42" fmla="*/ 1494993 w 2337635"/>
                <a:gd name="connsiteY42" fmla="*/ 185663 h 198217"/>
                <a:gd name="connsiteX43" fmla="*/ 1498362 w 2337635"/>
                <a:gd name="connsiteY43" fmla="*/ 180116 h 198217"/>
                <a:gd name="connsiteX44" fmla="*/ 1491921 w 2337635"/>
                <a:gd name="connsiteY44" fmla="*/ 173808 h 198217"/>
                <a:gd name="connsiteX45" fmla="*/ 1316759 w 2337635"/>
                <a:gd name="connsiteY45" fmla="*/ 173808 h 198217"/>
                <a:gd name="connsiteX46" fmla="*/ 1310318 w 2337635"/>
                <a:gd name="connsiteY46" fmla="*/ 180116 h 198217"/>
                <a:gd name="connsiteX47" fmla="*/ 1313686 w 2337635"/>
                <a:gd name="connsiteY47" fmla="*/ 185663 h 198217"/>
                <a:gd name="connsiteX48" fmla="*/ 1313686 w 2337635"/>
                <a:gd name="connsiteY48" fmla="*/ 191373 h 198217"/>
                <a:gd name="connsiteX49" fmla="*/ 1316759 w 2337635"/>
                <a:gd name="connsiteY49" fmla="*/ 194382 h 198217"/>
                <a:gd name="connsiteX50" fmla="*/ 1319831 w 2337635"/>
                <a:gd name="connsiteY50" fmla="*/ 191373 h 198217"/>
                <a:gd name="connsiteX51" fmla="*/ 1319831 w 2337635"/>
                <a:gd name="connsiteY51" fmla="*/ 185663 h 198217"/>
                <a:gd name="connsiteX52" fmla="*/ 1323200 w 2337635"/>
                <a:gd name="connsiteY52" fmla="*/ 180116 h 198217"/>
                <a:gd name="connsiteX53" fmla="*/ 1316759 w 2337635"/>
                <a:gd name="connsiteY53" fmla="*/ 173808 h 198217"/>
                <a:gd name="connsiteX54" fmla="*/ 1255005 w 2337635"/>
                <a:gd name="connsiteY54" fmla="*/ 173808 h 198217"/>
                <a:gd name="connsiteX55" fmla="*/ 1248564 w 2337635"/>
                <a:gd name="connsiteY55" fmla="*/ 180116 h 198217"/>
                <a:gd name="connsiteX56" fmla="*/ 1251933 w 2337635"/>
                <a:gd name="connsiteY56" fmla="*/ 185663 h 198217"/>
                <a:gd name="connsiteX57" fmla="*/ 1251933 w 2337635"/>
                <a:gd name="connsiteY57" fmla="*/ 191373 h 198217"/>
                <a:gd name="connsiteX58" fmla="*/ 1255005 w 2337635"/>
                <a:gd name="connsiteY58" fmla="*/ 194382 h 198217"/>
                <a:gd name="connsiteX59" fmla="*/ 1258077 w 2337635"/>
                <a:gd name="connsiteY59" fmla="*/ 191373 h 198217"/>
                <a:gd name="connsiteX60" fmla="*/ 1258077 w 2337635"/>
                <a:gd name="connsiteY60" fmla="*/ 185663 h 198217"/>
                <a:gd name="connsiteX61" fmla="*/ 1261446 w 2337635"/>
                <a:gd name="connsiteY61" fmla="*/ 180116 h 198217"/>
                <a:gd name="connsiteX62" fmla="*/ 1255005 w 2337635"/>
                <a:gd name="connsiteY62" fmla="*/ 173808 h 198217"/>
                <a:gd name="connsiteX63" fmla="*/ 1079844 w 2337635"/>
                <a:gd name="connsiteY63" fmla="*/ 173808 h 198217"/>
                <a:gd name="connsiteX64" fmla="*/ 1073402 w 2337635"/>
                <a:gd name="connsiteY64" fmla="*/ 180116 h 198217"/>
                <a:gd name="connsiteX65" fmla="*/ 1076772 w 2337635"/>
                <a:gd name="connsiteY65" fmla="*/ 185663 h 198217"/>
                <a:gd name="connsiteX66" fmla="*/ 1076772 w 2337635"/>
                <a:gd name="connsiteY66" fmla="*/ 191373 h 198217"/>
                <a:gd name="connsiteX67" fmla="*/ 1079844 w 2337635"/>
                <a:gd name="connsiteY67" fmla="*/ 194382 h 198217"/>
                <a:gd name="connsiteX68" fmla="*/ 1082915 w 2337635"/>
                <a:gd name="connsiteY68" fmla="*/ 191373 h 198217"/>
                <a:gd name="connsiteX69" fmla="*/ 1082915 w 2337635"/>
                <a:gd name="connsiteY69" fmla="*/ 185663 h 198217"/>
                <a:gd name="connsiteX70" fmla="*/ 1086284 w 2337635"/>
                <a:gd name="connsiteY70" fmla="*/ 180116 h 198217"/>
                <a:gd name="connsiteX71" fmla="*/ 1079844 w 2337635"/>
                <a:gd name="connsiteY71" fmla="*/ 173808 h 198217"/>
                <a:gd name="connsiteX72" fmla="*/ 1018090 w 2337635"/>
                <a:gd name="connsiteY72" fmla="*/ 173808 h 198217"/>
                <a:gd name="connsiteX73" fmla="*/ 1011649 w 2337635"/>
                <a:gd name="connsiteY73" fmla="*/ 180116 h 198217"/>
                <a:gd name="connsiteX74" fmla="*/ 1015018 w 2337635"/>
                <a:gd name="connsiteY74" fmla="*/ 185663 h 198217"/>
                <a:gd name="connsiteX75" fmla="*/ 1015018 w 2337635"/>
                <a:gd name="connsiteY75" fmla="*/ 191373 h 198217"/>
                <a:gd name="connsiteX76" fmla="*/ 1018090 w 2337635"/>
                <a:gd name="connsiteY76" fmla="*/ 194382 h 198217"/>
                <a:gd name="connsiteX77" fmla="*/ 1021162 w 2337635"/>
                <a:gd name="connsiteY77" fmla="*/ 191373 h 198217"/>
                <a:gd name="connsiteX78" fmla="*/ 1021162 w 2337635"/>
                <a:gd name="connsiteY78" fmla="*/ 185663 h 198217"/>
                <a:gd name="connsiteX79" fmla="*/ 1024531 w 2337635"/>
                <a:gd name="connsiteY79" fmla="*/ 180116 h 198217"/>
                <a:gd name="connsiteX80" fmla="*/ 1018090 w 2337635"/>
                <a:gd name="connsiteY80" fmla="*/ 173808 h 198217"/>
                <a:gd name="connsiteX81" fmla="*/ 842928 w 2337635"/>
                <a:gd name="connsiteY81" fmla="*/ 173808 h 198217"/>
                <a:gd name="connsiteX82" fmla="*/ 836487 w 2337635"/>
                <a:gd name="connsiteY82" fmla="*/ 180116 h 198217"/>
                <a:gd name="connsiteX83" fmla="*/ 839856 w 2337635"/>
                <a:gd name="connsiteY83" fmla="*/ 185663 h 198217"/>
                <a:gd name="connsiteX84" fmla="*/ 839856 w 2337635"/>
                <a:gd name="connsiteY84" fmla="*/ 191373 h 198217"/>
                <a:gd name="connsiteX85" fmla="*/ 842928 w 2337635"/>
                <a:gd name="connsiteY85" fmla="*/ 194382 h 198217"/>
                <a:gd name="connsiteX86" fmla="*/ 846000 w 2337635"/>
                <a:gd name="connsiteY86" fmla="*/ 191373 h 198217"/>
                <a:gd name="connsiteX87" fmla="*/ 846000 w 2337635"/>
                <a:gd name="connsiteY87" fmla="*/ 185663 h 198217"/>
                <a:gd name="connsiteX88" fmla="*/ 849370 w 2337635"/>
                <a:gd name="connsiteY88" fmla="*/ 180116 h 198217"/>
                <a:gd name="connsiteX89" fmla="*/ 842928 w 2337635"/>
                <a:gd name="connsiteY89" fmla="*/ 173808 h 198217"/>
                <a:gd name="connsiteX90" fmla="*/ 554358 w 2337635"/>
                <a:gd name="connsiteY90" fmla="*/ 173808 h 198217"/>
                <a:gd name="connsiteX91" fmla="*/ 547917 w 2337635"/>
                <a:gd name="connsiteY91" fmla="*/ 180116 h 198217"/>
                <a:gd name="connsiteX92" fmla="*/ 551286 w 2337635"/>
                <a:gd name="connsiteY92" fmla="*/ 185663 h 198217"/>
                <a:gd name="connsiteX93" fmla="*/ 551286 w 2337635"/>
                <a:gd name="connsiteY93" fmla="*/ 191373 h 198217"/>
                <a:gd name="connsiteX94" fmla="*/ 554358 w 2337635"/>
                <a:gd name="connsiteY94" fmla="*/ 194382 h 198217"/>
                <a:gd name="connsiteX95" fmla="*/ 557430 w 2337635"/>
                <a:gd name="connsiteY95" fmla="*/ 191373 h 198217"/>
                <a:gd name="connsiteX96" fmla="*/ 557430 w 2337635"/>
                <a:gd name="connsiteY96" fmla="*/ 185663 h 198217"/>
                <a:gd name="connsiteX97" fmla="*/ 560799 w 2337635"/>
                <a:gd name="connsiteY97" fmla="*/ 180116 h 198217"/>
                <a:gd name="connsiteX98" fmla="*/ 554358 w 2337635"/>
                <a:gd name="connsiteY98" fmla="*/ 173808 h 198217"/>
                <a:gd name="connsiteX99" fmla="*/ 492604 w 2337635"/>
                <a:gd name="connsiteY99" fmla="*/ 173808 h 198217"/>
                <a:gd name="connsiteX100" fmla="*/ 486163 w 2337635"/>
                <a:gd name="connsiteY100" fmla="*/ 180116 h 198217"/>
                <a:gd name="connsiteX101" fmla="*/ 489532 w 2337635"/>
                <a:gd name="connsiteY101" fmla="*/ 185663 h 198217"/>
                <a:gd name="connsiteX102" fmla="*/ 489532 w 2337635"/>
                <a:gd name="connsiteY102" fmla="*/ 191373 h 198217"/>
                <a:gd name="connsiteX103" fmla="*/ 492604 w 2337635"/>
                <a:gd name="connsiteY103" fmla="*/ 194382 h 198217"/>
                <a:gd name="connsiteX104" fmla="*/ 495676 w 2337635"/>
                <a:gd name="connsiteY104" fmla="*/ 191373 h 198217"/>
                <a:gd name="connsiteX105" fmla="*/ 495676 w 2337635"/>
                <a:gd name="connsiteY105" fmla="*/ 185663 h 198217"/>
                <a:gd name="connsiteX106" fmla="*/ 499046 w 2337635"/>
                <a:gd name="connsiteY106" fmla="*/ 180116 h 198217"/>
                <a:gd name="connsiteX107" fmla="*/ 492604 w 2337635"/>
                <a:gd name="connsiteY107" fmla="*/ 173808 h 198217"/>
                <a:gd name="connsiteX108" fmla="*/ 369047 w 2337635"/>
                <a:gd name="connsiteY108" fmla="*/ 173808 h 198217"/>
                <a:gd name="connsiteX109" fmla="*/ 362606 w 2337635"/>
                <a:gd name="connsiteY109" fmla="*/ 180116 h 198217"/>
                <a:gd name="connsiteX110" fmla="*/ 365975 w 2337635"/>
                <a:gd name="connsiteY110" fmla="*/ 185663 h 198217"/>
                <a:gd name="connsiteX111" fmla="*/ 365975 w 2337635"/>
                <a:gd name="connsiteY111" fmla="*/ 191373 h 198217"/>
                <a:gd name="connsiteX112" fmla="*/ 369047 w 2337635"/>
                <a:gd name="connsiteY112" fmla="*/ 194382 h 198217"/>
                <a:gd name="connsiteX113" fmla="*/ 372119 w 2337635"/>
                <a:gd name="connsiteY113" fmla="*/ 191373 h 198217"/>
                <a:gd name="connsiteX114" fmla="*/ 372119 w 2337635"/>
                <a:gd name="connsiteY114" fmla="*/ 185663 h 198217"/>
                <a:gd name="connsiteX115" fmla="*/ 375489 w 2337635"/>
                <a:gd name="connsiteY115" fmla="*/ 180116 h 198217"/>
                <a:gd name="connsiteX116" fmla="*/ 369047 w 2337635"/>
                <a:gd name="connsiteY116" fmla="*/ 173808 h 198217"/>
                <a:gd name="connsiteX117" fmla="*/ 80477 w 2337635"/>
                <a:gd name="connsiteY117" fmla="*/ 173808 h 198217"/>
                <a:gd name="connsiteX118" fmla="*/ 74035 w 2337635"/>
                <a:gd name="connsiteY118" fmla="*/ 180116 h 198217"/>
                <a:gd name="connsiteX119" fmla="*/ 77405 w 2337635"/>
                <a:gd name="connsiteY119" fmla="*/ 185663 h 198217"/>
                <a:gd name="connsiteX120" fmla="*/ 77405 w 2337635"/>
                <a:gd name="connsiteY120" fmla="*/ 191373 h 198217"/>
                <a:gd name="connsiteX121" fmla="*/ 80477 w 2337635"/>
                <a:gd name="connsiteY121" fmla="*/ 194382 h 198217"/>
                <a:gd name="connsiteX122" fmla="*/ 83549 w 2337635"/>
                <a:gd name="connsiteY122" fmla="*/ 191373 h 198217"/>
                <a:gd name="connsiteX123" fmla="*/ 83549 w 2337635"/>
                <a:gd name="connsiteY123" fmla="*/ 185663 h 198217"/>
                <a:gd name="connsiteX124" fmla="*/ 86918 w 2337635"/>
                <a:gd name="connsiteY124" fmla="*/ 180116 h 198217"/>
                <a:gd name="connsiteX125" fmla="*/ 80477 w 2337635"/>
                <a:gd name="connsiteY125" fmla="*/ 173808 h 198217"/>
                <a:gd name="connsiteX126" fmla="*/ 2318721 w 2337635"/>
                <a:gd name="connsiteY126" fmla="*/ 155313 h 198217"/>
                <a:gd name="connsiteX127" fmla="*/ 2310864 w 2337635"/>
                <a:gd name="connsiteY127" fmla="*/ 156968 h 198217"/>
                <a:gd name="connsiteX128" fmla="*/ 2308690 w 2337635"/>
                <a:gd name="connsiteY128" fmla="*/ 159359 h 198217"/>
                <a:gd name="connsiteX129" fmla="*/ 2307186 w 2337635"/>
                <a:gd name="connsiteY129" fmla="*/ 161934 h 198217"/>
                <a:gd name="connsiteX130" fmla="*/ 2306517 w 2337635"/>
                <a:gd name="connsiteY130" fmla="*/ 163772 h 198217"/>
                <a:gd name="connsiteX131" fmla="*/ 2305848 w 2337635"/>
                <a:gd name="connsiteY131" fmla="*/ 166531 h 198217"/>
                <a:gd name="connsiteX132" fmla="*/ 2305179 w 2337635"/>
                <a:gd name="connsiteY132" fmla="*/ 171312 h 198217"/>
                <a:gd name="connsiteX133" fmla="*/ 2305848 w 2337635"/>
                <a:gd name="connsiteY133" fmla="*/ 176277 h 198217"/>
                <a:gd name="connsiteX134" fmla="*/ 2306684 w 2337635"/>
                <a:gd name="connsiteY134" fmla="*/ 178851 h 198217"/>
                <a:gd name="connsiteX135" fmla="*/ 2308189 w 2337635"/>
                <a:gd name="connsiteY135" fmla="*/ 181794 h 198217"/>
                <a:gd name="connsiteX136" fmla="*/ 2310529 w 2337635"/>
                <a:gd name="connsiteY136" fmla="*/ 184736 h 198217"/>
                <a:gd name="connsiteX137" fmla="*/ 2313538 w 2337635"/>
                <a:gd name="connsiteY137" fmla="*/ 186575 h 198217"/>
                <a:gd name="connsiteX138" fmla="*/ 2321898 w 2337635"/>
                <a:gd name="connsiteY138" fmla="*/ 184920 h 198217"/>
                <a:gd name="connsiteX139" fmla="*/ 2324071 w 2337635"/>
                <a:gd name="connsiteY139" fmla="*/ 182529 h 198217"/>
                <a:gd name="connsiteX140" fmla="*/ 2325742 w 2337635"/>
                <a:gd name="connsiteY140" fmla="*/ 179587 h 198217"/>
                <a:gd name="connsiteX141" fmla="*/ 2326411 w 2337635"/>
                <a:gd name="connsiteY141" fmla="*/ 178116 h 198217"/>
                <a:gd name="connsiteX142" fmla="*/ 2327247 w 2337635"/>
                <a:gd name="connsiteY142" fmla="*/ 175174 h 198217"/>
                <a:gd name="connsiteX143" fmla="*/ 2326913 w 2337635"/>
                <a:gd name="connsiteY143" fmla="*/ 165795 h 198217"/>
                <a:gd name="connsiteX144" fmla="*/ 2326244 w 2337635"/>
                <a:gd name="connsiteY144" fmla="*/ 163772 h 198217"/>
                <a:gd name="connsiteX145" fmla="*/ 2325408 w 2337635"/>
                <a:gd name="connsiteY145" fmla="*/ 161749 h 198217"/>
                <a:gd name="connsiteX146" fmla="*/ 2323903 w 2337635"/>
                <a:gd name="connsiteY146" fmla="*/ 159359 h 198217"/>
                <a:gd name="connsiteX147" fmla="*/ 2321396 w 2337635"/>
                <a:gd name="connsiteY147" fmla="*/ 156784 h 198217"/>
                <a:gd name="connsiteX148" fmla="*/ 2318721 w 2337635"/>
                <a:gd name="connsiteY148" fmla="*/ 155313 h 198217"/>
                <a:gd name="connsiteX149" fmla="*/ 2195173 w 2337635"/>
                <a:gd name="connsiteY149" fmla="*/ 155313 h 198217"/>
                <a:gd name="connsiteX150" fmla="*/ 2187316 w 2337635"/>
                <a:gd name="connsiteY150" fmla="*/ 156968 h 198217"/>
                <a:gd name="connsiteX151" fmla="*/ 2185143 w 2337635"/>
                <a:gd name="connsiteY151" fmla="*/ 159359 h 198217"/>
                <a:gd name="connsiteX152" fmla="*/ 2183638 w 2337635"/>
                <a:gd name="connsiteY152" fmla="*/ 161934 h 198217"/>
                <a:gd name="connsiteX153" fmla="*/ 2182970 w 2337635"/>
                <a:gd name="connsiteY153" fmla="*/ 163772 h 198217"/>
                <a:gd name="connsiteX154" fmla="*/ 2182300 w 2337635"/>
                <a:gd name="connsiteY154" fmla="*/ 166531 h 198217"/>
                <a:gd name="connsiteX155" fmla="*/ 2181632 w 2337635"/>
                <a:gd name="connsiteY155" fmla="*/ 171312 h 198217"/>
                <a:gd name="connsiteX156" fmla="*/ 2182300 w 2337635"/>
                <a:gd name="connsiteY156" fmla="*/ 176277 h 198217"/>
                <a:gd name="connsiteX157" fmla="*/ 2183137 w 2337635"/>
                <a:gd name="connsiteY157" fmla="*/ 178851 h 198217"/>
                <a:gd name="connsiteX158" fmla="*/ 2184641 w 2337635"/>
                <a:gd name="connsiteY158" fmla="*/ 181794 h 198217"/>
                <a:gd name="connsiteX159" fmla="*/ 2186982 w 2337635"/>
                <a:gd name="connsiteY159" fmla="*/ 184736 h 198217"/>
                <a:gd name="connsiteX160" fmla="*/ 2189991 w 2337635"/>
                <a:gd name="connsiteY160" fmla="*/ 186575 h 198217"/>
                <a:gd name="connsiteX161" fmla="*/ 2198350 w 2337635"/>
                <a:gd name="connsiteY161" fmla="*/ 184920 h 198217"/>
                <a:gd name="connsiteX162" fmla="*/ 2200523 w 2337635"/>
                <a:gd name="connsiteY162" fmla="*/ 182529 h 198217"/>
                <a:gd name="connsiteX163" fmla="*/ 2202195 w 2337635"/>
                <a:gd name="connsiteY163" fmla="*/ 179587 h 198217"/>
                <a:gd name="connsiteX164" fmla="*/ 2202863 w 2337635"/>
                <a:gd name="connsiteY164" fmla="*/ 178116 h 198217"/>
                <a:gd name="connsiteX165" fmla="*/ 2203699 w 2337635"/>
                <a:gd name="connsiteY165" fmla="*/ 175174 h 198217"/>
                <a:gd name="connsiteX166" fmla="*/ 2203365 w 2337635"/>
                <a:gd name="connsiteY166" fmla="*/ 165795 h 198217"/>
                <a:gd name="connsiteX167" fmla="*/ 2202696 w 2337635"/>
                <a:gd name="connsiteY167" fmla="*/ 163772 h 198217"/>
                <a:gd name="connsiteX168" fmla="*/ 2201861 w 2337635"/>
                <a:gd name="connsiteY168" fmla="*/ 161749 h 198217"/>
                <a:gd name="connsiteX169" fmla="*/ 2200356 w 2337635"/>
                <a:gd name="connsiteY169" fmla="*/ 159359 h 198217"/>
                <a:gd name="connsiteX170" fmla="*/ 2197848 w 2337635"/>
                <a:gd name="connsiteY170" fmla="*/ 156784 h 198217"/>
                <a:gd name="connsiteX171" fmla="*/ 2195173 w 2337635"/>
                <a:gd name="connsiteY171" fmla="*/ 155313 h 198217"/>
                <a:gd name="connsiteX172" fmla="*/ 2081765 w 2337635"/>
                <a:gd name="connsiteY172" fmla="*/ 155313 h 198217"/>
                <a:gd name="connsiteX173" fmla="*/ 2073907 w 2337635"/>
                <a:gd name="connsiteY173" fmla="*/ 156968 h 198217"/>
                <a:gd name="connsiteX174" fmla="*/ 2071734 w 2337635"/>
                <a:gd name="connsiteY174" fmla="*/ 159359 h 198217"/>
                <a:gd name="connsiteX175" fmla="*/ 2070230 w 2337635"/>
                <a:gd name="connsiteY175" fmla="*/ 161934 h 198217"/>
                <a:gd name="connsiteX176" fmla="*/ 2069561 w 2337635"/>
                <a:gd name="connsiteY176" fmla="*/ 163772 h 198217"/>
                <a:gd name="connsiteX177" fmla="*/ 2068892 w 2337635"/>
                <a:gd name="connsiteY177" fmla="*/ 166531 h 198217"/>
                <a:gd name="connsiteX178" fmla="*/ 2068224 w 2337635"/>
                <a:gd name="connsiteY178" fmla="*/ 171312 h 198217"/>
                <a:gd name="connsiteX179" fmla="*/ 2068892 w 2337635"/>
                <a:gd name="connsiteY179" fmla="*/ 176277 h 198217"/>
                <a:gd name="connsiteX180" fmla="*/ 2069729 w 2337635"/>
                <a:gd name="connsiteY180" fmla="*/ 178851 h 198217"/>
                <a:gd name="connsiteX181" fmla="*/ 2071233 w 2337635"/>
                <a:gd name="connsiteY181" fmla="*/ 181794 h 198217"/>
                <a:gd name="connsiteX182" fmla="*/ 2073574 w 2337635"/>
                <a:gd name="connsiteY182" fmla="*/ 184736 h 198217"/>
                <a:gd name="connsiteX183" fmla="*/ 2076582 w 2337635"/>
                <a:gd name="connsiteY183" fmla="*/ 186575 h 198217"/>
                <a:gd name="connsiteX184" fmla="*/ 2084942 w 2337635"/>
                <a:gd name="connsiteY184" fmla="*/ 184920 h 198217"/>
                <a:gd name="connsiteX185" fmla="*/ 2087115 w 2337635"/>
                <a:gd name="connsiteY185" fmla="*/ 182529 h 198217"/>
                <a:gd name="connsiteX186" fmla="*/ 2088787 w 2337635"/>
                <a:gd name="connsiteY186" fmla="*/ 179587 h 198217"/>
                <a:gd name="connsiteX187" fmla="*/ 2089455 w 2337635"/>
                <a:gd name="connsiteY187" fmla="*/ 178116 h 198217"/>
                <a:gd name="connsiteX188" fmla="*/ 2090291 w 2337635"/>
                <a:gd name="connsiteY188" fmla="*/ 175174 h 198217"/>
                <a:gd name="connsiteX189" fmla="*/ 2089957 w 2337635"/>
                <a:gd name="connsiteY189" fmla="*/ 165795 h 198217"/>
                <a:gd name="connsiteX190" fmla="*/ 2089288 w 2337635"/>
                <a:gd name="connsiteY190" fmla="*/ 163772 h 198217"/>
                <a:gd name="connsiteX191" fmla="*/ 2088453 w 2337635"/>
                <a:gd name="connsiteY191" fmla="*/ 161749 h 198217"/>
                <a:gd name="connsiteX192" fmla="*/ 2086948 w 2337635"/>
                <a:gd name="connsiteY192" fmla="*/ 159359 h 198217"/>
                <a:gd name="connsiteX193" fmla="*/ 2084440 w 2337635"/>
                <a:gd name="connsiteY193" fmla="*/ 156784 h 198217"/>
                <a:gd name="connsiteX194" fmla="*/ 2081765 w 2337635"/>
                <a:gd name="connsiteY194" fmla="*/ 155313 h 198217"/>
                <a:gd name="connsiteX195" fmla="*/ 1844849 w 2337635"/>
                <a:gd name="connsiteY195" fmla="*/ 155313 h 198217"/>
                <a:gd name="connsiteX196" fmla="*/ 1836992 w 2337635"/>
                <a:gd name="connsiteY196" fmla="*/ 156968 h 198217"/>
                <a:gd name="connsiteX197" fmla="*/ 1834819 w 2337635"/>
                <a:gd name="connsiteY197" fmla="*/ 159359 h 198217"/>
                <a:gd name="connsiteX198" fmla="*/ 1833314 w 2337635"/>
                <a:gd name="connsiteY198" fmla="*/ 161934 h 198217"/>
                <a:gd name="connsiteX199" fmla="*/ 1832646 w 2337635"/>
                <a:gd name="connsiteY199" fmla="*/ 163772 h 198217"/>
                <a:gd name="connsiteX200" fmla="*/ 1831977 w 2337635"/>
                <a:gd name="connsiteY200" fmla="*/ 166531 h 198217"/>
                <a:gd name="connsiteX201" fmla="*/ 1831308 w 2337635"/>
                <a:gd name="connsiteY201" fmla="*/ 171312 h 198217"/>
                <a:gd name="connsiteX202" fmla="*/ 1831977 w 2337635"/>
                <a:gd name="connsiteY202" fmla="*/ 176277 h 198217"/>
                <a:gd name="connsiteX203" fmla="*/ 1832813 w 2337635"/>
                <a:gd name="connsiteY203" fmla="*/ 178851 h 198217"/>
                <a:gd name="connsiteX204" fmla="*/ 1834318 w 2337635"/>
                <a:gd name="connsiteY204" fmla="*/ 181794 h 198217"/>
                <a:gd name="connsiteX205" fmla="*/ 1836658 w 2337635"/>
                <a:gd name="connsiteY205" fmla="*/ 184736 h 198217"/>
                <a:gd name="connsiteX206" fmla="*/ 1839667 w 2337635"/>
                <a:gd name="connsiteY206" fmla="*/ 186575 h 198217"/>
                <a:gd name="connsiteX207" fmla="*/ 1848026 w 2337635"/>
                <a:gd name="connsiteY207" fmla="*/ 184920 h 198217"/>
                <a:gd name="connsiteX208" fmla="*/ 1850199 w 2337635"/>
                <a:gd name="connsiteY208" fmla="*/ 182529 h 198217"/>
                <a:gd name="connsiteX209" fmla="*/ 1851871 w 2337635"/>
                <a:gd name="connsiteY209" fmla="*/ 179587 h 198217"/>
                <a:gd name="connsiteX210" fmla="*/ 1852540 w 2337635"/>
                <a:gd name="connsiteY210" fmla="*/ 178116 h 198217"/>
                <a:gd name="connsiteX211" fmla="*/ 1853375 w 2337635"/>
                <a:gd name="connsiteY211" fmla="*/ 175174 h 198217"/>
                <a:gd name="connsiteX212" fmla="*/ 1853041 w 2337635"/>
                <a:gd name="connsiteY212" fmla="*/ 165795 h 198217"/>
                <a:gd name="connsiteX213" fmla="*/ 1852372 w 2337635"/>
                <a:gd name="connsiteY213" fmla="*/ 163772 h 198217"/>
                <a:gd name="connsiteX214" fmla="*/ 1851537 w 2337635"/>
                <a:gd name="connsiteY214" fmla="*/ 161749 h 198217"/>
                <a:gd name="connsiteX215" fmla="*/ 1850032 w 2337635"/>
                <a:gd name="connsiteY215" fmla="*/ 159359 h 198217"/>
                <a:gd name="connsiteX216" fmla="*/ 1847524 w 2337635"/>
                <a:gd name="connsiteY216" fmla="*/ 156784 h 198217"/>
                <a:gd name="connsiteX217" fmla="*/ 1844849 w 2337635"/>
                <a:gd name="connsiteY217" fmla="*/ 155313 h 198217"/>
                <a:gd name="connsiteX218" fmla="*/ 1721292 w 2337635"/>
                <a:gd name="connsiteY218" fmla="*/ 155313 h 198217"/>
                <a:gd name="connsiteX219" fmla="*/ 1713435 w 2337635"/>
                <a:gd name="connsiteY219" fmla="*/ 156968 h 198217"/>
                <a:gd name="connsiteX220" fmla="*/ 1711262 w 2337635"/>
                <a:gd name="connsiteY220" fmla="*/ 159359 h 198217"/>
                <a:gd name="connsiteX221" fmla="*/ 1709757 w 2337635"/>
                <a:gd name="connsiteY221" fmla="*/ 161934 h 198217"/>
                <a:gd name="connsiteX222" fmla="*/ 1709089 w 2337635"/>
                <a:gd name="connsiteY222" fmla="*/ 163772 h 198217"/>
                <a:gd name="connsiteX223" fmla="*/ 1708419 w 2337635"/>
                <a:gd name="connsiteY223" fmla="*/ 166531 h 198217"/>
                <a:gd name="connsiteX224" fmla="*/ 1707751 w 2337635"/>
                <a:gd name="connsiteY224" fmla="*/ 171312 h 198217"/>
                <a:gd name="connsiteX225" fmla="*/ 1708419 w 2337635"/>
                <a:gd name="connsiteY225" fmla="*/ 176277 h 198217"/>
                <a:gd name="connsiteX226" fmla="*/ 1709256 w 2337635"/>
                <a:gd name="connsiteY226" fmla="*/ 178851 h 198217"/>
                <a:gd name="connsiteX227" fmla="*/ 1710760 w 2337635"/>
                <a:gd name="connsiteY227" fmla="*/ 181794 h 198217"/>
                <a:gd name="connsiteX228" fmla="*/ 1713101 w 2337635"/>
                <a:gd name="connsiteY228" fmla="*/ 184736 h 198217"/>
                <a:gd name="connsiteX229" fmla="*/ 1716110 w 2337635"/>
                <a:gd name="connsiteY229" fmla="*/ 186575 h 198217"/>
                <a:gd name="connsiteX230" fmla="*/ 1724469 w 2337635"/>
                <a:gd name="connsiteY230" fmla="*/ 184920 h 198217"/>
                <a:gd name="connsiteX231" fmla="*/ 1726642 w 2337635"/>
                <a:gd name="connsiteY231" fmla="*/ 182529 h 198217"/>
                <a:gd name="connsiteX232" fmla="*/ 1728314 w 2337635"/>
                <a:gd name="connsiteY232" fmla="*/ 179587 h 198217"/>
                <a:gd name="connsiteX233" fmla="*/ 1728982 w 2337635"/>
                <a:gd name="connsiteY233" fmla="*/ 178116 h 198217"/>
                <a:gd name="connsiteX234" fmla="*/ 1729818 w 2337635"/>
                <a:gd name="connsiteY234" fmla="*/ 175174 h 198217"/>
                <a:gd name="connsiteX235" fmla="*/ 1729484 w 2337635"/>
                <a:gd name="connsiteY235" fmla="*/ 165795 h 198217"/>
                <a:gd name="connsiteX236" fmla="*/ 1728815 w 2337635"/>
                <a:gd name="connsiteY236" fmla="*/ 163772 h 198217"/>
                <a:gd name="connsiteX237" fmla="*/ 1727980 w 2337635"/>
                <a:gd name="connsiteY237" fmla="*/ 161749 h 198217"/>
                <a:gd name="connsiteX238" fmla="*/ 1726475 w 2337635"/>
                <a:gd name="connsiteY238" fmla="*/ 159359 h 198217"/>
                <a:gd name="connsiteX239" fmla="*/ 1723967 w 2337635"/>
                <a:gd name="connsiteY239" fmla="*/ 156784 h 198217"/>
                <a:gd name="connsiteX240" fmla="*/ 1721292 w 2337635"/>
                <a:gd name="connsiteY240" fmla="*/ 155313 h 198217"/>
                <a:gd name="connsiteX241" fmla="*/ 1556279 w 2337635"/>
                <a:gd name="connsiteY241" fmla="*/ 155313 h 198217"/>
                <a:gd name="connsiteX242" fmla="*/ 1548422 w 2337635"/>
                <a:gd name="connsiteY242" fmla="*/ 156968 h 198217"/>
                <a:gd name="connsiteX243" fmla="*/ 1546249 w 2337635"/>
                <a:gd name="connsiteY243" fmla="*/ 159359 h 198217"/>
                <a:gd name="connsiteX244" fmla="*/ 1544744 w 2337635"/>
                <a:gd name="connsiteY244" fmla="*/ 161934 h 198217"/>
                <a:gd name="connsiteX245" fmla="*/ 1544076 w 2337635"/>
                <a:gd name="connsiteY245" fmla="*/ 163772 h 198217"/>
                <a:gd name="connsiteX246" fmla="*/ 1543406 w 2337635"/>
                <a:gd name="connsiteY246" fmla="*/ 166531 h 198217"/>
                <a:gd name="connsiteX247" fmla="*/ 1542738 w 2337635"/>
                <a:gd name="connsiteY247" fmla="*/ 171312 h 198217"/>
                <a:gd name="connsiteX248" fmla="*/ 1543406 w 2337635"/>
                <a:gd name="connsiteY248" fmla="*/ 176277 h 198217"/>
                <a:gd name="connsiteX249" fmla="*/ 1544243 w 2337635"/>
                <a:gd name="connsiteY249" fmla="*/ 178851 h 198217"/>
                <a:gd name="connsiteX250" fmla="*/ 1545747 w 2337635"/>
                <a:gd name="connsiteY250" fmla="*/ 181794 h 198217"/>
                <a:gd name="connsiteX251" fmla="*/ 1548088 w 2337635"/>
                <a:gd name="connsiteY251" fmla="*/ 184736 h 198217"/>
                <a:gd name="connsiteX252" fmla="*/ 1551097 w 2337635"/>
                <a:gd name="connsiteY252" fmla="*/ 186575 h 198217"/>
                <a:gd name="connsiteX253" fmla="*/ 1559456 w 2337635"/>
                <a:gd name="connsiteY253" fmla="*/ 184920 h 198217"/>
                <a:gd name="connsiteX254" fmla="*/ 1561629 w 2337635"/>
                <a:gd name="connsiteY254" fmla="*/ 182529 h 198217"/>
                <a:gd name="connsiteX255" fmla="*/ 1563301 w 2337635"/>
                <a:gd name="connsiteY255" fmla="*/ 179587 h 198217"/>
                <a:gd name="connsiteX256" fmla="*/ 1563969 w 2337635"/>
                <a:gd name="connsiteY256" fmla="*/ 178116 h 198217"/>
                <a:gd name="connsiteX257" fmla="*/ 1564805 w 2337635"/>
                <a:gd name="connsiteY257" fmla="*/ 175174 h 198217"/>
                <a:gd name="connsiteX258" fmla="*/ 1564471 w 2337635"/>
                <a:gd name="connsiteY258" fmla="*/ 165795 h 198217"/>
                <a:gd name="connsiteX259" fmla="*/ 1563802 w 2337635"/>
                <a:gd name="connsiteY259" fmla="*/ 163772 h 198217"/>
                <a:gd name="connsiteX260" fmla="*/ 1562967 w 2337635"/>
                <a:gd name="connsiteY260" fmla="*/ 161749 h 198217"/>
                <a:gd name="connsiteX261" fmla="*/ 1561462 w 2337635"/>
                <a:gd name="connsiteY261" fmla="*/ 159359 h 198217"/>
                <a:gd name="connsiteX262" fmla="*/ 1558954 w 2337635"/>
                <a:gd name="connsiteY262" fmla="*/ 156784 h 198217"/>
                <a:gd name="connsiteX263" fmla="*/ 1556279 w 2337635"/>
                <a:gd name="connsiteY263" fmla="*/ 155313 h 198217"/>
                <a:gd name="connsiteX264" fmla="*/ 1432722 w 2337635"/>
                <a:gd name="connsiteY264" fmla="*/ 155313 h 198217"/>
                <a:gd name="connsiteX265" fmla="*/ 1424865 w 2337635"/>
                <a:gd name="connsiteY265" fmla="*/ 156968 h 198217"/>
                <a:gd name="connsiteX266" fmla="*/ 1422692 w 2337635"/>
                <a:gd name="connsiteY266" fmla="*/ 159359 h 198217"/>
                <a:gd name="connsiteX267" fmla="*/ 1421187 w 2337635"/>
                <a:gd name="connsiteY267" fmla="*/ 161934 h 198217"/>
                <a:gd name="connsiteX268" fmla="*/ 1420519 w 2337635"/>
                <a:gd name="connsiteY268" fmla="*/ 163772 h 198217"/>
                <a:gd name="connsiteX269" fmla="*/ 1419849 w 2337635"/>
                <a:gd name="connsiteY269" fmla="*/ 166531 h 198217"/>
                <a:gd name="connsiteX270" fmla="*/ 1419181 w 2337635"/>
                <a:gd name="connsiteY270" fmla="*/ 171312 h 198217"/>
                <a:gd name="connsiteX271" fmla="*/ 1419849 w 2337635"/>
                <a:gd name="connsiteY271" fmla="*/ 176277 h 198217"/>
                <a:gd name="connsiteX272" fmla="*/ 1420686 w 2337635"/>
                <a:gd name="connsiteY272" fmla="*/ 178851 h 198217"/>
                <a:gd name="connsiteX273" fmla="*/ 1422190 w 2337635"/>
                <a:gd name="connsiteY273" fmla="*/ 181794 h 198217"/>
                <a:gd name="connsiteX274" fmla="*/ 1424531 w 2337635"/>
                <a:gd name="connsiteY274" fmla="*/ 184736 h 198217"/>
                <a:gd name="connsiteX275" fmla="*/ 1427540 w 2337635"/>
                <a:gd name="connsiteY275" fmla="*/ 186575 h 198217"/>
                <a:gd name="connsiteX276" fmla="*/ 1435899 w 2337635"/>
                <a:gd name="connsiteY276" fmla="*/ 184920 h 198217"/>
                <a:gd name="connsiteX277" fmla="*/ 1438072 w 2337635"/>
                <a:gd name="connsiteY277" fmla="*/ 182529 h 198217"/>
                <a:gd name="connsiteX278" fmla="*/ 1439744 w 2337635"/>
                <a:gd name="connsiteY278" fmla="*/ 179587 h 198217"/>
                <a:gd name="connsiteX279" fmla="*/ 1440412 w 2337635"/>
                <a:gd name="connsiteY279" fmla="*/ 178116 h 198217"/>
                <a:gd name="connsiteX280" fmla="*/ 1441248 w 2337635"/>
                <a:gd name="connsiteY280" fmla="*/ 175174 h 198217"/>
                <a:gd name="connsiteX281" fmla="*/ 1440914 w 2337635"/>
                <a:gd name="connsiteY281" fmla="*/ 165795 h 198217"/>
                <a:gd name="connsiteX282" fmla="*/ 1440245 w 2337635"/>
                <a:gd name="connsiteY282" fmla="*/ 163772 h 198217"/>
                <a:gd name="connsiteX283" fmla="*/ 1439410 w 2337635"/>
                <a:gd name="connsiteY283" fmla="*/ 161749 h 198217"/>
                <a:gd name="connsiteX284" fmla="*/ 1437905 w 2337635"/>
                <a:gd name="connsiteY284" fmla="*/ 159359 h 198217"/>
                <a:gd name="connsiteX285" fmla="*/ 1435397 w 2337635"/>
                <a:gd name="connsiteY285" fmla="*/ 156784 h 198217"/>
                <a:gd name="connsiteX286" fmla="*/ 1432722 w 2337635"/>
                <a:gd name="connsiteY286" fmla="*/ 155313 h 198217"/>
                <a:gd name="connsiteX287" fmla="*/ 1144202 w 2337635"/>
                <a:gd name="connsiteY287" fmla="*/ 155313 h 198217"/>
                <a:gd name="connsiteX288" fmla="*/ 1136345 w 2337635"/>
                <a:gd name="connsiteY288" fmla="*/ 156968 h 198217"/>
                <a:gd name="connsiteX289" fmla="*/ 1134172 w 2337635"/>
                <a:gd name="connsiteY289" fmla="*/ 159359 h 198217"/>
                <a:gd name="connsiteX290" fmla="*/ 1132667 w 2337635"/>
                <a:gd name="connsiteY290" fmla="*/ 161934 h 198217"/>
                <a:gd name="connsiteX291" fmla="*/ 1131998 w 2337635"/>
                <a:gd name="connsiteY291" fmla="*/ 163772 h 198217"/>
                <a:gd name="connsiteX292" fmla="*/ 1131329 w 2337635"/>
                <a:gd name="connsiteY292" fmla="*/ 166531 h 198217"/>
                <a:gd name="connsiteX293" fmla="*/ 1130660 w 2337635"/>
                <a:gd name="connsiteY293" fmla="*/ 171312 h 198217"/>
                <a:gd name="connsiteX294" fmla="*/ 1131329 w 2337635"/>
                <a:gd name="connsiteY294" fmla="*/ 176277 h 198217"/>
                <a:gd name="connsiteX295" fmla="*/ 1132165 w 2337635"/>
                <a:gd name="connsiteY295" fmla="*/ 178851 h 198217"/>
                <a:gd name="connsiteX296" fmla="*/ 1133670 w 2337635"/>
                <a:gd name="connsiteY296" fmla="*/ 181794 h 198217"/>
                <a:gd name="connsiteX297" fmla="*/ 1136010 w 2337635"/>
                <a:gd name="connsiteY297" fmla="*/ 184736 h 198217"/>
                <a:gd name="connsiteX298" fmla="*/ 1139020 w 2337635"/>
                <a:gd name="connsiteY298" fmla="*/ 186575 h 198217"/>
                <a:gd name="connsiteX299" fmla="*/ 1147378 w 2337635"/>
                <a:gd name="connsiteY299" fmla="*/ 184920 h 198217"/>
                <a:gd name="connsiteX300" fmla="*/ 1149551 w 2337635"/>
                <a:gd name="connsiteY300" fmla="*/ 182529 h 198217"/>
                <a:gd name="connsiteX301" fmla="*/ 1151224 w 2337635"/>
                <a:gd name="connsiteY301" fmla="*/ 179587 h 198217"/>
                <a:gd name="connsiteX302" fmla="*/ 1151892 w 2337635"/>
                <a:gd name="connsiteY302" fmla="*/ 178116 h 198217"/>
                <a:gd name="connsiteX303" fmla="*/ 1152728 w 2337635"/>
                <a:gd name="connsiteY303" fmla="*/ 175174 h 198217"/>
                <a:gd name="connsiteX304" fmla="*/ 1152394 w 2337635"/>
                <a:gd name="connsiteY304" fmla="*/ 165795 h 198217"/>
                <a:gd name="connsiteX305" fmla="*/ 1151725 w 2337635"/>
                <a:gd name="connsiteY305" fmla="*/ 163772 h 198217"/>
                <a:gd name="connsiteX306" fmla="*/ 1150889 w 2337635"/>
                <a:gd name="connsiteY306" fmla="*/ 161749 h 198217"/>
                <a:gd name="connsiteX307" fmla="*/ 1149385 w 2337635"/>
                <a:gd name="connsiteY307" fmla="*/ 159359 h 198217"/>
                <a:gd name="connsiteX308" fmla="*/ 1146877 w 2337635"/>
                <a:gd name="connsiteY308" fmla="*/ 156784 h 198217"/>
                <a:gd name="connsiteX309" fmla="*/ 1144202 w 2337635"/>
                <a:gd name="connsiteY309" fmla="*/ 155313 h 198217"/>
                <a:gd name="connsiteX310" fmla="*/ 907287 w 2337635"/>
                <a:gd name="connsiteY310" fmla="*/ 155313 h 198217"/>
                <a:gd name="connsiteX311" fmla="*/ 899429 w 2337635"/>
                <a:gd name="connsiteY311" fmla="*/ 156968 h 198217"/>
                <a:gd name="connsiteX312" fmla="*/ 897256 w 2337635"/>
                <a:gd name="connsiteY312" fmla="*/ 159359 h 198217"/>
                <a:gd name="connsiteX313" fmla="*/ 895752 w 2337635"/>
                <a:gd name="connsiteY313" fmla="*/ 161934 h 198217"/>
                <a:gd name="connsiteX314" fmla="*/ 895082 w 2337635"/>
                <a:gd name="connsiteY314" fmla="*/ 163772 h 198217"/>
                <a:gd name="connsiteX315" fmla="*/ 894414 w 2337635"/>
                <a:gd name="connsiteY315" fmla="*/ 166531 h 198217"/>
                <a:gd name="connsiteX316" fmla="*/ 893745 w 2337635"/>
                <a:gd name="connsiteY316" fmla="*/ 171312 h 198217"/>
                <a:gd name="connsiteX317" fmla="*/ 894414 w 2337635"/>
                <a:gd name="connsiteY317" fmla="*/ 176277 h 198217"/>
                <a:gd name="connsiteX318" fmla="*/ 895250 w 2337635"/>
                <a:gd name="connsiteY318" fmla="*/ 178851 h 198217"/>
                <a:gd name="connsiteX319" fmla="*/ 896754 w 2337635"/>
                <a:gd name="connsiteY319" fmla="*/ 181794 h 198217"/>
                <a:gd name="connsiteX320" fmla="*/ 899095 w 2337635"/>
                <a:gd name="connsiteY320" fmla="*/ 184736 h 198217"/>
                <a:gd name="connsiteX321" fmla="*/ 902104 w 2337635"/>
                <a:gd name="connsiteY321" fmla="*/ 186575 h 198217"/>
                <a:gd name="connsiteX322" fmla="*/ 910463 w 2337635"/>
                <a:gd name="connsiteY322" fmla="*/ 184920 h 198217"/>
                <a:gd name="connsiteX323" fmla="*/ 912637 w 2337635"/>
                <a:gd name="connsiteY323" fmla="*/ 182529 h 198217"/>
                <a:gd name="connsiteX324" fmla="*/ 914308 w 2337635"/>
                <a:gd name="connsiteY324" fmla="*/ 179587 h 198217"/>
                <a:gd name="connsiteX325" fmla="*/ 914977 w 2337635"/>
                <a:gd name="connsiteY325" fmla="*/ 178116 h 198217"/>
                <a:gd name="connsiteX326" fmla="*/ 915813 w 2337635"/>
                <a:gd name="connsiteY326" fmla="*/ 175174 h 198217"/>
                <a:gd name="connsiteX327" fmla="*/ 915479 w 2337635"/>
                <a:gd name="connsiteY327" fmla="*/ 165795 h 198217"/>
                <a:gd name="connsiteX328" fmla="*/ 914810 w 2337635"/>
                <a:gd name="connsiteY328" fmla="*/ 163772 h 198217"/>
                <a:gd name="connsiteX329" fmla="*/ 913974 w 2337635"/>
                <a:gd name="connsiteY329" fmla="*/ 161749 h 198217"/>
                <a:gd name="connsiteX330" fmla="*/ 912469 w 2337635"/>
                <a:gd name="connsiteY330" fmla="*/ 159359 h 198217"/>
                <a:gd name="connsiteX331" fmla="*/ 909962 w 2337635"/>
                <a:gd name="connsiteY331" fmla="*/ 156784 h 198217"/>
                <a:gd name="connsiteX332" fmla="*/ 907287 w 2337635"/>
                <a:gd name="connsiteY332" fmla="*/ 155313 h 198217"/>
                <a:gd name="connsiteX333" fmla="*/ 783730 w 2337635"/>
                <a:gd name="connsiteY333" fmla="*/ 155313 h 198217"/>
                <a:gd name="connsiteX334" fmla="*/ 775872 w 2337635"/>
                <a:gd name="connsiteY334" fmla="*/ 156968 h 198217"/>
                <a:gd name="connsiteX335" fmla="*/ 773699 w 2337635"/>
                <a:gd name="connsiteY335" fmla="*/ 159359 h 198217"/>
                <a:gd name="connsiteX336" fmla="*/ 772195 w 2337635"/>
                <a:gd name="connsiteY336" fmla="*/ 161934 h 198217"/>
                <a:gd name="connsiteX337" fmla="*/ 771525 w 2337635"/>
                <a:gd name="connsiteY337" fmla="*/ 163772 h 198217"/>
                <a:gd name="connsiteX338" fmla="*/ 770857 w 2337635"/>
                <a:gd name="connsiteY338" fmla="*/ 166531 h 198217"/>
                <a:gd name="connsiteX339" fmla="*/ 770188 w 2337635"/>
                <a:gd name="connsiteY339" fmla="*/ 171312 h 198217"/>
                <a:gd name="connsiteX340" fmla="*/ 770857 w 2337635"/>
                <a:gd name="connsiteY340" fmla="*/ 176277 h 198217"/>
                <a:gd name="connsiteX341" fmla="*/ 771693 w 2337635"/>
                <a:gd name="connsiteY341" fmla="*/ 178851 h 198217"/>
                <a:gd name="connsiteX342" fmla="*/ 773197 w 2337635"/>
                <a:gd name="connsiteY342" fmla="*/ 181794 h 198217"/>
                <a:gd name="connsiteX343" fmla="*/ 775538 w 2337635"/>
                <a:gd name="connsiteY343" fmla="*/ 184736 h 198217"/>
                <a:gd name="connsiteX344" fmla="*/ 778547 w 2337635"/>
                <a:gd name="connsiteY344" fmla="*/ 186575 h 198217"/>
                <a:gd name="connsiteX345" fmla="*/ 786906 w 2337635"/>
                <a:gd name="connsiteY345" fmla="*/ 184920 h 198217"/>
                <a:gd name="connsiteX346" fmla="*/ 789079 w 2337635"/>
                <a:gd name="connsiteY346" fmla="*/ 182529 h 198217"/>
                <a:gd name="connsiteX347" fmla="*/ 790751 w 2337635"/>
                <a:gd name="connsiteY347" fmla="*/ 179587 h 198217"/>
                <a:gd name="connsiteX348" fmla="*/ 791420 w 2337635"/>
                <a:gd name="connsiteY348" fmla="*/ 178116 h 198217"/>
                <a:gd name="connsiteX349" fmla="*/ 792256 w 2337635"/>
                <a:gd name="connsiteY349" fmla="*/ 175174 h 198217"/>
                <a:gd name="connsiteX350" fmla="*/ 791921 w 2337635"/>
                <a:gd name="connsiteY350" fmla="*/ 165795 h 198217"/>
                <a:gd name="connsiteX351" fmla="*/ 791252 w 2337635"/>
                <a:gd name="connsiteY351" fmla="*/ 163772 h 198217"/>
                <a:gd name="connsiteX352" fmla="*/ 790417 w 2337635"/>
                <a:gd name="connsiteY352" fmla="*/ 161749 h 198217"/>
                <a:gd name="connsiteX353" fmla="*/ 788912 w 2337635"/>
                <a:gd name="connsiteY353" fmla="*/ 159359 h 198217"/>
                <a:gd name="connsiteX354" fmla="*/ 786404 w 2337635"/>
                <a:gd name="connsiteY354" fmla="*/ 156784 h 198217"/>
                <a:gd name="connsiteX355" fmla="*/ 783730 w 2337635"/>
                <a:gd name="connsiteY355" fmla="*/ 155313 h 198217"/>
                <a:gd name="connsiteX356" fmla="*/ 670321 w 2337635"/>
                <a:gd name="connsiteY356" fmla="*/ 155313 h 198217"/>
                <a:gd name="connsiteX357" fmla="*/ 662464 w 2337635"/>
                <a:gd name="connsiteY357" fmla="*/ 156968 h 198217"/>
                <a:gd name="connsiteX358" fmla="*/ 660291 w 2337635"/>
                <a:gd name="connsiteY358" fmla="*/ 159359 h 198217"/>
                <a:gd name="connsiteX359" fmla="*/ 658786 w 2337635"/>
                <a:gd name="connsiteY359" fmla="*/ 161934 h 198217"/>
                <a:gd name="connsiteX360" fmla="*/ 658117 w 2337635"/>
                <a:gd name="connsiteY360" fmla="*/ 163772 h 198217"/>
                <a:gd name="connsiteX361" fmla="*/ 657449 w 2337635"/>
                <a:gd name="connsiteY361" fmla="*/ 166531 h 198217"/>
                <a:gd name="connsiteX362" fmla="*/ 656780 w 2337635"/>
                <a:gd name="connsiteY362" fmla="*/ 171312 h 198217"/>
                <a:gd name="connsiteX363" fmla="*/ 657449 w 2337635"/>
                <a:gd name="connsiteY363" fmla="*/ 176277 h 198217"/>
                <a:gd name="connsiteX364" fmla="*/ 658284 w 2337635"/>
                <a:gd name="connsiteY364" fmla="*/ 178851 h 198217"/>
                <a:gd name="connsiteX365" fmla="*/ 659789 w 2337635"/>
                <a:gd name="connsiteY365" fmla="*/ 181794 h 198217"/>
                <a:gd name="connsiteX366" fmla="*/ 662130 w 2337635"/>
                <a:gd name="connsiteY366" fmla="*/ 184736 h 198217"/>
                <a:gd name="connsiteX367" fmla="*/ 665139 w 2337635"/>
                <a:gd name="connsiteY367" fmla="*/ 186575 h 198217"/>
                <a:gd name="connsiteX368" fmla="*/ 673498 w 2337635"/>
                <a:gd name="connsiteY368" fmla="*/ 184920 h 198217"/>
                <a:gd name="connsiteX369" fmla="*/ 675671 w 2337635"/>
                <a:gd name="connsiteY369" fmla="*/ 182529 h 198217"/>
                <a:gd name="connsiteX370" fmla="*/ 677343 w 2337635"/>
                <a:gd name="connsiteY370" fmla="*/ 179587 h 198217"/>
                <a:gd name="connsiteX371" fmla="*/ 678012 w 2337635"/>
                <a:gd name="connsiteY371" fmla="*/ 178116 h 198217"/>
                <a:gd name="connsiteX372" fmla="*/ 678847 w 2337635"/>
                <a:gd name="connsiteY372" fmla="*/ 175174 h 198217"/>
                <a:gd name="connsiteX373" fmla="*/ 678513 w 2337635"/>
                <a:gd name="connsiteY373" fmla="*/ 165795 h 198217"/>
                <a:gd name="connsiteX374" fmla="*/ 677844 w 2337635"/>
                <a:gd name="connsiteY374" fmla="*/ 163772 h 198217"/>
                <a:gd name="connsiteX375" fmla="*/ 677008 w 2337635"/>
                <a:gd name="connsiteY375" fmla="*/ 161749 h 198217"/>
                <a:gd name="connsiteX376" fmla="*/ 675504 w 2337635"/>
                <a:gd name="connsiteY376" fmla="*/ 159359 h 198217"/>
                <a:gd name="connsiteX377" fmla="*/ 672996 w 2337635"/>
                <a:gd name="connsiteY377" fmla="*/ 156784 h 198217"/>
                <a:gd name="connsiteX378" fmla="*/ 670321 w 2337635"/>
                <a:gd name="connsiteY378" fmla="*/ 155313 h 198217"/>
                <a:gd name="connsiteX379" fmla="*/ 433406 w 2337635"/>
                <a:gd name="connsiteY379" fmla="*/ 155313 h 198217"/>
                <a:gd name="connsiteX380" fmla="*/ 425548 w 2337635"/>
                <a:gd name="connsiteY380" fmla="*/ 156968 h 198217"/>
                <a:gd name="connsiteX381" fmla="*/ 423375 w 2337635"/>
                <a:gd name="connsiteY381" fmla="*/ 159359 h 198217"/>
                <a:gd name="connsiteX382" fmla="*/ 421870 w 2337635"/>
                <a:gd name="connsiteY382" fmla="*/ 161934 h 198217"/>
                <a:gd name="connsiteX383" fmla="*/ 421201 w 2337635"/>
                <a:gd name="connsiteY383" fmla="*/ 163772 h 198217"/>
                <a:gd name="connsiteX384" fmla="*/ 420533 w 2337635"/>
                <a:gd name="connsiteY384" fmla="*/ 166531 h 198217"/>
                <a:gd name="connsiteX385" fmla="*/ 419864 w 2337635"/>
                <a:gd name="connsiteY385" fmla="*/ 171312 h 198217"/>
                <a:gd name="connsiteX386" fmla="*/ 420533 w 2337635"/>
                <a:gd name="connsiteY386" fmla="*/ 176277 h 198217"/>
                <a:gd name="connsiteX387" fmla="*/ 421369 w 2337635"/>
                <a:gd name="connsiteY387" fmla="*/ 178851 h 198217"/>
                <a:gd name="connsiteX388" fmla="*/ 422873 w 2337635"/>
                <a:gd name="connsiteY388" fmla="*/ 181794 h 198217"/>
                <a:gd name="connsiteX389" fmla="*/ 425214 w 2337635"/>
                <a:gd name="connsiteY389" fmla="*/ 184736 h 198217"/>
                <a:gd name="connsiteX390" fmla="*/ 428223 w 2337635"/>
                <a:gd name="connsiteY390" fmla="*/ 186575 h 198217"/>
                <a:gd name="connsiteX391" fmla="*/ 436582 w 2337635"/>
                <a:gd name="connsiteY391" fmla="*/ 184920 h 198217"/>
                <a:gd name="connsiteX392" fmla="*/ 438756 w 2337635"/>
                <a:gd name="connsiteY392" fmla="*/ 182529 h 198217"/>
                <a:gd name="connsiteX393" fmla="*/ 440427 w 2337635"/>
                <a:gd name="connsiteY393" fmla="*/ 179587 h 198217"/>
                <a:gd name="connsiteX394" fmla="*/ 441096 w 2337635"/>
                <a:gd name="connsiteY394" fmla="*/ 178116 h 198217"/>
                <a:gd name="connsiteX395" fmla="*/ 441932 w 2337635"/>
                <a:gd name="connsiteY395" fmla="*/ 175174 h 198217"/>
                <a:gd name="connsiteX396" fmla="*/ 441597 w 2337635"/>
                <a:gd name="connsiteY396" fmla="*/ 165795 h 198217"/>
                <a:gd name="connsiteX397" fmla="*/ 440929 w 2337635"/>
                <a:gd name="connsiteY397" fmla="*/ 163772 h 198217"/>
                <a:gd name="connsiteX398" fmla="*/ 440093 w 2337635"/>
                <a:gd name="connsiteY398" fmla="*/ 161749 h 198217"/>
                <a:gd name="connsiteX399" fmla="*/ 438588 w 2337635"/>
                <a:gd name="connsiteY399" fmla="*/ 159359 h 198217"/>
                <a:gd name="connsiteX400" fmla="*/ 436081 w 2337635"/>
                <a:gd name="connsiteY400" fmla="*/ 156784 h 198217"/>
                <a:gd name="connsiteX401" fmla="*/ 433406 w 2337635"/>
                <a:gd name="connsiteY401" fmla="*/ 155313 h 198217"/>
                <a:gd name="connsiteX402" fmla="*/ 309849 w 2337635"/>
                <a:gd name="connsiteY402" fmla="*/ 155313 h 198217"/>
                <a:gd name="connsiteX403" fmla="*/ 301991 w 2337635"/>
                <a:gd name="connsiteY403" fmla="*/ 156968 h 198217"/>
                <a:gd name="connsiteX404" fmla="*/ 299818 w 2337635"/>
                <a:gd name="connsiteY404" fmla="*/ 159359 h 198217"/>
                <a:gd name="connsiteX405" fmla="*/ 298313 w 2337635"/>
                <a:gd name="connsiteY405" fmla="*/ 161934 h 198217"/>
                <a:gd name="connsiteX406" fmla="*/ 297644 w 2337635"/>
                <a:gd name="connsiteY406" fmla="*/ 163772 h 198217"/>
                <a:gd name="connsiteX407" fmla="*/ 296976 w 2337635"/>
                <a:gd name="connsiteY407" fmla="*/ 166531 h 198217"/>
                <a:gd name="connsiteX408" fmla="*/ 296307 w 2337635"/>
                <a:gd name="connsiteY408" fmla="*/ 171312 h 198217"/>
                <a:gd name="connsiteX409" fmla="*/ 296976 w 2337635"/>
                <a:gd name="connsiteY409" fmla="*/ 176277 h 198217"/>
                <a:gd name="connsiteX410" fmla="*/ 297812 w 2337635"/>
                <a:gd name="connsiteY410" fmla="*/ 178851 h 198217"/>
                <a:gd name="connsiteX411" fmla="*/ 299316 w 2337635"/>
                <a:gd name="connsiteY411" fmla="*/ 181794 h 198217"/>
                <a:gd name="connsiteX412" fmla="*/ 301656 w 2337635"/>
                <a:gd name="connsiteY412" fmla="*/ 184736 h 198217"/>
                <a:gd name="connsiteX413" fmla="*/ 304666 w 2337635"/>
                <a:gd name="connsiteY413" fmla="*/ 186575 h 198217"/>
                <a:gd name="connsiteX414" fmla="*/ 313025 w 2337635"/>
                <a:gd name="connsiteY414" fmla="*/ 184920 h 198217"/>
                <a:gd name="connsiteX415" fmla="*/ 315198 w 2337635"/>
                <a:gd name="connsiteY415" fmla="*/ 182529 h 198217"/>
                <a:gd name="connsiteX416" fmla="*/ 316870 w 2337635"/>
                <a:gd name="connsiteY416" fmla="*/ 179587 h 198217"/>
                <a:gd name="connsiteX417" fmla="*/ 317539 w 2337635"/>
                <a:gd name="connsiteY417" fmla="*/ 178116 h 198217"/>
                <a:gd name="connsiteX418" fmla="*/ 318374 w 2337635"/>
                <a:gd name="connsiteY418" fmla="*/ 175174 h 198217"/>
                <a:gd name="connsiteX419" fmla="*/ 318040 w 2337635"/>
                <a:gd name="connsiteY419" fmla="*/ 165795 h 198217"/>
                <a:gd name="connsiteX420" fmla="*/ 317371 w 2337635"/>
                <a:gd name="connsiteY420" fmla="*/ 163772 h 198217"/>
                <a:gd name="connsiteX421" fmla="*/ 316536 w 2337635"/>
                <a:gd name="connsiteY421" fmla="*/ 161749 h 198217"/>
                <a:gd name="connsiteX422" fmla="*/ 315030 w 2337635"/>
                <a:gd name="connsiteY422" fmla="*/ 159359 h 198217"/>
                <a:gd name="connsiteX423" fmla="*/ 312524 w 2337635"/>
                <a:gd name="connsiteY423" fmla="*/ 156784 h 198217"/>
                <a:gd name="connsiteX424" fmla="*/ 309849 w 2337635"/>
                <a:gd name="connsiteY424" fmla="*/ 155313 h 198217"/>
                <a:gd name="connsiteX425" fmla="*/ 144836 w 2337635"/>
                <a:gd name="connsiteY425" fmla="*/ 155313 h 198217"/>
                <a:gd name="connsiteX426" fmla="*/ 136978 w 2337635"/>
                <a:gd name="connsiteY426" fmla="*/ 156968 h 198217"/>
                <a:gd name="connsiteX427" fmla="*/ 134804 w 2337635"/>
                <a:gd name="connsiteY427" fmla="*/ 159359 h 198217"/>
                <a:gd name="connsiteX428" fmla="*/ 133300 w 2337635"/>
                <a:gd name="connsiteY428" fmla="*/ 161934 h 198217"/>
                <a:gd name="connsiteX429" fmla="*/ 132631 w 2337635"/>
                <a:gd name="connsiteY429" fmla="*/ 163772 h 198217"/>
                <a:gd name="connsiteX430" fmla="*/ 131962 w 2337635"/>
                <a:gd name="connsiteY430" fmla="*/ 166531 h 198217"/>
                <a:gd name="connsiteX431" fmla="*/ 131294 w 2337635"/>
                <a:gd name="connsiteY431" fmla="*/ 171312 h 198217"/>
                <a:gd name="connsiteX432" fmla="*/ 131962 w 2337635"/>
                <a:gd name="connsiteY432" fmla="*/ 176277 h 198217"/>
                <a:gd name="connsiteX433" fmla="*/ 132799 w 2337635"/>
                <a:gd name="connsiteY433" fmla="*/ 178851 h 198217"/>
                <a:gd name="connsiteX434" fmla="*/ 134303 w 2337635"/>
                <a:gd name="connsiteY434" fmla="*/ 181794 h 198217"/>
                <a:gd name="connsiteX435" fmla="*/ 136643 w 2337635"/>
                <a:gd name="connsiteY435" fmla="*/ 184736 h 198217"/>
                <a:gd name="connsiteX436" fmla="*/ 139652 w 2337635"/>
                <a:gd name="connsiteY436" fmla="*/ 186575 h 198217"/>
                <a:gd name="connsiteX437" fmla="*/ 148012 w 2337635"/>
                <a:gd name="connsiteY437" fmla="*/ 184920 h 198217"/>
                <a:gd name="connsiteX438" fmla="*/ 150185 w 2337635"/>
                <a:gd name="connsiteY438" fmla="*/ 182529 h 198217"/>
                <a:gd name="connsiteX439" fmla="*/ 151857 w 2337635"/>
                <a:gd name="connsiteY439" fmla="*/ 179587 h 198217"/>
                <a:gd name="connsiteX440" fmla="*/ 152526 w 2337635"/>
                <a:gd name="connsiteY440" fmla="*/ 178116 h 198217"/>
                <a:gd name="connsiteX441" fmla="*/ 153361 w 2337635"/>
                <a:gd name="connsiteY441" fmla="*/ 175174 h 198217"/>
                <a:gd name="connsiteX442" fmla="*/ 153027 w 2337635"/>
                <a:gd name="connsiteY442" fmla="*/ 165795 h 198217"/>
                <a:gd name="connsiteX443" fmla="*/ 152358 w 2337635"/>
                <a:gd name="connsiteY443" fmla="*/ 163772 h 198217"/>
                <a:gd name="connsiteX444" fmla="*/ 151523 w 2337635"/>
                <a:gd name="connsiteY444" fmla="*/ 161749 h 198217"/>
                <a:gd name="connsiteX445" fmla="*/ 150018 w 2337635"/>
                <a:gd name="connsiteY445" fmla="*/ 159359 h 198217"/>
                <a:gd name="connsiteX446" fmla="*/ 147511 w 2337635"/>
                <a:gd name="connsiteY446" fmla="*/ 156784 h 198217"/>
                <a:gd name="connsiteX447" fmla="*/ 144836 w 2337635"/>
                <a:gd name="connsiteY447" fmla="*/ 155313 h 198217"/>
                <a:gd name="connsiteX448" fmla="*/ 2254193 w 2337635"/>
                <a:gd name="connsiteY448" fmla="*/ 147475 h 198217"/>
                <a:gd name="connsiteX449" fmla="*/ 2246263 w 2337635"/>
                <a:gd name="connsiteY449" fmla="*/ 152732 h 198217"/>
                <a:gd name="connsiteX450" fmla="*/ 2245634 w 2337635"/>
                <a:gd name="connsiteY450" fmla="*/ 155849 h 198217"/>
                <a:gd name="connsiteX451" fmla="*/ 2247838 w 2337635"/>
                <a:gd name="connsiteY451" fmla="*/ 155849 h 198217"/>
                <a:gd name="connsiteX452" fmla="*/ 2260364 w 2337635"/>
                <a:gd name="connsiteY452" fmla="*/ 155849 h 198217"/>
                <a:gd name="connsiteX453" fmla="*/ 2262754 w 2337635"/>
                <a:gd name="connsiteY453" fmla="*/ 155849 h 198217"/>
                <a:gd name="connsiteX454" fmla="*/ 2262124 w 2337635"/>
                <a:gd name="connsiteY454" fmla="*/ 152732 h 198217"/>
                <a:gd name="connsiteX455" fmla="*/ 2254193 w 2337635"/>
                <a:gd name="connsiteY455" fmla="*/ 147475 h 198217"/>
                <a:gd name="connsiteX456" fmla="*/ 1965623 w 2337635"/>
                <a:gd name="connsiteY456" fmla="*/ 147475 h 198217"/>
                <a:gd name="connsiteX457" fmla="*/ 1957693 w 2337635"/>
                <a:gd name="connsiteY457" fmla="*/ 152732 h 198217"/>
                <a:gd name="connsiteX458" fmla="*/ 1957064 w 2337635"/>
                <a:gd name="connsiteY458" fmla="*/ 155849 h 198217"/>
                <a:gd name="connsiteX459" fmla="*/ 1959268 w 2337635"/>
                <a:gd name="connsiteY459" fmla="*/ 155849 h 198217"/>
                <a:gd name="connsiteX460" fmla="*/ 1971793 w 2337635"/>
                <a:gd name="connsiteY460" fmla="*/ 155849 h 198217"/>
                <a:gd name="connsiteX461" fmla="*/ 1974183 w 2337635"/>
                <a:gd name="connsiteY461" fmla="*/ 155849 h 198217"/>
                <a:gd name="connsiteX462" fmla="*/ 1973554 w 2337635"/>
                <a:gd name="connsiteY462" fmla="*/ 152732 h 198217"/>
                <a:gd name="connsiteX463" fmla="*/ 1965623 w 2337635"/>
                <a:gd name="connsiteY463" fmla="*/ 147475 h 198217"/>
                <a:gd name="connsiteX464" fmla="*/ 1903870 w 2337635"/>
                <a:gd name="connsiteY464" fmla="*/ 147475 h 198217"/>
                <a:gd name="connsiteX465" fmla="*/ 1895939 w 2337635"/>
                <a:gd name="connsiteY465" fmla="*/ 152732 h 198217"/>
                <a:gd name="connsiteX466" fmla="*/ 1895310 w 2337635"/>
                <a:gd name="connsiteY466" fmla="*/ 155849 h 198217"/>
                <a:gd name="connsiteX467" fmla="*/ 1897514 w 2337635"/>
                <a:gd name="connsiteY467" fmla="*/ 155849 h 198217"/>
                <a:gd name="connsiteX468" fmla="*/ 1910040 w 2337635"/>
                <a:gd name="connsiteY468" fmla="*/ 155849 h 198217"/>
                <a:gd name="connsiteX469" fmla="*/ 1912430 w 2337635"/>
                <a:gd name="connsiteY469" fmla="*/ 155849 h 198217"/>
                <a:gd name="connsiteX470" fmla="*/ 1911800 w 2337635"/>
                <a:gd name="connsiteY470" fmla="*/ 152732 h 198217"/>
                <a:gd name="connsiteX471" fmla="*/ 1903870 w 2337635"/>
                <a:gd name="connsiteY471" fmla="*/ 147475 h 198217"/>
                <a:gd name="connsiteX472" fmla="*/ 1780313 w 2337635"/>
                <a:gd name="connsiteY472" fmla="*/ 147475 h 198217"/>
                <a:gd name="connsiteX473" fmla="*/ 1772382 w 2337635"/>
                <a:gd name="connsiteY473" fmla="*/ 152732 h 198217"/>
                <a:gd name="connsiteX474" fmla="*/ 1771753 w 2337635"/>
                <a:gd name="connsiteY474" fmla="*/ 155849 h 198217"/>
                <a:gd name="connsiteX475" fmla="*/ 1773957 w 2337635"/>
                <a:gd name="connsiteY475" fmla="*/ 155849 h 198217"/>
                <a:gd name="connsiteX476" fmla="*/ 1786483 w 2337635"/>
                <a:gd name="connsiteY476" fmla="*/ 155849 h 198217"/>
                <a:gd name="connsiteX477" fmla="*/ 1788873 w 2337635"/>
                <a:gd name="connsiteY477" fmla="*/ 155849 h 198217"/>
                <a:gd name="connsiteX478" fmla="*/ 1788243 w 2337635"/>
                <a:gd name="connsiteY478" fmla="*/ 152732 h 198217"/>
                <a:gd name="connsiteX479" fmla="*/ 1780313 w 2337635"/>
                <a:gd name="connsiteY479" fmla="*/ 147475 h 198217"/>
                <a:gd name="connsiteX480" fmla="*/ 1491742 w 2337635"/>
                <a:gd name="connsiteY480" fmla="*/ 147475 h 198217"/>
                <a:gd name="connsiteX481" fmla="*/ 1483812 w 2337635"/>
                <a:gd name="connsiteY481" fmla="*/ 152732 h 198217"/>
                <a:gd name="connsiteX482" fmla="*/ 1483183 w 2337635"/>
                <a:gd name="connsiteY482" fmla="*/ 155849 h 198217"/>
                <a:gd name="connsiteX483" fmla="*/ 1485387 w 2337635"/>
                <a:gd name="connsiteY483" fmla="*/ 155849 h 198217"/>
                <a:gd name="connsiteX484" fmla="*/ 1497913 w 2337635"/>
                <a:gd name="connsiteY484" fmla="*/ 155849 h 198217"/>
                <a:gd name="connsiteX485" fmla="*/ 1500302 w 2337635"/>
                <a:gd name="connsiteY485" fmla="*/ 155849 h 198217"/>
                <a:gd name="connsiteX486" fmla="*/ 1499673 w 2337635"/>
                <a:gd name="connsiteY486" fmla="*/ 152732 h 198217"/>
                <a:gd name="connsiteX487" fmla="*/ 1491742 w 2337635"/>
                <a:gd name="connsiteY487" fmla="*/ 147475 h 198217"/>
                <a:gd name="connsiteX488" fmla="*/ 1316580 w 2337635"/>
                <a:gd name="connsiteY488" fmla="*/ 147475 h 198217"/>
                <a:gd name="connsiteX489" fmla="*/ 1308650 w 2337635"/>
                <a:gd name="connsiteY489" fmla="*/ 152732 h 198217"/>
                <a:gd name="connsiteX490" fmla="*/ 1308020 w 2337635"/>
                <a:gd name="connsiteY490" fmla="*/ 155849 h 198217"/>
                <a:gd name="connsiteX491" fmla="*/ 1310225 w 2337635"/>
                <a:gd name="connsiteY491" fmla="*/ 155849 h 198217"/>
                <a:gd name="connsiteX492" fmla="*/ 1322751 w 2337635"/>
                <a:gd name="connsiteY492" fmla="*/ 155849 h 198217"/>
                <a:gd name="connsiteX493" fmla="*/ 1325141 w 2337635"/>
                <a:gd name="connsiteY493" fmla="*/ 155849 h 198217"/>
                <a:gd name="connsiteX494" fmla="*/ 1324511 w 2337635"/>
                <a:gd name="connsiteY494" fmla="*/ 152732 h 198217"/>
                <a:gd name="connsiteX495" fmla="*/ 1316580 w 2337635"/>
                <a:gd name="connsiteY495" fmla="*/ 147475 h 198217"/>
                <a:gd name="connsiteX496" fmla="*/ 1254827 w 2337635"/>
                <a:gd name="connsiteY496" fmla="*/ 147475 h 198217"/>
                <a:gd name="connsiteX497" fmla="*/ 1246896 w 2337635"/>
                <a:gd name="connsiteY497" fmla="*/ 152732 h 198217"/>
                <a:gd name="connsiteX498" fmla="*/ 1246267 w 2337635"/>
                <a:gd name="connsiteY498" fmla="*/ 155849 h 198217"/>
                <a:gd name="connsiteX499" fmla="*/ 1248471 w 2337635"/>
                <a:gd name="connsiteY499" fmla="*/ 155849 h 198217"/>
                <a:gd name="connsiteX500" fmla="*/ 1260997 w 2337635"/>
                <a:gd name="connsiteY500" fmla="*/ 155849 h 198217"/>
                <a:gd name="connsiteX501" fmla="*/ 1263387 w 2337635"/>
                <a:gd name="connsiteY501" fmla="*/ 155849 h 198217"/>
                <a:gd name="connsiteX502" fmla="*/ 1262757 w 2337635"/>
                <a:gd name="connsiteY502" fmla="*/ 152732 h 198217"/>
                <a:gd name="connsiteX503" fmla="*/ 1254827 w 2337635"/>
                <a:gd name="connsiteY503" fmla="*/ 147475 h 198217"/>
                <a:gd name="connsiteX504" fmla="*/ 1079665 w 2337635"/>
                <a:gd name="connsiteY504" fmla="*/ 147475 h 198217"/>
                <a:gd name="connsiteX505" fmla="*/ 1071734 w 2337635"/>
                <a:gd name="connsiteY505" fmla="*/ 152732 h 198217"/>
                <a:gd name="connsiteX506" fmla="*/ 1071105 w 2337635"/>
                <a:gd name="connsiteY506" fmla="*/ 155849 h 198217"/>
                <a:gd name="connsiteX507" fmla="*/ 1073309 w 2337635"/>
                <a:gd name="connsiteY507" fmla="*/ 155849 h 198217"/>
                <a:gd name="connsiteX508" fmla="*/ 1085835 w 2337635"/>
                <a:gd name="connsiteY508" fmla="*/ 155849 h 198217"/>
                <a:gd name="connsiteX509" fmla="*/ 1088225 w 2337635"/>
                <a:gd name="connsiteY509" fmla="*/ 155849 h 198217"/>
                <a:gd name="connsiteX510" fmla="*/ 1087596 w 2337635"/>
                <a:gd name="connsiteY510" fmla="*/ 152732 h 198217"/>
                <a:gd name="connsiteX511" fmla="*/ 1079665 w 2337635"/>
                <a:gd name="connsiteY511" fmla="*/ 147475 h 198217"/>
                <a:gd name="connsiteX512" fmla="*/ 1017912 w 2337635"/>
                <a:gd name="connsiteY512" fmla="*/ 147475 h 198217"/>
                <a:gd name="connsiteX513" fmla="*/ 1009981 w 2337635"/>
                <a:gd name="connsiteY513" fmla="*/ 152732 h 198217"/>
                <a:gd name="connsiteX514" fmla="*/ 1009352 w 2337635"/>
                <a:gd name="connsiteY514" fmla="*/ 155849 h 198217"/>
                <a:gd name="connsiteX515" fmla="*/ 1011556 w 2337635"/>
                <a:gd name="connsiteY515" fmla="*/ 155849 h 198217"/>
                <a:gd name="connsiteX516" fmla="*/ 1024082 w 2337635"/>
                <a:gd name="connsiteY516" fmla="*/ 155849 h 198217"/>
                <a:gd name="connsiteX517" fmla="*/ 1026472 w 2337635"/>
                <a:gd name="connsiteY517" fmla="*/ 155849 h 198217"/>
                <a:gd name="connsiteX518" fmla="*/ 1025843 w 2337635"/>
                <a:gd name="connsiteY518" fmla="*/ 152732 h 198217"/>
                <a:gd name="connsiteX519" fmla="*/ 1017912 w 2337635"/>
                <a:gd name="connsiteY519" fmla="*/ 147475 h 198217"/>
                <a:gd name="connsiteX520" fmla="*/ 842750 w 2337635"/>
                <a:gd name="connsiteY520" fmla="*/ 147475 h 198217"/>
                <a:gd name="connsiteX521" fmla="*/ 834820 w 2337635"/>
                <a:gd name="connsiteY521" fmla="*/ 152732 h 198217"/>
                <a:gd name="connsiteX522" fmla="*/ 834190 w 2337635"/>
                <a:gd name="connsiteY522" fmla="*/ 155849 h 198217"/>
                <a:gd name="connsiteX523" fmla="*/ 836394 w 2337635"/>
                <a:gd name="connsiteY523" fmla="*/ 155849 h 198217"/>
                <a:gd name="connsiteX524" fmla="*/ 848920 w 2337635"/>
                <a:gd name="connsiteY524" fmla="*/ 155849 h 198217"/>
                <a:gd name="connsiteX525" fmla="*/ 851310 w 2337635"/>
                <a:gd name="connsiteY525" fmla="*/ 155849 h 198217"/>
                <a:gd name="connsiteX526" fmla="*/ 850681 w 2337635"/>
                <a:gd name="connsiteY526" fmla="*/ 152732 h 198217"/>
                <a:gd name="connsiteX527" fmla="*/ 842750 w 2337635"/>
                <a:gd name="connsiteY527" fmla="*/ 147475 h 198217"/>
                <a:gd name="connsiteX528" fmla="*/ 554180 w 2337635"/>
                <a:gd name="connsiteY528" fmla="*/ 147475 h 198217"/>
                <a:gd name="connsiteX529" fmla="*/ 546249 w 2337635"/>
                <a:gd name="connsiteY529" fmla="*/ 152732 h 198217"/>
                <a:gd name="connsiteX530" fmla="*/ 545620 w 2337635"/>
                <a:gd name="connsiteY530" fmla="*/ 155849 h 198217"/>
                <a:gd name="connsiteX531" fmla="*/ 547824 w 2337635"/>
                <a:gd name="connsiteY531" fmla="*/ 155849 h 198217"/>
                <a:gd name="connsiteX532" fmla="*/ 560350 w 2337635"/>
                <a:gd name="connsiteY532" fmla="*/ 155849 h 198217"/>
                <a:gd name="connsiteX533" fmla="*/ 562740 w 2337635"/>
                <a:gd name="connsiteY533" fmla="*/ 155849 h 198217"/>
                <a:gd name="connsiteX534" fmla="*/ 562110 w 2337635"/>
                <a:gd name="connsiteY534" fmla="*/ 152732 h 198217"/>
                <a:gd name="connsiteX535" fmla="*/ 554180 w 2337635"/>
                <a:gd name="connsiteY535" fmla="*/ 147475 h 198217"/>
                <a:gd name="connsiteX536" fmla="*/ 492426 w 2337635"/>
                <a:gd name="connsiteY536" fmla="*/ 147475 h 198217"/>
                <a:gd name="connsiteX537" fmla="*/ 484496 w 2337635"/>
                <a:gd name="connsiteY537" fmla="*/ 152732 h 198217"/>
                <a:gd name="connsiteX538" fmla="*/ 483866 w 2337635"/>
                <a:gd name="connsiteY538" fmla="*/ 155849 h 198217"/>
                <a:gd name="connsiteX539" fmla="*/ 486070 w 2337635"/>
                <a:gd name="connsiteY539" fmla="*/ 155849 h 198217"/>
                <a:gd name="connsiteX540" fmla="*/ 498596 w 2337635"/>
                <a:gd name="connsiteY540" fmla="*/ 155849 h 198217"/>
                <a:gd name="connsiteX541" fmla="*/ 500986 w 2337635"/>
                <a:gd name="connsiteY541" fmla="*/ 155849 h 198217"/>
                <a:gd name="connsiteX542" fmla="*/ 500356 w 2337635"/>
                <a:gd name="connsiteY542" fmla="*/ 152732 h 198217"/>
                <a:gd name="connsiteX543" fmla="*/ 492426 w 2337635"/>
                <a:gd name="connsiteY543" fmla="*/ 147475 h 198217"/>
                <a:gd name="connsiteX544" fmla="*/ 368869 w 2337635"/>
                <a:gd name="connsiteY544" fmla="*/ 147475 h 198217"/>
                <a:gd name="connsiteX545" fmla="*/ 360938 w 2337635"/>
                <a:gd name="connsiteY545" fmla="*/ 152732 h 198217"/>
                <a:gd name="connsiteX546" fmla="*/ 360309 w 2337635"/>
                <a:gd name="connsiteY546" fmla="*/ 155849 h 198217"/>
                <a:gd name="connsiteX547" fmla="*/ 362512 w 2337635"/>
                <a:gd name="connsiteY547" fmla="*/ 155849 h 198217"/>
                <a:gd name="connsiteX548" fmla="*/ 375038 w 2337635"/>
                <a:gd name="connsiteY548" fmla="*/ 155849 h 198217"/>
                <a:gd name="connsiteX549" fmla="*/ 377428 w 2337635"/>
                <a:gd name="connsiteY549" fmla="*/ 155849 h 198217"/>
                <a:gd name="connsiteX550" fmla="*/ 376799 w 2337635"/>
                <a:gd name="connsiteY550" fmla="*/ 152732 h 198217"/>
                <a:gd name="connsiteX551" fmla="*/ 368869 w 2337635"/>
                <a:gd name="connsiteY551" fmla="*/ 147475 h 198217"/>
                <a:gd name="connsiteX552" fmla="*/ 80298 w 2337635"/>
                <a:gd name="connsiteY552" fmla="*/ 147475 h 198217"/>
                <a:gd name="connsiteX553" fmla="*/ 72368 w 2337635"/>
                <a:gd name="connsiteY553" fmla="*/ 152732 h 198217"/>
                <a:gd name="connsiteX554" fmla="*/ 71739 w 2337635"/>
                <a:gd name="connsiteY554" fmla="*/ 155849 h 198217"/>
                <a:gd name="connsiteX555" fmla="*/ 73942 w 2337635"/>
                <a:gd name="connsiteY555" fmla="*/ 155849 h 198217"/>
                <a:gd name="connsiteX556" fmla="*/ 86468 w 2337635"/>
                <a:gd name="connsiteY556" fmla="*/ 155849 h 198217"/>
                <a:gd name="connsiteX557" fmla="*/ 88858 w 2337635"/>
                <a:gd name="connsiteY557" fmla="*/ 155849 h 198217"/>
                <a:gd name="connsiteX558" fmla="*/ 88229 w 2337635"/>
                <a:gd name="connsiteY558" fmla="*/ 152732 h 198217"/>
                <a:gd name="connsiteX559" fmla="*/ 80298 w 2337635"/>
                <a:gd name="connsiteY559" fmla="*/ 147475 h 198217"/>
                <a:gd name="connsiteX560" fmla="*/ 2134331 w 2337635"/>
                <a:gd name="connsiteY560" fmla="*/ 144510 h 198217"/>
                <a:gd name="connsiteX561" fmla="*/ 2137090 w 2337635"/>
                <a:gd name="connsiteY561" fmla="*/ 144510 h 198217"/>
                <a:gd name="connsiteX562" fmla="*/ 2140216 w 2337635"/>
                <a:gd name="connsiteY562" fmla="*/ 146165 h 198217"/>
                <a:gd name="connsiteX563" fmla="*/ 2141688 w 2337635"/>
                <a:gd name="connsiteY563" fmla="*/ 150395 h 198217"/>
                <a:gd name="connsiteX564" fmla="*/ 2141688 w 2337635"/>
                <a:gd name="connsiteY564" fmla="*/ 150762 h 198217"/>
                <a:gd name="connsiteX565" fmla="*/ 2141688 w 2337635"/>
                <a:gd name="connsiteY565" fmla="*/ 186806 h 198217"/>
                <a:gd name="connsiteX566" fmla="*/ 2142055 w 2337635"/>
                <a:gd name="connsiteY566" fmla="*/ 187173 h 198217"/>
                <a:gd name="connsiteX567" fmla="*/ 2147020 w 2337635"/>
                <a:gd name="connsiteY567" fmla="*/ 187173 h 198217"/>
                <a:gd name="connsiteX568" fmla="*/ 2149779 w 2337635"/>
                <a:gd name="connsiteY568" fmla="*/ 187909 h 198217"/>
                <a:gd name="connsiteX569" fmla="*/ 2152353 w 2337635"/>
                <a:gd name="connsiteY569" fmla="*/ 192507 h 198217"/>
                <a:gd name="connsiteX570" fmla="*/ 2150514 w 2337635"/>
                <a:gd name="connsiteY570" fmla="*/ 196368 h 198217"/>
                <a:gd name="connsiteX571" fmla="*/ 2147756 w 2337635"/>
                <a:gd name="connsiteY571" fmla="*/ 197655 h 198217"/>
                <a:gd name="connsiteX572" fmla="*/ 2147572 w 2337635"/>
                <a:gd name="connsiteY572" fmla="*/ 197655 h 198217"/>
                <a:gd name="connsiteX573" fmla="*/ 2147388 w 2337635"/>
                <a:gd name="connsiteY573" fmla="*/ 197655 h 198217"/>
                <a:gd name="connsiteX574" fmla="*/ 2147020 w 2337635"/>
                <a:gd name="connsiteY574" fmla="*/ 197655 h 198217"/>
                <a:gd name="connsiteX575" fmla="*/ 2125137 w 2337635"/>
                <a:gd name="connsiteY575" fmla="*/ 197655 h 198217"/>
                <a:gd name="connsiteX576" fmla="*/ 2124770 w 2337635"/>
                <a:gd name="connsiteY576" fmla="*/ 197655 h 198217"/>
                <a:gd name="connsiteX577" fmla="*/ 2124217 w 2337635"/>
                <a:gd name="connsiteY577" fmla="*/ 197655 h 198217"/>
                <a:gd name="connsiteX578" fmla="*/ 2123666 w 2337635"/>
                <a:gd name="connsiteY578" fmla="*/ 197472 h 198217"/>
                <a:gd name="connsiteX579" fmla="*/ 2121275 w 2337635"/>
                <a:gd name="connsiteY579" fmla="*/ 196184 h 198217"/>
                <a:gd name="connsiteX580" fmla="*/ 2119620 w 2337635"/>
                <a:gd name="connsiteY580" fmla="*/ 192322 h 198217"/>
                <a:gd name="connsiteX581" fmla="*/ 2121091 w 2337635"/>
                <a:gd name="connsiteY581" fmla="*/ 188829 h 198217"/>
                <a:gd name="connsiteX582" fmla="*/ 2124953 w 2337635"/>
                <a:gd name="connsiteY582" fmla="*/ 187173 h 198217"/>
                <a:gd name="connsiteX583" fmla="*/ 2130286 w 2337635"/>
                <a:gd name="connsiteY583" fmla="*/ 187173 h 198217"/>
                <a:gd name="connsiteX584" fmla="*/ 2130654 w 2337635"/>
                <a:gd name="connsiteY584" fmla="*/ 186806 h 198217"/>
                <a:gd name="connsiteX585" fmla="*/ 2130654 w 2337635"/>
                <a:gd name="connsiteY585" fmla="*/ 155544 h 198217"/>
                <a:gd name="connsiteX586" fmla="*/ 2130286 w 2337635"/>
                <a:gd name="connsiteY586" fmla="*/ 155176 h 198217"/>
                <a:gd name="connsiteX587" fmla="*/ 2126241 w 2337635"/>
                <a:gd name="connsiteY587" fmla="*/ 155176 h 198217"/>
                <a:gd name="connsiteX588" fmla="*/ 2121275 w 2337635"/>
                <a:gd name="connsiteY588" fmla="*/ 152050 h 198217"/>
                <a:gd name="connsiteX589" fmla="*/ 2121091 w 2337635"/>
                <a:gd name="connsiteY589" fmla="*/ 148188 h 198217"/>
                <a:gd name="connsiteX590" fmla="*/ 2126056 w 2337635"/>
                <a:gd name="connsiteY590" fmla="*/ 144694 h 198217"/>
                <a:gd name="connsiteX591" fmla="*/ 2134331 w 2337635"/>
                <a:gd name="connsiteY591" fmla="*/ 144510 h 198217"/>
                <a:gd name="connsiteX592" fmla="*/ 2020923 w 2337635"/>
                <a:gd name="connsiteY592" fmla="*/ 144510 h 198217"/>
                <a:gd name="connsiteX593" fmla="*/ 2023682 w 2337635"/>
                <a:gd name="connsiteY593" fmla="*/ 144510 h 198217"/>
                <a:gd name="connsiteX594" fmla="*/ 2026808 w 2337635"/>
                <a:gd name="connsiteY594" fmla="*/ 146165 h 198217"/>
                <a:gd name="connsiteX595" fmla="*/ 2028279 w 2337635"/>
                <a:gd name="connsiteY595" fmla="*/ 150395 h 198217"/>
                <a:gd name="connsiteX596" fmla="*/ 2028279 w 2337635"/>
                <a:gd name="connsiteY596" fmla="*/ 150762 h 198217"/>
                <a:gd name="connsiteX597" fmla="*/ 2028279 w 2337635"/>
                <a:gd name="connsiteY597" fmla="*/ 186806 h 198217"/>
                <a:gd name="connsiteX598" fmla="*/ 2028647 w 2337635"/>
                <a:gd name="connsiteY598" fmla="*/ 187173 h 198217"/>
                <a:gd name="connsiteX599" fmla="*/ 2033612 w 2337635"/>
                <a:gd name="connsiteY599" fmla="*/ 187173 h 198217"/>
                <a:gd name="connsiteX600" fmla="*/ 2036370 w 2337635"/>
                <a:gd name="connsiteY600" fmla="*/ 187909 h 198217"/>
                <a:gd name="connsiteX601" fmla="*/ 2038945 w 2337635"/>
                <a:gd name="connsiteY601" fmla="*/ 192507 h 198217"/>
                <a:gd name="connsiteX602" fmla="*/ 2037106 w 2337635"/>
                <a:gd name="connsiteY602" fmla="*/ 196368 h 198217"/>
                <a:gd name="connsiteX603" fmla="*/ 2034348 w 2337635"/>
                <a:gd name="connsiteY603" fmla="*/ 197655 h 198217"/>
                <a:gd name="connsiteX604" fmla="*/ 2034164 w 2337635"/>
                <a:gd name="connsiteY604" fmla="*/ 197655 h 198217"/>
                <a:gd name="connsiteX605" fmla="*/ 2033980 w 2337635"/>
                <a:gd name="connsiteY605" fmla="*/ 197655 h 198217"/>
                <a:gd name="connsiteX606" fmla="*/ 2033612 w 2337635"/>
                <a:gd name="connsiteY606" fmla="*/ 197655 h 198217"/>
                <a:gd name="connsiteX607" fmla="*/ 2011729 w 2337635"/>
                <a:gd name="connsiteY607" fmla="*/ 197655 h 198217"/>
                <a:gd name="connsiteX608" fmla="*/ 2011361 w 2337635"/>
                <a:gd name="connsiteY608" fmla="*/ 197655 h 198217"/>
                <a:gd name="connsiteX609" fmla="*/ 2010809 w 2337635"/>
                <a:gd name="connsiteY609" fmla="*/ 197655 h 198217"/>
                <a:gd name="connsiteX610" fmla="*/ 2010258 w 2337635"/>
                <a:gd name="connsiteY610" fmla="*/ 197472 h 198217"/>
                <a:gd name="connsiteX611" fmla="*/ 2007867 w 2337635"/>
                <a:gd name="connsiteY611" fmla="*/ 196184 h 198217"/>
                <a:gd name="connsiteX612" fmla="*/ 2006212 w 2337635"/>
                <a:gd name="connsiteY612" fmla="*/ 192322 h 198217"/>
                <a:gd name="connsiteX613" fmla="*/ 2007683 w 2337635"/>
                <a:gd name="connsiteY613" fmla="*/ 188829 h 198217"/>
                <a:gd name="connsiteX614" fmla="*/ 2011545 w 2337635"/>
                <a:gd name="connsiteY614" fmla="*/ 187173 h 198217"/>
                <a:gd name="connsiteX615" fmla="*/ 2016878 w 2337635"/>
                <a:gd name="connsiteY615" fmla="*/ 187173 h 198217"/>
                <a:gd name="connsiteX616" fmla="*/ 2017246 w 2337635"/>
                <a:gd name="connsiteY616" fmla="*/ 186806 h 198217"/>
                <a:gd name="connsiteX617" fmla="*/ 2017246 w 2337635"/>
                <a:gd name="connsiteY617" fmla="*/ 155544 h 198217"/>
                <a:gd name="connsiteX618" fmla="*/ 2016878 w 2337635"/>
                <a:gd name="connsiteY618" fmla="*/ 155176 h 198217"/>
                <a:gd name="connsiteX619" fmla="*/ 2012833 w 2337635"/>
                <a:gd name="connsiteY619" fmla="*/ 155176 h 198217"/>
                <a:gd name="connsiteX620" fmla="*/ 2007867 w 2337635"/>
                <a:gd name="connsiteY620" fmla="*/ 152050 h 198217"/>
                <a:gd name="connsiteX621" fmla="*/ 2007683 w 2337635"/>
                <a:gd name="connsiteY621" fmla="*/ 148188 h 198217"/>
                <a:gd name="connsiteX622" fmla="*/ 2012648 w 2337635"/>
                <a:gd name="connsiteY622" fmla="*/ 144694 h 198217"/>
                <a:gd name="connsiteX623" fmla="*/ 2020923 w 2337635"/>
                <a:gd name="connsiteY623" fmla="*/ 144510 h 198217"/>
                <a:gd name="connsiteX624" fmla="*/ 1660451 w 2337635"/>
                <a:gd name="connsiteY624" fmla="*/ 144510 h 198217"/>
                <a:gd name="connsiteX625" fmla="*/ 1663209 w 2337635"/>
                <a:gd name="connsiteY625" fmla="*/ 144510 h 198217"/>
                <a:gd name="connsiteX626" fmla="*/ 1666335 w 2337635"/>
                <a:gd name="connsiteY626" fmla="*/ 146165 h 198217"/>
                <a:gd name="connsiteX627" fmla="*/ 1667806 w 2337635"/>
                <a:gd name="connsiteY627" fmla="*/ 150395 h 198217"/>
                <a:gd name="connsiteX628" fmla="*/ 1667806 w 2337635"/>
                <a:gd name="connsiteY628" fmla="*/ 150762 h 198217"/>
                <a:gd name="connsiteX629" fmla="*/ 1667806 w 2337635"/>
                <a:gd name="connsiteY629" fmla="*/ 186806 h 198217"/>
                <a:gd name="connsiteX630" fmla="*/ 1668174 w 2337635"/>
                <a:gd name="connsiteY630" fmla="*/ 187173 h 198217"/>
                <a:gd name="connsiteX631" fmla="*/ 1673139 w 2337635"/>
                <a:gd name="connsiteY631" fmla="*/ 187173 h 198217"/>
                <a:gd name="connsiteX632" fmla="*/ 1675898 w 2337635"/>
                <a:gd name="connsiteY632" fmla="*/ 187909 h 198217"/>
                <a:gd name="connsiteX633" fmla="*/ 1678472 w 2337635"/>
                <a:gd name="connsiteY633" fmla="*/ 192507 h 198217"/>
                <a:gd name="connsiteX634" fmla="*/ 1676634 w 2337635"/>
                <a:gd name="connsiteY634" fmla="*/ 196368 h 198217"/>
                <a:gd name="connsiteX635" fmla="*/ 1673875 w 2337635"/>
                <a:gd name="connsiteY635" fmla="*/ 197655 h 198217"/>
                <a:gd name="connsiteX636" fmla="*/ 1673691 w 2337635"/>
                <a:gd name="connsiteY636" fmla="*/ 197655 h 198217"/>
                <a:gd name="connsiteX637" fmla="*/ 1673507 w 2337635"/>
                <a:gd name="connsiteY637" fmla="*/ 197655 h 198217"/>
                <a:gd name="connsiteX638" fmla="*/ 1673139 w 2337635"/>
                <a:gd name="connsiteY638" fmla="*/ 197655 h 198217"/>
                <a:gd name="connsiteX639" fmla="*/ 1651256 w 2337635"/>
                <a:gd name="connsiteY639" fmla="*/ 197655 h 198217"/>
                <a:gd name="connsiteX640" fmla="*/ 1650889 w 2337635"/>
                <a:gd name="connsiteY640" fmla="*/ 197655 h 198217"/>
                <a:gd name="connsiteX641" fmla="*/ 1650336 w 2337635"/>
                <a:gd name="connsiteY641" fmla="*/ 197655 h 198217"/>
                <a:gd name="connsiteX642" fmla="*/ 1649785 w 2337635"/>
                <a:gd name="connsiteY642" fmla="*/ 197472 h 198217"/>
                <a:gd name="connsiteX643" fmla="*/ 1647394 w 2337635"/>
                <a:gd name="connsiteY643" fmla="*/ 196184 h 198217"/>
                <a:gd name="connsiteX644" fmla="*/ 1645739 w 2337635"/>
                <a:gd name="connsiteY644" fmla="*/ 192322 h 198217"/>
                <a:gd name="connsiteX645" fmla="*/ 1647210 w 2337635"/>
                <a:gd name="connsiteY645" fmla="*/ 188829 h 198217"/>
                <a:gd name="connsiteX646" fmla="*/ 1651072 w 2337635"/>
                <a:gd name="connsiteY646" fmla="*/ 187173 h 198217"/>
                <a:gd name="connsiteX647" fmla="*/ 1656405 w 2337635"/>
                <a:gd name="connsiteY647" fmla="*/ 187173 h 198217"/>
                <a:gd name="connsiteX648" fmla="*/ 1656773 w 2337635"/>
                <a:gd name="connsiteY648" fmla="*/ 186806 h 198217"/>
                <a:gd name="connsiteX649" fmla="*/ 1656773 w 2337635"/>
                <a:gd name="connsiteY649" fmla="*/ 155544 h 198217"/>
                <a:gd name="connsiteX650" fmla="*/ 1656405 w 2337635"/>
                <a:gd name="connsiteY650" fmla="*/ 155176 h 198217"/>
                <a:gd name="connsiteX651" fmla="*/ 1652360 w 2337635"/>
                <a:gd name="connsiteY651" fmla="*/ 155176 h 198217"/>
                <a:gd name="connsiteX652" fmla="*/ 1647394 w 2337635"/>
                <a:gd name="connsiteY652" fmla="*/ 152050 h 198217"/>
                <a:gd name="connsiteX653" fmla="*/ 1647210 w 2337635"/>
                <a:gd name="connsiteY653" fmla="*/ 148188 h 198217"/>
                <a:gd name="connsiteX654" fmla="*/ 1652175 w 2337635"/>
                <a:gd name="connsiteY654" fmla="*/ 144694 h 198217"/>
                <a:gd name="connsiteX655" fmla="*/ 1660451 w 2337635"/>
                <a:gd name="connsiteY655" fmla="*/ 144510 h 198217"/>
                <a:gd name="connsiteX656" fmla="*/ 1608846 w 2337635"/>
                <a:gd name="connsiteY656" fmla="*/ 144510 h 198217"/>
                <a:gd name="connsiteX657" fmla="*/ 1611604 w 2337635"/>
                <a:gd name="connsiteY657" fmla="*/ 144510 h 198217"/>
                <a:gd name="connsiteX658" fmla="*/ 1614730 w 2337635"/>
                <a:gd name="connsiteY658" fmla="*/ 146165 h 198217"/>
                <a:gd name="connsiteX659" fmla="*/ 1616201 w 2337635"/>
                <a:gd name="connsiteY659" fmla="*/ 150395 h 198217"/>
                <a:gd name="connsiteX660" fmla="*/ 1616201 w 2337635"/>
                <a:gd name="connsiteY660" fmla="*/ 150762 h 198217"/>
                <a:gd name="connsiteX661" fmla="*/ 1616201 w 2337635"/>
                <a:gd name="connsiteY661" fmla="*/ 186806 h 198217"/>
                <a:gd name="connsiteX662" fmla="*/ 1616569 w 2337635"/>
                <a:gd name="connsiteY662" fmla="*/ 187173 h 198217"/>
                <a:gd name="connsiteX663" fmla="*/ 1621534 w 2337635"/>
                <a:gd name="connsiteY663" fmla="*/ 187173 h 198217"/>
                <a:gd name="connsiteX664" fmla="*/ 1624293 w 2337635"/>
                <a:gd name="connsiteY664" fmla="*/ 187909 h 198217"/>
                <a:gd name="connsiteX665" fmla="*/ 1626867 w 2337635"/>
                <a:gd name="connsiteY665" fmla="*/ 192507 h 198217"/>
                <a:gd name="connsiteX666" fmla="*/ 1625029 w 2337635"/>
                <a:gd name="connsiteY666" fmla="*/ 196368 h 198217"/>
                <a:gd name="connsiteX667" fmla="*/ 1622270 w 2337635"/>
                <a:gd name="connsiteY667" fmla="*/ 197655 h 198217"/>
                <a:gd name="connsiteX668" fmla="*/ 1622086 w 2337635"/>
                <a:gd name="connsiteY668" fmla="*/ 197655 h 198217"/>
                <a:gd name="connsiteX669" fmla="*/ 1621902 w 2337635"/>
                <a:gd name="connsiteY669" fmla="*/ 197655 h 198217"/>
                <a:gd name="connsiteX670" fmla="*/ 1621534 w 2337635"/>
                <a:gd name="connsiteY670" fmla="*/ 197655 h 198217"/>
                <a:gd name="connsiteX671" fmla="*/ 1599651 w 2337635"/>
                <a:gd name="connsiteY671" fmla="*/ 197655 h 198217"/>
                <a:gd name="connsiteX672" fmla="*/ 1599284 w 2337635"/>
                <a:gd name="connsiteY672" fmla="*/ 197655 h 198217"/>
                <a:gd name="connsiteX673" fmla="*/ 1598732 w 2337635"/>
                <a:gd name="connsiteY673" fmla="*/ 197655 h 198217"/>
                <a:gd name="connsiteX674" fmla="*/ 1598180 w 2337635"/>
                <a:gd name="connsiteY674" fmla="*/ 197472 h 198217"/>
                <a:gd name="connsiteX675" fmla="*/ 1595789 w 2337635"/>
                <a:gd name="connsiteY675" fmla="*/ 196184 h 198217"/>
                <a:gd name="connsiteX676" fmla="*/ 1594135 w 2337635"/>
                <a:gd name="connsiteY676" fmla="*/ 192322 h 198217"/>
                <a:gd name="connsiteX677" fmla="*/ 1595606 w 2337635"/>
                <a:gd name="connsiteY677" fmla="*/ 188829 h 198217"/>
                <a:gd name="connsiteX678" fmla="*/ 1599467 w 2337635"/>
                <a:gd name="connsiteY678" fmla="*/ 187173 h 198217"/>
                <a:gd name="connsiteX679" fmla="*/ 1604800 w 2337635"/>
                <a:gd name="connsiteY679" fmla="*/ 187173 h 198217"/>
                <a:gd name="connsiteX680" fmla="*/ 1605168 w 2337635"/>
                <a:gd name="connsiteY680" fmla="*/ 186806 h 198217"/>
                <a:gd name="connsiteX681" fmla="*/ 1605168 w 2337635"/>
                <a:gd name="connsiteY681" fmla="*/ 155544 h 198217"/>
                <a:gd name="connsiteX682" fmla="*/ 1604800 w 2337635"/>
                <a:gd name="connsiteY682" fmla="*/ 155176 h 198217"/>
                <a:gd name="connsiteX683" fmla="*/ 1600755 w 2337635"/>
                <a:gd name="connsiteY683" fmla="*/ 155176 h 198217"/>
                <a:gd name="connsiteX684" fmla="*/ 1595789 w 2337635"/>
                <a:gd name="connsiteY684" fmla="*/ 152050 h 198217"/>
                <a:gd name="connsiteX685" fmla="*/ 1595606 w 2337635"/>
                <a:gd name="connsiteY685" fmla="*/ 148188 h 198217"/>
                <a:gd name="connsiteX686" fmla="*/ 1600571 w 2337635"/>
                <a:gd name="connsiteY686" fmla="*/ 144694 h 198217"/>
                <a:gd name="connsiteX687" fmla="*/ 1608846 w 2337635"/>
                <a:gd name="connsiteY687" fmla="*/ 144510 h 198217"/>
                <a:gd name="connsiteX688" fmla="*/ 1371880 w 2337635"/>
                <a:gd name="connsiteY688" fmla="*/ 144510 h 198217"/>
                <a:gd name="connsiteX689" fmla="*/ 1374639 w 2337635"/>
                <a:gd name="connsiteY689" fmla="*/ 144510 h 198217"/>
                <a:gd name="connsiteX690" fmla="*/ 1377765 w 2337635"/>
                <a:gd name="connsiteY690" fmla="*/ 146165 h 198217"/>
                <a:gd name="connsiteX691" fmla="*/ 1379236 w 2337635"/>
                <a:gd name="connsiteY691" fmla="*/ 150395 h 198217"/>
                <a:gd name="connsiteX692" fmla="*/ 1379236 w 2337635"/>
                <a:gd name="connsiteY692" fmla="*/ 150762 h 198217"/>
                <a:gd name="connsiteX693" fmla="*/ 1379236 w 2337635"/>
                <a:gd name="connsiteY693" fmla="*/ 186806 h 198217"/>
                <a:gd name="connsiteX694" fmla="*/ 1379604 w 2337635"/>
                <a:gd name="connsiteY694" fmla="*/ 187173 h 198217"/>
                <a:gd name="connsiteX695" fmla="*/ 1384569 w 2337635"/>
                <a:gd name="connsiteY695" fmla="*/ 187173 h 198217"/>
                <a:gd name="connsiteX696" fmla="*/ 1387328 w 2337635"/>
                <a:gd name="connsiteY696" fmla="*/ 187909 h 198217"/>
                <a:gd name="connsiteX697" fmla="*/ 1389902 w 2337635"/>
                <a:gd name="connsiteY697" fmla="*/ 192507 h 198217"/>
                <a:gd name="connsiteX698" fmla="*/ 1388063 w 2337635"/>
                <a:gd name="connsiteY698" fmla="*/ 196368 h 198217"/>
                <a:gd name="connsiteX699" fmla="*/ 1385305 w 2337635"/>
                <a:gd name="connsiteY699" fmla="*/ 197655 h 198217"/>
                <a:gd name="connsiteX700" fmla="*/ 1385121 w 2337635"/>
                <a:gd name="connsiteY700" fmla="*/ 197655 h 198217"/>
                <a:gd name="connsiteX701" fmla="*/ 1384937 w 2337635"/>
                <a:gd name="connsiteY701" fmla="*/ 197655 h 198217"/>
                <a:gd name="connsiteX702" fmla="*/ 1384569 w 2337635"/>
                <a:gd name="connsiteY702" fmla="*/ 197655 h 198217"/>
                <a:gd name="connsiteX703" fmla="*/ 1362686 w 2337635"/>
                <a:gd name="connsiteY703" fmla="*/ 197655 h 198217"/>
                <a:gd name="connsiteX704" fmla="*/ 1362318 w 2337635"/>
                <a:gd name="connsiteY704" fmla="*/ 197655 h 198217"/>
                <a:gd name="connsiteX705" fmla="*/ 1361766 w 2337635"/>
                <a:gd name="connsiteY705" fmla="*/ 197655 h 198217"/>
                <a:gd name="connsiteX706" fmla="*/ 1361215 w 2337635"/>
                <a:gd name="connsiteY706" fmla="*/ 197472 h 198217"/>
                <a:gd name="connsiteX707" fmla="*/ 1358824 w 2337635"/>
                <a:gd name="connsiteY707" fmla="*/ 196184 h 198217"/>
                <a:gd name="connsiteX708" fmla="*/ 1357169 w 2337635"/>
                <a:gd name="connsiteY708" fmla="*/ 192322 h 198217"/>
                <a:gd name="connsiteX709" fmla="*/ 1358640 w 2337635"/>
                <a:gd name="connsiteY709" fmla="*/ 188829 h 198217"/>
                <a:gd name="connsiteX710" fmla="*/ 1362502 w 2337635"/>
                <a:gd name="connsiteY710" fmla="*/ 187173 h 198217"/>
                <a:gd name="connsiteX711" fmla="*/ 1367835 w 2337635"/>
                <a:gd name="connsiteY711" fmla="*/ 187173 h 198217"/>
                <a:gd name="connsiteX712" fmla="*/ 1368203 w 2337635"/>
                <a:gd name="connsiteY712" fmla="*/ 186806 h 198217"/>
                <a:gd name="connsiteX713" fmla="*/ 1368203 w 2337635"/>
                <a:gd name="connsiteY713" fmla="*/ 155544 h 198217"/>
                <a:gd name="connsiteX714" fmla="*/ 1367835 w 2337635"/>
                <a:gd name="connsiteY714" fmla="*/ 155176 h 198217"/>
                <a:gd name="connsiteX715" fmla="*/ 1363790 w 2337635"/>
                <a:gd name="connsiteY715" fmla="*/ 155176 h 198217"/>
                <a:gd name="connsiteX716" fmla="*/ 1358824 w 2337635"/>
                <a:gd name="connsiteY716" fmla="*/ 152050 h 198217"/>
                <a:gd name="connsiteX717" fmla="*/ 1358640 w 2337635"/>
                <a:gd name="connsiteY717" fmla="*/ 148188 h 198217"/>
                <a:gd name="connsiteX718" fmla="*/ 1363605 w 2337635"/>
                <a:gd name="connsiteY718" fmla="*/ 144694 h 198217"/>
                <a:gd name="connsiteX719" fmla="*/ 1371880 w 2337635"/>
                <a:gd name="connsiteY719" fmla="*/ 144510 h 198217"/>
                <a:gd name="connsiteX720" fmla="*/ 1196768 w 2337635"/>
                <a:gd name="connsiteY720" fmla="*/ 144510 h 198217"/>
                <a:gd name="connsiteX721" fmla="*/ 1199527 w 2337635"/>
                <a:gd name="connsiteY721" fmla="*/ 144510 h 198217"/>
                <a:gd name="connsiteX722" fmla="*/ 1202653 w 2337635"/>
                <a:gd name="connsiteY722" fmla="*/ 146165 h 198217"/>
                <a:gd name="connsiteX723" fmla="*/ 1204124 w 2337635"/>
                <a:gd name="connsiteY723" fmla="*/ 150395 h 198217"/>
                <a:gd name="connsiteX724" fmla="*/ 1204124 w 2337635"/>
                <a:gd name="connsiteY724" fmla="*/ 150762 h 198217"/>
                <a:gd name="connsiteX725" fmla="*/ 1204124 w 2337635"/>
                <a:gd name="connsiteY725" fmla="*/ 186806 h 198217"/>
                <a:gd name="connsiteX726" fmla="*/ 1204492 w 2337635"/>
                <a:gd name="connsiteY726" fmla="*/ 187173 h 198217"/>
                <a:gd name="connsiteX727" fmla="*/ 1209457 w 2337635"/>
                <a:gd name="connsiteY727" fmla="*/ 187173 h 198217"/>
                <a:gd name="connsiteX728" fmla="*/ 1212215 w 2337635"/>
                <a:gd name="connsiteY728" fmla="*/ 187909 h 198217"/>
                <a:gd name="connsiteX729" fmla="*/ 1214790 w 2337635"/>
                <a:gd name="connsiteY729" fmla="*/ 192507 h 198217"/>
                <a:gd name="connsiteX730" fmla="*/ 1212951 w 2337635"/>
                <a:gd name="connsiteY730" fmla="*/ 196368 h 198217"/>
                <a:gd name="connsiteX731" fmla="*/ 1210193 w 2337635"/>
                <a:gd name="connsiteY731" fmla="*/ 197655 h 198217"/>
                <a:gd name="connsiteX732" fmla="*/ 1210009 w 2337635"/>
                <a:gd name="connsiteY732" fmla="*/ 197655 h 198217"/>
                <a:gd name="connsiteX733" fmla="*/ 1209825 w 2337635"/>
                <a:gd name="connsiteY733" fmla="*/ 197655 h 198217"/>
                <a:gd name="connsiteX734" fmla="*/ 1209457 w 2337635"/>
                <a:gd name="connsiteY734" fmla="*/ 197655 h 198217"/>
                <a:gd name="connsiteX735" fmla="*/ 1187573 w 2337635"/>
                <a:gd name="connsiteY735" fmla="*/ 197655 h 198217"/>
                <a:gd name="connsiteX736" fmla="*/ 1187206 w 2337635"/>
                <a:gd name="connsiteY736" fmla="*/ 197655 h 198217"/>
                <a:gd name="connsiteX737" fmla="*/ 1186654 w 2337635"/>
                <a:gd name="connsiteY737" fmla="*/ 197655 h 198217"/>
                <a:gd name="connsiteX738" fmla="*/ 1186102 w 2337635"/>
                <a:gd name="connsiteY738" fmla="*/ 197472 h 198217"/>
                <a:gd name="connsiteX739" fmla="*/ 1183712 w 2337635"/>
                <a:gd name="connsiteY739" fmla="*/ 196184 h 198217"/>
                <a:gd name="connsiteX740" fmla="*/ 1182057 w 2337635"/>
                <a:gd name="connsiteY740" fmla="*/ 192322 h 198217"/>
                <a:gd name="connsiteX741" fmla="*/ 1183528 w 2337635"/>
                <a:gd name="connsiteY741" fmla="*/ 188829 h 198217"/>
                <a:gd name="connsiteX742" fmla="*/ 1187390 w 2337635"/>
                <a:gd name="connsiteY742" fmla="*/ 187173 h 198217"/>
                <a:gd name="connsiteX743" fmla="*/ 1192723 w 2337635"/>
                <a:gd name="connsiteY743" fmla="*/ 187173 h 198217"/>
                <a:gd name="connsiteX744" fmla="*/ 1193091 w 2337635"/>
                <a:gd name="connsiteY744" fmla="*/ 186806 h 198217"/>
                <a:gd name="connsiteX745" fmla="*/ 1193091 w 2337635"/>
                <a:gd name="connsiteY745" fmla="*/ 155544 h 198217"/>
                <a:gd name="connsiteX746" fmla="*/ 1192723 w 2337635"/>
                <a:gd name="connsiteY746" fmla="*/ 155176 h 198217"/>
                <a:gd name="connsiteX747" fmla="*/ 1188677 w 2337635"/>
                <a:gd name="connsiteY747" fmla="*/ 155176 h 198217"/>
                <a:gd name="connsiteX748" fmla="*/ 1183712 w 2337635"/>
                <a:gd name="connsiteY748" fmla="*/ 152050 h 198217"/>
                <a:gd name="connsiteX749" fmla="*/ 1183528 w 2337635"/>
                <a:gd name="connsiteY749" fmla="*/ 148188 h 198217"/>
                <a:gd name="connsiteX750" fmla="*/ 1188493 w 2337635"/>
                <a:gd name="connsiteY750" fmla="*/ 144694 h 198217"/>
                <a:gd name="connsiteX751" fmla="*/ 1196768 w 2337635"/>
                <a:gd name="connsiteY751" fmla="*/ 144510 h 198217"/>
                <a:gd name="connsiteX752" fmla="*/ 959854 w 2337635"/>
                <a:gd name="connsiteY752" fmla="*/ 144510 h 198217"/>
                <a:gd name="connsiteX753" fmla="*/ 962612 w 2337635"/>
                <a:gd name="connsiteY753" fmla="*/ 144510 h 198217"/>
                <a:gd name="connsiteX754" fmla="*/ 965738 w 2337635"/>
                <a:gd name="connsiteY754" fmla="*/ 146165 h 198217"/>
                <a:gd name="connsiteX755" fmla="*/ 967209 w 2337635"/>
                <a:gd name="connsiteY755" fmla="*/ 150395 h 198217"/>
                <a:gd name="connsiteX756" fmla="*/ 967209 w 2337635"/>
                <a:gd name="connsiteY756" fmla="*/ 150762 h 198217"/>
                <a:gd name="connsiteX757" fmla="*/ 967209 w 2337635"/>
                <a:gd name="connsiteY757" fmla="*/ 186806 h 198217"/>
                <a:gd name="connsiteX758" fmla="*/ 967577 w 2337635"/>
                <a:gd name="connsiteY758" fmla="*/ 187173 h 198217"/>
                <a:gd name="connsiteX759" fmla="*/ 972542 w 2337635"/>
                <a:gd name="connsiteY759" fmla="*/ 187173 h 198217"/>
                <a:gd name="connsiteX760" fmla="*/ 975300 w 2337635"/>
                <a:gd name="connsiteY760" fmla="*/ 187909 h 198217"/>
                <a:gd name="connsiteX761" fmla="*/ 977875 w 2337635"/>
                <a:gd name="connsiteY761" fmla="*/ 192507 h 198217"/>
                <a:gd name="connsiteX762" fmla="*/ 976036 w 2337635"/>
                <a:gd name="connsiteY762" fmla="*/ 196368 h 198217"/>
                <a:gd name="connsiteX763" fmla="*/ 973278 w 2337635"/>
                <a:gd name="connsiteY763" fmla="*/ 197655 h 198217"/>
                <a:gd name="connsiteX764" fmla="*/ 973094 w 2337635"/>
                <a:gd name="connsiteY764" fmla="*/ 197655 h 198217"/>
                <a:gd name="connsiteX765" fmla="*/ 972910 w 2337635"/>
                <a:gd name="connsiteY765" fmla="*/ 197655 h 198217"/>
                <a:gd name="connsiteX766" fmla="*/ 972542 w 2337635"/>
                <a:gd name="connsiteY766" fmla="*/ 197655 h 198217"/>
                <a:gd name="connsiteX767" fmla="*/ 950659 w 2337635"/>
                <a:gd name="connsiteY767" fmla="*/ 197655 h 198217"/>
                <a:gd name="connsiteX768" fmla="*/ 950291 w 2337635"/>
                <a:gd name="connsiteY768" fmla="*/ 197655 h 198217"/>
                <a:gd name="connsiteX769" fmla="*/ 949740 w 2337635"/>
                <a:gd name="connsiteY769" fmla="*/ 197655 h 198217"/>
                <a:gd name="connsiteX770" fmla="*/ 949188 w 2337635"/>
                <a:gd name="connsiteY770" fmla="*/ 197472 h 198217"/>
                <a:gd name="connsiteX771" fmla="*/ 946797 w 2337635"/>
                <a:gd name="connsiteY771" fmla="*/ 196184 h 198217"/>
                <a:gd name="connsiteX772" fmla="*/ 945142 w 2337635"/>
                <a:gd name="connsiteY772" fmla="*/ 192322 h 198217"/>
                <a:gd name="connsiteX773" fmla="*/ 946613 w 2337635"/>
                <a:gd name="connsiteY773" fmla="*/ 188829 h 198217"/>
                <a:gd name="connsiteX774" fmla="*/ 950475 w 2337635"/>
                <a:gd name="connsiteY774" fmla="*/ 187173 h 198217"/>
                <a:gd name="connsiteX775" fmla="*/ 955808 w 2337635"/>
                <a:gd name="connsiteY775" fmla="*/ 187173 h 198217"/>
                <a:gd name="connsiteX776" fmla="*/ 956176 w 2337635"/>
                <a:gd name="connsiteY776" fmla="*/ 186806 h 198217"/>
                <a:gd name="connsiteX777" fmla="*/ 956176 w 2337635"/>
                <a:gd name="connsiteY777" fmla="*/ 155544 h 198217"/>
                <a:gd name="connsiteX778" fmla="*/ 955808 w 2337635"/>
                <a:gd name="connsiteY778" fmla="*/ 155176 h 198217"/>
                <a:gd name="connsiteX779" fmla="*/ 951762 w 2337635"/>
                <a:gd name="connsiteY779" fmla="*/ 155176 h 198217"/>
                <a:gd name="connsiteX780" fmla="*/ 946797 w 2337635"/>
                <a:gd name="connsiteY780" fmla="*/ 152050 h 198217"/>
                <a:gd name="connsiteX781" fmla="*/ 946613 w 2337635"/>
                <a:gd name="connsiteY781" fmla="*/ 148188 h 198217"/>
                <a:gd name="connsiteX782" fmla="*/ 951578 w 2337635"/>
                <a:gd name="connsiteY782" fmla="*/ 144694 h 198217"/>
                <a:gd name="connsiteX783" fmla="*/ 959854 w 2337635"/>
                <a:gd name="connsiteY783" fmla="*/ 144510 h 198217"/>
                <a:gd name="connsiteX784" fmla="*/ 722889 w 2337635"/>
                <a:gd name="connsiteY784" fmla="*/ 144510 h 198217"/>
                <a:gd name="connsiteX785" fmla="*/ 725646 w 2337635"/>
                <a:gd name="connsiteY785" fmla="*/ 144510 h 198217"/>
                <a:gd name="connsiteX786" fmla="*/ 728773 w 2337635"/>
                <a:gd name="connsiteY786" fmla="*/ 146165 h 198217"/>
                <a:gd name="connsiteX787" fmla="*/ 730244 w 2337635"/>
                <a:gd name="connsiteY787" fmla="*/ 150395 h 198217"/>
                <a:gd name="connsiteX788" fmla="*/ 730244 w 2337635"/>
                <a:gd name="connsiteY788" fmla="*/ 150762 h 198217"/>
                <a:gd name="connsiteX789" fmla="*/ 730244 w 2337635"/>
                <a:gd name="connsiteY789" fmla="*/ 186806 h 198217"/>
                <a:gd name="connsiteX790" fmla="*/ 730612 w 2337635"/>
                <a:gd name="connsiteY790" fmla="*/ 187173 h 198217"/>
                <a:gd name="connsiteX791" fmla="*/ 735577 w 2337635"/>
                <a:gd name="connsiteY791" fmla="*/ 187173 h 198217"/>
                <a:gd name="connsiteX792" fmla="*/ 738335 w 2337635"/>
                <a:gd name="connsiteY792" fmla="*/ 187909 h 198217"/>
                <a:gd name="connsiteX793" fmla="*/ 740910 w 2337635"/>
                <a:gd name="connsiteY793" fmla="*/ 192507 h 198217"/>
                <a:gd name="connsiteX794" fmla="*/ 739071 w 2337635"/>
                <a:gd name="connsiteY794" fmla="*/ 196368 h 198217"/>
                <a:gd name="connsiteX795" fmla="*/ 736312 w 2337635"/>
                <a:gd name="connsiteY795" fmla="*/ 197655 h 198217"/>
                <a:gd name="connsiteX796" fmla="*/ 736129 w 2337635"/>
                <a:gd name="connsiteY796" fmla="*/ 197655 h 198217"/>
                <a:gd name="connsiteX797" fmla="*/ 735944 w 2337635"/>
                <a:gd name="connsiteY797" fmla="*/ 197655 h 198217"/>
                <a:gd name="connsiteX798" fmla="*/ 735577 w 2337635"/>
                <a:gd name="connsiteY798" fmla="*/ 197655 h 198217"/>
                <a:gd name="connsiteX799" fmla="*/ 713694 w 2337635"/>
                <a:gd name="connsiteY799" fmla="*/ 197655 h 198217"/>
                <a:gd name="connsiteX800" fmla="*/ 713326 w 2337635"/>
                <a:gd name="connsiteY800" fmla="*/ 197655 h 198217"/>
                <a:gd name="connsiteX801" fmla="*/ 712774 w 2337635"/>
                <a:gd name="connsiteY801" fmla="*/ 197655 h 198217"/>
                <a:gd name="connsiteX802" fmla="*/ 712223 w 2337635"/>
                <a:gd name="connsiteY802" fmla="*/ 197472 h 198217"/>
                <a:gd name="connsiteX803" fmla="*/ 709832 w 2337635"/>
                <a:gd name="connsiteY803" fmla="*/ 196184 h 198217"/>
                <a:gd name="connsiteX804" fmla="*/ 708177 w 2337635"/>
                <a:gd name="connsiteY804" fmla="*/ 192322 h 198217"/>
                <a:gd name="connsiteX805" fmla="*/ 709648 w 2337635"/>
                <a:gd name="connsiteY805" fmla="*/ 188829 h 198217"/>
                <a:gd name="connsiteX806" fmla="*/ 713510 w 2337635"/>
                <a:gd name="connsiteY806" fmla="*/ 187173 h 198217"/>
                <a:gd name="connsiteX807" fmla="*/ 718842 w 2337635"/>
                <a:gd name="connsiteY807" fmla="*/ 187173 h 198217"/>
                <a:gd name="connsiteX808" fmla="*/ 719210 w 2337635"/>
                <a:gd name="connsiteY808" fmla="*/ 186806 h 198217"/>
                <a:gd name="connsiteX809" fmla="*/ 719210 w 2337635"/>
                <a:gd name="connsiteY809" fmla="*/ 155544 h 198217"/>
                <a:gd name="connsiteX810" fmla="*/ 718842 w 2337635"/>
                <a:gd name="connsiteY810" fmla="*/ 155176 h 198217"/>
                <a:gd name="connsiteX811" fmla="*/ 714797 w 2337635"/>
                <a:gd name="connsiteY811" fmla="*/ 155176 h 198217"/>
                <a:gd name="connsiteX812" fmla="*/ 709832 w 2337635"/>
                <a:gd name="connsiteY812" fmla="*/ 152050 h 198217"/>
                <a:gd name="connsiteX813" fmla="*/ 709648 w 2337635"/>
                <a:gd name="connsiteY813" fmla="*/ 148188 h 198217"/>
                <a:gd name="connsiteX814" fmla="*/ 714613 w 2337635"/>
                <a:gd name="connsiteY814" fmla="*/ 144694 h 198217"/>
                <a:gd name="connsiteX815" fmla="*/ 722889 w 2337635"/>
                <a:gd name="connsiteY815" fmla="*/ 144510 h 198217"/>
                <a:gd name="connsiteX816" fmla="*/ 609480 w 2337635"/>
                <a:gd name="connsiteY816" fmla="*/ 144510 h 198217"/>
                <a:gd name="connsiteX817" fmla="*/ 612238 w 2337635"/>
                <a:gd name="connsiteY817" fmla="*/ 144510 h 198217"/>
                <a:gd name="connsiteX818" fmla="*/ 615365 w 2337635"/>
                <a:gd name="connsiteY818" fmla="*/ 146165 h 198217"/>
                <a:gd name="connsiteX819" fmla="*/ 616836 w 2337635"/>
                <a:gd name="connsiteY819" fmla="*/ 150395 h 198217"/>
                <a:gd name="connsiteX820" fmla="*/ 616836 w 2337635"/>
                <a:gd name="connsiteY820" fmla="*/ 150762 h 198217"/>
                <a:gd name="connsiteX821" fmla="*/ 616836 w 2337635"/>
                <a:gd name="connsiteY821" fmla="*/ 186806 h 198217"/>
                <a:gd name="connsiteX822" fmla="*/ 617203 w 2337635"/>
                <a:gd name="connsiteY822" fmla="*/ 187173 h 198217"/>
                <a:gd name="connsiteX823" fmla="*/ 622169 w 2337635"/>
                <a:gd name="connsiteY823" fmla="*/ 187173 h 198217"/>
                <a:gd name="connsiteX824" fmla="*/ 624927 w 2337635"/>
                <a:gd name="connsiteY824" fmla="*/ 187909 h 198217"/>
                <a:gd name="connsiteX825" fmla="*/ 627502 w 2337635"/>
                <a:gd name="connsiteY825" fmla="*/ 192507 h 198217"/>
                <a:gd name="connsiteX826" fmla="*/ 625663 w 2337635"/>
                <a:gd name="connsiteY826" fmla="*/ 196368 h 198217"/>
                <a:gd name="connsiteX827" fmla="*/ 622904 w 2337635"/>
                <a:gd name="connsiteY827" fmla="*/ 197655 h 198217"/>
                <a:gd name="connsiteX828" fmla="*/ 622720 w 2337635"/>
                <a:gd name="connsiteY828" fmla="*/ 197655 h 198217"/>
                <a:gd name="connsiteX829" fmla="*/ 622536 w 2337635"/>
                <a:gd name="connsiteY829" fmla="*/ 197655 h 198217"/>
                <a:gd name="connsiteX830" fmla="*/ 622169 w 2337635"/>
                <a:gd name="connsiteY830" fmla="*/ 197655 h 198217"/>
                <a:gd name="connsiteX831" fmla="*/ 600286 w 2337635"/>
                <a:gd name="connsiteY831" fmla="*/ 197655 h 198217"/>
                <a:gd name="connsiteX832" fmla="*/ 599918 w 2337635"/>
                <a:gd name="connsiteY832" fmla="*/ 197655 h 198217"/>
                <a:gd name="connsiteX833" fmla="*/ 599366 w 2337635"/>
                <a:gd name="connsiteY833" fmla="*/ 197655 h 198217"/>
                <a:gd name="connsiteX834" fmla="*/ 598815 w 2337635"/>
                <a:gd name="connsiteY834" fmla="*/ 197472 h 198217"/>
                <a:gd name="connsiteX835" fmla="*/ 596424 w 2337635"/>
                <a:gd name="connsiteY835" fmla="*/ 196184 h 198217"/>
                <a:gd name="connsiteX836" fmla="*/ 594768 w 2337635"/>
                <a:gd name="connsiteY836" fmla="*/ 192322 h 198217"/>
                <a:gd name="connsiteX837" fmla="*/ 596240 w 2337635"/>
                <a:gd name="connsiteY837" fmla="*/ 188829 h 198217"/>
                <a:gd name="connsiteX838" fmla="*/ 600101 w 2337635"/>
                <a:gd name="connsiteY838" fmla="*/ 187173 h 198217"/>
                <a:gd name="connsiteX839" fmla="*/ 605434 w 2337635"/>
                <a:gd name="connsiteY839" fmla="*/ 187173 h 198217"/>
                <a:gd name="connsiteX840" fmla="*/ 605802 w 2337635"/>
                <a:gd name="connsiteY840" fmla="*/ 186806 h 198217"/>
                <a:gd name="connsiteX841" fmla="*/ 605802 w 2337635"/>
                <a:gd name="connsiteY841" fmla="*/ 155544 h 198217"/>
                <a:gd name="connsiteX842" fmla="*/ 605434 w 2337635"/>
                <a:gd name="connsiteY842" fmla="*/ 155176 h 198217"/>
                <a:gd name="connsiteX843" fmla="*/ 601389 w 2337635"/>
                <a:gd name="connsiteY843" fmla="*/ 155176 h 198217"/>
                <a:gd name="connsiteX844" fmla="*/ 596424 w 2337635"/>
                <a:gd name="connsiteY844" fmla="*/ 152050 h 198217"/>
                <a:gd name="connsiteX845" fmla="*/ 596240 w 2337635"/>
                <a:gd name="connsiteY845" fmla="*/ 148188 h 198217"/>
                <a:gd name="connsiteX846" fmla="*/ 601205 w 2337635"/>
                <a:gd name="connsiteY846" fmla="*/ 144694 h 198217"/>
                <a:gd name="connsiteX847" fmla="*/ 609480 w 2337635"/>
                <a:gd name="connsiteY847" fmla="*/ 144510 h 198217"/>
                <a:gd name="connsiteX848" fmla="*/ 249007 w 2337635"/>
                <a:gd name="connsiteY848" fmla="*/ 144510 h 198217"/>
                <a:gd name="connsiteX849" fmla="*/ 251765 w 2337635"/>
                <a:gd name="connsiteY849" fmla="*/ 144510 h 198217"/>
                <a:gd name="connsiteX850" fmla="*/ 254891 w 2337635"/>
                <a:gd name="connsiteY850" fmla="*/ 146165 h 198217"/>
                <a:gd name="connsiteX851" fmla="*/ 256363 w 2337635"/>
                <a:gd name="connsiteY851" fmla="*/ 150395 h 198217"/>
                <a:gd name="connsiteX852" fmla="*/ 256363 w 2337635"/>
                <a:gd name="connsiteY852" fmla="*/ 150762 h 198217"/>
                <a:gd name="connsiteX853" fmla="*/ 256363 w 2337635"/>
                <a:gd name="connsiteY853" fmla="*/ 186806 h 198217"/>
                <a:gd name="connsiteX854" fmla="*/ 256730 w 2337635"/>
                <a:gd name="connsiteY854" fmla="*/ 187173 h 198217"/>
                <a:gd name="connsiteX855" fmla="*/ 261695 w 2337635"/>
                <a:gd name="connsiteY855" fmla="*/ 187173 h 198217"/>
                <a:gd name="connsiteX856" fmla="*/ 264453 w 2337635"/>
                <a:gd name="connsiteY856" fmla="*/ 187909 h 198217"/>
                <a:gd name="connsiteX857" fmla="*/ 267028 w 2337635"/>
                <a:gd name="connsiteY857" fmla="*/ 192507 h 198217"/>
                <a:gd name="connsiteX858" fmla="*/ 265189 w 2337635"/>
                <a:gd name="connsiteY858" fmla="*/ 196368 h 198217"/>
                <a:gd name="connsiteX859" fmla="*/ 262431 w 2337635"/>
                <a:gd name="connsiteY859" fmla="*/ 197655 h 198217"/>
                <a:gd name="connsiteX860" fmla="*/ 262247 w 2337635"/>
                <a:gd name="connsiteY860" fmla="*/ 197655 h 198217"/>
                <a:gd name="connsiteX861" fmla="*/ 262063 w 2337635"/>
                <a:gd name="connsiteY861" fmla="*/ 197655 h 198217"/>
                <a:gd name="connsiteX862" fmla="*/ 261695 w 2337635"/>
                <a:gd name="connsiteY862" fmla="*/ 197655 h 198217"/>
                <a:gd name="connsiteX863" fmla="*/ 239812 w 2337635"/>
                <a:gd name="connsiteY863" fmla="*/ 197655 h 198217"/>
                <a:gd name="connsiteX864" fmla="*/ 239444 w 2337635"/>
                <a:gd name="connsiteY864" fmla="*/ 197655 h 198217"/>
                <a:gd name="connsiteX865" fmla="*/ 238892 w 2337635"/>
                <a:gd name="connsiteY865" fmla="*/ 197655 h 198217"/>
                <a:gd name="connsiteX866" fmla="*/ 238341 w 2337635"/>
                <a:gd name="connsiteY866" fmla="*/ 197472 h 198217"/>
                <a:gd name="connsiteX867" fmla="*/ 235950 w 2337635"/>
                <a:gd name="connsiteY867" fmla="*/ 196184 h 198217"/>
                <a:gd name="connsiteX868" fmla="*/ 234296 w 2337635"/>
                <a:gd name="connsiteY868" fmla="*/ 192322 h 198217"/>
                <a:gd name="connsiteX869" fmla="*/ 235767 w 2337635"/>
                <a:gd name="connsiteY869" fmla="*/ 188829 h 198217"/>
                <a:gd name="connsiteX870" fmla="*/ 239628 w 2337635"/>
                <a:gd name="connsiteY870" fmla="*/ 187173 h 198217"/>
                <a:gd name="connsiteX871" fmla="*/ 244961 w 2337635"/>
                <a:gd name="connsiteY871" fmla="*/ 187173 h 198217"/>
                <a:gd name="connsiteX872" fmla="*/ 245329 w 2337635"/>
                <a:gd name="connsiteY872" fmla="*/ 186806 h 198217"/>
                <a:gd name="connsiteX873" fmla="*/ 245329 w 2337635"/>
                <a:gd name="connsiteY873" fmla="*/ 155544 h 198217"/>
                <a:gd name="connsiteX874" fmla="*/ 244961 w 2337635"/>
                <a:gd name="connsiteY874" fmla="*/ 155176 h 198217"/>
                <a:gd name="connsiteX875" fmla="*/ 240915 w 2337635"/>
                <a:gd name="connsiteY875" fmla="*/ 155176 h 198217"/>
                <a:gd name="connsiteX876" fmla="*/ 235950 w 2337635"/>
                <a:gd name="connsiteY876" fmla="*/ 152050 h 198217"/>
                <a:gd name="connsiteX877" fmla="*/ 235767 w 2337635"/>
                <a:gd name="connsiteY877" fmla="*/ 148188 h 198217"/>
                <a:gd name="connsiteX878" fmla="*/ 240732 w 2337635"/>
                <a:gd name="connsiteY878" fmla="*/ 144694 h 198217"/>
                <a:gd name="connsiteX879" fmla="*/ 249007 w 2337635"/>
                <a:gd name="connsiteY879" fmla="*/ 144510 h 198217"/>
                <a:gd name="connsiteX880" fmla="*/ 197401 w 2337635"/>
                <a:gd name="connsiteY880" fmla="*/ 144510 h 198217"/>
                <a:gd name="connsiteX881" fmla="*/ 200160 w 2337635"/>
                <a:gd name="connsiteY881" fmla="*/ 144510 h 198217"/>
                <a:gd name="connsiteX882" fmla="*/ 203287 w 2337635"/>
                <a:gd name="connsiteY882" fmla="*/ 146165 h 198217"/>
                <a:gd name="connsiteX883" fmla="*/ 204758 w 2337635"/>
                <a:gd name="connsiteY883" fmla="*/ 150395 h 198217"/>
                <a:gd name="connsiteX884" fmla="*/ 204758 w 2337635"/>
                <a:gd name="connsiteY884" fmla="*/ 150762 h 198217"/>
                <a:gd name="connsiteX885" fmla="*/ 204758 w 2337635"/>
                <a:gd name="connsiteY885" fmla="*/ 186806 h 198217"/>
                <a:gd name="connsiteX886" fmla="*/ 205125 w 2337635"/>
                <a:gd name="connsiteY886" fmla="*/ 187173 h 198217"/>
                <a:gd name="connsiteX887" fmla="*/ 210091 w 2337635"/>
                <a:gd name="connsiteY887" fmla="*/ 187173 h 198217"/>
                <a:gd name="connsiteX888" fmla="*/ 212849 w 2337635"/>
                <a:gd name="connsiteY888" fmla="*/ 187909 h 198217"/>
                <a:gd name="connsiteX889" fmla="*/ 215423 w 2337635"/>
                <a:gd name="connsiteY889" fmla="*/ 192507 h 198217"/>
                <a:gd name="connsiteX890" fmla="*/ 213584 w 2337635"/>
                <a:gd name="connsiteY890" fmla="*/ 196368 h 198217"/>
                <a:gd name="connsiteX891" fmla="*/ 210826 w 2337635"/>
                <a:gd name="connsiteY891" fmla="*/ 197655 h 198217"/>
                <a:gd name="connsiteX892" fmla="*/ 210642 w 2337635"/>
                <a:gd name="connsiteY892" fmla="*/ 197655 h 198217"/>
                <a:gd name="connsiteX893" fmla="*/ 210458 w 2337635"/>
                <a:gd name="connsiteY893" fmla="*/ 197655 h 198217"/>
                <a:gd name="connsiteX894" fmla="*/ 210091 w 2337635"/>
                <a:gd name="connsiteY894" fmla="*/ 197655 h 198217"/>
                <a:gd name="connsiteX895" fmla="*/ 188207 w 2337635"/>
                <a:gd name="connsiteY895" fmla="*/ 197655 h 198217"/>
                <a:gd name="connsiteX896" fmla="*/ 187839 w 2337635"/>
                <a:gd name="connsiteY896" fmla="*/ 197655 h 198217"/>
                <a:gd name="connsiteX897" fmla="*/ 187288 w 2337635"/>
                <a:gd name="connsiteY897" fmla="*/ 197655 h 198217"/>
                <a:gd name="connsiteX898" fmla="*/ 186736 w 2337635"/>
                <a:gd name="connsiteY898" fmla="*/ 197472 h 198217"/>
                <a:gd name="connsiteX899" fmla="*/ 184345 w 2337635"/>
                <a:gd name="connsiteY899" fmla="*/ 196184 h 198217"/>
                <a:gd name="connsiteX900" fmla="*/ 182690 w 2337635"/>
                <a:gd name="connsiteY900" fmla="*/ 192322 h 198217"/>
                <a:gd name="connsiteX901" fmla="*/ 184161 w 2337635"/>
                <a:gd name="connsiteY901" fmla="*/ 188829 h 198217"/>
                <a:gd name="connsiteX902" fmla="*/ 188023 w 2337635"/>
                <a:gd name="connsiteY902" fmla="*/ 187173 h 198217"/>
                <a:gd name="connsiteX903" fmla="*/ 193356 w 2337635"/>
                <a:gd name="connsiteY903" fmla="*/ 187173 h 198217"/>
                <a:gd name="connsiteX904" fmla="*/ 193724 w 2337635"/>
                <a:gd name="connsiteY904" fmla="*/ 186806 h 198217"/>
                <a:gd name="connsiteX905" fmla="*/ 193724 w 2337635"/>
                <a:gd name="connsiteY905" fmla="*/ 155544 h 198217"/>
                <a:gd name="connsiteX906" fmla="*/ 193356 w 2337635"/>
                <a:gd name="connsiteY906" fmla="*/ 155176 h 198217"/>
                <a:gd name="connsiteX907" fmla="*/ 189311 w 2337635"/>
                <a:gd name="connsiteY907" fmla="*/ 155176 h 198217"/>
                <a:gd name="connsiteX908" fmla="*/ 184345 w 2337635"/>
                <a:gd name="connsiteY908" fmla="*/ 152050 h 198217"/>
                <a:gd name="connsiteX909" fmla="*/ 184161 w 2337635"/>
                <a:gd name="connsiteY909" fmla="*/ 148188 h 198217"/>
                <a:gd name="connsiteX910" fmla="*/ 189126 w 2337635"/>
                <a:gd name="connsiteY910" fmla="*/ 144694 h 198217"/>
                <a:gd name="connsiteX911" fmla="*/ 197401 w 2337635"/>
                <a:gd name="connsiteY911" fmla="*/ 144510 h 198217"/>
                <a:gd name="connsiteX912" fmla="*/ 22240 w 2337635"/>
                <a:gd name="connsiteY912" fmla="*/ 144510 h 198217"/>
                <a:gd name="connsiteX913" fmla="*/ 24998 w 2337635"/>
                <a:gd name="connsiteY913" fmla="*/ 144510 h 198217"/>
                <a:gd name="connsiteX914" fmla="*/ 28124 w 2337635"/>
                <a:gd name="connsiteY914" fmla="*/ 146165 h 198217"/>
                <a:gd name="connsiteX915" fmla="*/ 29596 w 2337635"/>
                <a:gd name="connsiteY915" fmla="*/ 150395 h 198217"/>
                <a:gd name="connsiteX916" fmla="*/ 29596 w 2337635"/>
                <a:gd name="connsiteY916" fmla="*/ 150762 h 198217"/>
                <a:gd name="connsiteX917" fmla="*/ 29596 w 2337635"/>
                <a:gd name="connsiteY917" fmla="*/ 186806 h 198217"/>
                <a:gd name="connsiteX918" fmla="*/ 29964 w 2337635"/>
                <a:gd name="connsiteY918" fmla="*/ 187173 h 198217"/>
                <a:gd name="connsiteX919" fmla="*/ 34929 w 2337635"/>
                <a:gd name="connsiteY919" fmla="*/ 187173 h 198217"/>
                <a:gd name="connsiteX920" fmla="*/ 37687 w 2337635"/>
                <a:gd name="connsiteY920" fmla="*/ 187909 h 198217"/>
                <a:gd name="connsiteX921" fmla="*/ 40262 w 2337635"/>
                <a:gd name="connsiteY921" fmla="*/ 192507 h 198217"/>
                <a:gd name="connsiteX922" fmla="*/ 38422 w 2337635"/>
                <a:gd name="connsiteY922" fmla="*/ 196368 h 198217"/>
                <a:gd name="connsiteX923" fmla="*/ 35664 w 2337635"/>
                <a:gd name="connsiteY923" fmla="*/ 197655 h 198217"/>
                <a:gd name="connsiteX924" fmla="*/ 35480 w 2337635"/>
                <a:gd name="connsiteY924" fmla="*/ 197655 h 198217"/>
                <a:gd name="connsiteX925" fmla="*/ 35296 w 2337635"/>
                <a:gd name="connsiteY925" fmla="*/ 197655 h 198217"/>
                <a:gd name="connsiteX926" fmla="*/ 34929 w 2337635"/>
                <a:gd name="connsiteY926" fmla="*/ 197655 h 198217"/>
                <a:gd name="connsiteX927" fmla="*/ 13045 w 2337635"/>
                <a:gd name="connsiteY927" fmla="*/ 197655 h 198217"/>
                <a:gd name="connsiteX928" fmla="*/ 12678 w 2337635"/>
                <a:gd name="connsiteY928" fmla="*/ 197655 h 198217"/>
                <a:gd name="connsiteX929" fmla="*/ 12126 w 2337635"/>
                <a:gd name="connsiteY929" fmla="*/ 197655 h 198217"/>
                <a:gd name="connsiteX930" fmla="*/ 11574 w 2337635"/>
                <a:gd name="connsiteY930" fmla="*/ 197472 h 198217"/>
                <a:gd name="connsiteX931" fmla="*/ 9183 w 2337635"/>
                <a:gd name="connsiteY931" fmla="*/ 196184 h 198217"/>
                <a:gd name="connsiteX932" fmla="*/ 7528 w 2337635"/>
                <a:gd name="connsiteY932" fmla="*/ 192322 h 198217"/>
                <a:gd name="connsiteX933" fmla="*/ 8999 w 2337635"/>
                <a:gd name="connsiteY933" fmla="*/ 188829 h 198217"/>
                <a:gd name="connsiteX934" fmla="*/ 12861 w 2337635"/>
                <a:gd name="connsiteY934" fmla="*/ 187173 h 198217"/>
                <a:gd name="connsiteX935" fmla="*/ 18194 w 2337635"/>
                <a:gd name="connsiteY935" fmla="*/ 187173 h 198217"/>
                <a:gd name="connsiteX936" fmla="*/ 18562 w 2337635"/>
                <a:gd name="connsiteY936" fmla="*/ 186806 h 198217"/>
                <a:gd name="connsiteX937" fmla="*/ 18562 w 2337635"/>
                <a:gd name="connsiteY937" fmla="*/ 155544 h 198217"/>
                <a:gd name="connsiteX938" fmla="*/ 18194 w 2337635"/>
                <a:gd name="connsiteY938" fmla="*/ 155176 h 198217"/>
                <a:gd name="connsiteX939" fmla="*/ 14149 w 2337635"/>
                <a:gd name="connsiteY939" fmla="*/ 155176 h 198217"/>
                <a:gd name="connsiteX940" fmla="*/ 9183 w 2337635"/>
                <a:gd name="connsiteY940" fmla="*/ 152050 h 198217"/>
                <a:gd name="connsiteX941" fmla="*/ 8999 w 2337635"/>
                <a:gd name="connsiteY941" fmla="*/ 148188 h 198217"/>
                <a:gd name="connsiteX942" fmla="*/ 13964 w 2337635"/>
                <a:gd name="connsiteY942" fmla="*/ 144694 h 198217"/>
                <a:gd name="connsiteX943" fmla="*/ 22240 w 2337635"/>
                <a:gd name="connsiteY943" fmla="*/ 144510 h 198217"/>
                <a:gd name="connsiteX944" fmla="*/ 2315043 w 2337635"/>
                <a:gd name="connsiteY944" fmla="*/ 144463 h 198217"/>
                <a:gd name="connsiteX945" fmla="*/ 2323402 w 2337635"/>
                <a:gd name="connsiteY945" fmla="*/ 145934 h 198217"/>
                <a:gd name="connsiteX946" fmla="*/ 2328417 w 2337635"/>
                <a:gd name="connsiteY946" fmla="*/ 149061 h 198217"/>
                <a:gd name="connsiteX947" fmla="*/ 2330758 w 2337635"/>
                <a:gd name="connsiteY947" fmla="*/ 151267 h 198217"/>
                <a:gd name="connsiteX948" fmla="*/ 2333099 w 2337635"/>
                <a:gd name="connsiteY948" fmla="*/ 154210 h 198217"/>
                <a:gd name="connsiteX949" fmla="*/ 2334436 w 2337635"/>
                <a:gd name="connsiteY949" fmla="*/ 156600 h 198217"/>
                <a:gd name="connsiteX950" fmla="*/ 2335940 w 2337635"/>
                <a:gd name="connsiteY950" fmla="*/ 160278 h 198217"/>
                <a:gd name="connsiteX951" fmla="*/ 2336609 w 2337635"/>
                <a:gd name="connsiteY951" fmla="*/ 162669 h 198217"/>
                <a:gd name="connsiteX952" fmla="*/ 2337278 w 2337635"/>
                <a:gd name="connsiteY952" fmla="*/ 166163 h 198217"/>
                <a:gd name="connsiteX953" fmla="*/ 2337111 w 2337635"/>
                <a:gd name="connsiteY953" fmla="*/ 175909 h 198217"/>
                <a:gd name="connsiteX954" fmla="*/ 2336442 w 2337635"/>
                <a:gd name="connsiteY954" fmla="*/ 179219 h 198217"/>
                <a:gd name="connsiteX955" fmla="*/ 2335606 w 2337635"/>
                <a:gd name="connsiteY955" fmla="*/ 181794 h 198217"/>
                <a:gd name="connsiteX956" fmla="*/ 2334937 w 2337635"/>
                <a:gd name="connsiteY956" fmla="*/ 183449 h 198217"/>
                <a:gd name="connsiteX957" fmla="*/ 2333433 w 2337635"/>
                <a:gd name="connsiteY957" fmla="*/ 186391 h 198217"/>
                <a:gd name="connsiteX958" fmla="*/ 2331928 w 2337635"/>
                <a:gd name="connsiteY958" fmla="*/ 188597 h 198217"/>
                <a:gd name="connsiteX959" fmla="*/ 2329588 w 2337635"/>
                <a:gd name="connsiteY959" fmla="*/ 191172 h 198217"/>
                <a:gd name="connsiteX960" fmla="*/ 2327414 w 2337635"/>
                <a:gd name="connsiteY960" fmla="*/ 193011 h 198217"/>
                <a:gd name="connsiteX961" fmla="*/ 2323569 w 2337635"/>
                <a:gd name="connsiteY961" fmla="*/ 195218 h 198217"/>
                <a:gd name="connsiteX962" fmla="*/ 2318219 w 2337635"/>
                <a:gd name="connsiteY962" fmla="*/ 196689 h 198217"/>
                <a:gd name="connsiteX963" fmla="*/ 2317384 w 2337635"/>
                <a:gd name="connsiteY963" fmla="*/ 196873 h 198217"/>
                <a:gd name="connsiteX964" fmla="*/ 2314541 w 2337635"/>
                <a:gd name="connsiteY964" fmla="*/ 196873 h 198217"/>
                <a:gd name="connsiteX965" fmla="*/ 2314375 w 2337635"/>
                <a:gd name="connsiteY965" fmla="*/ 196873 h 198217"/>
                <a:gd name="connsiteX966" fmla="*/ 2305514 w 2337635"/>
                <a:gd name="connsiteY966" fmla="*/ 193563 h 198217"/>
                <a:gd name="connsiteX967" fmla="*/ 2302338 w 2337635"/>
                <a:gd name="connsiteY967" fmla="*/ 190804 h 198217"/>
                <a:gd name="connsiteX968" fmla="*/ 2300164 w 2337635"/>
                <a:gd name="connsiteY968" fmla="*/ 188230 h 198217"/>
                <a:gd name="connsiteX969" fmla="*/ 2298660 w 2337635"/>
                <a:gd name="connsiteY969" fmla="*/ 185839 h 198217"/>
                <a:gd name="connsiteX970" fmla="*/ 2297155 w 2337635"/>
                <a:gd name="connsiteY970" fmla="*/ 182897 h 198217"/>
                <a:gd name="connsiteX971" fmla="*/ 2296319 w 2337635"/>
                <a:gd name="connsiteY971" fmla="*/ 180875 h 198217"/>
                <a:gd name="connsiteX972" fmla="*/ 2295651 w 2337635"/>
                <a:gd name="connsiteY972" fmla="*/ 178668 h 198217"/>
                <a:gd name="connsiteX973" fmla="*/ 2294814 w 2337635"/>
                <a:gd name="connsiteY973" fmla="*/ 174806 h 198217"/>
                <a:gd name="connsiteX974" fmla="*/ 2294648 w 2337635"/>
                <a:gd name="connsiteY974" fmla="*/ 172783 h 198217"/>
                <a:gd name="connsiteX975" fmla="*/ 2294814 w 2337635"/>
                <a:gd name="connsiteY975" fmla="*/ 172967 h 198217"/>
                <a:gd name="connsiteX976" fmla="*/ 2294814 w 2337635"/>
                <a:gd name="connsiteY976" fmla="*/ 169105 h 198217"/>
                <a:gd name="connsiteX977" fmla="*/ 2294814 w 2337635"/>
                <a:gd name="connsiteY977" fmla="*/ 168921 h 198217"/>
                <a:gd name="connsiteX978" fmla="*/ 2295149 w 2337635"/>
                <a:gd name="connsiteY978" fmla="*/ 165795 h 198217"/>
                <a:gd name="connsiteX979" fmla="*/ 2295985 w 2337635"/>
                <a:gd name="connsiteY979" fmla="*/ 162117 h 198217"/>
                <a:gd name="connsiteX980" fmla="*/ 2296653 w 2337635"/>
                <a:gd name="connsiteY980" fmla="*/ 159910 h 198217"/>
                <a:gd name="connsiteX981" fmla="*/ 2298158 w 2337635"/>
                <a:gd name="connsiteY981" fmla="*/ 156416 h 198217"/>
                <a:gd name="connsiteX982" fmla="*/ 2299663 w 2337635"/>
                <a:gd name="connsiteY982" fmla="*/ 153842 h 198217"/>
                <a:gd name="connsiteX983" fmla="*/ 2301167 w 2337635"/>
                <a:gd name="connsiteY983" fmla="*/ 151819 h 198217"/>
                <a:gd name="connsiteX984" fmla="*/ 2302672 w 2337635"/>
                <a:gd name="connsiteY984" fmla="*/ 150164 h 198217"/>
                <a:gd name="connsiteX985" fmla="*/ 2305848 w 2337635"/>
                <a:gd name="connsiteY985" fmla="*/ 147590 h 198217"/>
                <a:gd name="connsiteX986" fmla="*/ 2308523 w 2337635"/>
                <a:gd name="connsiteY986" fmla="*/ 146119 h 198217"/>
                <a:gd name="connsiteX987" fmla="*/ 2315043 w 2337635"/>
                <a:gd name="connsiteY987" fmla="*/ 144463 h 198217"/>
                <a:gd name="connsiteX988" fmla="*/ 2191496 w 2337635"/>
                <a:gd name="connsiteY988" fmla="*/ 144463 h 198217"/>
                <a:gd name="connsiteX989" fmla="*/ 2199854 w 2337635"/>
                <a:gd name="connsiteY989" fmla="*/ 145934 h 198217"/>
                <a:gd name="connsiteX990" fmla="*/ 2204870 w 2337635"/>
                <a:gd name="connsiteY990" fmla="*/ 149061 h 198217"/>
                <a:gd name="connsiteX991" fmla="*/ 2207210 w 2337635"/>
                <a:gd name="connsiteY991" fmla="*/ 151267 h 198217"/>
                <a:gd name="connsiteX992" fmla="*/ 2209551 w 2337635"/>
                <a:gd name="connsiteY992" fmla="*/ 154210 h 198217"/>
                <a:gd name="connsiteX993" fmla="*/ 2210888 w 2337635"/>
                <a:gd name="connsiteY993" fmla="*/ 156600 h 198217"/>
                <a:gd name="connsiteX994" fmla="*/ 2212393 w 2337635"/>
                <a:gd name="connsiteY994" fmla="*/ 160278 h 198217"/>
                <a:gd name="connsiteX995" fmla="*/ 2213061 w 2337635"/>
                <a:gd name="connsiteY995" fmla="*/ 162669 h 198217"/>
                <a:gd name="connsiteX996" fmla="*/ 2213730 w 2337635"/>
                <a:gd name="connsiteY996" fmla="*/ 166163 h 198217"/>
                <a:gd name="connsiteX997" fmla="*/ 2213563 w 2337635"/>
                <a:gd name="connsiteY997" fmla="*/ 175909 h 198217"/>
                <a:gd name="connsiteX998" fmla="*/ 2212895 w 2337635"/>
                <a:gd name="connsiteY998" fmla="*/ 179219 h 198217"/>
                <a:gd name="connsiteX999" fmla="*/ 2212058 w 2337635"/>
                <a:gd name="connsiteY999" fmla="*/ 181794 h 198217"/>
                <a:gd name="connsiteX1000" fmla="*/ 2211389 w 2337635"/>
                <a:gd name="connsiteY1000" fmla="*/ 183449 h 198217"/>
                <a:gd name="connsiteX1001" fmla="*/ 2209885 w 2337635"/>
                <a:gd name="connsiteY1001" fmla="*/ 186391 h 198217"/>
                <a:gd name="connsiteX1002" fmla="*/ 2208381 w 2337635"/>
                <a:gd name="connsiteY1002" fmla="*/ 188597 h 198217"/>
                <a:gd name="connsiteX1003" fmla="*/ 2206040 w 2337635"/>
                <a:gd name="connsiteY1003" fmla="*/ 191172 h 198217"/>
                <a:gd name="connsiteX1004" fmla="*/ 2203867 w 2337635"/>
                <a:gd name="connsiteY1004" fmla="*/ 193011 h 198217"/>
                <a:gd name="connsiteX1005" fmla="*/ 2200022 w 2337635"/>
                <a:gd name="connsiteY1005" fmla="*/ 195218 h 198217"/>
                <a:gd name="connsiteX1006" fmla="*/ 2194672 w 2337635"/>
                <a:gd name="connsiteY1006" fmla="*/ 196689 h 198217"/>
                <a:gd name="connsiteX1007" fmla="*/ 2193836 w 2337635"/>
                <a:gd name="connsiteY1007" fmla="*/ 196873 h 198217"/>
                <a:gd name="connsiteX1008" fmla="*/ 2190994 w 2337635"/>
                <a:gd name="connsiteY1008" fmla="*/ 196873 h 198217"/>
                <a:gd name="connsiteX1009" fmla="*/ 2190827 w 2337635"/>
                <a:gd name="connsiteY1009" fmla="*/ 196873 h 198217"/>
                <a:gd name="connsiteX1010" fmla="*/ 2181966 w 2337635"/>
                <a:gd name="connsiteY1010" fmla="*/ 193563 h 198217"/>
                <a:gd name="connsiteX1011" fmla="*/ 2178790 w 2337635"/>
                <a:gd name="connsiteY1011" fmla="*/ 190804 h 198217"/>
                <a:gd name="connsiteX1012" fmla="*/ 2176616 w 2337635"/>
                <a:gd name="connsiteY1012" fmla="*/ 188230 h 198217"/>
                <a:gd name="connsiteX1013" fmla="*/ 2175112 w 2337635"/>
                <a:gd name="connsiteY1013" fmla="*/ 185839 h 198217"/>
                <a:gd name="connsiteX1014" fmla="*/ 2173608 w 2337635"/>
                <a:gd name="connsiteY1014" fmla="*/ 182897 h 198217"/>
                <a:gd name="connsiteX1015" fmla="*/ 2172772 w 2337635"/>
                <a:gd name="connsiteY1015" fmla="*/ 180875 h 198217"/>
                <a:gd name="connsiteX1016" fmla="*/ 2172103 w 2337635"/>
                <a:gd name="connsiteY1016" fmla="*/ 178668 h 198217"/>
                <a:gd name="connsiteX1017" fmla="*/ 2171267 w 2337635"/>
                <a:gd name="connsiteY1017" fmla="*/ 174806 h 198217"/>
                <a:gd name="connsiteX1018" fmla="*/ 2171100 w 2337635"/>
                <a:gd name="connsiteY1018" fmla="*/ 172783 h 198217"/>
                <a:gd name="connsiteX1019" fmla="*/ 2171267 w 2337635"/>
                <a:gd name="connsiteY1019" fmla="*/ 172967 h 198217"/>
                <a:gd name="connsiteX1020" fmla="*/ 2171267 w 2337635"/>
                <a:gd name="connsiteY1020" fmla="*/ 169105 h 198217"/>
                <a:gd name="connsiteX1021" fmla="*/ 2171267 w 2337635"/>
                <a:gd name="connsiteY1021" fmla="*/ 168921 h 198217"/>
                <a:gd name="connsiteX1022" fmla="*/ 2171601 w 2337635"/>
                <a:gd name="connsiteY1022" fmla="*/ 165795 h 198217"/>
                <a:gd name="connsiteX1023" fmla="*/ 2172437 w 2337635"/>
                <a:gd name="connsiteY1023" fmla="*/ 162117 h 198217"/>
                <a:gd name="connsiteX1024" fmla="*/ 2173106 w 2337635"/>
                <a:gd name="connsiteY1024" fmla="*/ 159910 h 198217"/>
                <a:gd name="connsiteX1025" fmla="*/ 2174610 w 2337635"/>
                <a:gd name="connsiteY1025" fmla="*/ 156416 h 198217"/>
                <a:gd name="connsiteX1026" fmla="*/ 2176115 w 2337635"/>
                <a:gd name="connsiteY1026" fmla="*/ 153842 h 198217"/>
                <a:gd name="connsiteX1027" fmla="*/ 2177620 w 2337635"/>
                <a:gd name="connsiteY1027" fmla="*/ 151819 h 198217"/>
                <a:gd name="connsiteX1028" fmla="*/ 2179124 w 2337635"/>
                <a:gd name="connsiteY1028" fmla="*/ 150164 h 198217"/>
                <a:gd name="connsiteX1029" fmla="*/ 2182300 w 2337635"/>
                <a:gd name="connsiteY1029" fmla="*/ 147590 h 198217"/>
                <a:gd name="connsiteX1030" fmla="*/ 2184975 w 2337635"/>
                <a:gd name="connsiteY1030" fmla="*/ 146119 h 198217"/>
                <a:gd name="connsiteX1031" fmla="*/ 2191496 w 2337635"/>
                <a:gd name="connsiteY1031" fmla="*/ 144463 h 198217"/>
                <a:gd name="connsiteX1032" fmla="*/ 2078088 w 2337635"/>
                <a:gd name="connsiteY1032" fmla="*/ 144463 h 198217"/>
                <a:gd name="connsiteX1033" fmla="*/ 2086446 w 2337635"/>
                <a:gd name="connsiteY1033" fmla="*/ 145934 h 198217"/>
                <a:gd name="connsiteX1034" fmla="*/ 2091462 w 2337635"/>
                <a:gd name="connsiteY1034" fmla="*/ 149061 h 198217"/>
                <a:gd name="connsiteX1035" fmla="*/ 2093802 w 2337635"/>
                <a:gd name="connsiteY1035" fmla="*/ 151267 h 198217"/>
                <a:gd name="connsiteX1036" fmla="*/ 2096143 w 2337635"/>
                <a:gd name="connsiteY1036" fmla="*/ 154210 h 198217"/>
                <a:gd name="connsiteX1037" fmla="*/ 2097480 w 2337635"/>
                <a:gd name="connsiteY1037" fmla="*/ 156600 h 198217"/>
                <a:gd name="connsiteX1038" fmla="*/ 2098984 w 2337635"/>
                <a:gd name="connsiteY1038" fmla="*/ 160278 h 198217"/>
                <a:gd name="connsiteX1039" fmla="*/ 2099653 w 2337635"/>
                <a:gd name="connsiteY1039" fmla="*/ 162669 h 198217"/>
                <a:gd name="connsiteX1040" fmla="*/ 2100322 w 2337635"/>
                <a:gd name="connsiteY1040" fmla="*/ 166163 h 198217"/>
                <a:gd name="connsiteX1041" fmla="*/ 2100155 w 2337635"/>
                <a:gd name="connsiteY1041" fmla="*/ 175909 h 198217"/>
                <a:gd name="connsiteX1042" fmla="*/ 2099486 w 2337635"/>
                <a:gd name="connsiteY1042" fmla="*/ 179219 h 198217"/>
                <a:gd name="connsiteX1043" fmla="*/ 2098650 w 2337635"/>
                <a:gd name="connsiteY1043" fmla="*/ 181794 h 198217"/>
                <a:gd name="connsiteX1044" fmla="*/ 2097981 w 2337635"/>
                <a:gd name="connsiteY1044" fmla="*/ 183449 h 198217"/>
                <a:gd name="connsiteX1045" fmla="*/ 2096477 w 2337635"/>
                <a:gd name="connsiteY1045" fmla="*/ 186391 h 198217"/>
                <a:gd name="connsiteX1046" fmla="*/ 2094972 w 2337635"/>
                <a:gd name="connsiteY1046" fmla="*/ 188597 h 198217"/>
                <a:gd name="connsiteX1047" fmla="*/ 2092632 w 2337635"/>
                <a:gd name="connsiteY1047" fmla="*/ 191172 h 198217"/>
                <a:gd name="connsiteX1048" fmla="*/ 2090458 w 2337635"/>
                <a:gd name="connsiteY1048" fmla="*/ 193011 h 198217"/>
                <a:gd name="connsiteX1049" fmla="*/ 2086614 w 2337635"/>
                <a:gd name="connsiteY1049" fmla="*/ 195218 h 198217"/>
                <a:gd name="connsiteX1050" fmla="*/ 2081264 w 2337635"/>
                <a:gd name="connsiteY1050" fmla="*/ 196689 h 198217"/>
                <a:gd name="connsiteX1051" fmla="*/ 2080428 w 2337635"/>
                <a:gd name="connsiteY1051" fmla="*/ 196873 h 198217"/>
                <a:gd name="connsiteX1052" fmla="*/ 2077586 w 2337635"/>
                <a:gd name="connsiteY1052" fmla="*/ 196873 h 198217"/>
                <a:gd name="connsiteX1053" fmla="*/ 2077418 w 2337635"/>
                <a:gd name="connsiteY1053" fmla="*/ 196873 h 198217"/>
                <a:gd name="connsiteX1054" fmla="*/ 2068558 w 2337635"/>
                <a:gd name="connsiteY1054" fmla="*/ 193563 h 198217"/>
                <a:gd name="connsiteX1055" fmla="*/ 2065382 w 2337635"/>
                <a:gd name="connsiteY1055" fmla="*/ 190804 h 198217"/>
                <a:gd name="connsiteX1056" fmla="*/ 2063208 w 2337635"/>
                <a:gd name="connsiteY1056" fmla="*/ 188230 h 198217"/>
                <a:gd name="connsiteX1057" fmla="*/ 2061704 w 2337635"/>
                <a:gd name="connsiteY1057" fmla="*/ 185839 h 198217"/>
                <a:gd name="connsiteX1058" fmla="*/ 2060199 w 2337635"/>
                <a:gd name="connsiteY1058" fmla="*/ 182897 h 198217"/>
                <a:gd name="connsiteX1059" fmla="*/ 2059364 w 2337635"/>
                <a:gd name="connsiteY1059" fmla="*/ 180875 h 198217"/>
                <a:gd name="connsiteX1060" fmla="*/ 2058694 w 2337635"/>
                <a:gd name="connsiteY1060" fmla="*/ 178668 h 198217"/>
                <a:gd name="connsiteX1061" fmla="*/ 2057858 w 2337635"/>
                <a:gd name="connsiteY1061" fmla="*/ 174806 h 198217"/>
                <a:gd name="connsiteX1062" fmla="*/ 2057692 w 2337635"/>
                <a:gd name="connsiteY1062" fmla="*/ 172783 h 198217"/>
                <a:gd name="connsiteX1063" fmla="*/ 2057858 w 2337635"/>
                <a:gd name="connsiteY1063" fmla="*/ 172967 h 198217"/>
                <a:gd name="connsiteX1064" fmla="*/ 2057858 w 2337635"/>
                <a:gd name="connsiteY1064" fmla="*/ 169105 h 198217"/>
                <a:gd name="connsiteX1065" fmla="*/ 2057858 w 2337635"/>
                <a:gd name="connsiteY1065" fmla="*/ 168921 h 198217"/>
                <a:gd name="connsiteX1066" fmla="*/ 2058193 w 2337635"/>
                <a:gd name="connsiteY1066" fmla="*/ 165795 h 198217"/>
                <a:gd name="connsiteX1067" fmla="*/ 2059029 w 2337635"/>
                <a:gd name="connsiteY1067" fmla="*/ 162117 h 198217"/>
                <a:gd name="connsiteX1068" fmla="*/ 2059698 w 2337635"/>
                <a:gd name="connsiteY1068" fmla="*/ 159910 h 198217"/>
                <a:gd name="connsiteX1069" fmla="*/ 2061202 w 2337635"/>
                <a:gd name="connsiteY1069" fmla="*/ 156416 h 198217"/>
                <a:gd name="connsiteX1070" fmla="*/ 2062707 w 2337635"/>
                <a:gd name="connsiteY1070" fmla="*/ 153842 h 198217"/>
                <a:gd name="connsiteX1071" fmla="*/ 2064212 w 2337635"/>
                <a:gd name="connsiteY1071" fmla="*/ 151819 h 198217"/>
                <a:gd name="connsiteX1072" fmla="*/ 2065716 w 2337635"/>
                <a:gd name="connsiteY1072" fmla="*/ 150164 h 198217"/>
                <a:gd name="connsiteX1073" fmla="*/ 2068892 w 2337635"/>
                <a:gd name="connsiteY1073" fmla="*/ 147590 h 198217"/>
                <a:gd name="connsiteX1074" fmla="*/ 2071567 w 2337635"/>
                <a:gd name="connsiteY1074" fmla="*/ 146119 h 198217"/>
                <a:gd name="connsiteX1075" fmla="*/ 2078088 w 2337635"/>
                <a:gd name="connsiteY1075" fmla="*/ 144463 h 198217"/>
                <a:gd name="connsiteX1076" fmla="*/ 1841172 w 2337635"/>
                <a:gd name="connsiteY1076" fmla="*/ 144463 h 198217"/>
                <a:gd name="connsiteX1077" fmla="*/ 1849531 w 2337635"/>
                <a:gd name="connsiteY1077" fmla="*/ 145934 h 198217"/>
                <a:gd name="connsiteX1078" fmla="*/ 1854546 w 2337635"/>
                <a:gd name="connsiteY1078" fmla="*/ 149061 h 198217"/>
                <a:gd name="connsiteX1079" fmla="*/ 1856886 w 2337635"/>
                <a:gd name="connsiteY1079" fmla="*/ 151267 h 198217"/>
                <a:gd name="connsiteX1080" fmla="*/ 1859227 w 2337635"/>
                <a:gd name="connsiteY1080" fmla="*/ 154210 h 198217"/>
                <a:gd name="connsiteX1081" fmla="*/ 1860564 w 2337635"/>
                <a:gd name="connsiteY1081" fmla="*/ 156600 h 198217"/>
                <a:gd name="connsiteX1082" fmla="*/ 1862069 w 2337635"/>
                <a:gd name="connsiteY1082" fmla="*/ 160278 h 198217"/>
                <a:gd name="connsiteX1083" fmla="*/ 1862737 w 2337635"/>
                <a:gd name="connsiteY1083" fmla="*/ 162669 h 198217"/>
                <a:gd name="connsiteX1084" fmla="*/ 1863406 w 2337635"/>
                <a:gd name="connsiteY1084" fmla="*/ 166163 h 198217"/>
                <a:gd name="connsiteX1085" fmla="*/ 1863239 w 2337635"/>
                <a:gd name="connsiteY1085" fmla="*/ 175909 h 198217"/>
                <a:gd name="connsiteX1086" fmla="*/ 1862571 w 2337635"/>
                <a:gd name="connsiteY1086" fmla="*/ 179219 h 198217"/>
                <a:gd name="connsiteX1087" fmla="*/ 1861734 w 2337635"/>
                <a:gd name="connsiteY1087" fmla="*/ 181794 h 198217"/>
                <a:gd name="connsiteX1088" fmla="*/ 1861066 w 2337635"/>
                <a:gd name="connsiteY1088" fmla="*/ 183449 h 198217"/>
                <a:gd name="connsiteX1089" fmla="*/ 1859561 w 2337635"/>
                <a:gd name="connsiteY1089" fmla="*/ 186391 h 198217"/>
                <a:gd name="connsiteX1090" fmla="*/ 1858057 w 2337635"/>
                <a:gd name="connsiteY1090" fmla="*/ 188597 h 198217"/>
                <a:gd name="connsiteX1091" fmla="*/ 1855716 w 2337635"/>
                <a:gd name="connsiteY1091" fmla="*/ 191172 h 198217"/>
                <a:gd name="connsiteX1092" fmla="*/ 1853543 w 2337635"/>
                <a:gd name="connsiteY1092" fmla="*/ 193011 h 198217"/>
                <a:gd name="connsiteX1093" fmla="*/ 1849698 w 2337635"/>
                <a:gd name="connsiteY1093" fmla="*/ 195218 h 198217"/>
                <a:gd name="connsiteX1094" fmla="*/ 1844348 w 2337635"/>
                <a:gd name="connsiteY1094" fmla="*/ 196689 h 198217"/>
                <a:gd name="connsiteX1095" fmla="*/ 1843512 w 2337635"/>
                <a:gd name="connsiteY1095" fmla="*/ 196873 h 198217"/>
                <a:gd name="connsiteX1096" fmla="*/ 1840670 w 2337635"/>
                <a:gd name="connsiteY1096" fmla="*/ 196873 h 198217"/>
                <a:gd name="connsiteX1097" fmla="*/ 1840503 w 2337635"/>
                <a:gd name="connsiteY1097" fmla="*/ 196873 h 198217"/>
                <a:gd name="connsiteX1098" fmla="*/ 1831643 w 2337635"/>
                <a:gd name="connsiteY1098" fmla="*/ 193563 h 198217"/>
                <a:gd name="connsiteX1099" fmla="*/ 1828466 w 2337635"/>
                <a:gd name="connsiteY1099" fmla="*/ 190804 h 198217"/>
                <a:gd name="connsiteX1100" fmla="*/ 1826293 w 2337635"/>
                <a:gd name="connsiteY1100" fmla="*/ 188230 h 198217"/>
                <a:gd name="connsiteX1101" fmla="*/ 1824788 w 2337635"/>
                <a:gd name="connsiteY1101" fmla="*/ 185839 h 198217"/>
                <a:gd name="connsiteX1102" fmla="*/ 1823284 w 2337635"/>
                <a:gd name="connsiteY1102" fmla="*/ 182897 h 198217"/>
                <a:gd name="connsiteX1103" fmla="*/ 1822448 w 2337635"/>
                <a:gd name="connsiteY1103" fmla="*/ 180875 h 198217"/>
                <a:gd name="connsiteX1104" fmla="*/ 1821779 w 2337635"/>
                <a:gd name="connsiteY1104" fmla="*/ 178668 h 198217"/>
                <a:gd name="connsiteX1105" fmla="*/ 1820943 w 2337635"/>
                <a:gd name="connsiteY1105" fmla="*/ 174806 h 198217"/>
                <a:gd name="connsiteX1106" fmla="*/ 1820776 w 2337635"/>
                <a:gd name="connsiteY1106" fmla="*/ 172783 h 198217"/>
                <a:gd name="connsiteX1107" fmla="*/ 1820943 w 2337635"/>
                <a:gd name="connsiteY1107" fmla="*/ 172967 h 198217"/>
                <a:gd name="connsiteX1108" fmla="*/ 1820943 w 2337635"/>
                <a:gd name="connsiteY1108" fmla="*/ 169105 h 198217"/>
                <a:gd name="connsiteX1109" fmla="*/ 1820943 w 2337635"/>
                <a:gd name="connsiteY1109" fmla="*/ 168921 h 198217"/>
                <a:gd name="connsiteX1110" fmla="*/ 1821277 w 2337635"/>
                <a:gd name="connsiteY1110" fmla="*/ 165795 h 198217"/>
                <a:gd name="connsiteX1111" fmla="*/ 1822113 w 2337635"/>
                <a:gd name="connsiteY1111" fmla="*/ 162117 h 198217"/>
                <a:gd name="connsiteX1112" fmla="*/ 1822782 w 2337635"/>
                <a:gd name="connsiteY1112" fmla="*/ 159910 h 198217"/>
                <a:gd name="connsiteX1113" fmla="*/ 1824286 w 2337635"/>
                <a:gd name="connsiteY1113" fmla="*/ 156416 h 198217"/>
                <a:gd name="connsiteX1114" fmla="*/ 1825791 w 2337635"/>
                <a:gd name="connsiteY1114" fmla="*/ 153842 h 198217"/>
                <a:gd name="connsiteX1115" fmla="*/ 1827296 w 2337635"/>
                <a:gd name="connsiteY1115" fmla="*/ 151819 h 198217"/>
                <a:gd name="connsiteX1116" fmla="*/ 1828800 w 2337635"/>
                <a:gd name="connsiteY1116" fmla="*/ 150164 h 198217"/>
                <a:gd name="connsiteX1117" fmla="*/ 1831977 w 2337635"/>
                <a:gd name="connsiteY1117" fmla="*/ 147590 h 198217"/>
                <a:gd name="connsiteX1118" fmla="*/ 1834651 w 2337635"/>
                <a:gd name="connsiteY1118" fmla="*/ 146119 h 198217"/>
                <a:gd name="connsiteX1119" fmla="*/ 1841172 w 2337635"/>
                <a:gd name="connsiteY1119" fmla="*/ 144463 h 198217"/>
                <a:gd name="connsiteX1120" fmla="*/ 1717615 w 2337635"/>
                <a:gd name="connsiteY1120" fmla="*/ 144463 h 198217"/>
                <a:gd name="connsiteX1121" fmla="*/ 1725974 w 2337635"/>
                <a:gd name="connsiteY1121" fmla="*/ 145934 h 198217"/>
                <a:gd name="connsiteX1122" fmla="*/ 1730989 w 2337635"/>
                <a:gd name="connsiteY1122" fmla="*/ 149061 h 198217"/>
                <a:gd name="connsiteX1123" fmla="*/ 1733329 w 2337635"/>
                <a:gd name="connsiteY1123" fmla="*/ 151267 h 198217"/>
                <a:gd name="connsiteX1124" fmla="*/ 1735670 w 2337635"/>
                <a:gd name="connsiteY1124" fmla="*/ 154210 h 198217"/>
                <a:gd name="connsiteX1125" fmla="*/ 1737007 w 2337635"/>
                <a:gd name="connsiteY1125" fmla="*/ 156600 h 198217"/>
                <a:gd name="connsiteX1126" fmla="*/ 1738512 w 2337635"/>
                <a:gd name="connsiteY1126" fmla="*/ 160278 h 198217"/>
                <a:gd name="connsiteX1127" fmla="*/ 1739180 w 2337635"/>
                <a:gd name="connsiteY1127" fmla="*/ 162669 h 198217"/>
                <a:gd name="connsiteX1128" fmla="*/ 1739849 w 2337635"/>
                <a:gd name="connsiteY1128" fmla="*/ 166163 h 198217"/>
                <a:gd name="connsiteX1129" fmla="*/ 1739682 w 2337635"/>
                <a:gd name="connsiteY1129" fmla="*/ 175909 h 198217"/>
                <a:gd name="connsiteX1130" fmla="*/ 1739014 w 2337635"/>
                <a:gd name="connsiteY1130" fmla="*/ 179219 h 198217"/>
                <a:gd name="connsiteX1131" fmla="*/ 1738177 w 2337635"/>
                <a:gd name="connsiteY1131" fmla="*/ 181794 h 198217"/>
                <a:gd name="connsiteX1132" fmla="*/ 1737509 w 2337635"/>
                <a:gd name="connsiteY1132" fmla="*/ 183449 h 198217"/>
                <a:gd name="connsiteX1133" fmla="*/ 1736004 w 2337635"/>
                <a:gd name="connsiteY1133" fmla="*/ 186391 h 198217"/>
                <a:gd name="connsiteX1134" fmla="*/ 1734500 w 2337635"/>
                <a:gd name="connsiteY1134" fmla="*/ 188597 h 198217"/>
                <a:gd name="connsiteX1135" fmla="*/ 1732159 w 2337635"/>
                <a:gd name="connsiteY1135" fmla="*/ 191172 h 198217"/>
                <a:gd name="connsiteX1136" fmla="*/ 1729986 w 2337635"/>
                <a:gd name="connsiteY1136" fmla="*/ 193011 h 198217"/>
                <a:gd name="connsiteX1137" fmla="*/ 1726141 w 2337635"/>
                <a:gd name="connsiteY1137" fmla="*/ 195218 h 198217"/>
                <a:gd name="connsiteX1138" fmla="*/ 1720791 w 2337635"/>
                <a:gd name="connsiteY1138" fmla="*/ 196689 h 198217"/>
                <a:gd name="connsiteX1139" fmla="*/ 1719955 w 2337635"/>
                <a:gd name="connsiteY1139" fmla="*/ 196873 h 198217"/>
                <a:gd name="connsiteX1140" fmla="*/ 1717113 w 2337635"/>
                <a:gd name="connsiteY1140" fmla="*/ 196873 h 198217"/>
                <a:gd name="connsiteX1141" fmla="*/ 1716946 w 2337635"/>
                <a:gd name="connsiteY1141" fmla="*/ 196873 h 198217"/>
                <a:gd name="connsiteX1142" fmla="*/ 1708085 w 2337635"/>
                <a:gd name="connsiteY1142" fmla="*/ 193563 h 198217"/>
                <a:gd name="connsiteX1143" fmla="*/ 1704909 w 2337635"/>
                <a:gd name="connsiteY1143" fmla="*/ 190804 h 198217"/>
                <a:gd name="connsiteX1144" fmla="*/ 1702736 w 2337635"/>
                <a:gd name="connsiteY1144" fmla="*/ 188230 h 198217"/>
                <a:gd name="connsiteX1145" fmla="*/ 1701231 w 2337635"/>
                <a:gd name="connsiteY1145" fmla="*/ 185839 h 198217"/>
                <a:gd name="connsiteX1146" fmla="*/ 1699727 w 2337635"/>
                <a:gd name="connsiteY1146" fmla="*/ 182897 h 198217"/>
                <a:gd name="connsiteX1147" fmla="*/ 1698891 w 2337635"/>
                <a:gd name="connsiteY1147" fmla="*/ 180875 h 198217"/>
                <a:gd name="connsiteX1148" fmla="*/ 1698222 w 2337635"/>
                <a:gd name="connsiteY1148" fmla="*/ 178668 h 198217"/>
                <a:gd name="connsiteX1149" fmla="*/ 1697386 w 2337635"/>
                <a:gd name="connsiteY1149" fmla="*/ 174806 h 198217"/>
                <a:gd name="connsiteX1150" fmla="*/ 1697219 w 2337635"/>
                <a:gd name="connsiteY1150" fmla="*/ 172783 h 198217"/>
                <a:gd name="connsiteX1151" fmla="*/ 1697386 w 2337635"/>
                <a:gd name="connsiteY1151" fmla="*/ 172967 h 198217"/>
                <a:gd name="connsiteX1152" fmla="*/ 1697386 w 2337635"/>
                <a:gd name="connsiteY1152" fmla="*/ 169105 h 198217"/>
                <a:gd name="connsiteX1153" fmla="*/ 1697386 w 2337635"/>
                <a:gd name="connsiteY1153" fmla="*/ 168921 h 198217"/>
                <a:gd name="connsiteX1154" fmla="*/ 1697720 w 2337635"/>
                <a:gd name="connsiteY1154" fmla="*/ 165795 h 198217"/>
                <a:gd name="connsiteX1155" fmla="*/ 1698556 w 2337635"/>
                <a:gd name="connsiteY1155" fmla="*/ 162117 h 198217"/>
                <a:gd name="connsiteX1156" fmla="*/ 1699225 w 2337635"/>
                <a:gd name="connsiteY1156" fmla="*/ 159910 h 198217"/>
                <a:gd name="connsiteX1157" fmla="*/ 1700729 w 2337635"/>
                <a:gd name="connsiteY1157" fmla="*/ 156416 h 198217"/>
                <a:gd name="connsiteX1158" fmla="*/ 1702234 w 2337635"/>
                <a:gd name="connsiteY1158" fmla="*/ 153842 h 198217"/>
                <a:gd name="connsiteX1159" fmla="*/ 1703739 w 2337635"/>
                <a:gd name="connsiteY1159" fmla="*/ 151819 h 198217"/>
                <a:gd name="connsiteX1160" fmla="*/ 1705243 w 2337635"/>
                <a:gd name="connsiteY1160" fmla="*/ 150164 h 198217"/>
                <a:gd name="connsiteX1161" fmla="*/ 1708419 w 2337635"/>
                <a:gd name="connsiteY1161" fmla="*/ 147590 h 198217"/>
                <a:gd name="connsiteX1162" fmla="*/ 1711094 w 2337635"/>
                <a:gd name="connsiteY1162" fmla="*/ 146119 h 198217"/>
                <a:gd name="connsiteX1163" fmla="*/ 1717615 w 2337635"/>
                <a:gd name="connsiteY1163" fmla="*/ 144463 h 198217"/>
                <a:gd name="connsiteX1164" fmla="*/ 1552602 w 2337635"/>
                <a:gd name="connsiteY1164" fmla="*/ 144463 h 198217"/>
                <a:gd name="connsiteX1165" fmla="*/ 1560961 w 2337635"/>
                <a:gd name="connsiteY1165" fmla="*/ 145934 h 198217"/>
                <a:gd name="connsiteX1166" fmla="*/ 1565976 w 2337635"/>
                <a:gd name="connsiteY1166" fmla="*/ 149061 h 198217"/>
                <a:gd name="connsiteX1167" fmla="*/ 1568316 w 2337635"/>
                <a:gd name="connsiteY1167" fmla="*/ 151267 h 198217"/>
                <a:gd name="connsiteX1168" fmla="*/ 1570657 w 2337635"/>
                <a:gd name="connsiteY1168" fmla="*/ 154210 h 198217"/>
                <a:gd name="connsiteX1169" fmla="*/ 1571994 w 2337635"/>
                <a:gd name="connsiteY1169" fmla="*/ 156600 h 198217"/>
                <a:gd name="connsiteX1170" fmla="*/ 1573499 w 2337635"/>
                <a:gd name="connsiteY1170" fmla="*/ 160278 h 198217"/>
                <a:gd name="connsiteX1171" fmla="*/ 1574167 w 2337635"/>
                <a:gd name="connsiteY1171" fmla="*/ 162669 h 198217"/>
                <a:gd name="connsiteX1172" fmla="*/ 1574836 w 2337635"/>
                <a:gd name="connsiteY1172" fmla="*/ 166163 h 198217"/>
                <a:gd name="connsiteX1173" fmla="*/ 1574669 w 2337635"/>
                <a:gd name="connsiteY1173" fmla="*/ 175909 h 198217"/>
                <a:gd name="connsiteX1174" fmla="*/ 1574001 w 2337635"/>
                <a:gd name="connsiteY1174" fmla="*/ 179219 h 198217"/>
                <a:gd name="connsiteX1175" fmla="*/ 1573164 w 2337635"/>
                <a:gd name="connsiteY1175" fmla="*/ 181794 h 198217"/>
                <a:gd name="connsiteX1176" fmla="*/ 1572496 w 2337635"/>
                <a:gd name="connsiteY1176" fmla="*/ 183449 h 198217"/>
                <a:gd name="connsiteX1177" fmla="*/ 1570991 w 2337635"/>
                <a:gd name="connsiteY1177" fmla="*/ 186391 h 198217"/>
                <a:gd name="connsiteX1178" fmla="*/ 1569487 w 2337635"/>
                <a:gd name="connsiteY1178" fmla="*/ 188597 h 198217"/>
                <a:gd name="connsiteX1179" fmla="*/ 1567146 w 2337635"/>
                <a:gd name="connsiteY1179" fmla="*/ 191172 h 198217"/>
                <a:gd name="connsiteX1180" fmla="*/ 1564973 w 2337635"/>
                <a:gd name="connsiteY1180" fmla="*/ 193011 h 198217"/>
                <a:gd name="connsiteX1181" fmla="*/ 1561128 w 2337635"/>
                <a:gd name="connsiteY1181" fmla="*/ 195218 h 198217"/>
                <a:gd name="connsiteX1182" fmla="*/ 1555778 w 2337635"/>
                <a:gd name="connsiteY1182" fmla="*/ 196689 h 198217"/>
                <a:gd name="connsiteX1183" fmla="*/ 1554942 w 2337635"/>
                <a:gd name="connsiteY1183" fmla="*/ 196873 h 198217"/>
                <a:gd name="connsiteX1184" fmla="*/ 1552100 w 2337635"/>
                <a:gd name="connsiteY1184" fmla="*/ 196873 h 198217"/>
                <a:gd name="connsiteX1185" fmla="*/ 1551932 w 2337635"/>
                <a:gd name="connsiteY1185" fmla="*/ 196873 h 198217"/>
                <a:gd name="connsiteX1186" fmla="*/ 1543072 w 2337635"/>
                <a:gd name="connsiteY1186" fmla="*/ 193563 h 198217"/>
                <a:gd name="connsiteX1187" fmla="*/ 1539896 w 2337635"/>
                <a:gd name="connsiteY1187" fmla="*/ 190804 h 198217"/>
                <a:gd name="connsiteX1188" fmla="*/ 1537723 w 2337635"/>
                <a:gd name="connsiteY1188" fmla="*/ 188230 h 198217"/>
                <a:gd name="connsiteX1189" fmla="*/ 1536218 w 2337635"/>
                <a:gd name="connsiteY1189" fmla="*/ 185839 h 198217"/>
                <a:gd name="connsiteX1190" fmla="*/ 1534714 w 2337635"/>
                <a:gd name="connsiteY1190" fmla="*/ 182897 h 198217"/>
                <a:gd name="connsiteX1191" fmla="*/ 1533878 w 2337635"/>
                <a:gd name="connsiteY1191" fmla="*/ 180875 h 198217"/>
                <a:gd name="connsiteX1192" fmla="*/ 1533209 w 2337635"/>
                <a:gd name="connsiteY1192" fmla="*/ 178668 h 198217"/>
                <a:gd name="connsiteX1193" fmla="*/ 1532373 w 2337635"/>
                <a:gd name="connsiteY1193" fmla="*/ 174806 h 198217"/>
                <a:gd name="connsiteX1194" fmla="*/ 1532206 w 2337635"/>
                <a:gd name="connsiteY1194" fmla="*/ 172783 h 198217"/>
                <a:gd name="connsiteX1195" fmla="*/ 1532373 w 2337635"/>
                <a:gd name="connsiteY1195" fmla="*/ 172967 h 198217"/>
                <a:gd name="connsiteX1196" fmla="*/ 1532373 w 2337635"/>
                <a:gd name="connsiteY1196" fmla="*/ 169105 h 198217"/>
                <a:gd name="connsiteX1197" fmla="*/ 1532373 w 2337635"/>
                <a:gd name="connsiteY1197" fmla="*/ 168921 h 198217"/>
                <a:gd name="connsiteX1198" fmla="*/ 1532707 w 2337635"/>
                <a:gd name="connsiteY1198" fmla="*/ 165795 h 198217"/>
                <a:gd name="connsiteX1199" fmla="*/ 1533543 w 2337635"/>
                <a:gd name="connsiteY1199" fmla="*/ 162117 h 198217"/>
                <a:gd name="connsiteX1200" fmla="*/ 1534212 w 2337635"/>
                <a:gd name="connsiteY1200" fmla="*/ 159910 h 198217"/>
                <a:gd name="connsiteX1201" fmla="*/ 1535716 w 2337635"/>
                <a:gd name="connsiteY1201" fmla="*/ 156416 h 198217"/>
                <a:gd name="connsiteX1202" fmla="*/ 1537221 w 2337635"/>
                <a:gd name="connsiteY1202" fmla="*/ 153842 h 198217"/>
                <a:gd name="connsiteX1203" fmla="*/ 1538726 w 2337635"/>
                <a:gd name="connsiteY1203" fmla="*/ 151819 h 198217"/>
                <a:gd name="connsiteX1204" fmla="*/ 1540230 w 2337635"/>
                <a:gd name="connsiteY1204" fmla="*/ 150164 h 198217"/>
                <a:gd name="connsiteX1205" fmla="*/ 1543406 w 2337635"/>
                <a:gd name="connsiteY1205" fmla="*/ 147590 h 198217"/>
                <a:gd name="connsiteX1206" fmla="*/ 1546081 w 2337635"/>
                <a:gd name="connsiteY1206" fmla="*/ 146119 h 198217"/>
                <a:gd name="connsiteX1207" fmla="*/ 1552602 w 2337635"/>
                <a:gd name="connsiteY1207" fmla="*/ 144463 h 198217"/>
                <a:gd name="connsiteX1208" fmla="*/ 1429045 w 2337635"/>
                <a:gd name="connsiteY1208" fmla="*/ 144463 h 198217"/>
                <a:gd name="connsiteX1209" fmla="*/ 1437403 w 2337635"/>
                <a:gd name="connsiteY1209" fmla="*/ 145934 h 198217"/>
                <a:gd name="connsiteX1210" fmla="*/ 1442419 w 2337635"/>
                <a:gd name="connsiteY1210" fmla="*/ 149061 h 198217"/>
                <a:gd name="connsiteX1211" fmla="*/ 1444759 w 2337635"/>
                <a:gd name="connsiteY1211" fmla="*/ 151267 h 198217"/>
                <a:gd name="connsiteX1212" fmla="*/ 1447100 w 2337635"/>
                <a:gd name="connsiteY1212" fmla="*/ 154210 h 198217"/>
                <a:gd name="connsiteX1213" fmla="*/ 1448437 w 2337635"/>
                <a:gd name="connsiteY1213" fmla="*/ 156600 h 198217"/>
                <a:gd name="connsiteX1214" fmla="*/ 1449942 w 2337635"/>
                <a:gd name="connsiteY1214" fmla="*/ 160278 h 198217"/>
                <a:gd name="connsiteX1215" fmla="*/ 1450610 w 2337635"/>
                <a:gd name="connsiteY1215" fmla="*/ 162669 h 198217"/>
                <a:gd name="connsiteX1216" fmla="*/ 1451279 w 2337635"/>
                <a:gd name="connsiteY1216" fmla="*/ 166163 h 198217"/>
                <a:gd name="connsiteX1217" fmla="*/ 1451112 w 2337635"/>
                <a:gd name="connsiteY1217" fmla="*/ 175909 h 198217"/>
                <a:gd name="connsiteX1218" fmla="*/ 1450444 w 2337635"/>
                <a:gd name="connsiteY1218" fmla="*/ 179219 h 198217"/>
                <a:gd name="connsiteX1219" fmla="*/ 1449607 w 2337635"/>
                <a:gd name="connsiteY1219" fmla="*/ 181794 h 198217"/>
                <a:gd name="connsiteX1220" fmla="*/ 1448938 w 2337635"/>
                <a:gd name="connsiteY1220" fmla="*/ 183449 h 198217"/>
                <a:gd name="connsiteX1221" fmla="*/ 1447434 w 2337635"/>
                <a:gd name="connsiteY1221" fmla="*/ 186391 h 198217"/>
                <a:gd name="connsiteX1222" fmla="*/ 1445930 w 2337635"/>
                <a:gd name="connsiteY1222" fmla="*/ 188597 h 198217"/>
                <a:gd name="connsiteX1223" fmla="*/ 1443589 w 2337635"/>
                <a:gd name="connsiteY1223" fmla="*/ 191172 h 198217"/>
                <a:gd name="connsiteX1224" fmla="*/ 1441416 w 2337635"/>
                <a:gd name="connsiteY1224" fmla="*/ 193011 h 198217"/>
                <a:gd name="connsiteX1225" fmla="*/ 1437571 w 2337635"/>
                <a:gd name="connsiteY1225" fmla="*/ 195218 h 198217"/>
                <a:gd name="connsiteX1226" fmla="*/ 1432221 w 2337635"/>
                <a:gd name="connsiteY1226" fmla="*/ 196689 h 198217"/>
                <a:gd name="connsiteX1227" fmla="*/ 1431385 w 2337635"/>
                <a:gd name="connsiteY1227" fmla="*/ 196873 h 198217"/>
                <a:gd name="connsiteX1228" fmla="*/ 1428543 w 2337635"/>
                <a:gd name="connsiteY1228" fmla="*/ 196873 h 198217"/>
                <a:gd name="connsiteX1229" fmla="*/ 1428375 w 2337635"/>
                <a:gd name="connsiteY1229" fmla="*/ 196873 h 198217"/>
                <a:gd name="connsiteX1230" fmla="*/ 1419515 w 2337635"/>
                <a:gd name="connsiteY1230" fmla="*/ 193563 h 198217"/>
                <a:gd name="connsiteX1231" fmla="*/ 1416339 w 2337635"/>
                <a:gd name="connsiteY1231" fmla="*/ 190804 h 198217"/>
                <a:gd name="connsiteX1232" fmla="*/ 1414165 w 2337635"/>
                <a:gd name="connsiteY1232" fmla="*/ 188230 h 198217"/>
                <a:gd name="connsiteX1233" fmla="*/ 1412661 w 2337635"/>
                <a:gd name="connsiteY1233" fmla="*/ 185839 h 198217"/>
                <a:gd name="connsiteX1234" fmla="*/ 1411157 w 2337635"/>
                <a:gd name="connsiteY1234" fmla="*/ 182897 h 198217"/>
                <a:gd name="connsiteX1235" fmla="*/ 1410321 w 2337635"/>
                <a:gd name="connsiteY1235" fmla="*/ 180875 h 198217"/>
                <a:gd name="connsiteX1236" fmla="*/ 1409651 w 2337635"/>
                <a:gd name="connsiteY1236" fmla="*/ 178668 h 198217"/>
                <a:gd name="connsiteX1237" fmla="*/ 1408816 w 2337635"/>
                <a:gd name="connsiteY1237" fmla="*/ 174806 h 198217"/>
                <a:gd name="connsiteX1238" fmla="*/ 1408649 w 2337635"/>
                <a:gd name="connsiteY1238" fmla="*/ 172783 h 198217"/>
                <a:gd name="connsiteX1239" fmla="*/ 1408816 w 2337635"/>
                <a:gd name="connsiteY1239" fmla="*/ 172967 h 198217"/>
                <a:gd name="connsiteX1240" fmla="*/ 1408816 w 2337635"/>
                <a:gd name="connsiteY1240" fmla="*/ 169105 h 198217"/>
                <a:gd name="connsiteX1241" fmla="*/ 1408816 w 2337635"/>
                <a:gd name="connsiteY1241" fmla="*/ 168921 h 198217"/>
                <a:gd name="connsiteX1242" fmla="*/ 1409150 w 2337635"/>
                <a:gd name="connsiteY1242" fmla="*/ 165795 h 198217"/>
                <a:gd name="connsiteX1243" fmla="*/ 1409986 w 2337635"/>
                <a:gd name="connsiteY1243" fmla="*/ 162117 h 198217"/>
                <a:gd name="connsiteX1244" fmla="*/ 1410655 w 2337635"/>
                <a:gd name="connsiteY1244" fmla="*/ 159910 h 198217"/>
                <a:gd name="connsiteX1245" fmla="*/ 1412159 w 2337635"/>
                <a:gd name="connsiteY1245" fmla="*/ 156416 h 198217"/>
                <a:gd name="connsiteX1246" fmla="*/ 1413664 w 2337635"/>
                <a:gd name="connsiteY1246" fmla="*/ 153842 h 198217"/>
                <a:gd name="connsiteX1247" fmla="*/ 1415169 w 2337635"/>
                <a:gd name="connsiteY1247" fmla="*/ 151819 h 198217"/>
                <a:gd name="connsiteX1248" fmla="*/ 1416673 w 2337635"/>
                <a:gd name="connsiteY1248" fmla="*/ 150164 h 198217"/>
                <a:gd name="connsiteX1249" fmla="*/ 1419849 w 2337635"/>
                <a:gd name="connsiteY1249" fmla="*/ 147590 h 198217"/>
                <a:gd name="connsiteX1250" fmla="*/ 1422524 w 2337635"/>
                <a:gd name="connsiteY1250" fmla="*/ 146119 h 198217"/>
                <a:gd name="connsiteX1251" fmla="*/ 1429045 w 2337635"/>
                <a:gd name="connsiteY1251" fmla="*/ 144463 h 198217"/>
                <a:gd name="connsiteX1252" fmla="*/ 1140524 w 2337635"/>
                <a:gd name="connsiteY1252" fmla="*/ 144463 h 198217"/>
                <a:gd name="connsiteX1253" fmla="*/ 1148883 w 2337635"/>
                <a:gd name="connsiteY1253" fmla="*/ 145934 h 198217"/>
                <a:gd name="connsiteX1254" fmla="*/ 1153898 w 2337635"/>
                <a:gd name="connsiteY1254" fmla="*/ 149061 h 198217"/>
                <a:gd name="connsiteX1255" fmla="*/ 1156239 w 2337635"/>
                <a:gd name="connsiteY1255" fmla="*/ 151267 h 198217"/>
                <a:gd name="connsiteX1256" fmla="*/ 1158580 w 2337635"/>
                <a:gd name="connsiteY1256" fmla="*/ 154210 h 198217"/>
                <a:gd name="connsiteX1257" fmla="*/ 1159917 w 2337635"/>
                <a:gd name="connsiteY1257" fmla="*/ 156600 h 198217"/>
                <a:gd name="connsiteX1258" fmla="*/ 1161422 w 2337635"/>
                <a:gd name="connsiteY1258" fmla="*/ 160278 h 198217"/>
                <a:gd name="connsiteX1259" fmla="*/ 1162090 w 2337635"/>
                <a:gd name="connsiteY1259" fmla="*/ 162669 h 198217"/>
                <a:gd name="connsiteX1260" fmla="*/ 1162759 w 2337635"/>
                <a:gd name="connsiteY1260" fmla="*/ 166163 h 198217"/>
                <a:gd name="connsiteX1261" fmla="*/ 1162592 w 2337635"/>
                <a:gd name="connsiteY1261" fmla="*/ 175909 h 198217"/>
                <a:gd name="connsiteX1262" fmla="*/ 1161923 w 2337635"/>
                <a:gd name="connsiteY1262" fmla="*/ 179219 h 198217"/>
                <a:gd name="connsiteX1263" fmla="*/ 1161087 w 2337635"/>
                <a:gd name="connsiteY1263" fmla="*/ 181794 h 198217"/>
                <a:gd name="connsiteX1264" fmla="*/ 1160419 w 2337635"/>
                <a:gd name="connsiteY1264" fmla="*/ 183449 h 198217"/>
                <a:gd name="connsiteX1265" fmla="*/ 1158913 w 2337635"/>
                <a:gd name="connsiteY1265" fmla="*/ 186391 h 198217"/>
                <a:gd name="connsiteX1266" fmla="*/ 1157409 w 2337635"/>
                <a:gd name="connsiteY1266" fmla="*/ 188597 h 198217"/>
                <a:gd name="connsiteX1267" fmla="*/ 1155069 w 2337635"/>
                <a:gd name="connsiteY1267" fmla="*/ 191172 h 198217"/>
                <a:gd name="connsiteX1268" fmla="*/ 1152895 w 2337635"/>
                <a:gd name="connsiteY1268" fmla="*/ 193011 h 198217"/>
                <a:gd name="connsiteX1269" fmla="*/ 1149050 w 2337635"/>
                <a:gd name="connsiteY1269" fmla="*/ 195218 h 198217"/>
                <a:gd name="connsiteX1270" fmla="*/ 1143700 w 2337635"/>
                <a:gd name="connsiteY1270" fmla="*/ 196689 h 198217"/>
                <a:gd name="connsiteX1271" fmla="*/ 1142864 w 2337635"/>
                <a:gd name="connsiteY1271" fmla="*/ 196873 h 198217"/>
                <a:gd name="connsiteX1272" fmla="*/ 1140023 w 2337635"/>
                <a:gd name="connsiteY1272" fmla="*/ 196873 h 198217"/>
                <a:gd name="connsiteX1273" fmla="*/ 1139856 w 2337635"/>
                <a:gd name="connsiteY1273" fmla="*/ 196873 h 198217"/>
                <a:gd name="connsiteX1274" fmla="*/ 1130995 w 2337635"/>
                <a:gd name="connsiteY1274" fmla="*/ 193563 h 198217"/>
                <a:gd name="connsiteX1275" fmla="*/ 1127819 w 2337635"/>
                <a:gd name="connsiteY1275" fmla="*/ 190804 h 198217"/>
                <a:gd name="connsiteX1276" fmla="*/ 1125646 w 2337635"/>
                <a:gd name="connsiteY1276" fmla="*/ 188230 h 198217"/>
                <a:gd name="connsiteX1277" fmla="*/ 1124140 w 2337635"/>
                <a:gd name="connsiteY1277" fmla="*/ 185839 h 198217"/>
                <a:gd name="connsiteX1278" fmla="*/ 1122636 w 2337635"/>
                <a:gd name="connsiteY1278" fmla="*/ 182897 h 198217"/>
                <a:gd name="connsiteX1279" fmla="*/ 1121800 w 2337635"/>
                <a:gd name="connsiteY1279" fmla="*/ 180875 h 198217"/>
                <a:gd name="connsiteX1280" fmla="*/ 1121132 w 2337635"/>
                <a:gd name="connsiteY1280" fmla="*/ 178668 h 198217"/>
                <a:gd name="connsiteX1281" fmla="*/ 1120296 w 2337635"/>
                <a:gd name="connsiteY1281" fmla="*/ 174806 h 198217"/>
                <a:gd name="connsiteX1282" fmla="*/ 1120128 w 2337635"/>
                <a:gd name="connsiteY1282" fmla="*/ 172783 h 198217"/>
                <a:gd name="connsiteX1283" fmla="*/ 1120296 w 2337635"/>
                <a:gd name="connsiteY1283" fmla="*/ 172967 h 198217"/>
                <a:gd name="connsiteX1284" fmla="*/ 1120296 w 2337635"/>
                <a:gd name="connsiteY1284" fmla="*/ 169105 h 198217"/>
                <a:gd name="connsiteX1285" fmla="*/ 1120296 w 2337635"/>
                <a:gd name="connsiteY1285" fmla="*/ 168921 h 198217"/>
                <a:gd name="connsiteX1286" fmla="*/ 1120630 w 2337635"/>
                <a:gd name="connsiteY1286" fmla="*/ 165795 h 198217"/>
                <a:gd name="connsiteX1287" fmla="*/ 1121466 w 2337635"/>
                <a:gd name="connsiteY1287" fmla="*/ 162117 h 198217"/>
                <a:gd name="connsiteX1288" fmla="*/ 1122135 w 2337635"/>
                <a:gd name="connsiteY1288" fmla="*/ 159910 h 198217"/>
                <a:gd name="connsiteX1289" fmla="*/ 1123639 w 2337635"/>
                <a:gd name="connsiteY1289" fmla="*/ 156416 h 198217"/>
                <a:gd name="connsiteX1290" fmla="*/ 1125144 w 2337635"/>
                <a:gd name="connsiteY1290" fmla="*/ 153842 h 198217"/>
                <a:gd name="connsiteX1291" fmla="*/ 1126648 w 2337635"/>
                <a:gd name="connsiteY1291" fmla="*/ 151819 h 198217"/>
                <a:gd name="connsiteX1292" fmla="*/ 1128153 w 2337635"/>
                <a:gd name="connsiteY1292" fmla="*/ 150164 h 198217"/>
                <a:gd name="connsiteX1293" fmla="*/ 1131329 w 2337635"/>
                <a:gd name="connsiteY1293" fmla="*/ 147590 h 198217"/>
                <a:gd name="connsiteX1294" fmla="*/ 1134004 w 2337635"/>
                <a:gd name="connsiteY1294" fmla="*/ 146119 h 198217"/>
                <a:gd name="connsiteX1295" fmla="*/ 1140524 w 2337635"/>
                <a:gd name="connsiteY1295" fmla="*/ 144463 h 198217"/>
                <a:gd name="connsiteX1296" fmla="*/ 903609 w 2337635"/>
                <a:gd name="connsiteY1296" fmla="*/ 144463 h 198217"/>
                <a:gd name="connsiteX1297" fmla="*/ 911968 w 2337635"/>
                <a:gd name="connsiteY1297" fmla="*/ 145934 h 198217"/>
                <a:gd name="connsiteX1298" fmla="*/ 916983 w 2337635"/>
                <a:gd name="connsiteY1298" fmla="*/ 149061 h 198217"/>
                <a:gd name="connsiteX1299" fmla="*/ 919324 w 2337635"/>
                <a:gd name="connsiteY1299" fmla="*/ 151267 h 198217"/>
                <a:gd name="connsiteX1300" fmla="*/ 921664 w 2337635"/>
                <a:gd name="connsiteY1300" fmla="*/ 154210 h 198217"/>
                <a:gd name="connsiteX1301" fmla="*/ 923002 w 2337635"/>
                <a:gd name="connsiteY1301" fmla="*/ 156600 h 198217"/>
                <a:gd name="connsiteX1302" fmla="*/ 924506 w 2337635"/>
                <a:gd name="connsiteY1302" fmla="*/ 160278 h 198217"/>
                <a:gd name="connsiteX1303" fmla="*/ 925175 w 2337635"/>
                <a:gd name="connsiteY1303" fmla="*/ 162669 h 198217"/>
                <a:gd name="connsiteX1304" fmla="*/ 925843 w 2337635"/>
                <a:gd name="connsiteY1304" fmla="*/ 166163 h 198217"/>
                <a:gd name="connsiteX1305" fmla="*/ 925677 w 2337635"/>
                <a:gd name="connsiteY1305" fmla="*/ 175909 h 198217"/>
                <a:gd name="connsiteX1306" fmla="*/ 925007 w 2337635"/>
                <a:gd name="connsiteY1306" fmla="*/ 179219 h 198217"/>
                <a:gd name="connsiteX1307" fmla="*/ 924172 w 2337635"/>
                <a:gd name="connsiteY1307" fmla="*/ 181794 h 198217"/>
                <a:gd name="connsiteX1308" fmla="*/ 923503 w 2337635"/>
                <a:gd name="connsiteY1308" fmla="*/ 183449 h 198217"/>
                <a:gd name="connsiteX1309" fmla="*/ 921999 w 2337635"/>
                <a:gd name="connsiteY1309" fmla="*/ 186391 h 198217"/>
                <a:gd name="connsiteX1310" fmla="*/ 920494 w 2337635"/>
                <a:gd name="connsiteY1310" fmla="*/ 188597 h 198217"/>
                <a:gd name="connsiteX1311" fmla="*/ 918153 w 2337635"/>
                <a:gd name="connsiteY1311" fmla="*/ 191172 h 198217"/>
                <a:gd name="connsiteX1312" fmla="*/ 915980 w 2337635"/>
                <a:gd name="connsiteY1312" fmla="*/ 193011 h 198217"/>
                <a:gd name="connsiteX1313" fmla="*/ 912135 w 2337635"/>
                <a:gd name="connsiteY1313" fmla="*/ 195218 h 198217"/>
                <a:gd name="connsiteX1314" fmla="*/ 906785 w 2337635"/>
                <a:gd name="connsiteY1314" fmla="*/ 196689 h 198217"/>
                <a:gd name="connsiteX1315" fmla="*/ 905950 w 2337635"/>
                <a:gd name="connsiteY1315" fmla="*/ 196873 h 198217"/>
                <a:gd name="connsiteX1316" fmla="*/ 903107 w 2337635"/>
                <a:gd name="connsiteY1316" fmla="*/ 196873 h 198217"/>
                <a:gd name="connsiteX1317" fmla="*/ 902940 w 2337635"/>
                <a:gd name="connsiteY1317" fmla="*/ 196873 h 198217"/>
                <a:gd name="connsiteX1318" fmla="*/ 894080 w 2337635"/>
                <a:gd name="connsiteY1318" fmla="*/ 193563 h 198217"/>
                <a:gd name="connsiteX1319" fmla="*/ 890904 w 2337635"/>
                <a:gd name="connsiteY1319" fmla="*/ 190804 h 198217"/>
                <a:gd name="connsiteX1320" fmla="*/ 888730 w 2337635"/>
                <a:gd name="connsiteY1320" fmla="*/ 188230 h 198217"/>
                <a:gd name="connsiteX1321" fmla="*/ 887226 w 2337635"/>
                <a:gd name="connsiteY1321" fmla="*/ 185839 h 198217"/>
                <a:gd name="connsiteX1322" fmla="*/ 885720 w 2337635"/>
                <a:gd name="connsiteY1322" fmla="*/ 182897 h 198217"/>
                <a:gd name="connsiteX1323" fmla="*/ 884885 w 2337635"/>
                <a:gd name="connsiteY1323" fmla="*/ 180875 h 198217"/>
                <a:gd name="connsiteX1324" fmla="*/ 884216 w 2337635"/>
                <a:gd name="connsiteY1324" fmla="*/ 178668 h 198217"/>
                <a:gd name="connsiteX1325" fmla="*/ 883380 w 2337635"/>
                <a:gd name="connsiteY1325" fmla="*/ 174806 h 198217"/>
                <a:gd name="connsiteX1326" fmla="*/ 883213 w 2337635"/>
                <a:gd name="connsiteY1326" fmla="*/ 172783 h 198217"/>
                <a:gd name="connsiteX1327" fmla="*/ 883380 w 2337635"/>
                <a:gd name="connsiteY1327" fmla="*/ 172967 h 198217"/>
                <a:gd name="connsiteX1328" fmla="*/ 883380 w 2337635"/>
                <a:gd name="connsiteY1328" fmla="*/ 169105 h 198217"/>
                <a:gd name="connsiteX1329" fmla="*/ 883380 w 2337635"/>
                <a:gd name="connsiteY1329" fmla="*/ 168921 h 198217"/>
                <a:gd name="connsiteX1330" fmla="*/ 883715 w 2337635"/>
                <a:gd name="connsiteY1330" fmla="*/ 165795 h 198217"/>
                <a:gd name="connsiteX1331" fmla="*/ 884551 w 2337635"/>
                <a:gd name="connsiteY1331" fmla="*/ 162117 h 198217"/>
                <a:gd name="connsiteX1332" fmla="*/ 885219 w 2337635"/>
                <a:gd name="connsiteY1332" fmla="*/ 159910 h 198217"/>
                <a:gd name="connsiteX1333" fmla="*/ 886724 w 2337635"/>
                <a:gd name="connsiteY1333" fmla="*/ 156416 h 198217"/>
                <a:gd name="connsiteX1334" fmla="*/ 888229 w 2337635"/>
                <a:gd name="connsiteY1334" fmla="*/ 153842 h 198217"/>
                <a:gd name="connsiteX1335" fmla="*/ 889733 w 2337635"/>
                <a:gd name="connsiteY1335" fmla="*/ 151819 h 198217"/>
                <a:gd name="connsiteX1336" fmla="*/ 891238 w 2337635"/>
                <a:gd name="connsiteY1336" fmla="*/ 150164 h 198217"/>
                <a:gd name="connsiteX1337" fmla="*/ 894414 w 2337635"/>
                <a:gd name="connsiteY1337" fmla="*/ 147590 h 198217"/>
                <a:gd name="connsiteX1338" fmla="*/ 897089 w 2337635"/>
                <a:gd name="connsiteY1338" fmla="*/ 146119 h 198217"/>
                <a:gd name="connsiteX1339" fmla="*/ 903609 w 2337635"/>
                <a:gd name="connsiteY1339" fmla="*/ 144463 h 198217"/>
                <a:gd name="connsiteX1340" fmla="*/ 780051 w 2337635"/>
                <a:gd name="connsiteY1340" fmla="*/ 144463 h 198217"/>
                <a:gd name="connsiteX1341" fmla="*/ 788411 w 2337635"/>
                <a:gd name="connsiteY1341" fmla="*/ 145934 h 198217"/>
                <a:gd name="connsiteX1342" fmla="*/ 793426 w 2337635"/>
                <a:gd name="connsiteY1342" fmla="*/ 149061 h 198217"/>
                <a:gd name="connsiteX1343" fmla="*/ 795766 w 2337635"/>
                <a:gd name="connsiteY1343" fmla="*/ 151267 h 198217"/>
                <a:gd name="connsiteX1344" fmla="*/ 798107 w 2337635"/>
                <a:gd name="connsiteY1344" fmla="*/ 154210 h 198217"/>
                <a:gd name="connsiteX1345" fmla="*/ 799445 w 2337635"/>
                <a:gd name="connsiteY1345" fmla="*/ 156600 h 198217"/>
                <a:gd name="connsiteX1346" fmla="*/ 800949 w 2337635"/>
                <a:gd name="connsiteY1346" fmla="*/ 160278 h 198217"/>
                <a:gd name="connsiteX1347" fmla="*/ 801618 w 2337635"/>
                <a:gd name="connsiteY1347" fmla="*/ 162669 h 198217"/>
                <a:gd name="connsiteX1348" fmla="*/ 802286 w 2337635"/>
                <a:gd name="connsiteY1348" fmla="*/ 166163 h 198217"/>
                <a:gd name="connsiteX1349" fmla="*/ 802120 w 2337635"/>
                <a:gd name="connsiteY1349" fmla="*/ 175909 h 198217"/>
                <a:gd name="connsiteX1350" fmla="*/ 801450 w 2337635"/>
                <a:gd name="connsiteY1350" fmla="*/ 179219 h 198217"/>
                <a:gd name="connsiteX1351" fmla="*/ 800614 w 2337635"/>
                <a:gd name="connsiteY1351" fmla="*/ 181794 h 198217"/>
                <a:gd name="connsiteX1352" fmla="*/ 799946 w 2337635"/>
                <a:gd name="connsiteY1352" fmla="*/ 183449 h 198217"/>
                <a:gd name="connsiteX1353" fmla="*/ 798441 w 2337635"/>
                <a:gd name="connsiteY1353" fmla="*/ 186391 h 198217"/>
                <a:gd name="connsiteX1354" fmla="*/ 796937 w 2337635"/>
                <a:gd name="connsiteY1354" fmla="*/ 188597 h 198217"/>
                <a:gd name="connsiteX1355" fmla="*/ 794596 w 2337635"/>
                <a:gd name="connsiteY1355" fmla="*/ 191172 h 198217"/>
                <a:gd name="connsiteX1356" fmla="*/ 792423 w 2337635"/>
                <a:gd name="connsiteY1356" fmla="*/ 193011 h 198217"/>
                <a:gd name="connsiteX1357" fmla="*/ 788578 w 2337635"/>
                <a:gd name="connsiteY1357" fmla="*/ 195218 h 198217"/>
                <a:gd name="connsiteX1358" fmla="*/ 783228 w 2337635"/>
                <a:gd name="connsiteY1358" fmla="*/ 196689 h 198217"/>
                <a:gd name="connsiteX1359" fmla="*/ 782392 w 2337635"/>
                <a:gd name="connsiteY1359" fmla="*/ 196873 h 198217"/>
                <a:gd name="connsiteX1360" fmla="*/ 779550 w 2337635"/>
                <a:gd name="connsiteY1360" fmla="*/ 196873 h 198217"/>
                <a:gd name="connsiteX1361" fmla="*/ 779383 w 2337635"/>
                <a:gd name="connsiteY1361" fmla="*/ 196873 h 198217"/>
                <a:gd name="connsiteX1362" fmla="*/ 770523 w 2337635"/>
                <a:gd name="connsiteY1362" fmla="*/ 193563 h 198217"/>
                <a:gd name="connsiteX1363" fmla="*/ 767346 w 2337635"/>
                <a:gd name="connsiteY1363" fmla="*/ 190804 h 198217"/>
                <a:gd name="connsiteX1364" fmla="*/ 765173 w 2337635"/>
                <a:gd name="connsiteY1364" fmla="*/ 188230 h 198217"/>
                <a:gd name="connsiteX1365" fmla="*/ 763668 w 2337635"/>
                <a:gd name="connsiteY1365" fmla="*/ 185839 h 198217"/>
                <a:gd name="connsiteX1366" fmla="*/ 762163 w 2337635"/>
                <a:gd name="connsiteY1366" fmla="*/ 182897 h 198217"/>
                <a:gd name="connsiteX1367" fmla="*/ 761327 w 2337635"/>
                <a:gd name="connsiteY1367" fmla="*/ 180875 h 198217"/>
                <a:gd name="connsiteX1368" fmla="*/ 760659 w 2337635"/>
                <a:gd name="connsiteY1368" fmla="*/ 178668 h 198217"/>
                <a:gd name="connsiteX1369" fmla="*/ 759823 w 2337635"/>
                <a:gd name="connsiteY1369" fmla="*/ 174806 h 198217"/>
                <a:gd name="connsiteX1370" fmla="*/ 759656 w 2337635"/>
                <a:gd name="connsiteY1370" fmla="*/ 172783 h 198217"/>
                <a:gd name="connsiteX1371" fmla="*/ 759823 w 2337635"/>
                <a:gd name="connsiteY1371" fmla="*/ 172967 h 198217"/>
                <a:gd name="connsiteX1372" fmla="*/ 759823 w 2337635"/>
                <a:gd name="connsiteY1372" fmla="*/ 169105 h 198217"/>
                <a:gd name="connsiteX1373" fmla="*/ 759823 w 2337635"/>
                <a:gd name="connsiteY1373" fmla="*/ 168921 h 198217"/>
                <a:gd name="connsiteX1374" fmla="*/ 760158 w 2337635"/>
                <a:gd name="connsiteY1374" fmla="*/ 165795 h 198217"/>
                <a:gd name="connsiteX1375" fmla="*/ 760993 w 2337635"/>
                <a:gd name="connsiteY1375" fmla="*/ 162117 h 198217"/>
                <a:gd name="connsiteX1376" fmla="*/ 761662 w 2337635"/>
                <a:gd name="connsiteY1376" fmla="*/ 159910 h 198217"/>
                <a:gd name="connsiteX1377" fmla="*/ 763167 w 2337635"/>
                <a:gd name="connsiteY1377" fmla="*/ 156416 h 198217"/>
                <a:gd name="connsiteX1378" fmla="*/ 764672 w 2337635"/>
                <a:gd name="connsiteY1378" fmla="*/ 153842 h 198217"/>
                <a:gd name="connsiteX1379" fmla="*/ 766176 w 2337635"/>
                <a:gd name="connsiteY1379" fmla="*/ 151819 h 198217"/>
                <a:gd name="connsiteX1380" fmla="*/ 767681 w 2337635"/>
                <a:gd name="connsiteY1380" fmla="*/ 150164 h 198217"/>
                <a:gd name="connsiteX1381" fmla="*/ 770857 w 2337635"/>
                <a:gd name="connsiteY1381" fmla="*/ 147590 h 198217"/>
                <a:gd name="connsiteX1382" fmla="*/ 773532 w 2337635"/>
                <a:gd name="connsiteY1382" fmla="*/ 146119 h 198217"/>
                <a:gd name="connsiteX1383" fmla="*/ 780051 w 2337635"/>
                <a:gd name="connsiteY1383" fmla="*/ 144463 h 198217"/>
                <a:gd name="connsiteX1384" fmla="*/ 666643 w 2337635"/>
                <a:gd name="connsiteY1384" fmla="*/ 144463 h 198217"/>
                <a:gd name="connsiteX1385" fmla="*/ 675003 w 2337635"/>
                <a:gd name="connsiteY1385" fmla="*/ 145934 h 198217"/>
                <a:gd name="connsiteX1386" fmla="*/ 680018 w 2337635"/>
                <a:gd name="connsiteY1386" fmla="*/ 149061 h 198217"/>
                <a:gd name="connsiteX1387" fmla="*/ 682358 w 2337635"/>
                <a:gd name="connsiteY1387" fmla="*/ 151267 h 198217"/>
                <a:gd name="connsiteX1388" fmla="*/ 684699 w 2337635"/>
                <a:gd name="connsiteY1388" fmla="*/ 154210 h 198217"/>
                <a:gd name="connsiteX1389" fmla="*/ 686036 w 2337635"/>
                <a:gd name="connsiteY1389" fmla="*/ 156600 h 198217"/>
                <a:gd name="connsiteX1390" fmla="*/ 687541 w 2337635"/>
                <a:gd name="connsiteY1390" fmla="*/ 160278 h 198217"/>
                <a:gd name="connsiteX1391" fmla="*/ 688209 w 2337635"/>
                <a:gd name="connsiteY1391" fmla="*/ 162669 h 198217"/>
                <a:gd name="connsiteX1392" fmla="*/ 688878 w 2337635"/>
                <a:gd name="connsiteY1392" fmla="*/ 166163 h 198217"/>
                <a:gd name="connsiteX1393" fmla="*/ 688711 w 2337635"/>
                <a:gd name="connsiteY1393" fmla="*/ 175909 h 198217"/>
                <a:gd name="connsiteX1394" fmla="*/ 688042 w 2337635"/>
                <a:gd name="connsiteY1394" fmla="*/ 179219 h 198217"/>
                <a:gd name="connsiteX1395" fmla="*/ 687206 w 2337635"/>
                <a:gd name="connsiteY1395" fmla="*/ 181794 h 198217"/>
                <a:gd name="connsiteX1396" fmla="*/ 686538 w 2337635"/>
                <a:gd name="connsiteY1396" fmla="*/ 183449 h 198217"/>
                <a:gd name="connsiteX1397" fmla="*/ 685033 w 2337635"/>
                <a:gd name="connsiteY1397" fmla="*/ 186391 h 198217"/>
                <a:gd name="connsiteX1398" fmla="*/ 683528 w 2337635"/>
                <a:gd name="connsiteY1398" fmla="*/ 188597 h 198217"/>
                <a:gd name="connsiteX1399" fmla="*/ 681188 w 2337635"/>
                <a:gd name="connsiteY1399" fmla="*/ 191172 h 198217"/>
                <a:gd name="connsiteX1400" fmla="*/ 679015 w 2337635"/>
                <a:gd name="connsiteY1400" fmla="*/ 193011 h 198217"/>
                <a:gd name="connsiteX1401" fmla="*/ 675169 w 2337635"/>
                <a:gd name="connsiteY1401" fmla="*/ 195218 h 198217"/>
                <a:gd name="connsiteX1402" fmla="*/ 669820 w 2337635"/>
                <a:gd name="connsiteY1402" fmla="*/ 196689 h 198217"/>
                <a:gd name="connsiteX1403" fmla="*/ 668984 w 2337635"/>
                <a:gd name="connsiteY1403" fmla="*/ 196873 h 198217"/>
                <a:gd name="connsiteX1404" fmla="*/ 666142 w 2337635"/>
                <a:gd name="connsiteY1404" fmla="*/ 196873 h 198217"/>
                <a:gd name="connsiteX1405" fmla="*/ 665975 w 2337635"/>
                <a:gd name="connsiteY1405" fmla="*/ 196873 h 198217"/>
                <a:gd name="connsiteX1406" fmla="*/ 657114 w 2337635"/>
                <a:gd name="connsiteY1406" fmla="*/ 193563 h 198217"/>
                <a:gd name="connsiteX1407" fmla="*/ 653938 w 2337635"/>
                <a:gd name="connsiteY1407" fmla="*/ 190804 h 198217"/>
                <a:gd name="connsiteX1408" fmla="*/ 651765 w 2337635"/>
                <a:gd name="connsiteY1408" fmla="*/ 188230 h 198217"/>
                <a:gd name="connsiteX1409" fmla="*/ 650260 w 2337635"/>
                <a:gd name="connsiteY1409" fmla="*/ 185839 h 198217"/>
                <a:gd name="connsiteX1410" fmla="*/ 648755 w 2337635"/>
                <a:gd name="connsiteY1410" fmla="*/ 182897 h 198217"/>
                <a:gd name="connsiteX1411" fmla="*/ 647919 w 2337635"/>
                <a:gd name="connsiteY1411" fmla="*/ 180875 h 198217"/>
                <a:gd name="connsiteX1412" fmla="*/ 647251 w 2337635"/>
                <a:gd name="connsiteY1412" fmla="*/ 178668 h 198217"/>
                <a:gd name="connsiteX1413" fmla="*/ 646415 w 2337635"/>
                <a:gd name="connsiteY1413" fmla="*/ 174806 h 198217"/>
                <a:gd name="connsiteX1414" fmla="*/ 646247 w 2337635"/>
                <a:gd name="connsiteY1414" fmla="*/ 172783 h 198217"/>
                <a:gd name="connsiteX1415" fmla="*/ 646415 w 2337635"/>
                <a:gd name="connsiteY1415" fmla="*/ 172967 h 198217"/>
                <a:gd name="connsiteX1416" fmla="*/ 646415 w 2337635"/>
                <a:gd name="connsiteY1416" fmla="*/ 169105 h 198217"/>
                <a:gd name="connsiteX1417" fmla="*/ 646415 w 2337635"/>
                <a:gd name="connsiteY1417" fmla="*/ 168921 h 198217"/>
                <a:gd name="connsiteX1418" fmla="*/ 646749 w 2337635"/>
                <a:gd name="connsiteY1418" fmla="*/ 165795 h 198217"/>
                <a:gd name="connsiteX1419" fmla="*/ 647585 w 2337635"/>
                <a:gd name="connsiteY1419" fmla="*/ 162117 h 198217"/>
                <a:gd name="connsiteX1420" fmla="*/ 648254 w 2337635"/>
                <a:gd name="connsiteY1420" fmla="*/ 159910 h 198217"/>
                <a:gd name="connsiteX1421" fmla="*/ 649758 w 2337635"/>
                <a:gd name="connsiteY1421" fmla="*/ 156416 h 198217"/>
                <a:gd name="connsiteX1422" fmla="*/ 651263 w 2337635"/>
                <a:gd name="connsiteY1422" fmla="*/ 153842 h 198217"/>
                <a:gd name="connsiteX1423" fmla="*/ 652768 w 2337635"/>
                <a:gd name="connsiteY1423" fmla="*/ 151819 h 198217"/>
                <a:gd name="connsiteX1424" fmla="*/ 654272 w 2337635"/>
                <a:gd name="connsiteY1424" fmla="*/ 150164 h 198217"/>
                <a:gd name="connsiteX1425" fmla="*/ 657449 w 2337635"/>
                <a:gd name="connsiteY1425" fmla="*/ 147590 h 198217"/>
                <a:gd name="connsiteX1426" fmla="*/ 660123 w 2337635"/>
                <a:gd name="connsiteY1426" fmla="*/ 146119 h 198217"/>
                <a:gd name="connsiteX1427" fmla="*/ 666643 w 2337635"/>
                <a:gd name="connsiteY1427" fmla="*/ 144463 h 198217"/>
                <a:gd name="connsiteX1428" fmla="*/ 429728 w 2337635"/>
                <a:gd name="connsiteY1428" fmla="*/ 144463 h 198217"/>
                <a:gd name="connsiteX1429" fmla="*/ 438087 w 2337635"/>
                <a:gd name="connsiteY1429" fmla="*/ 145934 h 198217"/>
                <a:gd name="connsiteX1430" fmla="*/ 443102 w 2337635"/>
                <a:gd name="connsiteY1430" fmla="*/ 149061 h 198217"/>
                <a:gd name="connsiteX1431" fmla="*/ 445443 w 2337635"/>
                <a:gd name="connsiteY1431" fmla="*/ 151267 h 198217"/>
                <a:gd name="connsiteX1432" fmla="*/ 447783 w 2337635"/>
                <a:gd name="connsiteY1432" fmla="*/ 154210 h 198217"/>
                <a:gd name="connsiteX1433" fmla="*/ 449121 w 2337635"/>
                <a:gd name="connsiteY1433" fmla="*/ 156600 h 198217"/>
                <a:gd name="connsiteX1434" fmla="*/ 450625 w 2337635"/>
                <a:gd name="connsiteY1434" fmla="*/ 160278 h 198217"/>
                <a:gd name="connsiteX1435" fmla="*/ 451294 w 2337635"/>
                <a:gd name="connsiteY1435" fmla="*/ 162669 h 198217"/>
                <a:gd name="connsiteX1436" fmla="*/ 451962 w 2337635"/>
                <a:gd name="connsiteY1436" fmla="*/ 166163 h 198217"/>
                <a:gd name="connsiteX1437" fmla="*/ 451796 w 2337635"/>
                <a:gd name="connsiteY1437" fmla="*/ 175909 h 198217"/>
                <a:gd name="connsiteX1438" fmla="*/ 451126 w 2337635"/>
                <a:gd name="connsiteY1438" fmla="*/ 179219 h 198217"/>
                <a:gd name="connsiteX1439" fmla="*/ 450291 w 2337635"/>
                <a:gd name="connsiteY1439" fmla="*/ 181794 h 198217"/>
                <a:gd name="connsiteX1440" fmla="*/ 449622 w 2337635"/>
                <a:gd name="connsiteY1440" fmla="*/ 183449 h 198217"/>
                <a:gd name="connsiteX1441" fmla="*/ 448118 w 2337635"/>
                <a:gd name="connsiteY1441" fmla="*/ 186391 h 198217"/>
                <a:gd name="connsiteX1442" fmla="*/ 446612 w 2337635"/>
                <a:gd name="connsiteY1442" fmla="*/ 188597 h 198217"/>
                <a:gd name="connsiteX1443" fmla="*/ 444272 w 2337635"/>
                <a:gd name="connsiteY1443" fmla="*/ 191172 h 198217"/>
                <a:gd name="connsiteX1444" fmla="*/ 442099 w 2337635"/>
                <a:gd name="connsiteY1444" fmla="*/ 193011 h 198217"/>
                <a:gd name="connsiteX1445" fmla="*/ 438254 w 2337635"/>
                <a:gd name="connsiteY1445" fmla="*/ 195218 h 198217"/>
                <a:gd name="connsiteX1446" fmla="*/ 432904 w 2337635"/>
                <a:gd name="connsiteY1446" fmla="*/ 196689 h 198217"/>
                <a:gd name="connsiteX1447" fmla="*/ 432069 w 2337635"/>
                <a:gd name="connsiteY1447" fmla="*/ 196873 h 198217"/>
                <a:gd name="connsiteX1448" fmla="*/ 429226 w 2337635"/>
                <a:gd name="connsiteY1448" fmla="*/ 196873 h 198217"/>
                <a:gd name="connsiteX1449" fmla="*/ 429059 w 2337635"/>
                <a:gd name="connsiteY1449" fmla="*/ 196873 h 198217"/>
                <a:gd name="connsiteX1450" fmla="*/ 420198 w 2337635"/>
                <a:gd name="connsiteY1450" fmla="*/ 193563 h 198217"/>
                <a:gd name="connsiteX1451" fmla="*/ 417022 w 2337635"/>
                <a:gd name="connsiteY1451" fmla="*/ 190804 h 198217"/>
                <a:gd name="connsiteX1452" fmla="*/ 414849 w 2337635"/>
                <a:gd name="connsiteY1452" fmla="*/ 188230 h 198217"/>
                <a:gd name="connsiteX1453" fmla="*/ 413345 w 2337635"/>
                <a:gd name="connsiteY1453" fmla="*/ 185839 h 198217"/>
                <a:gd name="connsiteX1454" fmla="*/ 411839 w 2337635"/>
                <a:gd name="connsiteY1454" fmla="*/ 182897 h 198217"/>
                <a:gd name="connsiteX1455" fmla="*/ 411004 w 2337635"/>
                <a:gd name="connsiteY1455" fmla="*/ 180875 h 198217"/>
                <a:gd name="connsiteX1456" fmla="*/ 410335 w 2337635"/>
                <a:gd name="connsiteY1456" fmla="*/ 178668 h 198217"/>
                <a:gd name="connsiteX1457" fmla="*/ 409499 w 2337635"/>
                <a:gd name="connsiteY1457" fmla="*/ 174806 h 198217"/>
                <a:gd name="connsiteX1458" fmla="*/ 409332 w 2337635"/>
                <a:gd name="connsiteY1458" fmla="*/ 172783 h 198217"/>
                <a:gd name="connsiteX1459" fmla="*/ 409499 w 2337635"/>
                <a:gd name="connsiteY1459" fmla="*/ 172967 h 198217"/>
                <a:gd name="connsiteX1460" fmla="*/ 409499 w 2337635"/>
                <a:gd name="connsiteY1460" fmla="*/ 169105 h 198217"/>
                <a:gd name="connsiteX1461" fmla="*/ 409499 w 2337635"/>
                <a:gd name="connsiteY1461" fmla="*/ 168921 h 198217"/>
                <a:gd name="connsiteX1462" fmla="*/ 409834 w 2337635"/>
                <a:gd name="connsiteY1462" fmla="*/ 165795 h 198217"/>
                <a:gd name="connsiteX1463" fmla="*/ 410670 w 2337635"/>
                <a:gd name="connsiteY1463" fmla="*/ 162117 h 198217"/>
                <a:gd name="connsiteX1464" fmla="*/ 411338 w 2337635"/>
                <a:gd name="connsiteY1464" fmla="*/ 159910 h 198217"/>
                <a:gd name="connsiteX1465" fmla="*/ 412843 w 2337635"/>
                <a:gd name="connsiteY1465" fmla="*/ 156416 h 198217"/>
                <a:gd name="connsiteX1466" fmla="*/ 414347 w 2337635"/>
                <a:gd name="connsiteY1466" fmla="*/ 153842 h 198217"/>
                <a:gd name="connsiteX1467" fmla="*/ 415852 w 2337635"/>
                <a:gd name="connsiteY1467" fmla="*/ 151819 h 198217"/>
                <a:gd name="connsiteX1468" fmla="*/ 417357 w 2337635"/>
                <a:gd name="connsiteY1468" fmla="*/ 150164 h 198217"/>
                <a:gd name="connsiteX1469" fmla="*/ 420533 w 2337635"/>
                <a:gd name="connsiteY1469" fmla="*/ 147590 h 198217"/>
                <a:gd name="connsiteX1470" fmla="*/ 423208 w 2337635"/>
                <a:gd name="connsiteY1470" fmla="*/ 146119 h 198217"/>
                <a:gd name="connsiteX1471" fmla="*/ 429728 w 2337635"/>
                <a:gd name="connsiteY1471" fmla="*/ 144463 h 198217"/>
                <a:gd name="connsiteX1472" fmla="*/ 306170 w 2337635"/>
                <a:gd name="connsiteY1472" fmla="*/ 144463 h 198217"/>
                <a:gd name="connsiteX1473" fmla="*/ 314529 w 2337635"/>
                <a:gd name="connsiteY1473" fmla="*/ 145934 h 198217"/>
                <a:gd name="connsiteX1474" fmla="*/ 319545 w 2337635"/>
                <a:gd name="connsiteY1474" fmla="*/ 149061 h 198217"/>
                <a:gd name="connsiteX1475" fmla="*/ 321885 w 2337635"/>
                <a:gd name="connsiteY1475" fmla="*/ 151267 h 198217"/>
                <a:gd name="connsiteX1476" fmla="*/ 324226 w 2337635"/>
                <a:gd name="connsiteY1476" fmla="*/ 154210 h 198217"/>
                <a:gd name="connsiteX1477" fmla="*/ 325564 w 2337635"/>
                <a:gd name="connsiteY1477" fmla="*/ 156600 h 198217"/>
                <a:gd name="connsiteX1478" fmla="*/ 327068 w 2337635"/>
                <a:gd name="connsiteY1478" fmla="*/ 160278 h 198217"/>
                <a:gd name="connsiteX1479" fmla="*/ 327737 w 2337635"/>
                <a:gd name="connsiteY1479" fmla="*/ 162669 h 198217"/>
                <a:gd name="connsiteX1480" fmla="*/ 328405 w 2337635"/>
                <a:gd name="connsiteY1480" fmla="*/ 166163 h 198217"/>
                <a:gd name="connsiteX1481" fmla="*/ 328238 w 2337635"/>
                <a:gd name="connsiteY1481" fmla="*/ 175909 h 198217"/>
                <a:gd name="connsiteX1482" fmla="*/ 327569 w 2337635"/>
                <a:gd name="connsiteY1482" fmla="*/ 179219 h 198217"/>
                <a:gd name="connsiteX1483" fmla="*/ 326733 w 2337635"/>
                <a:gd name="connsiteY1483" fmla="*/ 181794 h 198217"/>
                <a:gd name="connsiteX1484" fmla="*/ 326065 w 2337635"/>
                <a:gd name="connsiteY1484" fmla="*/ 183449 h 198217"/>
                <a:gd name="connsiteX1485" fmla="*/ 324560 w 2337635"/>
                <a:gd name="connsiteY1485" fmla="*/ 186391 h 198217"/>
                <a:gd name="connsiteX1486" fmla="*/ 323055 w 2337635"/>
                <a:gd name="connsiteY1486" fmla="*/ 188597 h 198217"/>
                <a:gd name="connsiteX1487" fmla="*/ 320715 w 2337635"/>
                <a:gd name="connsiteY1487" fmla="*/ 191172 h 198217"/>
                <a:gd name="connsiteX1488" fmla="*/ 318542 w 2337635"/>
                <a:gd name="connsiteY1488" fmla="*/ 193011 h 198217"/>
                <a:gd name="connsiteX1489" fmla="*/ 314697 w 2337635"/>
                <a:gd name="connsiteY1489" fmla="*/ 195218 h 198217"/>
                <a:gd name="connsiteX1490" fmla="*/ 309347 w 2337635"/>
                <a:gd name="connsiteY1490" fmla="*/ 196689 h 198217"/>
                <a:gd name="connsiteX1491" fmla="*/ 308511 w 2337635"/>
                <a:gd name="connsiteY1491" fmla="*/ 196873 h 198217"/>
                <a:gd name="connsiteX1492" fmla="*/ 305669 w 2337635"/>
                <a:gd name="connsiteY1492" fmla="*/ 196873 h 198217"/>
                <a:gd name="connsiteX1493" fmla="*/ 305502 w 2337635"/>
                <a:gd name="connsiteY1493" fmla="*/ 196873 h 198217"/>
                <a:gd name="connsiteX1494" fmla="*/ 296641 w 2337635"/>
                <a:gd name="connsiteY1494" fmla="*/ 193563 h 198217"/>
                <a:gd name="connsiteX1495" fmla="*/ 293465 w 2337635"/>
                <a:gd name="connsiteY1495" fmla="*/ 190804 h 198217"/>
                <a:gd name="connsiteX1496" fmla="*/ 291292 w 2337635"/>
                <a:gd name="connsiteY1496" fmla="*/ 188230 h 198217"/>
                <a:gd name="connsiteX1497" fmla="*/ 289787 w 2337635"/>
                <a:gd name="connsiteY1497" fmla="*/ 185839 h 198217"/>
                <a:gd name="connsiteX1498" fmla="*/ 288282 w 2337635"/>
                <a:gd name="connsiteY1498" fmla="*/ 182897 h 198217"/>
                <a:gd name="connsiteX1499" fmla="*/ 287446 w 2337635"/>
                <a:gd name="connsiteY1499" fmla="*/ 180875 h 198217"/>
                <a:gd name="connsiteX1500" fmla="*/ 286778 w 2337635"/>
                <a:gd name="connsiteY1500" fmla="*/ 178668 h 198217"/>
                <a:gd name="connsiteX1501" fmla="*/ 285942 w 2337635"/>
                <a:gd name="connsiteY1501" fmla="*/ 174806 h 198217"/>
                <a:gd name="connsiteX1502" fmla="*/ 285775 w 2337635"/>
                <a:gd name="connsiteY1502" fmla="*/ 172783 h 198217"/>
                <a:gd name="connsiteX1503" fmla="*/ 285942 w 2337635"/>
                <a:gd name="connsiteY1503" fmla="*/ 172967 h 198217"/>
                <a:gd name="connsiteX1504" fmla="*/ 285942 w 2337635"/>
                <a:gd name="connsiteY1504" fmla="*/ 169105 h 198217"/>
                <a:gd name="connsiteX1505" fmla="*/ 285942 w 2337635"/>
                <a:gd name="connsiteY1505" fmla="*/ 168921 h 198217"/>
                <a:gd name="connsiteX1506" fmla="*/ 286276 w 2337635"/>
                <a:gd name="connsiteY1506" fmla="*/ 165795 h 198217"/>
                <a:gd name="connsiteX1507" fmla="*/ 287112 w 2337635"/>
                <a:gd name="connsiteY1507" fmla="*/ 162117 h 198217"/>
                <a:gd name="connsiteX1508" fmla="*/ 287781 w 2337635"/>
                <a:gd name="connsiteY1508" fmla="*/ 159910 h 198217"/>
                <a:gd name="connsiteX1509" fmla="*/ 289286 w 2337635"/>
                <a:gd name="connsiteY1509" fmla="*/ 156416 h 198217"/>
                <a:gd name="connsiteX1510" fmla="*/ 290790 w 2337635"/>
                <a:gd name="connsiteY1510" fmla="*/ 153842 h 198217"/>
                <a:gd name="connsiteX1511" fmla="*/ 292294 w 2337635"/>
                <a:gd name="connsiteY1511" fmla="*/ 151819 h 198217"/>
                <a:gd name="connsiteX1512" fmla="*/ 293799 w 2337635"/>
                <a:gd name="connsiteY1512" fmla="*/ 150164 h 198217"/>
                <a:gd name="connsiteX1513" fmla="*/ 296976 w 2337635"/>
                <a:gd name="connsiteY1513" fmla="*/ 147590 h 198217"/>
                <a:gd name="connsiteX1514" fmla="*/ 299650 w 2337635"/>
                <a:gd name="connsiteY1514" fmla="*/ 146119 h 198217"/>
                <a:gd name="connsiteX1515" fmla="*/ 306170 w 2337635"/>
                <a:gd name="connsiteY1515" fmla="*/ 144463 h 198217"/>
                <a:gd name="connsiteX1516" fmla="*/ 141157 w 2337635"/>
                <a:gd name="connsiteY1516" fmla="*/ 144463 h 198217"/>
                <a:gd name="connsiteX1517" fmla="*/ 149516 w 2337635"/>
                <a:gd name="connsiteY1517" fmla="*/ 145934 h 198217"/>
                <a:gd name="connsiteX1518" fmla="*/ 154532 w 2337635"/>
                <a:gd name="connsiteY1518" fmla="*/ 149061 h 198217"/>
                <a:gd name="connsiteX1519" fmla="*/ 156872 w 2337635"/>
                <a:gd name="connsiteY1519" fmla="*/ 151267 h 198217"/>
                <a:gd name="connsiteX1520" fmla="*/ 159213 w 2337635"/>
                <a:gd name="connsiteY1520" fmla="*/ 154210 h 198217"/>
                <a:gd name="connsiteX1521" fmla="*/ 160551 w 2337635"/>
                <a:gd name="connsiteY1521" fmla="*/ 156600 h 198217"/>
                <a:gd name="connsiteX1522" fmla="*/ 162054 w 2337635"/>
                <a:gd name="connsiteY1522" fmla="*/ 160278 h 198217"/>
                <a:gd name="connsiteX1523" fmla="*/ 162724 w 2337635"/>
                <a:gd name="connsiteY1523" fmla="*/ 162669 h 198217"/>
                <a:gd name="connsiteX1524" fmla="*/ 163392 w 2337635"/>
                <a:gd name="connsiteY1524" fmla="*/ 166163 h 198217"/>
                <a:gd name="connsiteX1525" fmla="*/ 163225 w 2337635"/>
                <a:gd name="connsiteY1525" fmla="*/ 175909 h 198217"/>
                <a:gd name="connsiteX1526" fmla="*/ 162556 w 2337635"/>
                <a:gd name="connsiteY1526" fmla="*/ 179219 h 198217"/>
                <a:gd name="connsiteX1527" fmla="*/ 161720 w 2337635"/>
                <a:gd name="connsiteY1527" fmla="*/ 181794 h 198217"/>
                <a:gd name="connsiteX1528" fmla="*/ 161051 w 2337635"/>
                <a:gd name="connsiteY1528" fmla="*/ 183449 h 198217"/>
                <a:gd name="connsiteX1529" fmla="*/ 159547 w 2337635"/>
                <a:gd name="connsiteY1529" fmla="*/ 186391 h 198217"/>
                <a:gd name="connsiteX1530" fmla="*/ 158042 w 2337635"/>
                <a:gd name="connsiteY1530" fmla="*/ 188597 h 198217"/>
                <a:gd name="connsiteX1531" fmla="*/ 155702 w 2337635"/>
                <a:gd name="connsiteY1531" fmla="*/ 191172 h 198217"/>
                <a:gd name="connsiteX1532" fmla="*/ 153529 w 2337635"/>
                <a:gd name="connsiteY1532" fmla="*/ 193011 h 198217"/>
                <a:gd name="connsiteX1533" fmla="*/ 149684 w 2337635"/>
                <a:gd name="connsiteY1533" fmla="*/ 195218 h 198217"/>
                <a:gd name="connsiteX1534" fmla="*/ 144334 w 2337635"/>
                <a:gd name="connsiteY1534" fmla="*/ 196689 h 198217"/>
                <a:gd name="connsiteX1535" fmla="*/ 143498 w 2337635"/>
                <a:gd name="connsiteY1535" fmla="*/ 196873 h 198217"/>
                <a:gd name="connsiteX1536" fmla="*/ 140656 w 2337635"/>
                <a:gd name="connsiteY1536" fmla="*/ 196873 h 198217"/>
                <a:gd name="connsiteX1537" fmla="*/ 140489 w 2337635"/>
                <a:gd name="connsiteY1537" fmla="*/ 196873 h 198217"/>
                <a:gd name="connsiteX1538" fmla="*/ 131628 w 2337635"/>
                <a:gd name="connsiteY1538" fmla="*/ 193563 h 198217"/>
                <a:gd name="connsiteX1539" fmla="*/ 128452 w 2337635"/>
                <a:gd name="connsiteY1539" fmla="*/ 190804 h 198217"/>
                <a:gd name="connsiteX1540" fmla="*/ 126279 w 2337635"/>
                <a:gd name="connsiteY1540" fmla="*/ 188230 h 198217"/>
                <a:gd name="connsiteX1541" fmla="*/ 124774 w 2337635"/>
                <a:gd name="connsiteY1541" fmla="*/ 185839 h 198217"/>
                <a:gd name="connsiteX1542" fmla="*/ 123269 w 2337635"/>
                <a:gd name="connsiteY1542" fmla="*/ 182897 h 198217"/>
                <a:gd name="connsiteX1543" fmla="*/ 122433 w 2337635"/>
                <a:gd name="connsiteY1543" fmla="*/ 180875 h 198217"/>
                <a:gd name="connsiteX1544" fmla="*/ 121765 w 2337635"/>
                <a:gd name="connsiteY1544" fmla="*/ 178668 h 198217"/>
                <a:gd name="connsiteX1545" fmla="*/ 120929 w 2337635"/>
                <a:gd name="connsiteY1545" fmla="*/ 174806 h 198217"/>
                <a:gd name="connsiteX1546" fmla="*/ 120762 w 2337635"/>
                <a:gd name="connsiteY1546" fmla="*/ 172783 h 198217"/>
                <a:gd name="connsiteX1547" fmla="*/ 120929 w 2337635"/>
                <a:gd name="connsiteY1547" fmla="*/ 172967 h 198217"/>
                <a:gd name="connsiteX1548" fmla="*/ 120929 w 2337635"/>
                <a:gd name="connsiteY1548" fmla="*/ 169105 h 198217"/>
                <a:gd name="connsiteX1549" fmla="*/ 120929 w 2337635"/>
                <a:gd name="connsiteY1549" fmla="*/ 168921 h 198217"/>
                <a:gd name="connsiteX1550" fmla="*/ 121263 w 2337635"/>
                <a:gd name="connsiteY1550" fmla="*/ 165795 h 198217"/>
                <a:gd name="connsiteX1551" fmla="*/ 122099 w 2337635"/>
                <a:gd name="connsiteY1551" fmla="*/ 162117 h 198217"/>
                <a:gd name="connsiteX1552" fmla="*/ 122767 w 2337635"/>
                <a:gd name="connsiteY1552" fmla="*/ 159910 h 198217"/>
                <a:gd name="connsiteX1553" fmla="*/ 124272 w 2337635"/>
                <a:gd name="connsiteY1553" fmla="*/ 156416 h 198217"/>
                <a:gd name="connsiteX1554" fmla="*/ 125777 w 2337635"/>
                <a:gd name="connsiteY1554" fmla="*/ 153842 h 198217"/>
                <a:gd name="connsiteX1555" fmla="*/ 127281 w 2337635"/>
                <a:gd name="connsiteY1555" fmla="*/ 151819 h 198217"/>
                <a:gd name="connsiteX1556" fmla="*/ 128786 w 2337635"/>
                <a:gd name="connsiteY1556" fmla="*/ 150164 h 198217"/>
                <a:gd name="connsiteX1557" fmla="*/ 131962 w 2337635"/>
                <a:gd name="connsiteY1557" fmla="*/ 147590 h 198217"/>
                <a:gd name="connsiteX1558" fmla="*/ 134638 w 2337635"/>
                <a:gd name="connsiteY1558" fmla="*/ 146119 h 198217"/>
                <a:gd name="connsiteX1559" fmla="*/ 141157 w 2337635"/>
                <a:gd name="connsiteY1559" fmla="*/ 144463 h 198217"/>
                <a:gd name="connsiteX1560" fmla="*/ 2254193 w 2337635"/>
                <a:gd name="connsiteY1560" fmla="*/ 138868 h 198217"/>
                <a:gd name="connsiteX1561" fmla="*/ 2271058 w 2337635"/>
                <a:gd name="connsiteY1561" fmla="*/ 152613 h 198217"/>
                <a:gd name="connsiteX1562" fmla="*/ 2271384 w 2337635"/>
                <a:gd name="connsiteY1562" fmla="*/ 155849 h 198217"/>
                <a:gd name="connsiteX1563" fmla="*/ 2272349 w 2337635"/>
                <a:gd name="connsiteY1563" fmla="*/ 155849 h 198217"/>
                <a:gd name="connsiteX1564" fmla="*/ 2276738 w 2337635"/>
                <a:gd name="connsiteY1564" fmla="*/ 160125 h 198217"/>
                <a:gd name="connsiteX1565" fmla="*/ 2276738 w 2337635"/>
                <a:gd name="connsiteY1565" fmla="*/ 193942 h 198217"/>
                <a:gd name="connsiteX1566" fmla="*/ 2272349 w 2337635"/>
                <a:gd name="connsiteY1566" fmla="*/ 198217 h 198217"/>
                <a:gd name="connsiteX1567" fmla="*/ 2236039 w 2337635"/>
                <a:gd name="connsiteY1567" fmla="*/ 198217 h 198217"/>
                <a:gd name="connsiteX1568" fmla="*/ 2231649 w 2337635"/>
                <a:gd name="connsiteY1568" fmla="*/ 193942 h 198217"/>
                <a:gd name="connsiteX1569" fmla="*/ 2231649 w 2337635"/>
                <a:gd name="connsiteY1569" fmla="*/ 160125 h 198217"/>
                <a:gd name="connsiteX1570" fmla="*/ 2236039 w 2337635"/>
                <a:gd name="connsiteY1570" fmla="*/ 155849 h 198217"/>
                <a:gd name="connsiteX1571" fmla="*/ 2236606 w 2337635"/>
                <a:gd name="connsiteY1571" fmla="*/ 155849 h 198217"/>
                <a:gd name="connsiteX1572" fmla="*/ 2237003 w 2337635"/>
                <a:gd name="connsiteY1572" fmla="*/ 155849 h 198217"/>
                <a:gd name="connsiteX1573" fmla="*/ 2237330 w 2337635"/>
                <a:gd name="connsiteY1573" fmla="*/ 152613 h 198217"/>
                <a:gd name="connsiteX1574" fmla="*/ 2254193 w 2337635"/>
                <a:gd name="connsiteY1574" fmla="*/ 138868 h 198217"/>
                <a:gd name="connsiteX1575" fmla="*/ 1965623 w 2337635"/>
                <a:gd name="connsiteY1575" fmla="*/ 138868 h 198217"/>
                <a:gd name="connsiteX1576" fmla="*/ 1982488 w 2337635"/>
                <a:gd name="connsiteY1576" fmla="*/ 152613 h 198217"/>
                <a:gd name="connsiteX1577" fmla="*/ 1982814 w 2337635"/>
                <a:gd name="connsiteY1577" fmla="*/ 155849 h 198217"/>
                <a:gd name="connsiteX1578" fmla="*/ 1983779 w 2337635"/>
                <a:gd name="connsiteY1578" fmla="*/ 155849 h 198217"/>
                <a:gd name="connsiteX1579" fmla="*/ 1988168 w 2337635"/>
                <a:gd name="connsiteY1579" fmla="*/ 160125 h 198217"/>
                <a:gd name="connsiteX1580" fmla="*/ 1988168 w 2337635"/>
                <a:gd name="connsiteY1580" fmla="*/ 193942 h 198217"/>
                <a:gd name="connsiteX1581" fmla="*/ 1983779 w 2337635"/>
                <a:gd name="connsiteY1581" fmla="*/ 198217 h 198217"/>
                <a:gd name="connsiteX1582" fmla="*/ 1947468 w 2337635"/>
                <a:gd name="connsiteY1582" fmla="*/ 198217 h 198217"/>
                <a:gd name="connsiteX1583" fmla="*/ 1943079 w 2337635"/>
                <a:gd name="connsiteY1583" fmla="*/ 193942 h 198217"/>
                <a:gd name="connsiteX1584" fmla="*/ 1943079 w 2337635"/>
                <a:gd name="connsiteY1584" fmla="*/ 160125 h 198217"/>
                <a:gd name="connsiteX1585" fmla="*/ 1947468 w 2337635"/>
                <a:gd name="connsiteY1585" fmla="*/ 155849 h 198217"/>
                <a:gd name="connsiteX1586" fmla="*/ 1948036 w 2337635"/>
                <a:gd name="connsiteY1586" fmla="*/ 155849 h 198217"/>
                <a:gd name="connsiteX1587" fmla="*/ 1948433 w 2337635"/>
                <a:gd name="connsiteY1587" fmla="*/ 155849 h 198217"/>
                <a:gd name="connsiteX1588" fmla="*/ 1948760 w 2337635"/>
                <a:gd name="connsiteY1588" fmla="*/ 152613 h 198217"/>
                <a:gd name="connsiteX1589" fmla="*/ 1965623 w 2337635"/>
                <a:gd name="connsiteY1589" fmla="*/ 138868 h 198217"/>
                <a:gd name="connsiteX1590" fmla="*/ 1903870 w 2337635"/>
                <a:gd name="connsiteY1590" fmla="*/ 138868 h 198217"/>
                <a:gd name="connsiteX1591" fmla="*/ 1920734 w 2337635"/>
                <a:gd name="connsiteY1591" fmla="*/ 152613 h 198217"/>
                <a:gd name="connsiteX1592" fmla="*/ 1921060 w 2337635"/>
                <a:gd name="connsiteY1592" fmla="*/ 155849 h 198217"/>
                <a:gd name="connsiteX1593" fmla="*/ 1922025 w 2337635"/>
                <a:gd name="connsiteY1593" fmla="*/ 155849 h 198217"/>
                <a:gd name="connsiteX1594" fmla="*/ 1926414 w 2337635"/>
                <a:gd name="connsiteY1594" fmla="*/ 160125 h 198217"/>
                <a:gd name="connsiteX1595" fmla="*/ 1926414 w 2337635"/>
                <a:gd name="connsiteY1595" fmla="*/ 193942 h 198217"/>
                <a:gd name="connsiteX1596" fmla="*/ 1922025 w 2337635"/>
                <a:gd name="connsiteY1596" fmla="*/ 198217 h 198217"/>
                <a:gd name="connsiteX1597" fmla="*/ 1885714 w 2337635"/>
                <a:gd name="connsiteY1597" fmla="*/ 198217 h 198217"/>
                <a:gd name="connsiteX1598" fmla="*/ 1881325 w 2337635"/>
                <a:gd name="connsiteY1598" fmla="*/ 193942 h 198217"/>
                <a:gd name="connsiteX1599" fmla="*/ 1881325 w 2337635"/>
                <a:gd name="connsiteY1599" fmla="*/ 160125 h 198217"/>
                <a:gd name="connsiteX1600" fmla="*/ 1885714 w 2337635"/>
                <a:gd name="connsiteY1600" fmla="*/ 155849 h 198217"/>
                <a:gd name="connsiteX1601" fmla="*/ 1886282 w 2337635"/>
                <a:gd name="connsiteY1601" fmla="*/ 155849 h 198217"/>
                <a:gd name="connsiteX1602" fmla="*/ 1886679 w 2337635"/>
                <a:gd name="connsiteY1602" fmla="*/ 155849 h 198217"/>
                <a:gd name="connsiteX1603" fmla="*/ 1887006 w 2337635"/>
                <a:gd name="connsiteY1603" fmla="*/ 152613 h 198217"/>
                <a:gd name="connsiteX1604" fmla="*/ 1903870 w 2337635"/>
                <a:gd name="connsiteY1604" fmla="*/ 138868 h 198217"/>
                <a:gd name="connsiteX1605" fmla="*/ 1780313 w 2337635"/>
                <a:gd name="connsiteY1605" fmla="*/ 138868 h 198217"/>
                <a:gd name="connsiteX1606" fmla="*/ 1797177 w 2337635"/>
                <a:gd name="connsiteY1606" fmla="*/ 152613 h 198217"/>
                <a:gd name="connsiteX1607" fmla="*/ 1797503 w 2337635"/>
                <a:gd name="connsiteY1607" fmla="*/ 155849 h 198217"/>
                <a:gd name="connsiteX1608" fmla="*/ 1798468 w 2337635"/>
                <a:gd name="connsiteY1608" fmla="*/ 155849 h 198217"/>
                <a:gd name="connsiteX1609" fmla="*/ 1802857 w 2337635"/>
                <a:gd name="connsiteY1609" fmla="*/ 160125 h 198217"/>
                <a:gd name="connsiteX1610" fmla="*/ 1802857 w 2337635"/>
                <a:gd name="connsiteY1610" fmla="*/ 193942 h 198217"/>
                <a:gd name="connsiteX1611" fmla="*/ 1798468 w 2337635"/>
                <a:gd name="connsiteY1611" fmla="*/ 198217 h 198217"/>
                <a:gd name="connsiteX1612" fmla="*/ 1762157 w 2337635"/>
                <a:gd name="connsiteY1612" fmla="*/ 198217 h 198217"/>
                <a:gd name="connsiteX1613" fmla="*/ 1757768 w 2337635"/>
                <a:gd name="connsiteY1613" fmla="*/ 193942 h 198217"/>
                <a:gd name="connsiteX1614" fmla="*/ 1757768 w 2337635"/>
                <a:gd name="connsiteY1614" fmla="*/ 160125 h 198217"/>
                <a:gd name="connsiteX1615" fmla="*/ 1762157 w 2337635"/>
                <a:gd name="connsiteY1615" fmla="*/ 155849 h 198217"/>
                <a:gd name="connsiteX1616" fmla="*/ 1762725 w 2337635"/>
                <a:gd name="connsiteY1616" fmla="*/ 155849 h 198217"/>
                <a:gd name="connsiteX1617" fmla="*/ 1763122 w 2337635"/>
                <a:gd name="connsiteY1617" fmla="*/ 155849 h 198217"/>
                <a:gd name="connsiteX1618" fmla="*/ 1763449 w 2337635"/>
                <a:gd name="connsiteY1618" fmla="*/ 152613 h 198217"/>
                <a:gd name="connsiteX1619" fmla="*/ 1780313 w 2337635"/>
                <a:gd name="connsiteY1619" fmla="*/ 138868 h 198217"/>
                <a:gd name="connsiteX1620" fmla="*/ 1491742 w 2337635"/>
                <a:gd name="connsiteY1620" fmla="*/ 138868 h 198217"/>
                <a:gd name="connsiteX1621" fmla="*/ 1508607 w 2337635"/>
                <a:gd name="connsiteY1621" fmla="*/ 152613 h 198217"/>
                <a:gd name="connsiteX1622" fmla="*/ 1508933 w 2337635"/>
                <a:gd name="connsiteY1622" fmla="*/ 155849 h 198217"/>
                <a:gd name="connsiteX1623" fmla="*/ 1509898 w 2337635"/>
                <a:gd name="connsiteY1623" fmla="*/ 155849 h 198217"/>
                <a:gd name="connsiteX1624" fmla="*/ 1514287 w 2337635"/>
                <a:gd name="connsiteY1624" fmla="*/ 160125 h 198217"/>
                <a:gd name="connsiteX1625" fmla="*/ 1514287 w 2337635"/>
                <a:gd name="connsiteY1625" fmla="*/ 193942 h 198217"/>
                <a:gd name="connsiteX1626" fmla="*/ 1509898 w 2337635"/>
                <a:gd name="connsiteY1626" fmla="*/ 198217 h 198217"/>
                <a:gd name="connsiteX1627" fmla="*/ 1473587 w 2337635"/>
                <a:gd name="connsiteY1627" fmla="*/ 198217 h 198217"/>
                <a:gd name="connsiteX1628" fmla="*/ 1469198 w 2337635"/>
                <a:gd name="connsiteY1628" fmla="*/ 193942 h 198217"/>
                <a:gd name="connsiteX1629" fmla="*/ 1469198 w 2337635"/>
                <a:gd name="connsiteY1629" fmla="*/ 160125 h 198217"/>
                <a:gd name="connsiteX1630" fmla="*/ 1473587 w 2337635"/>
                <a:gd name="connsiteY1630" fmla="*/ 155849 h 198217"/>
                <a:gd name="connsiteX1631" fmla="*/ 1474155 w 2337635"/>
                <a:gd name="connsiteY1631" fmla="*/ 155849 h 198217"/>
                <a:gd name="connsiteX1632" fmla="*/ 1474552 w 2337635"/>
                <a:gd name="connsiteY1632" fmla="*/ 155849 h 198217"/>
                <a:gd name="connsiteX1633" fmla="*/ 1474879 w 2337635"/>
                <a:gd name="connsiteY1633" fmla="*/ 152613 h 198217"/>
                <a:gd name="connsiteX1634" fmla="*/ 1491742 w 2337635"/>
                <a:gd name="connsiteY1634" fmla="*/ 138868 h 198217"/>
                <a:gd name="connsiteX1635" fmla="*/ 1316580 w 2337635"/>
                <a:gd name="connsiteY1635" fmla="*/ 138868 h 198217"/>
                <a:gd name="connsiteX1636" fmla="*/ 1333445 w 2337635"/>
                <a:gd name="connsiteY1636" fmla="*/ 152613 h 198217"/>
                <a:gd name="connsiteX1637" fmla="*/ 1333771 w 2337635"/>
                <a:gd name="connsiteY1637" fmla="*/ 155849 h 198217"/>
                <a:gd name="connsiteX1638" fmla="*/ 1334736 w 2337635"/>
                <a:gd name="connsiteY1638" fmla="*/ 155849 h 198217"/>
                <a:gd name="connsiteX1639" fmla="*/ 1339125 w 2337635"/>
                <a:gd name="connsiteY1639" fmla="*/ 160125 h 198217"/>
                <a:gd name="connsiteX1640" fmla="*/ 1339125 w 2337635"/>
                <a:gd name="connsiteY1640" fmla="*/ 193942 h 198217"/>
                <a:gd name="connsiteX1641" fmla="*/ 1334736 w 2337635"/>
                <a:gd name="connsiteY1641" fmla="*/ 198217 h 198217"/>
                <a:gd name="connsiteX1642" fmla="*/ 1298425 w 2337635"/>
                <a:gd name="connsiteY1642" fmla="*/ 198217 h 198217"/>
                <a:gd name="connsiteX1643" fmla="*/ 1294036 w 2337635"/>
                <a:gd name="connsiteY1643" fmla="*/ 193942 h 198217"/>
                <a:gd name="connsiteX1644" fmla="*/ 1294036 w 2337635"/>
                <a:gd name="connsiteY1644" fmla="*/ 160125 h 198217"/>
                <a:gd name="connsiteX1645" fmla="*/ 1298425 w 2337635"/>
                <a:gd name="connsiteY1645" fmla="*/ 155849 h 198217"/>
                <a:gd name="connsiteX1646" fmla="*/ 1298993 w 2337635"/>
                <a:gd name="connsiteY1646" fmla="*/ 155849 h 198217"/>
                <a:gd name="connsiteX1647" fmla="*/ 1299390 w 2337635"/>
                <a:gd name="connsiteY1647" fmla="*/ 155849 h 198217"/>
                <a:gd name="connsiteX1648" fmla="*/ 1299717 w 2337635"/>
                <a:gd name="connsiteY1648" fmla="*/ 152613 h 198217"/>
                <a:gd name="connsiteX1649" fmla="*/ 1316580 w 2337635"/>
                <a:gd name="connsiteY1649" fmla="*/ 138868 h 198217"/>
                <a:gd name="connsiteX1650" fmla="*/ 1254827 w 2337635"/>
                <a:gd name="connsiteY1650" fmla="*/ 138868 h 198217"/>
                <a:gd name="connsiteX1651" fmla="*/ 1271691 w 2337635"/>
                <a:gd name="connsiteY1651" fmla="*/ 152613 h 198217"/>
                <a:gd name="connsiteX1652" fmla="*/ 1272017 w 2337635"/>
                <a:gd name="connsiteY1652" fmla="*/ 155849 h 198217"/>
                <a:gd name="connsiteX1653" fmla="*/ 1272982 w 2337635"/>
                <a:gd name="connsiteY1653" fmla="*/ 155849 h 198217"/>
                <a:gd name="connsiteX1654" fmla="*/ 1277371 w 2337635"/>
                <a:gd name="connsiteY1654" fmla="*/ 160125 h 198217"/>
                <a:gd name="connsiteX1655" fmla="*/ 1277371 w 2337635"/>
                <a:gd name="connsiteY1655" fmla="*/ 193942 h 198217"/>
                <a:gd name="connsiteX1656" fmla="*/ 1272982 w 2337635"/>
                <a:gd name="connsiteY1656" fmla="*/ 198217 h 198217"/>
                <a:gd name="connsiteX1657" fmla="*/ 1236671 w 2337635"/>
                <a:gd name="connsiteY1657" fmla="*/ 198217 h 198217"/>
                <a:gd name="connsiteX1658" fmla="*/ 1232282 w 2337635"/>
                <a:gd name="connsiteY1658" fmla="*/ 193942 h 198217"/>
                <a:gd name="connsiteX1659" fmla="*/ 1232282 w 2337635"/>
                <a:gd name="connsiteY1659" fmla="*/ 160125 h 198217"/>
                <a:gd name="connsiteX1660" fmla="*/ 1236671 w 2337635"/>
                <a:gd name="connsiteY1660" fmla="*/ 155849 h 198217"/>
                <a:gd name="connsiteX1661" fmla="*/ 1237239 w 2337635"/>
                <a:gd name="connsiteY1661" fmla="*/ 155849 h 198217"/>
                <a:gd name="connsiteX1662" fmla="*/ 1237636 w 2337635"/>
                <a:gd name="connsiteY1662" fmla="*/ 155849 h 198217"/>
                <a:gd name="connsiteX1663" fmla="*/ 1237963 w 2337635"/>
                <a:gd name="connsiteY1663" fmla="*/ 152613 h 198217"/>
                <a:gd name="connsiteX1664" fmla="*/ 1254827 w 2337635"/>
                <a:gd name="connsiteY1664" fmla="*/ 138868 h 198217"/>
                <a:gd name="connsiteX1665" fmla="*/ 1079665 w 2337635"/>
                <a:gd name="connsiteY1665" fmla="*/ 138868 h 198217"/>
                <a:gd name="connsiteX1666" fmla="*/ 1096529 w 2337635"/>
                <a:gd name="connsiteY1666" fmla="*/ 152613 h 198217"/>
                <a:gd name="connsiteX1667" fmla="*/ 1096855 w 2337635"/>
                <a:gd name="connsiteY1667" fmla="*/ 155849 h 198217"/>
                <a:gd name="connsiteX1668" fmla="*/ 1097820 w 2337635"/>
                <a:gd name="connsiteY1668" fmla="*/ 155849 h 198217"/>
                <a:gd name="connsiteX1669" fmla="*/ 1102210 w 2337635"/>
                <a:gd name="connsiteY1669" fmla="*/ 160125 h 198217"/>
                <a:gd name="connsiteX1670" fmla="*/ 1102210 w 2337635"/>
                <a:gd name="connsiteY1670" fmla="*/ 193942 h 198217"/>
                <a:gd name="connsiteX1671" fmla="*/ 1097820 w 2337635"/>
                <a:gd name="connsiteY1671" fmla="*/ 198217 h 198217"/>
                <a:gd name="connsiteX1672" fmla="*/ 1061510 w 2337635"/>
                <a:gd name="connsiteY1672" fmla="*/ 198217 h 198217"/>
                <a:gd name="connsiteX1673" fmla="*/ 1057121 w 2337635"/>
                <a:gd name="connsiteY1673" fmla="*/ 193942 h 198217"/>
                <a:gd name="connsiteX1674" fmla="*/ 1057121 w 2337635"/>
                <a:gd name="connsiteY1674" fmla="*/ 160125 h 198217"/>
                <a:gd name="connsiteX1675" fmla="*/ 1061510 w 2337635"/>
                <a:gd name="connsiteY1675" fmla="*/ 155849 h 198217"/>
                <a:gd name="connsiteX1676" fmla="*/ 1062077 w 2337635"/>
                <a:gd name="connsiteY1676" fmla="*/ 155849 h 198217"/>
                <a:gd name="connsiteX1677" fmla="*/ 1062475 w 2337635"/>
                <a:gd name="connsiteY1677" fmla="*/ 155849 h 198217"/>
                <a:gd name="connsiteX1678" fmla="*/ 1062801 w 2337635"/>
                <a:gd name="connsiteY1678" fmla="*/ 152613 h 198217"/>
                <a:gd name="connsiteX1679" fmla="*/ 1079665 w 2337635"/>
                <a:gd name="connsiteY1679" fmla="*/ 138868 h 198217"/>
                <a:gd name="connsiteX1680" fmla="*/ 1017912 w 2337635"/>
                <a:gd name="connsiteY1680" fmla="*/ 138868 h 198217"/>
                <a:gd name="connsiteX1681" fmla="*/ 1034776 w 2337635"/>
                <a:gd name="connsiteY1681" fmla="*/ 152613 h 198217"/>
                <a:gd name="connsiteX1682" fmla="*/ 1035102 w 2337635"/>
                <a:gd name="connsiteY1682" fmla="*/ 155849 h 198217"/>
                <a:gd name="connsiteX1683" fmla="*/ 1036067 w 2337635"/>
                <a:gd name="connsiteY1683" fmla="*/ 155849 h 198217"/>
                <a:gd name="connsiteX1684" fmla="*/ 1040456 w 2337635"/>
                <a:gd name="connsiteY1684" fmla="*/ 160125 h 198217"/>
                <a:gd name="connsiteX1685" fmla="*/ 1040456 w 2337635"/>
                <a:gd name="connsiteY1685" fmla="*/ 193942 h 198217"/>
                <a:gd name="connsiteX1686" fmla="*/ 1036067 w 2337635"/>
                <a:gd name="connsiteY1686" fmla="*/ 198217 h 198217"/>
                <a:gd name="connsiteX1687" fmla="*/ 999757 w 2337635"/>
                <a:gd name="connsiteY1687" fmla="*/ 198217 h 198217"/>
                <a:gd name="connsiteX1688" fmla="*/ 995368 w 2337635"/>
                <a:gd name="connsiteY1688" fmla="*/ 193942 h 198217"/>
                <a:gd name="connsiteX1689" fmla="*/ 995368 w 2337635"/>
                <a:gd name="connsiteY1689" fmla="*/ 160125 h 198217"/>
                <a:gd name="connsiteX1690" fmla="*/ 999757 w 2337635"/>
                <a:gd name="connsiteY1690" fmla="*/ 155849 h 198217"/>
                <a:gd name="connsiteX1691" fmla="*/ 1000324 w 2337635"/>
                <a:gd name="connsiteY1691" fmla="*/ 155849 h 198217"/>
                <a:gd name="connsiteX1692" fmla="*/ 1000721 w 2337635"/>
                <a:gd name="connsiteY1692" fmla="*/ 155849 h 198217"/>
                <a:gd name="connsiteX1693" fmla="*/ 1001048 w 2337635"/>
                <a:gd name="connsiteY1693" fmla="*/ 152613 h 198217"/>
                <a:gd name="connsiteX1694" fmla="*/ 1017912 w 2337635"/>
                <a:gd name="connsiteY1694" fmla="*/ 138868 h 198217"/>
                <a:gd name="connsiteX1695" fmla="*/ 842750 w 2337635"/>
                <a:gd name="connsiteY1695" fmla="*/ 138868 h 198217"/>
                <a:gd name="connsiteX1696" fmla="*/ 859614 w 2337635"/>
                <a:gd name="connsiteY1696" fmla="*/ 152613 h 198217"/>
                <a:gd name="connsiteX1697" fmla="*/ 859940 w 2337635"/>
                <a:gd name="connsiteY1697" fmla="*/ 155849 h 198217"/>
                <a:gd name="connsiteX1698" fmla="*/ 860905 w 2337635"/>
                <a:gd name="connsiteY1698" fmla="*/ 155849 h 198217"/>
                <a:gd name="connsiteX1699" fmla="*/ 865294 w 2337635"/>
                <a:gd name="connsiteY1699" fmla="*/ 160125 h 198217"/>
                <a:gd name="connsiteX1700" fmla="*/ 865294 w 2337635"/>
                <a:gd name="connsiteY1700" fmla="*/ 193942 h 198217"/>
                <a:gd name="connsiteX1701" fmla="*/ 860905 w 2337635"/>
                <a:gd name="connsiteY1701" fmla="*/ 198217 h 198217"/>
                <a:gd name="connsiteX1702" fmla="*/ 824595 w 2337635"/>
                <a:gd name="connsiteY1702" fmla="*/ 198217 h 198217"/>
                <a:gd name="connsiteX1703" fmla="*/ 820206 w 2337635"/>
                <a:gd name="connsiteY1703" fmla="*/ 193942 h 198217"/>
                <a:gd name="connsiteX1704" fmla="*/ 820206 w 2337635"/>
                <a:gd name="connsiteY1704" fmla="*/ 160125 h 198217"/>
                <a:gd name="connsiteX1705" fmla="*/ 824595 w 2337635"/>
                <a:gd name="connsiteY1705" fmla="*/ 155849 h 198217"/>
                <a:gd name="connsiteX1706" fmla="*/ 825162 w 2337635"/>
                <a:gd name="connsiteY1706" fmla="*/ 155849 h 198217"/>
                <a:gd name="connsiteX1707" fmla="*/ 825560 w 2337635"/>
                <a:gd name="connsiteY1707" fmla="*/ 155849 h 198217"/>
                <a:gd name="connsiteX1708" fmla="*/ 825886 w 2337635"/>
                <a:gd name="connsiteY1708" fmla="*/ 152613 h 198217"/>
                <a:gd name="connsiteX1709" fmla="*/ 842750 w 2337635"/>
                <a:gd name="connsiteY1709" fmla="*/ 138868 h 198217"/>
                <a:gd name="connsiteX1710" fmla="*/ 554180 w 2337635"/>
                <a:gd name="connsiteY1710" fmla="*/ 138868 h 198217"/>
                <a:gd name="connsiteX1711" fmla="*/ 571043 w 2337635"/>
                <a:gd name="connsiteY1711" fmla="*/ 152613 h 198217"/>
                <a:gd name="connsiteX1712" fmla="*/ 571370 w 2337635"/>
                <a:gd name="connsiteY1712" fmla="*/ 155849 h 198217"/>
                <a:gd name="connsiteX1713" fmla="*/ 572335 w 2337635"/>
                <a:gd name="connsiteY1713" fmla="*/ 155849 h 198217"/>
                <a:gd name="connsiteX1714" fmla="*/ 576724 w 2337635"/>
                <a:gd name="connsiteY1714" fmla="*/ 160125 h 198217"/>
                <a:gd name="connsiteX1715" fmla="*/ 576724 w 2337635"/>
                <a:gd name="connsiteY1715" fmla="*/ 193942 h 198217"/>
                <a:gd name="connsiteX1716" fmla="*/ 572335 w 2337635"/>
                <a:gd name="connsiteY1716" fmla="*/ 198217 h 198217"/>
                <a:gd name="connsiteX1717" fmla="*/ 536024 w 2337635"/>
                <a:gd name="connsiteY1717" fmla="*/ 198217 h 198217"/>
                <a:gd name="connsiteX1718" fmla="*/ 531635 w 2337635"/>
                <a:gd name="connsiteY1718" fmla="*/ 193942 h 198217"/>
                <a:gd name="connsiteX1719" fmla="*/ 531635 w 2337635"/>
                <a:gd name="connsiteY1719" fmla="*/ 160125 h 198217"/>
                <a:gd name="connsiteX1720" fmla="*/ 536024 w 2337635"/>
                <a:gd name="connsiteY1720" fmla="*/ 155849 h 198217"/>
                <a:gd name="connsiteX1721" fmla="*/ 536592 w 2337635"/>
                <a:gd name="connsiteY1721" fmla="*/ 155849 h 198217"/>
                <a:gd name="connsiteX1722" fmla="*/ 536989 w 2337635"/>
                <a:gd name="connsiteY1722" fmla="*/ 155849 h 198217"/>
                <a:gd name="connsiteX1723" fmla="*/ 537316 w 2337635"/>
                <a:gd name="connsiteY1723" fmla="*/ 152613 h 198217"/>
                <a:gd name="connsiteX1724" fmla="*/ 554180 w 2337635"/>
                <a:gd name="connsiteY1724" fmla="*/ 138868 h 198217"/>
                <a:gd name="connsiteX1725" fmla="*/ 492426 w 2337635"/>
                <a:gd name="connsiteY1725" fmla="*/ 138868 h 198217"/>
                <a:gd name="connsiteX1726" fmla="*/ 509290 w 2337635"/>
                <a:gd name="connsiteY1726" fmla="*/ 152613 h 198217"/>
                <a:gd name="connsiteX1727" fmla="*/ 509616 w 2337635"/>
                <a:gd name="connsiteY1727" fmla="*/ 155849 h 198217"/>
                <a:gd name="connsiteX1728" fmla="*/ 510581 w 2337635"/>
                <a:gd name="connsiteY1728" fmla="*/ 155849 h 198217"/>
                <a:gd name="connsiteX1729" fmla="*/ 514970 w 2337635"/>
                <a:gd name="connsiteY1729" fmla="*/ 160125 h 198217"/>
                <a:gd name="connsiteX1730" fmla="*/ 514970 w 2337635"/>
                <a:gd name="connsiteY1730" fmla="*/ 193942 h 198217"/>
                <a:gd name="connsiteX1731" fmla="*/ 510581 w 2337635"/>
                <a:gd name="connsiteY1731" fmla="*/ 198217 h 198217"/>
                <a:gd name="connsiteX1732" fmla="*/ 474271 w 2337635"/>
                <a:gd name="connsiteY1732" fmla="*/ 198217 h 198217"/>
                <a:gd name="connsiteX1733" fmla="*/ 469882 w 2337635"/>
                <a:gd name="connsiteY1733" fmla="*/ 193942 h 198217"/>
                <a:gd name="connsiteX1734" fmla="*/ 469882 w 2337635"/>
                <a:gd name="connsiteY1734" fmla="*/ 160125 h 198217"/>
                <a:gd name="connsiteX1735" fmla="*/ 474271 w 2337635"/>
                <a:gd name="connsiteY1735" fmla="*/ 155849 h 198217"/>
                <a:gd name="connsiteX1736" fmla="*/ 474839 w 2337635"/>
                <a:gd name="connsiteY1736" fmla="*/ 155849 h 198217"/>
                <a:gd name="connsiteX1737" fmla="*/ 475236 w 2337635"/>
                <a:gd name="connsiteY1737" fmla="*/ 155849 h 198217"/>
                <a:gd name="connsiteX1738" fmla="*/ 475562 w 2337635"/>
                <a:gd name="connsiteY1738" fmla="*/ 152613 h 198217"/>
                <a:gd name="connsiteX1739" fmla="*/ 492426 w 2337635"/>
                <a:gd name="connsiteY1739" fmla="*/ 138868 h 198217"/>
                <a:gd name="connsiteX1740" fmla="*/ 368869 w 2337635"/>
                <a:gd name="connsiteY1740" fmla="*/ 138868 h 198217"/>
                <a:gd name="connsiteX1741" fmla="*/ 385733 w 2337635"/>
                <a:gd name="connsiteY1741" fmla="*/ 152613 h 198217"/>
                <a:gd name="connsiteX1742" fmla="*/ 386059 w 2337635"/>
                <a:gd name="connsiteY1742" fmla="*/ 155849 h 198217"/>
                <a:gd name="connsiteX1743" fmla="*/ 387024 w 2337635"/>
                <a:gd name="connsiteY1743" fmla="*/ 155849 h 198217"/>
                <a:gd name="connsiteX1744" fmla="*/ 391413 w 2337635"/>
                <a:gd name="connsiteY1744" fmla="*/ 160125 h 198217"/>
                <a:gd name="connsiteX1745" fmla="*/ 391413 w 2337635"/>
                <a:gd name="connsiteY1745" fmla="*/ 193942 h 198217"/>
                <a:gd name="connsiteX1746" fmla="*/ 387024 w 2337635"/>
                <a:gd name="connsiteY1746" fmla="*/ 198217 h 198217"/>
                <a:gd name="connsiteX1747" fmla="*/ 350713 w 2337635"/>
                <a:gd name="connsiteY1747" fmla="*/ 198217 h 198217"/>
                <a:gd name="connsiteX1748" fmla="*/ 346325 w 2337635"/>
                <a:gd name="connsiteY1748" fmla="*/ 193942 h 198217"/>
                <a:gd name="connsiteX1749" fmla="*/ 346325 w 2337635"/>
                <a:gd name="connsiteY1749" fmla="*/ 160125 h 198217"/>
                <a:gd name="connsiteX1750" fmla="*/ 350713 w 2337635"/>
                <a:gd name="connsiteY1750" fmla="*/ 155849 h 198217"/>
                <a:gd name="connsiteX1751" fmla="*/ 351281 w 2337635"/>
                <a:gd name="connsiteY1751" fmla="*/ 155849 h 198217"/>
                <a:gd name="connsiteX1752" fmla="*/ 351679 w 2337635"/>
                <a:gd name="connsiteY1752" fmla="*/ 155849 h 198217"/>
                <a:gd name="connsiteX1753" fmla="*/ 352004 w 2337635"/>
                <a:gd name="connsiteY1753" fmla="*/ 152613 h 198217"/>
                <a:gd name="connsiteX1754" fmla="*/ 368869 w 2337635"/>
                <a:gd name="connsiteY1754" fmla="*/ 138868 h 198217"/>
                <a:gd name="connsiteX1755" fmla="*/ 80298 w 2337635"/>
                <a:gd name="connsiteY1755" fmla="*/ 138868 h 198217"/>
                <a:gd name="connsiteX1756" fmla="*/ 97163 w 2337635"/>
                <a:gd name="connsiteY1756" fmla="*/ 152613 h 198217"/>
                <a:gd name="connsiteX1757" fmla="*/ 97489 w 2337635"/>
                <a:gd name="connsiteY1757" fmla="*/ 155849 h 198217"/>
                <a:gd name="connsiteX1758" fmla="*/ 98453 w 2337635"/>
                <a:gd name="connsiteY1758" fmla="*/ 155849 h 198217"/>
                <a:gd name="connsiteX1759" fmla="*/ 102843 w 2337635"/>
                <a:gd name="connsiteY1759" fmla="*/ 160125 h 198217"/>
                <a:gd name="connsiteX1760" fmla="*/ 102843 w 2337635"/>
                <a:gd name="connsiteY1760" fmla="*/ 193942 h 198217"/>
                <a:gd name="connsiteX1761" fmla="*/ 98453 w 2337635"/>
                <a:gd name="connsiteY1761" fmla="*/ 198217 h 198217"/>
                <a:gd name="connsiteX1762" fmla="*/ 62143 w 2337635"/>
                <a:gd name="connsiteY1762" fmla="*/ 198217 h 198217"/>
                <a:gd name="connsiteX1763" fmla="*/ 57754 w 2337635"/>
                <a:gd name="connsiteY1763" fmla="*/ 193942 h 198217"/>
                <a:gd name="connsiteX1764" fmla="*/ 57754 w 2337635"/>
                <a:gd name="connsiteY1764" fmla="*/ 160125 h 198217"/>
                <a:gd name="connsiteX1765" fmla="*/ 62143 w 2337635"/>
                <a:gd name="connsiteY1765" fmla="*/ 155849 h 198217"/>
                <a:gd name="connsiteX1766" fmla="*/ 62711 w 2337635"/>
                <a:gd name="connsiteY1766" fmla="*/ 155849 h 198217"/>
                <a:gd name="connsiteX1767" fmla="*/ 63108 w 2337635"/>
                <a:gd name="connsiteY1767" fmla="*/ 155849 h 198217"/>
                <a:gd name="connsiteX1768" fmla="*/ 63434 w 2337635"/>
                <a:gd name="connsiteY1768" fmla="*/ 152613 h 198217"/>
                <a:gd name="connsiteX1769" fmla="*/ 80298 w 2337635"/>
                <a:gd name="connsiteY1769" fmla="*/ 138868 h 198217"/>
                <a:gd name="connsiteX1770" fmla="*/ 24074 w 2337635"/>
                <a:gd name="connsiteY1770" fmla="*/ 83946 h 198217"/>
                <a:gd name="connsiteX1771" fmla="*/ 16216 w 2337635"/>
                <a:gd name="connsiteY1771" fmla="*/ 85601 h 198217"/>
                <a:gd name="connsiteX1772" fmla="*/ 14043 w 2337635"/>
                <a:gd name="connsiteY1772" fmla="*/ 87992 h 198217"/>
                <a:gd name="connsiteX1773" fmla="*/ 12538 w 2337635"/>
                <a:gd name="connsiteY1773" fmla="*/ 90567 h 198217"/>
                <a:gd name="connsiteX1774" fmla="*/ 11870 w 2337635"/>
                <a:gd name="connsiteY1774" fmla="*/ 92405 h 198217"/>
                <a:gd name="connsiteX1775" fmla="*/ 11201 w 2337635"/>
                <a:gd name="connsiteY1775" fmla="*/ 95164 h 198217"/>
                <a:gd name="connsiteX1776" fmla="*/ 10532 w 2337635"/>
                <a:gd name="connsiteY1776" fmla="*/ 99945 h 198217"/>
                <a:gd name="connsiteX1777" fmla="*/ 11201 w 2337635"/>
                <a:gd name="connsiteY1777" fmla="*/ 104910 h 198217"/>
                <a:gd name="connsiteX1778" fmla="*/ 12037 w 2337635"/>
                <a:gd name="connsiteY1778" fmla="*/ 107484 h 198217"/>
                <a:gd name="connsiteX1779" fmla="*/ 13541 w 2337635"/>
                <a:gd name="connsiteY1779" fmla="*/ 110427 h 198217"/>
                <a:gd name="connsiteX1780" fmla="*/ 15882 w 2337635"/>
                <a:gd name="connsiteY1780" fmla="*/ 113370 h 198217"/>
                <a:gd name="connsiteX1781" fmla="*/ 18891 w 2337635"/>
                <a:gd name="connsiteY1781" fmla="*/ 115208 h 198217"/>
                <a:gd name="connsiteX1782" fmla="*/ 27250 w 2337635"/>
                <a:gd name="connsiteY1782" fmla="*/ 113553 h 198217"/>
                <a:gd name="connsiteX1783" fmla="*/ 29423 w 2337635"/>
                <a:gd name="connsiteY1783" fmla="*/ 111163 h 198217"/>
                <a:gd name="connsiteX1784" fmla="*/ 31095 w 2337635"/>
                <a:gd name="connsiteY1784" fmla="*/ 108220 h 198217"/>
                <a:gd name="connsiteX1785" fmla="*/ 31763 w 2337635"/>
                <a:gd name="connsiteY1785" fmla="*/ 106749 h 198217"/>
                <a:gd name="connsiteX1786" fmla="*/ 32600 w 2337635"/>
                <a:gd name="connsiteY1786" fmla="*/ 103807 h 198217"/>
                <a:gd name="connsiteX1787" fmla="*/ 32265 w 2337635"/>
                <a:gd name="connsiteY1787" fmla="*/ 94428 h 198217"/>
                <a:gd name="connsiteX1788" fmla="*/ 31597 w 2337635"/>
                <a:gd name="connsiteY1788" fmla="*/ 92405 h 198217"/>
                <a:gd name="connsiteX1789" fmla="*/ 30761 w 2337635"/>
                <a:gd name="connsiteY1789" fmla="*/ 90383 h 198217"/>
                <a:gd name="connsiteX1790" fmla="*/ 29256 w 2337635"/>
                <a:gd name="connsiteY1790" fmla="*/ 87992 h 198217"/>
                <a:gd name="connsiteX1791" fmla="*/ 26749 w 2337635"/>
                <a:gd name="connsiteY1791" fmla="*/ 85418 h 198217"/>
                <a:gd name="connsiteX1792" fmla="*/ 24074 w 2337635"/>
                <a:gd name="connsiteY1792" fmla="*/ 83946 h 198217"/>
                <a:gd name="connsiteX1793" fmla="*/ 2317384 w 2337635"/>
                <a:gd name="connsiteY1793" fmla="*/ 76442 h 198217"/>
                <a:gd name="connsiteX1794" fmla="*/ 2320142 w 2337635"/>
                <a:gd name="connsiteY1794" fmla="*/ 76442 h 198217"/>
                <a:gd name="connsiteX1795" fmla="*/ 2323269 w 2337635"/>
                <a:gd name="connsiteY1795" fmla="*/ 78097 h 198217"/>
                <a:gd name="connsiteX1796" fmla="*/ 2324740 w 2337635"/>
                <a:gd name="connsiteY1796" fmla="*/ 82326 h 198217"/>
                <a:gd name="connsiteX1797" fmla="*/ 2324740 w 2337635"/>
                <a:gd name="connsiteY1797" fmla="*/ 82694 h 198217"/>
                <a:gd name="connsiteX1798" fmla="*/ 2324740 w 2337635"/>
                <a:gd name="connsiteY1798" fmla="*/ 118738 h 198217"/>
                <a:gd name="connsiteX1799" fmla="*/ 2325107 w 2337635"/>
                <a:gd name="connsiteY1799" fmla="*/ 119105 h 198217"/>
                <a:gd name="connsiteX1800" fmla="*/ 2330072 w 2337635"/>
                <a:gd name="connsiteY1800" fmla="*/ 119105 h 198217"/>
                <a:gd name="connsiteX1801" fmla="*/ 2332831 w 2337635"/>
                <a:gd name="connsiteY1801" fmla="*/ 119841 h 198217"/>
                <a:gd name="connsiteX1802" fmla="*/ 2335406 w 2337635"/>
                <a:gd name="connsiteY1802" fmla="*/ 124438 h 198217"/>
                <a:gd name="connsiteX1803" fmla="*/ 2333567 w 2337635"/>
                <a:gd name="connsiteY1803" fmla="*/ 128300 h 198217"/>
                <a:gd name="connsiteX1804" fmla="*/ 2330808 w 2337635"/>
                <a:gd name="connsiteY1804" fmla="*/ 129587 h 198217"/>
                <a:gd name="connsiteX1805" fmla="*/ 2330624 w 2337635"/>
                <a:gd name="connsiteY1805" fmla="*/ 129587 h 198217"/>
                <a:gd name="connsiteX1806" fmla="*/ 2330440 w 2337635"/>
                <a:gd name="connsiteY1806" fmla="*/ 129587 h 198217"/>
                <a:gd name="connsiteX1807" fmla="*/ 2330072 w 2337635"/>
                <a:gd name="connsiteY1807" fmla="*/ 129587 h 198217"/>
                <a:gd name="connsiteX1808" fmla="*/ 2308190 w 2337635"/>
                <a:gd name="connsiteY1808" fmla="*/ 129587 h 198217"/>
                <a:gd name="connsiteX1809" fmla="*/ 2307822 w 2337635"/>
                <a:gd name="connsiteY1809" fmla="*/ 129587 h 198217"/>
                <a:gd name="connsiteX1810" fmla="*/ 2307269 w 2337635"/>
                <a:gd name="connsiteY1810" fmla="*/ 129587 h 198217"/>
                <a:gd name="connsiteX1811" fmla="*/ 2306718 w 2337635"/>
                <a:gd name="connsiteY1811" fmla="*/ 129404 h 198217"/>
                <a:gd name="connsiteX1812" fmla="*/ 2304327 w 2337635"/>
                <a:gd name="connsiteY1812" fmla="*/ 128116 h 198217"/>
                <a:gd name="connsiteX1813" fmla="*/ 2302672 w 2337635"/>
                <a:gd name="connsiteY1813" fmla="*/ 124254 h 198217"/>
                <a:gd name="connsiteX1814" fmla="*/ 2304144 w 2337635"/>
                <a:gd name="connsiteY1814" fmla="*/ 120761 h 198217"/>
                <a:gd name="connsiteX1815" fmla="*/ 2308005 w 2337635"/>
                <a:gd name="connsiteY1815" fmla="*/ 119105 h 198217"/>
                <a:gd name="connsiteX1816" fmla="*/ 2313338 w 2337635"/>
                <a:gd name="connsiteY1816" fmla="*/ 119105 h 198217"/>
                <a:gd name="connsiteX1817" fmla="*/ 2313706 w 2337635"/>
                <a:gd name="connsiteY1817" fmla="*/ 118738 h 198217"/>
                <a:gd name="connsiteX1818" fmla="*/ 2313706 w 2337635"/>
                <a:gd name="connsiteY1818" fmla="*/ 87476 h 198217"/>
                <a:gd name="connsiteX1819" fmla="*/ 2313338 w 2337635"/>
                <a:gd name="connsiteY1819" fmla="*/ 87108 h 198217"/>
                <a:gd name="connsiteX1820" fmla="*/ 2309293 w 2337635"/>
                <a:gd name="connsiteY1820" fmla="*/ 87108 h 198217"/>
                <a:gd name="connsiteX1821" fmla="*/ 2304327 w 2337635"/>
                <a:gd name="connsiteY1821" fmla="*/ 83982 h 198217"/>
                <a:gd name="connsiteX1822" fmla="*/ 2304144 w 2337635"/>
                <a:gd name="connsiteY1822" fmla="*/ 80120 h 198217"/>
                <a:gd name="connsiteX1823" fmla="*/ 2309108 w 2337635"/>
                <a:gd name="connsiteY1823" fmla="*/ 76626 h 198217"/>
                <a:gd name="connsiteX1824" fmla="*/ 2317384 w 2337635"/>
                <a:gd name="connsiteY1824" fmla="*/ 76442 h 198217"/>
                <a:gd name="connsiteX1825" fmla="*/ 20396 w 2337635"/>
                <a:gd name="connsiteY1825" fmla="*/ 73096 h 198217"/>
                <a:gd name="connsiteX1826" fmla="*/ 28754 w 2337635"/>
                <a:gd name="connsiteY1826" fmla="*/ 74568 h 198217"/>
                <a:gd name="connsiteX1827" fmla="*/ 33770 w 2337635"/>
                <a:gd name="connsiteY1827" fmla="*/ 77694 h 198217"/>
                <a:gd name="connsiteX1828" fmla="*/ 36110 w 2337635"/>
                <a:gd name="connsiteY1828" fmla="*/ 79900 h 198217"/>
                <a:gd name="connsiteX1829" fmla="*/ 38450 w 2337635"/>
                <a:gd name="connsiteY1829" fmla="*/ 82843 h 198217"/>
                <a:gd name="connsiteX1830" fmla="*/ 39788 w 2337635"/>
                <a:gd name="connsiteY1830" fmla="*/ 85233 h 198217"/>
                <a:gd name="connsiteX1831" fmla="*/ 41293 w 2337635"/>
                <a:gd name="connsiteY1831" fmla="*/ 88911 h 198217"/>
                <a:gd name="connsiteX1832" fmla="*/ 41961 w 2337635"/>
                <a:gd name="connsiteY1832" fmla="*/ 91302 h 198217"/>
                <a:gd name="connsiteX1833" fmla="*/ 42630 w 2337635"/>
                <a:gd name="connsiteY1833" fmla="*/ 94796 h 198217"/>
                <a:gd name="connsiteX1834" fmla="*/ 42463 w 2337635"/>
                <a:gd name="connsiteY1834" fmla="*/ 104542 h 198217"/>
                <a:gd name="connsiteX1835" fmla="*/ 41795 w 2337635"/>
                <a:gd name="connsiteY1835" fmla="*/ 107852 h 198217"/>
                <a:gd name="connsiteX1836" fmla="*/ 40958 w 2337635"/>
                <a:gd name="connsiteY1836" fmla="*/ 110427 h 198217"/>
                <a:gd name="connsiteX1837" fmla="*/ 40289 w 2337635"/>
                <a:gd name="connsiteY1837" fmla="*/ 112082 h 198217"/>
                <a:gd name="connsiteX1838" fmla="*/ 38785 w 2337635"/>
                <a:gd name="connsiteY1838" fmla="*/ 115024 h 198217"/>
                <a:gd name="connsiteX1839" fmla="*/ 37281 w 2337635"/>
                <a:gd name="connsiteY1839" fmla="*/ 117231 h 198217"/>
                <a:gd name="connsiteX1840" fmla="*/ 34940 w 2337635"/>
                <a:gd name="connsiteY1840" fmla="*/ 119806 h 198217"/>
                <a:gd name="connsiteX1841" fmla="*/ 32767 w 2337635"/>
                <a:gd name="connsiteY1841" fmla="*/ 121645 h 198217"/>
                <a:gd name="connsiteX1842" fmla="*/ 28922 w 2337635"/>
                <a:gd name="connsiteY1842" fmla="*/ 123851 h 198217"/>
                <a:gd name="connsiteX1843" fmla="*/ 23572 w 2337635"/>
                <a:gd name="connsiteY1843" fmla="*/ 125322 h 198217"/>
                <a:gd name="connsiteX1844" fmla="*/ 22736 w 2337635"/>
                <a:gd name="connsiteY1844" fmla="*/ 125507 h 198217"/>
                <a:gd name="connsiteX1845" fmla="*/ 19894 w 2337635"/>
                <a:gd name="connsiteY1845" fmla="*/ 125507 h 198217"/>
                <a:gd name="connsiteX1846" fmla="*/ 19727 w 2337635"/>
                <a:gd name="connsiteY1846" fmla="*/ 125507 h 198217"/>
                <a:gd name="connsiteX1847" fmla="*/ 10866 w 2337635"/>
                <a:gd name="connsiteY1847" fmla="*/ 122196 h 198217"/>
                <a:gd name="connsiteX1848" fmla="*/ 7690 w 2337635"/>
                <a:gd name="connsiteY1848" fmla="*/ 119438 h 198217"/>
                <a:gd name="connsiteX1849" fmla="*/ 5516 w 2337635"/>
                <a:gd name="connsiteY1849" fmla="*/ 116863 h 198217"/>
                <a:gd name="connsiteX1850" fmla="*/ 4012 w 2337635"/>
                <a:gd name="connsiteY1850" fmla="*/ 114473 h 198217"/>
                <a:gd name="connsiteX1851" fmla="*/ 2508 w 2337635"/>
                <a:gd name="connsiteY1851" fmla="*/ 111531 h 198217"/>
                <a:gd name="connsiteX1852" fmla="*/ 1672 w 2337635"/>
                <a:gd name="connsiteY1852" fmla="*/ 109508 h 198217"/>
                <a:gd name="connsiteX1853" fmla="*/ 1003 w 2337635"/>
                <a:gd name="connsiteY1853" fmla="*/ 107301 h 198217"/>
                <a:gd name="connsiteX1854" fmla="*/ 167 w 2337635"/>
                <a:gd name="connsiteY1854" fmla="*/ 103439 h 198217"/>
                <a:gd name="connsiteX1855" fmla="*/ 0 w 2337635"/>
                <a:gd name="connsiteY1855" fmla="*/ 101416 h 198217"/>
                <a:gd name="connsiteX1856" fmla="*/ 167 w 2337635"/>
                <a:gd name="connsiteY1856" fmla="*/ 101600 h 198217"/>
                <a:gd name="connsiteX1857" fmla="*/ 167 w 2337635"/>
                <a:gd name="connsiteY1857" fmla="*/ 97738 h 198217"/>
                <a:gd name="connsiteX1858" fmla="*/ 167 w 2337635"/>
                <a:gd name="connsiteY1858" fmla="*/ 97555 h 198217"/>
                <a:gd name="connsiteX1859" fmla="*/ 501 w 2337635"/>
                <a:gd name="connsiteY1859" fmla="*/ 94428 h 198217"/>
                <a:gd name="connsiteX1860" fmla="*/ 1337 w 2337635"/>
                <a:gd name="connsiteY1860" fmla="*/ 90751 h 198217"/>
                <a:gd name="connsiteX1861" fmla="*/ 2006 w 2337635"/>
                <a:gd name="connsiteY1861" fmla="*/ 88543 h 198217"/>
                <a:gd name="connsiteX1862" fmla="*/ 3510 w 2337635"/>
                <a:gd name="connsiteY1862" fmla="*/ 85050 h 198217"/>
                <a:gd name="connsiteX1863" fmla="*/ 5015 w 2337635"/>
                <a:gd name="connsiteY1863" fmla="*/ 82475 h 198217"/>
                <a:gd name="connsiteX1864" fmla="*/ 6520 w 2337635"/>
                <a:gd name="connsiteY1864" fmla="*/ 80452 h 198217"/>
                <a:gd name="connsiteX1865" fmla="*/ 8025 w 2337635"/>
                <a:gd name="connsiteY1865" fmla="*/ 78797 h 198217"/>
                <a:gd name="connsiteX1866" fmla="*/ 11201 w 2337635"/>
                <a:gd name="connsiteY1866" fmla="*/ 76223 h 198217"/>
                <a:gd name="connsiteX1867" fmla="*/ 13875 w 2337635"/>
                <a:gd name="connsiteY1867" fmla="*/ 74752 h 198217"/>
                <a:gd name="connsiteX1868" fmla="*/ 20396 w 2337635"/>
                <a:gd name="connsiteY1868" fmla="*/ 73096 h 198217"/>
                <a:gd name="connsiteX1869" fmla="*/ 24074 w 2337635"/>
                <a:gd name="connsiteY1869" fmla="*/ 10886 h 198217"/>
                <a:gd name="connsiteX1870" fmla="*/ 16216 w 2337635"/>
                <a:gd name="connsiteY1870" fmla="*/ 12540 h 198217"/>
                <a:gd name="connsiteX1871" fmla="*/ 14043 w 2337635"/>
                <a:gd name="connsiteY1871" fmla="*/ 14931 h 198217"/>
                <a:gd name="connsiteX1872" fmla="*/ 12538 w 2337635"/>
                <a:gd name="connsiteY1872" fmla="*/ 17506 h 198217"/>
                <a:gd name="connsiteX1873" fmla="*/ 11870 w 2337635"/>
                <a:gd name="connsiteY1873" fmla="*/ 19344 h 198217"/>
                <a:gd name="connsiteX1874" fmla="*/ 11201 w 2337635"/>
                <a:gd name="connsiteY1874" fmla="*/ 22103 h 198217"/>
                <a:gd name="connsiteX1875" fmla="*/ 10532 w 2337635"/>
                <a:gd name="connsiteY1875" fmla="*/ 26884 h 198217"/>
                <a:gd name="connsiteX1876" fmla="*/ 11201 w 2337635"/>
                <a:gd name="connsiteY1876" fmla="*/ 31849 h 198217"/>
                <a:gd name="connsiteX1877" fmla="*/ 12037 w 2337635"/>
                <a:gd name="connsiteY1877" fmla="*/ 34424 h 198217"/>
                <a:gd name="connsiteX1878" fmla="*/ 13541 w 2337635"/>
                <a:gd name="connsiteY1878" fmla="*/ 37366 h 198217"/>
                <a:gd name="connsiteX1879" fmla="*/ 15882 w 2337635"/>
                <a:gd name="connsiteY1879" fmla="*/ 40309 h 198217"/>
                <a:gd name="connsiteX1880" fmla="*/ 18891 w 2337635"/>
                <a:gd name="connsiteY1880" fmla="*/ 42147 h 198217"/>
                <a:gd name="connsiteX1881" fmla="*/ 27250 w 2337635"/>
                <a:gd name="connsiteY1881" fmla="*/ 40492 h 198217"/>
                <a:gd name="connsiteX1882" fmla="*/ 29423 w 2337635"/>
                <a:gd name="connsiteY1882" fmla="*/ 38102 h 198217"/>
                <a:gd name="connsiteX1883" fmla="*/ 31095 w 2337635"/>
                <a:gd name="connsiteY1883" fmla="*/ 35159 h 198217"/>
                <a:gd name="connsiteX1884" fmla="*/ 31763 w 2337635"/>
                <a:gd name="connsiteY1884" fmla="*/ 33688 h 198217"/>
                <a:gd name="connsiteX1885" fmla="*/ 32599 w 2337635"/>
                <a:gd name="connsiteY1885" fmla="*/ 30746 h 198217"/>
                <a:gd name="connsiteX1886" fmla="*/ 32265 w 2337635"/>
                <a:gd name="connsiteY1886" fmla="*/ 21367 h 198217"/>
                <a:gd name="connsiteX1887" fmla="*/ 31597 w 2337635"/>
                <a:gd name="connsiteY1887" fmla="*/ 19344 h 198217"/>
                <a:gd name="connsiteX1888" fmla="*/ 30761 w 2337635"/>
                <a:gd name="connsiteY1888" fmla="*/ 17322 h 198217"/>
                <a:gd name="connsiteX1889" fmla="*/ 29256 w 2337635"/>
                <a:gd name="connsiteY1889" fmla="*/ 14931 h 198217"/>
                <a:gd name="connsiteX1890" fmla="*/ 26748 w 2337635"/>
                <a:gd name="connsiteY1890" fmla="*/ 12357 h 198217"/>
                <a:gd name="connsiteX1891" fmla="*/ 24074 w 2337635"/>
                <a:gd name="connsiteY1891" fmla="*/ 10886 h 198217"/>
                <a:gd name="connsiteX1892" fmla="*/ 20396 w 2337635"/>
                <a:gd name="connsiteY1892" fmla="*/ 35 h 198217"/>
                <a:gd name="connsiteX1893" fmla="*/ 28754 w 2337635"/>
                <a:gd name="connsiteY1893" fmla="*/ 1507 h 198217"/>
                <a:gd name="connsiteX1894" fmla="*/ 33770 w 2337635"/>
                <a:gd name="connsiteY1894" fmla="*/ 4633 h 198217"/>
                <a:gd name="connsiteX1895" fmla="*/ 36110 w 2337635"/>
                <a:gd name="connsiteY1895" fmla="*/ 6839 h 198217"/>
                <a:gd name="connsiteX1896" fmla="*/ 38450 w 2337635"/>
                <a:gd name="connsiteY1896" fmla="*/ 9782 h 198217"/>
                <a:gd name="connsiteX1897" fmla="*/ 39788 w 2337635"/>
                <a:gd name="connsiteY1897" fmla="*/ 12172 h 198217"/>
                <a:gd name="connsiteX1898" fmla="*/ 41293 w 2337635"/>
                <a:gd name="connsiteY1898" fmla="*/ 15851 h 198217"/>
                <a:gd name="connsiteX1899" fmla="*/ 41961 w 2337635"/>
                <a:gd name="connsiteY1899" fmla="*/ 18241 h 198217"/>
                <a:gd name="connsiteX1900" fmla="*/ 42630 w 2337635"/>
                <a:gd name="connsiteY1900" fmla="*/ 21735 h 198217"/>
                <a:gd name="connsiteX1901" fmla="*/ 42463 w 2337635"/>
                <a:gd name="connsiteY1901" fmla="*/ 31481 h 198217"/>
                <a:gd name="connsiteX1902" fmla="*/ 41795 w 2337635"/>
                <a:gd name="connsiteY1902" fmla="*/ 34791 h 198217"/>
                <a:gd name="connsiteX1903" fmla="*/ 40958 w 2337635"/>
                <a:gd name="connsiteY1903" fmla="*/ 37366 h 198217"/>
                <a:gd name="connsiteX1904" fmla="*/ 40289 w 2337635"/>
                <a:gd name="connsiteY1904" fmla="*/ 39021 h 198217"/>
                <a:gd name="connsiteX1905" fmla="*/ 38785 w 2337635"/>
                <a:gd name="connsiteY1905" fmla="*/ 41963 h 198217"/>
                <a:gd name="connsiteX1906" fmla="*/ 37281 w 2337635"/>
                <a:gd name="connsiteY1906" fmla="*/ 44170 h 198217"/>
                <a:gd name="connsiteX1907" fmla="*/ 34940 w 2337635"/>
                <a:gd name="connsiteY1907" fmla="*/ 46745 h 198217"/>
                <a:gd name="connsiteX1908" fmla="*/ 32767 w 2337635"/>
                <a:gd name="connsiteY1908" fmla="*/ 48584 h 198217"/>
                <a:gd name="connsiteX1909" fmla="*/ 28922 w 2337635"/>
                <a:gd name="connsiteY1909" fmla="*/ 50790 h 198217"/>
                <a:gd name="connsiteX1910" fmla="*/ 23572 w 2337635"/>
                <a:gd name="connsiteY1910" fmla="*/ 52261 h 198217"/>
                <a:gd name="connsiteX1911" fmla="*/ 22736 w 2337635"/>
                <a:gd name="connsiteY1911" fmla="*/ 52446 h 198217"/>
                <a:gd name="connsiteX1912" fmla="*/ 19894 w 2337635"/>
                <a:gd name="connsiteY1912" fmla="*/ 52446 h 198217"/>
                <a:gd name="connsiteX1913" fmla="*/ 19727 w 2337635"/>
                <a:gd name="connsiteY1913" fmla="*/ 52446 h 198217"/>
                <a:gd name="connsiteX1914" fmla="*/ 10866 w 2337635"/>
                <a:gd name="connsiteY1914" fmla="*/ 49135 h 198217"/>
                <a:gd name="connsiteX1915" fmla="*/ 7690 w 2337635"/>
                <a:gd name="connsiteY1915" fmla="*/ 46377 h 198217"/>
                <a:gd name="connsiteX1916" fmla="*/ 5516 w 2337635"/>
                <a:gd name="connsiteY1916" fmla="*/ 43803 h 198217"/>
                <a:gd name="connsiteX1917" fmla="*/ 4012 w 2337635"/>
                <a:gd name="connsiteY1917" fmla="*/ 41412 h 198217"/>
                <a:gd name="connsiteX1918" fmla="*/ 2508 w 2337635"/>
                <a:gd name="connsiteY1918" fmla="*/ 38470 h 198217"/>
                <a:gd name="connsiteX1919" fmla="*/ 1672 w 2337635"/>
                <a:gd name="connsiteY1919" fmla="*/ 36447 h 198217"/>
                <a:gd name="connsiteX1920" fmla="*/ 1003 w 2337635"/>
                <a:gd name="connsiteY1920" fmla="*/ 34240 h 198217"/>
                <a:gd name="connsiteX1921" fmla="*/ 167 w 2337635"/>
                <a:gd name="connsiteY1921" fmla="*/ 30378 h 198217"/>
                <a:gd name="connsiteX1922" fmla="*/ 0 w 2337635"/>
                <a:gd name="connsiteY1922" fmla="*/ 28355 h 198217"/>
                <a:gd name="connsiteX1923" fmla="*/ 167 w 2337635"/>
                <a:gd name="connsiteY1923" fmla="*/ 28539 h 198217"/>
                <a:gd name="connsiteX1924" fmla="*/ 167 w 2337635"/>
                <a:gd name="connsiteY1924" fmla="*/ 24677 h 198217"/>
                <a:gd name="connsiteX1925" fmla="*/ 167 w 2337635"/>
                <a:gd name="connsiteY1925" fmla="*/ 24494 h 198217"/>
                <a:gd name="connsiteX1926" fmla="*/ 501 w 2337635"/>
                <a:gd name="connsiteY1926" fmla="*/ 21367 h 198217"/>
                <a:gd name="connsiteX1927" fmla="*/ 1337 w 2337635"/>
                <a:gd name="connsiteY1927" fmla="*/ 17690 h 198217"/>
                <a:gd name="connsiteX1928" fmla="*/ 2006 w 2337635"/>
                <a:gd name="connsiteY1928" fmla="*/ 15483 h 198217"/>
                <a:gd name="connsiteX1929" fmla="*/ 3510 w 2337635"/>
                <a:gd name="connsiteY1929" fmla="*/ 11989 h 198217"/>
                <a:gd name="connsiteX1930" fmla="*/ 5015 w 2337635"/>
                <a:gd name="connsiteY1930" fmla="*/ 9414 h 198217"/>
                <a:gd name="connsiteX1931" fmla="*/ 6520 w 2337635"/>
                <a:gd name="connsiteY1931" fmla="*/ 7391 h 198217"/>
                <a:gd name="connsiteX1932" fmla="*/ 8024 w 2337635"/>
                <a:gd name="connsiteY1932" fmla="*/ 5736 h 198217"/>
                <a:gd name="connsiteX1933" fmla="*/ 11201 w 2337635"/>
                <a:gd name="connsiteY1933" fmla="*/ 3162 h 198217"/>
                <a:gd name="connsiteX1934" fmla="*/ 13875 w 2337635"/>
                <a:gd name="connsiteY1934" fmla="*/ 1691 h 198217"/>
                <a:gd name="connsiteX1935" fmla="*/ 20396 w 2337635"/>
                <a:gd name="connsiteY1935" fmla="*/ 35 h 198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Lst>
              <a:rect l="l" t="t" r="r" b="b"/>
              <a:pathLst>
                <a:path w="2337635" h="198217">
                  <a:moveTo>
                    <a:pt x="2254372" y="173808"/>
                  </a:moveTo>
                  <a:cubicBezTo>
                    <a:pt x="2250804" y="173808"/>
                    <a:pt x="2247931" y="176638"/>
                    <a:pt x="2247931" y="180116"/>
                  </a:cubicBezTo>
                  <a:cubicBezTo>
                    <a:pt x="2247931" y="182510"/>
                    <a:pt x="2249285" y="184596"/>
                    <a:pt x="2251300" y="185663"/>
                  </a:cubicBezTo>
                  <a:cubicBezTo>
                    <a:pt x="2251300" y="185663"/>
                    <a:pt x="2251300" y="185663"/>
                    <a:pt x="2251300" y="191373"/>
                  </a:cubicBezTo>
                  <a:cubicBezTo>
                    <a:pt x="2251300" y="193039"/>
                    <a:pt x="2252671" y="194382"/>
                    <a:pt x="2254372" y="194382"/>
                  </a:cubicBezTo>
                  <a:cubicBezTo>
                    <a:pt x="2256056" y="194382"/>
                    <a:pt x="2257444" y="193039"/>
                    <a:pt x="2257444" y="191373"/>
                  </a:cubicBezTo>
                  <a:cubicBezTo>
                    <a:pt x="2257444" y="191373"/>
                    <a:pt x="2257444" y="191373"/>
                    <a:pt x="2257444" y="185663"/>
                  </a:cubicBezTo>
                  <a:cubicBezTo>
                    <a:pt x="2259443" y="184596"/>
                    <a:pt x="2260813" y="182510"/>
                    <a:pt x="2260813" y="180116"/>
                  </a:cubicBezTo>
                  <a:cubicBezTo>
                    <a:pt x="2260813" y="176638"/>
                    <a:pt x="2257923" y="173808"/>
                    <a:pt x="2254372" y="173808"/>
                  </a:cubicBezTo>
                  <a:close/>
                  <a:moveTo>
                    <a:pt x="1965802" y="173808"/>
                  </a:moveTo>
                  <a:cubicBezTo>
                    <a:pt x="1962234" y="173808"/>
                    <a:pt x="1959361" y="176638"/>
                    <a:pt x="1959361" y="180116"/>
                  </a:cubicBezTo>
                  <a:cubicBezTo>
                    <a:pt x="1959361" y="182510"/>
                    <a:pt x="1960715" y="184596"/>
                    <a:pt x="1962730" y="185663"/>
                  </a:cubicBezTo>
                  <a:cubicBezTo>
                    <a:pt x="1962730" y="185663"/>
                    <a:pt x="1962730" y="185663"/>
                    <a:pt x="1962730" y="191373"/>
                  </a:cubicBezTo>
                  <a:cubicBezTo>
                    <a:pt x="1962730" y="193039"/>
                    <a:pt x="1964101" y="194382"/>
                    <a:pt x="1965802" y="194382"/>
                  </a:cubicBezTo>
                  <a:cubicBezTo>
                    <a:pt x="1967486" y="194382"/>
                    <a:pt x="1968874" y="193039"/>
                    <a:pt x="1968874" y="191373"/>
                  </a:cubicBezTo>
                  <a:cubicBezTo>
                    <a:pt x="1968874" y="191373"/>
                    <a:pt x="1968874" y="191373"/>
                    <a:pt x="1968874" y="185663"/>
                  </a:cubicBezTo>
                  <a:cubicBezTo>
                    <a:pt x="1970873" y="184596"/>
                    <a:pt x="1972243" y="182510"/>
                    <a:pt x="1972243" y="180116"/>
                  </a:cubicBezTo>
                  <a:cubicBezTo>
                    <a:pt x="1972243" y="176638"/>
                    <a:pt x="1969352" y="173808"/>
                    <a:pt x="1965802" y="173808"/>
                  </a:cubicBezTo>
                  <a:close/>
                  <a:moveTo>
                    <a:pt x="1904048" y="173808"/>
                  </a:moveTo>
                  <a:cubicBezTo>
                    <a:pt x="1900481" y="173808"/>
                    <a:pt x="1897607" y="176638"/>
                    <a:pt x="1897607" y="180116"/>
                  </a:cubicBezTo>
                  <a:cubicBezTo>
                    <a:pt x="1897607" y="182510"/>
                    <a:pt x="1898961" y="184596"/>
                    <a:pt x="1900976" y="185663"/>
                  </a:cubicBezTo>
                  <a:cubicBezTo>
                    <a:pt x="1900976" y="185663"/>
                    <a:pt x="1900976" y="185663"/>
                    <a:pt x="1900976" y="191373"/>
                  </a:cubicBezTo>
                  <a:cubicBezTo>
                    <a:pt x="1900976" y="193039"/>
                    <a:pt x="1902347" y="194382"/>
                    <a:pt x="1904048" y="194382"/>
                  </a:cubicBezTo>
                  <a:cubicBezTo>
                    <a:pt x="1905732" y="194382"/>
                    <a:pt x="1907120" y="193039"/>
                    <a:pt x="1907120" y="191373"/>
                  </a:cubicBezTo>
                  <a:cubicBezTo>
                    <a:pt x="1907120" y="191373"/>
                    <a:pt x="1907120" y="191373"/>
                    <a:pt x="1907120" y="185663"/>
                  </a:cubicBezTo>
                  <a:cubicBezTo>
                    <a:pt x="1909119" y="184596"/>
                    <a:pt x="1910489" y="182510"/>
                    <a:pt x="1910489" y="180116"/>
                  </a:cubicBezTo>
                  <a:cubicBezTo>
                    <a:pt x="1910489" y="176638"/>
                    <a:pt x="1907599" y="173808"/>
                    <a:pt x="1904048" y="173808"/>
                  </a:cubicBezTo>
                  <a:close/>
                  <a:moveTo>
                    <a:pt x="1780491" y="173808"/>
                  </a:moveTo>
                  <a:cubicBezTo>
                    <a:pt x="1776923" y="173808"/>
                    <a:pt x="1774050" y="176638"/>
                    <a:pt x="1774050" y="180116"/>
                  </a:cubicBezTo>
                  <a:cubicBezTo>
                    <a:pt x="1774050" y="182510"/>
                    <a:pt x="1775404" y="184596"/>
                    <a:pt x="1777419" y="185663"/>
                  </a:cubicBezTo>
                  <a:cubicBezTo>
                    <a:pt x="1777419" y="185663"/>
                    <a:pt x="1777419" y="185663"/>
                    <a:pt x="1777419" y="191373"/>
                  </a:cubicBezTo>
                  <a:cubicBezTo>
                    <a:pt x="1777419" y="193039"/>
                    <a:pt x="1778790" y="194382"/>
                    <a:pt x="1780491" y="194382"/>
                  </a:cubicBezTo>
                  <a:cubicBezTo>
                    <a:pt x="1782175" y="194382"/>
                    <a:pt x="1783563" y="193039"/>
                    <a:pt x="1783563" y="191373"/>
                  </a:cubicBezTo>
                  <a:cubicBezTo>
                    <a:pt x="1783563" y="191373"/>
                    <a:pt x="1783563" y="191373"/>
                    <a:pt x="1783563" y="185663"/>
                  </a:cubicBezTo>
                  <a:cubicBezTo>
                    <a:pt x="1785562" y="184596"/>
                    <a:pt x="1786932" y="182510"/>
                    <a:pt x="1786932" y="180116"/>
                  </a:cubicBezTo>
                  <a:cubicBezTo>
                    <a:pt x="1786932" y="176638"/>
                    <a:pt x="1784042" y="173808"/>
                    <a:pt x="1780491" y="173808"/>
                  </a:cubicBezTo>
                  <a:close/>
                  <a:moveTo>
                    <a:pt x="1491921" y="173808"/>
                  </a:moveTo>
                  <a:cubicBezTo>
                    <a:pt x="1488353" y="173808"/>
                    <a:pt x="1485480" y="176638"/>
                    <a:pt x="1485480" y="180116"/>
                  </a:cubicBezTo>
                  <a:cubicBezTo>
                    <a:pt x="1485480" y="182510"/>
                    <a:pt x="1486834" y="184596"/>
                    <a:pt x="1488849" y="185663"/>
                  </a:cubicBezTo>
                  <a:cubicBezTo>
                    <a:pt x="1488849" y="185663"/>
                    <a:pt x="1488849" y="185663"/>
                    <a:pt x="1488849" y="191373"/>
                  </a:cubicBezTo>
                  <a:cubicBezTo>
                    <a:pt x="1488849" y="193039"/>
                    <a:pt x="1490220" y="194382"/>
                    <a:pt x="1491921" y="194382"/>
                  </a:cubicBezTo>
                  <a:cubicBezTo>
                    <a:pt x="1493605" y="194382"/>
                    <a:pt x="1494993" y="193039"/>
                    <a:pt x="1494993" y="191373"/>
                  </a:cubicBezTo>
                  <a:cubicBezTo>
                    <a:pt x="1494993" y="191373"/>
                    <a:pt x="1494993" y="191373"/>
                    <a:pt x="1494993" y="185663"/>
                  </a:cubicBezTo>
                  <a:cubicBezTo>
                    <a:pt x="1496992" y="184596"/>
                    <a:pt x="1498362" y="182510"/>
                    <a:pt x="1498362" y="180116"/>
                  </a:cubicBezTo>
                  <a:cubicBezTo>
                    <a:pt x="1498362" y="176638"/>
                    <a:pt x="1495472" y="173808"/>
                    <a:pt x="1491921" y="173808"/>
                  </a:cubicBezTo>
                  <a:close/>
                  <a:moveTo>
                    <a:pt x="1316759" y="173808"/>
                  </a:moveTo>
                  <a:cubicBezTo>
                    <a:pt x="1313191" y="173808"/>
                    <a:pt x="1310318" y="176638"/>
                    <a:pt x="1310318" y="180116"/>
                  </a:cubicBezTo>
                  <a:cubicBezTo>
                    <a:pt x="1310318" y="182510"/>
                    <a:pt x="1311672" y="184596"/>
                    <a:pt x="1313686" y="185663"/>
                  </a:cubicBezTo>
                  <a:cubicBezTo>
                    <a:pt x="1313686" y="185663"/>
                    <a:pt x="1313686" y="185663"/>
                    <a:pt x="1313686" y="191373"/>
                  </a:cubicBezTo>
                  <a:cubicBezTo>
                    <a:pt x="1313686" y="193039"/>
                    <a:pt x="1315058" y="194382"/>
                    <a:pt x="1316759" y="194382"/>
                  </a:cubicBezTo>
                  <a:cubicBezTo>
                    <a:pt x="1318443" y="194382"/>
                    <a:pt x="1319831" y="193039"/>
                    <a:pt x="1319831" y="191373"/>
                  </a:cubicBezTo>
                  <a:cubicBezTo>
                    <a:pt x="1319831" y="191373"/>
                    <a:pt x="1319831" y="191373"/>
                    <a:pt x="1319831" y="185663"/>
                  </a:cubicBezTo>
                  <a:cubicBezTo>
                    <a:pt x="1321830" y="184596"/>
                    <a:pt x="1323200" y="182510"/>
                    <a:pt x="1323200" y="180116"/>
                  </a:cubicBezTo>
                  <a:cubicBezTo>
                    <a:pt x="1323200" y="176638"/>
                    <a:pt x="1320310" y="173808"/>
                    <a:pt x="1316759" y="173808"/>
                  </a:cubicBezTo>
                  <a:close/>
                  <a:moveTo>
                    <a:pt x="1255005" y="173808"/>
                  </a:moveTo>
                  <a:cubicBezTo>
                    <a:pt x="1251438" y="173808"/>
                    <a:pt x="1248564" y="176638"/>
                    <a:pt x="1248564" y="180116"/>
                  </a:cubicBezTo>
                  <a:cubicBezTo>
                    <a:pt x="1248564" y="182510"/>
                    <a:pt x="1249918" y="184596"/>
                    <a:pt x="1251933" y="185663"/>
                  </a:cubicBezTo>
                  <a:cubicBezTo>
                    <a:pt x="1251933" y="185663"/>
                    <a:pt x="1251933" y="185663"/>
                    <a:pt x="1251933" y="191373"/>
                  </a:cubicBezTo>
                  <a:cubicBezTo>
                    <a:pt x="1251933" y="193039"/>
                    <a:pt x="1253304" y="194382"/>
                    <a:pt x="1255005" y="194382"/>
                  </a:cubicBezTo>
                  <a:cubicBezTo>
                    <a:pt x="1256690" y="194382"/>
                    <a:pt x="1258077" y="193039"/>
                    <a:pt x="1258077" y="191373"/>
                  </a:cubicBezTo>
                  <a:cubicBezTo>
                    <a:pt x="1258077" y="191373"/>
                    <a:pt x="1258077" y="191373"/>
                    <a:pt x="1258077" y="185663"/>
                  </a:cubicBezTo>
                  <a:cubicBezTo>
                    <a:pt x="1260076" y="184596"/>
                    <a:pt x="1261446" y="182510"/>
                    <a:pt x="1261446" y="180116"/>
                  </a:cubicBezTo>
                  <a:cubicBezTo>
                    <a:pt x="1261446" y="176638"/>
                    <a:pt x="1258556" y="173808"/>
                    <a:pt x="1255005" y="173808"/>
                  </a:cubicBezTo>
                  <a:close/>
                  <a:moveTo>
                    <a:pt x="1079844" y="173808"/>
                  </a:moveTo>
                  <a:cubicBezTo>
                    <a:pt x="1076276" y="173808"/>
                    <a:pt x="1073402" y="176638"/>
                    <a:pt x="1073402" y="180116"/>
                  </a:cubicBezTo>
                  <a:cubicBezTo>
                    <a:pt x="1073402" y="182510"/>
                    <a:pt x="1074756" y="184596"/>
                    <a:pt x="1076772" y="185663"/>
                  </a:cubicBezTo>
                  <a:cubicBezTo>
                    <a:pt x="1076772" y="185663"/>
                    <a:pt x="1076772" y="185663"/>
                    <a:pt x="1076772" y="191373"/>
                  </a:cubicBezTo>
                  <a:cubicBezTo>
                    <a:pt x="1076772" y="193039"/>
                    <a:pt x="1078143" y="194382"/>
                    <a:pt x="1079844" y="194382"/>
                  </a:cubicBezTo>
                  <a:cubicBezTo>
                    <a:pt x="1081528" y="194382"/>
                    <a:pt x="1082915" y="193039"/>
                    <a:pt x="1082915" y="191373"/>
                  </a:cubicBezTo>
                  <a:cubicBezTo>
                    <a:pt x="1082915" y="191373"/>
                    <a:pt x="1082915" y="191373"/>
                    <a:pt x="1082915" y="185663"/>
                  </a:cubicBezTo>
                  <a:cubicBezTo>
                    <a:pt x="1084914" y="184596"/>
                    <a:pt x="1086284" y="182510"/>
                    <a:pt x="1086284" y="180116"/>
                  </a:cubicBezTo>
                  <a:cubicBezTo>
                    <a:pt x="1086284" y="176638"/>
                    <a:pt x="1083395" y="173808"/>
                    <a:pt x="1079844" y="173808"/>
                  </a:cubicBezTo>
                  <a:close/>
                  <a:moveTo>
                    <a:pt x="1018090" y="173808"/>
                  </a:moveTo>
                  <a:cubicBezTo>
                    <a:pt x="1014523" y="173808"/>
                    <a:pt x="1011649" y="176638"/>
                    <a:pt x="1011649" y="180116"/>
                  </a:cubicBezTo>
                  <a:cubicBezTo>
                    <a:pt x="1011649" y="182510"/>
                    <a:pt x="1013003" y="184596"/>
                    <a:pt x="1015018" y="185663"/>
                  </a:cubicBezTo>
                  <a:cubicBezTo>
                    <a:pt x="1015018" y="185663"/>
                    <a:pt x="1015018" y="185663"/>
                    <a:pt x="1015018" y="191373"/>
                  </a:cubicBezTo>
                  <a:cubicBezTo>
                    <a:pt x="1015018" y="193039"/>
                    <a:pt x="1016389" y="194382"/>
                    <a:pt x="1018090" y="194382"/>
                  </a:cubicBezTo>
                  <a:cubicBezTo>
                    <a:pt x="1019775" y="194382"/>
                    <a:pt x="1021162" y="193039"/>
                    <a:pt x="1021162" y="191373"/>
                  </a:cubicBezTo>
                  <a:cubicBezTo>
                    <a:pt x="1021162" y="191373"/>
                    <a:pt x="1021162" y="191373"/>
                    <a:pt x="1021162" y="185663"/>
                  </a:cubicBezTo>
                  <a:cubicBezTo>
                    <a:pt x="1023161" y="184596"/>
                    <a:pt x="1024531" y="182510"/>
                    <a:pt x="1024531" y="180116"/>
                  </a:cubicBezTo>
                  <a:cubicBezTo>
                    <a:pt x="1024531" y="176638"/>
                    <a:pt x="1021641" y="173808"/>
                    <a:pt x="1018090" y="173808"/>
                  </a:cubicBezTo>
                  <a:close/>
                  <a:moveTo>
                    <a:pt x="842928" y="173808"/>
                  </a:moveTo>
                  <a:cubicBezTo>
                    <a:pt x="839361" y="173808"/>
                    <a:pt x="836487" y="176638"/>
                    <a:pt x="836487" y="180116"/>
                  </a:cubicBezTo>
                  <a:cubicBezTo>
                    <a:pt x="836487" y="182510"/>
                    <a:pt x="837841" y="184596"/>
                    <a:pt x="839856" y="185663"/>
                  </a:cubicBezTo>
                  <a:cubicBezTo>
                    <a:pt x="839856" y="185663"/>
                    <a:pt x="839856" y="185663"/>
                    <a:pt x="839856" y="191373"/>
                  </a:cubicBezTo>
                  <a:cubicBezTo>
                    <a:pt x="839856" y="193039"/>
                    <a:pt x="841227" y="194382"/>
                    <a:pt x="842928" y="194382"/>
                  </a:cubicBezTo>
                  <a:cubicBezTo>
                    <a:pt x="844613" y="194382"/>
                    <a:pt x="846000" y="193039"/>
                    <a:pt x="846000" y="191373"/>
                  </a:cubicBezTo>
                  <a:cubicBezTo>
                    <a:pt x="846000" y="191373"/>
                    <a:pt x="846000" y="191373"/>
                    <a:pt x="846000" y="185663"/>
                  </a:cubicBezTo>
                  <a:cubicBezTo>
                    <a:pt x="847999" y="184596"/>
                    <a:pt x="849370" y="182510"/>
                    <a:pt x="849370" y="180116"/>
                  </a:cubicBezTo>
                  <a:cubicBezTo>
                    <a:pt x="849370" y="176638"/>
                    <a:pt x="846479" y="173808"/>
                    <a:pt x="842928" y="173808"/>
                  </a:cubicBezTo>
                  <a:close/>
                  <a:moveTo>
                    <a:pt x="554358" y="173808"/>
                  </a:moveTo>
                  <a:cubicBezTo>
                    <a:pt x="550791" y="173808"/>
                    <a:pt x="547917" y="176638"/>
                    <a:pt x="547917" y="180116"/>
                  </a:cubicBezTo>
                  <a:cubicBezTo>
                    <a:pt x="547917" y="182510"/>
                    <a:pt x="549271" y="184596"/>
                    <a:pt x="551286" y="185663"/>
                  </a:cubicBezTo>
                  <a:cubicBezTo>
                    <a:pt x="551286" y="185663"/>
                    <a:pt x="551286" y="185663"/>
                    <a:pt x="551286" y="191373"/>
                  </a:cubicBezTo>
                  <a:cubicBezTo>
                    <a:pt x="551286" y="193039"/>
                    <a:pt x="552657" y="194382"/>
                    <a:pt x="554358" y="194382"/>
                  </a:cubicBezTo>
                  <a:cubicBezTo>
                    <a:pt x="556043" y="194382"/>
                    <a:pt x="557430" y="193039"/>
                    <a:pt x="557430" y="191373"/>
                  </a:cubicBezTo>
                  <a:cubicBezTo>
                    <a:pt x="557430" y="191373"/>
                    <a:pt x="557430" y="191373"/>
                    <a:pt x="557430" y="185663"/>
                  </a:cubicBezTo>
                  <a:cubicBezTo>
                    <a:pt x="559428" y="184596"/>
                    <a:pt x="560799" y="182510"/>
                    <a:pt x="560799" y="180116"/>
                  </a:cubicBezTo>
                  <a:cubicBezTo>
                    <a:pt x="560799" y="176638"/>
                    <a:pt x="557909" y="173808"/>
                    <a:pt x="554358" y="173808"/>
                  </a:cubicBezTo>
                  <a:close/>
                  <a:moveTo>
                    <a:pt x="492604" y="173808"/>
                  </a:moveTo>
                  <a:cubicBezTo>
                    <a:pt x="489037" y="173808"/>
                    <a:pt x="486163" y="176638"/>
                    <a:pt x="486163" y="180116"/>
                  </a:cubicBezTo>
                  <a:cubicBezTo>
                    <a:pt x="486163" y="182510"/>
                    <a:pt x="487517" y="184596"/>
                    <a:pt x="489532" y="185663"/>
                  </a:cubicBezTo>
                  <a:cubicBezTo>
                    <a:pt x="489532" y="185663"/>
                    <a:pt x="489532" y="185663"/>
                    <a:pt x="489532" y="191373"/>
                  </a:cubicBezTo>
                  <a:cubicBezTo>
                    <a:pt x="489532" y="193039"/>
                    <a:pt x="490903" y="194382"/>
                    <a:pt x="492604" y="194382"/>
                  </a:cubicBezTo>
                  <a:cubicBezTo>
                    <a:pt x="494289" y="194382"/>
                    <a:pt x="495676" y="193039"/>
                    <a:pt x="495676" y="191373"/>
                  </a:cubicBezTo>
                  <a:cubicBezTo>
                    <a:pt x="495676" y="191373"/>
                    <a:pt x="495676" y="191373"/>
                    <a:pt x="495676" y="185663"/>
                  </a:cubicBezTo>
                  <a:cubicBezTo>
                    <a:pt x="497675" y="184596"/>
                    <a:pt x="499046" y="182510"/>
                    <a:pt x="499046" y="180116"/>
                  </a:cubicBezTo>
                  <a:cubicBezTo>
                    <a:pt x="499046" y="176638"/>
                    <a:pt x="496155" y="173808"/>
                    <a:pt x="492604" y="173808"/>
                  </a:cubicBezTo>
                  <a:close/>
                  <a:moveTo>
                    <a:pt x="369047" y="173808"/>
                  </a:moveTo>
                  <a:cubicBezTo>
                    <a:pt x="365479" y="173808"/>
                    <a:pt x="362606" y="176638"/>
                    <a:pt x="362606" y="180116"/>
                  </a:cubicBezTo>
                  <a:cubicBezTo>
                    <a:pt x="362606" y="182510"/>
                    <a:pt x="363960" y="184596"/>
                    <a:pt x="365975" y="185663"/>
                  </a:cubicBezTo>
                  <a:cubicBezTo>
                    <a:pt x="365975" y="185663"/>
                    <a:pt x="365975" y="185663"/>
                    <a:pt x="365975" y="191373"/>
                  </a:cubicBezTo>
                  <a:cubicBezTo>
                    <a:pt x="365975" y="193039"/>
                    <a:pt x="367346" y="194382"/>
                    <a:pt x="369047" y="194382"/>
                  </a:cubicBezTo>
                  <a:cubicBezTo>
                    <a:pt x="370732" y="194382"/>
                    <a:pt x="372119" y="193039"/>
                    <a:pt x="372119" y="191373"/>
                  </a:cubicBezTo>
                  <a:cubicBezTo>
                    <a:pt x="372119" y="191373"/>
                    <a:pt x="372119" y="191373"/>
                    <a:pt x="372119" y="185663"/>
                  </a:cubicBezTo>
                  <a:cubicBezTo>
                    <a:pt x="374117" y="184596"/>
                    <a:pt x="375489" y="182510"/>
                    <a:pt x="375489" y="180116"/>
                  </a:cubicBezTo>
                  <a:cubicBezTo>
                    <a:pt x="375489" y="176638"/>
                    <a:pt x="372598" y="173808"/>
                    <a:pt x="369047" y="173808"/>
                  </a:cubicBezTo>
                  <a:close/>
                  <a:moveTo>
                    <a:pt x="80477" y="173808"/>
                  </a:moveTo>
                  <a:cubicBezTo>
                    <a:pt x="76909" y="173808"/>
                    <a:pt x="74035" y="176638"/>
                    <a:pt x="74035" y="180116"/>
                  </a:cubicBezTo>
                  <a:cubicBezTo>
                    <a:pt x="74035" y="182510"/>
                    <a:pt x="75390" y="184596"/>
                    <a:pt x="77405" y="185663"/>
                  </a:cubicBezTo>
                  <a:cubicBezTo>
                    <a:pt x="77405" y="185663"/>
                    <a:pt x="77405" y="185663"/>
                    <a:pt x="77405" y="191373"/>
                  </a:cubicBezTo>
                  <a:cubicBezTo>
                    <a:pt x="77405" y="193039"/>
                    <a:pt x="78776" y="194382"/>
                    <a:pt x="80477" y="194382"/>
                  </a:cubicBezTo>
                  <a:cubicBezTo>
                    <a:pt x="82162" y="194382"/>
                    <a:pt x="83549" y="193039"/>
                    <a:pt x="83549" y="191373"/>
                  </a:cubicBezTo>
                  <a:cubicBezTo>
                    <a:pt x="83549" y="191373"/>
                    <a:pt x="83549" y="191373"/>
                    <a:pt x="83549" y="185663"/>
                  </a:cubicBezTo>
                  <a:cubicBezTo>
                    <a:pt x="85547" y="184596"/>
                    <a:pt x="86918" y="182510"/>
                    <a:pt x="86918" y="180116"/>
                  </a:cubicBezTo>
                  <a:cubicBezTo>
                    <a:pt x="86918" y="176638"/>
                    <a:pt x="84028" y="173808"/>
                    <a:pt x="80477" y="173808"/>
                  </a:cubicBezTo>
                  <a:close/>
                  <a:moveTo>
                    <a:pt x="2318721" y="155313"/>
                  </a:moveTo>
                  <a:cubicBezTo>
                    <a:pt x="2315879" y="154394"/>
                    <a:pt x="2313204" y="155129"/>
                    <a:pt x="2310864" y="156968"/>
                  </a:cubicBezTo>
                  <a:cubicBezTo>
                    <a:pt x="2310028" y="157704"/>
                    <a:pt x="2309359" y="158439"/>
                    <a:pt x="2308690" y="159359"/>
                  </a:cubicBezTo>
                  <a:cubicBezTo>
                    <a:pt x="2308189" y="160095"/>
                    <a:pt x="2307687" y="161013"/>
                    <a:pt x="2307186" y="161934"/>
                  </a:cubicBezTo>
                  <a:cubicBezTo>
                    <a:pt x="2306851" y="162485"/>
                    <a:pt x="2306684" y="163220"/>
                    <a:pt x="2306517" y="163772"/>
                  </a:cubicBezTo>
                  <a:cubicBezTo>
                    <a:pt x="2306183" y="164692"/>
                    <a:pt x="2306015" y="165611"/>
                    <a:pt x="2305848" y="166531"/>
                  </a:cubicBezTo>
                  <a:cubicBezTo>
                    <a:pt x="2305347" y="168002"/>
                    <a:pt x="2305179" y="169473"/>
                    <a:pt x="2305179" y="171312"/>
                  </a:cubicBezTo>
                  <a:cubicBezTo>
                    <a:pt x="2305179" y="172783"/>
                    <a:pt x="2305347" y="174438"/>
                    <a:pt x="2305848" y="176277"/>
                  </a:cubicBezTo>
                  <a:cubicBezTo>
                    <a:pt x="2306183" y="177196"/>
                    <a:pt x="2306350" y="177932"/>
                    <a:pt x="2306684" y="178851"/>
                  </a:cubicBezTo>
                  <a:cubicBezTo>
                    <a:pt x="2307018" y="179955"/>
                    <a:pt x="2307520" y="180875"/>
                    <a:pt x="2308189" y="181794"/>
                  </a:cubicBezTo>
                  <a:cubicBezTo>
                    <a:pt x="2308857" y="182897"/>
                    <a:pt x="2309693" y="183817"/>
                    <a:pt x="2310529" y="184736"/>
                  </a:cubicBezTo>
                  <a:cubicBezTo>
                    <a:pt x="2311365" y="185472"/>
                    <a:pt x="2312368" y="186207"/>
                    <a:pt x="2313538" y="186575"/>
                  </a:cubicBezTo>
                  <a:cubicBezTo>
                    <a:pt x="2316548" y="187679"/>
                    <a:pt x="2319390" y="187126"/>
                    <a:pt x="2321898" y="184920"/>
                  </a:cubicBezTo>
                  <a:cubicBezTo>
                    <a:pt x="2322733" y="184184"/>
                    <a:pt x="2323402" y="183449"/>
                    <a:pt x="2324071" y="182529"/>
                  </a:cubicBezTo>
                  <a:cubicBezTo>
                    <a:pt x="2324739" y="181610"/>
                    <a:pt x="2325241" y="180690"/>
                    <a:pt x="2325742" y="179587"/>
                  </a:cubicBezTo>
                  <a:cubicBezTo>
                    <a:pt x="2325910" y="179035"/>
                    <a:pt x="2326077" y="178484"/>
                    <a:pt x="2326411" y="178116"/>
                  </a:cubicBezTo>
                  <a:cubicBezTo>
                    <a:pt x="2326746" y="177196"/>
                    <a:pt x="2327080" y="176277"/>
                    <a:pt x="2327247" y="175174"/>
                  </a:cubicBezTo>
                  <a:cubicBezTo>
                    <a:pt x="2327749" y="172047"/>
                    <a:pt x="2327749" y="168921"/>
                    <a:pt x="2326913" y="165795"/>
                  </a:cubicBezTo>
                  <a:cubicBezTo>
                    <a:pt x="2326746" y="165059"/>
                    <a:pt x="2326578" y="164324"/>
                    <a:pt x="2326244" y="163772"/>
                  </a:cubicBezTo>
                  <a:cubicBezTo>
                    <a:pt x="2325910" y="163037"/>
                    <a:pt x="2325742" y="162301"/>
                    <a:pt x="2325408" y="161749"/>
                  </a:cubicBezTo>
                  <a:cubicBezTo>
                    <a:pt x="2324906" y="161013"/>
                    <a:pt x="2324572" y="160095"/>
                    <a:pt x="2323903" y="159359"/>
                  </a:cubicBezTo>
                  <a:cubicBezTo>
                    <a:pt x="2323235" y="158439"/>
                    <a:pt x="2322399" y="157520"/>
                    <a:pt x="2321396" y="156784"/>
                  </a:cubicBezTo>
                  <a:cubicBezTo>
                    <a:pt x="2320560" y="156233"/>
                    <a:pt x="2319724" y="155681"/>
                    <a:pt x="2318721" y="155313"/>
                  </a:cubicBezTo>
                  <a:close/>
                  <a:moveTo>
                    <a:pt x="2195173" y="155313"/>
                  </a:moveTo>
                  <a:cubicBezTo>
                    <a:pt x="2192332" y="154394"/>
                    <a:pt x="2189657" y="155129"/>
                    <a:pt x="2187316" y="156968"/>
                  </a:cubicBezTo>
                  <a:cubicBezTo>
                    <a:pt x="2186480" y="157704"/>
                    <a:pt x="2185811" y="158439"/>
                    <a:pt x="2185143" y="159359"/>
                  </a:cubicBezTo>
                  <a:cubicBezTo>
                    <a:pt x="2184641" y="160095"/>
                    <a:pt x="2184139" y="161013"/>
                    <a:pt x="2183638" y="161934"/>
                  </a:cubicBezTo>
                  <a:cubicBezTo>
                    <a:pt x="2183304" y="162485"/>
                    <a:pt x="2183137" y="163220"/>
                    <a:pt x="2182970" y="163772"/>
                  </a:cubicBezTo>
                  <a:cubicBezTo>
                    <a:pt x="2182635" y="164692"/>
                    <a:pt x="2182468" y="165611"/>
                    <a:pt x="2182300" y="166531"/>
                  </a:cubicBezTo>
                  <a:cubicBezTo>
                    <a:pt x="2181799" y="168002"/>
                    <a:pt x="2181632" y="169473"/>
                    <a:pt x="2181632" y="171312"/>
                  </a:cubicBezTo>
                  <a:cubicBezTo>
                    <a:pt x="2181632" y="172783"/>
                    <a:pt x="2181799" y="174438"/>
                    <a:pt x="2182300" y="176277"/>
                  </a:cubicBezTo>
                  <a:cubicBezTo>
                    <a:pt x="2182635" y="177196"/>
                    <a:pt x="2182802" y="177932"/>
                    <a:pt x="2183137" y="178851"/>
                  </a:cubicBezTo>
                  <a:cubicBezTo>
                    <a:pt x="2183471" y="179955"/>
                    <a:pt x="2183972" y="180875"/>
                    <a:pt x="2184641" y="181794"/>
                  </a:cubicBezTo>
                  <a:cubicBezTo>
                    <a:pt x="2185310" y="182897"/>
                    <a:pt x="2186146" y="183817"/>
                    <a:pt x="2186982" y="184736"/>
                  </a:cubicBezTo>
                  <a:cubicBezTo>
                    <a:pt x="2187818" y="185472"/>
                    <a:pt x="2188821" y="186207"/>
                    <a:pt x="2189991" y="186575"/>
                  </a:cubicBezTo>
                  <a:cubicBezTo>
                    <a:pt x="2193000" y="187679"/>
                    <a:pt x="2195842" y="187126"/>
                    <a:pt x="2198350" y="184920"/>
                  </a:cubicBezTo>
                  <a:cubicBezTo>
                    <a:pt x="2199186" y="184184"/>
                    <a:pt x="2199854" y="183449"/>
                    <a:pt x="2200523" y="182529"/>
                  </a:cubicBezTo>
                  <a:cubicBezTo>
                    <a:pt x="2201192" y="181610"/>
                    <a:pt x="2201694" y="180690"/>
                    <a:pt x="2202195" y="179587"/>
                  </a:cubicBezTo>
                  <a:cubicBezTo>
                    <a:pt x="2202362" y="179035"/>
                    <a:pt x="2202529" y="178484"/>
                    <a:pt x="2202863" y="178116"/>
                  </a:cubicBezTo>
                  <a:cubicBezTo>
                    <a:pt x="2203198" y="177196"/>
                    <a:pt x="2203533" y="176277"/>
                    <a:pt x="2203699" y="175174"/>
                  </a:cubicBezTo>
                  <a:cubicBezTo>
                    <a:pt x="2204201" y="172047"/>
                    <a:pt x="2204201" y="168921"/>
                    <a:pt x="2203365" y="165795"/>
                  </a:cubicBezTo>
                  <a:cubicBezTo>
                    <a:pt x="2203198" y="165059"/>
                    <a:pt x="2203031" y="164324"/>
                    <a:pt x="2202696" y="163772"/>
                  </a:cubicBezTo>
                  <a:cubicBezTo>
                    <a:pt x="2202362" y="163037"/>
                    <a:pt x="2202195" y="162301"/>
                    <a:pt x="2201861" y="161749"/>
                  </a:cubicBezTo>
                  <a:cubicBezTo>
                    <a:pt x="2201359" y="161013"/>
                    <a:pt x="2201024" y="160095"/>
                    <a:pt x="2200356" y="159359"/>
                  </a:cubicBezTo>
                  <a:cubicBezTo>
                    <a:pt x="2199687" y="158439"/>
                    <a:pt x="2198851" y="157520"/>
                    <a:pt x="2197848" y="156784"/>
                  </a:cubicBezTo>
                  <a:cubicBezTo>
                    <a:pt x="2197012" y="156233"/>
                    <a:pt x="2196176" y="155681"/>
                    <a:pt x="2195173" y="155313"/>
                  </a:cubicBezTo>
                  <a:close/>
                  <a:moveTo>
                    <a:pt x="2081765" y="155313"/>
                  </a:moveTo>
                  <a:cubicBezTo>
                    <a:pt x="2078923" y="154394"/>
                    <a:pt x="2076248" y="155129"/>
                    <a:pt x="2073907" y="156968"/>
                  </a:cubicBezTo>
                  <a:cubicBezTo>
                    <a:pt x="2073072" y="157704"/>
                    <a:pt x="2072403" y="158439"/>
                    <a:pt x="2071734" y="159359"/>
                  </a:cubicBezTo>
                  <a:cubicBezTo>
                    <a:pt x="2071233" y="160095"/>
                    <a:pt x="2070731" y="161013"/>
                    <a:pt x="2070230" y="161934"/>
                  </a:cubicBezTo>
                  <a:cubicBezTo>
                    <a:pt x="2069895" y="162485"/>
                    <a:pt x="2069729" y="163220"/>
                    <a:pt x="2069561" y="163772"/>
                  </a:cubicBezTo>
                  <a:cubicBezTo>
                    <a:pt x="2069227" y="164692"/>
                    <a:pt x="2069059" y="165611"/>
                    <a:pt x="2068892" y="166531"/>
                  </a:cubicBezTo>
                  <a:cubicBezTo>
                    <a:pt x="2068391" y="168002"/>
                    <a:pt x="2068224" y="169473"/>
                    <a:pt x="2068224" y="171312"/>
                  </a:cubicBezTo>
                  <a:cubicBezTo>
                    <a:pt x="2068224" y="172783"/>
                    <a:pt x="2068391" y="174438"/>
                    <a:pt x="2068892" y="176277"/>
                  </a:cubicBezTo>
                  <a:cubicBezTo>
                    <a:pt x="2069227" y="177196"/>
                    <a:pt x="2069394" y="177932"/>
                    <a:pt x="2069729" y="178851"/>
                  </a:cubicBezTo>
                  <a:cubicBezTo>
                    <a:pt x="2070063" y="179955"/>
                    <a:pt x="2070564" y="180875"/>
                    <a:pt x="2071233" y="181794"/>
                  </a:cubicBezTo>
                  <a:cubicBezTo>
                    <a:pt x="2071902" y="182897"/>
                    <a:pt x="2072738" y="183817"/>
                    <a:pt x="2073574" y="184736"/>
                  </a:cubicBezTo>
                  <a:cubicBezTo>
                    <a:pt x="2074409" y="185472"/>
                    <a:pt x="2075413" y="186207"/>
                    <a:pt x="2076582" y="186575"/>
                  </a:cubicBezTo>
                  <a:cubicBezTo>
                    <a:pt x="2079592" y="187679"/>
                    <a:pt x="2082434" y="187126"/>
                    <a:pt x="2084942" y="184920"/>
                  </a:cubicBezTo>
                  <a:cubicBezTo>
                    <a:pt x="2085778" y="184184"/>
                    <a:pt x="2086446" y="183449"/>
                    <a:pt x="2087115" y="182529"/>
                  </a:cubicBezTo>
                  <a:cubicBezTo>
                    <a:pt x="2087783" y="181610"/>
                    <a:pt x="2088285" y="180690"/>
                    <a:pt x="2088787" y="179587"/>
                  </a:cubicBezTo>
                  <a:cubicBezTo>
                    <a:pt x="2088954" y="179035"/>
                    <a:pt x="2089121" y="178484"/>
                    <a:pt x="2089455" y="178116"/>
                  </a:cubicBezTo>
                  <a:cubicBezTo>
                    <a:pt x="2089790" y="177196"/>
                    <a:pt x="2090124" y="176277"/>
                    <a:pt x="2090291" y="175174"/>
                  </a:cubicBezTo>
                  <a:cubicBezTo>
                    <a:pt x="2090793" y="172047"/>
                    <a:pt x="2090793" y="168921"/>
                    <a:pt x="2089957" y="165795"/>
                  </a:cubicBezTo>
                  <a:cubicBezTo>
                    <a:pt x="2089790" y="165059"/>
                    <a:pt x="2089623" y="164324"/>
                    <a:pt x="2089288" y="163772"/>
                  </a:cubicBezTo>
                  <a:cubicBezTo>
                    <a:pt x="2088954" y="163037"/>
                    <a:pt x="2088787" y="162301"/>
                    <a:pt x="2088453" y="161749"/>
                  </a:cubicBezTo>
                  <a:cubicBezTo>
                    <a:pt x="2087951" y="161013"/>
                    <a:pt x="2087616" y="160095"/>
                    <a:pt x="2086948" y="159359"/>
                  </a:cubicBezTo>
                  <a:cubicBezTo>
                    <a:pt x="2086279" y="158439"/>
                    <a:pt x="2085443" y="157520"/>
                    <a:pt x="2084440" y="156784"/>
                  </a:cubicBezTo>
                  <a:cubicBezTo>
                    <a:pt x="2083604" y="156233"/>
                    <a:pt x="2082768" y="155681"/>
                    <a:pt x="2081765" y="155313"/>
                  </a:cubicBezTo>
                  <a:close/>
                  <a:moveTo>
                    <a:pt x="1844849" y="155313"/>
                  </a:moveTo>
                  <a:cubicBezTo>
                    <a:pt x="1842008" y="154394"/>
                    <a:pt x="1839333" y="155129"/>
                    <a:pt x="1836992" y="156968"/>
                  </a:cubicBezTo>
                  <a:cubicBezTo>
                    <a:pt x="1836157" y="157704"/>
                    <a:pt x="1835487" y="158439"/>
                    <a:pt x="1834819" y="159359"/>
                  </a:cubicBezTo>
                  <a:cubicBezTo>
                    <a:pt x="1834318" y="160095"/>
                    <a:pt x="1833816" y="161013"/>
                    <a:pt x="1833314" y="161934"/>
                  </a:cubicBezTo>
                  <a:cubicBezTo>
                    <a:pt x="1832980" y="162485"/>
                    <a:pt x="1832813" y="163220"/>
                    <a:pt x="1832646" y="163772"/>
                  </a:cubicBezTo>
                  <a:cubicBezTo>
                    <a:pt x="1832311" y="164692"/>
                    <a:pt x="1832144" y="165611"/>
                    <a:pt x="1831977" y="166531"/>
                  </a:cubicBezTo>
                  <a:cubicBezTo>
                    <a:pt x="1831475" y="168002"/>
                    <a:pt x="1831308" y="169473"/>
                    <a:pt x="1831308" y="171312"/>
                  </a:cubicBezTo>
                  <a:cubicBezTo>
                    <a:pt x="1831308" y="172783"/>
                    <a:pt x="1831475" y="174438"/>
                    <a:pt x="1831977" y="176277"/>
                  </a:cubicBezTo>
                  <a:cubicBezTo>
                    <a:pt x="1832311" y="177196"/>
                    <a:pt x="1832478" y="177932"/>
                    <a:pt x="1832813" y="178851"/>
                  </a:cubicBezTo>
                  <a:cubicBezTo>
                    <a:pt x="1833147" y="179955"/>
                    <a:pt x="1833648" y="180875"/>
                    <a:pt x="1834318" y="181794"/>
                  </a:cubicBezTo>
                  <a:cubicBezTo>
                    <a:pt x="1834986" y="182897"/>
                    <a:pt x="1835822" y="183817"/>
                    <a:pt x="1836658" y="184736"/>
                  </a:cubicBezTo>
                  <a:cubicBezTo>
                    <a:pt x="1837494" y="185472"/>
                    <a:pt x="1838497" y="186207"/>
                    <a:pt x="1839667" y="186575"/>
                  </a:cubicBezTo>
                  <a:cubicBezTo>
                    <a:pt x="1842676" y="187679"/>
                    <a:pt x="1845519" y="187126"/>
                    <a:pt x="1848026" y="184920"/>
                  </a:cubicBezTo>
                  <a:cubicBezTo>
                    <a:pt x="1848862" y="184184"/>
                    <a:pt x="1849531" y="183449"/>
                    <a:pt x="1850199" y="182529"/>
                  </a:cubicBezTo>
                  <a:cubicBezTo>
                    <a:pt x="1850868" y="181610"/>
                    <a:pt x="1851370" y="180690"/>
                    <a:pt x="1851871" y="179587"/>
                  </a:cubicBezTo>
                  <a:cubicBezTo>
                    <a:pt x="1852038" y="179035"/>
                    <a:pt x="1852206" y="178484"/>
                    <a:pt x="1852540" y="178116"/>
                  </a:cubicBezTo>
                  <a:cubicBezTo>
                    <a:pt x="1852874" y="177196"/>
                    <a:pt x="1853209" y="176277"/>
                    <a:pt x="1853375" y="175174"/>
                  </a:cubicBezTo>
                  <a:cubicBezTo>
                    <a:pt x="1853877" y="172047"/>
                    <a:pt x="1853877" y="168921"/>
                    <a:pt x="1853041" y="165795"/>
                  </a:cubicBezTo>
                  <a:cubicBezTo>
                    <a:pt x="1852874" y="165059"/>
                    <a:pt x="1852707" y="164324"/>
                    <a:pt x="1852372" y="163772"/>
                  </a:cubicBezTo>
                  <a:cubicBezTo>
                    <a:pt x="1852038" y="163037"/>
                    <a:pt x="1851871" y="162301"/>
                    <a:pt x="1851537" y="161749"/>
                  </a:cubicBezTo>
                  <a:cubicBezTo>
                    <a:pt x="1851035" y="161013"/>
                    <a:pt x="1850700" y="160095"/>
                    <a:pt x="1850032" y="159359"/>
                  </a:cubicBezTo>
                  <a:cubicBezTo>
                    <a:pt x="1849363" y="158439"/>
                    <a:pt x="1848527" y="157520"/>
                    <a:pt x="1847524" y="156784"/>
                  </a:cubicBezTo>
                  <a:cubicBezTo>
                    <a:pt x="1846688" y="156233"/>
                    <a:pt x="1845853" y="155681"/>
                    <a:pt x="1844849" y="155313"/>
                  </a:cubicBezTo>
                  <a:close/>
                  <a:moveTo>
                    <a:pt x="1721292" y="155313"/>
                  </a:moveTo>
                  <a:cubicBezTo>
                    <a:pt x="1718451" y="154394"/>
                    <a:pt x="1715776" y="155129"/>
                    <a:pt x="1713435" y="156968"/>
                  </a:cubicBezTo>
                  <a:cubicBezTo>
                    <a:pt x="1712599" y="157704"/>
                    <a:pt x="1711930" y="158439"/>
                    <a:pt x="1711262" y="159359"/>
                  </a:cubicBezTo>
                  <a:cubicBezTo>
                    <a:pt x="1710760" y="160095"/>
                    <a:pt x="1710258" y="161013"/>
                    <a:pt x="1709757" y="161934"/>
                  </a:cubicBezTo>
                  <a:cubicBezTo>
                    <a:pt x="1709423" y="162485"/>
                    <a:pt x="1709256" y="163220"/>
                    <a:pt x="1709089" y="163772"/>
                  </a:cubicBezTo>
                  <a:cubicBezTo>
                    <a:pt x="1708754" y="164692"/>
                    <a:pt x="1708587" y="165611"/>
                    <a:pt x="1708419" y="166531"/>
                  </a:cubicBezTo>
                  <a:cubicBezTo>
                    <a:pt x="1707918" y="168002"/>
                    <a:pt x="1707751" y="169473"/>
                    <a:pt x="1707751" y="171312"/>
                  </a:cubicBezTo>
                  <a:cubicBezTo>
                    <a:pt x="1707751" y="172783"/>
                    <a:pt x="1707918" y="174438"/>
                    <a:pt x="1708419" y="176277"/>
                  </a:cubicBezTo>
                  <a:cubicBezTo>
                    <a:pt x="1708754" y="177196"/>
                    <a:pt x="1708921" y="177932"/>
                    <a:pt x="1709256" y="178851"/>
                  </a:cubicBezTo>
                  <a:cubicBezTo>
                    <a:pt x="1709590" y="179955"/>
                    <a:pt x="1710091" y="180875"/>
                    <a:pt x="1710760" y="181794"/>
                  </a:cubicBezTo>
                  <a:cubicBezTo>
                    <a:pt x="1711429" y="182897"/>
                    <a:pt x="1712265" y="183817"/>
                    <a:pt x="1713101" y="184736"/>
                  </a:cubicBezTo>
                  <a:cubicBezTo>
                    <a:pt x="1713937" y="185472"/>
                    <a:pt x="1714940" y="186207"/>
                    <a:pt x="1716110" y="186575"/>
                  </a:cubicBezTo>
                  <a:cubicBezTo>
                    <a:pt x="1719119" y="187679"/>
                    <a:pt x="1721961" y="187126"/>
                    <a:pt x="1724469" y="184920"/>
                  </a:cubicBezTo>
                  <a:cubicBezTo>
                    <a:pt x="1725305" y="184184"/>
                    <a:pt x="1725974" y="183449"/>
                    <a:pt x="1726642" y="182529"/>
                  </a:cubicBezTo>
                  <a:cubicBezTo>
                    <a:pt x="1727311" y="181610"/>
                    <a:pt x="1727813" y="180690"/>
                    <a:pt x="1728314" y="179587"/>
                  </a:cubicBezTo>
                  <a:cubicBezTo>
                    <a:pt x="1728481" y="179035"/>
                    <a:pt x="1728649" y="178484"/>
                    <a:pt x="1728982" y="178116"/>
                  </a:cubicBezTo>
                  <a:cubicBezTo>
                    <a:pt x="1729317" y="177196"/>
                    <a:pt x="1729652" y="176277"/>
                    <a:pt x="1729818" y="175174"/>
                  </a:cubicBezTo>
                  <a:cubicBezTo>
                    <a:pt x="1730320" y="172047"/>
                    <a:pt x="1730320" y="168921"/>
                    <a:pt x="1729484" y="165795"/>
                  </a:cubicBezTo>
                  <a:cubicBezTo>
                    <a:pt x="1729317" y="165059"/>
                    <a:pt x="1729150" y="164324"/>
                    <a:pt x="1728815" y="163772"/>
                  </a:cubicBezTo>
                  <a:cubicBezTo>
                    <a:pt x="1728481" y="163037"/>
                    <a:pt x="1728314" y="162301"/>
                    <a:pt x="1727980" y="161749"/>
                  </a:cubicBezTo>
                  <a:cubicBezTo>
                    <a:pt x="1727478" y="161013"/>
                    <a:pt x="1727143" y="160095"/>
                    <a:pt x="1726475" y="159359"/>
                  </a:cubicBezTo>
                  <a:cubicBezTo>
                    <a:pt x="1725806" y="158439"/>
                    <a:pt x="1724970" y="157520"/>
                    <a:pt x="1723967" y="156784"/>
                  </a:cubicBezTo>
                  <a:cubicBezTo>
                    <a:pt x="1723131" y="156233"/>
                    <a:pt x="1722295" y="155681"/>
                    <a:pt x="1721292" y="155313"/>
                  </a:cubicBezTo>
                  <a:close/>
                  <a:moveTo>
                    <a:pt x="1556279" y="155313"/>
                  </a:moveTo>
                  <a:cubicBezTo>
                    <a:pt x="1553438" y="154394"/>
                    <a:pt x="1550763" y="155129"/>
                    <a:pt x="1548422" y="156968"/>
                  </a:cubicBezTo>
                  <a:cubicBezTo>
                    <a:pt x="1547586" y="157704"/>
                    <a:pt x="1546917" y="158439"/>
                    <a:pt x="1546249" y="159359"/>
                  </a:cubicBezTo>
                  <a:cubicBezTo>
                    <a:pt x="1545747" y="160095"/>
                    <a:pt x="1545245" y="161013"/>
                    <a:pt x="1544744" y="161934"/>
                  </a:cubicBezTo>
                  <a:cubicBezTo>
                    <a:pt x="1544410" y="162485"/>
                    <a:pt x="1544243" y="163220"/>
                    <a:pt x="1544076" y="163772"/>
                  </a:cubicBezTo>
                  <a:cubicBezTo>
                    <a:pt x="1543741" y="164692"/>
                    <a:pt x="1543574" y="165611"/>
                    <a:pt x="1543406" y="166531"/>
                  </a:cubicBezTo>
                  <a:cubicBezTo>
                    <a:pt x="1542905" y="168002"/>
                    <a:pt x="1542738" y="169473"/>
                    <a:pt x="1542738" y="171312"/>
                  </a:cubicBezTo>
                  <a:cubicBezTo>
                    <a:pt x="1542738" y="172783"/>
                    <a:pt x="1542905" y="174438"/>
                    <a:pt x="1543406" y="176277"/>
                  </a:cubicBezTo>
                  <a:cubicBezTo>
                    <a:pt x="1543741" y="177196"/>
                    <a:pt x="1543908" y="177932"/>
                    <a:pt x="1544243" y="178851"/>
                  </a:cubicBezTo>
                  <a:cubicBezTo>
                    <a:pt x="1544577" y="179955"/>
                    <a:pt x="1545078" y="180875"/>
                    <a:pt x="1545747" y="181794"/>
                  </a:cubicBezTo>
                  <a:cubicBezTo>
                    <a:pt x="1546416" y="182897"/>
                    <a:pt x="1547252" y="183817"/>
                    <a:pt x="1548088" y="184736"/>
                  </a:cubicBezTo>
                  <a:cubicBezTo>
                    <a:pt x="1548924" y="185472"/>
                    <a:pt x="1549927" y="186207"/>
                    <a:pt x="1551097" y="186575"/>
                  </a:cubicBezTo>
                  <a:cubicBezTo>
                    <a:pt x="1554106" y="187679"/>
                    <a:pt x="1556948" y="187126"/>
                    <a:pt x="1559456" y="184920"/>
                  </a:cubicBezTo>
                  <a:cubicBezTo>
                    <a:pt x="1560292" y="184184"/>
                    <a:pt x="1560961" y="183449"/>
                    <a:pt x="1561629" y="182529"/>
                  </a:cubicBezTo>
                  <a:cubicBezTo>
                    <a:pt x="1562298" y="181610"/>
                    <a:pt x="1562800" y="180690"/>
                    <a:pt x="1563301" y="179587"/>
                  </a:cubicBezTo>
                  <a:cubicBezTo>
                    <a:pt x="1563468" y="179035"/>
                    <a:pt x="1563635" y="178484"/>
                    <a:pt x="1563969" y="178116"/>
                  </a:cubicBezTo>
                  <a:cubicBezTo>
                    <a:pt x="1564304" y="177196"/>
                    <a:pt x="1564639" y="176277"/>
                    <a:pt x="1564805" y="175174"/>
                  </a:cubicBezTo>
                  <a:cubicBezTo>
                    <a:pt x="1565307" y="172047"/>
                    <a:pt x="1565307" y="168921"/>
                    <a:pt x="1564471" y="165795"/>
                  </a:cubicBezTo>
                  <a:cubicBezTo>
                    <a:pt x="1564304" y="165059"/>
                    <a:pt x="1564137" y="164324"/>
                    <a:pt x="1563802" y="163772"/>
                  </a:cubicBezTo>
                  <a:cubicBezTo>
                    <a:pt x="1563468" y="163037"/>
                    <a:pt x="1563301" y="162301"/>
                    <a:pt x="1562967" y="161749"/>
                  </a:cubicBezTo>
                  <a:cubicBezTo>
                    <a:pt x="1562465" y="161013"/>
                    <a:pt x="1562130" y="160095"/>
                    <a:pt x="1561462" y="159359"/>
                  </a:cubicBezTo>
                  <a:cubicBezTo>
                    <a:pt x="1560793" y="158439"/>
                    <a:pt x="1559957" y="157520"/>
                    <a:pt x="1558954" y="156784"/>
                  </a:cubicBezTo>
                  <a:cubicBezTo>
                    <a:pt x="1558118" y="156233"/>
                    <a:pt x="1557282" y="155681"/>
                    <a:pt x="1556279" y="155313"/>
                  </a:cubicBezTo>
                  <a:close/>
                  <a:moveTo>
                    <a:pt x="1432722" y="155313"/>
                  </a:moveTo>
                  <a:cubicBezTo>
                    <a:pt x="1429881" y="154394"/>
                    <a:pt x="1427206" y="155129"/>
                    <a:pt x="1424865" y="156968"/>
                  </a:cubicBezTo>
                  <a:cubicBezTo>
                    <a:pt x="1424029" y="157704"/>
                    <a:pt x="1423360" y="158439"/>
                    <a:pt x="1422692" y="159359"/>
                  </a:cubicBezTo>
                  <a:cubicBezTo>
                    <a:pt x="1422190" y="160095"/>
                    <a:pt x="1421688" y="161013"/>
                    <a:pt x="1421187" y="161934"/>
                  </a:cubicBezTo>
                  <a:cubicBezTo>
                    <a:pt x="1420852" y="162485"/>
                    <a:pt x="1420686" y="163220"/>
                    <a:pt x="1420519" y="163772"/>
                  </a:cubicBezTo>
                  <a:cubicBezTo>
                    <a:pt x="1420184" y="164692"/>
                    <a:pt x="1420017" y="165611"/>
                    <a:pt x="1419849" y="166531"/>
                  </a:cubicBezTo>
                  <a:cubicBezTo>
                    <a:pt x="1419348" y="168002"/>
                    <a:pt x="1419181" y="169473"/>
                    <a:pt x="1419181" y="171312"/>
                  </a:cubicBezTo>
                  <a:cubicBezTo>
                    <a:pt x="1419181" y="172783"/>
                    <a:pt x="1419348" y="174438"/>
                    <a:pt x="1419849" y="176277"/>
                  </a:cubicBezTo>
                  <a:cubicBezTo>
                    <a:pt x="1420184" y="177196"/>
                    <a:pt x="1420351" y="177932"/>
                    <a:pt x="1420686" y="178851"/>
                  </a:cubicBezTo>
                  <a:cubicBezTo>
                    <a:pt x="1421020" y="179955"/>
                    <a:pt x="1421521" y="180875"/>
                    <a:pt x="1422190" y="181794"/>
                  </a:cubicBezTo>
                  <a:cubicBezTo>
                    <a:pt x="1422859" y="182897"/>
                    <a:pt x="1423695" y="183817"/>
                    <a:pt x="1424531" y="184736"/>
                  </a:cubicBezTo>
                  <a:cubicBezTo>
                    <a:pt x="1425366" y="185472"/>
                    <a:pt x="1426370" y="186207"/>
                    <a:pt x="1427540" y="186575"/>
                  </a:cubicBezTo>
                  <a:cubicBezTo>
                    <a:pt x="1430549" y="187679"/>
                    <a:pt x="1433391" y="187126"/>
                    <a:pt x="1435899" y="184920"/>
                  </a:cubicBezTo>
                  <a:cubicBezTo>
                    <a:pt x="1436735" y="184184"/>
                    <a:pt x="1437403" y="183449"/>
                    <a:pt x="1438072" y="182529"/>
                  </a:cubicBezTo>
                  <a:cubicBezTo>
                    <a:pt x="1438741" y="181610"/>
                    <a:pt x="1439242" y="180690"/>
                    <a:pt x="1439744" y="179587"/>
                  </a:cubicBezTo>
                  <a:cubicBezTo>
                    <a:pt x="1439911" y="179035"/>
                    <a:pt x="1440078" y="178484"/>
                    <a:pt x="1440412" y="178116"/>
                  </a:cubicBezTo>
                  <a:cubicBezTo>
                    <a:pt x="1440747" y="177196"/>
                    <a:pt x="1441082" y="176277"/>
                    <a:pt x="1441248" y="175174"/>
                  </a:cubicBezTo>
                  <a:cubicBezTo>
                    <a:pt x="1441750" y="172047"/>
                    <a:pt x="1441750" y="168921"/>
                    <a:pt x="1440914" y="165795"/>
                  </a:cubicBezTo>
                  <a:cubicBezTo>
                    <a:pt x="1440747" y="165059"/>
                    <a:pt x="1440580" y="164324"/>
                    <a:pt x="1440245" y="163772"/>
                  </a:cubicBezTo>
                  <a:cubicBezTo>
                    <a:pt x="1439911" y="163037"/>
                    <a:pt x="1439744" y="162301"/>
                    <a:pt x="1439410" y="161749"/>
                  </a:cubicBezTo>
                  <a:cubicBezTo>
                    <a:pt x="1438908" y="161013"/>
                    <a:pt x="1438573" y="160095"/>
                    <a:pt x="1437905" y="159359"/>
                  </a:cubicBezTo>
                  <a:cubicBezTo>
                    <a:pt x="1437236" y="158439"/>
                    <a:pt x="1436400" y="157520"/>
                    <a:pt x="1435397" y="156784"/>
                  </a:cubicBezTo>
                  <a:cubicBezTo>
                    <a:pt x="1434561" y="156233"/>
                    <a:pt x="1433725" y="155681"/>
                    <a:pt x="1432722" y="155313"/>
                  </a:cubicBezTo>
                  <a:close/>
                  <a:moveTo>
                    <a:pt x="1144202" y="155313"/>
                  </a:moveTo>
                  <a:cubicBezTo>
                    <a:pt x="1141360" y="154394"/>
                    <a:pt x="1138685" y="155129"/>
                    <a:pt x="1136345" y="156968"/>
                  </a:cubicBezTo>
                  <a:cubicBezTo>
                    <a:pt x="1135509" y="157704"/>
                    <a:pt x="1134840" y="158439"/>
                    <a:pt x="1134172" y="159359"/>
                  </a:cubicBezTo>
                  <a:cubicBezTo>
                    <a:pt x="1133670" y="160095"/>
                    <a:pt x="1133169" y="161013"/>
                    <a:pt x="1132667" y="161934"/>
                  </a:cubicBezTo>
                  <a:cubicBezTo>
                    <a:pt x="1132333" y="162485"/>
                    <a:pt x="1132165" y="163220"/>
                    <a:pt x="1131998" y="163772"/>
                  </a:cubicBezTo>
                  <a:cubicBezTo>
                    <a:pt x="1131663" y="164692"/>
                    <a:pt x="1131497" y="165611"/>
                    <a:pt x="1131329" y="166531"/>
                  </a:cubicBezTo>
                  <a:cubicBezTo>
                    <a:pt x="1130828" y="168002"/>
                    <a:pt x="1130660" y="169473"/>
                    <a:pt x="1130660" y="171312"/>
                  </a:cubicBezTo>
                  <a:cubicBezTo>
                    <a:pt x="1130660" y="172783"/>
                    <a:pt x="1130828" y="174438"/>
                    <a:pt x="1131329" y="176277"/>
                  </a:cubicBezTo>
                  <a:cubicBezTo>
                    <a:pt x="1131663" y="177196"/>
                    <a:pt x="1131831" y="177932"/>
                    <a:pt x="1132165" y="178851"/>
                  </a:cubicBezTo>
                  <a:cubicBezTo>
                    <a:pt x="1132500" y="179955"/>
                    <a:pt x="1133001" y="180875"/>
                    <a:pt x="1133670" y="181794"/>
                  </a:cubicBezTo>
                  <a:cubicBezTo>
                    <a:pt x="1134338" y="182897"/>
                    <a:pt x="1135174" y="183817"/>
                    <a:pt x="1136010" y="184736"/>
                  </a:cubicBezTo>
                  <a:cubicBezTo>
                    <a:pt x="1136846" y="185472"/>
                    <a:pt x="1137849" y="186207"/>
                    <a:pt x="1139020" y="186575"/>
                  </a:cubicBezTo>
                  <a:cubicBezTo>
                    <a:pt x="1142029" y="187679"/>
                    <a:pt x="1144871" y="187126"/>
                    <a:pt x="1147378" y="184920"/>
                  </a:cubicBezTo>
                  <a:cubicBezTo>
                    <a:pt x="1148214" y="184184"/>
                    <a:pt x="1148883" y="183449"/>
                    <a:pt x="1149551" y="182529"/>
                  </a:cubicBezTo>
                  <a:cubicBezTo>
                    <a:pt x="1150221" y="181610"/>
                    <a:pt x="1150722" y="180690"/>
                    <a:pt x="1151224" y="179587"/>
                  </a:cubicBezTo>
                  <a:cubicBezTo>
                    <a:pt x="1151391" y="179035"/>
                    <a:pt x="1151558" y="178484"/>
                    <a:pt x="1151892" y="178116"/>
                  </a:cubicBezTo>
                  <a:cubicBezTo>
                    <a:pt x="1152226" y="177196"/>
                    <a:pt x="1152561" y="176277"/>
                    <a:pt x="1152728" y="175174"/>
                  </a:cubicBezTo>
                  <a:cubicBezTo>
                    <a:pt x="1153230" y="172047"/>
                    <a:pt x="1153230" y="168921"/>
                    <a:pt x="1152394" y="165795"/>
                  </a:cubicBezTo>
                  <a:cubicBezTo>
                    <a:pt x="1152226" y="165059"/>
                    <a:pt x="1152059" y="164324"/>
                    <a:pt x="1151725" y="163772"/>
                  </a:cubicBezTo>
                  <a:cubicBezTo>
                    <a:pt x="1151391" y="163037"/>
                    <a:pt x="1151224" y="162301"/>
                    <a:pt x="1150889" y="161749"/>
                  </a:cubicBezTo>
                  <a:cubicBezTo>
                    <a:pt x="1150387" y="161013"/>
                    <a:pt x="1150053" y="160095"/>
                    <a:pt x="1149385" y="159359"/>
                  </a:cubicBezTo>
                  <a:cubicBezTo>
                    <a:pt x="1148716" y="158439"/>
                    <a:pt x="1147880" y="157520"/>
                    <a:pt x="1146877" y="156784"/>
                  </a:cubicBezTo>
                  <a:cubicBezTo>
                    <a:pt x="1146041" y="156233"/>
                    <a:pt x="1145205" y="155681"/>
                    <a:pt x="1144202" y="155313"/>
                  </a:cubicBezTo>
                  <a:close/>
                  <a:moveTo>
                    <a:pt x="907287" y="155313"/>
                  </a:moveTo>
                  <a:cubicBezTo>
                    <a:pt x="904444" y="154394"/>
                    <a:pt x="901770" y="155129"/>
                    <a:pt x="899429" y="156968"/>
                  </a:cubicBezTo>
                  <a:cubicBezTo>
                    <a:pt x="898593" y="157704"/>
                    <a:pt x="897925" y="158439"/>
                    <a:pt x="897256" y="159359"/>
                  </a:cubicBezTo>
                  <a:cubicBezTo>
                    <a:pt x="896754" y="160095"/>
                    <a:pt x="896253" y="161013"/>
                    <a:pt x="895752" y="161934"/>
                  </a:cubicBezTo>
                  <a:cubicBezTo>
                    <a:pt x="895417" y="162485"/>
                    <a:pt x="895250" y="163220"/>
                    <a:pt x="895082" y="163772"/>
                  </a:cubicBezTo>
                  <a:cubicBezTo>
                    <a:pt x="894748" y="164692"/>
                    <a:pt x="894581" y="165611"/>
                    <a:pt x="894414" y="166531"/>
                  </a:cubicBezTo>
                  <a:cubicBezTo>
                    <a:pt x="893913" y="168002"/>
                    <a:pt x="893745" y="169473"/>
                    <a:pt x="893745" y="171312"/>
                  </a:cubicBezTo>
                  <a:cubicBezTo>
                    <a:pt x="893745" y="172783"/>
                    <a:pt x="893913" y="174438"/>
                    <a:pt x="894414" y="176277"/>
                  </a:cubicBezTo>
                  <a:cubicBezTo>
                    <a:pt x="894748" y="177196"/>
                    <a:pt x="894916" y="177932"/>
                    <a:pt x="895250" y="178851"/>
                  </a:cubicBezTo>
                  <a:cubicBezTo>
                    <a:pt x="895584" y="179955"/>
                    <a:pt x="896086" y="180875"/>
                    <a:pt x="896754" y="181794"/>
                  </a:cubicBezTo>
                  <a:cubicBezTo>
                    <a:pt x="897423" y="182897"/>
                    <a:pt x="898259" y="183817"/>
                    <a:pt x="899095" y="184736"/>
                  </a:cubicBezTo>
                  <a:cubicBezTo>
                    <a:pt x="899931" y="185472"/>
                    <a:pt x="900934" y="186207"/>
                    <a:pt x="902104" y="186575"/>
                  </a:cubicBezTo>
                  <a:cubicBezTo>
                    <a:pt x="905114" y="187679"/>
                    <a:pt x="907955" y="187126"/>
                    <a:pt x="910463" y="184920"/>
                  </a:cubicBezTo>
                  <a:cubicBezTo>
                    <a:pt x="911299" y="184184"/>
                    <a:pt x="911968" y="183449"/>
                    <a:pt x="912637" y="182529"/>
                  </a:cubicBezTo>
                  <a:cubicBezTo>
                    <a:pt x="913305" y="181610"/>
                    <a:pt x="913806" y="180690"/>
                    <a:pt x="914308" y="179587"/>
                  </a:cubicBezTo>
                  <a:cubicBezTo>
                    <a:pt x="914476" y="179035"/>
                    <a:pt x="914643" y="178484"/>
                    <a:pt x="914977" y="178116"/>
                  </a:cubicBezTo>
                  <a:cubicBezTo>
                    <a:pt x="915311" y="177196"/>
                    <a:pt x="915645" y="176277"/>
                    <a:pt x="915813" y="175174"/>
                  </a:cubicBezTo>
                  <a:cubicBezTo>
                    <a:pt x="916315" y="172047"/>
                    <a:pt x="916315" y="168921"/>
                    <a:pt x="915479" y="165795"/>
                  </a:cubicBezTo>
                  <a:cubicBezTo>
                    <a:pt x="915311" y="165059"/>
                    <a:pt x="915144" y="164324"/>
                    <a:pt x="914810" y="163772"/>
                  </a:cubicBezTo>
                  <a:cubicBezTo>
                    <a:pt x="914476" y="163037"/>
                    <a:pt x="914308" y="162301"/>
                    <a:pt x="913974" y="161749"/>
                  </a:cubicBezTo>
                  <a:cubicBezTo>
                    <a:pt x="913472" y="161013"/>
                    <a:pt x="913138" y="160095"/>
                    <a:pt x="912469" y="159359"/>
                  </a:cubicBezTo>
                  <a:cubicBezTo>
                    <a:pt x="911801" y="158439"/>
                    <a:pt x="910965" y="157520"/>
                    <a:pt x="909962" y="156784"/>
                  </a:cubicBezTo>
                  <a:cubicBezTo>
                    <a:pt x="909126" y="156233"/>
                    <a:pt x="908290" y="155681"/>
                    <a:pt x="907287" y="155313"/>
                  </a:cubicBezTo>
                  <a:close/>
                  <a:moveTo>
                    <a:pt x="783730" y="155313"/>
                  </a:moveTo>
                  <a:cubicBezTo>
                    <a:pt x="780887" y="154394"/>
                    <a:pt x="778212" y="155129"/>
                    <a:pt x="775872" y="156968"/>
                  </a:cubicBezTo>
                  <a:cubicBezTo>
                    <a:pt x="775036" y="157704"/>
                    <a:pt x="774368" y="158439"/>
                    <a:pt x="773699" y="159359"/>
                  </a:cubicBezTo>
                  <a:cubicBezTo>
                    <a:pt x="773197" y="160095"/>
                    <a:pt x="772696" y="161013"/>
                    <a:pt x="772195" y="161934"/>
                  </a:cubicBezTo>
                  <a:cubicBezTo>
                    <a:pt x="771860" y="162485"/>
                    <a:pt x="771693" y="163220"/>
                    <a:pt x="771525" y="163772"/>
                  </a:cubicBezTo>
                  <a:cubicBezTo>
                    <a:pt x="771191" y="164692"/>
                    <a:pt x="771024" y="165611"/>
                    <a:pt x="770857" y="166531"/>
                  </a:cubicBezTo>
                  <a:cubicBezTo>
                    <a:pt x="770355" y="168002"/>
                    <a:pt x="770188" y="169473"/>
                    <a:pt x="770188" y="171312"/>
                  </a:cubicBezTo>
                  <a:cubicBezTo>
                    <a:pt x="770188" y="172783"/>
                    <a:pt x="770355" y="174438"/>
                    <a:pt x="770857" y="176277"/>
                  </a:cubicBezTo>
                  <a:cubicBezTo>
                    <a:pt x="771191" y="177196"/>
                    <a:pt x="771359" y="177932"/>
                    <a:pt x="771693" y="178851"/>
                  </a:cubicBezTo>
                  <a:cubicBezTo>
                    <a:pt x="772027" y="179955"/>
                    <a:pt x="772528" y="180875"/>
                    <a:pt x="773197" y="181794"/>
                  </a:cubicBezTo>
                  <a:cubicBezTo>
                    <a:pt x="773866" y="182897"/>
                    <a:pt x="774702" y="183817"/>
                    <a:pt x="775538" y="184736"/>
                  </a:cubicBezTo>
                  <a:cubicBezTo>
                    <a:pt x="776374" y="185472"/>
                    <a:pt x="777377" y="186207"/>
                    <a:pt x="778547" y="186575"/>
                  </a:cubicBezTo>
                  <a:cubicBezTo>
                    <a:pt x="781557" y="187679"/>
                    <a:pt x="784398" y="187126"/>
                    <a:pt x="786906" y="184920"/>
                  </a:cubicBezTo>
                  <a:cubicBezTo>
                    <a:pt x="787742" y="184184"/>
                    <a:pt x="788411" y="183449"/>
                    <a:pt x="789079" y="182529"/>
                  </a:cubicBezTo>
                  <a:cubicBezTo>
                    <a:pt x="789748" y="181610"/>
                    <a:pt x="790249" y="180690"/>
                    <a:pt x="790751" y="179587"/>
                  </a:cubicBezTo>
                  <a:cubicBezTo>
                    <a:pt x="790919" y="179035"/>
                    <a:pt x="791086" y="178484"/>
                    <a:pt x="791420" y="178116"/>
                  </a:cubicBezTo>
                  <a:cubicBezTo>
                    <a:pt x="791754" y="177196"/>
                    <a:pt x="792088" y="176277"/>
                    <a:pt x="792256" y="175174"/>
                  </a:cubicBezTo>
                  <a:cubicBezTo>
                    <a:pt x="792758" y="172047"/>
                    <a:pt x="792758" y="168921"/>
                    <a:pt x="791921" y="165795"/>
                  </a:cubicBezTo>
                  <a:cubicBezTo>
                    <a:pt x="791754" y="165059"/>
                    <a:pt x="791587" y="164324"/>
                    <a:pt x="791252" y="163772"/>
                  </a:cubicBezTo>
                  <a:cubicBezTo>
                    <a:pt x="790919" y="163037"/>
                    <a:pt x="790751" y="162301"/>
                    <a:pt x="790417" y="161749"/>
                  </a:cubicBezTo>
                  <a:cubicBezTo>
                    <a:pt x="789915" y="161013"/>
                    <a:pt x="789581" y="160095"/>
                    <a:pt x="788912" y="159359"/>
                  </a:cubicBezTo>
                  <a:cubicBezTo>
                    <a:pt x="788244" y="158439"/>
                    <a:pt x="787408" y="157520"/>
                    <a:pt x="786404" y="156784"/>
                  </a:cubicBezTo>
                  <a:cubicBezTo>
                    <a:pt x="785569" y="156233"/>
                    <a:pt x="784733" y="155681"/>
                    <a:pt x="783730" y="155313"/>
                  </a:cubicBezTo>
                  <a:close/>
                  <a:moveTo>
                    <a:pt x="670321" y="155313"/>
                  </a:moveTo>
                  <a:cubicBezTo>
                    <a:pt x="667479" y="154394"/>
                    <a:pt x="664804" y="155129"/>
                    <a:pt x="662464" y="156968"/>
                  </a:cubicBezTo>
                  <a:cubicBezTo>
                    <a:pt x="661628" y="157704"/>
                    <a:pt x="660959" y="158439"/>
                    <a:pt x="660291" y="159359"/>
                  </a:cubicBezTo>
                  <a:cubicBezTo>
                    <a:pt x="659789" y="160095"/>
                    <a:pt x="659288" y="161013"/>
                    <a:pt x="658786" y="161934"/>
                  </a:cubicBezTo>
                  <a:cubicBezTo>
                    <a:pt x="658452" y="162485"/>
                    <a:pt x="658284" y="163220"/>
                    <a:pt x="658117" y="163772"/>
                  </a:cubicBezTo>
                  <a:cubicBezTo>
                    <a:pt x="657783" y="164692"/>
                    <a:pt x="657616" y="165611"/>
                    <a:pt x="657449" y="166531"/>
                  </a:cubicBezTo>
                  <a:cubicBezTo>
                    <a:pt x="656947" y="168002"/>
                    <a:pt x="656780" y="169473"/>
                    <a:pt x="656780" y="171312"/>
                  </a:cubicBezTo>
                  <a:cubicBezTo>
                    <a:pt x="656780" y="172783"/>
                    <a:pt x="656947" y="174438"/>
                    <a:pt x="657449" y="176277"/>
                  </a:cubicBezTo>
                  <a:cubicBezTo>
                    <a:pt x="657783" y="177196"/>
                    <a:pt x="657950" y="177932"/>
                    <a:pt x="658284" y="178851"/>
                  </a:cubicBezTo>
                  <a:cubicBezTo>
                    <a:pt x="658619" y="179955"/>
                    <a:pt x="659120" y="180875"/>
                    <a:pt x="659789" y="181794"/>
                  </a:cubicBezTo>
                  <a:cubicBezTo>
                    <a:pt x="660458" y="182897"/>
                    <a:pt x="661294" y="183817"/>
                    <a:pt x="662130" y="184736"/>
                  </a:cubicBezTo>
                  <a:cubicBezTo>
                    <a:pt x="662966" y="185472"/>
                    <a:pt x="663969" y="186207"/>
                    <a:pt x="665139" y="186575"/>
                  </a:cubicBezTo>
                  <a:cubicBezTo>
                    <a:pt x="668148" y="187679"/>
                    <a:pt x="670990" y="187126"/>
                    <a:pt x="673498" y="184920"/>
                  </a:cubicBezTo>
                  <a:cubicBezTo>
                    <a:pt x="674333" y="184184"/>
                    <a:pt x="675003" y="183449"/>
                    <a:pt x="675671" y="182529"/>
                  </a:cubicBezTo>
                  <a:cubicBezTo>
                    <a:pt x="676340" y="181610"/>
                    <a:pt x="676841" y="180690"/>
                    <a:pt x="677343" y="179587"/>
                  </a:cubicBezTo>
                  <a:cubicBezTo>
                    <a:pt x="677510" y="179035"/>
                    <a:pt x="677677" y="178484"/>
                    <a:pt x="678012" y="178116"/>
                  </a:cubicBezTo>
                  <a:cubicBezTo>
                    <a:pt x="678346" y="177196"/>
                    <a:pt x="678680" y="176277"/>
                    <a:pt x="678847" y="175174"/>
                  </a:cubicBezTo>
                  <a:cubicBezTo>
                    <a:pt x="679349" y="172047"/>
                    <a:pt x="679349" y="168921"/>
                    <a:pt x="678513" y="165795"/>
                  </a:cubicBezTo>
                  <a:cubicBezTo>
                    <a:pt x="678346" y="165059"/>
                    <a:pt x="678179" y="164324"/>
                    <a:pt x="677844" y="163772"/>
                  </a:cubicBezTo>
                  <a:cubicBezTo>
                    <a:pt x="677510" y="163037"/>
                    <a:pt x="677343" y="162301"/>
                    <a:pt x="677008" y="161749"/>
                  </a:cubicBezTo>
                  <a:cubicBezTo>
                    <a:pt x="676507" y="161013"/>
                    <a:pt x="676172" y="160095"/>
                    <a:pt x="675504" y="159359"/>
                  </a:cubicBezTo>
                  <a:cubicBezTo>
                    <a:pt x="674835" y="158439"/>
                    <a:pt x="673999" y="157520"/>
                    <a:pt x="672996" y="156784"/>
                  </a:cubicBezTo>
                  <a:cubicBezTo>
                    <a:pt x="672160" y="156233"/>
                    <a:pt x="671325" y="155681"/>
                    <a:pt x="670321" y="155313"/>
                  </a:cubicBezTo>
                  <a:close/>
                  <a:moveTo>
                    <a:pt x="433406" y="155313"/>
                  </a:moveTo>
                  <a:cubicBezTo>
                    <a:pt x="430563" y="154394"/>
                    <a:pt x="427888" y="155129"/>
                    <a:pt x="425548" y="156968"/>
                  </a:cubicBezTo>
                  <a:cubicBezTo>
                    <a:pt x="424712" y="157704"/>
                    <a:pt x="424044" y="158439"/>
                    <a:pt x="423375" y="159359"/>
                  </a:cubicBezTo>
                  <a:cubicBezTo>
                    <a:pt x="422873" y="160095"/>
                    <a:pt x="422372" y="161013"/>
                    <a:pt x="421870" y="161934"/>
                  </a:cubicBezTo>
                  <a:cubicBezTo>
                    <a:pt x="421536" y="162485"/>
                    <a:pt x="421369" y="163220"/>
                    <a:pt x="421201" y="163772"/>
                  </a:cubicBezTo>
                  <a:cubicBezTo>
                    <a:pt x="420867" y="164692"/>
                    <a:pt x="420700" y="165611"/>
                    <a:pt x="420533" y="166531"/>
                  </a:cubicBezTo>
                  <a:cubicBezTo>
                    <a:pt x="420032" y="168002"/>
                    <a:pt x="419864" y="169473"/>
                    <a:pt x="419864" y="171312"/>
                  </a:cubicBezTo>
                  <a:cubicBezTo>
                    <a:pt x="419864" y="172783"/>
                    <a:pt x="420032" y="174438"/>
                    <a:pt x="420533" y="176277"/>
                  </a:cubicBezTo>
                  <a:cubicBezTo>
                    <a:pt x="420867" y="177196"/>
                    <a:pt x="421035" y="177932"/>
                    <a:pt x="421369" y="178851"/>
                  </a:cubicBezTo>
                  <a:cubicBezTo>
                    <a:pt x="421703" y="179955"/>
                    <a:pt x="422205" y="180875"/>
                    <a:pt x="422873" y="181794"/>
                  </a:cubicBezTo>
                  <a:cubicBezTo>
                    <a:pt x="423542" y="182897"/>
                    <a:pt x="424378" y="183817"/>
                    <a:pt x="425214" y="184736"/>
                  </a:cubicBezTo>
                  <a:cubicBezTo>
                    <a:pt x="426050" y="185472"/>
                    <a:pt x="427053" y="186207"/>
                    <a:pt x="428223" y="186575"/>
                  </a:cubicBezTo>
                  <a:cubicBezTo>
                    <a:pt x="431232" y="187679"/>
                    <a:pt x="434074" y="187126"/>
                    <a:pt x="436582" y="184920"/>
                  </a:cubicBezTo>
                  <a:cubicBezTo>
                    <a:pt x="437418" y="184184"/>
                    <a:pt x="438087" y="183449"/>
                    <a:pt x="438756" y="182529"/>
                  </a:cubicBezTo>
                  <a:cubicBezTo>
                    <a:pt x="439424" y="181610"/>
                    <a:pt x="439925" y="180690"/>
                    <a:pt x="440427" y="179587"/>
                  </a:cubicBezTo>
                  <a:cubicBezTo>
                    <a:pt x="440595" y="179035"/>
                    <a:pt x="440761" y="178484"/>
                    <a:pt x="441096" y="178116"/>
                  </a:cubicBezTo>
                  <a:cubicBezTo>
                    <a:pt x="441431" y="177196"/>
                    <a:pt x="441764" y="176277"/>
                    <a:pt x="441932" y="175174"/>
                  </a:cubicBezTo>
                  <a:cubicBezTo>
                    <a:pt x="442433" y="172047"/>
                    <a:pt x="442433" y="168921"/>
                    <a:pt x="441597" y="165795"/>
                  </a:cubicBezTo>
                  <a:cubicBezTo>
                    <a:pt x="441431" y="165059"/>
                    <a:pt x="441263" y="164324"/>
                    <a:pt x="440929" y="163772"/>
                  </a:cubicBezTo>
                  <a:cubicBezTo>
                    <a:pt x="440595" y="163037"/>
                    <a:pt x="440427" y="162301"/>
                    <a:pt x="440093" y="161749"/>
                  </a:cubicBezTo>
                  <a:cubicBezTo>
                    <a:pt x="439591" y="161013"/>
                    <a:pt x="439257" y="160095"/>
                    <a:pt x="438588" y="159359"/>
                  </a:cubicBezTo>
                  <a:cubicBezTo>
                    <a:pt x="437920" y="158439"/>
                    <a:pt x="437084" y="157520"/>
                    <a:pt x="436081" y="156784"/>
                  </a:cubicBezTo>
                  <a:cubicBezTo>
                    <a:pt x="435245" y="156233"/>
                    <a:pt x="434409" y="155681"/>
                    <a:pt x="433406" y="155313"/>
                  </a:cubicBezTo>
                  <a:close/>
                  <a:moveTo>
                    <a:pt x="309849" y="155313"/>
                  </a:moveTo>
                  <a:cubicBezTo>
                    <a:pt x="307006" y="154394"/>
                    <a:pt x="304331" y="155129"/>
                    <a:pt x="301991" y="156968"/>
                  </a:cubicBezTo>
                  <a:cubicBezTo>
                    <a:pt x="301155" y="157704"/>
                    <a:pt x="300487" y="158439"/>
                    <a:pt x="299818" y="159359"/>
                  </a:cubicBezTo>
                  <a:cubicBezTo>
                    <a:pt x="299316" y="160095"/>
                    <a:pt x="298815" y="161013"/>
                    <a:pt x="298313" y="161934"/>
                  </a:cubicBezTo>
                  <a:cubicBezTo>
                    <a:pt x="297979" y="162485"/>
                    <a:pt x="297812" y="163220"/>
                    <a:pt x="297644" y="163772"/>
                  </a:cubicBezTo>
                  <a:cubicBezTo>
                    <a:pt x="297310" y="164692"/>
                    <a:pt x="297143" y="165611"/>
                    <a:pt x="296976" y="166531"/>
                  </a:cubicBezTo>
                  <a:cubicBezTo>
                    <a:pt x="296475" y="168002"/>
                    <a:pt x="296307" y="169473"/>
                    <a:pt x="296307" y="171312"/>
                  </a:cubicBezTo>
                  <a:cubicBezTo>
                    <a:pt x="296307" y="172783"/>
                    <a:pt x="296475" y="174438"/>
                    <a:pt x="296976" y="176277"/>
                  </a:cubicBezTo>
                  <a:cubicBezTo>
                    <a:pt x="297310" y="177196"/>
                    <a:pt x="297477" y="177932"/>
                    <a:pt x="297812" y="178851"/>
                  </a:cubicBezTo>
                  <a:cubicBezTo>
                    <a:pt x="298146" y="179955"/>
                    <a:pt x="298648" y="180875"/>
                    <a:pt x="299316" y="181794"/>
                  </a:cubicBezTo>
                  <a:cubicBezTo>
                    <a:pt x="299985" y="182897"/>
                    <a:pt x="300821" y="183817"/>
                    <a:pt x="301656" y="184736"/>
                  </a:cubicBezTo>
                  <a:cubicBezTo>
                    <a:pt x="302493" y="185472"/>
                    <a:pt x="303495" y="186207"/>
                    <a:pt x="304666" y="186575"/>
                  </a:cubicBezTo>
                  <a:cubicBezTo>
                    <a:pt x="307675" y="187679"/>
                    <a:pt x="310517" y="187126"/>
                    <a:pt x="313025" y="184920"/>
                  </a:cubicBezTo>
                  <a:cubicBezTo>
                    <a:pt x="313861" y="184184"/>
                    <a:pt x="314529" y="183449"/>
                    <a:pt x="315198" y="182529"/>
                  </a:cubicBezTo>
                  <a:cubicBezTo>
                    <a:pt x="315867" y="181610"/>
                    <a:pt x="316368" y="180690"/>
                    <a:pt x="316870" y="179587"/>
                  </a:cubicBezTo>
                  <a:cubicBezTo>
                    <a:pt x="317037" y="179035"/>
                    <a:pt x="317204" y="178484"/>
                    <a:pt x="317539" y="178116"/>
                  </a:cubicBezTo>
                  <a:cubicBezTo>
                    <a:pt x="317873" y="177196"/>
                    <a:pt x="318207" y="176277"/>
                    <a:pt x="318374" y="175174"/>
                  </a:cubicBezTo>
                  <a:cubicBezTo>
                    <a:pt x="318876" y="172047"/>
                    <a:pt x="318876" y="168921"/>
                    <a:pt x="318040" y="165795"/>
                  </a:cubicBezTo>
                  <a:cubicBezTo>
                    <a:pt x="317873" y="165059"/>
                    <a:pt x="317706" y="164324"/>
                    <a:pt x="317371" y="163772"/>
                  </a:cubicBezTo>
                  <a:cubicBezTo>
                    <a:pt x="317037" y="163037"/>
                    <a:pt x="316870" y="162301"/>
                    <a:pt x="316536" y="161749"/>
                  </a:cubicBezTo>
                  <a:cubicBezTo>
                    <a:pt x="316034" y="161013"/>
                    <a:pt x="315700" y="160095"/>
                    <a:pt x="315030" y="159359"/>
                  </a:cubicBezTo>
                  <a:cubicBezTo>
                    <a:pt x="314362" y="158439"/>
                    <a:pt x="313526" y="157520"/>
                    <a:pt x="312524" y="156784"/>
                  </a:cubicBezTo>
                  <a:cubicBezTo>
                    <a:pt x="311688" y="156233"/>
                    <a:pt x="310852" y="155681"/>
                    <a:pt x="309849" y="155313"/>
                  </a:cubicBezTo>
                  <a:close/>
                  <a:moveTo>
                    <a:pt x="144836" y="155313"/>
                  </a:moveTo>
                  <a:cubicBezTo>
                    <a:pt x="141993" y="154394"/>
                    <a:pt x="139318" y="155129"/>
                    <a:pt x="136978" y="156968"/>
                  </a:cubicBezTo>
                  <a:cubicBezTo>
                    <a:pt x="136142" y="157704"/>
                    <a:pt x="135474" y="158439"/>
                    <a:pt x="134804" y="159359"/>
                  </a:cubicBezTo>
                  <a:cubicBezTo>
                    <a:pt x="134303" y="160095"/>
                    <a:pt x="133802" y="161013"/>
                    <a:pt x="133300" y="161934"/>
                  </a:cubicBezTo>
                  <a:cubicBezTo>
                    <a:pt x="132965" y="162485"/>
                    <a:pt x="132799" y="163220"/>
                    <a:pt x="132631" y="163772"/>
                  </a:cubicBezTo>
                  <a:cubicBezTo>
                    <a:pt x="132297" y="164692"/>
                    <a:pt x="132130" y="165611"/>
                    <a:pt x="131962" y="166531"/>
                  </a:cubicBezTo>
                  <a:cubicBezTo>
                    <a:pt x="131461" y="168002"/>
                    <a:pt x="131294" y="169473"/>
                    <a:pt x="131294" y="171312"/>
                  </a:cubicBezTo>
                  <a:cubicBezTo>
                    <a:pt x="131294" y="172783"/>
                    <a:pt x="131461" y="174438"/>
                    <a:pt x="131962" y="176277"/>
                  </a:cubicBezTo>
                  <a:cubicBezTo>
                    <a:pt x="132297" y="177196"/>
                    <a:pt x="132464" y="177932"/>
                    <a:pt x="132799" y="178851"/>
                  </a:cubicBezTo>
                  <a:cubicBezTo>
                    <a:pt x="133133" y="179955"/>
                    <a:pt x="133634" y="180875"/>
                    <a:pt x="134303" y="181794"/>
                  </a:cubicBezTo>
                  <a:cubicBezTo>
                    <a:pt x="134972" y="182897"/>
                    <a:pt x="135808" y="183817"/>
                    <a:pt x="136643" y="184736"/>
                  </a:cubicBezTo>
                  <a:cubicBezTo>
                    <a:pt x="137479" y="185472"/>
                    <a:pt x="138483" y="186207"/>
                    <a:pt x="139652" y="186575"/>
                  </a:cubicBezTo>
                  <a:cubicBezTo>
                    <a:pt x="142662" y="187679"/>
                    <a:pt x="145504" y="187126"/>
                    <a:pt x="148012" y="184920"/>
                  </a:cubicBezTo>
                  <a:cubicBezTo>
                    <a:pt x="148848" y="184184"/>
                    <a:pt x="149516" y="183449"/>
                    <a:pt x="150185" y="182529"/>
                  </a:cubicBezTo>
                  <a:cubicBezTo>
                    <a:pt x="150854" y="181610"/>
                    <a:pt x="151355" y="180690"/>
                    <a:pt x="151857" y="179587"/>
                  </a:cubicBezTo>
                  <a:cubicBezTo>
                    <a:pt x="152024" y="179035"/>
                    <a:pt x="152191" y="178484"/>
                    <a:pt x="152526" y="178116"/>
                  </a:cubicBezTo>
                  <a:cubicBezTo>
                    <a:pt x="152860" y="177196"/>
                    <a:pt x="153194" y="176277"/>
                    <a:pt x="153361" y="175174"/>
                  </a:cubicBezTo>
                  <a:cubicBezTo>
                    <a:pt x="153863" y="172047"/>
                    <a:pt x="153863" y="168921"/>
                    <a:pt x="153027" y="165795"/>
                  </a:cubicBezTo>
                  <a:cubicBezTo>
                    <a:pt x="152860" y="165059"/>
                    <a:pt x="152692" y="164324"/>
                    <a:pt x="152358" y="163772"/>
                  </a:cubicBezTo>
                  <a:cubicBezTo>
                    <a:pt x="152024" y="163037"/>
                    <a:pt x="151857" y="162301"/>
                    <a:pt x="151523" y="161749"/>
                  </a:cubicBezTo>
                  <a:cubicBezTo>
                    <a:pt x="151021" y="161013"/>
                    <a:pt x="150687" y="160095"/>
                    <a:pt x="150018" y="159359"/>
                  </a:cubicBezTo>
                  <a:cubicBezTo>
                    <a:pt x="149350" y="158439"/>
                    <a:pt x="148513" y="157520"/>
                    <a:pt x="147511" y="156784"/>
                  </a:cubicBezTo>
                  <a:cubicBezTo>
                    <a:pt x="146674" y="156233"/>
                    <a:pt x="145839" y="155681"/>
                    <a:pt x="144836" y="155313"/>
                  </a:cubicBezTo>
                  <a:close/>
                  <a:moveTo>
                    <a:pt x="2254193" y="147475"/>
                  </a:moveTo>
                  <a:cubicBezTo>
                    <a:pt x="2250628" y="147475"/>
                    <a:pt x="2247570" y="149643"/>
                    <a:pt x="2246263" y="152732"/>
                  </a:cubicBezTo>
                  <a:lnTo>
                    <a:pt x="2245634" y="155849"/>
                  </a:lnTo>
                  <a:lnTo>
                    <a:pt x="2247838" y="155849"/>
                  </a:lnTo>
                  <a:cubicBezTo>
                    <a:pt x="2251055" y="155849"/>
                    <a:pt x="2255151" y="155849"/>
                    <a:pt x="2260364" y="155849"/>
                  </a:cubicBezTo>
                  <a:lnTo>
                    <a:pt x="2262754" y="155849"/>
                  </a:lnTo>
                  <a:lnTo>
                    <a:pt x="2262124" y="152732"/>
                  </a:lnTo>
                  <a:cubicBezTo>
                    <a:pt x="2260817" y="149643"/>
                    <a:pt x="2257759" y="147475"/>
                    <a:pt x="2254193" y="147475"/>
                  </a:cubicBezTo>
                  <a:close/>
                  <a:moveTo>
                    <a:pt x="1965623" y="147475"/>
                  </a:moveTo>
                  <a:cubicBezTo>
                    <a:pt x="1962058" y="147475"/>
                    <a:pt x="1959000" y="149643"/>
                    <a:pt x="1957693" y="152732"/>
                  </a:cubicBezTo>
                  <a:lnTo>
                    <a:pt x="1957064" y="155849"/>
                  </a:lnTo>
                  <a:lnTo>
                    <a:pt x="1959268" y="155849"/>
                  </a:lnTo>
                  <a:cubicBezTo>
                    <a:pt x="1962485" y="155849"/>
                    <a:pt x="1966581" y="155849"/>
                    <a:pt x="1971793" y="155849"/>
                  </a:cubicBezTo>
                  <a:lnTo>
                    <a:pt x="1974183" y="155849"/>
                  </a:lnTo>
                  <a:lnTo>
                    <a:pt x="1973554" y="152732"/>
                  </a:lnTo>
                  <a:cubicBezTo>
                    <a:pt x="1972247" y="149643"/>
                    <a:pt x="1969189" y="147475"/>
                    <a:pt x="1965623" y="147475"/>
                  </a:cubicBezTo>
                  <a:close/>
                  <a:moveTo>
                    <a:pt x="1903870" y="147475"/>
                  </a:moveTo>
                  <a:cubicBezTo>
                    <a:pt x="1900304" y="147475"/>
                    <a:pt x="1897246" y="149643"/>
                    <a:pt x="1895939" y="152732"/>
                  </a:cubicBezTo>
                  <a:lnTo>
                    <a:pt x="1895310" y="155849"/>
                  </a:lnTo>
                  <a:lnTo>
                    <a:pt x="1897514" y="155849"/>
                  </a:lnTo>
                  <a:cubicBezTo>
                    <a:pt x="1900732" y="155849"/>
                    <a:pt x="1904827" y="155849"/>
                    <a:pt x="1910040" y="155849"/>
                  </a:cubicBezTo>
                  <a:lnTo>
                    <a:pt x="1912430" y="155849"/>
                  </a:lnTo>
                  <a:lnTo>
                    <a:pt x="1911800" y="152732"/>
                  </a:lnTo>
                  <a:cubicBezTo>
                    <a:pt x="1910493" y="149643"/>
                    <a:pt x="1907435" y="147475"/>
                    <a:pt x="1903870" y="147475"/>
                  </a:cubicBezTo>
                  <a:close/>
                  <a:moveTo>
                    <a:pt x="1780313" y="147475"/>
                  </a:moveTo>
                  <a:cubicBezTo>
                    <a:pt x="1776747" y="147475"/>
                    <a:pt x="1773689" y="149643"/>
                    <a:pt x="1772382" y="152732"/>
                  </a:cubicBezTo>
                  <a:lnTo>
                    <a:pt x="1771753" y="155849"/>
                  </a:lnTo>
                  <a:lnTo>
                    <a:pt x="1773957" y="155849"/>
                  </a:lnTo>
                  <a:cubicBezTo>
                    <a:pt x="1777174" y="155849"/>
                    <a:pt x="1781270" y="155849"/>
                    <a:pt x="1786483" y="155849"/>
                  </a:cubicBezTo>
                  <a:lnTo>
                    <a:pt x="1788873" y="155849"/>
                  </a:lnTo>
                  <a:lnTo>
                    <a:pt x="1788243" y="152732"/>
                  </a:lnTo>
                  <a:cubicBezTo>
                    <a:pt x="1786936" y="149643"/>
                    <a:pt x="1783878" y="147475"/>
                    <a:pt x="1780313" y="147475"/>
                  </a:cubicBezTo>
                  <a:close/>
                  <a:moveTo>
                    <a:pt x="1491742" y="147475"/>
                  </a:moveTo>
                  <a:cubicBezTo>
                    <a:pt x="1488177" y="147475"/>
                    <a:pt x="1485119" y="149643"/>
                    <a:pt x="1483812" y="152732"/>
                  </a:cubicBezTo>
                  <a:lnTo>
                    <a:pt x="1483183" y="155849"/>
                  </a:lnTo>
                  <a:lnTo>
                    <a:pt x="1485387" y="155849"/>
                  </a:lnTo>
                  <a:cubicBezTo>
                    <a:pt x="1488604" y="155849"/>
                    <a:pt x="1492700" y="155849"/>
                    <a:pt x="1497913" y="155849"/>
                  </a:cubicBezTo>
                  <a:lnTo>
                    <a:pt x="1500302" y="155849"/>
                  </a:lnTo>
                  <a:lnTo>
                    <a:pt x="1499673" y="152732"/>
                  </a:lnTo>
                  <a:cubicBezTo>
                    <a:pt x="1498366" y="149643"/>
                    <a:pt x="1495308" y="147475"/>
                    <a:pt x="1491742" y="147475"/>
                  </a:cubicBezTo>
                  <a:close/>
                  <a:moveTo>
                    <a:pt x="1316580" y="147475"/>
                  </a:moveTo>
                  <a:cubicBezTo>
                    <a:pt x="1313015" y="147475"/>
                    <a:pt x="1309957" y="149643"/>
                    <a:pt x="1308650" y="152732"/>
                  </a:cubicBezTo>
                  <a:lnTo>
                    <a:pt x="1308020" y="155849"/>
                  </a:lnTo>
                  <a:lnTo>
                    <a:pt x="1310225" y="155849"/>
                  </a:lnTo>
                  <a:cubicBezTo>
                    <a:pt x="1313442" y="155849"/>
                    <a:pt x="1317538" y="155849"/>
                    <a:pt x="1322751" y="155849"/>
                  </a:cubicBezTo>
                  <a:lnTo>
                    <a:pt x="1325141" y="155849"/>
                  </a:lnTo>
                  <a:lnTo>
                    <a:pt x="1324511" y="152732"/>
                  </a:lnTo>
                  <a:cubicBezTo>
                    <a:pt x="1323204" y="149643"/>
                    <a:pt x="1320146" y="147475"/>
                    <a:pt x="1316580" y="147475"/>
                  </a:cubicBezTo>
                  <a:close/>
                  <a:moveTo>
                    <a:pt x="1254827" y="147475"/>
                  </a:moveTo>
                  <a:cubicBezTo>
                    <a:pt x="1251261" y="147475"/>
                    <a:pt x="1248203" y="149643"/>
                    <a:pt x="1246896" y="152732"/>
                  </a:cubicBezTo>
                  <a:lnTo>
                    <a:pt x="1246267" y="155849"/>
                  </a:lnTo>
                  <a:lnTo>
                    <a:pt x="1248471" y="155849"/>
                  </a:lnTo>
                  <a:cubicBezTo>
                    <a:pt x="1251689" y="155849"/>
                    <a:pt x="1255784" y="155849"/>
                    <a:pt x="1260997" y="155849"/>
                  </a:cubicBezTo>
                  <a:lnTo>
                    <a:pt x="1263387" y="155849"/>
                  </a:lnTo>
                  <a:lnTo>
                    <a:pt x="1262757" y="152732"/>
                  </a:lnTo>
                  <a:cubicBezTo>
                    <a:pt x="1261450" y="149643"/>
                    <a:pt x="1258392" y="147475"/>
                    <a:pt x="1254827" y="147475"/>
                  </a:cubicBezTo>
                  <a:close/>
                  <a:moveTo>
                    <a:pt x="1079665" y="147475"/>
                  </a:moveTo>
                  <a:cubicBezTo>
                    <a:pt x="1076100" y="147475"/>
                    <a:pt x="1073041" y="149643"/>
                    <a:pt x="1071734" y="152732"/>
                  </a:cubicBezTo>
                  <a:lnTo>
                    <a:pt x="1071105" y="155849"/>
                  </a:lnTo>
                  <a:lnTo>
                    <a:pt x="1073309" y="155849"/>
                  </a:lnTo>
                  <a:cubicBezTo>
                    <a:pt x="1076527" y="155849"/>
                    <a:pt x="1080622" y="155849"/>
                    <a:pt x="1085835" y="155849"/>
                  </a:cubicBezTo>
                  <a:lnTo>
                    <a:pt x="1088225" y="155849"/>
                  </a:lnTo>
                  <a:lnTo>
                    <a:pt x="1087596" y="152732"/>
                  </a:lnTo>
                  <a:cubicBezTo>
                    <a:pt x="1086289" y="149643"/>
                    <a:pt x="1083230" y="147475"/>
                    <a:pt x="1079665" y="147475"/>
                  </a:cubicBezTo>
                  <a:close/>
                  <a:moveTo>
                    <a:pt x="1017912" y="147475"/>
                  </a:moveTo>
                  <a:cubicBezTo>
                    <a:pt x="1014347" y="147475"/>
                    <a:pt x="1011288" y="149643"/>
                    <a:pt x="1009981" y="152732"/>
                  </a:cubicBezTo>
                  <a:lnTo>
                    <a:pt x="1009352" y="155849"/>
                  </a:lnTo>
                  <a:lnTo>
                    <a:pt x="1011556" y="155849"/>
                  </a:lnTo>
                  <a:cubicBezTo>
                    <a:pt x="1014774" y="155849"/>
                    <a:pt x="1018869" y="155849"/>
                    <a:pt x="1024082" y="155849"/>
                  </a:cubicBezTo>
                  <a:lnTo>
                    <a:pt x="1026472" y="155849"/>
                  </a:lnTo>
                  <a:lnTo>
                    <a:pt x="1025843" y="152732"/>
                  </a:lnTo>
                  <a:cubicBezTo>
                    <a:pt x="1024536" y="149643"/>
                    <a:pt x="1021477" y="147475"/>
                    <a:pt x="1017912" y="147475"/>
                  </a:cubicBezTo>
                  <a:close/>
                  <a:moveTo>
                    <a:pt x="842750" y="147475"/>
                  </a:moveTo>
                  <a:cubicBezTo>
                    <a:pt x="839185" y="147475"/>
                    <a:pt x="836126" y="149643"/>
                    <a:pt x="834820" y="152732"/>
                  </a:cubicBezTo>
                  <a:lnTo>
                    <a:pt x="834190" y="155849"/>
                  </a:lnTo>
                  <a:lnTo>
                    <a:pt x="836394" y="155849"/>
                  </a:lnTo>
                  <a:cubicBezTo>
                    <a:pt x="839612" y="155849"/>
                    <a:pt x="843707" y="155849"/>
                    <a:pt x="848920" y="155849"/>
                  </a:cubicBezTo>
                  <a:lnTo>
                    <a:pt x="851310" y="155849"/>
                  </a:lnTo>
                  <a:lnTo>
                    <a:pt x="850681" y="152732"/>
                  </a:lnTo>
                  <a:cubicBezTo>
                    <a:pt x="849374" y="149643"/>
                    <a:pt x="846315" y="147475"/>
                    <a:pt x="842750" y="147475"/>
                  </a:cubicBezTo>
                  <a:close/>
                  <a:moveTo>
                    <a:pt x="554180" y="147475"/>
                  </a:moveTo>
                  <a:cubicBezTo>
                    <a:pt x="550614" y="147475"/>
                    <a:pt x="547556" y="149643"/>
                    <a:pt x="546249" y="152732"/>
                  </a:cubicBezTo>
                  <a:lnTo>
                    <a:pt x="545620" y="155849"/>
                  </a:lnTo>
                  <a:lnTo>
                    <a:pt x="547824" y="155849"/>
                  </a:lnTo>
                  <a:cubicBezTo>
                    <a:pt x="551042" y="155849"/>
                    <a:pt x="555137" y="155849"/>
                    <a:pt x="560350" y="155849"/>
                  </a:cubicBezTo>
                  <a:lnTo>
                    <a:pt x="562740" y="155849"/>
                  </a:lnTo>
                  <a:lnTo>
                    <a:pt x="562110" y="152732"/>
                  </a:lnTo>
                  <a:cubicBezTo>
                    <a:pt x="560803" y="149643"/>
                    <a:pt x="557745" y="147475"/>
                    <a:pt x="554180" y="147475"/>
                  </a:cubicBezTo>
                  <a:close/>
                  <a:moveTo>
                    <a:pt x="492426" y="147475"/>
                  </a:moveTo>
                  <a:cubicBezTo>
                    <a:pt x="488861" y="147475"/>
                    <a:pt x="485802" y="149643"/>
                    <a:pt x="484496" y="152732"/>
                  </a:cubicBezTo>
                  <a:lnTo>
                    <a:pt x="483866" y="155849"/>
                  </a:lnTo>
                  <a:lnTo>
                    <a:pt x="486070" y="155849"/>
                  </a:lnTo>
                  <a:cubicBezTo>
                    <a:pt x="489288" y="155849"/>
                    <a:pt x="493384" y="155849"/>
                    <a:pt x="498596" y="155849"/>
                  </a:cubicBezTo>
                  <a:lnTo>
                    <a:pt x="500986" y="155849"/>
                  </a:lnTo>
                  <a:lnTo>
                    <a:pt x="500356" y="152732"/>
                  </a:lnTo>
                  <a:cubicBezTo>
                    <a:pt x="499050" y="149643"/>
                    <a:pt x="495991" y="147475"/>
                    <a:pt x="492426" y="147475"/>
                  </a:cubicBezTo>
                  <a:close/>
                  <a:moveTo>
                    <a:pt x="368869" y="147475"/>
                  </a:moveTo>
                  <a:cubicBezTo>
                    <a:pt x="365304" y="147475"/>
                    <a:pt x="362244" y="149643"/>
                    <a:pt x="360938" y="152732"/>
                  </a:cubicBezTo>
                  <a:lnTo>
                    <a:pt x="360309" y="155849"/>
                  </a:lnTo>
                  <a:lnTo>
                    <a:pt x="362512" y="155849"/>
                  </a:lnTo>
                  <a:cubicBezTo>
                    <a:pt x="365731" y="155849"/>
                    <a:pt x="369826" y="155849"/>
                    <a:pt x="375038" y="155849"/>
                  </a:cubicBezTo>
                  <a:lnTo>
                    <a:pt x="377428" y="155849"/>
                  </a:lnTo>
                  <a:lnTo>
                    <a:pt x="376799" y="152732"/>
                  </a:lnTo>
                  <a:cubicBezTo>
                    <a:pt x="375493" y="149643"/>
                    <a:pt x="372433" y="147475"/>
                    <a:pt x="368869" y="147475"/>
                  </a:cubicBezTo>
                  <a:close/>
                  <a:moveTo>
                    <a:pt x="80298" y="147475"/>
                  </a:moveTo>
                  <a:cubicBezTo>
                    <a:pt x="76734" y="147475"/>
                    <a:pt x="73674" y="149643"/>
                    <a:pt x="72368" y="152732"/>
                  </a:cubicBezTo>
                  <a:lnTo>
                    <a:pt x="71739" y="155849"/>
                  </a:lnTo>
                  <a:lnTo>
                    <a:pt x="73942" y="155849"/>
                  </a:lnTo>
                  <a:cubicBezTo>
                    <a:pt x="77160" y="155849"/>
                    <a:pt x="81256" y="155849"/>
                    <a:pt x="86468" y="155849"/>
                  </a:cubicBezTo>
                  <a:lnTo>
                    <a:pt x="88858" y="155849"/>
                  </a:lnTo>
                  <a:lnTo>
                    <a:pt x="88229" y="152732"/>
                  </a:lnTo>
                  <a:cubicBezTo>
                    <a:pt x="86923" y="149643"/>
                    <a:pt x="83864" y="147475"/>
                    <a:pt x="80298" y="147475"/>
                  </a:cubicBezTo>
                  <a:close/>
                  <a:moveTo>
                    <a:pt x="2134331" y="144510"/>
                  </a:moveTo>
                  <a:cubicBezTo>
                    <a:pt x="2135251" y="144510"/>
                    <a:pt x="2136171" y="144326"/>
                    <a:pt x="2137090" y="144510"/>
                  </a:cubicBezTo>
                  <a:cubicBezTo>
                    <a:pt x="2138378" y="144694"/>
                    <a:pt x="2139481" y="145246"/>
                    <a:pt x="2140216" y="146165"/>
                  </a:cubicBezTo>
                  <a:cubicBezTo>
                    <a:pt x="2141320" y="147269"/>
                    <a:pt x="2141871" y="148740"/>
                    <a:pt x="2141688" y="150395"/>
                  </a:cubicBezTo>
                  <a:cubicBezTo>
                    <a:pt x="2141688" y="150579"/>
                    <a:pt x="2141688" y="150579"/>
                    <a:pt x="2141688" y="150762"/>
                  </a:cubicBezTo>
                  <a:cubicBezTo>
                    <a:pt x="2141688" y="162716"/>
                    <a:pt x="2141688" y="174669"/>
                    <a:pt x="2141688" y="186806"/>
                  </a:cubicBezTo>
                  <a:cubicBezTo>
                    <a:pt x="2141688" y="187173"/>
                    <a:pt x="2141688" y="187173"/>
                    <a:pt x="2142055" y="187173"/>
                  </a:cubicBezTo>
                  <a:cubicBezTo>
                    <a:pt x="2143710" y="187173"/>
                    <a:pt x="2145365" y="187173"/>
                    <a:pt x="2147020" y="187173"/>
                  </a:cubicBezTo>
                  <a:cubicBezTo>
                    <a:pt x="2147940" y="187173"/>
                    <a:pt x="2148859" y="187541"/>
                    <a:pt x="2149779" y="187909"/>
                  </a:cubicBezTo>
                  <a:cubicBezTo>
                    <a:pt x="2151433" y="189012"/>
                    <a:pt x="2152353" y="190483"/>
                    <a:pt x="2152353" y="192507"/>
                  </a:cubicBezTo>
                  <a:cubicBezTo>
                    <a:pt x="2152353" y="193978"/>
                    <a:pt x="2151801" y="195449"/>
                    <a:pt x="2150514" y="196368"/>
                  </a:cubicBezTo>
                  <a:cubicBezTo>
                    <a:pt x="2149779" y="196920"/>
                    <a:pt x="2148859" y="197472"/>
                    <a:pt x="2147756" y="197655"/>
                  </a:cubicBezTo>
                  <a:cubicBezTo>
                    <a:pt x="2147756" y="197655"/>
                    <a:pt x="2147572" y="197655"/>
                    <a:pt x="2147572" y="197655"/>
                  </a:cubicBezTo>
                  <a:cubicBezTo>
                    <a:pt x="2147572" y="197655"/>
                    <a:pt x="2147388" y="197655"/>
                    <a:pt x="2147388" y="197655"/>
                  </a:cubicBezTo>
                  <a:cubicBezTo>
                    <a:pt x="2147388" y="197472"/>
                    <a:pt x="2147204" y="197655"/>
                    <a:pt x="2147020" y="197655"/>
                  </a:cubicBezTo>
                  <a:cubicBezTo>
                    <a:pt x="2139664" y="197655"/>
                    <a:pt x="2132309" y="197655"/>
                    <a:pt x="2125137" y="197655"/>
                  </a:cubicBezTo>
                  <a:cubicBezTo>
                    <a:pt x="2124953" y="197655"/>
                    <a:pt x="2124953" y="197655"/>
                    <a:pt x="2124770" y="197655"/>
                  </a:cubicBezTo>
                  <a:cubicBezTo>
                    <a:pt x="2124585" y="197655"/>
                    <a:pt x="2124402" y="197655"/>
                    <a:pt x="2124217" y="197655"/>
                  </a:cubicBezTo>
                  <a:cubicBezTo>
                    <a:pt x="2124034" y="197472"/>
                    <a:pt x="2123850" y="197472"/>
                    <a:pt x="2123666" y="197472"/>
                  </a:cubicBezTo>
                  <a:cubicBezTo>
                    <a:pt x="2122746" y="197287"/>
                    <a:pt x="2122011" y="196736"/>
                    <a:pt x="2121275" y="196184"/>
                  </a:cubicBezTo>
                  <a:cubicBezTo>
                    <a:pt x="2120172" y="195081"/>
                    <a:pt x="2119620" y="193794"/>
                    <a:pt x="2119620" y="192322"/>
                  </a:cubicBezTo>
                  <a:cubicBezTo>
                    <a:pt x="2119620" y="191036"/>
                    <a:pt x="2119988" y="189748"/>
                    <a:pt x="2121091" y="188829"/>
                  </a:cubicBezTo>
                  <a:cubicBezTo>
                    <a:pt x="2122195" y="187725"/>
                    <a:pt x="2123482" y="187173"/>
                    <a:pt x="2124953" y="187173"/>
                  </a:cubicBezTo>
                  <a:cubicBezTo>
                    <a:pt x="2126792" y="187173"/>
                    <a:pt x="2128631" y="187173"/>
                    <a:pt x="2130286" y="187173"/>
                  </a:cubicBezTo>
                  <a:cubicBezTo>
                    <a:pt x="2130470" y="187173"/>
                    <a:pt x="2130654" y="187173"/>
                    <a:pt x="2130654" y="186806"/>
                  </a:cubicBezTo>
                  <a:cubicBezTo>
                    <a:pt x="2130654" y="176324"/>
                    <a:pt x="2130654" y="166026"/>
                    <a:pt x="2130654" y="155544"/>
                  </a:cubicBezTo>
                  <a:cubicBezTo>
                    <a:pt x="2130654" y="155360"/>
                    <a:pt x="2130654" y="155176"/>
                    <a:pt x="2130286" y="155176"/>
                  </a:cubicBezTo>
                  <a:cubicBezTo>
                    <a:pt x="2128999" y="155176"/>
                    <a:pt x="2127527" y="155176"/>
                    <a:pt x="2126241" y="155176"/>
                  </a:cubicBezTo>
                  <a:cubicBezTo>
                    <a:pt x="2124034" y="155176"/>
                    <a:pt x="2122379" y="154073"/>
                    <a:pt x="2121275" y="152050"/>
                  </a:cubicBezTo>
                  <a:cubicBezTo>
                    <a:pt x="2120723" y="150947"/>
                    <a:pt x="2120723" y="149659"/>
                    <a:pt x="2121091" y="148188"/>
                  </a:cubicBezTo>
                  <a:cubicBezTo>
                    <a:pt x="2121827" y="146165"/>
                    <a:pt x="2123850" y="144694"/>
                    <a:pt x="2126056" y="144694"/>
                  </a:cubicBezTo>
                  <a:cubicBezTo>
                    <a:pt x="2128815" y="144694"/>
                    <a:pt x="2131574" y="144510"/>
                    <a:pt x="2134331" y="144510"/>
                  </a:cubicBezTo>
                  <a:close/>
                  <a:moveTo>
                    <a:pt x="2020923" y="144510"/>
                  </a:moveTo>
                  <a:cubicBezTo>
                    <a:pt x="2021843" y="144510"/>
                    <a:pt x="2022762" y="144326"/>
                    <a:pt x="2023682" y="144510"/>
                  </a:cubicBezTo>
                  <a:cubicBezTo>
                    <a:pt x="2024969" y="144694"/>
                    <a:pt x="2026073" y="145246"/>
                    <a:pt x="2026808" y="146165"/>
                  </a:cubicBezTo>
                  <a:cubicBezTo>
                    <a:pt x="2027912" y="147269"/>
                    <a:pt x="2028463" y="148740"/>
                    <a:pt x="2028279" y="150395"/>
                  </a:cubicBezTo>
                  <a:cubicBezTo>
                    <a:pt x="2028279" y="150579"/>
                    <a:pt x="2028279" y="150579"/>
                    <a:pt x="2028279" y="150762"/>
                  </a:cubicBezTo>
                  <a:cubicBezTo>
                    <a:pt x="2028279" y="162716"/>
                    <a:pt x="2028279" y="174669"/>
                    <a:pt x="2028279" y="186806"/>
                  </a:cubicBezTo>
                  <a:cubicBezTo>
                    <a:pt x="2028279" y="187173"/>
                    <a:pt x="2028279" y="187173"/>
                    <a:pt x="2028647" y="187173"/>
                  </a:cubicBezTo>
                  <a:cubicBezTo>
                    <a:pt x="2030302" y="187173"/>
                    <a:pt x="2031957" y="187173"/>
                    <a:pt x="2033612" y="187173"/>
                  </a:cubicBezTo>
                  <a:cubicBezTo>
                    <a:pt x="2034531" y="187173"/>
                    <a:pt x="2035451" y="187541"/>
                    <a:pt x="2036370" y="187909"/>
                  </a:cubicBezTo>
                  <a:cubicBezTo>
                    <a:pt x="2038025" y="189012"/>
                    <a:pt x="2038945" y="190483"/>
                    <a:pt x="2038945" y="192507"/>
                  </a:cubicBezTo>
                  <a:cubicBezTo>
                    <a:pt x="2038945" y="193978"/>
                    <a:pt x="2038393" y="195449"/>
                    <a:pt x="2037106" y="196368"/>
                  </a:cubicBezTo>
                  <a:cubicBezTo>
                    <a:pt x="2036370" y="196920"/>
                    <a:pt x="2035451" y="197472"/>
                    <a:pt x="2034348" y="197655"/>
                  </a:cubicBezTo>
                  <a:cubicBezTo>
                    <a:pt x="2034348" y="197655"/>
                    <a:pt x="2034164" y="197655"/>
                    <a:pt x="2034164" y="197655"/>
                  </a:cubicBezTo>
                  <a:cubicBezTo>
                    <a:pt x="2034164" y="197655"/>
                    <a:pt x="2033980" y="197655"/>
                    <a:pt x="2033980" y="197655"/>
                  </a:cubicBezTo>
                  <a:cubicBezTo>
                    <a:pt x="2033980" y="197472"/>
                    <a:pt x="2033796" y="197655"/>
                    <a:pt x="2033612" y="197655"/>
                  </a:cubicBezTo>
                  <a:cubicBezTo>
                    <a:pt x="2026256" y="197655"/>
                    <a:pt x="2018901" y="197655"/>
                    <a:pt x="2011729" y="197655"/>
                  </a:cubicBezTo>
                  <a:cubicBezTo>
                    <a:pt x="2011545" y="197655"/>
                    <a:pt x="2011545" y="197655"/>
                    <a:pt x="2011361" y="197655"/>
                  </a:cubicBezTo>
                  <a:cubicBezTo>
                    <a:pt x="2011177" y="197655"/>
                    <a:pt x="2010993" y="197655"/>
                    <a:pt x="2010809" y="197655"/>
                  </a:cubicBezTo>
                  <a:cubicBezTo>
                    <a:pt x="2010625" y="197472"/>
                    <a:pt x="2010442" y="197472"/>
                    <a:pt x="2010258" y="197472"/>
                  </a:cubicBezTo>
                  <a:cubicBezTo>
                    <a:pt x="2009338" y="197287"/>
                    <a:pt x="2008603" y="196736"/>
                    <a:pt x="2007867" y="196184"/>
                  </a:cubicBezTo>
                  <a:cubicBezTo>
                    <a:pt x="2006764" y="195081"/>
                    <a:pt x="2006212" y="193794"/>
                    <a:pt x="2006212" y="192322"/>
                  </a:cubicBezTo>
                  <a:cubicBezTo>
                    <a:pt x="2006212" y="191036"/>
                    <a:pt x="2006580" y="189748"/>
                    <a:pt x="2007683" y="188829"/>
                  </a:cubicBezTo>
                  <a:cubicBezTo>
                    <a:pt x="2008786" y="187725"/>
                    <a:pt x="2010074" y="187173"/>
                    <a:pt x="2011545" y="187173"/>
                  </a:cubicBezTo>
                  <a:cubicBezTo>
                    <a:pt x="2013384" y="187173"/>
                    <a:pt x="2015222" y="187173"/>
                    <a:pt x="2016878" y="187173"/>
                  </a:cubicBezTo>
                  <a:cubicBezTo>
                    <a:pt x="2017062" y="187173"/>
                    <a:pt x="2017246" y="187173"/>
                    <a:pt x="2017246" y="186806"/>
                  </a:cubicBezTo>
                  <a:cubicBezTo>
                    <a:pt x="2017246" y="176324"/>
                    <a:pt x="2017246" y="166026"/>
                    <a:pt x="2017246" y="155544"/>
                  </a:cubicBezTo>
                  <a:cubicBezTo>
                    <a:pt x="2017246" y="155360"/>
                    <a:pt x="2017246" y="155176"/>
                    <a:pt x="2016878" y="155176"/>
                  </a:cubicBezTo>
                  <a:cubicBezTo>
                    <a:pt x="2015590" y="155176"/>
                    <a:pt x="2014119" y="155176"/>
                    <a:pt x="2012833" y="155176"/>
                  </a:cubicBezTo>
                  <a:cubicBezTo>
                    <a:pt x="2010625" y="155176"/>
                    <a:pt x="2008971" y="154073"/>
                    <a:pt x="2007867" y="152050"/>
                  </a:cubicBezTo>
                  <a:cubicBezTo>
                    <a:pt x="2007315" y="150947"/>
                    <a:pt x="2007315" y="149659"/>
                    <a:pt x="2007683" y="148188"/>
                  </a:cubicBezTo>
                  <a:cubicBezTo>
                    <a:pt x="2008419" y="146165"/>
                    <a:pt x="2010442" y="144694"/>
                    <a:pt x="2012648" y="144694"/>
                  </a:cubicBezTo>
                  <a:cubicBezTo>
                    <a:pt x="2015407" y="144694"/>
                    <a:pt x="2018165" y="144510"/>
                    <a:pt x="2020923" y="144510"/>
                  </a:cubicBezTo>
                  <a:close/>
                  <a:moveTo>
                    <a:pt x="1660451" y="144510"/>
                  </a:moveTo>
                  <a:cubicBezTo>
                    <a:pt x="1661370" y="144510"/>
                    <a:pt x="1662290" y="144326"/>
                    <a:pt x="1663209" y="144510"/>
                  </a:cubicBezTo>
                  <a:cubicBezTo>
                    <a:pt x="1664497" y="144694"/>
                    <a:pt x="1665600" y="145246"/>
                    <a:pt x="1666335" y="146165"/>
                  </a:cubicBezTo>
                  <a:cubicBezTo>
                    <a:pt x="1667439" y="147269"/>
                    <a:pt x="1667990" y="148740"/>
                    <a:pt x="1667806" y="150395"/>
                  </a:cubicBezTo>
                  <a:cubicBezTo>
                    <a:pt x="1667806" y="150579"/>
                    <a:pt x="1667806" y="150579"/>
                    <a:pt x="1667806" y="150762"/>
                  </a:cubicBezTo>
                  <a:cubicBezTo>
                    <a:pt x="1667806" y="162716"/>
                    <a:pt x="1667806" y="174669"/>
                    <a:pt x="1667806" y="186806"/>
                  </a:cubicBezTo>
                  <a:cubicBezTo>
                    <a:pt x="1667806" y="187173"/>
                    <a:pt x="1667806" y="187173"/>
                    <a:pt x="1668174" y="187173"/>
                  </a:cubicBezTo>
                  <a:cubicBezTo>
                    <a:pt x="1669829" y="187173"/>
                    <a:pt x="1671484" y="187173"/>
                    <a:pt x="1673139" y="187173"/>
                  </a:cubicBezTo>
                  <a:cubicBezTo>
                    <a:pt x="1674059" y="187173"/>
                    <a:pt x="1674978" y="187541"/>
                    <a:pt x="1675898" y="187909"/>
                  </a:cubicBezTo>
                  <a:cubicBezTo>
                    <a:pt x="1677552" y="189012"/>
                    <a:pt x="1678472" y="190483"/>
                    <a:pt x="1678472" y="192507"/>
                  </a:cubicBezTo>
                  <a:cubicBezTo>
                    <a:pt x="1678472" y="193978"/>
                    <a:pt x="1677920" y="195449"/>
                    <a:pt x="1676634" y="196368"/>
                  </a:cubicBezTo>
                  <a:cubicBezTo>
                    <a:pt x="1675898" y="196920"/>
                    <a:pt x="1674978" y="197472"/>
                    <a:pt x="1673875" y="197655"/>
                  </a:cubicBezTo>
                  <a:cubicBezTo>
                    <a:pt x="1673875" y="197655"/>
                    <a:pt x="1673691" y="197655"/>
                    <a:pt x="1673691" y="197655"/>
                  </a:cubicBezTo>
                  <a:cubicBezTo>
                    <a:pt x="1673691" y="197655"/>
                    <a:pt x="1673507" y="197655"/>
                    <a:pt x="1673507" y="197655"/>
                  </a:cubicBezTo>
                  <a:cubicBezTo>
                    <a:pt x="1673507" y="197472"/>
                    <a:pt x="1673323" y="197655"/>
                    <a:pt x="1673139" y="197655"/>
                  </a:cubicBezTo>
                  <a:cubicBezTo>
                    <a:pt x="1665783" y="197655"/>
                    <a:pt x="1658428" y="197655"/>
                    <a:pt x="1651256" y="197655"/>
                  </a:cubicBezTo>
                  <a:cubicBezTo>
                    <a:pt x="1651072" y="197655"/>
                    <a:pt x="1651072" y="197655"/>
                    <a:pt x="1650889" y="197655"/>
                  </a:cubicBezTo>
                  <a:cubicBezTo>
                    <a:pt x="1650704" y="197655"/>
                    <a:pt x="1650521" y="197655"/>
                    <a:pt x="1650336" y="197655"/>
                  </a:cubicBezTo>
                  <a:cubicBezTo>
                    <a:pt x="1650153" y="197472"/>
                    <a:pt x="1649969" y="197472"/>
                    <a:pt x="1649785" y="197472"/>
                  </a:cubicBezTo>
                  <a:cubicBezTo>
                    <a:pt x="1648865" y="197287"/>
                    <a:pt x="1648130" y="196736"/>
                    <a:pt x="1647394" y="196184"/>
                  </a:cubicBezTo>
                  <a:cubicBezTo>
                    <a:pt x="1646291" y="195081"/>
                    <a:pt x="1645739" y="193794"/>
                    <a:pt x="1645739" y="192322"/>
                  </a:cubicBezTo>
                  <a:cubicBezTo>
                    <a:pt x="1645739" y="191036"/>
                    <a:pt x="1646107" y="189748"/>
                    <a:pt x="1647210" y="188829"/>
                  </a:cubicBezTo>
                  <a:cubicBezTo>
                    <a:pt x="1648314" y="187725"/>
                    <a:pt x="1649601" y="187173"/>
                    <a:pt x="1651072" y="187173"/>
                  </a:cubicBezTo>
                  <a:cubicBezTo>
                    <a:pt x="1652911" y="187173"/>
                    <a:pt x="1654750" y="187173"/>
                    <a:pt x="1656405" y="187173"/>
                  </a:cubicBezTo>
                  <a:cubicBezTo>
                    <a:pt x="1656589" y="187173"/>
                    <a:pt x="1656773" y="187173"/>
                    <a:pt x="1656773" y="186806"/>
                  </a:cubicBezTo>
                  <a:cubicBezTo>
                    <a:pt x="1656773" y="176324"/>
                    <a:pt x="1656773" y="166026"/>
                    <a:pt x="1656773" y="155544"/>
                  </a:cubicBezTo>
                  <a:cubicBezTo>
                    <a:pt x="1656773" y="155360"/>
                    <a:pt x="1656773" y="155176"/>
                    <a:pt x="1656405" y="155176"/>
                  </a:cubicBezTo>
                  <a:cubicBezTo>
                    <a:pt x="1655118" y="155176"/>
                    <a:pt x="1653647" y="155176"/>
                    <a:pt x="1652360" y="155176"/>
                  </a:cubicBezTo>
                  <a:cubicBezTo>
                    <a:pt x="1650153" y="155176"/>
                    <a:pt x="1648498" y="154073"/>
                    <a:pt x="1647394" y="152050"/>
                  </a:cubicBezTo>
                  <a:cubicBezTo>
                    <a:pt x="1646843" y="150947"/>
                    <a:pt x="1646843" y="149659"/>
                    <a:pt x="1647210" y="148188"/>
                  </a:cubicBezTo>
                  <a:cubicBezTo>
                    <a:pt x="1647946" y="146165"/>
                    <a:pt x="1649969" y="144694"/>
                    <a:pt x="1652175" y="144694"/>
                  </a:cubicBezTo>
                  <a:cubicBezTo>
                    <a:pt x="1654934" y="144694"/>
                    <a:pt x="1657692" y="144510"/>
                    <a:pt x="1660451" y="144510"/>
                  </a:cubicBezTo>
                  <a:close/>
                  <a:moveTo>
                    <a:pt x="1608846" y="144510"/>
                  </a:moveTo>
                  <a:cubicBezTo>
                    <a:pt x="1609765" y="144510"/>
                    <a:pt x="1610685" y="144326"/>
                    <a:pt x="1611604" y="144510"/>
                  </a:cubicBezTo>
                  <a:cubicBezTo>
                    <a:pt x="1612892" y="144694"/>
                    <a:pt x="1613995" y="145246"/>
                    <a:pt x="1614730" y="146165"/>
                  </a:cubicBezTo>
                  <a:cubicBezTo>
                    <a:pt x="1615834" y="147269"/>
                    <a:pt x="1616386" y="148740"/>
                    <a:pt x="1616201" y="150395"/>
                  </a:cubicBezTo>
                  <a:cubicBezTo>
                    <a:pt x="1616201" y="150579"/>
                    <a:pt x="1616201" y="150579"/>
                    <a:pt x="1616201" y="150762"/>
                  </a:cubicBezTo>
                  <a:cubicBezTo>
                    <a:pt x="1616201" y="162716"/>
                    <a:pt x="1616201" y="174669"/>
                    <a:pt x="1616201" y="186806"/>
                  </a:cubicBezTo>
                  <a:cubicBezTo>
                    <a:pt x="1616201" y="187173"/>
                    <a:pt x="1616201" y="187173"/>
                    <a:pt x="1616569" y="187173"/>
                  </a:cubicBezTo>
                  <a:cubicBezTo>
                    <a:pt x="1618224" y="187173"/>
                    <a:pt x="1619879" y="187173"/>
                    <a:pt x="1621534" y="187173"/>
                  </a:cubicBezTo>
                  <a:cubicBezTo>
                    <a:pt x="1622454" y="187173"/>
                    <a:pt x="1623373" y="187541"/>
                    <a:pt x="1624293" y="187909"/>
                  </a:cubicBezTo>
                  <a:cubicBezTo>
                    <a:pt x="1625948" y="189012"/>
                    <a:pt x="1626867" y="190483"/>
                    <a:pt x="1626867" y="192507"/>
                  </a:cubicBezTo>
                  <a:cubicBezTo>
                    <a:pt x="1626867" y="193978"/>
                    <a:pt x="1626316" y="195449"/>
                    <a:pt x="1625029" y="196368"/>
                  </a:cubicBezTo>
                  <a:cubicBezTo>
                    <a:pt x="1624293" y="196920"/>
                    <a:pt x="1623373" y="197472"/>
                    <a:pt x="1622270" y="197655"/>
                  </a:cubicBezTo>
                  <a:cubicBezTo>
                    <a:pt x="1622270" y="197655"/>
                    <a:pt x="1622086" y="197655"/>
                    <a:pt x="1622086" y="197655"/>
                  </a:cubicBezTo>
                  <a:cubicBezTo>
                    <a:pt x="1622086" y="197655"/>
                    <a:pt x="1621902" y="197655"/>
                    <a:pt x="1621902" y="197655"/>
                  </a:cubicBezTo>
                  <a:cubicBezTo>
                    <a:pt x="1621902" y="197472"/>
                    <a:pt x="1621719" y="197655"/>
                    <a:pt x="1621534" y="197655"/>
                  </a:cubicBezTo>
                  <a:cubicBezTo>
                    <a:pt x="1614179" y="197655"/>
                    <a:pt x="1606823" y="197655"/>
                    <a:pt x="1599651" y="197655"/>
                  </a:cubicBezTo>
                  <a:cubicBezTo>
                    <a:pt x="1599467" y="197655"/>
                    <a:pt x="1599467" y="197655"/>
                    <a:pt x="1599284" y="197655"/>
                  </a:cubicBezTo>
                  <a:cubicBezTo>
                    <a:pt x="1599099" y="197655"/>
                    <a:pt x="1598916" y="197655"/>
                    <a:pt x="1598732" y="197655"/>
                  </a:cubicBezTo>
                  <a:cubicBezTo>
                    <a:pt x="1598548" y="197472"/>
                    <a:pt x="1598364" y="197472"/>
                    <a:pt x="1598180" y="197472"/>
                  </a:cubicBezTo>
                  <a:cubicBezTo>
                    <a:pt x="1597260" y="197287"/>
                    <a:pt x="1596525" y="196736"/>
                    <a:pt x="1595789" y="196184"/>
                  </a:cubicBezTo>
                  <a:cubicBezTo>
                    <a:pt x="1594686" y="195081"/>
                    <a:pt x="1594135" y="193794"/>
                    <a:pt x="1594135" y="192322"/>
                  </a:cubicBezTo>
                  <a:cubicBezTo>
                    <a:pt x="1594135" y="191036"/>
                    <a:pt x="1594502" y="189748"/>
                    <a:pt x="1595606" y="188829"/>
                  </a:cubicBezTo>
                  <a:cubicBezTo>
                    <a:pt x="1596709" y="187725"/>
                    <a:pt x="1597996" y="187173"/>
                    <a:pt x="1599467" y="187173"/>
                  </a:cubicBezTo>
                  <a:cubicBezTo>
                    <a:pt x="1601306" y="187173"/>
                    <a:pt x="1603145" y="187173"/>
                    <a:pt x="1604800" y="187173"/>
                  </a:cubicBezTo>
                  <a:cubicBezTo>
                    <a:pt x="1604984" y="187173"/>
                    <a:pt x="1605168" y="187173"/>
                    <a:pt x="1605168" y="186806"/>
                  </a:cubicBezTo>
                  <a:cubicBezTo>
                    <a:pt x="1605168" y="176324"/>
                    <a:pt x="1605168" y="166026"/>
                    <a:pt x="1605168" y="155544"/>
                  </a:cubicBezTo>
                  <a:cubicBezTo>
                    <a:pt x="1605168" y="155360"/>
                    <a:pt x="1605168" y="155176"/>
                    <a:pt x="1604800" y="155176"/>
                  </a:cubicBezTo>
                  <a:cubicBezTo>
                    <a:pt x="1603513" y="155176"/>
                    <a:pt x="1602042" y="155176"/>
                    <a:pt x="1600755" y="155176"/>
                  </a:cubicBezTo>
                  <a:cubicBezTo>
                    <a:pt x="1598548" y="155176"/>
                    <a:pt x="1596893" y="154073"/>
                    <a:pt x="1595789" y="152050"/>
                  </a:cubicBezTo>
                  <a:cubicBezTo>
                    <a:pt x="1595238" y="150947"/>
                    <a:pt x="1595238" y="149659"/>
                    <a:pt x="1595606" y="148188"/>
                  </a:cubicBezTo>
                  <a:cubicBezTo>
                    <a:pt x="1596342" y="146165"/>
                    <a:pt x="1598364" y="144694"/>
                    <a:pt x="1600571" y="144694"/>
                  </a:cubicBezTo>
                  <a:cubicBezTo>
                    <a:pt x="1603329" y="144694"/>
                    <a:pt x="1606087" y="144510"/>
                    <a:pt x="1608846" y="144510"/>
                  </a:cubicBezTo>
                  <a:close/>
                  <a:moveTo>
                    <a:pt x="1371880" y="144510"/>
                  </a:moveTo>
                  <a:cubicBezTo>
                    <a:pt x="1372800" y="144510"/>
                    <a:pt x="1373719" y="144326"/>
                    <a:pt x="1374639" y="144510"/>
                  </a:cubicBezTo>
                  <a:cubicBezTo>
                    <a:pt x="1375927" y="144694"/>
                    <a:pt x="1377030" y="145246"/>
                    <a:pt x="1377765" y="146165"/>
                  </a:cubicBezTo>
                  <a:cubicBezTo>
                    <a:pt x="1378869" y="147269"/>
                    <a:pt x="1379420" y="148740"/>
                    <a:pt x="1379236" y="150395"/>
                  </a:cubicBezTo>
                  <a:cubicBezTo>
                    <a:pt x="1379236" y="150579"/>
                    <a:pt x="1379236" y="150579"/>
                    <a:pt x="1379236" y="150762"/>
                  </a:cubicBezTo>
                  <a:cubicBezTo>
                    <a:pt x="1379236" y="162716"/>
                    <a:pt x="1379236" y="174669"/>
                    <a:pt x="1379236" y="186806"/>
                  </a:cubicBezTo>
                  <a:cubicBezTo>
                    <a:pt x="1379236" y="187173"/>
                    <a:pt x="1379236" y="187173"/>
                    <a:pt x="1379604" y="187173"/>
                  </a:cubicBezTo>
                  <a:cubicBezTo>
                    <a:pt x="1381259" y="187173"/>
                    <a:pt x="1382914" y="187173"/>
                    <a:pt x="1384569" y="187173"/>
                  </a:cubicBezTo>
                  <a:cubicBezTo>
                    <a:pt x="1385488" y="187173"/>
                    <a:pt x="1386408" y="187541"/>
                    <a:pt x="1387328" y="187909"/>
                  </a:cubicBezTo>
                  <a:cubicBezTo>
                    <a:pt x="1388982" y="189012"/>
                    <a:pt x="1389902" y="190483"/>
                    <a:pt x="1389902" y="192507"/>
                  </a:cubicBezTo>
                  <a:cubicBezTo>
                    <a:pt x="1389902" y="193978"/>
                    <a:pt x="1389350" y="195449"/>
                    <a:pt x="1388063" y="196368"/>
                  </a:cubicBezTo>
                  <a:cubicBezTo>
                    <a:pt x="1387328" y="196920"/>
                    <a:pt x="1386408" y="197472"/>
                    <a:pt x="1385305" y="197655"/>
                  </a:cubicBezTo>
                  <a:cubicBezTo>
                    <a:pt x="1385305" y="197655"/>
                    <a:pt x="1385121" y="197655"/>
                    <a:pt x="1385121" y="197655"/>
                  </a:cubicBezTo>
                  <a:cubicBezTo>
                    <a:pt x="1385121" y="197655"/>
                    <a:pt x="1384937" y="197655"/>
                    <a:pt x="1384937" y="197655"/>
                  </a:cubicBezTo>
                  <a:cubicBezTo>
                    <a:pt x="1384937" y="197472"/>
                    <a:pt x="1384753" y="197655"/>
                    <a:pt x="1384569" y="197655"/>
                  </a:cubicBezTo>
                  <a:cubicBezTo>
                    <a:pt x="1377213" y="197655"/>
                    <a:pt x="1369858" y="197655"/>
                    <a:pt x="1362686" y="197655"/>
                  </a:cubicBezTo>
                  <a:cubicBezTo>
                    <a:pt x="1362502" y="197655"/>
                    <a:pt x="1362502" y="197655"/>
                    <a:pt x="1362318" y="197655"/>
                  </a:cubicBezTo>
                  <a:cubicBezTo>
                    <a:pt x="1362134" y="197655"/>
                    <a:pt x="1361951" y="197655"/>
                    <a:pt x="1361766" y="197655"/>
                  </a:cubicBezTo>
                  <a:cubicBezTo>
                    <a:pt x="1361583" y="197472"/>
                    <a:pt x="1361399" y="197472"/>
                    <a:pt x="1361215" y="197472"/>
                  </a:cubicBezTo>
                  <a:cubicBezTo>
                    <a:pt x="1360295" y="197287"/>
                    <a:pt x="1359560" y="196736"/>
                    <a:pt x="1358824" y="196184"/>
                  </a:cubicBezTo>
                  <a:cubicBezTo>
                    <a:pt x="1357721" y="195081"/>
                    <a:pt x="1357169" y="193794"/>
                    <a:pt x="1357169" y="192322"/>
                  </a:cubicBezTo>
                  <a:cubicBezTo>
                    <a:pt x="1357169" y="191036"/>
                    <a:pt x="1357537" y="189748"/>
                    <a:pt x="1358640" y="188829"/>
                  </a:cubicBezTo>
                  <a:cubicBezTo>
                    <a:pt x="1359744" y="187725"/>
                    <a:pt x="1361031" y="187173"/>
                    <a:pt x="1362502" y="187173"/>
                  </a:cubicBezTo>
                  <a:cubicBezTo>
                    <a:pt x="1364341" y="187173"/>
                    <a:pt x="1366180" y="187173"/>
                    <a:pt x="1367835" y="187173"/>
                  </a:cubicBezTo>
                  <a:cubicBezTo>
                    <a:pt x="1368019" y="187173"/>
                    <a:pt x="1368203" y="187173"/>
                    <a:pt x="1368203" y="186806"/>
                  </a:cubicBezTo>
                  <a:cubicBezTo>
                    <a:pt x="1368203" y="176324"/>
                    <a:pt x="1368203" y="166026"/>
                    <a:pt x="1368203" y="155544"/>
                  </a:cubicBezTo>
                  <a:cubicBezTo>
                    <a:pt x="1368203" y="155360"/>
                    <a:pt x="1368203" y="155176"/>
                    <a:pt x="1367835" y="155176"/>
                  </a:cubicBezTo>
                  <a:cubicBezTo>
                    <a:pt x="1366548" y="155176"/>
                    <a:pt x="1365076" y="155176"/>
                    <a:pt x="1363790" y="155176"/>
                  </a:cubicBezTo>
                  <a:cubicBezTo>
                    <a:pt x="1361583" y="155176"/>
                    <a:pt x="1359927" y="154073"/>
                    <a:pt x="1358824" y="152050"/>
                  </a:cubicBezTo>
                  <a:cubicBezTo>
                    <a:pt x="1358272" y="150947"/>
                    <a:pt x="1358272" y="149659"/>
                    <a:pt x="1358640" y="148188"/>
                  </a:cubicBezTo>
                  <a:cubicBezTo>
                    <a:pt x="1359376" y="146165"/>
                    <a:pt x="1361399" y="144694"/>
                    <a:pt x="1363605" y="144694"/>
                  </a:cubicBezTo>
                  <a:cubicBezTo>
                    <a:pt x="1366364" y="144694"/>
                    <a:pt x="1369122" y="144510"/>
                    <a:pt x="1371880" y="144510"/>
                  </a:cubicBezTo>
                  <a:close/>
                  <a:moveTo>
                    <a:pt x="1196768" y="144510"/>
                  </a:moveTo>
                  <a:cubicBezTo>
                    <a:pt x="1197688" y="144510"/>
                    <a:pt x="1198607" y="144326"/>
                    <a:pt x="1199527" y="144510"/>
                  </a:cubicBezTo>
                  <a:cubicBezTo>
                    <a:pt x="1200814" y="144694"/>
                    <a:pt x="1201917" y="145246"/>
                    <a:pt x="1202653" y="146165"/>
                  </a:cubicBezTo>
                  <a:cubicBezTo>
                    <a:pt x="1203756" y="147269"/>
                    <a:pt x="1204308" y="148740"/>
                    <a:pt x="1204124" y="150395"/>
                  </a:cubicBezTo>
                  <a:cubicBezTo>
                    <a:pt x="1204124" y="150579"/>
                    <a:pt x="1204124" y="150579"/>
                    <a:pt x="1204124" y="150762"/>
                  </a:cubicBezTo>
                  <a:cubicBezTo>
                    <a:pt x="1204124" y="162716"/>
                    <a:pt x="1204124" y="174669"/>
                    <a:pt x="1204124" y="186806"/>
                  </a:cubicBezTo>
                  <a:cubicBezTo>
                    <a:pt x="1204124" y="187173"/>
                    <a:pt x="1204124" y="187173"/>
                    <a:pt x="1204492" y="187173"/>
                  </a:cubicBezTo>
                  <a:cubicBezTo>
                    <a:pt x="1206146" y="187173"/>
                    <a:pt x="1207802" y="187173"/>
                    <a:pt x="1209457" y="187173"/>
                  </a:cubicBezTo>
                  <a:cubicBezTo>
                    <a:pt x="1210376" y="187173"/>
                    <a:pt x="1211296" y="187541"/>
                    <a:pt x="1212215" y="187909"/>
                  </a:cubicBezTo>
                  <a:cubicBezTo>
                    <a:pt x="1213870" y="189012"/>
                    <a:pt x="1214790" y="190483"/>
                    <a:pt x="1214790" y="192507"/>
                  </a:cubicBezTo>
                  <a:cubicBezTo>
                    <a:pt x="1214790" y="193978"/>
                    <a:pt x="1214238" y="195449"/>
                    <a:pt x="1212951" y="196368"/>
                  </a:cubicBezTo>
                  <a:cubicBezTo>
                    <a:pt x="1212215" y="196920"/>
                    <a:pt x="1211296" y="197472"/>
                    <a:pt x="1210193" y="197655"/>
                  </a:cubicBezTo>
                  <a:cubicBezTo>
                    <a:pt x="1210193" y="197655"/>
                    <a:pt x="1210009" y="197655"/>
                    <a:pt x="1210009" y="197655"/>
                  </a:cubicBezTo>
                  <a:cubicBezTo>
                    <a:pt x="1210009" y="197655"/>
                    <a:pt x="1209825" y="197655"/>
                    <a:pt x="1209825" y="197655"/>
                  </a:cubicBezTo>
                  <a:cubicBezTo>
                    <a:pt x="1209825" y="197472"/>
                    <a:pt x="1209641" y="197655"/>
                    <a:pt x="1209457" y="197655"/>
                  </a:cubicBezTo>
                  <a:cubicBezTo>
                    <a:pt x="1202101" y="197655"/>
                    <a:pt x="1194745" y="197655"/>
                    <a:pt x="1187573" y="197655"/>
                  </a:cubicBezTo>
                  <a:cubicBezTo>
                    <a:pt x="1187390" y="197655"/>
                    <a:pt x="1187390" y="197655"/>
                    <a:pt x="1187206" y="197655"/>
                  </a:cubicBezTo>
                  <a:cubicBezTo>
                    <a:pt x="1187022" y="197655"/>
                    <a:pt x="1186838" y="197655"/>
                    <a:pt x="1186654" y="197655"/>
                  </a:cubicBezTo>
                  <a:cubicBezTo>
                    <a:pt x="1186470" y="197472"/>
                    <a:pt x="1186287" y="197472"/>
                    <a:pt x="1186102" y="197472"/>
                  </a:cubicBezTo>
                  <a:cubicBezTo>
                    <a:pt x="1185183" y="197287"/>
                    <a:pt x="1184448" y="196736"/>
                    <a:pt x="1183712" y="196184"/>
                  </a:cubicBezTo>
                  <a:cubicBezTo>
                    <a:pt x="1182609" y="195081"/>
                    <a:pt x="1182057" y="193794"/>
                    <a:pt x="1182057" y="192322"/>
                  </a:cubicBezTo>
                  <a:cubicBezTo>
                    <a:pt x="1182057" y="191036"/>
                    <a:pt x="1182425" y="189748"/>
                    <a:pt x="1183528" y="188829"/>
                  </a:cubicBezTo>
                  <a:cubicBezTo>
                    <a:pt x="1184631" y="187725"/>
                    <a:pt x="1185919" y="187173"/>
                    <a:pt x="1187390" y="187173"/>
                  </a:cubicBezTo>
                  <a:cubicBezTo>
                    <a:pt x="1189229" y="187173"/>
                    <a:pt x="1191067" y="187173"/>
                    <a:pt x="1192723" y="187173"/>
                  </a:cubicBezTo>
                  <a:cubicBezTo>
                    <a:pt x="1192906" y="187173"/>
                    <a:pt x="1193091" y="187173"/>
                    <a:pt x="1193091" y="186806"/>
                  </a:cubicBezTo>
                  <a:cubicBezTo>
                    <a:pt x="1193091" y="176324"/>
                    <a:pt x="1193091" y="166026"/>
                    <a:pt x="1193091" y="155544"/>
                  </a:cubicBezTo>
                  <a:cubicBezTo>
                    <a:pt x="1193091" y="155360"/>
                    <a:pt x="1193091" y="155176"/>
                    <a:pt x="1192723" y="155176"/>
                  </a:cubicBezTo>
                  <a:cubicBezTo>
                    <a:pt x="1191435" y="155176"/>
                    <a:pt x="1189964" y="155176"/>
                    <a:pt x="1188677" y="155176"/>
                  </a:cubicBezTo>
                  <a:cubicBezTo>
                    <a:pt x="1186470" y="155176"/>
                    <a:pt x="1184815" y="154073"/>
                    <a:pt x="1183712" y="152050"/>
                  </a:cubicBezTo>
                  <a:cubicBezTo>
                    <a:pt x="1183160" y="150947"/>
                    <a:pt x="1183160" y="149659"/>
                    <a:pt x="1183528" y="148188"/>
                  </a:cubicBezTo>
                  <a:cubicBezTo>
                    <a:pt x="1184263" y="146165"/>
                    <a:pt x="1186287" y="144694"/>
                    <a:pt x="1188493" y="144694"/>
                  </a:cubicBezTo>
                  <a:cubicBezTo>
                    <a:pt x="1191252" y="144694"/>
                    <a:pt x="1194010" y="144510"/>
                    <a:pt x="1196768" y="144510"/>
                  </a:cubicBezTo>
                  <a:close/>
                  <a:moveTo>
                    <a:pt x="959854" y="144510"/>
                  </a:moveTo>
                  <a:cubicBezTo>
                    <a:pt x="960773" y="144510"/>
                    <a:pt x="961692" y="144326"/>
                    <a:pt x="962612" y="144510"/>
                  </a:cubicBezTo>
                  <a:cubicBezTo>
                    <a:pt x="963899" y="144694"/>
                    <a:pt x="965002" y="145246"/>
                    <a:pt x="965738" y="146165"/>
                  </a:cubicBezTo>
                  <a:cubicBezTo>
                    <a:pt x="966842" y="147269"/>
                    <a:pt x="967393" y="148740"/>
                    <a:pt x="967209" y="150395"/>
                  </a:cubicBezTo>
                  <a:cubicBezTo>
                    <a:pt x="967209" y="150579"/>
                    <a:pt x="967209" y="150579"/>
                    <a:pt x="967209" y="150762"/>
                  </a:cubicBezTo>
                  <a:cubicBezTo>
                    <a:pt x="967209" y="162716"/>
                    <a:pt x="967209" y="174669"/>
                    <a:pt x="967209" y="186806"/>
                  </a:cubicBezTo>
                  <a:cubicBezTo>
                    <a:pt x="967209" y="187173"/>
                    <a:pt x="967209" y="187173"/>
                    <a:pt x="967577" y="187173"/>
                  </a:cubicBezTo>
                  <a:cubicBezTo>
                    <a:pt x="969232" y="187173"/>
                    <a:pt x="970887" y="187173"/>
                    <a:pt x="972542" y="187173"/>
                  </a:cubicBezTo>
                  <a:cubicBezTo>
                    <a:pt x="973462" y="187173"/>
                    <a:pt x="974381" y="187541"/>
                    <a:pt x="975300" y="187909"/>
                  </a:cubicBezTo>
                  <a:cubicBezTo>
                    <a:pt x="976956" y="189012"/>
                    <a:pt x="977875" y="190483"/>
                    <a:pt x="977875" y="192507"/>
                  </a:cubicBezTo>
                  <a:cubicBezTo>
                    <a:pt x="977875" y="193978"/>
                    <a:pt x="977324" y="195449"/>
                    <a:pt x="976036" y="196368"/>
                  </a:cubicBezTo>
                  <a:cubicBezTo>
                    <a:pt x="975300" y="196920"/>
                    <a:pt x="974381" y="197472"/>
                    <a:pt x="973278" y="197655"/>
                  </a:cubicBezTo>
                  <a:cubicBezTo>
                    <a:pt x="973278" y="197655"/>
                    <a:pt x="973094" y="197655"/>
                    <a:pt x="973094" y="197655"/>
                  </a:cubicBezTo>
                  <a:cubicBezTo>
                    <a:pt x="973094" y="197655"/>
                    <a:pt x="972910" y="197655"/>
                    <a:pt x="972910" y="197655"/>
                  </a:cubicBezTo>
                  <a:cubicBezTo>
                    <a:pt x="972910" y="197472"/>
                    <a:pt x="972726" y="197655"/>
                    <a:pt x="972542" y="197655"/>
                  </a:cubicBezTo>
                  <a:cubicBezTo>
                    <a:pt x="965187" y="197655"/>
                    <a:pt x="957830" y="197655"/>
                    <a:pt x="950659" y="197655"/>
                  </a:cubicBezTo>
                  <a:cubicBezTo>
                    <a:pt x="950475" y="197655"/>
                    <a:pt x="950475" y="197655"/>
                    <a:pt x="950291" y="197655"/>
                  </a:cubicBezTo>
                  <a:cubicBezTo>
                    <a:pt x="950107" y="197655"/>
                    <a:pt x="949923" y="197655"/>
                    <a:pt x="949740" y="197655"/>
                  </a:cubicBezTo>
                  <a:cubicBezTo>
                    <a:pt x="949555" y="197472"/>
                    <a:pt x="949372" y="197472"/>
                    <a:pt x="949188" y="197472"/>
                  </a:cubicBezTo>
                  <a:cubicBezTo>
                    <a:pt x="948269" y="197287"/>
                    <a:pt x="947533" y="196736"/>
                    <a:pt x="946797" y="196184"/>
                  </a:cubicBezTo>
                  <a:cubicBezTo>
                    <a:pt x="945694" y="195081"/>
                    <a:pt x="945142" y="193794"/>
                    <a:pt x="945142" y="192322"/>
                  </a:cubicBezTo>
                  <a:cubicBezTo>
                    <a:pt x="945142" y="191036"/>
                    <a:pt x="945510" y="189748"/>
                    <a:pt x="946613" y="188829"/>
                  </a:cubicBezTo>
                  <a:cubicBezTo>
                    <a:pt x="947717" y="187725"/>
                    <a:pt x="949004" y="187173"/>
                    <a:pt x="950475" y="187173"/>
                  </a:cubicBezTo>
                  <a:cubicBezTo>
                    <a:pt x="952314" y="187173"/>
                    <a:pt x="954153" y="187173"/>
                    <a:pt x="955808" y="187173"/>
                  </a:cubicBezTo>
                  <a:cubicBezTo>
                    <a:pt x="955992" y="187173"/>
                    <a:pt x="956176" y="187173"/>
                    <a:pt x="956176" y="186806"/>
                  </a:cubicBezTo>
                  <a:cubicBezTo>
                    <a:pt x="956176" y="176324"/>
                    <a:pt x="956176" y="166026"/>
                    <a:pt x="956176" y="155544"/>
                  </a:cubicBezTo>
                  <a:cubicBezTo>
                    <a:pt x="956176" y="155360"/>
                    <a:pt x="956176" y="155176"/>
                    <a:pt x="955808" y="155176"/>
                  </a:cubicBezTo>
                  <a:cubicBezTo>
                    <a:pt x="954521" y="155176"/>
                    <a:pt x="953050" y="155176"/>
                    <a:pt x="951762" y="155176"/>
                  </a:cubicBezTo>
                  <a:cubicBezTo>
                    <a:pt x="949555" y="155176"/>
                    <a:pt x="947901" y="154073"/>
                    <a:pt x="946797" y="152050"/>
                  </a:cubicBezTo>
                  <a:cubicBezTo>
                    <a:pt x="946246" y="150947"/>
                    <a:pt x="946246" y="149659"/>
                    <a:pt x="946613" y="148188"/>
                  </a:cubicBezTo>
                  <a:cubicBezTo>
                    <a:pt x="947349" y="146165"/>
                    <a:pt x="949372" y="144694"/>
                    <a:pt x="951578" y="144694"/>
                  </a:cubicBezTo>
                  <a:cubicBezTo>
                    <a:pt x="954337" y="144694"/>
                    <a:pt x="957095" y="144510"/>
                    <a:pt x="959854" y="144510"/>
                  </a:cubicBezTo>
                  <a:close/>
                  <a:moveTo>
                    <a:pt x="722889" y="144510"/>
                  </a:moveTo>
                  <a:cubicBezTo>
                    <a:pt x="723807" y="144510"/>
                    <a:pt x="724727" y="144326"/>
                    <a:pt x="725646" y="144510"/>
                  </a:cubicBezTo>
                  <a:cubicBezTo>
                    <a:pt x="726934" y="144694"/>
                    <a:pt x="728037" y="145246"/>
                    <a:pt x="728773" y="146165"/>
                  </a:cubicBezTo>
                  <a:cubicBezTo>
                    <a:pt x="729876" y="147269"/>
                    <a:pt x="730428" y="148740"/>
                    <a:pt x="730244" y="150395"/>
                  </a:cubicBezTo>
                  <a:cubicBezTo>
                    <a:pt x="730244" y="150579"/>
                    <a:pt x="730244" y="150579"/>
                    <a:pt x="730244" y="150762"/>
                  </a:cubicBezTo>
                  <a:cubicBezTo>
                    <a:pt x="730244" y="162716"/>
                    <a:pt x="730244" y="174669"/>
                    <a:pt x="730244" y="186806"/>
                  </a:cubicBezTo>
                  <a:cubicBezTo>
                    <a:pt x="730244" y="187173"/>
                    <a:pt x="730244" y="187173"/>
                    <a:pt x="730612" y="187173"/>
                  </a:cubicBezTo>
                  <a:cubicBezTo>
                    <a:pt x="732267" y="187173"/>
                    <a:pt x="733922" y="187173"/>
                    <a:pt x="735577" y="187173"/>
                  </a:cubicBezTo>
                  <a:cubicBezTo>
                    <a:pt x="736497" y="187173"/>
                    <a:pt x="737415" y="187541"/>
                    <a:pt x="738335" y="187909"/>
                  </a:cubicBezTo>
                  <a:cubicBezTo>
                    <a:pt x="739990" y="189012"/>
                    <a:pt x="740910" y="190483"/>
                    <a:pt x="740910" y="192507"/>
                  </a:cubicBezTo>
                  <a:cubicBezTo>
                    <a:pt x="740910" y="193978"/>
                    <a:pt x="740358" y="195449"/>
                    <a:pt x="739071" y="196368"/>
                  </a:cubicBezTo>
                  <a:cubicBezTo>
                    <a:pt x="738335" y="196920"/>
                    <a:pt x="737415" y="197472"/>
                    <a:pt x="736312" y="197655"/>
                  </a:cubicBezTo>
                  <a:cubicBezTo>
                    <a:pt x="736312" y="197655"/>
                    <a:pt x="736129" y="197655"/>
                    <a:pt x="736129" y="197655"/>
                  </a:cubicBezTo>
                  <a:cubicBezTo>
                    <a:pt x="736129" y="197655"/>
                    <a:pt x="735944" y="197655"/>
                    <a:pt x="735944" y="197655"/>
                  </a:cubicBezTo>
                  <a:cubicBezTo>
                    <a:pt x="735944" y="197472"/>
                    <a:pt x="735761" y="197655"/>
                    <a:pt x="735577" y="197655"/>
                  </a:cubicBezTo>
                  <a:cubicBezTo>
                    <a:pt x="728221" y="197655"/>
                    <a:pt x="720865" y="197655"/>
                    <a:pt x="713694" y="197655"/>
                  </a:cubicBezTo>
                  <a:cubicBezTo>
                    <a:pt x="713510" y="197655"/>
                    <a:pt x="713510" y="197655"/>
                    <a:pt x="713326" y="197655"/>
                  </a:cubicBezTo>
                  <a:cubicBezTo>
                    <a:pt x="713142" y="197655"/>
                    <a:pt x="712958" y="197655"/>
                    <a:pt x="712774" y="197655"/>
                  </a:cubicBezTo>
                  <a:cubicBezTo>
                    <a:pt x="712590" y="197472"/>
                    <a:pt x="712406" y="197472"/>
                    <a:pt x="712223" y="197472"/>
                  </a:cubicBezTo>
                  <a:cubicBezTo>
                    <a:pt x="711303" y="197287"/>
                    <a:pt x="710567" y="196736"/>
                    <a:pt x="709832" y="196184"/>
                  </a:cubicBezTo>
                  <a:cubicBezTo>
                    <a:pt x="708728" y="195081"/>
                    <a:pt x="708177" y="193794"/>
                    <a:pt x="708177" y="192322"/>
                  </a:cubicBezTo>
                  <a:cubicBezTo>
                    <a:pt x="708177" y="191036"/>
                    <a:pt x="708545" y="189748"/>
                    <a:pt x="709648" y="188829"/>
                  </a:cubicBezTo>
                  <a:cubicBezTo>
                    <a:pt x="710752" y="187725"/>
                    <a:pt x="712038" y="187173"/>
                    <a:pt x="713510" y="187173"/>
                  </a:cubicBezTo>
                  <a:cubicBezTo>
                    <a:pt x="715349" y="187173"/>
                    <a:pt x="717188" y="187173"/>
                    <a:pt x="718842" y="187173"/>
                  </a:cubicBezTo>
                  <a:cubicBezTo>
                    <a:pt x="719027" y="187173"/>
                    <a:pt x="719210" y="187173"/>
                    <a:pt x="719210" y="186806"/>
                  </a:cubicBezTo>
                  <a:cubicBezTo>
                    <a:pt x="719210" y="176324"/>
                    <a:pt x="719210" y="166026"/>
                    <a:pt x="719210" y="155544"/>
                  </a:cubicBezTo>
                  <a:cubicBezTo>
                    <a:pt x="719210" y="155360"/>
                    <a:pt x="719210" y="155176"/>
                    <a:pt x="718842" y="155176"/>
                  </a:cubicBezTo>
                  <a:cubicBezTo>
                    <a:pt x="717555" y="155176"/>
                    <a:pt x="716084" y="155176"/>
                    <a:pt x="714797" y="155176"/>
                  </a:cubicBezTo>
                  <a:cubicBezTo>
                    <a:pt x="712590" y="155176"/>
                    <a:pt x="710935" y="154073"/>
                    <a:pt x="709832" y="152050"/>
                  </a:cubicBezTo>
                  <a:cubicBezTo>
                    <a:pt x="709281" y="150947"/>
                    <a:pt x="709281" y="149659"/>
                    <a:pt x="709648" y="148188"/>
                  </a:cubicBezTo>
                  <a:cubicBezTo>
                    <a:pt x="710384" y="146165"/>
                    <a:pt x="712406" y="144694"/>
                    <a:pt x="714613" y="144694"/>
                  </a:cubicBezTo>
                  <a:cubicBezTo>
                    <a:pt x="717371" y="144694"/>
                    <a:pt x="720130" y="144510"/>
                    <a:pt x="722889" y="144510"/>
                  </a:cubicBezTo>
                  <a:close/>
                  <a:moveTo>
                    <a:pt x="609480" y="144510"/>
                  </a:moveTo>
                  <a:cubicBezTo>
                    <a:pt x="610399" y="144510"/>
                    <a:pt x="611319" y="144326"/>
                    <a:pt x="612238" y="144510"/>
                  </a:cubicBezTo>
                  <a:cubicBezTo>
                    <a:pt x="613526" y="144694"/>
                    <a:pt x="614629" y="145246"/>
                    <a:pt x="615365" y="146165"/>
                  </a:cubicBezTo>
                  <a:cubicBezTo>
                    <a:pt x="616468" y="147269"/>
                    <a:pt x="617020" y="148740"/>
                    <a:pt x="616836" y="150395"/>
                  </a:cubicBezTo>
                  <a:cubicBezTo>
                    <a:pt x="616836" y="150579"/>
                    <a:pt x="616836" y="150579"/>
                    <a:pt x="616836" y="150762"/>
                  </a:cubicBezTo>
                  <a:cubicBezTo>
                    <a:pt x="616836" y="162716"/>
                    <a:pt x="616836" y="174669"/>
                    <a:pt x="616836" y="186806"/>
                  </a:cubicBezTo>
                  <a:cubicBezTo>
                    <a:pt x="616836" y="187173"/>
                    <a:pt x="616836" y="187173"/>
                    <a:pt x="617203" y="187173"/>
                  </a:cubicBezTo>
                  <a:cubicBezTo>
                    <a:pt x="618859" y="187173"/>
                    <a:pt x="620513" y="187173"/>
                    <a:pt x="622169" y="187173"/>
                  </a:cubicBezTo>
                  <a:cubicBezTo>
                    <a:pt x="623088" y="187173"/>
                    <a:pt x="624007" y="187541"/>
                    <a:pt x="624927" y="187909"/>
                  </a:cubicBezTo>
                  <a:cubicBezTo>
                    <a:pt x="626582" y="189012"/>
                    <a:pt x="627502" y="190483"/>
                    <a:pt x="627502" y="192507"/>
                  </a:cubicBezTo>
                  <a:cubicBezTo>
                    <a:pt x="627502" y="193978"/>
                    <a:pt x="626949" y="195449"/>
                    <a:pt x="625663" y="196368"/>
                  </a:cubicBezTo>
                  <a:cubicBezTo>
                    <a:pt x="624927" y="196920"/>
                    <a:pt x="624007" y="197472"/>
                    <a:pt x="622904" y="197655"/>
                  </a:cubicBezTo>
                  <a:cubicBezTo>
                    <a:pt x="622904" y="197655"/>
                    <a:pt x="622720" y="197655"/>
                    <a:pt x="622720" y="197655"/>
                  </a:cubicBezTo>
                  <a:cubicBezTo>
                    <a:pt x="622720" y="197655"/>
                    <a:pt x="622536" y="197655"/>
                    <a:pt x="622536" y="197655"/>
                  </a:cubicBezTo>
                  <a:cubicBezTo>
                    <a:pt x="622536" y="197472"/>
                    <a:pt x="622352" y="197655"/>
                    <a:pt x="622169" y="197655"/>
                  </a:cubicBezTo>
                  <a:cubicBezTo>
                    <a:pt x="614813" y="197655"/>
                    <a:pt x="607457" y="197655"/>
                    <a:pt x="600286" y="197655"/>
                  </a:cubicBezTo>
                  <a:cubicBezTo>
                    <a:pt x="600101" y="197655"/>
                    <a:pt x="600101" y="197655"/>
                    <a:pt x="599918" y="197655"/>
                  </a:cubicBezTo>
                  <a:cubicBezTo>
                    <a:pt x="599733" y="197655"/>
                    <a:pt x="599550" y="197655"/>
                    <a:pt x="599366" y="197655"/>
                  </a:cubicBezTo>
                  <a:cubicBezTo>
                    <a:pt x="599182" y="197472"/>
                    <a:pt x="598998" y="197472"/>
                    <a:pt x="598815" y="197472"/>
                  </a:cubicBezTo>
                  <a:cubicBezTo>
                    <a:pt x="597895" y="197287"/>
                    <a:pt x="597159" y="196736"/>
                    <a:pt x="596424" y="196184"/>
                  </a:cubicBezTo>
                  <a:cubicBezTo>
                    <a:pt x="595320" y="195081"/>
                    <a:pt x="594768" y="193794"/>
                    <a:pt x="594768" y="192322"/>
                  </a:cubicBezTo>
                  <a:cubicBezTo>
                    <a:pt x="594768" y="191036"/>
                    <a:pt x="595136" y="189748"/>
                    <a:pt x="596240" y="188829"/>
                  </a:cubicBezTo>
                  <a:cubicBezTo>
                    <a:pt x="597343" y="187725"/>
                    <a:pt x="598630" y="187173"/>
                    <a:pt x="600101" y="187173"/>
                  </a:cubicBezTo>
                  <a:cubicBezTo>
                    <a:pt x="601940" y="187173"/>
                    <a:pt x="603779" y="187173"/>
                    <a:pt x="605434" y="187173"/>
                  </a:cubicBezTo>
                  <a:cubicBezTo>
                    <a:pt x="605618" y="187173"/>
                    <a:pt x="605802" y="187173"/>
                    <a:pt x="605802" y="186806"/>
                  </a:cubicBezTo>
                  <a:cubicBezTo>
                    <a:pt x="605802" y="176324"/>
                    <a:pt x="605802" y="166026"/>
                    <a:pt x="605802" y="155544"/>
                  </a:cubicBezTo>
                  <a:cubicBezTo>
                    <a:pt x="605802" y="155360"/>
                    <a:pt x="605802" y="155176"/>
                    <a:pt x="605434" y="155176"/>
                  </a:cubicBezTo>
                  <a:cubicBezTo>
                    <a:pt x="604147" y="155176"/>
                    <a:pt x="602676" y="155176"/>
                    <a:pt x="601389" y="155176"/>
                  </a:cubicBezTo>
                  <a:cubicBezTo>
                    <a:pt x="599182" y="155176"/>
                    <a:pt x="597527" y="154073"/>
                    <a:pt x="596424" y="152050"/>
                  </a:cubicBezTo>
                  <a:cubicBezTo>
                    <a:pt x="595872" y="150947"/>
                    <a:pt x="595872" y="149659"/>
                    <a:pt x="596240" y="148188"/>
                  </a:cubicBezTo>
                  <a:cubicBezTo>
                    <a:pt x="596975" y="146165"/>
                    <a:pt x="598998" y="144694"/>
                    <a:pt x="601205" y="144694"/>
                  </a:cubicBezTo>
                  <a:cubicBezTo>
                    <a:pt x="603963" y="144694"/>
                    <a:pt x="606722" y="144510"/>
                    <a:pt x="609480" y="144510"/>
                  </a:cubicBezTo>
                  <a:close/>
                  <a:moveTo>
                    <a:pt x="249007" y="144510"/>
                  </a:moveTo>
                  <a:cubicBezTo>
                    <a:pt x="249926" y="144510"/>
                    <a:pt x="250845" y="144326"/>
                    <a:pt x="251765" y="144510"/>
                  </a:cubicBezTo>
                  <a:cubicBezTo>
                    <a:pt x="253052" y="144694"/>
                    <a:pt x="254156" y="145246"/>
                    <a:pt x="254891" y="146165"/>
                  </a:cubicBezTo>
                  <a:cubicBezTo>
                    <a:pt x="255995" y="147269"/>
                    <a:pt x="256546" y="148740"/>
                    <a:pt x="256363" y="150395"/>
                  </a:cubicBezTo>
                  <a:cubicBezTo>
                    <a:pt x="256363" y="150579"/>
                    <a:pt x="256363" y="150579"/>
                    <a:pt x="256363" y="150762"/>
                  </a:cubicBezTo>
                  <a:cubicBezTo>
                    <a:pt x="256363" y="162716"/>
                    <a:pt x="256363" y="174669"/>
                    <a:pt x="256363" y="186806"/>
                  </a:cubicBezTo>
                  <a:cubicBezTo>
                    <a:pt x="256363" y="187173"/>
                    <a:pt x="256363" y="187173"/>
                    <a:pt x="256730" y="187173"/>
                  </a:cubicBezTo>
                  <a:cubicBezTo>
                    <a:pt x="258385" y="187173"/>
                    <a:pt x="260040" y="187173"/>
                    <a:pt x="261695" y="187173"/>
                  </a:cubicBezTo>
                  <a:cubicBezTo>
                    <a:pt x="262615" y="187173"/>
                    <a:pt x="263534" y="187541"/>
                    <a:pt x="264453" y="187909"/>
                  </a:cubicBezTo>
                  <a:cubicBezTo>
                    <a:pt x="266109" y="189012"/>
                    <a:pt x="267028" y="190483"/>
                    <a:pt x="267028" y="192507"/>
                  </a:cubicBezTo>
                  <a:cubicBezTo>
                    <a:pt x="267028" y="193978"/>
                    <a:pt x="266476" y="195449"/>
                    <a:pt x="265189" y="196368"/>
                  </a:cubicBezTo>
                  <a:cubicBezTo>
                    <a:pt x="264453" y="196920"/>
                    <a:pt x="263534" y="197472"/>
                    <a:pt x="262431" y="197655"/>
                  </a:cubicBezTo>
                  <a:cubicBezTo>
                    <a:pt x="262431" y="197655"/>
                    <a:pt x="262247" y="197655"/>
                    <a:pt x="262247" y="197655"/>
                  </a:cubicBezTo>
                  <a:cubicBezTo>
                    <a:pt x="262247" y="197655"/>
                    <a:pt x="262063" y="197655"/>
                    <a:pt x="262063" y="197655"/>
                  </a:cubicBezTo>
                  <a:cubicBezTo>
                    <a:pt x="262063" y="197472"/>
                    <a:pt x="261879" y="197655"/>
                    <a:pt x="261695" y="197655"/>
                  </a:cubicBezTo>
                  <a:cubicBezTo>
                    <a:pt x="254340" y="197655"/>
                    <a:pt x="246984" y="197655"/>
                    <a:pt x="239812" y="197655"/>
                  </a:cubicBezTo>
                  <a:cubicBezTo>
                    <a:pt x="239628" y="197655"/>
                    <a:pt x="239628" y="197655"/>
                    <a:pt x="239444" y="197655"/>
                  </a:cubicBezTo>
                  <a:cubicBezTo>
                    <a:pt x="239261" y="197655"/>
                    <a:pt x="239076" y="197655"/>
                    <a:pt x="238892" y="197655"/>
                  </a:cubicBezTo>
                  <a:cubicBezTo>
                    <a:pt x="238708" y="197472"/>
                    <a:pt x="238525" y="197472"/>
                    <a:pt x="238341" y="197472"/>
                  </a:cubicBezTo>
                  <a:cubicBezTo>
                    <a:pt x="237421" y="197287"/>
                    <a:pt x="236686" y="196736"/>
                    <a:pt x="235950" y="196184"/>
                  </a:cubicBezTo>
                  <a:cubicBezTo>
                    <a:pt x="234847" y="195081"/>
                    <a:pt x="234296" y="193794"/>
                    <a:pt x="234296" y="192322"/>
                  </a:cubicBezTo>
                  <a:cubicBezTo>
                    <a:pt x="234296" y="191036"/>
                    <a:pt x="234663" y="189748"/>
                    <a:pt x="235767" y="188829"/>
                  </a:cubicBezTo>
                  <a:cubicBezTo>
                    <a:pt x="236870" y="187725"/>
                    <a:pt x="238157" y="187173"/>
                    <a:pt x="239628" y="187173"/>
                  </a:cubicBezTo>
                  <a:cubicBezTo>
                    <a:pt x="241467" y="187173"/>
                    <a:pt x="243306" y="187173"/>
                    <a:pt x="244961" y="187173"/>
                  </a:cubicBezTo>
                  <a:cubicBezTo>
                    <a:pt x="245145" y="187173"/>
                    <a:pt x="245329" y="187173"/>
                    <a:pt x="245329" y="186806"/>
                  </a:cubicBezTo>
                  <a:cubicBezTo>
                    <a:pt x="245329" y="176324"/>
                    <a:pt x="245329" y="166026"/>
                    <a:pt x="245329" y="155544"/>
                  </a:cubicBezTo>
                  <a:cubicBezTo>
                    <a:pt x="245329" y="155360"/>
                    <a:pt x="245329" y="155176"/>
                    <a:pt x="244961" y="155176"/>
                  </a:cubicBezTo>
                  <a:cubicBezTo>
                    <a:pt x="243674" y="155176"/>
                    <a:pt x="242202" y="155176"/>
                    <a:pt x="240915" y="155176"/>
                  </a:cubicBezTo>
                  <a:cubicBezTo>
                    <a:pt x="238708" y="155176"/>
                    <a:pt x="237054" y="154073"/>
                    <a:pt x="235950" y="152050"/>
                  </a:cubicBezTo>
                  <a:cubicBezTo>
                    <a:pt x="235398" y="150947"/>
                    <a:pt x="235398" y="149659"/>
                    <a:pt x="235767" y="148188"/>
                  </a:cubicBezTo>
                  <a:cubicBezTo>
                    <a:pt x="236502" y="146165"/>
                    <a:pt x="238525" y="144694"/>
                    <a:pt x="240732" y="144694"/>
                  </a:cubicBezTo>
                  <a:cubicBezTo>
                    <a:pt x="243490" y="144694"/>
                    <a:pt x="246248" y="144510"/>
                    <a:pt x="249007" y="144510"/>
                  </a:cubicBezTo>
                  <a:close/>
                  <a:moveTo>
                    <a:pt x="197401" y="144510"/>
                  </a:moveTo>
                  <a:cubicBezTo>
                    <a:pt x="198321" y="144510"/>
                    <a:pt x="199241" y="144326"/>
                    <a:pt x="200160" y="144510"/>
                  </a:cubicBezTo>
                  <a:cubicBezTo>
                    <a:pt x="201447" y="144694"/>
                    <a:pt x="202551" y="145246"/>
                    <a:pt x="203287" y="146165"/>
                  </a:cubicBezTo>
                  <a:cubicBezTo>
                    <a:pt x="204390" y="147269"/>
                    <a:pt x="204941" y="148740"/>
                    <a:pt x="204758" y="150395"/>
                  </a:cubicBezTo>
                  <a:cubicBezTo>
                    <a:pt x="204758" y="150579"/>
                    <a:pt x="204758" y="150579"/>
                    <a:pt x="204758" y="150762"/>
                  </a:cubicBezTo>
                  <a:cubicBezTo>
                    <a:pt x="204758" y="162716"/>
                    <a:pt x="204758" y="174669"/>
                    <a:pt x="204758" y="186806"/>
                  </a:cubicBezTo>
                  <a:cubicBezTo>
                    <a:pt x="204758" y="187173"/>
                    <a:pt x="204758" y="187173"/>
                    <a:pt x="205125" y="187173"/>
                  </a:cubicBezTo>
                  <a:cubicBezTo>
                    <a:pt x="206780" y="187173"/>
                    <a:pt x="208435" y="187173"/>
                    <a:pt x="210091" y="187173"/>
                  </a:cubicBezTo>
                  <a:cubicBezTo>
                    <a:pt x="211009" y="187173"/>
                    <a:pt x="211930" y="187541"/>
                    <a:pt x="212849" y="187909"/>
                  </a:cubicBezTo>
                  <a:cubicBezTo>
                    <a:pt x="214504" y="189012"/>
                    <a:pt x="215423" y="190483"/>
                    <a:pt x="215423" y="192507"/>
                  </a:cubicBezTo>
                  <a:cubicBezTo>
                    <a:pt x="215423" y="193978"/>
                    <a:pt x="214871" y="195449"/>
                    <a:pt x="213584" y="196368"/>
                  </a:cubicBezTo>
                  <a:cubicBezTo>
                    <a:pt x="212849" y="196920"/>
                    <a:pt x="211930" y="197472"/>
                    <a:pt x="210826" y="197655"/>
                  </a:cubicBezTo>
                  <a:cubicBezTo>
                    <a:pt x="210826" y="197655"/>
                    <a:pt x="210642" y="197655"/>
                    <a:pt x="210642" y="197655"/>
                  </a:cubicBezTo>
                  <a:cubicBezTo>
                    <a:pt x="210642" y="197655"/>
                    <a:pt x="210458" y="197655"/>
                    <a:pt x="210458" y="197655"/>
                  </a:cubicBezTo>
                  <a:cubicBezTo>
                    <a:pt x="210458" y="197472"/>
                    <a:pt x="210274" y="197655"/>
                    <a:pt x="210091" y="197655"/>
                  </a:cubicBezTo>
                  <a:cubicBezTo>
                    <a:pt x="202735" y="197655"/>
                    <a:pt x="195379" y="197655"/>
                    <a:pt x="188207" y="197655"/>
                  </a:cubicBezTo>
                  <a:cubicBezTo>
                    <a:pt x="188023" y="197655"/>
                    <a:pt x="188023" y="197655"/>
                    <a:pt x="187839" y="197655"/>
                  </a:cubicBezTo>
                  <a:cubicBezTo>
                    <a:pt x="187655" y="197655"/>
                    <a:pt x="187472" y="197655"/>
                    <a:pt x="187288" y="197655"/>
                  </a:cubicBezTo>
                  <a:cubicBezTo>
                    <a:pt x="187104" y="197472"/>
                    <a:pt x="186920" y="197472"/>
                    <a:pt x="186736" y="197472"/>
                  </a:cubicBezTo>
                  <a:cubicBezTo>
                    <a:pt x="185817" y="197287"/>
                    <a:pt x="185081" y="196736"/>
                    <a:pt x="184345" y="196184"/>
                  </a:cubicBezTo>
                  <a:cubicBezTo>
                    <a:pt x="183242" y="195081"/>
                    <a:pt x="182690" y="193794"/>
                    <a:pt x="182690" y="192322"/>
                  </a:cubicBezTo>
                  <a:cubicBezTo>
                    <a:pt x="182690" y="191036"/>
                    <a:pt x="183058" y="189748"/>
                    <a:pt x="184161" y="188829"/>
                  </a:cubicBezTo>
                  <a:cubicBezTo>
                    <a:pt x="185265" y="187725"/>
                    <a:pt x="186552" y="187173"/>
                    <a:pt x="188023" y="187173"/>
                  </a:cubicBezTo>
                  <a:cubicBezTo>
                    <a:pt x="189862" y="187173"/>
                    <a:pt x="191701" y="187173"/>
                    <a:pt x="193356" y="187173"/>
                  </a:cubicBezTo>
                  <a:cubicBezTo>
                    <a:pt x="193540" y="187173"/>
                    <a:pt x="193724" y="187173"/>
                    <a:pt x="193724" y="186806"/>
                  </a:cubicBezTo>
                  <a:cubicBezTo>
                    <a:pt x="193724" y="176324"/>
                    <a:pt x="193724" y="166026"/>
                    <a:pt x="193724" y="155544"/>
                  </a:cubicBezTo>
                  <a:cubicBezTo>
                    <a:pt x="193724" y="155360"/>
                    <a:pt x="193724" y="155176"/>
                    <a:pt x="193356" y="155176"/>
                  </a:cubicBezTo>
                  <a:cubicBezTo>
                    <a:pt x="192069" y="155176"/>
                    <a:pt x="190597" y="155176"/>
                    <a:pt x="189311" y="155176"/>
                  </a:cubicBezTo>
                  <a:cubicBezTo>
                    <a:pt x="187104" y="155176"/>
                    <a:pt x="185449" y="154073"/>
                    <a:pt x="184345" y="152050"/>
                  </a:cubicBezTo>
                  <a:cubicBezTo>
                    <a:pt x="183794" y="150947"/>
                    <a:pt x="183794" y="149659"/>
                    <a:pt x="184161" y="148188"/>
                  </a:cubicBezTo>
                  <a:cubicBezTo>
                    <a:pt x="184897" y="146165"/>
                    <a:pt x="186920" y="144694"/>
                    <a:pt x="189126" y="144694"/>
                  </a:cubicBezTo>
                  <a:cubicBezTo>
                    <a:pt x="191885" y="144694"/>
                    <a:pt x="194643" y="144510"/>
                    <a:pt x="197401" y="144510"/>
                  </a:cubicBezTo>
                  <a:close/>
                  <a:moveTo>
                    <a:pt x="22240" y="144510"/>
                  </a:moveTo>
                  <a:cubicBezTo>
                    <a:pt x="23159" y="144510"/>
                    <a:pt x="24079" y="144326"/>
                    <a:pt x="24998" y="144510"/>
                  </a:cubicBezTo>
                  <a:cubicBezTo>
                    <a:pt x="26286" y="144694"/>
                    <a:pt x="27389" y="145246"/>
                    <a:pt x="28124" y="146165"/>
                  </a:cubicBezTo>
                  <a:cubicBezTo>
                    <a:pt x="29228" y="147269"/>
                    <a:pt x="29779" y="148740"/>
                    <a:pt x="29596" y="150395"/>
                  </a:cubicBezTo>
                  <a:cubicBezTo>
                    <a:pt x="29596" y="150579"/>
                    <a:pt x="29596" y="150579"/>
                    <a:pt x="29596" y="150762"/>
                  </a:cubicBezTo>
                  <a:cubicBezTo>
                    <a:pt x="29596" y="162716"/>
                    <a:pt x="29596" y="174669"/>
                    <a:pt x="29596" y="186806"/>
                  </a:cubicBezTo>
                  <a:cubicBezTo>
                    <a:pt x="29596" y="187173"/>
                    <a:pt x="29596" y="187173"/>
                    <a:pt x="29964" y="187173"/>
                  </a:cubicBezTo>
                  <a:cubicBezTo>
                    <a:pt x="31618" y="187173"/>
                    <a:pt x="33273" y="187173"/>
                    <a:pt x="34929" y="187173"/>
                  </a:cubicBezTo>
                  <a:cubicBezTo>
                    <a:pt x="35848" y="187173"/>
                    <a:pt x="36767" y="187541"/>
                    <a:pt x="37687" y="187909"/>
                  </a:cubicBezTo>
                  <a:cubicBezTo>
                    <a:pt x="39342" y="189012"/>
                    <a:pt x="40262" y="190483"/>
                    <a:pt x="40262" y="192507"/>
                  </a:cubicBezTo>
                  <a:cubicBezTo>
                    <a:pt x="40262" y="193978"/>
                    <a:pt x="39709" y="195449"/>
                    <a:pt x="38422" y="196368"/>
                  </a:cubicBezTo>
                  <a:cubicBezTo>
                    <a:pt x="37687" y="196920"/>
                    <a:pt x="36767" y="197472"/>
                    <a:pt x="35664" y="197655"/>
                  </a:cubicBezTo>
                  <a:cubicBezTo>
                    <a:pt x="35664" y="197655"/>
                    <a:pt x="35480" y="197655"/>
                    <a:pt x="35480" y="197655"/>
                  </a:cubicBezTo>
                  <a:cubicBezTo>
                    <a:pt x="35480" y="197655"/>
                    <a:pt x="35296" y="197655"/>
                    <a:pt x="35296" y="197655"/>
                  </a:cubicBezTo>
                  <a:cubicBezTo>
                    <a:pt x="35296" y="197472"/>
                    <a:pt x="35112" y="197655"/>
                    <a:pt x="34929" y="197655"/>
                  </a:cubicBezTo>
                  <a:cubicBezTo>
                    <a:pt x="27572" y="197655"/>
                    <a:pt x="20217" y="197655"/>
                    <a:pt x="13045" y="197655"/>
                  </a:cubicBezTo>
                  <a:cubicBezTo>
                    <a:pt x="12861" y="197655"/>
                    <a:pt x="12861" y="197655"/>
                    <a:pt x="12678" y="197655"/>
                  </a:cubicBezTo>
                  <a:cubicBezTo>
                    <a:pt x="12493" y="197655"/>
                    <a:pt x="12310" y="197655"/>
                    <a:pt x="12126" y="197655"/>
                  </a:cubicBezTo>
                  <a:cubicBezTo>
                    <a:pt x="11942" y="197472"/>
                    <a:pt x="11758" y="197472"/>
                    <a:pt x="11574" y="197472"/>
                  </a:cubicBezTo>
                  <a:cubicBezTo>
                    <a:pt x="10655" y="197287"/>
                    <a:pt x="9919" y="196736"/>
                    <a:pt x="9183" y="196184"/>
                  </a:cubicBezTo>
                  <a:cubicBezTo>
                    <a:pt x="8080" y="195081"/>
                    <a:pt x="7528" y="193794"/>
                    <a:pt x="7528" y="192322"/>
                  </a:cubicBezTo>
                  <a:cubicBezTo>
                    <a:pt x="7528" y="191036"/>
                    <a:pt x="7896" y="189748"/>
                    <a:pt x="8999" y="188829"/>
                  </a:cubicBezTo>
                  <a:cubicBezTo>
                    <a:pt x="10103" y="187725"/>
                    <a:pt x="11390" y="187173"/>
                    <a:pt x="12861" y="187173"/>
                  </a:cubicBezTo>
                  <a:cubicBezTo>
                    <a:pt x="14700" y="187173"/>
                    <a:pt x="16539" y="187173"/>
                    <a:pt x="18194" y="187173"/>
                  </a:cubicBezTo>
                  <a:cubicBezTo>
                    <a:pt x="18378" y="187173"/>
                    <a:pt x="18562" y="187173"/>
                    <a:pt x="18562" y="186806"/>
                  </a:cubicBezTo>
                  <a:cubicBezTo>
                    <a:pt x="18562" y="176324"/>
                    <a:pt x="18562" y="166026"/>
                    <a:pt x="18562" y="155544"/>
                  </a:cubicBezTo>
                  <a:cubicBezTo>
                    <a:pt x="18562" y="155360"/>
                    <a:pt x="18562" y="155176"/>
                    <a:pt x="18194" y="155176"/>
                  </a:cubicBezTo>
                  <a:cubicBezTo>
                    <a:pt x="16907" y="155176"/>
                    <a:pt x="15435" y="155176"/>
                    <a:pt x="14149" y="155176"/>
                  </a:cubicBezTo>
                  <a:cubicBezTo>
                    <a:pt x="11942" y="155176"/>
                    <a:pt x="10287" y="154073"/>
                    <a:pt x="9183" y="152050"/>
                  </a:cubicBezTo>
                  <a:cubicBezTo>
                    <a:pt x="8632" y="150947"/>
                    <a:pt x="8632" y="149659"/>
                    <a:pt x="8999" y="148188"/>
                  </a:cubicBezTo>
                  <a:cubicBezTo>
                    <a:pt x="9735" y="146165"/>
                    <a:pt x="11758" y="144694"/>
                    <a:pt x="13964" y="144694"/>
                  </a:cubicBezTo>
                  <a:cubicBezTo>
                    <a:pt x="16723" y="144694"/>
                    <a:pt x="19482" y="144510"/>
                    <a:pt x="22240" y="144510"/>
                  </a:cubicBezTo>
                  <a:close/>
                  <a:moveTo>
                    <a:pt x="2315043" y="144463"/>
                  </a:moveTo>
                  <a:cubicBezTo>
                    <a:pt x="2317885" y="144279"/>
                    <a:pt x="2320727" y="144831"/>
                    <a:pt x="2323402" y="145934"/>
                  </a:cubicBezTo>
                  <a:cubicBezTo>
                    <a:pt x="2325241" y="146670"/>
                    <a:pt x="2326913" y="147773"/>
                    <a:pt x="2328417" y="149061"/>
                  </a:cubicBezTo>
                  <a:cubicBezTo>
                    <a:pt x="2329253" y="149796"/>
                    <a:pt x="2329922" y="150532"/>
                    <a:pt x="2330758" y="151267"/>
                  </a:cubicBezTo>
                  <a:cubicBezTo>
                    <a:pt x="2331594" y="152187"/>
                    <a:pt x="2332429" y="153291"/>
                    <a:pt x="2333099" y="154210"/>
                  </a:cubicBezTo>
                  <a:cubicBezTo>
                    <a:pt x="2333600" y="154945"/>
                    <a:pt x="2334101" y="155865"/>
                    <a:pt x="2334436" y="156600"/>
                  </a:cubicBezTo>
                  <a:cubicBezTo>
                    <a:pt x="2335104" y="157704"/>
                    <a:pt x="2335606" y="158991"/>
                    <a:pt x="2335940" y="160278"/>
                  </a:cubicBezTo>
                  <a:cubicBezTo>
                    <a:pt x="2336275" y="161013"/>
                    <a:pt x="2336442" y="161934"/>
                    <a:pt x="2336609" y="162669"/>
                  </a:cubicBezTo>
                  <a:cubicBezTo>
                    <a:pt x="2336943" y="163772"/>
                    <a:pt x="2337111" y="165059"/>
                    <a:pt x="2337278" y="166163"/>
                  </a:cubicBezTo>
                  <a:cubicBezTo>
                    <a:pt x="2337779" y="169473"/>
                    <a:pt x="2337779" y="172783"/>
                    <a:pt x="2337111" y="175909"/>
                  </a:cubicBezTo>
                  <a:cubicBezTo>
                    <a:pt x="2336943" y="177013"/>
                    <a:pt x="2336776" y="178116"/>
                    <a:pt x="2336442" y="179219"/>
                  </a:cubicBezTo>
                  <a:cubicBezTo>
                    <a:pt x="2336108" y="180139"/>
                    <a:pt x="2335940" y="180875"/>
                    <a:pt x="2335606" y="181794"/>
                  </a:cubicBezTo>
                  <a:cubicBezTo>
                    <a:pt x="2335272" y="182346"/>
                    <a:pt x="2335104" y="182897"/>
                    <a:pt x="2334937" y="183449"/>
                  </a:cubicBezTo>
                  <a:cubicBezTo>
                    <a:pt x="2334436" y="184552"/>
                    <a:pt x="2333934" y="185472"/>
                    <a:pt x="2333433" y="186391"/>
                  </a:cubicBezTo>
                  <a:cubicBezTo>
                    <a:pt x="2332931" y="187126"/>
                    <a:pt x="2332429" y="187862"/>
                    <a:pt x="2331928" y="188597"/>
                  </a:cubicBezTo>
                  <a:cubicBezTo>
                    <a:pt x="2331260" y="189518"/>
                    <a:pt x="2330424" y="190436"/>
                    <a:pt x="2329588" y="191172"/>
                  </a:cubicBezTo>
                  <a:cubicBezTo>
                    <a:pt x="2328919" y="191908"/>
                    <a:pt x="2328083" y="192460"/>
                    <a:pt x="2327414" y="193011"/>
                  </a:cubicBezTo>
                  <a:cubicBezTo>
                    <a:pt x="2326244" y="193931"/>
                    <a:pt x="2324906" y="194666"/>
                    <a:pt x="2323569" y="195218"/>
                  </a:cubicBezTo>
                  <a:cubicBezTo>
                    <a:pt x="2321898" y="195954"/>
                    <a:pt x="2320059" y="196505"/>
                    <a:pt x="2318219" y="196689"/>
                  </a:cubicBezTo>
                  <a:cubicBezTo>
                    <a:pt x="2317885" y="196689"/>
                    <a:pt x="2317718" y="196689"/>
                    <a:pt x="2317384" y="196873"/>
                  </a:cubicBezTo>
                  <a:cubicBezTo>
                    <a:pt x="2316380" y="196873"/>
                    <a:pt x="2315545" y="196873"/>
                    <a:pt x="2314541" y="196873"/>
                  </a:cubicBezTo>
                  <a:cubicBezTo>
                    <a:pt x="2314541" y="196689"/>
                    <a:pt x="2314375" y="196873"/>
                    <a:pt x="2314375" y="196873"/>
                  </a:cubicBezTo>
                  <a:cubicBezTo>
                    <a:pt x="2311198" y="196505"/>
                    <a:pt x="2308189" y="195402"/>
                    <a:pt x="2305514" y="193563"/>
                  </a:cubicBezTo>
                  <a:cubicBezTo>
                    <a:pt x="2304343" y="192827"/>
                    <a:pt x="2303341" y="191908"/>
                    <a:pt x="2302338" y="190804"/>
                  </a:cubicBezTo>
                  <a:cubicBezTo>
                    <a:pt x="2301502" y="190069"/>
                    <a:pt x="2300833" y="189150"/>
                    <a:pt x="2300164" y="188230"/>
                  </a:cubicBezTo>
                  <a:cubicBezTo>
                    <a:pt x="2299663" y="187494"/>
                    <a:pt x="2299161" y="186759"/>
                    <a:pt x="2298660" y="185839"/>
                  </a:cubicBezTo>
                  <a:cubicBezTo>
                    <a:pt x="2298158" y="184920"/>
                    <a:pt x="2297656" y="184000"/>
                    <a:pt x="2297155" y="182897"/>
                  </a:cubicBezTo>
                  <a:cubicBezTo>
                    <a:pt x="2296821" y="182161"/>
                    <a:pt x="2296653" y="181610"/>
                    <a:pt x="2296319" y="180875"/>
                  </a:cubicBezTo>
                  <a:cubicBezTo>
                    <a:pt x="2295985" y="180139"/>
                    <a:pt x="2295817" y="179403"/>
                    <a:pt x="2295651" y="178668"/>
                  </a:cubicBezTo>
                  <a:cubicBezTo>
                    <a:pt x="2295316" y="177380"/>
                    <a:pt x="2295149" y="176093"/>
                    <a:pt x="2294814" y="174806"/>
                  </a:cubicBezTo>
                  <a:cubicBezTo>
                    <a:pt x="2294648" y="174071"/>
                    <a:pt x="2294648" y="173518"/>
                    <a:pt x="2294648" y="172783"/>
                  </a:cubicBezTo>
                  <a:cubicBezTo>
                    <a:pt x="2294814" y="173335"/>
                    <a:pt x="2294981" y="173151"/>
                    <a:pt x="2294814" y="172967"/>
                  </a:cubicBezTo>
                  <a:cubicBezTo>
                    <a:pt x="2294814" y="171680"/>
                    <a:pt x="2294814" y="170392"/>
                    <a:pt x="2294814" y="169105"/>
                  </a:cubicBezTo>
                  <a:cubicBezTo>
                    <a:pt x="2294814" y="169105"/>
                    <a:pt x="2294814" y="169105"/>
                    <a:pt x="2294814" y="168921"/>
                  </a:cubicBezTo>
                  <a:cubicBezTo>
                    <a:pt x="2294814" y="167818"/>
                    <a:pt x="2294981" y="166899"/>
                    <a:pt x="2295149" y="165795"/>
                  </a:cubicBezTo>
                  <a:cubicBezTo>
                    <a:pt x="2295483" y="164508"/>
                    <a:pt x="2295483" y="163220"/>
                    <a:pt x="2295985" y="162117"/>
                  </a:cubicBezTo>
                  <a:cubicBezTo>
                    <a:pt x="2296319" y="161381"/>
                    <a:pt x="2296486" y="160646"/>
                    <a:pt x="2296653" y="159910"/>
                  </a:cubicBezTo>
                  <a:cubicBezTo>
                    <a:pt x="2297155" y="158807"/>
                    <a:pt x="2297656" y="157520"/>
                    <a:pt x="2298158" y="156416"/>
                  </a:cubicBezTo>
                  <a:cubicBezTo>
                    <a:pt x="2298660" y="155497"/>
                    <a:pt x="2299161" y="154762"/>
                    <a:pt x="2299663" y="153842"/>
                  </a:cubicBezTo>
                  <a:cubicBezTo>
                    <a:pt x="2300164" y="153106"/>
                    <a:pt x="2300666" y="152371"/>
                    <a:pt x="2301167" y="151819"/>
                  </a:cubicBezTo>
                  <a:cubicBezTo>
                    <a:pt x="2301669" y="151267"/>
                    <a:pt x="2302170" y="150716"/>
                    <a:pt x="2302672" y="150164"/>
                  </a:cubicBezTo>
                  <a:cubicBezTo>
                    <a:pt x="2303675" y="149244"/>
                    <a:pt x="2304678" y="148325"/>
                    <a:pt x="2305848" y="147590"/>
                  </a:cubicBezTo>
                  <a:cubicBezTo>
                    <a:pt x="2306684" y="147038"/>
                    <a:pt x="2307687" y="146486"/>
                    <a:pt x="2308523" y="146119"/>
                  </a:cubicBezTo>
                  <a:cubicBezTo>
                    <a:pt x="2310529" y="145199"/>
                    <a:pt x="2312703" y="144647"/>
                    <a:pt x="2315043" y="144463"/>
                  </a:cubicBezTo>
                  <a:close/>
                  <a:moveTo>
                    <a:pt x="2191496" y="144463"/>
                  </a:moveTo>
                  <a:cubicBezTo>
                    <a:pt x="2194337" y="144279"/>
                    <a:pt x="2197180" y="144831"/>
                    <a:pt x="2199854" y="145934"/>
                  </a:cubicBezTo>
                  <a:cubicBezTo>
                    <a:pt x="2201694" y="146670"/>
                    <a:pt x="2203365" y="147773"/>
                    <a:pt x="2204870" y="149061"/>
                  </a:cubicBezTo>
                  <a:cubicBezTo>
                    <a:pt x="2205706" y="149796"/>
                    <a:pt x="2206374" y="150532"/>
                    <a:pt x="2207210" y="151267"/>
                  </a:cubicBezTo>
                  <a:cubicBezTo>
                    <a:pt x="2208046" y="152187"/>
                    <a:pt x="2208882" y="153291"/>
                    <a:pt x="2209551" y="154210"/>
                  </a:cubicBezTo>
                  <a:cubicBezTo>
                    <a:pt x="2210052" y="154945"/>
                    <a:pt x="2210554" y="155865"/>
                    <a:pt x="2210888" y="156600"/>
                  </a:cubicBezTo>
                  <a:cubicBezTo>
                    <a:pt x="2211557" y="157704"/>
                    <a:pt x="2212058" y="158991"/>
                    <a:pt x="2212393" y="160278"/>
                  </a:cubicBezTo>
                  <a:cubicBezTo>
                    <a:pt x="2212727" y="161013"/>
                    <a:pt x="2212895" y="161934"/>
                    <a:pt x="2213061" y="162669"/>
                  </a:cubicBezTo>
                  <a:cubicBezTo>
                    <a:pt x="2213396" y="163772"/>
                    <a:pt x="2213563" y="165059"/>
                    <a:pt x="2213730" y="166163"/>
                  </a:cubicBezTo>
                  <a:cubicBezTo>
                    <a:pt x="2214232" y="169473"/>
                    <a:pt x="2214232" y="172783"/>
                    <a:pt x="2213563" y="175909"/>
                  </a:cubicBezTo>
                  <a:cubicBezTo>
                    <a:pt x="2213396" y="177013"/>
                    <a:pt x="2213229" y="178116"/>
                    <a:pt x="2212895" y="179219"/>
                  </a:cubicBezTo>
                  <a:cubicBezTo>
                    <a:pt x="2212560" y="180139"/>
                    <a:pt x="2212393" y="180875"/>
                    <a:pt x="2212058" y="181794"/>
                  </a:cubicBezTo>
                  <a:cubicBezTo>
                    <a:pt x="2211724" y="182346"/>
                    <a:pt x="2211557" y="182897"/>
                    <a:pt x="2211389" y="183449"/>
                  </a:cubicBezTo>
                  <a:cubicBezTo>
                    <a:pt x="2210888" y="184552"/>
                    <a:pt x="2210386" y="185472"/>
                    <a:pt x="2209885" y="186391"/>
                  </a:cubicBezTo>
                  <a:cubicBezTo>
                    <a:pt x="2209384" y="187126"/>
                    <a:pt x="2208882" y="187862"/>
                    <a:pt x="2208381" y="188597"/>
                  </a:cubicBezTo>
                  <a:cubicBezTo>
                    <a:pt x="2207712" y="189518"/>
                    <a:pt x="2206876" y="190436"/>
                    <a:pt x="2206040" y="191172"/>
                  </a:cubicBezTo>
                  <a:cubicBezTo>
                    <a:pt x="2205371" y="191908"/>
                    <a:pt x="2204535" y="192460"/>
                    <a:pt x="2203867" y="193011"/>
                  </a:cubicBezTo>
                  <a:cubicBezTo>
                    <a:pt x="2202696" y="193931"/>
                    <a:pt x="2201359" y="194666"/>
                    <a:pt x="2200022" y="195218"/>
                  </a:cubicBezTo>
                  <a:cubicBezTo>
                    <a:pt x="2198350" y="195954"/>
                    <a:pt x="2196511" y="196505"/>
                    <a:pt x="2194672" y="196689"/>
                  </a:cubicBezTo>
                  <a:cubicBezTo>
                    <a:pt x="2194337" y="196689"/>
                    <a:pt x="2194171" y="196689"/>
                    <a:pt x="2193836" y="196873"/>
                  </a:cubicBezTo>
                  <a:cubicBezTo>
                    <a:pt x="2192833" y="196873"/>
                    <a:pt x="2191997" y="196873"/>
                    <a:pt x="2190994" y="196873"/>
                  </a:cubicBezTo>
                  <a:cubicBezTo>
                    <a:pt x="2190994" y="196689"/>
                    <a:pt x="2190827" y="196873"/>
                    <a:pt x="2190827" y="196873"/>
                  </a:cubicBezTo>
                  <a:cubicBezTo>
                    <a:pt x="2187650" y="196505"/>
                    <a:pt x="2184641" y="195402"/>
                    <a:pt x="2181966" y="193563"/>
                  </a:cubicBezTo>
                  <a:cubicBezTo>
                    <a:pt x="2180796" y="192827"/>
                    <a:pt x="2179793" y="191908"/>
                    <a:pt x="2178790" y="190804"/>
                  </a:cubicBezTo>
                  <a:cubicBezTo>
                    <a:pt x="2177954" y="190069"/>
                    <a:pt x="2177285" y="189150"/>
                    <a:pt x="2176616" y="188230"/>
                  </a:cubicBezTo>
                  <a:cubicBezTo>
                    <a:pt x="2176115" y="187494"/>
                    <a:pt x="2175613" y="186759"/>
                    <a:pt x="2175112" y="185839"/>
                  </a:cubicBezTo>
                  <a:cubicBezTo>
                    <a:pt x="2174610" y="184920"/>
                    <a:pt x="2174109" y="184000"/>
                    <a:pt x="2173608" y="182897"/>
                  </a:cubicBezTo>
                  <a:cubicBezTo>
                    <a:pt x="2173273" y="182161"/>
                    <a:pt x="2173106" y="181610"/>
                    <a:pt x="2172772" y="180875"/>
                  </a:cubicBezTo>
                  <a:cubicBezTo>
                    <a:pt x="2172437" y="180139"/>
                    <a:pt x="2172270" y="179403"/>
                    <a:pt x="2172103" y="178668"/>
                  </a:cubicBezTo>
                  <a:cubicBezTo>
                    <a:pt x="2171769" y="177380"/>
                    <a:pt x="2171601" y="176093"/>
                    <a:pt x="2171267" y="174806"/>
                  </a:cubicBezTo>
                  <a:cubicBezTo>
                    <a:pt x="2171100" y="174071"/>
                    <a:pt x="2171100" y="173518"/>
                    <a:pt x="2171100" y="172783"/>
                  </a:cubicBezTo>
                  <a:cubicBezTo>
                    <a:pt x="2171267" y="173335"/>
                    <a:pt x="2171434" y="173151"/>
                    <a:pt x="2171267" y="172967"/>
                  </a:cubicBezTo>
                  <a:cubicBezTo>
                    <a:pt x="2171267" y="171680"/>
                    <a:pt x="2171267" y="170392"/>
                    <a:pt x="2171267" y="169105"/>
                  </a:cubicBezTo>
                  <a:cubicBezTo>
                    <a:pt x="2171267" y="169105"/>
                    <a:pt x="2171267" y="169105"/>
                    <a:pt x="2171267" y="168921"/>
                  </a:cubicBezTo>
                  <a:cubicBezTo>
                    <a:pt x="2171267" y="167818"/>
                    <a:pt x="2171434" y="166899"/>
                    <a:pt x="2171601" y="165795"/>
                  </a:cubicBezTo>
                  <a:cubicBezTo>
                    <a:pt x="2171936" y="164508"/>
                    <a:pt x="2171936" y="163220"/>
                    <a:pt x="2172437" y="162117"/>
                  </a:cubicBezTo>
                  <a:cubicBezTo>
                    <a:pt x="2172772" y="161381"/>
                    <a:pt x="2172938" y="160646"/>
                    <a:pt x="2173106" y="159910"/>
                  </a:cubicBezTo>
                  <a:cubicBezTo>
                    <a:pt x="2173608" y="158807"/>
                    <a:pt x="2174109" y="157520"/>
                    <a:pt x="2174610" y="156416"/>
                  </a:cubicBezTo>
                  <a:cubicBezTo>
                    <a:pt x="2175112" y="155497"/>
                    <a:pt x="2175613" y="154762"/>
                    <a:pt x="2176115" y="153842"/>
                  </a:cubicBezTo>
                  <a:cubicBezTo>
                    <a:pt x="2176616" y="153106"/>
                    <a:pt x="2177118" y="152371"/>
                    <a:pt x="2177620" y="151819"/>
                  </a:cubicBezTo>
                  <a:cubicBezTo>
                    <a:pt x="2178121" y="151267"/>
                    <a:pt x="2178623" y="150716"/>
                    <a:pt x="2179124" y="150164"/>
                  </a:cubicBezTo>
                  <a:cubicBezTo>
                    <a:pt x="2180127" y="149244"/>
                    <a:pt x="2181131" y="148325"/>
                    <a:pt x="2182300" y="147590"/>
                  </a:cubicBezTo>
                  <a:cubicBezTo>
                    <a:pt x="2183137" y="147038"/>
                    <a:pt x="2184139" y="146486"/>
                    <a:pt x="2184975" y="146119"/>
                  </a:cubicBezTo>
                  <a:cubicBezTo>
                    <a:pt x="2186982" y="145199"/>
                    <a:pt x="2189155" y="144647"/>
                    <a:pt x="2191496" y="144463"/>
                  </a:cubicBezTo>
                  <a:close/>
                  <a:moveTo>
                    <a:pt x="2078088" y="144463"/>
                  </a:moveTo>
                  <a:cubicBezTo>
                    <a:pt x="2080929" y="144279"/>
                    <a:pt x="2083771" y="144831"/>
                    <a:pt x="2086446" y="145934"/>
                  </a:cubicBezTo>
                  <a:cubicBezTo>
                    <a:pt x="2088285" y="146670"/>
                    <a:pt x="2089957" y="147773"/>
                    <a:pt x="2091462" y="149061"/>
                  </a:cubicBezTo>
                  <a:cubicBezTo>
                    <a:pt x="2092297" y="149796"/>
                    <a:pt x="2092966" y="150532"/>
                    <a:pt x="2093802" y="151267"/>
                  </a:cubicBezTo>
                  <a:cubicBezTo>
                    <a:pt x="2094638" y="152187"/>
                    <a:pt x="2095474" y="153291"/>
                    <a:pt x="2096143" y="154210"/>
                  </a:cubicBezTo>
                  <a:cubicBezTo>
                    <a:pt x="2096644" y="154945"/>
                    <a:pt x="2097145" y="155865"/>
                    <a:pt x="2097480" y="156600"/>
                  </a:cubicBezTo>
                  <a:cubicBezTo>
                    <a:pt x="2098149" y="157704"/>
                    <a:pt x="2098650" y="158991"/>
                    <a:pt x="2098984" y="160278"/>
                  </a:cubicBezTo>
                  <a:cubicBezTo>
                    <a:pt x="2099319" y="161013"/>
                    <a:pt x="2099486" y="161934"/>
                    <a:pt x="2099653" y="162669"/>
                  </a:cubicBezTo>
                  <a:cubicBezTo>
                    <a:pt x="2099988" y="163772"/>
                    <a:pt x="2100155" y="165059"/>
                    <a:pt x="2100322" y="166163"/>
                  </a:cubicBezTo>
                  <a:cubicBezTo>
                    <a:pt x="2100824" y="169473"/>
                    <a:pt x="2100824" y="172783"/>
                    <a:pt x="2100155" y="175909"/>
                  </a:cubicBezTo>
                  <a:cubicBezTo>
                    <a:pt x="2099988" y="177013"/>
                    <a:pt x="2099820" y="178116"/>
                    <a:pt x="2099486" y="179219"/>
                  </a:cubicBezTo>
                  <a:cubicBezTo>
                    <a:pt x="2099152" y="180139"/>
                    <a:pt x="2098984" y="180875"/>
                    <a:pt x="2098650" y="181794"/>
                  </a:cubicBezTo>
                  <a:cubicBezTo>
                    <a:pt x="2098316" y="182346"/>
                    <a:pt x="2098149" y="182897"/>
                    <a:pt x="2097981" y="183449"/>
                  </a:cubicBezTo>
                  <a:cubicBezTo>
                    <a:pt x="2097480" y="184552"/>
                    <a:pt x="2096978" y="185472"/>
                    <a:pt x="2096477" y="186391"/>
                  </a:cubicBezTo>
                  <a:cubicBezTo>
                    <a:pt x="2095976" y="187126"/>
                    <a:pt x="2095474" y="187862"/>
                    <a:pt x="2094972" y="188597"/>
                  </a:cubicBezTo>
                  <a:cubicBezTo>
                    <a:pt x="2094304" y="189518"/>
                    <a:pt x="2093468" y="190436"/>
                    <a:pt x="2092632" y="191172"/>
                  </a:cubicBezTo>
                  <a:cubicBezTo>
                    <a:pt x="2091963" y="191908"/>
                    <a:pt x="2091127" y="192460"/>
                    <a:pt x="2090458" y="193011"/>
                  </a:cubicBezTo>
                  <a:cubicBezTo>
                    <a:pt x="2089288" y="193931"/>
                    <a:pt x="2087951" y="194666"/>
                    <a:pt x="2086614" y="195218"/>
                  </a:cubicBezTo>
                  <a:cubicBezTo>
                    <a:pt x="2084942" y="195954"/>
                    <a:pt x="2083103" y="196505"/>
                    <a:pt x="2081264" y="196689"/>
                  </a:cubicBezTo>
                  <a:cubicBezTo>
                    <a:pt x="2080929" y="196689"/>
                    <a:pt x="2080762" y="196689"/>
                    <a:pt x="2080428" y="196873"/>
                  </a:cubicBezTo>
                  <a:cubicBezTo>
                    <a:pt x="2079425" y="196873"/>
                    <a:pt x="2078589" y="196873"/>
                    <a:pt x="2077586" y="196873"/>
                  </a:cubicBezTo>
                  <a:cubicBezTo>
                    <a:pt x="2077586" y="196689"/>
                    <a:pt x="2077418" y="196873"/>
                    <a:pt x="2077418" y="196873"/>
                  </a:cubicBezTo>
                  <a:cubicBezTo>
                    <a:pt x="2074242" y="196505"/>
                    <a:pt x="2071233" y="195402"/>
                    <a:pt x="2068558" y="193563"/>
                  </a:cubicBezTo>
                  <a:cubicBezTo>
                    <a:pt x="2067388" y="192827"/>
                    <a:pt x="2066385" y="191908"/>
                    <a:pt x="2065382" y="190804"/>
                  </a:cubicBezTo>
                  <a:cubicBezTo>
                    <a:pt x="2064545" y="190069"/>
                    <a:pt x="2063877" y="189150"/>
                    <a:pt x="2063208" y="188230"/>
                  </a:cubicBezTo>
                  <a:cubicBezTo>
                    <a:pt x="2062707" y="187494"/>
                    <a:pt x="2062205" y="186759"/>
                    <a:pt x="2061704" y="185839"/>
                  </a:cubicBezTo>
                  <a:cubicBezTo>
                    <a:pt x="2061202" y="184920"/>
                    <a:pt x="2060701" y="184000"/>
                    <a:pt x="2060199" y="182897"/>
                  </a:cubicBezTo>
                  <a:cubicBezTo>
                    <a:pt x="2059865" y="182161"/>
                    <a:pt x="2059698" y="181610"/>
                    <a:pt x="2059364" y="180875"/>
                  </a:cubicBezTo>
                  <a:cubicBezTo>
                    <a:pt x="2059029" y="180139"/>
                    <a:pt x="2058862" y="179403"/>
                    <a:pt x="2058694" y="178668"/>
                  </a:cubicBezTo>
                  <a:cubicBezTo>
                    <a:pt x="2058360" y="177380"/>
                    <a:pt x="2058193" y="176093"/>
                    <a:pt x="2057858" y="174806"/>
                  </a:cubicBezTo>
                  <a:cubicBezTo>
                    <a:pt x="2057692" y="174071"/>
                    <a:pt x="2057692" y="173518"/>
                    <a:pt x="2057692" y="172783"/>
                  </a:cubicBezTo>
                  <a:cubicBezTo>
                    <a:pt x="2057858" y="173335"/>
                    <a:pt x="2058026" y="173151"/>
                    <a:pt x="2057858" y="172967"/>
                  </a:cubicBezTo>
                  <a:cubicBezTo>
                    <a:pt x="2057858" y="171680"/>
                    <a:pt x="2057858" y="170392"/>
                    <a:pt x="2057858" y="169105"/>
                  </a:cubicBezTo>
                  <a:cubicBezTo>
                    <a:pt x="2057858" y="169105"/>
                    <a:pt x="2057858" y="169105"/>
                    <a:pt x="2057858" y="168921"/>
                  </a:cubicBezTo>
                  <a:cubicBezTo>
                    <a:pt x="2057858" y="167818"/>
                    <a:pt x="2058026" y="166899"/>
                    <a:pt x="2058193" y="165795"/>
                  </a:cubicBezTo>
                  <a:cubicBezTo>
                    <a:pt x="2058528" y="164508"/>
                    <a:pt x="2058528" y="163220"/>
                    <a:pt x="2059029" y="162117"/>
                  </a:cubicBezTo>
                  <a:cubicBezTo>
                    <a:pt x="2059364" y="161381"/>
                    <a:pt x="2059530" y="160646"/>
                    <a:pt x="2059698" y="159910"/>
                  </a:cubicBezTo>
                  <a:cubicBezTo>
                    <a:pt x="2060199" y="158807"/>
                    <a:pt x="2060701" y="157520"/>
                    <a:pt x="2061202" y="156416"/>
                  </a:cubicBezTo>
                  <a:cubicBezTo>
                    <a:pt x="2061704" y="155497"/>
                    <a:pt x="2062205" y="154762"/>
                    <a:pt x="2062707" y="153842"/>
                  </a:cubicBezTo>
                  <a:cubicBezTo>
                    <a:pt x="2063208" y="153106"/>
                    <a:pt x="2063710" y="152371"/>
                    <a:pt x="2064212" y="151819"/>
                  </a:cubicBezTo>
                  <a:cubicBezTo>
                    <a:pt x="2064713" y="151267"/>
                    <a:pt x="2065215" y="150716"/>
                    <a:pt x="2065716" y="150164"/>
                  </a:cubicBezTo>
                  <a:cubicBezTo>
                    <a:pt x="2066719" y="149244"/>
                    <a:pt x="2067722" y="148325"/>
                    <a:pt x="2068892" y="147590"/>
                  </a:cubicBezTo>
                  <a:cubicBezTo>
                    <a:pt x="2069729" y="147038"/>
                    <a:pt x="2070731" y="146486"/>
                    <a:pt x="2071567" y="146119"/>
                  </a:cubicBezTo>
                  <a:cubicBezTo>
                    <a:pt x="2073574" y="145199"/>
                    <a:pt x="2075747" y="144647"/>
                    <a:pt x="2078088" y="144463"/>
                  </a:cubicBezTo>
                  <a:close/>
                  <a:moveTo>
                    <a:pt x="1841172" y="144463"/>
                  </a:moveTo>
                  <a:cubicBezTo>
                    <a:pt x="1844013" y="144279"/>
                    <a:pt x="1846856" y="144831"/>
                    <a:pt x="1849531" y="145934"/>
                  </a:cubicBezTo>
                  <a:cubicBezTo>
                    <a:pt x="1851370" y="146670"/>
                    <a:pt x="1853041" y="147773"/>
                    <a:pt x="1854546" y="149061"/>
                  </a:cubicBezTo>
                  <a:cubicBezTo>
                    <a:pt x="1855382" y="149796"/>
                    <a:pt x="1856050" y="150532"/>
                    <a:pt x="1856886" y="151267"/>
                  </a:cubicBezTo>
                  <a:cubicBezTo>
                    <a:pt x="1857722" y="152187"/>
                    <a:pt x="1858558" y="153291"/>
                    <a:pt x="1859227" y="154210"/>
                  </a:cubicBezTo>
                  <a:cubicBezTo>
                    <a:pt x="1859729" y="154945"/>
                    <a:pt x="1860230" y="155865"/>
                    <a:pt x="1860564" y="156600"/>
                  </a:cubicBezTo>
                  <a:cubicBezTo>
                    <a:pt x="1861233" y="157704"/>
                    <a:pt x="1861734" y="158991"/>
                    <a:pt x="1862069" y="160278"/>
                  </a:cubicBezTo>
                  <a:cubicBezTo>
                    <a:pt x="1862403" y="161013"/>
                    <a:pt x="1862571" y="161934"/>
                    <a:pt x="1862737" y="162669"/>
                  </a:cubicBezTo>
                  <a:cubicBezTo>
                    <a:pt x="1863072" y="163772"/>
                    <a:pt x="1863239" y="165059"/>
                    <a:pt x="1863406" y="166163"/>
                  </a:cubicBezTo>
                  <a:cubicBezTo>
                    <a:pt x="1863908" y="169473"/>
                    <a:pt x="1863908" y="172783"/>
                    <a:pt x="1863239" y="175909"/>
                  </a:cubicBezTo>
                  <a:cubicBezTo>
                    <a:pt x="1863072" y="177013"/>
                    <a:pt x="1862905" y="178116"/>
                    <a:pt x="1862571" y="179219"/>
                  </a:cubicBezTo>
                  <a:cubicBezTo>
                    <a:pt x="1862236" y="180139"/>
                    <a:pt x="1862069" y="180875"/>
                    <a:pt x="1861734" y="181794"/>
                  </a:cubicBezTo>
                  <a:cubicBezTo>
                    <a:pt x="1861400" y="182346"/>
                    <a:pt x="1861233" y="182897"/>
                    <a:pt x="1861066" y="183449"/>
                  </a:cubicBezTo>
                  <a:cubicBezTo>
                    <a:pt x="1860564" y="184552"/>
                    <a:pt x="1860062" y="185472"/>
                    <a:pt x="1859561" y="186391"/>
                  </a:cubicBezTo>
                  <a:cubicBezTo>
                    <a:pt x="1859060" y="187126"/>
                    <a:pt x="1858558" y="187862"/>
                    <a:pt x="1858057" y="188597"/>
                  </a:cubicBezTo>
                  <a:cubicBezTo>
                    <a:pt x="1857388" y="189518"/>
                    <a:pt x="1856552" y="190436"/>
                    <a:pt x="1855716" y="191172"/>
                  </a:cubicBezTo>
                  <a:cubicBezTo>
                    <a:pt x="1855047" y="191908"/>
                    <a:pt x="1854211" y="192460"/>
                    <a:pt x="1853543" y="193011"/>
                  </a:cubicBezTo>
                  <a:cubicBezTo>
                    <a:pt x="1852372" y="193931"/>
                    <a:pt x="1851035" y="194666"/>
                    <a:pt x="1849698" y="195218"/>
                  </a:cubicBezTo>
                  <a:cubicBezTo>
                    <a:pt x="1848026" y="195954"/>
                    <a:pt x="1846187" y="196505"/>
                    <a:pt x="1844348" y="196689"/>
                  </a:cubicBezTo>
                  <a:cubicBezTo>
                    <a:pt x="1844013" y="196689"/>
                    <a:pt x="1843847" y="196689"/>
                    <a:pt x="1843512" y="196873"/>
                  </a:cubicBezTo>
                  <a:cubicBezTo>
                    <a:pt x="1842509" y="196873"/>
                    <a:pt x="1841673" y="196873"/>
                    <a:pt x="1840670" y="196873"/>
                  </a:cubicBezTo>
                  <a:cubicBezTo>
                    <a:pt x="1840670" y="196689"/>
                    <a:pt x="1840503" y="196873"/>
                    <a:pt x="1840503" y="196873"/>
                  </a:cubicBezTo>
                  <a:cubicBezTo>
                    <a:pt x="1837326" y="196505"/>
                    <a:pt x="1834318" y="195402"/>
                    <a:pt x="1831643" y="193563"/>
                  </a:cubicBezTo>
                  <a:cubicBezTo>
                    <a:pt x="1830472" y="192827"/>
                    <a:pt x="1829469" y="191908"/>
                    <a:pt x="1828466" y="190804"/>
                  </a:cubicBezTo>
                  <a:cubicBezTo>
                    <a:pt x="1827630" y="190069"/>
                    <a:pt x="1826961" y="189150"/>
                    <a:pt x="1826293" y="188230"/>
                  </a:cubicBezTo>
                  <a:cubicBezTo>
                    <a:pt x="1825791" y="187494"/>
                    <a:pt x="1825289" y="186759"/>
                    <a:pt x="1824788" y="185839"/>
                  </a:cubicBezTo>
                  <a:cubicBezTo>
                    <a:pt x="1824286" y="184920"/>
                    <a:pt x="1823785" y="184000"/>
                    <a:pt x="1823284" y="182897"/>
                  </a:cubicBezTo>
                  <a:cubicBezTo>
                    <a:pt x="1822949" y="182161"/>
                    <a:pt x="1822782" y="181610"/>
                    <a:pt x="1822448" y="180875"/>
                  </a:cubicBezTo>
                  <a:cubicBezTo>
                    <a:pt x="1822113" y="180139"/>
                    <a:pt x="1821946" y="179403"/>
                    <a:pt x="1821779" y="178668"/>
                  </a:cubicBezTo>
                  <a:cubicBezTo>
                    <a:pt x="1821445" y="177380"/>
                    <a:pt x="1821277" y="176093"/>
                    <a:pt x="1820943" y="174806"/>
                  </a:cubicBezTo>
                  <a:cubicBezTo>
                    <a:pt x="1820776" y="174071"/>
                    <a:pt x="1820776" y="173518"/>
                    <a:pt x="1820776" y="172783"/>
                  </a:cubicBezTo>
                  <a:cubicBezTo>
                    <a:pt x="1820943" y="173335"/>
                    <a:pt x="1821110" y="173151"/>
                    <a:pt x="1820943" y="172967"/>
                  </a:cubicBezTo>
                  <a:cubicBezTo>
                    <a:pt x="1820943" y="171680"/>
                    <a:pt x="1820943" y="170392"/>
                    <a:pt x="1820943" y="169105"/>
                  </a:cubicBezTo>
                  <a:cubicBezTo>
                    <a:pt x="1820943" y="169105"/>
                    <a:pt x="1820943" y="169105"/>
                    <a:pt x="1820943" y="168921"/>
                  </a:cubicBezTo>
                  <a:cubicBezTo>
                    <a:pt x="1820943" y="167818"/>
                    <a:pt x="1821110" y="166899"/>
                    <a:pt x="1821277" y="165795"/>
                  </a:cubicBezTo>
                  <a:cubicBezTo>
                    <a:pt x="1821612" y="164508"/>
                    <a:pt x="1821612" y="163220"/>
                    <a:pt x="1822113" y="162117"/>
                  </a:cubicBezTo>
                  <a:cubicBezTo>
                    <a:pt x="1822448" y="161381"/>
                    <a:pt x="1822615" y="160646"/>
                    <a:pt x="1822782" y="159910"/>
                  </a:cubicBezTo>
                  <a:cubicBezTo>
                    <a:pt x="1823284" y="158807"/>
                    <a:pt x="1823785" y="157520"/>
                    <a:pt x="1824286" y="156416"/>
                  </a:cubicBezTo>
                  <a:cubicBezTo>
                    <a:pt x="1824788" y="155497"/>
                    <a:pt x="1825289" y="154762"/>
                    <a:pt x="1825791" y="153842"/>
                  </a:cubicBezTo>
                  <a:cubicBezTo>
                    <a:pt x="1826293" y="153106"/>
                    <a:pt x="1826795" y="152371"/>
                    <a:pt x="1827296" y="151819"/>
                  </a:cubicBezTo>
                  <a:cubicBezTo>
                    <a:pt x="1827797" y="151267"/>
                    <a:pt x="1828299" y="150716"/>
                    <a:pt x="1828800" y="150164"/>
                  </a:cubicBezTo>
                  <a:cubicBezTo>
                    <a:pt x="1829804" y="149244"/>
                    <a:pt x="1830807" y="148325"/>
                    <a:pt x="1831977" y="147590"/>
                  </a:cubicBezTo>
                  <a:cubicBezTo>
                    <a:pt x="1832813" y="147038"/>
                    <a:pt x="1833816" y="146486"/>
                    <a:pt x="1834651" y="146119"/>
                  </a:cubicBezTo>
                  <a:cubicBezTo>
                    <a:pt x="1836658" y="145199"/>
                    <a:pt x="1838831" y="144647"/>
                    <a:pt x="1841172" y="144463"/>
                  </a:cubicBezTo>
                  <a:close/>
                  <a:moveTo>
                    <a:pt x="1717615" y="144463"/>
                  </a:moveTo>
                  <a:cubicBezTo>
                    <a:pt x="1720456" y="144279"/>
                    <a:pt x="1723299" y="144831"/>
                    <a:pt x="1725974" y="145934"/>
                  </a:cubicBezTo>
                  <a:cubicBezTo>
                    <a:pt x="1727813" y="146670"/>
                    <a:pt x="1729484" y="147773"/>
                    <a:pt x="1730989" y="149061"/>
                  </a:cubicBezTo>
                  <a:cubicBezTo>
                    <a:pt x="1731825" y="149796"/>
                    <a:pt x="1732493" y="150532"/>
                    <a:pt x="1733329" y="151267"/>
                  </a:cubicBezTo>
                  <a:cubicBezTo>
                    <a:pt x="1734165" y="152187"/>
                    <a:pt x="1735001" y="153291"/>
                    <a:pt x="1735670" y="154210"/>
                  </a:cubicBezTo>
                  <a:cubicBezTo>
                    <a:pt x="1736171" y="154945"/>
                    <a:pt x="1736673" y="155865"/>
                    <a:pt x="1737007" y="156600"/>
                  </a:cubicBezTo>
                  <a:cubicBezTo>
                    <a:pt x="1737676" y="157704"/>
                    <a:pt x="1738177" y="158991"/>
                    <a:pt x="1738512" y="160278"/>
                  </a:cubicBezTo>
                  <a:cubicBezTo>
                    <a:pt x="1738846" y="161013"/>
                    <a:pt x="1739014" y="161934"/>
                    <a:pt x="1739180" y="162669"/>
                  </a:cubicBezTo>
                  <a:cubicBezTo>
                    <a:pt x="1739515" y="163772"/>
                    <a:pt x="1739682" y="165059"/>
                    <a:pt x="1739849" y="166163"/>
                  </a:cubicBezTo>
                  <a:cubicBezTo>
                    <a:pt x="1740351" y="169473"/>
                    <a:pt x="1740351" y="172783"/>
                    <a:pt x="1739682" y="175909"/>
                  </a:cubicBezTo>
                  <a:cubicBezTo>
                    <a:pt x="1739515" y="177013"/>
                    <a:pt x="1739348" y="178116"/>
                    <a:pt x="1739014" y="179219"/>
                  </a:cubicBezTo>
                  <a:cubicBezTo>
                    <a:pt x="1738679" y="180139"/>
                    <a:pt x="1738512" y="180875"/>
                    <a:pt x="1738177" y="181794"/>
                  </a:cubicBezTo>
                  <a:cubicBezTo>
                    <a:pt x="1737843" y="182346"/>
                    <a:pt x="1737676" y="182897"/>
                    <a:pt x="1737509" y="183449"/>
                  </a:cubicBezTo>
                  <a:cubicBezTo>
                    <a:pt x="1737007" y="184552"/>
                    <a:pt x="1736505" y="185472"/>
                    <a:pt x="1736004" y="186391"/>
                  </a:cubicBezTo>
                  <a:cubicBezTo>
                    <a:pt x="1735503" y="187126"/>
                    <a:pt x="1735001" y="187862"/>
                    <a:pt x="1734500" y="188597"/>
                  </a:cubicBezTo>
                  <a:cubicBezTo>
                    <a:pt x="1733831" y="189518"/>
                    <a:pt x="1732995" y="190436"/>
                    <a:pt x="1732159" y="191172"/>
                  </a:cubicBezTo>
                  <a:cubicBezTo>
                    <a:pt x="1731490" y="191908"/>
                    <a:pt x="1730654" y="192460"/>
                    <a:pt x="1729986" y="193011"/>
                  </a:cubicBezTo>
                  <a:cubicBezTo>
                    <a:pt x="1728815" y="193931"/>
                    <a:pt x="1727478" y="194666"/>
                    <a:pt x="1726141" y="195218"/>
                  </a:cubicBezTo>
                  <a:cubicBezTo>
                    <a:pt x="1724469" y="195954"/>
                    <a:pt x="1722630" y="196505"/>
                    <a:pt x="1720791" y="196689"/>
                  </a:cubicBezTo>
                  <a:cubicBezTo>
                    <a:pt x="1720456" y="196689"/>
                    <a:pt x="1720290" y="196689"/>
                    <a:pt x="1719955" y="196873"/>
                  </a:cubicBezTo>
                  <a:cubicBezTo>
                    <a:pt x="1718952" y="196873"/>
                    <a:pt x="1718116" y="196873"/>
                    <a:pt x="1717113" y="196873"/>
                  </a:cubicBezTo>
                  <a:cubicBezTo>
                    <a:pt x="1717113" y="196689"/>
                    <a:pt x="1716946" y="196873"/>
                    <a:pt x="1716946" y="196873"/>
                  </a:cubicBezTo>
                  <a:cubicBezTo>
                    <a:pt x="1713769" y="196505"/>
                    <a:pt x="1710760" y="195402"/>
                    <a:pt x="1708085" y="193563"/>
                  </a:cubicBezTo>
                  <a:cubicBezTo>
                    <a:pt x="1706915" y="192827"/>
                    <a:pt x="1705912" y="191908"/>
                    <a:pt x="1704909" y="190804"/>
                  </a:cubicBezTo>
                  <a:cubicBezTo>
                    <a:pt x="1704073" y="190069"/>
                    <a:pt x="1703404" y="189150"/>
                    <a:pt x="1702736" y="188230"/>
                  </a:cubicBezTo>
                  <a:cubicBezTo>
                    <a:pt x="1702234" y="187494"/>
                    <a:pt x="1701732" y="186759"/>
                    <a:pt x="1701231" y="185839"/>
                  </a:cubicBezTo>
                  <a:cubicBezTo>
                    <a:pt x="1700729" y="184920"/>
                    <a:pt x="1700228" y="184000"/>
                    <a:pt x="1699727" y="182897"/>
                  </a:cubicBezTo>
                  <a:cubicBezTo>
                    <a:pt x="1699392" y="182161"/>
                    <a:pt x="1699225" y="181610"/>
                    <a:pt x="1698891" y="180875"/>
                  </a:cubicBezTo>
                  <a:cubicBezTo>
                    <a:pt x="1698556" y="180139"/>
                    <a:pt x="1698389" y="179403"/>
                    <a:pt x="1698222" y="178668"/>
                  </a:cubicBezTo>
                  <a:cubicBezTo>
                    <a:pt x="1697888" y="177380"/>
                    <a:pt x="1697720" y="176093"/>
                    <a:pt x="1697386" y="174806"/>
                  </a:cubicBezTo>
                  <a:cubicBezTo>
                    <a:pt x="1697219" y="174071"/>
                    <a:pt x="1697219" y="173518"/>
                    <a:pt x="1697219" y="172783"/>
                  </a:cubicBezTo>
                  <a:cubicBezTo>
                    <a:pt x="1697386" y="173335"/>
                    <a:pt x="1697553" y="173151"/>
                    <a:pt x="1697386" y="172967"/>
                  </a:cubicBezTo>
                  <a:cubicBezTo>
                    <a:pt x="1697386" y="171680"/>
                    <a:pt x="1697386" y="170392"/>
                    <a:pt x="1697386" y="169105"/>
                  </a:cubicBezTo>
                  <a:cubicBezTo>
                    <a:pt x="1697386" y="169105"/>
                    <a:pt x="1697386" y="169105"/>
                    <a:pt x="1697386" y="168921"/>
                  </a:cubicBezTo>
                  <a:cubicBezTo>
                    <a:pt x="1697386" y="167818"/>
                    <a:pt x="1697553" y="166899"/>
                    <a:pt x="1697720" y="165795"/>
                  </a:cubicBezTo>
                  <a:cubicBezTo>
                    <a:pt x="1698055" y="164508"/>
                    <a:pt x="1698055" y="163220"/>
                    <a:pt x="1698556" y="162117"/>
                  </a:cubicBezTo>
                  <a:cubicBezTo>
                    <a:pt x="1698891" y="161381"/>
                    <a:pt x="1699057" y="160646"/>
                    <a:pt x="1699225" y="159910"/>
                  </a:cubicBezTo>
                  <a:cubicBezTo>
                    <a:pt x="1699727" y="158807"/>
                    <a:pt x="1700228" y="157520"/>
                    <a:pt x="1700729" y="156416"/>
                  </a:cubicBezTo>
                  <a:cubicBezTo>
                    <a:pt x="1701231" y="155497"/>
                    <a:pt x="1701732" y="154762"/>
                    <a:pt x="1702234" y="153842"/>
                  </a:cubicBezTo>
                  <a:cubicBezTo>
                    <a:pt x="1702736" y="153106"/>
                    <a:pt x="1703238" y="152371"/>
                    <a:pt x="1703739" y="151819"/>
                  </a:cubicBezTo>
                  <a:cubicBezTo>
                    <a:pt x="1704240" y="151267"/>
                    <a:pt x="1704742" y="150716"/>
                    <a:pt x="1705243" y="150164"/>
                  </a:cubicBezTo>
                  <a:cubicBezTo>
                    <a:pt x="1706246" y="149244"/>
                    <a:pt x="1707250" y="148325"/>
                    <a:pt x="1708419" y="147590"/>
                  </a:cubicBezTo>
                  <a:cubicBezTo>
                    <a:pt x="1709256" y="147038"/>
                    <a:pt x="1710258" y="146486"/>
                    <a:pt x="1711094" y="146119"/>
                  </a:cubicBezTo>
                  <a:cubicBezTo>
                    <a:pt x="1713101" y="145199"/>
                    <a:pt x="1715274" y="144647"/>
                    <a:pt x="1717615" y="144463"/>
                  </a:cubicBezTo>
                  <a:close/>
                  <a:moveTo>
                    <a:pt x="1552602" y="144463"/>
                  </a:moveTo>
                  <a:cubicBezTo>
                    <a:pt x="1555443" y="144279"/>
                    <a:pt x="1558286" y="144831"/>
                    <a:pt x="1560961" y="145934"/>
                  </a:cubicBezTo>
                  <a:cubicBezTo>
                    <a:pt x="1562800" y="146670"/>
                    <a:pt x="1564471" y="147773"/>
                    <a:pt x="1565976" y="149061"/>
                  </a:cubicBezTo>
                  <a:cubicBezTo>
                    <a:pt x="1566812" y="149796"/>
                    <a:pt x="1567480" y="150532"/>
                    <a:pt x="1568316" y="151267"/>
                  </a:cubicBezTo>
                  <a:cubicBezTo>
                    <a:pt x="1569152" y="152187"/>
                    <a:pt x="1569988" y="153291"/>
                    <a:pt x="1570657" y="154210"/>
                  </a:cubicBezTo>
                  <a:cubicBezTo>
                    <a:pt x="1571158" y="154945"/>
                    <a:pt x="1571660" y="155865"/>
                    <a:pt x="1571994" y="156600"/>
                  </a:cubicBezTo>
                  <a:cubicBezTo>
                    <a:pt x="1572663" y="157704"/>
                    <a:pt x="1573164" y="158991"/>
                    <a:pt x="1573499" y="160278"/>
                  </a:cubicBezTo>
                  <a:cubicBezTo>
                    <a:pt x="1573833" y="161013"/>
                    <a:pt x="1574001" y="161934"/>
                    <a:pt x="1574167" y="162669"/>
                  </a:cubicBezTo>
                  <a:cubicBezTo>
                    <a:pt x="1574502" y="163772"/>
                    <a:pt x="1574669" y="165059"/>
                    <a:pt x="1574836" y="166163"/>
                  </a:cubicBezTo>
                  <a:cubicBezTo>
                    <a:pt x="1575338" y="169473"/>
                    <a:pt x="1575338" y="172783"/>
                    <a:pt x="1574669" y="175909"/>
                  </a:cubicBezTo>
                  <a:cubicBezTo>
                    <a:pt x="1574502" y="177013"/>
                    <a:pt x="1574335" y="178116"/>
                    <a:pt x="1574001" y="179219"/>
                  </a:cubicBezTo>
                  <a:cubicBezTo>
                    <a:pt x="1573666" y="180139"/>
                    <a:pt x="1573499" y="180875"/>
                    <a:pt x="1573164" y="181794"/>
                  </a:cubicBezTo>
                  <a:cubicBezTo>
                    <a:pt x="1572830" y="182346"/>
                    <a:pt x="1572663" y="182897"/>
                    <a:pt x="1572496" y="183449"/>
                  </a:cubicBezTo>
                  <a:cubicBezTo>
                    <a:pt x="1571994" y="184552"/>
                    <a:pt x="1571492" y="185472"/>
                    <a:pt x="1570991" y="186391"/>
                  </a:cubicBezTo>
                  <a:cubicBezTo>
                    <a:pt x="1570490" y="187126"/>
                    <a:pt x="1569988" y="187862"/>
                    <a:pt x="1569487" y="188597"/>
                  </a:cubicBezTo>
                  <a:cubicBezTo>
                    <a:pt x="1568818" y="189518"/>
                    <a:pt x="1567982" y="190436"/>
                    <a:pt x="1567146" y="191172"/>
                  </a:cubicBezTo>
                  <a:cubicBezTo>
                    <a:pt x="1566477" y="191908"/>
                    <a:pt x="1565641" y="192460"/>
                    <a:pt x="1564973" y="193011"/>
                  </a:cubicBezTo>
                  <a:cubicBezTo>
                    <a:pt x="1563802" y="193931"/>
                    <a:pt x="1562465" y="194666"/>
                    <a:pt x="1561128" y="195218"/>
                  </a:cubicBezTo>
                  <a:cubicBezTo>
                    <a:pt x="1559456" y="195954"/>
                    <a:pt x="1557617" y="196505"/>
                    <a:pt x="1555778" y="196689"/>
                  </a:cubicBezTo>
                  <a:cubicBezTo>
                    <a:pt x="1555443" y="196689"/>
                    <a:pt x="1555277" y="196689"/>
                    <a:pt x="1554942" y="196873"/>
                  </a:cubicBezTo>
                  <a:cubicBezTo>
                    <a:pt x="1553939" y="196873"/>
                    <a:pt x="1553103" y="196873"/>
                    <a:pt x="1552100" y="196873"/>
                  </a:cubicBezTo>
                  <a:cubicBezTo>
                    <a:pt x="1552100" y="196689"/>
                    <a:pt x="1551932" y="196873"/>
                    <a:pt x="1551932" y="196873"/>
                  </a:cubicBezTo>
                  <a:cubicBezTo>
                    <a:pt x="1548756" y="196505"/>
                    <a:pt x="1545747" y="195402"/>
                    <a:pt x="1543072" y="193563"/>
                  </a:cubicBezTo>
                  <a:cubicBezTo>
                    <a:pt x="1541902" y="192827"/>
                    <a:pt x="1540899" y="191908"/>
                    <a:pt x="1539896" y="190804"/>
                  </a:cubicBezTo>
                  <a:cubicBezTo>
                    <a:pt x="1539060" y="190069"/>
                    <a:pt x="1538391" y="189150"/>
                    <a:pt x="1537723" y="188230"/>
                  </a:cubicBezTo>
                  <a:cubicBezTo>
                    <a:pt x="1537221" y="187494"/>
                    <a:pt x="1536719" y="186759"/>
                    <a:pt x="1536218" y="185839"/>
                  </a:cubicBezTo>
                  <a:cubicBezTo>
                    <a:pt x="1535716" y="184920"/>
                    <a:pt x="1535215" y="184000"/>
                    <a:pt x="1534714" y="182897"/>
                  </a:cubicBezTo>
                  <a:cubicBezTo>
                    <a:pt x="1534379" y="182161"/>
                    <a:pt x="1534212" y="181610"/>
                    <a:pt x="1533878" y="180875"/>
                  </a:cubicBezTo>
                  <a:cubicBezTo>
                    <a:pt x="1533543" y="180139"/>
                    <a:pt x="1533376" y="179403"/>
                    <a:pt x="1533209" y="178668"/>
                  </a:cubicBezTo>
                  <a:cubicBezTo>
                    <a:pt x="1532875" y="177380"/>
                    <a:pt x="1532707" y="176093"/>
                    <a:pt x="1532373" y="174806"/>
                  </a:cubicBezTo>
                  <a:cubicBezTo>
                    <a:pt x="1532206" y="174071"/>
                    <a:pt x="1532206" y="173518"/>
                    <a:pt x="1532206" y="172783"/>
                  </a:cubicBezTo>
                  <a:cubicBezTo>
                    <a:pt x="1532373" y="173335"/>
                    <a:pt x="1532540" y="173151"/>
                    <a:pt x="1532373" y="172967"/>
                  </a:cubicBezTo>
                  <a:cubicBezTo>
                    <a:pt x="1532373" y="171680"/>
                    <a:pt x="1532373" y="170392"/>
                    <a:pt x="1532373" y="169105"/>
                  </a:cubicBezTo>
                  <a:cubicBezTo>
                    <a:pt x="1532373" y="169105"/>
                    <a:pt x="1532373" y="169105"/>
                    <a:pt x="1532373" y="168921"/>
                  </a:cubicBezTo>
                  <a:cubicBezTo>
                    <a:pt x="1532373" y="167818"/>
                    <a:pt x="1532540" y="166899"/>
                    <a:pt x="1532707" y="165795"/>
                  </a:cubicBezTo>
                  <a:cubicBezTo>
                    <a:pt x="1533042" y="164508"/>
                    <a:pt x="1533042" y="163220"/>
                    <a:pt x="1533543" y="162117"/>
                  </a:cubicBezTo>
                  <a:cubicBezTo>
                    <a:pt x="1533878" y="161381"/>
                    <a:pt x="1534044" y="160646"/>
                    <a:pt x="1534212" y="159910"/>
                  </a:cubicBezTo>
                  <a:cubicBezTo>
                    <a:pt x="1534714" y="158807"/>
                    <a:pt x="1535215" y="157520"/>
                    <a:pt x="1535716" y="156416"/>
                  </a:cubicBezTo>
                  <a:cubicBezTo>
                    <a:pt x="1536218" y="155497"/>
                    <a:pt x="1536719" y="154762"/>
                    <a:pt x="1537221" y="153842"/>
                  </a:cubicBezTo>
                  <a:cubicBezTo>
                    <a:pt x="1537723" y="153106"/>
                    <a:pt x="1538224" y="152371"/>
                    <a:pt x="1538726" y="151819"/>
                  </a:cubicBezTo>
                  <a:cubicBezTo>
                    <a:pt x="1539227" y="151267"/>
                    <a:pt x="1539729" y="150716"/>
                    <a:pt x="1540230" y="150164"/>
                  </a:cubicBezTo>
                  <a:cubicBezTo>
                    <a:pt x="1541233" y="149244"/>
                    <a:pt x="1542237" y="148325"/>
                    <a:pt x="1543406" y="147590"/>
                  </a:cubicBezTo>
                  <a:cubicBezTo>
                    <a:pt x="1544243" y="147038"/>
                    <a:pt x="1545245" y="146486"/>
                    <a:pt x="1546081" y="146119"/>
                  </a:cubicBezTo>
                  <a:cubicBezTo>
                    <a:pt x="1548088" y="145199"/>
                    <a:pt x="1550261" y="144647"/>
                    <a:pt x="1552602" y="144463"/>
                  </a:cubicBezTo>
                  <a:close/>
                  <a:moveTo>
                    <a:pt x="1429045" y="144463"/>
                  </a:moveTo>
                  <a:cubicBezTo>
                    <a:pt x="1431886" y="144279"/>
                    <a:pt x="1434728" y="144831"/>
                    <a:pt x="1437403" y="145934"/>
                  </a:cubicBezTo>
                  <a:cubicBezTo>
                    <a:pt x="1439242" y="146670"/>
                    <a:pt x="1440914" y="147773"/>
                    <a:pt x="1442419" y="149061"/>
                  </a:cubicBezTo>
                  <a:cubicBezTo>
                    <a:pt x="1443255" y="149796"/>
                    <a:pt x="1443923" y="150532"/>
                    <a:pt x="1444759" y="151267"/>
                  </a:cubicBezTo>
                  <a:cubicBezTo>
                    <a:pt x="1445595" y="152187"/>
                    <a:pt x="1446431" y="153291"/>
                    <a:pt x="1447100" y="154210"/>
                  </a:cubicBezTo>
                  <a:cubicBezTo>
                    <a:pt x="1447601" y="154945"/>
                    <a:pt x="1448103" y="155865"/>
                    <a:pt x="1448437" y="156600"/>
                  </a:cubicBezTo>
                  <a:cubicBezTo>
                    <a:pt x="1449106" y="157704"/>
                    <a:pt x="1449607" y="158991"/>
                    <a:pt x="1449942" y="160278"/>
                  </a:cubicBezTo>
                  <a:cubicBezTo>
                    <a:pt x="1450276" y="161013"/>
                    <a:pt x="1450444" y="161934"/>
                    <a:pt x="1450610" y="162669"/>
                  </a:cubicBezTo>
                  <a:cubicBezTo>
                    <a:pt x="1450945" y="163772"/>
                    <a:pt x="1451112" y="165059"/>
                    <a:pt x="1451279" y="166163"/>
                  </a:cubicBezTo>
                  <a:cubicBezTo>
                    <a:pt x="1451781" y="169473"/>
                    <a:pt x="1451781" y="172783"/>
                    <a:pt x="1451112" y="175909"/>
                  </a:cubicBezTo>
                  <a:cubicBezTo>
                    <a:pt x="1450945" y="177013"/>
                    <a:pt x="1450777" y="178116"/>
                    <a:pt x="1450444" y="179219"/>
                  </a:cubicBezTo>
                  <a:cubicBezTo>
                    <a:pt x="1450109" y="180139"/>
                    <a:pt x="1449942" y="180875"/>
                    <a:pt x="1449607" y="181794"/>
                  </a:cubicBezTo>
                  <a:cubicBezTo>
                    <a:pt x="1449273" y="182346"/>
                    <a:pt x="1449106" y="182897"/>
                    <a:pt x="1448938" y="183449"/>
                  </a:cubicBezTo>
                  <a:cubicBezTo>
                    <a:pt x="1448437" y="184552"/>
                    <a:pt x="1447935" y="185472"/>
                    <a:pt x="1447434" y="186391"/>
                  </a:cubicBezTo>
                  <a:cubicBezTo>
                    <a:pt x="1446933" y="187126"/>
                    <a:pt x="1446431" y="187862"/>
                    <a:pt x="1445930" y="188597"/>
                  </a:cubicBezTo>
                  <a:cubicBezTo>
                    <a:pt x="1445261" y="189518"/>
                    <a:pt x="1444425" y="190436"/>
                    <a:pt x="1443589" y="191172"/>
                  </a:cubicBezTo>
                  <a:cubicBezTo>
                    <a:pt x="1442920" y="191908"/>
                    <a:pt x="1442084" y="192460"/>
                    <a:pt x="1441416" y="193011"/>
                  </a:cubicBezTo>
                  <a:cubicBezTo>
                    <a:pt x="1440245" y="193931"/>
                    <a:pt x="1438908" y="194666"/>
                    <a:pt x="1437571" y="195218"/>
                  </a:cubicBezTo>
                  <a:cubicBezTo>
                    <a:pt x="1435899" y="195954"/>
                    <a:pt x="1434060" y="196505"/>
                    <a:pt x="1432221" y="196689"/>
                  </a:cubicBezTo>
                  <a:cubicBezTo>
                    <a:pt x="1431886" y="196689"/>
                    <a:pt x="1431720" y="196689"/>
                    <a:pt x="1431385" y="196873"/>
                  </a:cubicBezTo>
                  <a:cubicBezTo>
                    <a:pt x="1430382" y="196873"/>
                    <a:pt x="1429546" y="196873"/>
                    <a:pt x="1428543" y="196873"/>
                  </a:cubicBezTo>
                  <a:cubicBezTo>
                    <a:pt x="1428543" y="196689"/>
                    <a:pt x="1428375" y="196873"/>
                    <a:pt x="1428375" y="196873"/>
                  </a:cubicBezTo>
                  <a:cubicBezTo>
                    <a:pt x="1425199" y="196505"/>
                    <a:pt x="1422190" y="195402"/>
                    <a:pt x="1419515" y="193563"/>
                  </a:cubicBezTo>
                  <a:cubicBezTo>
                    <a:pt x="1418345" y="192827"/>
                    <a:pt x="1417342" y="191908"/>
                    <a:pt x="1416339" y="190804"/>
                  </a:cubicBezTo>
                  <a:cubicBezTo>
                    <a:pt x="1415503" y="190069"/>
                    <a:pt x="1414834" y="189150"/>
                    <a:pt x="1414165" y="188230"/>
                  </a:cubicBezTo>
                  <a:cubicBezTo>
                    <a:pt x="1413664" y="187494"/>
                    <a:pt x="1413162" y="186759"/>
                    <a:pt x="1412661" y="185839"/>
                  </a:cubicBezTo>
                  <a:cubicBezTo>
                    <a:pt x="1412159" y="184920"/>
                    <a:pt x="1411658" y="184000"/>
                    <a:pt x="1411157" y="182897"/>
                  </a:cubicBezTo>
                  <a:cubicBezTo>
                    <a:pt x="1410822" y="182161"/>
                    <a:pt x="1410655" y="181610"/>
                    <a:pt x="1410321" y="180875"/>
                  </a:cubicBezTo>
                  <a:cubicBezTo>
                    <a:pt x="1409986" y="180139"/>
                    <a:pt x="1409819" y="179403"/>
                    <a:pt x="1409651" y="178668"/>
                  </a:cubicBezTo>
                  <a:cubicBezTo>
                    <a:pt x="1409317" y="177380"/>
                    <a:pt x="1409150" y="176093"/>
                    <a:pt x="1408816" y="174806"/>
                  </a:cubicBezTo>
                  <a:cubicBezTo>
                    <a:pt x="1408649" y="174071"/>
                    <a:pt x="1408649" y="173518"/>
                    <a:pt x="1408649" y="172783"/>
                  </a:cubicBezTo>
                  <a:cubicBezTo>
                    <a:pt x="1408816" y="173335"/>
                    <a:pt x="1408983" y="173151"/>
                    <a:pt x="1408816" y="172967"/>
                  </a:cubicBezTo>
                  <a:cubicBezTo>
                    <a:pt x="1408816" y="171680"/>
                    <a:pt x="1408816" y="170392"/>
                    <a:pt x="1408816" y="169105"/>
                  </a:cubicBezTo>
                  <a:cubicBezTo>
                    <a:pt x="1408816" y="169105"/>
                    <a:pt x="1408816" y="169105"/>
                    <a:pt x="1408816" y="168921"/>
                  </a:cubicBezTo>
                  <a:cubicBezTo>
                    <a:pt x="1408816" y="167818"/>
                    <a:pt x="1408983" y="166899"/>
                    <a:pt x="1409150" y="165795"/>
                  </a:cubicBezTo>
                  <a:cubicBezTo>
                    <a:pt x="1409485" y="164508"/>
                    <a:pt x="1409485" y="163220"/>
                    <a:pt x="1409986" y="162117"/>
                  </a:cubicBezTo>
                  <a:cubicBezTo>
                    <a:pt x="1410321" y="161381"/>
                    <a:pt x="1410487" y="160646"/>
                    <a:pt x="1410655" y="159910"/>
                  </a:cubicBezTo>
                  <a:cubicBezTo>
                    <a:pt x="1411157" y="158807"/>
                    <a:pt x="1411658" y="157520"/>
                    <a:pt x="1412159" y="156416"/>
                  </a:cubicBezTo>
                  <a:cubicBezTo>
                    <a:pt x="1412661" y="155497"/>
                    <a:pt x="1413162" y="154762"/>
                    <a:pt x="1413664" y="153842"/>
                  </a:cubicBezTo>
                  <a:cubicBezTo>
                    <a:pt x="1414165" y="153106"/>
                    <a:pt x="1414667" y="152371"/>
                    <a:pt x="1415169" y="151819"/>
                  </a:cubicBezTo>
                  <a:cubicBezTo>
                    <a:pt x="1415670" y="151267"/>
                    <a:pt x="1416172" y="150716"/>
                    <a:pt x="1416673" y="150164"/>
                  </a:cubicBezTo>
                  <a:cubicBezTo>
                    <a:pt x="1417676" y="149244"/>
                    <a:pt x="1418679" y="148325"/>
                    <a:pt x="1419849" y="147590"/>
                  </a:cubicBezTo>
                  <a:cubicBezTo>
                    <a:pt x="1420686" y="147038"/>
                    <a:pt x="1421688" y="146486"/>
                    <a:pt x="1422524" y="146119"/>
                  </a:cubicBezTo>
                  <a:cubicBezTo>
                    <a:pt x="1424531" y="145199"/>
                    <a:pt x="1426704" y="144647"/>
                    <a:pt x="1429045" y="144463"/>
                  </a:cubicBezTo>
                  <a:close/>
                  <a:moveTo>
                    <a:pt x="1140524" y="144463"/>
                  </a:moveTo>
                  <a:cubicBezTo>
                    <a:pt x="1143366" y="144279"/>
                    <a:pt x="1146208" y="144831"/>
                    <a:pt x="1148883" y="145934"/>
                  </a:cubicBezTo>
                  <a:cubicBezTo>
                    <a:pt x="1150722" y="146670"/>
                    <a:pt x="1152394" y="147773"/>
                    <a:pt x="1153898" y="149061"/>
                  </a:cubicBezTo>
                  <a:cubicBezTo>
                    <a:pt x="1154734" y="149796"/>
                    <a:pt x="1155403" y="150532"/>
                    <a:pt x="1156239" y="151267"/>
                  </a:cubicBezTo>
                  <a:cubicBezTo>
                    <a:pt x="1157075" y="152187"/>
                    <a:pt x="1157911" y="153291"/>
                    <a:pt x="1158580" y="154210"/>
                  </a:cubicBezTo>
                  <a:cubicBezTo>
                    <a:pt x="1159081" y="154945"/>
                    <a:pt x="1159582" y="155865"/>
                    <a:pt x="1159917" y="156600"/>
                  </a:cubicBezTo>
                  <a:cubicBezTo>
                    <a:pt x="1160585" y="157704"/>
                    <a:pt x="1161087" y="158991"/>
                    <a:pt x="1161422" y="160278"/>
                  </a:cubicBezTo>
                  <a:cubicBezTo>
                    <a:pt x="1161756" y="161013"/>
                    <a:pt x="1161923" y="161934"/>
                    <a:pt x="1162090" y="162669"/>
                  </a:cubicBezTo>
                  <a:cubicBezTo>
                    <a:pt x="1162424" y="163772"/>
                    <a:pt x="1162592" y="165059"/>
                    <a:pt x="1162759" y="166163"/>
                  </a:cubicBezTo>
                  <a:cubicBezTo>
                    <a:pt x="1163261" y="169473"/>
                    <a:pt x="1163261" y="172783"/>
                    <a:pt x="1162592" y="175909"/>
                  </a:cubicBezTo>
                  <a:cubicBezTo>
                    <a:pt x="1162424" y="177013"/>
                    <a:pt x="1162258" y="178116"/>
                    <a:pt x="1161923" y="179219"/>
                  </a:cubicBezTo>
                  <a:cubicBezTo>
                    <a:pt x="1161589" y="180139"/>
                    <a:pt x="1161422" y="180875"/>
                    <a:pt x="1161087" y="181794"/>
                  </a:cubicBezTo>
                  <a:cubicBezTo>
                    <a:pt x="1160753" y="182346"/>
                    <a:pt x="1160585" y="182897"/>
                    <a:pt x="1160419" y="183449"/>
                  </a:cubicBezTo>
                  <a:cubicBezTo>
                    <a:pt x="1159917" y="184552"/>
                    <a:pt x="1159415" y="185472"/>
                    <a:pt x="1158913" y="186391"/>
                  </a:cubicBezTo>
                  <a:cubicBezTo>
                    <a:pt x="1158412" y="187126"/>
                    <a:pt x="1157911" y="187862"/>
                    <a:pt x="1157409" y="188597"/>
                  </a:cubicBezTo>
                  <a:cubicBezTo>
                    <a:pt x="1156740" y="189518"/>
                    <a:pt x="1155905" y="190436"/>
                    <a:pt x="1155069" y="191172"/>
                  </a:cubicBezTo>
                  <a:cubicBezTo>
                    <a:pt x="1154400" y="191908"/>
                    <a:pt x="1153564" y="192460"/>
                    <a:pt x="1152895" y="193011"/>
                  </a:cubicBezTo>
                  <a:cubicBezTo>
                    <a:pt x="1151725" y="193931"/>
                    <a:pt x="1150387" y="194666"/>
                    <a:pt x="1149050" y="195218"/>
                  </a:cubicBezTo>
                  <a:cubicBezTo>
                    <a:pt x="1147378" y="195954"/>
                    <a:pt x="1145539" y="196505"/>
                    <a:pt x="1143700" y="196689"/>
                  </a:cubicBezTo>
                  <a:cubicBezTo>
                    <a:pt x="1143366" y="196689"/>
                    <a:pt x="1143199" y="196689"/>
                    <a:pt x="1142864" y="196873"/>
                  </a:cubicBezTo>
                  <a:cubicBezTo>
                    <a:pt x="1141862" y="196873"/>
                    <a:pt x="1141025" y="196873"/>
                    <a:pt x="1140023" y="196873"/>
                  </a:cubicBezTo>
                  <a:cubicBezTo>
                    <a:pt x="1140023" y="196689"/>
                    <a:pt x="1139856" y="196873"/>
                    <a:pt x="1139856" y="196873"/>
                  </a:cubicBezTo>
                  <a:cubicBezTo>
                    <a:pt x="1136679" y="196505"/>
                    <a:pt x="1133670" y="195402"/>
                    <a:pt x="1130995" y="193563"/>
                  </a:cubicBezTo>
                  <a:cubicBezTo>
                    <a:pt x="1129825" y="192827"/>
                    <a:pt x="1128822" y="191908"/>
                    <a:pt x="1127819" y="190804"/>
                  </a:cubicBezTo>
                  <a:cubicBezTo>
                    <a:pt x="1126983" y="190069"/>
                    <a:pt x="1126314" y="189150"/>
                    <a:pt x="1125646" y="188230"/>
                  </a:cubicBezTo>
                  <a:cubicBezTo>
                    <a:pt x="1125144" y="187494"/>
                    <a:pt x="1124642" y="186759"/>
                    <a:pt x="1124140" y="185839"/>
                  </a:cubicBezTo>
                  <a:cubicBezTo>
                    <a:pt x="1123639" y="184920"/>
                    <a:pt x="1123137" y="184000"/>
                    <a:pt x="1122636" y="182897"/>
                  </a:cubicBezTo>
                  <a:cubicBezTo>
                    <a:pt x="1122302" y="182161"/>
                    <a:pt x="1122135" y="181610"/>
                    <a:pt x="1121800" y="180875"/>
                  </a:cubicBezTo>
                  <a:cubicBezTo>
                    <a:pt x="1121466" y="180139"/>
                    <a:pt x="1121299" y="179403"/>
                    <a:pt x="1121132" y="178668"/>
                  </a:cubicBezTo>
                  <a:cubicBezTo>
                    <a:pt x="1120797" y="177380"/>
                    <a:pt x="1120630" y="176093"/>
                    <a:pt x="1120296" y="174806"/>
                  </a:cubicBezTo>
                  <a:cubicBezTo>
                    <a:pt x="1120128" y="174071"/>
                    <a:pt x="1120128" y="173518"/>
                    <a:pt x="1120128" y="172783"/>
                  </a:cubicBezTo>
                  <a:cubicBezTo>
                    <a:pt x="1120296" y="173335"/>
                    <a:pt x="1120463" y="173151"/>
                    <a:pt x="1120296" y="172967"/>
                  </a:cubicBezTo>
                  <a:cubicBezTo>
                    <a:pt x="1120296" y="171680"/>
                    <a:pt x="1120296" y="170392"/>
                    <a:pt x="1120296" y="169105"/>
                  </a:cubicBezTo>
                  <a:cubicBezTo>
                    <a:pt x="1120296" y="169105"/>
                    <a:pt x="1120296" y="169105"/>
                    <a:pt x="1120296" y="168921"/>
                  </a:cubicBezTo>
                  <a:cubicBezTo>
                    <a:pt x="1120296" y="167818"/>
                    <a:pt x="1120463" y="166899"/>
                    <a:pt x="1120630" y="165795"/>
                  </a:cubicBezTo>
                  <a:cubicBezTo>
                    <a:pt x="1120964" y="164508"/>
                    <a:pt x="1120964" y="163220"/>
                    <a:pt x="1121466" y="162117"/>
                  </a:cubicBezTo>
                  <a:cubicBezTo>
                    <a:pt x="1121800" y="161381"/>
                    <a:pt x="1121967" y="160646"/>
                    <a:pt x="1122135" y="159910"/>
                  </a:cubicBezTo>
                  <a:cubicBezTo>
                    <a:pt x="1122636" y="158807"/>
                    <a:pt x="1123137" y="157520"/>
                    <a:pt x="1123639" y="156416"/>
                  </a:cubicBezTo>
                  <a:cubicBezTo>
                    <a:pt x="1124140" y="155497"/>
                    <a:pt x="1124642" y="154762"/>
                    <a:pt x="1125144" y="153842"/>
                  </a:cubicBezTo>
                  <a:cubicBezTo>
                    <a:pt x="1125646" y="153106"/>
                    <a:pt x="1126147" y="152371"/>
                    <a:pt x="1126648" y="151819"/>
                  </a:cubicBezTo>
                  <a:cubicBezTo>
                    <a:pt x="1127150" y="151267"/>
                    <a:pt x="1127651" y="150716"/>
                    <a:pt x="1128153" y="150164"/>
                  </a:cubicBezTo>
                  <a:cubicBezTo>
                    <a:pt x="1129156" y="149244"/>
                    <a:pt x="1130159" y="148325"/>
                    <a:pt x="1131329" y="147590"/>
                  </a:cubicBezTo>
                  <a:cubicBezTo>
                    <a:pt x="1132165" y="147038"/>
                    <a:pt x="1133169" y="146486"/>
                    <a:pt x="1134004" y="146119"/>
                  </a:cubicBezTo>
                  <a:cubicBezTo>
                    <a:pt x="1136010" y="145199"/>
                    <a:pt x="1138184" y="144647"/>
                    <a:pt x="1140524" y="144463"/>
                  </a:cubicBezTo>
                  <a:close/>
                  <a:moveTo>
                    <a:pt x="903609" y="144463"/>
                  </a:moveTo>
                  <a:cubicBezTo>
                    <a:pt x="906451" y="144279"/>
                    <a:pt x="909293" y="144831"/>
                    <a:pt x="911968" y="145934"/>
                  </a:cubicBezTo>
                  <a:cubicBezTo>
                    <a:pt x="913806" y="146670"/>
                    <a:pt x="915479" y="147773"/>
                    <a:pt x="916983" y="149061"/>
                  </a:cubicBezTo>
                  <a:cubicBezTo>
                    <a:pt x="917819" y="149796"/>
                    <a:pt x="918488" y="150532"/>
                    <a:pt x="919324" y="151267"/>
                  </a:cubicBezTo>
                  <a:cubicBezTo>
                    <a:pt x="920159" y="152187"/>
                    <a:pt x="920995" y="153291"/>
                    <a:pt x="921664" y="154210"/>
                  </a:cubicBezTo>
                  <a:cubicBezTo>
                    <a:pt x="922166" y="154945"/>
                    <a:pt x="922667" y="155865"/>
                    <a:pt x="923002" y="156600"/>
                  </a:cubicBezTo>
                  <a:cubicBezTo>
                    <a:pt x="923670" y="157704"/>
                    <a:pt x="924172" y="158991"/>
                    <a:pt x="924506" y="160278"/>
                  </a:cubicBezTo>
                  <a:cubicBezTo>
                    <a:pt x="924840" y="161013"/>
                    <a:pt x="925007" y="161934"/>
                    <a:pt x="925175" y="162669"/>
                  </a:cubicBezTo>
                  <a:cubicBezTo>
                    <a:pt x="925509" y="163772"/>
                    <a:pt x="925677" y="165059"/>
                    <a:pt x="925843" y="166163"/>
                  </a:cubicBezTo>
                  <a:cubicBezTo>
                    <a:pt x="926345" y="169473"/>
                    <a:pt x="926345" y="172783"/>
                    <a:pt x="925677" y="175909"/>
                  </a:cubicBezTo>
                  <a:cubicBezTo>
                    <a:pt x="925509" y="177013"/>
                    <a:pt x="925342" y="178116"/>
                    <a:pt x="925007" y="179219"/>
                  </a:cubicBezTo>
                  <a:cubicBezTo>
                    <a:pt x="924673" y="180139"/>
                    <a:pt x="924506" y="180875"/>
                    <a:pt x="924172" y="181794"/>
                  </a:cubicBezTo>
                  <a:cubicBezTo>
                    <a:pt x="923838" y="182346"/>
                    <a:pt x="923670" y="182897"/>
                    <a:pt x="923503" y="183449"/>
                  </a:cubicBezTo>
                  <a:cubicBezTo>
                    <a:pt x="923002" y="184552"/>
                    <a:pt x="922500" y="185472"/>
                    <a:pt x="921999" y="186391"/>
                  </a:cubicBezTo>
                  <a:cubicBezTo>
                    <a:pt x="921497" y="187126"/>
                    <a:pt x="920995" y="187862"/>
                    <a:pt x="920494" y="188597"/>
                  </a:cubicBezTo>
                  <a:cubicBezTo>
                    <a:pt x="919825" y="189518"/>
                    <a:pt x="918989" y="190436"/>
                    <a:pt x="918153" y="191172"/>
                  </a:cubicBezTo>
                  <a:cubicBezTo>
                    <a:pt x="917485" y="191908"/>
                    <a:pt x="916649" y="192460"/>
                    <a:pt x="915980" y="193011"/>
                  </a:cubicBezTo>
                  <a:cubicBezTo>
                    <a:pt x="914810" y="193931"/>
                    <a:pt x="913472" y="194666"/>
                    <a:pt x="912135" y="195218"/>
                  </a:cubicBezTo>
                  <a:cubicBezTo>
                    <a:pt x="910463" y="195954"/>
                    <a:pt x="908624" y="196505"/>
                    <a:pt x="906785" y="196689"/>
                  </a:cubicBezTo>
                  <a:cubicBezTo>
                    <a:pt x="906451" y="196689"/>
                    <a:pt x="906283" y="196689"/>
                    <a:pt x="905950" y="196873"/>
                  </a:cubicBezTo>
                  <a:cubicBezTo>
                    <a:pt x="904946" y="196873"/>
                    <a:pt x="904110" y="196873"/>
                    <a:pt x="903107" y="196873"/>
                  </a:cubicBezTo>
                  <a:cubicBezTo>
                    <a:pt x="903107" y="196689"/>
                    <a:pt x="902940" y="196873"/>
                    <a:pt x="902940" y="196873"/>
                  </a:cubicBezTo>
                  <a:cubicBezTo>
                    <a:pt x="899764" y="196505"/>
                    <a:pt x="896754" y="195402"/>
                    <a:pt x="894080" y="193563"/>
                  </a:cubicBezTo>
                  <a:cubicBezTo>
                    <a:pt x="892909" y="192827"/>
                    <a:pt x="891906" y="191908"/>
                    <a:pt x="890904" y="190804"/>
                  </a:cubicBezTo>
                  <a:cubicBezTo>
                    <a:pt x="890067" y="190069"/>
                    <a:pt x="889399" y="189150"/>
                    <a:pt x="888730" y="188230"/>
                  </a:cubicBezTo>
                  <a:cubicBezTo>
                    <a:pt x="888229" y="187494"/>
                    <a:pt x="887727" y="186759"/>
                    <a:pt x="887226" y="185839"/>
                  </a:cubicBezTo>
                  <a:cubicBezTo>
                    <a:pt x="886724" y="184920"/>
                    <a:pt x="886222" y="184000"/>
                    <a:pt x="885720" y="182897"/>
                  </a:cubicBezTo>
                  <a:cubicBezTo>
                    <a:pt x="885386" y="182161"/>
                    <a:pt x="885219" y="181610"/>
                    <a:pt x="884885" y="180875"/>
                  </a:cubicBezTo>
                  <a:cubicBezTo>
                    <a:pt x="884551" y="180139"/>
                    <a:pt x="884383" y="179403"/>
                    <a:pt x="884216" y="178668"/>
                  </a:cubicBezTo>
                  <a:cubicBezTo>
                    <a:pt x="883882" y="177380"/>
                    <a:pt x="883715" y="176093"/>
                    <a:pt x="883380" y="174806"/>
                  </a:cubicBezTo>
                  <a:cubicBezTo>
                    <a:pt x="883213" y="174071"/>
                    <a:pt x="883213" y="173518"/>
                    <a:pt x="883213" y="172783"/>
                  </a:cubicBezTo>
                  <a:cubicBezTo>
                    <a:pt x="883380" y="173335"/>
                    <a:pt x="883547" y="173151"/>
                    <a:pt x="883380" y="172967"/>
                  </a:cubicBezTo>
                  <a:cubicBezTo>
                    <a:pt x="883380" y="171680"/>
                    <a:pt x="883380" y="170392"/>
                    <a:pt x="883380" y="169105"/>
                  </a:cubicBezTo>
                  <a:cubicBezTo>
                    <a:pt x="883380" y="169105"/>
                    <a:pt x="883380" y="169105"/>
                    <a:pt x="883380" y="168921"/>
                  </a:cubicBezTo>
                  <a:cubicBezTo>
                    <a:pt x="883380" y="167818"/>
                    <a:pt x="883547" y="166899"/>
                    <a:pt x="883715" y="165795"/>
                  </a:cubicBezTo>
                  <a:cubicBezTo>
                    <a:pt x="884049" y="164508"/>
                    <a:pt x="884049" y="163220"/>
                    <a:pt x="884551" y="162117"/>
                  </a:cubicBezTo>
                  <a:cubicBezTo>
                    <a:pt x="884885" y="161381"/>
                    <a:pt x="885052" y="160646"/>
                    <a:pt x="885219" y="159910"/>
                  </a:cubicBezTo>
                  <a:cubicBezTo>
                    <a:pt x="885720" y="158807"/>
                    <a:pt x="886222" y="157520"/>
                    <a:pt x="886724" y="156416"/>
                  </a:cubicBezTo>
                  <a:cubicBezTo>
                    <a:pt x="887226" y="155497"/>
                    <a:pt x="887727" y="154762"/>
                    <a:pt x="888229" y="153842"/>
                  </a:cubicBezTo>
                  <a:cubicBezTo>
                    <a:pt x="888730" y="153106"/>
                    <a:pt x="889231" y="152371"/>
                    <a:pt x="889733" y="151819"/>
                  </a:cubicBezTo>
                  <a:cubicBezTo>
                    <a:pt x="890234" y="151267"/>
                    <a:pt x="890736" y="150716"/>
                    <a:pt x="891238" y="150164"/>
                  </a:cubicBezTo>
                  <a:cubicBezTo>
                    <a:pt x="892241" y="149244"/>
                    <a:pt x="893244" y="148325"/>
                    <a:pt x="894414" y="147590"/>
                  </a:cubicBezTo>
                  <a:cubicBezTo>
                    <a:pt x="895250" y="147038"/>
                    <a:pt x="896253" y="146486"/>
                    <a:pt x="897089" y="146119"/>
                  </a:cubicBezTo>
                  <a:cubicBezTo>
                    <a:pt x="899095" y="145199"/>
                    <a:pt x="901268" y="144647"/>
                    <a:pt x="903609" y="144463"/>
                  </a:cubicBezTo>
                  <a:close/>
                  <a:moveTo>
                    <a:pt x="780051" y="144463"/>
                  </a:moveTo>
                  <a:cubicBezTo>
                    <a:pt x="782894" y="144279"/>
                    <a:pt x="785736" y="144831"/>
                    <a:pt x="788411" y="145934"/>
                  </a:cubicBezTo>
                  <a:cubicBezTo>
                    <a:pt x="790249" y="146670"/>
                    <a:pt x="791921" y="147773"/>
                    <a:pt x="793426" y="149061"/>
                  </a:cubicBezTo>
                  <a:cubicBezTo>
                    <a:pt x="794262" y="149796"/>
                    <a:pt x="794931" y="150532"/>
                    <a:pt x="795766" y="151267"/>
                  </a:cubicBezTo>
                  <a:cubicBezTo>
                    <a:pt x="796602" y="152187"/>
                    <a:pt x="797438" y="153291"/>
                    <a:pt x="798107" y="154210"/>
                  </a:cubicBezTo>
                  <a:cubicBezTo>
                    <a:pt x="798609" y="154945"/>
                    <a:pt x="799110" y="155865"/>
                    <a:pt x="799445" y="156600"/>
                  </a:cubicBezTo>
                  <a:cubicBezTo>
                    <a:pt x="800113" y="157704"/>
                    <a:pt x="800614" y="158991"/>
                    <a:pt x="800949" y="160278"/>
                  </a:cubicBezTo>
                  <a:cubicBezTo>
                    <a:pt x="801283" y="161013"/>
                    <a:pt x="801450" y="161934"/>
                    <a:pt x="801618" y="162669"/>
                  </a:cubicBezTo>
                  <a:cubicBezTo>
                    <a:pt x="801952" y="163772"/>
                    <a:pt x="802120" y="165059"/>
                    <a:pt x="802286" y="166163"/>
                  </a:cubicBezTo>
                  <a:cubicBezTo>
                    <a:pt x="802788" y="169473"/>
                    <a:pt x="802788" y="172783"/>
                    <a:pt x="802120" y="175909"/>
                  </a:cubicBezTo>
                  <a:cubicBezTo>
                    <a:pt x="801952" y="177013"/>
                    <a:pt x="801785" y="178116"/>
                    <a:pt x="801450" y="179219"/>
                  </a:cubicBezTo>
                  <a:cubicBezTo>
                    <a:pt x="801116" y="180139"/>
                    <a:pt x="800949" y="180875"/>
                    <a:pt x="800614" y="181794"/>
                  </a:cubicBezTo>
                  <a:cubicBezTo>
                    <a:pt x="800280" y="182346"/>
                    <a:pt x="800113" y="182897"/>
                    <a:pt x="799946" y="183449"/>
                  </a:cubicBezTo>
                  <a:cubicBezTo>
                    <a:pt x="799445" y="184552"/>
                    <a:pt x="798943" y="185472"/>
                    <a:pt x="798441" y="186391"/>
                  </a:cubicBezTo>
                  <a:cubicBezTo>
                    <a:pt x="797939" y="187126"/>
                    <a:pt x="797438" y="187862"/>
                    <a:pt x="796937" y="188597"/>
                  </a:cubicBezTo>
                  <a:cubicBezTo>
                    <a:pt x="796268" y="189518"/>
                    <a:pt x="795432" y="190436"/>
                    <a:pt x="794596" y="191172"/>
                  </a:cubicBezTo>
                  <a:cubicBezTo>
                    <a:pt x="793927" y="191908"/>
                    <a:pt x="793092" y="192460"/>
                    <a:pt x="792423" y="193011"/>
                  </a:cubicBezTo>
                  <a:cubicBezTo>
                    <a:pt x="791252" y="193931"/>
                    <a:pt x="789915" y="194666"/>
                    <a:pt x="788578" y="195218"/>
                  </a:cubicBezTo>
                  <a:cubicBezTo>
                    <a:pt x="786906" y="195954"/>
                    <a:pt x="785067" y="196505"/>
                    <a:pt x="783228" y="196689"/>
                  </a:cubicBezTo>
                  <a:cubicBezTo>
                    <a:pt x="782894" y="196689"/>
                    <a:pt x="782726" y="196689"/>
                    <a:pt x="782392" y="196873"/>
                  </a:cubicBezTo>
                  <a:cubicBezTo>
                    <a:pt x="781389" y="196873"/>
                    <a:pt x="780553" y="196873"/>
                    <a:pt x="779550" y="196873"/>
                  </a:cubicBezTo>
                  <a:cubicBezTo>
                    <a:pt x="779550" y="196689"/>
                    <a:pt x="779383" y="196873"/>
                    <a:pt x="779383" y="196873"/>
                  </a:cubicBezTo>
                  <a:cubicBezTo>
                    <a:pt x="776207" y="196505"/>
                    <a:pt x="773197" y="195402"/>
                    <a:pt x="770523" y="193563"/>
                  </a:cubicBezTo>
                  <a:cubicBezTo>
                    <a:pt x="769352" y="192827"/>
                    <a:pt x="768349" y="191908"/>
                    <a:pt x="767346" y="190804"/>
                  </a:cubicBezTo>
                  <a:cubicBezTo>
                    <a:pt x="766510" y="190069"/>
                    <a:pt x="765841" y="189150"/>
                    <a:pt x="765173" y="188230"/>
                  </a:cubicBezTo>
                  <a:cubicBezTo>
                    <a:pt x="764672" y="187494"/>
                    <a:pt x="764170" y="186759"/>
                    <a:pt x="763668" y="185839"/>
                  </a:cubicBezTo>
                  <a:cubicBezTo>
                    <a:pt x="763167" y="184920"/>
                    <a:pt x="762665" y="184000"/>
                    <a:pt x="762163" y="182897"/>
                  </a:cubicBezTo>
                  <a:cubicBezTo>
                    <a:pt x="761829" y="182161"/>
                    <a:pt x="761662" y="181610"/>
                    <a:pt x="761327" y="180875"/>
                  </a:cubicBezTo>
                  <a:cubicBezTo>
                    <a:pt x="760993" y="180139"/>
                    <a:pt x="760826" y="179403"/>
                    <a:pt x="760659" y="178668"/>
                  </a:cubicBezTo>
                  <a:cubicBezTo>
                    <a:pt x="760325" y="177380"/>
                    <a:pt x="760158" y="176093"/>
                    <a:pt x="759823" y="174806"/>
                  </a:cubicBezTo>
                  <a:cubicBezTo>
                    <a:pt x="759656" y="174071"/>
                    <a:pt x="759656" y="173518"/>
                    <a:pt x="759656" y="172783"/>
                  </a:cubicBezTo>
                  <a:cubicBezTo>
                    <a:pt x="759823" y="173335"/>
                    <a:pt x="759990" y="173151"/>
                    <a:pt x="759823" y="172967"/>
                  </a:cubicBezTo>
                  <a:cubicBezTo>
                    <a:pt x="759823" y="171680"/>
                    <a:pt x="759823" y="170392"/>
                    <a:pt x="759823" y="169105"/>
                  </a:cubicBezTo>
                  <a:cubicBezTo>
                    <a:pt x="759823" y="169105"/>
                    <a:pt x="759823" y="169105"/>
                    <a:pt x="759823" y="168921"/>
                  </a:cubicBezTo>
                  <a:cubicBezTo>
                    <a:pt x="759823" y="167818"/>
                    <a:pt x="759990" y="166899"/>
                    <a:pt x="760158" y="165795"/>
                  </a:cubicBezTo>
                  <a:cubicBezTo>
                    <a:pt x="760492" y="164508"/>
                    <a:pt x="760492" y="163220"/>
                    <a:pt x="760993" y="162117"/>
                  </a:cubicBezTo>
                  <a:cubicBezTo>
                    <a:pt x="761327" y="161381"/>
                    <a:pt x="761495" y="160646"/>
                    <a:pt x="761662" y="159910"/>
                  </a:cubicBezTo>
                  <a:cubicBezTo>
                    <a:pt x="762163" y="158807"/>
                    <a:pt x="762665" y="157520"/>
                    <a:pt x="763167" y="156416"/>
                  </a:cubicBezTo>
                  <a:cubicBezTo>
                    <a:pt x="763668" y="155497"/>
                    <a:pt x="764170" y="154762"/>
                    <a:pt x="764672" y="153842"/>
                  </a:cubicBezTo>
                  <a:cubicBezTo>
                    <a:pt x="765173" y="153106"/>
                    <a:pt x="765674" y="152371"/>
                    <a:pt x="766176" y="151819"/>
                  </a:cubicBezTo>
                  <a:cubicBezTo>
                    <a:pt x="766677" y="151267"/>
                    <a:pt x="767179" y="150716"/>
                    <a:pt x="767681" y="150164"/>
                  </a:cubicBezTo>
                  <a:cubicBezTo>
                    <a:pt x="768684" y="149244"/>
                    <a:pt x="769687" y="148325"/>
                    <a:pt x="770857" y="147590"/>
                  </a:cubicBezTo>
                  <a:cubicBezTo>
                    <a:pt x="771693" y="147038"/>
                    <a:pt x="772696" y="146486"/>
                    <a:pt x="773532" y="146119"/>
                  </a:cubicBezTo>
                  <a:cubicBezTo>
                    <a:pt x="775538" y="145199"/>
                    <a:pt x="777711" y="144647"/>
                    <a:pt x="780051" y="144463"/>
                  </a:cubicBezTo>
                  <a:close/>
                  <a:moveTo>
                    <a:pt x="666643" y="144463"/>
                  </a:moveTo>
                  <a:cubicBezTo>
                    <a:pt x="669485" y="144279"/>
                    <a:pt x="672328" y="144831"/>
                    <a:pt x="675003" y="145934"/>
                  </a:cubicBezTo>
                  <a:cubicBezTo>
                    <a:pt x="676841" y="146670"/>
                    <a:pt x="678513" y="147773"/>
                    <a:pt x="680018" y="149061"/>
                  </a:cubicBezTo>
                  <a:cubicBezTo>
                    <a:pt x="680854" y="149796"/>
                    <a:pt x="681522" y="150532"/>
                    <a:pt x="682358" y="151267"/>
                  </a:cubicBezTo>
                  <a:cubicBezTo>
                    <a:pt x="683194" y="152187"/>
                    <a:pt x="684030" y="153291"/>
                    <a:pt x="684699" y="154210"/>
                  </a:cubicBezTo>
                  <a:cubicBezTo>
                    <a:pt x="685201" y="154945"/>
                    <a:pt x="685702" y="155865"/>
                    <a:pt x="686036" y="156600"/>
                  </a:cubicBezTo>
                  <a:cubicBezTo>
                    <a:pt x="686705" y="157704"/>
                    <a:pt x="687206" y="158991"/>
                    <a:pt x="687541" y="160278"/>
                  </a:cubicBezTo>
                  <a:cubicBezTo>
                    <a:pt x="687875" y="161013"/>
                    <a:pt x="688042" y="161934"/>
                    <a:pt x="688209" y="162669"/>
                  </a:cubicBezTo>
                  <a:cubicBezTo>
                    <a:pt x="688544" y="163772"/>
                    <a:pt x="688711" y="165059"/>
                    <a:pt x="688878" y="166163"/>
                  </a:cubicBezTo>
                  <a:cubicBezTo>
                    <a:pt x="689380" y="169473"/>
                    <a:pt x="689380" y="172783"/>
                    <a:pt x="688711" y="175909"/>
                  </a:cubicBezTo>
                  <a:cubicBezTo>
                    <a:pt x="688544" y="177013"/>
                    <a:pt x="688377" y="178116"/>
                    <a:pt x="688042" y="179219"/>
                  </a:cubicBezTo>
                  <a:cubicBezTo>
                    <a:pt x="687708" y="180139"/>
                    <a:pt x="687541" y="180875"/>
                    <a:pt x="687206" y="181794"/>
                  </a:cubicBezTo>
                  <a:cubicBezTo>
                    <a:pt x="686872" y="182346"/>
                    <a:pt x="686705" y="182897"/>
                    <a:pt x="686538" y="183449"/>
                  </a:cubicBezTo>
                  <a:cubicBezTo>
                    <a:pt x="686036" y="184552"/>
                    <a:pt x="685534" y="185472"/>
                    <a:pt x="685033" y="186391"/>
                  </a:cubicBezTo>
                  <a:cubicBezTo>
                    <a:pt x="684531" y="187126"/>
                    <a:pt x="684030" y="187862"/>
                    <a:pt x="683528" y="188597"/>
                  </a:cubicBezTo>
                  <a:cubicBezTo>
                    <a:pt x="682860" y="189518"/>
                    <a:pt x="682024" y="190436"/>
                    <a:pt x="681188" y="191172"/>
                  </a:cubicBezTo>
                  <a:cubicBezTo>
                    <a:pt x="680519" y="191908"/>
                    <a:pt x="679683" y="192460"/>
                    <a:pt x="679015" y="193011"/>
                  </a:cubicBezTo>
                  <a:cubicBezTo>
                    <a:pt x="677844" y="193931"/>
                    <a:pt x="676507" y="194666"/>
                    <a:pt x="675169" y="195218"/>
                  </a:cubicBezTo>
                  <a:cubicBezTo>
                    <a:pt x="673498" y="195954"/>
                    <a:pt x="671659" y="196505"/>
                    <a:pt x="669820" y="196689"/>
                  </a:cubicBezTo>
                  <a:cubicBezTo>
                    <a:pt x="669485" y="196689"/>
                    <a:pt x="669318" y="196689"/>
                    <a:pt x="668984" y="196873"/>
                  </a:cubicBezTo>
                  <a:cubicBezTo>
                    <a:pt x="667981" y="196873"/>
                    <a:pt x="667145" y="196873"/>
                    <a:pt x="666142" y="196873"/>
                  </a:cubicBezTo>
                  <a:cubicBezTo>
                    <a:pt x="666142" y="196689"/>
                    <a:pt x="665975" y="196873"/>
                    <a:pt x="665975" y="196873"/>
                  </a:cubicBezTo>
                  <a:cubicBezTo>
                    <a:pt x="662798" y="196505"/>
                    <a:pt x="659789" y="195402"/>
                    <a:pt x="657114" y="193563"/>
                  </a:cubicBezTo>
                  <a:cubicBezTo>
                    <a:pt x="655944" y="192827"/>
                    <a:pt x="654941" y="191908"/>
                    <a:pt x="653938" y="190804"/>
                  </a:cubicBezTo>
                  <a:cubicBezTo>
                    <a:pt x="653102" y="190069"/>
                    <a:pt x="652433" y="189150"/>
                    <a:pt x="651765" y="188230"/>
                  </a:cubicBezTo>
                  <a:cubicBezTo>
                    <a:pt x="651263" y="187494"/>
                    <a:pt x="650761" y="186759"/>
                    <a:pt x="650260" y="185839"/>
                  </a:cubicBezTo>
                  <a:cubicBezTo>
                    <a:pt x="649758" y="184920"/>
                    <a:pt x="649257" y="184000"/>
                    <a:pt x="648755" y="182897"/>
                  </a:cubicBezTo>
                  <a:cubicBezTo>
                    <a:pt x="648421" y="182161"/>
                    <a:pt x="648254" y="181610"/>
                    <a:pt x="647919" y="180875"/>
                  </a:cubicBezTo>
                  <a:cubicBezTo>
                    <a:pt x="647585" y="180139"/>
                    <a:pt x="647418" y="179403"/>
                    <a:pt x="647251" y="178668"/>
                  </a:cubicBezTo>
                  <a:cubicBezTo>
                    <a:pt x="646917" y="177380"/>
                    <a:pt x="646749" y="176093"/>
                    <a:pt x="646415" y="174806"/>
                  </a:cubicBezTo>
                  <a:cubicBezTo>
                    <a:pt x="646247" y="174071"/>
                    <a:pt x="646247" y="173518"/>
                    <a:pt x="646247" y="172783"/>
                  </a:cubicBezTo>
                  <a:cubicBezTo>
                    <a:pt x="646415" y="173335"/>
                    <a:pt x="646582" y="173151"/>
                    <a:pt x="646415" y="172967"/>
                  </a:cubicBezTo>
                  <a:cubicBezTo>
                    <a:pt x="646415" y="171680"/>
                    <a:pt x="646415" y="170392"/>
                    <a:pt x="646415" y="169105"/>
                  </a:cubicBezTo>
                  <a:cubicBezTo>
                    <a:pt x="646415" y="169105"/>
                    <a:pt x="646415" y="169105"/>
                    <a:pt x="646415" y="168921"/>
                  </a:cubicBezTo>
                  <a:cubicBezTo>
                    <a:pt x="646415" y="167818"/>
                    <a:pt x="646582" y="166899"/>
                    <a:pt x="646749" y="165795"/>
                  </a:cubicBezTo>
                  <a:cubicBezTo>
                    <a:pt x="647083" y="164508"/>
                    <a:pt x="647083" y="163220"/>
                    <a:pt x="647585" y="162117"/>
                  </a:cubicBezTo>
                  <a:cubicBezTo>
                    <a:pt x="647919" y="161381"/>
                    <a:pt x="648087" y="160646"/>
                    <a:pt x="648254" y="159910"/>
                  </a:cubicBezTo>
                  <a:cubicBezTo>
                    <a:pt x="648755" y="158807"/>
                    <a:pt x="649257" y="157520"/>
                    <a:pt x="649758" y="156416"/>
                  </a:cubicBezTo>
                  <a:cubicBezTo>
                    <a:pt x="650260" y="155497"/>
                    <a:pt x="650761" y="154762"/>
                    <a:pt x="651263" y="153842"/>
                  </a:cubicBezTo>
                  <a:cubicBezTo>
                    <a:pt x="651765" y="153106"/>
                    <a:pt x="652266" y="152371"/>
                    <a:pt x="652768" y="151819"/>
                  </a:cubicBezTo>
                  <a:cubicBezTo>
                    <a:pt x="653269" y="151267"/>
                    <a:pt x="653770" y="150716"/>
                    <a:pt x="654272" y="150164"/>
                  </a:cubicBezTo>
                  <a:cubicBezTo>
                    <a:pt x="655276" y="149244"/>
                    <a:pt x="656279" y="148325"/>
                    <a:pt x="657449" y="147590"/>
                  </a:cubicBezTo>
                  <a:cubicBezTo>
                    <a:pt x="658284" y="147038"/>
                    <a:pt x="659288" y="146486"/>
                    <a:pt x="660123" y="146119"/>
                  </a:cubicBezTo>
                  <a:cubicBezTo>
                    <a:pt x="662130" y="145199"/>
                    <a:pt x="664303" y="144647"/>
                    <a:pt x="666643" y="144463"/>
                  </a:cubicBezTo>
                  <a:close/>
                  <a:moveTo>
                    <a:pt x="429728" y="144463"/>
                  </a:moveTo>
                  <a:cubicBezTo>
                    <a:pt x="432570" y="144279"/>
                    <a:pt x="435412" y="144831"/>
                    <a:pt x="438087" y="145934"/>
                  </a:cubicBezTo>
                  <a:cubicBezTo>
                    <a:pt x="439925" y="146670"/>
                    <a:pt x="441597" y="147773"/>
                    <a:pt x="443102" y="149061"/>
                  </a:cubicBezTo>
                  <a:cubicBezTo>
                    <a:pt x="443938" y="149796"/>
                    <a:pt x="444607" y="150532"/>
                    <a:pt x="445443" y="151267"/>
                  </a:cubicBezTo>
                  <a:cubicBezTo>
                    <a:pt x="446279" y="152187"/>
                    <a:pt x="447114" y="153291"/>
                    <a:pt x="447783" y="154210"/>
                  </a:cubicBezTo>
                  <a:cubicBezTo>
                    <a:pt x="448284" y="154945"/>
                    <a:pt x="448786" y="155865"/>
                    <a:pt x="449121" y="156600"/>
                  </a:cubicBezTo>
                  <a:cubicBezTo>
                    <a:pt x="449789" y="157704"/>
                    <a:pt x="450291" y="158991"/>
                    <a:pt x="450625" y="160278"/>
                  </a:cubicBezTo>
                  <a:cubicBezTo>
                    <a:pt x="450959" y="161013"/>
                    <a:pt x="451126" y="161934"/>
                    <a:pt x="451294" y="162669"/>
                  </a:cubicBezTo>
                  <a:cubicBezTo>
                    <a:pt x="451628" y="163772"/>
                    <a:pt x="451796" y="165059"/>
                    <a:pt x="451962" y="166163"/>
                  </a:cubicBezTo>
                  <a:cubicBezTo>
                    <a:pt x="452464" y="169473"/>
                    <a:pt x="452464" y="172783"/>
                    <a:pt x="451796" y="175909"/>
                  </a:cubicBezTo>
                  <a:cubicBezTo>
                    <a:pt x="451628" y="177013"/>
                    <a:pt x="451461" y="178116"/>
                    <a:pt x="451126" y="179219"/>
                  </a:cubicBezTo>
                  <a:cubicBezTo>
                    <a:pt x="450793" y="180139"/>
                    <a:pt x="450625" y="180875"/>
                    <a:pt x="450291" y="181794"/>
                  </a:cubicBezTo>
                  <a:cubicBezTo>
                    <a:pt x="449956" y="182346"/>
                    <a:pt x="449789" y="182897"/>
                    <a:pt x="449622" y="183449"/>
                  </a:cubicBezTo>
                  <a:cubicBezTo>
                    <a:pt x="449121" y="184552"/>
                    <a:pt x="448619" y="185472"/>
                    <a:pt x="448118" y="186391"/>
                  </a:cubicBezTo>
                  <a:cubicBezTo>
                    <a:pt x="447616" y="187126"/>
                    <a:pt x="447114" y="187862"/>
                    <a:pt x="446612" y="188597"/>
                  </a:cubicBezTo>
                  <a:cubicBezTo>
                    <a:pt x="445944" y="189518"/>
                    <a:pt x="445108" y="190436"/>
                    <a:pt x="444272" y="191172"/>
                  </a:cubicBezTo>
                  <a:cubicBezTo>
                    <a:pt x="443604" y="191908"/>
                    <a:pt x="442768" y="192460"/>
                    <a:pt x="442099" y="193011"/>
                  </a:cubicBezTo>
                  <a:cubicBezTo>
                    <a:pt x="440929" y="193931"/>
                    <a:pt x="439591" y="194666"/>
                    <a:pt x="438254" y="195218"/>
                  </a:cubicBezTo>
                  <a:cubicBezTo>
                    <a:pt x="436582" y="195954"/>
                    <a:pt x="434743" y="196505"/>
                    <a:pt x="432904" y="196689"/>
                  </a:cubicBezTo>
                  <a:cubicBezTo>
                    <a:pt x="432570" y="196689"/>
                    <a:pt x="432402" y="196689"/>
                    <a:pt x="432069" y="196873"/>
                  </a:cubicBezTo>
                  <a:cubicBezTo>
                    <a:pt x="431065" y="196873"/>
                    <a:pt x="430229" y="196873"/>
                    <a:pt x="429226" y="196873"/>
                  </a:cubicBezTo>
                  <a:cubicBezTo>
                    <a:pt x="429226" y="196689"/>
                    <a:pt x="429059" y="196873"/>
                    <a:pt x="429059" y="196873"/>
                  </a:cubicBezTo>
                  <a:cubicBezTo>
                    <a:pt x="425883" y="196505"/>
                    <a:pt x="422873" y="195402"/>
                    <a:pt x="420198" y="193563"/>
                  </a:cubicBezTo>
                  <a:cubicBezTo>
                    <a:pt x="419028" y="192827"/>
                    <a:pt x="418025" y="191908"/>
                    <a:pt x="417022" y="190804"/>
                  </a:cubicBezTo>
                  <a:cubicBezTo>
                    <a:pt x="416186" y="190069"/>
                    <a:pt x="415518" y="189150"/>
                    <a:pt x="414849" y="188230"/>
                  </a:cubicBezTo>
                  <a:cubicBezTo>
                    <a:pt x="414347" y="187494"/>
                    <a:pt x="413846" y="186759"/>
                    <a:pt x="413345" y="185839"/>
                  </a:cubicBezTo>
                  <a:cubicBezTo>
                    <a:pt x="412843" y="184920"/>
                    <a:pt x="412341" y="184000"/>
                    <a:pt x="411839" y="182897"/>
                  </a:cubicBezTo>
                  <a:cubicBezTo>
                    <a:pt x="411506" y="182161"/>
                    <a:pt x="411338" y="181610"/>
                    <a:pt x="411004" y="180875"/>
                  </a:cubicBezTo>
                  <a:cubicBezTo>
                    <a:pt x="410670" y="180139"/>
                    <a:pt x="410502" y="179403"/>
                    <a:pt x="410335" y="178668"/>
                  </a:cubicBezTo>
                  <a:cubicBezTo>
                    <a:pt x="410001" y="177380"/>
                    <a:pt x="409834" y="176093"/>
                    <a:pt x="409499" y="174806"/>
                  </a:cubicBezTo>
                  <a:cubicBezTo>
                    <a:pt x="409332" y="174071"/>
                    <a:pt x="409332" y="173518"/>
                    <a:pt x="409332" y="172783"/>
                  </a:cubicBezTo>
                  <a:cubicBezTo>
                    <a:pt x="409499" y="173335"/>
                    <a:pt x="409666" y="173151"/>
                    <a:pt x="409499" y="172967"/>
                  </a:cubicBezTo>
                  <a:cubicBezTo>
                    <a:pt x="409499" y="171680"/>
                    <a:pt x="409499" y="170392"/>
                    <a:pt x="409499" y="169105"/>
                  </a:cubicBezTo>
                  <a:cubicBezTo>
                    <a:pt x="409499" y="169105"/>
                    <a:pt x="409499" y="169105"/>
                    <a:pt x="409499" y="168921"/>
                  </a:cubicBezTo>
                  <a:cubicBezTo>
                    <a:pt x="409499" y="167818"/>
                    <a:pt x="409666" y="166899"/>
                    <a:pt x="409834" y="165795"/>
                  </a:cubicBezTo>
                  <a:cubicBezTo>
                    <a:pt x="410168" y="164508"/>
                    <a:pt x="410168" y="163220"/>
                    <a:pt x="410670" y="162117"/>
                  </a:cubicBezTo>
                  <a:cubicBezTo>
                    <a:pt x="411004" y="161381"/>
                    <a:pt x="411171" y="160646"/>
                    <a:pt x="411338" y="159910"/>
                  </a:cubicBezTo>
                  <a:cubicBezTo>
                    <a:pt x="411839" y="158807"/>
                    <a:pt x="412341" y="157520"/>
                    <a:pt x="412843" y="156416"/>
                  </a:cubicBezTo>
                  <a:cubicBezTo>
                    <a:pt x="413345" y="155497"/>
                    <a:pt x="413846" y="154762"/>
                    <a:pt x="414347" y="153842"/>
                  </a:cubicBezTo>
                  <a:cubicBezTo>
                    <a:pt x="414849" y="153106"/>
                    <a:pt x="415350" y="152371"/>
                    <a:pt x="415852" y="151819"/>
                  </a:cubicBezTo>
                  <a:cubicBezTo>
                    <a:pt x="416353" y="151267"/>
                    <a:pt x="416855" y="150716"/>
                    <a:pt x="417357" y="150164"/>
                  </a:cubicBezTo>
                  <a:cubicBezTo>
                    <a:pt x="418360" y="149244"/>
                    <a:pt x="419363" y="148325"/>
                    <a:pt x="420533" y="147590"/>
                  </a:cubicBezTo>
                  <a:cubicBezTo>
                    <a:pt x="421369" y="147038"/>
                    <a:pt x="422372" y="146486"/>
                    <a:pt x="423208" y="146119"/>
                  </a:cubicBezTo>
                  <a:cubicBezTo>
                    <a:pt x="425214" y="145199"/>
                    <a:pt x="427387" y="144647"/>
                    <a:pt x="429728" y="144463"/>
                  </a:cubicBezTo>
                  <a:close/>
                  <a:moveTo>
                    <a:pt x="306170" y="144463"/>
                  </a:moveTo>
                  <a:cubicBezTo>
                    <a:pt x="309013" y="144279"/>
                    <a:pt x="311854" y="144831"/>
                    <a:pt x="314529" y="145934"/>
                  </a:cubicBezTo>
                  <a:cubicBezTo>
                    <a:pt x="316368" y="146670"/>
                    <a:pt x="318040" y="147773"/>
                    <a:pt x="319545" y="149061"/>
                  </a:cubicBezTo>
                  <a:cubicBezTo>
                    <a:pt x="320380" y="149796"/>
                    <a:pt x="321050" y="150532"/>
                    <a:pt x="321885" y="151267"/>
                  </a:cubicBezTo>
                  <a:cubicBezTo>
                    <a:pt x="322721" y="152187"/>
                    <a:pt x="323557" y="153291"/>
                    <a:pt x="324226" y="154210"/>
                  </a:cubicBezTo>
                  <a:cubicBezTo>
                    <a:pt x="324727" y="154945"/>
                    <a:pt x="325229" y="155865"/>
                    <a:pt x="325564" y="156600"/>
                  </a:cubicBezTo>
                  <a:cubicBezTo>
                    <a:pt x="326232" y="157704"/>
                    <a:pt x="326733" y="158991"/>
                    <a:pt x="327068" y="160278"/>
                  </a:cubicBezTo>
                  <a:cubicBezTo>
                    <a:pt x="327402" y="161013"/>
                    <a:pt x="327569" y="161934"/>
                    <a:pt x="327737" y="162669"/>
                  </a:cubicBezTo>
                  <a:cubicBezTo>
                    <a:pt x="328071" y="163772"/>
                    <a:pt x="328238" y="165059"/>
                    <a:pt x="328405" y="166163"/>
                  </a:cubicBezTo>
                  <a:cubicBezTo>
                    <a:pt x="328906" y="169473"/>
                    <a:pt x="328906" y="172783"/>
                    <a:pt x="328238" y="175909"/>
                  </a:cubicBezTo>
                  <a:cubicBezTo>
                    <a:pt x="328071" y="177013"/>
                    <a:pt x="327904" y="178116"/>
                    <a:pt x="327569" y="179219"/>
                  </a:cubicBezTo>
                  <a:cubicBezTo>
                    <a:pt x="327235" y="180139"/>
                    <a:pt x="327068" y="180875"/>
                    <a:pt x="326733" y="181794"/>
                  </a:cubicBezTo>
                  <a:cubicBezTo>
                    <a:pt x="326399" y="182346"/>
                    <a:pt x="326232" y="182897"/>
                    <a:pt x="326065" y="183449"/>
                  </a:cubicBezTo>
                  <a:cubicBezTo>
                    <a:pt x="325564" y="184552"/>
                    <a:pt x="325062" y="185472"/>
                    <a:pt x="324560" y="186391"/>
                  </a:cubicBezTo>
                  <a:cubicBezTo>
                    <a:pt x="324059" y="187126"/>
                    <a:pt x="323557" y="187862"/>
                    <a:pt x="323055" y="188597"/>
                  </a:cubicBezTo>
                  <a:cubicBezTo>
                    <a:pt x="322387" y="189518"/>
                    <a:pt x="321551" y="190436"/>
                    <a:pt x="320715" y="191172"/>
                  </a:cubicBezTo>
                  <a:cubicBezTo>
                    <a:pt x="320046" y="191908"/>
                    <a:pt x="319211" y="192460"/>
                    <a:pt x="318542" y="193011"/>
                  </a:cubicBezTo>
                  <a:cubicBezTo>
                    <a:pt x="317371" y="193931"/>
                    <a:pt x="316034" y="194666"/>
                    <a:pt x="314697" y="195218"/>
                  </a:cubicBezTo>
                  <a:cubicBezTo>
                    <a:pt x="313025" y="195954"/>
                    <a:pt x="311186" y="196505"/>
                    <a:pt x="309347" y="196689"/>
                  </a:cubicBezTo>
                  <a:cubicBezTo>
                    <a:pt x="309013" y="196689"/>
                    <a:pt x="308845" y="196689"/>
                    <a:pt x="308511" y="196873"/>
                  </a:cubicBezTo>
                  <a:cubicBezTo>
                    <a:pt x="307508" y="196873"/>
                    <a:pt x="306672" y="196873"/>
                    <a:pt x="305669" y="196873"/>
                  </a:cubicBezTo>
                  <a:cubicBezTo>
                    <a:pt x="305669" y="196689"/>
                    <a:pt x="305502" y="196873"/>
                    <a:pt x="305502" y="196873"/>
                  </a:cubicBezTo>
                  <a:cubicBezTo>
                    <a:pt x="302326" y="196505"/>
                    <a:pt x="299316" y="195402"/>
                    <a:pt x="296641" y="193563"/>
                  </a:cubicBezTo>
                  <a:cubicBezTo>
                    <a:pt x="295471" y="192827"/>
                    <a:pt x="294468" y="191908"/>
                    <a:pt x="293465" y="190804"/>
                  </a:cubicBezTo>
                  <a:cubicBezTo>
                    <a:pt x="292629" y="190069"/>
                    <a:pt x="291960" y="189150"/>
                    <a:pt x="291292" y="188230"/>
                  </a:cubicBezTo>
                  <a:cubicBezTo>
                    <a:pt x="290790" y="187494"/>
                    <a:pt x="290289" y="186759"/>
                    <a:pt x="289787" y="185839"/>
                  </a:cubicBezTo>
                  <a:cubicBezTo>
                    <a:pt x="289286" y="184920"/>
                    <a:pt x="288784" y="184000"/>
                    <a:pt x="288282" y="182897"/>
                  </a:cubicBezTo>
                  <a:cubicBezTo>
                    <a:pt x="287948" y="182161"/>
                    <a:pt x="287781" y="181610"/>
                    <a:pt x="287446" y="180875"/>
                  </a:cubicBezTo>
                  <a:cubicBezTo>
                    <a:pt x="287112" y="180139"/>
                    <a:pt x="286945" y="179403"/>
                    <a:pt x="286778" y="178668"/>
                  </a:cubicBezTo>
                  <a:cubicBezTo>
                    <a:pt x="286443" y="177380"/>
                    <a:pt x="286276" y="176093"/>
                    <a:pt x="285942" y="174806"/>
                  </a:cubicBezTo>
                  <a:cubicBezTo>
                    <a:pt x="285775" y="174071"/>
                    <a:pt x="285775" y="173518"/>
                    <a:pt x="285775" y="172783"/>
                  </a:cubicBezTo>
                  <a:cubicBezTo>
                    <a:pt x="285942" y="173335"/>
                    <a:pt x="286109" y="173151"/>
                    <a:pt x="285942" y="172967"/>
                  </a:cubicBezTo>
                  <a:cubicBezTo>
                    <a:pt x="285942" y="171680"/>
                    <a:pt x="285942" y="170392"/>
                    <a:pt x="285942" y="169105"/>
                  </a:cubicBezTo>
                  <a:cubicBezTo>
                    <a:pt x="285942" y="169105"/>
                    <a:pt x="285942" y="169105"/>
                    <a:pt x="285942" y="168921"/>
                  </a:cubicBezTo>
                  <a:cubicBezTo>
                    <a:pt x="285942" y="167818"/>
                    <a:pt x="286109" y="166899"/>
                    <a:pt x="286276" y="165795"/>
                  </a:cubicBezTo>
                  <a:cubicBezTo>
                    <a:pt x="286611" y="164508"/>
                    <a:pt x="286611" y="163220"/>
                    <a:pt x="287112" y="162117"/>
                  </a:cubicBezTo>
                  <a:cubicBezTo>
                    <a:pt x="287446" y="161381"/>
                    <a:pt x="287614" y="160646"/>
                    <a:pt x="287781" y="159910"/>
                  </a:cubicBezTo>
                  <a:cubicBezTo>
                    <a:pt x="288282" y="158807"/>
                    <a:pt x="288784" y="157520"/>
                    <a:pt x="289286" y="156416"/>
                  </a:cubicBezTo>
                  <a:cubicBezTo>
                    <a:pt x="289787" y="155497"/>
                    <a:pt x="290289" y="154762"/>
                    <a:pt x="290790" y="153842"/>
                  </a:cubicBezTo>
                  <a:cubicBezTo>
                    <a:pt x="291292" y="153106"/>
                    <a:pt x="291793" y="152371"/>
                    <a:pt x="292294" y="151819"/>
                  </a:cubicBezTo>
                  <a:cubicBezTo>
                    <a:pt x="292796" y="151267"/>
                    <a:pt x="293298" y="150716"/>
                    <a:pt x="293799" y="150164"/>
                  </a:cubicBezTo>
                  <a:cubicBezTo>
                    <a:pt x="294802" y="149244"/>
                    <a:pt x="295805" y="148325"/>
                    <a:pt x="296976" y="147590"/>
                  </a:cubicBezTo>
                  <a:cubicBezTo>
                    <a:pt x="297812" y="147038"/>
                    <a:pt x="298815" y="146486"/>
                    <a:pt x="299650" y="146119"/>
                  </a:cubicBezTo>
                  <a:cubicBezTo>
                    <a:pt x="301656" y="145199"/>
                    <a:pt x="303830" y="144647"/>
                    <a:pt x="306170" y="144463"/>
                  </a:cubicBezTo>
                  <a:close/>
                  <a:moveTo>
                    <a:pt x="141157" y="144463"/>
                  </a:moveTo>
                  <a:cubicBezTo>
                    <a:pt x="144000" y="144279"/>
                    <a:pt x="146842" y="144831"/>
                    <a:pt x="149516" y="145934"/>
                  </a:cubicBezTo>
                  <a:cubicBezTo>
                    <a:pt x="151355" y="146670"/>
                    <a:pt x="153027" y="147773"/>
                    <a:pt x="154532" y="149061"/>
                  </a:cubicBezTo>
                  <a:cubicBezTo>
                    <a:pt x="155367" y="149796"/>
                    <a:pt x="156037" y="150532"/>
                    <a:pt x="156872" y="151267"/>
                  </a:cubicBezTo>
                  <a:cubicBezTo>
                    <a:pt x="157708" y="152187"/>
                    <a:pt x="158544" y="153291"/>
                    <a:pt x="159213" y="154210"/>
                  </a:cubicBezTo>
                  <a:cubicBezTo>
                    <a:pt x="159714" y="154945"/>
                    <a:pt x="160216" y="155865"/>
                    <a:pt x="160551" y="156600"/>
                  </a:cubicBezTo>
                  <a:cubicBezTo>
                    <a:pt x="161219" y="157704"/>
                    <a:pt x="161720" y="158991"/>
                    <a:pt x="162054" y="160278"/>
                  </a:cubicBezTo>
                  <a:cubicBezTo>
                    <a:pt x="162389" y="161013"/>
                    <a:pt x="162556" y="161934"/>
                    <a:pt x="162724" y="162669"/>
                  </a:cubicBezTo>
                  <a:cubicBezTo>
                    <a:pt x="163058" y="163772"/>
                    <a:pt x="163225" y="165059"/>
                    <a:pt x="163392" y="166163"/>
                  </a:cubicBezTo>
                  <a:cubicBezTo>
                    <a:pt x="163893" y="169473"/>
                    <a:pt x="163893" y="172783"/>
                    <a:pt x="163225" y="175909"/>
                  </a:cubicBezTo>
                  <a:cubicBezTo>
                    <a:pt x="163058" y="177013"/>
                    <a:pt x="162891" y="178116"/>
                    <a:pt x="162556" y="179219"/>
                  </a:cubicBezTo>
                  <a:cubicBezTo>
                    <a:pt x="162222" y="180139"/>
                    <a:pt x="162054" y="180875"/>
                    <a:pt x="161720" y="181794"/>
                  </a:cubicBezTo>
                  <a:cubicBezTo>
                    <a:pt x="161386" y="182346"/>
                    <a:pt x="161219" y="182897"/>
                    <a:pt x="161051" y="183449"/>
                  </a:cubicBezTo>
                  <a:cubicBezTo>
                    <a:pt x="160551" y="184552"/>
                    <a:pt x="160049" y="185472"/>
                    <a:pt x="159547" y="186391"/>
                  </a:cubicBezTo>
                  <a:cubicBezTo>
                    <a:pt x="159046" y="187126"/>
                    <a:pt x="158544" y="187862"/>
                    <a:pt x="158042" y="188597"/>
                  </a:cubicBezTo>
                  <a:cubicBezTo>
                    <a:pt x="157374" y="189518"/>
                    <a:pt x="156538" y="190436"/>
                    <a:pt x="155702" y="191172"/>
                  </a:cubicBezTo>
                  <a:cubicBezTo>
                    <a:pt x="155033" y="191908"/>
                    <a:pt x="154198" y="192460"/>
                    <a:pt x="153529" y="193011"/>
                  </a:cubicBezTo>
                  <a:cubicBezTo>
                    <a:pt x="152358" y="193931"/>
                    <a:pt x="151021" y="194666"/>
                    <a:pt x="149684" y="195218"/>
                  </a:cubicBezTo>
                  <a:cubicBezTo>
                    <a:pt x="148012" y="195954"/>
                    <a:pt x="146173" y="196505"/>
                    <a:pt x="144334" y="196689"/>
                  </a:cubicBezTo>
                  <a:cubicBezTo>
                    <a:pt x="144000" y="196689"/>
                    <a:pt x="143832" y="196689"/>
                    <a:pt x="143498" y="196873"/>
                  </a:cubicBezTo>
                  <a:cubicBezTo>
                    <a:pt x="142495" y="196873"/>
                    <a:pt x="141659" y="196873"/>
                    <a:pt x="140656" y="196873"/>
                  </a:cubicBezTo>
                  <a:cubicBezTo>
                    <a:pt x="140656" y="196689"/>
                    <a:pt x="140489" y="196873"/>
                    <a:pt x="140489" y="196873"/>
                  </a:cubicBezTo>
                  <a:cubicBezTo>
                    <a:pt x="137312" y="196505"/>
                    <a:pt x="134303" y="195402"/>
                    <a:pt x="131628" y="193563"/>
                  </a:cubicBezTo>
                  <a:cubicBezTo>
                    <a:pt x="130458" y="192827"/>
                    <a:pt x="129455" y="191908"/>
                    <a:pt x="128452" y="190804"/>
                  </a:cubicBezTo>
                  <a:cubicBezTo>
                    <a:pt x="127616" y="190069"/>
                    <a:pt x="126947" y="189150"/>
                    <a:pt x="126279" y="188230"/>
                  </a:cubicBezTo>
                  <a:cubicBezTo>
                    <a:pt x="125777" y="187494"/>
                    <a:pt x="125275" y="186759"/>
                    <a:pt x="124774" y="185839"/>
                  </a:cubicBezTo>
                  <a:cubicBezTo>
                    <a:pt x="124272" y="184920"/>
                    <a:pt x="123771" y="184000"/>
                    <a:pt x="123269" y="182897"/>
                  </a:cubicBezTo>
                  <a:cubicBezTo>
                    <a:pt x="122935" y="182161"/>
                    <a:pt x="122767" y="181610"/>
                    <a:pt x="122433" y="180875"/>
                  </a:cubicBezTo>
                  <a:cubicBezTo>
                    <a:pt x="122099" y="180139"/>
                    <a:pt x="121932" y="179403"/>
                    <a:pt x="121765" y="178668"/>
                  </a:cubicBezTo>
                  <a:cubicBezTo>
                    <a:pt x="121430" y="177380"/>
                    <a:pt x="121263" y="176093"/>
                    <a:pt x="120929" y="174806"/>
                  </a:cubicBezTo>
                  <a:cubicBezTo>
                    <a:pt x="120762" y="174071"/>
                    <a:pt x="120762" y="173518"/>
                    <a:pt x="120762" y="172783"/>
                  </a:cubicBezTo>
                  <a:cubicBezTo>
                    <a:pt x="120929" y="173335"/>
                    <a:pt x="121096" y="173151"/>
                    <a:pt x="120929" y="172967"/>
                  </a:cubicBezTo>
                  <a:cubicBezTo>
                    <a:pt x="120929" y="171680"/>
                    <a:pt x="120929" y="170392"/>
                    <a:pt x="120929" y="169105"/>
                  </a:cubicBezTo>
                  <a:cubicBezTo>
                    <a:pt x="120929" y="169105"/>
                    <a:pt x="120929" y="169105"/>
                    <a:pt x="120929" y="168921"/>
                  </a:cubicBezTo>
                  <a:cubicBezTo>
                    <a:pt x="120929" y="167818"/>
                    <a:pt x="121096" y="166899"/>
                    <a:pt x="121263" y="165795"/>
                  </a:cubicBezTo>
                  <a:cubicBezTo>
                    <a:pt x="121598" y="164508"/>
                    <a:pt x="121598" y="163220"/>
                    <a:pt x="122099" y="162117"/>
                  </a:cubicBezTo>
                  <a:cubicBezTo>
                    <a:pt x="122433" y="161381"/>
                    <a:pt x="122601" y="160646"/>
                    <a:pt x="122767" y="159910"/>
                  </a:cubicBezTo>
                  <a:cubicBezTo>
                    <a:pt x="123269" y="158807"/>
                    <a:pt x="123771" y="157520"/>
                    <a:pt x="124272" y="156416"/>
                  </a:cubicBezTo>
                  <a:cubicBezTo>
                    <a:pt x="124774" y="155497"/>
                    <a:pt x="125275" y="154762"/>
                    <a:pt x="125777" y="153842"/>
                  </a:cubicBezTo>
                  <a:cubicBezTo>
                    <a:pt x="126279" y="153106"/>
                    <a:pt x="126780" y="152371"/>
                    <a:pt x="127281" y="151819"/>
                  </a:cubicBezTo>
                  <a:cubicBezTo>
                    <a:pt x="127783" y="151267"/>
                    <a:pt x="128285" y="150716"/>
                    <a:pt x="128786" y="150164"/>
                  </a:cubicBezTo>
                  <a:cubicBezTo>
                    <a:pt x="129789" y="149244"/>
                    <a:pt x="130792" y="148325"/>
                    <a:pt x="131962" y="147590"/>
                  </a:cubicBezTo>
                  <a:cubicBezTo>
                    <a:pt x="132799" y="147038"/>
                    <a:pt x="133802" y="146486"/>
                    <a:pt x="134638" y="146119"/>
                  </a:cubicBezTo>
                  <a:cubicBezTo>
                    <a:pt x="136643" y="145199"/>
                    <a:pt x="138817" y="144647"/>
                    <a:pt x="141157" y="144463"/>
                  </a:cubicBezTo>
                  <a:close/>
                  <a:moveTo>
                    <a:pt x="2254193" y="138868"/>
                  </a:moveTo>
                  <a:cubicBezTo>
                    <a:pt x="2262512" y="138868"/>
                    <a:pt x="2269453" y="144769"/>
                    <a:pt x="2271058" y="152613"/>
                  </a:cubicBezTo>
                  <a:lnTo>
                    <a:pt x="2271384" y="155849"/>
                  </a:lnTo>
                  <a:lnTo>
                    <a:pt x="2272349" y="155849"/>
                  </a:lnTo>
                  <a:cubicBezTo>
                    <a:pt x="2274776" y="155849"/>
                    <a:pt x="2276738" y="157760"/>
                    <a:pt x="2276738" y="160125"/>
                  </a:cubicBezTo>
                  <a:cubicBezTo>
                    <a:pt x="2276738" y="160125"/>
                    <a:pt x="2276738" y="160125"/>
                    <a:pt x="2276738" y="193942"/>
                  </a:cubicBezTo>
                  <a:cubicBezTo>
                    <a:pt x="2276738" y="196306"/>
                    <a:pt x="2274776" y="198217"/>
                    <a:pt x="2272349" y="198217"/>
                  </a:cubicBezTo>
                  <a:cubicBezTo>
                    <a:pt x="2272349" y="198217"/>
                    <a:pt x="2272349" y="198217"/>
                    <a:pt x="2236039" y="198217"/>
                  </a:cubicBezTo>
                  <a:cubicBezTo>
                    <a:pt x="2233611" y="198217"/>
                    <a:pt x="2231649" y="196306"/>
                    <a:pt x="2231649" y="193942"/>
                  </a:cubicBezTo>
                  <a:cubicBezTo>
                    <a:pt x="2231649" y="193942"/>
                    <a:pt x="2231649" y="193942"/>
                    <a:pt x="2231649" y="160125"/>
                  </a:cubicBezTo>
                  <a:cubicBezTo>
                    <a:pt x="2231649" y="157760"/>
                    <a:pt x="2233611" y="155849"/>
                    <a:pt x="2236039" y="155849"/>
                  </a:cubicBezTo>
                  <a:cubicBezTo>
                    <a:pt x="2236039" y="155849"/>
                    <a:pt x="2236039" y="155849"/>
                    <a:pt x="2236606" y="155849"/>
                  </a:cubicBezTo>
                  <a:lnTo>
                    <a:pt x="2237003" y="155849"/>
                  </a:lnTo>
                  <a:lnTo>
                    <a:pt x="2237330" y="152613"/>
                  </a:lnTo>
                  <a:cubicBezTo>
                    <a:pt x="2238935" y="144769"/>
                    <a:pt x="2245875" y="138868"/>
                    <a:pt x="2254193" y="138868"/>
                  </a:cubicBezTo>
                  <a:close/>
                  <a:moveTo>
                    <a:pt x="1965623" y="138868"/>
                  </a:moveTo>
                  <a:cubicBezTo>
                    <a:pt x="1973942" y="138868"/>
                    <a:pt x="1980883" y="144769"/>
                    <a:pt x="1982488" y="152613"/>
                  </a:cubicBezTo>
                  <a:lnTo>
                    <a:pt x="1982814" y="155849"/>
                  </a:lnTo>
                  <a:lnTo>
                    <a:pt x="1983779" y="155849"/>
                  </a:lnTo>
                  <a:cubicBezTo>
                    <a:pt x="1986206" y="155849"/>
                    <a:pt x="1988168" y="157760"/>
                    <a:pt x="1988168" y="160125"/>
                  </a:cubicBezTo>
                  <a:cubicBezTo>
                    <a:pt x="1988168" y="160125"/>
                    <a:pt x="1988168" y="160125"/>
                    <a:pt x="1988168" y="193942"/>
                  </a:cubicBezTo>
                  <a:cubicBezTo>
                    <a:pt x="1988168" y="196306"/>
                    <a:pt x="1986206" y="198217"/>
                    <a:pt x="1983779" y="198217"/>
                  </a:cubicBezTo>
                  <a:cubicBezTo>
                    <a:pt x="1983779" y="198217"/>
                    <a:pt x="1983779" y="198217"/>
                    <a:pt x="1947468" y="198217"/>
                  </a:cubicBezTo>
                  <a:cubicBezTo>
                    <a:pt x="1945041" y="198217"/>
                    <a:pt x="1943079" y="196306"/>
                    <a:pt x="1943079" y="193942"/>
                  </a:cubicBezTo>
                  <a:cubicBezTo>
                    <a:pt x="1943079" y="193942"/>
                    <a:pt x="1943079" y="193942"/>
                    <a:pt x="1943079" y="160125"/>
                  </a:cubicBezTo>
                  <a:cubicBezTo>
                    <a:pt x="1943079" y="157760"/>
                    <a:pt x="1945041" y="155849"/>
                    <a:pt x="1947468" y="155849"/>
                  </a:cubicBezTo>
                  <a:cubicBezTo>
                    <a:pt x="1947468" y="155849"/>
                    <a:pt x="1947468" y="155849"/>
                    <a:pt x="1948036" y="155849"/>
                  </a:cubicBezTo>
                  <a:lnTo>
                    <a:pt x="1948433" y="155849"/>
                  </a:lnTo>
                  <a:lnTo>
                    <a:pt x="1948760" y="152613"/>
                  </a:lnTo>
                  <a:cubicBezTo>
                    <a:pt x="1950365" y="144769"/>
                    <a:pt x="1957305" y="138868"/>
                    <a:pt x="1965623" y="138868"/>
                  </a:cubicBezTo>
                  <a:close/>
                  <a:moveTo>
                    <a:pt x="1903870" y="138868"/>
                  </a:moveTo>
                  <a:cubicBezTo>
                    <a:pt x="1912188" y="138868"/>
                    <a:pt x="1919129" y="144769"/>
                    <a:pt x="1920734" y="152613"/>
                  </a:cubicBezTo>
                  <a:lnTo>
                    <a:pt x="1921060" y="155849"/>
                  </a:lnTo>
                  <a:lnTo>
                    <a:pt x="1922025" y="155849"/>
                  </a:lnTo>
                  <a:cubicBezTo>
                    <a:pt x="1924452" y="155849"/>
                    <a:pt x="1926414" y="157760"/>
                    <a:pt x="1926414" y="160125"/>
                  </a:cubicBezTo>
                  <a:cubicBezTo>
                    <a:pt x="1926414" y="160125"/>
                    <a:pt x="1926414" y="160125"/>
                    <a:pt x="1926414" y="193942"/>
                  </a:cubicBezTo>
                  <a:cubicBezTo>
                    <a:pt x="1926414" y="196306"/>
                    <a:pt x="1924452" y="198217"/>
                    <a:pt x="1922025" y="198217"/>
                  </a:cubicBezTo>
                  <a:cubicBezTo>
                    <a:pt x="1922025" y="198217"/>
                    <a:pt x="1922025" y="198217"/>
                    <a:pt x="1885714" y="198217"/>
                  </a:cubicBezTo>
                  <a:cubicBezTo>
                    <a:pt x="1883288" y="198217"/>
                    <a:pt x="1881325" y="196306"/>
                    <a:pt x="1881325" y="193942"/>
                  </a:cubicBezTo>
                  <a:cubicBezTo>
                    <a:pt x="1881325" y="193942"/>
                    <a:pt x="1881325" y="193942"/>
                    <a:pt x="1881325" y="160125"/>
                  </a:cubicBezTo>
                  <a:cubicBezTo>
                    <a:pt x="1881325" y="157760"/>
                    <a:pt x="1883288" y="155849"/>
                    <a:pt x="1885714" y="155849"/>
                  </a:cubicBezTo>
                  <a:cubicBezTo>
                    <a:pt x="1885714" y="155849"/>
                    <a:pt x="1885714" y="155849"/>
                    <a:pt x="1886282" y="155849"/>
                  </a:cubicBezTo>
                  <a:lnTo>
                    <a:pt x="1886679" y="155849"/>
                  </a:lnTo>
                  <a:lnTo>
                    <a:pt x="1887006" y="152613"/>
                  </a:lnTo>
                  <a:cubicBezTo>
                    <a:pt x="1888611" y="144769"/>
                    <a:pt x="1895551" y="138868"/>
                    <a:pt x="1903870" y="138868"/>
                  </a:cubicBezTo>
                  <a:close/>
                  <a:moveTo>
                    <a:pt x="1780313" y="138868"/>
                  </a:moveTo>
                  <a:cubicBezTo>
                    <a:pt x="1788631" y="138868"/>
                    <a:pt x="1795572" y="144769"/>
                    <a:pt x="1797177" y="152613"/>
                  </a:cubicBezTo>
                  <a:lnTo>
                    <a:pt x="1797503" y="155849"/>
                  </a:lnTo>
                  <a:lnTo>
                    <a:pt x="1798468" y="155849"/>
                  </a:lnTo>
                  <a:cubicBezTo>
                    <a:pt x="1800895" y="155849"/>
                    <a:pt x="1802857" y="157760"/>
                    <a:pt x="1802857" y="160125"/>
                  </a:cubicBezTo>
                  <a:cubicBezTo>
                    <a:pt x="1802857" y="160125"/>
                    <a:pt x="1802857" y="160125"/>
                    <a:pt x="1802857" y="193942"/>
                  </a:cubicBezTo>
                  <a:cubicBezTo>
                    <a:pt x="1802857" y="196306"/>
                    <a:pt x="1800895" y="198217"/>
                    <a:pt x="1798468" y="198217"/>
                  </a:cubicBezTo>
                  <a:cubicBezTo>
                    <a:pt x="1798468" y="198217"/>
                    <a:pt x="1798468" y="198217"/>
                    <a:pt x="1762157" y="198217"/>
                  </a:cubicBezTo>
                  <a:cubicBezTo>
                    <a:pt x="1759730" y="198217"/>
                    <a:pt x="1757768" y="196306"/>
                    <a:pt x="1757768" y="193942"/>
                  </a:cubicBezTo>
                  <a:cubicBezTo>
                    <a:pt x="1757768" y="193942"/>
                    <a:pt x="1757768" y="193942"/>
                    <a:pt x="1757768" y="160125"/>
                  </a:cubicBezTo>
                  <a:cubicBezTo>
                    <a:pt x="1757768" y="157760"/>
                    <a:pt x="1759730" y="155849"/>
                    <a:pt x="1762157" y="155849"/>
                  </a:cubicBezTo>
                  <a:cubicBezTo>
                    <a:pt x="1762157" y="155849"/>
                    <a:pt x="1762157" y="155849"/>
                    <a:pt x="1762725" y="155849"/>
                  </a:cubicBezTo>
                  <a:lnTo>
                    <a:pt x="1763122" y="155849"/>
                  </a:lnTo>
                  <a:lnTo>
                    <a:pt x="1763449" y="152613"/>
                  </a:lnTo>
                  <a:cubicBezTo>
                    <a:pt x="1765054" y="144769"/>
                    <a:pt x="1771994" y="138868"/>
                    <a:pt x="1780313" y="138868"/>
                  </a:cubicBezTo>
                  <a:close/>
                  <a:moveTo>
                    <a:pt x="1491742" y="138868"/>
                  </a:moveTo>
                  <a:cubicBezTo>
                    <a:pt x="1500061" y="138868"/>
                    <a:pt x="1507002" y="144769"/>
                    <a:pt x="1508607" y="152613"/>
                  </a:cubicBezTo>
                  <a:lnTo>
                    <a:pt x="1508933" y="155849"/>
                  </a:lnTo>
                  <a:lnTo>
                    <a:pt x="1509898" y="155849"/>
                  </a:lnTo>
                  <a:cubicBezTo>
                    <a:pt x="1512325" y="155849"/>
                    <a:pt x="1514287" y="157760"/>
                    <a:pt x="1514287" y="160125"/>
                  </a:cubicBezTo>
                  <a:cubicBezTo>
                    <a:pt x="1514287" y="160125"/>
                    <a:pt x="1514287" y="160125"/>
                    <a:pt x="1514287" y="193942"/>
                  </a:cubicBezTo>
                  <a:cubicBezTo>
                    <a:pt x="1514287" y="196306"/>
                    <a:pt x="1512325" y="198217"/>
                    <a:pt x="1509898" y="198217"/>
                  </a:cubicBezTo>
                  <a:cubicBezTo>
                    <a:pt x="1509898" y="198217"/>
                    <a:pt x="1509898" y="198217"/>
                    <a:pt x="1473587" y="198217"/>
                  </a:cubicBezTo>
                  <a:cubicBezTo>
                    <a:pt x="1471160" y="198217"/>
                    <a:pt x="1469198" y="196306"/>
                    <a:pt x="1469198" y="193942"/>
                  </a:cubicBezTo>
                  <a:cubicBezTo>
                    <a:pt x="1469198" y="193942"/>
                    <a:pt x="1469198" y="193942"/>
                    <a:pt x="1469198" y="160125"/>
                  </a:cubicBezTo>
                  <a:cubicBezTo>
                    <a:pt x="1469198" y="157760"/>
                    <a:pt x="1471160" y="155849"/>
                    <a:pt x="1473587" y="155849"/>
                  </a:cubicBezTo>
                  <a:cubicBezTo>
                    <a:pt x="1473587" y="155849"/>
                    <a:pt x="1473587" y="155849"/>
                    <a:pt x="1474155" y="155849"/>
                  </a:cubicBezTo>
                  <a:lnTo>
                    <a:pt x="1474552" y="155849"/>
                  </a:lnTo>
                  <a:lnTo>
                    <a:pt x="1474879" y="152613"/>
                  </a:lnTo>
                  <a:cubicBezTo>
                    <a:pt x="1476484" y="144769"/>
                    <a:pt x="1483424" y="138868"/>
                    <a:pt x="1491742" y="138868"/>
                  </a:cubicBezTo>
                  <a:close/>
                  <a:moveTo>
                    <a:pt x="1316580" y="138868"/>
                  </a:moveTo>
                  <a:cubicBezTo>
                    <a:pt x="1324899" y="138868"/>
                    <a:pt x="1331839" y="144769"/>
                    <a:pt x="1333445" y="152613"/>
                  </a:cubicBezTo>
                  <a:lnTo>
                    <a:pt x="1333771" y="155849"/>
                  </a:lnTo>
                  <a:lnTo>
                    <a:pt x="1334736" y="155849"/>
                  </a:lnTo>
                  <a:cubicBezTo>
                    <a:pt x="1337163" y="155849"/>
                    <a:pt x="1339125" y="157760"/>
                    <a:pt x="1339125" y="160125"/>
                  </a:cubicBezTo>
                  <a:cubicBezTo>
                    <a:pt x="1339125" y="160125"/>
                    <a:pt x="1339125" y="160125"/>
                    <a:pt x="1339125" y="193942"/>
                  </a:cubicBezTo>
                  <a:cubicBezTo>
                    <a:pt x="1339125" y="196306"/>
                    <a:pt x="1337163" y="198217"/>
                    <a:pt x="1334736" y="198217"/>
                  </a:cubicBezTo>
                  <a:cubicBezTo>
                    <a:pt x="1334736" y="198217"/>
                    <a:pt x="1334736" y="198217"/>
                    <a:pt x="1298425" y="198217"/>
                  </a:cubicBezTo>
                  <a:cubicBezTo>
                    <a:pt x="1295998" y="198217"/>
                    <a:pt x="1294036" y="196306"/>
                    <a:pt x="1294036" y="193942"/>
                  </a:cubicBezTo>
                  <a:cubicBezTo>
                    <a:pt x="1294036" y="193942"/>
                    <a:pt x="1294036" y="193942"/>
                    <a:pt x="1294036" y="160125"/>
                  </a:cubicBezTo>
                  <a:cubicBezTo>
                    <a:pt x="1294036" y="157760"/>
                    <a:pt x="1295998" y="155849"/>
                    <a:pt x="1298425" y="155849"/>
                  </a:cubicBezTo>
                  <a:cubicBezTo>
                    <a:pt x="1298425" y="155849"/>
                    <a:pt x="1298425" y="155849"/>
                    <a:pt x="1298993" y="155849"/>
                  </a:cubicBezTo>
                  <a:lnTo>
                    <a:pt x="1299390" y="155849"/>
                  </a:lnTo>
                  <a:lnTo>
                    <a:pt x="1299717" y="152613"/>
                  </a:lnTo>
                  <a:cubicBezTo>
                    <a:pt x="1301322" y="144769"/>
                    <a:pt x="1308262" y="138868"/>
                    <a:pt x="1316580" y="138868"/>
                  </a:cubicBezTo>
                  <a:close/>
                  <a:moveTo>
                    <a:pt x="1254827" y="138868"/>
                  </a:moveTo>
                  <a:cubicBezTo>
                    <a:pt x="1263145" y="138868"/>
                    <a:pt x="1270085" y="144769"/>
                    <a:pt x="1271691" y="152613"/>
                  </a:cubicBezTo>
                  <a:lnTo>
                    <a:pt x="1272017" y="155849"/>
                  </a:lnTo>
                  <a:lnTo>
                    <a:pt x="1272982" y="155849"/>
                  </a:lnTo>
                  <a:cubicBezTo>
                    <a:pt x="1275409" y="155849"/>
                    <a:pt x="1277371" y="157760"/>
                    <a:pt x="1277371" y="160125"/>
                  </a:cubicBezTo>
                  <a:cubicBezTo>
                    <a:pt x="1277371" y="160125"/>
                    <a:pt x="1277371" y="160125"/>
                    <a:pt x="1277371" y="193942"/>
                  </a:cubicBezTo>
                  <a:cubicBezTo>
                    <a:pt x="1277371" y="196306"/>
                    <a:pt x="1275409" y="198217"/>
                    <a:pt x="1272982" y="198217"/>
                  </a:cubicBezTo>
                  <a:cubicBezTo>
                    <a:pt x="1272982" y="198217"/>
                    <a:pt x="1272982" y="198217"/>
                    <a:pt x="1236671" y="198217"/>
                  </a:cubicBezTo>
                  <a:cubicBezTo>
                    <a:pt x="1234245" y="198217"/>
                    <a:pt x="1232282" y="196306"/>
                    <a:pt x="1232282" y="193942"/>
                  </a:cubicBezTo>
                  <a:cubicBezTo>
                    <a:pt x="1232282" y="193942"/>
                    <a:pt x="1232282" y="193942"/>
                    <a:pt x="1232282" y="160125"/>
                  </a:cubicBezTo>
                  <a:cubicBezTo>
                    <a:pt x="1232282" y="157760"/>
                    <a:pt x="1234245" y="155849"/>
                    <a:pt x="1236671" y="155849"/>
                  </a:cubicBezTo>
                  <a:cubicBezTo>
                    <a:pt x="1236671" y="155849"/>
                    <a:pt x="1236671" y="155849"/>
                    <a:pt x="1237239" y="155849"/>
                  </a:cubicBezTo>
                  <a:lnTo>
                    <a:pt x="1237636" y="155849"/>
                  </a:lnTo>
                  <a:lnTo>
                    <a:pt x="1237963" y="152613"/>
                  </a:lnTo>
                  <a:cubicBezTo>
                    <a:pt x="1239568" y="144769"/>
                    <a:pt x="1246508" y="138868"/>
                    <a:pt x="1254827" y="138868"/>
                  </a:cubicBezTo>
                  <a:close/>
                  <a:moveTo>
                    <a:pt x="1079665" y="138868"/>
                  </a:moveTo>
                  <a:cubicBezTo>
                    <a:pt x="1087983" y="138868"/>
                    <a:pt x="1094924" y="144769"/>
                    <a:pt x="1096529" y="152613"/>
                  </a:cubicBezTo>
                  <a:lnTo>
                    <a:pt x="1096855" y="155849"/>
                  </a:lnTo>
                  <a:lnTo>
                    <a:pt x="1097820" y="155849"/>
                  </a:lnTo>
                  <a:cubicBezTo>
                    <a:pt x="1100248" y="155849"/>
                    <a:pt x="1102210" y="157760"/>
                    <a:pt x="1102210" y="160125"/>
                  </a:cubicBezTo>
                  <a:cubicBezTo>
                    <a:pt x="1102210" y="160125"/>
                    <a:pt x="1102210" y="160125"/>
                    <a:pt x="1102210" y="193942"/>
                  </a:cubicBezTo>
                  <a:cubicBezTo>
                    <a:pt x="1102210" y="196306"/>
                    <a:pt x="1100248" y="198217"/>
                    <a:pt x="1097820" y="198217"/>
                  </a:cubicBezTo>
                  <a:cubicBezTo>
                    <a:pt x="1097820" y="198217"/>
                    <a:pt x="1097820" y="198217"/>
                    <a:pt x="1061510" y="198217"/>
                  </a:cubicBezTo>
                  <a:cubicBezTo>
                    <a:pt x="1059083" y="198217"/>
                    <a:pt x="1057121" y="196306"/>
                    <a:pt x="1057121" y="193942"/>
                  </a:cubicBezTo>
                  <a:cubicBezTo>
                    <a:pt x="1057121" y="193942"/>
                    <a:pt x="1057121" y="193942"/>
                    <a:pt x="1057121" y="160125"/>
                  </a:cubicBezTo>
                  <a:cubicBezTo>
                    <a:pt x="1057121" y="157760"/>
                    <a:pt x="1059083" y="155849"/>
                    <a:pt x="1061510" y="155849"/>
                  </a:cubicBezTo>
                  <a:cubicBezTo>
                    <a:pt x="1061510" y="155849"/>
                    <a:pt x="1061510" y="155849"/>
                    <a:pt x="1062077" y="155849"/>
                  </a:cubicBezTo>
                  <a:lnTo>
                    <a:pt x="1062475" y="155849"/>
                  </a:lnTo>
                  <a:lnTo>
                    <a:pt x="1062801" y="152613"/>
                  </a:lnTo>
                  <a:cubicBezTo>
                    <a:pt x="1064406" y="144769"/>
                    <a:pt x="1071346" y="138868"/>
                    <a:pt x="1079665" y="138868"/>
                  </a:cubicBezTo>
                  <a:close/>
                  <a:moveTo>
                    <a:pt x="1017912" y="138868"/>
                  </a:moveTo>
                  <a:cubicBezTo>
                    <a:pt x="1026230" y="138868"/>
                    <a:pt x="1033171" y="144769"/>
                    <a:pt x="1034776" y="152613"/>
                  </a:cubicBezTo>
                  <a:lnTo>
                    <a:pt x="1035102" y="155849"/>
                  </a:lnTo>
                  <a:lnTo>
                    <a:pt x="1036067" y="155849"/>
                  </a:lnTo>
                  <a:cubicBezTo>
                    <a:pt x="1038495" y="155849"/>
                    <a:pt x="1040456" y="157760"/>
                    <a:pt x="1040456" y="160125"/>
                  </a:cubicBezTo>
                  <a:cubicBezTo>
                    <a:pt x="1040456" y="160125"/>
                    <a:pt x="1040456" y="160125"/>
                    <a:pt x="1040456" y="193942"/>
                  </a:cubicBezTo>
                  <a:cubicBezTo>
                    <a:pt x="1040456" y="196306"/>
                    <a:pt x="1038495" y="198217"/>
                    <a:pt x="1036067" y="198217"/>
                  </a:cubicBezTo>
                  <a:cubicBezTo>
                    <a:pt x="1036067" y="198217"/>
                    <a:pt x="1036067" y="198217"/>
                    <a:pt x="999757" y="198217"/>
                  </a:cubicBezTo>
                  <a:cubicBezTo>
                    <a:pt x="997330" y="198217"/>
                    <a:pt x="995368" y="196306"/>
                    <a:pt x="995368" y="193942"/>
                  </a:cubicBezTo>
                  <a:cubicBezTo>
                    <a:pt x="995368" y="193942"/>
                    <a:pt x="995368" y="193942"/>
                    <a:pt x="995368" y="160125"/>
                  </a:cubicBezTo>
                  <a:cubicBezTo>
                    <a:pt x="995368" y="157760"/>
                    <a:pt x="997330" y="155849"/>
                    <a:pt x="999757" y="155849"/>
                  </a:cubicBezTo>
                  <a:cubicBezTo>
                    <a:pt x="999757" y="155849"/>
                    <a:pt x="999757" y="155849"/>
                    <a:pt x="1000324" y="155849"/>
                  </a:cubicBezTo>
                  <a:lnTo>
                    <a:pt x="1000721" y="155849"/>
                  </a:lnTo>
                  <a:lnTo>
                    <a:pt x="1001048" y="152613"/>
                  </a:lnTo>
                  <a:cubicBezTo>
                    <a:pt x="1002653" y="144769"/>
                    <a:pt x="1009593" y="138868"/>
                    <a:pt x="1017912" y="138868"/>
                  </a:cubicBezTo>
                  <a:close/>
                  <a:moveTo>
                    <a:pt x="842750" y="138868"/>
                  </a:moveTo>
                  <a:cubicBezTo>
                    <a:pt x="851068" y="138868"/>
                    <a:pt x="858009" y="144769"/>
                    <a:pt x="859614" y="152613"/>
                  </a:cubicBezTo>
                  <a:lnTo>
                    <a:pt x="859940" y="155849"/>
                  </a:lnTo>
                  <a:lnTo>
                    <a:pt x="860905" y="155849"/>
                  </a:lnTo>
                  <a:cubicBezTo>
                    <a:pt x="863333" y="155849"/>
                    <a:pt x="865294" y="157760"/>
                    <a:pt x="865294" y="160125"/>
                  </a:cubicBezTo>
                  <a:cubicBezTo>
                    <a:pt x="865294" y="160125"/>
                    <a:pt x="865294" y="160125"/>
                    <a:pt x="865294" y="193942"/>
                  </a:cubicBezTo>
                  <a:cubicBezTo>
                    <a:pt x="865294" y="196306"/>
                    <a:pt x="863333" y="198217"/>
                    <a:pt x="860905" y="198217"/>
                  </a:cubicBezTo>
                  <a:cubicBezTo>
                    <a:pt x="860905" y="198217"/>
                    <a:pt x="860905" y="198217"/>
                    <a:pt x="824595" y="198217"/>
                  </a:cubicBezTo>
                  <a:cubicBezTo>
                    <a:pt x="822168" y="198217"/>
                    <a:pt x="820206" y="196306"/>
                    <a:pt x="820206" y="193942"/>
                  </a:cubicBezTo>
                  <a:cubicBezTo>
                    <a:pt x="820206" y="193942"/>
                    <a:pt x="820206" y="193942"/>
                    <a:pt x="820206" y="160125"/>
                  </a:cubicBezTo>
                  <a:cubicBezTo>
                    <a:pt x="820206" y="157760"/>
                    <a:pt x="822168" y="155849"/>
                    <a:pt x="824595" y="155849"/>
                  </a:cubicBezTo>
                  <a:cubicBezTo>
                    <a:pt x="824595" y="155849"/>
                    <a:pt x="824595" y="155849"/>
                    <a:pt x="825162" y="155849"/>
                  </a:cubicBezTo>
                  <a:lnTo>
                    <a:pt x="825560" y="155849"/>
                  </a:lnTo>
                  <a:lnTo>
                    <a:pt x="825886" y="152613"/>
                  </a:lnTo>
                  <a:cubicBezTo>
                    <a:pt x="827491" y="144769"/>
                    <a:pt x="834431" y="138868"/>
                    <a:pt x="842750" y="138868"/>
                  </a:cubicBezTo>
                  <a:close/>
                  <a:moveTo>
                    <a:pt x="554180" y="138868"/>
                  </a:moveTo>
                  <a:cubicBezTo>
                    <a:pt x="562498" y="138868"/>
                    <a:pt x="569438" y="144769"/>
                    <a:pt x="571043" y="152613"/>
                  </a:cubicBezTo>
                  <a:lnTo>
                    <a:pt x="571370" y="155849"/>
                  </a:lnTo>
                  <a:lnTo>
                    <a:pt x="572335" y="155849"/>
                  </a:lnTo>
                  <a:cubicBezTo>
                    <a:pt x="574762" y="155849"/>
                    <a:pt x="576724" y="157760"/>
                    <a:pt x="576724" y="160125"/>
                  </a:cubicBezTo>
                  <a:cubicBezTo>
                    <a:pt x="576724" y="160125"/>
                    <a:pt x="576724" y="160125"/>
                    <a:pt x="576724" y="193942"/>
                  </a:cubicBezTo>
                  <a:cubicBezTo>
                    <a:pt x="576724" y="196306"/>
                    <a:pt x="574762" y="198217"/>
                    <a:pt x="572335" y="198217"/>
                  </a:cubicBezTo>
                  <a:cubicBezTo>
                    <a:pt x="572335" y="198217"/>
                    <a:pt x="572335" y="198217"/>
                    <a:pt x="536024" y="198217"/>
                  </a:cubicBezTo>
                  <a:cubicBezTo>
                    <a:pt x="533597" y="198217"/>
                    <a:pt x="531635" y="196306"/>
                    <a:pt x="531635" y="193942"/>
                  </a:cubicBezTo>
                  <a:cubicBezTo>
                    <a:pt x="531635" y="193942"/>
                    <a:pt x="531635" y="193942"/>
                    <a:pt x="531635" y="160125"/>
                  </a:cubicBezTo>
                  <a:cubicBezTo>
                    <a:pt x="531635" y="157760"/>
                    <a:pt x="533597" y="155849"/>
                    <a:pt x="536024" y="155849"/>
                  </a:cubicBezTo>
                  <a:cubicBezTo>
                    <a:pt x="536024" y="155849"/>
                    <a:pt x="536024" y="155849"/>
                    <a:pt x="536592" y="155849"/>
                  </a:cubicBezTo>
                  <a:lnTo>
                    <a:pt x="536989" y="155849"/>
                  </a:lnTo>
                  <a:lnTo>
                    <a:pt x="537316" y="152613"/>
                  </a:lnTo>
                  <a:cubicBezTo>
                    <a:pt x="538921" y="144769"/>
                    <a:pt x="545861" y="138868"/>
                    <a:pt x="554180" y="138868"/>
                  </a:cubicBezTo>
                  <a:close/>
                  <a:moveTo>
                    <a:pt x="492426" y="138868"/>
                  </a:moveTo>
                  <a:cubicBezTo>
                    <a:pt x="500745" y="138868"/>
                    <a:pt x="507685" y="144769"/>
                    <a:pt x="509290" y="152613"/>
                  </a:cubicBezTo>
                  <a:lnTo>
                    <a:pt x="509616" y="155849"/>
                  </a:lnTo>
                  <a:lnTo>
                    <a:pt x="510581" y="155849"/>
                  </a:lnTo>
                  <a:cubicBezTo>
                    <a:pt x="513009" y="155849"/>
                    <a:pt x="514970" y="157760"/>
                    <a:pt x="514970" y="160125"/>
                  </a:cubicBezTo>
                  <a:cubicBezTo>
                    <a:pt x="514970" y="160125"/>
                    <a:pt x="514970" y="160125"/>
                    <a:pt x="514970" y="193942"/>
                  </a:cubicBezTo>
                  <a:cubicBezTo>
                    <a:pt x="514970" y="196306"/>
                    <a:pt x="513009" y="198217"/>
                    <a:pt x="510581" y="198217"/>
                  </a:cubicBezTo>
                  <a:cubicBezTo>
                    <a:pt x="510581" y="198217"/>
                    <a:pt x="510581" y="198217"/>
                    <a:pt x="474271" y="198217"/>
                  </a:cubicBezTo>
                  <a:cubicBezTo>
                    <a:pt x="471843" y="198217"/>
                    <a:pt x="469882" y="196306"/>
                    <a:pt x="469882" y="193942"/>
                  </a:cubicBezTo>
                  <a:cubicBezTo>
                    <a:pt x="469882" y="193942"/>
                    <a:pt x="469882" y="193942"/>
                    <a:pt x="469882" y="160125"/>
                  </a:cubicBezTo>
                  <a:cubicBezTo>
                    <a:pt x="469882" y="157760"/>
                    <a:pt x="471843" y="155849"/>
                    <a:pt x="474271" y="155849"/>
                  </a:cubicBezTo>
                  <a:cubicBezTo>
                    <a:pt x="474271" y="155849"/>
                    <a:pt x="474271" y="155849"/>
                    <a:pt x="474839" y="155849"/>
                  </a:cubicBezTo>
                  <a:lnTo>
                    <a:pt x="475236" y="155849"/>
                  </a:lnTo>
                  <a:lnTo>
                    <a:pt x="475562" y="152613"/>
                  </a:lnTo>
                  <a:cubicBezTo>
                    <a:pt x="477167" y="144769"/>
                    <a:pt x="484107" y="138868"/>
                    <a:pt x="492426" y="138868"/>
                  </a:cubicBezTo>
                  <a:close/>
                  <a:moveTo>
                    <a:pt x="368869" y="138868"/>
                  </a:moveTo>
                  <a:cubicBezTo>
                    <a:pt x="377187" y="138868"/>
                    <a:pt x="384128" y="144769"/>
                    <a:pt x="385733" y="152613"/>
                  </a:cubicBezTo>
                  <a:lnTo>
                    <a:pt x="386059" y="155849"/>
                  </a:lnTo>
                  <a:lnTo>
                    <a:pt x="387024" y="155849"/>
                  </a:lnTo>
                  <a:cubicBezTo>
                    <a:pt x="389451" y="155849"/>
                    <a:pt x="391413" y="157760"/>
                    <a:pt x="391413" y="160125"/>
                  </a:cubicBezTo>
                  <a:cubicBezTo>
                    <a:pt x="391413" y="160125"/>
                    <a:pt x="391413" y="160125"/>
                    <a:pt x="391413" y="193942"/>
                  </a:cubicBezTo>
                  <a:cubicBezTo>
                    <a:pt x="391413" y="196306"/>
                    <a:pt x="389451" y="198217"/>
                    <a:pt x="387024" y="198217"/>
                  </a:cubicBezTo>
                  <a:cubicBezTo>
                    <a:pt x="387024" y="198217"/>
                    <a:pt x="387024" y="198217"/>
                    <a:pt x="350713" y="198217"/>
                  </a:cubicBezTo>
                  <a:cubicBezTo>
                    <a:pt x="348286" y="198217"/>
                    <a:pt x="346325" y="196306"/>
                    <a:pt x="346325" y="193942"/>
                  </a:cubicBezTo>
                  <a:cubicBezTo>
                    <a:pt x="346325" y="193942"/>
                    <a:pt x="346325" y="193942"/>
                    <a:pt x="346325" y="160125"/>
                  </a:cubicBezTo>
                  <a:cubicBezTo>
                    <a:pt x="346325" y="157760"/>
                    <a:pt x="348286" y="155849"/>
                    <a:pt x="350713" y="155849"/>
                  </a:cubicBezTo>
                  <a:cubicBezTo>
                    <a:pt x="350713" y="155849"/>
                    <a:pt x="350713" y="155849"/>
                    <a:pt x="351281" y="155849"/>
                  </a:cubicBezTo>
                  <a:lnTo>
                    <a:pt x="351679" y="155849"/>
                  </a:lnTo>
                  <a:lnTo>
                    <a:pt x="352004" y="152613"/>
                  </a:lnTo>
                  <a:cubicBezTo>
                    <a:pt x="353609" y="144769"/>
                    <a:pt x="360550" y="138868"/>
                    <a:pt x="368869" y="138868"/>
                  </a:cubicBezTo>
                  <a:close/>
                  <a:moveTo>
                    <a:pt x="80298" y="138868"/>
                  </a:moveTo>
                  <a:cubicBezTo>
                    <a:pt x="88617" y="138868"/>
                    <a:pt x="95557" y="144769"/>
                    <a:pt x="97163" y="152613"/>
                  </a:cubicBezTo>
                  <a:lnTo>
                    <a:pt x="97489" y="155849"/>
                  </a:lnTo>
                  <a:lnTo>
                    <a:pt x="98453" y="155849"/>
                  </a:lnTo>
                  <a:cubicBezTo>
                    <a:pt x="100881" y="155849"/>
                    <a:pt x="102843" y="157760"/>
                    <a:pt x="102843" y="160125"/>
                  </a:cubicBezTo>
                  <a:cubicBezTo>
                    <a:pt x="102843" y="160125"/>
                    <a:pt x="102843" y="160125"/>
                    <a:pt x="102843" y="193942"/>
                  </a:cubicBezTo>
                  <a:cubicBezTo>
                    <a:pt x="102843" y="196306"/>
                    <a:pt x="100881" y="198217"/>
                    <a:pt x="98453" y="198217"/>
                  </a:cubicBezTo>
                  <a:cubicBezTo>
                    <a:pt x="98453" y="198217"/>
                    <a:pt x="98453" y="198217"/>
                    <a:pt x="62143" y="198217"/>
                  </a:cubicBezTo>
                  <a:cubicBezTo>
                    <a:pt x="59716" y="198217"/>
                    <a:pt x="57754" y="196306"/>
                    <a:pt x="57754" y="193942"/>
                  </a:cubicBezTo>
                  <a:cubicBezTo>
                    <a:pt x="57754" y="193942"/>
                    <a:pt x="57754" y="193942"/>
                    <a:pt x="57754" y="160125"/>
                  </a:cubicBezTo>
                  <a:cubicBezTo>
                    <a:pt x="57754" y="157760"/>
                    <a:pt x="59716" y="155849"/>
                    <a:pt x="62143" y="155849"/>
                  </a:cubicBezTo>
                  <a:cubicBezTo>
                    <a:pt x="62143" y="155849"/>
                    <a:pt x="62143" y="155849"/>
                    <a:pt x="62711" y="155849"/>
                  </a:cubicBezTo>
                  <a:lnTo>
                    <a:pt x="63108" y="155849"/>
                  </a:lnTo>
                  <a:lnTo>
                    <a:pt x="63434" y="152613"/>
                  </a:lnTo>
                  <a:cubicBezTo>
                    <a:pt x="65039" y="144769"/>
                    <a:pt x="71979" y="138868"/>
                    <a:pt x="80298" y="138868"/>
                  </a:cubicBezTo>
                  <a:close/>
                  <a:moveTo>
                    <a:pt x="24074" y="83946"/>
                  </a:moveTo>
                  <a:cubicBezTo>
                    <a:pt x="21232" y="83027"/>
                    <a:pt x="18557" y="83762"/>
                    <a:pt x="16216" y="85601"/>
                  </a:cubicBezTo>
                  <a:cubicBezTo>
                    <a:pt x="15380" y="86337"/>
                    <a:pt x="14712" y="87072"/>
                    <a:pt x="14043" y="87992"/>
                  </a:cubicBezTo>
                  <a:cubicBezTo>
                    <a:pt x="13541" y="88728"/>
                    <a:pt x="13039" y="89647"/>
                    <a:pt x="12538" y="90567"/>
                  </a:cubicBezTo>
                  <a:cubicBezTo>
                    <a:pt x="12203" y="91118"/>
                    <a:pt x="12037" y="91854"/>
                    <a:pt x="11870" y="92405"/>
                  </a:cubicBezTo>
                  <a:cubicBezTo>
                    <a:pt x="11535" y="93325"/>
                    <a:pt x="11368" y="94244"/>
                    <a:pt x="11201" y="95164"/>
                  </a:cubicBezTo>
                  <a:cubicBezTo>
                    <a:pt x="10699" y="96635"/>
                    <a:pt x="10532" y="98106"/>
                    <a:pt x="10532" y="99945"/>
                  </a:cubicBezTo>
                  <a:cubicBezTo>
                    <a:pt x="10532" y="101416"/>
                    <a:pt x="10699" y="103071"/>
                    <a:pt x="11201" y="104910"/>
                  </a:cubicBezTo>
                  <a:cubicBezTo>
                    <a:pt x="11535" y="105830"/>
                    <a:pt x="11702" y="106565"/>
                    <a:pt x="12037" y="107484"/>
                  </a:cubicBezTo>
                  <a:cubicBezTo>
                    <a:pt x="12371" y="108588"/>
                    <a:pt x="12873" y="109508"/>
                    <a:pt x="13541" y="110427"/>
                  </a:cubicBezTo>
                  <a:cubicBezTo>
                    <a:pt x="14210" y="111531"/>
                    <a:pt x="15046" y="112450"/>
                    <a:pt x="15882" y="113370"/>
                  </a:cubicBezTo>
                  <a:cubicBezTo>
                    <a:pt x="16718" y="114105"/>
                    <a:pt x="17721" y="114841"/>
                    <a:pt x="18891" y="115208"/>
                  </a:cubicBezTo>
                  <a:cubicBezTo>
                    <a:pt x="21900" y="116312"/>
                    <a:pt x="24742" y="115760"/>
                    <a:pt x="27250" y="113553"/>
                  </a:cubicBezTo>
                  <a:cubicBezTo>
                    <a:pt x="28086" y="112817"/>
                    <a:pt x="28754" y="112082"/>
                    <a:pt x="29423" y="111163"/>
                  </a:cubicBezTo>
                  <a:cubicBezTo>
                    <a:pt x="30092" y="110243"/>
                    <a:pt x="30594" y="109323"/>
                    <a:pt x="31095" y="108220"/>
                  </a:cubicBezTo>
                  <a:cubicBezTo>
                    <a:pt x="31262" y="107669"/>
                    <a:pt x="31429" y="107117"/>
                    <a:pt x="31763" y="106749"/>
                  </a:cubicBezTo>
                  <a:cubicBezTo>
                    <a:pt x="32098" y="105830"/>
                    <a:pt x="32433" y="104910"/>
                    <a:pt x="32600" y="103807"/>
                  </a:cubicBezTo>
                  <a:cubicBezTo>
                    <a:pt x="33101" y="100680"/>
                    <a:pt x="33101" y="97555"/>
                    <a:pt x="32265" y="94428"/>
                  </a:cubicBezTo>
                  <a:cubicBezTo>
                    <a:pt x="32098" y="93693"/>
                    <a:pt x="31931" y="92957"/>
                    <a:pt x="31597" y="92405"/>
                  </a:cubicBezTo>
                  <a:cubicBezTo>
                    <a:pt x="31262" y="91670"/>
                    <a:pt x="31095" y="90934"/>
                    <a:pt x="30761" y="90383"/>
                  </a:cubicBezTo>
                  <a:cubicBezTo>
                    <a:pt x="30259" y="89647"/>
                    <a:pt x="29925" y="88728"/>
                    <a:pt x="29256" y="87992"/>
                  </a:cubicBezTo>
                  <a:cubicBezTo>
                    <a:pt x="28587" y="87072"/>
                    <a:pt x="27751" y="86153"/>
                    <a:pt x="26749" y="85418"/>
                  </a:cubicBezTo>
                  <a:cubicBezTo>
                    <a:pt x="25912" y="84866"/>
                    <a:pt x="25076" y="84314"/>
                    <a:pt x="24074" y="83946"/>
                  </a:cubicBezTo>
                  <a:close/>
                  <a:moveTo>
                    <a:pt x="2317384" y="76442"/>
                  </a:moveTo>
                  <a:cubicBezTo>
                    <a:pt x="2318303" y="76442"/>
                    <a:pt x="2319223" y="76258"/>
                    <a:pt x="2320142" y="76442"/>
                  </a:cubicBezTo>
                  <a:cubicBezTo>
                    <a:pt x="2321430" y="76626"/>
                    <a:pt x="2322533" y="77178"/>
                    <a:pt x="2323269" y="78097"/>
                  </a:cubicBezTo>
                  <a:cubicBezTo>
                    <a:pt x="2324372" y="79201"/>
                    <a:pt x="2324924" y="80672"/>
                    <a:pt x="2324740" y="82326"/>
                  </a:cubicBezTo>
                  <a:cubicBezTo>
                    <a:pt x="2324740" y="82511"/>
                    <a:pt x="2324740" y="82511"/>
                    <a:pt x="2324740" y="82694"/>
                  </a:cubicBezTo>
                  <a:cubicBezTo>
                    <a:pt x="2324740" y="94648"/>
                    <a:pt x="2324740" y="106600"/>
                    <a:pt x="2324740" y="118738"/>
                  </a:cubicBezTo>
                  <a:cubicBezTo>
                    <a:pt x="2324740" y="119105"/>
                    <a:pt x="2324740" y="119105"/>
                    <a:pt x="2325107" y="119105"/>
                  </a:cubicBezTo>
                  <a:cubicBezTo>
                    <a:pt x="2326763" y="119105"/>
                    <a:pt x="2328417" y="119105"/>
                    <a:pt x="2330072" y="119105"/>
                  </a:cubicBezTo>
                  <a:cubicBezTo>
                    <a:pt x="2330992" y="119105"/>
                    <a:pt x="2331911" y="119473"/>
                    <a:pt x="2332831" y="119841"/>
                  </a:cubicBezTo>
                  <a:cubicBezTo>
                    <a:pt x="2334486" y="120944"/>
                    <a:pt x="2335406" y="122415"/>
                    <a:pt x="2335406" y="124438"/>
                  </a:cubicBezTo>
                  <a:cubicBezTo>
                    <a:pt x="2335406" y="125909"/>
                    <a:pt x="2334853" y="127381"/>
                    <a:pt x="2333567" y="128300"/>
                  </a:cubicBezTo>
                  <a:cubicBezTo>
                    <a:pt x="2332831" y="128852"/>
                    <a:pt x="2331911" y="129404"/>
                    <a:pt x="2330808" y="129587"/>
                  </a:cubicBezTo>
                  <a:cubicBezTo>
                    <a:pt x="2330808" y="129587"/>
                    <a:pt x="2330624" y="129587"/>
                    <a:pt x="2330624" y="129587"/>
                  </a:cubicBezTo>
                  <a:cubicBezTo>
                    <a:pt x="2330624" y="129587"/>
                    <a:pt x="2330440" y="129587"/>
                    <a:pt x="2330440" y="129587"/>
                  </a:cubicBezTo>
                  <a:cubicBezTo>
                    <a:pt x="2330440" y="129404"/>
                    <a:pt x="2330256" y="129587"/>
                    <a:pt x="2330072" y="129587"/>
                  </a:cubicBezTo>
                  <a:cubicBezTo>
                    <a:pt x="2322716" y="129587"/>
                    <a:pt x="2315361" y="129587"/>
                    <a:pt x="2308190" y="129587"/>
                  </a:cubicBezTo>
                  <a:cubicBezTo>
                    <a:pt x="2308005" y="129587"/>
                    <a:pt x="2308005" y="129587"/>
                    <a:pt x="2307822" y="129587"/>
                  </a:cubicBezTo>
                  <a:cubicBezTo>
                    <a:pt x="2307637" y="129587"/>
                    <a:pt x="2307454" y="129587"/>
                    <a:pt x="2307269" y="129587"/>
                  </a:cubicBezTo>
                  <a:cubicBezTo>
                    <a:pt x="2307086" y="129404"/>
                    <a:pt x="2306902" y="129404"/>
                    <a:pt x="2306718" y="129404"/>
                  </a:cubicBezTo>
                  <a:cubicBezTo>
                    <a:pt x="2305798" y="129219"/>
                    <a:pt x="2305063" y="128668"/>
                    <a:pt x="2304327" y="128116"/>
                  </a:cubicBezTo>
                  <a:cubicBezTo>
                    <a:pt x="2303224" y="127013"/>
                    <a:pt x="2302672" y="125726"/>
                    <a:pt x="2302672" y="124254"/>
                  </a:cubicBezTo>
                  <a:cubicBezTo>
                    <a:pt x="2302672" y="122967"/>
                    <a:pt x="2303040" y="121680"/>
                    <a:pt x="2304144" y="120761"/>
                  </a:cubicBezTo>
                  <a:cubicBezTo>
                    <a:pt x="2305247" y="119657"/>
                    <a:pt x="2306534" y="119105"/>
                    <a:pt x="2308005" y="119105"/>
                  </a:cubicBezTo>
                  <a:cubicBezTo>
                    <a:pt x="2309844" y="119105"/>
                    <a:pt x="2311683" y="119105"/>
                    <a:pt x="2313338" y="119105"/>
                  </a:cubicBezTo>
                  <a:cubicBezTo>
                    <a:pt x="2313522" y="119105"/>
                    <a:pt x="2313706" y="119105"/>
                    <a:pt x="2313706" y="118738"/>
                  </a:cubicBezTo>
                  <a:cubicBezTo>
                    <a:pt x="2313706" y="108256"/>
                    <a:pt x="2313706" y="97958"/>
                    <a:pt x="2313706" y="87476"/>
                  </a:cubicBezTo>
                  <a:cubicBezTo>
                    <a:pt x="2313706" y="87292"/>
                    <a:pt x="2313706" y="87108"/>
                    <a:pt x="2313338" y="87108"/>
                  </a:cubicBezTo>
                  <a:cubicBezTo>
                    <a:pt x="2312051" y="87108"/>
                    <a:pt x="2310580" y="87108"/>
                    <a:pt x="2309293" y="87108"/>
                  </a:cubicBezTo>
                  <a:cubicBezTo>
                    <a:pt x="2307086" y="87108"/>
                    <a:pt x="2305431" y="86005"/>
                    <a:pt x="2304327" y="83982"/>
                  </a:cubicBezTo>
                  <a:cubicBezTo>
                    <a:pt x="2303776" y="82879"/>
                    <a:pt x="2303776" y="81591"/>
                    <a:pt x="2304144" y="80120"/>
                  </a:cubicBezTo>
                  <a:cubicBezTo>
                    <a:pt x="2304879" y="78097"/>
                    <a:pt x="2306902" y="76626"/>
                    <a:pt x="2309108" y="76626"/>
                  </a:cubicBezTo>
                  <a:cubicBezTo>
                    <a:pt x="2311867" y="76626"/>
                    <a:pt x="2314626" y="76442"/>
                    <a:pt x="2317384" y="76442"/>
                  </a:cubicBezTo>
                  <a:close/>
                  <a:moveTo>
                    <a:pt x="20396" y="73096"/>
                  </a:moveTo>
                  <a:cubicBezTo>
                    <a:pt x="23238" y="72913"/>
                    <a:pt x="26079" y="73464"/>
                    <a:pt x="28754" y="74568"/>
                  </a:cubicBezTo>
                  <a:cubicBezTo>
                    <a:pt x="30594" y="75303"/>
                    <a:pt x="32265" y="76407"/>
                    <a:pt x="33770" y="77694"/>
                  </a:cubicBezTo>
                  <a:cubicBezTo>
                    <a:pt x="34606" y="78429"/>
                    <a:pt x="35274" y="79165"/>
                    <a:pt x="36110" y="79900"/>
                  </a:cubicBezTo>
                  <a:cubicBezTo>
                    <a:pt x="36946" y="80820"/>
                    <a:pt x="37782" y="81924"/>
                    <a:pt x="38450" y="82843"/>
                  </a:cubicBezTo>
                  <a:cubicBezTo>
                    <a:pt x="38952" y="83579"/>
                    <a:pt x="39454" y="84498"/>
                    <a:pt x="39788" y="85233"/>
                  </a:cubicBezTo>
                  <a:cubicBezTo>
                    <a:pt x="40457" y="86337"/>
                    <a:pt x="40958" y="87624"/>
                    <a:pt x="41293" y="88911"/>
                  </a:cubicBezTo>
                  <a:cubicBezTo>
                    <a:pt x="41627" y="89647"/>
                    <a:pt x="41795" y="90567"/>
                    <a:pt x="41961" y="91302"/>
                  </a:cubicBezTo>
                  <a:cubicBezTo>
                    <a:pt x="42296" y="92405"/>
                    <a:pt x="42463" y="93693"/>
                    <a:pt x="42630" y="94796"/>
                  </a:cubicBezTo>
                  <a:cubicBezTo>
                    <a:pt x="43132" y="98106"/>
                    <a:pt x="43132" y="101416"/>
                    <a:pt x="42463" y="104542"/>
                  </a:cubicBezTo>
                  <a:cubicBezTo>
                    <a:pt x="42296" y="105646"/>
                    <a:pt x="42129" y="106749"/>
                    <a:pt x="41795" y="107852"/>
                  </a:cubicBezTo>
                  <a:cubicBezTo>
                    <a:pt x="41460" y="108772"/>
                    <a:pt x="41293" y="109508"/>
                    <a:pt x="40958" y="110427"/>
                  </a:cubicBezTo>
                  <a:cubicBezTo>
                    <a:pt x="40624" y="110979"/>
                    <a:pt x="40457" y="111531"/>
                    <a:pt x="40289" y="112082"/>
                  </a:cubicBezTo>
                  <a:cubicBezTo>
                    <a:pt x="39788" y="113185"/>
                    <a:pt x="39287" y="114105"/>
                    <a:pt x="38785" y="115024"/>
                  </a:cubicBezTo>
                  <a:cubicBezTo>
                    <a:pt x="38284" y="115760"/>
                    <a:pt x="37782" y="116495"/>
                    <a:pt x="37281" y="117231"/>
                  </a:cubicBezTo>
                  <a:cubicBezTo>
                    <a:pt x="36612" y="118151"/>
                    <a:pt x="35776" y="119070"/>
                    <a:pt x="34940" y="119806"/>
                  </a:cubicBezTo>
                  <a:cubicBezTo>
                    <a:pt x="34271" y="120541"/>
                    <a:pt x="33436" y="121093"/>
                    <a:pt x="32767" y="121645"/>
                  </a:cubicBezTo>
                  <a:cubicBezTo>
                    <a:pt x="31597" y="122564"/>
                    <a:pt x="30259" y="123299"/>
                    <a:pt x="28922" y="123851"/>
                  </a:cubicBezTo>
                  <a:cubicBezTo>
                    <a:pt x="27250" y="124587"/>
                    <a:pt x="25411" y="125139"/>
                    <a:pt x="23572" y="125322"/>
                  </a:cubicBezTo>
                  <a:cubicBezTo>
                    <a:pt x="23238" y="125322"/>
                    <a:pt x="23071" y="125322"/>
                    <a:pt x="22736" y="125507"/>
                  </a:cubicBezTo>
                  <a:cubicBezTo>
                    <a:pt x="21733" y="125507"/>
                    <a:pt x="20897" y="125507"/>
                    <a:pt x="19894" y="125507"/>
                  </a:cubicBezTo>
                  <a:cubicBezTo>
                    <a:pt x="19894" y="125322"/>
                    <a:pt x="19727" y="125507"/>
                    <a:pt x="19727" y="125507"/>
                  </a:cubicBezTo>
                  <a:cubicBezTo>
                    <a:pt x="16550" y="125139"/>
                    <a:pt x="13541" y="124035"/>
                    <a:pt x="10866" y="122196"/>
                  </a:cubicBezTo>
                  <a:cubicBezTo>
                    <a:pt x="9696" y="121460"/>
                    <a:pt x="8693" y="120541"/>
                    <a:pt x="7690" y="119438"/>
                  </a:cubicBezTo>
                  <a:cubicBezTo>
                    <a:pt x="6854" y="118702"/>
                    <a:pt x="6185" y="117783"/>
                    <a:pt x="5516" y="116863"/>
                  </a:cubicBezTo>
                  <a:cubicBezTo>
                    <a:pt x="5015" y="116128"/>
                    <a:pt x="4513" y="115392"/>
                    <a:pt x="4012" y="114473"/>
                  </a:cubicBezTo>
                  <a:cubicBezTo>
                    <a:pt x="3510" y="113553"/>
                    <a:pt x="3009" y="112634"/>
                    <a:pt x="2508" y="111531"/>
                  </a:cubicBezTo>
                  <a:cubicBezTo>
                    <a:pt x="2173" y="110795"/>
                    <a:pt x="2006" y="110243"/>
                    <a:pt x="1672" y="109508"/>
                  </a:cubicBezTo>
                  <a:cubicBezTo>
                    <a:pt x="1337" y="108772"/>
                    <a:pt x="1170" y="108036"/>
                    <a:pt x="1003" y="107301"/>
                  </a:cubicBezTo>
                  <a:cubicBezTo>
                    <a:pt x="668" y="106013"/>
                    <a:pt x="501" y="104726"/>
                    <a:pt x="167" y="103439"/>
                  </a:cubicBezTo>
                  <a:cubicBezTo>
                    <a:pt x="0" y="102704"/>
                    <a:pt x="0" y="102152"/>
                    <a:pt x="0" y="101416"/>
                  </a:cubicBezTo>
                  <a:cubicBezTo>
                    <a:pt x="167" y="101968"/>
                    <a:pt x="335" y="101784"/>
                    <a:pt x="167" y="101600"/>
                  </a:cubicBezTo>
                  <a:cubicBezTo>
                    <a:pt x="167" y="100313"/>
                    <a:pt x="167" y="99026"/>
                    <a:pt x="167" y="97738"/>
                  </a:cubicBezTo>
                  <a:cubicBezTo>
                    <a:pt x="167" y="97738"/>
                    <a:pt x="167" y="97738"/>
                    <a:pt x="167" y="97555"/>
                  </a:cubicBezTo>
                  <a:cubicBezTo>
                    <a:pt x="167" y="96451"/>
                    <a:pt x="335" y="95532"/>
                    <a:pt x="501" y="94428"/>
                  </a:cubicBezTo>
                  <a:cubicBezTo>
                    <a:pt x="836" y="93141"/>
                    <a:pt x="836" y="91854"/>
                    <a:pt x="1337" y="90751"/>
                  </a:cubicBezTo>
                  <a:cubicBezTo>
                    <a:pt x="1672" y="90015"/>
                    <a:pt x="1839" y="89279"/>
                    <a:pt x="2006" y="88543"/>
                  </a:cubicBezTo>
                  <a:cubicBezTo>
                    <a:pt x="2508" y="87440"/>
                    <a:pt x="3009" y="86153"/>
                    <a:pt x="3510" y="85050"/>
                  </a:cubicBezTo>
                  <a:cubicBezTo>
                    <a:pt x="4012" y="84130"/>
                    <a:pt x="4513" y="83395"/>
                    <a:pt x="5015" y="82475"/>
                  </a:cubicBezTo>
                  <a:cubicBezTo>
                    <a:pt x="5516" y="81739"/>
                    <a:pt x="6018" y="81004"/>
                    <a:pt x="6520" y="80452"/>
                  </a:cubicBezTo>
                  <a:cubicBezTo>
                    <a:pt x="7022" y="79900"/>
                    <a:pt x="7523" y="79349"/>
                    <a:pt x="8025" y="78797"/>
                  </a:cubicBezTo>
                  <a:cubicBezTo>
                    <a:pt x="9027" y="77878"/>
                    <a:pt x="10030" y="76958"/>
                    <a:pt x="11201" y="76223"/>
                  </a:cubicBezTo>
                  <a:cubicBezTo>
                    <a:pt x="12037" y="75671"/>
                    <a:pt x="13039" y="75120"/>
                    <a:pt x="13875" y="74752"/>
                  </a:cubicBezTo>
                  <a:cubicBezTo>
                    <a:pt x="15882" y="73832"/>
                    <a:pt x="18055" y="73281"/>
                    <a:pt x="20396" y="73096"/>
                  </a:cubicBezTo>
                  <a:close/>
                  <a:moveTo>
                    <a:pt x="24074" y="10886"/>
                  </a:moveTo>
                  <a:cubicBezTo>
                    <a:pt x="21232" y="9966"/>
                    <a:pt x="18557" y="10701"/>
                    <a:pt x="16216" y="12540"/>
                  </a:cubicBezTo>
                  <a:cubicBezTo>
                    <a:pt x="15380" y="13276"/>
                    <a:pt x="14712" y="14011"/>
                    <a:pt x="14043" y="14931"/>
                  </a:cubicBezTo>
                  <a:cubicBezTo>
                    <a:pt x="13541" y="15667"/>
                    <a:pt x="13039" y="16586"/>
                    <a:pt x="12538" y="17506"/>
                  </a:cubicBezTo>
                  <a:cubicBezTo>
                    <a:pt x="12203" y="18058"/>
                    <a:pt x="12037" y="18793"/>
                    <a:pt x="11870" y="19344"/>
                  </a:cubicBezTo>
                  <a:cubicBezTo>
                    <a:pt x="11535" y="20264"/>
                    <a:pt x="11368" y="21183"/>
                    <a:pt x="11201" y="22103"/>
                  </a:cubicBezTo>
                  <a:cubicBezTo>
                    <a:pt x="10699" y="23574"/>
                    <a:pt x="10532" y="25045"/>
                    <a:pt x="10532" y="26884"/>
                  </a:cubicBezTo>
                  <a:cubicBezTo>
                    <a:pt x="10532" y="28355"/>
                    <a:pt x="10699" y="30010"/>
                    <a:pt x="11201" y="31849"/>
                  </a:cubicBezTo>
                  <a:cubicBezTo>
                    <a:pt x="11535" y="32769"/>
                    <a:pt x="11702" y="33504"/>
                    <a:pt x="12037" y="34424"/>
                  </a:cubicBezTo>
                  <a:cubicBezTo>
                    <a:pt x="12371" y="35527"/>
                    <a:pt x="12873" y="36447"/>
                    <a:pt x="13541" y="37366"/>
                  </a:cubicBezTo>
                  <a:cubicBezTo>
                    <a:pt x="14210" y="38470"/>
                    <a:pt x="15046" y="39389"/>
                    <a:pt x="15882" y="40309"/>
                  </a:cubicBezTo>
                  <a:cubicBezTo>
                    <a:pt x="16718" y="41044"/>
                    <a:pt x="17721" y="41780"/>
                    <a:pt x="18891" y="42147"/>
                  </a:cubicBezTo>
                  <a:cubicBezTo>
                    <a:pt x="21900" y="43251"/>
                    <a:pt x="24742" y="42699"/>
                    <a:pt x="27250" y="40492"/>
                  </a:cubicBezTo>
                  <a:cubicBezTo>
                    <a:pt x="28086" y="39756"/>
                    <a:pt x="28754" y="39021"/>
                    <a:pt x="29423" y="38102"/>
                  </a:cubicBezTo>
                  <a:cubicBezTo>
                    <a:pt x="30092" y="37182"/>
                    <a:pt x="30594" y="36263"/>
                    <a:pt x="31095" y="35159"/>
                  </a:cubicBezTo>
                  <a:cubicBezTo>
                    <a:pt x="31262" y="34608"/>
                    <a:pt x="31429" y="34056"/>
                    <a:pt x="31763" y="33688"/>
                  </a:cubicBezTo>
                  <a:cubicBezTo>
                    <a:pt x="32098" y="32769"/>
                    <a:pt x="32433" y="31849"/>
                    <a:pt x="32599" y="30746"/>
                  </a:cubicBezTo>
                  <a:cubicBezTo>
                    <a:pt x="33101" y="27620"/>
                    <a:pt x="33101" y="24494"/>
                    <a:pt x="32265" y="21367"/>
                  </a:cubicBezTo>
                  <a:cubicBezTo>
                    <a:pt x="32098" y="20632"/>
                    <a:pt x="31931" y="19896"/>
                    <a:pt x="31597" y="19344"/>
                  </a:cubicBezTo>
                  <a:cubicBezTo>
                    <a:pt x="31262" y="18609"/>
                    <a:pt x="31095" y="17873"/>
                    <a:pt x="30761" y="17322"/>
                  </a:cubicBezTo>
                  <a:cubicBezTo>
                    <a:pt x="30259" y="16586"/>
                    <a:pt x="29924" y="15667"/>
                    <a:pt x="29256" y="14931"/>
                  </a:cubicBezTo>
                  <a:cubicBezTo>
                    <a:pt x="28587" y="14011"/>
                    <a:pt x="27751" y="13092"/>
                    <a:pt x="26748" y="12357"/>
                  </a:cubicBezTo>
                  <a:cubicBezTo>
                    <a:pt x="25912" y="11805"/>
                    <a:pt x="25076" y="11254"/>
                    <a:pt x="24074" y="10886"/>
                  </a:cubicBezTo>
                  <a:close/>
                  <a:moveTo>
                    <a:pt x="20396" y="35"/>
                  </a:moveTo>
                  <a:cubicBezTo>
                    <a:pt x="23237" y="-148"/>
                    <a:pt x="26079" y="403"/>
                    <a:pt x="28754" y="1507"/>
                  </a:cubicBezTo>
                  <a:cubicBezTo>
                    <a:pt x="30594" y="2243"/>
                    <a:pt x="32265" y="3346"/>
                    <a:pt x="33770" y="4633"/>
                  </a:cubicBezTo>
                  <a:cubicBezTo>
                    <a:pt x="34606" y="5368"/>
                    <a:pt x="35274" y="6104"/>
                    <a:pt x="36110" y="6839"/>
                  </a:cubicBezTo>
                  <a:cubicBezTo>
                    <a:pt x="36946" y="7759"/>
                    <a:pt x="37782" y="8863"/>
                    <a:pt x="38450" y="9782"/>
                  </a:cubicBezTo>
                  <a:cubicBezTo>
                    <a:pt x="38952" y="10518"/>
                    <a:pt x="39454" y="11437"/>
                    <a:pt x="39788" y="12172"/>
                  </a:cubicBezTo>
                  <a:cubicBezTo>
                    <a:pt x="40457" y="13276"/>
                    <a:pt x="40958" y="14563"/>
                    <a:pt x="41293" y="15851"/>
                  </a:cubicBezTo>
                  <a:cubicBezTo>
                    <a:pt x="41627" y="16586"/>
                    <a:pt x="41795" y="17506"/>
                    <a:pt x="41961" y="18241"/>
                  </a:cubicBezTo>
                  <a:cubicBezTo>
                    <a:pt x="42296" y="19344"/>
                    <a:pt x="42463" y="20632"/>
                    <a:pt x="42630" y="21735"/>
                  </a:cubicBezTo>
                  <a:cubicBezTo>
                    <a:pt x="43132" y="25045"/>
                    <a:pt x="43132" y="28355"/>
                    <a:pt x="42463" y="31481"/>
                  </a:cubicBezTo>
                  <a:cubicBezTo>
                    <a:pt x="42296" y="32585"/>
                    <a:pt x="42129" y="33688"/>
                    <a:pt x="41795" y="34791"/>
                  </a:cubicBezTo>
                  <a:cubicBezTo>
                    <a:pt x="41460" y="35711"/>
                    <a:pt x="41293" y="36447"/>
                    <a:pt x="40958" y="37366"/>
                  </a:cubicBezTo>
                  <a:cubicBezTo>
                    <a:pt x="40624" y="37918"/>
                    <a:pt x="40457" y="38470"/>
                    <a:pt x="40289" y="39021"/>
                  </a:cubicBezTo>
                  <a:cubicBezTo>
                    <a:pt x="39788" y="40124"/>
                    <a:pt x="39287" y="41044"/>
                    <a:pt x="38785" y="41963"/>
                  </a:cubicBezTo>
                  <a:cubicBezTo>
                    <a:pt x="38284" y="42699"/>
                    <a:pt x="37782" y="43435"/>
                    <a:pt x="37281" y="44170"/>
                  </a:cubicBezTo>
                  <a:cubicBezTo>
                    <a:pt x="36612" y="45090"/>
                    <a:pt x="35776" y="46009"/>
                    <a:pt x="34940" y="46745"/>
                  </a:cubicBezTo>
                  <a:cubicBezTo>
                    <a:pt x="34271" y="47480"/>
                    <a:pt x="33436" y="48032"/>
                    <a:pt x="32767" y="48584"/>
                  </a:cubicBezTo>
                  <a:cubicBezTo>
                    <a:pt x="31597" y="49503"/>
                    <a:pt x="30259" y="50239"/>
                    <a:pt x="28922" y="50790"/>
                  </a:cubicBezTo>
                  <a:cubicBezTo>
                    <a:pt x="27250" y="51526"/>
                    <a:pt x="25411" y="52078"/>
                    <a:pt x="23572" y="52261"/>
                  </a:cubicBezTo>
                  <a:cubicBezTo>
                    <a:pt x="23237" y="52261"/>
                    <a:pt x="23071" y="52261"/>
                    <a:pt x="22736" y="52446"/>
                  </a:cubicBezTo>
                  <a:cubicBezTo>
                    <a:pt x="21733" y="52446"/>
                    <a:pt x="20897" y="52446"/>
                    <a:pt x="19894" y="52446"/>
                  </a:cubicBezTo>
                  <a:cubicBezTo>
                    <a:pt x="19894" y="52261"/>
                    <a:pt x="19727" y="52446"/>
                    <a:pt x="19727" y="52446"/>
                  </a:cubicBezTo>
                  <a:cubicBezTo>
                    <a:pt x="16550" y="52078"/>
                    <a:pt x="13541" y="50974"/>
                    <a:pt x="10866" y="49135"/>
                  </a:cubicBezTo>
                  <a:cubicBezTo>
                    <a:pt x="9696" y="48400"/>
                    <a:pt x="8693" y="47480"/>
                    <a:pt x="7690" y="46377"/>
                  </a:cubicBezTo>
                  <a:cubicBezTo>
                    <a:pt x="6854" y="45642"/>
                    <a:pt x="6185" y="44722"/>
                    <a:pt x="5516" y="43803"/>
                  </a:cubicBezTo>
                  <a:cubicBezTo>
                    <a:pt x="5015" y="43067"/>
                    <a:pt x="4513" y="42331"/>
                    <a:pt x="4012" y="41412"/>
                  </a:cubicBezTo>
                  <a:cubicBezTo>
                    <a:pt x="3510" y="40492"/>
                    <a:pt x="3009" y="39573"/>
                    <a:pt x="2508" y="38470"/>
                  </a:cubicBezTo>
                  <a:cubicBezTo>
                    <a:pt x="2173" y="37734"/>
                    <a:pt x="2006" y="37182"/>
                    <a:pt x="1672" y="36447"/>
                  </a:cubicBezTo>
                  <a:cubicBezTo>
                    <a:pt x="1337" y="35711"/>
                    <a:pt x="1170" y="34975"/>
                    <a:pt x="1003" y="34240"/>
                  </a:cubicBezTo>
                  <a:cubicBezTo>
                    <a:pt x="668" y="32952"/>
                    <a:pt x="501" y="31666"/>
                    <a:pt x="167" y="30378"/>
                  </a:cubicBezTo>
                  <a:cubicBezTo>
                    <a:pt x="0" y="29643"/>
                    <a:pt x="0" y="29091"/>
                    <a:pt x="0" y="28355"/>
                  </a:cubicBezTo>
                  <a:cubicBezTo>
                    <a:pt x="167" y="28907"/>
                    <a:pt x="334" y="28723"/>
                    <a:pt x="167" y="28539"/>
                  </a:cubicBezTo>
                  <a:cubicBezTo>
                    <a:pt x="167" y="27252"/>
                    <a:pt x="167" y="25965"/>
                    <a:pt x="167" y="24677"/>
                  </a:cubicBezTo>
                  <a:cubicBezTo>
                    <a:pt x="167" y="24677"/>
                    <a:pt x="167" y="24677"/>
                    <a:pt x="167" y="24494"/>
                  </a:cubicBezTo>
                  <a:cubicBezTo>
                    <a:pt x="167" y="23390"/>
                    <a:pt x="334" y="22471"/>
                    <a:pt x="501" y="21367"/>
                  </a:cubicBezTo>
                  <a:cubicBezTo>
                    <a:pt x="836" y="20080"/>
                    <a:pt x="836" y="18793"/>
                    <a:pt x="1337" y="17690"/>
                  </a:cubicBezTo>
                  <a:cubicBezTo>
                    <a:pt x="1672" y="16954"/>
                    <a:pt x="1839" y="16218"/>
                    <a:pt x="2006" y="15483"/>
                  </a:cubicBezTo>
                  <a:cubicBezTo>
                    <a:pt x="2508" y="14379"/>
                    <a:pt x="3009" y="13092"/>
                    <a:pt x="3510" y="11989"/>
                  </a:cubicBezTo>
                  <a:cubicBezTo>
                    <a:pt x="4012" y="11069"/>
                    <a:pt x="4513" y="10334"/>
                    <a:pt x="5015" y="9414"/>
                  </a:cubicBezTo>
                  <a:cubicBezTo>
                    <a:pt x="5516" y="8679"/>
                    <a:pt x="6018" y="7943"/>
                    <a:pt x="6520" y="7391"/>
                  </a:cubicBezTo>
                  <a:cubicBezTo>
                    <a:pt x="7022" y="6839"/>
                    <a:pt x="7523" y="6288"/>
                    <a:pt x="8024" y="5736"/>
                  </a:cubicBezTo>
                  <a:cubicBezTo>
                    <a:pt x="9027" y="4817"/>
                    <a:pt x="10030" y="3897"/>
                    <a:pt x="11201" y="3162"/>
                  </a:cubicBezTo>
                  <a:cubicBezTo>
                    <a:pt x="12037" y="2610"/>
                    <a:pt x="13039" y="2059"/>
                    <a:pt x="13875" y="1691"/>
                  </a:cubicBezTo>
                  <a:cubicBezTo>
                    <a:pt x="15882" y="771"/>
                    <a:pt x="18055" y="220"/>
                    <a:pt x="20396" y="35"/>
                  </a:cubicBezTo>
                  <a:close/>
                </a:path>
              </a:pathLst>
            </a:custGeom>
            <a:solidFill>
              <a:srgbClr val="BFBFBF"/>
            </a:solidFill>
            <a:ln w="9525" cap="flat">
              <a:noFill/>
              <a:prstDash val="solid"/>
              <a:miter/>
            </a:ln>
          </p:spPr>
          <p:txBody>
            <a:bodyPr wrap="square">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1959" name="Freeform: Shape 1958">
              <a:extLst>
                <a:ext uri="{FF2B5EF4-FFF2-40B4-BE49-F238E27FC236}">
                  <a16:creationId xmlns:a16="http://schemas.microsoft.com/office/drawing/2014/main" id="{85986CFD-3AA5-4F2F-B19D-16BF3E36904D}"/>
                </a:ext>
              </a:extLst>
            </p:cNvPr>
            <p:cNvSpPr/>
            <p:nvPr/>
          </p:nvSpPr>
          <p:spPr>
            <a:xfrm>
              <a:off x="4804690" y="2609233"/>
              <a:ext cx="2770680" cy="570651"/>
            </a:xfrm>
            <a:custGeom>
              <a:avLst/>
              <a:gdLst>
                <a:gd name="connsiteX0" fmla="*/ 22723 w 3080331"/>
                <a:gd name="connsiteY0" fmla="*/ 610018 h 634427"/>
                <a:gd name="connsiteX1" fmla="*/ 16282 w 3080331"/>
                <a:gd name="connsiteY1" fmla="*/ 616325 h 634427"/>
                <a:gd name="connsiteX2" fmla="*/ 19650 w 3080331"/>
                <a:gd name="connsiteY2" fmla="*/ 621873 h 634427"/>
                <a:gd name="connsiteX3" fmla="*/ 19650 w 3080331"/>
                <a:gd name="connsiteY3" fmla="*/ 627583 h 634427"/>
                <a:gd name="connsiteX4" fmla="*/ 22723 w 3080331"/>
                <a:gd name="connsiteY4" fmla="*/ 630592 h 634427"/>
                <a:gd name="connsiteX5" fmla="*/ 25795 w 3080331"/>
                <a:gd name="connsiteY5" fmla="*/ 627583 h 634427"/>
                <a:gd name="connsiteX6" fmla="*/ 25795 w 3080331"/>
                <a:gd name="connsiteY6" fmla="*/ 621873 h 634427"/>
                <a:gd name="connsiteX7" fmla="*/ 29164 w 3080331"/>
                <a:gd name="connsiteY7" fmla="*/ 616325 h 634427"/>
                <a:gd name="connsiteX8" fmla="*/ 22723 w 3080331"/>
                <a:gd name="connsiteY8" fmla="*/ 610018 h 634427"/>
                <a:gd name="connsiteX9" fmla="*/ 22544 w 3080331"/>
                <a:gd name="connsiteY9" fmla="*/ 583685 h 634427"/>
                <a:gd name="connsiteX10" fmla="*/ 14614 w 3080331"/>
                <a:gd name="connsiteY10" fmla="*/ 588942 h 634427"/>
                <a:gd name="connsiteX11" fmla="*/ 13984 w 3080331"/>
                <a:gd name="connsiteY11" fmla="*/ 592059 h 634427"/>
                <a:gd name="connsiteX12" fmla="*/ 16189 w 3080331"/>
                <a:gd name="connsiteY12" fmla="*/ 592059 h 634427"/>
                <a:gd name="connsiteX13" fmla="*/ 28714 w 3080331"/>
                <a:gd name="connsiteY13" fmla="*/ 592059 h 634427"/>
                <a:gd name="connsiteX14" fmla="*/ 31104 w 3080331"/>
                <a:gd name="connsiteY14" fmla="*/ 592059 h 634427"/>
                <a:gd name="connsiteX15" fmla="*/ 30475 w 3080331"/>
                <a:gd name="connsiteY15" fmla="*/ 588942 h 634427"/>
                <a:gd name="connsiteX16" fmla="*/ 22544 w 3080331"/>
                <a:gd name="connsiteY16" fmla="*/ 583685 h 634427"/>
                <a:gd name="connsiteX17" fmla="*/ 22544 w 3080331"/>
                <a:gd name="connsiteY17" fmla="*/ 575078 h 634427"/>
                <a:gd name="connsiteX18" fmla="*/ 39408 w 3080331"/>
                <a:gd name="connsiteY18" fmla="*/ 588823 h 634427"/>
                <a:gd name="connsiteX19" fmla="*/ 39735 w 3080331"/>
                <a:gd name="connsiteY19" fmla="*/ 592059 h 634427"/>
                <a:gd name="connsiteX20" fmla="*/ 40700 w 3080331"/>
                <a:gd name="connsiteY20" fmla="*/ 592059 h 634427"/>
                <a:gd name="connsiteX21" fmla="*/ 45089 w 3080331"/>
                <a:gd name="connsiteY21" fmla="*/ 596335 h 634427"/>
                <a:gd name="connsiteX22" fmla="*/ 45089 w 3080331"/>
                <a:gd name="connsiteY22" fmla="*/ 630152 h 634427"/>
                <a:gd name="connsiteX23" fmla="*/ 40700 w 3080331"/>
                <a:gd name="connsiteY23" fmla="*/ 634427 h 634427"/>
                <a:gd name="connsiteX24" fmla="*/ 4389 w 3080331"/>
                <a:gd name="connsiteY24" fmla="*/ 634427 h 634427"/>
                <a:gd name="connsiteX25" fmla="*/ 0 w 3080331"/>
                <a:gd name="connsiteY25" fmla="*/ 630152 h 634427"/>
                <a:gd name="connsiteX26" fmla="*/ 0 w 3080331"/>
                <a:gd name="connsiteY26" fmla="*/ 596335 h 634427"/>
                <a:gd name="connsiteX27" fmla="*/ 4389 w 3080331"/>
                <a:gd name="connsiteY27" fmla="*/ 592059 h 634427"/>
                <a:gd name="connsiteX28" fmla="*/ 4957 w 3080331"/>
                <a:gd name="connsiteY28" fmla="*/ 592059 h 634427"/>
                <a:gd name="connsiteX29" fmla="*/ 5354 w 3080331"/>
                <a:gd name="connsiteY29" fmla="*/ 592059 h 634427"/>
                <a:gd name="connsiteX30" fmla="*/ 5680 w 3080331"/>
                <a:gd name="connsiteY30" fmla="*/ 588823 h 634427"/>
                <a:gd name="connsiteX31" fmla="*/ 22544 w 3080331"/>
                <a:gd name="connsiteY31" fmla="*/ 575078 h 634427"/>
                <a:gd name="connsiteX32" fmla="*/ 25124 w 3080331"/>
                <a:gd name="connsiteY32" fmla="*/ 517863 h 634427"/>
                <a:gd name="connsiteX33" fmla="*/ 17267 w 3080331"/>
                <a:gd name="connsiteY33" fmla="*/ 519518 h 634427"/>
                <a:gd name="connsiteX34" fmla="*/ 15094 w 3080331"/>
                <a:gd name="connsiteY34" fmla="*/ 521908 h 634427"/>
                <a:gd name="connsiteX35" fmla="*/ 13589 w 3080331"/>
                <a:gd name="connsiteY35" fmla="*/ 524483 h 634427"/>
                <a:gd name="connsiteX36" fmla="*/ 12921 w 3080331"/>
                <a:gd name="connsiteY36" fmla="*/ 526322 h 634427"/>
                <a:gd name="connsiteX37" fmla="*/ 12252 w 3080331"/>
                <a:gd name="connsiteY37" fmla="*/ 529080 h 634427"/>
                <a:gd name="connsiteX38" fmla="*/ 11583 w 3080331"/>
                <a:gd name="connsiteY38" fmla="*/ 533862 h 634427"/>
                <a:gd name="connsiteX39" fmla="*/ 12252 w 3080331"/>
                <a:gd name="connsiteY39" fmla="*/ 538827 h 634427"/>
                <a:gd name="connsiteX40" fmla="*/ 13088 w 3080331"/>
                <a:gd name="connsiteY40" fmla="*/ 541401 h 634427"/>
                <a:gd name="connsiteX41" fmla="*/ 14593 w 3080331"/>
                <a:gd name="connsiteY41" fmla="*/ 544344 h 634427"/>
                <a:gd name="connsiteX42" fmla="*/ 16933 w 3080331"/>
                <a:gd name="connsiteY42" fmla="*/ 547286 h 634427"/>
                <a:gd name="connsiteX43" fmla="*/ 19942 w 3080331"/>
                <a:gd name="connsiteY43" fmla="*/ 549125 h 634427"/>
                <a:gd name="connsiteX44" fmla="*/ 28301 w 3080331"/>
                <a:gd name="connsiteY44" fmla="*/ 547470 h 634427"/>
                <a:gd name="connsiteX45" fmla="*/ 30474 w 3080331"/>
                <a:gd name="connsiteY45" fmla="*/ 545079 h 634427"/>
                <a:gd name="connsiteX46" fmla="*/ 32146 w 3080331"/>
                <a:gd name="connsiteY46" fmla="*/ 542137 h 634427"/>
                <a:gd name="connsiteX47" fmla="*/ 32815 w 3080331"/>
                <a:gd name="connsiteY47" fmla="*/ 540666 h 634427"/>
                <a:gd name="connsiteX48" fmla="*/ 33650 w 3080331"/>
                <a:gd name="connsiteY48" fmla="*/ 537724 h 634427"/>
                <a:gd name="connsiteX49" fmla="*/ 33317 w 3080331"/>
                <a:gd name="connsiteY49" fmla="*/ 528344 h 634427"/>
                <a:gd name="connsiteX50" fmla="*/ 32647 w 3080331"/>
                <a:gd name="connsiteY50" fmla="*/ 526322 h 634427"/>
                <a:gd name="connsiteX51" fmla="*/ 31812 w 3080331"/>
                <a:gd name="connsiteY51" fmla="*/ 524299 h 634427"/>
                <a:gd name="connsiteX52" fmla="*/ 30307 w 3080331"/>
                <a:gd name="connsiteY52" fmla="*/ 521908 h 634427"/>
                <a:gd name="connsiteX53" fmla="*/ 27799 w 3080331"/>
                <a:gd name="connsiteY53" fmla="*/ 519334 h 634427"/>
                <a:gd name="connsiteX54" fmla="*/ 25124 w 3080331"/>
                <a:gd name="connsiteY54" fmla="*/ 517863 h 634427"/>
                <a:gd name="connsiteX55" fmla="*/ 21447 w 3080331"/>
                <a:gd name="connsiteY55" fmla="*/ 507013 h 634427"/>
                <a:gd name="connsiteX56" fmla="*/ 29806 w 3080331"/>
                <a:gd name="connsiteY56" fmla="*/ 508484 h 634427"/>
                <a:gd name="connsiteX57" fmla="*/ 34821 w 3080331"/>
                <a:gd name="connsiteY57" fmla="*/ 511611 h 634427"/>
                <a:gd name="connsiteX58" fmla="*/ 37161 w 3080331"/>
                <a:gd name="connsiteY58" fmla="*/ 513817 h 634427"/>
                <a:gd name="connsiteX59" fmla="*/ 39502 w 3080331"/>
                <a:gd name="connsiteY59" fmla="*/ 516760 h 634427"/>
                <a:gd name="connsiteX60" fmla="*/ 40839 w 3080331"/>
                <a:gd name="connsiteY60" fmla="*/ 519150 h 634427"/>
                <a:gd name="connsiteX61" fmla="*/ 42344 w 3080331"/>
                <a:gd name="connsiteY61" fmla="*/ 522828 h 634427"/>
                <a:gd name="connsiteX62" fmla="*/ 43012 w 3080331"/>
                <a:gd name="connsiteY62" fmla="*/ 525219 h 634427"/>
                <a:gd name="connsiteX63" fmla="*/ 43681 w 3080331"/>
                <a:gd name="connsiteY63" fmla="*/ 528712 h 634427"/>
                <a:gd name="connsiteX64" fmla="*/ 43514 w 3080331"/>
                <a:gd name="connsiteY64" fmla="*/ 538459 h 634427"/>
                <a:gd name="connsiteX65" fmla="*/ 42846 w 3080331"/>
                <a:gd name="connsiteY65" fmla="*/ 541769 h 634427"/>
                <a:gd name="connsiteX66" fmla="*/ 42009 w 3080331"/>
                <a:gd name="connsiteY66" fmla="*/ 544344 h 634427"/>
                <a:gd name="connsiteX67" fmla="*/ 41341 w 3080331"/>
                <a:gd name="connsiteY67" fmla="*/ 545999 h 634427"/>
                <a:gd name="connsiteX68" fmla="*/ 39836 w 3080331"/>
                <a:gd name="connsiteY68" fmla="*/ 548941 h 634427"/>
                <a:gd name="connsiteX69" fmla="*/ 38332 w 3080331"/>
                <a:gd name="connsiteY69" fmla="*/ 551147 h 634427"/>
                <a:gd name="connsiteX70" fmla="*/ 35991 w 3080331"/>
                <a:gd name="connsiteY70" fmla="*/ 553722 h 634427"/>
                <a:gd name="connsiteX71" fmla="*/ 33818 w 3080331"/>
                <a:gd name="connsiteY71" fmla="*/ 555561 h 634427"/>
                <a:gd name="connsiteX72" fmla="*/ 29973 w 3080331"/>
                <a:gd name="connsiteY72" fmla="*/ 557768 h 634427"/>
                <a:gd name="connsiteX73" fmla="*/ 24623 w 3080331"/>
                <a:gd name="connsiteY73" fmla="*/ 559239 h 634427"/>
                <a:gd name="connsiteX74" fmla="*/ 23787 w 3080331"/>
                <a:gd name="connsiteY74" fmla="*/ 559423 h 634427"/>
                <a:gd name="connsiteX75" fmla="*/ 20945 w 3080331"/>
                <a:gd name="connsiteY75" fmla="*/ 559423 h 634427"/>
                <a:gd name="connsiteX76" fmla="*/ 20778 w 3080331"/>
                <a:gd name="connsiteY76" fmla="*/ 559423 h 634427"/>
                <a:gd name="connsiteX77" fmla="*/ 11918 w 3080331"/>
                <a:gd name="connsiteY77" fmla="*/ 556113 h 634427"/>
                <a:gd name="connsiteX78" fmla="*/ 8741 w 3080331"/>
                <a:gd name="connsiteY78" fmla="*/ 553354 h 634427"/>
                <a:gd name="connsiteX79" fmla="*/ 6568 w 3080331"/>
                <a:gd name="connsiteY79" fmla="*/ 550780 h 634427"/>
                <a:gd name="connsiteX80" fmla="*/ 5063 w 3080331"/>
                <a:gd name="connsiteY80" fmla="*/ 548389 h 634427"/>
                <a:gd name="connsiteX81" fmla="*/ 3559 w 3080331"/>
                <a:gd name="connsiteY81" fmla="*/ 545447 h 634427"/>
                <a:gd name="connsiteX82" fmla="*/ 2723 w 3080331"/>
                <a:gd name="connsiteY82" fmla="*/ 543424 h 634427"/>
                <a:gd name="connsiteX83" fmla="*/ 2054 w 3080331"/>
                <a:gd name="connsiteY83" fmla="*/ 541217 h 634427"/>
                <a:gd name="connsiteX84" fmla="*/ 1218 w 3080331"/>
                <a:gd name="connsiteY84" fmla="*/ 537356 h 634427"/>
                <a:gd name="connsiteX85" fmla="*/ 1051 w 3080331"/>
                <a:gd name="connsiteY85" fmla="*/ 535333 h 634427"/>
                <a:gd name="connsiteX86" fmla="*/ 1218 w 3080331"/>
                <a:gd name="connsiteY86" fmla="*/ 535516 h 634427"/>
                <a:gd name="connsiteX87" fmla="*/ 1218 w 3080331"/>
                <a:gd name="connsiteY87" fmla="*/ 531655 h 634427"/>
                <a:gd name="connsiteX88" fmla="*/ 1218 w 3080331"/>
                <a:gd name="connsiteY88" fmla="*/ 531471 h 634427"/>
                <a:gd name="connsiteX89" fmla="*/ 1552 w 3080331"/>
                <a:gd name="connsiteY89" fmla="*/ 528344 h 634427"/>
                <a:gd name="connsiteX90" fmla="*/ 2388 w 3080331"/>
                <a:gd name="connsiteY90" fmla="*/ 524667 h 634427"/>
                <a:gd name="connsiteX91" fmla="*/ 3057 w 3080331"/>
                <a:gd name="connsiteY91" fmla="*/ 522460 h 634427"/>
                <a:gd name="connsiteX92" fmla="*/ 4561 w 3080331"/>
                <a:gd name="connsiteY92" fmla="*/ 518966 h 634427"/>
                <a:gd name="connsiteX93" fmla="*/ 6066 w 3080331"/>
                <a:gd name="connsiteY93" fmla="*/ 516392 h 634427"/>
                <a:gd name="connsiteX94" fmla="*/ 7571 w 3080331"/>
                <a:gd name="connsiteY94" fmla="*/ 514368 h 634427"/>
                <a:gd name="connsiteX95" fmla="*/ 9075 w 3080331"/>
                <a:gd name="connsiteY95" fmla="*/ 512714 h 634427"/>
                <a:gd name="connsiteX96" fmla="*/ 12252 w 3080331"/>
                <a:gd name="connsiteY96" fmla="*/ 510139 h 634427"/>
                <a:gd name="connsiteX97" fmla="*/ 14927 w 3080331"/>
                <a:gd name="connsiteY97" fmla="*/ 508668 h 634427"/>
                <a:gd name="connsiteX98" fmla="*/ 21447 w 3080331"/>
                <a:gd name="connsiteY98" fmla="*/ 507013 h 634427"/>
                <a:gd name="connsiteX99" fmla="*/ 20889 w 3080331"/>
                <a:gd name="connsiteY99" fmla="*/ 438480 h 634427"/>
                <a:gd name="connsiteX100" fmla="*/ 23647 w 3080331"/>
                <a:gd name="connsiteY100" fmla="*/ 438480 h 634427"/>
                <a:gd name="connsiteX101" fmla="*/ 26773 w 3080331"/>
                <a:gd name="connsiteY101" fmla="*/ 440135 h 634427"/>
                <a:gd name="connsiteX102" fmla="*/ 28244 w 3080331"/>
                <a:gd name="connsiteY102" fmla="*/ 444364 h 634427"/>
                <a:gd name="connsiteX103" fmla="*/ 28244 w 3080331"/>
                <a:gd name="connsiteY103" fmla="*/ 444732 h 634427"/>
                <a:gd name="connsiteX104" fmla="*/ 28244 w 3080331"/>
                <a:gd name="connsiteY104" fmla="*/ 480776 h 634427"/>
                <a:gd name="connsiteX105" fmla="*/ 28612 w 3080331"/>
                <a:gd name="connsiteY105" fmla="*/ 481143 h 634427"/>
                <a:gd name="connsiteX106" fmla="*/ 33577 w 3080331"/>
                <a:gd name="connsiteY106" fmla="*/ 481143 h 634427"/>
                <a:gd name="connsiteX107" fmla="*/ 36336 w 3080331"/>
                <a:gd name="connsiteY107" fmla="*/ 481879 h 634427"/>
                <a:gd name="connsiteX108" fmla="*/ 38910 w 3080331"/>
                <a:gd name="connsiteY108" fmla="*/ 486477 h 634427"/>
                <a:gd name="connsiteX109" fmla="*/ 37072 w 3080331"/>
                <a:gd name="connsiteY109" fmla="*/ 490338 h 634427"/>
                <a:gd name="connsiteX110" fmla="*/ 34313 w 3080331"/>
                <a:gd name="connsiteY110" fmla="*/ 491625 h 634427"/>
                <a:gd name="connsiteX111" fmla="*/ 34130 w 3080331"/>
                <a:gd name="connsiteY111" fmla="*/ 491625 h 634427"/>
                <a:gd name="connsiteX112" fmla="*/ 33945 w 3080331"/>
                <a:gd name="connsiteY112" fmla="*/ 491625 h 634427"/>
                <a:gd name="connsiteX113" fmla="*/ 33577 w 3080331"/>
                <a:gd name="connsiteY113" fmla="*/ 491625 h 634427"/>
                <a:gd name="connsiteX114" fmla="*/ 11694 w 3080331"/>
                <a:gd name="connsiteY114" fmla="*/ 491625 h 634427"/>
                <a:gd name="connsiteX115" fmla="*/ 11327 w 3080331"/>
                <a:gd name="connsiteY115" fmla="*/ 491625 h 634427"/>
                <a:gd name="connsiteX116" fmla="*/ 10775 w 3080331"/>
                <a:gd name="connsiteY116" fmla="*/ 491625 h 634427"/>
                <a:gd name="connsiteX117" fmla="*/ 10223 w 3080331"/>
                <a:gd name="connsiteY117" fmla="*/ 491442 h 634427"/>
                <a:gd name="connsiteX118" fmla="*/ 7832 w 3080331"/>
                <a:gd name="connsiteY118" fmla="*/ 490154 h 634427"/>
                <a:gd name="connsiteX119" fmla="*/ 6178 w 3080331"/>
                <a:gd name="connsiteY119" fmla="*/ 486292 h 634427"/>
                <a:gd name="connsiteX120" fmla="*/ 7649 w 3080331"/>
                <a:gd name="connsiteY120" fmla="*/ 482799 h 634427"/>
                <a:gd name="connsiteX121" fmla="*/ 11511 w 3080331"/>
                <a:gd name="connsiteY121" fmla="*/ 481143 h 634427"/>
                <a:gd name="connsiteX122" fmla="*/ 16843 w 3080331"/>
                <a:gd name="connsiteY122" fmla="*/ 481143 h 634427"/>
                <a:gd name="connsiteX123" fmla="*/ 17211 w 3080331"/>
                <a:gd name="connsiteY123" fmla="*/ 480776 h 634427"/>
                <a:gd name="connsiteX124" fmla="*/ 17211 w 3080331"/>
                <a:gd name="connsiteY124" fmla="*/ 449514 h 634427"/>
                <a:gd name="connsiteX125" fmla="*/ 16843 w 3080331"/>
                <a:gd name="connsiteY125" fmla="*/ 449146 h 634427"/>
                <a:gd name="connsiteX126" fmla="*/ 12798 w 3080331"/>
                <a:gd name="connsiteY126" fmla="*/ 449146 h 634427"/>
                <a:gd name="connsiteX127" fmla="*/ 7832 w 3080331"/>
                <a:gd name="connsiteY127" fmla="*/ 446020 h 634427"/>
                <a:gd name="connsiteX128" fmla="*/ 7649 w 3080331"/>
                <a:gd name="connsiteY128" fmla="*/ 442158 h 634427"/>
                <a:gd name="connsiteX129" fmla="*/ 12614 w 3080331"/>
                <a:gd name="connsiteY129" fmla="*/ 438664 h 634427"/>
                <a:gd name="connsiteX130" fmla="*/ 20889 w 3080331"/>
                <a:gd name="connsiteY130" fmla="*/ 438480 h 634427"/>
                <a:gd name="connsiteX131" fmla="*/ 22723 w 3080331"/>
                <a:gd name="connsiteY131" fmla="*/ 399198 h 634427"/>
                <a:gd name="connsiteX132" fmla="*/ 16282 w 3080331"/>
                <a:gd name="connsiteY132" fmla="*/ 405505 h 634427"/>
                <a:gd name="connsiteX133" fmla="*/ 19650 w 3080331"/>
                <a:gd name="connsiteY133" fmla="*/ 411053 h 634427"/>
                <a:gd name="connsiteX134" fmla="*/ 19650 w 3080331"/>
                <a:gd name="connsiteY134" fmla="*/ 416763 h 634427"/>
                <a:gd name="connsiteX135" fmla="*/ 22723 w 3080331"/>
                <a:gd name="connsiteY135" fmla="*/ 419772 h 634427"/>
                <a:gd name="connsiteX136" fmla="*/ 25795 w 3080331"/>
                <a:gd name="connsiteY136" fmla="*/ 416763 h 634427"/>
                <a:gd name="connsiteX137" fmla="*/ 25795 w 3080331"/>
                <a:gd name="connsiteY137" fmla="*/ 411053 h 634427"/>
                <a:gd name="connsiteX138" fmla="*/ 29164 w 3080331"/>
                <a:gd name="connsiteY138" fmla="*/ 405505 h 634427"/>
                <a:gd name="connsiteX139" fmla="*/ 22723 w 3080331"/>
                <a:gd name="connsiteY139" fmla="*/ 399198 h 634427"/>
                <a:gd name="connsiteX140" fmla="*/ 22544 w 3080331"/>
                <a:gd name="connsiteY140" fmla="*/ 372865 h 634427"/>
                <a:gd name="connsiteX141" fmla="*/ 14614 w 3080331"/>
                <a:gd name="connsiteY141" fmla="*/ 378122 h 634427"/>
                <a:gd name="connsiteX142" fmla="*/ 13984 w 3080331"/>
                <a:gd name="connsiteY142" fmla="*/ 381239 h 634427"/>
                <a:gd name="connsiteX143" fmla="*/ 16189 w 3080331"/>
                <a:gd name="connsiteY143" fmla="*/ 381239 h 634427"/>
                <a:gd name="connsiteX144" fmla="*/ 28714 w 3080331"/>
                <a:gd name="connsiteY144" fmla="*/ 381239 h 634427"/>
                <a:gd name="connsiteX145" fmla="*/ 31104 w 3080331"/>
                <a:gd name="connsiteY145" fmla="*/ 381239 h 634427"/>
                <a:gd name="connsiteX146" fmla="*/ 30475 w 3080331"/>
                <a:gd name="connsiteY146" fmla="*/ 378122 h 634427"/>
                <a:gd name="connsiteX147" fmla="*/ 22544 w 3080331"/>
                <a:gd name="connsiteY147" fmla="*/ 372865 h 634427"/>
                <a:gd name="connsiteX148" fmla="*/ 22544 w 3080331"/>
                <a:gd name="connsiteY148" fmla="*/ 364258 h 634427"/>
                <a:gd name="connsiteX149" fmla="*/ 39408 w 3080331"/>
                <a:gd name="connsiteY149" fmla="*/ 378003 h 634427"/>
                <a:gd name="connsiteX150" fmla="*/ 39735 w 3080331"/>
                <a:gd name="connsiteY150" fmla="*/ 381239 h 634427"/>
                <a:gd name="connsiteX151" fmla="*/ 40700 w 3080331"/>
                <a:gd name="connsiteY151" fmla="*/ 381239 h 634427"/>
                <a:gd name="connsiteX152" fmla="*/ 45089 w 3080331"/>
                <a:gd name="connsiteY152" fmla="*/ 385515 h 634427"/>
                <a:gd name="connsiteX153" fmla="*/ 45089 w 3080331"/>
                <a:gd name="connsiteY153" fmla="*/ 419332 h 634427"/>
                <a:gd name="connsiteX154" fmla="*/ 40700 w 3080331"/>
                <a:gd name="connsiteY154" fmla="*/ 423607 h 634427"/>
                <a:gd name="connsiteX155" fmla="*/ 4389 w 3080331"/>
                <a:gd name="connsiteY155" fmla="*/ 423607 h 634427"/>
                <a:gd name="connsiteX156" fmla="*/ 0 w 3080331"/>
                <a:gd name="connsiteY156" fmla="*/ 419332 h 634427"/>
                <a:gd name="connsiteX157" fmla="*/ 0 w 3080331"/>
                <a:gd name="connsiteY157" fmla="*/ 385515 h 634427"/>
                <a:gd name="connsiteX158" fmla="*/ 4389 w 3080331"/>
                <a:gd name="connsiteY158" fmla="*/ 381239 h 634427"/>
                <a:gd name="connsiteX159" fmla="*/ 4957 w 3080331"/>
                <a:gd name="connsiteY159" fmla="*/ 381239 h 634427"/>
                <a:gd name="connsiteX160" fmla="*/ 5354 w 3080331"/>
                <a:gd name="connsiteY160" fmla="*/ 381239 h 634427"/>
                <a:gd name="connsiteX161" fmla="*/ 5680 w 3080331"/>
                <a:gd name="connsiteY161" fmla="*/ 378003 h 634427"/>
                <a:gd name="connsiteX162" fmla="*/ 22544 w 3080331"/>
                <a:gd name="connsiteY162" fmla="*/ 364258 h 634427"/>
                <a:gd name="connsiteX163" fmla="*/ 25124 w 3080331"/>
                <a:gd name="connsiteY163" fmla="*/ 307043 h 634427"/>
                <a:gd name="connsiteX164" fmla="*/ 17267 w 3080331"/>
                <a:gd name="connsiteY164" fmla="*/ 308698 h 634427"/>
                <a:gd name="connsiteX165" fmla="*/ 15094 w 3080331"/>
                <a:gd name="connsiteY165" fmla="*/ 311088 h 634427"/>
                <a:gd name="connsiteX166" fmla="*/ 13589 w 3080331"/>
                <a:gd name="connsiteY166" fmla="*/ 313663 h 634427"/>
                <a:gd name="connsiteX167" fmla="*/ 12921 w 3080331"/>
                <a:gd name="connsiteY167" fmla="*/ 315502 h 634427"/>
                <a:gd name="connsiteX168" fmla="*/ 12252 w 3080331"/>
                <a:gd name="connsiteY168" fmla="*/ 318260 h 634427"/>
                <a:gd name="connsiteX169" fmla="*/ 11583 w 3080331"/>
                <a:gd name="connsiteY169" fmla="*/ 323042 h 634427"/>
                <a:gd name="connsiteX170" fmla="*/ 12252 w 3080331"/>
                <a:gd name="connsiteY170" fmla="*/ 328007 h 634427"/>
                <a:gd name="connsiteX171" fmla="*/ 13088 w 3080331"/>
                <a:gd name="connsiteY171" fmla="*/ 330581 h 634427"/>
                <a:gd name="connsiteX172" fmla="*/ 14593 w 3080331"/>
                <a:gd name="connsiteY172" fmla="*/ 333524 h 634427"/>
                <a:gd name="connsiteX173" fmla="*/ 16933 w 3080331"/>
                <a:gd name="connsiteY173" fmla="*/ 336466 h 634427"/>
                <a:gd name="connsiteX174" fmla="*/ 19942 w 3080331"/>
                <a:gd name="connsiteY174" fmla="*/ 338305 h 634427"/>
                <a:gd name="connsiteX175" fmla="*/ 28301 w 3080331"/>
                <a:gd name="connsiteY175" fmla="*/ 336650 h 634427"/>
                <a:gd name="connsiteX176" fmla="*/ 30474 w 3080331"/>
                <a:gd name="connsiteY176" fmla="*/ 334259 h 634427"/>
                <a:gd name="connsiteX177" fmla="*/ 32146 w 3080331"/>
                <a:gd name="connsiteY177" fmla="*/ 331317 h 634427"/>
                <a:gd name="connsiteX178" fmla="*/ 32815 w 3080331"/>
                <a:gd name="connsiteY178" fmla="*/ 329846 h 634427"/>
                <a:gd name="connsiteX179" fmla="*/ 33650 w 3080331"/>
                <a:gd name="connsiteY179" fmla="*/ 326904 h 634427"/>
                <a:gd name="connsiteX180" fmla="*/ 33317 w 3080331"/>
                <a:gd name="connsiteY180" fmla="*/ 317524 h 634427"/>
                <a:gd name="connsiteX181" fmla="*/ 32647 w 3080331"/>
                <a:gd name="connsiteY181" fmla="*/ 315502 h 634427"/>
                <a:gd name="connsiteX182" fmla="*/ 31812 w 3080331"/>
                <a:gd name="connsiteY182" fmla="*/ 313479 h 634427"/>
                <a:gd name="connsiteX183" fmla="*/ 30307 w 3080331"/>
                <a:gd name="connsiteY183" fmla="*/ 311088 h 634427"/>
                <a:gd name="connsiteX184" fmla="*/ 27799 w 3080331"/>
                <a:gd name="connsiteY184" fmla="*/ 308514 h 634427"/>
                <a:gd name="connsiteX185" fmla="*/ 25124 w 3080331"/>
                <a:gd name="connsiteY185" fmla="*/ 307043 h 634427"/>
                <a:gd name="connsiteX186" fmla="*/ 21447 w 3080331"/>
                <a:gd name="connsiteY186" fmla="*/ 296193 h 634427"/>
                <a:gd name="connsiteX187" fmla="*/ 29806 w 3080331"/>
                <a:gd name="connsiteY187" fmla="*/ 297664 h 634427"/>
                <a:gd name="connsiteX188" fmla="*/ 34821 w 3080331"/>
                <a:gd name="connsiteY188" fmla="*/ 300791 h 634427"/>
                <a:gd name="connsiteX189" fmla="*/ 37161 w 3080331"/>
                <a:gd name="connsiteY189" fmla="*/ 302997 h 634427"/>
                <a:gd name="connsiteX190" fmla="*/ 39502 w 3080331"/>
                <a:gd name="connsiteY190" fmla="*/ 305940 h 634427"/>
                <a:gd name="connsiteX191" fmla="*/ 40839 w 3080331"/>
                <a:gd name="connsiteY191" fmla="*/ 308330 h 634427"/>
                <a:gd name="connsiteX192" fmla="*/ 42344 w 3080331"/>
                <a:gd name="connsiteY192" fmla="*/ 312008 h 634427"/>
                <a:gd name="connsiteX193" fmla="*/ 43012 w 3080331"/>
                <a:gd name="connsiteY193" fmla="*/ 314399 h 634427"/>
                <a:gd name="connsiteX194" fmla="*/ 43681 w 3080331"/>
                <a:gd name="connsiteY194" fmla="*/ 317892 h 634427"/>
                <a:gd name="connsiteX195" fmla="*/ 43514 w 3080331"/>
                <a:gd name="connsiteY195" fmla="*/ 327639 h 634427"/>
                <a:gd name="connsiteX196" fmla="*/ 42846 w 3080331"/>
                <a:gd name="connsiteY196" fmla="*/ 330949 h 634427"/>
                <a:gd name="connsiteX197" fmla="*/ 42009 w 3080331"/>
                <a:gd name="connsiteY197" fmla="*/ 333524 h 634427"/>
                <a:gd name="connsiteX198" fmla="*/ 41341 w 3080331"/>
                <a:gd name="connsiteY198" fmla="*/ 335179 h 634427"/>
                <a:gd name="connsiteX199" fmla="*/ 39836 w 3080331"/>
                <a:gd name="connsiteY199" fmla="*/ 338121 h 634427"/>
                <a:gd name="connsiteX200" fmla="*/ 38332 w 3080331"/>
                <a:gd name="connsiteY200" fmla="*/ 340327 h 634427"/>
                <a:gd name="connsiteX201" fmla="*/ 35991 w 3080331"/>
                <a:gd name="connsiteY201" fmla="*/ 342902 h 634427"/>
                <a:gd name="connsiteX202" fmla="*/ 33818 w 3080331"/>
                <a:gd name="connsiteY202" fmla="*/ 344741 h 634427"/>
                <a:gd name="connsiteX203" fmla="*/ 29973 w 3080331"/>
                <a:gd name="connsiteY203" fmla="*/ 346948 h 634427"/>
                <a:gd name="connsiteX204" fmla="*/ 24623 w 3080331"/>
                <a:gd name="connsiteY204" fmla="*/ 348419 h 634427"/>
                <a:gd name="connsiteX205" fmla="*/ 23787 w 3080331"/>
                <a:gd name="connsiteY205" fmla="*/ 348603 h 634427"/>
                <a:gd name="connsiteX206" fmla="*/ 20945 w 3080331"/>
                <a:gd name="connsiteY206" fmla="*/ 348603 h 634427"/>
                <a:gd name="connsiteX207" fmla="*/ 20778 w 3080331"/>
                <a:gd name="connsiteY207" fmla="*/ 348603 h 634427"/>
                <a:gd name="connsiteX208" fmla="*/ 11918 w 3080331"/>
                <a:gd name="connsiteY208" fmla="*/ 345293 h 634427"/>
                <a:gd name="connsiteX209" fmla="*/ 8741 w 3080331"/>
                <a:gd name="connsiteY209" fmla="*/ 342534 h 634427"/>
                <a:gd name="connsiteX210" fmla="*/ 6568 w 3080331"/>
                <a:gd name="connsiteY210" fmla="*/ 339960 h 634427"/>
                <a:gd name="connsiteX211" fmla="*/ 5063 w 3080331"/>
                <a:gd name="connsiteY211" fmla="*/ 337569 h 634427"/>
                <a:gd name="connsiteX212" fmla="*/ 3559 w 3080331"/>
                <a:gd name="connsiteY212" fmla="*/ 334627 h 634427"/>
                <a:gd name="connsiteX213" fmla="*/ 2723 w 3080331"/>
                <a:gd name="connsiteY213" fmla="*/ 332604 h 634427"/>
                <a:gd name="connsiteX214" fmla="*/ 2054 w 3080331"/>
                <a:gd name="connsiteY214" fmla="*/ 330397 h 634427"/>
                <a:gd name="connsiteX215" fmla="*/ 1218 w 3080331"/>
                <a:gd name="connsiteY215" fmla="*/ 326536 h 634427"/>
                <a:gd name="connsiteX216" fmla="*/ 1051 w 3080331"/>
                <a:gd name="connsiteY216" fmla="*/ 324513 h 634427"/>
                <a:gd name="connsiteX217" fmla="*/ 1218 w 3080331"/>
                <a:gd name="connsiteY217" fmla="*/ 324696 h 634427"/>
                <a:gd name="connsiteX218" fmla="*/ 1218 w 3080331"/>
                <a:gd name="connsiteY218" fmla="*/ 320835 h 634427"/>
                <a:gd name="connsiteX219" fmla="*/ 1218 w 3080331"/>
                <a:gd name="connsiteY219" fmla="*/ 320651 h 634427"/>
                <a:gd name="connsiteX220" fmla="*/ 1552 w 3080331"/>
                <a:gd name="connsiteY220" fmla="*/ 317524 h 634427"/>
                <a:gd name="connsiteX221" fmla="*/ 2388 w 3080331"/>
                <a:gd name="connsiteY221" fmla="*/ 313847 h 634427"/>
                <a:gd name="connsiteX222" fmla="*/ 3057 w 3080331"/>
                <a:gd name="connsiteY222" fmla="*/ 311640 h 634427"/>
                <a:gd name="connsiteX223" fmla="*/ 4561 w 3080331"/>
                <a:gd name="connsiteY223" fmla="*/ 308146 h 634427"/>
                <a:gd name="connsiteX224" fmla="*/ 6066 w 3080331"/>
                <a:gd name="connsiteY224" fmla="*/ 305572 h 634427"/>
                <a:gd name="connsiteX225" fmla="*/ 7571 w 3080331"/>
                <a:gd name="connsiteY225" fmla="*/ 303548 h 634427"/>
                <a:gd name="connsiteX226" fmla="*/ 9075 w 3080331"/>
                <a:gd name="connsiteY226" fmla="*/ 301894 h 634427"/>
                <a:gd name="connsiteX227" fmla="*/ 12252 w 3080331"/>
                <a:gd name="connsiteY227" fmla="*/ 299319 h 634427"/>
                <a:gd name="connsiteX228" fmla="*/ 14927 w 3080331"/>
                <a:gd name="connsiteY228" fmla="*/ 297848 h 634427"/>
                <a:gd name="connsiteX229" fmla="*/ 21447 w 3080331"/>
                <a:gd name="connsiteY229" fmla="*/ 296193 h 634427"/>
                <a:gd name="connsiteX230" fmla="*/ 20889 w 3080331"/>
                <a:gd name="connsiteY230" fmla="*/ 227660 h 634427"/>
                <a:gd name="connsiteX231" fmla="*/ 23647 w 3080331"/>
                <a:gd name="connsiteY231" fmla="*/ 227660 h 634427"/>
                <a:gd name="connsiteX232" fmla="*/ 26773 w 3080331"/>
                <a:gd name="connsiteY232" fmla="*/ 229315 h 634427"/>
                <a:gd name="connsiteX233" fmla="*/ 28244 w 3080331"/>
                <a:gd name="connsiteY233" fmla="*/ 233544 h 634427"/>
                <a:gd name="connsiteX234" fmla="*/ 28244 w 3080331"/>
                <a:gd name="connsiteY234" fmla="*/ 233912 h 634427"/>
                <a:gd name="connsiteX235" fmla="*/ 28244 w 3080331"/>
                <a:gd name="connsiteY235" fmla="*/ 269956 h 634427"/>
                <a:gd name="connsiteX236" fmla="*/ 28612 w 3080331"/>
                <a:gd name="connsiteY236" fmla="*/ 270323 h 634427"/>
                <a:gd name="connsiteX237" fmla="*/ 33577 w 3080331"/>
                <a:gd name="connsiteY237" fmla="*/ 270323 h 634427"/>
                <a:gd name="connsiteX238" fmla="*/ 36336 w 3080331"/>
                <a:gd name="connsiteY238" fmla="*/ 271059 h 634427"/>
                <a:gd name="connsiteX239" fmla="*/ 38910 w 3080331"/>
                <a:gd name="connsiteY239" fmla="*/ 275657 h 634427"/>
                <a:gd name="connsiteX240" fmla="*/ 37072 w 3080331"/>
                <a:gd name="connsiteY240" fmla="*/ 279518 h 634427"/>
                <a:gd name="connsiteX241" fmla="*/ 34313 w 3080331"/>
                <a:gd name="connsiteY241" fmla="*/ 280805 h 634427"/>
                <a:gd name="connsiteX242" fmla="*/ 34130 w 3080331"/>
                <a:gd name="connsiteY242" fmla="*/ 280805 h 634427"/>
                <a:gd name="connsiteX243" fmla="*/ 33945 w 3080331"/>
                <a:gd name="connsiteY243" fmla="*/ 280805 h 634427"/>
                <a:gd name="connsiteX244" fmla="*/ 33577 w 3080331"/>
                <a:gd name="connsiteY244" fmla="*/ 280805 h 634427"/>
                <a:gd name="connsiteX245" fmla="*/ 11694 w 3080331"/>
                <a:gd name="connsiteY245" fmla="*/ 280805 h 634427"/>
                <a:gd name="connsiteX246" fmla="*/ 11327 w 3080331"/>
                <a:gd name="connsiteY246" fmla="*/ 280805 h 634427"/>
                <a:gd name="connsiteX247" fmla="*/ 10775 w 3080331"/>
                <a:gd name="connsiteY247" fmla="*/ 280805 h 634427"/>
                <a:gd name="connsiteX248" fmla="*/ 10223 w 3080331"/>
                <a:gd name="connsiteY248" fmla="*/ 280622 h 634427"/>
                <a:gd name="connsiteX249" fmla="*/ 7832 w 3080331"/>
                <a:gd name="connsiteY249" fmla="*/ 279334 h 634427"/>
                <a:gd name="connsiteX250" fmla="*/ 6178 w 3080331"/>
                <a:gd name="connsiteY250" fmla="*/ 275472 h 634427"/>
                <a:gd name="connsiteX251" fmla="*/ 7649 w 3080331"/>
                <a:gd name="connsiteY251" fmla="*/ 271979 h 634427"/>
                <a:gd name="connsiteX252" fmla="*/ 11511 w 3080331"/>
                <a:gd name="connsiteY252" fmla="*/ 270323 h 634427"/>
                <a:gd name="connsiteX253" fmla="*/ 16843 w 3080331"/>
                <a:gd name="connsiteY253" fmla="*/ 270323 h 634427"/>
                <a:gd name="connsiteX254" fmla="*/ 17211 w 3080331"/>
                <a:gd name="connsiteY254" fmla="*/ 269956 h 634427"/>
                <a:gd name="connsiteX255" fmla="*/ 17211 w 3080331"/>
                <a:gd name="connsiteY255" fmla="*/ 238694 h 634427"/>
                <a:gd name="connsiteX256" fmla="*/ 16843 w 3080331"/>
                <a:gd name="connsiteY256" fmla="*/ 238326 h 634427"/>
                <a:gd name="connsiteX257" fmla="*/ 12798 w 3080331"/>
                <a:gd name="connsiteY257" fmla="*/ 238326 h 634427"/>
                <a:gd name="connsiteX258" fmla="*/ 7832 w 3080331"/>
                <a:gd name="connsiteY258" fmla="*/ 235200 h 634427"/>
                <a:gd name="connsiteX259" fmla="*/ 7649 w 3080331"/>
                <a:gd name="connsiteY259" fmla="*/ 231338 h 634427"/>
                <a:gd name="connsiteX260" fmla="*/ 12614 w 3080331"/>
                <a:gd name="connsiteY260" fmla="*/ 227844 h 634427"/>
                <a:gd name="connsiteX261" fmla="*/ 20889 w 3080331"/>
                <a:gd name="connsiteY261" fmla="*/ 227660 h 634427"/>
                <a:gd name="connsiteX262" fmla="*/ 22723 w 3080331"/>
                <a:gd name="connsiteY262" fmla="*/ 183298 h 634427"/>
                <a:gd name="connsiteX263" fmla="*/ 16282 w 3080331"/>
                <a:gd name="connsiteY263" fmla="*/ 189605 h 634427"/>
                <a:gd name="connsiteX264" fmla="*/ 19650 w 3080331"/>
                <a:gd name="connsiteY264" fmla="*/ 195153 h 634427"/>
                <a:gd name="connsiteX265" fmla="*/ 19650 w 3080331"/>
                <a:gd name="connsiteY265" fmla="*/ 200863 h 634427"/>
                <a:gd name="connsiteX266" fmla="*/ 22723 w 3080331"/>
                <a:gd name="connsiteY266" fmla="*/ 203872 h 634427"/>
                <a:gd name="connsiteX267" fmla="*/ 25795 w 3080331"/>
                <a:gd name="connsiteY267" fmla="*/ 200863 h 634427"/>
                <a:gd name="connsiteX268" fmla="*/ 25795 w 3080331"/>
                <a:gd name="connsiteY268" fmla="*/ 195153 h 634427"/>
                <a:gd name="connsiteX269" fmla="*/ 29164 w 3080331"/>
                <a:gd name="connsiteY269" fmla="*/ 189605 h 634427"/>
                <a:gd name="connsiteX270" fmla="*/ 22723 w 3080331"/>
                <a:gd name="connsiteY270" fmla="*/ 183298 h 634427"/>
                <a:gd name="connsiteX271" fmla="*/ 22544 w 3080331"/>
                <a:gd name="connsiteY271" fmla="*/ 156965 h 634427"/>
                <a:gd name="connsiteX272" fmla="*/ 14614 w 3080331"/>
                <a:gd name="connsiteY272" fmla="*/ 162222 h 634427"/>
                <a:gd name="connsiteX273" fmla="*/ 13984 w 3080331"/>
                <a:gd name="connsiteY273" fmla="*/ 165339 h 634427"/>
                <a:gd name="connsiteX274" fmla="*/ 16189 w 3080331"/>
                <a:gd name="connsiteY274" fmla="*/ 165339 h 634427"/>
                <a:gd name="connsiteX275" fmla="*/ 28714 w 3080331"/>
                <a:gd name="connsiteY275" fmla="*/ 165339 h 634427"/>
                <a:gd name="connsiteX276" fmla="*/ 31104 w 3080331"/>
                <a:gd name="connsiteY276" fmla="*/ 165339 h 634427"/>
                <a:gd name="connsiteX277" fmla="*/ 30475 w 3080331"/>
                <a:gd name="connsiteY277" fmla="*/ 162222 h 634427"/>
                <a:gd name="connsiteX278" fmla="*/ 22544 w 3080331"/>
                <a:gd name="connsiteY278" fmla="*/ 156965 h 634427"/>
                <a:gd name="connsiteX279" fmla="*/ 22544 w 3080331"/>
                <a:gd name="connsiteY279" fmla="*/ 148358 h 634427"/>
                <a:gd name="connsiteX280" fmla="*/ 39408 w 3080331"/>
                <a:gd name="connsiteY280" fmla="*/ 162103 h 634427"/>
                <a:gd name="connsiteX281" fmla="*/ 39735 w 3080331"/>
                <a:gd name="connsiteY281" fmla="*/ 165339 h 634427"/>
                <a:gd name="connsiteX282" fmla="*/ 40700 w 3080331"/>
                <a:gd name="connsiteY282" fmla="*/ 165339 h 634427"/>
                <a:gd name="connsiteX283" fmla="*/ 45089 w 3080331"/>
                <a:gd name="connsiteY283" fmla="*/ 169615 h 634427"/>
                <a:gd name="connsiteX284" fmla="*/ 45089 w 3080331"/>
                <a:gd name="connsiteY284" fmla="*/ 203432 h 634427"/>
                <a:gd name="connsiteX285" fmla="*/ 40700 w 3080331"/>
                <a:gd name="connsiteY285" fmla="*/ 207707 h 634427"/>
                <a:gd name="connsiteX286" fmla="*/ 4389 w 3080331"/>
                <a:gd name="connsiteY286" fmla="*/ 207707 h 634427"/>
                <a:gd name="connsiteX287" fmla="*/ 0 w 3080331"/>
                <a:gd name="connsiteY287" fmla="*/ 203432 h 634427"/>
                <a:gd name="connsiteX288" fmla="*/ 0 w 3080331"/>
                <a:gd name="connsiteY288" fmla="*/ 169615 h 634427"/>
                <a:gd name="connsiteX289" fmla="*/ 4389 w 3080331"/>
                <a:gd name="connsiteY289" fmla="*/ 165339 h 634427"/>
                <a:gd name="connsiteX290" fmla="*/ 4957 w 3080331"/>
                <a:gd name="connsiteY290" fmla="*/ 165339 h 634427"/>
                <a:gd name="connsiteX291" fmla="*/ 5354 w 3080331"/>
                <a:gd name="connsiteY291" fmla="*/ 165339 h 634427"/>
                <a:gd name="connsiteX292" fmla="*/ 5680 w 3080331"/>
                <a:gd name="connsiteY292" fmla="*/ 162103 h 634427"/>
                <a:gd name="connsiteX293" fmla="*/ 22544 w 3080331"/>
                <a:gd name="connsiteY293" fmla="*/ 148358 h 634427"/>
                <a:gd name="connsiteX294" fmla="*/ 25124 w 3080331"/>
                <a:gd name="connsiteY294" fmla="*/ 91143 h 634427"/>
                <a:gd name="connsiteX295" fmla="*/ 17267 w 3080331"/>
                <a:gd name="connsiteY295" fmla="*/ 92798 h 634427"/>
                <a:gd name="connsiteX296" fmla="*/ 15094 w 3080331"/>
                <a:gd name="connsiteY296" fmla="*/ 95188 h 634427"/>
                <a:gd name="connsiteX297" fmla="*/ 13589 w 3080331"/>
                <a:gd name="connsiteY297" fmla="*/ 97763 h 634427"/>
                <a:gd name="connsiteX298" fmla="*/ 12921 w 3080331"/>
                <a:gd name="connsiteY298" fmla="*/ 99602 h 634427"/>
                <a:gd name="connsiteX299" fmla="*/ 12252 w 3080331"/>
                <a:gd name="connsiteY299" fmla="*/ 102360 h 634427"/>
                <a:gd name="connsiteX300" fmla="*/ 11583 w 3080331"/>
                <a:gd name="connsiteY300" fmla="*/ 107142 h 634427"/>
                <a:gd name="connsiteX301" fmla="*/ 12252 w 3080331"/>
                <a:gd name="connsiteY301" fmla="*/ 112107 h 634427"/>
                <a:gd name="connsiteX302" fmla="*/ 13088 w 3080331"/>
                <a:gd name="connsiteY302" fmla="*/ 114681 h 634427"/>
                <a:gd name="connsiteX303" fmla="*/ 14593 w 3080331"/>
                <a:gd name="connsiteY303" fmla="*/ 117624 h 634427"/>
                <a:gd name="connsiteX304" fmla="*/ 16933 w 3080331"/>
                <a:gd name="connsiteY304" fmla="*/ 120566 h 634427"/>
                <a:gd name="connsiteX305" fmla="*/ 19942 w 3080331"/>
                <a:gd name="connsiteY305" fmla="*/ 122405 h 634427"/>
                <a:gd name="connsiteX306" fmla="*/ 28301 w 3080331"/>
                <a:gd name="connsiteY306" fmla="*/ 120750 h 634427"/>
                <a:gd name="connsiteX307" fmla="*/ 30474 w 3080331"/>
                <a:gd name="connsiteY307" fmla="*/ 118359 h 634427"/>
                <a:gd name="connsiteX308" fmla="*/ 32146 w 3080331"/>
                <a:gd name="connsiteY308" fmla="*/ 115417 h 634427"/>
                <a:gd name="connsiteX309" fmla="*/ 32815 w 3080331"/>
                <a:gd name="connsiteY309" fmla="*/ 113946 h 634427"/>
                <a:gd name="connsiteX310" fmla="*/ 33650 w 3080331"/>
                <a:gd name="connsiteY310" fmla="*/ 111004 h 634427"/>
                <a:gd name="connsiteX311" fmla="*/ 33317 w 3080331"/>
                <a:gd name="connsiteY311" fmla="*/ 101624 h 634427"/>
                <a:gd name="connsiteX312" fmla="*/ 32647 w 3080331"/>
                <a:gd name="connsiteY312" fmla="*/ 99602 h 634427"/>
                <a:gd name="connsiteX313" fmla="*/ 31812 w 3080331"/>
                <a:gd name="connsiteY313" fmla="*/ 97579 h 634427"/>
                <a:gd name="connsiteX314" fmla="*/ 30307 w 3080331"/>
                <a:gd name="connsiteY314" fmla="*/ 95188 h 634427"/>
                <a:gd name="connsiteX315" fmla="*/ 27799 w 3080331"/>
                <a:gd name="connsiteY315" fmla="*/ 92614 h 634427"/>
                <a:gd name="connsiteX316" fmla="*/ 25124 w 3080331"/>
                <a:gd name="connsiteY316" fmla="*/ 91143 h 634427"/>
                <a:gd name="connsiteX317" fmla="*/ 3062310 w 3080331"/>
                <a:gd name="connsiteY317" fmla="*/ 84588 h 634427"/>
                <a:gd name="connsiteX318" fmla="*/ 3065068 w 3080331"/>
                <a:gd name="connsiteY318" fmla="*/ 84588 h 634427"/>
                <a:gd name="connsiteX319" fmla="*/ 3068194 w 3080331"/>
                <a:gd name="connsiteY319" fmla="*/ 86243 h 634427"/>
                <a:gd name="connsiteX320" fmla="*/ 3069665 w 3080331"/>
                <a:gd name="connsiteY320" fmla="*/ 90472 h 634427"/>
                <a:gd name="connsiteX321" fmla="*/ 3069665 w 3080331"/>
                <a:gd name="connsiteY321" fmla="*/ 90840 h 634427"/>
                <a:gd name="connsiteX322" fmla="*/ 3069665 w 3080331"/>
                <a:gd name="connsiteY322" fmla="*/ 126884 h 634427"/>
                <a:gd name="connsiteX323" fmla="*/ 3070033 w 3080331"/>
                <a:gd name="connsiteY323" fmla="*/ 127251 h 634427"/>
                <a:gd name="connsiteX324" fmla="*/ 3074998 w 3080331"/>
                <a:gd name="connsiteY324" fmla="*/ 127251 h 634427"/>
                <a:gd name="connsiteX325" fmla="*/ 3077757 w 3080331"/>
                <a:gd name="connsiteY325" fmla="*/ 127987 h 634427"/>
                <a:gd name="connsiteX326" fmla="*/ 3080331 w 3080331"/>
                <a:gd name="connsiteY326" fmla="*/ 132584 h 634427"/>
                <a:gd name="connsiteX327" fmla="*/ 3078493 w 3080331"/>
                <a:gd name="connsiteY327" fmla="*/ 136446 h 634427"/>
                <a:gd name="connsiteX328" fmla="*/ 3075734 w 3080331"/>
                <a:gd name="connsiteY328" fmla="*/ 137733 h 634427"/>
                <a:gd name="connsiteX329" fmla="*/ 3075550 w 3080331"/>
                <a:gd name="connsiteY329" fmla="*/ 137733 h 634427"/>
                <a:gd name="connsiteX330" fmla="*/ 3075366 w 3080331"/>
                <a:gd name="connsiteY330" fmla="*/ 137733 h 634427"/>
                <a:gd name="connsiteX331" fmla="*/ 3074998 w 3080331"/>
                <a:gd name="connsiteY331" fmla="*/ 137733 h 634427"/>
                <a:gd name="connsiteX332" fmla="*/ 3053115 w 3080331"/>
                <a:gd name="connsiteY332" fmla="*/ 137733 h 634427"/>
                <a:gd name="connsiteX333" fmla="*/ 3052748 w 3080331"/>
                <a:gd name="connsiteY333" fmla="*/ 137733 h 634427"/>
                <a:gd name="connsiteX334" fmla="*/ 3052196 w 3080331"/>
                <a:gd name="connsiteY334" fmla="*/ 137733 h 634427"/>
                <a:gd name="connsiteX335" fmla="*/ 3051644 w 3080331"/>
                <a:gd name="connsiteY335" fmla="*/ 137549 h 634427"/>
                <a:gd name="connsiteX336" fmla="*/ 3049253 w 3080331"/>
                <a:gd name="connsiteY336" fmla="*/ 136262 h 634427"/>
                <a:gd name="connsiteX337" fmla="*/ 3047599 w 3080331"/>
                <a:gd name="connsiteY337" fmla="*/ 132400 h 634427"/>
                <a:gd name="connsiteX338" fmla="*/ 3049070 w 3080331"/>
                <a:gd name="connsiteY338" fmla="*/ 128906 h 634427"/>
                <a:gd name="connsiteX339" fmla="*/ 3052931 w 3080331"/>
                <a:gd name="connsiteY339" fmla="*/ 127251 h 634427"/>
                <a:gd name="connsiteX340" fmla="*/ 3058264 w 3080331"/>
                <a:gd name="connsiteY340" fmla="*/ 127251 h 634427"/>
                <a:gd name="connsiteX341" fmla="*/ 3058632 w 3080331"/>
                <a:gd name="connsiteY341" fmla="*/ 126884 h 634427"/>
                <a:gd name="connsiteX342" fmla="*/ 3058632 w 3080331"/>
                <a:gd name="connsiteY342" fmla="*/ 95622 h 634427"/>
                <a:gd name="connsiteX343" fmla="*/ 3058264 w 3080331"/>
                <a:gd name="connsiteY343" fmla="*/ 95254 h 634427"/>
                <a:gd name="connsiteX344" fmla="*/ 3054219 w 3080331"/>
                <a:gd name="connsiteY344" fmla="*/ 95254 h 634427"/>
                <a:gd name="connsiteX345" fmla="*/ 3049253 w 3080331"/>
                <a:gd name="connsiteY345" fmla="*/ 92128 h 634427"/>
                <a:gd name="connsiteX346" fmla="*/ 3049070 w 3080331"/>
                <a:gd name="connsiteY346" fmla="*/ 88266 h 634427"/>
                <a:gd name="connsiteX347" fmla="*/ 3054035 w 3080331"/>
                <a:gd name="connsiteY347" fmla="*/ 84772 h 634427"/>
                <a:gd name="connsiteX348" fmla="*/ 3062310 w 3080331"/>
                <a:gd name="connsiteY348" fmla="*/ 84588 h 634427"/>
                <a:gd name="connsiteX349" fmla="*/ 21447 w 3080331"/>
                <a:gd name="connsiteY349" fmla="*/ 80293 h 634427"/>
                <a:gd name="connsiteX350" fmla="*/ 29806 w 3080331"/>
                <a:gd name="connsiteY350" fmla="*/ 81764 h 634427"/>
                <a:gd name="connsiteX351" fmla="*/ 34821 w 3080331"/>
                <a:gd name="connsiteY351" fmla="*/ 84891 h 634427"/>
                <a:gd name="connsiteX352" fmla="*/ 37161 w 3080331"/>
                <a:gd name="connsiteY352" fmla="*/ 87097 h 634427"/>
                <a:gd name="connsiteX353" fmla="*/ 39502 w 3080331"/>
                <a:gd name="connsiteY353" fmla="*/ 90040 h 634427"/>
                <a:gd name="connsiteX354" fmla="*/ 40839 w 3080331"/>
                <a:gd name="connsiteY354" fmla="*/ 92430 h 634427"/>
                <a:gd name="connsiteX355" fmla="*/ 42344 w 3080331"/>
                <a:gd name="connsiteY355" fmla="*/ 96108 h 634427"/>
                <a:gd name="connsiteX356" fmla="*/ 43012 w 3080331"/>
                <a:gd name="connsiteY356" fmla="*/ 98499 h 634427"/>
                <a:gd name="connsiteX357" fmla="*/ 43681 w 3080331"/>
                <a:gd name="connsiteY357" fmla="*/ 101992 h 634427"/>
                <a:gd name="connsiteX358" fmla="*/ 43514 w 3080331"/>
                <a:gd name="connsiteY358" fmla="*/ 111739 h 634427"/>
                <a:gd name="connsiteX359" fmla="*/ 42846 w 3080331"/>
                <a:gd name="connsiteY359" fmla="*/ 115049 h 634427"/>
                <a:gd name="connsiteX360" fmla="*/ 42009 w 3080331"/>
                <a:gd name="connsiteY360" fmla="*/ 117624 h 634427"/>
                <a:gd name="connsiteX361" fmla="*/ 41341 w 3080331"/>
                <a:gd name="connsiteY361" fmla="*/ 119279 h 634427"/>
                <a:gd name="connsiteX362" fmla="*/ 39836 w 3080331"/>
                <a:gd name="connsiteY362" fmla="*/ 122221 h 634427"/>
                <a:gd name="connsiteX363" fmla="*/ 38332 w 3080331"/>
                <a:gd name="connsiteY363" fmla="*/ 124427 h 634427"/>
                <a:gd name="connsiteX364" fmla="*/ 35991 w 3080331"/>
                <a:gd name="connsiteY364" fmla="*/ 127002 h 634427"/>
                <a:gd name="connsiteX365" fmla="*/ 33818 w 3080331"/>
                <a:gd name="connsiteY365" fmla="*/ 128841 h 634427"/>
                <a:gd name="connsiteX366" fmla="*/ 29973 w 3080331"/>
                <a:gd name="connsiteY366" fmla="*/ 131048 h 634427"/>
                <a:gd name="connsiteX367" fmla="*/ 24623 w 3080331"/>
                <a:gd name="connsiteY367" fmla="*/ 132519 h 634427"/>
                <a:gd name="connsiteX368" fmla="*/ 23787 w 3080331"/>
                <a:gd name="connsiteY368" fmla="*/ 132703 h 634427"/>
                <a:gd name="connsiteX369" fmla="*/ 20945 w 3080331"/>
                <a:gd name="connsiteY369" fmla="*/ 132703 h 634427"/>
                <a:gd name="connsiteX370" fmla="*/ 20778 w 3080331"/>
                <a:gd name="connsiteY370" fmla="*/ 132703 h 634427"/>
                <a:gd name="connsiteX371" fmla="*/ 11918 w 3080331"/>
                <a:gd name="connsiteY371" fmla="*/ 129393 h 634427"/>
                <a:gd name="connsiteX372" fmla="*/ 8741 w 3080331"/>
                <a:gd name="connsiteY372" fmla="*/ 126634 h 634427"/>
                <a:gd name="connsiteX373" fmla="*/ 6568 w 3080331"/>
                <a:gd name="connsiteY373" fmla="*/ 124060 h 634427"/>
                <a:gd name="connsiteX374" fmla="*/ 5063 w 3080331"/>
                <a:gd name="connsiteY374" fmla="*/ 121669 h 634427"/>
                <a:gd name="connsiteX375" fmla="*/ 3559 w 3080331"/>
                <a:gd name="connsiteY375" fmla="*/ 118727 h 634427"/>
                <a:gd name="connsiteX376" fmla="*/ 2723 w 3080331"/>
                <a:gd name="connsiteY376" fmla="*/ 116704 h 634427"/>
                <a:gd name="connsiteX377" fmla="*/ 2054 w 3080331"/>
                <a:gd name="connsiteY377" fmla="*/ 114497 h 634427"/>
                <a:gd name="connsiteX378" fmla="*/ 1218 w 3080331"/>
                <a:gd name="connsiteY378" fmla="*/ 110636 h 634427"/>
                <a:gd name="connsiteX379" fmla="*/ 1051 w 3080331"/>
                <a:gd name="connsiteY379" fmla="*/ 108613 h 634427"/>
                <a:gd name="connsiteX380" fmla="*/ 1218 w 3080331"/>
                <a:gd name="connsiteY380" fmla="*/ 108796 h 634427"/>
                <a:gd name="connsiteX381" fmla="*/ 1218 w 3080331"/>
                <a:gd name="connsiteY381" fmla="*/ 104935 h 634427"/>
                <a:gd name="connsiteX382" fmla="*/ 1218 w 3080331"/>
                <a:gd name="connsiteY382" fmla="*/ 104751 h 634427"/>
                <a:gd name="connsiteX383" fmla="*/ 1552 w 3080331"/>
                <a:gd name="connsiteY383" fmla="*/ 101624 h 634427"/>
                <a:gd name="connsiteX384" fmla="*/ 2388 w 3080331"/>
                <a:gd name="connsiteY384" fmla="*/ 97947 h 634427"/>
                <a:gd name="connsiteX385" fmla="*/ 3057 w 3080331"/>
                <a:gd name="connsiteY385" fmla="*/ 95740 h 634427"/>
                <a:gd name="connsiteX386" fmla="*/ 4561 w 3080331"/>
                <a:gd name="connsiteY386" fmla="*/ 92246 h 634427"/>
                <a:gd name="connsiteX387" fmla="*/ 6066 w 3080331"/>
                <a:gd name="connsiteY387" fmla="*/ 89672 h 634427"/>
                <a:gd name="connsiteX388" fmla="*/ 7571 w 3080331"/>
                <a:gd name="connsiteY388" fmla="*/ 87648 h 634427"/>
                <a:gd name="connsiteX389" fmla="*/ 9075 w 3080331"/>
                <a:gd name="connsiteY389" fmla="*/ 85994 h 634427"/>
                <a:gd name="connsiteX390" fmla="*/ 12252 w 3080331"/>
                <a:gd name="connsiteY390" fmla="*/ 83419 h 634427"/>
                <a:gd name="connsiteX391" fmla="*/ 14927 w 3080331"/>
                <a:gd name="connsiteY391" fmla="*/ 81948 h 634427"/>
                <a:gd name="connsiteX392" fmla="*/ 21447 w 3080331"/>
                <a:gd name="connsiteY392" fmla="*/ 80293 h 634427"/>
                <a:gd name="connsiteX393" fmla="*/ 81143 w 3080331"/>
                <a:gd name="connsiteY393" fmla="*/ 35978 h 634427"/>
                <a:gd name="connsiteX394" fmla="*/ 74702 w 3080331"/>
                <a:gd name="connsiteY394" fmla="*/ 42285 h 634427"/>
                <a:gd name="connsiteX395" fmla="*/ 78070 w 3080331"/>
                <a:gd name="connsiteY395" fmla="*/ 47833 h 634427"/>
                <a:gd name="connsiteX396" fmla="*/ 78070 w 3080331"/>
                <a:gd name="connsiteY396" fmla="*/ 53543 h 634427"/>
                <a:gd name="connsiteX397" fmla="*/ 81143 w 3080331"/>
                <a:gd name="connsiteY397" fmla="*/ 56552 h 634427"/>
                <a:gd name="connsiteX398" fmla="*/ 84215 w 3080331"/>
                <a:gd name="connsiteY398" fmla="*/ 53543 h 634427"/>
                <a:gd name="connsiteX399" fmla="*/ 84215 w 3080331"/>
                <a:gd name="connsiteY399" fmla="*/ 47833 h 634427"/>
                <a:gd name="connsiteX400" fmla="*/ 87584 w 3080331"/>
                <a:gd name="connsiteY400" fmla="*/ 42285 h 634427"/>
                <a:gd name="connsiteX401" fmla="*/ 81143 w 3080331"/>
                <a:gd name="connsiteY401" fmla="*/ 35978 h 634427"/>
                <a:gd name="connsiteX402" fmla="*/ 539791 w 3080331"/>
                <a:gd name="connsiteY402" fmla="*/ 34940 h 634427"/>
                <a:gd name="connsiteX403" fmla="*/ 533351 w 3080331"/>
                <a:gd name="connsiteY403" fmla="*/ 41247 h 634427"/>
                <a:gd name="connsiteX404" fmla="*/ 536719 w 3080331"/>
                <a:gd name="connsiteY404" fmla="*/ 46795 h 634427"/>
                <a:gd name="connsiteX405" fmla="*/ 536719 w 3080331"/>
                <a:gd name="connsiteY405" fmla="*/ 52505 h 634427"/>
                <a:gd name="connsiteX406" fmla="*/ 539791 w 3080331"/>
                <a:gd name="connsiteY406" fmla="*/ 55513 h 634427"/>
                <a:gd name="connsiteX407" fmla="*/ 542864 w 3080331"/>
                <a:gd name="connsiteY407" fmla="*/ 52505 h 634427"/>
                <a:gd name="connsiteX408" fmla="*/ 542864 w 3080331"/>
                <a:gd name="connsiteY408" fmla="*/ 46795 h 634427"/>
                <a:gd name="connsiteX409" fmla="*/ 546233 w 3080331"/>
                <a:gd name="connsiteY409" fmla="*/ 41247 h 634427"/>
                <a:gd name="connsiteX410" fmla="*/ 539791 w 3080331"/>
                <a:gd name="connsiteY410" fmla="*/ 34940 h 634427"/>
                <a:gd name="connsiteX411" fmla="*/ 253007 w 3080331"/>
                <a:gd name="connsiteY411" fmla="*/ 34940 h 634427"/>
                <a:gd name="connsiteX412" fmla="*/ 246566 w 3080331"/>
                <a:gd name="connsiteY412" fmla="*/ 41247 h 634427"/>
                <a:gd name="connsiteX413" fmla="*/ 249935 w 3080331"/>
                <a:gd name="connsiteY413" fmla="*/ 46795 h 634427"/>
                <a:gd name="connsiteX414" fmla="*/ 249935 w 3080331"/>
                <a:gd name="connsiteY414" fmla="*/ 52505 h 634427"/>
                <a:gd name="connsiteX415" fmla="*/ 253007 w 3080331"/>
                <a:gd name="connsiteY415" fmla="*/ 55513 h 634427"/>
                <a:gd name="connsiteX416" fmla="*/ 256080 w 3080331"/>
                <a:gd name="connsiteY416" fmla="*/ 52505 h 634427"/>
                <a:gd name="connsiteX417" fmla="*/ 256080 w 3080331"/>
                <a:gd name="connsiteY417" fmla="*/ 46795 h 634427"/>
                <a:gd name="connsiteX418" fmla="*/ 259449 w 3080331"/>
                <a:gd name="connsiteY418" fmla="*/ 41247 h 634427"/>
                <a:gd name="connsiteX419" fmla="*/ 253007 w 3080331"/>
                <a:gd name="connsiteY419" fmla="*/ 34940 h 634427"/>
                <a:gd name="connsiteX420" fmla="*/ 3007558 w 3080331"/>
                <a:gd name="connsiteY420" fmla="*/ 34939 h 634427"/>
                <a:gd name="connsiteX421" fmla="*/ 3001117 w 3080331"/>
                <a:gd name="connsiteY421" fmla="*/ 41247 h 634427"/>
                <a:gd name="connsiteX422" fmla="*/ 3004486 w 3080331"/>
                <a:gd name="connsiteY422" fmla="*/ 46795 h 634427"/>
                <a:gd name="connsiteX423" fmla="*/ 3004486 w 3080331"/>
                <a:gd name="connsiteY423" fmla="*/ 52505 h 634427"/>
                <a:gd name="connsiteX424" fmla="*/ 3007558 w 3080331"/>
                <a:gd name="connsiteY424" fmla="*/ 55513 h 634427"/>
                <a:gd name="connsiteX425" fmla="*/ 3010630 w 3080331"/>
                <a:gd name="connsiteY425" fmla="*/ 52505 h 634427"/>
                <a:gd name="connsiteX426" fmla="*/ 3010630 w 3080331"/>
                <a:gd name="connsiteY426" fmla="*/ 46795 h 634427"/>
                <a:gd name="connsiteX427" fmla="*/ 3013999 w 3080331"/>
                <a:gd name="connsiteY427" fmla="*/ 41247 h 634427"/>
                <a:gd name="connsiteX428" fmla="*/ 3007558 w 3080331"/>
                <a:gd name="connsiteY428" fmla="*/ 34939 h 634427"/>
                <a:gd name="connsiteX429" fmla="*/ 2946161 w 3080331"/>
                <a:gd name="connsiteY429" fmla="*/ 34939 h 634427"/>
                <a:gd name="connsiteX430" fmla="*/ 2939720 w 3080331"/>
                <a:gd name="connsiteY430" fmla="*/ 41247 h 634427"/>
                <a:gd name="connsiteX431" fmla="*/ 2943089 w 3080331"/>
                <a:gd name="connsiteY431" fmla="*/ 46795 h 634427"/>
                <a:gd name="connsiteX432" fmla="*/ 2943089 w 3080331"/>
                <a:gd name="connsiteY432" fmla="*/ 52505 h 634427"/>
                <a:gd name="connsiteX433" fmla="*/ 2946161 w 3080331"/>
                <a:gd name="connsiteY433" fmla="*/ 55513 h 634427"/>
                <a:gd name="connsiteX434" fmla="*/ 2949233 w 3080331"/>
                <a:gd name="connsiteY434" fmla="*/ 52505 h 634427"/>
                <a:gd name="connsiteX435" fmla="*/ 2949233 w 3080331"/>
                <a:gd name="connsiteY435" fmla="*/ 46795 h 634427"/>
                <a:gd name="connsiteX436" fmla="*/ 2952603 w 3080331"/>
                <a:gd name="connsiteY436" fmla="*/ 41247 h 634427"/>
                <a:gd name="connsiteX437" fmla="*/ 2946161 w 3080331"/>
                <a:gd name="connsiteY437" fmla="*/ 34939 h 634427"/>
                <a:gd name="connsiteX438" fmla="*/ 2823318 w 3080331"/>
                <a:gd name="connsiteY438" fmla="*/ 34939 h 634427"/>
                <a:gd name="connsiteX439" fmla="*/ 2816877 w 3080331"/>
                <a:gd name="connsiteY439" fmla="*/ 41247 h 634427"/>
                <a:gd name="connsiteX440" fmla="*/ 2820246 w 3080331"/>
                <a:gd name="connsiteY440" fmla="*/ 46795 h 634427"/>
                <a:gd name="connsiteX441" fmla="*/ 2820246 w 3080331"/>
                <a:gd name="connsiteY441" fmla="*/ 52505 h 634427"/>
                <a:gd name="connsiteX442" fmla="*/ 2823318 w 3080331"/>
                <a:gd name="connsiteY442" fmla="*/ 55513 h 634427"/>
                <a:gd name="connsiteX443" fmla="*/ 2826390 w 3080331"/>
                <a:gd name="connsiteY443" fmla="*/ 52505 h 634427"/>
                <a:gd name="connsiteX444" fmla="*/ 2826390 w 3080331"/>
                <a:gd name="connsiteY444" fmla="*/ 46795 h 634427"/>
                <a:gd name="connsiteX445" fmla="*/ 2829760 w 3080331"/>
                <a:gd name="connsiteY445" fmla="*/ 41247 h 634427"/>
                <a:gd name="connsiteX446" fmla="*/ 2823318 w 3080331"/>
                <a:gd name="connsiteY446" fmla="*/ 34939 h 634427"/>
                <a:gd name="connsiteX447" fmla="*/ 2536534 w 3080331"/>
                <a:gd name="connsiteY447" fmla="*/ 34939 h 634427"/>
                <a:gd name="connsiteX448" fmla="*/ 2530093 w 3080331"/>
                <a:gd name="connsiteY448" fmla="*/ 41247 h 634427"/>
                <a:gd name="connsiteX449" fmla="*/ 2533461 w 3080331"/>
                <a:gd name="connsiteY449" fmla="*/ 46795 h 634427"/>
                <a:gd name="connsiteX450" fmla="*/ 2533461 w 3080331"/>
                <a:gd name="connsiteY450" fmla="*/ 52505 h 634427"/>
                <a:gd name="connsiteX451" fmla="*/ 2536534 w 3080331"/>
                <a:gd name="connsiteY451" fmla="*/ 55513 h 634427"/>
                <a:gd name="connsiteX452" fmla="*/ 2539606 w 3080331"/>
                <a:gd name="connsiteY452" fmla="*/ 52505 h 634427"/>
                <a:gd name="connsiteX453" fmla="*/ 2539606 w 3080331"/>
                <a:gd name="connsiteY453" fmla="*/ 46795 h 634427"/>
                <a:gd name="connsiteX454" fmla="*/ 2542975 w 3080331"/>
                <a:gd name="connsiteY454" fmla="*/ 41247 h 634427"/>
                <a:gd name="connsiteX455" fmla="*/ 2536534 w 3080331"/>
                <a:gd name="connsiteY455" fmla="*/ 34939 h 634427"/>
                <a:gd name="connsiteX456" fmla="*/ 2413691 w 3080331"/>
                <a:gd name="connsiteY456" fmla="*/ 34939 h 634427"/>
                <a:gd name="connsiteX457" fmla="*/ 2407250 w 3080331"/>
                <a:gd name="connsiteY457" fmla="*/ 41247 h 634427"/>
                <a:gd name="connsiteX458" fmla="*/ 2410618 w 3080331"/>
                <a:gd name="connsiteY458" fmla="*/ 46795 h 634427"/>
                <a:gd name="connsiteX459" fmla="*/ 2410618 w 3080331"/>
                <a:gd name="connsiteY459" fmla="*/ 52505 h 634427"/>
                <a:gd name="connsiteX460" fmla="*/ 2413691 w 3080331"/>
                <a:gd name="connsiteY460" fmla="*/ 55513 h 634427"/>
                <a:gd name="connsiteX461" fmla="*/ 2416763 w 3080331"/>
                <a:gd name="connsiteY461" fmla="*/ 52505 h 634427"/>
                <a:gd name="connsiteX462" fmla="*/ 2416763 w 3080331"/>
                <a:gd name="connsiteY462" fmla="*/ 46795 h 634427"/>
                <a:gd name="connsiteX463" fmla="*/ 2420132 w 3080331"/>
                <a:gd name="connsiteY463" fmla="*/ 41247 h 634427"/>
                <a:gd name="connsiteX464" fmla="*/ 2413691 w 3080331"/>
                <a:gd name="connsiteY464" fmla="*/ 34939 h 634427"/>
                <a:gd name="connsiteX465" fmla="*/ 2126906 w 3080331"/>
                <a:gd name="connsiteY465" fmla="*/ 34939 h 634427"/>
                <a:gd name="connsiteX466" fmla="*/ 2120465 w 3080331"/>
                <a:gd name="connsiteY466" fmla="*/ 41247 h 634427"/>
                <a:gd name="connsiteX467" fmla="*/ 2123834 w 3080331"/>
                <a:gd name="connsiteY467" fmla="*/ 46795 h 634427"/>
                <a:gd name="connsiteX468" fmla="*/ 2123834 w 3080331"/>
                <a:gd name="connsiteY468" fmla="*/ 52505 h 634427"/>
                <a:gd name="connsiteX469" fmla="*/ 2126906 w 3080331"/>
                <a:gd name="connsiteY469" fmla="*/ 55513 h 634427"/>
                <a:gd name="connsiteX470" fmla="*/ 2129978 w 3080331"/>
                <a:gd name="connsiteY470" fmla="*/ 52505 h 634427"/>
                <a:gd name="connsiteX471" fmla="*/ 2129978 w 3080331"/>
                <a:gd name="connsiteY471" fmla="*/ 46795 h 634427"/>
                <a:gd name="connsiteX472" fmla="*/ 2133347 w 3080331"/>
                <a:gd name="connsiteY472" fmla="*/ 41247 h 634427"/>
                <a:gd name="connsiteX473" fmla="*/ 2126906 w 3080331"/>
                <a:gd name="connsiteY473" fmla="*/ 34939 h 634427"/>
                <a:gd name="connsiteX474" fmla="*/ 2065509 w 3080331"/>
                <a:gd name="connsiteY474" fmla="*/ 34939 h 634427"/>
                <a:gd name="connsiteX475" fmla="*/ 2059068 w 3080331"/>
                <a:gd name="connsiteY475" fmla="*/ 41247 h 634427"/>
                <a:gd name="connsiteX476" fmla="*/ 2062437 w 3080331"/>
                <a:gd name="connsiteY476" fmla="*/ 46795 h 634427"/>
                <a:gd name="connsiteX477" fmla="*/ 2062437 w 3080331"/>
                <a:gd name="connsiteY477" fmla="*/ 52505 h 634427"/>
                <a:gd name="connsiteX478" fmla="*/ 2065509 w 3080331"/>
                <a:gd name="connsiteY478" fmla="*/ 55513 h 634427"/>
                <a:gd name="connsiteX479" fmla="*/ 2068581 w 3080331"/>
                <a:gd name="connsiteY479" fmla="*/ 52505 h 634427"/>
                <a:gd name="connsiteX480" fmla="*/ 2068581 w 3080331"/>
                <a:gd name="connsiteY480" fmla="*/ 46795 h 634427"/>
                <a:gd name="connsiteX481" fmla="*/ 2071951 w 3080331"/>
                <a:gd name="connsiteY481" fmla="*/ 41247 h 634427"/>
                <a:gd name="connsiteX482" fmla="*/ 2065509 w 3080331"/>
                <a:gd name="connsiteY482" fmla="*/ 34939 h 634427"/>
                <a:gd name="connsiteX483" fmla="*/ 1942666 w 3080331"/>
                <a:gd name="connsiteY483" fmla="*/ 34939 h 634427"/>
                <a:gd name="connsiteX484" fmla="*/ 1936225 w 3080331"/>
                <a:gd name="connsiteY484" fmla="*/ 41247 h 634427"/>
                <a:gd name="connsiteX485" fmla="*/ 1939594 w 3080331"/>
                <a:gd name="connsiteY485" fmla="*/ 46795 h 634427"/>
                <a:gd name="connsiteX486" fmla="*/ 1939594 w 3080331"/>
                <a:gd name="connsiteY486" fmla="*/ 52505 h 634427"/>
                <a:gd name="connsiteX487" fmla="*/ 1942666 w 3080331"/>
                <a:gd name="connsiteY487" fmla="*/ 55513 h 634427"/>
                <a:gd name="connsiteX488" fmla="*/ 1945738 w 3080331"/>
                <a:gd name="connsiteY488" fmla="*/ 52505 h 634427"/>
                <a:gd name="connsiteX489" fmla="*/ 1945738 w 3080331"/>
                <a:gd name="connsiteY489" fmla="*/ 46795 h 634427"/>
                <a:gd name="connsiteX490" fmla="*/ 1949108 w 3080331"/>
                <a:gd name="connsiteY490" fmla="*/ 41247 h 634427"/>
                <a:gd name="connsiteX491" fmla="*/ 1942666 w 3080331"/>
                <a:gd name="connsiteY491" fmla="*/ 34939 h 634427"/>
                <a:gd name="connsiteX492" fmla="*/ 1655883 w 3080331"/>
                <a:gd name="connsiteY492" fmla="*/ 34939 h 634427"/>
                <a:gd name="connsiteX493" fmla="*/ 1649441 w 3080331"/>
                <a:gd name="connsiteY493" fmla="*/ 41247 h 634427"/>
                <a:gd name="connsiteX494" fmla="*/ 1652811 w 3080331"/>
                <a:gd name="connsiteY494" fmla="*/ 46795 h 634427"/>
                <a:gd name="connsiteX495" fmla="*/ 1652811 w 3080331"/>
                <a:gd name="connsiteY495" fmla="*/ 52505 h 634427"/>
                <a:gd name="connsiteX496" fmla="*/ 1655883 w 3080331"/>
                <a:gd name="connsiteY496" fmla="*/ 55513 h 634427"/>
                <a:gd name="connsiteX497" fmla="*/ 1658955 w 3080331"/>
                <a:gd name="connsiteY497" fmla="*/ 52505 h 634427"/>
                <a:gd name="connsiteX498" fmla="*/ 1658955 w 3080331"/>
                <a:gd name="connsiteY498" fmla="*/ 46795 h 634427"/>
                <a:gd name="connsiteX499" fmla="*/ 1662324 w 3080331"/>
                <a:gd name="connsiteY499" fmla="*/ 41247 h 634427"/>
                <a:gd name="connsiteX500" fmla="*/ 1655883 w 3080331"/>
                <a:gd name="connsiteY500" fmla="*/ 34939 h 634427"/>
                <a:gd name="connsiteX501" fmla="*/ 1481792 w 3080331"/>
                <a:gd name="connsiteY501" fmla="*/ 34939 h 634427"/>
                <a:gd name="connsiteX502" fmla="*/ 1475350 w 3080331"/>
                <a:gd name="connsiteY502" fmla="*/ 41247 h 634427"/>
                <a:gd name="connsiteX503" fmla="*/ 1478720 w 3080331"/>
                <a:gd name="connsiteY503" fmla="*/ 46795 h 634427"/>
                <a:gd name="connsiteX504" fmla="*/ 1478720 w 3080331"/>
                <a:gd name="connsiteY504" fmla="*/ 52505 h 634427"/>
                <a:gd name="connsiteX505" fmla="*/ 1481792 w 3080331"/>
                <a:gd name="connsiteY505" fmla="*/ 55513 h 634427"/>
                <a:gd name="connsiteX506" fmla="*/ 1484864 w 3080331"/>
                <a:gd name="connsiteY506" fmla="*/ 52505 h 634427"/>
                <a:gd name="connsiteX507" fmla="*/ 1484864 w 3080331"/>
                <a:gd name="connsiteY507" fmla="*/ 46795 h 634427"/>
                <a:gd name="connsiteX508" fmla="*/ 1488234 w 3080331"/>
                <a:gd name="connsiteY508" fmla="*/ 41247 h 634427"/>
                <a:gd name="connsiteX509" fmla="*/ 1481792 w 3080331"/>
                <a:gd name="connsiteY509" fmla="*/ 34939 h 634427"/>
                <a:gd name="connsiteX510" fmla="*/ 1420395 w 3080331"/>
                <a:gd name="connsiteY510" fmla="*/ 34939 h 634427"/>
                <a:gd name="connsiteX511" fmla="*/ 1413954 w 3080331"/>
                <a:gd name="connsiteY511" fmla="*/ 41247 h 634427"/>
                <a:gd name="connsiteX512" fmla="*/ 1417323 w 3080331"/>
                <a:gd name="connsiteY512" fmla="*/ 46795 h 634427"/>
                <a:gd name="connsiteX513" fmla="*/ 1417323 w 3080331"/>
                <a:gd name="connsiteY513" fmla="*/ 52505 h 634427"/>
                <a:gd name="connsiteX514" fmla="*/ 1420395 w 3080331"/>
                <a:gd name="connsiteY514" fmla="*/ 55513 h 634427"/>
                <a:gd name="connsiteX515" fmla="*/ 1423467 w 3080331"/>
                <a:gd name="connsiteY515" fmla="*/ 52505 h 634427"/>
                <a:gd name="connsiteX516" fmla="*/ 1423467 w 3080331"/>
                <a:gd name="connsiteY516" fmla="*/ 46795 h 634427"/>
                <a:gd name="connsiteX517" fmla="*/ 1426837 w 3080331"/>
                <a:gd name="connsiteY517" fmla="*/ 41247 h 634427"/>
                <a:gd name="connsiteX518" fmla="*/ 1420395 w 3080331"/>
                <a:gd name="connsiteY518" fmla="*/ 34939 h 634427"/>
                <a:gd name="connsiteX519" fmla="*/ 1246305 w 3080331"/>
                <a:gd name="connsiteY519" fmla="*/ 34939 h 634427"/>
                <a:gd name="connsiteX520" fmla="*/ 1239863 w 3080331"/>
                <a:gd name="connsiteY520" fmla="*/ 41247 h 634427"/>
                <a:gd name="connsiteX521" fmla="*/ 1243232 w 3080331"/>
                <a:gd name="connsiteY521" fmla="*/ 46795 h 634427"/>
                <a:gd name="connsiteX522" fmla="*/ 1243232 w 3080331"/>
                <a:gd name="connsiteY522" fmla="*/ 52505 h 634427"/>
                <a:gd name="connsiteX523" fmla="*/ 1246305 w 3080331"/>
                <a:gd name="connsiteY523" fmla="*/ 55513 h 634427"/>
                <a:gd name="connsiteX524" fmla="*/ 1249377 w 3080331"/>
                <a:gd name="connsiteY524" fmla="*/ 52505 h 634427"/>
                <a:gd name="connsiteX525" fmla="*/ 1249377 w 3080331"/>
                <a:gd name="connsiteY525" fmla="*/ 46795 h 634427"/>
                <a:gd name="connsiteX526" fmla="*/ 1252745 w 3080331"/>
                <a:gd name="connsiteY526" fmla="*/ 41247 h 634427"/>
                <a:gd name="connsiteX527" fmla="*/ 1246305 w 3080331"/>
                <a:gd name="connsiteY527" fmla="*/ 34939 h 634427"/>
                <a:gd name="connsiteX528" fmla="*/ 1184907 w 3080331"/>
                <a:gd name="connsiteY528" fmla="*/ 34939 h 634427"/>
                <a:gd name="connsiteX529" fmla="*/ 1178466 w 3080331"/>
                <a:gd name="connsiteY529" fmla="*/ 41247 h 634427"/>
                <a:gd name="connsiteX530" fmla="*/ 1181836 w 3080331"/>
                <a:gd name="connsiteY530" fmla="*/ 46795 h 634427"/>
                <a:gd name="connsiteX531" fmla="*/ 1181836 w 3080331"/>
                <a:gd name="connsiteY531" fmla="*/ 52505 h 634427"/>
                <a:gd name="connsiteX532" fmla="*/ 1184907 w 3080331"/>
                <a:gd name="connsiteY532" fmla="*/ 55513 h 634427"/>
                <a:gd name="connsiteX533" fmla="*/ 1187979 w 3080331"/>
                <a:gd name="connsiteY533" fmla="*/ 52505 h 634427"/>
                <a:gd name="connsiteX534" fmla="*/ 1187979 w 3080331"/>
                <a:gd name="connsiteY534" fmla="*/ 46795 h 634427"/>
                <a:gd name="connsiteX535" fmla="*/ 1191349 w 3080331"/>
                <a:gd name="connsiteY535" fmla="*/ 41247 h 634427"/>
                <a:gd name="connsiteX536" fmla="*/ 1184907 w 3080331"/>
                <a:gd name="connsiteY536" fmla="*/ 34939 h 634427"/>
                <a:gd name="connsiteX537" fmla="*/ 1010817 w 3080331"/>
                <a:gd name="connsiteY537" fmla="*/ 34939 h 634427"/>
                <a:gd name="connsiteX538" fmla="*/ 1004376 w 3080331"/>
                <a:gd name="connsiteY538" fmla="*/ 41247 h 634427"/>
                <a:gd name="connsiteX539" fmla="*/ 1007744 w 3080331"/>
                <a:gd name="connsiteY539" fmla="*/ 46795 h 634427"/>
                <a:gd name="connsiteX540" fmla="*/ 1007744 w 3080331"/>
                <a:gd name="connsiteY540" fmla="*/ 52505 h 634427"/>
                <a:gd name="connsiteX541" fmla="*/ 1010817 w 3080331"/>
                <a:gd name="connsiteY541" fmla="*/ 55513 h 634427"/>
                <a:gd name="connsiteX542" fmla="*/ 1013889 w 3080331"/>
                <a:gd name="connsiteY542" fmla="*/ 52505 h 634427"/>
                <a:gd name="connsiteX543" fmla="*/ 1013889 w 3080331"/>
                <a:gd name="connsiteY543" fmla="*/ 46795 h 634427"/>
                <a:gd name="connsiteX544" fmla="*/ 1017257 w 3080331"/>
                <a:gd name="connsiteY544" fmla="*/ 41247 h 634427"/>
                <a:gd name="connsiteX545" fmla="*/ 1010817 w 3080331"/>
                <a:gd name="connsiteY545" fmla="*/ 34939 h 634427"/>
                <a:gd name="connsiteX546" fmla="*/ 724031 w 3080331"/>
                <a:gd name="connsiteY546" fmla="*/ 34939 h 634427"/>
                <a:gd name="connsiteX547" fmla="*/ 717591 w 3080331"/>
                <a:gd name="connsiteY547" fmla="*/ 41247 h 634427"/>
                <a:gd name="connsiteX548" fmla="*/ 720960 w 3080331"/>
                <a:gd name="connsiteY548" fmla="*/ 46795 h 634427"/>
                <a:gd name="connsiteX549" fmla="*/ 720960 w 3080331"/>
                <a:gd name="connsiteY549" fmla="*/ 52505 h 634427"/>
                <a:gd name="connsiteX550" fmla="*/ 724031 w 3080331"/>
                <a:gd name="connsiteY550" fmla="*/ 55513 h 634427"/>
                <a:gd name="connsiteX551" fmla="*/ 727104 w 3080331"/>
                <a:gd name="connsiteY551" fmla="*/ 52505 h 634427"/>
                <a:gd name="connsiteX552" fmla="*/ 727104 w 3080331"/>
                <a:gd name="connsiteY552" fmla="*/ 46795 h 634427"/>
                <a:gd name="connsiteX553" fmla="*/ 730473 w 3080331"/>
                <a:gd name="connsiteY553" fmla="*/ 41247 h 634427"/>
                <a:gd name="connsiteX554" fmla="*/ 724031 w 3080331"/>
                <a:gd name="connsiteY554" fmla="*/ 34939 h 634427"/>
                <a:gd name="connsiteX555" fmla="*/ 662635 w 3080331"/>
                <a:gd name="connsiteY555" fmla="*/ 34939 h 634427"/>
                <a:gd name="connsiteX556" fmla="*/ 656194 w 3080331"/>
                <a:gd name="connsiteY556" fmla="*/ 41247 h 634427"/>
                <a:gd name="connsiteX557" fmla="*/ 659563 w 3080331"/>
                <a:gd name="connsiteY557" fmla="*/ 46795 h 634427"/>
                <a:gd name="connsiteX558" fmla="*/ 659563 w 3080331"/>
                <a:gd name="connsiteY558" fmla="*/ 52505 h 634427"/>
                <a:gd name="connsiteX559" fmla="*/ 662635 w 3080331"/>
                <a:gd name="connsiteY559" fmla="*/ 55513 h 634427"/>
                <a:gd name="connsiteX560" fmla="*/ 665707 w 3080331"/>
                <a:gd name="connsiteY560" fmla="*/ 52505 h 634427"/>
                <a:gd name="connsiteX561" fmla="*/ 665707 w 3080331"/>
                <a:gd name="connsiteY561" fmla="*/ 46795 h 634427"/>
                <a:gd name="connsiteX562" fmla="*/ 669076 w 3080331"/>
                <a:gd name="connsiteY562" fmla="*/ 41247 h 634427"/>
                <a:gd name="connsiteX563" fmla="*/ 662635 w 3080331"/>
                <a:gd name="connsiteY563" fmla="*/ 34939 h 634427"/>
                <a:gd name="connsiteX564" fmla="*/ 145349 w 3080331"/>
                <a:gd name="connsiteY564" fmla="*/ 17483 h 634427"/>
                <a:gd name="connsiteX565" fmla="*/ 137492 w 3080331"/>
                <a:gd name="connsiteY565" fmla="*/ 19138 h 634427"/>
                <a:gd name="connsiteX566" fmla="*/ 135319 w 3080331"/>
                <a:gd name="connsiteY566" fmla="*/ 21528 h 634427"/>
                <a:gd name="connsiteX567" fmla="*/ 133814 w 3080331"/>
                <a:gd name="connsiteY567" fmla="*/ 24103 h 634427"/>
                <a:gd name="connsiteX568" fmla="*/ 133146 w 3080331"/>
                <a:gd name="connsiteY568" fmla="*/ 25942 h 634427"/>
                <a:gd name="connsiteX569" fmla="*/ 132477 w 3080331"/>
                <a:gd name="connsiteY569" fmla="*/ 28700 h 634427"/>
                <a:gd name="connsiteX570" fmla="*/ 131808 w 3080331"/>
                <a:gd name="connsiteY570" fmla="*/ 33482 h 634427"/>
                <a:gd name="connsiteX571" fmla="*/ 132477 w 3080331"/>
                <a:gd name="connsiteY571" fmla="*/ 38447 h 634427"/>
                <a:gd name="connsiteX572" fmla="*/ 133313 w 3080331"/>
                <a:gd name="connsiteY572" fmla="*/ 41021 h 634427"/>
                <a:gd name="connsiteX573" fmla="*/ 134818 w 3080331"/>
                <a:gd name="connsiteY573" fmla="*/ 43964 h 634427"/>
                <a:gd name="connsiteX574" fmla="*/ 137158 w 3080331"/>
                <a:gd name="connsiteY574" fmla="*/ 46906 h 634427"/>
                <a:gd name="connsiteX575" fmla="*/ 140167 w 3080331"/>
                <a:gd name="connsiteY575" fmla="*/ 48745 h 634427"/>
                <a:gd name="connsiteX576" fmla="*/ 148526 w 3080331"/>
                <a:gd name="connsiteY576" fmla="*/ 47090 h 634427"/>
                <a:gd name="connsiteX577" fmla="*/ 150699 w 3080331"/>
                <a:gd name="connsiteY577" fmla="*/ 44699 h 634427"/>
                <a:gd name="connsiteX578" fmla="*/ 152371 w 3080331"/>
                <a:gd name="connsiteY578" fmla="*/ 41757 h 634427"/>
                <a:gd name="connsiteX579" fmla="*/ 153040 w 3080331"/>
                <a:gd name="connsiteY579" fmla="*/ 40286 h 634427"/>
                <a:gd name="connsiteX580" fmla="*/ 153875 w 3080331"/>
                <a:gd name="connsiteY580" fmla="*/ 37344 h 634427"/>
                <a:gd name="connsiteX581" fmla="*/ 153542 w 3080331"/>
                <a:gd name="connsiteY581" fmla="*/ 27964 h 634427"/>
                <a:gd name="connsiteX582" fmla="*/ 152872 w 3080331"/>
                <a:gd name="connsiteY582" fmla="*/ 25942 h 634427"/>
                <a:gd name="connsiteX583" fmla="*/ 152037 w 3080331"/>
                <a:gd name="connsiteY583" fmla="*/ 23919 h 634427"/>
                <a:gd name="connsiteX584" fmla="*/ 150532 w 3080331"/>
                <a:gd name="connsiteY584" fmla="*/ 21528 h 634427"/>
                <a:gd name="connsiteX585" fmla="*/ 148024 w 3080331"/>
                <a:gd name="connsiteY585" fmla="*/ 18954 h 634427"/>
                <a:gd name="connsiteX586" fmla="*/ 145349 w 3080331"/>
                <a:gd name="connsiteY586" fmla="*/ 17483 h 634427"/>
                <a:gd name="connsiteX587" fmla="*/ 480951 w 3080331"/>
                <a:gd name="connsiteY587" fmla="*/ 16445 h 634427"/>
                <a:gd name="connsiteX588" fmla="*/ 473093 w 3080331"/>
                <a:gd name="connsiteY588" fmla="*/ 18100 h 634427"/>
                <a:gd name="connsiteX589" fmla="*/ 470920 w 3080331"/>
                <a:gd name="connsiteY589" fmla="*/ 20490 h 634427"/>
                <a:gd name="connsiteX590" fmla="*/ 469415 w 3080331"/>
                <a:gd name="connsiteY590" fmla="*/ 23065 h 634427"/>
                <a:gd name="connsiteX591" fmla="*/ 468747 w 3080331"/>
                <a:gd name="connsiteY591" fmla="*/ 24904 h 634427"/>
                <a:gd name="connsiteX592" fmla="*/ 468077 w 3080331"/>
                <a:gd name="connsiteY592" fmla="*/ 27662 h 634427"/>
                <a:gd name="connsiteX593" fmla="*/ 467409 w 3080331"/>
                <a:gd name="connsiteY593" fmla="*/ 32444 h 634427"/>
                <a:gd name="connsiteX594" fmla="*/ 468077 w 3080331"/>
                <a:gd name="connsiteY594" fmla="*/ 37409 h 634427"/>
                <a:gd name="connsiteX595" fmla="*/ 468913 w 3080331"/>
                <a:gd name="connsiteY595" fmla="*/ 39983 h 634427"/>
                <a:gd name="connsiteX596" fmla="*/ 470418 w 3080331"/>
                <a:gd name="connsiteY596" fmla="*/ 42925 h 634427"/>
                <a:gd name="connsiteX597" fmla="*/ 472759 w 3080331"/>
                <a:gd name="connsiteY597" fmla="*/ 45868 h 634427"/>
                <a:gd name="connsiteX598" fmla="*/ 475768 w 3080331"/>
                <a:gd name="connsiteY598" fmla="*/ 47706 h 634427"/>
                <a:gd name="connsiteX599" fmla="*/ 484127 w 3080331"/>
                <a:gd name="connsiteY599" fmla="*/ 46052 h 634427"/>
                <a:gd name="connsiteX600" fmla="*/ 486300 w 3080331"/>
                <a:gd name="connsiteY600" fmla="*/ 43661 h 634427"/>
                <a:gd name="connsiteX601" fmla="*/ 487972 w 3080331"/>
                <a:gd name="connsiteY601" fmla="*/ 40719 h 634427"/>
                <a:gd name="connsiteX602" fmla="*/ 488640 w 3080331"/>
                <a:gd name="connsiteY602" fmla="*/ 39248 h 634427"/>
                <a:gd name="connsiteX603" fmla="*/ 489476 w 3080331"/>
                <a:gd name="connsiteY603" fmla="*/ 36305 h 634427"/>
                <a:gd name="connsiteX604" fmla="*/ 489142 w 3080331"/>
                <a:gd name="connsiteY604" fmla="*/ 26926 h 634427"/>
                <a:gd name="connsiteX605" fmla="*/ 488474 w 3080331"/>
                <a:gd name="connsiteY605" fmla="*/ 24904 h 634427"/>
                <a:gd name="connsiteX606" fmla="*/ 487638 w 3080331"/>
                <a:gd name="connsiteY606" fmla="*/ 22881 h 634427"/>
                <a:gd name="connsiteX607" fmla="*/ 486133 w 3080331"/>
                <a:gd name="connsiteY607" fmla="*/ 20490 h 634427"/>
                <a:gd name="connsiteX608" fmla="*/ 483625 w 3080331"/>
                <a:gd name="connsiteY608" fmla="*/ 17916 h 634427"/>
                <a:gd name="connsiteX609" fmla="*/ 480951 w 3080331"/>
                <a:gd name="connsiteY609" fmla="*/ 16445 h 634427"/>
                <a:gd name="connsiteX610" fmla="*/ 317009 w 3080331"/>
                <a:gd name="connsiteY610" fmla="*/ 16445 h 634427"/>
                <a:gd name="connsiteX611" fmla="*/ 309151 w 3080331"/>
                <a:gd name="connsiteY611" fmla="*/ 18100 h 634427"/>
                <a:gd name="connsiteX612" fmla="*/ 306978 w 3080331"/>
                <a:gd name="connsiteY612" fmla="*/ 20490 h 634427"/>
                <a:gd name="connsiteX613" fmla="*/ 305473 w 3080331"/>
                <a:gd name="connsiteY613" fmla="*/ 23065 h 634427"/>
                <a:gd name="connsiteX614" fmla="*/ 304805 w 3080331"/>
                <a:gd name="connsiteY614" fmla="*/ 24904 h 634427"/>
                <a:gd name="connsiteX615" fmla="*/ 304135 w 3080331"/>
                <a:gd name="connsiteY615" fmla="*/ 27662 h 634427"/>
                <a:gd name="connsiteX616" fmla="*/ 303468 w 3080331"/>
                <a:gd name="connsiteY616" fmla="*/ 32444 h 634427"/>
                <a:gd name="connsiteX617" fmla="*/ 304135 w 3080331"/>
                <a:gd name="connsiteY617" fmla="*/ 37409 h 634427"/>
                <a:gd name="connsiteX618" fmla="*/ 304971 w 3080331"/>
                <a:gd name="connsiteY618" fmla="*/ 39983 h 634427"/>
                <a:gd name="connsiteX619" fmla="*/ 306476 w 3080331"/>
                <a:gd name="connsiteY619" fmla="*/ 42925 h 634427"/>
                <a:gd name="connsiteX620" fmla="*/ 308817 w 3080331"/>
                <a:gd name="connsiteY620" fmla="*/ 45868 h 634427"/>
                <a:gd name="connsiteX621" fmla="*/ 311826 w 3080331"/>
                <a:gd name="connsiteY621" fmla="*/ 47706 h 634427"/>
                <a:gd name="connsiteX622" fmla="*/ 320185 w 3080331"/>
                <a:gd name="connsiteY622" fmla="*/ 46052 h 634427"/>
                <a:gd name="connsiteX623" fmla="*/ 322358 w 3080331"/>
                <a:gd name="connsiteY623" fmla="*/ 43661 h 634427"/>
                <a:gd name="connsiteX624" fmla="*/ 324030 w 3080331"/>
                <a:gd name="connsiteY624" fmla="*/ 40719 h 634427"/>
                <a:gd name="connsiteX625" fmla="*/ 324698 w 3080331"/>
                <a:gd name="connsiteY625" fmla="*/ 39248 h 634427"/>
                <a:gd name="connsiteX626" fmla="*/ 325535 w 3080331"/>
                <a:gd name="connsiteY626" fmla="*/ 36305 h 634427"/>
                <a:gd name="connsiteX627" fmla="*/ 325200 w 3080331"/>
                <a:gd name="connsiteY627" fmla="*/ 26926 h 634427"/>
                <a:gd name="connsiteX628" fmla="*/ 324532 w 3080331"/>
                <a:gd name="connsiteY628" fmla="*/ 24904 h 634427"/>
                <a:gd name="connsiteX629" fmla="*/ 323696 w 3080331"/>
                <a:gd name="connsiteY629" fmla="*/ 22881 h 634427"/>
                <a:gd name="connsiteX630" fmla="*/ 322191 w 3080331"/>
                <a:gd name="connsiteY630" fmla="*/ 20490 h 634427"/>
                <a:gd name="connsiteX631" fmla="*/ 319684 w 3080331"/>
                <a:gd name="connsiteY631" fmla="*/ 17916 h 634427"/>
                <a:gd name="connsiteX632" fmla="*/ 317009 w 3080331"/>
                <a:gd name="connsiteY632" fmla="*/ 16445 h 634427"/>
                <a:gd name="connsiteX633" fmla="*/ 2887320 w 3080331"/>
                <a:gd name="connsiteY633" fmla="*/ 16444 h 634427"/>
                <a:gd name="connsiteX634" fmla="*/ 2879462 w 3080331"/>
                <a:gd name="connsiteY634" fmla="*/ 18100 h 634427"/>
                <a:gd name="connsiteX635" fmla="*/ 2877289 w 3080331"/>
                <a:gd name="connsiteY635" fmla="*/ 20490 h 634427"/>
                <a:gd name="connsiteX636" fmla="*/ 2875785 w 3080331"/>
                <a:gd name="connsiteY636" fmla="*/ 23065 h 634427"/>
                <a:gd name="connsiteX637" fmla="*/ 2875116 w 3080331"/>
                <a:gd name="connsiteY637" fmla="*/ 24904 h 634427"/>
                <a:gd name="connsiteX638" fmla="*/ 2874447 w 3080331"/>
                <a:gd name="connsiteY638" fmla="*/ 27662 h 634427"/>
                <a:gd name="connsiteX639" fmla="*/ 2873778 w 3080331"/>
                <a:gd name="connsiteY639" fmla="*/ 32443 h 634427"/>
                <a:gd name="connsiteX640" fmla="*/ 2874447 w 3080331"/>
                <a:gd name="connsiteY640" fmla="*/ 37409 h 634427"/>
                <a:gd name="connsiteX641" fmla="*/ 2875283 w 3080331"/>
                <a:gd name="connsiteY641" fmla="*/ 39983 h 634427"/>
                <a:gd name="connsiteX642" fmla="*/ 2876787 w 3080331"/>
                <a:gd name="connsiteY642" fmla="*/ 42925 h 634427"/>
                <a:gd name="connsiteX643" fmla="*/ 2879128 w 3080331"/>
                <a:gd name="connsiteY643" fmla="*/ 45867 h 634427"/>
                <a:gd name="connsiteX644" fmla="*/ 2882137 w 3080331"/>
                <a:gd name="connsiteY644" fmla="*/ 47706 h 634427"/>
                <a:gd name="connsiteX645" fmla="*/ 2890496 w 3080331"/>
                <a:gd name="connsiteY645" fmla="*/ 46051 h 634427"/>
                <a:gd name="connsiteX646" fmla="*/ 2892670 w 3080331"/>
                <a:gd name="connsiteY646" fmla="*/ 43661 h 634427"/>
                <a:gd name="connsiteX647" fmla="*/ 2894342 w 3080331"/>
                <a:gd name="connsiteY647" fmla="*/ 40719 h 634427"/>
                <a:gd name="connsiteX648" fmla="*/ 2895010 w 3080331"/>
                <a:gd name="connsiteY648" fmla="*/ 39248 h 634427"/>
                <a:gd name="connsiteX649" fmla="*/ 2895846 w 3080331"/>
                <a:gd name="connsiteY649" fmla="*/ 36305 h 634427"/>
                <a:gd name="connsiteX650" fmla="*/ 2895512 w 3080331"/>
                <a:gd name="connsiteY650" fmla="*/ 26926 h 634427"/>
                <a:gd name="connsiteX651" fmla="*/ 2894843 w 3080331"/>
                <a:gd name="connsiteY651" fmla="*/ 24904 h 634427"/>
                <a:gd name="connsiteX652" fmla="*/ 2894007 w 3080331"/>
                <a:gd name="connsiteY652" fmla="*/ 22881 h 634427"/>
                <a:gd name="connsiteX653" fmla="*/ 2892502 w 3080331"/>
                <a:gd name="connsiteY653" fmla="*/ 20490 h 634427"/>
                <a:gd name="connsiteX654" fmla="*/ 2889995 w 3080331"/>
                <a:gd name="connsiteY654" fmla="*/ 17915 h 634427"/>
                <a:gd name="connsiteX655" fmla="*/ 2887320 w 3080331"/>
                <a:gd name="connsiteY655" fmla="*/ 16444 h 634427"/>
                <a:gd name="connsiteX656" fmla="*/ 2764477 w 3080331"/>
                <a:gd name="connsiteY656" fmla="*/ 16444 h 634427"/>
                <a:gd name="connsiteX657" fmla="*/ 2756619 w 3080331"/>
                <a:gd name="connsiteY657" fmla="*/ 18100 h 634427"/>
                <a:gd name="connsiteX658" fmla="*/ 2754446 w 3080331"/>
                <a:gd name="connsiteY658" fmla="*/ 20490 h 634427"/>
                <a:gd name="connsiteX659" fmla="*/ 2752942 w 3080331"/>
                <a:gd name="connsiteY659" fmla="*/ 23065 h 634427"/>
                <a:gd name="connsiteX660" fmla="*/ 2752273 w 3080331"/>
                <a:gd name="connsiteY660" fmla="*/ 24904 h 634427"/>
                <a:gd name="connsiteX661" fmla="*/ 2751604 w 3080331"/>
                <a:gd name="connsiteY661" fmla="*/ 27662 h 634427"/>
                <a:gd name="connsiteX662" fmla="*/ 2750936 w 3080331"/>
                <a:gd name="connsiteY662" fmla="*/ 32443 h 634427"/>
                <a:gd name="connsiteX663" fmla="*/ 2751604 w 3080331"/>
                <a:gd name="connsiteY663" fmla="*/ 37409 h 634427"/>
                <a:gd name="connsiteX664" fmla="*/ 2752440 w 3080331"/>
                <a:gd name="connsiteY664" fmla="*/ 39983 h 634427"/>
                <a:gd name="connsiteX665" fmla="*/ 2753944 w 3080331"/>
                <a:gd name="connsiteY665" fmla="*/ 42925 h 634427"/>
                <a:gd name="connsiteX666" fmla="*/ 2756285 w 3080331"/>
                <a:gd name="connsiteY666" fmla="*/ 45867 h 634427"/>
                <a:gd name="connsiteX667" fmla="*/ 2759294 w 3080331"/>
                <a:gd name="connsiteY667" fmla="*/ 47706 h 634427"/>
                <a:gd name="connsiteX668" fmla="*/ 2767653 w 3080331"/>
                <a:gd name="connsiteY668" fmla="*/ 46051 h 634427"/>
                <a:gd name="connsiteX669" fmla="*/ 2769827 w 3080331"/>
                <a:gd name="connsiteY669" fmla="*/ 43661 h 634427"/>
                <a:gd name="connsiteX670" fmla="*/ 2771499 w 3080331"/>
                <a:gd name="connsiteY670" fmla="*/ 40719 h 634427"/>
                <a:gd name="connsiteX671" fmla="*/ 2772167 w 3080331"/>
                <a:gd name="connsiteY671" fmla="*/ 39248 h 634427"/>
                <a:gd name="connsiteX672" fmla="*/ 2773003 w 3080331"/>
                <a:gd name="connsiteY672" fmla="*/ 36305 h 634427"/>
                <a:gd name="connsiteX673" fmla="*/ 2772669 w 3080331"/>
                <a:gd name="connsiteY673" fmla="*/ 26926 h 634427"/>
                <a:gd name="connsiteX674" fmla="*/ 2772000 w 3080331"/>
                <a:gd name="connsiteY674" fmla="*/ 24904 h 634427"/>
                <a:gd name="connsiteX675" fmla="*/ 2771164 w 3080331"/>
                <a:gd name="connsiteY675" fmla="*/ 22881 h 634427"/>
                <a:gd name="connsiteX676" fmla="*/ 2769659 w 3080331"/>
                <a:gd name="connsiteY676" fmla="*/ 20490 h 634427"/>
                <a:gd name="connsiteX677" fmla="*/ 2767152 w 3080331"/>
                <a:gd name="connsiteY677" fmla="*/ 17915 h 634427"/>
                <a:gd name="connsiteX678" fmla="*/ 2764477 w 3080331"/>
                <a:gd name="connsiteY678" fmla="*/ 16444 h 634427"/>
                <a:gd name="connsiteX679" fmla="*/ 2600535 w 3080331"/>
                <a:gd name="connsiteY679" fmla="*/ 16444 h 634427"/>
                <a:gd name="connsiteX680" fmla="*/ 2592678 w 3080331"/>
                <a:gd name="connsiteY680" fmla="*/ 18100 h 634427"/>
                <a:gd name="connsiteX681" fmla="*/ 2590505 w 3080331"/>
                <a:gd name="connsiteY681" fmla="*/ 20490 h 634427"/>
                <a:gd name="connsiteX682" fmla="*/ 2589000 w 3080331"/>
                <a:gd name="connsiteY682" fmla="*/ 23065 h 634427"/>
                <a:gd name="connsiteX683" fmla="*/ 2588331 w 3080331"/>
                <a:gd name="connsiteY683" fmla="*/ 24904 h 634427"/>
                <a:gd name="connsiteX684" fmla="*/ 2587662 w 3080331"/>
                <a:gd name="connsiteY684" fmla="*/ 27662 h 634427"/>
                <a:gd name="connsiteX685" fmla="*/ 2586994 w 3080331"/>
                <a:gd name="connsiteY685" fmla="*/ 32443 h 634427"/>
                <a:gd name="connsiteX686" fmla="*/ 2587662 w 3080331"/>
                <a:gd name="connsiteY686" fmla="*/ 37409 h 634427"/>
                <a:gd name="connsiteX687" fmla="*/ 2588498 w 3080331"/>
                <a:gd name="connsiteY687" fmla="*/ 39983 h 634427"/>
                <a:gd name="connsiteX688" fmla="*/ 2590003 w 3080331"/>
                <a:gd name="connsiteY688" fmla="*/ 42925 h 634427"/>
                <a:gd name="connsiteX689" fmla="*/ 2592344 w 3080331"/>
                <a:gd name="connsiteY689" fmla="*/ 45867 h 634427"/>
                <a:gd name="connsiteX690" fmla="*/ 2595352 w 3080331"/>
                <a:gd name="connsiteY690" fmla="*/ 47706 h 634427"/>
                <a:gd name="connsiteX691" fmla="*/ 2603711 w 3080331"/>
                <a:gd name="connsiteY691" fmla="*/ 46051 h 634427"/>
                <a:gd name="connsiteX692" fmla="*/ 2605885 w 3080331"/>
                <a:gd name="connsiteY692" fmla="*/ 43661 h 634427"/>
                <a:gd name="connsiteX693" fmla="*/ 2607557 w 3080331"/>
                <a:gd name="connsiteY693" fmla="*/ 40719 h 634427"/>
                <a:gd name="connsiteX694" fmla="*/ 2608225 w 3080331"/>
                <a:gd name="connsiteY694" fmla="*/ 39248 h 634427"/>
                <a:gd name="connsiteX695" fmla="*/ 2609061 w 3080331"/>
                <a:gd name="connsiteY695" fmla="*/ 36305 h 634427"/>
                <a:gd name="connsiteX696" fmla="*/ 2608727 w 3080331"/>
                <a:gd name="connsiteY696" fmla="*/ 26926 h 634427"/>
                <a:gd name="connsiteX697" fmla="*/ 2608058 w 3080331"/>
                <a:gd name="connsiteY697" fmla="*/ 24904 h 634427"/>
                <a:gd name="connsiteX698" fmla="*/ 2607222 w 3080331"/>
                <a:gd name="connsiteY698" fmla="*/ 22881 h 634427"/>
                <a:gd name="connsiteX699" fmla="*/ 2605718 w 3080331"/>
                <a:gd name="connsiteY699" fmla="*/ 20490 h 634427"/>
                <a:gd name="connsiteX700" fmla="*/ 2603210 w 3080331"/>
                <a:gd name="connsiteY700" fmla="*/ 17915 h 634427"/>
                <a:gd name="connsiteX701" fmla="*/ 2600535 w 3080331"/>
                <a:gd name="connsiteY701" fmla="*/ 16444 h 634427"/>
                <a:gd name="connsiteX702" fmla="*/ 2477692 w 3080331"/>
                <a:gd name="connsiteY702" fmla="*/ 16444 h 634427"/>
                <a:gd name="connsiteX703" fmla="*/ 2469835 w 3080331"/>
                <a:gd name="connsiteY703" fmla="*/ 18100 h 634427"/>
                <a:gd name="connsiteX704" fmla="*/ 2467662 w 3080331"/>
                <a:gd name="connsiteY704" fmla="*/ 20490 h 634427"/>
                <a:gd name="connsiteX705" fmla="*/ 2466157 w 3080331"/>
                <a:gd name="connsiteY705" fmla="*/ 23065 h 634427"/>
                <a:gd name="connsiteX706" fmla="*/ 2465488 w 3080331"/>
                <a:gd name="connsiteY706" fmla="*/ 24904 h 634427"/>
                <a:gd name="connsiteX707" fmla="*/ 2464819 w 3080331"/>
                <a:gd name="connsiteY707" fmla="*/ 27662 h 634427"/>
                <a:gd name="connsiteX708" fmla="*/ 2464151 w 3080331"/>
                <a:gd name="connsiteY708" fmla="*/ 32443 h 634427"/>
                <a:gd name="connsiteX709" fmla="*/ 2464819 w 3080331"/>
                <a:gd name="connsiteY709" fmla="*/ 37409 h 634427"/>
                <a:gd name="connsiteX710" fmla="*/ 2465655 w 3080331"/>
                <a:gd name="connsiteY710" fmla="*/ 39983 h 634427"/>
                <a:gd name="connsiteX711" fmla="*/ 2467160 w 3080331"/>
                <a:gd name="connsiteY711" fmla="*/ 42925 h 634427"/>
                <a:gd name="connsiteX712" fmla="*/ 2469501 w 3080331"/>
                <a:gd name="connsiteY712" fmla="*/ 45867 h 634427"/>
                <a:gd name="connsiteX713" fmla="*/ 2472510 w 3080331"/>
                <a:gd name="connsiteY713" fmla="*/ 47706 h 634427"/>
                <a:gd name="connsiteX714" fmla="*/ 2480868 w 3080331"/>
                <a:gd name="connsiteY714" fmla="*/ 46051 h 634427"/>
                <a:gd name="connsiteX715" fmla="*/ 2483042 w 3080331"/>
                <a:gd name="connsiteY715" fmla="*/ 43661 h 634427"/>
                <a:gd name="connsiteX716" fmla="*/ 2484714 w 3080331"/>
                <a:gd name="connsiteY716" fmla="*/ 40719 h 634427"/>
                <a:gd name="connsiteX717" fmla="*/ 2485382 w 3080331"/>
                <a:gd name="connsiteY717" fmla="*/ 39248 h 634427"/>
                <a:gd name="connsiteX718" fmla="*/ 2486218 w 3080331"/>
                <a:gd name="connsiteY718" fmla="*/ 36305 h 634427"/>
                <a:gd name="connsiteX719" fmla="*/ 2485884 w 3080331"/>
                <a:gd name="connsiteY719" fmla="*/ 26926 h 634427"/>
                <a:gd name="connsiteX720" fmla="*/ 2485215 w 3080331"/>
                <a:gd name="connsiteY720" fmla="*/ 24904 h 634427"/>
                <a:gd name="connsiteX721" fmla="*/ 2484379 w 3080331"/>
                <a:gd name="connsiteY721" fmla="*/ 22881 h 634427"/>
                <a:gd name="connsiteX722" fmla="*/ 2482875 w 3080331"/>
                <a:gd name="connsiteY722" fmla="*/ 20490 h 634427"/>
                <a:gd name="connsiteX723" fmla="*/ 2480367 w 3080331"/>
                <a:gd name="connsiteY723" fmla="*/ 17915 h 634427"/>
                <a:gd name="connsiteX724" fmla="*/ 2477692 w 3080331"/>
                <a:gd name="connsiteY724" fmla="*/ 16444 h 634427"/>
                <a:gd name="connsiteX725" fmla="*/ 2354849 w 3080331"/>
                <a:gd name="connsiteY725" fmla="*/ 16444 h 634427"/>
                <a:gd name="connsiteX726" fmla="*/ 2346992 w 3080331"/>
                <a:gd name="connsiteY726" fmla="*/ 18100 h 634427"/>
                <a:gd name="connsiteX727" fmla="*/ 2344819 w 3080331"/>
                <a:gd name="connsiteY727" fmla="*/ 20490 h 634427"/>
                <a:gd name="connsiteX728" fmla="*/ 2343314 w 3080331"/>
                <a:gd name="connsiteY728" fmla="*/ 23065 h 634427"/>
                <a:gd name="connsiteX729" fmla="*/ 2342645 w 3080331"/>
                <a:gd name="connsiteY729" fmla="*/ 24904 h 634427"/>
                <a:gd name="connsiteX730" fmla="*/ 2341976 w 3080331"/>
                <a:gd name="connsiteY730" fmla="*/ 27662 h 634427"/>
                <a:gd name="connsiteX731" fmla="*/ 2341308 w 3080331"/>
                <a:gd name="connsiteY731" fmla="*/ 32443 h 634427"/>
                <a:gd name="connsiteX732" fmla="*/ 2341976 w 3080331"/>
                <a:gd name="connsiteY732" fmla="*/ 37409 h 634427"/>
                <a:gd name="connsiteX733" fmla="*/ 2342812 w 3080331"/>
                <a:gd name="connsiteY733" fmla="*/ 39983 h 634427"/>
                <a:gd name="connsiteX734" fmla="*/ 2344317 w 3080331"/>
                <a:gd name="connsiteY734" fmla="*/ 42925 h 634427"/>
                <a:gd name="connsiteX735" fmla="*/ 2346658 w 3080331"/>
                <a:gd name="connsiteY735" fmla="*/ 45867 h 634427"/>
                <a:gd name="connsiteX736" fmla="*/ 2349667 w 3080331"/>
                <a:gd name="connsiteY736" fmla="*/ 47706 h 634427"/>
                <a:gd name="connsiteX737" fmla="*/ 2358025 w 3080331"/>
                <a:gd name="connsiteY737" fmla="*/ 46051 h 634427"/>
                <a:gd name="connsiteX738" fmla="*/ 2360199 w 3080331"/>
                <a:gd name="connsiteY738" fmla="*/ 43661 h 634427"/>
                <a:gd name="connsiteX739" fmla="*/ 2361871 w 3080331"/>
                <a:gd name="connsiteY739" fmla="*/ 40719 h 634427"/>
                <a:gd name="connsiteX740" fmla="*/ 2362539 w 3080331"/>
                <a:gd name="connsiteY740" fmla="*/ 39248 h 634427"/>
                <a:gd name="connsiteX741" fmla="*/ 2363375 w 3080331"/>
                <a:gd name="connsiteY741" fmla="*/ 36305 h 634427"/>
                <a:gd name="connsiteX742" fmla="*/ 2363041 w 3080331"/>
                <a:gd name="connsiteY742" fmla="*/ 26926 h 634427"/>
                <a:gd name="connsiteX743" fmla="*/ 2362372 w 3080331"/>
                <a:gd name="connsiteY743" fmla="*/ 24904 h 634427"/>
                <a:gd name="connsiteX744" fmla="*/ 2361536 w 3080331"/>
                <a:gd name="connsiteY744" fmla="*/ 22881 h 634427"/>
                <a:gd name="connsiteX745" fmla="*/ 2360032 w 3080331"/>
                <a:gd name="connsiteY745" fmla="*/ 20490 h 634427"/>
                <a:gd name="connsiteX746" fmla="*/ 2357524 w 3080331"/>
                <a:gd name="connsiteY746" fmla="*/ 17915 h 634427"/>
                <a:gd name="connsiteX747" fmla="*/ 2354849 w 3080331"/>
                <a:gd name="connsiteY747" fmla="*/ 16444 h 634427"/>
                <a:gd name="connsiteX748" fmla="*/ 2242155 w 3080331"/>
                <a:gd name="connsiteY748" fmla="*/ 16444 h 634427"/>
                <a:gd name="connsiteX749" fmla="*/ 2234298 w 3080331"/>
                <a:gd name="connsiteY749" fmla="*/ 18100 h 634427"/>
                <a:gd name="connsiteX750" fmla="*/ 2232125 w 3080331"/>
                <a:gd name="connsiteY750" fmla="*/ 20490 h 634427"/>
                <a:gd name="connsiteX751" fmla="*/ 2230620 w 3080331"/>
                <a:gd name="connsiteY751" fmla="*/ 23065 h 634427"/>
                <a:gd name="connsiteX752" fmla="*/ 2229951 w 3080331"/>
                <a:gd name="connsiteY752" fmla="*/ 24904 h 634427"/>
                <a:gd name="connsiteX753" fmla="*/ 2229282 w 3080331"/>
                <a:gd name="connsiteY753" fmla="*/ 27662 h 634427"/>
                <a:gd name="connsiteX754" fmla="*/ 2228614 w 3080331"/>
                <a:gd name="connsiteY754" fmla="*/ 32443 h 634427"/>
                <a:gd name="connsiteX755" fmla="*/ 2229282 w 3080331"/>
                <a:gd name="connsiteY755" fmla="*/ 37409 h 634427"/>
                <a:gd name="connsiteX756" fmla="*/ 2230118 w 3080331"/>
                <a:gd name="connsiteY756" fmla="*/ 39983 h 634427"/>
                <a:gd name="connsiteX757" fmla="*/ 2231623 w 3080331"/>
                <a:gd name="connsiteY757" fmla="*/ 42925 h 634427"/>
                <a:gd name="connsiteX758" fmla="*/ 2233964 w 3080331"/>
                <a:gd name="connsiteY758" fmla="*/ 45867 h 634427"/>
                <a:gd name="connsiteX759" fmla="*/ 2236973 w 3080331"/>
                <a:gd name="connsiteY759" fmla="*/ 47706 h 634427"/>
                <a:gd name="connsiteX760" fmla="*/ 2245331 w 3080331"/>
                <a:gd name="connsiteY760" fmla="*/ 46051 h 634427"/>
                <a:gd name="connsiteX761" fmla="*/ 2247505 w 3080331"/>
                <a:gd name="connsiteY761" fmla="*/ 43661 h 634427"/>
                <a:gd name="connsiteX762" fmla="*/ 2249177 w 3080331"/>
                <a:gd name="connsiteY762" fmla="*/ 40719 h 634427"/>
                <a:gd name="connsiteX763" fmla="*/ 2249845 w 3080331"/>
                <a:gd name="connsiteY763" fmla="*/ 39248 h 634427"/>
                <a:gd name="connsiteX764" fmla="*/ 2250681 w 3080331"/>
                <a:gd name="connsiteY764" fmla="*/ 36305 h 634427"/>
                <a:gd name="connsiteX765" fmla="*/ 2250347 w 3080331"/>
                <a:gd name="connsiteY765" fmla="*/ 26926 h 634427"/>
                <a:gd name="connsiteX766" fmla="*/ 2249678 w 3080331"/>
                <a:gd name="connsiteY766" fmla="*/ 24904 h 634427"/>
                <a:gd name="connsiteX767" fmla="*/ 2248842 w 3080331"/>
                <a:gd name="connsiteY767" fmla="*/ 22881 h 634427"/>
                <a:gd name="connsiteX768" fmla="*/ 2247338 w 3080331"/>
                <a:gd name="connsiteY768" fmla="*/ 20490 h 634427"/>
                <a:gd name="connsiteX769" fmla="*/ 2244830 w 3080331"/>
                <a:gd name="connsiteY769" fmla="*/ 17915 h 634427"/>
                <a:gd name="connsiteX770" fmla="*/ 2242155 w 3080331"/>
                <a:gd name="connsiteY770" fmla="*/ 16444 h 634427"/>
                <a:gd name="connsiteX771" fmla="*/ 2006668 w 3080331"/>
                <a:gd name="connsiteY771" fmla="*/ 16444 h 634427"/>
                <a:gd name="connsiteX772" fmla="*/ 1998810 w 3080331"/>
                <a:gd name="connsiteY772" fmla="*/ 18100 h 634427"/>
                <a:gd name="connsiteX773" fmla="*/ 1996637 w 3080331"/>
                <a:gd name="connsiteY773" fmla="*/ 20490 h 634427"/>
                <a:gd name="connsiteX774" fmla="*/ 1995133 w 3080331"/>
                <a:gd name="connsiteY774" fmla="*/ 23065 h 634427"/>
                <a:gd name="connsiteX775" fmla="*/ 1994464 w 3080331"/>
                <a:gd name="connsiteY775" fmla="*/ 24904 h 634427"/>
                <a:gd name="connsiteX776" fmla="*/ 1993795 w 3080331"/>
                <a:gd name="connsiteY776" fmla="*/ 27662 h 634427"/>
                <a:gd name="connsiteX777" fmla="*/ 1993126 w 3080331"/>
                <a:gd name="connsiteY777" fmla="*/ 32443 h 634427"/>
                <a:gd name="connsiteX778" fmla="*/ 1993795 w 3080331"/>
                <a:gd name="connsiteY778" fmla="*/ 37409 h 634427"/>
                <a:gd name="connsiteX779" fmla="*/ 1994631 w 3080331"/>
                <a:gd name="connsiteY779" fmla="*/ 39983 h 634427"/>
                <a:gd name="connsiteX780" fmla="*/ 1996136 w 3080331"/>
                <a:gd name="connsiteY780" fmla="*/ 42925 h 634427"/>
                <a:gd name="connsiteX781" fmla="*/ 1998476 w 3080331"/>
                <a:gd name="connsiteY781" fmla="*/ 45867 h 634427"/>
                <a:gd name="connsiteX782" fmla="*/ 2001485 w 3080331"/>
                <a:gd name="connsiteY782" fmla="*/ 47706 h 634427"/>
                <a:gd name="connsiteX783" fmla="*/ 2009844 w 3080331"/>
                <a:gd name="connsiteY783" fmla="*/ 46051 h 634427"/>
                <a:gd name="connsiteX784" fmla="*/ 2012018 w 3080331"/>
                <a:gd name="connsiteY784" fmla="*/ 43661 h 634427"/>
                <a:gd name="connsiteX785" fmla="*/ 2013689 w 3080331"/>
                <a:gd name="connsiteY785" fmla="*/ 40719 h 634427"/>
                <a:gd name="connsiteX786" fmla="*/ 2014358 w 3080331"/>
                <a:gd name="connsiteY786" fmla="*/ 39248 h 634427"/>
                <a:gd name="connsiteX787" fmla="*/ 2015194 w 3080331"/>
                <a:gd name="connsiteY787" fmla="*/ 36305 h 634427"/>
                <a:gd name="connsiteX788" fmla="*/ 2014860 w 3080331"/>
                <a:gd name="connsiteY788" fmla="*/ 26926 h 634427"/>
                <a:gd name="connsiteX789" fmla="*/ 2014191 w 3080331"/>
                <a:gd name="connsiteY789" fmla="*/ 24904 h 634427"/>
                <a:gd name="connsiteX790" fmla="*/ 2013355 w 3080331"/>
                <a:gd name="connsiteY790" fmla="*/ 22881 h 634427"/>
                <a:gd name="connsiteX791" fmla="*/ 2011850 w 3080331"/>
                <a:gd name="connsiteY791" fmla="*/ 20490 h 634427"/>
                <a:gd name="connsiteX792" fmla="*/ 2009343 w 3080331"/>
                <a:gd name="connsiteY792" fmla="*/ 17915 h 634427"/>
                <a:gd name="connsiteX793" fmla="*/ 2006668 w 3080331"/>
                <a:gd name="connsiteY793" fmla="*/ 16444 h 634427"/>
                <a:gd name="connsiteX794" fmla="*/ 1883825 w 3080331"/>
                <a:gd name="connsiteY794" fmla="*/ 16444 h 634427"/>
                <a:gd name="connsiteX795" fmla="*/ 1875967 w 3080331"/>
                <a:gd name="connsiteY795" fmla="*/ 18100 h 634427"/>
                <a:gd name="connsiteX796" fmla="*/ 1873794 w 3080331"/>
                <a:gd name="connsiteY796" fmla="*/ 20490 h 634427"/>
                <a:gd name="connsiteX797" fmla="*/ 1872290 w 3080331"/>
                <a:gd name="connsiteY797" fmla="*/ 23065 h 634427"/>
                <a:gd name="connsiteX798" fmla="*/ 1871621 w 3080331"/>
                <a:gd name="connsiteY798" fmla="*/ 24904 h 634427"/>
                <a:gd name="connsiteX799" fmla="*/ 1870952 w 3080331"/>
                <a:gd name="connsiteY799" fmla="*/ 27662 h 634427"/>
                <a:gd name="connsiteX800" fmla="*/ 1870283 w 3080331"/>
                <a:gd name="connsiteY800" fmla="*/ 32443 h 634427"/>
                <a:gd name="connsiteX801" fmla="*/ 1870952 w 3080331"/>
                <a:gd name="connsiteY801" fmla="*/ 37409 h 634427"/>
                <a:gd name="connsiteX802" fmla="*/ 1871788 w 3080331"/>
                <a:gd name="connsiteY802" fmla="*/ 39983 h 634427"/>
                <a:gd name="connsiteX803" fmla="*/ 1873293 w 3080331"/>
                <a:gd name="connsiteY803" fmla="*/ 42925 h 634427"/>
                <a:gd name="connsiteX804" fmla="*/ 1875633 w 3080331"/>
                <a:gd name="connsiteY804" fmla="*/ 45867 h 634427"/>
                <a:gd name="connsiteX805" fmla="*/ 1878642 w 3080331"/>
                <a:gd name="connsiteY805" fmla="*/ 47706 h 634427"/>
                <a:gd name="connsiteX806" fmla="*/ 1887001 w 3080331"/>
                <a:gd name="connsiteY806" fmla="*/ 46051 h 634427"/>
                <a:gd name="connsiteX807" fmla="*/ 1889175 w 3080331"/>
                <a:gd name="connsiteY807" fmla="*/ 43661 h 634427"/>
                <a:gd name="connsiteX808" fmla="*/ 1890846 w 3080331"/>
                <a:gd name="connsiteY808" fmla="*/ 40719 h 634427"/>
                <a:gd name="connsiteX809" fmla="*/ 1891515 w 3080331"/>
                <a:gd name="connsiteY809" fmla="*/ 39248 h 634427"/>
                <a:gd name="connsiteX810" fmla="*/ 1892351 w 3080331"/>
                <a:gd name="connsiteY810" fmla="*/ 36305 h 634427"/>
                <a:gd name="connsiteX811" fmla="*/ 1892017 w 3080331"/>
                <a:gd name="connsiteY811" fmla="*/ 26926 h 634427"/>
                <a:gd name="connsiteX812" fmla="*/ 1891348 w 3080331"/>
                <a:gd name="connsiteY812" fmla="*/ 24904 h 634427"/>
                <a:gd name="connsiteX813" fmla="*/ 1890512 w 3080331"/>
                <a:gd name="connsiteY813" fmla="*/ 22881 h 634427"/>
                <a:gd name="connsiteX814" fmla="*/ 1889007 w 3080331"/>
                <a:gd name="connsiteY814" fmla="*/ 20490 h 634427"/>
                <a:gd name="connsiteX815" fmla="*/ 1886500 w 3080331"/>
                <a:gd name="connsiteY815" fmla="*/ 17915 h 634427"/>
                <a:gd name="connsiteX816" fmla="*/ 1883825 w 3080331"/>
                <a:gd name="connsiteY816" fmla="*/ 16444 h 634427"/>
                <a:gd name="connsiteX817" fmla="*/ 1719884 w 3080331"/>
                <a:gd name="connsiteY817" fmla="*/ 16444 h 634427"/>
                <a:gd name="connsiteX818" fmla="*/ 1712026 w 3080331"/>
                <a:gd name="connsiteY818" fmla="*/ 18100 h 634427"/>
                <a:gd name="connsiteX819" fmla="*/ 1709853 w 3080331"/>
                <a:gd name="connsiteY819" fmla="*/ 20490 h 634427"/>
                <a:gd name="connsiteX820" fmla="*/ 1708349 w 3080331"/>
                <a:gd name="connsiteY820" fmla="*/ 23065 h 634427"/>
                <a:gd name="connsiteX821" fmla="*/ 1707679 w 3080331"/>
                <a:gd name="connsiteY821" fmla="*/ 24904 h 634427"/>
                <a:gd name="connsiteX822" fmla="*/ 1707011 w 3080331"/>
                <a:gd name="connsiteY822" fmla="*/ 27662 h 634427"/>
                <a:gd name="connsiteX823" fmla="*/ 1706342 w 3080331"/>
                <a:gd name="connsiteY823" fmla="*/ 32443 h 634427"/>
                <a:gd name="connsiteX824" fmla="*/ 1707011 w 3080331"/>
                <a:gd name="connsiteY824" fmla="*/ 37409 h 634427"/>
                <a:gd name="connsiteX825" fmla="*/ 1707847 w 3080331"/>
                <a:gd name="connsiteY825" fmla="*/ 39983 h 634427"/>
                <a:gd name="connsiteX826" fmla="*/ 1709351 w 3080331"/>
                <a:gd name="connsiteY826" fmla="*/ 42925 h 634427"/>
                <a:gd name="connsiteX827" fmla="*/ 1711692 w 3080331"/>
                <a:gd name="connsiteY827" fmla="*/ 45867 h 634427"/>
                <a:gd name="connsiteX828" fmla="*/ 1714701 w 3080331"/>
                <a:gd name="connsiteY828" fmla="*/ 47706 h 634427"/>
                <a:gd name="connsiteX829" fmla="*/ 1723060 w 3080331"/>
                <a:gd name="connsiteY829" fmla="*/ 46051 h 634427"/>
                <a:gd name="connsiteX830" fmla="*/ 1725234 w 3080331"/>
                <a:gd name="connsiteY830" fmla="*/ 43661 h 634427"/>
                <a:gd name="connsiteX831" fmla="*/ 1726905 w 3080331"/>
                <a:gd name="connsiteY831" fmla="*/ 40719 h 634427"/>
                <a:gd name="connsiteX832" fmla="*/ 1727574 w 3080331"/>
                <a:gd name="connsiteY832" fmla="*/ 39248 h 634427"/>
                <a:gd name="connsiteX833" fmla="*/ 1728410 w 3080331"/>
                <a:gd name="connsiteY833" fmla="*/ 36305 h 634427"/>
                <a:gd name="connsiteX834" fmla="*/ 1728075 w 3080331"/>
                <a:gd name="connsiteY834" fmla="*/ 26926 h 634427"/>
                <a:gd name="connsiteX835" fmla="*/ 1727407 w 3080331"/>
                <a:gd name="connsiteY835" fmla="*/ 24904 h 634427"/>
                <a:gd name="connsiteX836" fmla="*/ 1726571 w 3080331"/>
                <a:gd name="connsiteY836" fmla="*/ 22881 h 634427"/>
                <a:gd name="connsiteX837" fmla="*/ 1725066 w 3080331"/>
                <a:gd name="connsiteY837" fmla="*/ 20490 h 634427"/>
                <a:gd name="connsiteX838" fmla="*/ 1722559 w 3080331"/>
                <a:gd name="connsiteY838" fmla="*/ 17915 h 634427"/>
                <a:gd name="connsiteX839" fmla="*/ 1719884 w 3080331"/>
                <a:gd name="connsiteY839" fmla="*/ 16444 h 634427"/>
                <a:gd name="connsiteX840" fmla="*/ 1597041 w 3080331"/>
                <a:gd name="connsiteY840" fmla="*/ 16444 h 634427"/>
                <a:gd name="connsiteX841" fmla="*/ 1589183 w 3080331"/>
                <a:gd name="connsiteY841" fmla="*/ 18100 h 634427"/>
                <a:gd name="connsiteX842" fmla="*/ 1587010 w 3080331"/>
                <a:gd name="connsiteY842" fmla="*/ 20490 h 634427"/>
                <a:gd name="connsiteX843" fmla="*/ 1585506 w 3080331"/>
                <a:gd name="connsiteY843" fmla="*/ 23065 h 634427"/>
                <a:gd name="connsiteX844" fmla="*/ 1584836 w 3080331"/>
                <a:gd name="connsiteY844" fmla="*/ 24904 h 634427"/>
                <a:gd name="connsiteX845" fmla="*/ 1584168 w 3080331"/>
                <a:gd name="connsiteY845" fmla="*/ 27662 h 634427"/>
                <a:gd name="connsiteX846" fmla="*/ 1583499 w 3080331"/>
                <a:gd name="connsiteY846" fmla="*/ 32443 h 634427"/>
                <a:gd name="connsiteX847" fmla="*/ 1584168 w 3080331"/>
                <a:gd name="connsiteY847" fmla="*/ 37409 h 634427"/>
                <a:gd name="connsiteX848" fmla="*/ 1585004 w 3080331"/>
                <a:gd name="connsiteY848" fmla="*/ 39983 h 634427"/>
                <a:gd name="connsiteX849" fmla="*/ 1586508 w 3080331"/>
                <a:gd name="connsiteY849" fmla="*/ 42925 h 634427"/>
                <a:gd name="connsiteX850" fmla="*/ 1588849 w 3080331"/>
                <a:gd name="connsiteY850" fmla="*/ 45867 h 634427"/>
                <a:gd name="connsiteX851" fmla="*/ 1591858 w 3080331"/>
                <a:gd name="connsiteY851" fmla="*/ 47706 h 634427"/>
                <a:gd name="connsiteX852" fmla="*/ 1600217 w 3080331"/>
                <a:gd name="connsiteY852" fmla="*/ 46051 h 634427"/>
                <a:gd name="connsiteX853" fmla="*/ 1602391 w 3080331"/>
                <a:gd name="connsiteY853" fmla="*/ 43661 h 634427"/>
                <a:gd name="connsiteX854" fmla="*/ 1604062 w 3080331"/>
                <a:gd name="connsiteY854" fmla="*/ 40719 h 634427"/>
                <a:gd name="connsiteX855" fmla="*/ 1604731 w 3080331"/>
                <a:gd name="connsiteY855" fmla="*/ 39248 h 634427"/>
                <a:gd name="connsiteX856" fmla="*/ 1605567 w 3080331"/>
                <a:gd name="connsiteY856" fmla="*/ 36305 h 634427"/>
                <a:gd name="connsiteX857" fmla="*/ 1605232 w 3080331"/>
                <a:gd name="connsiteY857" fmla="*/ 26926 h 634427"/>
                <a:gd name="connsiteX858" fmla="*/ 1604564 w 3080331"/>
                <a:gd name="connsiteY858" fmla="*/ 24904 h 634427"/>
                <a:gd name="connsiteX859" fmla="*/ 1603728 w 3080331"/>
                <a:gd name="connsiteY859" fmla="*/ 22881 h 634427"/>
                <a:gd name="connsiteX860" fmla="*/ 1602223 w 3080331"/>
                <a:gd name="connsiteY860" fmla="*/ 20490 h 634427"/>
                <a:gd name="connsiteX861" fmla="*/ 1599716 w 3080331"/>
                <a:gd name="connsiteY861" fmla="*/ 17915 h 634427"/>
                <a:gd name="connsiteX862" fmla="*/ 1597041 w 3080331"/>
                <a:gd name="connsiteY862" fmla="*/ 16444 h 634427"/>
                <a:gd name="connsiteX863" fmla="*/ 1310306 w 3080331"/>
                <a:gd name="connsiteY863" fmla="*/ 16444 h 634427"/>
                <a:gd name="connsiteX864" fmla="*/ 1302449 w 3080331"/>
                <a:gd name="connsiteY864" fmla="*/ 18100 h 634427"/>
                <a:gd name="connsiteX865" fmla="*/ 1300274 w 3080331"/>
                <a:gd name="connsiteY865" fmla="*/ 20490 h 634427"/>
                <a:gd name="connsiteX866" fmla="*/ 1298771 w 3080331"/>
                <a:gd name="connsiteY866" fmla="*/ 23065 h 634427"/>
                <a:gd name="connsiteX867" fmla="*/ 1298102 w 3080331"/>
                <a:gd name="connsiteY867" fmla="*/ 24904 h 634427"/>
                <a:gd name="connsiteX868" fmla="*/ 1297433 w 3080331"/>
                <a:gd name="connsiteY868" fmla="*/ 27662 h 634427"/>
                <a:gd name="connsiteX869" fmla="*/ 1296763 w 3080331"/>
                <a:gd name="connsiteY869" fmla="*/ 32443 h 634427"/>
                <a:gd name="connsiteX870" fmla="*/ 1297433 w 3080331"/>
                <a:gd name="connsiteY870" fmla="*/ 37409 h 634427"/>
                <a:gd name="connsiteX871" fmla="*/ 1298269 w 3080331"/>
                <a:gd name="connsiteY871" fmla="*/ 39983 h 634427"/>
                <a:gd name="connsiteX872" fmla="*/ 1299773 w 3080331"/>
                <a:gd name="connsiteY872" fmla="*/ 42925 h 634427"/>
                <a:gd name="connsiteX873" fmla="*/ 1302115 w 3080331"/>
                <a:gd name="connsiteY873" fmla="*/ 45867 h 634427"/>
                <a:gd name="connsiteX874" fmla="*/ 1305124 w 3080331"/>
                <a:gd name="connsiteY874" fmla="*/ 47706 h 634427"/>
                <a:gd name="connsiteX875" fmla="*/ 1313483 w 3080331"/>
                <a:gd name="connsiteY875" fmla="*/ 46051 h 634427"/>
                <a:gd name="connsiteX876" fmla="*/ 1315656 w 3080331"/>
                <a:gd name="connsiteY876" fmla="*/ 43661 h 634427"/>
                <a:gd name="connsiteX877" fmla="*/ 1317328 w 3080331"/>
                <a:gd name="connsiteY877" fmla="*/ 40719 h 634427"/>
                <a:gd name="connsiteX878" fmla="*/ 1317996 w 3080331"/>
                <a:gd name="connsiteY878" fmla="*/ 39248 h 634427"/>
                <a:gd name="connsiteX879" fmla="*/ 1318832 w 3080331"/>
                <a:gd name="connsiteY879" fmla="*/ 36305 h 634427"/>
                <a:gd name="connsiteX880" fmla="*/ 1318498 w 3080331"/>
                <a:gd name="connsiteY880" fmla="*/ 26926 h 634427"/>
                <a:gd name="connsiteX881" fmla="*/ 1317829 w 3080331"/>
                <a:gd name="connsiteY881" fmla="*/ 24904 h 634427"/>
                <a:gd name="connsiteX882" fmla="*/ 1316994 w 3080331"/>
                <a:gd name="connsiteY882" fmla="*/ 22881 h 634427"/>
                <a:gd name="connsiteX883" fmla="*/ 1315489 w 3080331"/>
                <a:gd name="connsiteY883" fmla="*/ 20490 h 634427"/>
                <a:gd name="connsiteX884" fmla="*/ 1312981 w 3080331"/>
                <a:gd name="connsiteY884" fmla="*/ 17915 h 634427"/>
                <a:gd name="connsiteX885" fmla="*/ 1310306 w 3080331"/>
                <a:gd name="connsiteY885" fmla="*/ 16444 h 634427"/>
                <a:gd name="connsiteX886" fmla="*/ 1074817 w 3080331"/>
                <a:gd name="connsiteY886" fmla="*/ 16444 h 634427"/>
                <a:gd name="connsiteX887" fmla="*/ 1066961 w 3080331"/>
                <a:gd name="connsiteY887" fmla="*/ 18100 h 634427"/>
                <a:gd name="connsiteX888" fmla="*/ 1064787 w 3080331"/>
                <a:gd name="connsiteY888" fmla="*/ 20490 h 634427"/>
                <a:gd name="connsiteX889" fmla="*/ 1063284 w 3080331"/>
                <a:gd name="connsiteY889" fmla="*/ 23065 h 634427"/>
                <a:gd name="connsiteX890" fmla="*/ 1062614 w 3080331"/>
                <a:gd name="connsiteY890" fmla="*/ 24904 h 634427"/>
                <a:gd name="connsiteX891" fmla="*/ 1061945 w 3080331"/>
                <a:gd name="connsiteY891" fmla="*/ 27662 h 634427"/>
                <a:gd name="connsiteX892" fmla="*/ 1061276 w 3080331"/>
                <a:gd name="connsiteY892" fmla="*/ 32443 h 634427"/>
                <a:gd name="connsiteX893" fmla="*/ 1061945 w 3080331"/>
                <a:gd name="connsiteY893" fmla="*/ 37409 h 634427"/>
                <a:gd name="connsiteX894" fmla="*/ 1062781 w 3080331"/>
                <a:gd name="connsiteY894" fmla="*/ 39983 h 634427"/>
                <a:gd name="connsiteX895" fmla="*/ 1064286 w 3080331"/>
                <a:gd name="connsiteY895" fmla="*/ 42925 h 634427"/>
                <a:gd name="connsiteX896" fmla="*/ 1066626 w 3080331"/>
                <a:gd name="connsiteY896" fmla="*/ 45867 h 634427"/>
                <a:gd name="connsiteX897" fmla="*/ 1069635 w 3080331"/>
                <a:gd name="connsiteY897" fmla="*/ 47706 h 634427"/>
                <a:gd name="connsiteX898" fmla="*/ 1077994 w 3080331"/>
                <a:gd name="connsiteY898" fmla="*/ 46051 h 634427"/>
                <a:gd name="connsiteX899" fmla="*/ 1080169 w 3080331"/>
                <a:gd name="connsiteY899" fmla="*/ 43661 h 634427"/>
                <a:gd name="connsiteX900" fmla="*/ 1081840 w 3080331"/>
                <a:gd name="connsiteY900" fmla="*/ 40719 h 634427"/>
                <a:gd name="connsiteX901" fmla="*/ 1082510 w 3080331"/>
                <a:gd name="connsiteY901" fmla="*/ 39248 h 634427"/>
                <a:gd name="connsiteX902" fmla="*/ 1083344 w 3080331"/>
                <a:gd name="connsiteY902" fmla="*/ 36305 h 634427"/>
                <a:gd name="connsiteX903" fmla="*/ 1083010 w 3080331"/>
                <a:gd name="connsiteY903" fmla="*/ 26926 h 634427"/>
                <a:gd name="connsiteX904" fmla="*/ 1082342 w 3080331"/>
                <a:gd name="connsiteY904" fmla="*/ 24904 h 634427"/>
                <a:gd name="connsiteX905" fmla="*/ 1081505 w 3080331"/>
                <a:gd name="connsiteY905" fmla="*/ 22881 h 634427"/>
                <a:gd name="connsiteX906" fmla="*/ 1080002 w 3080331"/>
                <a:gd name="connsiteY906" fmla="*/ 20490 h 634427"/>
                <a:gd name="connsiteX907" fmla="*/ 1077492 w 3080331"/>
                <a:gd name="connsiteY907" fmla="*/ 17915 h 634427"/>
                <a:gd name="connsiteX908" fmla="*/ 1074817 w 3080331"/>
                <a:gd name="connsiteY908" fmla="*/ 16444 h 634427"/>
                <a:gd name="connsiteX909" fmla="*/ 951974 w 3080331"/>
                <a:gd name="connsiteY909" fmla="*/ 16444 h 634427"/>
                <a:gd name="connsiteX910" fmla="*/ 944118 w 3080331"/>
                <a:gd name="connsiteY910" fmla="*/ 18100 h 634427"/>
                <a:gd name="connsiteX911" fmla="*/ 941945 w 3080331"/>
                <a:gd name="connsiteY911" fmla="*/ 20490 h 634427"/>
                <a:gd name="connsiteX912" fmla="*/ 940439 w 3080331"/>
                <a:gd name="connsiteY912" fmla="*/ 23065 h 634427"/>
                <a:gd name="connsiteX913" fmla="*/ 939771 w 3080331"/>
                <a:gd name="connsiteY913" fmla="*/ 24904 h 634427"/>
                <a:gd name="connsiteX914" fmla="*/ 939102 w 3080331"/>
                <a:gd name="connsiteY914" fmla="*/ 27662 h 634427"/>
                <a:gd name="connsiteX915" fmla="*/ 938434 w 3080331"/>
                <a:gd name="connsiteY915" fmla="*/ 32443 h 634427"/>
                <a:gd name="connsiteX916" fmla="*/ 939102 w 3080331"/>
                <a:gd name="connsiteY916" fmla="*/ 37409 h 634427"/>
                <a:gd name="connsiteX917" fmla="*/ 939938 w 3080331"/>
                <a:gd name="connsiteY917" fmla="*/ 39983 h 634427"/>
                <a:gd name="connsiteX918" fmla="*/ 941443 w 3080331"/>
                <a:gd name="connsiteY918" fmla="*/ 42925 h 634427"/>
                <a:gd name="connsiteX919" fmla="*/ 943783 w 3080331"/>
                <a:gd name="connsiteY919" fmla="*/ 45867 h 634427"/>
                <a:gd name="connsiteX920" fmla="*/ 946792 w 3080331"/>
                <a:gd name="connsiteY920" fmla="*/ 47706 h 634427"/>
                <a:gd name="connsiteX921" fmla="*/ 955151 w 3080331"/>
                <a:gd name="connsiteY921" fmla="*/ 46051 h 634427"/>
                <a:gd name="connsiteX922" fmla="*/ 957324 w 3080331"/>
                <a:gd name="connsiteY922" fmla="*/ 43661 h 634427"/>
                <a:gd name="connsiteX923" fmla="*/ 958998 w 3080331"/>
                <a:gd name="connsiteY923" fmla="*/ 40719 h 634427"/>
                <a:gd name="connsiteX924" fmla="*/ 959665 w 3080331"/>
                <a:gd name="connsiteY924" fmla="*/ 39248 h 634427"/>
                <a:gd name="connsiteX925" fmla="*/ 960501 w 3080331"/>
                <a:gd name="connsiteY925" fmla="*/ 36305 h 634427"/>
                <a:gd name="connsiteX926" fmla="*/ 960167 w 3080331"/>
                <a:gd name="connsiteY926" fmla="*/ 26926 h 634427"/>
                <a:gd name="connsiteX927" fmla="*/ 959497 w 3080331"/>
                <a:gd name="connsiteY927" fmla="*/ 24904 h 634427"/>
                <a:gd name="connsiteX928" fmla="*/ 958662 w 3080331"/>
                <a:gd name="connsiteY928" fmla="*/ 22881 h 634427"/>
                <a:gd name="connsiteX929" fmla="*/ 957157 w 3080331"/>
                <a:gd name="connsiteY929" fmla="*/ 20490 h 634427"/>
                <a:gd name="connsiteX930" fmla="*/ 954649 w 3080331"/>
                <a:gd name="connsiteY930" fmla="*/ 17915 h 634427"/>
                <a:gd name="connsiteX931" fmla="*/ 951974 w 3080331"/>
                <a:gd name="connsiteY931" fmla="*/ 16444 h 634427"/>
                <a:gd name="connsiteX932" fmla="*/ 839281 w 3080331"/>
                <a:gd name="connsiteY932" fmla="*/ 16444 h 634427"/>
                <a:gd name="connsiteX933" fmla="*/ 831424 w 3080331"/>
                <a:gd name="connsiteY933" fmla="*/ 18100 h 634427"/>
                <a:gd name="connsiteX934" fmla="*/ 829251 w 3080331"/>
                <a:gd name="connsiteY934" fmla="*/ 20490 h 634427"/>
                <a:gd name="connsiteX935" fmla="*/ 827746 w 3080331"/>
                <a:gd name="connsiteY935" fmla="*/ 23065 h 634427"/>
                <a:gd name="connsiteX936" fmla="*/ 827076 w 3080331"/>
                <a:gd name="connsiteY936" fmla="*/ 24904 h 634427"/>
                <a:gd name="connsiteX937" fmla="*/ 826408 w 3080331"/>
                <a:gd name="connsiteY937" fmla="*/ 27662 h 634427"/>
                <a:gd name="connsiteX938" fmla="*/ 825739 w 3080331"/>
                <a:gd name="connsiteY938" fmla="*/ 32443 h 634427"/>
                <a:gd name="connsiteX939" fmla="*/ 826408 w 3080331"/>
                <a:gd name="connsiteY939" fmla="*/ 37409 h 634427"/>
                <a:gd name="connsiteX940" fmla="*/ 827243 w 3080331"/>
                <a:gd name="connsiteY940" fmla="*/ 39983 h 634427"/>
                <a:gd name="connsiteX941" fmla="*/ 828749 w 3080331"/>
                <a:gd name="connsiteY941" fmla="*/ 42925 h 634427"/>
                <a:gd name="connsiteX942" fmla="*/ 831089 w 3080331"/>
                <a:gd name="connsiteY942" fmla="*/ 45867 h 634427"/>
                <a:gd name="connsiteX943" fmla="*/ 834098 w 3080331"/>
                <a:gd name="connsiteY943" fmla="*/ 47706 h 634427"/>
                <a:gd name="connsiteX944" fmla="*/ 842457 w 3080331"/>
                <a:gd name="connsiteY944" fmla="*/ 46051 h 634427"/>
                <a:gd name="connsiteX945" fmla="*/ 844631 w 3080331"/>
                <a:gd name="connsiteY945" fmla="*/ 43661 h 634427"/>
                <a:gd name="connsiteX946" fmla="*/ 846303 w 3080331"/>
                <a:gd name="connsiteY946" fmla="*/ 40719 h 634427"/>
                <a:gd name="connsiteX947" fmla="*/ 846971 w 3080331"/>
                <a:gd name="connsiteY947" fmla="*/ 39248 h 634427"/>
                <a:gd name="connsiteX948" fmla="*/ 847807 w 3080331"/>
                <a:gd name="connsiteY948" fmla="*/ 36305 h 634427"/>
                <a:gd name="connsiteX949" fmla="*/ 847473 w 3080331"/>
                <a:gd name="connsiteY949" fmla="*/ 26926 h 634427"/>
                <a:gd name="connsiteX950" fmla="*/ 846804 w 3080331"/>
                <a:gd name="connsiteY950" fmla="*/ 24904 h 634427"/>
                <a:gd name="connsiteX951" fmla="*/ 845968 w 3080331"/>
                <a:gd name="connsiteY951" fmla="*/ 22881 h 634427"/>
                <a:gd name="connsiteX952" fmla="*/ 844464 w 3080331"/>
                <a:gd name="connsiteY952" fmla="*/ 20490 h 634427"/>
                <a:gd name="connsiteX953" fmla="*/ 841956 w 3080331"/>
                <a:gd name="connsiteY953" fmla="*/ 17915 h 634427"/>
                <a:gd name="connsiteX954" fmla="*/ 839281 w 3080331"/>
                <a:gd name="connsiteY954" fmla="*/ 16444 h 634427"/>
                <a:gd name="connsiteX955" fmla="*/ 603794 w 3080331"/>
                <a:gd name="connsiteY955" fmla="*/ 16444 h 634427"/>
                <a:gd name="connsiteX956" fmla="*/ 595936 w 3080331"/>
                <a:gd name="connsiteY956" fmla="*/ 18100 h 634427"/>
                <a:gd name="connsiteX957" fmla="*/ 593763 w 3080331"/>
                <a:gd name="connsiteY957" fmla="*/ 20490 h 634427"/>
                <a:gd name="connsiteX958" fmla="*/ 592259 w 3080331"/>
                <a:gd name="connsiteY958" fmla="*/ 23065 h 634427"/>
                <a:gd name="connsiteX959" fmla="*/ 591589 w 3080331"/>
                <a:gd name="connsiteY959" fmla="*/ 24904 h 634427"/>
                <a:gd name="connsiteX960" fmla="*/ 590921 w 3080331"/>
                <a:gd name="connsiteY960" fmla="*/ 27662 h 634427"/>
                <a:gd name="connsiteX961" fmla="*/ 590252 w 3080331"/>
                <a:gd name="connsiteY961" fmla="*/ 32443 h 634427"/>
                <a:gd name="connsiteX962" fmla="*/ 590921 w 3080331"/>
                <a:gd name="connsiteY962" fmla="*/ 37409 h 634427"/>
                <a:gd name="connsiteX963" fmla="*/ 591756 w 3080331"/>
                <a:gd name="connsiteY963" fmla="*/ 39983 h 634427"/>
                <a:gd name="connsiteX964" fmla="*/ 593261 w 3080331"/>
                <a:gd name="connsiteY964" fmla="*/ 42925 h 634427"/>
                <a:gd name="connsiteX965" fmla="*/ 595602 w 3080331"/>
                <a:gd name="connsiteY965" fmla="*/ 45867 h 634427"/>
                <a:gd name="connsiteX966" fmla="*/ 598610 w 3080331"/>
                <a:gd name="connsiteY966" fmla="*/ 47706 h 634427"/>
                <a:gd name="connsiteX967" fmla="*/ 606969 w 3080331"/>
                <a:gd name="connsiteY967" fmla="*/ 46051 h 634427"/>
                <a:gd name="connsiteX968" fmla="*/ 609144 w 3080331"/>
                <a:gd name="connsiteY968" fmla="*/ 43661 h 634427"/>
                <a:gd name="connsiteX969" fmla="*/ 610815 w 3080331"/>
                <a:gd name="connsiteY969" fmla="*/ 40719 h 634427"/>
                <a:gd name="connsiteX970" fmla="*/ 611483 w 3080331"/>
                <a:gd name="connsiteY970" fmla="*/ 39248 h 634427"/>
                <a:gd name="connsiteX971" fmla="*/ 612319 w 3080331"/>
                <a:gd name="connsiteY971" fmla="*/ 36305 h 634427"/>
                <a:gd name="connsiteX972" fmla="*/ 611985 w 3080331"/>
                <a:gd name="connsiteY972" fmla="*/ 26926 h 634427"/>
                <a:gd name="connsiteX973" fmla="*/ 611317 w 3080331"/>
                <a:gd name="connsiteY973" fmla="*/ 24904 h 634427"/>
                <a:gd name="connsiteX974" fmla="*/ 610480 w 3080331"/>
                <a:gd name="connsiteY974" fmla="*/ 22881 h 634427"/>
                <a:gd name="connsiteX975" fmla="*/ 608976 w 3080331"/>
                <a:gd name="connsiteY975" fmla="*/ 20490 h 634427"/>
                <a:gd name="connsiteX976" fmla="*/ 606469 w 3080331"/>
                <a:gd name="connsiteY976" fmla="*/ 17915 h 634427"/>
                <a:gd name="connsiteX977" fmla="*/ 603794 w 3080331"/>
                <a:gd name="connsiteY977" fmla="*/ 16444 h 634427"/>
                <a:gd name="connsiteX978" fmla="*/ 20889 w 3080331"/>
                <a:gd name="connsiteY978" fmla="*/ 11760 h 634427"/>
                <a:gd name="connsiteX979" fmla="*/ 23647 w 3080331"/>
                <a:gd name="connsiteY979" fmla="*/ 11760 h 634427"/>
                <a:gd name="connsiteX980" fmla="*/ 26773 w 3080331"/>
                <a:gd name="connsiteY980" fmla="*/ 13415 h 634427"/>
                <a:gd name="connsiteX981" fmla="*/ 28244 w 3080331"/>
                <a:gd name="connsiteY981" fmla="*/ 17644 h 634427"/>
                <a:gd name="connsiteX982" fmla="*/ 28244 w 3080331"/>
                <a:gd name="connsiteY982" fmla="*/ 18012 h 634427"/>
                <a:gd name="connsiteX983" fmla="*/ 28244 w 3080331"/>
                <a:gd name="connsiteY983" fmla="*/ 54056 h 634427"/>
                <a:gd name="connsiteX984" fmla="*/ 28612 w 3080331"/>
                <a:gd name="connsiteY984" fmla="*/ 54423 h 634427"/>
                <a:gd name="connsiteX985" fmla="*/ 33577 w 3080331"/>
                <a:gd name="connsiteY985" fmla="*/ 54423 h 634427"/>
                <a:gd name="connsiteX986" fmla="*/ 36336 w 3080331"/>
                <a:gd name="connsiteY986" fmla="*/ 55159 h 634427"/>
                <a:gd name="connsiteX987" fmla="*/ 38910 w 3080331"/>
                <a:gd name="connsiteY987" fmla="*/ 59757 h 634427"/>
                <a:gd name="connsiteX988" fmla="*/ 37072 w 3080331"/>
                <a:gd name="connsiteY988" fmla="*/ 63618 h 634427"/>
                <a:gd name="connsiteX989" fmla="*/ 34313 w 3080331"/>
                <a:gd name="connsiteY989" fmla="*/ 64905 h 634427"/>
                <a:gd name="connsiteX990" fmla="*/ 34130 w 3080331"/>
                <a:gd name="connsiteY990" fmla="*/ 64905 h 634427"/>
                <a:gd name="connsiteX991" fmla="*/ 33945 w 3080331"/>
                <a:gd name="connsiteY991" fmla="*/ 64905 h 634427"/>
                <a:gd name="connsiteX992" fmla="*/ 33577 w 3080331"/>
                <a:gd name="connsiteY992" fmla="*/ 64905 h 634427"/>
                <a:gd name="connsiteX993" fmla="*/ 11694 w 3080331"/>
                <a:gd name="connsiteY993" fmla="*/ 64905 h 634427"/>
                <a:gd name="connsiteX994" fmla="*/ 11327 w 3080331"/>
                <a:gd name="connsiteY994" fmla="*/ 64905 h 634427"/>
                <a:gd name="connsiteX995" fmla="*/ 10775 w 3080331"/>
                <a:gd name="connsiteY995" fmla="*/ 64905 h 634427"/>
                <a:gd name="connsiteX996" fmla="*/ 10223 w 3080331"/>
                <a:gd name="connsiteY996" fmla="*/ 64722 h 634427"/>
                <a:gd name="connsiteX997" fmla="*/ 7832 w 3080331"/>
                <a:gd name="connsiteY997" fmla="*/ 63434 h 634427"/>
                <a:gd name="connsiteX998" fmla="*/ 6178 w 3080331"/>
                <a:gd name="connsiteY998" fmla="*/ 59572 h 634427"/>
                <a:gd name="connsiteX999" fmla="*/ 7649 w 3080331"/>
                <a:gd name="connsiteY999" fmla="*/ 56079 h 634427"/>
                <a:gd name="connsiteX1000" fmla="*/ 11511 w 3080331"/>
                <a:gd name="connsiteY1000" fmla="*/ 54423 h 634427"/>
                <a:gd name="connsiteX1001" fmla="*/ 16843 w 3080331"/>
                <a:gd name="connsiteY1001" fmla="*/ 54423 h 634427"/>
                <a:gd name="connsiteX1002" fmla="*/ 17211 w 3080331"/>
                <a:gd name="connsiteY1002" fmla="*/ 54056 h 634427"/>
                <a:gd name="connsiteX1003" fmla="*/ 17211 w 3080331"/>
                <a:gd name="connsiteY1003" fmla="*/ 22794 h 634427"/>
                <a:gd name="connsiteX1004" fmla="*/ 16843 w 3080331"/>
                <a:gd name="connsiteY1004" fmla="*/ 22426 h 634427"/>
                <a:gd name="connsiteX1005" fmla="*/ 12798 w 3080331"/>
                <a:gd name="connsiteY1005" fmla="*/ 22426 h 634427"/>
                <a:gd name="connsiteX1006" fmla="*/ 7832 w 3080331"/>
                <a:gd name="connsiteY1006" fmla="*/ 19300 h 634427"/>
                <a:gd name="connsiteX1007" fmla="*/ 7649 w 3080331"/>
                <a:gd name="connsiteY1007" fmla="*/ 15438 h 634427"/>
                <a:gd name="connsiteX1008" fmla="*/ 12614 w 3080331"/>
                <a:gd name="connsiteY1008" fmla="*/ 11944 h 634427"/>
                <a:gd name="connsiteX1009" fmla="*/ 20889 w 3080331"/>
                <a:gd name="connsiteY1009" fmla="*/ 11760 h 634427"/>
                <a:gd name="connsiteX1010" fmla="*/ 80964 w 3080331"/>
                <a:gd name="connsiteY1010" fmla="*/ 9645 h 634427"/>
                <a:gd name="connsiteX1011" fmla="*/ 73034 w 3080331"/>
                <a:gd name="connsiteY1011" fmla="*/ 14902 h 634427"/>
                <a:gd name="connsiteX1012" fmla="*/ 72404 w 3080331"/>
                <a:gd name="connsiteY1012" fmla="*/ 18019 h 634427"/>
                <a:gd name="connsiteX1013" fmla="*/ 74609 w 3080331"/>
                <a:gd name="connsiteY1013" fmla="*/ 18019 h 634427"/>
                <a:gd name="connsiteX1014" fmla="*/ 87134 w 3080331"/>
                <a:gd name="connsiteY1014" fmla="*/ 18019 h 634427"/>
                <a:gd name="connsiteX1015" fmla="*/ 89524 w 3080331"/>
                <a:gd name="connsiteY1015" fmla="*/ 18019 h 634427"/>
                <a:gd name="connsiteX1016" fmla="*/ 88895 w 3080331"/>
                <a:gd name="connsiteY1016" fmla="*/ 14902 h 634427"/>
                <a:gd name="connsiteX1017" fmla="*/ 80964 w 3080331"/>
                <a:gd name="connsiteY1017" fmla="*/ 9645 h 634427"/>
                <a:gd name="connsiteX1018" fmla="*/ 3007380 w 3080331"/>
                <a:gd name="connsiteY1018" fmla="*/ 8607 h 634427"/>
                <a:gd name="connsiteX1019" fmla="*/ 2999449 w 3080331"/>
                <a:gd name="connsiteY1019" fmla="*/ 13864 h 634427"/>
                <a:gd name="connsiteX1020" fmla="*/ 2998820 w 3080331"/>
                <a:gd name="connsiteY1020" fmla="*/ 16981 h 634427"/>
                <a:gd name="connsiteX1021" fmla="*/ 3001024 w 3080331"/>
                <a:gd name="connsiteY1021" fmla="*/ 16981 h 634427"/>
                <a:gd name="connsiteX1022" fmla="*/ 3013550 w 3080331"/>
                <a:gd name="connsiteY1022" fmla="*/ 16981 h 634427"/>
                <a:gd name="connsiteX1023" fmla="*/ 3015940 w 3080331"/>
                <a:gd name="connsiteY1023" fmla="*/ 16981 h 634427"/>
                <a:gd name="connsiteX1024" fmla="*/ 3015310 w 3080331"/>
                <a:gd name="connsiteY1024" fmla="*/ 13864 h 634427"/>
                <a:gd name="connsiteX1025" fmla="*/ 3007380 w 3080331"/>
                <a:gd name="connsiteY1025" fmla="*/ 8607 h 634427"/>
                <a:gd name="connsiteX1026" fmla="*/ 2945983 w 3080331"/>
                <a:gd name="connsiteY1026" fmla="*/ 8607 h 634427"/>
                <a:gd name="connsiteX1027" fmla="*/ 2938053 w 3080331"/>
                <a:gd name="connsiteY1027" fmla="*/ 13864 h 634427"/>
                <a:gd name="connsiteX1028" fmla="*/ 2937423 w 3080331"/>
                <a:gd name="connsiteY1028" fmla="*/ 16981 h 634427"/>
                <a:gd name="connsiteX1029" fmla="*/ 2939627 w 3080331"/>
                <a:gd name="connsiteY1029" fmla="*/ 16981 h 634427"/>
                <a:gd name="connsiteX1030" fmla="*/ 2952153 w 3080331"/>
                <a:gd name="connsiteY1030" fmla="*/ 16981 h 634427"/>
                <a:gd name="connsiteX1031" fmla="*/ 2954543 w 3080331"/>
                <a:gd name="connsiteY1031" fmla="*/ 16981 h 634427"/>
                <a:gd name="connsiteX1032" fmla="*/ 2953913 w 3080331"/>
                <a:gd name="connsiteY1032" fmla="*/ 13864 h 634427"/>
                <a:gd name="connsiteX1033" fmla="*/ 2945983 w 3080331"/>
                <a:gd name="connsiteY1033" fmla="*/ 8607 h 634427"/>
                <a:gd name="connsiteX1034" fmla="*/ 2823140 w 3080331"/>
                <a:gd name="connsiteY1034" fmla="*/ 8607 h 634427"/>
                <a:gd name="connsiteX1035" fmla="*/ 2815210 w 3080331"/>
                <a:gd name="connsiteY1035" fmla="*/ 13864 h 634427"/>
                <a:gd name="connsiteX1036" fmla="*/ 2814580 w 3080331"/>
                <a:gd name="connsiteY1036" fmla="*/ 16981 h 634427"/>
                <a:gd name="connsiteX1037" fmla="*/ 2816784 w 3080331"/>
                <a:gd name="connsiteY1037" fmla="*/ 16981 h 634427"/>
                <a:gd name="connsiteX1038" fmla="*/ 2829310 w 3080331"/>
                <a:gd name="connsiteY1038" fmla="*/ 16981 h 634427"/>
                <a:gd name="connsiteX1039" fmla="*/ 2831700 w 3080331"/>
                <a:gd name="connsiteY1039" fmla="*/ 16981 h 634427"/>
                <a:gd name="connsiteX1040" fmla="*/ 2831070 w 3080331"/>
                <a:gd name="connsiteY1040" fmla="*/ 13864 h 634427"/>
                <a:gd name="connsiteX1041" fmla="*/ 2823140 w 3080331"/>
                <a:gd name="connsiteY1041" fmla="*/ 8607 h 634427"/>
                <a:gd name="connsiteX1042" fmla="*/ 2536355 w 3080331"/>
                <a:gd name="connsiteY1042" fmla="*/ 8607 h 634427"/>
                <a:gd name="connsiteX1043" fmla="*/ 2528425 w 3080331"/>
                <a:gd name="connsiteY1043" fmla="*/ 13864 h 634427"/>
                <a:gd name="connsiteX1044" fmla="*/ 2527795 w 3080331"/>
                <a:gd name="connsiteY1044" fmla="*/ 16981 h 634427"/>
                <a:gd name="connsiteX1045" fmla="*/ 2530000 w 3080331"/>
                <a:gd name="connsiteY1045" fmla="*/ 16981 h 634427"/>
                <a:gd name="connsiteX1046" fmla="*/ 2542525 w 3080331"/>
                <a:gd name="connsiteY1046" fmla="*/ 16981 h 634427"/>
                <a:gd name="connsiteX1047" fmla="*/ 2544915 w 3080331"/>
                <a:gd name="connsiteY1047" fmla="*/ 16981 h 634427"/>
                <a:gd name="connsiteX1048" fmla="*/ 2544286 w 3080331"/>
                <a:gd name="connsiteY1048" fmla="*/ 13864 h 634427"/>
                <a:gd name="connsiteX1049" fmla="*/ 2536355 w 3080331"/>
                <a:gd name="connsiteY1049" fmla="*/ 8607 h 634427"/>
                <a:gd name="connsiteX1050" fmla="*/ 2413512 w 3080331"/>
                <a:gd name="connsiteY1050" fmla="*/ 8607 h 634427"/>
                <a:gd name="connsiteX1051" fmla="*/ 2405582 w 3080331"/>
                <a:gd name="connsiteY1051" fmla="*/ 13864 h 634427"/>
                <a:gd name="connsiteX1052" fmla="*/ 2404952 w 3080331"/>
                <a:gd name="connsiteY1052" fmla="*/ 16981 h 634427"/>
                <a:gd name="connsiteX1053" fmla="*/ 2407157 w 3080331"/>
                <a:gd name="connsiteY1053" fmla="*/ 16981 h 634427"/>
                <a:gd name="connsiteX1054" fmla="*/ 2419682 w 3080331"/>
                <a:gd name="connsiteY1054" fmla="*/ 16981 h 634427"/>
                <a:gd name="connsiteX1055" fmla="*/ 2422072 w 3080331"/>
                <a:gd name="connsiteY1055" fmla="*/ 16981 h 634427"/>
                <a:gd name="connsiteX1056" fmla="*/ 2421443 w 3080331"/>
                <a:gd name="connsiteY1056" fmla="*/ 13864 h 634427"/>
                <a:gd name="connsiteX1057" fmla="*/ 2413512 w 3080331"/>
                <a:gd name="connsiteY1057" fmla="*/ 8607 h 634427"/>
                <a:gd name="connsiteX1058" fmla="*/ 2126728 w 3080331"/>
                <a:gd name="connsiteY1058" fmla="*/ 8607 h 634427"/>
                <a:gd name="connsiteX1059" fmla="*/ 2118797 w 3080331"/>
                <a:gd name="connsiteY1059" fmla="*/ 13864 h 634427"/>
                <a:gd name="connsiteX1060" fmla="*/ 2118167 w 3080331"/>
                <a:gd name="connsiteY1060" fmla="*/ 16981 h 634427"/>
                <a:gd name="connsiteX1061" fmla="*/ 2120372 w 3080331"/>
                <a:gd name="connsiteY1061" fmla="*/ 16981 h 634427"/>
                <a:gd name="connsiteX1062" fmla="*/ 2132898 w 3080331"/>
                <a:gd name="connsiteY1062" fmla="*/ 16981 h 634427"/>
                <a:gd name="connsiteX1063" fmla="*/ 2135288 w 3080331"/>
                <a:gd name="connsiteY1063" fmla="*/ 16981 h 634427"/>
                <a:gd name="connsiteX1064" fmla="*/ 2134658 w 3080331"/>
                <a:gd name="connsiteY1064" fmla="*/ 13864 h 634427"/>
                <a:gd name="connsiteX1065" fmla="*/ 2126728 w 3080331"/>
                <a:gd name="connsiteY1065" fmla="*/ 8607 h 634427"/>
                <a:gd name="connsiteX1066" fmla="*/ 2065331 w 3080331"/>
                <a:gd name="connsiteY1066" fmla="*/ 8607 h 634427"/>
                <a:gd name="connsiteX1067" fmla="*/ 2057401 w 3080331"/>
                <a:gd name="connsiteY1067" fmla="*/ 13864 h 634427"/>
                <a:gd name="connsiteX1068" fmla="*/ 2056771 w 3080331"/>
                <a:gd name="connsiteY1068" fmla="*/ 16981 h 634427"/>
                <a:gd name="connsiteX1069" fmla="*/ 2058975 w 3080331"/>
                <a:gd name="connsiteY1069" fmla="*/ 16981 h 634427"/>
                <a:gd name="connsiteX1070" fmla="*/ 2071501 w 3080331"/>
                <a:gd name="connsiteY1070" fmla="*/ 16981 h 634427"/>
                <a:gd name="connsiteX1071" fmla="*/ 2073891 w 3080331"/>
                <a:gd name="connsiteY1071" fmla="*/ 16981 h 634427"/>
                <a:gd name="connsiteX1072" fmla="*/ 2073261 w 3080331"/>
                <a:gd name="connsiteY1072" fmla="*/ 13864 h 634427"/>
                <a:gd name="connsiteX1073" fmla="*/ 2065331 w 3080331"/>
                <a:gd name="connsiteY1073" fmla="*/ 8607 h 634427"/>
                <a:gd name="connsiteX1074" fmla="*/ 1942488 w 3080331"/>
                <a:gd name="connsiteY1074" fmla="*/ 8607 h 634427"/>
                <a:gd name="connsiteX1075" fmla="*/ 1934558 w 3080331"/>
                <a:gd name="connsiteY1075" fmla="*/ 13864 h 634427"/>
                <a:gd name="connsiteX1076" fmla="*/ 1933928 w 3080331"/>
                <a:gd name="connsiteY1076" fmla="*/ 16981 h 634427"/>
                <a:gd name="connsiteX1077" fmla="*/ 1936132 w 3080331"/>
                <a:gd name="connsiteY1077" fmla="*/ 16981 h 634427"/>
                <a:gd name="connsiteX1078" fmla="*/ 1948658 w 3080331"/>
                <a:gd name="connsiteY1078" fmla="*/ 16981 h 634427"/>
                <a:gd name="connsiteX1079" fmla="*/ 1951048 w 3080331"/>
                <a:gd name="connsiteY1079" fmla="*/ 16981 h 634427"/>
                <a:gd name="connsiteX1080" fmla="*/ 1950418 w 3080331"/>
                <a:gd name="connsiteY1080" fmla="*/ 13864 h 634427"/>
                <a:gd name="connsiteX1081" fmla="*/ 1942488 w 3080331"/>
                <a:gd name="connsiteY1081" fmla="*/ 8607 h 634427"/>
                <a:gd name="connsiteX1082" fmla="*/ 1655705 w 3080331"/>
                <a:gd name="connsiteY1082" fmla="*/ 8607 h 634427"/>
                <a:gd name="connsiteX1083" fmla="*/ 1647774 w 3080331"/>
                <a:gd name="connsiteY1083" fmla="*/ 13864 h 634427"/>
                <a:gd name="connsiteX1084" fmla="*/ 1647144 w 3080331"/>
                <a:gd name="connsiteY1084" fmla="*/ 16981 h 634427"/>
                <a:gd name="connsiteX1085" fmla="*/ 1649348 w 3080331"/>
                <a:gd name="connsiteY1085" fmla="*/ 16981 h 634427"/>
                <a:gd name="connsiteX1086" fmla="*/ 1661874 w 3080331"/>
                <a:gd name="connsiteY1086" fmla="*/ 16981 h 634427"/>
                <a:gd name="connsiteX1087" fmla="*/ 1664264 w 3080331"/>
                <a:gd name="connsiteY1087" fmla="*/ 16981 h 634427"/>
                <a:gd name="connsiteX1088" fmla="*/ 1663635 w 3080331"/>
                <a:gd name="connsiteY1088" fmla="*/ 13864 h 634427"/>
                <a:gd name="connsiteX1089" fmla="*/ 1655705 w 3080331"/>
                <a:gd name="connsiteY1089" fmla="*/ 8607 h 634427"/>
                <a:gd name="connsiteX1090" fmla="*/ 1481614 w 3080331"/>
                <a:gd name="connsiteY1090" fmla="*/ 8607 h 634427"/>
                <a:gd name="connsiteX1091" fmla="*/ 1473683 w 3080331"/>
                <a:gd name="connsiteY1091" fmla="*/ 13864 h 634427"/>
                <a:gd name="connsiteX1092" fmla="*/ 1473054 w 3080331"/>
                <a:gd name="connsiteY1092" fmla="*/ 16981 h 634427"/>
                <a:gd name="connsiteX1093" fmla="*/ 1475257 w 3080331"/>
                <a:gd name="connsiteY1093" fmla="*/ 16981 h 634427"/>
                <a:gd name="connsiteX1094" fmla="*/ 1487783 w 3080331"/>
                <a:gd name="connsiteY1094" fmla="*/ 16981 h 634427"/>
                <a:gd name="connsiteX1095" fmla="*/ 1490173 w 3080331"/>
                <a:gd name="connsiteY1095" fmla="*/ 16981 h 634427"/>
                <a:gd name="connsiteX1096" fmla="*/ 1489544 w 3080331"/>
                <a:gd name="connsiteY1096" fmla="*/ 13864 h 634427"/>
                <a:gd name="connsiteX1097" fmla="*/ 1481614 w 3080331"/>
                <a:gd name="connsiteY1097" fmla="*/ 8607 h 634427"/>
                <a:gd name="connsiteX1098" fmla="*/ 1420217 w 3080331"/>
                <a:gd name="connsiteY1098" fmla="*/ 8607 h 634427"/>
                <a:gd name="connsiteX1099" fmla="*/ 1412286 w 3080331"/>
                <a:gd name="connsiteY1099" fmla="*/ 13864 h 634427"/>
                <a:gd name="connsiteX1100" fmla="*/ 1411657 w 3080331"/>
                <a:gd name="connsiteY1100" fmla="*/ 16981 h 634427"/>
                <a:gd name="connsiteX1101" fmla="*/ 1413861 w 3080331"/>
                <a:gd name="connsiteY1101" fmla="*/ 16981 h 634427"/>
                <a:gd name="connsiteX1102" fmla="*/ 1426387 w 3080331"/>
                <a:gd name="connsiteY1102" fmla="*/ 16981 h 634427"/>
                <a:gd name="connsiteX1103" fmla="*/ 1428777 w 3080331"/>
                <a:gd name="connsiteY1103" fmla="*/ 16981 h 634427"/>
                <a:gd name="connsiteX1104" fmla="*/ 1428147 w 3080331"/>
                <a:gd name="connsiteY1104" fmla="*/ 13864 h 634427"/>
                <a:gd name="connsiteX1105" fmla="*/ 1420217 w 3080331"/>
                <a:gd name="connsiteY1105" fmla="*/ 8607 h 634427"/>
                <a:gd name="connsiteX1106" fmla="*/ 1246126 w 3080331"/>
                <a:gd name="connsiteY1106" fmla="*/ 8607 h 634427"/>
                <a:gd name="connsiteX1107" fmla="*/ 1238195 w 3080331"/>
                <a:gd name="connsiteY1107" fmla="*/ 13864 h 634427"/>
                <a:gd name="connsiteX1108" fmla="*/ 1237566 w 3080331"/>
                <a:gd name="connsiteY1108" fmla="*/ 16981 h 634427"/>
                <a:gd name="connsiteX1109" fmla="*/ 1239769 w 3080331"/>
                <a:gd name="connsiteY1109" fmla="*/ 16981 h 634427"/>
                <a:gd name="connsiteX1110" fmla="*/ 1252295 w 3080331"/>
                <a:gd name="connsiteY1110" fmla="*/ 16981 h 634427"/>
                <a:gd name="connsiteX1111" fmla="*/ 1254685 w 3080331"/>
                <a:gd name="connsiteY1111" fmla="*/ 16981 h 634427"/>
                <a:gd name="connsiteX1112" fmla="*/ 1254057 w 3080331"/>
                <a:gd name="connsiteY1112" fmla="*/ 13864 h 634427"/>
                <a:gd name="connsiteX1113" fmla="*/ 1246126 w 3080331"/>
                <a:gd name="connsiteY1113" fmla="*/ 8607 h 634427"/>
                <a:gd name="connsiteX1114" fmla="*/ 1184728 w 3080331"/>
                <a:gd name="connsiteY1114" fmla="*/ 8607 h 634427"/>
                <a:gd name="connsiteX1115" fmla="*/ 1176798 w 3080331"/>
                <a:gd name="connsiteY1115" fmla="*/ 13864 h 634427"/>
                <a:gd name="connsiteX1116" fmla="*/ 1176170 w 3080331"/>
                <a:gd name="connsiteY1116" fmla="*/ 16981 h 634427"/>
                <a:gd name="connsiteX1117" fmla="*/ 1178373 w 3080331"/>
                <a:gd name="connsiteY1117" fmla="*/ 16981 h 634427"/>
                <a:gd name="connsiteX1118" fmla="*/ 1190899 w 3080331"/>
                <a:gd name="connsiteY1118" fmla="*/ 16981 h 634427"/>
                <a:gd name="connsiteX1119" fmla="*/ 1193289 w 3080331"/>
                <a:gd name="connsiteY1119" fmla="*/ 16981 h 634427"/>
                <a:gd name="connsiteX1120" fmla="*/ 1192659 w 3080331"/>
                <a:gd name="connsiteY1120" fmla="*/ 13864 h 634427"/>
                <a:gd name="connsiteX1121" fmla="*/ 1184728 w 3080331"/>
                <a:gd name="connsiteY1121" fmla="*/ 8607 h 634427"/>
                <a:gd name="connsiteX1122" fmla="*/ 1010638 w 3080331"/>
                <a:gd name="connsiteY1122" fmla="*/ 8607 h 634427"/>
                <a:gd name="connsiteX1123" fmla="*/ 1002708 w 3080331"/>
                <a:gd name="connsiteY1123" fmla="*/ 13864 h 634427"/>
                <a:gd name="connsiteX1124" fmla="*/ 1002079 w 3080331"/>
                <a:gd name="connsiteY1124" fmla="*/ 16981 h 634427"/>
                <a:gd name="connsiteX1125" fmla="*/ 1004282 w 3080331"/>
                <a:gd name="connsiteY1125" fmla="*/ 16981 h 634427"/>
                <a:gd name="connsiteX1126" fmla="*/ 1016808 w 3080331"/>
                <a:gd name="connsiteY1126" fmla="*/ 16981 h 634427"/>
                <a:gd name="connsiteX1127" fmla="*/ 1019198 w 3080331"/>
                <a:gd name="connsiteY1127" fmla="*/ 16981 h 634427"/>
                <a:gd name="connsiteX1128" fmla="*/ 1018569 w 3080331"/>
                <a:gd name="connsiteY1128" fmla="*/ 13864 h 634427"/>
                <a:gd name="connsiteX1129" fmla="*/ 1010638 w 3080331"/>
                <a:gd name="connsiteY1129" fmla="*/ 8607 h 634427"/>
                <a:gd name="connsiteX1130" fmla="*/ 723853 w 3080331"/>
                <a:gd name="connsiteY1130" fmla="*/ 8607 h 634427"/>
                <a:gd name="connsiteX1131" fmla="*/ 715923 w 3080331"/>
                <a:gd name="connsiteY1131" fmla="*/ 13864 h 634427"/>
                <a:gd name="connsiteX1132" fmla="*/ 715293 w 3080331"/>
                <a:gd name="connsiteY1132" fmla="*/ 16981 h 634427"/>
                <a:gd name="connsiteX1133" fmla="*/ 717498 w 3080331"/>
                <a:gd name="connsiteY1133" fmla="*/ 16981 h 634427"/>
                <a:gd name="connsiteX1134" fmla="*/ 730024 w 3080331"/>
                <a:gd name="connsiteY1134" fmla="*/ 16981 h 634427"/>
                <a:gd name="connsiteX1135" fmla="*/ 732414 w 3080331"/>
                <a:gd name="connsiteY1135" fmla="*/ 16981 h 634427"/>
                <a:gd name="connsiteX1136" fmla="*/ 731783 w 3080331"/>
                <a:gd name="connsiteY1136" fmla="*/ 13864 h 634427"/>
                <a:gd name="connsiteX1137" fmla="*/ 723853 w 3080331"/>
                <a:gd name="connsiteY1137" fmla="*/ 8607 h 634427"/>
                <a:gd name="connsiteX1138" fmla="*/ 662457 w 3080331"/>
                <a:gd name="connsiteY1138" fmla="*/ 8607 h 634427"/>
                <a:gd name="connsiteX1139" fmla="*/ 654526 w 3080331"/>
                <a:gd name="connsiteY1139" fmla="*/ 13864 h 634427"/>
                <a:gd name="connsiteX1140" fmla="*/ 653897 w 3080331"/>
                <a:gd name="connsiteY1140" fmla="*/ 16981 h 634427"/>
                <a:gd name="connsiteX1141" fmla="*/ 656100 w 3080331"/>
                <a:gd name="connsiteY1141" fmla="*/ 16981 h 634427"/>
                <a:gd name="connsiteX1142" fmla="*/ 668627 w 3080331"/>
                <a:gd name="connsiteY1142" fmla="*/ 16981 h 634427"/>
                <a:gd name="connsiteX1143" fmla="*/ 671016 w 3080331"/>
                <a:gd name="connsiteY1143" fmla="*/ 16981 h 634427"/>
                <a:gd name="connsiteX1144" fmla="*/ 670387 w 3080331"/>
                <a:gd name="connsiteY1144" fmla="*/ 13864 h 634427"/>
                <a:gd name="connsiteX1145" fmla="*/ 662457 w 3080331"/>
                <a:gd name="connsiteY1145" fmla="*/ 8607 h 634427"/>
                <a:gd name="connsiteX1146" fmla="*/ 539613 w 3080331"/>
                <a:gd name="connsiteY1146" fmla="*/ 8607 h 634427"/>
                <a:gd name="connsiteX1147" fmla="*/ 531683 w 3080331"/>
                <a:gd name="connsiteY1147" fmla="*/ 13864 h 634427"/>
                <a:gd name="connsiteX1148" fmla="*/ 531054 w 3080331"/>
                <a:gd name="connsiteY1148" fmla="*/ 16981 h 634427"/>
                <a:gd name="connsiteX1149" fmla="*/ 533257 w 3080331"/>
                <a:gd name="connsiteY1149" fmla="*/ 16981 h 634427"/>
                <a:gd name="connsiteX1150" fmla="*/ 545783 w 3080331"/>
                <a:gd name="connsiteY1150" fmla="*/ 16981 h 634427"/>
                <a:gd name="connsiteX1151" fmla="*/ 548173 w 3080331"/>
                <a:gd name="connsiteY1151" fmla="*/ 16981 h 634427"/>
                <a:gd name="connsiteX1152" fmla="*/ 547544 w 3080331"/>
                <a:gd name="connsiteY1152" fmla="*/ 13864 h 634427"/>
                <a:gd name="connsiteX1153" fmla="*/ 539613 w 3080331"/>
                <a:gd name="connsiteY1153" fmla="*/ 8607 h 634427"/>
                <a:gd name="connsiteX1154" fmla="*/ 252829 w 3080331"/>
                <a:gd name="connsiteY1154" fmla="*/ 8607 h 634427"/>
                <a:gd name="connsiteX1155" fmla="*/ 244898 w 3080331"/>
                <a:gd name="connsiteY1155" fmla="*/ 13864 h 634427"/>
                <a:gd name="connsiteX1156" fmla="*/ 244269 w 3080331"/>
                <a:gd name="connsiteY1156" fmla="*/ 16981 h 634427"/>
                <a:gd name="connsiteX1157" fmla="*/ 246473 w 3080331"/>
                <a:gd name="connsiteY1157" fmla="*/ 16981 h 634427"/>
                <a:gd name="connsiteX1158" fmla="*/ 258999 w 3080331"/>
                <a:gd name="connsiteY1158" fmla="*/ 16981 h 634427"/>
                <a:gd name="connsiteX1159" fmla="*/ 261389 w 3080331"/>
                <a:gd name="connsiteY1159" fmla="*/ 16981 h 634427"/>
                <a:gd name="connsiteX1160" fmla="*/ 260759 w 3080331"/>
                <a:gd name="connsiteY1160" fmla="*/ 13864 h 634427"/>
                <a:gd name="connsiteX1161" fmla="*/ 252829 w 3080331"/>
                <a:gd name="connsiteY1161" fmla="*/ 8607 h 634427"/>
                <a:gd name="connsiteX1162" fmla="*/ 198181 w 3080331"/>
                <a:gd name="connsiteY1162" fmla="*/ 6680 h 634427"/>
                <a:gd name="connsiteX1163" fmla="*/ 200939 w 3080331"/>
                <a:gd name="connsiteY1163" fmla="*/ 6680 h 634427"/>
                <a:gd name="connsiteX1164" fmla="*/ 204065 w 3080331"/>
                <a:gd name="connsiteY1164" fmla="*/ 8335 h 634427"/>
                <a:gd name="connsiteX1165" fmla="*/ 205536 w 3080331"/>
                <a:gd name="connsiteY1165" fmla="*/ 12564 h 634427"/>
                <a:gd name="connsiteX1166" fmla="*/ 205536 w 3080331"/>
                <a:gd name="connsiteY1166" fmla="*/ 12932 h 634427"/>
                <a:gd name="connsiteX1167" fmla="*/ 205536 w 3080331"/>
                <a:gd name="connsiteY1167" fmla="*/ 48976 h 634427"/>
                <a:gd name="connsiteX1168" fmla="*/ 205904 w 3080331"/>
                <a:gd name="connsiteY1168" fmla="*/ 49343 h 634427"/>
                <a:gd name="connsiteX1169" fmla="*/ 210869 w 3080331"/>
                <a:gd name="connsiteY1169" fmla="*/ 49343 h 634427"/>
                <a:gd name="connsiteX1170" fmla="*/ 213628 w 3080331"/>
                <a:gd name="connsiteY1170" fmla="*/ 50079 h 634427"/>
                <a:gd name="connsiteX1171" fmla="*/ 216202 w 3080331"/>
                <a:gd name="connsiteY1171" fmla="*/ 54677 h 634427"/>
                <a:gd name="connsiteX1172" fmla="*/ 214364 w 3080331"/>
                <a:gd name="connsiteY1172" fmla="*/ 58538 h 634427"/>
                <a:gd name="connsiteX1173" fmla="*/ 211605 w 3080331"/>
                <a:gd name="connsiteY1173" fmla="*/ 59825 h 634427"/>
                <a:gd name="connsiteX1174" fmla="*/ 211422 w 3080331"/>
                <a:gd name="connsiteY1174" fmla="*/ 59825 h 634427"/>
                <a:gd name="connsiteX1175" fmla="*/ 211237 w 3080331"/>
                <a:gd name="connsiteY1175" fmla="*/ 59825 h 634427"/>
                <a:gd name="connsiteX1176" fmla="*/ 210869 w 3080331"/>
                <a:gd name="connsiteY1176" fmla="*/ 59825 h 634427"/>
                <a:gd name="connsiteX1177" fmla="*/ 188986 w 3080331"/>
                <a:gd name="connsiteY1177" fmla="*/ 59825 h 634427"/>
                <a:gd name="connsiteX1178" fmla="*/ 188619 w 3080331"/>
                <a:gd name="connsiteY1178" fmla="*/ 59825 h 634427"/>
                <a:gd name="connsiteX1179" fmla="*/ 188067 w 3080331"/>
                <a:gd name="connsiteY1179" fmla="*/ 59825 h 634427"/>
                <a:gd name="connsiteX1180" fmla="*/ 187515 w 3080331"/>
                <a:gd name="connsiteY1180" fmla="*/ 59642 h 634427"/>
                <a:gd name="connsiteX1181" fmla="*/ 185124 w 3080331"/>
                <a:gd name="connsiteY1181" fmla="*/ 58354 h 634427"/>
                <a:gd name="connsiteX1182" fmla="*/ 183470 w 3080331"/>
                <a:gd name="connsiteY1182" fmla="*/ 54492 h 634427"/>
                <a:gd name="connsiteX1183" fmla="*/ 184941 w 3080331"/>
                <a:gd name="connsiteY1183" fmla="*/ 50999 h 634427"/>
                <a:gd name="connsiteX1184" fmla="*/ 188803 w 3080331"/>
                <a:gd name="connsiteY1184" fmla="*/ 49343 h 634427"/>
                <a:gd name="connsiteX1185" fmla="*/ 194135 w 3080331"/>
                <a:gd name="connsiteY1185" fmla="*/ 49343 h 634427"/>
                <a:gd name="connsiteX1186" fmla="*/ 194503 w 3080331"/>
                <a:gd name="connsiteY1186" fmla="*/ 48976 h 634427"/>
                <a:gd name="connsiteX1187" fmla="*/ 194503 w 3080331"/>
                <a:gd name="connsiteY1187" fmla="*/ 17714 h 634427"/>
                <a:gd name="connsiteX1188" fmla="*/ 194135 w 3080331"/>
                <a:gd name="connsiteY1188" fmla="*/ 17346 h 634427"/>
                <a:gd name="connsiteX1189" fmla="*/ 190090 w 3080331"/>
                <a:gd name="connsiteY1189" fmla="*/ 17346 h 634427"/>
                <a:gd name="connsiteX1190" fmla="*/ 185124 w 3080331"/>
                <a:gd name="connsiteY1190" fmla="*/ 14220 h 634427"/>
                <a:gd name="connsiteX1191" fmla="*/ 184941 w 3080331"/>
                <a:gd name="connsiteY1191" fmla="*/ 10358 h 634427"/>
                <a:gd name="connsiteX1192" fmla="*/ 189906 w 3080331"/>
                <a:gd name="connsiteY1192" fmla="*/ 6864 h 634427"/>
                <a:gd name="connsiteX1193" fmla="*/ 198181 w 3080331"/>
                <a:gd name="connsiteY1193" fmla="*/ 6680 h 634427"/>
                <a:gd name="connsiteX1194" fmla="*/ 141672 w 3080331"/>
                <a:gd name="connsiteY1194" fmla="*/ 6633 h 634427"/>
                <a:gd name="connsiteX1195" fmla="*/ 150031 w 3080331"/>
                <a:gd name="connsiteY1195" fmla="*/ 8104 h 634427"/>
                <a:gd name="connsiteX1196" fmla="*/ 155046 w 3080331"/>
                <a:gd name="connsiteY1196" fmla="*/ 11231 h 634427"/>
                <a:gd name="connsiteX1197" fmla="*/ 157386 w 3080331"/>
                <a:gd name="connsiteY1197" fmla="*/ 13437 h 634427"/>
                <a:gd name="connsiteX1198" fmla="*/ 159727 w 3080331"/>
                <a:gd name="connsiteY1198" fmla="*/ 16380 h 634427"/>
                <a:gd name="connsiteX1199" fmla="*/ 161064 w 3080331"/>
                <a:gd name="connsiteY1199" fmla="*/ 18770 h 634427"/>
                <a:gd name="connsiteX1200" fmla="*/ 162569 w 3080331"/>
                <a:gd name="connsiteY1200" fmla="*/ 22448 h 634427"/>
                <a:gd name="connsiteX1201" fmla="*/ 163237 w 3080331"/>
                <a:gd name="connsiteY1201" fmla="*/ 24839 h 634427"/>
                <a:gd name="connsiteX1202" fmla="*/ 163906 w 3080331"/>
                <a:gd name="connsiteY1202" fmla="*/ 28332 h 634427"/>
                <a:gd name="connsiteX1203" fmla="*/ 163739 w 3080331"/>
                <a:gd name="connsiteY1203" fmla="*/ 38079 h 634427"/>
                <a:gd name="connsiteX1204" fmla="*/ 163071 w 3080331"/>
                <a:gd name="connsiteY1204" fmla="*/ 41389 h 634427"/>
                <a:gd name="connsiteX1205" fmla="*/ 162234 w 3080331"/>
                <a:gd name="connsiteY1205" fmla="*/ 43964 h 634427"/>
                <a:gd name="connsiteX1206" fmla="*/ 161566 w 3080331"/>
                <a:gd name="connsiteY1206" fmla="*/ 45619 h 634427"/>
                <a:gd name="connsiteX1207" fmla="*/ 160061 w 3080331"/>
                <a:gd name="connsiteY1207" fmla="*/ 48561 h 634427"/>
                <a:gd name="connsiteX1208" fmla="*/ 158557 w 3080331"/>
                <a:gd name="connsiteY1208" fmla="*/ 50767 h 634427"/>
                <a:gd name="connsiteX1209" fmla="*/ 156216 w 3080331"/>
                <a:gd name="connsiteY1209" fmla="*/ 53342 h 634427"/>
                <a:gd name="connsiteX1210" fmla="*/ 154043 w 3080331"/>
                <a:gd name="connsiteY1210" fmla="*/ 55181 h 634427"/>
                <a:gd name="connsiteX1211" fmla="*/ 150198 w 3080331"/>
                <a:gd name="connsiteY1211" fmla="*/ 57388 h 634427"/>
                <a:gd name="connsiteX1212" fmla="*/ 144848 w 3080331"/>
                <a:gd name="connsiteY1212" fmla="*/ 58859 h 634427"/>
                <a:gd name="connsiteX1213" fmla="*/ 144012 w 3080331"/>
                <a:gd name="connsiteY1213" fmla="*/ 59043 h 634427"/>
                <a:gd name="connsiteX1214" fmla="*/ 141170 w 3080331"/>
                <a:gd name="connsiteY1214" fmla="*/ 59043 h 634427"/>
                <a:gd name="connsiteX1215" fmla="*/ 141003 w 3080331"/>
                <a:gd name="connsiteY1215" fmla="*/ 59043 h 634427"/>
                <a:gd name="connsiteX1216" fmla="*/ 132143 w 3080331"/>
                <a:gd name="connsiteY1216" fmla="*/ 55733 h 634427"/>
                <a:gd name="connsiteX1217" fmla="*/ 128966 w 3080331"/>
                <a:gd name="connsiteY1217" fmla="*/ 52974 h 634427"/>
                <a:gd name="connsiteX1218" fmla="*/ 126793 w 3080331"/>
                <a:gd name="connsiteY1218" fmla="*/ 50400 h 634427"/>
                <a:gd name="connsiteX1219" fmla="*/ 125288 w 3080331"/>
                <a:gd name="connsiteY1219" fmla="*/ 48009 h 634427"/>
                <a:gd name="connsiteX1220" fmla="*/ 123784 w 3080331"/>
                <a:gd name="connsiteY1220" fmla="*/ 45067 h 634427"/>
                <a:gd name="connsiteX1221" fmla="*/ 122948 w 3080331"/>
                <a:gd name="connsiteY1221" fmla="*/ 43044 h 634427"/>
                <a:gd name="connsiteX1222" fmla="*/ 122279 w 3080331"/>
                <a:gd name="connsiteY1222" fmla="*/ 40837 h 634427"/>
                <a:gd name="connsiteX1223" fmla="*/ 121443 w 3080331"/>
                <a:gd name="connsiteY1223" fmla="*/ 36976 h 634427"/>
                <a:gd name="connsiteX1224" fmla="*/ 121276 w 3080331"/>
                <a:gd name="connsiteY1224" fmla="*/ 34953 h 634427"/>
                <a:gd name="connsiteX1225" fmla="*/ 121443 w 3080331"/>
                <a:gd name="connsiteY1225" fmla="*/ 35136 h 634427"/>
                <a:gd name="connsiteX1226" fmla="*/ 121443 w 3080331"/>
                <a:gd name="connsiteY1226" fmla="*/ 31275 h 634427"/>
                <a:gd name="connsiteX1227" fmla="*/ 121443 w 3080331"/>
                <a:gd name="connsiteY1227" fmla="*/ 31091 h 634427"/>
                <a:gd name="connsiteX1228" fmla="*/ 121777 w 3080331"/>
                <a:gd name="connsiteY1228" fmla="*/ 27964 h 634427"/>
                <a:gd name="connsiteX1229" fmla="*/ 122613 w 3080331"/>
                <a:gd name="connsiteY1229" fmla="*/ 24287 h 634427"/>
                <a:gd name="connsiteX1230" fmla="*/ 123282 w 3080331"/>
                <a:gd name="connsiteY1230" fmla="*/ 22080 h 634427"/>
                <a:gd name="connsiteX1231" fmla="*/ 124786 w 3080331"/>
                <a:gd name="connsiteY1231" fmla="*/ 18586 h 634427"/>
                <a:gd name="connsiteX1232" fmla="*/ 126291 w 3080331"/>
                <a:gd name="connsiteY1232" fmla="*/ 16012 h 634427"/>
                <a:gd name="connsiteX1233" fmla="*/ 127796 w 3080331"/>
                <a:gd name="connsiteY1233" fmla="*/ 13988 h 634427"/>
                <a:gd name="connsiteX1234" fmla="*/ 129300 w 3080331"/>
                <a:gd name="connsiteY1234" fmla="*/ 12334 h 634427"/>
                <a:gd name="connsiteX1235" fmla="*/ 132477 w 3080331"/>
                <a:gd name="connsiteY1235" fmla="*/ 9759 h 634427"/>
                <a:gd name="connsiteX1236" fmla="*/ 135152 w 3080331"/>
                <a:gd name="connsiteY1236" fmla="*/ 8288 h 634427"/>
                <a:gd name="connsiteX1237" fmla="*/ 141672 w 3080331"/>
                <a:gd name="connsiteY1237" fmla="*/ 6633 h 634427"/>
                <a:gd name="connsiteX1238" fmla="*/ 3062310 w 3080331"/>
                <a:gd name="connsiteY1238" fmla="*/ 5642 h 634427"/>
                <a:gd name="connsiteX1239" fmla="*/ 3065068 w 3080331"/>
                <a:gd name="connsiteY1239" fmla="*/ 5642 h 634427"/>
                <a:gd name="connsiteX1240" fmla="*/ 3068194 w 3080331"/>
                <a:gd name="connsiteY1240" fmla="*/ 7297 h 634427"/>
                <a:gd name="connsiteX1241" fmla="*/ 3069665 w 3080331"/>
                <a:gd name="connsiteY1241" fmla="*/ 11526 h 634427"/>
                <a:gd name="connsiteX1242" fmla="*/ 3069665 w 3080331"/>
                <a:gd name="connsiteY1242" fmla="*/ 11894 h 634427"/>
                <a:gd name="connsiteX1243" fmla="*/ 3069665 w 3080331"/>
                <a:gd name="connsiteY1243" fmla="*/ 47937 h 634427"/>
                <a:gd name="connsiteX1244" fmla="*/ 3070033 w 3080331"/>
                <a:gd name="connsiteY1244" fmla="*/ 48305 h 634427"/>
                <a:gd name="connsiteX1245" fmla="*/ 3074998 w 3080331"/>
                <a:gd name="connsiteY1245" fmla="*/ 48305 h 634427"/>
                <a:gd name="connsiteX1246" fmla="*/ 3077757 w 3080331"/>
                <a:gd name="connsiteY1246" fmla="*/ 49041 h 634427"/>
                <a:gd name="connsiteX1247" fmla="*/ 3080331 w 3080331"/>
                <a:gd name="connsiteY1247" fmla="*/ 53638 h 634427"/>
                <a:gd name="connsiteX1248" fmla="*/ 3078493 w 3080331"/>
                <a:gd name="connsiteY1248" fmla="*/ 57500 h 634427"/>
                <a:gd name="connsiteX1249" fmla="*/ 3075734 w 3080331"/>
                <a:gd name="connsiteY1249" fmla="*/ 58787 h 634427"/>
                <a:gd name="connsiteX1250" fmla="*/ 3075550 w 3080331"/>
                <a:gd name="connsiteY1250" fmla="*/ 58787 h 634427"/>
                <a:gd name="connsiteX1251" fmla="*/ 3075366 w 3080331"/>
                <a:gd name="connsiteY1251" fmla="*/ 58787 h 634427"/>
                <a:gd name="connsiteX1252" fmla="*/ 3074998 w 3080331"/>
                <a:gd name="connsiteY1252" fmla="*/ 58787 h 634427"/>
                <a:gd name="connsiteX1253" fmla="*/ 3053115 w 3080331"/>
                <a:gd name="connsiteY1253" fmla="*/ 58787 h 634427"/>
                <a:gd name="connsiteX1254" fmla="*/ 3052748 w 3080331"/>
                <a:gd name="connsiteY1254" fmla="*/ 58787 h 634427"/>
                <a:gd name="connsiteX1255" fmla="*/ 3052196 w 3080331"/>
                <a:gd name="connsiteY1255" fmla="*/ 58787 h 634427"/>
                <a:gd name="connsiteX1256" fmla="*/ 3051644 w 3080331"/>
                <a:gd name="connsiteY1256" fmla="*/ 58603 h 634427"/>
                <a:gd name="connsiteX1257" fmla="*/ 3049253 w 3080331"/>
                <a:gd name="connsiteY1257" fmla="*/ 57316 h 634427"/>
                <a:gd name="connsiteX1258" fmla="*/ 3047599 w 3080331"/>
                <a:gd name="connsiteY1258" fmla="*/ 53454 h 634427"/>
                <a:gd name="connsiteX1259" fmla="*/ 3049070 w 3080331"/>
                <a:gd name="connsiteY1259" fmla="*/ 49960 h 634427"/>
                <a:gd name="connsiteX1260" fmla="*/ 3052931 w 3080331"/>
                <a:gd name="connsiteY1260" fmla="*/ 48305 h 634427"/>
                <a:gd name="connsiteX1261" fmla="*/ 3058264 w 3080331"/>
                <a:gd name="connsiteY1261" fmla="*/ 48305 h 634427"/>
                <a:gd name="connsiteX1262" fmla="*/ 3058632 w 3080331"/>
                <a:gd name="connsiteY1262" fmla="*/ 47937 h 634427"/>
                <a:gd name="connsiteX1263" fmla="*/ 3058632 w 3080331"/>
                <a:gd name="connsiteY1263" fmla="*/ 16676 h 634427"/>
                <a:gd name="connsiteX1264" fmla="*/ 3058264 w 3080331"/>
                <a:gd name="connsiteY1264" fmla="*/ 16308 h 634427"/>
                <a:gd name="connsiteX1265" fmla="*/ 3054219 w 3080331"/>
                <a:gd name="connsiteY1265" fmla="*/ 16308 h 634427"/>
                <a:gd name="connsiteX1266" fmla="*/ 3049253 w 3080331"/>
                <a:gd name="connsiteY1266" fmla="*/ 13182 h 634427"/>
                <a:gd name="connsiteX1267" fmla="*/ 3049070 w 3080331"/>
                <a:gd name="connsiteY1267" fmla="*/ 9319 h 634427"/>
                <a:gd name="connsiteX1268" fmla="*/ 3054035 w 3080331"/>
                <a:gd name="connsiteY1268" fmla="*/ 5825 h 634427"/>
                <a:gd name="connsiteX1269" fmla="*/ 3062310 w 3080331"/>
                <a:gd name="connsiteY1269" fmla="*/ 5642 h 634427"/>
                <a:gd name="connsiteX1270" fmla="*/ 2703992 w 3080331"/>
                <a:gd name="connsiteY1270" fmla="*/ 5642 h 634427"/>
                <a:gd name="connsiteX1271" fmla="*/ 2706751 w 3080331"/>
                <a:gd name="connsiteY1271" fmla="*/ 5642 h 634427"/>
                <a:gd name="connsiteX1272" fmla="*/ 2709877 w 3080331"/>
                <a:gd name="connsiteY1272" fmla="*/ 7297 h 634427"/>
                <a:gd name="connsiteX1273" fmla="*/ 2711348 w 3080331"/>
                <a:gd name="connsiteY1273" fmla="*/ 11526 h 634427"/>
                <a:gd name="connsiteX1274" fmla="*/ 2711348 w 3080331"/>
                <a:gd name="connsiteY1274" fmla="*/ 11894 h 634427"/>
                <a:gd name="connsiteX1275" fmla="*/ 2711348 w 3080331"/>
                <a:gd name="connsiteY1275" fmla="*/ 47937 h 634427"/>
                <a:gd name="connsiteX1276" fmla="*/ 2711716 w 3080331"/>
                <a:gd name="connsiteY1276" fmla="*/ 48305 h 634427"/>
                <a:gd name="connsiteX1277" fmla="*/ 2716681 w 3080331"/>
                <a:gd name="connsiteY1277" fmla="*/ 48305 h 634427"/>
                <a:gd name="connsiteX1278" fmla="*/ 2719439 w 3080331"/>
                <a:gd name="connsiteY1278" fmla="*/ 49041 h 634427"/>
                <a:gd name="connsiteX1279" fmla="*/ 2722014 w 3080331"/>
                <a:gd name="connsiteY1279" fmla="*/ 53638 h 634427"/>
                <a:gd name="connsiteX1280" fmla="*/ 2720175 w 3080331"/>
                <a:gd name="connsiteY1280" fmla="*/ 57500 h 634427"/>
                <a:gd name="connsiteX1281" fmla="*/ 2717417 w 3080331"/>
                <a:gd name="connsiteY1281" fmla="*/ 58787 h 634427"/>
                <a:gd name="connsiteX1282" fmla="*/ 2717232 w 3080331"/>
                <a:gd name="connsiteY1282" fmla="*/ 58787 h 634427"/>
                <a:gd name="connsiteX1283" fmla="*/ 2717049 w 3080331"/>
                <a:gd name="connsiteY1283" fmla="*/ 58787 h 634427"/>
                <a:gd name="connsiteX1284" fmla="*/ 2716681 w 3080331"/>
                <a:gd name="connsiteY1284" fmla="*/ 58787 h 634427"/>
                <a:gd name="connsiteX1285" fmla="*/ 2694798 w 3080331"/>
                <a:gd name="connsiteY1285" fmla="*/ 58787 h 634427"/>
                <a:gd name="connsiteX1286" fmla="*/ 2694430 w 3080331"/>
                <a:gd name="connsiteY1286" fmla="*/ 58787 h 634427"/>
                <a:gd name="connsiteX1287" fmla="*/ 2693878 w 3080331"/>
                <a:gd name="connsiteY1287" fmla="*/ 58787 h 634427"/>
                <a:gd name="connsiteX1288" fmla="*/ 2693327 w 3080331"/>
                <a:gd name="connsiteY1288" fmla="*/ 58603 h 634427"/>
                <a:gd name="connsiteX1289" fmla="*/ 2690936 w 3080331"/>
                <a:gd name="connsiteY1289" fmla="*/ 57316 h 634427"/>
                <a:gd name="connsiteX1290" fmla="*/ 2689281 w 3080331"/>
                <a:gd name="connsiteY1290" fmla="*/ 53454 h 634427"/>
                <a:gd name="connsiteX1291" fmla="*/ 2690752 w 3080331"/>
                <a:gd name="connsiteY1291" fmla="*/ 49960 h 634427"/>
                <a:gd name="connsiteX1292" fmla="*/ 2694614 w 3080331"/>
                <a:gd name="connsiteY1292" fmla="*/ 48305 h 634427"/>
                <a:gd name="connsiteX1293" fmla="*/ 2699947 w 3080331"/>
                <a:gd name="connsiteY1293" fmla="*/ 48305 h 634427"/>
                <a:gd name="connsiteX1294" fmla="*/ 2700315 w 3080331"/>
                <a:gd name="connsiteY1294" fmla="*/ 47937 h 634427"/>
                <a:gd name="connsiteX1295" fmla="*/ 2700315 w 3080331"/>
                <a:gd name="connsiteY1295" fmla="*/ 16676 h 634427"/>
                <a:gd name="connsiteX1296" fmla="*/ 2699947 w 3080331"/>
                <a:gd name="connsiteY1296" fmla="*/ 16308 h 634427"/>
                <a:gd name="connsiteX1297" fmla="*/ 2695901 w 3080331"/>
                <a:gd name="connsiteY1297" fmla="*/ 16308 h 634427"/>
                <a:gd name="connsiteX1298" fmla="*/ 2690936 w 3080331"/>
                <a:gd name="connsiteY1298" fmla="*/ 13182 h 634427"/>
                <a:gd name="connsiteX1299" fmla="*/ 2690752 w 3080331"/>
                <a:gd name="connsiteY1299" fmla="*/ 9319 h 634427"/>
                <a:gd name="connsiteX1300" fmla="*/ 2695717 w 3080331"/>
                <a:gd name="connsiteY1300" fmla="*/ 5825 h 634427"/>
                <a:gd name="connsiteX1301" fmla="*/ 2703992 w 3080331"/>
                <a:gd name="connsiteY1301" fmla="*/ 5642 h 634427"/>
                <a:gd name="connsiteX1302" fmla="*/ 2652745 w 3080331"/>
                <a:gd name="connsiteY1302" fmla="*/ 5642 h 634427"/>
                <a:gd name="connsiteX1303" fmla="*/ 2655503 w 3080331"/>
                <a:gd name="connsiteY1303" fmla="*/ 5642 h 634427"/>
                <a:gd name="connsiteX1304" fmla="*/ 2658629 w 3080331"/>
                <a:gd name="connsiteY1304" fmla="*/ 7297 h 634427"/>
                <a:gd name="connsiteX1305" fmla="*/ 2660100 w 3080331"/>
                <a:gd name="connsiteY1305" fmla="*/ 11526 h 634427"/>
                <a:gd name="connsiteX1306" fmla="*/ 2660100 w 3080331"/>
                <a:gd name="connsiteY1306" fmla="*/ 11894 h 634427"/>
                <a:gd name="connsiteX1307" fmla="*/ 2660100 w 3080331"/>
                <a:gd name="connsiteY1307" fmla="*/ 47937 h 634427"/>
                <a:gd name="connsiteX1308" fmla="*/ 2660468 w 3080331"/>
                <a:gd name="connsiteY1308" fmla="*/ 48305 h 634427"/>
                <a:gd name="connsiteX1309" fmla="*/ 2665433 w 3080331"/>
                <a:gd name="connsiteY1309" fmla="*/ 48305 h 634427"/>
                <a:gd name="connsiteX1310" fmla="*/ 2668192 w 3080331"/>
                <a:gd name="connsiteY1310" fmla="*/ 49041 h 634427"/>
                <a:gd name="connsiteX1311" fmla="*/ 2670766 w 3080331"/>
                <a:gd name="connsiteY1311" fmla="*/ 53638 h 634427"/>
                <a:gd name="connsiteX1312" fmla="*/ 2668928 w 3080331"/>
                <a:gd name="connsiteY1312" fmla="*/ 57500 h 634427"/>
                <a:gd name="connsiteX1313" fmla="*/ 2666169 w 3080331"/>
                <a:gd name="connsiteY1313" fmla="*/ 58787 h 634427"/>
                <a:gd name="connsiteX1314" fmla="*/ 2665985 w 3080331"/>
                <a:gd name="connsiteY1314" fmla="*/ 58787 h 634427"/>
                <a:gd name="connsiteX1315" fmla="*/ 2665801 w 3080331"/>
                <a:gd name="connsiteY1315" fmla="*/ 58787 h 634427"/>
                <a:gd name="connsiteX1316" fmla="*/ 2665433 w 3080331"/>
                <a:gd name="connsiteY1316" fmla="*/ 58787 h 634427"/>
                <a:gd name="connsiteX1317" fmla="*/ 2643550 w 3080331"/>
                <a:gd name="connsiteY1317" fmla="*/ 58787 h 634427"/>
                <a:gd name="connsiteX1318" fmla="*/ 2643182 w 3080331"/>
                <a:gd name="connsiteY1318" fmla="*/ 58787 h 634427"/>
                <a:gd name="connsiteX1319" fmla="*/ 2642630 w 3080331"/>
                <a:gd name="connsiteY1319" fmla="*/ 58787 h 634427"/>
                <a:gd name="connsiteX1320" fmla="*/ 2642079 w 3080331"/>
                <a:gd name="connsiteY1320" fmla="*/ 58603 h 634427"/>
                <a:gd name="connsiteX1321" fmla="*/ 2639688 w 3080331"/>
                <a:gd name="connsiteY1321" fmla="*/ 57316 h 634427"/>
                <a:gd name="connsiteX1322" fmla="*/ 2638033 w 3080331"/>
                <a:gd name="connsiteY1322" fmla="*/ 53454 h 634427"/>
                <a:gd name="connsiteX1323" fmla="*/ 2639504 w 3080331"/>
                <a:gd name="connsiteY1323" fmla="*/ 49960 h 634427"/>
                <a:gd name="connsiteX1324" fmla="*/ 2643366 w 3080331"/>
                <a:gd name="connsiteY1324" fmla="*/ 48305 h 634427"/>
                <a:gd name="connsiteX1325" fmla="*/ 2648699 w 3080331"/>
                <a:gd name="connsiteY1325" fmla="*/ 48305 h 634427"/>
                <a:gd name="connsiteX1326" fmla="*/ 2649067 w 3080331"/>
                <a:gd name="connsiteY1326" fmla="*/ 47937 h 634427"/>
                <a:gd name="connsiteX1327" fmla="*/ 2649067 w 3080331"/>
                <a:gd name="connsiteY1327" fmla="*/ 16676 h 634427"/>
                <a:gd name="connsiteX1328" fmla="*/ 2648699 w 3080331"/>
                <a:gd name="connsiteY1328" fmla="*/ 16308 h 634427"/>
                <a:gd name="connsiteX1329" fmla="*/ 2644653 w 3080331"/>
                <a:gd name="connsiteY1329" fmla="*/ 16308 h 634427"/>
                <a:gd name="connsiteX1330" fmla="*/ 2639688 w 3080331"/>
                <a:gd name="connsiteY1330" fmla="*/ 13182 h 634427"/>
                <a:gd name="connsiteX1331" fmla="*/ 2639504 w 3080331"/>
                <a:gd name="connsiteY1331" fmla="*/ 9319 h 634427"/>
                <a:gd name="connsiteX1332" fmla="*/ 2644469 w 3080331"/>
                <a:gd name="connsiteY1332" fmla="*/ 5825 h 634427"/>
                <a:gd name="connsiteX1333" fmla="*/ 2652745 w 3080331"/>
                <a:gd name="connsiteY1333" fmla="*/ 5642 h 634427"/>
                <a:gd name="connsiteX1334" fmla="*/ 2294365 w 3080331"/>
                <a:gd name="connsiteY1334" fmla="*/ 5642 h 634427"/>
                <a:gd name="connsiteX1335" fmla="*/ 2297123 w 3080331"/>
                <a:gd name="connsiteY1335" fmla="*/ 5642 h 634427"/>
                <a:gd name="connsiteX1336" fmla="*/ 2300249 w 3080331"/>
                <a:gd name="connsiteY1336" fmla="*/ 7297 h 634427"/>
                <a:gd name="connsiteX1337" fmla="*/ 2301720 w 3080331"/>
                <a:gd name="connsiteY1337" fmla="*/ 11526 h 634427"/>
                <a:gd name="connsiteX1338" fmla="*/ 2301720 w 3080331"/>
                <a:gd name="connsiteY1338" fmla="*/ 11894 h 634427"/>
                <a:gd name="connsiteX1339" fmla="*/ 2301720 w 3080331"/>
                <a:gd name="connsiteY1339" fmla="*/ 47937 h 634427"/>
                <a:gd name="connsiteX1340" fmla="*/ 2302088 w 3080331"/>
                <a:gd name="connsiteY1340" fmla="*/ 48305 h 634427"/>
                <a:gd name="connsiteX1341" fmla="*/ 2307053 w 3080331"/>
                <a:gd name="connsiteY1341" fmla="*/ 48305 h 634427"/>
                <a:gd name="connsiteX1342" fmla="*/ 2309812 w 3080331"/>
                <a:gd name="connsiteY1342" fmla="*/ 49041 h 634427"/>
                <a:gd name="connsiteX1343" fmla="*/ 2312386 w 3080331"/>
                <a:gd name="connsiteY1343" fmla="*/ 53638 h 634427"/>
                <a:gd name="connsiteX1344" fmla="*/ 2310548 w 3080331"/>
                <a:gd name="connsiteY1344" fmla="*/ 57500 h 634427"/>
                <a:gd name="connsiteX1345" fmla="*/ 2307789 w 3080331"/>
                <a:gd name="connsiteY1345" fmla="*/ 58787 h 634427"/>
                <a:gd name="connsiteX1346" fmla="*/ 2307605 w 3080331"/>
                <a:gd name="connsiteY1346" fmla="*/ 58787 h 634427"/>
                <a:gd name="connsiteX1347" fmla="*/ 2307421 w 3080331"/>
                <a:gd name="connsiteY1347" fmla="*/ 58787 h 634427"/>
                <a:gd name="connsiteX1348" fmla="*/ 2307053 w 3080331"/>
                <a:gd name="connsiteY1348" fmla="*/ 58787 h 634427"/>
                <a:gd name="connsiteX1349" fmla="*/ 2285170 w 3080331"/>
                <a:gd name="connsiteY1349" fmla="*/ 58787 h 634427"/>
                <a:gd name="connsiteX1350" fmla="*/ 2284802 w 3080331"/>
                <a:gd name="connsiteY1350" fmla="*/ 58787 h 634427"/>
                <a:gd name="connsiteX1351" fmla="*/ 2284250 w 3080331"/>
                <a:gd name="connsiteY1351" fmla="*/ 58787 h 634427"/>
                <a:gd name="connsiteX1352" fmla="*/ 2283699 w 3080331"/>
                <a:gd name="connsiteY1352" fmla="*/ 58603 h 634427"/>
                <a:gd name="connsiteX1353" fmla="*/ 2281308 w 3080331"/>
                <a:gd name="connsiteY1353" fmla="*/ 57316 h 634427"/>
                <a:gd name="connsiteX1354" fmla="*/ 2279653 w 3080331"/>
                <a:gd name="connsiteY1354" fmla="*/ 53454 h 634427"/>
                <a:gd name="connsiteX1355" fmla="*/ 2281125 w 3080331"/>
                <a:gd name="connsiteY1355" fmla="*/ 49960 h 634427"/>
                <a:gd name="connsiteX1356" fmla="*/ 2284986 w 3080331"/>
                <a:gd name="connsiteY1356" fmla="*/ 48305 h 634427"/>
                <a:gd name="connsiteX1357" fmla="*/ 2290319 w 3080331"/>
                <a:gd name="connsiteY1357" fmla="*/ 48305 h 634427"/>
                <a:gd name="connsiteX1358" fmla="*/ 2290687 w 3080331"/>
                <a:gd name="connsiteY1358" fmla="*/ 47937 h 634427"/>
                <a:gd name="connsiteX1359" fmla="*/ 2290687 w 3080331"/>
                <a:gd name="connsiteY1359" fmla="*/ 16676 h 634427"/>
                <a:gd name="connsiteX1360" fmla="*/ 2290319 w 3080331"/>
                <a:gd name="connsiteY1360" fmla="*/ 16308 h 634427"/>
                <a:gd name="connsiteX1361" fmla="*/ 2286274 w 3080331"/>
                <a:gd name="connsiteY1361" fmla="*/ 16308 h 634427"/>
                <a:gd name="connsiteX1362" fmla="*/ 2281308 w 3080331"/>
                <a:gd name="connsiteY1362" fmla="*/ 13182 h 634427"/>
                <a:gd name="connsiteX1363" fmla="*/ 2281125 w 3080331"/>
                <a:gd name="connsiteY1363" fmla="*/ 9319 h 634427"/>
                <a:gd name="connsiteX1364" fmla="*/ 2286089 w 3080331"/>
                <a:gd name="connsiteY1364" fmla="*/ 5825 h 634427"/>
                <a:gd name="connsiteX1365" fmla="*/ 2294365 w 3080331"/>
                <a:gd name="connsiteY1365" fmla="*/ 5642 h 634427"/>
                <a:gd name="connsiteX1366" fmla="*/ 2181671 w 3080331"/>
                <a:gd name="connsiteY1366" fmla="*/ 5642 h 634427"/>
                <a:gd name="connsiteX1367" fmla="*/ 2184429 w 3080331"/>
                <a:gd name="connsiteY1367" fmla="*/ 5642 h 634427"/>
                <a:gd name="connsiteX1368" fmla="*/ 2187555 w 3080331"/>
                <a:gd name="connsiteY1368" fmla="*/ 7297 h 634427"/>
                <a:gd name="connsiteX1369" fmla="*/ 2189026 w 3080331"/>
                <a:gd name="connsiteY1369" fmla="*/ 11526 h 634427"/>
                <a:gd name="connsiteX1370" fmla="*/ 2189026 w 3080331"/>
                <a:gd name="connsiteY1370" fmla="*/ 11894 h 634427"/>
                <a:gd name="connsiteX1371" fmla="*/ 2189026 w 3080331"/>
                <a:gd name="connsiteY1371" fmla="*/ 47937 h 634427"/>
                <a:gd name="connsiteX1372" fmla="*/ 2189394 w 3080331"/>
                <a:gd name="connsiteY1372" fmla="*/ 48305 h 634427"/>
                <a:gd name="connsiteX1373" fmla="*/ 2194359 w 3080331"/>
                <a:gd name="connsiteY1373" fmla="*/ 48305 h 634427"/>
                <a:gd name="connsiteX1374" fmla="*/ 2197118 w 3080331"/>
                <a:gd name="connsiteY1374" fmla="*/ 49041 h 634427"/>
                <a:gd name="connsiteX1375" fmla="*/ 2199692 w 3080331"/>
                <a:gd name="connsiteY1375" fmla="*/ 53638 h 634427"/>
                <a:gd name="connsiteX1376" fmla="*/ 2197854 w 3080331"/>
                <a:gd name="connsiteY1376" fmla="*/ 57500 h 634427"/>
                <a:gd name="connsiteX1377" fmla="*/ 2195095 w 3080331"/>
                <a:gd name="connsiteY1377" fmla="*/ 58787 h 634427"/>
                <a:gd name="connsiteX1378" fmla="*/ 2194911 w 3080331"/>
                <a:gd name="connsiteY1378" fmla="*/ 58787 h 634427"/>
                <a:gd name="connsiteX1379" fmla="*/ 2194727 w 3080331"/>
                <a:gd name="connsiteY1379" fmla="*/ 58787 h 634427"/>
                <a:gd name="connsiteX1380" fmla="*/ 2194359 w 3080331"/>
                <a:gd name="connsiteY1380" fmla="*/ 58787 h 634427"/>
                <a:gd name="connsiteX1381" fmla="*/ 2172476 w 3080331"/>
                <a:gd name="connsiteY1381" fmla="*/ 58787 h 634427"/>
                <a:gd name="connsiteX1382" fmla="*/ 2172108 w 3080331"/>
                <a:gd name="connsiteY1382" fmla="*/ 58787 h 634427"/>
                <a:gd name="connsiteX1383" fmla="*/ 2171556 w 3080331"/>
                <a:gd name="connsiteY1383" fmla="*/ 58787 h 634427"/>
                <a:gd name="connsiteX1384" fmla="*/ 2171005 w 3080331"/>
                <a:gd name="connsiteY1384" fmla="*/ 58603 h 634427"/>
                <a:gd name="connsiteX1385" fmla="*/ 2168614 w 3080331"/>
                <a:gd name="connsiteY1385" fmla="*/ 57316 h 634427"/>
                <a:gd name="connsiteX1386" fmla="*/ 2166959 w 3080331"/>
                <a:gd name="connsiteY1386" fmla="*/ 53454 h 634427"/>
                <a:gd name="connsiteX1387" fmla="*/ 2168430 w 3080331"/>
                <a:gd name="connsiteY1387" fmla="*/ 49960 h 634427"/>
                <a:gd name="connsiteX1388" fmla="*/ 2172292 w 3080331"/>
                <a:gd name="connsiteY1388" fmla="*/ 48305 h 634427"/>
                <a:gd name="connsiteX1389" fmla="*/ 2177625 w 3080331"/>
                <a:gd name="connsiteY1389" fmla="*/ 48305 h 634427"/>
                <a:gd name="connsiteX1390" fmla="*/ 2177993 w 3080331"/>
                <a:gd name="connsiteY1390" fmla="*/ 47937 h 634427"/>
                <a:gd name="connsiteX1391" fmla="*/ 2177993 w 3080331"/>
                <a:gd name="connsiteY1391" fmla="*/ 16676 h 634427"/>
                <a:gd name="connsiteX1392" fmla="*/ 2177625 w 3080331"/>
                <a:gd name="connsiteY1392" fmla="*/ 16308 h 634427"/>
                <a:gd name="connsiteX1393" fmla="*/ 2173580 w 3080331"/>
                <a:gd name="connsiteY1393" fmla="*/ 16308 h 634427"/>
                <a:gd name="connsiteX1394" fmla="*/ 2168614 w 3080331"/>
                <a:gd name="connsiteY1394" fmla="*/ 13182 h 634427"/>
                <a:gd name="connsiteX1395" fmla="*/ 2168430 w 3080331"/>
                <a:gd name="connsiteY1395" fmla="*/ 9319 h 634427"/>
                <a:gd name="connsiteX1396" fmla="*/ 2173395 w 3080331"/>
                <a:gd name="connsiteY1396" fmla="*/ 5825 h 634427"/>
                <a:gd name="connsiteX1397" fmla="*/ 2181671 w 3080331"/>
                <a:gd name="connsiteY1397" fmla="*/ 5642 h 634427"/>
                <a:gd name="connsiteX1398" fmla="*/ 1823341 w 3080331"/>
                <a:gd name="connsiteY1398" fmla="*/ 5642 h 634427"/>
                <a:gd name="connsiteX1399" fmla="*/ 1826099 w 3080331"/>
                <a:gd name="connsiteY1399" fmla="*/ 5642 h 634427"/>
                <a:gd name="connsiteX1400" fmla="*/ 1829225 w 3080331"/>
                <a:gd name="connsiteY1400" fmla="*/ 7297 h 634427"/>
                <a:gd name="connsiteX1401" fmla="*/ 1830696 w 3080331"/>
                <a:gd name="connsiteY1401" fmla="*/ 11526 h 634427"/>
                <a:gd name="connsiteX1402" fmla="*/ 1830696 w 3080331"/>
                <a:gd name="connsiteY1402" fmla="*/ 11894 h 634427"/>
                <a:gd name="connsiteX1403" fmla="*/ 1830696 w 3080331"/>
                <a:gd name="connsiteY1403" fmla="*/ 47937 h 634427"/>
                <a:gd name="connsiteX1404" fmla="*/ 1831064 w 3080331"/>
                <a:gd name="connsiteY1404" fmla="*/ 48305 h 634427"/>
                <a:gd name="connsiteX1405" fmla="*/ 1836029 w 3080331"/>
                <a:gd name="connsiteY1405" fmla="*/ 48305 h 634427"/>
                <a:gd name="connsiteX1406" fmla="*/ 1838787 w 3080331"/>
                <a:gd name="connsiteY1406" fmla="*/ 49041 h 634427"/>
                <a:gd name="connsiteX1407" fmla="*/ 1841362 w 3080331"/>
                <a:gd name="connsiteY1407" fmla="*/ 53638 h 634427"/>
                <a:gd name="connsiteX1408" fmla="*/ 1839523 w 3080331"/>
                <a:gd name="connsiteY1408" fmla="*/ 57500 h 634427"/>
                <a:gd name="connsiteX1409" fmla="*/ 1836765 w 3080331"/>
                <a:gd name="connsiteY1409" fmla="*/ 58787 h 634427"/>
                <a:gd name="connsiteX1410" fmla="*/ 1836581 w 3080331"/>
                <a:gd name="connsiteY1410" fmla="*/ 58787 h 634427"/>
                <a:gd name="connsiteX1411" fmla="*/ 1836397 w 3080331"/>
                <a:gd name="connsiteY1411" fmla="*/ 58787 h 634427"/>
                <a:gd name="connsiteX1412" fmla="*/ 1836029 w 3080331"/>
                <a:gd name="connsiteY1412" fmla="*/ 58787 h 634427"/>
                <a:gd name="connsiteX1413" fmla="*/ 1814146 w 3080331"/>
                <a:gd name="connsiteY1413" fmla="*/ 58787 h 634427"/>
                <a:gd name="connsiteX1414" fmla="*/ 1813779 w 3080331"/>
                <a:gd name="connsiteY1414" fmla="*/ 58787 h 634427"/>
                <a:gd name="connsiteX1415" fmla="*/ 1813227 w 3080331"/>
                <a:gd name="connsiteY1415" fmla="*/ 58787 h 634427"/>
                <a:gd name="connsiteX1416" fmla="*/ 1812675 w 3080331"/>
                <a:gd name="connsiteY1416" fmla="*/ 58603 h 634427"/>
                <a:gd name="connsiteX1417" fmla="*/ 1810284 w 3080331"/>
                <a:gd name="connsiteY1417" fmla="*/ 57316 h 634427"/>
                <a:gd name="connsiteX1418" fmla="*/ 1808630 w 3080331"/>
                <a:gd name="connsiteY1418" fmla="*/ 53454 h 634427"/>
                <a:gd name="connsiteX1419" fmla="*/ 1810101 w 3080331"/>
                <a:gd name="connsiteY1419" fmla="*/ 49960 h 634427"/>
                <a:gd name="connsiteX1420" fmla="*/ 1813963 w 3080331"/>
                <a:gd name="connsiteY1420" fmla="*/ 48305 h 634427"/>
                <a:gd name="connsiteX1421" fmla="*/ 1819295 w 3080331"/>
                <a:gd name="connsiteY1421" fmla="*/ 48305 h 634427"/>
                <a:gd name="connsiteX1422" fmla="*/ 1819663 w 3080331"/>
                <a:gd name="connsiteY1422" fmla="*/ 47937 h 634427"/>
                <a:gd name="connsiteX1423" fmla="*/ 1819663 w 3080331"/>
                <a:gd name="connsiteY1423" fmla="*/ 16676 h 634427"/>
                <a:gd name="connsiteX1424" fmla="*/ 1819295 w 3080331"/>
                <a:gd name="connsiteY1424" fmla="*/ 16308 h 634427"/>
                <a:gd name="connsiteX1425" fmla="*/ 1815250 w 3080331"/>
                <a:gd name="connsiteY1425" fmla="*/ 16308 h 634427"/>
                <a:gd name="connsiteX1426" fmla="*/ 1810284 w 3080331"/>
                <a:gd name="connsiteY1426" fmla="*/ 13182 h 634427"/>
                <a:gd name="connsiteX1427" fmla="*/ 1810101 w 3080331"/>
                <a:gd name="connsiteY1427" fmla="*/ 9319 h 634427"/>
                <a:gd name="connsiteX1428" fmla="*/ 1815066 w 3080331"/>
                <a:gd name="connsiteY1428" fmla="*/ 5825 h 634427"/>
                <a:gd name="connsiteX1429" fmla="*/ 1823341 w 3080331"/>
                <a:gd name="connsiteY1429" fmla="*/ 5642 h 634427"/>
                <a:gd name="connsiteX1430" fmla="*/ 1772093 w 3080331"/>
                <a:gd name="connsiteY1430" fmla="*/ 5642 h 634427"/>
                <a:gd name="connsiteX1431" fmla="*/ 1774852 w 3080331"/>
                <a:gd name="connsiteY1431" fmla="*/ 5642 h 634427"/>
                <a:gd name="connsiteX1432" fmla="*/ 1777978 w 3080331"/>
                <a:gd name="connsiteY1432" fmla="*/ 7297 h 634427"/>
                <a:gd name="connsiteX1433" fmla="*/ 1779449 w 3080331"/>
                <a:gd name="connsiteY1433" fmla="*/ 11526 h 634427"/>
                <a:gd name="connsiteX1434" fmla="*/ 1779449 w 3080331"/>
                <a:gd name="connsiteY1434" fmla="*/ 11894 h 634427"/>
                <a:gd name="connsiteX1435" fmla="*/ 1779449 w 3080331"/>
                <a:gd name="connsiteY1435" fmla="*/ 47937 h 634427"/>
                <a:gd name="connsiteX1436" fmla="*/ 1779817 w 3080331"/>
                <a:gd name="connsiteY1436" fmla="*/ 48305 h 634427"/>
                <a:gd name="connsiteX1437" fmla="*/ 1784782 w 3080331"/>
                <a:gd name="connsiteY1437" fmla="*/ 48305 h 634427"/>
                <a:gd name="connsiteX1438" fmla="*/ 1787540 w 3080331"/>
                <a:gd name="connsiteY1438" fmla="*/ 49041 h 634427"/>
                <a:gd name="connsiteX1439" fmla="*/ 1790115 w 3080331"/>
                <a:gd name="connsiteY1439" fmla="*/ 53638 h 634427"/>
                <a:gd name="connsiteX1440" fmla="*/ 1788276 w 3080331"/>
                <a:gd name="connsiteY1440" fmla="*/ 57500 h 634427"/>
                <a:gd name="connsiteX1441" fmla="*/ 1785517 w 3080331"/>
                <a:gd name="connsiteY1441" fmla="*/ 58787 h 634427"/>
                <a:gd name="connsiteX1442" fmla="*/ 1785334 w 3080331"/>
                <a:gd name="connsiteY1442" fmla="*/ 58787 h 634427"/>
                <a:gd name="connsiteX1443" fmla="*/ 1785150 w 3080331"/>
                <a:gd name="connsiteY1443" fmla="*/ 58787 h 634427"/>
                <a:gd name="connsiteX1444" fmla="*/ 1784782 w 3080331"/>
                <a:gd name="connsiteY1444" fmla="*/ 58787 h 634427"/>
                <a:gd name="connsiteX1445" fmla="*/ 1762898 w 3080331"/>
                <a:gd name="connsiteY1445" fmla="*/ 58787 h 634427"/>
                <a:gd name="connsiteX1446" fmla="*/ 1762531 w 3080331"/>
                <a:gd name="connsiteY1446" fmla="*/ 58787 h 634427"/>
                <a:gd name="connsiteX1447" fmla="*/ 1761979 w 3080331"/>
                <a:gd name="connsiteY1447" fmla="*/ 58787 h 634427"/>
                <a:gd name="connsiteX1448" fmla="*/ 1761427 w 3080331"/>
                <a:gd name="connsiteY1448" fmla="*/ 58603 h 634427"/>
                <a:gd name="connsiteX1449" fmla="*/ 1759037 w 3080331"/>
                <a:gd name="connsiteY1449" fmla="*/ 57316 h 634427"/>
                <a:gd name="connsiteX1450" fmla="*/ 1757382 w 3080331"/>
                <a:gd name="connsiteY1450" fmla="*/ 53454 h 634427"/>
                <a:gd name="connsiteX1451" fmla="*/ 1758853 w 3080331"/>
                <a:gd name="connsiteY1451" fmla="*/ 49960 h 634427"/>
                <a:gd name="connsiteX1452" fmla="*/ 1762715 w 3080331"/>
                <a:gd name="connsiteY1452" fmla="*/ 48305 h 634427"/>
                <a:gd name="connsiteX1453" fmla="*/ 1768048 w 3080331"/>
                <a:gd name="connsiteY1453" fmla="*/ 48305 h 634427"/>
                <a:gd name="connsiteX1454" fmla="*/ 1768416 w 3080331"/>
                <a:gd name="connsiteY1454" fmla="*/ 47937 h 634427"/>
                <a:gd name="connsiteX1455" fmla="*/ 1768416 w 3080331"/>
                <a:gd name="connsiteY1455" fmla="*/ 16676 h 634427"/>
                <a:gd name="connsiteX1456" fmla="*/ 1768048 w 3080331"/>
                <a:gd name="connsiteY1456" fmla="*/ 16308 h 634427"/>
                <a:gd name="connsiteX1457" fmla="*/ 1764002 w 3080331"/>
                <a:gd name="connsiteY1457" fmla="*/ 16308 h 634427"/>
                <a:gd name="connsiteX1458" fmla="*/ 1759037 w 3080331"/>
                <a:gd name="connsiteY1458" fmla="*/ 13182 h 634427"/>
                <a:gd name="connsiteX1459" fmla="*/ 1758853 w 3080331"/>
                <a:gd name="connsiteY1459" fmla="*/ 9319 h 634427"/>
                <a:gd name="connsiteX1460" fmla="*/ 1763818 w 3080331"/>
                <a:gd name="connsiteY1460" fmla="*/ 5825 h 634427"/>
                <a:gd name="connsiteX1461" fmla="*/ 1772093 w 3080331"/>
                <a:gd name="connsiteY1461" fmla="*/ 5642 h 634427"/>
                <a:gd name="connsiteX1462" fmla="*/ 1536556 w 3080331"/>
                <a:gd name="connsiteY1462" fmla="*/ 5642 h 634427"/>
                <a:gd name="connsiteX1463" fmla="*/ 1539315 w 3080331"/>
                <a:gd name="connsiteY1463" fmla="*/ 5642 h 634427"/>
                <a:gd name="connsiteX1464" fmla="*/ 1542441 w 3080331"/>
                <a:gd name="connsiteY1464" fmla="*/ 7297 h 634427"/>
                <a:gd name="connsiteX1465" fmla="*/ 1543912 w 3080331"/>
                <a:gd name="connsiteY1465" fmla="*/ 11526 h 634427"/>
                <a:gd name="connsiteX1466" fmla="*/ 1543912 w 3080331"/>
                <a:gd name="connsiteY1466" fmla="*/ 11894 h 634427"/>
                <a:gd name="connsiteX1467" fmla="*/ 1543912 w 3080331"/>
                <a:gd name="connsiteY1467" fmla="*/ 47937 h 634427"/>
                <a:gd name="connsiteX1468" fmla="*/ 1544280 w 3080331"/>
                <a:gd name="connsiteY1468" fmla="*/ 48305 h 634427"/>
                <a:gd name="connsiteX1469" fmla="*/ 1549245 w 3080331"/>
                <a:gd name="connsiteY1469" fmla="*/ 48305 h 634427"/>
                <a:gd name="connsiteX1470" fmla="*/ 1552003 w 3080331"/>
                <a:gd name="connsiteY1470" fmla="*/ 49041 h 634427"/>
                <a:gd name="connsiteX1471" fmla="*/ 1554578 w 3080331"/>
                <a:gd name="connsiteY1471" fmla="*/ 53638 h 634427"/>
                <a:gd name="connsiteX1472" fmla="*/ 1552739 w 3080331"/>
                <a:gd name="connsiteY1472" fmla="*/ 57500 h 634427"/>
                <a:gd name="connsiteX1473" fmla="*/ 1549980 w 3080331"/>
                <a:gd name="connsiteY1473" fmla="*/ 58787 h 634427"/>
                <a:gd name="connsiteX1474" fmla="*/ 1549797 w 3080331"/>
                <a:gd name="connsiteY1474" fmla="*/ 58787 h 634427"/>
                <a:gd name="connsiteX1475" fmla="*/ 1549612 w 3080331"/>
                <a:gd name="connsiteY1475" fmla="*/ 58787 h 634427"/>
                <a:gd name="connsiteX1476" fmla="*/ 1549245 w 3080331"/>
                <a:gd name="connsiteY1476" fmla="*/ 58787 h 634427"/>
                <a:gd name="connsiteX1477" fmla="*/ 1527361 w 3080331"/>
                <a:gd name="connsiteY1477" fmla="*/ 58787 h 634427"/>
                <a:gd name="connsiteX1478" fmla="*/ 1526994 w 3080331"/>
                <a:gd name="connsiteY1478" fmla="*/ 58787 h 634427"/>
                <a:gd name="connsiteX1479" fmla="*/ 1526442 w 3080331"/>
                <a:gd name="connsiteY1479" fmla="*/ 58787 h 634427"/>
                <a:gd name="connsiteX1480" fmla="*/ 1525890 w 3080331"/>
                <a:gd name="connsiteY1480" fmla="*/ 58603 h 634427"/>
                <a:gd name="connsiteX1481" fmla="*/ 1523500 w 3080331"/>
                <a:gd name="connsiteY1481" fmla="*/ 57316 h 634427"/>
                <a:gd name="connsiteX1482" fmla="*/ 1521845 w 3080331"/>
                <a:gd name="connsiteY1482" fmla="*/ 53454 h 634427"/>
                <a:gd name="connsiteX1483" fmla="*/ 1523316 w 3080331"/>
                <a:gd name="connsiteY1483" fmla="*/ 49960 h 634427"/>
                <a:gd name="connsiteX1484" fmla="*/ 1527178 w 3080331"/>
                <a:gd name="connsiteY1484" fmla="*/ 48305 h 634427"/>
                <a:gd name="connsiteX1485" fmla="*/ 1532511 w 3080331"/>
                <a:gd name="connsiteY1485" fmla="*/ 48305 h 634427"/>
                <a:gd name="connsiteX1486" fmla="*/ 1532879 w 3080331"/>
                <a:gd name="connsiteY1486" fmla="*/ 47937 h 634427"/>
                <a:gd name="connsiteX1487" fmla="*/ 1532879 w 3080331"/>
                <a:gd name="connsiteY1487" fmla="*/ 16676 h 634427"/>
                <a:gd name="connsiteX1488" fmla="*/ 1532511 w 3080331"/>
                <a:gd name="connsiteY1488" fmla="*/ 16308 h 634427"/>
                <a:gd name="connsiteX1489" fmla="*/ 1528465 w 3080331"/>
                <a:gd name="connsiteY1489" fmla="*/ 16308 h 634427"/>
                <a:gd name="connsiteX1490" fmla="*/ 1523500 w 3080331"/>
                <a:gd name="connsiteY1490" fmla="*/ 13182 h 634427"/>
                <a:gd name="connsiteX1491" fmla="*/ 1523316 w 3080331"/>
                <a:gd name="connsiteY1491" fmla="*/ 9319 h 634427"/>
                <a:gd name="connsiteX1492" fmla="*/ 1528281 w 3080331"/>
                <a:gd name="connsiteY1492" fmla="*/ 5825 h 634427"/>
                <a:gd name="connsiteX1493" fmla="*/ 1536556 w 3080331"/>
                <a:gd name="connsiteY1493" fmla="*/ 5642 h 634427"/>
                <a:gd name="connsiteX1494" fmla="*/ 1362516 w 3080331"/>
                <a:gd name="connsiteY1494" fmla="*/ 5642 h 634427"/>
                <a:gd name="connsiteX1495" fmla="*/ 1365274 w 3080331"/>
                <a:gd name="connsiteY1495" fmla="*/ 5642 h 634427"/>
                <a:gd name="connsiteX1496" fmla="*/ 1368400 w 3080331"/>
                <a:gd name="connsiteY1496" fmla="*/ 7297 h 634427"/>
                <a:gd name="connsiteX1497" fmla="*/ 1369871 w 3080331"/>
                <a:gd name="connsiteY1497" fmla="*/ 11526 h 634427"/>
                <a:gd name="connsiteX1498" fmla="*/ 1369871 w 3080331"/>
                <a:gd name="connsiteY1498" fmla="*/ 11894 h 634427"/>
                <a:gd name="connsiteX1499" fmla="*/ 1369871 w 3080331"/>
                <a:gd name="connsiteY1499" fmla="*/ 47937 h 634427"/>
                <a:gd name="connsiteX1500" fmla="*/ 1370239 w 3080331"/>
                <a:gd name="connsiteY1500" fmla="*/ 48305 h 634427"/>
                <a:gd name="connsiteX1501" fmla="*/ 1375204 w 3080331"/>
                <a:gd name="connsiteY1501" fmla="*/ 48305 h 634427"/>
                <a:gd name="connsiteX1502" fmla="*/ 1377963 w 3080331"/>
                <a:gd name="connsiteY1502" fmla="*/ 49041 h 634427"/>
                <a:gd name="connsiteX1503" fmla="*/ 1380537 w 3080331"/>
                <a:gd name="connsiteY1503" fmla="*/ 53638 h 634427"/>
                <a:gd name="connsiteX1504" fmla="*/ 1378698 w 3080331"/>
                <a:gd name="connsiteY1504" fmla="*/ 57500 h 634427"/>
                <a:gd name="connsiteX1505" fmla="*/ 1375940 w 3080331"/>
                <a:gd name="connsiteY1505" fmla="*/ 58787 h 634427"/>
                <a:gd name="connsiteX1506" fmla="*/ 1375756 w 3080331"/>
                <a:gd name="connsiteY1506" fmla="*/ 58787 h 634427"/>
                <a:gd name="connsiteX1507" fmla="*/ 1375572 w 3080331"/>
                <a:gd name="connsiteY1507" fmla="*/ 58787 h 634427"/>
                <a:gd name="connsiteX1508" fmla="*/ 1375204 w 3080331"/>
                <a:gd name="connsiteY1508" fmla="*/ 58787 h 634427"/>
                <a:gd name="connsiteX1509" fmla="*/ 1353321 w 3080331"/>
                <a:gd name="connsiteY1509" fmla="*/ 58787 h 634427"/>
                <a:gd name="connsiteX1510" fmla="*/ 1352953 w 3080331"/>
                <a:gd name="connsiteY1510" fmla="*/ 58787 h 634427"/>
                <a:gd name="connsiteX1511" fmla="*/ 1352401 w 3080331"/>
                <a:gd name="connsiteY1511" fmla="*/ 58787 h 634427"/>
                <a:gd name="connsiteX1512" fmla="*/ 1351850 w 3080331"/>
                <a:gd name="connsiteY1512" fmla="*/ 58603 h 634427"/>
                <a:gd name="connsiteX1513" fmla="*/ 1349459 w 3080331"/>
                <a:gd name="connsiteY1513" fmla="*/ 57316 h 634427"/>
                <a:gd name="connsiteX1514" fmla="*/ 1347804 w 3080331"/>
                <a:gd name="connsiteY1514" fmla="*/ 53454 h 634427"/>
                <a:gd name="connsiteX1515" fmla="*/ 1349276 w 3080331"/>
                <a:gd name="connsiteY1515" fmla="*/ 49960 h 634427"/>
                <a:gd name="connsiteX1516" fmla="*/ 1353137 w 3080331"/>
                <a:gd name="connsiteY1516" fmla="*/ 48305 h 634427"/>
                <a:gd name="connsiteX1517" fmla="*/ 1358470 w 3080331"/>
                <a:gd name="connsiteY1517" fmla="*/ 48305 h 634427"/>
                <a:gd name="connsiteX1518" fmla="*/ 1358838 w 3080331"/>
                <a:gd name="connsiteY1518" fmla="*/ 47937 h 634427"/>
                <a:gd name="connsiteX1519" fmla="*/ 1358838 w 3080331"/>
                <a:gd name="connsiteY1519" fmla="*/ 16676 h 634427"/>
                <a:gd name="connsiteX1520" fmla="*/ 1358470 w 3080331"/>
                <a:gd name="connsiteY1520" fmla="*/ 16308 h 634427"/>
                <a:gd name="connsiteX1521" fmla="*/ 1354424 w 3080331"/>
                <a:gd name="connsiteY1521" fmla="*/ 16308 h 634427"/>
                <a:gd name="connsiteX1522" fmla="*/ 1349459 w 3080331"/>
                <a:gd name="connsiteY1522" fmla="*/ 13182 h 634427"/>
                <a:gd name="connsiteX1523" fmla="*/ 1349276 w 3080331"/>
                <a:gd name="connsiteY1523" fmla="*/ 9319 h 634427"/>
                <a:gd name="connsiteX1524" fmla="*/ 1354241 w 3080331"/>
                <a:gd name="connsiteY1524" fmla="*/ 5825 h 634427"/>
                <a:gd name="connsiteX1525" fmla="*/ 1362516 w 3080331"/>
                <a:gd name="connsiteY1525" fmla="*/ 5642 h 634427"/>
                <a:gd name="connsiteX1526" fmla="*/ 1127027 w 3080331"/>
                <a:gd name="connsiteY1526" fmla="*/ 5642 h 634427"/>
                <a:gd name="connsiteX1527" fmla="*/ 1129787 w 3080331"/>
                <a:gd name="connsiteY1527" fmla="*/ 5642 h 634427"/>
                <a:gd name="connsiteX1528" fmla="*/ 1132911 w 3080331"/>
                <a:gd name="connsiteY1528" fmla="*/ 7297 h 634427"/>
                <a:gd name="connsiteX1529" fmla="*/ 1134383 w 3080331"/>
                <a:gd name="connsiteY1529" fmla="*/ 11526 h 634427"/>
                <a:gd name="connsiteX1530" fmla="*/ 1134383 w 3080331"/>
                <a:gd name="connsiteY1530" fmla="*/ 11894 h 634427"/>
                <a:gd name="connsiteX1531" fmla="*/ 1134383 w 3080331"/>
                <a:gd name="connsiteY1531" fmla="*/ 47937 h 634427"/>
                <a:gd name="connsiteX1532" fmla="*/ 1134752 w 3080331"/>
                <a:gd name="connsiteY1532" fmla="*/ 48305 h 634427"/>
                <a:gd name="connsiteX1533" fmla="*/ 1139717 w 3080331"/>
                <a:gd name="connsiteY1533" fmla="*/ 48305 h 634427"/>
                <a:gd name="connsiteX1534" fmla="*/ 1142475 w 3080331"/>
                <a:gd name="connsiteY1534" fmla="*/ 49041 h 634427"/>
                <a:gd name="connsiteX1535" fmla="*/ 1145049 w 3080331"/>
                <a:gd name="connsiteY1535" fmla="*/ 53638 h 634427"/>
                <a:gd name="connsiteX1536" fmla="*/ 1143211 w 3080331"/>
                <a:gd name="connsiteY1536" fmla="*/ 57500 h 634427"/>
                <a:gd name="connsiteX1537" fmla="*/ 1140451 w 3080331"/>
                <a:gd name="connsiteY1537" fmla="*/ 58787 h 634427"/>
                <a:gd name="connsiteX1538" fmla="*/ 1140268 w 3080331"/>
                <a:gd name="connsiteY1538" fmla="*/ 58787 h 634427"/>
                <a:gd name="connsiteX1539" fmla="*/ 1140084 w 3080331"/>
                <a:gd name="connsiteY1539" fmla="*/ 58787 h 634427"/>
                <a:gd name="connsiteX1540" fmla="*/ 1139717 w 3080331"/>
                <a:gd name="connsiteY1540" fmla="*/ 58787 h 634427"/>
                <a:gd name="connsiteX1541" fmla="*/ 1117834 w 3080331"/>
                <a:gd name="connsiteY1541" fmla="*/ 58787 h 634427"/>
                <a:gd name="connsiteX1542" fmla="*/ 1117465 w 3080331"/>
                <a:gd name="connsiteY1542" fmla="*/ 58787 h 634427"/>
                <a:gd name="connsiteX1543" fmla="*/ 1116913 w 3080331"/>
                <a:gd name="connsiteY1543" fmla="*/ 58787 h 634427"/>
                <a:gd name="connsiteX1544" fmla="*/ 1116362 w 3080331"/>
                <a:gd name="connsiteY1544" fmla="*/ 58603 h 634427"/>
                <a:gd name="connsiteX1545" fmla="*/ 1113970 w 3080331"/>
                <a:gd name="connsiteY1545" fmla="*/ 57316 h 634427"/>
                <a:gd name="connsiteX1546" fmla="*/ 1112317 w 3080331"/>
                <a:gd name="connsiteY1546" fmla="*/ 53454 h 634427"/>
                <a:gd name="connsiteX1547" fmla="*/ 1113788 w 3080331"/>
                <a:gd name="connsiteY1547" fmla="*/ 49960 h 634427"/>
                <a:gd name="connsiteX1548" fmla="*/ 1117649 w 3080331"/>
                <a:gd name="connsiteY1548" fmla="*/ 48305 h 634427"/>
                <a:gd name="connsiteX1549" fmla="*/ 1122982 w 3080331"/>
                <a:gd name="connsiteY1549" fmla="*/ 48305 h 634427"/>
                <a:gd name="connsiteX1550" fmla="*/ 1123349 w 3080331"/>
                <a:gd name="connsiteY1550" fmla="*/ 47937 h 634427"/>
                <a:gd name="connsiteX1551" fmla="*/ 1123349 w 3080331"/>
                <a:gd name="connsiteY1551" fmla="*/ 16676 h 634427"/>
                <a:gd name="connsiteX1552" fmla="*/ 1122982 w 3080331"/>
                <a:gd name="connsiteY1552" fmla="*/ 16308 h 634427"/>
                <a:gd name="connsiteX1553" fmla="*/ 1118936 w 3080331"/>
                <a:gd name="connsiteY1553" fmla="*/ 16308 h 634427"/>
                <a:gd name="connsiteX1554" fmla="*/ 1113970 w 3080331"/>
                <a:gd name="connsiteY1554" fmla="*/ 13182 h 634427"/>
                <a:gd name="connsiteX1555" fmla="*/ 1113788 w 3080331"/>
                <a:gd name="connsiteY1555" fmla="*/ 9319 h 634427"/>
                <a:gd name="connsiteX1556" fmla="*/ 1118753 w 3080331"/>
                <a:gd name="connsiteY1556" fmla="*/ 5825 h 634427"/>
                <a:gd name="connsiteX1557" fmla="*/ 1127027 w 3080331"/>
                <a:gd name="connsiteY1557" fmla="*/ 5642 h 634427"/>
                <a:gd name="connsiteX1558" fmla="*/ 891490 w 3080331"/>
                <a:gd name="connsiteY1558" fmla="*/ 5642 h 634427"/>
                <a:gd name="connsiteX1559" fmla="*/ 894249 w 3080331"/>
                <a:gd name="connsiteY1559" fmla="*/ 5642 h 634427"/>
                <a:gd name="connsiteX1560" fmla="*/ 897375 w 3080331"/>
                <a:gd name="connsiteY1560" fmla="*/ 7297 h 634427"/>
                <a:gd name="connsiteX1561" fmla="*/ 898845 w 3080331"/>
                <a:gd name="connsiteY1561" fmla="*/ 11526 h 634427"/>
                <a:gd name="connsiteX1562" fmla="*/ 898845 w 3080331"/>
                <a:gd name="connsiteY1562" fmla="*/ 11894 h 634427"/>
                <a:gd name="connsiteX1563" fmla="*/ 898845 w 3080331"/>
                <a:gd name="connsiteY1563" fmla="*/ 47937 h 634427"/>
                <a:gd name="connsiteX1564" fmla="*/ 899213 w 3080331"/>
                <a:gd name="connsiteY1564" fmla="*/ 48305 h 634427"/>
                <a:gd name="connsiteX1565" fmla="*/ 904179 w 3080331"/>
                <a:gd name="connsiteY1565" fmla="*/ 48305 h 634427"/>
                <a:gd name="connsiteX1566" fmla="*/ 906938 w 3080331"/>
                <a:gd name="connsiteY1566" fmla="*/ 49041 h 634427"/>
                <a:gd name="connsiteX1567" fmla="*/ 909511 w 3080331"/>
                <a:gd name="connsiteY1567" fmla="*/ 53638 h 634427"/>
                <a:gd name="connsiteX1568" fmla="*/ 907674 w 3080331"/>
                <a:gd name="connsiteY1568" fmla="*/ 57500 h 634427"/>
                <a:gd name="connsiteX1569" fmla="*/ 904915 w 3080331"/>
                <a:gd name="connsiteY1569" fmla="*/ 58787 h 634427"/>
                <a:gd name="connsiteX1570" fmla="*/ 904731 w 3080331"/>
                <a:gd name="connsiteY1570" fmla="*/ 58787 h 634427"/>
                <a:gd name="connsiteX1571" fmla="*/ 904547 w 3080331"/>
                <a:gd name="connsiteY1571" fmla="*/ 58787 h 634427"/>
                <a:gd name="connsiteX1572" fmla="*/ 904179 w 3080331"/>
                <a:gd name="connsiteY1572" fmla="*/ 58787 h 634427"/>
                <a:gd name="connsiteX1573" fmla="*/ 882295 w 3080331"/>
                <a:gd name="connsiteY1573" fmla="*/ 58787 h 634427"/>
                <a:gd name="connsiteX1574" fmla="*/ 881928 w 3080331"/>
                <a:gd name="connsiteY1574" fmla="*/ 58787 h 634427"/>
                <a:gd name="connsiteX1575" fmla="*/ 881376 w 3080331"/>
                <a:gd name="connsiteY1575" fmla="*/ 58787 h 634427"/>
                <a:gd name="connsiteX1576" fmla="*/ 880824 w 3080331"/>
                <a:gd name="connsiteY1576" fmla="*/ 58603 h 634427"/>
                <a:gd name="connsiteX1577" fmla="*/ 878433 w 3080331"/>
                <a:gd name="connsiteY1577" fmla="*/ 57316 h 634427"/>
                <a:gd name="connsiteX1578" fmla="*/ 876779 w 3080331"/>
                <a:gd name="connsiteY1578" fmla="*/ 53454 h 634427"/>
                <a:gd name="connsiteX1579" fmla="*/ 878250 w 3080331"/>
                <a:gd name="connsiteY1579" fmla="*/ 49960 h 634427"/>
                <a:gd name="connsiteX1580" fmla="*/ 882112 w 3080331"/>
                <a:gd name="connsiteY1580" fmla="*/ 48305 h 634427"/>
                <a:gd name="connsiteX1581" fmla="*/ 887445 w 3080331"/>
                <a:gd name="connsiteY1581" fmla="*/ 48305 h 634427"/>
                <a:gd name="connsiteX1582" fmla="*/ 887813 w 3080331"/>
                <a:gd name="connsiteY1582" fmla="*/ 47937 h 634427"/>
                <a:gd name="connsiteX1583" fmla="*/ 887813 w 3080331"/>
                <a:gd name="connsiteY1583" fmla="*/ 16676 h 634427"/>
                <a:gd name="connsiteX1584" fmla="*/ 887445 w 3080331"/>
                <a:gd name="connsiteY1584" fmla="*/ 16308 h 634427"/>
                <a:gd name="connsiteX1585" fmla="*/ 883399 w 3080331"/>
                <a:gd name="connsiteY1585" fmla="*/ 16308 h 634427"/>
                <a:gd name="connsiteX1586" fmla="*/ 878433 w 3080331"/>
                <a:gd name="connsiteY1586" fmla="*/ 13182 h 634427"/>
                <a:gd name="connsiteX1587" fmla="*/ 878250 w 3080331"/>
                <a:gd name="connsiteY1587" fmla="*/ 9319 h 634427"/>
                <a:gd name="connsiteX1588" fmla="*/ 883215 w 3080331"/>
                <a:gd name="connsiteY1588" fmla="*/ 5825 h 634427"/>
                <a:gd name="connsiteX1589" fmla="*/ 891490 w 3080331"/>
                <a:gd name="connsiteY1589" fmla="*/ 5642 h 634427"/>
                <a:gd name="connsiteX1590" fmla="*/ 778796 w 3080331"/>
                <a:gd name="connsiteY1590" fmla="*/ 5642 h 634427"/>
                <a:gd name="connsiteX1591" fmla="*/ 781555 w 3080331"/>
                <a:gd name="connsiteY1591" fmla="*/ 5642 h 634427"/>
                <a:gd name="connsiteX1592" fmla="*/ 784681 w 3080331"/>
                <a:gd name="connsiteY1592" fmla="*/ 7297 h 634427"/>
                <a:gd name="connsiteX1593" fmla="*/ 786151 w 3080331"/>
                <a:gd name="connsiteY1593" fmla="*/ 11526 h 634427"/>
                <a:gd name="connsiteX1594" fmla="*/ 786151 w 3080331"/>
                <a:gd name="connsiteY1594" fmla="*/ 11894 h 634427"/>
                <a:gd name="connsiteX1595" fmla="*/ 786151 w 3080331"/>
                <a:gd name="connsiteY1595" fmla="*/ 47937 h 634427"/>
                <a:gd name="connsiteX1596" fmla="*/ 786519 w 3080331"/>
                <a:gd name="connsiteY1596" fmla="*/ 48305 h 634427"/>
                <a:gd name="connsiteX1597" fmla="*/ 791485 w 3080331"/>
                <a:gd name="connsiteY1597" fmla="*/ 48305 h 634427"/>
                <a:gd name="connsiteX1598" fmla="*/ 794244 w 3080331"/>
                <a:gd name="connsiteY1598" fmla="*/ 49041 h 634427"/>
                <a:gd name="connsiteX1599" fmla="*/ 796818 w 3080331"/>
                <a:gd name="connsiteY1599" fmla="*/ 53638 h 634427"/>
                <a:gd name="connsiteX1600" fmla="*/ 794979 w 3080331"/>
                <a:gd name="connsiteY1600" fmla="*/ 57500 h 634427"/>
                <a:gd name="connsiteX1601" fmla="*/ 792221 w 3080331"/>
                <a:gd name="connsiteY1601" fmla="*/ 58787 h 634427"/>
                <a:gd name="connsiteX1602" fmla="*/ 792037 w 3080331"/>
                <a:gd name="connsiteY1602" fmla="*/ 58787 h 634427"/>
                <a:gd name="connsiteX1603" fmla="*/ 791853 w 3080331"/>
                <a:gd name="connsiteY1603" fmla="*/ 58787 h 634427"/>
                <a:gd name="connsiteX1604" fmla="*/ 791485 w 3080331"/>
                <a:gd name="connsiteY1604" fmla="*/ 58787 h 634427"/>
                <a:gd name="connsiteX1605" fmla="*/ 769602 w 3080331"/>
                <a:gd name="connsiteY1605" fmla="*/ 58787 h 634427"/>
                <a:gd name="connsiteX1606" fmla="*/ 769234 w 3080331"/>
                <a:gd name="connsiteY1606" fmla="*/ 58787 h 634427"/>
                <a:gd name="connsiteX1607" fmla="*/ 768682 w 3080331"/>
                <a:gd name="connsiteY1607" fmla="*/ 58787 h 634427"/>
                <a:gd name="connsiteX1608" fmla="*/ 768130 w 3080331"/>
                <a:gd name="connsiteY1608" fmla="*/ 58603 h 634427"/>
                <a:gd name="connsiteX1609" fmla="*/ 765739 w 3080331"/>
                <a:gd name="connsiteY1609" fmla="*/ 57316 h 634427"/>
                <a:gd name="connsiteX1610" fmla="*/ 764085 w 3080331"/>
                <a:gd name="connsiteY1610" fmla="*/ 53454 h 634427"/>
                <a:gd name="connsiteX1611" fmla="*/ 765556 w 3080331"/>
                <a:gd name="connsiteY1611" fmla="*/ 49960 h 634427"/>
                <a:gd name="connsiteX1612" fmla="*/ 769418 w 3080331"/>
                <a:gd name="connsiteY1612" fmla="*/ 48305 h 634427"/>
                <a:gd name="connsiteX1613" fmla="*/ 774750 w 3080331"/>
                <a:gd name="connsiteY1613" fmla="*/ 48305 h 634427"/>
                <a:gd name="connsiteX1614" fmla="*/ 775118 w 3080331"/>
                <a:gd name="connsiteY1614" fmla="*/ 47937 h 634427"/>
                <a:gd name="connsiteX1615" fmla="*/ 775118 w 3080331"/>
                <a:gd name="connsiteY1615" fmla="*/ 16676 h 634427"/>
                <a:gd name="connsiteX1616" fmla="*/ 774750 w 3080331"/>
                <a:gd name="connsiteY1616" fmla="*/ 16308 h 634427"/>
                <a:gd name="connsiteX1617" fmla="*/ 770706 w 3080331"/>
                <a:gd name="connsiteY1617" fmla="*/ 16308 h 634427"/>
                <a:gd name="connsiteX1618" fmla="*/ 765739 w 3080331"/>
                <a:gd name="connsiteY1618" fmla="*/ 13182 h 634427"/>
                <a:gd name="connsiteX1619" fmla="*/ 765556 w 3080331"/>
                <a:gd name="connsiteY1619" fmla="*/ 9319 h 634427"/>
                <a:gd name="connsiteX1620" fmla="*/ 770521 w 3080331"/>
                <a:gd name="connsiteY1620" fmla="*/ 5825 h 634427"/>
                <a:gd name="connsiteX1621" fmla="*/ 778796 w 3080331"/>
                <a:gd name="connsiteY1621" fmla="*/ 5642 h 634427"/>
                <a:gd name="connsiteX1622" fmla="*/ 420465 w 3080331"/>
                <a:gd name="connsiteY1622" fmla="*/ 5642 h 634427"/>
                <a:gd name="connsiteX1623" fmla="*/ 423224 w 3080331"/>
                <a:gd name="connsiteY1623" fmla="*/ 5642 h 634427"/>
                <a:gd name="connsiteX1624" fmla="*/ 426351 w 3080331"/>
                <a:gd name="connsiteY1624" fmla="*/ 7297 h 634427"/>
                <a:gd name="connsiteX1625" fmla="*/ 427821 w 3080331"/>
                <a:gd name="connsiteY1625" fmla="*/ 11526 h 634427"/>
                <a:gd name="connsiteX1626" fmla="*/ 427821 w 3080331"/>
                <a:gd name="connsiteY1626" fmla="*/ 11894 h 634427"/>
                <a:gd name="connsiteX1627" fmla="*/ 427821 w 3080331"/>
                <a:gd name="connsiteY1627" fmla="*/ 47938 h 634427"/>
                <a:gd name="connsiteX1628" fmla="*/ 428189 w 3080331"/>
                <a:gd name="connsiteY1628" fmla="*/ 48305 h 634427"/>
                <a:gd name="connsiteX1629" fmla="*/ 433154 w 3080331"/>
                <a:gd name="connsiteY1629" fmla="*/ 48305 h 634427"/>
                <a:gd name="connsiteX1630" fmla="*/ 435913 w 3080331"/>
                <a:gd name="connsiteY1630" fmla="*/ 49041 h 634427"/>
                <a:gd name="connsiteX1631" fmla="*/ 438487 w 3080331"/>
                <a:gd name="connsiteY1631" fmla="*/ 53638 h 634427"/>
                <a:gd name="connsiteX1632" fmla="*/ 436648 w 3080331"/>
                <a:gd name="connsiteY1632" fmla="*/ 57500 h 634427"/>
                <a:gd name="connsiteX1633" fmla="*/ 433890 w 3080331"/>
                <a:gd name="connsiteY1633" fmla="*/ 58787 h 634427"/>
                <a:gd name="connsiteX1634" fmla="*/ 433706 w 3080331"/>
                <a:gd name="connsiteY1634" fmla="*/ 58787 h 634427"/>
                <a:gd name="connsiteX1635" fmla="*/ 433522 w 3080331"/>
                <a:gd name="connsiteY1635" fmla="*/ 58787 h 634427"/>
                <a:gd name="connsiteX1636" fmla="*/ 433154 w 3080331"/>
                <a:gd name="connsiteY1636" fmla="*/ 58787 h 634427"/>
                <a:gd name="connsiteX1637" fmla="*/ 411271 w 3080331"/>
                <a:gd name="connsiteY1637" fmla="*/ 58787 h 634427"/>
                <a:gd name="connsiteX1638" fmla="*/ 410903 w 3080331"/>
                <a:gd name="connsiteY1638" fmla="*/ 58787 h 634427"/>
                <a:gd name="connsiteX1639" fmla="*/ 410351 w 3080331"/>
                <a:gd name="connsiteY1639" fmla="*/ 58787 h 634427"/>
                <a:gd name="connsiteX1640" fmla="*/ 409800 w 3080331"/>
                <a:gd name="connsiteY1640" fmla="*/ 58603 h 634427"/>
                <a:gd name="connsiteX1641" fmla="*/ 407409 w 3080331"/>
                <a:gd name="connsiteY1641" fmla="*/ 57316 h 634427"/>
                <a:gd name="connsiteX1642" fmla="*/ 405754 w 3080331"/>
                <a:gd name="connsiteY1642" fmla="*/ 53454 h 634427"/>
                <a:gd name="connsiteX1643" fmla="*/ 407225 w 3080331"/>
                <a:gd name="connsiteY1643" fmla="*/ 49960 h 634427"/>
                <a:gd name="connsiteX1644" fmla="*/ 411087 w 3080331"/>
                <a:gd name="connsiteY1644" fmla="*/ 48305 h 634427"/>
                <a:gd name="connsiteX1645" fmla="*/ 416420 w 3080331"/>
                <a:gd name="connsiteY1645" fmla="*/ 48305 h 634427"/>
                <a:gd name="connsiteX1646" fmla="*/ 416788 w 3080331"/>
                <a:gd name="connsiteY1646" fmla="*/ 47938 h 634427"/>
                <a:gd name="connsiteX1647" fmla="*/ 416788 w 3080331"/>
                <a:gd name="connsiteY1647" fmla="*/ 16676 h 634427"/>
                <a:gd name="connsiteX1648" fmla="*/ 416420 w 3080331"/>
                <a:gd name="connsiteY1648" fmla="*/ 16308 h 634427"/>
                <a:gd name="connsiteX1649" fmla="*/ 412375 w 3080331"/>
                <a:gd name="connsiteY1649" fmla="*/ 16308 h 634427"/>
                <a:gd name="connsiteX1650" fmla="*/ 407409 w 3080331"/>
                <a:gd name="connsiteY1650" fmla="*/ 13182 h 634427"/>
                <a:gd name="connsiteX1651" fmla="*/ 407225 w 3080331"/>
                <a:gd name="connsiteY1651" fmla="*/ 9320 h 634427"/>
                <a:gd name="connsiteX1652" fmla="*/ 412190 w 3080331"/>
                <a:gd name="connsiteY1652" fmla="*/ 5826 h 634427"/>
                <a:gd name="connsiteX1653" fmla="*/ 420465 w 3080331"/>
                <a:gd name="connsiteY1653" fmla="*/ 5642 h 634427"/>
                <a:gd name="connsiteX1654" fmla="*/ 369218 w 3080331"/>
                <a:gd name="connsiteY1654" fmla="*/ 5642 h 634427"/>
                <a:gd name="connsiteX1655" fmla="*/ 371976 w 3080331"/>
                <a:gd name="connsiteY1655" fmla="*/ 5642 h 634427"/>
                <a:gd name="connsiteX1656" fmla="*/ 375103 w 3080331"/>
                <a:gd name="connsiteY1656" fmla="*/ 7297 h 634427"/>
                <a:gd name="connsiteX1657" fmla="*/ 376574 w 3080331"/>
                <a:gd name="connsiteY1657" fmla="*/ 11526 h 634427"/>
                <a:gd name="connsiteX1658" fmla="*/ 376574 w 3080331"/>
                <a:gd name="connsiteY1658" fmla="*/ 11894 h 634427"/>
                <a:gd name="connsiteX1659" fmla="*/ 376574 w 3080331"/>
                <a:gd name="connsiteY1659" fmla="*/ 47938 h 634427"/>
                <a:gd name="connsiteX1660" fmla="*/ 376942 w 3080331"/>
                <a:gd name="connsiteY1660" fmla="*/ 48305 h 634427"/>
                <a:gd name="connsiteX1661" fmla="*/ 381906 w 3080331"/>
                <a:gd name="connsiteY1661" fmla="*/ 48305 h 634427"/>
                <a:gd name="connsiteX1662" fmla="*/ 384665 w 3080331"/>
                <a:gd name="connsiteY1662" fmla="*/ 49041 h 634427"/>
                <a:gd name="connsiteX1663" fmla="*/ 387240 w 3080331"/>
                <a:gd name="connsiteY1663" fmla="*/ 53638 h 634427"/>
                <a:gd name="connsiteX1664" fmla="*/ 385401 w 3080331"/>
                <a:gd name="connsiteY1664" fmla="*/ 57500 h 634427"/>
                <a:gd name="connsiteX1665" fmla="*/ 382642 w 3080331"/>
                <a:gd name="connsiteY1665" fmla="*/ 58787 h 634427"/>
                <a:gd name="connsiteX1666" fmla="*/ 382458 w 3080331"/>
                <a:gd name="connsiteY1666" fmla="*/ 58787 h 634427"/>
                <a:gd name="connsiteX1667" fmla="*/ 382274 w 3080331"/>
                <a:gd name="connsiteY1667" fmla="*/ 58787 h 634427"/>
                <a:gd name="connsiteX1668" fmla="*/ 381906 w 3080331"/>
                <a:gd name="connsiteY1668" fmla="*/ 58787 h 634427"/>
                <a:gd name="connsiteX1669" fmla="*/ 360023 w 3080331"/>
                <a:gd name="connsiteY1669" fmla="*/ 58787 h 634427"/>
                <a:gd name="connsiteX1670" fmla="*/ 359655 w 3080331"/>
                <a:gd name="connsiteY1670" fmla="*/ 58787 h 634427"/>
                <a:gd name="connsiteX1671" fmla="*/ 359104 w 3080331"/>
                <a:gd name="connsiteY1671" fmla="*/ 58787 h 634427"/>
                <a:gd name="connsiteX1672" fmla="*/ 358553 w 3080331"/>
                <a:gd name="connsiteY1672" fmla="*/ 58603 h 634427"/>
                <a:gd name="connsiteX1673" fmla="*/ 356162 w 3080331"/>
                <a:gd name="connsiteY1673" fmla="*/ 57316 h 634427"/>
                <a:gd name="connsiteX1674" fmla="*/ 354507 w 3080331"/>
                <a:gd name="connsiteY1674" fmla="*/ 53454 h 634427"/>
                <a:gd name="connsiteX1675" fmla="*/ 355978 w 3080331"/>
                <a:gd name="connsiteY1675" fmla="*/ 49960 h 634427"/>
                <a:gd name="connsiteX1676" fmla="*/ 359839 w 3080331"/>
                <a:gd name="connsiteY1676" fmla="*/ 48305 h 634427"/>
                <a:gd name="connsiteX1677" fmla="*/ 365172 w 3080331"/>
                <a:gd name="connsiteY1677" fmla="*/ 48305 h 634427"/>
                <a:gd name="connsiteX1678" fmla="*/ 365540 w 3080331"/>
                <a:gd name="connsiteY1678" fmla="*/ 47938 h 634427"/>
                <a:gd name="connsiteX1679" fmla="*/ 365540 w 3080331"/>
                <a:gd name="connsiteY1679" fmla="*/ 16676 h 634427"/>
                <a:gd name="connsiteX1680" fmla="*/ 365172 w 3080331"/>
                <a:gd name="connsiteY1680" fmla="*/ 16308 h 634427"/>
                <a:gd name="connsiteX1681" fmla="*/ 361127 w 3080331"/>
                <a:gd name="connsiteY1681" fmla="*/ 16308 h 634427"/>
                <a:gd name="connsiteX1682" fmla="*/ 356162 w 3080331"/>
                <a:gd name="connsiteY1682" fmla="*/ 13182 h 634427"/>
                <a:gd name="connsiteX1683" fmla="*/ 355978 w 3080331"/>
                <a:gd name="connsiteY1683" fmla="*/ 9320 h 634427"/>
                <a:gd name="connsiteX1684" fmla="*/ 360943 w 3080331"/>
                <a:gd name="connsiteY1684" fmla="*/ 5826 h 634427"/>
                <a:gd name="connsiteX1685" fmla="*/ 369218 w 3080331"/>
                <a:gd name="connsiteY1685" fmla="*/ 5642 h 634427"/>
                <a:gd name="connsiteX1686" fmla="*/ 2883642 w 3080331"/>
                <a:gd name="connsiteY1686" fmla="*/ 5595 h 634427"/>
                <a:gd name="connsiteX1687" fmla="*/ 2892001 w 3080331"/>
                <a:gd name="connsiteY1687" fmla="*/ 7066 h 634427"/>
                <a:gd name="connsiteX1688" fmla="*/ 2897016 w 3080331"/>
                <a:gd name="connsiteY1688" fmla="*/ 10193 h 634427"/>
                <a:gd name="connsiteX1689" fmla="*/ 2899357 w 3080331"/>
                <a:gd name="connsiteY1689" fmla="*/ 12399 h 634427"/>
                <a:gd name="connsiteX1690" fmla="*/ 2901697 w 3080331"/>
                <a:gd name="connsiteY1690" fmla="*/ 15341 h 634427"/>
                <a:gd name="connsiteX1691" fmla="*/ 2903035 w 3080331"/>
                <a:gd name="connsiteY1691" fmla="*/ 17732 h 634427"/>
                <a:gd name="connsiteX1692" fmla="*/ 2904539 w 3080331"/>
                <a:gd name="connsiteY1692" fmla="*/ 21410 h 634427"/>
                <a:gd name="connsiteX1693" fmla="*/ 2905208 w 3080331"/>
                <a:gd name="connsiteY1693" fmla="*/ 23801 h 634427"/>
                <a:gd name="connsiteX1694" fmla="*/ 2905877 w 3080331"/>
                <a:gd name="connsiteY1694" fmla="*/ 27294 h 634427"/>
                <a:gd name="connsiteX1695" fmla="*/ 2905710 w 3080331"/>
                <a:gd name="connsiteY1695" fmla="*/ 37041 h 634427"/>
                <a:gd name="connsiteX1696" fmla="*/ 2905041 w 3080331"/>
                <a:gd name="connsiteY1696" fmla="*/ 40351 h 634427"/>
                <a:gd name="connsiteX1697" fmla="*/ 2904205 w 3080331"/>
                <a:gd name="connsiteY1697" fmla="*/ 42925 h 634427"/>
                <a:gd name="connsiteX1698" fmla="*/ 2903536 w 3080331"/>
                <a:gd name="connsiteY1698" fmla="*/ 44580 h 634427"/>
                <a:gd name="connsiteX1699" fmla="*/ 2902032 w 3080331"/>
                <a:gd name="connsiteY1699" fmla="*/ 47523 h 634427"/>
                <a:gd name="connsiteX1700" fmla="*/ 2900527 w 3080331"/>
                <a:gd name="connsiteY1700" fmla="*/ 49729 h 634427"/>
                <a:gd name="connsiteX1701" fmla="*/ 2898186 w 3080331"/>
                <a:gd name="connsiteY1701" fmla="*/ 52303 h 634427"/>
                <a:gd name="connsiteX1702" fmla="*/ 2896013 w 3080331"/>
                <a:gd name="connsiteY1702" fmla="*/ 54143 h 634427"/>
                <a:gd name="connsiteX1703" fmla="*/ 2892168 w 3080331"/>
                <a:gd name="connsiteY1703" fmla="*/ 56350 h 634427"/>
                <a:gd name="connsiteX1704" fmla="*/ 2886819 w 3080331"/>
                <a:gd name="connsiteY1704" fmla="*/ 57821 h 634427"/>
                <a:gd name="connsiteX1705" fmla="*/ 2885983 w 3080331"/>
                <a:gd name="connsiteY1705" fmla="*/ 58004 h 634427"/>
                <a:gd name="connsiteX1706" fmla="*/ 2883140 w 3080331"/>
                <a:gd name="connsiteY1706" fmla="*/ 58004 h 634427"/>
                <a:gd name="connsiteX1707" fmla="*/ 2882973 w 3080331"/>
                <a:gd name="connsiteY1707" fmla="*/ 58004 h 634427"/>
                <a:gd name="connsiteX1708" fmla="*/ 2874113 w 3080331"/>
                <a:gd name="connsiteY1708" fmla="*/ 54694 h 634427"/>
                <a:gd name="connsiteX1709" fmla="*/ 2870936 w 3080331"/>
                <a:gd name="connsiteY1709" fmla="*/ 51936 h 634427"/>
                <a:gd name="connsiteX1710" fmla="*/ 2868763 w 3080331"/>
                <a:gd name="connsiteY1710" fmla="*/ 49361 h 634427"/>
                <a:gd name="connsiteX1711" fmla="*/ 2867259 w 3080331"/>
                <a:gd name="connsiteY1711" fmla="*/ 46971 h 634427"/>
                <a:gd name="connsiteX1712" fmla="*/ 2865754 w 3080331"/>
                <a:gd name="connsiteY1712" fmla="*/ 44028 h 634427"/>
                <a:gd name="connsiteX1713" fmla="*/ 2864918 w 3080331"/>
                <a:gd name="connsiteY1713" fmla="*/ 42006 h 634427"/>
                <a:gd name="connsiteX1714" fmla="*/ 2864249 w 3080331"/>
                <a:gd name="connsiteY1714" fmla="*/ 39799 h 634427"/>
                <a:gd name="connsiteX1715" fmla="*/ 2863413 w 3080331"/>
                <a:gd name="connsiteY1715" fmla="*/ 35937 h 634427"/>
                <a:gd name="connsiteX1716" fmla="*/ 2863247 w 3080331"/>
                <a:gd name="connsiteY1716" fmla="*/ 33914 h 634427"/>
                <a:gd name="connsiteX1717" fmla="*/ 2863413 w 3080331"/>
                <a:gd name="connsiteY1717" fmla="*/ 34098 h 634427"/>
                <a:gd name="connsiteX1718" fmla="*/ 2863413 w 3080331"/>
                <a:gd name="connsiteY1718" fmla="*/ 30237 h 634427"/>
                <a:gd name="connsiteX1719" fmla="*/ 2863413 w 3080331"/>
                <a:gd name="connsiteY1719" fmla="*/ 30053 h 634427"/>
                <a:gd name="connsiteX1720" fmla="*/ 2863748 w 3080331"/>
                <a:gd name="connsiteY1720" fmla="*/ 26926 h 634427"/>
                <a:gd name="connsiteX1721" fmla="*/ 2864584 w 3080331"/>
                <a:gd name="connsiteY1721" fmla="*/ 23248 h 634427"/>
                <a:gd name="connsiteX1722" fmla="*/ 2865252 w 3080331"/>
                <a:gd name="connsiteY1722" fmla="*/ 21042 h 634427"/>
                <a:gd name="connsiteX1723" fmla="*/ 2866757 w 3080331"/>
                <a:gd name="connsiteY1723" fmla="*/ 17548 h 634427"/>
                <a:gd name="connsiteX1724" fmla="*/ 2868262 w 3080331"/>
                <a:gd name="connsiteY1724" fmla="*/ 14973 h 634427"/>
                <a:gd name="connsiteX1725" fmla="*/ 2869766 w 3080331"/>
                <a:gd name="connsiteY1725" fmla="*/ 12950 h 634427"/>
                <a:gd name="connsiteX1726" fmla="*/ 2871271 w 3080331"/>
                <a:gd name="connsiteY1726" fmla="*/ 11296 h 634427"/>
                <a:gd name="connsiteX1727" fmla="*/ 2874447 w 3080331"/>
                <a:gd name="connsiteY1727" fmla="*/ 8721 h 634427"/>
                <a:gd name="connsiteX1728" fmla="*/ 2877122 w 3080331"/>
                <a:gd name="connsiteY1728" fmla="*/ 7250 h 634427"/>
                <a:gd name="connsiteX1729" fmla="*/ 2883642 w 3080331"/>
                <a:gd name="connsiteY1729" fmla="*/ 5595 h 634427"/>
                <a:gd name="connsiteX1730" fmla="*/ 2760799 w 3080331"/>
                <a:gd name="connsiteY1730" fmla="*/ 5595 h 634427"/>
                <a:gd name="connsiteX1731" fmla="*/ 2769158 w 3080331"/>
                <a:gd name="connsiteY1731" fmla="*/ 7066 h 634427"/>
                <a:gd name="connsiteX1732" fmla="*/ 2774174 w 3080331"/>
                <a:gd name="connsiteY1732" fmla="*/ 10193 h 634427"/>
                <a:gd name="connsiteX1733" fmla="*/ 2776514 w 3080331"/>
                <a:gd name="connsiteY1733" fmla="*/ 12399 h 634427"/>
                <a:gd name="connsiteX1734" fmla="*/ 2778854 w 3080331"/>
                <a:gd name="connsiteY1734" fmla="*/ 15341 h 634427"/>
                <a:gd name="connsiteX1735" fmla="*/ 2780192 w 3080331"/>
                <a:gd name="connsiteY1735" fmla="*/ 17732 h 634427"/>
                <a:gd name="connsiteX1736" fmla="*/ 2781696 w 3080331"/>
                <a:gd name="connsiteY1736" fmla="*/ 21410 h 634427"/>
                <a:gd name="connsiteX1737" fmla="*/ 2782365 w 3080331"/>
                <a:gd name="connsiteY1737" fmla="*/ 23801 h 634427"/>
                <a:gd name="connsiteX1738" fmla="*/ 2783034 w 3080331"/>
                <a:gd name="connsiteY1738" fmla="*/ 27294 h 634427"/>
                <a:gd name="connsiteX1739" fmla="*/ 2782867 w 3080331"/>
                <a:gd name="connsiteY1739" fmla="*/ 37041 h 634427"/>
                <a:gd name="connsiteX1740" fmla="*/ 2782198 w 3080331"/>
                <a:gd name="connsiteY1740" fmla="*/ 40351 h 634427"/>
                <a:gd name="connsiteX1741" fmla="*/ 2781362 w 3080331"/>
                <a:gd name="connsiteY1741" fmla="*/ 42925 h 634427"/>
                <a:gd name="connsiteX1742" fmla="*/ 2780693 w 3080331"/>
                <a:gd name="connsiteY1742" fmla="*/ 44580 h 634427"/>
                <a:gd name="connsiteX1743" fmla="*/ 2779189 w 3080331"/>
                <a:gd name="connsiteY1743" fmla="*/ 47523 h 634427"/>
                <a:gd name="connsiteX1744" fmla="*/ 2777684 w 3080331"/>
                <a:gd name="connsiteY1744" fmla="*/ 49729 h 634427"/>
                <a:gd name="connsiteX1745" fmla="*/ 2775343 w 3080331"/>
                <a:gd name="connsiteY1745" fmla="*/ 52303 h 634427"/>
                <a:gd name="connsiteX1746" fmla="*/ 2773170 w 3080331"/>
                <a:gd name="connsiteY1746" fmla="*/ 54143 h 634427"/>
                <a:gd name="connsiteX1747" fmla="*/ 2769325 w 3080331"/>
                <a:gd name="connsiteY1747" fmla="*/ 56350 h 634427"/>
                <a:gd name="connsiteX1748" fmla="*/ 2763976 w 3080331"/>
                <a:gd name="connsiteY1748" fmla="*/ 57821 h 634427"/>
                <a:gd name="connsiteX1749" fmla="*/ 2763140 w 3080331"/>
                <a:gd name="connsiteY1749" fmla="*/ 58004 h 634427"/>
                <a:gd name="connsiteX1750" fmla="*/ 2760298 w 3080331"/>
                <a:gd name="connsiteY1750" fmla="*/ 58004 h 634427"/>
                <a:gd name="connsiteX1751" fmla="*/ 2760130 w 3080331"/>
                <a:gd name="connsiteY1751" fmla="*/ 58004 h 634427"/>
                <a:gd name="connsiteX1752" fmla="*/ 2751270 w 3080331"/>
                <a:gd name="connsiteY1752" fmla="*/ 54694 h 634427"/>
                <a:gd name="connsiteX1753" fmla="*/ 2748093 w 3080331"/>
                <a:gd name="connsiteY1753" fmla="*/ 51936 h 634427"/>
                <a:gd name="connsiteX1754" fmla="*/ 2745920 w 3080331"/>
                <a:gd name="connsiteY1754" fmla="*/ 49361 h 634427"/>
                <a:gd name="connsiteX1755" fmla="*/ 2744416 w 3080331"/>
                <a:gd name="connsiteY1755" fmla="*/ 46971 h 634427"/>
                <a:gd name="connsiteX1756" fmla="*/ 2742911 w 3080331"/>
                <a:gd name="connsiteY1756" fmla="*/ 44028 h 634427"/>
                <a:gd name="connsiteX1757" fmla="*/ 2742075 w 3080331"/>
                <a:gd name="connsiteY1757" fmla="*/ 42006 h 634427"/>
                <a:gd name="connsiteX1758" fmla="*/ 2741406 w 3080331"/>
                <a:gd name="connsiteY1758" fmla="*/ 39799 h 634427"/>
                <a:gd name="connsiteX1759" fmla="*/ 2740570 w 3080331"/>
                <a:gd name="connsiteY1759" fmla="*/ 35937 h 634427"/>
                <a:gd name="connsiteX1760" fmla="*/ 2740404 w 3080331"/>
                <a:gd name="connsiteY1760" fmla="*/ 33914 h 634427"/>
                <a:gd name="connsiteX1761" fmla="*/ 2740570 w 3080331"/>
                <a:gd name="connsiteY1761" fmla="*/ 34098 h 634427"/>
                <a:gd name="connsiteX1762" fmla="*/ 2740570 w 3080331"/>
                <a:gd name="connsiteY1762" fmla="*/ 30237 h 634427"/>
                <a:gd name="connsiteX1763" fmla="*/ 2740570 w 3080331"/>
                <a:gd name="connsiteY1763" fmla="*/ 30053 h 634427"/>
                <a:gd name="connsiteX1764" fmla="*/ 2740905 w 3080331"/>
                <a:gd name="connsiteY1764" fmla="*/ 26926 h 634427"/>
                <a:gd name="connsiteX1765" fmla="*/ 2741741 w 3080331"/>
                <a:gd name="connsiteY1765" fmla="*/ 23248 h 634427"/>
                <a:gd name="connsiteX1766" fmla="*/ 2742409 w 3080331"/>
                <a:gd name="connsiteY1766" fmla="*/ 21042 h 634427"/>
                <a:gd name="connsiteX1767" fmla="*/ 2743914 w 3080331"/>
                <a:gd name="connsiteY1767" fmla="*/ 17548 h 634427"/>
                <a:gd name="connsiteX1768" fmla="*/ 2745419 w 3080331"/>
                <a:gd name="connsiteY1768" fmla="*/ 14973 h 634427"/>
                <a:gd name="connsiteX1769" fmla="*/ 2746923 w 3080331"/>
                <a:gd name="connsiteY1769" fmla="*/ 12950 h 634427"/>
                <a:gd name="connsiteX1770" fmla="*/ 2748428 w 3080331"/>
                <a:gd name="connsiteY1770" fmla="*/ 11296 h 634427"/>
                <a:gd name="connsiteX1771" fmla="*/ 2751604 w 3080331"/>
                <a:gd name="connsiteY1771" fmla="*/ 8721 h 634427"/>
                <a:gd name="connsiteX1772" fmla="*/ 2754279 w 3080331"/>
                <a:gd name="connsiteY1772" fmla="*/ 7250 h 634427"/>
                <a:gd name="connsiteX1773" fmla="*/ 2760799 w 3080331"/>
                <a:gd name="connsiteY1773" fmla="*/ 5595 h 634427"/>
                <a:gd name="connsiteX1774" fmla="*/ 2596858 w 3080331"/>
                <a:gd name="connsiteY1774" fmla="*/ 5595 h 634427"/>
                <a:gd name="connsiteX1775" fmla="*/ 2605216 w 3080331"/>
                <a:gd name="connsiteY1775" fmla="*/ 7066 h 634427"/>
                <a:gd name="connsiteX1776" fmla="*/ 2610232 w 3080331"/>
                <a:gd name="connsiteY1776" fmla="*/ 10193 h 634427"/>
                <a:gd name="connsiteX1777" fmla="*/ 2612572 w 3080331"/>
                <a:gd name="connsiteY1777" fmla="*/ 12399 h 634427"/>
                <a:gd name="connsiteX1778" fmla="*/ 2614912 w 3080331"/>
                <a:gd name="connsiteY1778" fmla="*/ 15341 h 634427"/>
                <a:gd name="connsiteX1779" fmla="*/ 2616250 w 3080331"/>
                <a:gd name="connsiteY1779" fmla="*/ 17732 h 634427"/>
                <a:gd name="connsiteX1780" fmla="*/ 2617755 w 3080331"/>
                <a:gd name="connsiteY1780" fmla="*/ 21410 h 634427"/>
                <a:gd name="connsiteX1781" fmla="*/ 2618423 w 3080331"/>
                <a:gd name="connsiteY1781" fmla="*/ 23801 h 634427"/>
                <a:gd name="connsiteX1782" fmla="*/ 2619092 w 3080331"/>
                <a:gd name="connsiteY1782" fmla="*/ 27294 h 634427"/>
                <a:gd name="connsiteX1783" fmla="*/ 2618925 w 3080331"/>
                <a:gd name="connsiteY1783" fmla="*/ 37041 h 634427"/>
                <a:gd name="connsiteX1784" fmla="*/ 2618256 w 3080331"/>
                <a:gd name="connsiteY1784" fmla="*/ 40351 h 634427"/>
                <a:gd name="connsiteX1785" fmla="*/ 2617420 w 3080331"/>
                <a:gd name="connsiteY1785" fmla="*/ 42925 h 634427"/>
                <a:gd name="connsiteX1786" fmla="*/ 2616751 w 3080331"/>
                <a:gd name="connsiteY1786" fmla="*/ 44580 h 634427"/>
                <a:gd name="connsiteX1787" fmla="*/ 2615247 w 3080331"/>
                <a:gd name="connsiteY1787" fmla="*/ 47523 h 634427"/>
                <a:gd name="connsiteX1788" fmla="*/ 2613743 w 3080331"/>
                <a:gd name="connsiteY1788" fmla="*/ 49729 h 634427"/>
                <a:gd name="connsiteX1789" fmla="*/ 2611401 w 3080331"/>
                <a:gd name="connsiteY1789" fmla="*/ 52303 h 634427"/>
                <a:gd name="connsiteX1790" fmla="*/ 2609228 w 3080331"/>
                <a:gd name="connsiteY1790" fmla="*/ 54143 h 634427"/>
                <a:gd name="connsiteX1791" fmla="*/ 2605383 w 3080331"/>
                <a:gd name="connsiteY1791" fmla="*/ 56350 h 634427"/>
                <a:gd name="connsiteX1792" fmla="*/ 2600034 w 3080331"/>
                <a:gd name="connsiteY1792" fmla="*/ 57821 h 634427"/>
                <a:gd name="connsiteX1793" fmla="*/ 2599198 w 3080331"/>
                <a:gd name="connsiteY1793" fmla="*/ 58004 h 634427"/>
                <a:gd name="connsiteX1794" fmla="*/ 2596356 w 3080331"/>
                <a:gd name="connsiteY1794" fmla="*/ 58004 h 634427"/>
                <a:gd name="connsiteX1795" fmla="*/ 2596188 w 3080331"/>
                <a:gd name="connsiteY1795" fmla="*/ 58004 h 634427"/>
                <a:gd name="connsiteX1796" fmla="*/ 2587328 w 3080331"/>
                <a:gd name="connsiteY1796" fmla="*/ 54694 h 634427"/>
                <a:gd name="connsiteX1797" fmla="*/ 2584151 w 3080331"/>
                <a:gd name="connsiteY1797" fmla="*/ 51936 h 634427"/>
                <a:gd name="connsiteX1798" fmla="*/ 2581978 w 3080331"/>
                <a:gd name="connsiteY1798" fmla="*/ 49361 h 634427"/>
                <a:gd name="connsiteX1799" fmla="*/ 2580474 w 3080331"/>
                <a:gd name="connsiteY1799" fmla="*/ 46971 h 634427"/>
                <a:gd name="connsiteX1800" fmla="*/ 2578969 w 3080331"/>
                <a:gd name="connsiteY1800" fmla="*/ 44028 h 634427"/>
                <a:gd name="connsiteX1801" fmla="*/ 2578134 w 3080331"/>
                <a:gd name="connsiteY1801" fmla="*/ 42006 h 634427"/>
                <a:gd name="connsiteX1802" fmla="*/ 2577464 w 3080331"/>
                <a:gd name="connsiteY1802" fmla="*/ 39799 h 634427"/>
                <a:gd name="connsiteX1803" fmla="*/ 2576629 w 3080331"/>
                <a:gd name="connsiteY1803" fmla="*/ 35937 h 634427"/>
                <a:gd name="connsiteX1804" fmla="*/ 2576462 w 3080331"/>
                <a:gd name="connsiteY1804" fmla="*/ 33914 h 634427"/>
                <a:gd name="connsiteX1805" fmla="*/ 2576629 w 3080331"/>
                <a:gd name="connsiteY1805" fmla="*/ 34098 h 634427"/>
                <a:gd name="connsiteX1806" fmla="*/ 2576629 w 3080331"/>
                <a:gd name="connsiteY1806" fmla="*/ 30237 h 634427"/>
                <a:gd name="connsiteX1807" fmla="*/ 2576629 w 3080331"/>
                <a:gd name="connsiteY1807" fmla="*/ 30053 h 634427"/>
                <a:gd name="connsiteX1808" fmla="*/ 2576963 w 3080331"/>
                <a:gd name="connsiteY1808" fmla="*/ 26926 h 634427"/>
                <a:gd name="connsiteX1809" fmla="*/ 2577799 w 3080331"/>
                <a:gd name="connsiteY1809" fmla="*/ 23248 h 634427"/>
                <a:gd name="connsiteX1810" fmla="*/ 2578468 w 3080331"/>
                <a:gd name="connsiteY1810" fmla="*/ 21042 h 634427"/>
                <a:gd name="connsiteX1811" fmla="*/ 2579972 w 3080331"/>
                <a:gd name="connsiteY1811" fmla="*/ 17548 h 634427"/>
                <a:gd name="connsiteX1812" fmla="*/ 2581477 w 3080331"/>
                <a:gd name="connsiteY1812" fmla="*/ 14973 h 634427"/>
                <a:gd name="connsiteX1813" fmla="*/ 2582982 w 3080331"/>
                <a:gd name="connsiteY1813" fmla="*/ 12950 h 634427"/>
                <a:gd name="connsiteX1814" fmla="*/ 2584486 w 3080331"/>
                <a:gd name="connsiteY1814" fmla="*/ 11296 h 634427"/>
                <a:gd name="connsiteX1815" fmla="*/ 2587662 w 3080331"/>
                <a:gd name="connsiteY1815" fmla="*/ 8721 h 634427"/>
                <a:gd name="connsiteX1816" fmla="*/ 2590337 w 3080331"/>
                <a:gd name="connsiteY1816" fmla="*/ 7250 h 634427"/>
                <a:gd name="connsiteX1817" fmla="*/ 2596858 w 3080331"/>
                <a:gd name="connsiteY1817" fmla="*/ 5595 h 634427"/>
                <a:gd name="connsiteX1818" fmla="*/ 2474015 w 3080331"/>
                <a:gd name="connsiteY1818" fmla="*/ 5595 h 634427"/>
                <a:gd name="connsiteX1819" fmla="*/ 2482373 w 3080331"/>
                <a:gd name="connsiteY1819" fmla="*/ 7066 h 634427"/>
                <a:gd name="connsiteX1820" fmla="*/ 2487389 w 3080331"/>
                <a:gd name="connsiteY1820" fmla="*/ 10193 h 634427"/>
                <a:gd name="connsiteX1821" fmla="*/ 2489729 w 3080331"/>
                <a:gd name="connsiteY1821" fmla="*/ 12399 h 634427"/>
                <a:gd name="connsiteX1822" fmla="*/ 2492069 w 3080331"/>
                <a:gd name="connsiteY1822" fmla="*/ 15341 h 634427"/>
                <a:gd name="connsiteX1823" fmla="*/ 2493407 w 3080331"/>
                <a:gd name="connsiteY1823" fmla="*/ 17732 h 634427"/>
                <a:gd name="connsiteX1824" fmla="*/ 2494912 w 3080331"/>
                <a:gd name="connsiteY1824" fmla="*/ 21410 h 634427"/>
                <a:gd name="connsiteX1825" fmla="*/ 2495580 w 3080331"/>
                <a:gd name="connsiteY1825" fmla="*/ 23801 h 634427"/>
                <a:gd name="connsiteX1826" fmla="*/ 2496249 w 3080331"/>
                <a:gd name="connsiteY1826" fmla="*/ 27294 h 634427"/>
                <a:gd name="connsiteX1827" fmla="*/ 2496082 w 3080331"/>
                <a:gd name="connsiteY1827" fmla="*/ 37041 h 634427"/>
                <a:gd name="connsiteX1828" fmla="*/ 2495413 w 3080331"/>
                <a:gd name="connsiteY1828" fmla="*/ 40351 h 634427"/>
                <a:gd name="connsiteX1829" fmla="*/ 2494577 w 3080331"/>
                <a:gd name="connsiteY1829" fmla="*/ 42925 h 634427"/>
                <a:gd name="connsiteX1830" fmla="*/ 2493908 w 3080331"/>
                <a:gd name="connsiteY1830" fmla="*/ 44580 h 634427"/>
                <a:gd name="connsiteX1831" fmla="*/ 2492404 w 3080331"/>
                <a:gd name="connsiteY1831" fmla="*/ 47523 h 634427"/>
                <a:gd name="connsiteX1832" fmla="*/ 2490900 w 3080331"/>
                <a:gd name="connsiteY1832" fmla="*/ 49729 h 634427"/>
                <a:gd name="connsiteX1833" fmla="*/ 2488559 w 3080331"/>
                <a:gd name="connsiteY1833" fmla="*/ 52303 h 634427"/>
                <a:gd name="connsiteX1834" fmla="*/ 2486386 w 3080331"/>
                <a:gd name="connsiteY1834" fmla="*/ 54143 h 634427"/>
                <a:gd name="connsiteX1835" fmla="*/ 2482540 w 3080331"/>
                <a:gd name="connsiteY1835" fmla="*/ 56350 h 634427"/>
                <a:gd name="connsiteX1836" fmla="*/ 2477191 w 3080331"/>
                <a:gd name="connsiteY1836" fmla="*/ 57821 h 634427"/>
                <a:gd name="connsiteX1837" fmla="*/ 2476355 w 3080331"/>
                <a:gd name="connsiteY1837" fmla="*/ 58004 h 634427"/>
                <a:gd name="connsiteX1838" fmla="*/ 2473513 w 3080331"/>
                <a:gd name="connsiteY1838" fmla="*/ 58004 h 634427"/>
                <a:gd name="connsiteX1839" fmla="*/ 2473345 w 3080331"/>
                <a:gd name="connsiteY1839" fmla="*/ 58004 h 634427"/>
                <a:gd name="connsiteX1840" fmla="*/ 2464485 w 3080331"/>
                <a:gd name="connsiteY1840" fmla="*/ 54694 h 634427"/>
                <a:gd name="connsiteX1841" fmla="*/ 2461308 w 3080331"/>
                <a:gd name="connsiteY1841" fmla="*/ 51936 h 634427"/>
                <a:gd name="connsiteX1842" fmla="*/ 2459135 w 3080331"/>
                <a:gd name="connsiteY1842" fmla="*/ 49361 h 634427"/>
                <a:gd name="connsiteX1843" fmla="*/ 2457631 w 3080331"/>
                <a:gd name="connsiteY1843" fmla="*/ 46971 h 634427"/>
                <a:gd name="connsiteX1844" fmla="*/ 2456126 w 3080331"/>
                <a:gd name="connsiteY1844" fmla="*/ 44028 h 634427"/>
                <a:gd name="connsiteX1845" fmla="*/ 2455291 w 3080331"/>
                <a:gd name="connsiteY1845" fmla="*/ 42006 h 634427"/>
                <a:gd name="connsiteX1846" fmla="*/ 2454621 w 3080331"/>
                <a:gd name="connsiteY1846" fmla="*/ 39799 h 634427"/>
                <a:gd name="connsiteX1847" fmla="*/ 2453786 w 3080331"/>
                <a:gd name="connsiteY1847" fmla="*/ 35937 h 634427"/>
                <a:gd name="connsiteX1848" fmla="*/ 2453619 w 3080331"/>
                <a:gd name="connsiteY1848" fmla="*/ 33914 h 634427"/>
                <a:gd name="connsiteX1849" fmla="*/ 2453786 w 3080331"/>
                <a:gd name="connsiteY1849" fmla="*/ 34098 h 634427"/>
                <a:gd name="connsiteX1850" fmla="*/ 2453786 w 3080331"/>
                <a:gd name="connsiteY1850" fmla="*/ 30237 h 634427"/>
                <a:gd name="connsiteX1851" fmla="*/ 2453786 w 3080331"/>
                <a:gd name="connsiteY1851" fmla="*/ 30053 h 634427"/>
                <a:gd name="connsiteX1852" fmla="*/ 2454120 w 3080331"/>
                <a:gd name="connsiteY1852" fmla="*/ 26926 h 634427"/>
                <a:gd name="connsiteX1853" fmla="*/ 2454956 w 3080331"/>
                <a:gd name="connsiteY1853" fmla="*/ 23248 h 634427"/>
                <a:gd name="connsiteX1854" fmla="*/ 2455625 w 3080331"/>
                <a:gd name="connsiteY1854" fmla="*/ 21042 h 634427"/>
                <a:gd name="connsiteX1855" fmla="*/ 2457129 w 3080331"/>
                <a:gd name="connsiteY1855" fmla="*/ 17548 h 634427"/>
                <a:gd name="connsiteX1856" fmla="*/ 2458634 w 3080331"/>
                <a:gd name="connsiteY1856" fmla="*/ 14973 h 634427"/>
                <a:gd name="connsiteX1857" fmla="*/ 2460139 w 3080331"/>
                <a:gd name="connsiteY1857" fmla="*/ 12950 h 634427"/>
                <a:gd name="connsiteX1858" fmla="*/ 2461643 w 3080331"/>
                <a:gd name="connsiteY1858" fmla="*/ 11296 h 634427"/>
                <a:gd name="connsiteX1859" fmla="*/ 2464819 w 3080331"/>
                <a:gd name="connsiteY1859" fmla="*/ 8721 h 634427"/>
                <a:gd name="connsiteX1860" fmla="*/ 2467494 w 3080331"/>
                <a:gd name="connsiteY1860" fmla="*/ 7250 h 634427"/>
                <a:gd name="connsiteX1861" fmla="*/ 2474015 w 3080331"/>
                <a:gd name="connsiteY1861" fmla="*/ 5595 h 634427"/>
                <a:gd name="connsiteX1862" fmla="*/ 2351172 w 3080331"/>
                <a:gd name="connsiteY1862" fmla="*/ 5595 h 634427"/>
                <a:gd name="connsiteX1863" fmla="*/ 2359530 w 3080331"/>
                <a:gd name="connsiteY1863" fmla="*/ 7066 h 634427"/>
                <a:gd name="connsiteX1864" fmla="*/ 2364546 w 3080331"/>
                <a:gd name="connsiteY1864" fmla="*/ 10193 h 634427"/>
                <a:gd name="connsiteX1865" fmla="*/ 2366886 w 3080331"/>
                <a:gd name="connsiteY1865" fmla="*/ 12399 h 634427"/>
                <a:gd name="connsiteX1866" fmla="*/ 2369226 w 3080331"/>
                <a:gd name="connsiteY1866" fmla="*/ 15341 h 634427"/>
                <a:gd name="connsiteX1867" fmla="*/ 2370564 w 3080331"/>
                <a:gd name="connsiteY1867" fmla="*/ 17732 h 634427"/>
                <a:gd name="connsiteX1868" fmla="*/ 2372069 w 3080331"/>
                <a:gd name="connsiteY1868" fmla="*/ 21410 h 634427"/>
                <a:gd name="connsiteX1869" fmla="*/ 2372737 w 3080331"/>
                <a:gd name="connsiteY1869" fmla="*/ 23801 h 634427"/>
                <a:gd name="connsiteX1870" fmla="*/ 2373406 w 3080331"/>
                <a:gd name="connsiteY1870" fmla="*/ 27294 h 634427"/>
                <a:gd name="connsiteX1871" fmla="*/ 2373239 w 3080331"/>
                <a:gd name="connsiteY1871" fmla="*/ 37041 h 634427"/>
                <a:gd name="connsiteX1872" fmla="*/ 2372570 w 3080331"/>
                <a:gd name="connsiteY1872" fmla="*/ 40351 h 634427"/>
                <a:gd name="connsiteX1873" fmla="*/ 2371734 w 3080331"/>
                <a:gd name="connsiteY1873" fmla="*/ 42925 h 634427"/>
                <a:gd name="connsiteX1874" fmla="*/ 2371065 w 3080331"/>
                <a:gd name="connsiteY1874" fmla="*/ 44580 h 634427"/>
                <a:gd name="connsiteX1875" fmla="*/ 2369561 w 3080331"/>
                <a:gd name="connsiteY1875" fmla="*/ 47523 h 634427"/>
                <a:gd name="connsiteX1876" fmla="*/ 2368057 w 3080331"/>
                <a:gd name="connsiteY1876" fmla="*/ 49729 h 634427"/>
                <a:gd name="connsiteX1877" fmla="*/ 2365716 w 3080331"/>
                <a:gd name="connsiteY1877" fmla="*/ 52303 h 634427"/>
                <a:gd name="connsiteX1878" fmla="*/ 2363543 w 3080331"/>
                <a:gd name="connsiteY1878" fmla="*/ 54143 h 634427"/>
                <a:gd name="connsiteX1879" fmla="*/ 2359697 w 3080331"/>
                <a:gd name="connsiteY1879" fmla="*/ 56350 h 634427"/>
                <a:gd name="connsiteX1880" fmla="*/ 2354348 w 3080331"/>
                <a:gd name="connsiteY1880" fmla="*/ 57821 h 634427"/>
                <a:gd name="connsiteX1881" fmla="*/ 2353512 w 3080331"/>
                <a:gd name="connsiteY1881" fmla="*/ 58004 h 634427"/>
                <a:gd name="connsiteX1882" fmla="*/ 2350670 w 3080331"/>
                <a:gd name="connsiteY1882" fmla="*/ 58004 h 634427"/>
                <a:gd name="connsiteX1883" fmla="*/ 2350502 w 3080331"/>
                <a:gd name="connsiteY1883" fmla="*/ 58004 h 634427"/>
                <a:gd name="connsiteX1884" fmla="*/ 2341642 w 3080331"/>
                <a:gd name="connsiteY1884" fmla="*/ 54694 h 634427"/>
                <a:gd name="connsiteX1885" fmla="*/ 2338466 w 3080331"/>
                <a:gd name="connsiteY1885" fmla="*/ 51936 h 634427"/>
                <a:gd name="connsiteX1886" fmla="*/ 2336292 w 3080331"/>
                <a:gd name="connsiteY1886" fmla="*/ 49361 h 634427"/>
                <a:gd name="connsiteX1887" fmla="*/ 2334788 w 3080331"/>
                <a:gd name="connsiteY1887" fmla="*/ 46971 h 634427"/>
                <a:gd name="connsiteX1888" fmla="*/ 2333283 w 3080331"/>
                <a:gd name="connsiteY1888" fmla="*/ 44028 h 634427"/>
                <a:gd name="connsiteX1889" fmla="*/ 2332448 w 3080331"/>
                <a:gd name="connsiteY1889" fmla="*/ 42006 h 634427"/>
                <a:gd name="connsiteX1890" fmla="*/ 2331778 w 3080331"/>
                <a:gd name="connsiteY1890" fmla="*/ 39799 h 634427"/>
                <a:gd name="connsiteX1891" fmla="*/ 2330943 w 3080331"/>
                <a:gd name="connsiteY1891" fmla="*/ 35937 h 634427"/>
                <a:gd name="connsiteX1892" fmla="*/ 2330776 w 3080331"/>
                <a:gd name="connsiteY1892" fmla="*/ 33914 h 634427"/>
                <a:gd name="connsiteX1893" fmla="*/ 2330943 w 3080331"/>
                <a:gd name="connsiteY1893" fmla="*/ 34098 h 634427"/>
                <a:gd name="connsiteX1894" fmla="*/ 2330943 w 3080331"/>
                <a:gd name="connsiteY1894" fmla="*/ 30237 h 634427"/>
                <a:gd name="connsiteX1895" fmla="*/ 2330943 w 3080331"/>
                <a:gd name="connsiteY1895" fmla="*/ 30053 h 634427"/>
                <a:gd name="connsiteX1896" fmla="*/ 2331277 w 3080331"/>
                <a:gd name="connsiteY1896" fmla="*/ 26926 h 634427"/>
                <a:gd name="connsiteX1897" fmla="*/ 2332113 w 3080331"/>
                <a:gd name="connsiteY1897" fmla="*/ 23248 h 634427"/>
                <a:gd name="connsiteX1898" fmla="*/ 2332782 w 3080331"/>
                <a:gd name="connsiteY1898" fmla="*/ 21042 h 634427"/>
                <a:gd name="connsiteX1899" fmla="*/ 2334286 w 3080331"/>
                <a:gd name="connsiteY1899" fmla="*/ 17548 h 634427"/>
                <a:gd name="connsiteX1900" fmla="*/ 2335791 w 3080331"/>
                <a:gd name="connsiteY1900" fmla="*/ 14973 h 634427"/>
                <a:gd name="connsiteX1901" fmla="*/ 2337296 w 3080331"/>
                <a:gd name="connsiteY1901" fmla="*/ 12950 h 634427"/>
                <a:gd name="connsiteX1902" fmla="*/ 2338800 w 3080331"/>
                <a:gd name="connsiteY1902" fmla="*/ 11296 h 634427"/>
                <a:gd name="connsiteX1903" fmla="*/ 2341976 w 3080331"/>
                <a:gd name="connsiteY1903" fmla="*/ 8721 h 634427"/>
                <a:gd name="connsiteX1904" fmla="*/ 2344651 w 3080331"/>
                <a:gd name="connsiteY1904" fmla="*/ 7250 h 634427"/>
                <a:gd name="connsiteX1905" fmla="*/ 2351172 w 3080331"/>
                <a:gd name="connsiteY1905" fmla="*/ 5595 h 634427"/>
                <a:gd name="connsiteX1906" fmla="*/ 2238478 w 3080331"/>
                <a:gd name="connsiteY1906" fmla="*/ 5595 h 634427"/>
                <a:gd name="connsiteX1907" fmla="*/ 2246836 w 3080331"/>
                <a:gd name="connsiteY1907" fmla="*/ 7066 h 634427"/>
                <a:gd name="connsiteX1908" fmla="*/ 2251852 w 3080331"/>
                <a:gd name="connsiteY1908" fmla="*/ 10193 h 634427"/>
                <a:gd name="connsiteX1909" fmla="*/ 2254192 w 3080331"/>
                <a:gd name="connsiteY1909" fmla="*/ 12399 h 634427"/>
                <a:gd name="connsiteX1910" fmla="*/ 2256532 w 3080331"/>
                <a:gd name="connsiteY1910" fmla="*/ 15341 h 634427"/>
                <a:gd name="connsiteX1911" fmla="*/ 2257870 w 3080331"/>
                <a:gd name="connsiteY1911" fmla="*/ 17732 h 634427"/>
                <a:gd name="connsiteX1912" fmla="*/ 2259375 w 3080331"/>
                <a:gd name="connsiteY1912" fmla="*/ 21410 h 634427"/>
                <a:gd name="connsiteX1913" fmla="*/ 2260043 w 3080331"/>
                <a:gd name="connsiteY1913" fmla="*/ 23801 h 634427"/>
                <a:gd name="connsiteX1914" fmla="*/ 2260712 w 3080331"/>
                <a:gd name="connsiteY1914" fmla="*/ 27294 h 634427"/>
                <a:gd name="connsiteX1915" fmla="*/ 2260545 w 3080331"/>
                <a:gd name="connsiteY1915" fmla="*/ 37041 h 634427"/>
                <a:gd name="connsiteX1916" fmla="*/ 2259876 w 3080331"/>
                <a:gd name="connsiteY1916" fmla="*/ 40351 h 634427"/>
                <a:gd name="connsiteX1917" fmla="*/ 2259040 w 3080331"/>
                <a:gd name="connsiteY1917" fmla="*/ 42925 h 634427"/>
                <a:gd name="connsiteX1918" fmla="*/ 2258371 w 3080331"/>
                <a:gd name="connsiteY1918" fmla="*/ 44580 h 634427"/>
                <a:gd name="connsiteX1919" fmla="*/ 2256867 w 3080331"/>
                <a:gd name="connsiteY1919" fmla="*/ 47523 h 634427"/>
                <a:gd name="connsiteX1920" fmla="*/ 2255363 w 3080331"/>
                <a:gd name="connsiteY1920" fmla="*/ 49729 h 634427"/>
                <a:gd name="connsiteX1921" fmla="*/ 2253022 w 3080331"/>
                <a:gd name="connsiteY1921" fmla="*/ 52303 h 634427"/>
                <a:gd name="connsiteX1922" fmla="*/ 2250849 w 3080331"/>
                <a:gd name="connsiteY1922" fmla="*/ 54143 h 634427"/>
                <a:gd name="connsiteX1923" fmla="*/ 2247003 w 3080331"/>
                <a:gd name="connsiteY1923" fmla="*/ 56350 h 634427"/>
                <a:gd name="connsiteX1924" fmla="*/ 2241654 w 3080331"/>
                <a:gd name="connsiteY1924" fmla="*/ 57821 h 634427"/>
                <a:gd name="connsiteX1925" fmla="*/ 2240818 w 3080331"/>
                <a:gd name="connsiteY1925" fmla="*/ 58004 h 634427"/>
                <a:gd name="connsiteX1926" fmla="*/ 2237976 w 3080331"/>
                <a:gd name="connsiteY1926" fmla="*/ 58004 h 634427"/>
                <a:gd name="connsiteX1927" fmla="*/ 2237808 w 3080331"/>
                <a:gd name="connsiteY1927" fmla="*/ 58004 h 634427"/>
                <a:gd name="connsiteX1928" fmla="*/ 2228948 w 3080331"/>
                <a:gd name="connsiteY1928" fmla="*/ 54694 h 634427"/>
                <a:gd name="connsiteX1929" fmla="*/ 2225772 w 3080331"/>
                <a:gd name="connsiteY1929" fmla="*/ 51936 h 634427"/>
                <a:gd name="connsiteX1930" fmla="*/ 2223598 w 3080331"/>
                <a:gd name="connsiteY1930" fmla="*/ 49361 h 634427"/>
                <a:gd name="connsiteX1931" fmla="*/ 2222094 w 3080331"/>
                <a:gd name="connsiteY1931" fmla="*/ 46971 h 634427"/>
                <a:gd name="connsiteX1932" fmla="*/ 2220589 w 3080331"/>
                <a:gd name="connsiteY1932" fmla="*/ 44028 h 634427"/>
                <a:gd name="connsiteX1933" fmla="*/ 2219754 w 3080331"/>
                <a:gd name="connsiteY1933" fmla="*/ 42006 h 634427"/>
                <a:gd name="connsiteX1934" fmla="*/ 2219084 w 3080331"/>
                <a:gd name="connsiteY1934" fmla="*/ 39799 h 634427"/>
                <a:gd name="connsiteX1935" fmla="*/ 2218249 w 3080331"/>
                <a:gd name="connsiteY1935" fmla="*/ 35937 h 634427"/>
                <a:gd name="connsiteX1936" fmla="*/ 2218082 w 3080331"/>
                <a:gd name="connsiteY1936" fmla="*/ 33914 h 634427"/>
                <a:gd name="connsiteX1937" fmla="*/ 2218249 w 3080331"/>
                <a:gd name="connsiteY1937" fmla="*/ 34098 h 634427"/>
                <a:gd name="connsiteX1938" fmla="*/ 2218249 w 3080331"/>
                <a:gd name="connsiteY1938" fmla="*/ 30237 h 634427"/>
                <a:gd name="connsiteX1939" fmla="*/ 2218249 w 3080331"/>
                <a:gd name="connsiteY1939" fmla="*/ 30053 h 634427"/>
                <a:gd name="connsiteX1940" fmla="*/ 2218583 w 3080331"/>
                <a:gd name="connsiteY1940" fmla="*/ 26926 h 634427"/>
                <a:gd name="connsiteX1941" fmla="*/ 2219419 w 3080331"/>
                <a:gd name="connsiteY1941" fmla="*/ 23248 h 634427"/>
                <a:gd name="connsiteX1942" fmla="*/ 2220088 w 3080331"/>
                <a:gd name="connsiteY1942" fmla="*/ 21042 h 634427"/>
                <a:gd name="connsiteX1943" fmla="*/ 2221592 w 3080331"/>
                <a:gd name="connsiteY1943" fmla="*/ 17548 h 634427"/>
                <a:gd name="connsiteX1944" fmla="*/ 2223097 w 3080331"/>
                <a:gd name="connsiteY1944" fmla="*/ 14973 h 634427"/>
                <a:gd name="connsiteX1945" fmla="*/ 2224602 w 3080331"/>
                <a:gd name="connsiteY1945" fmla="*/ 12950 h 634427"/>
                <a:gd name="connsiteX1946" fmla="*/ 2226106 w 3080331"/>
                <a:gd name="connsiteY1946" fmla="*/ 11296 h 634427"/>
                <a:gd name="connsiteX1947" fmla="*/ 2229282 w 3080331"/>
                <a:gd name="connsiteY1947" fmla="*/ 8721 h 634427"/>
                <a:gd name="connsiteX1948" fmla="*/ 2231957 w 3080331"/>
                <a:gd name="connsiteY1948" fmla="*/ 7250 h 634427"/>
                <a:gd name="connsiteX1949" fmla="*/ 2238478 w 3080331"/>
                <a:gd name="connsiteY1949" fmla="*/ 5595 h 634427"/>
                <a:gd name="connsiteX1950" fmla="*/ 2002990 w 3080331"/>
                <a:gd name="connsiteY1950" fmla="*/ 5595 h 634427"/>
                <a:gd name="connsiteX1951" fmla="*/ 2011349 w 3080331"/>
                <a:gd name="connsiteY1951" fmla="*/ 7066 h 634427"/>
                <a:gd name="connsiteX1952" fmla="*/ 2016364 w 3080331"/>
                <a:gd name="connsiteY1952" fmla="*/ 10193 h 634427"/>
                <a:gd name="connsiteX1953" fmla="*/ 2018705 w 3080331"/>
                <a:gd name="connsiteY1953" fmla="*/ 12399 h 634427"/>
                <a:gd name="connsiteX1954" fmla="*/ 2021045 w 3080331"/>
                <a:gd name="connsiteY1954" fmla="*/ 15341 h 634427"/>
                <a:gd name="connsiteX1955" fmla="*/ 2022383 w 3080331"/>
                <a:gd name="connsiteY1955" fmla="*/ 17732 h 634427"/>
                <a:gd name="connsiteX1956" fmla="*/ 2023887 w 3080331"/>
                <a:gd name="connsiteY1956" fmla="*/ 21410 h 634427"/>
                <a:gd name="connsiteX1957" fmla="*/ 2024556 w 3080331"/>
                <a:gd name="connsiteY1957" fmla="*/ 23801 h 634427"/>
                <a:gd name="connsiteX1958" fmla="*/ 2025224 w 3080331"/>
                <a:gd name="connsiteY1958" fmla="*/ 27294 h 634427"/>
                <a:gd name="connsiteX1959" fmla="*/ 2025058 w 3080331"/>
                <a:gd name="connsiteY1959" fmla="*/ 37041 h 634427"/>
                <a:gd name="connsiteX1960" fmla="*/ 2024389 w 3080331"/>
                <a:gd name="connsiteY1960" fmla="*/ 40351 h 634427"/>
                <a:gd name="connsiteX1961" fmla="*/ 2023553 w 3080331"/>
                <a:gd name="connsiteY1961" fmla="*/ 42925 h 634427"/>
                <a:gd name="connsiteX1962" fmla="*/ 2022884 w 3080331"/>
                <a:gd name="connsiteY1962" fmla="*/ 44580 h 634427"/>
                <a:gd name="connsiteX1963" fmla="*/ 2021380 w 3080331"/>
                <a:gd name="connsiteY1963" fmla="*/ 47523 h 634427"/>
                <a:gd name="connsiteX1964" fmla="*/ 2019875 w 3080331"/>
                <a:gd name="connsiteY1964" fmla="*/ 49729 h 634427"/>
                <a:gd name="connsiteX1965" fmla="*/ 2017534 w 3080331"/>
                <a:gd name="connsiteY1965" fmla="*/ 52303 h 634427"/>
                <a:gd name="connsiteX1966" fmla="*/ 2015361 w 3080331"/>
                <a:gd name="connsiteY1966" fmla="*/ 54143 h 634427"/>
                <a:gd name="connsiteX1967" fmla="*/ 2011516 w 3080331"/>
                <a:gd name="connsiteY1967" fmla="*/ 56350 h 634427"/>
                <a:gd name="connsiteX1968" fmla="*/ 2006166 w 3080331"/>
                <a:gd name="connsiteY1968" fmla="*/ 57821 h 634427"/>
                <a:gd name="connsiteX1969" fmla="*/ 2005331 w 3080331"/>
                <a:gd name="connsiteY1969" fmla="*/ 58004 h 634427"/>
                <a:gd name="connsiteX1970" fmla="*/ 2002488 w 3080331"/>
                <a:gd name="connsiteY1970" fmla="*/ 58004 h 634427"/>
                <a:gd name="connsiteX1971" fmla="*/ 2002321 w 3080331"/>
                <a:gd name="connsiteY1971" fmla="*/ 58004 h 634427"/>
                <a:gd name="connsiteX1972" fmla="*/ 1993461 w 3080331"/>
                <a:gd name="connsiteY1972" fmla="*/ 54694 h 634427"/>
                <a:gd name="connsiteX1973" fmla="*/ 1990285 w 3080331"/>
                <a:gd name="connsiteY1973" fmla="*/ 51936 h 634427"/>
                <a:gd name="connsiteX1974" fmla="*/ 1988111 w 3080331"/>
                <a:gd name="connsiteY1974" fmla="*/ 49361 h 634427"/>
                <a:gd name="connsiteX1975" fmla="*/ 1986607 w 3080331"/>
                <a:gd name="connsiteY1975" fmla="*/ 46971 h 634427"/>
                <a:gd name="connsiteX1976" fmla="*/ 1985102 w 3080331"/>
                <a:gd name="connsiteY1976" fmla="*/ 44028 h 634427"/>
                <a:gd name="connsiteX1977" fmla="*/ 1984266 w 3080331"/>
                <a:gd name="connsiteY1977" fmla="*/ 42006 h 634427"/>
                <a:gd name="connsiteX1978" fmla="*/ 1983597 w 3080331"/>
                <a:gd name="connsiteY1978" fmla="*/ 39799 h 634427"/>
                <a:gd name="connsiteX1979" fmla="*/ 1982761 w 3080331"/>
                <a:gd name="connsiteY1979" fmla="*/ 35937 h 634427"/>
                <a:gd name="connsiteX1980" fmla="*/ 1982595 w 3080331"/>
                <a:gd name="connsiteY1980" fmla="*/ 33914 h 634427"/>
                <a:gd name="connsiteX1981" fmla="*/ 1982761 w 3080331"/>
                <a:gd name="connsiteY1981" fmla="*/ 34098 h 634427"/>
                <a:gd name="connsiteX1982" fmla="*/ 1982761 w 3080331"/>
                <a:gd name="connsiteY1982" fmla="*/ 30237 h 634427"/>
                <a:gd name="connsiteX1983" fmla="*/ 1982761 w 3080331"/>
                <a:gd name="connsiteY1983" fmla="*/ 30053 h 634427"/>
                <a:gd name="connsiteX1984" fmla="*/ 1983096 w 3080331"/>
                <a:gd name="connsiteY1984" fmla="*/ 26926 h 634427"/>
                <a:gd name="connsiteX1985" fmla="*/ 1983932 w 3080331"/>
                <a:gd name="connsiteY1985" fmla="*/ 23248 h 634427"/>
                <a:gd name="connsiteX1986" fmla="*/ 1984600 w 3080331"/>
                <a:gd name="connsiteY1986" fmla="*/ 21042 h 634427"/>
                <a:gd name="connsiteX1987" fmla="*/ 1986105 w 3080331"/>
                <a:gd name="connsiteY1987" fmla="*/ 17548 h 634427"/>
                <a:gd name="connsiteX1988" fmla="*/ 1987610 w 3080331"/>
                <a:gd name="connsiteY1988" fmla="*/ 14973 h 634427"/>
                <a:gd name="connsiteX1989" fmla="*/ 1989114 w 3080331"/>
                <a:gd name="connsiteY1989" fmla="*/ 12950 h 634427"/>
                <a:gd name="connsiteX1990" fmla="*/ 1990619 w 3080331"/>
                <a:gd name="connsiteY1990" fmla="*/ 11296 h 634427"/>
                <a:gd name="connsiteX1991" fmla="*/ 1993795 w 3080331"/>
                <a:gd name="connsiteY1991" fmla="*/ 8721 h 634427"/>
                <a:gd name="connsiteX1992" fmla="*/ 1996470 w 3080331"/>
                <a:gd name="connsiteY1992" fmla="*/ 7250 h 634427"/>
                <a:gd name="connsiteX1993" fmla="*/ 2002990 w 3080331"/>
                <a:gd name="connsiteY1993" fmla="*/ 5595 h 634427"/>
                <a:gd name="connsiteX1994" fmla="*/ 1880147 w 3080331"/>
                <a:gd name="connsiteY1994" fmla="*/ 5595 h 634427"/>
                <a:gd name="connsiteX1995" fmla="*/ 1888506 w 3080331"/>
                <a:gd name="connsiteY1995" fmla="*/ 7066 h 634427"/>
                <a:gd name="connsiteX1996" fmla="*/ 1893521 w 3080331"/>
                <a:gd name="connsiteY1996" fmla="*/ 10193 h 634427"/>
                <a:gd name="connsiteX1997" fmla="*/ 1895862 w 3080331"/>
                <a:gd name="connsiteY1997" fmla="*/ 12399 h 634427"/>
                <a:gd name="connsiteX1998" fmla="*/ 1898202 w 3080331"/>
                <a:gd name="connsiteY1998" fmla="*/ 15341 h 634427"/>
                <a:gd name="connsiteX1999" fmla="*/ 1899540 w 3080331"/>
                <a:gd name="connsiteY1999" fmla="*/ 17732 h 634427"/>
                <a:gd name="connsiteX2000" fmla="*/ 1901044 w 3080331"/>
                <a:gd name="connsiteY2000" fmla="*/ 21410 h 634427"/>
                <a:gd name="connsiteX2001" fmla="*/ 1901713 w 3080331"/>
                <a:gd name="connsiteY2001" fmla="*/ 23801 h 634427"/>
                <a:gd name="connsiteX2002" fmla="*/ 1902381 w 3080331"/>
                <a:gd name="connsiteY2002" fmla="*/ 27294 h 634427"/>
                <a:gd name="connsiteX2003" fmla="*/ 1902215 w 3080331"/>
                <a:gd name="connsiteY2003" fmla="*/ 37041 h 634427"/>
                <a:gd name="connsiteX2004" fmla="*/ 1901546 w 3080331"/>
                <a:gd name="connsiteY2004" fmla="*/ 40351 h 634427"/>
                <a:gd name="connsiteX2005" fmla="*/ 1900710 w 3080331"/>
                <a:gd name="connsiteY2005" fmla="*/ 42925 h 634427"/>
                <a:gd name="connsiteX2006" fmla="*/ 1900041 w 3080331"/>
                <a:gd name="connsiteY2006" fmla="*/ 44580 h 634427"/>
                <a:gd name="connsiteX2007" fmla="*/ 1898537 w 3080331"/>
                <a:gd name="connsiteY2007" fmla="*/ 47523 h 634427"/>
                <a:gd name="connsiteX2008" fmla="*/ 1897032 w 3080331"/>
                <a:gd name="connsiteY2008" fmla="*/ 49729 h 634427"/>
                <a:gd name="connsiteX2009" fmla="*/ 1894691 w 3080331"/>
                <a:gd name="connsiteY2009" fmla="*/ 52303 h 634427"/>
                <a:gd name="connsiteX2010" fmla="*/ 1892518 w 3080331"/>
                <a:gd name="connsiteY2010" fmla="*/ 54143 h 634427"/>
                <a:gd name="connsiteX2011" fmla="*/ 1888673 w 3080331"/>
                <a:gd name="connsiteY2011" fmla="*/ 56350 h 634427"/>
                <a:gd name="connsiteX2012" fmla="*/ 1883324 w 3080331"/>
                <a:gd name="connsiteY2012" fmla="*/ 57821 h 634427"/>
                <a:gd name="connsiteX2013" fmla="*/ 1882488 w 3080331"/>
                <a:gd name="connsiteY2013" fmla="*/ 58004 h 634427"/>
                <a:gd name="connsiteX2014" fmla="*/ 1879645 w 3080331"/>
                <a:gd name="connsiteY2014" fmla="*/ 58004 h 634427"/>
                <a:gd name="connsiteX2015" fmla="*/ 1879478 w 3080331"/>
                <a:gd name="connsiteY2015" fmla="*/ 58004 h 634427"/>
                <a:gd name="connsiteX2016" fmla="*/ 1870618 w 3080331"/>
                <a:gd name="connsiteY2016" fmla="*/ 54694 h 634427"/>
                <a:gd name="connsiteX2017" fmla="*/ 1867442 w 3080331"/>
                <a:gd name="connsiteY2017" fmla="*/ 51936 h 634427"/>
                <a:gd name="connsiteX2018" fmla="*/ 1865268 w 3080331"/>
                <a:gd name="connsiteY2018" fmla="*/ 49361 h 634427"/>
                <a:gd name="connsiteX2019" fmla="*/ 1863764 w 3080331"/>
                <a:gd name="connsiteY2019" fmla="*/ 46971 h 634427"/>
                <a:gd name="connsiteX2020" fmla="*/ 1862259 w 3080331"/>
                <a:gd name="connsiteY2020" fmla="*/ 44028 h 634427"/>
                <a:gd name="connsiteX2021" fmla="*/ 1861423 w 3080331"/>
                <a:gd name="connsiteY2021" fmla="*/ 42006 h 634427"/>
                <a:gd name="connsiteX2022" fmla="*/ 1860754 w 3080331"/>
                <a:gd name="connsiteY2022" fmla="*/ 39799 h 634427"/>
                <a:gd name="connsiteX2023" fmla="*/ 1859918 w 3080331"/>
                <a:gd name="connsiteY2023" fmla="*/ 35937 h 634427"/>
                <a:gd name="connsiteX2024" fmla="*/ 1859752 w 3080331"/>
                <a:gd name="connsiteY2024" fmla="*/ 33914 h 634427"/>
                <a:gd name="connsiteX2025" fmla="*/ 1859918 w 3080331"/>
                <a:gd name="connsiteY2025" fmla="*/ 34098 h 634427"/>
                <a:gd name="connsiteX2026" fmla="*/ 1859918 w 3080331"/>
                <a:gd name="connsiteY2026" fmla="*/ 30237 h 634427"/>
                <a:gd name="connsiteX2027" fmla="*/ 1859918 w 3080331"/>
                <a:gd name="connsiteY2027" fmla="*/ 30053 h 634427"/>
                <a:gd name="connsiteX2028" fmla="*/ 1860253 w 3080331"/>
                <a:gd name="connsiteY2028" fmla="*/ 26926 h 634427"/>
                <a:gd name="connsiteX2029" fmla="*/ 1861089 w 3080331"/>
                <a:gd name="connsiteY2029" fmla="*/ 23248 h 634427"/>
                <a:gd name="connsiteX2030" fmla="*/ 1861757 w 3080331"/>
                <a:gd name="connsiteY2030" fmla="*/ 21042 h 634427"/>
                <a:gd name="connsiteX2031" fmla="*/ 1863262 w 3080331"/>
                <a:gd name="connsiteY2031" fmla="*/ 17548 h 634427"/>
                <a:gd name="connsiteX2032" fmla="*/ 1864767 w 3080331"/>
                <a:gd name="connsiteY2032" fmla="*/ 14973 h 634427"/>
                <a:gd name="connsiteX2033" fmla="*/ 1866271 w 3080331"/>
                <a:gd name="connsiteY2033" fmla="*/ 12950 h 634427"/>
                <a:gd name="connsiteX2034" fmla="*/ 1867776 w 3080331"/>
                <a:gd name="connsiteY2034" fmla="*/ 11296 h 634427"/>
                <a:gd name="connsiteX2035" fmla="*/ 1870952 w 3080331"/>
                <a:gd name="connsiteY2035" fmla="*/ 8721 h 634427"/>
                <a:gd name="connsiteX2036" fmla="*/ 1873627 w 3080331"/>
                <a:gd name="connsiteY2036" fmla="*/ 7250 h 634427"/>
                <a:gd name="connsiteX2037" fmla="*/ 1880147 w 3080331"/>
                <a:gd name="connsiteY2037" fmla="*/ 5595 h 634427"/>
                <a:gd name="connsiteX2038" fmla="*/ 1716206 w 3080331"/>
                <a:gd name="connsiteY2038" fmla="*/ 5595 h 634427"/>
                <a:gd name="connsiteX2039" fmla="*/ 1724565 w 3080331"/>
                <a:gd name="connsiteY2039" fmla="*/ 7066 h 634427"/>
                <a:gd name="connsiteX2040" fmla="*/ 1729580 w 3080331"/>
                <a:gd name="connsiteY2040" fmla="*/ 10193 h 634427"/>
                <a:gd name="connsiteX2041" fmla="*/ 1731921 w 3080331"/>
                <a:gd name="connsiteY2041" fmla="*/ 12399 h 634427"/>
                <a:gd name="connsiteX2042" fmla="*/ 1734261 w 3080331"/>
                <a:gd name="connsiteY2042" fmla="*/ 15341 h 634427"/>
                <a:gd name="connsiteX2043" fmla="*/ 1735599 w 3080331"/>
                <a:gd name="connsiteY2043" fmla="*/ 17732 h 634427"/>
                <a:gd name="connsiteX2044" fmla="*/ 1737103 w 3080331"/>
                <a:gd name="connsiteY2044" fmla="*/ 21410 h 634427"/>
                <a:gd name="connsiteX2045" fmla="*/ 1737772 w 3080331"/>
                <a:gd name="connsiteY2045" fmla="*/ 23801 h 634427"/>
                <a:gd name="connsiteX2046" fmla="*/ 1738440 w 3080331"/>
                <a:gd name="connsiteY2046" fmla="*/ 27294 h 634427"/>
                <a:gd name="connsiteX2047" fmla="*/ 1738274 w 3080331"/>
                <a:gd name="connsiteY2047" fmla="*/ 37041 h 634427"/>
                <a:gd name="connsiteX2048" fmla="*/ 1737604 w 3080331"/>
                <a:gd name="connsiteY2048" fmla="*/ 40351 h 634427"/>
                <a:gd name="connsiteX2049" fmla="*/ 1736769 w 3080331"/>
                <a:gd name="connsiteY2049" fmla="*/ 42925 h 634427"/>
                <a:gd name="connsiteX2050" fmla="*/ 1736100 w 3080331"/>
                <a:gd name="connsiteY2050" fmla="*/ 44580 h 634427"/>
                <a:gd name="connsiteX2051" fmla="*/ 1734595 w 3080331"/>
                <a:gd name="connsiteY2051" fmla="*/ 47523 h 634427"/>
                <a:gd name="connsiteX2052" fmla="*/ 1733091 w 3080331"/>
                <a:gd name="connsiteY2052" fmla="*/ 49729 h 634427"/>
                <a:gd name="connsiteX2053" fmla="*/ 1730750 w 3080331"/>
                <a:gd name="connsiteY2053" fmla="*/ 52303 h 634427"/>
                <a:gd name="connsiteX2054" fmla="*/ 1728577 w 3080331"/>
                <a:gd name="connsiteY2054" fmla="*/ 54143 h 634427"/>
                <a:gd name="connsiteX2055" fmla="*/ 1724732 w 3080331"/>
                <a:gd name="connsiteY2055" fmla="*/ 56350 h 634427"/>
                <a:gd name="connsiteX2056" fmla="*/ 1719382 w 3080331"/>
                <a:gd name="connsiteY2056" fmla="*/ 57821 h 634427"/>
                <a:gd name="connsiteX2057" fmla="*/ 1718546 w 3080331"/>
                <a:gd name="connsiteY2057" fmla="*/ 58004 h 634427"/>
                <a:gd name="connsiteX2058" fmla="*/ 1715704 w 3080331"/>
                <a:gd name="connsiteY2058" fmla="*/ 58004 h 634427"/>
                <a:gd name="connsiteX2059" fmla="*/ 1715537 w 3080331"/>
                <a:gd name="connsiteY2059" fmla="*/ 58004 h 634427"/>
                <a:gd name="connsiteX2060" fmla="*/ 1706677 w 3080331"/>
                <a:gd name="connsiteY2060" fmla="*/ 54694 h 634427"/>
                <a:gd name="connsiteX2061" fmla="*/ 1703500 w 3080331"/>
                <a:gd name="connsiteY2061" fmla="*/ 51936 h 634427"/>
                <a:gd name="connsiteX2062" fmla="*/ 1701327 w 3080331"/>
                <a:gd name="connsiteY2062" fmla="*/ 49361 h 634427"/>
                <a:gd name="connsiteX2063" fmla="*/ 1699823 w 3080331"/>
                <a:gd name="connsiteY2063" fmla="*/ 46971 h 634427"/>
                <a:gd name="connsiteX2064" fmla="*/ 1698317 w 3080331"/>
                <a:gd name="connsiteY2064" fmla="*/ 44028 h 634427"/>
                <a:gd name="connsiteX2065" fmla="*/ 1697482 w 3080331"/>
                <a:gd name="connsiteY2065" fmla="*/ 42006 h 634427"/>
                <a:gd name="connsiteX2066" fmla="*/ 1696813 w 3080331"/>
                <a:gd name="connsiteY2066" fmla="*/ 39799 h 634427"/>
                <a:gd name="connsiteX2067" fmla="*/ 1695977 w 3080331"/>
                <a:gd name="connsiteY2067" fmla="*/ 35937 h 634427"/>
                <a:gd name="connsiteX2068" fmla="*/ 1695810 w 3080331"/>
                <a:gd name="connsiteY2068" fmla="*/ 33914 h 634427"/>
                <a:gd name="connsiteX2069" fmla="*/ 1695977 w 3080331"/>
                <a:gd name="connsiteY2069" fmla="*/ 34098 h 634427"/>
                <a:gd name="connsiteX2070" fmla="*/ 1695977 w 3080331"/>
                <a:gd name="connsiteY2070" fmla="*/ 30237 h 634427"/>
                <a:gd name="connsiteX2071" fmla="*/ 1695977 w 3080331"/>
                <a:gd name="connsiteY2071" fmla="*/ 30053 h 634427"/>
                <a:gd name="connsiteX2072" fmla="*/ 1696312 w 3080331"/>
                <a:gd name="connsiteY2072" fmla="*/ 26926 h 634427"/>
                <a:gd name="connsiteX2073" fmla="*/ 1697148 w 3080331"/>
                <a:gd name="connsiteY2073" fmla="*/ 23248 h 634427"/>
                <a:gd name="connsiteX2074" fmla="*/ 1697816 w 3080331"/>
                <a:gd name="connsiteY2074" fmla="*/ 21042 h 634427"/>
                <a:gd name="connsiteX2075" fmla="*/ 1699321 w 3080331"/>
                <a:gd name="connsiteY2075" fmla="*/ 17548 h 634427"/>
                <a:gd name="connsiteX2076" fmla="*/ 1700826 w 3080331"/>
                <a:gd name="connsiteY2076" fmla="*/ 14973 h 634427"/>
                <a:gd name="connsiteX2077" fmla="*/ 1702330 w 3080331"/>
                <a:gd name="connsiteY2077" fmla="*/ 12950 h 634427"/>
                <a:gd name="connsiteX2078" fmla="*/ 1703835 w 3080331"/>
                <a:gd name="connsiteY2078" fmla="*/ 11296 h 634427"/>
                <a:gd name="connsiteX2079" fmla="*/ 1707011 w 3080331"/>
                <a:gd name="connsiteY2079" fmla="*/ 8721 h 634427"/>
                <a:gd name="connsiteX2080" fmla="*/ 1709686 w 3080331"/>
                <a:gd name="connsiteY2080" fmla="*/ 7250 h 634427"/>
                <a:gd name="connsiteX2081" fmla="*/ 1716206 w 3080331"/>
                <a:gd name="connsiteY2081" fmla="*/ 5595 h 634427"/>
                <a:gd name="connsiteX2082" fmla="*/ 1593363 w 3080331"/>
                <a:gd name="connsiteY2082" fmla="*/ 5595 h 634427"/>
                <a:gd name="connsiteX2083" fmla="*/ 1601722 w 3080331"/>
                <a:gd name="connsiteY2083" fmla="*/ 7066 h 634427"/>
                <a:gd name="connsiteX2084" fmla="*/ 1606737 w 3080331"/>
                <a:gd name="connsiteY2084" fmla="*/ 10193 h 634427"/>
                <a:gd name="connsiteX2085" fmla="*/ 1609078 w 3080331"/>
                <a:gd name="connsiteY2085" fmla="*/ 12399 h 634427"/>
                <a:gd name="connsiteX2086" fmla="*/ 1611418 w 3080331"/>
                <a:gd name="connsiteY2086" fmla="*/ 15341 h 634427"/>
                <a:gd name="connsiteX2087" fmla="*/ 1612756 w 3080331"/>
                <a:gd name="connsiteY2087" fmla="*/ 17732 h 634427"/>
                <a:gd name="connsiteX2088" fmla="*/ 1614260 w 3080331"/>
                <a:gd name="connsiteY2088" fmla="*/ 21410 h 634427"/>
                <a:gd name="connsiteX2089" fmla="*/ 1614929 w 3080331"/>
                <a:gd name="connsiteY2089" fmla="*/ 23801 h 634427"/>
                <a:gd name="connsiteX2090" fmla="*/ 1615597 w 3080331"/>
                <a:gd name="connsiteY2090" fmla="*/ 27294 h 634427"/>
                <a:gd name="connsiteX2091" fmla="*/ 1615431 w 3080331"/>
                <a:gd name="connsiteY2091" fmla="*/ 37041 h 634427"/>
                <a:gd name="connsiteX2092" fmla="*/ 1614761 w 3080331"/>
                <a:gd name="connsiteY2092" fmla="*/ 40351 h 634427"/>
                <a:gd name="connsiteX2093" fmla="*/ 1613926 w 3080331"/>
                <a:gd name="connsiteY2093" fmla="*/ 42925 h 634427"/>
                <a:gd name="connsiteX2094" fmla="*/ 1613257 w 3080331"/>
                <a:gd name="connsiteY2094" fmla="*/ 44580 h 634427"/>
                <a:gd name="connsiteX2095" fmla="*/ 1611753 w 3080331"/>
                <a:gd name="connsiteY2095" fmla="*/ 47523 h 634427"/>
                <a:gd name="connsiteX2096" fmla="*/ 1610248 w 3080331"/>
                <a:gd name="connsiteY2096" fmla="*/ 49729 h 634427"/>
                <a:gd name="connsiteX2097" fmla="*/ 1607907 w 3080331"/>
                <a:gd name="connsiteY2097" fmla="*/ 52303 h 634427"/>
                <a:gd name="connsiteX2098" fmla="*/ 1605734 w 3080331"/>
                <a:gd name="connsiteY2098" fmla="*/ 54143 h 634427"/>
                <a:gd name="connsiteX2099" fmla="*/ 1601889 w 3080331"/>
                <a:gd name="connsiteY2099" fmla="*/ 56350 h 634427"/>
                <a:gd name="connsiteX2100" fmla="*/ 1596539 w 3080331"/>
                <a:gd name="connsiteY2100" fmla="*/ 57821 h 634427"/>
                <a:gd name="connsiteX2101" fmla="*/ 1595704 w 3080331"/>
                <a:gd name="connsiteY2101" fmla="*/ 58004 h 634427"/>
                <a:gd name="connsiteX2102" fmla="*/ 1592861 w 3080331"/>
                <a:gd name="connsiteY2102" fmla="*/ 58004 h 634427"/>
                <a:gd name="connsiteX2103" fmla="*/ 1592694 w 3080331"/>
                <a:gd name="connsiteY2103" fmla="*/ 58004 h 634427"/>
                <a:gd name="connsiteX2104" fmla="*/ 1583834 w 3080331"/>
                <a:gd name="connsiteY2104" fmla="*/ 54694 h 634427"/>
                <a:gd name="connsiteX2105" fmla="*/ 1580657 w 3080331"/>
                <a:gd name="connsiteY2105" fmla="*/ 51936 h 634427"/>
                <a:gd name="connsiteX2106" fmla="*/ 1578484 w 3080331"/>
                <a:gd name="connsiteY2106" fmla="*/ 49361 h 634427"/>
                <a:gd name="connsiteX2107" fmla="*/ 1576980 w 3080331"/>
                <a:gd name="connsiteY2107" fmla="*/ 46971 h 634427"/>
                <a:gd name="connsiteX2108" fmla="*/ 1575474 w 3080331"/>
                <a:gd name="connsiteY2108" fmla="*/ 44028 h 634427"/>
                <a:gd name="connsiteX2109" fmla="*/ 1574639 w 3080331"/>
                <a:gd name="connsiteY2109" fmla="*/ 42006 h 634427"/>
                <a:gd name="connsiteX2110" fmla="*/ 1573970 w 3080331"/>
                <a:gd name="connsiteY2110" fmla="*/ 39799 h 634427"/>
                <a:gd name="connsiteX2111" fmla="*/ 1573134 w 3080331"/>
                <a:gd name="connsiteY2111" fmla="*/ 35937 h 634427"/>
                <a:gd name="connsiteX2112" fmla="*/ 1572967 w 3080331"/>
                <a:gd name="connsiteY2112" fmla="*/ 33914 h 634427"/>
                <a:gd name="connsiteX2113" fmla="*/ 1573134 w 3080331"/>
                <a:gd name="connsiteY2113" fmla="*/ 34098 h 634427"/>
                <a:gd name="connsiteX2114" fmla="*/ 1573134 w 3080331"/>
                <a:gd name="connsiteY2114" fmla="*/ 30237 h 634427"/>
                <a:gd name="connsiteX2115" fmla="*/ 1573134 w 3080331"/>
                <a:gd name="connsiteY2115" fmla="*/ 30053 h 634427"/>
                <a:gd name="connsiteX2116" fmla="*/ 1573469 w 3080331"/>
                <a:gd name="connsiteY2116" fmla="*/ 26926 h 634427"/>
                <a:gd name="connsiteX2117" fmla="*/ 1574305 w 3080331"/>
                <a:gd name="connsiteY2117" fmla="*/ 23248 h 634427"/>
                <a:gd name="connsiteX2118" fmla="*/ 1574973 w 3080331"/>
                <a:gd name="connsiteY2118" fmla="*/ 21042 h 634427"/>
                <a:gd name="connsiteX2119" fmla="*/ 1576478 w 3080331"/>
                <a:gd name="connsiteY2119" fmla="*/ 17548 h 634427"/>
                <a:gd name="connsiteX2120" fmla="*/ 1577983 w 3080331"/>
                <a:gd name="connsiteY2120" fmla="*/ 14973 h 634427"/>
                <a:gd name="connsiteX2121" fmla="*/ 1579487 w 3080331"/>
                <a:gd name="connsiteY2121" fmla="*/ 12950 h 634427"/>
                <a:gd name="connsiteX2122" fmla="*/ 1580992 w 3080331"/>
                <a:gd name="connsiteY2122" fmla="*/ 11296 h 634427"/>
                <a:gd name="connsiteX2123" fmla="*/ 1584168 w 3080331"/>
                <a:gd name="connsiteY2123" fmla="*/ 8721 h 634427"/>
                <a:gd name="connsiteX2124" fmla="*/ 1586843 w 3080331"/>
                <a:gd name="connsiteY2124" fmla="*/ 7250 h 634427"/>
                <a:gd name="connsiteX2125" fmla="*/ 1593363 w 3080331"/>
                <a:gd name="connsiteY2125" fmla="*/ 5595 h 634427"/>
                <a:gd name="connsiteX2126" fmla="*/ 1306629 w 3080331"/>
                <a:gd name="connsiteY2126" fmla="*/ 5595 h 634427"/>
                <a:gd name="connsiteX2127" fmla="*/ 1314988 w 3080331"/>
                <a:gd name="connsiteY2127" fmla="*/ 7066 h 634427"/>
                <a:gd name="connsiteX2128" fmla="*/ 1320003 w 3080331"/>
                <a:gd name="connsiteY2128" fmla="*/ 10193 h 634427"/>
                <a:gd name="connsiteX2129" fmla="*/ 1322343 w 3080331"/>
                <a:gd name="connsiteY2129" fmla="*/ 12399 h 634427"/>
                <a:gd name="connsiteX2130" fmla="*/ 1324684 w 3080331"/>
                <a:gd name="connsiteY2130" fmla="*/ 15341 h 634427"/>
                <a:gd name="connsiteX2131" fmla="*/ 1326021 w 3080331"/>
                <a:gd name="connsiteY2131" fmla="*/ 17732 h 634427"/>
                <a:gd name="connsiteX2132" fmla="*/ 1327526 w 3080331"/>
                <a:gd name="connsiteY2132" fmla="*/ 21410 h 634427"/>
                <a:gd name="connsiteX2133" fmla="*/ 1328194 w 3080331"/>
                <a:gd name="connsiteY2133" fmla="*/ 23801 h 634427"/>
                <a:gd name="connsiteX2134" fmla="*/ 1328864 w 3080331"/>
                <a:gd name="connsiteY2134" fmla="*/ 27294 h 634427"/>
                <a:gd name="connsiteX2135" fmla="*/ 1328696 w 3080331"/>
                <a:gd name="connsiteY2135" fmla="*/ 37041 h 634427"/>
                <a:gd name="connsiteX2136" fmla="*/ 1328028 w 3080331"/>
                <a:gd name="connsiteY2136" fmla="*/ 40351 h 634427"/>
                <a:gd name="connsiteX2137" fmla="*/ 1327192 w 3080331"/>
                <a:gd name="connsiteY2137" fmla="*/ 42925 h 634427"/>
                <a:gd name="connsiteX2138" fmla="*/ 1326523 w 3080331"/>
                <a:gd name="connsiteY2138" fmla="*/ 44580 h 634427"/>
                <a:gd name="connsiteX2139" fmla="*/ 1325018 w 3080331"/>
                <a:gd name="connsiteY2139" fmla="*/ 47523 h 634427"/>
                <a:gd name="connsiteX2140" fmla="*/ 1323514 w 3080331"/>
                <a:gd name="connsiteY2140" fmla="*/ 49729 h 634427"/>
                <a:gd name="connsiteX2141" fmla="*/ 1321173 w 3080331"/>
                <a:gd name="connsiteY2141" fmla="*/ 52303 h 634427"/>
                <a:gd name="connsiteX2142" fmla="*/ 1319000 w 3080331"/>
                <a:gd name="connsiteY2142" fmla="*/ 54143 h 634427"/>
                <a:gd name="connsiteX2143" fmla="*/ 1315155 w 3080331"/>
                <a:gd name="connsiteY2143" fmla="*/ 56350 h 634427"/>
                <a:gd name="connsiteX2144" fmla="*/ 1309805 w 3080331"/>
                <a:gd name="connsiteY2144" fmla="*/ 57821 h 634427"/>
                <a:gd name="connsiteX2145" fmla="*/ 1308969 w 3080331"/>
                <a:gd name="connsiteY2145" fmla="*/ 58004 h 634427"/>
                <a:gd name="connsiteX2146" fmla="*/ 1306127 w 3080331"/>
                <a:gd name="connsiteY2146" fmla="*/ 58004 h 634427"/>
                <a:gd name="connsiteX2147" fmla="*/ 1305960 w 3080331"/>
                <a:gd name="connsiteY2147" fmla="*/ 58004 h 634427"/>
                <a:gd name="connsiteX2148" fmla="*/ 1297098 w 3080331"/>
                <a:gd name="connsiteY2148" fmla="*/ 54694 h 634427"/>
                <a:gd name="connsiteX2149" fmla="*/ 1293922 w 3080331"/>
                <a:gd name="connsiteY2149" fmla="*/ 51936 h 634427"/>
                <a:gd name="connsiteX2150" fmla="*/ 1291748 w 3080331"/>
                <a:gd name="connsiteY2150" fmla="*/ 49361 h 634427"/>
                <a:gd name="connsiteX2151" fmla="*/ 1290245 w 3080331"/>
                <a:gd name="connsiteY2151" fmla="*/ 46971 h 634427"/>
                <a:gd name="connsiteX2152" fmla="*/ 1288739 w 3080331"/>
                <a:gd name="connsiteY2152" fmla="*/ 44028 h 634427"/>
                <a:gd name="connsiteX2153" fmla="*/ 1287905 w 3080331"/>
                <a:gd name="connsiteY2153" fmla="*/ 42006 h 634427"/>
                <a:gd name="connsiteX2154" fmla="*/ 1287235 w 3080331"/>
                <a:gd name="connsiteY2154" fmla="*/ 39799 h 634427"/>
                <a:gd name="connsiteX2155" fmla="*/ 1286398 w 3080331"/>
                <a:gd name="connsiteY2155" fmla="*/ 35937 h 634427"/>
                <a:gd name="connsiteX2156" fmla="*/ 1286232 w 3080331"/>
                <a:gd name="connsiteY2156" fmla="*/ 33914 h 634427"/>
                <a:gd name="connsiteX2157" fmla="*/ 1286398 w 3080331"/>
                <a:gd name="connsiteY2157" fmla="*/ 34098 h 634427"/>
                <a:gd name="connsiteX2158" fmla="*/ 1286398 w 3080331"/>
                <a:gd name="connsiteY2158" fmla="*/ 30237 h 634427"/>
                <a:gd name="connsiteX2159" fmla="*/ 1286398 w 3080331"/>
                <a:gd name="connsiteY2159" fmla="*/ 30053 h 634427"/>
                <a:gd name="connsiteX2160" fmla="*/ 1286733 w 3080331"/>
                <a:gd name="connsiteY2160" fmla="*/ 26926 h 634427"/>
                <a:gd name="connsiteX2161" fmla="*/ 1287570 w 3080331"/>
                <a:gd name="connsiteY2161" fmla="*/ 23248 h 634427"/>
                <a:gd name="connsiteX2162" fmla="*/ 1288237 w 3080331"/>
                <a:gd name="connsiteY2162" fmla="*/ 21042 h 634427"/>
                <a:gd name="connsiteX2163" fmla="*/ 1289742 w 3080331"/>
                <a:gd name="connsiteY2163" fmla="*/ 17548 h 634427"/>
                <a:gd name="connsiteX2164" fmla="*/ 1291247 w 3080331"/>
                <a:gd name="connsiteY2164" fmla="*/ 14973 h 634427"/>
                <a:gd name="connsiteX2165" fmla="*/ 1292752 w 3080331"/>
                <a:gd name="connsiteY2165" fmla="*/ 12950 h 634427"/>
                <a:gd name="connsiteX2166" fmla="*/ 1294256 w 3080331"/>
                <a:gd name="connsiteY2166" fmla="*/ 11296 h 634427"/>
                <a:gd name="connsiteX2167" fmla="*/ 1297433 w 3080331"/>
                <a:gd name="connsiteY2167" fmla="*/ 8721 h 634427"/>
                <a:gd name="connsiteX2168" fmla="*/ 1300107 w 3080331"/>
                <a:gd name="connsiteY2168" fmla="*/ 7250 h 634427"/>
                <a:gd name="connsiteX2169" fmla="*/ 1306629 w 3080331"/>
                <a:gd name="connsiteY2169" fmla="*/ 5595 h 634427"/>
                <a:gd name="connsiteX2170" fmla="*/ 1071141 w 3080331"/>
                <a:gd name="connsiteY2170" fmla="*/ 5595 h 634427"/>
                <a:gd name="connsiteX2171" fmla="*/ 1079499 w 3080331"/>
                <a:gd name="connsiteY2171" fmla="*/ 7066 h 634427"/>
                <a:gd name="connsiteX2172" fmla="*/ 1084515 w 3080331"/>
                <a:gd name="connsiteY2172" fmla="*/ 10193 h 634427"/>
                <a:gd name="connsiteX2173" fmla="*/ 1086855 w 3080331"/>
                <a:gd name="connsiteY2173" fmla="*/ 12399 h 634427"/>
                <a:gd name="connsiteX2174" fmla="*/ 1089195 w 3080331"/>
                <a:gd name="connsiteY2174" fmla="*/ 15341 h 634427"/>
                <a:gd name="connsiteX2175" fmla="*/ 1090534 w 3080331"/>
                <a:gd name="connsiteY2175" fmla="*/ 17732 h 634427"/>
                <a:gd name="connsiteX2176" fmla="*/ 1092037 w 3080331"/>
                <a:gd name="connsiteY2176" fmla="*/ 21410 h 634427"/>
                <a:gd name="connsiteX2177" fmla="*/ 1092706 w 3080331"/>
                <a:gd name="connsiteY2177" fmla="*/ 23801 h 634427"/>
                <a:gd name="connsiteX2178" fmla="*/ 1093376 w 3080331"/>
                <a:gd name="connsiteY2178" fmla="*/ 27294 h 634427"/>
                <a:gd name="connsiteX2179" fmla="*/ 1093209 w 3080331"/>
                <a:gd name="connsiteY2179" fmla="*/ 37041 h 634427"/>
                <a:gd name="connsiteX2180" fmla="*/ 1092539 w 3080331"/>
                <a:gd name="connsiteY2180" fmla="*/ 40351 h 634427"/>
                <a:gd name="connsiteX2181" fmla="*/ 1091703 w 3080331"/>
                <a:gd name="connsiteY2181" fmla="*/ 42925 h 634427"/>
                <a:gd name="connsiteX2182" fmla="*/ 1091034 w 3080331"/>
                <a:gd name="connsiteY2182" fmla="*/ 44580 h 634427"/>
                <a:gd name="connsiteX2183" fmla="*/ 1089529 w 3080331"/>
                <a:gd name="connsiteY2183" fmla="*/ 47523 h 634427"/>
                <a:gd name="connsiteX2184" fmla="*/ 1088026 w 3080331"/>
                <a:gd name="connsiteY2184" fmla="*/ 49729 h 634427"/>
                <a:gd name="connsiteX2185" fmla="*/ 1085684 w 3080331"/>
                <a:gd name="connsiteY2185" fmla="*/ 52303 h 634427"/>
                <a:gd name="connsiteX2186" fmla="*/ 1083511 w 3080331"/>
                <a:gd name="connsiteY2186" fmla="*/ 54143 h 634427"/>
                <a:gd name="connsiteX2187" fmla="*/ 1079667 w 3080331"/>
                <a:gd name="connsiteY2187" fmla="*/ 56350 h 634427"/>
                <a:gd name="connsiteX2188" fmla="*/ 1074318 w 3080331"/>
                <a:gd name="connsiteY2188" fmla="*/ 57821 h 634427"/>
                <a:gd name="connsiteX2189" fmla="*/ 1073480 w 3080331"/>
                <a:gd name="connsiteY2189" fmla="*/ 58004 h 634427"/>
                <a:gd name="connsiteX2190" fmla="*/ 1070639 w 3080331"/>
                <a:gd name="connsiteY2190" fmla="*/ 58004 h 634427"/>
                <a:gd name="connsiteX2191" fmla="*/ 1070471 w 3080331"/>
                <a:gd name="connsiteY2191" fmla="*/ 58004 h 634427"/>
                <a:gd name="connsiteX2192" fmla="*/ 1061611 w 3080331"/>
                <a:gd name="connsiteY2192" fmla="*/ 54694 h 634427"/>
                <a:gd name="connsiteX2193" fmla="*/ 1058436 w 3080331"/>
                <a:gd name="connsiteY2193" fmla="*/ 51936 h 634427"/>
                <a:gd name="connsiteX2194" fmla="*/ 1056261 w 3080331"/>
                <a:gd name="connsiteY2194" fmla="*/ 49361 h 634427"/>
                <a:gd name="connsiteX2195" fmla="*/ 1054757 w 3080331"/>
                <a:gd name="connsiteY2195" fmla="*/ 46971 h 634427"/>
                <a:gd name="connsiteX2196" fmla="*/ 1053252 w 3080331"/>
                <a:gd name="connsiteY2196" fmla="*/ 44028 h 634427"/>
                <a:gd name="connsiteX2197" fmla="*/ 1052417 w 3080331"/>
                <a:gd name="connsiteY2197" fmla="*/ 42006 h 634427"/>
                <a:gd name="connsiteX2198" fmla="*/ 1051747 w 3080331"/>
                <a:gd name="connsiteY2198" fmla="*/ 39799 h 634427"/>
                <a:gd name="connsiteX2199" fmla="*/ 1050911 w 3080331"/>
                <a:gd name="connsiteY2199" fmla="*/ 35937 h 634427"/>
                <a:gd name="connsiteX2200" fmla="*/ 1050744 w 3080331"/>
                <a:gd name="connsiteY2200" fmla="*/ 33914 h 634427"/>
                <a:gd name="connsiteX2201" fmla="*/ 1050911 w 3080331"/>
                <a:gd name="connsiteY2201" fmla="*/ 34098 h 634427"/>
                <a:gd name="connsiteX2202" fmla="*/ 1050911 w 3080331"/>
                <a:gd name="connsiteY2202" fmla="*/ 30237 h 634427"/>
                <a:gd name="connsiteX2203" fmla="*/ 1050911 w 3080331"/>
                <a:gd name="connsiteY2203" fmla="*/ 30053 h 634427"/>
                <a:gd name="connsiteX2204" fmla="*/ 1051246 w 3080331"/>
                <a:gd name="connsiteY2204" fmla="*/ 26926 h 634427"/>
                <a:gd name="connsiteX2205" fmla="*/ 1052082 w 3080331"/>
                <a:gd name="connsiteY2205" fmla="*/ 23248 h 634427"/>
                <a:gd name="connsiteX2206" fmla="*/ 1052751 w 3080331"/>
                <a:gd name="connsiteY2206" fmla="*/ 21042 h 634427"/>
                <a:gd name="connsiteX2207" fmla="*/ 1054254 w 3080331"/>
                <a:gd name="connsiteY2207" fmla="*/ 17548 h 634427"/>
                <a:gd name="connsiteX2208" fmla="*/ 1055761 w 3080331"/>
                <a:gd name="connsiteY2208" fmla="*/ 14973 h 634427"/>
                <a:gd name="connsiteX2209" fmla="*/ 1057264 w 3080331"/>
                <a:gd name="connsiteY2209" fmla="*/ 12950 h 634427"/>
                <a:gd name="connsiteX2210" fmla="*/ 1058769 w 3080331"/>
                <a:gd name="connsiteY2210" fmla="*/ 11296 h 634427"/>
                <a:gd name="connsiteX2211" fmla="*/ 1061945 w 3080331"/>
                <a:gd name="connsiteY2211" fmla="*/ 8721 h 634427"/>
                <a:gd name="connsiteX2212" fmla="*/ 1064620 w 3080331"/>
                <a:gd name="connsiteY2212" fmla="*/ 7250 h 634427"/>
                <a:gd name="connsiteX2213" fmla="*/ 1071141 w 3080331"/>
                <a:gd name="connsiteY2213" fmla="*/ 5595 h 634427"/>
                <a:gd name="connsiteX2214" fmla="*/ 948298 w 3080331"/>
                <a:gd name="connsiteY2214" fmla="*/ 5595 h 634427"/>
                <a:gd name="connsiteX2215" fmla="*/ 956657 w 3080331"/>
                <a:gd name="connsiteY2215" fmla="*/ 7066 h 634427"/>
                <a:gd name="connsiteX2216" fmla="*/ 961672 w 3080331"/>
                <a:gd name="connsiteY2216" fmla="*/ 10193 h 634427"/>
                <a:gd name="connsiteX2217" fmla="*/ 964012 w 3080331"/>
                <a:gd name="connsiteY2217" fmla="*/ 12399 h 634427"/>
                <a:gd name="connsiteX2218" fmla="*/ 966352 w 3080331"/>
                <a:gd name="connsiteY2218" fmla="*/ 15341 h 634427"/>
                <a:gd name="connsiteX2219" fmla="*/ 967690 w 3080331"/>
                <a:gd name="connsiteY2219" fmla="*/ 17732 h 634427"/>
                <a:gd name="connsiteX2220" fmla="*/ 969195 w 3080331"/>
                <a:gd name="connsiteY2220" fmla="*/ 21410 h 634427"/>
                <a:gd name="connsiteX2221" fmla="*/ 969864 w 3080331"/>
                <a:gd name="connsiteY2221" fmla="*/ 23801 h 634427"/>
                <a:gd name="connsiteX2222" fmla="*/ 970532 w 3080331"/>
                <a:gd name="connsiteY2222" fmla="*/ 27294 h 634427"/>
                <a:gd name="connsiteX2223" fmla="*/ 970365 w 3080331"/>
                <a:gd name="connsiteY2223" fmla="*/ 37041 h 634427"/>
                <a:gd name="connsiteX2224" fmla="*/ 969697 w 3080331"/>
                <a:gd name="connsiteY2224" fmla="*/ 40351 h 634427"/>
                <a:gd name="connsiteX2225" fmla="*/ 968860 w 3080331"/>
                <a:gd name="connsiteY2225" fmla="*/ 42925 h 634427"/>
                <a:gd name="connsiteX2226" fmla="*/ 968191 w 3080331"/>
                <a:gd name="connsiteY2226" fmla="*/ 44580 h 634427"/>
                <a:gd name="connsiteX2227" fmla="*/ 966687 w 3080331"/>
                <a:gd name="connsiteY2227" fmla="*/ 47523 h 634427"/>
                <a:gd name="connsiteX2228" fmla="*/ 965182 w 3080331"/>
                <a:gd name="connsiteY2228" fmla="*/ 49729 h 634427"/>
                <a:gd name="connsiteX2229" fmla="*/ 962841 w 3080331"/>
                <a:gd name="connsiteY2229" fmla="*/ 52303 h 634427"/>
                <a:gd name="connsiteX2230" fmla="*/ 960668 w 3080331"/>
                <a:gd name="connsiteY2230" fmla="*/ 54143 h 634427"/>
                <a:gd name="connsiteX2231" fmla="*/ 956823 w 3080331"/>
                <a:gd name="connsiteY2231" fmla="*/ 56350 h 634427"/>
                <a:gd name="connsiteX2232" fmla="*/ 951475 w 3080331"/>
                <a:gd name="connsiteY2232" fmla="*/ 57821 h 634427"/>
                <a:gd name="connsiteX2233" fmla="*/ 950638 w 3080331"/>
                <a:gd name="connsiteY2233" fmla="*/ 58004 h 634427"/>
                <a:gd name="connsiteX2234" fmla="*/ 947796 w 3080331"/>
                <a:gd name="connsiteY2234" fmla="*/ 58004 h 634427"/>
                <a:gd name="connsiteX2235" fmla="*/ 947628 w 3080331"/>
                <a:gd name="connsiteY2235" fmla="*/ 58004 h 634427"/>
                <a:gd name="connsiteX2236" fmla="*/ 938768 w 3080331"/>
                <a:gd name="connsiteY2236" fmla="*/ 54694 h 634427"/>
                <a:gd name="connsiteX2237" fmla="*/ 935591 w 3080331"/>
                <a:gd name="connsiteY2237" fmla="*/ 51936 h 634427"/>
                <a:gd name="connsiteX2238" fmla="*/ 933418 w 3080331"/>
                <a:gd name="connsiteY2238" fmla="*/ 49361 h 634427"/>
                <a:gd name="connsiteX2239" fmla="*/ 931913 w 3080331"/>
                <a:gd name="connsiteY2239" fmla="*/ 46971 h 634427"/>
                <a:gd name="connsiteX2240" fmla="*/ 930409 w 3080331"/>
                <a:gd name="connsiteY2240" fmla="*/ 44028 h 634427"/>
                <a:gd name="connsiteX2241" fmla="*/ 929574 w 3080331"/>
                <a:gd name="connsiteY2241" fmla="*/ 42006 h 634427"/>
                <a:gd name="connsiteX2242" fmla="*/ 928904 w 3080331"/>
                <a:gd name="connsiteY2242" fmla="*/ 39799 h 634427"/>
                <a:gd name="connsiteX2243" fmla="*/ 928068 w 3080331"/>
                <a:gd name="connsiteY2243" fmla="*/ 35937 h 634427"/>
                <a:gd name="connsiteX2244" fmla="*/ 927902 w 3080331"/>
                <a:gd name="connsiteY2244" fmla="*/ 33914 h 634427"/>
                <a:gd name="connsiteX2245" fmla="*/ 928068 w 3080331"/>
                <a:gd name="connsiteY2245" fmla="*/ 34098 h 634427"/>
                <a:gd name="connsiteX2246" fmla="*/ 928068 w 3080331"/>
                <a:gd name="connsiteY2246" fmla="*/ 30237 h 634427"/>
                <a:gd name="connsiteX2247" fmla="*/ 928068 w 3080331"/>
                <a:gd name="connsiteY2247" fmla="*/ 30053 h 634427"/>
                <a:gd name="connsiteX2248" fmla="*/ 928403 w 3080331"/>
                <a:gd name="connsiteY2248" fmla="*/ 26926 h 634427"/>
                <a:gd name="connsiteX2249" fmla="*/ 929239 w 3080331"/>
                <a:gd name="connsiteY2249" fmla="*/ 23248 h 634427"/>
                <a:gd name="connsiteX2250" fmla="*/ 929907 w 3080331"/>
                <a:gd name="connsiteY2250" fmla="*/ 21042 h 634427"/>
                <a:gd name="connsiteX2251" fmla="*/ 931412 w 3080331"/>
                <a:gd name="connsiteY2251" fmla="*/ 17548 h 634427"/>
                <a:gd name="connsiteX2252" fmla="*/ 932917 w 3080331"/>
                <a:gd name="connsiteY2252" fmla="*/ 14973 h 634427"/>
                <a:gd name="connsiteX2253" fmla="*/ 934422 w 3080331"/>
                <a:gd name="connsiteY2253" fmla="*/ 12950 h 634427"/>
                <a:gd name="connsiteX2254" fmla="*/ 935925 w 3080331"/>
                <a:gd name="connsiteY2254" fmla="*/ 11296 h 634427"/>
                <a:gd name="connsiteX2255" fmla="*/ 939102 w 3080331"/>
                <a:gd name="connsiteY2255" fmla="*/ 8721 h 634427"/>
                <a:gd name="connsiteX2256" fmla="*/ 941777 w 3080331"/>
                <a:gd name="connsiteY2256" fmla="*/ 7250 h 634427"/>
                <a:gd name="connsiteX2257" fmla="*/ 948298 w 3080331"/>
                <a:gd name="connsiteY2257" fmla="*/ 5595 h 634427"/>
                <a:gd name="connsiteX2258" fmla="*/ 835603 w 3080331"/>
                <a:gd name="connsiteY2258" fmla="*/ 5595 h 634427"/>
                <a:gd name="connsiteX2259" fmla="*/ 843962 w 3080331"/>
                <a:gd name="connsiteY2259" fmla="*/ 7066 h 634427"/>
                <a:gd name="connsiteX2260" fmla="*/ 848978 w 3080331"/>
                <a:gd name="connsiteY2260" fmla="*/ 10193 h 634427"/>
                <a:gd name="connsiteX2261" fmla="*/ 851317 w 3080331"/>
                <a:gd name="connsiteY2261" fmla="*/ 12399 h 634427"/>
                <a:gd name="connsiteX2262" fmla="*/ 853658 w 3080331"/>
                <a:gd name="connsiteY2262" fmla="*/ 15341 h 634427"/>
                <a:gd name="connsiteX2263" fmla="*/ 854996 w 3080331"/>
                <a:gd name="connsiteY2263" fmla="*/ 17732 h 634427"/>
                <a:gd name="connsiteX2264" fmla="*/ 856501 w 3080331"/>
                <a:gd name="connsiteY2264" fmla="*/ 21410 h 634427"/>
                <a:gd name="connsiteX2265" fmla="*/ 857169 w 3080331"/>
                <a:gd name="connsiteY2265" fmla="*/ 23801 h 634427"/>
                <a:gd name="connsiteX2266" fmla="*/ 857838 w 3080331"/>
                <a:gd name="connsiteY2266" fmla="*/ 27294 h 634427"/>
                <a:gd name="connsiteX2267" fmla="*/ 857671 w 3080331"/>
                <a:gd name="connsiteY2267" fmla="*/ 37041 h 634427"/>
                <a:gd name="connsiteX2268" fmla="*/ 857001 w 3080331"/>
                <a:gd name="connsiteY2268" fmla="*/ 40351 h 634427"/>
                <a:gd name="connsiteX2269" fmla="*/ 856165 w 3080331"/>
                <a:gd name="connsiteY2269" fmla="*/ 42925 h 634427"/>
                <a:gd name="connsiteX2270" fmla="*/ 855497 w 3080331"/>
                <a:gd name="connsiteY2270" fmla="*/ 44580 h 634427"/>
                <a:gd name="connsiteX2271" fmla="*/ 853992 w 3080331"/>
                <a:gd name="connsiteY2271" fmla="*/ 47523 h 634427"/>
                <a:gd name="connsiteX2272" fmla="*/ 852489 w 3080331"/>
                <a:gd name="connsiteY2272" fmla="*/ 49729 h 634427"/>
                <a:gd name="connsiteX2273" fmla="*/ 850147 w 3080331"/>
                <a:gd name="connsiteY2273" fmla="*/ 52303 h 634427"/>
                <a:gd name="connsiteX2274" fmla="*/ 847975 w 3080331"/>
                <a:gd name="connsiteY2274" fmla="*/ 54143 h 634427"/>
                <a:gd name="connsiteX2275" fmla="*/ 844130 w 3080331"/>
                <a:gd name="connsiteY2275" fmla="*/ 56350 h 634427"/>
                <a:gd name="connsiteX2276" fmla="*/ 838780 w 3080331"/>
                <a:gd name="connsiteY2276" fmla="*/ 57821 h 634427"/>
                <a:gd name="connsiteX2277" fmla="*/ 837944 w 3080331"/>
                <a:gd name="connsiteY2277" fmla="*/ 58004 h 634427"/>
                <a:gd name="connsiteX2278" fmla="*/ 835101 w 3080331"/>
                <a:gd name="connsiteY2278" fmla="*/ 58004 h 634427"/>
                <a:gd name="connsiteX2279" fmla="*/ 834934 w 3080331"/>
                <a:gd name="connsiteY2279" fmla="*/ 58004 h 634427"/>
                <a:gd name="connsiteX2280" fmla="*/ 826074 w 3080331"/>
                <a:gd name="connsiteY2280" fmla="*/ 54694 h 634427"/>
                <a:gd name="connsiteX2281" fmla="*/ 822898 w 3080331"/>
                <a:gd name="connsiteY2281" fmla="*/ 51936 h 634427"/>
                <a:gd name="connsiteX2282" fmla="*/ 820724 w 3080331"/>
                <a:gd name="connsiteY2282" fmla="*/ 49361 h 634427"/>
                <a:gd name="connsiteX2283" fmla="*/ 819219 w 3080331"/>
                <a:gd name="connsiteY2283" fmla="*/ 46971 h 634427"/>
                <a:gd name="connsiteX2284" fmla="*/ 817716 w 3080331"/>
                <a:gd name="connsiteY2284" fmla="*/ 44028 h 634427"/>
                <a:gd name="connsiteX2285" fmla="*/ 816880 w 3080331"/>
                <a:gd name="connsiteY2285" fmla="*/ 42006 h 634427"/>
                <a:gd name="connsiteX2286" fmla="*/ 816210 w 3080331"/>
                <a:gd name="connsiteY2286" fmla="*/ 39799 h 634427"/>
                <a:gd name="connsiteX2287" fmla="*/ 815374 w 3080331"/>
                <a:gd name="connsiteY2287" fmla="*/ 35937 h 634427"/>
                <a:gd name="connsiteX2288" fmla="*/ 815207 w 3080331"/>
                <a:gd name="connsiteY2288" fmla="*/ 33914 h 634427"/>
                <a:gd name="connsiteX2289" fmla="*/ 815374 w 3080331"/>
                <a:gd name="connsiteY2289" fmla="*/ 34098 h 634427"/>
                <a:gd name="connsiteX2290" fmla="*/ 815374 w 3080331"/>
                <a:gd name="connsiteY2290" fmla="*/ 30237 h 634427"/>
                <a:gd name="connsiteX2291" fmla="*/ 815374 w 3080331"/>
                <a:gd name="connsiteY2291" fmla="*/ 30053 h 634427"/>
                <a:gd name="connsiteX2292" fmla="*/ 815708 w 3080331"/>
                <a:gd name="connsiteY2292" fmla="*/ 26926 h 634427"/>
                <a:gd name="connsiteX2293" fmla="*/ 816544 w 3080331"/>
                <a:gd name="connsiteY2293" fmla="*/ 23248 h 634427"/>
                <a:gd name="connsiteX2294" fmla="*/ 817214 w 3080331"/>
                <a:gd name="connsiteY2294" fmla="*/ 21042 h 634427"/>
                <a:gd name="connsiteX2295" fmla="*/ 818717 w 3080331"/>
                <a:gd name="connsiteY2295" fmla="*/ 17548 h 634427"/>
                <a:gd name="connsiteX2296" fmla="*/ 820223 w 3080331"/>
                <a:gd name="connsiteY2296" fmla="*/ 14973 h 634427"/>
                <a:gd name="connsiteX2297" fmla="*/ 821728 w 3080331"/>
                <a:gd name="connsiteY2297" fmla="*/ 12950 h 634427"/>
                <a:gd name="connsiteX2298" fmla="*/ 823231 w 3080331"/>
                <a:gd name="connsiteY2298" fmla="*/ 11296 h 634427"/>
                <a:gd name="connsiteX2299" fmla="*/ 826408 w 3080331"/>
                <a:gd name="connsiteY2299" fmla="*/ 8721 h 634427"/>
                <a:gd name="connsiteX2300" fmla="*/ 829083 w 3080331"/>
                <a:gd name="connsiteY2300" fmla="*/ 7250 h 634427"/>
                <a:gd name="connsiteX2301" fmla="*/ 835603 w 3080331"/>
                <a:gd name="connsiteY2301" fmla="*/ 5595 h 634427"/>
                <a:gd name="connsiteX2302" fmla="*/ 600116 w 3080331"/>
                <a:gd name="connsiteY2302" fmla="*/ 5595 h 634427"/>
                <a:gd name="connsiteX2303" fmla="*/ 608474 w 3080331"/>
                <a:gd name="connsiteY2303" fmla="*/ 7066 h 634427"/>
                <a:gd name="connsiteX2304" fmla="*/ 613490 w 3080331"/>
                <a:gd name="connsiteY2304" fmla="*/ 10193 h 634427"/>
                <a:gd name="connsiteX2305" fmla="*/ 615830 w 3080331"/>
                <a:gd name="connsiteY2305" fmla="*/ 12399 h 634427"/>
                <a:gd name="connsiteX2306" fmla="*/ 618170 w 3080331"/>
                <a:gd name="connsiteY2306" fmla="*/ 15341 h 634427"/>
                <a:gd name="connsiteX2307" fmla="*/ 619509 w 3080331"/>
                <a:gd name="connsiteY2307" fmla="*/ 17732 h 634427"/>
                <a:gd name="connsiteX2308" fmla="*/ 621013 w 3080331"/>
                <a:gd name="connsiteY2308" fmla="*/ 21410 h 634427"/>
                <a:gd name="connsiteX2309" fmla="*/ 621681 w 3080331"/>
                <a:gd name="connsiteY2309" fmla="*/ 23801 h 634427"/>
                <a:gd name="connsiteX2310" fmla="*/ 622351 w 3080331"/>
                <a:gd name="connsiteY2310" fmla="*/ 27294 h 634427"/>
                <a:gd name="connsiteX2311" fmla="*/ 622184 w 3080331"/>
                <a:gd name="connsiteY2311" fmla="*/ 37041 h 634427"/>
                <a:gd name="connsiteX2312" fmla="*/ 621514 w 3080331"/>
                <a:gd name="connsiteY2312" fmla="*/ 40351 h 634427"/>
                <a:gd name="connsiteX2313" fmla="*/ 620679 w 3080331"/>
                <a:gd name="connsiteY2313" fmla="*/ 42925 h 634427"/>
                <a:gd name="connsiteX2314" fmla="*/ 620010 w 3080331"/>
                <a:gd name="connsiteY2314" fmla="*/ 44580 h 634427"/>
                <a:gd name="connsiteX2315" fmla="*/ 618505 w 3080331"/>
                <a:gd name="connsiteY2315" fmla="*/ 47523 h 634427"/>
                <a:gd name="connsiteX2316" fmla="*/ 617001 w 3080331"/>
                <a:gd name="connsiteY2316" fmla="*/ 49729 h 634427"/>
                <a:gd name="connsiteX2317" fmla="*/ 614659 w 3080331"/>
                <a:gd name="connsiteY2317" fmla="*/ 52303 h 634427"/>
                <a:gd name="connsiteX2318" fmla="*/ 612487 w 3080331"/>
                <a:gd name="connsiteY2318" fmla="*/ 54143 h 634427"/>
                <a:gd name="connsiteX2319" fmla="*/ 608642 w 3080331"/>
                <a:gd name="connsiteY2319" fmla="*/ 56350 h 634427"/>
                <a:gd name="connsiteX2320" fmla="*/ 603292 w 3080331"/>
                <a:gd name="connsiteY2320" fmla="*/ 57821 h 634427"/>
                <a:gd name="connsiteX2321" fmla="*/ 602457 w 3080331"/>
                <a:gd name="connsiteY2321" fmla="*/ 58004 h 634427"/>
                <a:gd name="connsiteX2322" fmla="*/ 599614 w 3080331"/>
                <a:gd name="connsiteY2322" fmla="*/ 58004 h 634427"/>
                <a:gd name="connsiteX2323" fmla="*/ 599447 w 3080331"/>
                <a:gd name="connsiteY2323" fmla="*/ 58004 h 634427"/>
                <a:gd name="connsiteX2324" fmla="*/ 590587 w 3080331"/>
                <a:gd name="connsiteY2324" fmla="*/ 54694 h 634427"/>
                <a:gd name="connsiteX2325" fmla="*/ 587411 w 3080331"/>
                <a:gd name="connsiteY2325" fmla="*/ 51936 h 634427"/>
                <a:gd name="connsiteX2326" fmla="*/ 585237 w 3080331"/>
                <a:gd name="connsiteY2326" fmla="*/ 49361 h 634427"/>
                <a:gd name="connsiteX2327" fmla="*/ 583732 w 3080331"/>
                <a:gd name="connsiteY2327" fmla="*/ 46971 h 634427"/>
                <a:gd name="connsiteX2328" fmla="*/ 582228 w 3080331"/>
                <a:gd name="connsiteY2328" fmla="*/ 44028 h 634427"/>
                <a:gd name="connsiteX2329" fmla="*/ 581392 w 3080331"/>
                <a:gd name="connsiteY2329" fmla="*/ 42006 h 634427"/>
                <a:gd name="connsiteX2330" fmla="*/ 580722 w 3080331"/>
                <a:gd name="connsiteY2330" fmla="*/ 39799 h 634427"/>
                <a:gd name="connsiteX2331" fmla="*/ 579886 w 3080331"/>
                <a:gd name="connsiteY2331" fmla="*/ 35937 h 634427"/>
                <a:gd name="connsiteX2332" fmla="*/ 579720 w 3080331"/>
                <a:gd name="connsiteY2332" fmla="*/ 33914 h 634427"/>
                <a:gd name="connsiteX2333" fmla="*/ 579886 w 3080331"/>
                <a:gd name="connsiteY2333" fmla="*/ 34098 h 634427"/>
                <a:gd name="connsiteX2334" fmla="*/ 579886 w 3080331"/>
                <a:gd name="connsiteY2334" fmla="*/ 30237 h 634427"/>
                <a:gd name="connsiteX2335" fmla="*/ 579886 w 3080331"/>
                <a:gd name="connsiteY2335" fmla="*/ 30053 h 634427"/>
                <a:gd name="connsiteX2336" fmla="*/ 580221 w 3080331"/>
                <a:gd name="connsiteY2336" fmla="*/ 26926 h 634427"/>
                <a:gd name="connsiteX2337" fmla="*/ 581057 w 3080331"/>
                <a:gd name="connsiteY2337" fmla="*/ 23248 h 634427"/>
                <a:gd name="connsiteX2338" fmla="*/ 581726 w 3080331"/>
                <a:gd name="connsiteY2338" fmla="*/ 21042 h 634427"/>
                <a:gd name="connsiteX2339" fmla="*/ 583230 w 3080331"/>
                <a:gd name="connsiteY2339" fmla="*/ 17548 h 634427"/>
                <a:gd name="connsiteX2340" fmla="*/ 584735 w 3080331"/>
                <a:gd name="connsiteY2340" fmla="*/ 14973 h 634427"/>
                <a:gd name="connsiteX2341" fmla="*/ 586240 w 3080331"/>
                <a:gd name="connsiteY2341" fmla="*/ 12950 h 634427"/>
                <a:gd name="connsiteX2342" fmla="*/ 587744 w 3080331"/>
                <a:gd name="connsiteY2342" fmla="*/ 11296 h 634427"/>
                <a:gd name="connsiteX2343" fmla="*/ 590921 w 3080331"/>
                <a:gd name="connsiteY2343" fmla="*/ 8721 h 634427"/>
                <a:gd name="connsiteX2344" fmla="*/ 593596 w 3080331"/>
                <a:gd name="connsiteY2344" fmla="*/ 7250 h 634427"/>
                <a:gd name="connsiteX2345" fmla="*/ 600116 w 3080331"/>
                <a:gd name="connsiteY2345" fmla="*/ 5595 h 634427"/>
                <a:gd name="connsiteX2346" fmla="*/ 477273 w 3080331"/>
                <a:gd name="connsiteY2346" fmla="*/ 5595 h 634427"/>
                <a:gd name="connsiteX2347" fmla="*/ 485631 w 3080331"/>
                <a:gd name="connsiteY2347" fmla="*/ 7066 h 634427"/>
                <a:gd name="connsiteX2348" fmla="*/ 490647 w 3080331"/>
                <a:gd name="connsiteY2348" fmla="*/ 10193 h 634427"/>
                <a:gd name="connsiteX2349" fmla="*/ 492987 w 3080331"/>
                <a:gd name="connsiteY2349" fmla="*/ 12399 h 634427"/>
                <a:gd name="connsiteX2350" fmla="*/ 495327 w 3080331"/>
                <a:gd name="connsiteY2350" fmla="*/ 15341 h 634427"/>
                <a:gd name="connsiteX2351" fmla="*/ 496665 w 3080331"/>
                <a:gd name="connsiteY2351" fmla="*/ 17732 h 634427"/>
                <a:gd name="connsiteX2352" fmla="*/ 498170 w 3080331"/>
                <a:gd name="connsiteY2352" fmla="*/ 21410 h 634427"/>
                <a:gd name="connsiteX2353" fmla="*/ 498838 w 3080331"/>
                <a:gd name="connsiteY2353" fmla="*/ 23801 h 634427"/>
                <a:gd name="connsiteX2354" fmla="*/ 499507 w 3080331"/>
                <a:gd name="connsiteY2354" fmla="*/ 27294 h 634427"/>
                <a:gd name="connsiteX2355" fmla="*/ 499340 w 3080331"/>
                <a:gd name="connsiteY2355" fmla="*/ 37041 h 634427"/>
                <a:gd name="connsiteX2356" fmla="*/ 498672 w 3080331"/>
                <a:gd name="connsiteY2356" fmla="*/ 40351 h 634427"/>
                <a:gd name="connsiteX2357" fmla="*/ 497835 w 3080331"/>
                <a:gd name="connsiteY2357" fmla="*/ 42925 h 634427"/>
                <a:gd name="connsiteX2358" fmla="*/ 497166 w 3080331"/>
                <a:gd name="connsiteY2358" fmla="*/ 44581 h 634427"/>
                <a:gd name="connsiteX2359" fmla="*/ 495662 w 3080331"/>
                <a:gd name="connsiteY2359" fmla="*/ 47523 h 634427"/>
                <a:gd name="connsiteX2360" fmla="*/ 494158 w 3080331"/>
                <a:gd name="connsiteY2360" fmla="*/ 49729 h 634427"/>
                <a:gd name="connsiteX2361" fmla="*/ 491817 w 3080331"/>
                <a:gd name="connsiteY2361" fmla="*/ 52304 h 634427"/>
                <a:gd name="connsiteX2362" fmla="*/ 489643 w 3080331"/>
                <a:gd name="connsiteY2362" fmla="*/ 54143 h 634427"/>
                <a:gd name="connsiteX2363" fmla="*/ 485799 w 3080331"/>
                <a:gd name="connsiteY2363" fmla="*/ 56350 h 634427"/>
                <a:gd name="connsiteX2364" fmla="*/ 480449 w 3080331"/>
                <a:gd name="connsiteY2364" fmla="*/ 57821 h 634427"/>
                <a:gd name="connsiteX2365" fmla="*/ 479613 w 3080331"/>
                <a:gd name="connsiteY2365" fmla="*/ 58005 h 634427"/>
                <a:gd name="connsiteX2366" fmla="*/ 476771 w 3080331"/>
                <a:gd name="connsiteY2366" fmla="*/ 58005 h 634427"/>
                <a:gd name="connsiteX2367" fmla="*/ 476604 w 3080331"/>
                <a:gd name="connsiteY2367" fmla="*/ 58005 h 634427"/>
                <a:gd name="connsiteX2368" fmla="*/ 467743 w 3080331"/>
                <a:gd name="connsiteY2368" fmla="*/ 54695 h 634427"/>
                <a:gd name="connsiteX2369" fmla="*/ 464566 w 3080331"/>
                <a:gd name="connsiteY2369" fmla="*/ 51936 h 634427"/>
                <a:gd name="connsiteX2370" fmla="*/ 462393 w 3080331"/>
                <a:gd name="connsiteY2370" fmla="*/ 49362 h 634427"/>
                <a:gd name="connsiteX2371" fmla="*/ 460889 w 3080331"/>
                <a:gd name="connsiteY2371" fmla="*/ 46971 h 634427"/>
                <a:gd name="connsiteX2372" fmla="*/ 459385 w 3080331"/>
                <a:gd name="connsiteY2372" fmla="*/ 44029 h 634427"/>
                <a:gd name="connsiteX2373" fmla="*/ 458549 w 3080331"/>
                <a:gd name="connsiteY2373" fmla="*/ 42006 h 634427"/>
                <a:gd name="connsiteX2374" fmla="*/ 457879 w 3080331"/>
                <a:gd name="connsiteY2374" fmla="*/ 39799 h 634427"/>
                <a:gd name="connsiteX2375" fmla="*/ 457044 w 3080331"/>
                <a:gd name="connsiteY2375" fmla="*/ 35937 h 634427"/>
                <a:gd name="connsiteX2376" fmla="*/ 456877 w 3080331"/>
                <a:gd name="connsiteY2376" fmla="*/ 33915 h 634427"/>
                <a:gd name="connsiteX2377" fmla="*/ 457044 w 3080331"/>
                <a:gd name="connsiteY2377" fmla="*/ 34098 h 634427"/>
                <a:gd name="connsiteX2378" fmla="*/ 457044 w 3080331"/>
                <a:gd name="connsiteY2378" fmla="*/ 30237 h 634427"/>
                <a:gd name="connsiteX2379" fmla="*/ 457044 w 3080331"/>
                <a:gd name="connsiteY2379" fmla="*/ 30053 h 634427"/>
                <a:gd name="connsiteX2380" fmla="*/ 457378 w 3080331"/>
                <a:gd name="connsiteY2380" fmla="*/ 26926 h 634427"/>
                <a:gd name="connsiteX2381" fmla="*/ 458214 w 3080331"/>
                <a:gd name="connsiteY2381" fmla="*/ 23249 h 634427"/>
                <a:gd name="connsiteX2382" fmla="*/ 458883 w 3080331"/>
                <a:gd name="connsiteY2382" fmla="*/ 21042 h 634427"/>
                <a:gd name="connsiteX2383" fmla="*/ 460388 w 3080331"/>
                <a:gd name="connsiteY2383" fmla="*/ 17548 h 634427"/>
                <a:gd name="connsiteX2384" fmla="*/ 461892 w 3080331"/>
                <a:gd name="connsiteY2384" fmla="*/ 14974 h 634427"/>
                <a:gd name="connsiteX2385" fmla="*/ 463397 w 3080331"/>
                <a:gd name="connsiteY2385" fmla="*/ 12950 h 634427"/>
                <a:gd name="connsiteX2386" fmla="*/ 464901 w 3080331"/>
                <a:gd name="connsiteY2386" fmla="*/ 11296 h 634427"/>
                <a:gd name="connsiteX2387" fmla="*/ 468077 w 3080331"/>
                <a:gd name="connsiteY2387" fmla="*/ 8721 h 634427"/>
                <a:gd name="connsiteX2388" fmla="*/ 470752 w 3080331"/>
                <a:gd name="connsiteY2388" fmla="*/ 7250 h 634427"/>
                <a:gd name="connsiteX2389" fmla="*/ 477273 w 3080331"/>
                <a:gd name="connsiteY2389" fmla="*/ 5595 h 634427"/>
                <a:gd name="connsiteX2390" fmla="*/ 313331 w 3080331"/>
                <a:gd name="connsiteY2390" fmla="*/ 5595 h 634427"/>
                <a:gd name="connsiteX2391" fmla="*/ 321690 w 3080331"/>
                <a:gd name="connsiteY2391" fmla="*/ 7066 h 634427"/>
                <a:gd name="connsiteX2392" fmla="*/ 326706 w 3080331"/>
                <a:gd name="connsiteY2392" fmla="*/ 10193 h 634427"/>
                <a:gd name="connsiteX2393" fmla="*/ 329046 w 3080331"/>
                <a:gd name="connsiteY2393" fmla="*/ 12399 h 634427"/>
                <a:gd name="connsiteX2394" fmla="*/ 331386 w 3080331"/>
                <a:gd name="connsiteY2394" fmla="*/ 15341 h 634427"/>
                <a:gd name="connsiteX2395" fmla="*/ 332723 w 3080331"/>
                <a:gd name="connsiteY2395" fmla="*/ 17732 h 634427"/>
                <a:gd name="connsiteX2396" fmla="*/ 334228 w 3080331"/>
                <a:gd name="connsiteY2396" fmla="*/ 21410 h 634427"/>
                <a:gd name="connsiteX2397" fmla="*/ 334896 w 3080331"/>
                <a:gd name="connsiteY2397" fmla="*/ 23801 h 634427"/>
                <a:gd name="connsiteX2398" fmla="*/ 335566 w 3080331"/>
                <a:gd name="connsiteY2398" fmla="*/ 27294 h 634427"/>
                <a:gd name="connsiteX2399" fmla="*/ 335398 w 3080331"/>
                <a:gd name="connsiteY2399" fmla="*/ 37041 h 634427"/>
                <a:gd name="connsiteX2400" fmla="*/ 334730 w 3080331"/>
                <a:gd name="connsiteY2400" fmla="*/ 40351 h 634427"/>
                <a:gd name="connsiteX2401" fmla="*/ 333894 w 3080331"/>
                <a:gd name="connsiteY2401" fmla="*/ 42925 h 634427"/>
                <a:gd name="connsiteX2402" fmla="*/ 333225 w 3080331"/>
                <a:gd name="connsiteY2402" fmla="*/ 44581 h 634427"/>
                <a:gd name="connsiteX2403" fmla="*/ 331721 w 3080331"/>
                <a:gd name="connsiteY2403" fmla="*/ 47523 h 634427"/>
                <a:gd name="connsiteX2404" fmla="*/ 330216 w 3080331"/>
                <a:gd name="connsiteY2404" fmla="*/ 49729 h 634427"/>
                <a:gd name="connsiteX2405" fmla="*/ 327875 w 3080331"/>
                <a:gd name="connsiteY2405" fmla="*/ 52304 h 634427"/>
                <a:gd name="connsiteX2406" fmla="*/ 325702 w 3080331"/>
                <a:gd name="connsiteY2406" fmla="*/ 54143 h 634427"/>
                <a:gd name="connsiteX2407" fmla="*/ 321857 w 3080331"/>
                <a:gd name="connsiteY2407" fmla="*/ 56350 h 634427"/>
                <a:gd name="connsiteX2408" fmla="*/ 316507 w 3080331"/>
                <a:gd name="connsiteY2408" fmla="*/ 57821 h 634427"/>
                <a:gd name="connsiteX2409" fmla="*/ 315671 w 3080331"/>
                <a:gd name="connsiteY2409" fmla="*/ 58005 h 634427"/>
                <a:gd name="connsiteX2410" fmla="*/ 312829 w 3080331"/>
                <a:gd name="connsiteY2410" fmla="*/ 58005 h 634427"/>
                <a:gd name="connsiteX2411" fmla="*/ 312662 w 3080331"/>
                <a:gd name="connsiteY2411" fmla="*/ 58005 h 634427"/>
                <a:gd name="connsiteX2412" fmla="*/ 303801 w 3080331"/>
                <a:gd name="connsiteY2412" fmla="*/ 54695 h 634427"/>
                <a:gd name="connsiteX2413" fmla="*/ 300625 w 3080331"/>
                <a:gd name="connsiteY2413" fmla="*/ 51936 h 634427"/>
                <a:gd name="connsiteX2414" fmla="*/ 298452 w 3080331"/>
                <a:gd name="connsiteY2414" fmla="*/ 49362 h 634427"/>
                <a:gd name="connsiteX2415" fmla="*/ 296948 w 3080331"/>
                <a:gd name="connsiteY2415" fmla="*/ 46971 h 634427"/>
                <a:gd name="connsiteX2416" fmla="*/ 295443 w 3080331"/>
                <a:gd name="connsiteY2416" fmla="*/ 44029 h 634427"/>
                <a:gd name="connsiteX2417" fmla="*/ 294607 w 3080331"/>
                <a:gd name="connsiteY2417" fmla="*/ 42006 h 634427"/>
                <a:gd name="connsiteX2418" fmla="*/ 293938 w 3080331"/>
                <a:gd name="connsiteY2418" fmla="*/ 39799 h 634427"/>
                <a:gd name="connsiteX2419" fmla="*/ 293102 w 3080331"/>
                <a:gd name="connsiteY2419" fmla="*/ 35937 h 634427"/>
                <a:gd name="connsiteX2420" fmla="*/ 292935 w 3080331"/>
                <a:gd name="connsiteY2420" fmla="*/ 33915 h 634427"/>
                <a:gd name="connsiteX2421" fmla="*/ 293102 w 3080331"/>
                <a:gd name="connsiteY2421" fmla="*/ 34098 h 634427"/>
                <a:gd name="connsiteX2422" fmla="*/ 293102 w 3080331"/>
                <a:gd name="connsiteY2422" fmla="*/ 30237 h 634427"/>
                <a:gd name="connsiteX2423" fmla="*/ 293102 w 3080331"/>
                <a:gd name="connsiteY2423" fmla="*/ 30053 h 634427"/>
                <a:gd name="connsiteX2424" fmla="*/ 293436 w 3080331"/>
                <a:gd name="connsiteY2424" fmla="*/ 26926 h 634427"/>
                <a:gd name="connsiteX2425" fmla="*/ 294273 w 3080331"/>
                <a:gd name="connsiteY2425" fmla="*/ 23249 h 634427"/>
                <a:gd name="connsiteX2426" fmla="*/ 294941 w 3080331"/>
                <a:gd name="connsiteY2426" fmla="*/ 21042 h 634427"/>
                <a:gd name="connsiteX2427" fmla="*/ 296446 w 3080331"/>
                <a:gd name="connsiteY2427" fmla="*/ 17548 h 634427"/>
                <a:gd name="connsiteX2428" fmla="*/ 297950 w 3080331"/>
                <a:gd name="connsiteY2428" fmla="*/ 14974 h 634427"/>
                <a:gd name="connsiteX2429" fmla="*/ 299455 w 3080331"/>
                <a:gd name="connsiteY2429" fmla="*/ 12950 h 634427"/>
                <a:gd name="connsiteX2430" fmla="*/ 300959 w 3080331"/>
                <a:gd name="connsiteY2430" fmla="*/ 11296 h 634427"/>
                <a:gd name="connsiteX2431" fmla="*/ 304135 w 3080331"/>
                <a:gd name="connsiteY2431" fmla="*/ 8721 h 634427"/>
                <a:gd name="connsiteX2432" fmla="*/ 306810 w 3080331"/>
                <a:gd name="connsiteY2432" fmla="*/ 7250 h 634427"/>
                <a:gd name="connsiteX2433" fmla="*/ 313331 w 3080331"/>
                <a:gd name="connsiteY2433" fmla="*/ 5595 h 634427"/>
                <a:gd name="connsiteX2434" fmla="*/ 80964 w 3080331"/>
                <a:gd name="connsiteY2434" fmla="*/ 1038 h 634427"/>
                <a:gd name="connsiteX2435" fmla="*/ 97828 w 3080331"/>
                <a:gd name="connsiteY2435" fmla="*/ 14783 h 634427"/>
                <a:gd name="connsiteX2436" fmla="*/ 98155 w 3080331"/>
                <a:gd name="connsiteY2436" fmla="*/ 18019 h 634427"/>
                <a:gd name="connsiteX2437" fmla="*/ 99120 w 3080331"/>
                <a:gd name="connsiteY2437" fmla="*/ 18019 h 634427"/>
                <a:gd name="connsiteX2438" fmla="*/ 103509 w 3080331"/>
                <a:gd name="connsiteY2438" fmla="*/ 22295 h 634427"/>
                <a:gd name="connsiteX2439" fmla="*/ 103509 w 3080331"/>
                <a:gd name="connsiteY2439" fmla="*/ 56112 h 634427"/>
                <a:gd name="connsiteX2440" fmla="*/ 99120 w 3080331"/>
                <a:gd name="connsiteY2440" fmla="*/ 60387 h 634427"/>
                <a:gd name="connsiteX2441" fmla="*/ 62809 w 3080331"/>
                <a:gd name="connsiteY2441" fmla="*/ 60387 h 634427"/>
                <a:gd name="connsiteX2442" fmla="*/ 58420 w 3080331"/>
                <a:gd name="connsiteY2442" fmla="*/ 56112 h 634427"/>
                <a:gd name="connsiteX2443" fmla="*/ 58420 w 3080331"/>
                <a:gd name="connsiteY2443" fmla="*/ 22295 h 634427"/>
                <a:gd name="connsiteX2444" fmla="*/ 62809 w 3080331"/>
                <a:gd name="connsiteY2444" fmla="*/ 18019 h 634427"/>
                <a:gd name="connsiteX2445" fmla="*/ 63377 w 3080331"/>
                <a:gd name="connsiteY2445" fmla="*/ 18019 h 634427"/>
                <a:gd name="connsiteX2446" fmla="*/ 63774 w 3080331"/>
                <a:gd name="connsiteY2446" fmla="*/ 18019 h 634427"/>
                <a:gd name="connsiteX2447" fmla="*/ 64100 w 3080331"/>
                <a:gd name="connsiteY2447" fmla="*/ 14783 h 634427"/>
                <a:gd name="connsiteX2448" fmla="*/ 80964 w 3080331"/>
                <a:gd name="connsiteY2448" fmla="*/ 1038 h 634427"/>
                <a:gd name="connsiteX2449" fmla="*/ 3007380 w 3080331"/>
                <a:gd name="connsiteY2449" fmla="*/ 0 h 634427"/>
                <a:gd name="connsiteX2450" fmla="*/ 3024244 w 3080331"/>
                <a:gd name="connsiteY2450" fmla="*/ 13745 h 634427"/>
                <a:gd name="connsiteX2451" fmla="*/ 3024570 w 3080331"/>
                <a:gd name="connsiteY2451" fmla="*/ 16981 h 634427"/>
                <a:gd name="connsiteX2452" fmla="*/ 3025535 w 3080331"/>
                <a:gd name="connsiteY2452" fmla="*/ 16981 h 634427"/>
                <a:gd name="connsiteX2453" fmla="*/ 3029924 w 3080331"/>
                <a:gd name="connsiteY2453" fmla="*/ 21256 h 634427"/>
                <a:gd name="connsiteX2454" fmla="*/ 3029924 w 3080331"/>
                <a:gd name="connsiteY2454" fmla="*/ 55073 h 634427"/>
                <a:gd name="connsiteX2455" fmla="*/ 3025535 w 3080331"/>
                <a:gd name="connsiteY2455" fmla="*/ 59349 h 634427"/>
                <a:gd name="connsiteX2456" fmla="*/ 2989224 w 3080331"/>
                <a:gd name="connsiteY2456" fmla="*/ 59349 h 634427"/>
                <a:gd name="connsiteX2457" fmla="*/ 2984835 w 3080331"/>
                <a:gd name="connsiteY2457" fmla="*/ 55073 h 634427"/>
                <a:gd name="connsiteX2458" fmla="*/ 2984835 w 3080331"/>
                <a:gd name="connsiteY2458" fmla="*/ 21256 h 634427"/>
                <a:gd name="connsiteX2459" fmla="*/ 2989224 w 3080331"/>
                <a:gd name="connsiteY2459" fmla="*/ 16981 h 634427"/>
                <a:gd name="connsiteX2460" fmla="*/ 2989792 w 3080331"/>
                <a:gd name="connsiteY2460" fmla="*/ 16981 h 634427"/>
                <a:gd name="connsiteX2461" fmla="*/ 2990189 w 3080331"/>
                <a:gd name="connsiteY2461" fmla="*/ 16981 h 634427"/>
                <a:gd name="connsiteX2462" fmla="*/ 2990516 w 3080331"/>
                <a:gd name="connsiteY2462" fmla="*/ 13745 h 634427"/>
                <a:gd name="connsiteX2463" fmla="*/ 3007380 w 3080331"/>
                <a:gd name="connsiteY2463" fmla="*/ 0 h 634427"/>
                <a:gd name="connsiteX2464" fmla="*/ 2945983 w 3080331"/>
                <a:gd name="connsiteY2464" fmla="*/ 0 h 634427"/>
                <a:gd name="connsiteX2465" fmla="*/ 2962847 w 3080331"/>
                <a:gd name="connsiteY2465" fmla="*/ 13745 h 634427"/>
                <a:gd name="connsiteX2466" fmla="*/ 2963173 w 3080331"/>
                <a:gd name="connsiteY2466" fmla="*/ 16981 h 634427"/>
                <a:gd name="connsiteX2467" fmla="*/ 2964138 w 3080331"/>
                <a:gd name="connsiteY2467" fmla="*/ 16981 h 634427"/>
                <a:gd name="connsiteX2468" fmla="*/ 2968527 w 3080331"/>
                <a:gd name="connsiteY2468" fmla="*/ 21256 h 634427"/>
                <a:gd name="connsiteX2469" fmla="*/ 2968527 w 3080331"/>
                <a:gd name="connsiteY2469" fmla="*/ 55073 h 634427"/>
                <a:gd name="connsiteX2470" fmla="*/ 2964138 w 3080331"/>
                <a:gd name="connsiteY2470" fmla="*/ 59349 h 634427"/>
                <a:gd name="connsiteX2471" fmla="*/ 2927828 w 3080331"/>
                <a:gd name="connsiteY2471" fmla="*/ 59349 h 634427"/>
                <a:gd name="connsiteX2472" fmla="*/ 2923439 w 3080331"/>
                <a:gd name="connsiteY2472" fmla="*/ 55073 h 634427"/>
                <a:gd name="connsiteX2473" fmla="*/ 2923439 w 3080331"/>
                <a:gd name="connsiteY2473" fmla="*/ 21256 h 634427"/>
                <a:gd name="connsiteX2474" fmla="*/ 2927828 w 3080331"/>
                <a:gd name="connsiteY2474" fmla="*/ 16981 h 634427"/>
                <a:gd name="connsiteX2475" fmla="*/ 2928396 w 3080331"/>
                <a:gd name="connsiteY2475" fmla="*/ 16981 h 634427"/>
                <a:gd name="connsiteX2476" fmla="*/ 2928793 w 3080331"/>
                <a:gd name="connsiteY2476" fmla="*/ 16981 h 634427"/>
                <a:gd name="connsiteX2477" fmla="*/ 2929119 w 3080331"/>
                <a:gd name="connsiteY2477" fmla="*/ 13745 h 634427"/>
                <a:gd name="connsiteX2478" fmla="*/ 2945983 w 3080331"/>
                <a:gd name="connsiteY2478" fmla="*/ 0 h 634427"/>
                <a:gd name="connsiteX2479" fmla="*/ 2823140 w 3080331"/>
                <a:gd name="connsiteY2479" fmla="*/ 0 h 634427"/>
                <a:gd name="connsiteX2480" fmla="*/ 2840004 w 3080331"/>
                <a:gd name="connsiteY2480" fmla="*/ 13745 h 634427"/>
                <a:gd name="connsiteX2481" fmla="*/ 2840330 w 3080331"/>
                <a:gd name="connsiteY2481" fmla="*/ 16981 h 634427"/>
                <a:gd name="connsiteX2482" fmla="*/ 2841295 w 3080331"/>
                <a:gd name="connsiteY2482" fmla="*/ 16981 h 634427"/>
                <a:gd name="connsiteX2483" fmla="*/ 2845684 w 3080331"/>
                <a:gd name="connsiteY2483" fmla="*/ 21256 h 634427"/>
                <a:gd name="connsiteX2484" fmla="*/ 2845684 w 3080331"/>
                <a:gd name="connsiteY2484" fmla="*/ 55073 h 634427"/>
                <a:gd name="connsiteX2485" fmla="*/ 2841295 w 3080331"/>
                <a:gd name="connsiteY2485" fmla="*/ 59349 h 634427"/>
                <a:gd name="connsiteX2486" fmla="*/ 2804985 w 3080331"/>
                <a:gd name="connsiteY2486" fmla="*/ 59349 h 634427"/>
                <a:gd name="connsiteX2487" fmla="*/ 2800596 w 3080331"/>
                <a:gd name="connsiteY2487" fmla="*/ 55073 h 634427"/>
                <a:gd name="connsiteX2488" fmla="*/ 2800596 w 3080331"/>
                <a:gd name="connsiteY2488" fmla="*/ 21256 h 634427"/>
                <a:gd name="connsiteX2489" fmla="*/ 2804985 w 3080331"/>
                <a:gd name="connsiteY2489" fmla="*/ 16981 h 634427"/>
                <a:gd name="connsiteX2490" fmla="*/ 2805553 w 3080331"/>
                <a:gd name="connsiteY2490" fmla="*/ 16981 h 634427"/>
                <a:gd name="connsiteX2491" fmla="*/ 2805950 w 3080331"/>
                <a:gd name="connsiteY2491" fmla="*/ 16981 h 634427"/>
                <a:gd name="connsiteX2492" fmla="*/ 2806276 w 3080331"/>
                <a:gd name="connsiteY2492" fmla="*/ 13745 h 634427"/>
                <a:gd name="connsiteX2493" fmla="*/ 2823140 w 3080331"/>
                <a:gd name="connsiteY2493" fmla="*/ 0 h 634427"/>
                <a:gd name="connsiteX2494" fmla="*/ 2536355 w 3080331"/>
                <a:gd name="connsiteY2494" fmla="*/ 0 h 634427"/>
                <a:gd name="connsiteX2495" fmla="*/ 2553219 w 3080331"/>
                <a:gd name="connsiteY2495" fmla="*/ 13745 h 634427"/>
                <a:gd name="connsiteX2496" fmla="*/ 2553546 w 3080331"/>
                <a:gd name="connsiteY2496" fmla="*/ 16981 h 634427"/>
                <a:gd name="connsiteX2497" fmla="*/ 2554511 w 3080331"/>
                <a:gd name="connsiteY2497" fmla="*/ 16981 h 634427"/>
                <a:gd name="connsiteX2498" fmla="*/ 2558900 w 3080331"/>
                <a:gd name="connsiteY2498" fmla="*/ 21256 h 634427"/>
                <a:gd name="connsiteX2499" fmla="*/ 2558900 w 3080331"/>
                <a:gd name="connsiteY2499" fmla="*/ 55073 h 634427"/>
                <a:gd name="connsiteX2500" fmla="*/ 2554511 w 3080331"/>
                <a:gd name="connsiteY2500" fmla="*/ 59349 h 634427"/>
                <a:gd name="connsiteX2501" fmla="*/ 2518200 w 3080331"/>
                <a:gd name="connsiteY2501" fmla="*/ 59349 h 634427"/>
                <a:gd name="connsiteX2502" fmla="*/ 2513811 w 3080331"/>
                <a:gd name="connsiteY2502" fmla="*/ 55073 h 634427"/>
                <a:gd name="connsiteX2503" fmla="*/ 2513811 w 3080331"/>
                <a:gd name="connsiteY2503" fmla="*/ 21256 h 634427"/>
                <a:gd name="connsiteX2504" fmla="*/ 2518200 w 3080331"/>
                <a:gd name="connsiteY2504" fmla="*/ 16981 h 634427"/>
                <a:gd name="connsiteX2505" fmla="*/ 2518768 w 3080331"/>
                <a:gd name="connsiteY2505" fmla="*/ 16981 h 634427"/>
                <a:gd name="connsiteX2506" fmla="*/ 2519165 w 3080331"/>
                <a:gd name="connsiteY2506" fmla="*/ 16981 h 634427"/>
                <a:gd name="connsiteX2507" fmla="*/ 2519492 w 3080331"/>
                <a:gd name="connsiteY2507" fmla="*/ 13745 h 634427"/>
                <a:gd name="connsiteX2508" fmla="*/ 2536355 w 3080331"/>
                <a:gd name="connsiteY2508" fmla="*/ 0 h 634427"/>
                <a:gd name="connsiteX2509" fmla="*/ 2413512 w 3080331"/>
                <a:gd name="connsiteY2509" fmla="*/ 0 h 634427"/>
                <a:gd name="connsiteX2510" fmla="*/ 2430376 w 3080331"/>
                <a:gd name="connsiteY2510" fmla="*/ 13745 h 634427"/>
                <a:gd name="connsiteX2511" fmla="*/ 2430703 w 3080331"/>
                <a:gd name="connsiteY2511" fmla="*/ 16981 h 634427"/>
                <a:gd name="connsiteX2512" fmla="*/ 2431668 w 3080331"/>
                <a:gd name="connsiteY2512" fmla="*/ 16981 h 634427"/>
                <a:gd name="connsiteX2513" fmla="*/ 2436057 w 3080331"/>
                <a:gd name="connsiteY2513" fmla="*/ 21256 h 634427"/>
                <a:gd name="connsiteX2514" fmla="*/ 2436057 w 3080331"/>
                <a:gd name="connsiteY2514" fmla="*/ 55073 h 634427"/>
                <a:gd name="connsiteX2515" fmla="*/ 2431668 w 3080331"/>
                <a:gd name="connsiteY2515" fmla="*/ 59349 h 634427"/>
                <a:gd name="connsiteX2516" fmla="*/ 2395357 w 3080331"/>
                <a:gd name="connsiteY2516" fmla="*/ 59349 h 634427"/>
                <a:gd name="connsiteX2517" fmla="*/ 2390968 w 3080331"/>
                <a:gd name="connsiteY2517" fmla="*/ 55073 h 634427"/>
                <a:gd name="connsiteX2518" fmla="*/ 2390968 w 3080331"/>
                <a:gd name="connsiteY2518" fmla="*/ 21256 h 634427"/>
                <a:gd name="connsiteX2519" fmla="*/ 2395357 w 3080331"/>
                <a:gd name="connsiteY2519" fmla="*/ 16981 h 634427"/>
                <a:gd name="connsiteX2520" fmla="*/ 2395925 w 3080331"/>
                <a:gd name="connsiteY2520" fmla="*/ 16981 h 634427"/>
                <a:gd name="connsiteX2521" fmla="*/ 2396322 w 3080331"/>
                <a:gd name="connsiteY2521" fmla="*/ 16981 h 634427"/>
                <a:gd name="connsiteX2522" fmla="*/ 2396649 w 3080331"/>
                <a:gd name="connsiteY2522" fmla="*/ 13745 h 634427"/>
                <a:gd name="connsiteX2523" fmla="*/ 2413512 w 3080331"/>
                <a:gd name="connsiteY2523" fmla="*/ 0 h 634427"/>
                <a:gd name="connsiteX2524" fmla="*/ 2126728 w 3080331"/>
                <a:gd name="connsiteY2524" fmla="*/ 0 h 634427"/>
                <a:gd name="connsiteX2525" fmla="*/ 2143591 w 3080331"/>
                <a:gd name="connsiteY2525" fmla="*/ 13745 h 634427"/>
                <a:gd name="connsiteX2526" fmla="*/ 2143918 w 3080331"/>
                <a:gd name="connsiteY2526" fmla="*/ 16981 h 634427"/>
                <a:gd name="connsiteX2527" fmla="*/ 2144883 w 3080331"/>
                <a:gd name="connsiteY2527" fmla="*/ 16981 h 634427"/>
                <a:gd name="connsiteX2528" fmla="*/ 2149272 w 3080331"/>
                <a:gd name="connsiteY2528" fmla="*/ 21256 h 634427"/>
                <a:gd name="connsiteX2529" fmla="*/ 2149272 w 3080331"/>
                <a:gd name="connsiteY2529" fmla="*/ 55073 h 634427"/>
                <a:gd name="connsiteX2530" fmla="*/ 2144883 w 3080331"/>
                <a:gd name="connsiteY2530" fmla="*/ 59349 h 634427"/>
                <a:gd name="connsiteX2531" fmla="*/ 2108572 w 3080331"/>
                <a:gd name="connsiteY2531" fmla="*/ 59349 h 634427"/>
                <a:gd name="connsiteX2532" fmla="*/ 2104183 w 3080331"/>
                <a:gd name="connsiteY2532" fmla="*/ 55073 h 634427"/>
                <a:gd name="connsiteX2533" fmla="*/ 2104183 w 3080331"/>
                <a:gd name="connsiteY2533" fmla="*/ 21256 h 634427"/>
                <a:gd name="connsiteX2534" fmla="*/ 2108572 w 3080331"/>
                <a:gd name="connsiteY2534" fmla="*/ 16981 h 634427"/>
                <a:gd name="connsiteX2535" fmla="*/ 2109140 w 3080331"/>
                <a:gd name="connsiteY2535" fmla="*/ 16981 h 634427"/>
                <a:gd name="connsiteX2536" fmla="*/ 2109537 w 3080331"/>
                <a:gd name="connsiteY2536" fmla="*/ 16981 h 634427"/>
                <a:gd name="connsiteX2537" fmla="*/ 2109864 w 3080331"/>
                <a:gd name="connsiteY2537" fmla="*/ 13745 h 634427"/>
                <a:gd name="connsiteX2538" fmla="*/ 2126728 w 3080331"/>
                <a:gd name="connsiteY2538" fmla="*/ 0 h 634427"/>
                <a:gd name="connsiteX2539" fmla="*/ 2065331 w 3080331"/>
                <a:gd name="connsiteY2539" fmla="*/ 0 h 634427"/>
                <a:gd name="connsiteX2540" fmla="*/ 2082195 w 3080331"/>
                <a:gd name="connsiteY2540" fmla="*/ 13745 h 634427"/>
                <a:gd name="connsiteX2541" fmla="*/ 2082521 w 3080331"/>
                <a:gd name="connsiteY2541" fmla="*/ 16981 h 634427"/>
                <a:gd name="connsiteX2542" fmla="*/ 2083486 w 3080331"/>
                <a:gd name="connsiteY2542" fmla="*/ 16981 h 634427"/>
                <a:gd name="connsiteX2543" fmla="*/ 2087875 w 3080331"/>
                <a:gd name="connsiteY2543" fmla="*/ 21256 h 634427"/>
                <a:gd name="connsiteX2544" fmla="*/ 2087875 w 3080331"/>
                <a:gd name="connsiteY2544" fmla="*/ 55073 h 634427"/>
                <a:gd name="connsiteX2545" fmla="*/ 2083486 w 3080331"/>
                <a:gd name="connsiteY2545" fmla="*/ 59349 h 634427"/>
                <a:gd name="connsiteX2546" fmla="*/ 2047176 w 3080331"/>
                <a:gd name="connsiteY2546" fmla="*/ 59349 h 634427"/>
                <a:gd name="connsiteX2547" fmla="*/ 2042787 w 3080331"/>
                <a:gd name="connsiteY2547" fmla="*/ 55073 h 634427"/>
                <a:gd name="connsiteX2548" fmla="*/ 2042787 w 3080331"/>
                <a:gd name="connsiteY2548" fmla="*/ 21256 h 634427"/>
                <a:gd name="connsiteX2549" fmla="*/ 2047176 w 3080331"/>
                <a:gd name="connsiteY2549" fmla="*/ 16981 h 634427"/>
                <a:gd name="connsiteX2550" fmla="*/ 2047743 w 3080331"/>
                <a:gd name="connsiteY2550" fmla="*/ 16981 h 634427"/>
                <a:gd name="connsiteX2551" fmla="*/ 2048141 w 3080331"/>
                <a:gd name="connsiteY2551" fmla="*/ 16981 h 634427"/>
                <a:gd name="connsiteX2552" fmla="*/ 2048467 w 3080331"/>
                <a:gd name="connsiteY2552" fmla="*/ 13745 h 634427"/>
                <a:gd name="connsiteX2553" fmla="*/ 2065331 w 3080331"/>
                <a:gd name="connsiteY2553" fmla="*/ 0 h 634427"/>
                <a:gd name="connsiteX2554" fmla="*/ 1942488 w 3080331"/>
                <a:gd name="connsiteY2554" fmla="*/ 0 h 634427"/>
                <a:gd name="connsiteX2555" fmla="*/ 1959352 w 3080331"/>
                <a:gd name="connsiteY2555" fmla="*/ 13745 h 634427"/>
                <a:gd name="connsiteX2556" fmla="*/ 1959678 w 3080331"/>
                <a:gd name="connsiteY2556" fmla="*/ 16981 h 634427"/>
                <a:gd name="connsiteX2557" fmla="*/ 1960643 w 3080331"/>
                <a:gd name="connsiteY2557" fmla="*/ 16981 h 634427"/>
                <a:gd name="connsiteX2558" fmla="*/ 1965032 w 3080331"/>
                <a:gd name="connsiteY2558" fmla="*/ 21256 h 634427"/>
                <a:gd name="connsiteX2559" fmla="*/ 1965032 w 3080331"/>
                <a:gd name="connsiteY2559" fmla="*/ 55073 h 634427"/>
                <a:gd name="connsiteX2560" fmla="*/ 1960643 w 3080331"/>
                <a:gd name="connsiteY2560" fmla="*/ 59349 h 634427"/>
                <a:gd name="connsiteX2561" fmla="*/ 1924333 w 3080331"/>
                <a:gd name="connsiteY2561" fmla="*/ 59349 h 634427"/>
                <a:gd name="connsiteX2562" fmla="*/ 1919944 w 3080331"/>
                <a:gd name="connsiteY2562" fmla="*/ 55073 h 634427"/>
                <a:gd name="connsiteX2563" fmla="*/ 1919944 w 3080331"/>
                <a:gd name="connsiteY2563" fmla="*/ 21256 h 634427"/>
                <a:gd name="connsiteX2564" fmla="*/ 1924333 w 3080331"/>
                <a:gd name="connsiteY2564" fmla="*/ 16981 h 634427"/>
                <a:gd name="connsiteX2565" fmla="*/ 1924901 w 3080331"/>
                <a:gd name="connsiteY2565" fmla="*/ 16981 h 634427"/>
                <a:gd name="connsiteX2566" fmla="*/ 1925298 w 3080331"/>
                <a:gd name="connsiteY2566" fmla="*/ 16981 h 634427"/>
                <a:gd name="connsiteX2567" fmla="*/ 1925624 w 3080331"/>
                <a:gd name="connsiteY2567" fmla="*/ 13745 h 634427"/>
                <a:gd name="connsiteX2568" fmla="*/ 1942488 w 3080331"/>
                <a:gd name="connsiteY2568" fmla="*/ 0 h 634427"/>
                <a:gd name="connsiteX2569" fmla="*/ 1655705 w 3080331"/>
                <a:gd name="connsiteY2569" fmla="*/ 0 h 634427"/>
                <a:gd name="connsiteX2570" fmla="*/ 1672568 w 3080331"/>
                <a:gd name="connsiteY2570" fmla="*/ 13745 h 634427"/>
                <a:gd name="connsiteX2571" fmla="*/ 1672895 w 3080331"/>
                <a:gd name="connsiteY2571" fmla="*/ 16981 h 634427"/>
                <a:gd name="connsiteX2572" fmla="*/ 1673859 w 3080331"/>
                <a:gd name="connsiteY2572" fmla="*/ 16981 h 634427"/>
                <a:gd name="connsiteX2573" fmla="*/ 1678248 w 3080331"/>
                <a:gd name="connsiteY2573" fmla="*/ 21256 h 634427"/>
                <a:gd name="connsiteX2574" fmla="*/ 1678248 w 3080331"/>
                <a:gd name="connsiteY2574" fmla="*/ 55073 h 634427"/>
                <a:gd name="connsiteX2575" fmla="*/ 1673859 w 3080331"/>
                <a:gd name="connsiteY2575" fmla="*/ 59349 h 634427"/>
                <a:gd name="connsiteX2576" fmla="*/ 1637549 w 3080331"/>
                <a:gd name="connsiteY2576" fmla="*/ 59349 h 634427"/>
                <a:gd name="connsiteX2577" fmla="*/ 1633160 w 3080331"/>
                <a:gd name="connsiteY2577" fmla="*/ 55073 h 634427"/>
                <a:gd name="connsiteX2578" fmla="*/ 1633160 w 3080331"/>
                <a:gd name="connsiteY2578" fmla="*/ 21256 h 634427"/>
                <a:gd name="connsiteX2579" fmla="*/ 1637549 w 3080331"/>
                <a:gd name="connsiteY2579" fmla="*/ 16981 h 634427"/>
                <a:gd name="connsiteX2580" fmla="*/ 1638116 w 3080331"/>
                <a:gd name="connsiteY2580" fmla="*/ 16981 h 634427"/>
                <a:gd name="connsiteX2581" fmla="*/ 1638514 w 3080331"/>
                <a:gd name="connsiteY2581" fmla="*/ 16981 h 634427"/>
                <a:gd name="connsiteX2582" fmla="*/ 1638840 w 3080331"/>
                <a:gd name="connsiteY2582" fmla="*/ 13745 h 634427"/>
                <a:gd name="connsiteX2583" fmla="*/ 1655705 w 3080331"/>
                <a:gd name="connsiteY2583" fmla="*/ 0 h 634427"/>
                <a:gd name="connsiteX2584" fmla="*/ 1481614 w 3080331"/>
                <a:gd name="connsiteY2584" fmla="*/ 0 h 634427"/>
                <a:gd name="connsiteX2585" fmla="*/ 1498478 w 3080331"/>
                <a:gd name="connsiteY2585" fmla="*/ 13745 h 634427"/>
                <a:gd name="connsiteX2586" fmla="*/ 1498804 w 3080331"/>
                <a:gd name="connsiteY2586" fmla="*/ 16981 h 634427"/>
                <a:gd name="connsiteX2587" fmla="*/ 1499769 w 3080331"/>
                <a:gd name="connsiteY2587" fmla="*/ 16981 h 634427"/>
                <a:gd name="connsiteX2588" fmla="*/ 1504158 w 3080331"/>
                <a:gd name="connsiteY2588" fmla="*/ 21256 h 634427"/>
                <a:gd name="connsiteX2589" fmla="*/ 1504158 w 3080331"/>
                <a:gd name="connsiteY2589" fmla="*/ 55073 h 634427"/>
                <a:gd name="connsiteX2590" fmla="*/ 1499769 w 3080331"/>
                <a:gd name="connsiteY2590" fmla="*/ 59349 h 634427"/>
                <a:gd name="connsiteX2591" fmla="*/ 1463458 w 3080331"/>
                <a:gd name="connsiteY2591" fmla="*/ 59349 h 634427"/>
                <a:gd name="connsiteX2592" fmla="*/ 1459070 w 3080331"/>
                <a:gd name="connsiteY2592" fmla="*/ 55073 h 634427"/>
                <a:gd name="connsiteX2593" fmla="*/ 1459070 w 3080331"/>
                <a:gd name="connsiteY2593" fmla="*/ 21256 h 634427"/>
                <a:gd name="connsiteX2594" fmla="*/ 1463458 w 3080331"/>
                <a:gd name="connsiteY2594" fmla="*/ 16981 h 634427"/>
                <a:gd name="connsiteX2595" fmla="*/ 1464026 w 3080331"/>
                <a:gd name="connsiteY2595" fmla="*/ 16981 h 634427"/>
                <a:gd name="connsiteX2596" fmla="*/ 1464423 w 3080331"/>
                <a:gd name="connsiteY2596" fmla="*/ 16981 h 634427"/>
                <a:gd name="connsiteX2597" fmla="*/ 1464749 w 3080331"/>
                <a:gd name="connsiteY2597" fmla="*/ 13745 h 634427"/>
                <a:gd name="connsiteX2598" fmla="*/ 1481614 w 3080331"/>
                <a:gd name="connsiteY2598" fmla="*/ 0 h 634427"/>
                <a:gd name="connsiteX2599" fmla="*/ 1420217 w 3080331"/>
                <a:gd name="connsiteY2599" fmla="*/ 0 h 634427"/>
                <a:gd name="connsiteX2600" fmla="*/ 1437081 w 3080331"/>
                <a:gd name="connsiteY2600" fmla="*/ 13745 h 634427"/>
                <a:gd name="connsiteX2601" fmla="*/ 1437407 w 3080331"/>
                <a:gd name="connsiteY2601" fmla="*/ 16981 h 634427"/>
                <a:gd name="connsiteX2602" fmla="*/ 1438372 w 3080331"/>
                <a:gd name="connsiteY2602" fmla="*/ 16981 h 634427"/>
                <a:gd name="connsiteX2603" fmla="*/ 1442761 w 3080331"/>
                <a:gd name="connsiteY2603" fmla="*/ 21256 h 634427"/>
                <a:gd name="connsiteX2604" fmla="*/ 1442761 w 3080331"/>
                <a:gd name="connsiteY2604" fmla="*/ 55073 h 634427"/>
                <a:gd name="connsiteX2605" fmla="*/ 1438372 w 3080331"/>
                <a:gd name="connsiteY2605" fmla="*/ 59349 h 634427"/>
                <a:gd name="connsiteX2606" fmla="*/ 1402062 w 3080331"/>
                <a:gd name="connsiteY2606" fmla="*/ 59349 h 634427"/>
                <a:gd name="connsiteX2607" fmla="*/ 1397673 w 3080331"/>
                <a:gd name="connsiteY2607" fmla="*/ 55073 h 634427"/>
                <a:gd name="connsiteX2608" fmla="*/ 1397673 w 3080331"/>
                <a:gd name="connsiteY2608" fmla="*/ 21256 h 634427"/>
                <a:gd name="connsiteX2609" fmla="*/ 1402062 w 3080331"/>
                <a:gd name="connsiteY2609" fmla="*/ 16981 h 634427"/>
                <a:gd name="connsiteX2610" fmla="*/ 1402629 w 3080331"/>
                <a:gd name="connsiteY2610" fmla="*/ 16981 h 634427"/>
                <a:gd name="connsiteX2611" fmla="*/ 1403027 w 3080331"/>
                <a:gd name="connsiteY2611" fmla="*/ 16981 h 634427"/>
                <a:gd name="connsiteX2612" fmla="*/ 1403353 w 3080331"/>
                <a:gd name="connsiteY2612" fmla="*/ 13745 h 634427"/>
                <a:gd name="connsiteX2613" fmla="*/ 1420217 w 3080331"/>
                <a:gd name="connsiteY2613" fmla="*/ 0 h 634427"/>
                <a:gd name="connsiteX2614" fmla="*/ 1246126 w 3080331"/>
                <a:gd name="connsiteY2614" fmla="*/ 0 h 634427"/>
                <a:gd name="connsiteX2615" fmla="*/ 1262990 w 3080331"/>
                <a:gd name="connsiteY2615" fmla="*/ 13745 h 634427"/>
                <a:gd name="connsiteX2616" fmla="*/ 1263315 w 3080331"/>
                <a:gd name="connsiteY2616" fmla="*/ 16981 h 634427"/>
                <a:gd name="connsiteX2617" fmla="*/ 1264280 w 3080331"/>
                <a:gd name="connsiteY2617" fmla="*/ 16981 h 634427"/>
                <a:gd name="connsiteX2618" fmla="*/ 1268670 w 3080331"/>
                <a:gd name="connsiteY2618" fmla="*/ 21256 h 634427"/>
                <a:gd name="connsiteX2619" fmla="*/ 1268670 w 3080331"/>
                <a:gd name="connsiteY2619" fmla="*/ 55073 h 634427"/>
                <a:gd name="connsiteX2620" fmla="*/ 1264280 w 3080331"/>
                <a:gd name="connsiteY2620" fmla="*/ 59349 h 634427"/>
                <a:gd name="connsiteX2621" fmla="*/ 1227970 w 3080331"/>
                <a:gd name="connsiteY2621" fmla="*/ 59349 h 634427"/>
                <a:gd name="connsiteX2622" fmla="*/ 1223582 w 3080331"/>
                <a:gd name="connsiteY2622" fmla="*/ 55073 h 634427"/>
                <a:gd name="connsiteX2623" fmla="*/ 1223582 w 3080331"/>
                <a:gd name="connsiteY2623" fmla="*/ 21256 h 634427"/>
                <a:gd name="connsiteX2624" fmla="*/ 1227970 w 3080331"/>
                <a:gd name="connsiteY2624" fmla="*/ 16981 h 634427"/>
                <a:gd name="connsiteX2625" fmla="*/ 1228538 w 3080331"/>
                <a:gd name="connsiteY2625" fmla="*/ 16981 h 634427"/>
                <a:gd name="connsiteX2626" fmla="*/ 1228935 w 3080331"/>
                <a:gd name="connsiteY2626" fmla="*/ 16981 h 634427"/>
                <a:gd name="connsiteX2627" fmla="*/ 1229261 w 3080331"/>
                <a:gd name="connsiteY2627" fmla="*/ 13745 h 634427"/>
                <a:gd name="connsiteX2628" fmla="*/ 1246126 w 3080331"/>
                <a:gd name="connsiteY2628" fmla="*/ 0 h 634427"/>
                <a:gd name="connsiteX2629" fmla="*/ 1184728 w 3080331"/>
                <a:gd name="connsiteY2629" fmla="*/ 0 h 634427"/>
                <a:gd name="connsiteX2630" fmla="*/ 1201594 w 3080331"/>
                <a:gd name="connsiteY2630" fmla="*/ 13745 h 634427"/>
                <a:gd name="connsiteX2631" fmla="*/ 1201919 w 3080331"/>
                <a:gd name="connsiteY2631" fmla="*/ 16981 h 634427"/>
                <a:gd name="connsiteX2632" fmla="*/ 1202884 w 3080331"/>
                <a:gd name="connsiteY2632" fmla="*/ 16981 h 634427"/>
                <a:gd name="connsiteX2633" fmla="*/ 1207273 w 3080331"/>
                <a:gd name="connsiteY2633" fmla="*/ 21256 h 634427"/>
                <a:gd name="connsiteX2634" fmla="*/ 1207273 w 3080331"/>
                <a:gd name="connsiteY2634" fmla="*/ 55073 h 634427"/>
                <a:gd name="connsiteX2635" fmla="*/ 1202884 w 3080331"/>
                <a:gd name="connsiteY2635" fmla="*/ 59349 h 634427"/>
                <a:gd name="connsiteX2636" fmla="*/ 1166574 w 3080331"/>
                <a:gd name="connsiteY2636" fmla="*/ 59349 h 634427"/>
                <a:gd name="connsiteX2637" fmla="*/ 1162185 w 3080331"/>
                <a:gd name="connsiteY2637" fmla="*/ 55073 h 634427"/>
                <a:gd name="connsiteX2638" fmla="*/ 1162185 w 3080331"/>
                <a:gd name="connsiteY2638" fmla="*/ 21256 h 634427"/>
                <a:gd name="connsiteX2639" fmla="*/ 1166574 w 3080331"/>
                <a:gd name="connsiteY2639" fmla="*/ 16981 h 634427"/>
                <a:gd name="connsiteX2640" fmla="*/ 1167141 w 3080331"/>
                <a:gd name="connsiteY2640" fmla="*/ 16981 h 634427"/>
                <a:gd name="connsiteX2641" fmla="*/ 1167538 w 3080331"/>
                <a:gd name="connsiteY2641" fmla="*/ 16981 h 634427"/>
                <a:gd name="connsiteX2642" fmla="*/ 1167865 w 3080331"/>
                <a:gd name="connsiteY2642" fmla="*/ 13745 h 634427"/>
                <a:gd name="connsiteX2643" fmla="*/ 1184728 w 3080331"/>
                <a:gd name="connsiteY2643" fmla="*/ 0 h 634427"/>
                <a:gd name="connsiteX2644" fmla="*/ 1010638 w 3080331"/>
                <a:gd name="connsiteY2644" fmla="*/ 0 h 634427"/>
                <a:gd name="connsiteX2645" fmla="*/ 1027503 w 3080331"/>
                <a:gd name="connsiteY2645" fmla="*/ 13745 h 634427"/>
                <a:gd name="connsiteX2646" fmla="*/ 1027829 w 3080331"/>
                <a:gd name="connsiteY2646" fmla="*/ 16981 h 634427"/>
                <a:gd name="connsiteX2647" fmla="*/ 1028793 w 3080331"/>
                <a:gd name="connsiteY2647" fmla="*/ 16981 h 634427"/>
                <a:gd name="connsiteX2648" fmla="*/ 1033182 w 3080331"/>
                <a:gd name="connsiteY2648" fmla="*/ 21256 h 634427"/>
                <a:gd name="connsiteX2649" fmla="*/ 1033182 w 3080331"/>
                <a:gd name="connsiteY2649" fmla="*/ 55073 h 634427"/>
                <a:gd name="connsiteX2650" fmla="*/ 1028793 w 3080331"/>
                <a:gd name="connsiteY2650" fmla="*/ 59349 h 634427"/>
                <a:gd name="connsiteX2651" fmla="*/ 992484 w 3080331"/>
                <a:gd name="connsiteY2651" fmla="*/ 59349 h 634427"/>
                <a:gd name="connsiteX2652" fmla="*/ 988094 w 3080331"/>
                <a:gd name="connsiteY2652" fmla="*/ 55073 h 634427"/>
                <a:gd name="connsiteX2653" fmla="*/ 988094 w 3080331"/>
                <a:gd name="connsiteY2653" fmla="*/ 21256 h 634427"/>
                <a:gd name="connsiteX2654" fmla="*/ 992484 w 3080331"/>
                <a:gd name="connsiteY2654" fmla="*/ 16981 h 634427"/>
                <a:gd name="connsiteX2655" fmla="*/ 993051 w 3080331"/>
                <a:gd name="connsiteY2655" fmla="*/ 16981 h 634427"/>
                <a:gd name="connsiteX2656" fmla="*/ 993447 w 3080331"/>
                <a:gd name="connsiteY2656" fmla="*/ 16981 h 634427"/>
                <a:gd name="connsiteX2657" fmla="*/ 993774 w 3080331"/>
                <a:gd name="connsiteY2657" fmla="*/ 13745 h 634427"/>
                <a:gd name="connsiteX2658" fmla="*/ 1010638 w 3080331"/>
                <a:gd name="connsiteY2658" fmla="*/ 0 h 634427"/>
                <a:gd name="connsiteX2659" fmla="*/ 723853 w 3080331"/>
                <a:gd name="connsiteY2659" fmla="*/ 0 h 634427"/>
                <a:gd name="connsiteX2660" fmla="*/ 740717 w 3080331"/>
                <a:gd name="connsiteY2660" fmla="*/ 13745 h 634427"/>
                <a:gd name="connsiteX2661" fmla="*/ 741044 w 3080331"/>
                <a:gd name="connsiteY2661" fmla="*/ 16981 h 634427"/>
                <a:gd name="connsiteX2662" fmla="*/ 742008 w 3080331"/>
                <a:gd name="connsiteY2662" fmla="*/ 16981 h 634427"/>
                <a:gd name="connsiteX2663" fmla="*/ 746398 w 3080331"/>
                <a:gd name="connsiteY2663" fmla="*/ 21256 h 634427"/>
                <a:gd name="connsiteX2664" fmla="*/ 746398 w 3080331"/>
                <a:gd name="connsiteY2664" fmla="*/ 55073 h 634427"/>
                <a:gd name="connsiteX2665" fmla="*/ 742008 w 3080331"/>
                <a:gd name="connsiteY2665" fmla="*/ 59349 h 634427"/>
                <a:gd name="connsiteX2666" fmla="*/ 705698 w 3080331"/>
                <a:gd name="connsiteY2666" fmla="*/ 59349 h 634427"/>
                <a:gd name="connsiteX2667" fmla="*/ 701309 w 3080331"/>
                <a:gd name="connsiteY2667" fmla="*/ 55073 h 634427"/>
                <a:gd name="connsiteX2668" fmla="*/ 701309 w 3080331"/>
                <a:gd name="connsiteY2668" fmla="*/ 21256 h 634427"/>
                <a:gd name="connsiteX2669" fmla="*/ 705698 w 3080331"/>
                <a:gd name="connsiteY2669" fmla="*/ 16981 h 634427"/>
                <a:gd name="connsiteX2670" fmla="*/ 706266 w 3080331"/>
                <a:gd name="connsiteY2670" fmla="*/ 16981 h 634427"/>
                <a:gd name="connsiteX2671" fmla="*/ 706663 w 3080331"/>
                <a:gd name="connsiteY2671" fmla="*/ 16981 h 634427"/>
                <a:gd name="connsiteX2672" fmla="*/ 706989 w 3080331"/>
                <a:gd name="connsiteY2672" fmla="*/ 13745 h 634427"/>
                <a:gd name="connsiteX2673" fmla="*/ 723853 w 3080331"/>
                <a:gd name="connsiteY2673" fmla="*/ 0 h 634427"/>
                <a:gd name="connsiteX2674" fmla="*/ 662457 w 3080331"/>
                <a:gd name="connsiteY2674" fmla="*/ 0 h 634427"/>
                <a:gd name="connsiteX2675" fmla="*/ 679320 w 3080331"/>
                <a:gd name="connsiteY2675" fmla="*/ 13745 h 634427"/>
                <a:gd name="connsiteX2676" fmla="*/ 679647 w 3080331"/>
                <a:gd name="connsiteY2676" fmla="*/ 16981 h 634427"/>
                <a:gd name="connsiteX2677" fmla="*/ 680612 w 3080331"/>
                <a:gd name="connsiteY2677" fmla="*/ 16981 h 634427"/>
                <a:gd name="connsiteX2678" fmla="*/ 685001 w 3080331"/>
                <a:gd name="connsiteY2678" fmla="*/ 21256 h 634427"/>
                <a:gd name="connsiteX2679" fmla="*/ 685001 w 3080331"/>
                <a:gd name="connsiteY2679" fmla="*/ 55073 h 634427"/>
                <a:gd name="connsiteX2680" fmla="*/ 680612 w 3080331"/>
                <a:gd name="connsiteY2680" fmla="*/ 59349 h 634427"/>
                <a:gd name="connsiteX2681" fmla="*/ 644302 w 3080331"/>
                <a:gd name="connsiteY2681" fmla="*/ 59349 h 634427"/>
                <a:gd name="connsiteX2682" fmla="*/ 639913 w 3080331"/>
                <a:gd name="connsiteY2682" fmla="*/ 55073 h 634427"/>
                <a:gd name="connsiteX2683" fmla="*/ 639913 w 3080331"/>
                <a:gd name="connsiteY2683" fmla="*/ 21256 h 634427"/>
                <a:gd name="connsiteX2684" fmla="*/ 644302 w 3080331"/>
                <a:gd name="connsiteY2684" fmla="*/ 16981 h 634427"/>
                <a:gd name="connsiteX2685" fmla="*/ 644869 w 3080331"/>
                <a:gd name="connsiteY2685" fmla="*/ 16981 h 634427"/>
                <a:gd name="connsiteX2686" fmla="*/ 645267 w 3080331"/>
                <a:gd name="connsiteY2686" fmla="*/ 16981 h 634427"/>
                <a:gd name="connsiteX2687" fmla="*/ 645593 w 3080331"/>
                <a:gd name="connsiteY2687" fmla="*/ 13745 h 634427"/>
                <a:gd name="connsiteX2688" fmla="*/ 662457 w 3080331"/>
                <a:gd name="connsiteY2688" fmla="*/ 0 h 634427"/>
                <a:gd name="connsiteX2689" fmla="*/ 539613 w 3080331"/>
                <a:gd name="connsiteY2689" fmla="*/ 0 h 634427"/>
                <a:gd name="connsiteX2690" fmla="*/ 556477 w 3080331"/>
                <a:gd name="connsiteY2690" fmla="*/ 13745 h 634427"/>
                <a:gd name="connsiteX2691" fmla="*/ 556804 w 3080331"/>
                <a:gd name="connsiteY2691" fmla="*/ 16981 h 634427"/>
                <a:gd name="connsiteX2692" fmla="*/ 557769 w 3080331"/>
                <a:gd name="connsiteY2692" fmla="*/ 16981 h 634427"/>
                <a:gd name="connsiteX2693" fmla="*/ 562158 w 3080331"/>
                <a:gd name="connsiteY2693" fmla="*/ 21256 h 634427"/>
                <a:gd name="connsiteX2694" fmla="*/ 562158 w 3080331"/>
                <a:gd name="connsiteY2694" fmla="*/ 55074 h 634427"/>
                <a:gd name="connsiteX2695" fmla="*/ 557769 w 3080331"/>
                <a:gd name="connsiteY2695" fmla="*/ 59349 h 634427"/>
                <a:gd name="connsiteX2696" fmla="*/ 521458 w 3080331"/>
                <a:gd name="connsiteY2696" fmla="*/ 59349 h 634427"/>
                <a:gd name="connsiteX2697" fmla="*/ 517069 w 3080331"/>
                <a:gd name="connsiteY2697" fmla="*/ 55074 h 634427"/>
                <a:gd name="connsiteX2698" fmla="*/ 517069 w 3080331"/>
                <a:gd name="connsiteY2698" fmla="*/ 21256 h 634427"/>
                <a:gd name="connsiteX2699" fmla="*/ 521458 w 3080331"/>
                <a:gd name="connsiteY2699" fmla="*/ 16981 h 634427"/>
                <a:gd name="connsiteX2700" fmla="*/ 522026 w 3080331"/>
                <a:gd name="connsiteY2700" fmla="*/ 16981 h 634427"/>
                <a:gd name="connsiteX2701" fmla="*/ 522423 w 3080331"/>
                <a:gd name="connsiteY2701" fmla="*/ 16981 h 634427"/>
                <a:gd name="connsiteX2702" fmla="*/ 522749 w 3080331"/>
                <a:gd name="connsiteY2702" fmla="*/ 13745 h 634427"/>
                <a:gd name="connsiteX2703" fmla="*/ 539613 w 3080331"/>
                <a:gd name="connsiteY2703" fmla="*/ 0 h 634427"/>
                <a:gd name="connsiteX2704" fmla="*/ 252829 w 3080331"/>
                <a:gd name="connsiteY2704" fmla="*/ 0 h 634427"/>
                <a:gd name="connsiteX2705" fmla="*/ 269692 w 3080331"/>
                <a:gd name="connsiteY2705" fmla="*/ 13745 h 634427"/>
                <a:gd name="connsiteX2706" fmla="*/ 270019 w 3080331"/>
                <a:gd name="connsiteY2706" fmla="*/ 16981 h 634427"/>
                <a:gd name="connsiteX2707" fmla="*/ 270984 w 3080331"/>
                <a:gd name="connsiteY2707" fmla="*/ 16981 h 634427"/>
                <a:gd name="connsiteX2708" fmla="*/ 275373 w 3080331"/>
                <a:gd name="connsiteY2708" fmla="*/ 21256 h 634427"/>
                <a:gd name="connsiteX2709" fmla="*/ 275373 w 3080331"/>
                <a:gd name="connsiteY2709" fmla="*/ 55074 h 634427"/>
                <a:gd name="connsiteX2710" fmla="*/ 270984 w 3080331"/>
                <a:gd name="connsiteY2710" fmla="*/ 59349 h 634427"/>
                <a:gd name="connsiteX2711" fmla="*/ 234673 w 3080331"/>
                <a:gd name="connsiteY2711" fmla="*/ 59349 h 634427"/>
                <a:gd name="connsiteX2712" fmla="*/ 230284 w 3080331"/>
                <a:gd name="connsiteY2712" fmla="*/ 55074 h 634427"/>
                <a:gd name="connsiteX2713" fmla="*/ 230284 w 3080331"/>
                <a:gd name="connsiteY2713" fmla="*/ 21256 h 634427"/>
                <a:gd name="connsiteX2714" fmla="*/ 234673 w 3080331"/>
                <a:gd name="connsiteY2714" fmla="*/ 16981 h 634427"/>
                <a:gd name="connsiteX2715" fmla="*/ 235241 w 3080331"/>
                <a:gd name="connsiteY2715" fmla="*/ 16981 h 634427"/>
                <a:gd name="connsiteX2716" fmla="*/ 235638 w 3080331"/>
                <a:gd name="connsiteY2716" fmla="*/ 16981 h 634427"/>
                <a:gd name="connsiteX2717" fmla="*/ 235965 w 3080331"/>
                <a:gd name="connsiteY2717" fmla="*/ 13745 h 634427"/>
                <a:gd name="connsiteX2718" fmla="*/ 252829 w 3080331"/>
                <a:gd name="connsiteY2718" fmla="*/ 0 h 63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Lst>
              <a:rect l="l" t="t" r="r" b="b"/>
              <a:pathLst>
                <a:path w="3080331" h="634427">
                  <a:moveTo>
                    <a:pt x="22723" y="610018"/>
                  </a:moveTo>
                  <a:cubicBezTo>
                    <a:pt x="19155" y="610018"/>
                    <a:pt x="16282" y="612848"/>
                    <a:pt x="16282" y="616325"/>
                  </a:cubicBezTo>
                  <a:cubicBezTo>
                    <a:pt x="16282" y="618719"/>
                    <a:pt x="17636" y="620806"/>
                    <a:pt x="19650" y="621873"/>
                  </a:cubicBezTo>
                  <a:cubicBezTo>
                    <a:pt x="19650" y="621873"/>
                    <a:pt x="19650" y="621873"/>
                    <a:pt x="19650" y="627583"/>
                  </a:cubicBezTo>
                  <a:cubicBezTo>
                    <a:pt x="19650" y="629249"/>
                    <a:pt x="21022" y="630592"/>
                    <a:pt x="22723" y="630592"/>
                  </a:cubicBezTo>
                  <a:cubicBezTo>
                    <a:pt x="24407" y="630592"/>
                    <a:pt x="25795" y="629249"/>
                    <a:pt x="25795" y="627583"/>
                  </a:cubicBezTo>
                  <a:cubicBezTo>
                    <a:pt x="25795" y="627583"/>
                    <a:pt x="25795" y="627583"/>
                    <a:pt x="25795" y="621873"/>
                  </a:cubicBezTo>
                  <a:cubicBezTo>
                    <a:pt x="27793" y="620806"/>
                    <a:pt x="29164" y="618719"/>
                    <a:pt x="29164" y="616325"/>
                  </a:cubicBezTo>
                  <a:cubicBezTo>
                    <a:pt x="29164" y="612848"/>
                    <a:pt x="26273" y="610018"/>
                    <a:pt x="22723" y="610018"/>
                  </a:cubicBezTo>
                  <a:close/>
                  <a:moveTo>
                    <a:pt x="22544" y="583685"/>
                  </a:moveTo>
                  <a:cubicBezTo>
                    <a:pt x="18979" y="583685"/>
                    <a:pt x="15921" y="585853"/>
                    <a:pt x="14614" y="588942"/>
                  </a:cubicBezTo>
                  <a:lnTo>
                    <a:pt x="13984" y="592059"/>
                  </a:lnTo>
                  <a:lnTo>
                    <a:pt x="16189" y="592059"/>
                  </a:lnTo>
                  <a:cubicBezTo>
                    <a:pt x="19406" y="592059"/>
                    <a:pt x="23502" y="592059"/>
                    <a:pt x="28714" y="592059"/>
                  </a:cubicBezTo>
                  <a:lnTo>
                    <a:pt x="31104" y="592059"/>
                  </a:lnTo>
                  <a:lnTo>
                    <a:pt x="30475" y="588942"/>
                  </a:lnTo>
                  <a:cubicBezTo>
                    <a:pt x="29168" y="585853"/>
                    <a:pt x="26110" y="583685"/>
                    <a:pt x="22544" y="583685"/>
                  </a:cubicBezTo>
                  <a:close/>
                  <a:moveTo>
                    <a:pt x="22544" y="575078"/>
                  </a:moveTo>
                  <a:cubicBezTo>
                    <a:pt x="30863" y="575078"/>
                    <a:pt x="37803" y="580979"/>
                    <a:pt x="39408" y="588823"/>
                  </a:cubicBezTo>
                  <a:lnTo>
                    <a:pt x="39735" y="592059"/>
                  </a:lnTo>
                  <a:lnTo>
                    <a:pt x="40700" y="592059"/>
                  </a:lnTo>
                  <a:cubicBezTo>
                    <a:pt x="43126" y="592059"/>
                    <a:pt x="45089" y="593970"/>
                    <a:pt x="45089" y="596335"/>
                  </a:cubicBezTo>
                  <a:cubicBezTo>
                    <a:pt x="45089" y="596335"/>
                    <a:pt x="45089" y="596335"/>
                    <a:pt x="45089" y="630152"/>
                  </a:cubicBezTo>
                  <a:cubicBezTo>
                    <a:pt x="45089" y="632516"/>
                    <a:pt x="43126" y="634427"/>
                    <a:pt x="40700" y="634427"/>
                  </a:cubicBezTo>
                  <a:cubicBezTo>
                    <a:pt x="40700" y="634427"/>
                    <a:pt x="40700" y="634427"/>
                    <a:pt x="4389" y="634427"/>
                  </a:cubicBezTo>
                  <a:cubicBezTo>
                    <a:pt x="1962" y="634427"/>
                    <a:pt x="0" y="632516"/>
                    <a:pt x="0" y="630152"/>
                  </a:cubicBezTo>
                  <a:cubicBezTo>
                    <a:pt x="0" y="630152"/>
                    <a:pt x="0" y="630152"/>
                    <a:pt x="0" y="596335"/>
                  </a:cubicBezTo>
                  <a:cubicBezTo>
                    <a:pt x="0" y="593970"/>
                    <a:pt x="1962" y="592059"/>
                    <a:pt x="4389" y="592059"/>
                  </a:cubicBezTo>
                  <a:cubicBezTo>
                    <a:pt x="4389" y="592059"/>
                    <a:pt x="4389" y="592059"/>
                    <a:pt x="4957" y="592059"/>
                  </a:cubicBezTo>
                  <a:lnTo>
                    <a:pt x="5354" y="592059"/>
                  </a:lnTo>
                  <a:lnTo>
                    <a:pt x="5680" y="588823"/>
                  </a:lnTo>
                  <a:cubicBezTo>
                    <a:pt x="7285" y="580979"/>
                    <a:pt x="14226" y="575078"/>
                    <a:pt x="22544" y="575078"/>
                  </a:cubicBezTo>
                  <a:close/>
                  <a:moveTo>
                    <a:pt x="25124" y="517863"/>
                  </a:moveTo>
                  <a:cubicBezTo>
                    <a:pt x="22283" y="516943"/>
                    <a:pt x="19608" y="517679"/>
                    <a:pt x="17267" y="519518"/>
                  </a:cubicBezTo>
                  <a:cubicBezTo>
                    <a:pt x="16432" y="520254"/>
                    <a:pt x="15762" y="520989"/>
                    <a:pt x="15094" y="521908"/>
                  </a:cubicBezTo>
                  <a:cubicBezTo>
                    <a:pt x="14593" y="522644"/>
                    <a:pt x="14091" y="523563"/>
                    <a:pt x="13589" y="524483"/>
                  </a:cubicBezTo>
                  <a:cubicBezTo>
                    <a:pt x="13255" y="525035"/>
                    <a:pt x="13088" y="525770"/>
                    <a:pt x="12921" y="526322"/>
                  </a:cubicBezTo>
                  <a:cubicBezTo>
                    <a:pt x="12586" y="527241"/>
                    <a:pt x="12419" y="528161"/>
                    <a:pt x="12252" y="529080"/>
                  </a:cubicBezTo>
                  <a:cubicBezTo>
                    <a:pt x="11750" y="530552"/>
                    <a:pt x="11583" y="532023"/>
                    <a:pt x="11583" y="533862"/>
                  </a:cubicBezTo>
                  <a:cubicBezTo>
                    <a:pt x="11583" y="535333"/>
                    <a:pt x="11750" y="536988"/>
                    <a:pt x="12252" y="538827"/>
                  </a:cubicBezTo>
                  <a:cubicBezTo>
                    <a:pt x="12586" y="539746"/>
                    <a:pt x="12753" y="540481"/>
                    <a:pt x="13088" y="541401"/>
                  </a:cubicBezTo>
                  <a:cubicBezTo>
                    <a:pt x="13422" y="542505"/>
                    <a:pt x="13923" y="543424"/>
                    <a:pt x="14593" y="544344"/>
                  </a:cubicBezTo>
                  <a:cubicBezTo>
                    <a:pt x="15261" y="545447"/>
                    <a:pt x="16097" y="546367"/>
                    <a:pt x="16933" y="547286"/>
                  </a:cubicBezTo>
                  <a:cubicBezTo>
                    <a:pt x="17769" y="548021"/>
                    <a:pt x="18772" y="548757"/>
                    <a:pt x="19942" y="549125"/>
                  </a:cubicBezTo>
                  <a:cubicBezTo>
                    <a:pt x="22951" y="550228"/>
                    <a:pt x="25794" y="549676"/>
                    <a:pt x="28301" y="547470"/>
                  </a:cubicBezTo>
                  <a:cubicBezTo>
                    <a:pt x="29137" y="546734"/>
                    <a:pt x="29806" y="545999"/>
                    <a:pt x="30474" y="545079"/>
                  </a:cubicBezTo>
                  <a:cubicBezTo>
                    <a:pt x="31143" y="544160"/>
                    <a:pt x="31645" y="543240"/>
                    <a:pt x="32146" y="542137"/>
                  </a:cubicBezTo>
                  <a:cubicBezTo>
                    <a:pt x="32313" y="541585"/>
                    <a:pt x="32481" y="541034"/>
                    <a:pt x="32815" y="540666"/>
                  </a:cubicBezTo>
                  <a:cubicBezTo>
                    <a:pt x="33149" y="539746"/>
                    <a:pt x="33484" y="538827"/>
                    <a:pt x="33650" y="537724"/>
                  </a:cubicBezTo>
                  <a:cubicBezTo>
                    <a:pt x="34152" y="534597"/>
                    <a:pt x="34152" y="531471"/>
                    <a:pt x="33317" y="528344"/>
                  </a:cubicBezTo>
                  <a:cubicBezTo>
                    <a:pt x="33149" y="527609"/>
                    <a:pt x="32982" y="526873"/>
                    <a:pt x="32647" y="526322"/>
                  </a:cubicBezTo>
                  <a:cubicBezTo>
                    <a:pt x="32313" y="525587"/>
                    <a:pt x="32146" y="524851"/>
                    <a:pt x="31812" y="524299"/>
                  </a:cubicBezTo>
                  <a:cubicBezTo>
                    <a:pt x="31310" y="523563"/>
                    <a:pt x="30976" y="522644"/>
                    <a:pt x="30307" y="521908"/>
                  </a:cubicBezTo>
                  <a:cubicBezTo>
                    <a:pt x="29638" y="520989"/>
                    <a:pt x="28803" y="520069"/>
                    <a:pt x="27799" y="519334"/>
                  </a:cubicBezTo>
                  <a:cubicBezTo>
                    <a:pt x="26963" y="518783"/>
                    <a:pt x="26128" y="518231"/>
                    <a:pt x="25124" y="517863"/>
                  </a:cubicBezTo>
                  <a:close/>
                  <a:moveTo>
                    <a:pt x="21447" y="507013"/>
                  </a:moveTo>
                  <a:cubicBezTo>
                    <a:pt x="24288" y="506829"/>
                    <a:pt x="27131" y="507381"/>
                    <a:pt x="29806" y="508484"/>
                  </a:cubicBezTo>
                  <a:cubicBezTo>
                    <a:pt x="31645" y="509220"/>
                    <a:pt x="33317" y="510323"/>
                    <a:pt x="34821" y="511611"/>
                  </a:cubicBezTo>
                  <a:cubicBezTo>
                    <a:pt x="35657" y="512346"/>
                    <a:pt x="36325" y="513082"/>
                    <a:pt x="37161" y="513817"/>
                  </a:cubicBezTo>
                  <a:cubicBezTo>
                    <a:pt x="37997" y="514736"/>
                    <a:pt x="38833" y="515840"/>
                    <a:pt x="39502" y="516760"/>
                  </a:cubicBezTo>
                  <a:cubicBezTo>
                    <a:pt x="40004" y="517495"/>
                    <a:pt x="40505" y="518415"/>
                    <a:pt x="40839" y="519150"/>
                  </a:cubicBezTo>
                  <a:cubicBezTo>
                    <a:pt x="41508" y="520254"/>
                    <a:pt x="42009" y="521540"/>
                    <a:pt x="42344" y="522828"/>
                  </a:cubicBezTo>
                  <a:cubicBezTo>
                    <a:pt x="42679" y="523563"/>
                    <a:pt x="42846" y="524483"/>
                    <a:pt x="43012" y="525219"/>
                  </a:cubicBezTo>
                  <a:cubicBezTo>
                    <a:pt x="43347" y="526322"/>
                    <a:pt x="43514" y="527609"/>
                    <a:pt x="43681" y="528712"/>
                  </a:cubicBezTo>
                  <a:cubicBezTo>
                    <a:pt x="44183" y="532023"/>
                    <a:pt x="44183" y="535333"/>
                    <a:pt x="43514" y="538459"/>
                  </a:cubicBezTo>
                  <a:cubicBezTo>
                    <a:pt x="43347" y="539563"/>
                    <a:pt x="43180" y="540666"/>
                    <a:pt x="42846" y="541769"/>
                  </a:cubicBezTo>
                  <a:cubicBezTo>
                    <a:pt x="42511" y="542688"/>
                    <a:pt x="42344" y="543424"/>
                    <a:pt x="42009" y="544344"/>
                  </a:cubicBezTo>
                  <a:cubicBezTo>
                    <a:pt x="41675" y="544896"/>
                    <a:pt x="41508" y="545447"/>
                    <a:pt x="41341" y="545999"/>
                  </a:cubicBezTo>
                  <a:cubicBezTo>
                    <a:pt x="40839" y="547102"/>
                    <a:pt x="40338" y="548021"/>
                    <a:pt x="39836" y="548941"/>
                  </a:cubicBezTo>
                  <a:cubicBezTo>
                    <a:pt x="39335" y="549676"/>
                    <a:pt x="38833" y="550412"/>
                    <a:pt x="38332" y="551147"/>
                  </a:cubicBezTo>
                  <a:cubicBezTo>
                    <a:pt x="37663" y="552067"/>
                    <a:pt x="36827" y="552986"/>
                    <a:pt x="35991" y="553722"/>
                  </a:cubicBezTo>
                  <a:cubicBezTo>
                    <a:pt x="35322" y="554457"/>
                    <a:pt x="34486" y="555010"/>
                    <a:pt x="33818" y="555561"/>
                  </a:cubicBezTo>
                  <a:cubicBezTo>
                    <a:pt x="32647" y="556481"/>
                    <a:pt x="31310" y="557216"/>
                    <a:pt x="29973" y="557768"/>
                  </a:cubicBezTo>
                  <a:cubicBezTo>
                    <a:pt x="28301" y="558504"/>
                    <a:pt x="26462" y="559055"/>
                    <a:pt x="24623" y="559239"/>
                  </a:cubicBezTo>
                  <a:cubicBezTo>
                    <a:pt x="24288" y="559239"/>
                    <a:pt x="24122" y="559239"/>
                    <a:pt x="23787" y="559423"/>
                  </a:cubicBezTo>
                  <a:cubicBezTo>
                    <a:pt x="22784" y="559423"/>
                    <a:pt x="21948" y="559423"/>
                    <a:pt x="20945" y="559423"/>
                  </a:cubicBezTo>
                  <a:cubicBezTo>
                    <a:pt x="20945" y="559239"/>
                    <a:pt x="20778" y="559423"/>
                    <a:pt x="20778" y="559423"/>
                  </a:cubicBezTo>
                  <a:cubicBezTo>
                    <a:pt x="17601" y="559055"/>
                    <a:pt x="14593" y="557952"/>
                    <a:pt x="11918" y="556113"/>
                  </a:cubicBezTo>
                  <a:cubicBezTo>
                    <a:pt x="10747" y="555377"/>
                    <a:pt x="9744" y="554457"/>
                    <a:pt x="8741" y="553354"/>
                  </a:cubicBezTo>
                  <a:cubicBezTo>
                    <a:pt x="7905" y="552619"/>
                    <a:pt x="7236" y="551700"/>
                    <a:pt x="6568" y="550780"/>
                  </a:cubicBezTo>
                  <a:cubicBezTo>
                    <a:pt x="6066" y="550044"/>
                    <a:pt x="5565" y="549309"/>
                    <a:pt x="5063" y="548389"/>
                  </a:cubicBezTo>
                  <a:cubicBezTo>
                    <a:pt x="4561" y="547470"/>
                    <a:pt x="4060" y="546550"/>
                    <a:pt x="3559" y="545447"/>
                  </a:cubicBezTo>
                  <a:cubicBezTo>
                    <a:pt x="3224" y="544711"/>
                    <a:pt x="3057" y="544160"/>
                    <a:pt x="2723" y="543424"/>
                  </a:cubicBezTo>
                  <a:cubicBezTo>
                    <a:pt x="2388" y="542688"/>
                    <a:pt x="2221" y="541953"/>
                    <a:pt x="2054" y="541217"/>
                  </a:cubicBezTo>
                  <a:cubicBezTo>
                    <a:pt x="1720" y="539930"/>
                    <a:pt x="1552" y="538643"/>
                    <a:pt x="1218" y="537356"/>
                  </a:cubicBezTo>
                  <a:cubicBezTo>
                    <a:pt x="1051" y="536620"/>
                    <a:pt x="1051" y="536068"/>
                    <a:pt x="1051" y="535333"/>
                  </a:cubicBezTo>
                  <a:cubicBezTo>
                    <a:pt x="1218" y="535884"/>
                    <a:pt x="1385" y="535701"/>
                    <a:pt x="1218" y="535516"/>
                  </a:cubicBezTo>
                  <a:cubicBezTo>
                    <a:pt x="1218" y="534230"/>
                    <a:pt x="1218" y="532942"/>
                    <a:pt x="1218" y="531655"/>
                  </a:cubicBezTo>
                  <a:cubicBezTo>
                    <a:pt x="1218" y="531655"/>
                    <a:pt x="1218" y="531655"/>
                    <a:pt x="1218" y="531471"/>
                  </a:cubicBezTo>
                  <a:cubicBezTo>
                    <a:pt x="1218" y="530368"/>
                    <a:pt x="1385" y="529448"/>
                    <a:pt x="1552" y="528344"/>
                  </a:cubicBezTo>
                  <a:cubicBezTo>
                    <a:pt x="1887" y="527058"/>
                    <a:pt x="1887" y="525770"/>
                    <a:pt x="2388" y="524667"/>
                  </a:cubicBezTo>
                  <a:cubicBezTo>
                    <a:pt x="2723" y="523931"/>
                    <a:pt x="2890" y="523196"/>
                    <a:pt x="3057" y="522460"/>
                  </a:cubicBezTo>
                  <a:cubicBezTo>
                    <a:pt x="3559" y="521357"/>
                    <a:pt x="4060" y="520069"/>
                    <a:pt x="4561" y="518966"/>
                  </a:cubicBezTo>
                  <a:cubicBezTo>
                    <a:pt x="5063" y="518047"/>
                    <a:pt x="5565" y="517311"/>
                    <a:pt x="6066" y="516392"/>
                  </a:cubicBezTo>
                  <a:cubicBezTo>
                    <a:pt x="6568" y="515656"/>
                    <a:pt x="7070" y="514921"/>
                    <a:pt x="7571" y="514368"/>
                  </a:cubicBezTo>
                  <a:cubicBezTo>
                    <a:pt x="8072" y="513817"/>
                    <a:pt x="8574" y="513265"/>
                    <a:pt x="9075" y="512714"/>
                  </a:cubicBezTo>
                  <a:cubicBezTo>
                    <a:pt x="10079" y="511794"/>
                    <a:pt x="11082" y="510875"/>
                    <a:pt x="12252" y="510139"/>
                  </a:cubicBezTo>
                  <a:cubicBezTo>
                    <a:pt x="13088" y="509588"/>
                    <a:pt x="14091" y="509036"/>
                    <a:pt x="14927" y="508668"/>
                  </a:cubicBezTo>
                  <a:cubicBezTo>
                    <a:pt x="16933" y="507749"/>
                    <a:pt x="19106" y="507197"/>
                    <a:pt x="21447" y="507013"/>
                  </a:cubicBezTo>
                  <a:close/>
                  <a:moveTo>
                    <a:pt x="20889" y="438480"/>
                  </a:moveTo>
                  <a:cubicBezTo>
                    <a:pt x="21808" y="438480"/>
                    <a:pt x="22728" y="438296"/>
                    <a:pt x="23647" y="438480"/>
                  </a:cubicBezTo>
                  <a:cubicBezTo>
                    <a:pt x="24935" y="438664"/>
                    <a:pt x="26038" y="439216"/>
                    <a:pt x="26773" y="440135"/>
                  </a:cubicBezTo>
                  <a:cubicBezTo>
                    <a:pt x="27877" y="441238"/>
                    <a:pt x="28429" y="442709"/>
                    <a:pt x="28244" y="444364"/>
                  </a:cubicBezTo>
                  <a:cubicBezTo>
                    <a:pt x="28244" y="444549"/>
                    <a:pt x="28244" y="444549"/>
                    <a:pt x="28244" y="444732"/>
                  </a:cubicBezTo>
                  <a:cubicBezTo>
                    <a:pt x="28244" y="456686"/>
                    <a:pt x="28244" y="468639"/>
                    <a:pt x="28244" y="480776"/>
                  </a:cubicBezTo>
                  <a:cubicBezTo>
                    <a:pt x="28244" y="481143"/>
                    <a:pt x="28244" y="481143"/>
                    <a:pt x="28612" y="481143"/>
                  </a:cubicBezTo>
                  <a:cubicBezTo>
                    <a:pt x="30267" y="481143"/>
                    <a:pt x="31923" y="481143"/>
                    <a:pt x="33577" y="481143"/>
                  </a:cubicBezTo>
                  <a:cubicBezTo>
                    <a:pt x="34497" y="481143"/>
                    <a:pt x="35416" y="481511"/>
                    <a:pt x="36336" y="481879"/>
                  </a:cubicBezTo>
                  <a:cubicBezTo>
                    <a:pt x="37991" y="482982"/>
                    <a:pt x="38910" y="484453"/>
                    <a:pt x="38910" y="486477"/>
                  </a:cubicBezTo>
                  <a:cubicBezTo>
                    <a:pt x="38910" y="487948"/>
                    <a:pt x="38359" y="489419"/>
                    <a:pt x="37072" y="490338"/>
                  </a:cubicBezTo>
                  <a:cubicBezTo>
                    <a:pt x="36336" y="490890"/>
                    <a:pt x="35416" y="491442"/>
                    <a:pt x="34313" y="491625"/>
                  </a:cubicBezTo>
                  <a:cubicBezTo>
                    <a:pt x="34313" y="491625"/>
                    <a:pt x="34130" y="491625"/>
                    <a:pt x="34130" y="491625"/>
                  </a:cubicBezTo>
                  <a:cubicBezTo>
                    <a:pt x="34130" y="491625"/>
                    <a:pt x="33945" y="491625"/>
                    <a:pt x="33945" y="491625"/>
                  </a:cubicBezTo>
                  <a:cubicBezTo>
                    <a:pt x="33945" y="491442"/>
                    <a:pt x="33762" y="491625"/>
                    <a:pt x="33577" y="491625"/>
                  </a:cubicBezTo>
                  <a:cubicBezTo>
                    <a:pt x="26222" y="491625"/>
                    <a:pt x="18866" y="491625"/>
                    <a:pt x="11694" y="491625"/>
                  </a:cubicBezTo>
                  <a:cubicBezTo>
                    <a:pt x="11511" y="491625"/>
                    <a:pt x="11511" y="491625"/>
                    <a:pt x="11327" y="491625"/>
                  </a:cubicBezTo>
                  <a:cubicBezTo>
                    <a:pt x="11143" y="491625"/>
                    <a:pt x="10959" y="491625"/>
                    <a:pt x="10775" y="491625"/>
                  </a:cubicBezTo>
                  <a:cubicBezTo>
                    <a:pt x="10591" y="491442"/>
                    <a:pt x="10407" y="491442"/>
                    <a:pt x="10223" y="491442"/>
                  </a:cubicBezTo>
                  <a:cubicBezTo>
                    <a:pt x="9304" y="491257"/>
                    <a:pt x="8568" y="490706"/>
                    <a:pt x="7832" y="490154"/>
                  </a:cubicBezTo>
                  <a:cubicBezTo>
                    <a:pt x="6729" y="489051"/>
                    <a:pt x="6178" y="487763"/>
                    <a:pt x="6178" y="486292"/>
                  </a:cubicBezTo>
                  <a:cubicBezTo>
                    <a:pt x="6178" y="485006"/>
                    <a:pt x="6546" y="483718"/>
                    <a:pt x="7649" y="482799"/>
                  </a:cubicBezTo>
                  <a:cubicBezTo>
                    <a:pt x="8752" y="481695"/>
                    <a:pt x="10039" y="481143"/>
                    <a:pt x="11511" y="481143"/>
                  </a:cubicBezTo>
                  <a:cubicBezTo>
                    <a:pt x="13350" y="481143"/>
                    <a:pt x="15188" y="481143"/>
                    <a:pt x="16843" y="481143"/>
                  </a:cubicBezTo>
                  <a:cubicBezTo>
                    <a:pt x="17027" y="481143"/>
                    <a:pt x="17211" y="481143"/>
                    <a:pt x="17211" y="480776"/>
                  </a:cubicBezTo>
                  <a:cubicBezTo>
                    <a:pt x="17211" y="470294"/>
                    <a:pt x="17211" y="459996"/>
                    <a:pt x="17211" y="449514"/>
                  </a:cubicBezTo>
                  <a:cubicBezTo>
                    <a:pt x="17211" y="449330"/>
                    <a:pt x="17211" y="449146"/>
                    <a:pt x="16843" y="449146"/>
                  </a:cubicBezTo>
                  <a:cubicBezTo>
                    <a:pt x="15556" y="449146"/>
                    <a:pt x="14085" y="449146"/>
                    <a:pt x="12798" y="449146"/>
                  </a:cubicBezTo>
                  <a:cubicBezTo>
                    <a:pt x="10591" y="449146"/>
                    <a:pt x="8936" y="448042"/>
                    <a:pt x="7832" y="446020"/>
                  </a:cubicBezTo>
                  <a:cubicBezTo>
                    <a:pt x="7281" y="444917"/>
                    <a:pt x="7281" y="443629"/>
                    <a:pt x="7649" y="442158"/>
                  </a:cubicBezTo>
                  <a:cubicBezTo>
                    <a:pt x="8385" y="440135"/>
                    <a:pt x="10407" y="438664"/>
                    <a:pt x="12614" y="438664"/>
                  </a:cubicBezTo>
                  <a:cubicBezTo>
                    <a:pt x="15372" y="438664"/>
                    <a:pt x="18130" y="438480"/>
                    <a:pt x="20889" y="438480"/>
                  </a:cubicBezTo>
                  <a:close/>
                  <a:moveTo>
                    <a:pt x="22723" y="399198"/>
                  </a:moveTo>
                  <a:cubicBezTo>
                    <a:pt x="19155" y="399198"/>
                    <a:pt x="16282" y="402028"/>
                    <a:pt x="16282" y="405505"/>
                  </a:cubicBezTo>
                  <a:cubicBezTo>
                    <a:pt x="16282" y="407899"/>
                    <a:pt x="17636" y="409986"/>
                    <a:pt x="19650" y="411053"/>
                  </a:cubicBezTo>
                  <a:cubicBezTo>
                    <a:pt x="19650" y="411053"/>
                    <a:pt x="19650" y="411053"/>
                    <a:pt x="19650" y="416763"/>
                  </a:cubicBezTo>
                  <a:cubicBezTo>
                    <a:pt x="19650" y="418429"/>
                    <a:pt x="21022" y="419772"/>
                    <a:pt x="22723" y="419772"/>
                  </a:cubicBezTo>
                  <a:cubicBezTo>
                    <a:pt x="24407" y="419772"/>
                    <a:pt x="25795" y="418429"/>
                    <a:pt x="25795" y="416763"/>
                  </a:cubicBezTo>
                  <a:cubicBezTo>
                    <a:pt x="25795" y="416763"/>
                    <a:pt x="25795" y="416763"/>
                    <a:pt x="25795" y="411053"/>
                  </a:cubicBezTo>
                  <a:cubicBezTo>
                    <a:pt x="27793" y="409986"/>
                    <a:pt x="29164" y="407899"/>
                    <a:pt x="29164" y="405505"/>
                  </a:cubicBezTo>
                  <a:cubicBezTo>
                    <a:pt x="29164" y="402028"/>
                    <a:pt x="26273" y="399198"/>
                    <a:pt x="22723" y="399198"/>
                  </a:cubicBezTo>
                  <a:close/>
                  <a:moveTo>
                    <a:pt x="22544" y="372865"/>
                  </a:moveTo>
                  <a:cubicBezTo>
                    <a:pt x="18979" y="372865"/>
                    <a:pt x="15921" y="375033"/>
                    <a:pt x="14614" y="378122"/>
                  </a:cubicBezTo>
                  <a:lnTo>
                    <a:pt x="13984" y="381239"/>
                  </a:lnTo>
                  <a:lnTo>
                    <a:pt x="16189" y="381239"/>
                  </a:lnTo>
                  <a:cubicBezTo>
                    <a:pt x="19406" y="381239"/>
                    <a:pt x="23502" y="381239"/>
                    <a:pt x="28714" y="381239"/>
                  </a:cubicBezTo>
                  <a:lnTo>
                    <a:pt x="31104" y="381239"/>
                  </a:lnTo>
                  <a:lnTo>
                    <a:pt x="30475" y="378122"/>
                  </a:lnTo>
                  <a:cubicBezTo>
                    <a:pt x="29168" y="375033"/>
                    <a:pt x="26110" y="372865"/>
                    <a:pt x="22544" y="372865"/>
                  </a:cubicBezTo>
                  <a:close/>
                  <a:moveTo>
                    <a:pt x="22544" y="364258"/>
                  </a:moveTo>
                  <a:cubicBezTo>
                    <a:pt x="30863" y="364258"/>
                    <a:pt x="37803" y="370159"/>
                    <a:pt x="39408" y="378003"/>
                  </a:cubicBezTo>
                  <a:lnTo>
                    <a:pt x="39735" y="381239"/>
                  </a:lnTo>
                  <a:lnTo>
                    <a:pt x="40700" y="381239"/>
                  </a:lnTo>
                  <a:cubicBezTo>
                    <a:pt x="43126" y="381239"/>
                    <a:pt x="45089" y="383150"/>
                    <a:pt x="45089" y="385515"/>
                  </a:cubicBezTo>
                  <a:cubicBezTo>
                    <a:pt x="45089" y="385515"/>
                    <a:pt x="45089" y="385515"/>
                    <a:pt x="45089" y="419332"/>
                  </a:cubicBezTo>
                  <a:cubicBezTo>
                    <a:pt x="45089" y="421696"/>
                    <a:pt x="43126" y="423607"/>
                    <a:pt x="40700" y="423607"/>
                  </a:cubicBezTo>
                  <a:cubicBezTo>
                    <a:pt x="40700" y="423607"/>
                    <a:pt x="40700" y="423607"/>
                    <a:pt x="4389" y="423607"/>
                  </a:cubicBezTo>
                  <a:cubicBezTo>
                    <a:pt x="1962" y="423607"/>
                    <a:pt x="0" y="421696"/>
                    <a:pt x="0" y="419332"/>
                  </a:cubicBezTo>
                  <a:cubicBezTo>
                    <a:pt x="0" y="419332"/>
                    <a:pt x="0" y="419332"/>
                    <a:pt x="0" y="385515"/>
                  </a:cubicBezTo>
                  <a:cubicBezTo>
                    <a:pt x="0" y="383150"/>
                    <a:pt x="1962" y="381239"/>
                    <a:pt x="4389" y="381239"/>
                  </a:cubicBezTo>
                  <a:cubicBezTo>
                    <a:pt x="4389" y="381239"/>
                    <a:pt x="4389" y="381239"/>
                    <a:pt x="4957" y="381239"/>
                  </a:cubicBezTo>
                  <a:lnTo>
                    <a:pt x="5354" y="381239"/>
                  </a:lnTo>
                  <a:lnTo>
                    <a:pt x="5680" y="378003"/>
                  </a:lnTo>
                  <a:cubicBezTo>
                    <a:pt x="7285" y="370159"/>
                    <a:pt x="14226" y="364258"/>
                    <a:pt x="22544" y="364258"/>
                  </a:cubicBezTo>
                  <a:close/>
                  <a:moveTo>
                    <a:pt x="25124" y="307043"/>
                  </a:moveTo>
                  <a:cubicBezTo>
                    <a:pt x="22283" y="306123"/>
                    <a:pt x="19608" y="306859"/>
                    <a:pt x="17267" y="308698"/>
                  </a:cubicBezTo>
                  <a:cubicBezTo>
                    <a:pt x="16432" y="309434"/>
                    <a:pt x="15762" y="310169"/>
                    <a:pt x="15094" y="311088"/>
                  </a:cubicBezTo>
                  <a:cubicBezTo>
                    <a:pt x="14593" y="311824"/>
                    <a:pt x="14091" y="312743"/>
                    <a:pt x="13589" y="313663"/>
                  </a:cubicBezTo>
                  <a:cubicBezTo>
                    <a:pt x="13255" y="314215"/>
                    <a:pt x="13088" y="314950"/>
                    <a:pt x="12921" y="315502"/>
                  </a:cubicBezTo>
                  <a:cubicBezTo>
                    <a:pt x="12586" y="316421"/>
                    <a:pt x="12419" y="317341"/>
                    <a:pt x="12252" y="318260"/>
                  </a:cubicBezTo>
                  <a:cubicBezTo>
                    <a:pt x="11750" y="319732"/>
                    <a:pt x="11583" y="321203"/>
                    <a:pt x="11583" y="323042"/>
                  </a:cubicBezTo>
                  <a:cubicBezTo>
                    <a:pt x="11583" y="324513"/>
                    <a:pt x="11750" y="326168"/>
                    <a:pt x="12252" y="328007"/>
                  </a:cubicBezTo>
                  <a:cubicBezTo>
                    <a:pt x="12586" y="328926"/>
                    <a:pt x="12753" y="329661"/>
                    <a:pt x="13088" y="330581"/>
                  </a:cubicBezTo>
                  <a:cubicBezTo>
                    <a:pt x="13422" y="331685"/>
                    <a:pt x="13923" y="332604"/>
                    <a:pt x="14593" y="333524"/>
                  </a:cubicBezTo>
                  <a:cubicBezTo>
                    <a:pt x="15261" y="334627"/>
                    <a:pt x="16097" y="335547"/>
                    <a:pt x="16933" y="336466"/>
                  </a:cubicBezTo>
                  <a:cubicBezTo>
                    <a:pt x="17769" y="337201"/>
                    <a:pt x="18772" y="337937"/>
                    <a:pt x="19942" y="338305"/>
                  </a:cubicBezTo>
                  <a:cubicBezTo>
                    <a:pt x="22951" y="339408"/>
                    <a:pt x="25794" y="338856"/>
                    <a:pt x="28301" y="336650"/>
                  </a:cubicBezTo>
                  <a:cubicBezTo>
                    <a:pt x="29137" y="335914"/>
                    <a:pt x="29806" y="335179"/>
                    <a:pt x="30474" y="334259"/>
                  </a:cubicBezTo>
                  <a:cubicBezTo>
                    <a:pt x="31143" y="333340"/>
                    <a:pt x="31645" y="332420"/>
                    <a:pt x="32146" y="331317"/>
                  </a:cubicBezTo>
                  <a:cubicBezTo>
                    <a:pt x="32313" y="330765"/>
                    <a:pt x="32481" y="330214"/>
                    <a:pt x="32815" y="329846"/>
                  </a:cubicBezTo>
                  <a:cubicBezTo>
                    <a:pt x="33149" y="328926"/>
                    <a:pt x="33484" y="328007"/>
                    <a:pt x="33650" y="326904"/>
                  </a:cubicBezTo>
                  <a:cubicBezTo>
                    <a:pt x="34152" y="323777"/>
                    <a:pt x="34152" y="320651"/>
                    <a:pt x="33317" y="317524"/>
                  </a:cubicBezTo>
                  <a:cubicBezTo>
                    <a:pt x="33149" y="316789"/>
                    <a:pt x="32982" y="316053"/>
                    <a:pt x="32647" y="315502"/>
                  </a:cubicBezTo>
                  <a:cubicBezTo>
                    <a:pt x="32313" y="314767"/>
                    <a:pt x="32146" y="314031"/>
                    <a:pt x="31812" y="313479"/>
                  </a:cubicBezTo>
                  <a:cubicBezTo>
                    <a:pt x="31310" y="312743"/>
                    <a:pt x="30976" y="311824"/>
                    <a:pt x="30307" y="311088"/>
                  </a:cubicBezTo>
                  <a:cubicBezTo>
                    <a:pt x="29638" y="310169"/>
                    <a:pt x="28803" y="309249"/>
                    <a:pt x="27799" y="308514"/>
                  </a:cubicBezTo>
                  <a:cubicBezTo>
                    <a:pt x="26963" y="307963"/>
                    <a:pt x="26128" y="307411"/>
                    <a:pt x="25124" y="307043"/>
                  </a:cubicBezTo>
                  <a:close/>
                  <a:moveTo>
                    <a:pt x="21447" y="296193"/>
                  </a:moveTo>
                  <a:cubicBezTo>
                    <a:pt x="24288" y="296009"/>
                    <a:pt x="27131" y="296561"/>
                    <a:pt x="29806" y="297664"/>
                  </a:cubicBezTo>
                  <a:cubicBezTo>
                    <a:pt x="31645" y="298400"/>
                    <a:pt x="33317" y="299503"/>
                    <a:pt x="34821" y="300791"/>
                  </a:cubicBezTo>
                  <a:cubicBezTo>
                    <a:pt x="35657" y="301526"/>
                    <a:pt x="36325" y="302262"/>
                    <a:pt x="37161" y="302997"/>
                  </a:cubicBezTo>
                  <a:cubicBezTo>
                    <a:pt x="37997" y="303916"/>
                    <a:pt x="38833" y="305020"/>
                    <a:pt x="39502" y="305940"/>
                  </a:cubicBezTo>
                  <a:cubicBezTo>
                    <a:pt x="40004" y="306675"/>
                    <a:pt x="40505" y="307595"/>
                    <a:pt x="40839" y="308330"/>
                  </a:cubicBezTo>
                  <a:cubicBezTo>
                    <a:pt x="41508" y="309434"/>
                    <a:pt x="42009" y="310720"/>
                    <a:pt x="42344" y="312008"/>
                  </a:cubicBezTo>
                  <a:cubicBezTo>
                    <a:pt x="42679" y="312743"/>
                    <a:pt x="42846" y="313663"/>
                    <a:pt x="43012" y="314399"/>
                  </a:cubicBezTo>
                  <a:cubicBezTo>
                    <a:pt x="43347" y="315502"/>
                    <a:pt x="43514" y="316789"/>
                    <a:pt x="43681" y="317892"/>
                  </a:cubicBezTo>
                  <a:cubicBezTo>
                    <a:pt x="44183" y="321203"/>
                    <a:pt x="44183" y="324513"/>
                    <a:pt x="43514" y="327639"/>
                  </a:cubicBezTo>
                  <a:cubicBezTo>
                    <a:pt x="43347" y="328743"/>
                    <a:pt x="43180" y="329846"/>
                    <a:pt x="42846" y="330949"/>
                  </a:cubicBezTo>
                  <a:cubicBezTo>
                    <a:pt x="42511" y="331868"/>
                    <a:pt x="42344" y="332604"/>
                    <a:pt x="42009" y="333524"/>
                  </a:cubicBezTo>
                  <a:cubicBezTo>
                    <a:pt x="41675" y="334076"/>
                    <a:pt x="41508" y="334627"/>
                    <a:pt x="41341" y="335179"/>
                  </a:cubicBezTo>
                  <a:cubicBezTo>
                    <a:pt x="40839" y="336282"/>
                    <a:pt x="40338" y="337201"/>
                    <a:pt x="39836" y="338121"/>
                  </a:cubicBezTo>
                  <a:cubicBezTo>
                    <a:pt x="39335" y="338856"/>
                    <a:pt x="38833" y="339592"/>
                    <a:pt x="38332" y="340327"/>
                  </a:cubicBezTo>
                  <a:cubicBezTo>
                    <a:pt x="37663" y="341247"/>
                    <a:pt x="36827" y="342166"/>
                    <a:pt x="35991" y="342902"/>
                  </a:cubicBezTo>
                  <a:cubicBezTo>
                    <a:pt x="35322" y="343637"/>
                    <a:pt x="34486" y="344190"/>
                    <a:pt x="33818" y="344741"/>
                  </a:cubicBezTo>
                  <a:cubicBezTo>
                    <a:pt x="32647" y="345661"/>
                    <a:pt x="31310" y="346396"/>
                    <a:pt x="29973" y="346948"/>
                  </a:cubicBezTo>
                  <a:cubicBezTo>
                    <a:pt x="28301" y="347684"/>
                    <a:pt x="26462" y="348235"/>
                    <a:pt x="24623" y="348419"/>
                  </a:cubicBezTo>
                  <a:cubicBezTo>
                    <a:pt x="24288" y="348419"/>
                    <a:pt x="24122" y="348419"/>
                    <a:pt x="23787" y="348603"/>
                  </a:cubicBezTo>
                  <a:cubicBezTo>
                    <a:pt x="22784" y="348603"/>
                    <a:pt x="21948" y="348603"/>
                    <a:pt x="20945" y="348603"/>
                  </a:cubicBezTo>
                  <a:cubicBezTo>
                    <a:pt x="20945" y="348419"/>
                    <a:pt x="20778" y="348603"/>
                    <a:pt x="20778" y="348603"/>
                  </a:cubicBezTo>
                  <a:cubicBezTo>
                    <a:pt x="17601" y="348235"/>
                    <a:pt x="14593" y="347132"/>
                    <a:pt x="11918" y="345293"/>
                  </a:cubicBezTo>
                  <a:cubicBezTo>
                    <a:pt x="10747" y="344557"/>
                    <a:pt x="9744" y="343637"/>
                    <a:pt x="8741" y="342534"/>
                  </a:cubicBezTo>
                  <a:cubicBezTo>
                    <a:pt x="7905" y="341799"/>
                    <a:pt x="7236" y="340880"/>
                    <a:pt x="6568" y="339960"/>
                  </a:cubicBezTo>
                  <a:cubicBezTo>
                    <a:pt x="6066" y="339224"/>
                    <a:pt x="5565" y="338489"/>
                    <a:pt x="5063" y="337569"/>
                  </a:cubicBezTo>
                  <a:cubicBezTo>
                    <a:pt x="4561" y="336650"/>
                    <a:pt x="4060" y="335730"/>
                    <a:pt x="3559" y="334627"/>
                  </a:cubicBezTo>
                  <a:cubicBezTo>
                    <a:pt x="3224" y="333891"/>
                    <a:pt x="3057" y="333340"/>
                    <a:pt x="2723" y="332604"/>
                  </a:cubicBezTo>
                  <a:cubicBezTo>
                    <a:pt x="2388" y="331868"/>
                    <a:pt x="2221" y="331133"/>
                    <a:pt x="2054" y="330397"/>
                  </a:cubicBezTo>
                  <a:cubicBezTo>
                    <a:pt x="1720" y="329110"/>
                    <a:pt x="1552" y="327823"/>
                    <a:pt x="1218" y="326536"/>
                  </a:cubicBezTo>
                  <a:cubicBezTo>
                    <a:pt x="1051" y="325800"/>
                    <a:pt x="1051" y="325248"/>
                    <a:pt x="1051" y="324513"/>
                  </a:cubicBezTo>
                  <a:cubicBezTo>
                    <a:pt x="1218" y="325064"/>
                    <a:pt x="1385" y="324881"/>
                    <a:pt x="1218" y="324696"/>
                  </a:cubicBezTo>
                  <a:cubicBezTo>
                    <a:pt x="1218" y="323410"/>
                    <a:pt x="1218" y="322122"/>
                    <a:pt x="1218" y="320835"/>
                  </a:cubicBezTo>
                  <a:cubicBezTo>
                    <a:pt x="1218" y="320835"/>
                    <a:pt x="1218" y="320835"/>
                    <a:pt x="1218" y="320651"/>
                  </a:cubicBezTo>
                  <a:cubicBezTo>
                    <a:pt x="1218" y="319548"/>
                    <a:pt x="1385" y="318628"/>
                    <a:pt x="1552" y="317524"/>
                  </a:cubicBezTo>
                  <a:cubicBezTo>
                    <a:pt x="1887" y="316238"/>
                    <a:pt x="1887" y="314950"/>
                    <a:pt x="2388" y="313847"/>
                  </a:cubicBezTo>
                  <a:cubicBezTo>
                    <a:pt x="2723" y="313111"/>
                    <a:pt x="2890" y="312376"/>
                    <a:pt x="3057" y="311640"/>
                  </a:cubicBezTo>
                  <a:cubicBezTo>
                    <a:pt x="3559" y="310537"/>
                    <a:pt x="4060" y="309249"/>
                    <a:pt x="4561" y="308146"/>
                  </a:cubicBezTo>
                  <a:cubicBezTo>
                    <a:pt x="5063" y="307227"/>
                    <a:pt x="5565" y="306491"/>
                    <a:pt x="6066" y="305572"/>
                  </a:cubicBezTo>
                  <a:cubicBezTo>
                    <a:pt x="6568" y="304836"/>
                    <a:pt x="7070" y="304101"/>
                    <a:pt x="7571" y="303548"/>
                  </a:cubicBezTo>
                  <a:cubicBezTo>
                    <a:pt x="8072" y="302997"/>
                    <a:pt x="8574" y="302445"/>
                    <a:pt x="9075" y="301894"/>
                  </a:cubicBezTo>
                  <a:cubicBezTo>
                    <a:pt x="10079" y="300974"/>
                    <a:pt x="11082" y="300055"/>
                    <a:pt x="12252" y="299319"/>
                  </a:cubicBezTo>
                  <a:cubicBezTo>
                    <a:pt x="13088" y="298768"/>
                    <a:pt x="14091" y="298216"/>
                    <a:pt x="14927" y="297848"/>
                  </a:cubicBezTo>
                  <a:cubicBezTo>
                    <a:pt x="16933" y="296929"/>
                    <a:pt x="19106" y="296377"/>
                    <a:pt x="21447" y="296193"/>
                  </a:cubicBezTo>
                  <a:close/>
                  <a:moveTo>
                    <a:pt x="20889" y="227660"/>
                  </a:moveTo>
                  <a:cubicBezTo>
                    <a:pt x="21808" y="227660"/>
                    <a:pt x="22728" y="227476"/>
                    <a:pt x="23647" y="227660"/>
                  </a:cubicBezTo>
                  <a:cubicBezTo>
                    <a:pt x="24935" y="227844"/>
                    <a:pt x="26038" y="228396"/>
                    <a:pt x="26773" y="229315"/>
                  </a:cubicBezTo>
                  <a:cubicBezTo>
                    <a:pt x="27877" y="230418"/>
                    <a:pt x="28429" y="231889"/>
                    <a:pt x="28244" y="233544"/>
                  </a:cubicBezTo>
                  <a:cubicBezTo>
                    <a:pt x="28244" y="233729"/>
                    <a:pt x="28244" y="233729"/>
                    <a:pt x="28244" y="233912"/>
                  </a:cubicBezTo>
                  <a:cubicBezTo>
                    <a:pt x="28244" y="245866"/>
                    <a:pt x="28244" y="257819"/>
                    <a:pt x="28244" y="269956"/>
                  </a:cubicBezTo>
                  <a:cubicBezTo>
                    <a:pt x="28244" y="270323"/>
                    <a:pt x="28244" y="270323"/>
                    <a:pt x="28612" y="270323"/>
                  </a:cubicBezTo>
                  <a:cubicBezTo>
                    <a:pt x="30267" y="270323"/>
                    <a:pt x="31923" y="270323"/>
                    <a:pt x="33577" y="270323"/>
                  </a:cubicBezTo>
                  <a:cubicBezTo>
                    <a:pt x="34497" y="270323"/>
                    <a:pt x="35416" y="270691"/>
                    <a:pt x="36336" y="271059"/>
                  </a:cubicBezTo>
                  <a:cubicBezTo>
                    <a:pt x="37991" y="272162"/>
                    <a:pt x="38910" y="273633"/>
                    <a:pt x="38910" y="275657"/>
                  </a:cubicBezTo>
                  <a:cubicBezTo>
                    <a:pt x="38910" y="277128"/>
                    <a:pt x="38359" y="278599"/>
                    <a:pt x="37072" y="279518"/>
                  </a:cubicBezTo>
                  <a:cubicBezTo>
                    <a:pt x="36336" y="280070"/>
                    <a:pt x="35416" y="280622"/>
                    <a:pt x="34313" y="280805"/>
                  </a:cubicBezTo>
                  <a:cubicBezTo>
                    <a:pt x="34313" y="280805"/>
                    <a:pt x="34130" y="280805"/>
                    <a:pt x="34130" y="280805"/>
                  </a:cubicBezTo>
                  <a:cubicBezTo>
                    <a:pt x="34130" y="280805"/>
                    <a:pt x="33945" y="280805"/>
                    <a:pt x="33945" y="280805"/>
                  </a:cubicBezTo>
                  <a:cubicBezTo>
                    <a:pt x="33945" y="280622"/>
                    <a:pt x="33762" y="280805"/>
                    <a:pt x="33577" y="280805"/>
                  </a:cubicBezTo>
                  <a:cubicBezTo>
                    <a:pt x="26222" y="280805"/>
                    <a:pt x="18866" y="280805"/>
                    <a:pt x="11694" y="280805"/>
                  </a:cubicBezTo>
                  <a:cubicBezTo>
                    <a:pt x="11511" y="280805"/>
                    <a:pt x="11511" y="280805"/>
                    <a:pt x="11327" y="280805"/>
                  </a:cubicBezTo>
                  <a:cubicBezTo>
                    <a:pt x="11143" y="280805"/>
                    <a:pt x="10959" y="280805"/>
                    <a:pt x="10775" y="280805"/>
                  </a:cubicBezTo>
                  <a:cubicBezTo>
                    <a:pt x="10591" y="280622"/>
                    <a:pt x="10407" y="280622"/>
                    <a:pt x="10223" y="280622"/>
                  </a:cubicBezTo>
                  <a:cubicBezTo>
                    <a:pt x="9304" y="280437"/>
                    <a:pt x="8568" y="279886"/>
                    <a:pt x="7832" y="279334"/>
                  </a:cubicBezTo>
                  <a:cubicBezTo>
                    <a:pt x="6729" y="278231"/>
                    <a:pt x="6178" y="276943"/>
                    <a:pt x="6178" y="275472"/>
                  </a:cubicBezTo>
                  <a:cubicBezTo>
                    <a:pt x="6178" y="274186"/>
                    <a:pt x="6546" y="272898"/>
                    <a:pt x="7649" y="271979"/>
                  </a:cubicBezTo>
                  <a:cubicBezTo>
                    <a:pt x="8752" y="270875"/>
                    <a:pt x="10039" y="270323"/>
                    <a:pt x="11511" y="270323"/>
                  </a:cubicBezTo>
                  <a:cubicBezTo>
                    <a:pt x="13350" y="270323"/>
                    <a:pt x="15188" y="270323"/>
                    <a:pt x="16843" y="270323"/>
                  </a:cubicBezTo>
                  <a:cubicBezTo>
                    <a:pt x="17027" y="270323"/>
                    <a:pt x="17211" y="270323"/>
                    <a:pt x="17211" y="269956"/>
                  </a:cubicBezTo>
                  <a:cubicBezTo>
                    <a:pt x="17211" y="259474"/>
                    <a:pt x="17211" y="249176"/>
                    <a:pt x="17211" y="238694"/>
                  </a:cubicBezTo>
                  <a:cubicBezTo>
                    <a:pt x="17211" y="238510"/>
                    <a:pt x="17211" y="238326"/>
                    <a:pt x="16843" y="238326"/>
                  </a:cubicBezTo>
                  <a:cubicBezTo>
                    <a:pt x="15556" y="238326"/>
                    <a:pt x="14085" y="238326"/>
                    <a:pt x="12798" y="238326"/>
                  </a:cubicBezTo>
                  <a:cubicBezTo>
                    <a:pt x="10591" y="238326"/>
                    <a:pt x="8936" y="237222"/>
                    <a:pt x="7832" y="235200"/>
                  </a:cubicBezTo>
                  <a:cubicBezTo>
                    <a:pt x="7281" y="234097"/>
                    <a:pt x="7281" y="232809"/>
                    <a:pt x="7649" y="231338"/>
                  </a:cubicBezTo>
                  <a:cubicBezTo>
                    <a:pt x="8385" y="229315"/>
                    <a:pt x="10407" y="227844"/>
                    <a:pt x="12614" y="227844"/>
                  </a:cubicBezTo>
                  <a:cubicBezTo>
                    <a:pt x="15372" y="227844"/>
                    <a:pt x="18130" y="227660"/>
                    <a:pt x="20889" y="227660"/>
                  </a:cubicBezTo>
                  <a:close/>
                  <a:moveTo>
                    <a:pt x="22723" y="183298"/>
                  </a:moveTo>
                  <a:cubicBezTo>
                    <a:pt x="19155" y="183298"/>
                    <a:pt x="16282" y="186128"/>
                    <a:pt x="16282" y="189605"/>
                  </a:cubicBezTo>
                  <a:cubicBezTo>
                    <a:pt x="16282" y="191999"/>
                    <a:pt x="17636" y="194086"/>
                    <a:pt x="19650" y="195153"/>
                  </a:cubicBezTo>
                  <a:cubicBezTo>
                    <a:pt x="19650" y="195153"/>
                    <a:pt x="19650" y="195153"/>
                    <a:pt x="19650" y="200863"/>
                  </a:cubicBezTo>
                  <a:cubicBezTo>
                    <a:pt x="19650" y="202529"/>
                    <a:pt x="21022" y="203872"/>
                    <a:pt x="22723" y="203872"/>
                  </a:cubicBezTo>
                  <a:cubicBezTo>
                    <a:pt x="24407" y="203872"/>
                    <a:pt x="25795" y="202529"/>
                    <a:pt x="25795" y="200863"/>
                  </a:cubicBezTo>
                  <a:cubicBezTo>
                    <a:pt x="25795" y="200863"/>
                    <a:pt x="25795" y="200863"/>
                    <a:pt x="25795" y="195153"/>
                  </a:cubicBezTo>
                  <a:cubicBezTo>
                    <a:pt x="27793" y="194086"/>
                    <a:pt x="29164" y="191999"/>
                    <a:pt x="29164" y="189605"/>
                  </a:cubicBezTo>
                  <a:cubicBezTo>
                    <a:pt x="29164" y="186128"/>
                    <a:pt x="26273" y="183298"/>
                    <a:pt x="22723" y="183298"/>
                  </a:cubicBezTo>
                  <a:close/>
                  <a:moveTo>
                    <a:pt x="22544" y="156965"/>
                  </a:moveTo>
                  <a:cubicBezTo>
                    <a:pt x="18979" y="156965"/>
                    <a:pt x="15921" y="159133"/>
                    <a:pt x="14614" y="162222"/>
                  </a:cubicBezTo>
                  <a:lnTo>
                    <a:pt x="13984" y="165339"/>
                  </a:lnTo>
                  <a:lnTo>
                    <a:pt x="16189" y="165339"/>
                  </a:lnTo>
                  <a:cubicBezTo>
                    <a:pt x="19406" y="165339"/>
                    <a:pt x="23502" y="165339"/>
                    <a:pt x="28714" y="165339"/>
                  </a:cubicBezTo>
                  <a:lnTo>
                    <a:pt x="31104" y="165339"/>
                  </a:lnTo>
                  <a:lnTo>
                    <a:pt x="30475" y="162222"/>
                  </a:lnTo>
                  <a:cubicBezTo>
                    <a:pt x="29168" y="159133"/>
                    <a:pt x="26110" y="156965"/>
                    <a:pt x="22544" y="156965"/>
                  </a:cubicBezTo>
                  <a:close/>
                  <a:moveTo>
                    <a:pt x="22544" y="148358"/>
                  </a:moveTo>
                  <a:cubicBezTo>
                    <a:pt x="30863" y="148358"/>
                    <a:pt x="37803" y="154259"/>
                    <a:pt x="39408" y="162103"/>
                  </a:cubicBezTo>
                  <a:lnTo>
                    <a:pt x="39735" y="165339"/>
                  </a:lnTo>
                  <a:lnTo>
                    <a:pt x="40700" y="165339"/>
                  </a:lnTo>
                  <a:cubicBezTo>
                    <a:pt x="43126" y="165339"/>
                    <a:pt x="45089" y="167250"/>
                    <a:pt x="45089" y="169615"/>
                  </a:cubicBezTo>
                  <a:cubicBezTo>
                    <a:pt x="45089" y="169615"/>
                    <a:pt x="45089" y="169615"/>
                    <a:pt x="45089" y="203432"/>
                  </a:cubicBezTo>
                  <a:cubicBezTo>
                    <a:pt x="45089" y="205796"/>
                    <a:pt x="43126" y="207707"/>
                    <a:pt x="40700" y="207707"/>
                  </a:cubicBezTo>
                  <a:cubicBezTo>
                    <a:pt x="40700" y="207707"/>
                    <a:pt x="40700" y="207707"/>
                    <a:pt x="4389" y="207707"/>
                  </a:cubicBezTo>
                  <a:cubicBezTo>
                    <a:pt x="1962" y="207707"/>
                    <a:pt x="0" y="205796"/>
                    <a:pt x="0" y="203432"/>
                  </a:cubicBezTo>
                  <a:cubicBezTo>
                    <a:pt x="0" y="203432"/>
                    <a:pt x="0" y="203432"/>
                    <a:pt x="0" y="169615"/>
                  </a:cubicBezTo>
                  <a:cubicBezTo>
                    <a:pt x="0" y="167250"/>
                    <a:pt x="1962" y="165339"/>
                    <a:pt x="4389" y="165339"/>
                  </a:cubicBezTo>
                  <a:cubicBezTo>
                    <a:pt x="4389" y="165339"/>
                    <a:pt x="4389" y="165339"/>
                    <a:pt x="4957" y="165339"/>
                  </a:cubicBezTo>
                  <a:lnTo>
                    <a:pt x="5354" y="165339"/>
                  </a:lnTo>
                  <a:lnTo>
                    <a:pt x="5680" y="162103"/>
                  </a:lnTo>
                  <a:cubicBezTo>
                    <a:pt x="7285" y="154259"/>
                    <a:pt x="14226" y="148358"/>
                    <a:pt x="22544" y="148358"/>
                  </a:cubicBezTo>
                  <a:close/>
                  <a:moveTo>
                    <a:pt x="25124" y="91143"/>
                  </a:moveTo>
                  <a:cubicBezTo>
                    <a:pt x="22283" y="90223"/>
                    <a:pt x="19608" y="90959"/>
                    <a:pt x="17267" y="92798"/>
                  </a:cubicBezTo>
                  <a:cubicBezTo>
                    <a:pt x="16432" y="93534"/>
                    <a:pt x="15762" y="94269"/>
                    <a:pt x="15094" y="95188"/>
                  </a:cubicBezTo>
                  <a:cubicBezTo>
                    <a:pt x="14593" y="95924"/>
                    <a:pt x="14091" y="96843"/>
                    <a:pt x="13589" y="97763"/>
                  </a:cubicBezTo>
                  <a:cubicBezTo>
                    <a:pt x="13255" y="98315"/>
                    <a:pt x="13088" y="99050"/>
                    <a:pt x="12921" y="99602"/>
                  </a:cubicBezTo>
                  <a:cubicBezTo>
                    <a:pt x="12586" y="100521"/>
                    <a:pt x="12419" y="101441"/>
                    <a:pt x="12252" y="102360"/>
                  </a:cubicBezTo>
                  <a:cubicBezTo>
                    <a:pt x="11750" y="103832"/>
                    <a:pt x="11583" y="105303"/>
                    <a:pt x="11583" y="107142"/>
                  </a:cubicBezTo>
                  <a:cubicBezTo>
                    <a:pt x="11583" y="108613"/>
                    <a:pt x="11750" y="110268"/>
                    <a:pt x="12252" y="112107"/>
                  </a:cubicBezTo>
                  <a:cubicBezTo>
                    <a:pt x="12586" y="113026"/>
                    <a:pt x="12753" y="113761"/>
                    <a:pt x="13088" y="114681"/>
                  </a:cubicBezTo>
                  <a:cubicBezTo>
                    <a:pt x="13422" y="115785"/>
                    <a:pt x="13923" y="116704"/>
                    <a:pt x="14593" y="117624"/>
                  </a:cubicBezTo>
                  <a:cubicBezTo>
                    <a:pt x="15261" y="118727"/>
                    <a:pt x="16097" y="119647"/>
                    <a:pt x="16933" y="120566"/>
                  </a:cubicBezTo>
                  <a:cubicBezTo>
                    <a:pt x="17769" y="121301"/>
                    <a:pt x="18772" y="122037"/>
                    <a:pt x="19942" y="122405"/>
                  </a:cubicBezTo>
                  <a:cubicBezTo>
                    <a:pt x="22951" y="123508"/>
                    <a:pt x="25794" y="122956"/>
                    <a:pt x="28301" y="120750"/>
                  </a:cubicBezTo>
                  <a:cubicBezTo>
                    <a:pt x="29137" y="120014"/>
                    <a:pt x="29806" y="119279"/>
                    <a:pt x="30474" y="118359"/>
                  </a:cubicBezTo>
                  <a:cubicBezTo>
                    <a:pt x="31143" y="117440"/>
                    <a:pt x="31645" y="116520"/>
                    <a:pt x="32146" y="115417"/>
                  </a:cubicBezTo>
                  <a:cubicBezTo>
                    <a:pt x="32313" y="114865"/>
                    <a:pt x="32481" y="114314"/>
                    <a:pt x="32815" y="113946"/>
                  </a:cubicBezTo>
                  <a:cubicBezTo>
                    <a:pt x="33149" y="113026"/>
                    <a:pt x="33484" y="112107"/>
                    <a:pt x="33650" y="111004"/>
                  </a:cubicBezTo>
                  <a:cubicBezTo>
                    <a:pt x="34152" y="107877"/>
                    <a:pt x="34152" y="104751"/>
                    <a:pt x="33317" y="101624"/>
                  </a:cubicBezTo>
                  <a:cubicBezTo>
                    <a:pt x="33149" y="100889"/>
                    <a:pt x="32982" y="100153"/>
                    <a:pt x="32647" y="99602"/>
                  </a:cubicBezTo>
                  <a:cubicBezTo>
                    <a:pt x="32313" y="98867"/>
                    <a:pt x="32146" y="98131"/>
                    <a:pt x="31812" y="97579"/>
                  </a:cubicBezTo>
                  <a:cubicBezTo>
                    <a:pt x="31310" y="96843"/>
                    <a:pt x="30976" y="95924"/>
                    <a:pt x="30307" y="95188"/>
                  </a:cubicBezTo>
                  <a:cubicBezTo>
                    <a:pt x="29638" y="94269"/>
                    <a:pt x="28803" y="93349"/>
                    <a:pt x="27799" y="92614"/>
                  </a:cubicBezTo>
                  <a:cubicBezTo>
                    <a:pt x="26963" y="92063"/>
                    <a:pt x="26128" y="91511"/>
                    <a:pt x="25124" y="91143"/>
                  </a:cubicBezTo>
                  <a:close/>
                  <a:moveTo>
                    <a:pt x="3062310" y="84588"/>
                  </a:moveTo>
                  <a:cubicBezTo>
                    <a:pt x="3063229" y="84588"/>
                    <a:pt x="3064149" y="84404"/>
                    <a:pt x="3065068" y="84588"/>
                  </a:cubicBezTo>
                  <a:cubicBezTo>
                    <a:pt x="3066356" y="84772"/>
                    <a:pt x="3067459" y="85324"/>
                    <a:pt x="3068194" y="86243"/>
                  </a:cubicBezTo>
                  <a:cubicBezTo>
                    <a:pt x="3069298" y="87346"/>
                    <a:pt x="3069850" y="88818"/>
                    <a:pt x="3069665" y="90472"/>
                  </a:cubicBezTo>
                  <a:cubicBezTo>
                    <a:pt x="3069665" y="90657"/>
                    <a:pt x="3069665" y="90657"/>
                    <a:pt x="3069665" y="90840"/>
                  </a:cubicBezTo>
                  <a:cubicBezTo>
                    <a:pt x="3069665" y="102794"/>
                    <a:pt x="3069665" y="114746"/>
                    <a:pt x="3069665" y="126884"/>
                  </a:cubicBezTo>
                  <a:cubicBezTo>
                    <a:pt x="3069665" y="127251"/>
                    <a:pt x="3069665" y="127251"/>
                    <a:pt x="3070033" y="127251"/>
                  </a:cubicBezTo>
                  <a:cubicBezTo>
                    <a:pt x="3071688" y="127251"/>
                    <a:pt x="3073343" y="127251"/>
                    <a:pt x="3074998" y="127251"/>
                  </a:cubicBezTo>
                  <a:cubicBezTo>
                    <a:pt x="3075918" y="127251"/>
                    <a:pt x="3076837" y="127619"/>
                    <a:pt x="3077757" y="127987"/>
                  </a:cubicBezTo>
                  <a:cubicBezTo>
                    <a:pt x="3079412" y="129090"/>
                    <a:pt x="3080331" y="130561"/>
                    <a:pt x="3080331" y="132584"/>
                  </a:cubicBezTo>
                  <a:cubicBezTo>
                    <a:pt x="3080331" y="134055"/>
                    <a:pt x="3079780" y="135527"/>
                    <a:pt x="3078493" y="136446"/>
                  </a:cubicBezTo>
                  <a:cubicBezTo>
                    <a:pt x="3077757" y="136998"/>
                    <a:pt x="3076837" y="137549"/>
                    <a:pt x="3075734" y="137733"/>
                  </a:cubicBezTo>
                  <a:cubicBezTo>
                    <a:pt x="3075734" y="137733"/>
                    <a:pt x="3075550" y="137733"/>
                    <a:pt x="3075550" y="137733"/>
                  </a:cubicBezTo>
                  <a:cubicBezTo>
                    <a:pt x="3075550" y="137733"/>
                    <a:pt x="3075366" y="137733"/>
                    <a:pt x="3075366" y="137733"/>
                  </a:cubicBezTo>
                  <a:cubicBezTo>
                    <a:pt x="3075366" y="137549"/>
                    <a:pt x="3075183" y="137733"/>
                    <a:pt x="3074998" y="137733"/>
                  </a:cubicBezTo>
                  <a:cubicBezTo>
                    <a:pt x="3067643" y="137733"/>
                    <a:pt x="3060287" y="137733"/>
                    <a:pt x="3053115" y="137733"/>
                  </a:cubicBezTo>
                  <a:cubicBezTo>
                    <a:pt x="3052931" y="137733"/>
                    <a:pt x="3052931" y="137733"/>
                    <a:pt x="3052748" y="137733"/>
                  </a:cubicBezTo>
                  <a:cubicBezTo>
                    <a:pt x="3052563" y="137733"/>
                    <a:pt x="3052380" y="137733"/>
                    <a:pt x="3052196" y="137733"/>
                  </a:cubicBezTo>
                  <a:cubicBezTo>
                    <a:pt x="3052012" y="137549"/>
                    <a:pt x="3051828" y="137549"/>
                    <a:pt x="3051644" y="137549"/>
                  </a:cubicBezTo>
                  <a:cubicBezTo>
                    <a:pt x="3050724" y="137365"/>
                    <a:pt x="3049989" y="136814"/>
                    <a:pt x="3049253" y="136262"/>
                  </a:cubicBezTo>
                  <a:cubicBezTo>
                    <a:pt x="3048150" y="135159"/>
                    <a:pt x="3047599" y="133871"/>
                    <a:pt x="3047599" y="132400"/>
                  </a:cubicBezTo>
                  <a:cubicBezTo>
                    <a:pt x="3047599" y="131113"/>
                    <a:pt x="3047966" y="129826"/>
                    <a:pt x="3049070" y="128906"/>
                  </a:cubicBezTo>
                  <a:cubicBezTo>
                    <a:pt x="3050173" y="127803"/>
                    <a:pt x="3051460" y="127251"/>
                    <a:pt x="3052931" y="127251"/>
                  </a:cubicBezTo>
                  <a:cubicBezTo>
                    <a:pt x="3054770" y="127251"/>
                    <a:pt x="3056609" y="127251"/>
                    <a:pt x="3058264" y="127251"/>
                  </a:cubicBezTo>
                  <a:cubicBezTo>
                    <a:pt x="3058448" y="127251"/>
                    <a:pt x="3058632" y="127251"/>
                    <a:pt x="3058632" y="126884"/>
                  </a:cubicBezTo>
                  <a:cubicBezTo>
                    <a:pt x="3058632" y="116402"/>
                    <a:pt x="3058632" y="106104"/>
                    <a:pt x="3058632" y="95622"/>
                  </a:cubicBezTo>
                  <a:cubicBezTo>
                    <a:pt x="3058632" y="95438"/>
                    <a:pt x="3058632" y="95254"/>
                    <a:pt x="3058264" y="95254"/>
                  </a:cubicBezTo>
                  <a:cubicBezTo>
                    <a:pt x="3056977" y="95254"/>
                    <a:pt x="3055506" y="95254"/>
                    <a:pt x="3054219" y="95254"/>
                  </a:cubicBezTo>
                  <a:cubicBezTo>
                    <a:pt x="3052012" y="95254"/>
                    <a:pt x="3050357" y="94150"/>
                    <a:pt x="3049253" y="92128"/>
                  </a:cubicBezTo>
                  <a:cubicBezTo>
                    <a:pt x="3048702" y="91025"/>
                    <a:pt x="3048702" y="89737"/>
                    <a:pt x="3049070" y="88266"/>
                  </a:cubicBezTo>
                  <a:cubicBezTo>
                    <a:pt x="3049806" y="86243"/>
                    <a:pt x="3051828" y="84772"/>
                    <a:pt x="3054035" y="84772"/>
                  </a:cubicBezTo>
                  <a:cubicBezTo>
                    <a:pt x="3056793" y="84772"/>
                    <a:pt x="3059551" y="84588"/>
                    <a:pt x="3062310" y="84588"/>
                  </a:cubicBezTo>
                  <a:close/>
                  <a:moveTo>
                    <a:pt x="21447" y="80293"/>
                  </a:moveTo>
                  <a:cubicBezTo>
                    <a:pt x="24288" y="80109"/>
                    <a:pt x="27131" y="80661"/>
                    <a:pt x="29806" y="81764"/>
                  </a:cubicBezTo>
                  <a:cubicBezTo>
                    <a:pt x="31645" y="82500"/>
                    <a:pt x="33317" y="83603"/>
                    <a:pt x="34821" y="84891"/>
                  </a:cubicBezTo>
                  <a:cubicBezTo>
                    <a:pt x="35657" y="85626"/>
                    <a:pt x="36325" y="86362"/>
                    <a:pt x="37161" y="87097"/>
                  </a:cubicBezTo>
                  <a:cubicBezTo>
                    <a:pt x="37997" y="88016"/>
                    <a:pt x="38833" y="89120"/>
                    <a:pt x="39502" y="90040"/>
                  </a:cubicBezTo>
                  <a:cubicBezTo>
                    <a:pt x="40004" y="90775"/>
                    <a:pt x="40505" y="91695"/>
                    <a:pt x="40839" y="92430"/>
                  </a:cubicBezTo>
                  <a:cubicBezTo>
                    <a:pt x="41508" y="93534"/>
                    <a:pt x="42009" y="94820"/>
                    <a:pt x="42344" y="96108"/>
                  </a:cubicBezTo>
                  <a:cubicBezTo>
                    <a:pt x="42679" y="96843"/>
                    <a:pt x="42846" y="97763"/>
                    <a:pt x="43012" y="98499"/>
                  </a:cubicBezTo>
                  <a:cubicBezTo>
                    <a:pt x="43347" y="99602"/>
                    <a:pt x="43514" y="100889"/>
                    <a:pt x="43681" y="101992"/>
                  </a:cubicBezTo>
                  <a:cubicBezTo>
                    <a:pt x="44183" y="105303"/>
                    <a:pt x="44183" y="108613"/>
                    <a:pt x="43514" y="111739"/>
                  </a:cubicBezTo>
                  <a:cubicBezTo>
                    <a:pt x="43347" y="112843"/>
                    <a:pt x="43180" y="113946"/>
                    <a:pt x="42846" y="115049"/>
                  </a:cubicBezTo>
                  <a:cubicBezTo>
                    <a:pt x="42511" y="115968"/>
                    <a:pt x="42344" y="116704"/>
                    <a:pt x="42009" y="117624"/>
                  </a:cubicBezTo>
                  <a:cubicBezTo>
                    <a:pt x="41675" y="118176"/>
                    <a:pt x="41508" y="118727"/>
                    <a:pt x="41341" y="119279"/>
                  </a:cubicBezTo>
                  <a:cubicBezTo>
                    <a:pt x="40839" y="120382"/>
                    <a:pt x="40338" y="121301"/>
                    <a:pt x="39836" y="122221"/>
                  </a:cubicBezTo>
                  <a:cubicBezTo>
                    <a:pt x="39335" y="122956"/>
                    <a:pt x="38833" y="123692"/>
                    <a:pt x="38332" y="124427"/>
                  </a:cubicBezTo>
                  <a:cubicBezTo>
                    <a:pt x="37663" y="125347"/>
                    <a:pt x="36827" y="126266"/>
                    <a:pt x="35991" y="127002"/>
                  </a:cubicBezTo>
                  <a:cubicBezTo>
                    <a:pt x="35322" y="127737"/>
                    <a:pt x="34486" y="128290"/>
                    <a:pt x="33818" y="128841"/>
                  </a:cubicBezTo>
                  <a:cubicBezTo>
                    <a:pt x="32647" y="129761"/>
                    <a:pt x="31310" y="130496"/>
                    <a:pt x="29973" y="131048"/>
                  </a:cubicBezTo>
                  <a:cubicBezTo>
                    <a:pt x="28301" y="131784"/>
                    <a:pt x="26462" y="132335"/>
                    <a:pt x="24623" y="132519"/>
                  </a:cubicBezTo>
                  <a:cubicBezTo>
                    <a:pt x="24288" y="132519"/>
                    <a:pt x="24122" y="132519"/>
                    <a:pt x="23787" y="132703"/>
                  </a:cubicBezTo>
                  <a:cubicBezTo>
                    <a:pt x="22784" y="132703"/>
                    <a:pt x="21948" y="132703"/>
                    <a:pt x="20945" y="132703"/>
                  </a:cubicBezTo>
                  <a:cubicBezTo>
                    <a:pt x="20945" y="132519"/>
                    <a:pt x="20778" y="132703"/>
                    <a:pt x="20778" y="132703"/>
                  </a:cubicBezTo>
                  <a:cubicBezTo>
                    <a:pt x="17601" y="132335"/>
                    <a:pt x="14593" y="131232"/>
                    <a:pt x="11918" y="129393"/>
                  </a:cubicBezTo>
                  <a:cubicBezTo>
                    <a:pt x="10747" y="128657"/>
                    <a:pt x="9744" y="127737"/>
                    <a:pt x="8741" y="126634"/>
                  </a:cubicBezTo>
                  <a:cubicBezTo>
                    <a:pt x="7905" y="125899"/>
                    <a:pt x="7236" y="124980"/>
                    <a:pt x="6568" y="124060"/>
                  </a:cubicBezTo>
                  <a:cubicBezTo>
                    <a:pt x="6066" y="123324"/>
                    <a:pt x="5565" y="122589"/>
                    <a:pt x="5063" y="121669"/>
                  </a:cubicBezTo>
                  <a:cubicBezTo>
                    <a:pt x="4561" y="120750"/>
                    <a:pt x="4060" y="119830"/>
                    <a:pt x="3559" y="118727"/>
                  </a:cubicBezTo>
                  <a:cubicBezTo>
                    <a:pt x="3224" y="117991"/>
                    <a:pt x="3057" y="117440"/>
                    <a:pt x="2723" y="116704"/>
                  </a:cubicBezTo>
                  <a:cubicBezTo>
                    <a:pt x="2388" y="115968"/>
                    <a:pt x="2221" y="115233"/>
                    <a:pt x="2054" y="114497"/>
                  </a:cubicBezTo>
                  <a:cubicBezTo>
                    <a:pt x="1720" y="113210"/>
                    <a:pt x="1552" y="111923"/>
                    <a:pt x="1218" y="110636"/>
                  </a:cubicBezTo>
                  <a:cubicBezTo>
                    <a:pt x="1051" y="109900"/>
                    <a:pt x="1051" y="109348"/>
                    <a:pt x="1051" y="108613"/>
                  </a:cubicBezTo>
                  <a:cubicBezTo>
                    <a:pt x="1218" y="109164"/>
                    <a:pt x="1385" y="108981"/>
                    <a:pt x="1218" y="108796"/>
                  </a:cubicBezTo>
                  <a:cubicBezTo>
                    <a:pt x="1218" y="107510"/>
                    <a:pt x="1218" y="106222"/>
                    <a:pt x="1218" y="104935"/>
                  </a:cubicBezTo>
                  <a:cubicBezTo>
                    <a:pt x="1218" y="104935"/>
                    <a:pt x="1218" y="104935"/>
                    <a:pt x="1218" y="104751"/>
                  </a:cubicBezTo>
                  <a:cubicBezTo>
                    <a:pt x="1218" y="103648"/>
                    <a:pt x="1385" y="102728"/>
                    <a:pt x="1552" y="101624"/>
                  </a:cubicBezTo>
                  <a:cubicBezTo>
                    <a:pt x="1887" y="100338"/>
                    <a:pt x="1887" y="99050"/>
                    <a:pt x="2388" y="97947"/>
                  </a:cubicBezTo>
                  <a:cubicBezTo>
                    <a:pt x="2723" y="97211"/>
                    <a:pt x="2890" y="96476"/>
                    <a:pt x="3057" y="95740"/>
                  </a:cubicBezTo>
                  <a:cubicBezTo>
                    <a:pt x="3559" y="94637"/>
                    <a:pt x="4060" y="93349"/>
                    <a:pt x="4561" y="92246"/>
                  </a:cubicBezTo>
                  <a:cubicBezTo>
                    <a:pt x="5063" y="91327"/>
                    <a:pt x="5565" y="90591"/>
                    <a:pt x="6066" y="89672"/>
                  </a:cubicBezTo>
                  <a:cubicBezTo>
                    <a:pt x="6568" y="88936"/>
                    <a:pt x="7070" y="88201"/>
                    <a:pt x="7571" y="87648"/>
                  </a:cubicBezTo>
                  <a:cubicBezTo>
                    <a:pt x="8072" y="87097"/>
                    <a:pt x="8574" y="86545"/>
                    <a:pt x="9075" y="85994"/>
                  </a:cubicBezTo>
                  <a:cubicBezTo>
                    <a:pt x="10079" y="85074"/>
                    <a:pt x="11082" y="84155"/>
                    <a:pt x="12252" y="83419"/>
                  </a:cubicBezTo>
                  <a:cubicBezTo>
                    <a:pt x="13088" y="82868"/>
                    <a:pt x="14091" y="82316"/>
                    <a:pt x="14927" y="81948"/>
                  </a:cubicBezTo>
                  <a:cubicBezTo>
                    <a:pt x="16933" y="81029"/>
                    <a:pt x="19106" y="80477"/>
                    <a:pt x="21447" y="80293"/>
                  </a:cubicBezTo>
                  <a:close/>
                  <a:moveTo>
                    <a:pt x="81143" y="35978"/>
                  </a:moveTo>
                  <a:cubicBezTo>
                    <a:pt x="77575" y="35978"/>
                    <a:pt x="74702" y="38808"/>
                    <a:pt x="74702" y="42285"/>
                  </a:cubicBezTo>
                  <a:cubicBezTo>
                    <a:pt x="74702" y="44679"/>
                    <a:pt x="76056" y="46766"/>
                    <a:pt x="78070" y="47833"/>
                  </a:cubicBezTo>
                  <a:cubicBezTo>
                    <a:pt x="78070" y="47833"/>
                    <a:pt x="78070" y="47833"/>
                    <a:pt x="78070" y="53543"/>
                  </a:cubicBezTo>
                  <a:cubicBezTo>
                    <a:pt x="78070" y="55209"/>
                    <a:pt x="79442" y="56552"/>
                    <a:pt x="81143" y="56552"/>
                  </a:cubicBezTo>
                  <a:cubicBezTo>
                    <a:pt x="82827" y="56552"/>
                    <a:pt x="84215" y="55209"/>
                    <a:pt x="84215" y="53543"/>
                  </a:cubicBezTo>
                  <a:cubicBezTo>
                    <a:pt x="84215" y="53543"/>
                    <a:pt x="84215" y="53543"/>
                    <a:pt x="84215" y="47833"/>
                  </a:cubicBezTo>
                  <a:cubicBezTo>
                    <a:pt x="86213" y="46766"/>
                    <a:pt x="87584" y="44679"/>
                    <a:pt x="87584" y="42285"/>
                  </a:cubicBezTo>
                  <a:cubicBezTo>
                    <a:pt x="87584" y="38808"/>
                    <a:pt x="84693" y="35978"/>
                    <a:pt x="81143" y="35978"/>
                  </a:cubicBezTo>
                  <a:close/>
                  <a:moveTo>
                    <a:pt x="539791" y="34940"/>
                  </a:moveTo>
                  <a:cubicBezTo>
                    <a:pt x="536224" y="34940"/>
                    <a:pt x="533351" y="37770"/>
                    <a:pt x="533351" y="41247"/>
                  </a:cubicBezTo>
                  <a:cubicBezTo>
                    <a:pt x="533351" y="43641"/>
                    <a:pt x="534705" y="45728"/>
                    <a:pt x="536719" y="46795"/>
                  </a:cubicBezTo>
                  <a:cubicBezTo>
                    <a:pt x="536719" y="46795"/>
                    <a:pt x="536719" y="46795"/>
                    <a:pt x="536719" y="52505"/>
                  </a:cubicBezTo>
                  <a:cubicBezTo>
                    <a:pt x="536719" y="54171"/>
                    <a:pt x="538090" y="55513"/>
                    <a:pt x="539791" y="55513"/>
                  </a:cubicBezTo>
                  <a:cubicBezTo>
                    <a:pt x="541476" y="55513"/>
                    <a:pt x="542864" y="54171"/>
                    <a:pt x="542864" y="52505"/>
                  </a:cubicBezTo>
                  <a:cubicBezTo>
                    <a:pt x="542864" y="52505"/>
                    <a:pt x="542864" y="52505"/>
                    <a:pt x="542864" y="46795"/>
                  </a:cubicBezTo>
                  <a:cubicBezTo>
                    <a:pt x="544863" y="45728"/>
                    <a:pt x="546233" y="43641"/>
                    <a:pt x="546233" y="41247"/>
                  </a:cubicBezTo>
                  <a:cubicBezTo>
                    <a:pt x="546233" y="37770"/>
                    <a:pt x="543342" y="34940"/>
                    <a:pt x="539791" y="34940"/>
                  </a:cubicBezTo>
                  <a:close/>
                  <a:moveTo>
                    <a:pt x="253007" y="34940"/>
                  </a:moveTo>
                  <a:cubicBezTo>
                    <a:pt x="249439" y="34940"/>
                    <a:pt x="246566" y="37770"/>
                    <a:pt x="246566" y="41247"/>
                  </a:cubicBezTo>
                  <a:cubicBezTo>
                    <a:pt x="246566" y="43641"/>
                    <a:pt x="247920" y="45728"/>
                    <a:pt x="249935" y="46795"/>
                  </a:cubicBezTo>
                  <a:cubicBezTo>
                    <a:pt x="249935" y="46795"/>
                    <a:pt x="249935" y="46795"/>
                    <a:pt x="249935" y="52505"/>
                  </a:cubicBezTo>
                  <a:cubicBezTo>
                    <a:pt x="249935" y="54171"/>
                    <a:pt x="251306" y="55513"/>
                    <a:pt x="253007" y="55513"/>
                  </a:cubicBezTo>
                  <a:cubicBezTo>
                    <a:pt x="254692" y="55513"/>
                    <a:pt x="256080" y="54171"/>
                    <a:pt x="256080" y="52505"/>
                  </a:cubicBezTo>
                  <a:cubicBezTo>
                    <a:pt x="256080" y="52505"/>
                    <a:pt x="256080" y="52505"/>
                    <a:pt x="256080" y="46795"/>
                  </a:cubicBezTo>
                  <a:cubicBezTo>
                    <a:pt x="258078" y="45728"/>
                    <a:pt x="259449" y="43641"/>
                    <a:pt x="259449" y="41247"/>
                  </a:cubicBezTo>
                  <a:cubicBezTo>
                    <a:pt x="259449" y="37770"/>
                    <a:pt x="256558" y="34940"/>
                    <a:pt x="253007" y="34940"/>
                  </a:cubicBezTo>
                  <a:close/>
                  <a:moveTo>
                    <a:pt x="3007558" y="34939"/>
                  </a:moveTo>
                  <a:cubicBezTo>
                    <a:pt x="3003991" y="34939"/>
                    <a:pt x="3001117" y="37770"/>
                    <a:pt x="3001117" y="41247"/>
                  </a:cubicBezTo>
                  <a:cubicBezTo>
                    <a:pt x="3001117" y="43641"/>
                    <a:pt x="3002471" y="45728"/>
                    <a:pt x="3004486" y="46795"/>
                  </a:cubicBezTo>
                  <a:cubicBezTo>
                    <a:pt x="3004486" y="46795"/>
                    <a:pt x="3004486" y="46795"/>
                    <a:pt x="3004486" y="52505"/>
                  </a:cubicBezTo>
                  <a:cubicBezTo>
                    <a:pt x="3004486" y="54170"/>
                    <a:pt x="3005857" y="55513"/>
                    <a:pt x="3007558" y="55513"/>
                  </a:cubicBezTo>
                  <a:cubicBezTo>
                    <a:pt x="3009243" y="55513"/>
                    <a:pt x="3010630" y="54170"/>
                    <a:pt x="3010630" y="52505"/>
                  </a:cubicBezTo>
                  <a:cubicBezTo>
                    <a:pt x="3010630" y="52505"/>
                    <a:pt x="3010630" y="52505"/>
                    <a:pt x="3010630" y="46795"/>
                  </a:cubicBezTo>
                  <a:cubicBezTo>
                    <a:pt x="3012628" y="45728"/>
                    <a:pt x="3013999" y="43641"/>
                    <a:pt x="3013999" y="41247"/>
                  </a:cubicBezTo>
                  <a:cubicBezTo>
                    <a:pt x="3013999" y="37770"/>
                    <a:pt x="3011109" y="34939"/>
                    <a:pt x="3007558" y="34939"/>
                  </a:cubicBezTo>
                  <a:close/>
                  <a:moveTo>
                    <a:pt x="2946161" y="34939"/>
                  </a:moveTo>
                  <a:cubicBezTo>
                    <a:pt x="2942594" y="34939"/>
                    <a:pt x="2939720" y="37770"/>
                    <a:pt x="2939720" y="41247"/>
                  </a:cubicBezTo>
                  <a:cubicBezTo>
                    <a:pt x="2939720" y="43641"/>
                    <a:pt x="2941075" y="45728"/>
                    <a:pt x="2943089" y="46795"/>
                  </a:cubicBezTo>
                  <a:cubicBezTo>
                    <a:pt x="2943089" y="46795"/>
                    <a:pt x="2943089" y="46795"/>
                    <a:pt x="2943089" y="52505"/>
                  </a:cubicBezTo>
                  <a:cubicBezTo>
                    <a:pt x="2943089" y="54170"/>
                    <a:pt x="2944460" y="55513"/>
                    <a:pt x="2946161" y="55513"/>
                  </a:cubicBezTo>
                  <a:cubicBezTo>
                    <a:pt x="2947846" y="55513"/>
                    <a:pt x="2949233" y="54170"/>
                    <a:pt x="2949233" y="52505"/>
                  </a:cubicBezTo>
                  <a:cubicBezTo>
                    <a:pt x="2949233" y="52505"/>
                    <a:pt x="2949233" y="52505"/>
                    <a:pt x="2949233" y="46795"/>
                  </a:cubicBezTo>
                  <a:cubicBezTo>
                    <a:pt x="2951232" y="45728"/>
                    <a:pt x="2952603" y="43641"/>
                    <a:pt x="2952603" y="41247"/>
                  </a:cubicBezTo>
                  <a:cubicBezTo>
                    <a:pt x="2952603" y="37770"/>
                    <a:pt x="2949712" y="34939"/>
                    <a:pt x="2946161" y="34939"/>
                  </a:cubicBezTo>
                  <a:close/>
                  <a:moveTo>
                    <a:pt x="2823318" y="34939"/>
                  </a:moveTo>
                  <a:cubicBezTo>
                    <a:pt x="2819751" y="34939"/>
                    <a:pt x="2816877" y="37770"/>
                    <a:pt x="2816877" y="41247"/>
                  </a:cubicBezTo>
                  <a:cubicBezTo>
                    <a:pt x="2816877" y="43641"/>
                    <a:pt x="2818232" y="45728"/>
                    <a:pt x="2820246" y="46795"/>
                  </a:cubicBezTo>
                  <a:cubicBezTo>
                    <a:pt x="2820246" y="46795"/>
                    <a:pt x="2820246" y="46795"/>
                    <a:pt x="2820246" y="52505"/>
                  </a:cubicBezTo>
                  <a:cubicBezTo>
                    <a:pt x="2820246" y="54170"/>
                    <a:pt x="2821617" y="55513"/>
                    <a:pt x="2823318" y="55513"/>
                  </a:cubicBezTo>
                  <a:cubicBezTo>
                    <a:pt x="2825003" y="55513"/>
                    <a:pt x="2826390" y="54170"/>
                    <a:pt x="2826390" y="52505"/>
                  </a:cubicBezTo>
                  <a:cubicBezTo>
                    <a:pt x="2826390" y="52505"/>
                    <a:pt x="2826390" y="52505"/>
                    <a:pt x="2826390" y="46795"/>
                  </a:cubicBezTo>
                  <a:cubicBezTo>
                    <a:pt x="2828389" y="45728"/>
                    <a:pt x="2829760" y="43641"/>
                    <a:pt x="2829760" y="41247"/>
                  </a:cubicBezTo>
                  <a:cubicBezTo>
                    <a:pt x="2829760" y="37770"/>
                    <a:pt x="2826869" y="34939"/>
                    <a:pt x="2823318" y="34939"/>
                  </a:cubicBezTo>
                  <a:close/>
                  <a:moveTo>
                    <a:pt x="2536534" y="34939"/>
                  </a:moveTo>
                  <a:cubicBezTo>
                    <a:pt x="2532966" y="34939"/>
                    <a:pt x="2530093" y="37770"/>
                    <a:pt x="2530093" y="41247"/>
                  </a:cubicBezTo>
                  <a:cubicBezTo>
                    <a:pt x="2530093" y="43641"/>
                    <a:pt x="2531447" y="45728"/>
                    <a:pt x="2533461" y="46795"/>
                  </a:cubicBezTo>
                  <a:cubicBezTo>
                    <a:pt x="2533461" y="46795"/>
                    <a:pt x="2533461" y="46795"/>
                    <a:pt x="2533461" y="52505"/>
                  </a:cubicBezTo>
                  <a:cubicBezTo>
                    <a:pt x="2533461" y="54170"/>
                    <a:pt x="2534833" y="55513"/>
                    <a:pt x="2536534" y="55513"/>
                  </a:cubicBezTo>
                  <a:cubicBezTo>
                    <a:pt x="2538218" y="55513"/>
                    <a:pt x="2539606" y="54170"/>
                    <a:pt x="2539606" y="52505"/>
                  </a:cubicBezTo>
                  <a:cubicBezTo>
                    <a:pt x="2539606" y="52505"/>
                    <a:pt x="2539606" y="52505"/>
                    <a:pt x="2539606" y="46795"/>
                  </a:cubicBezTo>
                  <a:cubicBezTo>
                    <a:pt x="2541604" y="45728"/>
                    <a:pt x="2542975" y="43641"/>
                    <a:pt x="2542975" y="41247"/>
                  </a:cubicBezTo>
                  <a:cubicBezTo>
                    <a:pt x="2542975" y="37770"/>
                    <a:pt x="2540084" y="34939"/>
                    <a:pt x="2536534" y="34939"/>
                  </a:cubicBezTo>
                  <a:close/>
                  <a:moveTo>
                    <a:pt x="2413691" y="34939"/>
                  </a:moveTo>
                  <a:cubicBezTo>
                    <a:pt x="2410123" y="34939"/>
                    <a:pt x="2407250" y="37770"/>
                    <a:pt x="2407250" y="41247"/>
                  </a:cubicBezTo>
                  <a:cubicBezTo>
                    <a:pt x="2407250" y="43641"/>
                    <a:pt x="2408604" y="45728"/>
                    <a:pt x="2410618" y="46795"/>
                  </a:cubicBezTo>
                  <a:cubicBezTo>
                    <a:pt x="2410618" y="46795"/>
                    <a:pt x="2410618" y="46795"/>
                    <a:pt x="2410618" y="52505"/>
                  </a:cubicBezTo>
                  <a:cubicBezTo>
                    <a:pt x="2410618" y="54170"/>
                    <a:pt x="2411990" y="55513"/>
                    <a:pt x="2413691" y="55513"/>
                  </a:cubicBezTo>
                  <a:cubicBezTo>
                    <a:pt x="2415375" y="55513"/>
                    <a:pt x="2416763" y="54170"/>
                    <a:pt x="2416763" y="52505"/>
                  </a:cubicBezTo>
                  <a:cubicBezTo>
                    <a:pt x="2416763" y="52505"/>
                    <a:pt x="2416763" y="52505"/>
                    <a:pt x="2416763" y="46795"/>
                  </a:cubicBezTo>
                  <a:cubicBezTo>
                    <a:pt x="2418761" y="45728"/>
                    <a:pt x="2420132" y="43641"/>
                    <a:pt x="2420132" y="41247"/>
                  </a:cubicBezTo>
                  <a:cubicBezTo>
                    <a:pt x="2420132" y="37770"/>
                    <a:pt x="2417242" y="34939"/>
                    <a:pt x="2413691" y="34939"/>
                  </a:cubicBezTo>
                  <a:close/>
                  <a:moveTo>
                    <a:pt x="2126906" y="34939"/>
                  </a:moveTo>
                  <a:cubicBezTo>
                    <a:pt x="2123339" y="34939"/>
                    <a:pt x="2120465" y="37770"/>
                    <a:pt x="2120465" y="41247"/>
                  </a:cubicBezTo>
                  <a:cubicBezTo>
                    <a:pt x="2120465" y="43641"/>
                    <a:pt x="2121819" y="45728"/>
                    <a:pt x="2123834" y="46795"/>
                  </a:cubicBezTo>
                  <a:cubicBezTo>
                    <a:pt x="2123834" y="46795"/>
                    <a:pt x="2123834" y="46795"/>
                    <a:pt x="2123834" y="52505"/>
                  </a:cubicBezTo>
                  <a:cubicBezTo>
                    <a:pt x="2123834" y="54170"/>
                    <a:pt x="2125205" y="55513"/>
                    <a:pt x="2126906" y="55513"/>
                  </a:cubicBezTo>
                  <a:cubicBezTo>
                    <a:pt x="2128590" y="55513"/>
                    <a:pt x="2129978" y="54170"/>
                    <a:pt x="2129978" y="52505"/>
                  </a:cubicBezTo>
                  <a:cubicBezTo>
                    <a:pt x="2129978" y="52505"/>
                    <a:pt x="2129978" y="52505"/>
                    <a:pt x="2129978" y="46795"/>
                  </a:cubicBezTo>
                  <a:cubicBezTo>
                    <a:pt x="2131976" y="45728"/>
                    <a:pt x="2133347" y="43641"/>
                    <a:pt x="2133347" y="41247"/>
                  </a:cubicBezTo>
                  <a:cubicBezTo>
                    <a:pt x="2133347" y="37770"/>
                    <a:pt x="2130457" y="34939"/>
                    <a:pt x="2126906" y="34939"/>
                  </a:cubicBezTo>
                  <a:close/>
                  <a:moveTo>
                    <a:pt x="2065509" y="34939"/>
                  </a:moveTo>
                  <a:cubicBezTo>
                    <a:pt x="2061942" y="34939"/>
                    <a:pt x="2059068" y="37770"/>
                    <a:pt x="2059068" y="41247"/>
                  </a:cubicBezTo>
                  <a:cubicBezTo>
                    <a:pt x="2059068" y="43641"/>
                    <a:pt x="2060422" y="45728"/>
                    <a:pt x="2062437" y="46795"/>
                  </a:cubicBezTo>
                  <a:cubicBezTo>
                    <a:pt x="2062437" y="46795"/>
                    <a:pt x="2062437" y="46795"/>
                    <a:pt x="2062437" y="52505"/>
                  </a:cubicBezTo>
                  <a:cubicBezTo>
                    <a:pt x="2062437" y="54170"/>
                    <a:pt x="2063808" y="55513"/>
                    <a:pt x="2065509" y="55513"/>
                  </a:cubicBezTo>
                  <a:cubicBezTo>
                    <a:pt x="2067194" y="55513"/>
                    <a:pt x="2068581" y="54170"/>
                    <a:pt x="2068581" y="52505"/>
                  </a:cubicBezTo>
                  <a:cubicBezTo>
                    <a:pt x="2068581" y="52505"/>
                    <a:pt x="2068581" y="52505"/>
                    <a:pt x="2068581" y="46795"/>
                  </a:cubicBezTo>
                  <a:cubicBezTo>
                    <a:pt x="2070580" y="45728"/>
                    <a:pt x="2071951" y="43641"/>
                    <a:pt x="2071951" y="41247"/>
                  </a:cubicBezTo>
                  <a:cubicBezTo>
                    <a:pt x="2071951" y="37770"/>
                    <a:pt x="2069060" y="34939"/>
                    <a:pt x="2065509" y="34939"/>
                  </a:cubicBezTo>
                  <a:close/>
                  <a:moveTo>
                    <a:pt x="1942666" y="34939"/>
                  </a:moveTo>
                  <a:cubicBezTo>
                    <a:pt x="1939099" y="34939"/>
                    <a:pt x="1936225" y="37770"/>
                    <a:pt x="1936225" y="41247"/>
                  </a:cubicBezTo>
                  <a:cubicBezTo>
                    <a:pt x="1936225" y="43641"/>
                    <a:pt x="1937579" y="45728"/>
                    <a:pt x="1939594" y="46795"/>
                  </a:cubicBezTo>
                  <a:cubicBezTo>
                    <a:pt x="1939594" y="46795"/>
                    <a:pt x="1939594" y="46795"/>
                    <a:pt x="1939594" y="52505"/>
                  </a:cubicBezTo>
                  <a:cubicBezTo>
                    <a:pt x="1939594" y="54170"/>
                    <a:pt x="1940965" y="55513"/>
                    <a:pt x="1942666" y="55513"/>
                  </a:cubicBezTo>
                  <a:cubicBezTo>
                    <a:pt x="1944351" y="55513"/>
                    <a:pt x="1945738" y="54170"/>
                    <a:pt x="1945738" y="52505"/>
                  </a:cubicBezTo>
                  <a:cubicBezTo>
                    <a:pt x="1945738" y="52505"/>
                    <a:pt x="1945738" y="52505"/>
                    <a:pt x="1945738" y="46795"/>
                  </a:cubicBezTo>
                  <a:cubicBezTo>
                    <a:pt x="1947737" y="45728"/>
                    <a:pt x="1949108" y="43641"/>
                    <a:pt x="1949108" y="41247"/>
                  </a:cubicBezTo>
                  <a:cubicBezTo>
                    <a:pt x="1949108" y="37770"/>
                    <a:pt x="1946217" y="34939"/>
                    <a:pt x="1942666" y="34939"/>
                  </a:cubicBezTo>
                  <a:close/>
                  <a:moveTo>
                    <a:pt x="1655883" y="34939"/>
                  </a:moveTo>
                  <a:cubicBezTo>
                    <a:pt x="1652315" y="34939"/>
                    <a:pt x="1649441" y="37770"/>
                    <a:pt x="1649441" y="41247"/>
                  </a:cubicBezTo>
                  <a:cubicBezTo>
                    <a:pt x="1649441" y="43641"/>
                    <a:pt x="1650795" y="45728"/>
                    <a:pt x="1652811" y="46795"/>
                  </a:cubicBezTo>
                  <a:cubicBezTo>
                    <a:pt x="1652811" y="46795"/>
                    <a:pt x="1652811" y="46795"/>
                    <a:pt x="1652811" y="52505"/>
                  </a:cubicBezTo>
                  <a:cubicBezTo>
                    <a:pt x="1652811" y="54170"/>
                    <a:pt x="1654182" y="55513"/>
                    <a:pt x="1655883" y="55513"/>
                  </a:cubicBezTo>
                  <a:cubicBezTo>
                    <a:pt x="1657567" y="55513"/>
                    <a:pt x="1658955" y="54170"/>
                    <a:pt x="1658955" y="52505"/>
                  </a:cubicBezTo>
                  <a:cubicBezTo>
                    <a:pt x="1658955" y="52505"/>
                    <a:pt x="1658955" y="52505"/>
                    <a:pt x="1658955" y="46795"/>
                  </a:cubicBezTo>
                  <a:cubicBezTo>
                    <a:pt x="1660953" y="45728"/>
                    <a:pt x="1662324" y="43641"/>
                    <a:pt x="1662324" y="41247"/>
                  </a:cubicBezTo>
                  <a:cubicBezTo>
                    <a:pt x="1662324" y="37770"/>
                    <a:pt x="1659434" y="34939"/>
                    <a:pt x="1655883" y="34939"/>
                  </a:cubicBezTo>
                  <a:close/>
                  <a:moveTo>
                    <a:pt x="1481792" y="34939"/>
                  </a:moveTo>
                  <a:cubicBezTo>
                    <a:pt x="1478224" y="34939"/>
                    <a:pt x="1475350" y="37770"/>
                    <a:pt x="1475350" y="41247"/>
                  </a:cubicBezTo>
                  <a:cubicBezTo>
                    <a:pt x="1475350" y="43641"/>
                    <a:pt x="1476705" y="45728"/>
                    <a:pt x="1478720" y="46795"/>
                  </a:cubicBezTo>
                  <a:cubicBezTo>
                    <a:pt x="1478720" y="46795"/>
                    <a:pt x="1478720" y="46795"/>
                    <a:pt x="1478720" y="52505"/>
                  </a:cubicBezTo>
                  <a:cubicBezTo>
                    <a:pt x="1478720" y="54170"/>
                    <a:pt x="1480091" y="55513"/>
                    <a:pt x="1481792" y="55513"/>
                  </a:cubicBezTo>
                  <a:cubicBezTo>
                    <a:pt x="1483477" y="55513"/>
                    <a:pt x="1484864" y="54170"/>
                    <a:pt x="1484864" y="52505"/>
                  </a:cubicBezTo>
                  <a:cubicBezTo>
                    <a:pt x="1484864" y="52505"/>
                    <a:pt x="1484864" y="52505"/>
                    <a:pt x="1484864" y="46795"/>
                  </a:cubicBezTo>
                  <a:cubicBezTo>
                    <a:pt x="1486862" y="45728"/>
                    <a:pt x="1488234" y="43641"/>
                    <a:pt x="1488234" y="41247"/>
                  </a:cubicBezTo>
                  <a:cubicBezTo>
                    <a:pt x="1488234" y="37770"/>
                    <a:pt x="1485343" y="34939"/>
                    <a:pt x="1481792" y="34939"/>
                  </a:cubicBezTo>
                  <a:close/>
                  <a:moveTo>
                    <a:pt x="1420395" y="34939"/>
                  </a:moveTo>
                  <a:cubicBezTo>
                    <a:pt x="1416828" y="34939"/>
                    <a:pt x="1413954" y="37770"/>
                    <a:pt x="1413954" y="41247"/>
                  </a:cubicBezTo>
                  <a:cubicBezTo>
                    <a:pt x="1413954" y="43641"/>
                    <a:pt x="1415308" y="45728"/>
                    <a:pt x="1417323" y="46795"/>
                  </a:cubicBezTo>
                  <a:cubicBezTo>
                    <a:pt x="1417323" y="46795"/>
                    <a:pt x="1417323" y="46795"/>
                    <a:pt x="1417323" y="52505"/>
                  </a:cubicBezTo>
                  <a:cubicBezTo>
                    <a:pt x="1417323" y="54170"/>
                    <a:pt x="1418694" y="55513"/>
                    <a:pt x="1420395" y="55513"/>
                  </a:cubicBezTo>
                  <a:cubicBezTo>
                    <a:pt x="1422080" y="55513"/>
                    <a:pt x="1423467" y="54170"/>
                    <a:pt x="1423467" y="52505"/>
                  </a:cubicBezTo>
                  <a:cubicBezTo>
                    <a:pt x="1423467" y="52505"/>
                    <a:pt x="1423467" y="52505"/>
                    <a:pt x="1423467" y="46795"/>
                  </a:cubicBezTo>
                  <a:cubicBezTo>
                    <a:pt x="1425466" y="45728"/>
                    <a:pt x="1426837" y="43641"/>
                    <a:pt x="1426837" y="41247"/>
                  </a:cubicBezTo>
                  <a:cubicBezTo>
                    <a:pt x="1426837" y="37770"/>
                    <a:pt x="1423946" y="34939"/>
                    <a:pt x="1420395" y="34939"/>
                  </a:cubicBezTo>
                  <a:close/>
                  <a:moveTo>
                    <a:pt x="1246305" y="34939"/>
                  </a:moveTo>
                  <a:cubicBezTo>
                    <a:pt x="1242736" y="34939"/>
                    <a:pt x="1239863" y="37770"/>
                    <a:pt x="1239863" y="41247"/>
                  </a:cubicBezTo>
                  <a:cubicBezTo>
                    <a:pt x="1239863" y="43641"/>
                    <a:pt x="1241217" y="45728"/>
                    <a:pt x="1243232" y="46795"/>
                  </a:cubicBezTo>
                  <a:cubicBezTo>
                    <a:pt x="1243232" y="46795"/>
                    <a:pt x="1243232" y="46795"/>
                    <a:pt x="1243232" y="52505"/>
                  </a:cubicBezTo>
                  <a:cubicBezTo>
                    <a:pt x="1243232" y="54170"/>
                    <a:pt x="1244602" y="55513"/>
                    <a:pt x="1246305" y="55513"/>
                  </a:cubicBezTo>
                  <a:cubicBezTo>
                    <a:pt x="1247988" y="55513"/>
                    <a:pt x="1249377" y="54170"/>
                    <a:pt x="1249377" y="52505"/>
                  </a:cubicBezTo>
                  <a:cubicBezTo>
                    <a:pt x="1249377" y="52505"/>
                    <a:pt x="1249377" y="52505"/>
                    <a:pt x="1249377" y="46795"/>
                  </a:cubicBezTo>
                  <a:cubicBezTo>
                    <a:pt x="1251374" y="45728"/>
                    <a:pt x="1252745" y="43641"/>
                    <a:pt x="1252745" y="41247"/>
                  </a:cubicBezTo>
                  <a:cubicBezTo>
                    <a:pt x="1252745" y="37770"/>
                    <a:pt x="1249855" y="34939"/>
                    <a:pt x="1246305" y="34939"/>
                  </a:cubicBezTo>
                  <a:close/>
                  <a:moveTo>
                    <a:pt x="1184907" y="34939"/>
                  </a:moveTo>
                  <a:cubicBezTo>
                    <a:pt x="1181340" y="34939"/>
                    <a:pt x="1178466" y="37770"/>
                    <a:pt x="1178466" y="41247"/>
                  </a:cubicBezTo>
                  <a:cubicBezTo>
                    <a:pt x="1178466" y="43641"/>
                    <a:pt x="1179820" y="45728"/>
                    <a:pt x="1181836" y="46795"/>
                  </a:cubicBezTo>
                  <a:cubicBezTo>
                    <a:pt x="1181836" y="46795"/>
                    <a:pt x="1181836" y="46795"/>
                    <a:pt x="1181836" y="52505"/>
                  </a:cubicBezTo>
                  <a:cubicBezTo>
                    <a:pt x="1181836" y="54170"/>
                    <a:pt x="1183206" y="55513"/>
                    <a:pt x="1184907" y="55513"/>
                  </a:cubicBezTo>
                  <a:cubicBezTo>
                    <a:pt x="1186593" y="55513"/>
                    <a:pt x="1187979" y="54170"/>
                    <a:pt x="1187979" y="52505"/>
                  </a:cubicBezTo>
                  <a:cubicBezTo>
                    <a:pt x="1187979" y="52505"/>
                    <a:pt x="1187979" y="52505"/>
                    <a:pt x="1187979" y="46795"/>
                  </a:cubicBezTo>
                  <a:cubicBezTo>
                    <a:pt x="1189978" y="45728"/>
                    <a:pt x="1191349" y="43641"/>
                    <a:pt x="1191349" y="41247"/>
                  </a:cubicBezTo>
                  <a:cubicBezTo>
                    <a:pt x="1191349" y="37770"/>
                    <a:pt x="1188458" y="34939"/>
                    <a:pt x="1184907" y="34939"/>
                  </a:cubicBezTo>
                  <a:close/>
                  <a:moveTo>
                    <a:pt x="1010817" y="34939"/>
                  </a:moveTo>
                  <a:cubicBezTo>
                    <a:pt x="1007250" y="34939"/>
                    <a:pt x="1004376" y="37770"/>
                    <a:pt x="1004376" y="41247"/>
                  </a:cubicBezTo>
                  <a:cubicBezTo>
                    <a:pt x="1004376" y="43641"/>
                    <a:pt x="1005729" y="45728"/>
                    <a:pt x="1007744" y="46795"/>
                  </a:cubicBezTo>
                  <a:cubicBezTo>
                    <a:pt x="1007744" y="46795"/>
                    <a:pt x="1007744" y="46795"/>
                    <a:pt x="1007744" y="52505"/>
                  </a:cubicBezTo>
                  <a:cubicBezTo>
                    <a:pt x="1007744" y="54170"/>
                    <a:pt x="1009115" y="55513"/>
                    <a:pt x="1010817" y="55513"/>
                  </a:cubicBezTo>
                  <a:cubicBezTo>
                    <a:pt x="1012501" y="55513"/>
                    <a:pt x="1013889" y="54170"/>
                    <a:pt x="1013889" y="52505"/>
                  </a:cubicBezTo>
                  <a:cubicBezTo>
                    <a:pt x="1013889" y="52505"/>
                    <a:pt x="1013889" y="52505"/>
                    <a:pt x="1013889" y="46795"/>
                  </a:cubicBezTo>
                  <a:cubicBezTo>
                    <a:pt x="1015888" y="45728"/>
                    <a:pt x="1017257" y="43641"/>
                    <a:pt x="1017257" y="41247"/>
                  </a:cubicBezTo>
                  <a:cubicBezTo>
                    <a:pt x="1017257" y="37770"/>
                    <a:pt x="1014368" y="34939"/>
                    <a:pt x="1010817" y="34939"/>
                  </a:cubicBezTo>
                  <a:close/>
                  <a:moveTo>
                    <a:pt x="724031" y="34939"/>
                  </a:moveTo>
                  <a:cubicBezTo>
                    <a:pt x="720465" y="34939"/>
                    <a:pt x="717591" y="37770"/>
                    <a:pt x="717591" y="41247"/>
                  </a:cubicBezTo>
                  <a:cubicBezTo>
                    <a:pt x="717591" y="43641"/>
                    <a:pt x="718944" y="45728"/>
                    <a:pt x="720960" y="46795"/>
                  </a:cubicBezTo>
                  <a:cubicBezTo>
                    <a:pt x="720960" y="46795"/>
                    <a:pt x="720960" y="46795"/>
                    <a:pt x="720960" y="52505"/>
                  </a:cubicBezTo>
                  <a:cubicBezTo>
                    <a:pt x="720960" y="54170"/>
                    <a:pt x="722330" y="55513"/>
                    <a:pt x="724031" y="55513"/>
                  </a:cubicBezTo>
                  <a:cubicBezTo>
                    <a:pt x="725716" y="55513"/>
                    <a:pt x="727104" y="54170"/>
                    <a:pt x="727104" y="52505"/>
                  </a:cubicBezTo>
                  <a:cubicBezTo>
                    <a:pt x="727104" y="52505"/>
                    <a:pt x="727104" y="52505"/>
                    <a:pt x="727104" y="46795"/>
                  </a:cubicBezTo>
                  <a:cubicBezTo>
                    <a:pt x="729101" y="45728"/>
                    <a:pt x="730473" y="43641"/>
                    <a:pt x="730473" y="41247"/>
                  </a:cubicBezTo>
                  <a:cubicBezTo>
                    <a:pt x="730473" y="37770"/>
                    <a:pt x="727582" y="34939"/>
                    <a:pt x="724031" y="34939"/>
                  </a:cubicBezTo>
                  <a:close/>
                  <a:moveTo>
                    <a:pt x="662635" y="34939"/>
                  </a:moveTo>
                  <a:cubicBezTo>
                    <a:pt x="659068" y="34939"/>
                    <a:pt x="656194" y="37770"/>
                    <a:pt x="656194" y="41247"/>
                  </a:cubicBezTo>
                  <a:cubicBezTo>
                    <a:pt x="656194" y="43641"/>
                    <a:pt x="657548" y="45728"/>
                    <a:pt x="659563" y="46795"/>
                  </a:cubicBezTo>
                  <a:cubicBezTo>
                    <a:pt x="659563" y="46795"/>
                    <a:pt x="659563" y="46795"/>
                    <a:pt x="659563" y="52505"/>
                  </a:cubicBezTo>
                  <a:cubicBezTo>
                    <a:pt x="659563" y="54170"/>
                    <a:pt x="660934" y="55513"/>
                    <a:pt x="662635" y="55513"/>
                  </a:cubicBezTo>
                  <a:cubicBezTo>
                    <a:pt x="664319" y="55513"/>
                    <a:pt x="665707" y="54170"/>
                    <a:pt x="665707" y="52505"/>
                  </a:cubicBezTo>
                  <a:cubicBezTo>
                    <a:pt x="665707" y="52505"/>
                    <a:pt x="665707" y="52505"/>
                    <a:pt x="665707" y="46795"/>
                  </a:cubicBezTo>
                  <a:cubicBezTo>
                    <a:pt x="667705" y="45728"/>
                    <a:pt x="669076" y="43641"/>
                    <a:pt x="669076" y="41247"/>
                  </a:cubicBezTo>
                  <a:cubicBezTo>
                    <a:pt x="669076" y="37770"/>
                    <a:pt x="666187" y="34939"/>
                    <a:pt x="662635" y="34939"/>
                  </a:cubicBezTo>
                  <a:close/>
                  <a:moveTo>
                    <a:pt x="145349" y="17483"/>
                  </a:moveTo>
                  <a:cubicBezTo>
                    <a:pt x="142508" y="16563"/>
                    <a:pt x="139833" y="17299"/>
                    <a:pt x="137492" y="19138"/>
                  </a:cubicBezTo>
                  <a:cubicBezTo>
                    <a:pt x="136657" y="19874"/>
                    <a:pt x="135987" y="20609"/>
                    <a:pt x="135319" y="21528"/>
                  </a:cubicBezTo>
                  <a:cubicBezTo>
                    <a:pt x="134818" y="22264"/>
                    <a:pt x="134316" y="23183"/>
                    <a:pt x="133814" y="24103"/>
                  </a:cubicBezTo>
                  <a:cubicBezTo>
                    <a:pt x="133480" y="24655"/>
                    <a:pt x="133313" y="25390"/>
                    <a:pt x="133146" y="25942"/>
                  </a:cubicBezTo>
                  <a:cubicBezTo>
                    <a:pt x="132811" y="26861"/>
                    <a:pt x="132644" y="27781"/>
                    <a:pt x="132477" y="28700"/>
                  </a:cubicBezTo>
                  <a:cubicBezTo>
                    <a:pt x="131975" y="30172"/>
                    <a:pt x="131808" y="31643"/>
                    <a:pt x="131808" y="33482"/>
                  </a:cubicBezTo>
                  <a:cubicBezTo>
                    <a:pt x="131808" y="34953"/>
                    <a:pt x="131975" y="36608"/>
                    <a:pt x="132477" y="38447"/>
                  </a:cubicBezTo>
                  <a:cubicBezTo>
                    <a:pt x="132811" y="39366"/>
                    <a:pt x="132978" y="40101"/>
                    <a:pt x="133313" y="41021"/>
                  </a:cubicBezTo>
                  <a:cubicBezTo>
                    <a:pt x="133647" y="42125"/>
                    <a:pt x="134148" y="43044"/>
                    <a:pt x="134818" y="43964"/>
                  </a:cubicBezTo>
                  <a:cubicBezTo>
                    <a:pt x="135486" y="45067"/>
                    <a:pt x="136322" y="45987"/>
                    <a:pt x="137158" y="46906"/>
                  </a:cubicBezTo>
                  <a:cubicBezTo>
                    <a:pt x="137994" y="47641"/>
                    <a:pt x="138997" y="48377"/>
                    <a:pt x="140167" y="48745"/>
                  </a:cubicBezTo>
                  <a:cubicBezTo>
                    <a:pt x="143176" y="49848"/>
                    <a:pt x="146019" y="49296"/>
                    <a:pt x="148526" y="47090"/>
                  </a:cubicBezTo>
                  <a:cubicBezTo>
                    <a:pt x="149362" y="46354"/>
                    <a:pt x="150031" y="45619"/>
                    <a:pt x="150699" y="44699"/>
                  </a:cubicBezTo>
                  <a:cubicBezTo>
                    <a:pt x="151368" y="43780"/>
                    <a:pt x="151870" y="42860"/>
                    <a:pt x="152371" y="41757"/>
                  </a:cubicBezTo>
                  <a:cubicBezTo>
                    <a:pt x="152538" y="41205"/>
                    <a:pt x="152706" y="40654"/>
                    <a:pt x="153040" y="40286"/>
                  </a:cubicBezTo>
                  <a:cubicBezTo>
                    <a:pt x="153374" y="39366"/>
                    <a:pt x="153709" y="38447"/>
                    <a:pt x="153875" y="37344"/>
                  </a:cubicBezTo>
                  <a:cubicBezTo>
                    <a:pt x="154377" y="34217"/>
                    <a:pt x="154377" y="31091"/>
                    <a:pt x="153542" y="27964"/>
                  </a:cubicBezTo>
                  <a:cubicBezTo>
                    <a:pt x="153374" y="27229"/>
                    <a:pt x="153207" y="26493"/>
                    <a:pt x="152872" y="25942"/>
                  </a:cubicBezTo>
                  <a:cubicBezTo>
                    <a:pt x="152538" y="25207"/>
                    <a:pt x="152371" y="24471"/>
                    <a:pt x="152037" y="23919"/>
                  </a:cubicBezTo>
                  <a:cubicBezTo>
                    <a:pt x="151535" y="23183"/>
                    <a:pt x="151201" y="22264"/>
                    <a:pt x="150532" y="21528"/>
                  </a:cubicBezTo>
                  <a:cubicBezTo>
                    <a:pt x="149863" y="20609"/>
                    <a:pt x="149028" y="19689"/>
                    <a:pt x="148024" y="18954"/>
                  </a:cubicBezTo>
                  <a:cubicBezTo>
                    <a:pt x="147188" y="18403"/>
                    <a:pt x="146353" y="17851"/>
                    <a:pt x="145349" y="17483"/>
                  </a:cubicBezTo>
                  <a:close/>
                  <a:moveTo>
                    <a:pt x="480951" y="16445"/>
                  </a:moveTo>
                  <a:cubicBezTo>
                    <a:pt x="478108" y="15525"/>
                    <a:pt x="475434" y="16261"/>
                    <a:pt x="473093" y="18100"/>
                  </a:cubicBezTo>
                  <a:cubicBezTo>
                    <a:pt x="472257" y="18836"/>
                    <a:pt x="471588" y="19571"/>
                    <a:pt x="470920" y="20490"/>
                  </a:cubicBezTo>
                  <a:cubicBezTo>
                    <a:pt x="470418" y="21226"/>
                    <a:pt x="469917" y="22145"/>
                    <a:pt x="469415" y="23065"/>
                  </a:cubicBezTo>
                  <a:cubicBezTo>
                    <a:pt x="469080" y="23616"/>
                    <a:pt x="468913" y="24352"/>
                    <a:pt x="468747" y="24904"/>
                  </a:cubicBezTo>
                  <a:cubicBezTo>
                    <a:pt x="468412" y="25823"/>
                    <a:pt x="468245" y="26743"/>
                    <a:pt x="468077" y="27662"/>
                  </a:cubicBezTo>
                  <a:cubicBezTo>
                    <a:pt x="467576" y="29133"/>
                    <a:pt x="467409" y="30605"/>
                    <a:pt x="467409" y="32444"/>
                  </a:cubicBezTo>
                  <a:cubicBezTo>
                    <a:pt x="467409" y="33915"/>
                    <a:pt x="467576" y="35570"/>
                    <a:pt x="468077" y="37409"/>
                  </a:cubicBezTo>
                  <a:cubicBezTo>
                    <a:pt x="468412" y="38328"/>
                    <a:pt x="468579" y="39063"/>
                    <a:pt x="468913" y="39983"/>
                  </a:cubicBezTo>
                  <a:cubicBezTo>
                    <a:pt x="469248" y="41087"/>
                    <a:pt x="469749" y="42006"/>
                    <a:pt x="470418" y="42925"/>
                  </a:cubicBezTo>
                  <a:cubicBezTo>
                    <a:pt x="471087" y="44029"/>
                    <a:pt x="471923" y="44948"/>
                    <a:pt x="472759" y="45868"/>
                  </a:cubicBezTo>
                  <a:cubicBezTo>
                    <a:pt x="473594" y="46603"/>
                    <a:pt x="474598" y="47339"/>
                    <a:pt x="475768" y="47706"/>
                  </a:cubicBezTo>
                  <a:cubicBezTo>
                    <a:pt x="478777" y="48810"/>
                    <a:pt x="481619" y="48258"/>
                    <a:pt x="484127" y="46052"/>
                  </a:cubicBezTo>
                  <a:cubicBezTo>
                    <a:pt x="484963" y="45316"/>
                    <a:pt x="485631" y="44581"/>
                    <a:pt x="486300" y="43661"/>
                  </a:cubicBezTo>
                  <a:cubicBezTo>
                    <a:pt x="486969" y="42741"/>
                    <a:pt x="487470" y="41822"/>
                    <a:pt x="487972" y="40719"/>
                  </a:cubicBezTo>
                  <a:cubicBezTo>
                    <a:pt x="488139" y="40167"/>
                    <a:pt x="488306" y="39616"/>
                    <a:pt x="488640" y="39248"/>
                  </a:cubicBezTo>
                  <a:cubicBezTo>
                    <a:pt x="488975" y="38328"/>
                    <a:pt x="489310" y="37409"/>
                    <a:pt x="489476" y="36305"/>
                  </a:cubicBezTo>
                  <a:cubicBezTo>
                    <a:pt x="489978" y="33179"/>
                    <a:pt x="489978" y="30053"/>
                    <a:pt x="489142" y="26926"/>
                  </a:cubicBezTo>
                  <a:cubicBezTo>
                    <a:pt x="488975" y="26191"/>
                    <a:pt x="488808" y="25455"/>
                    <a:pt x="488474" y="24904"/>
                  </a:cubicBezTo>
                  <a:cubicBezTo>
                    <a:pt x="488139" y="24169"/>
                    <a:pt x="487972" y="23433"/>
                    <a:pt x="487638" y="22881"/>
                  </a:cubicBezTo>
                  <a:cubicBezTo>
                    <a:pt x="487136" y="22145"/>
                    <a:pt x="486801" y="21226"/>
                    <a:pt x="486133" y="20490"/>
                  </a:cubicBezTo>
                  <a:cubicBezTo>
                    <a:pt x="485464" y="19571"/>
                    <a:pt x="484628" y="18651"/>
                    <a:pt x="483625" y="17916"/>
                  </a:cubicBezTo>
                  <a:cubicBezTo>
                    <a:pt x="482789" y="17364"/>
                    <a:pt x="481953" y="16812"/>
                    <a:pt x="480951" y="16445"/>
                  </a:cubicBezTo>
                  <a:close/>
                  <a:moveTo>
                    <a:pt x="317009" y="16445"/>
                  </a:moveTo>
                  <a:cubicBezTo>
                    <a:pt x="314167" y="15525"/>
                    <a:pt x="311492" y="16261"/>
                    <a:pt x="309151" y="18100"/>
                  </a:cubicBezTo>
                  <a:cubicBezTo>
                    <a:pt x="308316" y="18836"/>
                    <a:pt x="307647" y="19571"/>
                    <a:pt x="306978" y="20490"/>
                  </a:cubicBezTo>
                  <a:cubicBezTo>
                    <a:pt x="306476" y="21226"/>
                    <a:pt x="305975" y="22145"/>
                    <a:pt x="305473" y="23065"/>
                  </a:cubicBezTo>
                  <a:cubicBezTo>
                    <a:pt x="305139" y="23616"/>
                    <a:pt x="304971" y="24352"/>
                    <a:pt x="304805" y="24904"/>
                  </a:cubicBezTo>
                  <a:cubicBezTo>
                    <a:pt x="304470" y="25823"/>
                    <a:pt x="304303" y="26743"/>
                    <a:pt x="304135" y="27662"/>
                  </a:cubicBezTo>
                  <a:cubicBezTo>
                    <a:pt x="303634" y="29133"/>
                    <a:pt x="303468" y="30605"/>
                    <a:pt x="303468" y="32444"/>
                  </a:cubicBezTo>
                  <a:cubicBezTo>
                    <a:pt x="303468" y="33915"/>
                    <a:pt x="303634" y="35570"/>
                    <a:pt x="304135" y="37409"/>
                  </a:cubicBezTo>
                  <a:cubicBezTo>
                    <a:pt x="304470" y="38328"/>
                    <a:pt x="304637" y="39063"/>
                    <a:pt x="304971" y="39983"/>
                  </a:cubicBezTo>
                  <a:cubicBezTo>
                    <a:pt x="305307" y="41087"/>
                    <a:pt x="305808" y="42006"/>
                    <a:pt x="306476" y="42925"/>
                  </a:cubicBezTo>
                  <a:cubicBezTo>
                    <a:pt x="307145" y="44029"/>
                    <a:pt x="307981" y="44948"/>
                    <a:pt x="308817" y="45868"/>
                  </a:cubicBezTo>
                  <a:cubicBezTo>
                    <a:pt x="309653" y="46603"/>
                    <a:pt x="310656" y="47339"/>
                    <a:pt x="311826" y="47706"/>
                  </a:cubicBezTo>
                  <a:cubicBezTo>
                    <a:pt x="314835" y="48810"/>
                    <a:pt x="317677" y="48258"/>
                    <a:pt x="320185" y="46052"/>
                  </a:cubicBezTo>
                  <a:cubicBezTo>
                    <a:pt x="321021" y="45316"/>
                    <a:pt x="321690" y="44581"/>
                    <a:pt x="322358" y="43661"/>
                  </a:cubicBezTo>
                  <a:cubicBezTo>
                    <a:pt x="323027" y="42741"/>
                    <a:pt x="323528" y="41822"/>
                    <a:pt x="324030" y="40719"/>
                  </a:cubicBezTo>
                  <a:cubicBezTo>
                    <a:pt x="324197" y="40167"/>
                    <a:pt x="324365" y="39616"/>
                    <a:pt x="324698" y="39248"/>
                  </a:cubicBezTo>
                  <a:cubicBezTo>
                    <a:pt x="325034" y="38328"/>
                    <a:pt x="325368" y="37409"/>
                    <a:pt x="325535" y="36305"/>
                  </a:cubicBezTo>
                  <a:cubicBezTo>
                    <a:pt x="326036" y="33179"/>
                    <a:pt x="326036" y="30053"/>
                    <a:pt x="325200" y="26926"/>
                  </a:cubicBezTo>
                  <a:cubicBezTo>
                    <a:pt x="325034" y="26191"/>
                    <a:pt x="324866" y="25455"/>
                    <a:pt x="324532" y="24904"/>
                  </a:cubicBezTo>
                  <a:cubicBezTo>
                    <a:pt x="324197" y="24169"/>
                    <a:pt x="324030" y="23433"/>
                    <a:pt x="323696" y="22881"/>
                  </a:cubicBezTo>
                  <a:cubicBezTo>
                    <a:pt x="323195" y="22145"/>
                    <a:pt x="322860" y="21226"/>
                    <a:pt x="322191" y="20490"/>
                  </a:cubicBezTo>
                  <a:cubicBezTo>
                    <a:pt x="321523" y="19571"/>
                    <a:pt x="320686" y="18651"/>
                    <a:pt x="319684" y="17916"/>
                  </a:cubicBezTo>
                  <a:cubicBezTo>
                    <a:pt x="318847" y="17364"/>
                    <a:pt x="318012" y="16812"/>
                    <a:pt x="317009" y="16445"/>
                  </a:cubicBezTo>
                  <a:close/>
                  <a:moveTo>
                    <a:pt x="2887320" y="16444"/>
                  </a:moveTo>
                  <a:cubicBezTo>
                    <a:pt x="2884478" y="15525"/>
                    <a:pt x="2881803" y="16261"/>
                    <a:pt x="2879462" y="18100"/>
                  </a:cubicBezTo>
                  <a:cubicBezTo>
                    <a:pt x="2878626" y="18835"/>
                    <a:pt x="2877958" y="19571"/>
                    <a:pt x="2877289" y="20490"/>
                  </a:cubicBezTo>
                  <a:cubicBezTo>
                    <a:pt x="2876787" y="21226"/>
                    <a:pt x="2876286" y="22145"/>
                    <a:pt x="2875785" y="23065"/>
                  </a:cubicBezTo>
                  <a:cubicBezTo>
                    <a:pt x="2875450" y="23616"/>
                    <a:pt x="2875283" y="24352"/>
                    <a:pt x="2875116" y="24904"/>
                  </a:cubicBezTo>
                  <a:cubicBezTo>
                    <a:pt x="2874782" y="25823"/>
                    <a:pt x="2874614" y="26743"/>
                    <a:pt x="2874447" y="27662"/>
                  </a:cubicBezTo>
                  <a:cubicBezTo>
                    <a:pt x="2873946" y="29133"/>
                    <a:pt x="2873778" y="30605"/>
                    <a:pt x="2873778" y="32443"/>
                  </a:cubicBezTo>
                  <a:cubicBezTo>
                    <a:pt x="2873778" y="33914"/>
                    <a:pt x="2873946" y="35570"/>
                    <a:pt x="2874447" y="37409"/>
                  </a:cubicBezTo>
                  <a:cubicBezTo>
                    <a:pt x="2874782" y="38328"/>
                    <a:pt x="2874949" y="39063"/>
                    <a:pt x="2875283" y="39983"/>
                  </a:cubicBezTo>
                  <a:cubicBezTo>
                    <a:pt x="2875618" y="41086"/>
                    <a:pt x="2876119" y="42006"/>
                    <a:pt x="2876787" y="42925"/>
                  </a:cubicBezTo>
                  <a:cubicBezTo>
                    <a:pt x="2877457" y="44028"/>
                    <a:pt x="2878293" y="44948"/>
                    <a:pt x="2879128" y="45867"/>
                  </a:cubicBezTo>
                  <a:cubicBezTo>
                    <a:pt x="2879964" y="46603"/>
                    <a:pt x="2880967" y="47338"/>
                    <a:pt x="2882137" y="47706"/>
                  </a:cubicBezTo>
                  <a:cubicBezTo>
                    <a:pt x="2885147" y="48810"/>
                    <a:pt x="2887988" y="48258"/>
                    <a:pt x="2890496" y="46051"/>
                  </a:cubicBezTo>
                  <a:cubicBezTo>
                    <a:pt x="2891333" y="45316"/>
                    <a:pt x="2892001" y="44580"/>
                    <a:pt x="2892670" y="43661"/>
                  </a:cubicBezTo>
                  <a:cubicBezTo>
                    <a:pt x="2893338" y="42741"/>
                    <a:pt x="2893840" y="41822"/>
                    <a:pt x="2894342" y="40719"/>
                  </a:cubicBezTo>
                  <a:cubicBezTo>
                    <a:pt x="2894509" y="40167"/>
                    <a:pt x="2894676" y="39615"/>
                    <a:pt x="2895010" y="39248"/>
                  </a:cubicBezTo>
                  <a:cubicBezTo>
                    <a:pt x="2895345" y="38328"/>
                    <a:pt x="2895679" y="37409"/>
                    <a:pt x="2895846" y="36305"/>
                  </a:cubicBezTo>
                  <a:cubicBezTo>
                    <a:pt x="2896348" y="33179"/>
                    <a:pt x="2896348" y="30053"/>
                    <a:pt x="2895512" y="26926"/>
                  </a:cubicBezTo>
                  <a:cubicBezTo>
                    <a:pt x="2895345" y="26191"/>
                    <a:pt x="2895177" y="25455"/>
                    <a:pt x="2894843" y="24904"/>
                  </a:cubicBezTo>
                  <a:cubicBezTo>
                    <a:pt x="2894509" y="24168"/>
                    <a:pt x="2894342" y="23433"/>
                    <a:pt x="2894007" y="22881"/>
                  </a:cubicBezTo>
                  <a:cubicBezTo>
                    <a:pt x="2893506" y="22145"/>
                    <a:pt x="2893171" y="21226"/>
                    <a:pt x="2892502" y="20490"/>
                  </a:cubicBezTo>
                  <a:cubicBezTo>
                    <a:pt x="2891834" y="19571"/>
                    <a:pt x="2890998" y="18651"/>
                    <a:pt x="2889995" y="17915"/>
                  </a:cubicBezTo>
                  <a:cubicBezTo>
                    <a:pt x="2889159" y="17364"/>
                    <a:pt x="2888323" y="16812"/>
                    <a:pt x="2887320" y="16444"/>
                  </a:cubicBezTo>
                  <a:close/>
                  <a:moveTo>
                    <a:pt x="2764477" y="16444"/>
                  </a:moveTo>
                  <a:cubicBezTo>
                    <a:pt x="2761635" y="15525"/>
                    <a:pt x="2758960" y="16261"/>
                    <a:pt x="2756619" y="18100"/>
                  </a:cubicBezTo>
                  <a:cubicBezTo>
                    <a:pt x="2755783" y="18835"/>
                    <a:pt x="2755115" y="19571"/>
                    <a:pt x="2754446" y="20490"/>
                  </a:cubicBezTo>
                  <a:cubicBezTo>
                    <a:pt x="2753944" y="21226"/>
                    <a:pt x="2753443" y="22145"/>
                    <a:pt x="2752942" y="23065"/>
                  </a:cubicBezTo>
                  <a:cubicBezTo>
                    <a:pt x="2752607" y="23616"/>
                    <a:pt x="2752440" y="24352"/>
                    <a:pt x="2752273" y="24904"/>
                  </a:cubicBezTo>
                  <a:cubicBezTo>
                    <a:pt x="2751939" y="25823"/>
                    <a:pt x="2751771" y="26743"/>
                    <a:pt x="2751604" y="27662"/>
                  </a:cubicBezTo>
                  <a:cubicBezTo>
                    <a:pt x="2751103" y="29133"/>
                    <a:pt x="2750936" y="30605"/>
                    <a:pt x="2750936" y="32443"/>
                  </a:cubicBezTo>
                  <a:cubicBezTo>
                    <a:pt x="2750936" y="33914"/>
                    <a:pt x="2751103" y="35570"/>
                    <a:pt x="2751604" y="37409"/>
                  </a:cubicBezTo>
                  <a:cubicBezTo>
                    <a:pt x="2751939" y="38328"/>
                    <a:pt x="2752106" y="39063"/>
                    <a:pt x="2752440" y="39983"/>
                  </a:cubicBezTo>
                  <a:cubicBezTo>
                    <a:pt x="2752775" y="41086"/>
                    <a:pt x="2753276" y="42006"/>
                    <a:pt x="2753944" y="42925"/>
                  </a:cubicBezTo>
                  <a:cubicBezTo>
                    <a:pt x="2754614" y="44028"/>
                    <a:pt x="2755450" y="44948"/>
                    <a:pt x="2756285" y="45867"/>
                  </a:cubicBezTo>
                  <a:cubicBezTo>
                    <a:pt x="2757121" y="46603"/>
                    <a:pt x="2758124" y="47338"/>
                    <a:pt x="2759294" y="47706"/>
                  </a:cubicBezTo>
                  <a:cubicBezTo>
                    <a:pt x="2762304" y="48810"/>
                    <a:pt x="2765145" y="48258"/>
                    <a:pt x="2767653" y="46051"/>
                  </a:cubicBezTo>
                  <a:cubicBezTo>
                    <a:pt x="2768490" y="45316"/>
                    <a:pt x="2769158" y="44580"/>
                    <a:pt x="2769827" y="43661"/>
                  </a:cubicBezTo>
                  <a:cubicBezTo>
                    <a:pt x="2770495" y="42741"/>
                    <a:pt x="2770997" y="41822"/>
                    <a:pt x="2771499" y="40719"/>
                  </a:cubicBezTo>
                  <a:cubicBezTo>
                    <a:pt x="2771666" y="40167"/>
                    <a:pt x="2771833" y="39615"/>
                    <a:pt x="2772167" y="39248"/>
                  </a:cubicBezTo>
                  <a:cubicBezTo>
                    <a:pt x="2772502" y="38328"/>
                    <a:pt x="2772836" y="37409"/>
                    <a:pt x="2773003" y="36305"/>
                  </a:cubicBezTo>
                  <a:cubicBezTo>
                    <a:pt x="2773505" y="33179"/>
                    <a:pt x="2773505" y="30053"/>
                    <a:pt x="2772669" y="26926"/>
                  </a:cubicBezTo>
                  <a:cubicBezTo>
                    <a:pt x="2772502" y="26191"/>
                    <a:pt x="2772334" y="25455"/>
                    <a:pt x="2772000" y="24904"/>
                  </a:cubicBezTo>
                  <a:cubicBezTo>
                    <a:pt x="2771666" y="24168"/>
                    <a:pt x="2771499" y="23433"/>
                    <a:pt x="2771164" y="22881"/>
                  </a:cubicBezTo>
                  <a:cubicBezTo>
                    <a:pt x="2770663" y="22145"/>
                    <a:pt x="2770328" y="21226"/>
                    <a:pt x="2769659" y="20490"/>
                  </a:cubicBezTo>
                  <a:cubicBezTo>
                    <a:pt x="2768991" y="19571"/>
                    <a:pt x="2768155" y="18651"/>
                    <a:pt x="2767152" y="17915"/>
                  </a:cubicBezTo>
                  <a:cubicBezTo>
                    <a:pt x="2766316" y="17364"/>
                    <a:pt x="2765480" y="16812"/>
                    <a:pt x="2764477" y="16444"/>
                  </a:cubicBezTo>
                  <a:close/>
                  <a:moveTo>
                    <a:pt x="2600535" y="16444"/>
                  </a:moveTo>
                  <a:cubicBezTo>
                    <a:pt x="2597693" y="15525"/>
                    <a:pt x="2595019" y="16261"/>
                    <a:pt x="2592678" y="18100"/>
                  </a:cubicBezTo>
                  <a:cubicBezTo>
                    <a:pt x="2591842" y="18835"/>
                    <a:pt x="2591173" y="19571"/>
                    <a:pt x="2590505" y="20490"/>
                  </a:cubicBezTo>
                  <a:cubicBezTo>
                    <a:pt x="2590003" y="21226"/>
                    <a:pt x="2589501" y="22145"/>
                    <a:pt x="2589000" y="23065"/>
                  </a:cubicBezTo>
                  <a:cubicBezTo>
                    <a:pt x="2588665" y="23616"/>
                    <a:pt x="2588498" y="24352"/>
                    <a:pt x="2588331" y="24904"/>
                  </a:cubicBezTo>
                  <a:cubicBezTo>
                    <a:pt x="2587997" y="25823"/>
                    <a:pt x="2587830" y="26743"/>
                    <a:pt x="2587662" y="27662"/>
                  </a:cubicBezTo>
                  <a:cubicBezTo>
                    <a:pt x="2587161" y="29133"/>
                    <a:pt x="2586994" y="30605"/>
                    <a:pt x="2586994" y="32443"/>
                  </a:cubicBezTo>
                  <a:cubicBezTo>
                    <a:pt x="2586994" y="33914"/>
                    <a:pt x="2587161" y="35570"/>
                    <a:pt x="2587662" y="37409"/>
                  </a:cubicBezTo>
                  <a:cubicBezTo>
                    <a:pt x="2587997" y="38328"/>
                    <a:pt x="2588164" y="39063"/>
                    <a:pt x="2588498" y="39983"/>
                  </a:cubicBezTo>
                  <a:cubicBezTo>
                    <a:pt x="2588833" y="41086"/>
                    <a:pt x="2589334" y="42006"/>
                    <a:pt x="2590003" y="42925"/>
                  </a:cubicBezTo>
                  <a:cubicBezTo>
                    <a:pt x="2590672" y="44028"/>
                    <a:pt x="2591508" y="44948"/>
                    <a:pt x="2592344" y="45867"/>
                  </a:cubicBezTo>
                  <a:cubicBezTo>
                    <a:pt x="2593179" y="46603"/>
                    <a:pt x="2594183" y="47338"/>
                    <a:pt x="2595352" y="47706"/>
                  </a:cubicBezTo>
                  <a:cubicBezTo>
                    <a:pt x="2598362" y="48810"/>
                    <a:pt x="2601204" y="48258"/>
                    <a:pt x="2603711" y="46051"/>
                  </a:cubicBezTo>
                  <a:cubicBezTo>
                    <a:pt x="2604548" y="45316"/>
                    <a:pt x="2605216" y="44580"/>
                    <a:pt x="2605885" y="43661"/>
                  </a:cubicBezTo>
                  <a:cubicBezTo>
                    <a:pt x="2606554" y="42741"/>
                    <a:pt x="2607055" y="41822"/>
                    <a:pt x="2607557" y="40719"/>
                  </a:cubicBezTo>
                  <a:cubicBezTo>
                    <a:pt x="2607724" y="40167"/>
                    <a:pt x="2607891" y="39615"/>
                    <a:pt x="2608225" y="39248"/>
                  </a:cubicBezTo>
                  <a:cubicBezTo>
                    <a:pt x="2608560" y="38328"/>
                    <a:pt x="2608894" y="37409"/>
                    <a:pt x="2609061" y="36305"/>
                  </a:cubicBezTo>
                  <a:cubicBezTo>
                    <a:pt x="2609563" y="33179"/>
                    <a:pt x="2609563" y="30053"/>
                    <a:pt x="2608727" y="26926"/>
                  </a:cubicBezTo>
                  <a:cubicBezTo>
                    <a:pt x="2608560" y="26191"/>
                    <a:pt x="2608393" y="25455"/>
                    <a:pt x="2608058" y="24904"/>
                  </a:cubicBezTo>
                  <a:cubicBezTo>
                    <a:pt x="2607724" y="24168"/>
                    <a:pt x="2607557" y="23433"/>
                    <a:pt x="2607222" y="22881"/>
                  </a:cubicBezTo>
                  <a:cubicBezTo>
                    <a:pt x="2606721" y="22145"/>
                    <a:pt x="2606386" y="21226"/>
                    <a:pt x="2605718" y="20490"/>
                  </a:cubicBezTo>
                  <a:cubicBezTo>
                    <a:pt x="2605049" y="19571"/>
                    <a:pt x="2604213" y="18651"/>
                    <a:pt x="2603210" y="17915"/>
                  </a:cubicBezTo>
                  <a:cubicBezTo>
                    <a:pt x="2602374" y="17364"/>
                    <a:pt x="2601538" y="16812"/>
                    <a:pt x="2600535" y="16444"/>
                  </a:cubicBezTo>
                  <a:close/>
                  <a:moveTo>
                    <a:pt x="2477692" y="16444"/>
                  </a:moveTo>
                  <a:cubicBezTo>
                    <a:pt x="2474850" y="15525"/>
                    <a:pt x="2472176" y="16261"/>
                    <a:pt x="2469835" y="18100"/>
                  </a:cubicBezTo>
                  <a:cubicBezTo>
                    <a:pt x="2468999" y="18835"/>
                    <a:pt x="2468330" y="19571"/>
                    <a:pt x="2467662" y="20490"/>
                  </a:cubicBezTo>
                  <a:cubicBezTo>
                    <a:pt x="2467160" y="21226"/>
                    <a:pt x="2466658" y="22145"/>
                    <a:pt x="2466157" y="23065"/>
                  </a:cubicBezTo>
                  <a:cubicBezTo>
                    <a:pt x="2465822" y="23616"/>
                    <a:pt x="2465655" y="24352"/>
                    <a:pt x="2465488" y="24904"/>
                  </a:cubicBezTo>
                  <a:cubicBezTo>
                    <a:pt x="2465154" y="25823"/>
                    <a:pt x="2464987" y="26743"/>
                    <a:pt x="2464819" y="27662"/>
                  </a:cubicBezTo>
                  <a:cubicBezTo>
                    <a:pt x="2464318" y="29133"/>
                    <a:pt x="2464151" y="30605"/>
                    <a:pt x="2464151" y="32443"/>
                  </a:cubicBezTo>
                  <a:cubicBezTo>
                    <a:pt x="2464151" y="33914"/>
                    <a:pt x="2464318" y="35570"/>
                    <a:pt x="2464819" y="37409"/>
                  </a:cubicBezTo>
                  <a:cubicBezTo>
                    <a:pt x="2465154" y="38328"/>
                    <a:pt x="2465321" y="39063"/>
                    <a:pt x="2465655" y="39983"/>
                  </a:cubicBezTo>
                  <a:cubicBezTo>
                    <a:pt x="2465990" y="41086"/>
                    <a:pt x="2466491" y="42006"/>
                    <a:pt x="2467160" y="42925"/>
                  </a:cubicBezTo>
                  <a:cubicBezTo>
                    <a:pt x="2467829" y="44028"/>
                    <a:pt x="2468665" y="44948"/>
                    <a:pt x="2469501" y="45867"/>
                  </a:cubicBezTo>
                  <a:cubicBezTo>
                    <a:pt x="2470336" y="46603"/>
                    <a:pt x="2471340" y="47338"/>
                    <a:pt x="2472510" y="47706"/>
                  </a:cubicBezTo>
                  <a:cubicBezTo>
                    <a:pt x="2475519" y="48810"/>
                    <a:pt x="2478361" y="48258"/>
                    <a:pt x="2480868" y="46051"/>
                  </a:cubicBezTo>
                  <a:cubicBezTo>
                    <a:pt x="2481705" y="45316"/>
                    <a:pt x="2482373" y="44580"/>
                    <a:pt x="2483042" y="43661"/>
                  </a:cubicBezTo>
                  <a:cubicBezTo>
                    <a:pt x="2483711" y="42741"/>
                    <a:pt x="2484212" y="41822"/>
                    <a:pt x="2484714" y="40719"/>
                  </a:cubicBezTo>
                  <a:cubicBezTo>
                    <a:pt x="2484881" y="40167"/>
                    <a:pt x="2485048" y="39615"/>
                    <a:pt x="2485382" y="39248"/>
                  </a:cubicBezTo>
                  <a:cubicBezTo>
                    <a:pt x="2485717" y="38328"/>
                    <a:pt x="2486051" y="37409"/>
                    <a:pt x="2486218" y="36305"/>
                  </a:cubicBezTo>
                  <a:cubicBezTo>
                    <a:pt x="2486720" y="33179"/>
                    <a:pt x="2486720" y="30053"/>
                    <a:pt x="2485884" y="26926"/>
                  </a:cubicBezTo>
                  <a:cubicBezTo>
                    <a:pt x="2485717" y="26191"/>
                    <a:pt x="2485550" y="25455"/>
                    <a:pt x="2485215" y="24904"/>
                  </a:cubicBezTo>
                  <a:cubicBezTo>
                    <a:pt x="2484881" y="24168"/>
                    <a:pt x="2484714" y="23433"/>
                    <a:pt x="2484379" y="22881"/>
                  </a:cubicBezTo>
                  <a:cubicBezTo>
                    <a:pt x="2483878" y="22145"/>
                    <a:pt x="2483543" y="21226"/>
                    <a:pt x="2482875" y="20490"/>
                  </a:cubicBezTo>
                  <a:cubicBezTo>
                    <a:pt x="2482206" y="19571"/>
                    <a:pt x="2481370" y="18651"/>
                    <a:pt x="2480367" y="17915"/>
                  </a:cubicBezTo>
                  <a:cubicBezTo>
                    <a:pt x="2479531" y="17364"/>
                    <a:pt x="2478695" y="16812"/>
                    <a:pt x="2477692" y="16444"/>
                  </a:cubicBezTo>
                  <a:close/>
                  <a:moveTo>
                    <a:pt x="2354849" y="16444"/>
                  </a:moveTo>
                  <a:cubicBezTo>
                    <a:pt x="2352008" y="15525"/>
                    <a:pt x="2349333" y="16261"/>
                    <a:pt x="2346992" y="18100"/>
                  </a:cubicBezTo>
                  <a:cubicBezTo>
                    <a:pt x="2346156" y="18835"/>
                    <a:pt x="2345487" y="19571"/>
                    <a:pt x="2344819" y="20490"/>
                  </a:cubicBezTo>
                  <a:cubicBezTo>
                    <a:pt x="2344317" y="21226"/>
                    <a:pt x="2343815" y="22145"/>
                    <a:pt x="2343314" y="23065"/>
                  </a:cubicBezTo>
                  <a:cubicBezTo>
                    <a:pt x="2342980" y="23616"/>
                    <a:pt x="2342812" y="24352"/>
                    <a:pt x="2342645" y="24904"/>
                  </a:cubicBezTo>
                  <a:cubicBezTo>
                    <a:pt x="2342311" y="25823"/>
                    <a:pt x="2342144" y="26743"/>
                    <a:pt x="2341976" y="27662"/>
                  </a:cubicBezTo>
                  <a:cubicBezTo>
                    <a:pt x="2341475" y="29133"/>
                    <a:pt x="2341308" y="30605"/>
                    <a:pt x="2341308" y="32443"/>
                  </a:cubicBezTo>
                  <a:cubicBezTo>
                    <a:pt x="2341308" y="33914"/>
                    <a:pt x="2341475" y="35570"/>
                    <a:pt x="2341976" y="37409"/>
                  </a:cubicBezTo>
                  <a:cubicBezTo>
                    <a:pt x="2342311" y="38328"/>
                    <a:pt x="2342478" y="39063"/>
                    <a:pt x="2342812" y="39983"/>
                  </a:cubicBezTo>
                  <a:cubicBezTo>
                    <a:pt x="2343147" y="41086"/>
                    <a:pt x="2343648" y="42006"/>
                    <a:pt x="2344317" y="42925"/>
                  </a:cubicBezTo>
                  <a:cubicBezTo>
                    <a:pt x="2344986" y="44028"/>
                    <a:pt x="2345822" y="44948"/>
                    <a:pt x="2346658" y="45867"/>
                  </a:cubicBezTo>
                  <a:cubicBezTo>
                    <a:pt x="2347494" y="46603"/>
                    <a:pt x="2348497" y="47338"/>
                    <a:pt x="2349667" y="47706"/>
                  </a:cubicBezTo>
                  <a:cubicBezTo>
                    <a:pt x="2352676" y="48810"/>
                    <a:pt x="2355518" y="48258"/>
                    <a:pt x="2358025" y="46051"/>
                  </a:cubicBezTo>
                  <a:cubicBezTo>
                    <a:pt x="2358862" y="45316"/>
                    <a:pt x="2359530" y="44580"/>
                    <a:pt x="2360199" y="43661"/>
                  </a:cubicBezTo>
                  <a:cubicBezTo>
                    <a:pt x="2360868" y="42741"/>
                    <a:pt x="2361370" y="41822"/>
                    <a:pt x="2361871" y="40719"/>
                  </a:cubicBezTo>
                  <a:cubicBezTo>
                    <a:pt x="2362038" y="40167"/>
                    <a:pt x="2362205" y="39615"/>
                    <a:pt x="2362539" y="39248"/>
                  </a:cubicBezTo>
                  <a:cubicBezTo>
                    <a:pt x="2362874" y="38328"/>
                    <a:pt x="2363208" y="37409"/>
                    <a:pt x="2363375" y="36305"/>
                  </a:cubicBezTo>
                  <a:cubicBezTo>
                    <a:pt x="2363877" y="33179"/>
                    <a:pt x="2363877" y="30053"/>
                    <a:pt x="2363041" y="26926"/>
                  </a:cubicBezTo>
                  <a:cubicBezTo>
                    <a:pt x="2362874" y="26191"/>
                    <a:pt x="2362707" y="25455"/>
                    <a:pt x="2362372" y="24904"/>
                  </a:cubicBezTo>
                  <a:cubicBezTo>
                    <a:pt x="2362038" y="24168"/>
                    <a:pt x="2361871" y="23433"/>
                    <a:pt x="2361536" y="22881"/>
                  </a:cubicBezTo>
                  <a:cubicBezTo>
                    <a:pt x="2361035" y="22145"/>
                    <a:pt x="2360700" y="21226"/>
                    <a:pt x="2360032" y="20490"/>
                  </a:cubicBezTo>
                  <a:cubicBezTo>
                    <a:pt x="2359363" y="19571"/>
                    <a:pt x="2358527" y="18651"/>
                    <a:pt x="2357524" y="17915"/>
                  </a:cubicBezTo>
                  <a:cubicBezTo>
                    <a:pt x="2356688" y="17364"/>
                    <a:pt x="2355852" y="16812"/>
                    <a:pt x="2354849" y="16444"/>
                  </a:cubicBezTo>
                  <a:close/>
                  <a:moveTo>
                    <a:pt x="2242155" y="16444"/>
                  </a:moveTo>
                  <a:cubicBezTo>
                    <a:pt x="2239314" y="15525"/>
                    <a:pt x="2236639" y="16261"/>
                    <a:pt x="2234298" y="18100"/>
                  </a:cubicBezTo>
                  <a:cubicBezTo>
                    <a:pt x="2233462" y="18835"/>
                    <a:pt x="2232793" y="19571"/>
                    <a:pt x="2232125" y="20490"/>
                  </a:cubicBezTo>
                  <a:cubicBezTo>
                    <a:pt x="2231623" y="21226"/>
                    <a:pt x="2231121" y="22145"/>
                    <a:pt x="2230620" y="23065"/>
                  </a:cubicBezTo>
                  <a:cubicBezTo>
                    <a:pt x="2230286" y="23616"/>
                    <a:pt x="2230118" y="24352"/>
                    <a:pt x="2229951" y="24904"/>
                  </a:cubicBezTo>
                  <a:cubicBezTo>
                    <a:pt x="2229617" y="25823"/>
                    <a:pt x="2229450" y="26743"/>
                    <a:pt x="2229282" y="27662"/>
                  </a:cubicBezTo>
                  <a:cubicBezTo>
                    <a:pt x="2228781" y="29133"/>
                    <a:pt x="2228614" y="30605"/>
                    <a:pt x="2228614" y="32443"/>
                  </a:cubicBezTo>
                  <a:cubicBezTo>
                    <a:pt x="2228614" y="33914"/>
                    <a:pt x="2228781" y="35570"/>
                    <a:pt x="2229282" y="37409"/>
                  </a:cubicBezTo>
                  <a:cubicBezTo>
                    <a:pt x="2229617" y="38328"/>
                    <a:pt x="2229784" y="39063"/>
                    <a:pt x="2230118" y="39983"/>
                  </a:cubicBezTo>
                  <a:cubicBezTo>
                    <a:pt x="2230453" y="41086"/>
                    <a:pt x="2230954" y="42006"/>
                    <a:pt x="2231623" y="42925"/>
                  </a:cubicBezTo>
                  <a:cubicBezTo>
                    <a:pt x="2232292" y="44028"/>
                    <a:pt x="2233128" y="44948"/>
                    <a:pt x="2233964" y="45867"/>
                  </a:cubicBezTo>
                  <a:cubicBezTo>
                    <a:pt x="2234800" y="46603"/>
                    <a:pt x="2235803" y="47338"/>
                    <a:pt x="2236973" y="47706"/>
                  </a:cubicBezTo>
                  <a:cubicBezTo>
                    <a:pt x="2239982" y="48810"/>
                    <a:pt x="2242824" y="48258"/>
                    <a:pt x="2245331" y="46051"/>
                  </a:cubicBezTo>
                  <a:cubicBezTo>
                    <a:pt x="2246168" y="45316"/>
                    <a:pt x="2246836" y="44580"/>
                    <a:pt x="2247505" y="43661"/>
                  </a:cubicBezTo>
                  <a:cubicBezTo>
                    <a:pt x="2248174" y="42741"/>
                    <a:pt x="2248676" y="41822"/>
                    <a:pt x="2249177" y="40719"/>
                  </a:cubicBezTo>
                  <a:cubicBezTo>
                    <a:pt x="2249344" y="40167"/>
                    <a:pt x="2249511" y="39615"/>
                    <a:pt x="2249845" y="39248"/>
                  </a:cubicBezTo>
                  <a:cubicBezTo>
                    <a:pt x="2250180" y="38328"/>
                    <a:pt x="2250514" y="37409"/>
                    <a:pt x="2250681" y="36305"/>
                  </a:cubicBezTo>
                  <a:cubicBezTo>
                    <a:pt x="2251183" y="33179"/>
                    <a:pt x="2251183" y="30053"/>
                    <a:pt x="2250347" y="26926"/>
                  </a:cubicBezTo>
                  <a:cubicBezTo>
                    <a:pt x="2250180" y="26191"/>
                    <a:pt x="2250013" y="25455"/>
                    <a:pt x="2249678" y="24904"/>
                  </a:cubicBezTo>
                  <a:cubicBezTo>
                    <a:pt x="2249344" y="24168"/>
                    <a:pt x="2249177" y="23433"/>
                    <a:pt x="2248842" y="22881"/>
                  </a:cubicBezTo>
                  <a:cubicBezTo>
                    <a:pt x="2248341" y="22145"/>
                    <a:pt x="2248006" y="21226"/>
                    <a:pt x="2247338" y="20490"/>
                  </a:cubicBezTo>
                  <a:cubicBezTo>
                    <a:pt x="2246669" y="19571"/>
                    <a:pt x="2245833" y="18651"/>
                    <a:pt x="2244830" y="17915"/>
                  </a:cubicBezTo>
                  <a:cubicBezTo>
                    <a:pt x="2243994" y="17364"/>
                    <a:pt x="2243158" y="16812"/>
                    <a:pt x="2242155" y="16444"/>
                  </a:cubicBezTo>
                  <a:close/>
                  <a:moveTo>
                    <a:pt x="2006668" y="16444"/>
                  </a:moveTo>
                  <a:cubicBezTo>
                    <a:pt x="2003826" y="15525"/>
                    <a:pt x="2001151" y="16261"/>
                    <a:pt x="1998810" y="18100"/>
                  </a:cubicBezTo>
                  <a:cubicBezTo>
                    <a:pt x="1997974" y="18835"/>
                    <a:pt x="1997306" y="19571"/>
                    <a:pt x="1996637" y="20490"/>
                  </a:cubicBezTo>
                  <a:cubicBezTo>
                    <a:pt x="1996136" y="21226"/>
                    <a:pt x="1995634" y="22145"/>
                    <a:pt x="1995133" y="23065"/>
                  </a:cubicBezTo>
                  <a:cubicBezTo>
                    <a:pt x="1994798" y="23616"/>
                    <a:pt x="1994631" y="24352"/>
                    <a:pt x="1994464" y="24904"/>
                  </a:cubicBezTo>
                  <a:cubicBezTo>
                    <a:pt x="1994130" y="25823"/>
                    <a:pt x="1993962" y="26743"/>
                    <a:pt x="1993795" y="27662"/>
                  </a:cubicBezTo>
                  <a:cubicBezTo>
                    <a:pt x="1993294" y="29133"/>
                    <a:pt x="1993126" y="30605"/>
                    <a:pt x="1993126" y="32443"/>
                  </a:cubicBezTo>
                  <a:cubicBezTo>
                    <a:pt x="1993126" y="33914"/>
                    <a:pt x="1993294" y="35570"/>
                    <a:pt x="1993795" y="37409"/>
                  </a:cubicBezTo>
                  <a:cubicBezTo>
                    <a:pt x="1994130" y="38328"/>
                    <a:pt x="1994297" y="39063"/>
                    <a:pt x="1994631" y="39983"/>
                  </a:cubicBezTo>
                  <a:cubicBezTo>
                    <a:pt x="1994965" y="41086"/>
                    <a:pt x="1995467" y="42006"/>
                    <a:pt x="1996136" y="42925"/>
                  </a:cubicBezTo>
                  <a:cubicBezTo>
                    <a:pt x="1996804" y="44028"/>
                    <a:pt x="1997640" y="44948"/>
                    <a:pt x="1998476" y="45867"/>
                  </a:cubicBezTo>
                  <a:cubicBezTo>
                    <a:pt x="1999312" y="46603"/>
                    <a:pt x="2000315" y="47338"/>
                    <a:pt x="2001485" y="47706"/>
                  </a:cubicBezTo>
                  <a:cubicBezTo>
                    <a:pt x="2004495" y="48810"/>
                    <a:pt x="2007337" y="48258"/>
                    <a:pt x="2009844" y="46051"/>
                  </a:cubicBezTo>
                  <a:cubicBezTo>
                    <a:pt x="2010680" y="45316"/>
                    <a:pt x="2011349" y="44580"/>
                    <a:pt x="2012018" y="43661"/>
                  </a:cubicBezTo>
                  <a:cubicBezTo>
                    <a:pt x="2012686" y="42741"/>
                    <a:pt x="2013188" y="41822"/>
                    <a:pt x="2013689" y="40719"/>
                  </a:cubicBezTo>
                  <a:cubicBezTo>
                    <a:pt x="2013857" y="40167"/>
                    <a:pt x="2014024" y="39615"/>
                    <a:pt x="2014358" y="39248"/>
                  </a:cubicBezTo>
                  <a:cubicBezTo>
                    <a:pt x="2014693" y="38328"/>
                    <a:pt x="2015027" y="37409"/>
                    <a:pt x="2015194" y="36305"/>
                  </a:cubicBezTo>
                  <a:cubicBezTo>
                    <a:pt x="2015696" y="33179"/>
                    <a:pt x="2015696" y="30053"/>
                    <a:pt x="2014860" y="26926"/>
                  </a:cubicBezTo>
                  <a:cubicBezTo>
                    <a:pt x="2014693" y="26191"/>
                    <a:pt x="2014525" y="25455"/>
                    <a:pt x="2014191" y="24904"/>
                  </a:cubicBezTo>
                  <a:cubicBezTo>
                    <a:pt x="2013857" y="24168"/>
                    <a:pt x="2013689" y="23433"/>
                    <a:pt x="2013355" y="22881"/>
                  </a:cubicBezTo>
                  <a:cubicBezTo>
                    <a:pt x="2012854" y="22145"/>
                    <a:pt x="2012519" y="21226"/>
                    <a:pt x="2011850" y="20490"/>
                  </a:cubicBezTo>
                  <a:cubicBezTo>
                    <a:pt x="2011182" y="19571"/>
                    <a:pt x="2010346" y="18651"/>
                    <a:pt x="2009343" y="17915"/>
                  </a:cubicBezTo>
                  <a:cubicBezTo>
                    <a:pt x="2008507" y="17364"/>
                    <a:pt x="2007671" y="16812"/>
                    <a:pt x="2006668" y="16444"/>
                  </a:cubicBezTo>
                  <a:close/>
                  <a:moveTo>
                    <a:pt x="1883825" y="16444"/>
                  </a:moveTo>
                  <a:cubicBezTo>
                    <a:pt x="1880983" y="15525"/>
                    <a:pt x="1878308" y="16261"/>
                    <a:pt x="1875967" y="18100"/>
                  </a:cubicBezTo>
                  <a:cubicBezTo>
                    <a:pt x="1875131" y="18835"/>
                    <a:pt x="1874463" y="19571"/>
                    <a:pt x="1873794" y="20490"/>
                  </a:cubicBezTo>
                  <a:cubicBezTo>
                    <a:pt x="1873293" y="21226"/>
                    <a:pt x="1872791" y="22145"/>
                    <a:pt x="1872290" y="23065"/>
                  </a:cubicBezTo>
                  <a:cubicBezTo>
                    <a:pt x="1871955" y="23616"/>
                    <a:pt x="1871788" y="24352"/>
                    <a:pt x="1871621" y="24904"/>
                  </a:cubicBezTo>
                  <a:cubicBezTo>
                    <a:pt x="1871287" y="25823"/>
                    <a:pt x="1871119" y="26743"/>
                    <a:pt x="1870952" y="27662"/>
                  </a:cubicBezTo>
                  <a:cubicBezTo>
                    <a:pt x="1870451" y="29133"/>
                    <a:pt x="1870283" y="30605"/>
                    <a:pt x="1870283" y="32443"/>
                  </a:cubicBezTo>
                  <a:cubicBezTo>
                    <a:pt x="1870283" y="33914"/>
                    <a:pt x="1870451" y="35570"/>
                    <a:pt x="1870952" y="37409"/>
                  </a:cubicBezTo>
                  <a:cubicBezTo>
                    <a:pt x="1871287" y="38328"/>
                    <a:pt x="1871454" y="39063"/>
                    <a:pt x="1871788" y="39983"/>
                  </a:cubicBezTo>
                  <a:cubicBezTo>
                    <a:pt x="1872122" y="41086"/>
                    <a:pt x="1872624" y="42006"/>
                    <a:pt x="1873293" y="42925"/>
                  </a:cubicBezTo>
                  <a:cubicBezTo>
                    <a:pt x="1873962" y="44028"/>
                    <a:pt x="1874797" y="44948"/>
                    <a:pt x="1875633" y="45867"/>
                  </a:cubicBezTo>
                  <a:cubicBezTo>
                    <a:pt x="1876469" y="46603"/>
                    <a:pt x="1877472" y="47338"/>
                    <a:pt x="1878642" y="47706"/>
                  </a:cubicBezTo>
                  <a:cubicBezTo>
                    <a:pt x="1881652" y="48810"/>
                    <a:pt x="1884494" y="48258"/>
                    <a:pt x="1887001" y="46051"/>
                  </a:cubicBezTo>
                  <a:cubicBezTo>
                    <a:pt x="1887838" y="45316"/>
                    <a:pt x="1888506" y="44580"/>
                    <a:pt x="1889175" y="43661"/>
                  </a:cubicBezTo>
                  <a:cubicBezTo>
                    <a:pt x="1889843" y="42741"/>
                    <a:pt x="1890345" y="41822"/>
                    <a:pt x="1890846" y="40719"/>
                  </a:cubicBezTo>
                  <a:cubicBezTo>
                    <a:pt x="1891014" y="40167"/>
                    <a:pt x="1891181" y="39615"/>
                    <a:pt x="1891515" y="39248"/>
                  </a:cubicBezTo>
                  <a:cubicBezTo>
                    <a:pt x="1891850" y="38328"/>
                    <a:pt x="1892184" y="37409"/>
                    <a:pt x="1892351" y="36305"/>
                  </a:cubicBezTo>
                  <a:cubicBezTo>
                    <a:pt x="1892853" y="33179"/>
                    <a:pt x="1892853" y="30053"/>
                    <a:pt x="1892017" y="26926"/>
                  </a:cubicBezTo>
                  <a:cubicBezTo>
                    <a:pt x="1891850" y="26191"/>
                    <a:pt x="1891682" y="25455"/>
                    <a:pt x="1891348" y="24904"/>
                  </a:cubicBezTo>
                  <a:cubicBezTo>
                    <a:pt x="1891014" y="24168"/>
                    <a:pt x="1890846" y="23433"/>
                    <a:pt x="1890512" y="22881"/>
                  </a:cubicBezTo>
                  <a:cubicBezTo>
                    <a:pt x="1890011" y="22145"/>
                    <a:pt x="1889676" y="21226"/>
                    <a:pt x="1889007" y="20490"/>
                  </a:cubicBezTo>
                  <a:cubicBezTo>
                    <a:pt x="1888339" y="19571"/>
                    <a:pt x="1887503" y="18651"/>
                    <a:pt x="1886500" y="17915"/>
                  </a:cubicBezTo>
                  <a:cubicBezTo>
                    <a:pt x="1885664" y="17364"/>
                    <a:pt x="1884828" y="16812"/>
                    <a:pt x="1883825" y="16444"/>
                  </a:cubicBezTo>
                  <a:close/>
                  <a:moveTo>
                    <a:pt x="1719884" y="16444"/>
                  </a:moveTo>
                  <a:cubicBezTo>
                    <a:pt x="1717041" y="15525"/>
                    <a:pt x="1714367" y="16261"/>
                    <a:pt x="1712026" y="18100"/>
                  </a:cubicBezTo>
                  <a:cubicBezTo>
                    <a:pt x="1711190" y="18835"/>
                    <a:pt x="1710522" y="19571"/>
                    <a:pt x="1709853" y="20490"/>
                  </a:cubicBezTo>
                  <a:cubicBezTo>
                    <a:pt x="1709351" y="21226"/>
                    <a:pt x="1708850" y="22145"/>
                    <a:pt x="1708349" y="23065"/>
                  </a:cubicBezTo>
                  <a:cubicBezTo>
                    <a:pt x="1708014" y="23616"/>
                    <a:pt x="1707847" y="24352"/>
                    <a:pt x="1707679" y="24904"/>
                  </a:cubicBezTo>
                  <a:cubicBezTo>
                    <a:pt x="1707345" y="25823"/>
                    <a:pt x="1707178" y="26743"/>
                    <a:pt x="1707011" y="27662"/>
                  </a:cubicBezTo>
                  <a:cubicBezTo>
                    <a:pt x="1706510" y="29133"/>
                    <a:pt x="1706342" y="30605"/>
                    <a:pt x="1706342" y="32443"/>
                  </a:cubicBezTo>
                  <a:cubicBezTo>
                    <a:pt x="1706342" y="33914"/>
                    <a:pt x="1706510" y="35570"/>
                    <a:pt x="1707011" y="37409"/>
                  </a:cubicBezTo>
                  <a:cubicBezTo>
                    <a:pt x="1707345" y="38328"/>
                    <a:pt x="1707513" y="39063"/>
                    <a:pt x="1707847" y="39983"/>
                  </a:cubicBezTo>
                  <a:cubicBezTo>
                    <a:pt x="1708181" y="41086"/>
                    <a:pt x="1708683" y="42006"/>
                    <a:pt x="1709351" y="42925"/>
                  </a:cubicBezTo>
                  <a:cubicBezTo>
                    <a:pt x="1710020" y="44028"/>
                    <a:pt x="1710856" y="44948"/>
                    <a:pt x="1711692" y="45867"/>
                  </a:cubicBezTo>
                  <a:cubicBezTo>
                    <a:pt x="1712528" y="46603"/>
                    <a:pt x="1713531" y="47338"/>
                    <a:pt x="1714701" y="47706"/>
                  </a:cubicBezTo>
                  <a:cubicBezTo>
                    <a:pt x="1717711" y="48810"/>
                    <a:pt x="1720552" y="48258"/>
                    <a:pt x="1723060" y="46051"/>
                  </a:cubicBezTo>
                  <a:cubicBezTo>
                    <a:pt x="1723896" y="45316"/>
                    <a:pt x="1724565" y="44580"/>
                    <a:pt x="1725234" y="43661"/>
                  </a:cubicBezTo>
                  <a:cubicBezTo>
                    <a:pt x="1725902" y="42741"/>
                    <a:pt x="1726403" y="41822"/>
                    <a:pt x="1726905" y="40719"/>
                  </a:cubicBezTo>
                  <a:cubicBezTo>
                    <a:pt x="1727073" y="40167"/>
                    <a:pt x="1727240" y="39615"/>
                    <a:pt x="1727574" y="39248"/>
                  </a:cubicBezTo>
                  <a:cubicBezTo>
                    <a:pt x="1727908" y="38328"/>
                    <a:pt x="1728242" y="37409"/>
                    <a:pt x="1728410" y="36305"/>
                  </a:cubicBezTo>
                  <a:cubicBezTo>
                    <a:pt x="1728912" y="33179"/>
                    <a:pt x="1728912" y="30053"/>
                    <a:pt x="1728075" y="26926"/>
                  </a:cubicBezTo>
                  <a:cubicBezTo>
                    <a:pt x="1727908" y="26191"/>
                    <a:pt x="1727741" y="25455"/>
                    <a:pt x="1727407" y="24904"/>
                  </a:cubicBezTo>
                  <a:cubicBezTo>
                    <a:pt x="1727073" y="24168"/>
                    <a:pt x="1726905" y="23433"/>
                    <a:pt x="1726571" y="22881"/>
                  </a:cubicBezTo>
                  <a:cubicBezTo>
                    <a:pt x="1726069" y="22145"/>
                    <a:pt x="1725735" y="21226"/>
                    <a:pt x="1725066" y="20490"/>
                  </a:cubicBezTo>
                  <a:cubicBezTo>
                    <a:pt x="1724398" y="19571"/>
                    <a:pt x="1723562" y="18651"/>
                    <a:pt x="1722559" y="17915"/>
                  </a:cubicBezTo>
                  <a:cubicBezTo>
                    <a:pt x="1721723" y="17364"/>
                    <a:pt x="1720887" y="16812"/>
                    <a:pt x="1719884" y="16444"/>
                  </a:cubicBezTo>
                  <a:close/>
                  <a:moveTo>
                    <a:pt x="1597041" y="16444"/>
                  </a:moveTo>
                  <a:cubicBezTo>
                    <a:pt x="1594198" y="15525"/>
                    <a:pt x="1591524" y="16261"/>
                    <a:pt x="1589183" y="18100"/>
                  </a:cubicBezTo>
                  <a:cubicBezTo>
                    <a:pt x="1588347" y="18835"/>
                    <a:pt x="1587679" y="19571"/>
                    <a:pt x="1587010" y="20490"/>
                  </a:cubicBezTo>
                  <a:cubicBezTo>
                    <a:pt x="1586508" y="21226"/>
                    <a:pt x="1586007" y="22145"/>
                    <a:pt x="1585506" y="23065"/>
                  </a:cubicBezTo>
                  <a:cubicBezTo>
                    <a:pt x="1585171" y="23616"/>
                    <a:pt x="1585004" y="24352"/>
                    <a:pt x="1584836" y="24904"/>
                  </a:cubicBezTo>
                  <a:cubicBezTo>
                    <a:pt x="1584502" y="25823"/>
                    <a:pt x="1584335" y="26743"/>
                    <a:pt x="1584168" y="27662"/>
                  </a:cubicBezTo>
                  <a:cubicBezTo>
                    <a:pt x="1583667" y="29133"/>
                    <a:pt x="1583499" y="30605"/>
                    <a:pt x="1583499" y="32443"/>
                  </a:cubicBezTo>
                  <a:cubicBezTo>
                    <a:pt x="1583499" y="33914"/>
                    <a:pt x="1583667" y="35570"/>
                    <a:pt x="1584168" y="37409"/>
                  </a:cubicBezTo>
                  <a:cubicBezTo>
                    <a:pt x="1584502" y="38328"/>
                    <a:pt x="1584670" y="39063"/>
                    <a:pt x="1585004" y="39983"/>
                  </a:cubicBezTo>
                  <a:cubicBezTo>
                    <a:pt x="1585338" y="41086"/>
                    <a:pt x="1585840" y="42006"/>
                    <a:pt x="1586508" y="42925"/>
                  </a:cubicBezTo>
                  <a:cubicBezTo>
                    <a:pt x="1587177" y="44028"/>
                    <a:pt x="1588013" y="44948"/>
                    <a:pt x="1588849" y="45867"/>
                  </a:cubicBezTo>
                  <a:cubicBezTo>
                    <a:pt x="1589685" y="46603"/>
                    <a:pt x="1590688" y="47338"/>
                    <a:pt x="1591858" y="47706"/>
                  </a:cubicBezTo>
                  <a:cubicBezTo>
                    <a:pt x="1594868" y="48810"/>
                    <a:pt x="1597709" y="48258"/>
                    <a:pt x="1600217" y="46051"/>
                  </a:cubicBezTo>
                  <a:cubicBezTo>
                    <a:pt x="1601053" y="45316"/>
                    <a:pt x="1601722" y="44580"/>
                    <a:pt x="1602391" y="43661"/>
                  </a:cubicBezTo>
                  <a:cubicBezTo>
                    <a:pt x="1603059" y="42741"/>
                    <a:pt x="1603560" y="41822"/>
                    <a:pt x="1604062" y="40719"/>
                  </a:cubicBezTo>
                  <a:cubicBezTo>
                    <a:pt x="1604230" y="40167"/>
                    <a:pt x="1604397" y="39615"/>
                    <a:pt x="1604731" y="39248"/>
                  </a:cubicBezTo>
                  <a:cubicBezTo>
                    <a:pt x="1605065" y="38328"/>
                    <a:pt x="1605399" y="37409"/>
                    <a:pt x="1605567" y="36305"/>
                  </a:cubicBezTo>
                  <a:cubicBezTo>
                    <a:pt x="1606069" y="33179"/>
                    <a:pt x="1606069" y="30053"/>
                    <a:pt x="1605232" y="26926"/>
                  </a:cubicBezTo>
                  <a:cubicBezTo>
                    <a:pt x="1605065" y="26191"/>
                    <a:pt x="1604898" y="25455"/>
                    <a:pt x="1604564" y="24904"/>
                  </a:cubicBezTo>
                  <a:cubicBezTo>
                    <a:pt x="1604230" y="24168"/>
                    <a:pt x="1604062" y="23433"/>
                    <a:pt x="1603728" y="22881"/>
                  </a:cubicBezTo>
                  <a:cubicBezTo>
                    <a:pt x="1603226" y="22145"/>
                    <a:pt x="1602892" y="21226"/>
                    <a:pt x="1602223" y="20490"/>
                  </a:cubicBezTo>
                  <a:cubicBezTo>
                    <a:pt x="1601555" y="19571"/>
                    <a:pt x="1600719" y="18651"/>
                    <a:pt x="1599716" y="17915"/>
                  </a:cubicBezTo>
                  <a:cubicBezTo>
                    <a:pt x="1598880" y="17364"/>
                    <a:pt x="1598044" y="16812"/>
                    <a:pt x="1597041" y="16444"/>
                  </a:cubicBezTo>
                  <a:close/>
                  <a:moveTo>
                    <a:pt x="1310306" y="16444"/>
                  </a:moveTo>
                  <a:cubicBezTo>
                    <a:pt x="1307465" y="15525"/>
                    <a:pt x="1304790" y="16261"/>
                    <a:pt x="1302449" y="18100"/>
                  </a:cubicBezTo>
                  <a:cubicBezTo>
                    <a:pt x="1301613" y="18835"/>
                    <a:pt x="1300944" y="19571"/>
                    <a:pt x="1300274" y="20490"/>
                  </a:cubicBezTo>
                  <a:cubicBezTo>
                    <a:pt x="1299773" y="21226"/>
                    <a:pt x="1299271" y="22145"/>
                    <a:pt x="1298771" y="23065"/>
                  </a:cubicBezTo>
                  <a:cubicBezTo>
                    <a:pt x="1298437" y="23616"/>
                    <a:pt x="1298269" y="24352"/>
                    <a:pt x="1298102" y="24904"/>
                  </a:cubicBezTo>
                  <a:cubicBezTo>
                    <a:pt x="1297767" y="25823"/>
                    <a:pt x="1297600" y="26743"/>
                    <a:pt x="1297433" y="27662"/>
                  </a:cubicBezTo>
                  <a:cubicBezTo>
                    <a:pt x="1296931" y="29133"/>
                    <a:pt x="1296763" y="30605"/>
                    <a:pt x="1296763" y="32443"/>
                  </a:cubicBezTo>
                  <a:cubicBezTo>
                    <a:pt x="1296763" y="33914"/>
                    <a:pt x="1296931" y="35570"/>
                    <a:pt x="1297433" y="37409"/>
                  </a:cubicBezTo>
                  <a:cubicBezTo>
                    <a:pt x="1297767" y="38328"/>
                    <a:pt x="1297935" y="39063"/>
                    <a:pt x="1298269" y="39983"/>
                  </a:cubicBezTo>
                  <a:cubicBezTo>
                    <a:pt x="1298604" y="41086"/>
                    <a:pt x="1299104" y="42006"/>
                    <a:pt x="1299773" y="42925"/>
                  </a:cubicBezTo>
                  <a:cubicBezTo>
                    <a:pt x="1300442" y="44028"/>
                    <a:pt x="1301279" y="44948"/>
                    <a:pt x="1302115" y="45867"/>
                  </a:cubicBezTo>
                  <a:cubicBezTo>
                    <a:pt x="1302951" y="46603"/>
                    <a:pt x="1303954" y="47338"/>
                    <a:pt x="1305124" y="47706"/>
                  </a:cubicBezTo>
                  <a:cubicBezTo>
                    <a:pt x="1308133" y="48810"/>
                    <a:pt x="1310975" y="48258"/>
                    <a:pt x="1313483" y="46051"/>
                  </a:cubicBezTo>
                  <a:cubicBezTo>
                    <a:pt x="1314319" y="45316"/>
                    <a:pt x="1314988" y="44580"/>
                    <a:pt x="1315656" y="43661"/>
                  </a:cubicBezTo>
                  <a:cubicBezTo>
                    <a:pt x="1316325" y="42741"/>
                    <a:pt x="1316827" y="41822"/>
                    <a:pt x="1317328" y="40719"/>
                  </a:cubicBezTo>
                  <a:cubicBezTo>
                    <a:pt x="1317495" y="40167"/>
                    <a:pt x="1317662" y="39615"/>
                    <a:pt x="1317996" y="39248"/>
                  </a:cubicBezTo>
                  <a:cubicBezTo>
                    <a:pt x="1318331" y="38328"/>
                    <a:pt x="1318666" y="37409"/>
                    <a:pt x="1318832" y="36305"/>
                  </a:cubicBezTo>
                  <a:cubicBezTo>
                    <a:pt x="1319334" y="33179"/>
                    <a:pt x="1319334" y="30053"/>
                    <a:pt x="1318498" y="26926"/>
                  </a:cubicBezTo>
                  <a:cubicBezTo>
                    <a:pt x="1318331" y="26191"/>
                    <a:pt x="1318164" y="25455"/>
                    <a:pt x="1317829" y="24904"/>
                  </a:cubicBezTo>
                  <a:cubicBezTo>
                    <a:pt x="1317495" y="24168"/>
                    <a:pt x="1317328" y="23433"/>
                    <a:pt x="1316994" y="22881"/>
                  </a:cubicBezTo>
                  <a:cubicBezTo>
                    <a:pt x="1316492" y="22145"/>
                    <a:pt x="1316157" y="21226"/>
                    <a:pt x="1315489" y="20490"/>
                  </a:cubicBezTo>
                  <a:cubicBezTo>
                    <a:pt x="1314820" y="19571"/>
                    <a:pt x="1313984" y="18651"/>
                    <a:pt x="1312981" y="17915"/>
                  </a:cubicBezTo>
                  <a:cubicBezTo>
                    <a:pt x="1312145" y="17364"/>
                    <a:pt x="1311309" y="16812"/>
                    <a:pt x="1310306" y="16444"/>
                  </a:cubicBezTo>
                  <a:close/>
                  <a:moveTo>
                    <a:pt x="1074817" y="16444"/>
                  </a:moveTo>
                  <a:cubicBezTo>
                    <a:pt x="1071977" y="15525"/>
                    <a:pt x="1069302" y="16261"/>
                    <a:pt x="1066961" y="18100"/>
                  </a:cubicBezTo>
                  <a:cubicBezTo>
                    <a:pt x="1066125" y="18835"/>
                    <a:pt x="1065456" y="19571"/>
                    <a:pt x="1064787" y="20490"/>
                  </a:cubicBezTo>
                  <a:cubicBezTo>
                    <a:pt x="1064286" y="21226"/>
                    <a:pt x="1063785" y="22145"/>
                    <a:pt x="1063284" y="23065"/>
                  </a:cubicBezTo>
                  <a:cubicBezTo>
                    <a:pt x="1062949" y="23616"/>
                    <a:pt x="1062781" y="24352"/>
                    <a:pt x="1062614" y="24904"/>
                  </a:cubicBezTo>
                  <a:cubicBezTo>
                    <a:pt x="1062279" y="25823"/>
                    <a:pt x="1062113" y="26743"/>
                    <a:pt x="1061945" y="27662"/>
                  </a:cubicBezTo>
                  <a:cubicBezTo>
                    <a:pt x="1061443" y="29133"/>
                    <a:pt x="1061276" y="30605"/>
                    <a:pt x="1061276" y="32443"/>
                  </a:cubicBezTo>
                  <a:cubicBezTo>
                    <a:pt x="1061276" y="33914"/>
                    <a:pt x="1061443" y="35570"/>
                    <a:pt x="1061945" y="37409"/>
                  </a:cubicBezTo>
                  <a:cubicBezTo>
                    <a:pt x="1062279" y="38328"/>
                    <a:pt x="1062447" y="39063"/>
                    <a:pt x="1062781" y="39983"/>
                  </a:cubicBezTo>
                  <a:cubicBezTo>
                    <a:pt x="1063116" y="41086"/>
                    <a:pt x="1063618" y="42006"/>
                    <a:pt x="1064286" y="42925"/>
                  </a:cubicBezTo>
                  <a:cubicBezTo>
                    <a:pt x="1064954" y="44028"/>
                    <a:pt x="1065791" y="44948"/>
                    <a:pt x="1066626" y="45867"/>
                  </a:cubicBezTo>
                  <a:cubicBezTo>
                    <a:pt x="1067462" y="46603"/>
                    <a:pt x="1068466" y="47338"/>
                    <a:pt x="1069635" y="47706"/>
                  </a:cubicBezTo>
                  <a:cubicBezTo>
                    <a:pt x="1072644" y="48810"/>
                    <a:pt x="1075487" y="48258"/>
                    <a:pt x="1077994" y="46051"/>
                  </a:cubicBezTo>
                  <a:cubicBezTo>
                    <a:pt x="1078830" y="45316"/>
                    <a:pt x="1079499" y="44580"/>
                    <a:pt x="1080169" y="43661"/>
                  </a:cubicBezTo>
                  <a:cubicBezTo>
                    <a:pt x="1080836" y="42741"/>
                    <a:pt x="1081338" y="41822"/>
                    <a:pt x="1081840" y="40719"/>
                  </a:cubicBezTo>
                  <a:cubicBezTo>
                    <a:pt x="1082007" y="40167"/>
                    <a:pt x="1082174" y="39615"/>
                    <a:pt x="1082510" y="39248"/>
                  </a:cubicBezTo>
                  <a:cubicBezTo>
                    <a:pt x="1082844" y="38328"/>
                    <a:pt x="1083177" y="37409"/>
                    <a:pt x="1083344" y="36305"/>
                  </a:cubicBezTo>
                  <a:cubicBezTo>
                    <a:pt x="1083845" y="33179"/>
                    <a:pt x="1083845" y="30053"/>
                    <a:pt x="1083010" y="26926"/>
                  </a:cubicBezTo>
                  <a:cubicBezTo>
                    <a:pt x="1082844" y="26191"/>
                    <a:pt x="1082676" y="25455"/>
                    <a:pt x="1082342" y="24904"/>
                  </a:cubicBezTo>
                  <a:cubicBezTo>
                    <a:pt x="1082007" y="24168"/>
                    <a:pt x="1081840" y="23433"/>
                    <a:pt x="1081505" y="22881"/>
                  </a:cubicBezTo>
                  <a:cubicBezTo>
                    <a:pt x="1081003" y="22145"/>
                    <a:pt x="1080669" y="21226"/>
                    <a:pt x="1080002" y="20490"/>
                  </a:cubicBezTo>
                  <a:cubicBezTo>
                    <a:pt x="1079333" y="19571"/>
                    <a:pt x="1078496" y="18651"/>
                    <a:pt x="1077492" y="17915"/>
                  </a:cubicBezTo>
                  <a:cubicBezTo>
                    <a:pt x="1076657" y="17364"/>
                    <a:pt x="1075821" y="16812"/>
                    <a:pt x="1074817" y="16444"/>
                  </a:cubicBezTo>
                  <a:close/>
                  <a:moveTo>
                    <a:pt x="951974" y="16444"/>
                  </a:moveTo>
                  <a:cubicBezTo>
                    <a:pt x="949133" y="15525"/>
                    <a:pt x="946458" y="16261"/>
                    <a:pt x="944118" y="18100"/>
                  </a:cubicBezTo>
                  <a:cubicBezTo>
                    <a:pt x="943282" y="18835"/>
                    <a:pt x="942613" y="19571"/>
                    <a:pt x="941945" y="20490"/>
                  </a:cubicBezTo>
                  <a:cubicBezTo>
                    <a:pt x="941443" y="21226"/>
                    <a:pt x="940941" y="22145"/>
                    <a:pt x="940439" y="23065"/>
                  </a:cubicBezTo>
                  <a:cubicBezTo>
                    <a:pt x="940106" y="23616"/>
                    <a:pt x="939938" y="24352"/>
                    <a:pt x="939771" y="24904"/>
                  </a:cubicBezTo>
                  <a:cubicBezTo>
                    <a:pt x="939436" y="25823"/>
                    <a:pt x="939270" y="26743"/>
                    <a:pt x="939102" y="27662"/>
                  </a:cubicBezTo>
                  <a:cubicBezTo>
                    <a:pt x="938600" y="29133"/>
                    <a:pt x="938434" y="30605"/>
                    <a:pt x="938434" y="32443"/>
                  </a:cubicBezTo>
                  <a:cubicBezTo>
                    <a:pt x="938434" y="33914"/>
                    <a:pt x="938600" y="35570"/>
                    <a:pt x="939102" y="37409"/>
                  </a:cubicBezTo>
                  <a:cubicBezTo>
                    <a:pt x="939436" y="38328"/>
                    <a:pt x="939604" y="39063"/>
                    <a:pt x="939938" y="39983"/>
                  </a:cubicBezTo>
                  <a:cubicBezTo>
                    <a:pt x="940272" y="41086"/>
                    <a:pt x="940773" y="42006"/>
                    <a:pt x="941443" y="42925"/>
                  </a:cubicBezTo>
                  <a:cubicBezTo>
                    <a:pt x="942111" y="44028"/>
                    <a:pt x="942947" y="44948"/>
                    <a:pt x="943783" y="45867"/>
                  </a:cubicBezTo>
                  <a:cubicBezTo>
                    <a:pt x="944620" y="46603"/>
                    <a:pt x="945623" y="47338"/>
                    <a:pt x="946792" y="47706"/>
                  </a:cubicBezTo>
                  <a:cubicBezTo>
                    <a:pt x="949801" y="48810"/>
                    <a:pt x="952644" y="48258"/>
                    <a:pt x="955151" y="46051"/>
                  </a:cubicBezTo>
                  <a:cubicBezTo>
                    <a:pt x="955988" y="45316"/>
                    <a:pt x="956657" y="44580"/>
                    <a:pt x="957324" y="43661"/>
                  </a:cubicBezTo>
                  <a:cubicBezTo>
                    <a:pt x="957993" y="42741"/>
                    <a:pt x="958496" y="41822"/>
                    <a:pt x="958998" y="40719"/>
                  </a:cubicBezTo>
                  <a:cubicBezTo>
                    <a:pt x="959165" y="40167"/>
                    <a:pt x="959332" y="39615"/>
                    <a:pt x="959665" y="39248"/>
                  </a:cubicBezTo>
                  <a:cubicBezTo>
                    <a:pt x="959999" y="38328"/>
                    <a:pt x="960334" y="37409"/>
                    <a:pt x="960501" y="36305"/>
                  </a:cubicBezTo>
                  <a:cubicBezTo>
                    <a:pt x="961003" y="33179"/>
                    <a:pt x="961003" y="30053"/>
                    <a:pt x="960167" y="26926"/>
                  </a:cubicBezTo>
                  <a:cubicBezTo>
                    <a:pt x="959999" y="26191"/>
                    <a:pt x="959832" y="25455"/>
                    <a:pt x="959497" y="24904"/>
                  </a:cubicBezTo>
                  <a:cubicBezTo>
                    <a:pt x="959165" y="24168"/>
                    <a:pt x="958998" y="23433"/>
                    <a:pt x="958662" y="22881"/>
                  </a:cubicBezTo>
                  <a:cubicBezTo>
                    <a:pt x="958160" y="22145"/>
                    <a:pt x="957826" y="21226"/>
                    <a:pt x="957157" y="20490"/>
                  </a:cubicBezTo>
                  <a:cubicBezTo>
                    <a:pt x="956490" y="19571"/>
                    <a:pt x="955653" y="18651"/>
                    <a:pt x="954649" y="17915"/>
                  </a:cubicBezTo>
                  <a:cubicBezTo>
                    <a:pt x="953815" y="17364"/>
                    <a:pt x="952978" y="16812"/>
                    <a:pt x="951974" y="16444"/>
                  </a:cubicBezTo>
                  <a:close/>
                  <a:moveTo>
                    <a:pt x="839281" y="16444"/>
                  </a:moveTo>
                  <a:cubicBezTo>
                    <a:pt x="836438" y="15525"/>
                    <a:pt x="833764" y="16261"/>
                    <a:pt x="831424" y="18100"/>
                  </a:cubicBezTo>
                  <a:cubicBezTo>
                    <a:pt x="830587" y="18835"/>
                    <a:pt x="829919" y="19571"/>
                    <a:pt x="829251" y="20490"/>
                  </a:cubicBezTo>
                  <a:cubicBezTo>
                    <a:pt x="828749" y="21226"/>
                    <a:pt x="828247" y="22145"/>
                    <a:pt x="827746" y="23065"/>
                  </a:cubicBezTo>
                  <a:cubicBezTo>
                    <a:pt x="827411" y="23616"/>
                    <a:pt x="827243" y="24352"/>
                    <a:pt x="827076" y="24904"/>
                  </a:cubicBezTo>
                  <a:cubicBezTo>
                    <a:pt x="826742" y="25823"/>
                    <a:pt x="826576" y="26743"/>
                    <a:pt x="826408" y="27662"/>
                  </a:cubicBezTo>
                  <a:cubicBezTo>
                    <a:pt x="825906" y="29133"/>
                    <a:pt x="825739" y="30605"/>
                    <a:pt x="825739" y="32443"/>
                  </a:cubicBezTo>
                  <a:cubicBezTo>
                    <a:pt x="825739" y="33914"/>
                    <a:pt x="825906" y="35570"/>
                    <a:pt x="826408" y="37409"/>
                  </a:cubicBezTo>
                  <a:cubicBezTo>
                    <a:pt x="826742" y="38328"/>
                    <a:pt x="826910" y="39063"/>
                    <a:pt x="827243" y="39983"/>
                  </a:cubicBezTo>
                  <a:cubicBezTo>
                    <a:pt x="827578" y="41086"/>
                    <a:pt x="828079" y="42006"/>
                    <a:pt x="828749" y="42925"/>
                  </a:cubicBezTo>
                  <a:cubicBezTo>
                    <a:pt x="829417" y="44028"/>
                    <a:pt x="830253" y="44948"/>
                    <a:pt x="831089" y="45867"/>
                  </a:cubicBezTo>
                  <a:cubicBezTo>
                    <a:pt x="831925" y="46603"/>
                    <a:pt x="832928" y="47338"/>
                    <a:pt x="834098" y="47706"/>
                  </a:cubicBezTo>
                  <a:cubicBezTo>
                    <a:pt x="837108" y="48810"/>
                    <a:pt x="839949" y="48258"/>
                    <a:pt x="842457" y="46051"/>
                  </a:cubicBezTo>
                  <a:cubicBezTo>
                    <a:pt x="843294" y="45316"/>
                    <a:pt x="843962" y="44580"/>
                    <a:pt x="844631" y="43661"/>
                  </a:cubicBezTo>
                  <a:cubicBezTo>
                    <a:pt x="845299" y="42741"/>
                    <a:pt x="845801" y="41822"/>
                    <a:pt x="846303" y="40719"/>
                  </a:cubicBezTo>
                  <a:cubicBezTo>
                    <a:pt x="846469" y="40167"/>
                    <a:pt x="846637" y="39615"/>
                    <a:pt x="846971" y="39248"/>
                  </a:cubicBezTo>
                  <a:cubicBezTo>
                    <a:pt x="847305" y="38328"/>
                    <a:pt x="847641" y="37409"/>
                    <a:pt x="847807" y="36305"/>
                  </a:cubicBezTo>
                  <a:cubicBezTo>
                    <a:pt x="848308" y="33179"/>
                    <a:pt x="848308" y="30053"/>
                    <a:pt x="847473" y="26926"/>
                  </a:cubicBezTo>
                  <a:cubicBezTo>
                    <a:pt x="847305" y="26191"/>
                    <a:pt x="847139" y="25455"/>
                    <a:pt x="846804" y="24904"/>
                  </a:cubicBezTo>
                  <a:cubicBezTo>
                    <a:pt x="846469" y="24168"/>
                    <a:pt x="846303" y="23433"/>
                    <a:pt x="845968" y="22881"/>
                  </a:cubicBezTo>
                  <a:cubicBezTo>
                    <a:pt x="845467" y="22145"/>
                    <a:pt x="845132" y="21226"/>
                    <a:pt x="844464" y="20490"/>
                  </a:cubicBezTo>
                  <a:cubicBezTo>
                    <a:pt x="843794" y="19571"/>
                    <a:pt x="842959" y="18651"/>
                    <a:pt x="841956" y="17915"/>
                  </a:cubicBezTo>
                  <a:cubicBezTo>
                    <a:pt x="841120" y="17364"/>
                    <a:pt x="840284" y="16812"/>
                    <a:pt x="839281" y="16444"/>
                  </a:cubicBezTo>
                  <a:close/>
                  <a:moveTo>
                    <a:pt x="603794" y="16444"/>
                  </a:moveTo>
                  <a:cubicBezTo>
                    <a:pt x="600951" y="15525"/>
                    <a:pt x="598277" y="16261"/>
                    <a:pt x="595936" y="18100"/>
                  </a:cubicBezTo>
                  <a:cubicBezTo>
                    <a:pt x="595100" y="18835"/>
                    <a:pt x="594432" y="19571"/>
                    <a:pt x="593763" y="20490"/>
                  </a:cubicBezTo>
                  <a:cubicBezTo>
                    <a:pt x="593261" y="21226"/>
                    <a:pt x="592760" y="22145"/>
                    <a:pt x="592259" y="23065"/>
                  </a:cubicBezTo>
                  <a:cubicBezTo>
                    <a:pt x="591924" y="23616"/>
                    <a:pt x="591756" y="24352"/>
                    <a:pt x="591589" y="24904"/>
                  </a:cubicBezTo>
                  <a:cubicBezTo>
                    <a:pt x="591255" y="25823"/>
                    <a:pt x="591088" y="26743"/>
                    <a:pt x="590921" y="27662"/>
                  </a:cubicBezTo>
                  <a:cubicBezTo>
                    <a:pt x="590419" y="29133"/>
                    <a:pt x="590252" y="30605"/>
                    <a:pt x="590252" y="32443"/>
                  </a:cubicBezTo>
                  <a:cubicBezTo>
                    <a:pt x="590252" y="33914"/>
                    <a:pt x="590419" y="35570"/>
                    <a:pt x="590921" y="37409"/>
                  </a:cubicBezTo>
                  <a:cubicBezTo>
                    <a:pt x="591255" y="38328"/>
                    <a:pt x="591423" y="39063"/>
                    <a:pt x="591756" y="39983"/>
                  </a:cubicBezTo>
                  <a:cubicBezTo>
                    <a:pt x="592091" y="41086"/>
                    <a:pt x="592593" y="42006"/>
                    <a:pt x="593261" y="42925"/>
                  </a:cubicBezTo>
                  <a:cubicBezTo>
                    <a:pt x="593930" y="44028"/>
                    <a:pt x="594766" y="44948"/>
                    <a:pt x="595602" y="45867"/>
                  </a:cubicBezTo>
                  <a:cubicBezTo>
                    <a:pt x="596437" y="46603"/>
                    <a:pt x="597441" y="47338"/>
                    <a:pt x="598610" y="47706"/>
                  </a:cubicBezTo>
                  <a:cubicBezTo>
                    <a:pt x="601621" y="48810"/>
                    <a:pt x="604462" y="48258"/>
                    <a:pt x="606969" y="46051"/>
                  </a:cubicBezTo>
                  <a:cubicBezTo>
                    <a:pt x="607806" y="45316"/>
                    <a:pt x="608474" y="44580"/>
                    <a:pt x="609144" y="43661"/>
                  </a:cubicBezTo>
                  <a:cubicBezTo>
                    <a:pt x="609812" y="42741"/>
                    <a:pt x="610314" y="41822"/>
                    <a:pt x="610815" y="40719"/>
                  </a:cubicBezTo>
                  <a:cubicBezTo>
                    <a:pt x="610982" y="40167"/>
                    <a:pt x="611150" y="39615"/>
                    <a:pt x="611483" y="39248"/>
                  </a:cubicBezTo>
                  <a:cubicBezTo>
                    <a:pt x="611818" y="38328"/>
                    <a:pt x="612153" y="37409"/>
                    <a:pt x="612319" y="36305"/>
                  </a:cubicBezTo>
                  <a:cubicBezTo>
                    <a:pt x="612821" y="33179"/>
                    <a:pt x="612821" y="30053"/>
                    <a:pt x="611985" y="26926"/>
                  </a:cubicBezTo>
                  <a:cubicBezTo>
                    <a:pt x="611818" y="26191"/>
                    <a:pt x="611651" y="25455"/>
                    <a:pt x="611317" y="24904"/>
                  </a:cubicBezTo>
                  <a:cubicBezTo>
                    <a:pt x="610982" y="24168"/>
                    <a:pt x="610815" y="23433"/>
                    <a:pt x="610480" y="22881"/>
                  </a:cubicBezTo>
                  <a:cubicBezTo>
                    <a:pt x="609980" y="22145"/>
                    <a:pt x="609644" y="21226"/>
                    <a:pt x="608976" y="20490"/>
                  </a:cubicBezTo>
                  <a:cubicBezTo>
                    <a:pt x="608307" y="19571"/>
                    <a:pt x="607471" y="18651"/>
                    <a:pt x="606469" y="17915"/>
                  </a:cubicBezTo>
                  <a:cubicBezTo>
                    <a:pt x="605633" y="17364"/>
                    <a:pt x="604796" y="16812"/>
                    <a:pt x="603794" y="16444"/>
                  </a:cubicBezTo>
                  <a:close/>
                  <a:moveTo>
                    <a:pt x="20889" y="11760"/>
                  </a:moveTo>
                  <a:cubicBezTo>
                    <a:pt x="21808" y="11760"/>
                    <a:pt x="22728" y="11576"/>
                    <a:pt x="23647" y="11760"/>
                  </a:cubicBezTo>
                  <a:cubicBezTo>
                    <a:pt x="24935" y="11944"/>
                    <a:pt x="26038" y="12496"/>
                    <a:pt x="26773" y="13415"/>
                  </a:cubicBezTo>
                  <a:cubicBezTo>
                    <a:pt x="27877" y="14518"/>
                    <a:pt x="28429" y="15989"/>
                    <a:pt x="28244" y="17644"/>
                  </a:cubicBezTo>
                  <a:cubicBezTo>
                    <a:pt x="28244" y="17829"/>
                    <a:pt x="28244" y="17829"/>
                    <a:pt x="28244" y="18012"/>
                  </a:cubicBezTo>
                  <a:cubicBezTo>
                    <a:pt x="28244" y="29966"/>
                    <a:pt x="28244" y="41919"/>
                    <a:pt x="28244" y="54056"/>
                  </a:cubicBezTo>
                  <a:cubicBezTo>
                    <a:pt x="28244" y="54423"/>
                    <a:pt x="28244" y="54423"/>
                    <a:pt x="28612" y="54423"/>
                  </a:cubicBezTo>
                  <a:cubicBezTo>
                    <a:pt x="30267" y="54423"/>
                    <a:pt x="31923" y="54423"/>
                    <a:pt x="33577" y="54423"/>
                  </a:cubicBezTo>
                  <a:cubicBezTo>
                    <a:pt x="34497" y="54423"/>
                    <a:pt x="35416" y="54791"/>
                    <a:pt x="36336" y="55159"/>
                  </a:cubicBezTo>
                  <a:cubicBezTo>
                    <a:pt x="37991" y="56262"/>
                    <a:pt x="38910" y="57733"/>
                    <a:pt x="38910" y="59757"/>
                  </a:cubicBezTo>
                  <a:cubicBezTo>
                    <a:pt x="38910" y="61228"/>
                    <a:pt x="38359" y="62699"/>
                    <a:pt x="37072" y="63618"/>
                  </a:cubicBezTo>
                  <a:cubicBezTo>
                    <a:pt x="36336" y="64170"/>
                    <a:pt x="35416" y="64722"/>
                    <a:pt x="34313" y="64905"/>
                  </a:cubicBezTo>
                  <a:cubicBezTo>
                    <a:pt x="34313" y="64905"/>
                    <a:pt x="34130" y="64905"/>
                    <a:pt x="34130" y="64905"/>
                  </a:cubicBezTo>
                  <a:cubicBezTo>
                    <a:pt x="34130" y="64905"/>
                    <a:pt x="33945" y="64905"/>
                    <a:pt x="33945" y="64905"/>
                  </a:cubicBezTo>
                  <a:cubicBezTo>
                    <a:pt x="33945" y="64722"/>
                    <a:pt x="33762" y="64905"/>
                    <a:pt x="33577" y="64905"/>
                  </a:cubicBezTo>
                  <a:cubicBezTo>
                    <a:pt x="26222" y="64905"/>
                    <a:pt x="18866" y="64905"/>
                    <a:pt x="11694" y="64905"/>
                  </a:cubicBezTo>
                  <a:cubicBezTo>
                    <a:pt x="11511" y="64905"/>
                    <a:pt x="11511" y="64905"/>
                    <a:pt x="11327" y="64905"/>
                  </a:cubicBezTo>
                  <a:cubicBezTo>
                    <a:pt x="11143" y="64905"/>
                    <a:pt x="10959" y="64905"/>
                    <a:pt x="10775" y="64905"/>
                  </a:cubicBezTo>
                  <a:cubicBezTo>
                    <a:pt x="10591" y="64722"/>
                    <a:pt x="10407" y="64722"/>
                    <a:pt x="10223" y="64722"/>
                  </a:cubicBezTo>
                  <a:cubicBezTo>
                    <a:pt x="9304" y="64537"/>
                    <a:pt x="8568" y="63986"/>
                    <a:pt x="7832" y="63434"/>
                  </a:cubicBezTo>
                  <a:cubicBezTo>
                    <a:pt x="6729" y="62331"/>
                    <a:pt x="6178" y="61043"/>
                    <a:pt x="6178" y="59572"/>
                  </a:cubicBezTo>
                  <a:cubicBezTo>
                    <a:pt x="6178" y="58286"/>
                    <a:pt x="6546" y="56998"/>
                    <a:pt x="7649" y="56079"/>
                  </a:cubicBezTo>
                  <a:cubicBezTo>
                    <a:pt x="8752" y="54975"/>
                    <a:pt x="10039" y="54423"/>
                    <a:pt x="11511" y="54423"/>
                  </a:cubicBezTo>
                  <a:cubicBezTo>
                    <a:pt x="13350" y="54423"/>
                    <a:pt x="15188" y="54423"/>
                    <a:pt x="16843" y="54423"/>
                  </a:cubicBezTo>
                  <a:cubicBezTo>
                    <a:pt x="17027" y="54423"/>
                    <a:pt x="17211" y="54423"/>
                    <a:pt x="17211" y="54056"/>
                  </a:cubicBezTo>
                  <a:cubicBezTo>
                    <a:pt x="17211" y="43574"/>
                    <a:pt x="17211" y="33276"/>
                    <a:pt x="17211" y="22794"/>
                  </a:cubicBezTo>
                  <a:cubicBezTo>
                    <a:pt x="17211" y="22610"/>
                    <a:pt x="17211" y="22426"/>
                    <a:pt x="16843" y="22426"/>
                  </a:cubicBezTo>
                  <a:cubicBezTo>
                    <a:pt x="15556" y="22426"/>
                    <a:pt x="14085" y="22426"/>
                    <a:pt x="12798" y="22426"/>
                  </a:cubicBezTo>
                  <a:cubicBezTo>
                    <a:pt x="10591" y="22426"/>
                    <a:pt x="8936" y="21322"/>
                    <a:pt x="7832" y="19300"/>
                  </a:cubicBezTo>
                  <a:cubicBezTo>
                    <a:pt x="7281" y="18197"/>
                    <a:pt x="7281" y="16909"/>
                    <a:pt x="7649" y="15438"/>
                  </a:cubicBezTo>
                  <a:cubicBezTo>
                    <a:pt x="8385" y="13415"/>
                    <a:pt x="10407" y="11944"/>
                    <a:pt x="12614" y="11944"/>
                  </a:cubicBezTo>
                  <a:cubicBezTo>
                    <a:pt x="15372" y="11944"/>
                    <a:pt x="18130" y="11760"/>
                    <a:pt x="20889" y="11760"/>
                  </a:cubicBezTo>
                  <a:close/>
                  <a:moveTo>
                    <a:pt x="80964" y="9645"/>
                  </a:moveTo>
                  <a:cubicBezTo>
                    <a:pt x="77399" y="9645"/>
                    <a:pt x="74341" y="11813"/>
                    <a:pt x="73034" y="14902"/>
                  </a:cubicBezTo>
                  <a:lnTo>
                    <a:pt x="72404" y="18019"/>
                  </a:lnTo>
                  <a:lnTo>
                    <a:pt x="74609" y="18019"/>
                  </a:lnTo>
                  <a:cubicBezTo>
                    <a:pt x="77826" y="18019"/>
                    <a:pt x="81922" y="18019"/>
                    <a:pt x="87134" y="18019"/>
                  </a:cubicBezTo>
                  <a:lnTo>
                    <a:pt x="89524" y="18019"/>
                  </a:lnTo>
                  <a:lnTo>
                    <a:pt x="88895" y="14902"/>
                  </a:lnTo>
                  <a:cubicBezTo>
                    <a:pt x="87588" y="11813"/>
                    <a:pt x="84530" y="9645"/>
                    <a:pt x="80964" y="9645"/>
                  </a:cubicBezTo>
                  <a:close/>
                  <a:moveTo>
                    <a:pt x="3007380" y="8607"/>
                  </a:moveTo>
                  <a:cubicBezTo>
                    <a:pt x="3003815" y="8607"/>
                    <a:pt x="3000756" y="10775"/>
                    <a:pt x="2999449" y="13864"/>
                  </a:cubicBezTo>
                  <a:lnTo>
                    <a:pt x="2998820" y="16981"/>
                  </a:lnTo>
                  <a:lnTo>
                    <a:pt x="3001024" y="16981"/>
                  </a:lnTo>
                  <a:cubicBezTo>
                    <a:pt x="3004242" y="16981"/>
                    <a:pt x="3008337" y="16981"/>
                    <a:pt x="3013550" y="16981"/>
                  </a:cubicBezTo>
                  <a:lnTo>
                    <a:pt x="3015940" y="16981"/>
                  </a:lnTo>
                  <a:lnTo>
                    <a:pt x="3015310" y="13864"/>
                  </a:lnTo>
                  <a:cubicBezTo>
                    <a:pt x="3014004" y="10775"/>
                    <a:pt x="3010945" y="8607"/>
                    <a:pt x="3007380" y="8607"/>
                  </a:cubicBezTo>
                  <a:close/>
                  <a:moveTo>
                    <a:pt x="2945983" y="8607"/>
                  </a:moveTo>
                  <a:cubicBezTo>
                    <a:pt x="2942418" y="8607"/>
                    <a:pt x="2939359" y="10775"/>
                    <a:pt x="2938053" y="13864"/>
                  </a:cubicBezTo>
                  <a:lnTo>
                    <a:pt x="2937423" y="16981"/>
                  </a:lnTo>
                  <a:lnTo>
                    <a:pt x="2939627" y="16981"/>
                  </a:lnTo>
                  <a:cubicBezTo>
                    <a:pt x="2942845" y="16981"/>
                    <a:pt x="2946941" y="16981"/>
                    <a:pt x="2952153" y="16981"/>
                  </a:cubicBezTo>
                  <a:lnTo>
                    <a:pt x="2954543" y="16981"/>
                  </a:lnTo>
                  <a:lnTo>
                    <a:pt x="2953913" y="13864"/>
                  </a:lnTo>
                  <a:cubicBezTo>
                    <a:pt x="2952607" y="10775"/>
                    <a:pt x="2949548" y="8607"/>
                    <a:pt x="2945983" y="8607"/>
                  </a:cubicBezTo>
                  <a:close/>
                  <a:moveTo>
                    <a:pt x="2823140" y="8607"/>
                  </a:moveTo>
                  <a:cubicBezTo>
                    <a:pt x="2819575" y="8607"/>
                    <a:pt x="2816516" y="10775"/>
                    <a:pt x="2815210" y="13864"/>
                  </a:cubicBezTo>
                  <a:lnTo>
                    <a:pt x="2814580" y="16981"/>
                  </a:lnTo>
                  <a:lnTo>
                    <a:pt x="2816784" y="16981"/>
                  </a:lnTo>
                  <a:cubicBezTo>
                    <a:pt x="2820002" y="16981"/>
                    <a:pt x="2824098" y="16981"/>
                    <a:pt x="2829310" y="16981"/>
                  </a:cubicBezTo>
                  <a:lnTo>
                    <a:pt x="2831700" y="16981"/>
                  </a:lnTo>
                  <a:lnTo>
                    <a:pt x="2831070" y="13864"/>
                  </a:lnTo>
                  <a:cubicBezTo>
                    <a:pt x="2829764" y="10775"/>
                    <a:pt x="2826705" y="8607"/>
                    <a:pt x="2823140" y="8607"/>
                  </a:cubicBezTo>
                  <a:close/>
                  <a:moveTo>
                    <a:pt x="2536355" y="8607"/>
                  </a:moveTo>
                  <a:cubicBezTo>
                    <a:pt x="2532790" y="8607"/>
                    <a:pt x="2529732" y="10775"/>
                    <a:pt x="2528425" y="13864"/>
                  </a:cubicBezTo>
                  <a:lnTo>
                    <a:pt x="2527795" y="16981"/>
                  </a:lnTo>
                  <a:lnTo>
                    <a:pt x="2530000" y="16981"/>
                  </a:lnTo>
                  <a:cubicBezTo>
                    <a:pt x="2533217" y="16981"/>
                    <a:pt x="2537313" y="16981"/>
                    <a:pt x="2542525" y="16981"/>
                  </a:cubicBezTo>
                  <a:lnTo>
                    <a:pt x="2544915" y="16981"/>
                  </a:lnTo>
                  <a:lnTo>
                    <a:pt x="2544286" y="13864"/>
                  </a:lnTo>
                  <a:cubicBezTo>
                    <a:pt x="2542979" y="10775"/>
                    <a:pt x="2539921" y="8607"/>
                    <a:pt x="2536355" y="8607"/>
                  </a:cubicBezTo>
                  <a:close/>
                  <a:moveTo>
                    <a:pt x="2413512" y="8607"/>
                  </a:moveTo>
                  <a:cubicBezTo>
                    <a:pt x="2409947" y="8607"/>
                    <a:pt x="2406889" y="10775"/>
                    <a:pt x="2405582" y="13864"/>
                  </a:cubicBezTo>
                  <a:lnTo>
                    <a:pt x="2404952" y="16981"/>
                  </a:lnTo>
                  <a:lnTo>
                    <a:pt x="2407157" y="16981"/>
                  </a:lnTo>
                  <a:cubicBezTo>
                    <a:pt x="2410374" y="16981"/>
                    <a:pt x="2414470" y="16981"/>
                    <a:pt x="2419682" y="16981"/>
                  </a:cubicBezTo>
                  <a:lnTo>
                    <a:pt x="2422072" y="16981"/>
                  </a:lnTo>
                  <a:lnTo>
                    <a:pt x="2421443" y="13864"/>
                  </a:lnTo>
                  <a:cubicBezTo>
                    <a:pt x="2420136" y="10775"/>
                    <a:pt x="2417078" y="8607"/>
                    <a:pt x="2413512" y="8607"/>
                  </a:cubicBezTo>
                  <a:close/>
                  <a:moveTo>
                    <a:pt x="2126728" y="8607"/>
                  </a:moveTo>
                  <a:cubicBezTo>
                    <a:pt x="2123162" y="8607"/>
                    <a:pt x="2120104" y="10775"/>
                    <a:pt x="2118797" y="13864"/>
                  </a:cubicBezTo>
                  <a:lnTo>
                    <a:pt x="2118167" y="16981"/>
                  </a:lnTo>
                  <a:lnTo>
                    <a:pt x="2120372" y="16981"/>
                  </a:lnTo>
                  <a:cubicBezTo>
                    <a:pt x="2123589" y="16981"/>
                    <a:pt x="2127685" y="16981"/>
                    <a:pt x="2132898" y="16981"/>
                  </a:cubicBezTo>
                  <a:lnTo>
                    <a:pt x="2135288" y="16981"/>
                  </a:lnTo>
                  <a:lnTo>
                    <a:pt x="2134658" y="13864"/>
                  </a:lnTo>
                  <a:cubicBezTo>
                    <a:pt x="2133351" y="10775"/>
                    <a:pt x="2130293" y="8607"/>
                    <a:pt x="2126728" y="8607"/>
                  </a:cubicBezTo>
                  <a:close/>
                  <a:moveTo>
                    <a:pt x="2065331" y="8607"/>
                  </a:moveTo>
                  <a:cubicBezTo>
                    <a:pt x="2061766" y="8607"/>
                    <a:pt x="2058707" y="10775"/>
                    <a:pt x="2057401" y="13864"/>
                  </a:cubicBezTo>
                  <a:lnTo>
                    <a:pt x="2056771" y="16981"/>
                  </a:lnTo>
                  <a:lnTo>
                    <a:pt x="2058975" y="16981"/>
                  </a:lnTo>
                  <a:cubicBezTo>
                    <a:pt x="2062193" y="16981"/>
                    <a:pt x="2066289" y="16981"/>
                    <a:pt x="2071501" y="16981"/>
                  </a:cubicBezTo>
                  <a:lnTo>
                    <a:pt x="2073891" y="16981"/>
                  </a:lnTo>
                  <a:lnTo>
                    <a:pt x="2073261" y="13864"/>
                  </a:lnTo>
                  <a:cubicBezTo>
                    <a:pt x="2071955" y="10775"/>
                    <a:pt x="2068896" y="8607"/>
                    <a:pt x="2065331" y="8607"/>
                  </a:cubicBezTo>
                  <a:close/>
                  <a:moveTo>
                    <a:pt x="1942488" y="8607"/>
                  </a:moveTo>
                  <a:cubicBezTo>
                    <a:pt x="1938923" y="8607"/>
                    <a:pt x="1935864" y="10775"/>
                    <a:pt x="1934558" y="13864"/>
                  </a:cubicBezTo>
                  <a:lnTo>
                    <a:pt x="1933928" y="16981"/>
                  </a:lnTo>
                  <a:lnTo>
                    <a:pt x="1936132" y="16981"/>
                  </a:lnTo>
                  <a:cubicBezTo>
                    <a:pt x="1939350" y="16981"/>
                    <a:pt x="1943446" y="16981"/>
                    <a:pt x="1948658" y="16981"/>
                  </a:cubicBezTo>
                  <a:lnTo>
                    <a:pt x="1951048" y="16981"/>
                  </a:lnTo>
                  <a:lnTo>
                    <a:pt x="1950418" y="13864"/>
                  </a:lnTo>
                  <a:cubicBezTo>
                    <a:pt x="1949112" y="10775"/>
                    <a:pt x="1946053" y="8607"/>
                    <a:pt x="1942488" y="8607"/>
                  </a:cubicBezTo>
                  <a:close/>
                  <a:moveTo>
                    <a:pt x="1655705" y="8607"/>
                  </a:moveTo>
                  <a:cubicBezTo>
                    <a:pt x="1652139" y="8607"/>
                    <a:pt x="1649080" y="10775"/>
                    <a:pt x="1647774" y="13864"/>
                  </a:cubicBezTo>
                  <a:lnTo>
                    <a:pt x="1647144" y="16981"/>
                  </a:lnTo>
                  <a:lnTo>
                    <a:pt x="1649348" y="16981"/>
                  </a:lnTo>
                  <a:cubicBezTo>
                    <a:pt x="1652566" y="16981"/>
                    <a:pt x="1656661" y="16981"/>
                    <a:pt x="1661874" y="16981"/>
                  </a:cubicBezTo>
                  <a:lnTo>
                    <a:pt x="1664264" y="16981"/>
                  </a:lnTo>
                  <a:lnTo>
                    <a:pt x="1663635" y="13864"/>
                  </a:lnTo>
                  <a:cubicBezTo>
                    <a:pt x="1662328" y="10775"/>
                    <a:pt x="1659269" y="8607"/>
                    <a:pt x="1655705" y="8607"/>
                  </a:cubicBezTo>
                  <a:close/>
                  <a:moveTo>
                    <a:pt x="1481614" y="8607"/>
                  </a:moveTo>
                  <a:cubicBezTo>
                    <a:pt x="1478049" y="8607"/>
                    <a:pt x="1474989" y="10775"/>
                    <a:pt x="1473683" y="13864"/>
                  </a:cubicBezTo>
                  <a:lnTo>
                    <a:pt x="1473054" y="16981"/>
                  </a:lnTo>
                  <a:lnTo>
                    <a:pt x="1475257" y="16981"/>
                  </a:lnTo>
                  <a:cubicBezTo>
                    <a:pt x="1478476" y="16981"/>
                    <a:pt x="1482571" y="16981"/>
                    <a:pt x="1487783" y="16981"/>
                  </a:cubicBezTo>
                  <a:lnTo>
                    <a:pt x="1490173" y="16981"/>
                  </a:lnTo>
                  <a:lnTo>
                    <a:pt x="1489544" y="13864"/>
                  </a:lnTo>
                  <a:cubicBezTo>
                    <a:pt x="1488238" y="10775"/>
                    <a:pt x="1485178" y="8607"/>
                    <a:pt x="1481614" y="8607"/>
                  </a:cubicBezTo>
                  <a:close/>
                  <a:moveTo>
                    <a:pt x="1420217" y="8607"/>
                  </a:moveTo>
                  <a:cubicBezTo>
                    <a:pt x="1416652" y="8607"/>
                    <a:pt x="1413593" y="10775"/>
                    <a:pt x="1412286" y="13864"/>
                  </a:cubicBezTo>
                  <a:lnTo>
                    <a:pt x="1411657" y="16981"/>
                  </a:lnTo>
                  <a:lnTo>
                    <a:pt x="1413861" y="16981"/>
                  </a:lnTo>
                  <a:cubicBezTo>
                    <a:pt x="1417079" y="16981"/>
                    <a:pt x="1421174" y="16981"/>
                    <a:pt x="1426387" y="16981"/>
                  </a:cubicBezTo>
                  <a:lnTo>
                    <a:pt x="1428777" y="16981"/>
                  </a:lnTo>
                  <a:lnTo>
                    <a:pt x="1428147" y="13864"/>
                  </a:lnTo>
                  <a:cubicBezTo>
                    <a:pt x="1426841" y="10775"/>
                    <a:pt x="1423782" y="8607"/>
                    <a:pt x="1420217" y="8607"/>
                  </a:cubicBezTo>
                  <a:close/>
                  <a:moveTo>
                    <a:pt x="1246126" y="8607"/>
                  </a:moveTo>
                  <a:cubicBezTo>
                    <a:pt x="1242561" y="8607"/>
                    <a:pt x="1239502" y="10775"/>
                    <a:pt x="1238195" y="13864"/>
                  </a:cubicBezTo>
                  <a:lnTo>
                    <a:pt x="1237566" y="16981"/>
                  </a:lnTo>
                  <a:lnTo>
                    <a:pt x="1239769" y="16981"/>
                  </a:lnTo>
                  <a:cubicBezTo>
                    <a:pt x="1242988" y="16981"/>
                    <a:pt x="1247083" y="16981"/>
                    <a:pt x="1252295" y="16981"/>
                  </a:cubicBezTo>
                  <a:lnTo>
                    <a:pt x="1254685" y="16981"/>
                  </a:lnTo>
                  <a:lnTo>
                    <a:pt x="1254057" y="13864"/>
                  </a:lnTo>
                  <a:cubicBezTo>
                    <a:pt x="1252750" y="10775"/>
                    <a:pt x="1249691" y="8607"/>
                    <a:pt x="1246126" y="8607"/>
                  </a:cubicBezTo>
                  <a:close/>
                  <a:moveTo>
                    <a:pt x="1184728" y="8607"/>
                  </a:moveTo>
                  <a:cubicBezTo>
                    <a:pt x="1181164" y="8607"/>
                    <a:pt x="1178105" y="10775"/>
                    <a:pt x="1176798" y="13864"/>
                  </a:cubicBezTo>
                  <a:lnTo>
                    <a:pt x="1176170" y="16981"/>
                  </a:lnTo>
                  <a:lnTo>
                    <a:pt x="1178373" y="16981"/>
                  </a:lnTo>
                  <a:cubicBezTo>
                    <a:pt x="1181590" y="16981"/>
                    <a:pt x="1185686" y="16981"/>
                    <a:pt x="1190899" y="16981"/>
                  </a:cubicBezTo>
                  <a:lnTo>
                    <a:pt x="1193289" y="16981"/>
                  </a:lnTo>
                  <a:lnTo>
                    <a:pt x="1192659" y="13864"/>
                  </a:lnTo>
                  <a:cubicBezTo>
                    <a:pt x="1191353" y="10775"/>
                    <a:pt x="1188294" y="8607"/>
                    <a:pt x="1184728" y="8607"/>
                  </a:cubicBezTo>
                  <a:close/>
                  <a:moveTo>
                    <a:pt x="1010638" y="8607"/>
                  </a:moveTo>
                  <a:cubicBezTo>
                    <a:pt x="1007074" y="8607"/>
                    <a:pt x="1004014" y="10775"/>
                    <a:pt x="1002708" y="13864"/>
                  </a:cubicBezTo>
                  <a:lnTo>
                    <a:pt x="1002079" y="16981"/>
                  </a:lnTo>
                  <a:lnTo>
                    <a:pt x="1004282" y="16981"/>
                  </a:lnTo>
                  <a:cubicBezTo>
                    <a:pt x="1007500" y="16981"/>
                    <a:pt x="1011595" y="16981"/>
                    <a:pt x="1016808" y="16981"/>
                  </a:cubicBezTo>
                  <a:lnTo>
                    <a:pt x="1019198" y="16981"/>
                  </a:lnTo>
                  <a:lnTo>
                    <a:pt x="1018569" y="13864"/>
                  </a:lnTo>
                  <a:cubicBezTo>
                    <a:pt x="1017262" y="10775"/>
                    <a:pt x="1014203" y="8607"/>
                    <a:pt x="1010638" y="8607"/>
                  </a:cubicBezTo>
                  <a:close/>
                  <a:moveTo>
                    <a:pt x="723853" y="8607"/>
                  </a:moveTo>
                  <a:cubicBezTo>
                    <a:pt x="720288" y="8607"/>
                    <a:pt x="717230" y="10775"/>
                    <a:pt x="715923" y="13864"/>
                  </a:cubicBezTo>
                  <a:lnTo>
                    <a:pt x="715293" y="16981"/>
                  </a:lnTo>
                  <a:lnTo>
                    <a:pt x="717498" y="16981"/>
                  </a:lnTo>
                  <a:cubicBezTo>
                    <a:pt x="720715" y="16981"/>
                    <a:pt x="724811" y="16981"/>
                    <a:pt x="730024" y="16981"/>
                  </a:cubicBezTo>
                  <a:lnTo>
                    <a:pt x="732414" y="16981"/>
                  </a:lnTo>
                  <a:lnTo>
                    <a:pt x="731783" y="13864"/>
                  </a:lnTo>
                  <a:cubicBezTo>
                    <a:pt x="730477" y="10775"/>
                    <a:pt x="727419" y="8607"/>
                    <a:pt x="723853" y="8607"/>
                  </a:cubicBezTo>
                  <a:close/>
                  <a:moveTo>
                    <a:pt x="662457" y="8607"/>
                  </a:moveTo>
                  <a:cubicBezTo>
                    <a:pt x="658892" y="8607"/>
                    <a:pt x="655833" y="10775"/>
                    <a:pt x="654526" y="13864"/>
                  </a:cubicBezTo>
                  <a:lnTo>
                    <a:pt x="653897" y="16981"/>
                  </a:lnTo>
                  <a:lnTo>
                    <a:pt x="656100" y="16981"/>
                  </a:lnTo>
                  <a:cubicBezTo>
                    <a:pt x="659319" y="16981"/>
                    <a:pt x="663415" y="16981"/>
                    <a:pt x="668627" y="16981"/>
                  </a:cubicBezTo>
                  <a:lnTo>
                    <a:pt x="671016" y="16981"/>
                  </a:lnTo>
                  <a:lnTo>
                    <a:pt x="670387" y="13864"/>
                  </a:lnTo>
                  <a:cubicBezTo>
                    <a:pt x="669080" y="10775"/>
                    <a:pt x="666021" y="8607"/>
                    <a:pt x="662457" y="8607"/>
                  </a:cubicBezTo>
                  <a:close/>
                  <a:moveTo>
                    <a:pt x="539613" y="8607"/>
                  </a:moveTo>
                  <a:cubicBezTo>
                    <a:pt x="536048" y="8607"/>
                    <a:pt x="532990" y="10775"/>
                    <a:pt x="531683" y="13864"/>
                  </a:cubicBezTo>
                  <a:lnTo>
                    <a:pt x="531054" y="16981"/>
                  </a:lnTo>
                  <a:lnTo>
                    <a:pt x="533257" y="16981"/>
                  </a:lnTo>
                  <a:cubicBezTo>
                    <a:pt x="536475" y="16981"/>
                    <a:pt x="540571" y="16981"/>
                    <a:pt x="545783" y="16981"/>
                  </a:cubicBezTo>
                  <a:lnTo>
                    <a:pt x="548173" y="16981"/>
                  </a:lnTo>
                  <a:lnTo>
                    <a:pt x="547544" y="13864"/>
                  </a:lnTo>
                  <a:cubicBezTo>
                    <a:pt x="546237" y="10775"/>
                    <a:pt x="543179" y="8607"/>
                    <a:pt x="539613" y="8607"/>
                  </a:cubicBezTo>
                  <a:close/>
                  <a:moveTo>
                    <a:pt x="252829" y="8607"/>
                  </a:moveTo>
                  <a:cubicBezTo>
                    <a:pt x="249263" y="8607"/>
                    <a:pt x="246205" y="10775"/>
                    <a:pt x="244898" y="13864"/>
                  </a:cubicBezTo>
                  <a:lnTo>
                    <a:pt x="244269" y="16981"/>
                  </a:lnTo>
                  <a:lnTo>
                    <a:pt x="246473" y="16981"/>
                  </a:lnTo>
                  <a:cubicBezTo>
                    <a:pt x="249690" y="16981"/>
                    <a:pt x="253786" y="16981"/>
                    <a:pt x="258999" y="16981"/>
                  </a:cubicBezTo>
                  <a:lnTo>
                    <a:pt x="261389" y="16981"/>
                  </a:lnTo>
                  <a:lnTo>
                    <a:pt x="260759" y="13864"/>
                  </a:lnTo>
                  <a:cubicBezTo>
                    <a:pt x="259453" y="10775"/>
                    <a:pt x="256394" y="8607"/>
                    <a:pt x="252829" y="8607"/>
                  </a:cubicBezTo>
                  <a:close/>
                  <a:moveTo>
                    <a:pt x="198181" y="6680"/>
                  </a:moveTo>
                  <a:cubicBezTo>
                    <a:pt x="199100" y="6680"/>
                    <a:pt x="200020" y="6496"/>
                    <a:pt x="200939" y="6680"/>
                  </a:cubicBezTo>
                  <a:cubicBezTo>
                    <a:pt x="202227" y="6864"/>
                    <a:pt x="203330" y="7416"/>
                    <a:pt x="204065" y="8335"/>
                  </a:cubicBezTo>
                  <a:cubicBezTo>
                    <a:pt x="205169" y="9438"/>
                    <a:pt x="205721" y="10909"/>
                    <a:pt x="205536" y="12564"/>
                  </a:cubicBezTo>
                  <a:cubicBezTo>
                    <a:pt x="205536" y="12749"/>
                    <a:pt x="205536" y="12749"/>
                    <a:pt x="205536" y="12932"/>
                  </a:cubicBezTo>
                  <a:cubicBezTo>
                    <a:pt x="205536" y="24886"/>
                    <a:pt x="205536" y="36839"/>
                    <a:pt x="205536" y="48976"/>
                  </a:cubicBezTo>
                  <a:cubicBezTo>
                    <a:pt x="205536" y="49343"/>
                    <a:pt x="205536" y="49343"/>
                    <a:pt x="205904" y="49343"/>
                  </a:cubicBezTo>
                  <a:cubicBezTo>
                    <a:pt x="207559" y="49343"/>
                    <a:pt x="209215" y="49343"/>
                    <a:pt x="210869" y="49343"/>
                  </a:cubicBezTo>
                  <a:cubicBezTo>
                    <a:pt x="211789" y="49343"/>
                    <a:pt x="212708" y="49711"/>
                    <a:pt x="213628" y="50079"/>
                  </a:cubicBezTo>
                  <a:cubicBezTo>
                    <a:pt x="215283" y="51182"/>
                    <a:pt x="216202" y="52653"/>
                    <a:pt x="216202" y="54677"/>
                  </a:cubicBezTo>
                  <a:cubicBezTo>
                    <a:pt x="216202" y="56148"/>
                    <a:pt x="215651" y="57619"/>
                    <a:pt x="214364" y="58538"/>
                  </a:cubicBezTo>
                  <a:cubicBezTo>
                    <a:pt x="213628" y="59090"/>
                    <a:pt x="212708" y="59642"/>
                    <a:pt x="211605" y="59825"/>
                  </a:cubicBezTo>
                  <a:cubicBezTo>
                    <a:pt x="211605" y="59825"/>
                    <a:pt x="211422" y="59825"/>
                    <a:pt x="211422" y="59825"/>
                  </a:cubicBezTo>
                  <a:cubicBezTo>
                    <a:pt x="211422" y="59825"/>
                    <a:pt x="211237" y="59825"/>
                    <a:pt x="211237" y="59825"/>
                  </a:cubicBezTo>
                  <a:cubicBezTo>
                    <a:pt x="211237" y="59642"/>
                    <a:pt x="211054" y="59825"/>
                    <a:pt x="210869" y="59825"/>
                  </a:cubicBezTo>
                  <a:cubicBezTo>
                    <a:pt x="203514" y="59825"/>
                    <a:pt x="196158" y="59825"/>
                    <a:pt x="188986" y="59825"/>
                  </a:cubicBezTo>
                  <a:cubicBezTo>
                    <a:pt x="188803" y="59825"/>
                    <a:pt x="188803" y="59825"/>
                    <a:pt x="188619" y="59825"/>
                  </a:cubicBezTo>
                  <a:cubicBezTo>
                    <a:pt x="188435" y="59825"/>
                    <a:pt x="188251" y="59825"/>
                    <a:pt x="188067" y="59825"/>
                  </a:cubicBezTo>
                  <a:cubicBezTo>
                    <a:pt x="187883" y="59642"/>
                    <a:pt x="187699" y="59642"/>
                    <a:pt x="187515" y="59642"/>
                  </a:cubicBezTo>
                  <a:cubicBezTo>
                    <a:pt x="186596" y="59457"/>
                    <a:pt x="185860" y="58906"/>
                    <a:pt x="185124" y="58354"/>
                  </a:cubicBezTo>
                  <a:cubicBezTo>
                    <a:pt x="184021" y="57251"/>
                    <a:pt x="183470" y="55963"/>
                    <a:pt x="183470" y="54492"/>
                  </a:cubicBezTo>
                  <a:cubicBezTo>
                    <a:pt x="183470" y="53206"/>
                    <a:pt x="183838" y="51918"/>
                    <a:pt x="184941" y="50999"/>
                  </a:cubicBezTo>
                  <a:cubicBezTo>
                    <a:pt x="186044" y="49895"/>
                    <a:pt x="187331" y="49343"/>
                    <a:pt x="188803" y="49343"/>
                  </a:cubicBezTo>
                  <a:cubicBezTo>
                    <a:pt x="190642" y="49343"/>
                    <a:pt x="192480" y="49343"/>
                    <a:pt x="194135" y="49343"/>
                  </a:cubicBezTo>
                  <a:cubicBezTo>
                    <a:pt x="194319" y="49343"/>
                    <a:pt x="194503" y="49343"/>
                    <a:pt x="194503" y="48976"/>
                  </a:cubicBezTo>
                  <a:cubicBezTo>
                    <a:pt x="194503" y="38494"/>
                    <a:pt x="194503" y="28196"/>
                    <a:pt x="194503" y="17714"/>
                  </a:cubicBezTo>
                  <a:cubicBezTo>
                    <a:pt x="194503" y="17530"/>
                    <a:pt x="194503" y="17346"/>
                    <a:pt x="194135" y="17346"/>
                  </a:cubicBezTo>
                  <a:cubicBezTo>
                    <a:pt x="192848" y="17346"/>
                    <a:pt x="191377" y="17346"/>
                    <a:pt x="190090" y="17346"/>
                  </a:cubicBezTo>
                  <a:cubicBezTo>
                    <a:pt x="187883" y="17346"/>
                    <a:pt x="186228" y="16242"/>
                    <a:pt x="185124" y="14220"/>
                  </a:cubicBezTo>
                  <a:cubicBezTo>
                    <a:pt x="184573" y="13117"/>
                    <a:pt x="184573" y="11829"/>
                    <a:pt x="184941" y="10358"/>
                  </a:cubicBezTo>
                  <a:cubicBezTo>
                    <a:pt x="185677" y="8335"/>
                    <a:pt x="187699" y="6864"/>
                    <a:pt x="189906" y="6864"/>
                  </a:cubicBezTo>
                  <a:cubicBezTo>
                    <a:pt x="192664" y="6864"/>
                    <a:pt x="195422" y="6680"/>
                    <a:pt x="198181" y="6680"/>
                  </a:cubicBezTo>
                  <a:close/>
                  <a:moveTo>
                    <a:pt x="141672" y="6633"/>
                  </a:moveTo>
                  <a:cubicBezTo>
                    <a:pt x="144513" y="6449"/>
                    <a:pt x="147356" y="7001"/>
                    <a:pt x="150031" y="8104"/>
                  </a:cubicBezTo>
                  <a:cubicBezTo>
                    <a:pt x="151870" y="8840"/>
                    <a:pt x="153542" y="9943"/>
                    <a:pt x="155046" y="11231"/>
                  </a:cubicBezTo>
                  <a:cubicBezTo>
                    <a:pt x="155882" y="11966"/>
                    <a:pt x="156550" y="12702"/>
                    <a:pt x="157386" y="13437"/>
                  </a:cubicBezTo>
                  <a:cubicBezTo>
                    <a:pt x="158222" y="14356"/>
                    <a:pt x="159058" y="15460"/>
                    <a:pt x="159727" y="16380"/>
                  </a:cubicBezTo>
                  <a:cubicBezTo>
                    <a:pt x="160229" y="17115"/>
                    <a:pt x="160730" y="18035"/>
                    <a:pt x="161064" y="18770"/>
                  </a:cubicBezTo>
                  <a:cubicBezTo>
                    <a:pt x="161733" y="19874"/>
                    <a:pt x="162234" y="21160"/>
                    <a:pt x="162569" y="22448"/>
                  </a:cubicBezTo>
                  <a:cubicBezTo>
                    <a:pt x="162904" y="23183"/>
                    <a:pt x="163071" y="24103"/>
                    <a:pt x="163237" y="24839"/>
                  </a:cubicBezTo>
                  <a:cubicBezTo>
                    <a:pt x="163572" y="25942"/>
                    <a:pt x="163739" y="27229"/>
                    <a:pt x="163906" y="28332"/>
                  </a:cubicBezTo>
                  <a:cubicBezTo>
                    <a:pt x="164408" y="31643"/>
                    <a:pt x="164408" y="34953"/>
                    <a:pt x="163739" y="38079"/>
                  </a:cubicBezTo>
                  <a:cubicBezTo>
                    <a:pt x="163572" y="39183"/>
                    <a:pt x="163405" y="40286"/>
                    <a:pt x="163071" y="41389"/>
                  </a:cubicBezTo>
                  <a:cubicBezTo>
                    <a:pt x="162736" y="42308"/>
                    <a:pt x="162569" y="43044"/>
                    <a:pt x="162234" y="43964"/>
                  </a:cubicBezTo>
                  <a:cubicBezTo>
                    <a:pt x="161900" y="44516"/>
                    <a:pt x="161733" y="45067"/>
                    <a:pt x="161566" y="45619"/>
                  </a:cubicBezTo>
                  <a:cubicBezTo>
                    <a:pt x="161064" y="46722"/>
                    <a:pt x="160563" y="47641"/>
                    <a:pt x="160061" y="48561"/>
                  </a:cubicBezTo>
                  <a:cubicBezTo>
                    <a:pt x="159560" y="49296"/>
                    <a:pt x="159058" y="50032"/>
                    <a:pt x="158557" y="50767"/>
                  </a:cubicBezTo>
                  <a:cubicBezTo>
                    <a:pt x="157888" y="51687"/>
                    <a:pt x="157052" y="52606"/>
                    <a:pt x="156216" y="53342"/>
                  </a:cubicBezTo>
                  <a:cubicBezTo>
                    <a:pt x="155547" y="54077"/>
                    <a:pt x="154711" y="54630"/>
                    <a:pt x="154043" y="55181"/>
                  </a:cubicBezTo>
                  <a:cubicBezTo>
                    <a:pt x="152872" y="56101"/>
                    <a:pt x="151535" y="56836"/>
                    <a:pt x="150198" y="57388"/>
                  </a:cubicBezTo>
                  <a:cubicBezTo>
                    <a:pt x="148526" y="58124"/>
                    <a:pt x="146687" y="58675"/>
                    <a:pt x="144848" y="58859"/>
                  </a:cubicBezTo>
                  <a:cubicBezTo>
                    <a:pt x="144513" y="58859"/>
                    <a:pt x="144347" y="58859"/>
                    <a:pt x="144012" y="59043"/>
                  </a:cubicBezTo>
                  <a:cubicBezTo>
                    <a:pt x="143009" y="59043"/>
                    <a:pt x="142173" y="59043"/>
                    <a:pt x="141170" y="59043"/>
                  </a:cubicBezTo>
                  <a:cubicBezTo>
                    <a:pt x="141170" y="58859"/>
                    <a:pt x="141003" y="59043"/>
                    <a:pt x="141003" y="59043"/>
                  </a:cubicBezTo>
                  <a:cubicBezTo>
                    <a:pt x="137826" y="58675"/>
                    <a:pt x="134818" y="57572"/>
                    <a:pt x="132143" y="55733"/>
                  </a:cubicBezTo>
                  <a:cubicBezTo>
                    <a:pt x="130972" y="54997"/>
                    <a:pt x="129969" y="54077"/>
                    <a:pt x="128966" y="52974"/>
                  </a:cubicBezTo>
                  <a:cubicBezTo>
                    <a:pt x="128130" y="52239"/>
                    <a:pt x="127461" y="51320"/>
                    <a:pt x="126793" y="50400"/>
                  </a:cubicBezTo>
                  <a:cubicBezTo>
                    <a:pt x="126291" y="49664"/>
                    <a:pt x="125790" y="48929"/>
                    <a:pt x="125288" y="48009"/>
                  </a:cubicBezTo>
                  <a:cubicBezTo>
                    <a:pt x="124786" y="47090"/>
                    <a:pt x="124285" y="46170"/>
                    <a:pt x="123784" y="45067"/>
                  </a:cubicBezTo>
                  <a:cubicBezTo>
                    <a:pt x="123449" y="44331"/>
                    <a:pt x="123282" y="43780"/>
                    <a:pt x="122948" y="43044"/>
                  </a:cubicBezTo>
                  <a:cubicBezTo>
                    <a:pt x="122613" y="42308"/>
                    <a:pt x="122446" y="41573"/>
                    <a:pt x="122279" y="40837"/>
                  </a:cubicBezTo>
                  <a:cubicBezTo>
                    <a:pt x="121945" y="39550"/>
                    <a:pt x="121777" y="38263"/>
                    <a:pt x="121443" y="36976"/>
                  </a:cubicBezTo>
                  <a:cubicBezTo>
                    <a:pt x="121276" y="36240"/>
                    <a:pt x="121276" y="35688"/>
                    <a:pt x="121276" y="34953"/>
                  </a:cubicBezTo>
                  <a:cubicBezTo>
                    <a:pt x="121443" y="35504"/>
                    <a:pt x="121610" y="35321"/>
                    <a:pt x="121443" y="35136"/>
                  </a:cubicBezTo>
                  <a:cubicBezTo>
                    <a:pt x="121443" y="33850"/>
                    <a:pt x="121443" y="32562"/>
                    <a:pt x="121443" y="31275"/>
                  </a:cubicBezTo>
                  <a:cubicBezTo>
                    <a:pt x="121443" y="31275"/>
                    <a:pt x="121443" y="31275"/>
                    <a:pt x="121443" y="31091"/>
                  </a:cubicBezTo>
                  <a:cubicBezTo>
                    <a:pt x="121443" y="29988"/>
                    <a:pt x="121610" y="29068"/>
                    <a:pt x="121777" y="27964"/>
                  </a:cubicBezTo>
                  <a:cubicBezTo>
                    <a:pt x="122112" y="26678"/>
                    <a:pt x="122112" y="25390"/>
                    <a:pt x="122613" y="24287"/>
                  </a:cubicBezTo>
                  <a:cubicBezTo>
                    <a:pt x="122948" y="23551"/>
                    <a:pt x="123115" y="22816"/>
                    <a:pt x="123282" y="22080"/>
                  </a:cubicBezTo>
                  <a:cubicBezTo>
                    <a:pt x="123784" y="20977"/>
                    <a:pt x="124285" y="19689"/>
                    <a:pt x="124786" y="18586"/>
                  </a:cubicBezTo>
                  <a:cubicBezTo>
                    <a:pt x="125288" y="17667"/>
                    <a:pt x="125790" y="16931"/>
                    <a:pt x="126291" y="16012"/>
                  </a:cubicBezTo>
                  <a:cubicBezTo>
                    <a:pt x="126793" y="15276"/>
                    <a:pt x="127295" y="14541"/>
                    <a:pt x="127796" y="13988"/>
                  </a:cubicBezTo>
                  <a:cubicBezTo>
                    <a:pt x="128297" y="13437"/>
                    <a:pt x="128799" y="12885"/>
                    <a:pt x="129300" y="12334"/>
                  </a:cubicBezTo>
                  <a:cubicBezTo>
                    <a:pt x="130304" y="11414"/>
                    <a:pt x="131307" y="10495"/>
                    <a:pt x="132477" y="9759"/>
                  </a:cubicBezTo>
                  <a:cubicBezTo>
                    <a:pt x="133313" y="9208"/>
                    <a:pt x="134316" y="8656"/>
                    <a:pt x="135152" y="8288"/>
                  </a:cubicBezTo>
                  <a:cubicBezTo>
                    <a:pt x="137158" y="7369"/>
                    <a:pt x="139331" y="6817"/>
                    <a:pt x="141672" y="6633"/>
                  </a:cubicBezTo>
                  <a:close/>
                  <a:moveTo>
                    <a:pt x="3062310" y="5642"/>
                  </a:moveTo>
                  <a:cubicBezTo>
                    <a:pt x="3063229" y="5642"/>
                    <a:pt x="3064149" y="5458"/>
                    <a:pt x="3065068" y="5642"/>
                  </a:cubicBezTo>
                  <a:cubicBezTo>
                    <a:pt x="3066356" y="5825"/>
                    <a:pt x="3067459" y="6377"/>
                    <a:pt x="3068194" y="7297"/>
                  </a:cubicBezTo>
                  <a:cubicBezTo>
                    <a:pt x="3069298" y="8400"/>
                    <a:pt x="3069850" y="9872"/>
                    <a:pt x="3069665" y="11526"/>
                  </a:cubicBezTo>
                  <a:cubicBezTo>
                    <a:pt x="3069665" y="11711"/>
                    <a:pt x="3069665" y="11711"/>
                    <a:pt x="3069665" y="11894"/>
                  </a:cubicBezTo>
                  <a:cubicBezTo>
                    <a:pt x="3069665" y="23848"/>
                    <a:pt x="3069665" y="35800"/>
                    <a:pt x="3069665" y="47937"/>
                  </a:cubicBezTo>
                  <a:cubicBezTo>
                    <a:pt x="3069665" y="48305"/>
                    <a:pt x="3069665" y="48305"/>
                    <a:pt x="3070033" y="48305"/>
                  </a:cubicBezTo>
                  <a:cubicBezTo>
                    <a:pt x="3071688" y="48305"/>
                    <a:pt x="3073343" y="48305"/>
                    <a:pt x="3074998" y="48305"/>
                  </a:cubicBezTo>
                  <a:cubicBezTo>
                    <a:pt x="3075918" y="48305"/>
                    <a:pt x="3076837" y="48673"/>
                    <a:pt x="3077757" y="49041"/>
                  </a:cubicBezTo>
                  <a:cubicBezTo>
                    <a:pt x="3079412" y="50144"/>
                    <a:pt x="3080331" y="51615"/>
                    <a:pt x="3080331" y="53638"/>
                  </a:cubicBezTo>
                  <a:cubicBezTo>
                    <a:pt x="3080331" y="55109"/>
                    <a:pt x="3079780" y="56580"/>
                    <a:pt x="3078493" y="57500"/>
                  </a:cubicBezTo>
                  <a:cubicBezTo>
                    <a:pt x="3077757" y="58051"/>
                    <a:pt x="3076837" y="58603"/>
                    <a:pt x="3075734" y="58787"/>
                  </a:cubicBezTo>
                  <a:cubicBezTo>
                    <a:pt x="3075734" y="58787"/>
                    <a:pt x="3075550" y="58787"/>
                    <a:pt x="3075550" y="58787"/>
                  </a:cubicBezTo>
                  <a:cubicBezTo>
                    <a:pt x="3075550" y="58787"/>
                    <a:pt x="3075366" y="58787"/>
                    <a:pt x="3075366" y="58787"/>
                  </a:cubicBezTo>
                  <a:cubicBezTo>
                    <a:pt x="3075366" y="58603"/>
                    <a:pt x="3075183" y="58787"/>
                    <a:pt x="3074998" y="58787"/>
                  </a:cubicBezTo>
                  <a:cubicBezTo>
                    <a:pt x="3067643" y="58787"/>
                    <a:pt x="3060287" y="58787"/>
                    <a:pt x="3053115" y="58787"/>
                  </a:cubicBezTo>
                  <a:cubicBezTo>
                    <a:pt x="3052931" y="58787"/>
                    <a:pt x="3052931" y="58787"/>
                    <a:pt x="3052748" y="58787"/>
                  </a:cubicBezTo>
                  <a:cubicBezTo>
                    <a:pt x="3052563" y="58787"/>
                    <a:pt x="3052380" y="58787"/>
                    <a:pt x="3052196" y="58787"/>
                  </a:cubicBezTo>
                  <a:cubicBezTo>
                    <a:pt x="3052012" y="58603"/>
                    <a:pt x="3051828" y="58603"/>
                    <a:pt x="3051644" y="58603"/>
                  </a:cubicBezTo>
                  <a:cubicBezTo>
                    <a:pt x="3050724" y="58419"/>
                    <a:pt x="3049989" y="57868"/>
                    <a:pt x="3049253" y="57316"/>
                  </a:cubicBezTo>
                  <a:cubicBezTo>
                    <a:pt x="3048150" y="56213"/>
                    <a:pt x="3047599" y="54925"/>
                    <a:pt x="3047599" y="53454"/>
                  </a:cubicBezTo>
                  <a:cubicBezTo>
                    <a:pt x="3047599" y="52167"/>
                    <a:pt x="3047966" y="50879"/>
                    <a:pt x="3049070" y="49960"/>
                  </a:cubicBezTo>
                  <a:cubicBezTo>
                    <a:pt x="3050173" y="48857"/>
                    <a:pt x="3051460" y="48305"/>
                    <a:pt x="3052931" y="48305"/>
                  </a:cubicBezTo>
                  <a:cubicBezTo>
                    <a:pt x="3054770" y="48305"/>
                    <a:pt x="3056609" y="48305"/>
                    <a:pt x="3058264" y="48305"/>
                  </a:cubicBezTo>
                  <a:cubicBezTo>
                    <a:pt x="3058448" y="48305"/>
                    <a:pt x="3058632" y="48305"/>
                    <a:pt x="3058632" y="47937"/>
                  </a:cubicBezTo>
                  <a:cubicBezTo>
                    <a:pt x="3058632" y="37456"/>
                    <a:pt x="3058632" y="27157"/>
                    <a:pt x="3058632" y="16676"/>
                  </a:cubicBezTo>
                  <a:cubicBezTo>
                    <a:pt x="3058632" y="16491"/>
                    <a:pt x="3058632" y="16308"/>
                    <a:pt x="3058264" y="16308"/>
                  </a:cubicBezTo>
                  <a:cubicBezTo>
                    <a:pt x="3056977" y="16308"/>
                    <a:pt x="3055506" y="16308"/>
                    <a:pt x="3054219" y="16308"/>
                  </a:cubicBezTo>
                  <a:cubicBezTo>
                    <a:pt x="3052012" y="16308"/>
                    <a:pt x="3050357" y="15204"/>
                    <a:pt x="3049253" y="13182"/>
                  </a:cubicBezTo>
                  <a:cubicBezTo>
                    <a:pt x="3048702" y="12078"/>
                    <a:pt x="3048702" y="10791"/>
                    <a:pt x="3049070" y="9319"/>
                  </a:cubicBezTo>
                  <a:cubicBezTo>
                    <a:pt x="3049806" y="7297"/>
                    <a:pt x="3051828" y="5825"/>
                    <a:pt x="3054035" y="5825"/>
                  </a:cubicBezTo>
                  <a:cubicBezTo>
                    <a:pt x="3056793" y="5825"/>
                    <a:pt x="3059551" y="5642"/>
                    <a:pt x="3062310" y="5642"/>
                  </a:cubicBezTo>
                  <a:close/>
                  <a:moveTo>
                    <a:pt x="2703992" y="5642"/>
                  </a:moveTo>
                  <a:cubicBezTo>
                    <a:pt x="2704912" y="5642"/>
                    <a:pt x="2705831" y="5458"/>
                    <a:pt x="2706751" y="5642"/>
                  </a:cubicBezTo>
                  <a:cubicBezTo>
                    <a:pt x="2708038" y="5825"/>
                    <a:pt x="2709142" y="6377"/>
                    <a:pt x="2709877" y="7297"/>
                  </a:cubicBezTo>
                  <a:cubicBezTo>
                    <a:pt x="2710981" y="8400"/>
                    <a:pt x="2711532" y="9872"/>
                    <a:pt x="2711348" y="11526"/>
                  </a:cubicBezTo>
                  <a:cubicBezTo>
                    <a:pt x="2711348" y="11711"/>
                    <a:pt x="2711348" y="11711"/>
                    <a:pt x="2711348" y="11894"/>
                  </a:cubicBezTo>
                  <a:cubicBezTo>
                    <a:pt x="2711348" y="23848"/>
                    <a:pt x="2711348" y="35800"/>
                    <a:pt x="2711348" y="47937"/>
                  </a:cubicBezTo>
                  <a:cubicBezTo>
                    <a:pt x="2711348" y="48305"/>
                    <a:pt x="2711348" y="48305"/>
                    <a:pt x="2711716" y="48305"/>
                  </a:cubicBezTo>
                  <a:cubicBezTo>
                    <a:pt x="2713371" y="48305"/>
                    <a:pt x="2715026" y="48305"/>
                    <a:pt x="2716681" y="48305"/>
                  </a:cubicBezTo>
                  <a:cubicBezTo>
                    <a:pt x="2717600" y="48305"/>
                    <a:pt x="2718520" y="48673"/>
                    <a:pt x="2719439" y="49041"/>
                  </a:cubicBezTo>
                  <a:cubicBezTo>
                    <a:pt x="2721094" y="50144"/>
                    <a:pt x="2722014" y="51615"/>
                    <a:pt x="2722014" y="53638"/>
                  </a:cubicBezTo>
                  <a:cubicBezTo>
                    <a:pt x="2722014" y="55109"/>
                    <a:pt x="2721462" y="56580"/>
                    <a:pt x="2720175" y="57500"/>
                  </a:cubicBezTo>
                  <a:cubicBezTo>
                    <a:pt x="2719439" y="58051"/>
                    <a:pt x="2718520" y="58603"/>
                    <a:pt x="2717417" y="58787"/>
                  </a:cubicBezTo>
                  <a:cubicBezTo>
                    <a:pt x="2717417" y="58787"/>
                    <a:pt x="2717232" y="58787"/>
                    <a:pt x="2717232" y="58787"/>
                  </a:cubicBezTo>
                  <a:cubicBezTo>
                    <a:pt x="2717232" y="58787"/>
                    <a:pt x="2717049" y="58787"/>
                    <a:pt x="2717049" y="58787"/>
                  </a:cubicBezTo>
                  <a:cubicBezTo>
                    <a:pt x="2717049" y="58603"/>
                    <a:pt x="2716865" y="58787"/>
                    <a:pt x="2716681" y="58787"/>
                  </a:cubicBezTo>
                  <a:cubicBezTo>
                    <a:pt x="2709325" y="58787"/>
                    <a:pt x="2701970" y="58787"/>
                    <a:pt x="2694798" y="58787"/>
                  </a:cubicBezTo>
                  <a:cubicBezTo>
                    <a:pt x="2694614" y="58787"/>
                    <a:pt x="2694614" y="58787"/>
                    <a:pt x="2694430" y="58787"/>
                  </a:cubicBezTo>
                  <a:cubicBezTo>
                    <a:pt x="2694246" y="58787"/>
                    <a:pt x="2694062" y="58787"/>
                    <a:pt x="2693878" y="58787"/>
                  </a:cubicBezTo>
                  <a:cubicBezTo>
                    <a:pt x="2693694" y="58603"/>
                    <a:pt x="2693510" y="58603"/>
                    <a:pt x="2693327" y="58603"/>
                  </a:cubicBezTo>
                  <a:cubicBezTo>
                    <a:pt x="2692407" y="58419"/>
                    <a:pt x="2691672" y="57868"/>
                    <a:pt x="2690936" y="57316"/>
                  </a:cubicBezTo>
                  <a:cubicBezTo>
                    <a:pt x="2689833" y="56213"/>
                    <a:pt x="2689281" y="54925"/>
                    <a:pt x="2689281" y="53454"/>
                  </a:cubicBezTo>
                  <a:cubicBezTo>
                    <a:pt x="2689281" y="52167"/>
                    <a:pt x="2689649" y="50879"/>
                    <a:pt x="2690752" y="49960"/>
                  </a:cubicBezTo>
                  <a:cubicBezTo>
                    <a:pt x="2691855" y="48857"/>
                    <a:pt x="2693143" y="48305"/>
                    <a:pt x="2694614" y="48305"/>
                  </a:cubicBezTo>
                  <a:cubicBezTo>
                    <a:pt x="2696452" y="48305"/>
                    <a:pt x="2698291" y="48305"/>
                    <a:pt x="2699947" y="48305"/>
                  </a:cubicBezTo>
                  <a:cubicBezTo>
                    <a:pt x="2700131" y="48305"/>
                    <a:pt x="2700315" y="48305"/>
                    <a:pt x="2700315" y="47937"/>
                  </a:cubicBezTo>
                  <a:cubicBezTo>
                    <a:pt x="2700315" y="37456"/>
                    <a:pt x="2700315" y="27157"/>
                    <a:pt x="2700315" y="16676"/>
                  </a:cubicBezTo>
                  <a:cubicBezTo>
                    <a:pt x="2700315" y="16491"/>
                    <a:pt x="2700315" y="16308"/>
                    <a:pt x="2699947" y="16308"/>
                  </a:cubicBezTo>
                  <a:cubicBezTo>
                    <a:pt x="2698659" y="16308"/>
                    <a:pt x="2697188" y="16308"/>
                    <a:pt x="2695901" y="16308"/>
                  </a:cubicBezTo>
                  <a:cubicBezTo>
                    <a:pt x="2693694" y="16308"/>
                    <a:pt x="2692039" y="15204"/>
                    <a:pt x="2690936" y="13182"/>
                  </a:cubicBezTo>
                  <a:cubicBezTo>
                    <a:pt x="2690384" y="12078"/>
                    <a:pt x="2690384" y="10791"/>
                    <a:pt x="2690752" y="9319"/>
                  </a:cubicBezTo>
                  <a:cubicBezTo>
                    <a:pt x="2691487" y="7297"/>
                    <a:pt x="2693510" y="5825"/>
                    <a:pt x="2695717" y="5825"/>
                  </a:cubicBezTo>
                  <a:cubicBezTo>
                    <a:pt x="2698476" y="5825"/>
                    <a:pt x="2701234" y="5642"/>
                    <a:pt x="2703992" y="5642"/>
                  </a:cubicBezTo>
                  <a:close/>
                  <a:moveTo>
                    <a:pt x="2652745" y="5642"/>
                  </a:moveTo>
                  <a:cubicBezTo>
                    <a:pt x="2653664" y="5642"/>
                    <a:pt x="2654584" y="5458"/>
                    <a:pt x="2655503" y="5642"/>
                  </a:cubicBezTo>
                  <a:cubicBezTo>
                    <a:pt x="2656791" y="5825"/>
                    <a:pt x="2657894" y="6377"/>
                    <a:pt x="2658629" y="7297"/>
                  </a:cubicBezTo>
                  <a:cubicBezTo>
                    <a:pt x="2659733" y="8400"/>
                    <a:pt x="2660284" y="9872"/>
                    <a:pt x="2660100" y="11526"/>
                  </a:cubicBezTo>
                  <a:cubicBezTo>
                    <a:pt x="2660100" y="11711"/>
                    <a:pt x="2660100" y="11711"/>
                    <a:pt x="2660100" y="11894"/>
                  </a:cubicBezTo>
                  <a:cubicBezTo>
                    <a:pt x="2660100" y="23848"/>
                    <a:pt x="2660100" y="35800"/>
                    <a:pt x="2660100" y="47937"/>
                  </a:cubicBezTo>
                  <a:cubicBezTo>
                    <a:pt x="2660100" y="48305"/>
                    <a:pt x="2660100" y="48305"/>
                    <a:pt x="2660468" y="48305"/>
                  </a:cubicBezTo>
                  <a:cubicBezTo>
                    <a:pt x="2662123" y="48305"/>
                    <a:pt x="2663778" y="48305"/>
                    <a:pt x="2665433" y="48305"/>
                  </a:cubicBezTo>
                  <a:cubicBezTo>
                    <a:pt x="2666353" y="48305"/>
                    <a:pt x="2667272" y="48673"/>
                    <a:pt x="2668192" y="49041"/>
                  </a:cubicBezTo>
                  <a:cubicBezTo>
                    <a:pt x="2669846" y="50144"/>
                    <a:pt x="2670766" y="51615"/>
                    <a:pt x="2670766" y="53638"/>
                  </a:cubicBezTo>
                  <a:cubicBezTo>
                    <a:pt x="2670766" y="55109"/>
                    <a:pt x="2670214" y="56580"/>
                    <a:pt x="2668928" y="57500"/>
                  </a:cubicBezTo>
                  <a:cubicBezTo>
                    <a:pt x="2668192" y="58051"/>
                    <a:pt x="2667272" y="58603"/>
                    <a:pt x="2666169" y="58787"/>
                  </a:cubicBezTo>
                  <a:cubicBezTo>
                    <a:pt x="2666169" y="58787"/>
                    <a:pt x="2665985" y="58787"/>
                    <a:pt x="2665985" y="58787"/>
                  </a:cubicBezTo>
                  <a:cubicBezTo>
                    <a:pt x="2665985" y="58787"/>
                    <a:pt x="2665801" y="58787"/>
                    <a:pt x="2665801" y="58787"/>
                  </a:cubicBezTo>
                  <a:cubicBezTo>
                    <a:pt x="2665801" y="58603"/>
                    <a:pt x="2665617" y="58787"/>
                    <a:pt x="2665433" y="58787"/>
                  </a:cubicBezTo>
                  <a:cubicBezTo>
                    <a:pt x="2658077" y="58787"/>
                    <a:pt x="2650722" y="58787"/>
                    <a:pt x="2643550" y="58787"/>
                  </a:cubicBezTo>
                  <a:cubicBezTo>
                    <a:pt x="2643366" y="58787"/>
                    <a:pt x="2643366" y="58787"/>
                    <a:pt x="2643182" y="58787"/>
                  </a:cubicBezTo>
                  <a:cubicBezTo>
                    <a:pt x="2642998" y="58787"/>
                    <a:pt x="2642815" y="58787"/>
                    <a:pt x="2642630" y="58787"/>
                  </a:cubicBezTo>
                  <a:cubicBezTo>
                    <a:pt x="2642447" y="58603"/>
                    <a:pt x="2642262" y="58603"/>
                    <a:pt x="2642079" y="58603"/>
                  </a:cubicBezTo>
                  <a:cubicBezTo>
                    <a:pt x="2641159" y="58419"/>
                    <a:pt x="2640424" y="57868"/>
                    <a:pt x="2639688" y="57316"/>
                  </a:cubicBezTo>
                  <a:cubicBezTo>
                    <a:pt x="2638585" y="56213"/>
                    <a:pt x="2638033" y="54925"/>
                    <a:pt x="2638033" y="53454"/>
                  </a:cubicBezTo>
                  <a:cubicBezTo>
                    <a:pt x="2638033" y="52167"/>
                    <a:pt x="2638401" y="50879"/>
                    <a:pt x="2639504" y="49960"/>
                  </a:cubicBezTo>
                  <a:cubicBezTo>
                    <a:pt x="2640608" y="48857"/>
                    <a:pt x="2641895" y="48305"/>
                    <a:pt x="2643366" y="48305"/>
                  </a:cubicBezTo>
                  <a:cubicBezTo>
                    <a:pt x="2645205" y="48305"/>
                    <a:pt x="2647044" y="48305"/>
                    <a:pt x="2648699" y="48305"/>
                  </a:cubicBezTo>
                  <a:cubicBezTo>
                    <a:pt x="2648883" y="48305"/>
                    <a:pt x="2649067" y="48305"/>
                    <a:pt x="2649067" y="47937"/>
                  </a:cubicBezTo>
                  <a:cubicBezTo>
                    <a:pt x="2649067" y="37456"/>
                    <a:pt x="2649067" y="27157"/>
                    <a:pt x="2649067" y="16676"/>
                  </a:cubicBezTo>
                  <a:cubicBezTo>
                    <a:pt x="2649067" y="16491"/>
                    <a:pt x="2649067" y="16308"/>
                    <a:pt x="2648699" y="16308"/>
                  </a:cubicBezTo>
                  <a:cubicBezTo>
                    <a:pt x="2647412" y="16308"/>
                    <a:pt x="2645941" y="16308"/>
                    <a:pt x="2644653" y="16308"/>
                  </a:cubicBezTo>
                  <a:cubicBezTo>
                    <a:pt x="2642447" y="16308"/>
                    <a:pt x="2640791" y="15204"/>
                    <a:pt x="2639688" y="13182"/>
                  </a:cubicBezTo>
                  <a:cubicBezTo>
                    <a:pt x="2639137" y="12078"/>
                    <a:pt x="2639137" y="10791"/>
                    <a:pt x="2639504" y="9319"/>
                  </a:cubicBezTo>
                  <a:cubicBezTo>
                    <a:pt x="2640240" y="7297"/>
                    <a:pt x="2642262" y="5825"/>
                    <a:pt x="2644469" y="5825"/>
                  </a:cubicBezTo>
                  <a:cubicBezTo>
                    <a:pt x="2647228" y="5825"/>
                    <a:pt x="2649986" y="5642"/>
                    <a:pt x="2652745" y="5642"/>
                  </a:cubicBezTo>
                  <a:close/>
                  <a:moveTo>
                    <a:pt x="2294365" y="5642"/>
                  </a:moveTo>
                  <a:cubicBezTo>
                    <a:pt x="2295284" y="5642"/>
                    <a:pt x="2296204" y="5458"/>
                    <a:pt x="2297123" y="5642"/>
                  </a:cubicBezTo>
                  <a:cubicBezTo>
                    <a:pt x="2298411" y="5825"/>
                    <a:pt x="2299514" y="6377"/>
                    <a:pt x="2300249" y="7297"/>
                  </a:cubicBezTo>
                  <a:cubicBezTo>
                    <a:pt x="2301353" y="8400"/>
                    <a:pt x="2301905" y="9872"/>
                    <a:pt x="2301720" y="11526"/>
                  </a:cubicBezTo>
                  <a:cubicBezTo>
                    <a:pt x="2301720" y="11711"/>
                    <a:pt x="2301720" y="11711"/>
                    <a:pt x="2301720" y="11894"/>
                  </a:cubicBezTo>
                  <a:cubicBezTo>
                    <a:pt x="2301720" y="23848"/>
                    <a:pt x="2301720" y="35800"/>
                    <a:pt x="2301720" y="47937"/>
                  </a:cubicBezTo>
                  <a:cubicBezTo>
                    <a:pt x="2301720" y="48305"/>
                    <a:pt x="2301720" y="48305"/>
                    <a:pt x="2302088" y="48305"/>
                  </a:cubicBezTo>
                  <a:cubicBezTo>
                    <a:pt x="2303743" y="48305"/>
                    <a:pt x="2305398" y="48305"/>
                    <a:pt x="2307053" y="48305"/>
                  </a:cubicBezTo>
                  <a:cubicBezTo>
                    <a:pt x="2307973" y="48305"/>
                    <a:pt x="2308892" y="48673"/>
                    <a:pt x="2309812" y="49041"/>
                  </a:cubicBezTo>
                  <a:cubicBezTo>
                    <a:pt x="2311466" y="50144"/>
                    <a:pt x="2312386" y="51615"/>
                    <a:pt x="2312386" y="53638"/>
                  </a:cubicBezTo>
                  <a:cubicBezTo>
                    <a:pt x="2312386" y="55109"/>
                    <a:pt x="2311834" y="56580"/>
                    <a:pt x="2310548" y="57500"/>
                  </a:cubicBezTo>
                  <a:cubicBezTo>
                    <a:pt x="2309812" y="58051"/>
                    <a:pt x="2308892" y="58603"/>
                    <a:pt x="2307789" y="58787"/>
                  </a:cubicBezTo>
                  <a:cubicBezTo>
                    <a:pt x="2307789" y="58787"/>
                    <a:pt x="2307605" y="58787"/>
                    <a:pt x="2307605" y="58787"/>
                  </a:cubicBezTo>
                  <a:cubicBezTo>
                    <a:pt x="2307605" y="58787"/>
                    <a:pt x="2307421" y="58787"/>
                    <a:pt x="2307421" y="58787"/>
                  </a:cubicBezTo>
                  <a:cubicBezTo>
                    <a:pt x="2307421" y="58603"/>
                    <a:pt x="2307237" y="58787"/>
                    <a:pt x="2307053" y="58787"/>
                  </a:cubicBezTo>
                  <a:cubicBezTo>
                    <a:pt x="2299697" y="58787"/>
                    <a:pt x="2292342" y="58787"/>
                    <a:pt x="2285170" y="58787"/>
                  </a:cubicBezTo>
                  <a:cubicBezTo>
                    <a:pt x="2284986" y="58787"/>
                    <a:pt x="2284986" y="58787"/>
                    <a:pt x="2284802" y="58787"/>
                  </a:cubicBezTo>
                  <a:cubicBezTo>
                    <a:pt x="2284618" y="58787"/>
                    <a:pt x="2284435" y="58787"/>
                    <a:pt x="2284250" y="58787"/>
                  </a:cubicBezTo>
                  <a:cubicBezTo>
                    <a:pt x="2284067" y="58603"/>
                    <a:pt x="2283882" y="58603"/>
                    <a:pt x="2283699" y="58603"/>
                  </a:cubicBezTo>
                  <a:cubicBezTo>
                    <a:pt x="2282779" y="58419"/>
                    <a:pt x="2282044" y="57868"/>
                    <a:pt x="2281308" y="57316"/>
                  </a:cubicBezTo>
                  <a:cubicBezTo>
                    <a:pt x="2280205" y="56213"/>
                    <a:pt x="2279653" y="54925"/>
                    <a:pt x="2279653" y="53454"/>
                  </a:cubicBezTo>
                  <a:cubicBezTo>
                    <a:pt x="2279653" y="52167"/>
                    <a:pt x="2280021" y="50879"/>
                    <a:pt x="2281125" y="49960"/>
                  </a:cubicBezTo>
                  <a:cubicBezTo>
                    <a:pt x="2282228" y="48857"/>
                    <a:pt x="2283515" y="48305"/>
                    <a:pt x="2284986" y="48305"/>
                  </a:cubicBezTo>
                  <a:cubicBezTo>
                    <a:pt x="2286825" y="48305"/>
                    <a:pt x="2288664" y="48305"/>
                    <a:pt x="2290319" y="48305"/>
                  </a:cubicBezTo>
                  <a:cubicBezTo>
                    <a:pt x="2290503" y="48305"/>
                    <a:pt x="2290687" y="48305"/>
                    <a:pt x="2290687" y="47937"/>
                  </a:cubicBezTo>
                  <a:cubicBezTo>
                    <a:pt x="2290687" y="37456"/>
                    <a:pt x="2290687" y="27157"/>
                    <a:pt x="2290687" y="16676"/>
                  </a:cubicBezTo>
                  <a:cubicBezTo>
                    <a:pt x="2290687" y="16491"/>
                    <a:pt x="2290687" y="16308"/>
                    <a:pt x="2290319" y="16308"/>
                  </a:cubicBezTo>
                  <a:cubicBezTo>
                    <a:pt x="2289032" y="16308"/>
                    <a:pt x="2287561" y="16308"/>
                    <a:pt x="2286274" y="16308"/>
                  </a:cubicBezTo>
                  <a:cubicBezTo>
                    <a:pt x="2284067" y="16308"/>
                    <a:pt x="2282411" y="15204"/>
                    <a:pt x="2281308" y="13182"/>
                  </a:cubicBezTo>
                  <a:cubicBezTo>
                    <a:pt x="2280757" y="12078"/>
                    <a:pt x="2280757" y="10791"/>
                    <a:pt x="2281125" y="9319"/>
                  </a:cubicBezTo>
                  <a:cubicBezTo>
                    <a:pt x="2281860" y="7297"/>
                    <a:pt x="2283882" y="5825"/>
                    <a:pt x="2286089" y="5825"/>
                  </a:cubicBezTo>
                  <a:cubicBezTo>
                    <a:pt x="2288848" y="5825"/>
                    <a:pt x="2291606" y="5642"/>
                    <a:pt x="2294365" y="5642"/>
                  </a:cubicBezTo>
                  <a:close/>
                  <a:moveTo>
                    <a:pt x="2181671" y="5642"/>
                  </a:moveTo>
                  <a:cubicBezTo>
                    <a:pt x="2182590" y="5642"/>
                    <a:pt x="2183510" y="5458"/>
                    <a:pt x="2184429" y="5642"/>
                  </a:cubicBezTo>
                  <a:cubicBezTo>
                    <a:pt x="2185717" y="5825"/>
                    <a:pt x="2186820" y="6377"/>
                    <a:pt x="2187555" y="7297"/>
                  </a:cubicBezTo>
                  <a:cubicBezTo>
                    <a:pt x="2188659" y="8400"/>
                    <a:pt x="2189210" y="9872"/>
                    <a:pt x="2189026" y="11526"/>
                  </a:cubicBezTo>
                  <a:cubicBezTo>
                    <a:pt x="2189026" y="11711"/>
                    <a:pt x="2189026" y="11711"/>
                    <a:pt x="2189026" y="11894"/>
                  </a:cubicBezTo>
                  <a:cubicBezTo>
                    <a:pt x="2189026" y="23848"/>
                    <a:pt x="2189026" y="35800"/>
                    <a:pt x="2189026" y="47937"/>
                  </a:cubicBezTo>
                  <a:cubicBezTo>
                    <a:pt x="2189026" y="48305"/>
                    <a:pt x="2189026" y="48305"/>
                    <a:pt x="2189394" y="48305"/>
                  </a:cubicBezTo>
                  <a:cubicBezTo>
                    <a:pt x="2191049" y="48305"/>
                    <a:pt x="2192704" y="48305"/>
                    <a:pt x="2194359" y="48305"/>
                  </a:cubicBezTo>
                  <a:cubicBezTo>
                    <a:pt x="2195279" y="48305"/>
                    <a:pt x="2196198" y="48673"/>
                    <a:pt x="2197118" y="49041"/>
                  </a:cubicBezTo>
                  <a:cubicBezTo>
                    <a:pt x="2198772" y="50144"/>
                    <a:pt x="2199692" y="51615"/>
                    <a:pt x="2199692" y="53638"/>
                  </a:cubicBezTo>
                  <a:cubicBezTo>
                    <a:pt x="2199692" y="55109"/>
                    <a:pt x="2199140" y="56580"/>
                    <a:pt x="2197854" y="57500"/>
                  </a:cubicBezTo>
                  <a:cubicBezTo>
                    <a:pt x="2197118" y="58051"/>
                    <a:pt x="2196198" y="58603"/>
                    <a:pt x="2195095" y="58787"/>
                  </a:cubicBezTo>
                  <a:cubicBezTo>
                    <a:pt x="2195095" y="58787"/>
                    <a:pt x="2194911" y="58787"/>
                    <a:pt x="2194911" y="58787"/>
                  </a:cubicBezTo>
                  <a:cubicBezTo>
                    <a:pt x="2194911" y="58787"/>
                    <a:pt x="2194727" y="58787"/>
                    <a:pt x="2194727" y="58787"/>
                  </a:cubicBezTo>
                  <a:cubicBezTo>
                    <a:pt x="2194727" y="58603"/>
                    <a:pt x="2194543" y="58787"/>
                    <a:pt x="2194359" y="58787"/>
                  </a:cubicBezTo>
                  <a:cubicBezTo>
                    <a:pt x="2187003" y="58787"/>
                    <a:pt x="2179648" y="58787"/>
                    <a:pt x="2172476" y="58787"/>
                  </a:cubicBezTo>
                  <a:cubicBezTo>
                    <a:pt x="2172292" y="58787"/>
                    <a:pt x="2172292" y="58787"/>
                    <a:pt x="2172108" y="58787"/>
                  </a:cubicBezTo>
                  <a:cubicBezTo>
                    <a:pt x="2171924" y="58787"/>
                    <a:pt x="2171741" y="58787"/>
                    <a:pt x="2171556" y="58787"/>
                  </a:cubicBezTo>
                  <a:cubicBezTo>
                    <a:pt x="2171373" y="58603"/>
                    <a:pt x="2171188" y="58603"/>
                    <a:pt x="2171005" y="58603"/>
                  </a:cubicBezTo>
                  <a:cubicBezTo>
                    <a:pt x="2170085" y="58419"/>
                    <a:pt x="2169350" y="57868"/>
                    <a:pt x="2168614" y="57316"/>
                  </a:cubicBezTo>
                  <a:cubicBezTo>
                    <a:pt x="2167511" y="56213"/>
                    <a:pt x="2166959" y="54925"/>
                    <a:pt x="2166959" y="53454"/>
                  </a:cubicBezTo>
                  <a:cubicBezTo>
                    <a:pt x="2166959" y="52167"/>
                    <a:pt x="2167327" y="50879"/>
                    <a:pt x="2168430" y="49960"/>
                  </a:cubicBezTo>
                  <a:cubicBezTo>
                    <a:pt x="2169534" y="48857"/>
                    <a:pt x="2170821" y="48305"/>
                    <a:pt x="2172292" y="48305"/>
                  </a:cubicBezTo>
                  <a:cubicBezTo>
                    <a:pt x="2174131" y="48305"/>
                    <a:pt x="2175970" y="48305"/>
                    <a:pt x="2177625" y="48305"/>
                  </a:cubicBezTo>
                  <a:cubicBezTo>
                    <a:pt x="2177809" y="48305"/>
                    <a:pt x="2177993" y="48305"/>
                    <a:pt x="2177993" y="47937"/>
                  </a:cubicBezTo>
                  <a:cubicBezTo>
                    <a:pt x="2177993" y="37456"/>
                    <a:pt x="2177993" y="27157"/>
                    <a:pt x="2177993" y="16676"/>
                  </a:cubicBezTo>
                  <a:cubicBezTo>
                    <a:pt x="2177993" y="16491"/>
                    <a:pt x="2177993" y="16308"/>
                    <a:pt x="2177625" y="16308"/>
                  </a:cubicBezTo>
                  <a:cubicBezTo>
                    <a:pt x="2176338" y="16308"/>
                    <a:pt x="2174867" y="16308"/>
                    <a:pt x="2173580" y="16308"/>
                  </a:cubicBezTo>
                  <a:cubicBezTo>
                    <a:pt x="2171373" y="16308"/>
                    <a:pt x="2169717" y="15204"/>
                    <a:pt x="2168614" y="13182"/>
                  </a:cubicBezTo>
                  <a:cubicBezTo>
                    <a:pt x="2168062" y="12078"/>
                    <a:pt x="2168062" y="10791"/>
                    <a:pt x="2168430" y="9319"/>
                  </a:cubicBezTo>
                  <a:cubicBezTo>
                    <a:pt x="2169166" y="7297"/>
                    <a:pt x="2171188" y="5825"/>
                    <a:pt x="2173395" y="5825"/>
                  </a:cubicBezTo>
                  <a:cubicBezTo>
                    <a:pt x="2176154" y="5825"/>
                    <a:pt x="2178912" y="5642"/>
                    <a:pt x="2181671" y="5642"/>
                  </a:cubicBezTo>
                  <a:close/>
                  <a:moveTo>
                    <a:pt x="1823341" y="5642"/>
                  </a:moveTo>
                  <a:cubicBezTo>
                    <a:pt x="1824260" y="5642"/>
                    <a:pt x="1825180" y="5458"/>
                    <a:pt x="1826099" y="5642"/>
                  </a:cubicBezTo>
                  <a:cubicBezTo>
                    <a:pt x="1827387" y="5825"/>
                    <a:pt x="1828490" y="6377"/>
                    <a:pt x="1829225" y="7297"/>
                  </a:cubicBezTo>
                  <a:cubicBezTo>
                    <a:pt x="1830328" y="8400"/>
                    <a:pt x="1830880" y="9872"/>
                    <a:pt x="1830696" y="11526"/>
                  </a:cubicBezTo>
                  <a:cubicBezTo>
                    <a:pt x="1830696" y="11711"/>
                    <a:pt x="1830696" y="11711"/>
                    <a:pt x="1830696" y="11894"/>
                  </a:cubicBezTo>
                  <a:cubicBezTo>
                    <a:pt x="1830696" y="23848"/>
                    <a:pt x="1830696" y="35800"/>
                    <a:pt x="1830696" y="47937"/>
                  </a:cubicBezTo>
                  <a:cubicBezTo>
                    <a:pt x="1830696" y="48305"/>
                    <a:pt x="1830696" y="48305"/>
                    <a:pt x="1831064" y="48305"/>
                  </a:cubicBezTo>
                  <a:cubicBezTo>
                    <a:pt x="1832718" y="48305"/>
                    <a:pt x="1834374" y="48305"/>
                    <a:pt x="1836029" y="48305"/>
                  </a:cubicBezTo>
                  <a:cubicBezTo>
                    <a:pt x="1836948" y="48305"/>
                    <a:pt x="1837868" y="48673"/>
                    <a:pt x="1838787" y="49041"/>
                  </a:cubicBezTo>
                  <a:cubicBezTo>
                    <a:pt x="1840442" y="50144"/>
                    <a:pt x="1841362" y="51615"/>
                    <a:pt x="1841362" y="53638"/>
                  </a:cubicBezTo>
                  <a:cubicBezTo>
                    <a:pt x="1841362" y="55109"/>
                    <a:pt x="1840810" y="56580"/>
                    <a:pt x="1839523" y="57500"/>
                  </a:cubicBezTo>
                  <a:cubicBezTo>
                    <a:pt x="1838787" y="58051"/>
                    <a:pt x="1837868" y="58603"/>
                    <a:pt x="1836765" y="58787"/>
                  </a:cubicBezTo>
                  <a:cubicBezTo>
                    <a:pt x="1836765" y="58787"/>
                    <a:pt x="1836581" y="58787"/>
                    <a:pt x="1836581" y="58787"/>
                  </a:cubicBezTo>
                  <a:cubicBezTo>
                    <a:pt x="1836581" y="58787"/>
                    <a:pt x="1836397" y="58787"/>
                    <a:pt x="1836397" y="58787"/>
                  </a:cubicBezTo>
                  <a:cubicBezTo>
                    <a:pt x="1836397" y="58603"/>
                    <a:pt x="1836213" y="58787"/>
                    <a:pt x="1836029" y="58787"/>
                  </a:cubicBezTo>
                  <a:cubicBezTo>
                    <a:pt x="1828674" y="58787"/>
                    <a:pt x="1821318" y="58787"/>
                    <a:pt x="1814146" y="58787"/>
                  </a:cubicBezTo>
                  <a:cubicBezTo>
                    <a:pt x="1813963" y="58787"/>
                    <a:pt x="1813963" y="58787"/>
                    <a:pt x="1813779" y="58787"/>
                  </a:cubicBezTo>
                  <a:cubicBezTo>
                    <a:pt x="1813595" y="58787"/>
                    <a:pt x="1813411" y="58787"/>
                    <a:pt x="1813227" y="58787"/>
                  </a:cubicBezTo>
                  <a:cubicBezTo>
                    <a:pt x="1813043" y="58603"/>
                    <a:pt x="1812859" y="58603"/>
                    <a:pt x="1812675" y="58603"/>
                  </a:cubicBezTo>
                  <a:cubicBezTo>
                    <a:pt x="1811756" y="58419"/>
                    <a:pt x="1811020" y="57868"/>
                    <a:pt x="1810284" y="57316"/>
                  </a:cubicBezTo>
                  <a:cubicBezTo>
                    <a:pt x="1809181" y="56213"/>
                    <a:pt x="1808630" y="54925"/>
                    <a:pt x="1808630" y="53454"/>
                  </a:cubicBezTo>
                  <a:cubicBezTo>
                    <a:pt x="1808630" y="52167"/>
                    <a:pt x="1808998" y="50879"/>
                    <a:pt x="1810101" y="49960"/>
                  </a:cubicBezTo>
                  <a:cubicBezTo>
                    <a:pt x="1811204" y="48857"/>
                    <a:pt x="1812491" y="48305"/>
                    <a:pt x="1813963" y="48305"/>
                  </a:cubicBezTo>
                  <a:cubicBezTo>
                    <a:pt x="1815802" y="48305"/>
                    <a:pt x="1817640" y="48305"/>
                    <a:pt x="1819295" y="48305"/>
                  </a:cubicBezTo>
                  <a:cubicBezTo>
                    <a:pt x="1819479" y="48305"/>
                    <a:pt x="1819663" y="48305"/>
                    <a:pt x="1819663" y="47937"/>
                  </a:cubicBezTo>
                  <a:cubicBezTo>
                    <a:pt x="1819663" y="37456"/>
                    <a:pt x="1819663" y="27157"/>
                    <a:pt x="1819663" y="16676"/>
                  </a:cubicBezTo>
                  <a:cubicBezTo>
                    <a:pt x="1819663" y="16491"/>
                    <a:pt x="1819663" y="16308"/>
                    <a:pt x="1819295" y="16308"/>
                  </a:cubicBezTo>
                  <a:cubicBezTo>
                    <a:pt x="1818008" y="16308"/>
                    <a:pt x="1816537" y="16308"/>
                    <a:pt x="1815250" y="16308"/>
                  </a:cubicBezTo>
                  <a:cubicBezTo>
                    <a:pt x="1813043" y="16308"/>
                    <a:pt x="1811388" y="15204"/>
                    <a:pt x="1810284" y="13182"/>
                  </a:cubicBezTo>
                  <a:cubicBezTo>
                    <a:pt x="1809733" y="12078"/>
                    <a:pt x="1809733" y="10791"/>
                    <a:pt x="1810101" y="9319"/>
                  </a:cubicBezTo>
                  <a:cubicBezTo>
                    <a:pt x="1810837" y="7297"/>
                    <a:pt x="1812859" y="5825"/>
                    <a:pt x="1815066" y="5825"/>
                  </a:cubicBezTo>
                  <a:cubicBezTo>
                    <a:pt x="1817824" y="5825"/>
                    <a:pt x="1820582" y="5642"/>
                    <a:pt x="1823341" y="5642"/>
                  </a:cubicBezTo>
                  <a:close/>
                  <a:moveTo>
                    <a:pt x="1772093" y="5642"/>
                  </a:moveTo>
                  <a:cubicBezTo>
                    <a:pt x="1773013" y="5642"/>
                    <a:pt x="1773932" y="5458"/>
                    <a:pt x="1774852" y="5642"/>
                  </a:cubicBezTo>
                  <a:cubicBezTo>
                    <a:pt x="1776139" y="5825"/>
                    <a:pt x="1777242" y="6377"/>
                    <a:pt x="1777978" y="7297"/>
                  </a:cubicBezTo>
                  <a:cubicBezTo>
                    <a:pt x="1779081" y="8400"/>
                    <a:pt x="1779633" y="9872"/>
                    <a:pt x="1779449" y="11526"/>
                  </a:cubicBezTo>
                  <a:cubicBezTo>
                    <a:pt x="1779449" y="11711"/>
                    <a:pt x="1779449" y="11711"/>
                    <a:pt x="1779449" y="11894"/>
                  </a:cubicBezTo>
                  <a:cubicBezTo>
                    <a:pt x="1779449" y="23848"/>
                    <a:pt x="1779449" y="35800"/>
                    <a:pt x="1779449" y="47937"/>
                  </a:cubicBezTo>
                  <a:cubicBezTo>
                    <a:pt x="1779449" y="48305"/>
                    <a:pt x="1779449" y="48305"/>
                    <a:pt x="1779817" y="48305"/>
                  </a:cubicBezTo>
                  <a:cubicBezTo>
                    <a:pt x="1781472" y="48305"/>
                    <a:pt x="1783127" y="48305"/>
                    <a:pt x="1784782" y="48305"/>
                  </a:cubicBezTo>
                  <a:cubicBezTo>
                    <a:pt x="1785701" y="48305"/>
                    <a:pt x="1786621" y="48673"/>
                    <a:pt x="1787540" y="49041"/>
                  </a:cubicBezTo>
                  <a:cubicBezTo>
                    <a:pt x="1789195" y="50144"/>
                    <a:pt x="1790115" y="51615"/>
                    <a:pt x="1790115" y="53638"/>
                  </a:cubicBezTo>
                  <a:cubicBezTo>
                    <a:pt x="1790115" y="55109"/>
                    <a:pt x="1789563" y="56580"/>
                    <a:pt x="1788276" y="57500"/>
                  </a:cubicBezTo>
                  <a:cubicBezTo>
                    <a:pt x="1787540" y="58051"/>
                    <a:pt x="1786621" y="58603"/>
                    <a:pt x="1785517" y="58787"/>
                  </a:cubicBezTo>
                  <a:cubicBezTo>
                    <a:pt x="1785517" y="58787"/>
                    <a:pt x="1785334" y="58787"/>
                    <a:pt x="1785334" y="58787"/>
                  </a:cubicBezTo>
                  <a:cubicBezTo>
                    <a:pt x="1785334" y="58787"/>
                    <a:pt x="1785150" y="58787"/>
                    <a:pt x="1785150" y="58787"/>
                  </a:cubicBezTo>
                  <a:cubicBezTo>
                    <a:pt x="1785150" y="58603"/>
                    <a:pt x="1784966" y="58787"/>
                    <a:pt x="1784782" y="58787"/>
                  </a:cubicBezTo>
                  <a:cubicBezTo>
                    <a:pt x="1777426" y="58787"/>
                    <a:pt x="1770070" y="58787"/>
                    <a:pt x="1762898" y="58787"/>
                  </a:cubicBezTo>
                  <a:cubicBezTo>
                    <a:pt x="1762715" y="58787"/>
                    <a:pt x="1762715" y="58787"/>
                    <a:pt x="1762531" y="58787"/>
                  </a:cubicBezTo>
                  <a:cubicBezTo>
                    <a:pt x="1762347" y="58787"/>
                    <a:pt x="1762163" y="58787"/>
                    <a:pt x="1761979" y="58787"/>
                  </a:cubicBezTo>
                  <a:cubicBezTo>
                    <a:pt x="1761795" y="58603"/>
                    <a:pt x="1761612" y="58603"/>
                    <a:pt x="1761427" y="58603"/>
                  </a:cubicBezTo>
                  <a:cubicBezTo>
                    <a:pt x="1760508" y="58419"/>
                    <a:pt x="1759773" y="57868"/>
                    <a:pt x="1759037" y="57316"/>
                  </a:cubicBezTo>
                  <a:cubicBezTo>
                    <a:pt x="1757933" y="56213"/>
                    <a:pt x="1757382" y="54925"/>
                    <a:pt x="1757382" y="53454"/>
                  </a:cubicBezTo>
                  <a:cubicBezTo>
                    <a:pt x="1757382" y="52167"/>
                    <a:pt x="1757750" y="50879"/>
                    <a:pt x="1758853" y="49960"/>
                  </a:cubicBezTo>
                  <a:cubicBezTo>
                    <a:pt x="1759956" y="48857"/>
                    <a:pt x="1761244" y="48305"/>
                    <a:pt x="1762715" y="48305"/>
                  </a:cubicBezTo>
                  <a:cubicBezTo>
                    <a:pt x="1764554" y="48305"/>
                    <a:pt x="1766392" y="48305"/>
                    <a:pt x="1768048" y="48305"/>
                  </a:cubicBezTo>
                  <a:cubicBezTo>
                    <a:pt x="1768231" y="48305"/>
                    <a:pt x="1768416" y="48305"/>
                    <a:pt x="1768416" y="47937"/>
                  </a:cubicBezTo>
                  <a:cubicBezTo>
                    <a:pt x="1768416" y="37456"/>
                    <a:pt x="1768416" y="27157"/>
                    <a:pt x="1768416" y="16676"/>
                  </a:cubicBezTo>
                  <a:cubicBezTo>
                    <a:pt x="1768416" y="16491"/>
                    <a:pt x="1768416" y="16308"/>
                    <a:pt x="1768048" y="16308"/>
                  </a:cubicBezTo>
                  <a:cubicBezTo>
                    <a:pt x="1766760" y="16308"/>
                    <a:pt x="1765289" y="16308"/>
                    <a:pt x="1764002" y="16308"/>
                  </a:cubicBezTo>
                  <a:cubicBezTo>
                    <a:pt x="1761795" y="16308"/>
                    <a:pt x="1760140" y="15204"/>
                    <a:pt x="1759037" y="13182"/>
                  </a:cubicBezTo>
                  <a:cubicBezTo>
                    <a:pt x="1758485" y="12078"/>
                    <a:pt x="1758485" y="10791"/>
                    <a:pt x="1758853" y="9319"/>
                  </a:cubicBezTo>
                  <a:cubicBezTo>
                    <a:pt x="1759589" y="7297"/>
                    <a:pt x="1761612" y="5825"/>
                    <a:pt x="1763818" y="5825"/>
                  </a:cubicBezTo>
                  <a:cubicBezTo>
                    <a:pt x="1766577" y="5825"/>
                    <a:pt x="1769335" y="5642"/>
                    <a:pt x="1772093" y="5642"/>
                  </a:cubicBezTo>
                  <a:close/>
                  <a:moveTo>
                    <a:pt x="1536556" y="5642"/>
                  </a:moveTo>
                  <a:cubicBezTo>
                    <a:pt x="1537476" y="5642"/>
                    <a:pt x="1538395" y="5458"/>
                    <a:pt x="1539315" y="5642"/>
                  </a:cubicBezTo>
                  <a:cubicBezTo>
                    <a:pt x="1540602" y="5825"/>
                    <a:pt x="1541705" y="6377"/>
                    <a:pt x="1542441" y="7297"/>
                  </a:cubicBezTo>
                  <a:cubicBezTo>
                    <a:pt x="1543544" y="8400"/>
                    <a:pt x="1544096" y="9872"/>
                    <a:pt x="1543912" y="11526"/>
                  </a:cubicBezTo>
                  <a:cubicBezTo>
                    <a:pt x="1543912" y="11711"/>
                    <a:pt x="1543912" y="11711"/>
                    <a:pt x="1543912" y="11894"/>
                  </a:cubicBezTo>
                  <a:cubicBezTo>
                    <a:pt x="1543912" y="23848"/>
                    <a:pt x="1543912" y="35800"/>
                    <a:pt x="1543912" y="47937"/>
                  </a:cubicBezTo>
                  <a:cubicBezTo>
                    <a:pt x="1543912" y="48305"/>
                    <a:pt x="1543912" y="48305"/>
                    <a:pt x="1544280" y="48305"/>
                  </a:cubicBezTo>
                  <a:cubicBezTo>
                    <a:pt x="1545935" y="48305"/>
                    <a:pt x="1547590" y="48305"/>
                    <a:pt x="1549245" y="48305"/>
                  </a:cubicBezTo>
                  <a:cubicBezTo>
                    <a:pt x="1550164" y="48305"/>
                    <a:pt x="1551084" y="48673"/>
                    <a:pt x="1552003" y="49041"/>
                  </a:cubicBezTo>
                  <a:cubicBezTo>
                    <a:pt x="1553659" y="50144"/>
                    <a:pt x="1554578" y="51615"/>
                    <a:pt x="1554578" y="53638"/>
                  </a:cubicBezTo>
                  <a:cubicBezTo>
                    <a:pt x="1554578" y="55109"/>
                    <a:pt x="1554026" y="56580"/>
                    <a:pt x="1552739" y="57500"/>
                  </a:cubicBezTo>
                  <a:cubicBezTo>
                    <a:pt x="1552003" y="58051"/>
                    <a:pt x="1551084" y="58603"/>
                    <a:pt x="1549980" y="58787"/>
                  </a:cubicBezTo>
                  <a:cubicBezTo>
                    <a:pt x="1549980" y="58787"/>
                    <a:pt x="1549797" y="58787"/>
                    <a:pt x="1549797" y="58787"/>
                  </a:cubicBezTo>
                  <a:cubicBezTo>
                    <a:pt x="1549797" y="58787"/>
                    <a:pt x="1549612" y="58787"/>
                    <a:pt x="1549612" y="58787"/>
                  </a:cubicBezTo>
                  <a:cubicBezTo>
                    <a:pt x="1549612" y="58603"/>
                    <a:pt x="1549429" y="58787"/>
                    <a:pt x="1549245" y="58787"/>
                  </a:cubicBezTo>
                  <a:cubicBezTo>
                    <a:pt x="1541889" y="58787"/>
                    <a:pt x="1534533" y="58787"/>
                    <a:pt x="1527361" y="58787"/>
                  </a:cubicBezTo>
                  <a:cubicBezTo>
                    <a:pt x="1527178" y="58787"/>
                    <a:pt x="1527178" y="58787"/>
                    <a:pt x="1526994" y="58787"/>
                  </a:cubicBezTo>
                  <a:cubicBezTo>
                    <a:pt x="1526810" y="58787"/>
                    <a:pt x="1526626" y="58787"/>
                    <a:pt x="1526442" y="58787"/>
                  </a:cubicBezTo>
                  <a:cubicBezTo>
                    <a:pt x="1526258" y="58603"/>
                    <a:pt x="1526075" y="58603"/>
                    <a:pt x="1525890" y="58603"/>
                  </a:cubicBezTo>
                  <a:cubicBezTo>
                    <a:pt x="1524971" y="58419"/>
                    <a:pt x="1524235" y="57868"/>
                    <a:pt x="1523500" y="57316"/>
                  </a:cubicBezTo>
                  <a:cubicBezTo>
                    <a:pt x="1522396" y="56213"/>
                    <a:pt x="1521845" y="54925"/>
                    <a:pt x="1521845" y="53454"/>
                  </a:cubicBezTo>
                  <a:cubicBezTo>
                    <a:pt x="1521845" y="52167"/>
                    <a:pt x="1522213" y="50879"/>
                    <a:pt x="1523316" y="49960"/>
                  </a:cubicBezTo>
                  <a:cubicBezTo>
                    <a:pt x="1524419" y="48857"/>
                    <a:pt x="1525707" y="48305"/>
                    <a:pt x="1527178" y="48305"/>
                  </a:cubicBezTo>
                  <a:cubicBezTo>
                    <a:pt x="1529017" y="48305"/>
                    <a:pt x="1530856" y="48305"/>
                    <a:pt x="1532511" y="48305"/>
                  </a:cubicBezTo>
                  <a:cubicBezTo>
                    <a:pt x="1532694" y="48305"/>
                    <a:pt x="1532879" y="48305"/>
                    <a:pt x="1532879" y="47937"/>
                  </a:cubicBezTo>
                  <a:cubicBezTo>
                    <a:pt x="1532879" y="37456"/>
                    <a:pt x="1532879" y="27157"/>
                    <a:pt x="1532879" y="16676"/>
                  </a:cubicBezTo>
                  <a:cubicBezTo>
                    <a:pt x="1532879" y="16491"/>
                    <a:pt x="1532879" y="16308"/>
                    <a:pt x="1532511" y="16308"/>
                  </a:cubicBezTo>
                  <a:cubicBezTo>
                    <a:pt x="1531223" y="16308"/>
                    <a:pt x="1529752" y="16308"/>
                    <a:pt x="1528465" y="16308"/>
                  </a:cubicBezTo>
                  <a:cubicBezTo>
                    <a:pt x="1526258" y="16308"/>
                    <a:pt x="1524603" y="15204"/>
                    <a:pt x="1523500" y="13182"/>
                  </a:cubicBezTo>
                  <a:cubicBezTo>
                    <a:pt x="1522948" y="12078"/>
                    <a:pt x="1522948" y="10791"/>
                    <a:pt x="1523316" y="9319"/>
                  </a:cubicBezTo>
                  <a:cubicBezTo>
                    <a:pt x="1524052" y="7297"/>
                    <a:pt x="1526075" y="5825"/>
                    <a:pt x="1528281" y="5825"/>
                  </a:cubicBezTo>
                  <a:cubicBezTo>
                    <a:pt x="1531040" y="5825"/>
                    <a:pt x="1533798" y="5642"/>
                    <a:pt x="1536556" y="5642"/>
                  </a:cubicBezTo>
                  <a:close/>
                  <a:moveTo>
                    <a:pt x="1362516" y="5642"/>
                  </a:moveTo>
                  <a:cubicBezTo>
                    <a:pt x="1363435" y="5642"/>
                    <a:pt x="1364355" y="5458"/>
                    <a:pt x="1365274" y="5642"/>
                  </a:cubicBezTo>
                  <a:cubicBezTo>
                    <a:pt x="1366561" y="5825"/>
                    <a:pt x="1367665" y="6377"/>
                    <a:pt x="1368400" y="7297"/>
                  </a:cubicBezTo>
                  <a:cubicBezTo>
                    <a:pt x="1369504" y="8400"/>
                    <a:pt x="1370056" y="9872"/>
                    <a:pt x="1369871" y="11526"/>
                  </a:cubicBezTo>
                  <a:cubicBezTo>
                    <a:pt x="1369871" y="11711"/>
                    <a:pt x="1369871" y="11711"/>
                    <a:pt x="1369871" y="11894"/>
                  </a:cubicBezTo>
                  <a:cubicBezTo>
                    <a:pt x="1369871" y="23848"/>
                    <a:pt x="1369871" y="35800"/>
                    <a:pt x="1369871" y="47937"/>
                  </a:cubicBezTo>
                  <a:cubicBezTo>
                    <a:pt x="1369871" y="48305"/>
                    <a:pt x="1369871" y="48305"/>
                    <a:pt x="1370239" y="48305"/>
                  </a:cubicBezTo>
                  <a:cubicBezTo>
                    <a:pt x="1371894" y="48305"/>
                    <a:pt x="1373549" y="48305"/>
                    <a:pt x="1375204" y="48305"/>
                  </a:cubicBezTo>
                  <a:cubicBezTo>
                    <a:pt x="1376124" y="48305"/>
                    <a:pt x="1377043" y="48673"/>
                    <a:pt x="1377963" y="49041"/>
                  </a:cubicBezTo>
                  <a:cubicBezTo>
                    <a:pt x="1379617" y="50144"/>
                    <a:pt x="1380537" y="51615"/>
                    <a:pt x="1380537" y="53638"/>
                  </a:cubicBezTo>
                  <a:cubicBezTo>
                    <a:pt x="1380537" y="55109"/>
                    <a:pt x="1379985" y="56580"/>
                    <a:pt x="1378698" y="57500"/>
                  </a:cubicBezTo>
                  <a:cubicBezTo>
                    <a:pt x="1377963" y="58051"/>
                    <a:pt x="1377043" y="58603"/>
                    <a:pt x="1375940" y="58787"/>
                  </a:cubicBezTo>
                  <a:cubicBezTo>
                    <a:pt x="1375940" y="58787"/>
                    <a:pt x="1375756" y="58787"/>
                    <a:pt x="1375756" y="58787"/>
                  </a:cubicBezTo>
                  <a:cubicBezTo>
                    <a:pt x="1375756" y="58787"/>
                    <a:pt x="1375572" y="58787"/>
                    <a:pt x="1375572" y="58787"/>
                  </a:cubicBezTo>
                  <a:cubicBezTo>
                    <a:pt x="1375572" y="58603"/>
                    <a:pt x="1375388" y="58787"/>
                    <a:pt x="1375204" y="58787"/>
                  </a:cubicBezTo>
                  <a:cubicBezTo>
                    <a:pt x="1367849" y="58787"/>
                    <a:pt x="1360493" y="58787"/>
                    <a:pt x="1353321" y="58787"/>
                  </a:cubicBezTo>
                  <a:cubicBezTo>
                    <a:pt x="1353137" y="58787"/>
                    <a:pt x="1353137" y="58787"/>
                    <a:pt x="1352953" y="58787"/>
                  </a:cubicBezTo>
                  <a:cubicBezTo>
                    <a:pt x="1352769" y="58787"/>
                    <a:pt x="1352586" y="58787"/>
                    <a:pt x="1352401" y="58787"/>
                  </a:cubicBezTo>
                  <a:cubicBezTo>
                    <a:pt x="1352218" y="58603"/>
                    <a:pt x="1352033" y="58603"/>
                    <a:pt x="1351850" y="58603"/>
                  </a:cubicBezTo>
                  <a:cubicBezTo>
                    <a:pt x="1350930" y="58419"/>
                    <a:pt x="1350195" y="57868"/>
                    <a:pt x="1349459" y="57316"/>
                  </a:cubicBezTo>
                  <a:cubicBezTo>
                    <a:pt x="1348356" y="56213"/>
                    <a:pt x="1347804" y="54925"/>
                    <a:pt x="1347804" y="53454"/>
                  </a:cubicBezTo>
                  <a:cubicBezTo>
                    <a:pt x="1347804" y="52167"/>
                    <a:pt x="1348172" y="50879"/>
                    <a:pt x="1349276" y="49960"/>
                  </a:cubicBezTo>
                  <a:cubicBezTo>
                    <a:pt x="1350379" y="48857"/>
                    <a:pt x="1351666" y="48305"/>
                    <a:pt x="1353137" y="48305"/>
                  </a:cubicBezTo>
                  <a:cubicBezTo>
                    <a:pt x="1354976" y="48305"/>
                    <a:pt x="1356815" y="48305"/>
                    <a:pt x="1358470" y="48305"/>
                  </a:cubicBezTo>
                  <a:cubicBezTo>
                    <a:pt x="1358654" y="48305"/>
                    <a:pt x="1358838" y="48305"/>
                    <a:pt x="1358838" y="47937"/>
                  </a:cubicBezTo>
                  <a:cubicBezTo>
                    <a:pt x="1358838" y="37456"/>
                    <a:pt x="1358838" y="27157"/>
                    <a:pt x="1358838" y="16676"/>
                  </a:cubicBezTo>
                  <a:cubicBezTo>
                    <a:pt x="1358838" y="16491"/>
                    <a:pt x="1358838" y="16308"/>
                    <a:pt x="1358470" y="16308"/>
                  </a:cubicBezTo>
                  <a:cubicBezTo>
                    <a:pt x="1357183" y="16308"/>
                    <a:pt x="1355712" y="16308"/>
                    <a:pt x="1354424" y="16308"/>
                  </a:cubicBezTo>
                  <a:cubicBezTo>
                    <a:pt x="1352218" y="16308"/>
                    <a:pt x="1350562" y="15204"/>
                    <a:pt x="1349459" y="13182"/>
                  </a:cubicBezTo>
                  <a:cubicBezTo>
                    <a:pt x="1348908" y="12078"/>
                    <a:pt x="1348908" y="10791"/>
                    <a:pt x="1349276" y="9319"/>
                  </a:cubicBezTo>
                  <a:cubicBezTo>
                    <a:pt x="1350011" y="7297"/>
                    <a:pt x="1352033" y="5825"/>
                    <a:pt x="1354241" y="5825"/>
                  </a:cubicBezTo>
                  <a:cubicBezTo>
                    <a:pt x="1356999" y="5825"/>
                    <a:pt x="1359757" y="5642"/>
                    <a:pt x="1362516" y="5642"/>
                  </a:cubicBezTo>
                  <a:close/>
                  <a:moveTo>
                    <a:pt x="1127027" y="5642"/>
                  </a:moveTo>
                  <a:cubicBezTo>
                    <a:pt x="1127946" y="5642"/>
                    <a:pt x="1128866" y="5458"/>
                    <a:pt x="1129787" y="5642"/>
                  </a:cubicBezTo>
                  <a:cubicBezTo>
                    <a:pt x="1131073" y="5825"/>
                    <a:pt x="1132177" y="6377"/>
                    <a:pt x="1132911" y="7297"/>
                  </a:cubicBezTo>
                  <a:cubicBezTo>
                    <a:pt x="1134015" y="8400"/>
                    <a:pt x="1134568" y="9872"/>
                    <a:pt x="1134383" y="11526"/>
                  </a:cubicBezTo>
                  <a:cubicBezTo>
                    <a:pt x="1134383" y="11711"/>
                    <a:pt x="1134383" y="11711"/>
                    <a:pt x="1134383" y="11894"/>
                  </a:cubicBezTo>
                  <a:cubicBezTo>
                    <a:pt x="1134383" y="23848"/>
                    <a:pt x="1134383" y="35800"/>
                    <a:pt x="1134383" y="47937"/>
                  </a:cubicBezTo>
                  <a:cubicBezTo>
                    <a:pt x="1134383" y="48305"/>
                    <a:pt x="1134383" y="48305"/>
                    <a:pt x="1134752" y="48305"/>
                  </a:cubicBezTo>
                  <a:cubicBezTo>
                    <a:pt x="1136406" y="48305"/>
                    <a:pt x="1138061" y="48305"/>
                    <a:pt x="1139717" y="48305"/>
                  </a:cubicBezTo>
                  <a:cubicBezTo>
                    <a:pt x="1140636" y="48305"/>
                    <a:pt x="1141555" y="48673"/>
                    <a:pt x="1142475" y="49041"/>
                  </a:cubicBezTo>
                  <a:cubicBezTo>
                    <a:pt x="1144130" y="50144"/>
                    <a:pt x="1145049" y="51615"/>
                    <a:pt x="1145049" y="53638"/>
                  </a:cubicBezTo>
                  <a:cubicBezTo>
                    <a:pt x="1145049" y="55109"/>
                    <a:pt x="1144497" y="56580"/>
                    <a:pt x="1143211" y="57500"/>
                  </a:cubicBezTo>
                  <a:cubicBezTo>
                    <a:pt x="1142475" y="58051"/>
                    <a:pt x="1141555" y="58603"/>
                    <a:pt x="1140451" y="58787"/>
                  </a:cubicBezTo>
                  <a:cubicBezTo>
                    <a:pt x="1140451" y="58787"/>
                    <a:pt x="1140268" y="58787"/>
                    <a:pt x="1140268" y="58787"/>
                  </a:cubicBezTo>
                  <a:cubicBezTo>
                    <a:pt x="1140268" y="58787"/>
                    <a:pt x="1140084" y="58787"/>
                    <a:pt x="1140084" y="58787"/>
                  </a:cubicBezTo>
                  <a:cubicBezTo>
                    <a:pt x="1140084" y="58603"/>
                    <a:pt x="1139900" y="58787"/>
                    <a:pt x="1139717" y="58787"/>
                  </a:cubicBezTo>
                  <a:cubicBezTo>
                    <a:pt x="1132360" y="58787"/>
                    <a:pt x="1125004" y="58787"/>
                    <a:pt x="1117834" y="58787"/>
                  </a:cubicBezTo>
                  <a:cubicBezTo>
                    <a:pt x="1117649" y="58787"/>
                    <a:pt x="1117649" y="58787"/>
                    <a:pt x="1117465" y="58787"/>
                  </a:cubicBezTo>
                  <a:cubicBezTo>
                    <a:pt x="1117282" y="58787"/>
                    <a:pt x="1117097" y="58787"/>
                    <a:pt x="1116913" y="58787"/>
                  </a:cubicBezTo>
                  <a:cubicBezTo>
                    <a:pt x="1116730" y="58603"/>
                    <a:pt x="1116545" y="58603"/>
                    <a:pt x="1116362" y="58603"/>
                  </a:cubicBezTo>
                  <a:cubicBezTo>
                    <a:pt x="1115442" y="58419"/>
                    <a:pt x="1114707" y="57868"/>
                    <a:pt x="1113970" y="57316"/>
                  </a:cubicBezTo>
                  <a:cubicBezTo>
                    <a:pt x="1112867" y="56213"/>
                    <a:pt x="1112317" y="54925"/>
                    <a:pt x="1112317" y="53454"/>
                  </a:cubicBezTo>
                  <a:cubicBezTo>
                    <a:pt x="1112317" y="52167"/>
                    <a:pt x="1112684" y="50879"/>
                    <a:pt x="1113788" y="49960"/>
                  </a:cubicBezTo>
                  <a:cubicBezTo>
                    <a:pt x="1114890" y="48857"/>
                    <a:pt x="1116178" y="48305"/>
                    <a:pt x="1117649" y="48305"/>
                  </a:cubicBezTo>
                  <a:cubicBezTo>
                    <a:pt x="1119488" y="48305"/>
                    <a:pt x="1121327" y="48305"/>
                    <a:pt x="1122982" y="48305"/>
                  </a:cubicBezTo>
                  <a:cubicBezTo>
                    <a:pt x="1123166" y="48305"/>
                    <a:pt x="1123349" y="48305"/>
                    <a:pt x="1123349" y="47937"/>
                  </a:cubicBezTo>
                  <a:cubicBezTo>
                    <a:pt x="1123349" y="37456"/>
                    <a:pt x="1123349" y="27157"/>
                    <a:pt x="1123349" y="16676"/>
                  </a:cubicBezTo>
                  <a:cubicBezTo>
                    <a:pt x="1123349" y="16491"/>
                    <a:pt x="1123349" y="16308"/>
                    <a:pt x="1122982" y="16308"/>
                  </a:cubicBezTo>
                  <a:cubicBezTo>
                    <a:pt x="1121695" y="16308"/>
                    <a:pt x="1120224" y="16308"/>
                    <a:pt x="1118936" y="16308"/>
                  </a:cubicBezTo>
                  <a:cubicBezTo>
                    <a:pt x="1116730" y="16308"/>
                    <a:pt x="1115074" y="15204"/>
                    <a:pt x="1113970" y="13182"/>
                  </a:cubicBezTo>
                  <a:cubicBezTo>
                    <a:pt x="1113420" y="12078"/>
                    <a:pt x="1113420" y="10791"/>
                    <a:pt x="1113788" y="9319"/>
                  </a:cubicBezTo>
                  <a:cubicBezTo>
                    <a:pt x="1114523" y="7297"/>
                    <a:pt x="1116545" y="5825"/>
                    <a:pt x="1118753" y="5825"/>
                  </a:cubicBezTo>
                  <a:cubicBezTo>
                    <a:pt x="1121510" y="5825"/>
                    <a:pt x="1124270" y="5642"/>
                    <a:pt x="1127027" y="5642"/>
                  </a:cubicBezTo>
                  <a:close/>
                  <a:moveTo>
                    <a:pt x="891490" y="5642"/>
                  </a:moveTo>
                  <a:cubicBezTo>
                    <a:pt x="892409" y="5642"/>
                    <a:pt x="893329" y="5458"/>
                    <a:pt x="894249" y="5642"/>
                  </a:cubicBezTo>
                  <a:cubicBezTo>
                    <a:pt x="895537" y="5825"/>
                    <a:pt x="896640" y="6377"/>
                    <a:pt x="897375" y="7297"/>
                  </a:cubicBezTo>
                  <a:cubicBezTo>
                    <a:pt x="898479" y="8400"/>
                    <a:pt x="899030" y="9872"/>
                    <a:pt x="898845" y="11526"/>
                  </a:cubicBezTo>
                  <a:cubicBezTo>
                    <a:pt x="898845" y="11711"/>
                    <a:pt x="898845" y="11711"/>
                    <a:pt x="898845" y="11894"/>
                  </a:cubicBezTo>
                  <a:cubicBezTo>
                    <a:pt x="898845" y="23848"/>
                    <a:pt x="898845" y="35800"/>
                    <a:pt x="898845" y="47937"/>
                  </a:cubicBezTo>
                  <a:cubicBezTo>
                    <a:pt x="898845" y="48305"/>
                    <a:pt x="898845" y="48305"/>
                    <a:pt x="899213" y="48305"/>
                  </a:cubicBezTo>
                  <a:cubicBezTo>
                    <a:pt x="900868" y="48305"/>
                    <a:pt x="902524" y="48305"/>
                    <a:pt x="904179" y="48305"/>
                  </a:cubicBezTo>
                  <a:cubicBezTo>
                    <a:pt x="905099" y="48305"/>
                    <a:pt x="906018" y="48673"/>
                    <a:pt x="906938" y="49041"/>
                  </a:cubicBezTo>
                  <a:cubicBezTo>
                    <a:pt x="908592" y="50144"/>
                    <a:pt x="909511" y="51615"/>
                    <a:pt x="909511" y="53638"/>
                  </a:cubicBezTo>
                  <a:cubicBezTo>
                    <a:pt x="909511" y="55109"/>
                    <a:pt x="908960" y="56580"/>
                    <a:pt x="907674" y="57500"/>
                  </a:cubicBezTo>
                  <a:cubicBezTo>
                    <a:pt x="906938" y="58051"/>
                    <a:pt x="906018" y="58603"/>
                    <a:pt x="904915" y="58787"/>
                  </a:cubicBezTo>
                  <a:cubicBezTo>
                    <a:pt x="904915" y="58787"/>
                    <a:pt x="904731" y="58787"/>
                    <a:pt x="904731" y="58787"/>
                  </a:cubicBezTo>
                  <a:cubicBezTo>
                    <a:pt x="904731" y="58787"/>
                    <a:pt x="904547" y="58787"/>
                    <a:pt x="904547" y="58787"/>
                  </a:cubicBezTo>
                  <a:cubicBezTo>
                    <a:pt x="904547" y="58603"/>
                    <a:pt x="904363" y="58787"/>
                    <a:pt x="904179" y="58787"/>
                  </a:cubicBezTo>
                  <a:cubicBezTo>
                    <a:pt x="896823" y="58787"/>
                    <a:pt x="889467" y="58787"/>
                    <a:pt x="882295" y="58787"/>
                  </a:cubicBezTo>
                  <a:cubicBezTo>
                    <a:pt x="882112" y="58787"/>
                    <a:pt x="882112" y="58787"/>
                    <a:pt x="881928" y="58787"/>
                  </a:cubicBezTo>
                  <a:cubicBezTo>
                    <a:pt x="881744" y="58787"/>
                    <a:pt x="881560" y="58787"/>
                    <a:pt x="881376" y="58787"/>
                  </a:cubicBezTo>
                  <a:cubicBezTo>
                    <a:pt x="881192" y="58603"/>
                    <a:pt x="881008" y="58603"/>
                    <a:pt x="880824" y="58603"/>
                  </a:cubicBezTo>
                  <a:cubicBezTo>
                    <a:pt x="879905" y="58419"/>
                    <a:pt x="879169" y="57868"/>
                    <a:pt x="878433" y="57316"/>
                  </a:cubicBezTo>
                  <a:cubicBezTo>
                    <a:pt x="877331" y="56213"/>
                    <a:pt x="876779" y="54925"/>
                    <a:pt x="876779" y="53454"/>
                  </a:cubicBezTo>
                  <a:cubicBezTo>
                    <a:pt x="876779" y="52167"/>
                    <a:pt x="877147" y="50879"/>
                    <a:pt x="878250" y="49960"/>
                  </a:cubicBezTo>
                  <a:cubicBezTo>
                    <a:pt x="879353" y="48857"/>
                    <a:pt x="880640" y="48305"/>
                    <a:pt x="882112" y="48305"/>
                  </a:cubicBezTo>
                  <a:cubicBezTo>
                    <a:pt x="883951" y="48305"/>
                    <a:pt x="885790" y="48305"/>
                    <a:pt x="887445" y="48305"/>
                  </a:cubicBezTo>
                  <a:cubicBezTo>
                    <a:pt x="887629" y="48305"/>
                    <a:pt x="887813" y="48305"/>
                    <a:pt x="887813" y="47937"/>
                  </a:cubicBezTo>
                  <a:cubicBezTo>
                    <a:pt x="887813" y="37456"/>
                    <a:pt x="887813" y="27157"/>
                    <a:pt x="887813" y="16676"/>
                  </a:cubicBezTo>
                  <a:cubicBezTo>
                    <a:pt x="887813" y="16491"/>
                    <a:pt x="887813" y="16308"/>
                    <a:pt x="887445" y="16308"/>
                  </a:cubicBezTo>
                  <a:cubicBezTo>
                    <a:pt x="886158" y="16308"/>
                    <a:pt x="884687" y="16308"/>
                    <a:pt x="883399" y="16308"/>
                  </a:cubicBezTo>
                  <a:cubicBezTo>
                    <a:pt x="881192" y="16308"/>
                    <a:pt x="879537" y="15204"/>
                    <a:pt x="878433" y="13182"/>
                  </a:cubicBezTo>
                  <a:cubicBezTo>
                    <a:pt x="877883" y="12078"/>
                    <a:pt x="877883" y="10791"/>
                    <a:pt x="878250" y="9319"/>
                  </a:cubicBezTo>
                  <a:cubicBezTo>
                    <a:pt x="878986" y="7297"/>
                    <a:pt x="881008" y="5825"/>
                    <a:pt x="883215" y="5825"/>
                  </a:cubicBezTo>
                  <a:cubicBezTo>
                    <a:pt x="885974" y="5825"/>
                    <a:pt x="888732" y="5642"/>
                    <a:pt x="891490" y="5642"/>
                  </a:cubicBezTo>
                  <a:close/>
                  <a:moveTo>
                    <a:pt x="778796" y="5642"/>
                  </a:moveTo>
                  <a:cubicBezTo>
                    <a:pt x="779716" y="5642"/>
                    <a:pt x="780636" y="5458"/>
                    <a:pt x="781555" y="5642"/>
                  </a:cubicBezTo>
                  <a:cubicBezTo>
                    <a:pt x="782843" y="5825"/>
                    <a:pt x="783946" y="6377"/>
                    <a:pt x="784681" y="7297"/>
                  </a:cubicBezTo>
                  <a:cubicBezTo>
                    <a:pt x="785784" y="8400"/>
                    <a:pt x="786336" y="9872"/>
                    <a:pt x="786151" y="11526"/>
                  </a:cubicBezTo>
                  <a:cubicBezTo>
                    <a:pt x="786151" y="11711"/>
                    <a:pt x="786151" y="11711"/>
                    <a:pt x="786151" y="11894"/>
                  </a:cubicBezTo>
                  <a:cubicBezTo>
                    <a:pt x="786151" y="23848"/>
                    <a:pt x="786151" y="35800"/>
                    <a:pt x="786151" y="47937"/>
                  </a:cubicBezTo>
                  <a:cubicBezTo>
                    <a:pt x="786151" y="48305"/>
                    <a:pt x="786151" y="48305"/>
                    <a:pt x="786519" y="48305"/>
                  </a:cubicBezTo>
                  <a:cubicBezTo>
                    <a:pt x="788174" y="48305"/>
                    <a:pt x="789830" y="48305"/>
                    <a:pt x="791485" y="48305"/>
                  </a:cubicBezTo>
                  <a:cubicBezTo>
                    <a:pt x="792405" y="48305"/>
                    <a:pt x="793324" y="48673"/>
                    <a:pt x="794244" y="49041"/>
                  </a:cubicBezTo>
                  <a:cubicBezTo>
                    <a:pt x="795898" y="50144"/>
                    <a:pt x="796818" y="51615"/>
                    <a:pt x="796818" y="53638"/>
                  </a:cubicBezTo>
                  <a:cubicBezTo>
                    <a:pt x="796818" y="55109"/>
                    <a:pt x="796266" y="56580"/>
                    <a:pt x="794979" y="57500"/>
                  </a:cubicBezTo>
                  <a:cubicBezTo>
                    <a:pt x="794244" y="58051"/>
                    <a:pt x="793324" y="58603"/>
                    <a:pt x="792221" y="58787"/>
                  </a:cubicBezTo>
                  <a:cubicBezTo>
                    <a:pt x="792221" y="58787"/>
                    <a:pt x="792037" y="58787"/>
                    <a:pt x="792037" y="58787"/>
                  </a:cubicBezTo>
                  <a:cubicBezTo>
                    <a:pt x="792037" y="58787"/>
                    <a:pt x="791853" y="58787"/>
                    <a:pt x="791853" y="58787"/>
                  </a:cubicBezTo>
                  <a:cubicBezTo>
                    <a:pt x="791853" y="58603"/>
                    <a:pt x="791669" y="58787"/>
                    <a:pt x="791485" y="58787"/>
                  </a:cubicBezTo>
                  <a:cubicBezTo>
                    <a:pt x="784129" y="58787"/>
                    <a:pt x="776773" y="58787"/>
                    <a:pt x="769602" y="58787"/>
                  </a:cubicBezTo>
                  <a:cubicBezTo>
                    <a:pt x="769418" y="58787"/>
                    <a:pt x="769418" y="58787"/>
                    <a:pt x="769234" y="58787"/>
                  </a:cubicBezTo>
                  <a:cubicBezTo>
                    <a:pt x="769050" y="58787"/>
                    <a:pt x="768866" y="58787"/>
                    <a:pt x="768682" y="58787"/>
                  </a:cubicBezTo>
                  <a:cubicBezTo>
                    <a:pt x="768498" y="58603"/>
                    <a:pt x="768314" y="58603"/>
                    <a:pt x="768130" y="58603"/>
                  </a:cubicBezTo>
                  <a:cubicBezTo>
                    <a:pt x="767210" y="58419"/>
                    <a:pt x="766475" y="57868"/>
                    <a:pt x="765739" y="57316"/>
                  </a:cubicBezTo>
                  <a:cubicBezTo>
                    <a:pt x="764636" y="56213"/>
                    <a:pt x="764085" y="54925"/>
                    <a:pt x="764085" y="53454"/>
                  </a:cubicBezTo>
                  <a:cubicBezTo>
                    <a:pt x="764085" y="52167"/>
                    <a:pt x="764453" y="50879"/>
                    <a:pt x="765556" y="49960"/>
                  </a:cubicBezTo>
                  <a:cubicBezTo>
                    <a:pt x="766659" y="48857"/>
                    <a:pt x="767946" y="48305"/>
                    <a:pt x="769418" y="48305"/>
                  </a:cubicBezTo>
                  <a:cubicBezTo>
                    <a:pt x="771257" y="48305"/>
                    <a:pt x="773096" y="48305"/>
                    <a:pt x="774750" y="48305"/>
                  </a:cubicBezTo>
                  <a:cubicBezTo>
                    <a:pt x="774934" y="48305"/>
                    <a:pt x="775118" y="48305"/>
                    <a:pt x="775118" y="47937"/>
                  </a:cubicBezTo>
                  <a:cubicBezTo>
                    <a:pt x="775118" y="37456"/>
                    <a:pt x="775118" y="27157"/>
                    <a:pt x="775118" y="16676"/>
                  </a:cubicBezTo>
                  <a:cubicBezTo>
                    <a:pt x="775118" y="16491"/>
                    <a:pt x="775118" y="16308"/>
                    <a:pt x="774750" y="16308"/>
                  </a:cubicBezTo>
                  <a:cubicBezTo>
                    <a:pt x="773464" y="16308"/>
                    <a:pt x="771992" y="16308"/>
                    <a:pt x="770706" y="16308"/>
                  </a:cubicBezTo>
                  <a:cubicBezTo>
                    <a:pt x="768498" y="16308"/>
                    <a:pt x="766843" y="15204"/>
                    <a:pt x="765739" y="13182"/>
                  </a:cubicBezTo>
                  <a:cubicBezTo>
                    <a:pt x="765188" y="12078"/>
                    <a:pt x="765188" y="10791"/>
                    <a:pt x="765556" y="9319"/>
                  </a:cubicBezTo>
                  <a:cubicBezTo>
                    <a:pt x="766291" y="7297"/>
                    <a:pt x="768314" y="5825"/>
                    <a:pt x="770521" y="5825"/>
                  </a:cubicBezTo>
                  <a:cubicBezTo>
                    <a:pt x="773280" y="5825"/>
                    <a:pt x="776037" y="5642"/>
                    <a:pt x="778796" y="5642"/>
                  </a:cubicBezTo>
                  <a:close/>
                  <a:moveTo>
                    <a:pt x="420465" y="5642"/>
                  </a:moveTo>
                  <a:cubicBezTo>
                    <a:pt x="421385" y="5642"/>
                    <a:pt x="422305" y="5458"/>
                    <a:pt x="423224" y="5642"/>
                  </a:cubicBezTo>
                  <a:cubicBezTo>
                    <a:pt x="424512" y="5826"/>
                    <a:pt x="425615" y="6378"/>
                    <a:pt x="426351" y="7297"/>
                  </a:cubicBezTo>
                  <a:cubicBezTo>
                    <a:pt x="427454" y="8400"/>
                    <a:pt x="428005" y="9872"/>
                    <a:pt x="427821" y="11526"/>
                  </a:cubicBezTo>
                  <a:cubicBezTo>
                    <a:pt x="427821" y="11711"/>
                    <a:pt x="427821" y="11711"/>
                    <a:pt x="427821" y="11894"/>
                  </a:cubicBezTo>
                  <a:cubicBezTo>
                    <a:pt x="427821" y="23848"/>
                    <a:pt x="427821" y="35800"/>
                    <a:pt x="427821" y="47938"/>
                  </a:cubicBezTo>
                  <a:cubicBezTo>
                    <a:pt x="427821" y="48305"/>
                    <a:pt x="427821" y="48305"/>
                    <a:pt x="428189" y="48305"/>
                  </a:cubicBezTo>
                  <a:cubicBezTo>
                    <a:pt x="429844" y="48305"/>
                    <a:pt x="431499" y="48305"/>
                    <a:pt x="433154" y="48305"/>
                  </a:cubicBezTo>
                  <a:cubicBezTo>
                    <a:pt x="434074" y="48305"/>
                    <a:pt x="434993" y="48673"/>
                    <a:pt x="435913" y="49041"/>
                  </a:cubicBezTo>
                  <a:cubicBezTo>
                    <a:pt x="437567" y="50144"/>
                    <a:pt x="438487" y="51615"/>
                    <a:pt x="438487" y="53638"/>
                  </a:cubicBezTo>
                  <a:cubicBezTo>
                    <a:pt x="438487" y="55109"/>
                    <a:pt x="437935" y="56581"/>
                    <a:pt x="436648" y="57500"/>
                  </a:cubicBezTo>
                  <a:cubicBezTo>
                    <a:pt x="435913" y="58052"/>
                    <a:pt x="434993" y="58603"/>
                    <a:pt x="433890" y="58787"/>
                  </a:cubicBezTo>
                  <a:cubicBezTo>
                    <a:pt x="433890" y="58787"/>
                    <a:pt x="433706" y="58787"/>
                    <a:pt x="433706" y="58787"/>
                  </a:cubicBezTo>
                  <a:cubicBezTo>
                    <a:pt x="433706" y="58787"/>
                    <a:pt x="433522" y="58787"/>
                    <a:pt x="433522" y="58787"/>
                  </a:cubicBezTo>
                  <a:cubicBezTo>
                    <a:pt x="433522" y="58603"/>
                    <a:pt x="433338" y="58787"/>
                    <a:pt x="433154" y="58787"/>
                  </a:cubicBezTo>
                  <a:cubicBezTo>
                    <a:pt x="425798" y="58787"/>
                    <a:pt x="418443" y="58787"/>
                    <a:pt x="411271" y="58787"/>
                  </a:cubicBezTo>
                  <a:cubicBezTo>
                    <a:pt x="411087" y="58787"/>
                    <a:pt x="411087" y="58787"/>
                    <a:pt x="410903" y="58787"/>
                  </a:cubicBezTo>
                  <a:cubicBezTo>
                    <a:pt x="410719" y="58787"/>
                    <a:pt x="410536" y="58787"/>
                    <a:pt x="410351" y="58787"/>
                  </a:cubicBezTo>
                  <a:cubicBezTo>
                    <a:pt x="410168" y="58603"/>
                    <a:pt x="409983" y="58603"/>
                    <a:pt x="409800" y="58603"/>
                  </a:cubicBezTo>
                  <a:cubicBezTo>
                    <a:pt x="408880" y="58419"/>
                    <a:pt x="408145" y="57868"/>
                    <a:pt x="407409" y="57316"/>
                  </a:cubicBezTo>
                  <a:cubicBezTo>
                    <a:pt x="406306" y="56213"/>
                    <a:pt x="405754" y="54925"/>
                    <a:pt x="405754" y="53454"/>
                  </a:cubicBezTo>
                  <a:cubicBezTo>
                    <a:pt x="405754" y="52167"/>
                    <a:pt x="406122" y="50880"/>
                    <a:pt x="407225" y="49960"/>
                  </a:cubicBezTo>
                  <a:cubicBezTo>
                    <a:pt x="408329" y="48857"/>
                    <a:pt x="409616" y="48305"/>
                    <a:pt x="411087" y="48305"/>
                  </a:cubicBezTo>
                  <a:cubicBezTo>
                    <a:pt x="412926" y="48305"/>
                    <a:pt x="414765" y="48305"/>
                    <a:pt x="416420" y="48305"/>
                  </a:cubicBezTo>
                  <a:cubicBezTo>
                    <a:pt x="416604" y="48305"/>
                    <a:pt x="416788" y="48305"/>
                    <a:pt x="416788" y="47938"/>
                  </a:cubicBezTo>
                  <a:cubicBezTo>
                    <a:pt x="416788" y="37456"/>
                    <a:pt x="416788" y="27158"/>
                    <a:pt x="416788" y="16676"/>
                  </a:cubicBezTo>
                  <a:cubicBezTo>
                    <a:pt x="416788" y="16492"/>
                    <a:pt x="416788" y="16308"/>
                    <a:pt x="416420" y="16308"/>
                  </a:cubicBezTo>
                  <a:cubicBezTo>
                    <a:pt x="415133" y="16308"/>
                    <a:pt x="413661" y="16308"/>
                    <a:pt x="412375" y="16308"/>
                  </a:cubicBezTo>
                  <a:cubicBezTo>
                    <a:pt x="410168" y="16308"/>
                    <a:pt x="408512" y="15204"/>
                    <a:pt x="407409" y="13182"/>
                  </a:cubicBezTo>
                  <a:cubicBezTo>
                    <a:pt x="406857" y="12079"/>
                    <a:pt x="406857" y="10791"/>
                    <a:pt x="407225" y="9320"/>
                  </a:cubicBezTo>
                  <a:cubicBezTo>
                    <a:pt x="407961" y="7297"/>
                    <a:pt x="409983" y="5826"/>
                    <a:pt x="412190" y="5826"/>
                  </a:cubicBezTo>
                  <a:cubicBezTo>
                    <a:pt x="414949" y="5826"/>
                    <a:pt x="417707" y="5642"/>
                    <a:pt x="420465" y="5642"/>
                  </a:cubicBezTo>
                  <a:close/>
                  <a:moveTo>
                    <a:pt x="369218" y="5642"/>
                  </a:moveTo>
                  <a:cubicBezTo>
                    <a:pt x="370137" y="5642"/>
                    <a:pt x="371057" y="5458"/>
                    <a:pt x="371976" y="5642"/>
                  </a:cubicBezTo>
                  <a:cubicBezTo>
                    <a:pt x="373264" y="5826"/>
                    <a:pt x="374367" y="6378"/>
                    <a:pt x="375103" y="7297"/>
                  </a:cubicBezTo>
                  <a:cubicBezTo>
                    <a:pt x="376206" y="8400"/>
                    <a:pt x="376758" y="9872"/>
                    <a:pt x="376574" y="11526"/>
                  </a:cubicBezTo>
                  <a:cubicBezTo>
                    <a:pt x="376574" y="11711"/>
                    <a:pt x="376574" y="11711"/>
                    <a:pt x="376574" y="11894"/>
                  </a:cubicBezTo>
                  <a:cubicBezTo>
                    <a:pt x="376574" y="23848"/>
                    <a:pt x="376574" y="35800"/>
                    <a:pt x="376574" y="47938"/>
                  </a:cubicBezTo>
                  <a:cubicBezTo>
                    <a:pt x="376574" y="48305"/>
                    <a:pt x="376574" y="48305"/>
                    <a:pt x="376942" y="48305"/>
                  </a:cubicBezTo>
                  <a:cubicBezTo>
                    <a:pt x="378597" y="48305"/>
                    <a:pt x="380251" y="48305"/>
                    <a:pt x="381906" y="48305"/>
                  </a:cubicBezTo>
                  <a:cubicBezTo>
                    <a:pt x="382826" y="48305"/>
                    <a:pt x="383745" y="48673"/>
                    <a:pt x="384665" y="49041"/>
                  </a:cubicBezTo>
                  <a:cubicBezTo>
                    <a:pt x="386320" y="50144"/>
                    <a:pt x="387240" y="51615"/>
                    <a:pt x="387240" y="53638"/>
                  </a:cubicBezTo>
                  <a:cubicBezTo>
                    <a:pt x="387240" y="55109"/>
                    <a:pt x="386688" y="56581"/>
                    <a:pt x="385401" y="57500"/>
                  </a:cubicBezTo>
                  <a:cubicBezTo>
                    <a:pt x="384665" y="58052"/>
                    <a:pt x="383745" y="58603"/>
                    <a:pt x="382642" y="58787"/>
                  </a:cubicBezTo>
                  <a:cubicBezTo>
                    <a:pt x="382642" y="58787"/>
                    <a:pt x="382458" y="58787"/>
                    <a:pt x="382458" y="58787"/>
                  </a:cubicBezTo>
                  <a:cubicBezTo>
                    <a:pt x="382458" y="58787"/>
                    <a:pt x="382274" y="58787"/>
                    <a:pt x="382274" y="58787"/>
                  </a:cubicBezTo>
                  <a:cubicBezTo>
                    <a:pt x="382274" y="58603"/>
                    <a:pt x="382091" y="58787"/>
                    <a:pt x="381906" y="58787"/>
                  </a:cubicBezTo>
                  <a:cubicBezTo>
                    <a:pt x="374551" y="58787"/>
                    <a:pt x="367195" y="58787"/>
                    <a:pt x="360023" y="58787"/>
                  </a:cubicBezTo>
                  <a:cubicBezTo>
                    <a:pt x="359839" y="58787"/>
                    <a:pt x="359839" y="58787"/>
                    <a:pt x="359655" y="58787"/>
                  </a:cubicBezTo>
                  <a:cubicBezTo>
                    <a:pt x="359471" y="58787"/>
                    <a:pt x="359288" y="58787"/>
                    <a:pt x="359104" y="58787"/>
                  </a:cubicBezTo>
                  <a:cubicBezTo>
                    <a:pt x="358920" y="58603"/>
                    <a:pt x="358736" y="58603"/>
                    <a:pt x="358553" y="58603"/>
                  </a:cubicBezTo>
                  <a:cubicBezTo>
                    <a:pt x="357633" y="58419"/>
                    <a:pt x="356897" y="57868"/>
                    <a:pt x="356162" y="57316"/>
                  </a:cubicBezTo>
                  <a:cubicBezTo>
                    <a:pt x="355058" y="56213"/>
                    <a:pt x="354507" y="54925"/>
                    <a:pt x="354507" y="53454"/>
                  </a:cubicBezTo>
                  <a:cubicBezTo>
                    <a:pt x="354507" y="52167"/>
                    <a:pt x="354874" y="50880"/>
                    <a:pt x="355978" y="49960"/>
                  </a:cubicBezTo>
                  <a:cubicBezTo>
                    <a:pt x="357081" y="48857"/>
                    <a:pt x="358368" y="48305"/>
                    <a:pt x="359839" y="48305"/>
                  </a:cubicBezTo>
                  <a:cubicBezTo>
                    <a:pt x="361678" y="48305"/>
                    <a:pt x="363517" y="48305"/>
                    <a:pt x="365172" y="48305"/>
                  </a:cubicBezTo>
                  <a:cubicBezTo>
                    <a:pt x="365357" y="48305"/>
                    <a:pt x="365540" y="48305"/>
                    <a:pt x="365540" y="47938"/>
                  </a:cubicBezTo>
                  <a:cubicBezTo>
                    <a:pt x="365540" y="37456"/>
                    <a:pt x="365540" y="27158"/>
                    <a:pt x="365540" y="16676"/>
                  </a:cubicBezTo>
                  <a:cubicBezTo>
                    <a:pt x="365540" y="16492"/>
                    <a:pt x="365540" y="16308"/>
                    <a:pt x="365172" y="16308"/>
                  </a:cubicBezTo>
                  <a:cubicBezTo>
                    <a:pt x="363885" y="16308"/>
                    <a:pt x="362414" y="16308"/>
                    <a:pt x="361127" y="16308"/>
                  </a:cubicBezTo>
                  <a:cubicBezTo>
                    <a:pt x="358920" y="16308"/>
                    <a:pt x="357265" y="15204"/>
                    <a:pt x="356162" y="13182"/>
                  </a:cubicBezTo>
                  <a:cubicBezTo>
                    <a:pt x="355610" y="12079"/>
                    <a:pt x="355610" y="10791"/>
                    <a:pt x="355978" y="9320"/>
                  </a:cubicBezTo>
                  <a:cubicBezTo>
                    <a:pt x="356714" y="7297"/>
                    <a:pt x="358736" y="5826"/>
                    <a:pt x="360943" y="5826"/>
                  </a:cubicBezTo>
                  <a:cubicBezTo>
                    <a:pt x="363701" y="5826"/>
                    <a:pt x="366460" y="5642"/>
                    <a:pt x="369218" y="5642"/>
                  </a:cubicBezTo>
                  <a:close/>
                  <a:moveTo>
                    <a:pt x="2883642" y="5595"/>
                  </a:moveTo>
                  <a:cubicBezTo>
                    <a:pt x="2886484" y="5411"/>
                    <a:pt x="2889326" y="5963"/>
                    <a:pt x="2892001" y="7066"/>
                  </a:cubicBezTo>
                  <a:cubicBezTo>
                    <a:pt x="2893840" y="7801"/>
                    <a:pt x="2895512" y="8905"/>
                    <a:pt x="2897016" y="10193"/>
                  </a:cubicBezTo>
                  <a:cubicBezTo>
                    <a:pt x="2897852" y="10928"/>
                    <a:pt x="2898521" y="11664"/>
                    <a:pt x="2899357" y="12399"/>
                  </a:cubicBezTo>
                  <a:cubicBezTo>
                    <a:pt x="2900193" y="13318"/>
                    <a:pt x="2901029" y="14422"/>
                    <a:pt x="2901697" y="15341"/>
                  </a:cubicBezTo>
                  <a:cubicBezTo>
                    <a:pt x="2902199" y="16077"/>
                    <a:pt x="2902700" y="16996"/>
                    <a:pt x="2903035" y="17732"/>
                  </a:cubicBezTo>
                  <a:cubicBezTo>
                    <a:pt x="2903704" y="18835"/>
                    <a:pt x="2904205" y="20122"/>
                    <a:pt x="2904539" y="21410"/>
                  </a:cubicBezTo>
                  <a:cubicBezTo>
                    <a:pt x="2904874" y="22145"/>
                    <a:pt x="2905041" y="23065"/>
                    <a:pt x="2905208" y="23801"/>
                  </a:cubicBezTo>
                  <a:cubicBezTo>
                    <a:pt x="2905543" y="24904"/>
                    <a:pt x="2905710" y="26191"/>
                    <a:pt x="2905877" y="27294"/>
                  </a:cubicBezTo>
                  <a:cubicBezTo>
                    <a:pt x="2906378" y="30605"/>
                    <a:pt x="2906378" y="33914"/>
                    <a:pt x="2905710" y="37041"/>
                  </a:cubicBezTo>
                  <a:cubicBezTo>
                    <a:pt x="2905543" y="38144"/>
                    <a:pt x="2905375" y="39248"/>
                    <a:pt x="2905041" y="40351"/>
                  </a:cubicBezTo>
                  <a:cubicBezTo>
                    <a:pt x="2904707" y="41270"/>
                    <a:pt x="2904539" y="42006"/>
                    <a:pt x="2904205" y="42925"/>
                  </a:cubicBezTo>
                  <a:cubicBezTo>
                    <a:pt x="2903871" y="43477"/>
                    <a:pt x="2903704" y="44028"/>
                    <a:pt x="2903536" y="44580"/>
                  </a:cubicBezTo>
                  <a:cubicBezTo>
                    <a:pt x="2903035" y="45684"/>
                    <a:pt x="2902533" y="46603"/>
                    <a:pt x="2902032" y="47523"/>
                  </a:cubicBezTo>
                  <a:cubicBezTo>
                    <a:pt x="2901530" y="48258"/>
                    <a:pt x="2901029" y="48994"/>
                    <a:pt x="2900527" y="49729"/>
                  </a:cubicBezTo>
                  <a:cubicBezTo>
                    <a:pt x="2899858" y="50649"/>
                    <a:pt x="2899023" y="51568"/>
                    <a:pt x="2898186" y="52303"/>
                  </a:cubicBezTo>
                  <a:cubicBezTo>
                    <a:pt x="2897518" y="53039"/>
                    <a:pt x="2896682" y="53591"/>
                    <a:pt x="2896013" y="54143"/>
                  </a:cubicBezTo>
                  <a:cubicBezTo>
                    <a:pt x="2894843" y="55062"/>
                    <a:pt x="2893506" y="55798"/>
                    <a:pt x="2892168" y="56350"/>
                  </a:cubicBezTo>
                  <a:cubicBezTo>
                    <a:pt x="2890496" y="57085"/>
                    <a:pt x="2888658" y="57637"/>
                    <a:pt x="2886819" y="57821"/>
                  </a:cubicBezTo>
                  <a:cubicBezTo>
                    <a:pt x="2886484" y="57821"/>
                    <a:pt x="2886317" y="57821"/>
                    <a:pt x="2885983" y="58004"/>
                  </a:cubicBezTo>
                  <a:cubicBezTo>
                    <a:pt x="2884980" y="58004"/>
                    <a:pt x="2884144" y="58004"/>
                    <a:pt x="2883140" y="58004"/>
                  </a:cubicBezTo>
                  <a:cubicBezTo>
                    <a:pt x="2883140" y="57821"/>
                    <a:pt x="2882973" y="58004"/>
                    <a:pt x="2882973" y="58004"/>
                  </a:cubicBezTo>
                  <a:cubicBezTo>
                    <a:pt x="2879797" y="57637"/>
                    <a:pt x="2876787" y="56533"/>
                    <a:pt x="2874113" y="54694"/>
                  </a:cubicBezTo>
                  <a:cubicBezTo>
                    <a:pt x="2872943" y="53959"/>
                    <a:pt x="2871939" y="53039"/>
                    <a:pt x="2870936" y="51936"/>
                  </a:cubicBezTo>
                  <a:cubicBezTo>
                    <a:pt x="2870100" y="51200"/>
                    <a:pt x="2869432" y="50281"/>
                    <a:pt x="2868763" y="49361"/>
                  </a:cubicBezTo>
                  <a:cubicBezTo>
                    <a:pt x="2868262" y="48626"/>
                    <a:pt x="2867760" y="47890"/>
                    <a:pt x="2867259" y="46971"/>
                  </a:cubicBezTo>
                  <a:cubicBezTo>
                    <a:pt x="2866757" y="46051"/>
                    <a:pt x="2866256" y="45132"/>
                    <a:pt x="2865754" y="44028"/>
                  </a:cubicBezTo>
                  <a:cubicBezTo>
                    <a:pt x="2865420" y="43293"/>
                    <a:pt x="2865252" y="42741"/>
                    <a:pt x="2864918" y="42006"/>
                  </a:cubicBezTo>
                  <a:cubicBezTo>
                    <a:pt x="2864584" y="41270"/>
                    <a:pt x="2864417" y="40534"/>
                    <a:pt x="2864249" y="39799"/>
                  </a:cubicBezTo>
                  <a:cubicBezTo>
                    <a:pt x="2863915" y="38512"/>
                    <a:pt x="2863748" y="37224"/>
                    <a:pt x="2863413" y="35937"/>
                  </a:cubicBezTo>
                  <a:cubicBezTo>
                    <a:pt x="2863247" y="35202"/>
                    <a:pt x="2863247" y="34650"/>
                    <a:pt x="2863247" y="33914"/>
                  </a:cubicBezTo>
                  <a:cubicBezTo>
                    <a:pt x="2863413" y="34466"/>
                    <a:pt x="2863581" y="34282"/>
                    <a:pt x="2863413" y="34098"/>
                  </a:cubicBezTo>
                  <a:cubicBezTo>
                    <a:pt x="2863413" y="32811"/>
                    <a:pt x="2863413" y="31524"/>
                    <a:pt x="2863413" y="30237"/>
                  </a:cubicBezTo>
                  <a:cubicBezTo>
                    <a:pt x="2863413" y="30237"/>
                    <a:pt x="2863413" y="30237"/>
                    <a:pt x="2863413" y="30053"/>
                  </a:cubicBezTo>
                  <a:cubicBezTo>
                    <a:pt x="2863413" y="28949"/>
                    <a:pt x="2863581" y="28030"/>
                    <a:pt x="2863748" y="26926"/>
                  </a:cubicBezTo>
                  <a:cubicBezTo>
                    <a:pt x="2864082" y="25639"/>
                    <a:pt x="2864082" y="24352"/>
                    <a:pt x="2864584" y="23248"/>
                  </a:cubicBezTo>
                  <a:cubicBezTo>
                    <a:pt x="2864918" y="22513"/>
                    <a:pt x="2865085" y="21777"/>
                    <a:pt x="2865252" y="21042"/>
                  </a:cubicBezTo>
                  <a:cubicBezTo>
                    <a:pt x="2865754" y="19939"/>
                    <a:pt x="2866256" y="18651"/>
                    <a:pt x="2866757" y="17548"/>
                  </a:cubicBezTo>
                  <a:cubicBezTo>
                    <a:pt x="2867259" y="16629"/>
                    <a:pt x="2867760" y="15893"/>
                    <a:pt x="2868262" y="14973"/>
                  </a:cubicBezTo>
                  <a:cubicBezTo>
                    <a:pt x="2868763" y="14238"/>
                    <a:pt x="2869264" y="13502"/>
                    <a:pt x="2869766" y="12950"/>
                  </a:cubicBezTo>
                  <a:cubicBezTo>
                    <a:pt x="2870268" y="12399"/>
                    <a:pt x="2870770" y="11847"/>
                    <a:pt x="2871271" y="11296"/>
                  </a:cubicBezTo>
                  <a:cubicBezTo>
                    <a:pt x="2872274" y="10376"/>
                    <a:pt x="2873277" y="9457"/>
                    <a:pt x="2874447" y="8721"/>
                  </a:cubicBezTo>
                  <a:cubicBezTo>
                    <a:pt x="2875283" y="8169"/>
                    <a:pt x="2876286" y="7618"/>
                    <a:pt x="2877122" y="7250"/>
                  </a:cubicBezTo>
                  <a:cubicBezTo>
                    <a:pt x="2879128" y="6330"/>
                    <a:pt x="2881301" y="5779"/>
                    <a:pt x="2883642" y="5595"/>
                  </a:cubicBezTo>
                  <a:close/>
                  <a:moveTo>
                    <a:pt x="2760799" y="5595"/>
                  </a:moveTo>
                  <a:cubicBezTo>
                    <a:pt x="2763641" y="5411"/>
                    <a:pt x="2766483" y="5963"/>
                    <a:pt x="2769158" y="7066"/>
                  </a:cubicBezTo>
                  <a:cubicBezTo>
                    <a:pt x="2770997" y="7801"/>
                    <a:pt x="2772669" y="8905"/>
                    <a:pt x="2774174" y="10193"/>
                  </a:cubicBezTo>
                  <a:cubicBezTo>
                    <a:pt x="2775009" y="10928"/>
                    <a:pt x="2775678" y="11664"/>
                    <a:pt x="2776514" y="12399"/>
                  </a:cubicBezTo>
                  <a:cubicBezTo>
                    <a:pt x="2777350" y="13318"/>
                    <a:pt x="2778186" y="14422"/>
                    <a:pt x="2778854" y="15341"/>
                  </a:cubicBezTo>
                  <a:cubicBezTo>
                    <a:pt x="2779356" y="16077"/>
                    <a:pt x="2779857" y="16996"/>
                    <a:pt x="2780192" y="17732"/>
                  </a:cubicBezTo>
                  <a:cubicBezTo>
                    <a:pt x="2780861" y="18835"/>
                    <a:pt x="2781362" y="20122"/>
                    <a:pt x="2781696" y="21410"/>
                  </a:cubicBezTo>
                  <a:cubicBezTo>
                    <a:pt x="2782031" y="22145"/>
                    <a:pt x="2782198" y="23065"/>
                    <a:pt x="2782365" y="23801"/>
                  </a:cubicBezTo>
                  <a:cubicBezTo>
                    <a:pt x="2782700" y="24904"/>
                    <a:pt x="2782867" y="26191"/>
                    <a:pt x="2783034" y="27294"/>
                  </a:cubicBezTo>
                  <a:cubicBezTo>
                    <a:pt x="2783535" y="30605"/>
                    <a:pt x="2783535" y="33914"/>
                    <a:pt x="2782867" y="37041"/>
                  </a:cubicBezTo>
                  <a:cubicBezTo>
                    <a:pt x="2782700" y="38144"/>
                    <a:pt x="2782532" y="39248"/>
                    <a:pt x="2782198" y="40351"/>
                  </a:cubicBezTo>
                  <a:cubicBezTo>
                    <a:pt x="2781864" y="41270"/>
                    <a:pt x="2781696" y="42006"/>
                    <a:pt x="2781362" y="42925"/>
                  </a:cubicBezTo>
                  <a:cubicBezTo>
                    <a:pt x="2781028" y="43477"/>
                    <a:pt x="2780861" y="44028"/>
                    <a:pt x="2780693" y="44580"/>
                  </a:cubicBezTo>
                  <a:cubicBezTo>
                    <a:pt x="2780192" y="45684"/>
                    <a:pt x="2779690" y="46603"/>
                    <a:pt x="2779189" y="47523"/>
                  </a:cubicBezTo>
                  <a:cubicBezTo>
                    <a:pt x="2778687" y="48258"/>
                    <a:pt x="2778186" y="48994"/>
                    <a:pt x="2777684" y="49729"/>
                  </a:cubicBezTo>
                  <a:cubicBezTo>
                    <a:pt x="2777015" y="50649"/>
                    <a:pt x="2776180" y="51568"/>
                    <a:pt x="2775343" y="52303"/>
                  </a:cubicBezTo>
                  <a:cubicBezTo>
                    <a:pt x="2774675" y="53039"/>
                    <a:pt x="2773839" y="53591"/>
                    <a:pt x="2773170" y="54143"/>
                  </a:cubicBezTo>
                  <a:cubicBezTo>
                    <a:pt x="2772000" y="55062"/>
                    <a:pt x="2770663" y="55798"/>
                    <a:pt x="2769325" y="56350"/>
                  </a:cubicBezTo>
                  <a:cubicBezTo>
                    <a:pt x="2767653" y="57085"/>
                    <a:pt x="2765815" y="57637"/>
                    <a:pt x="2763976" y="57821"/>
                  </a:cubicBezTo>
                  <a:cubicBezTo>
                    <a:pt x="2763641" y="57821"/>
                    <a:pt x="2763474" y="57821"/>
                    <a:pt x="2763140" y="58004"/>
                  </a:cubicBezTo>
                  <a:cubicBezTo>
                    <a:pt x="2762137" y="58004"/>
                    <a:pt x="2761301" y="58004"/>
                    <a:pt x="2760298" y="58004"/>
                  </a:cubicBezTo>
                  <a:cubicBezTo>
                    <a:pt x="2760298" y="57821"/>
                    <a:pt x="2760130" y="58004"/>
                    <a:pt x="2760130" y="58004"/>
                  </a:cubicBezTo>
                  <a:cubicBezTo>
                    <a:pt x="2756954" y="57637"/>
                    <a:pt x="2753944" y="56533"/>
                    <a:pt x="2751270" y="54694"/>
                  </a:cubicBezTo>
                  <a:cubicBezTo>
                    <a:pt x="2750100" y="53959"/>
                    <a:pt x="2749096" y="53039"/>
                    <a:pt x="2748093" y="51936"/>
                  </a:cubicBezTo>
                  <a:cubicBezTo>
                    <a:pt x="2747257" y="51200"/>
                    <a:pt x="2746589" y="50281"/>
                    <a:pt x="2745920" y="49361"/>
                  </a:cubicBezTo>
                  <a:cubicBezTo>
                    <a:pt x="2745419" y="48626"/>
                    <a:pt x="2744917" y="47890"/>
                    <a:pt x="2744416" y="46971"/>
                  </a:cubicBezTo>
                  <a:cubicBezTo>
                    <a:pt x="2743914" y="46051"/>
                    <a:pt x="2743413" y="45132"/>
                    <a:pt x="2742911" y="44028"/>
                  </a:cubicBezTo>
                  <a:cubicBezTo>
                    <a:pt x="2742577" y="43293"/>
                    <a:pt x="2742409" y="42741"/>
                    <a:pt x="2742075" y="42006"/>
                  </a:cubicBezTo>
                  <a:cubicBezTo>
                    <a:pt x="2741741" y="41270"/>
                    <a:pt x="2741574" y="40534"/>
                    <a:pt x="2741406" y="39799"/>
                  </a:cubicBezTo>
                  <a:cubicBezTo>
                    <a:pt x="2741072" y="38512"/>
                    <a:pt x="2740905" y="37224"/>
                    <a:pt x="2740570" y="35937"/>
                  </a:cubicBezTo>
                  <a:cubicBezTo>
                    <a:pt x="2740404" y="35202"/>
                    <a:pt x="2740404" y="34650"/>
                    <a:pt x="2740404" y="33914"/>
                  </a:cubicBezTo>
                  <a:cubicBezTo>
                    <a:pt x="2740570" y="34466"/>
                    <a:pt x="2740738" y="34282"/>
                    <a:pt x="2740570" y="34098"/>
                  </a:cubicBezTo>
                  <a:cubicBezTo>
                    <a:pt x="2740570" y="32811"/>
                    <a:pt x="2740570" y="31524"/>
                    <a:pt x="2740570" y="30237"/>
                  </a:cubicBezTo>
                  <a:cubicBezTo>
                    <a:pt x="2740570" y="30237"/>
                    <a:pt x="2740570" y="30237"/>
                    <a:pt x="2740570" y="30053"/>
                  </a:cubicBezTo>
                  <a:cubicBezTo>
                    <a:pt x="2740570" y="28949"/>
                    <a:pt x="2740738" y="28030"/>
                    <a:pt x="2740905" y="26926"/>
                  </a:cubicBezTo>
                  <a:cubicBezTo>
                    <a:pt x="2741239" y="25639"/>
                    <a:pt x="2741239" y="24352"/>
                    <a:pt x="2741741" y="23248"/>
                  </a:cubicBezTo>
                  <a:cubicBezTo>
                    <a:pt x="2742075" y="22513"/>
                    <a:pt x="2742242" y="21777"/>
                    <a:pt x="2742409" y="21042"/>
                  </a:cubicBezTo>
                  <a:cubicBezTo>
                    <a:pt x="2742911" y="19939"/>
                    <a:pt x="2743413" y="18651"/>
                    <a:pt x="2743914" y="17548"/>
                  </a:cubicBezTo>
                  <a:cubicBezTo>
                    <a:pt x="2744416" y="16629"/>
                    <a:pt x="2744917" y="15893"/>
                    <a:pt x="2745419" y="14973"/>
                  </a:cubicBezTo>
                  <a:cubicBezTo>
                    <a:pt x="2745920" y="14238"/>
                    <a:pt x="2746422" y="13502"/>
                    <a:pt x="2746923" y="12950"/>
                  </a:cubicBezTo>
                  <a:cubicBezTo>
                    <a:pt x="2747425" y="12399"/>
                    <a:pt x="2747927" y="11847"/>
                    <a:pt x="2748428" y="11296"/>
                  </a:cubicBezTo>
                  <a:cubicBezTo>
                    <a:pt x="2749431" y="10376"/>
                    <a:pt x="2750434" y="9457"/>
                    <a:pt x="2751604" y="8721"/>
                  </a:cubicBezTo>
                  <a:cubicBezTo>
                    <a:pt x="2752440" y="8169"/>
                    <a:pt x="2753443" y="7618"/>
                    <a:pt x="2754279" y="7250"/>
                  </a:cubicBezTo>
                  <a:cubicBezTo>
                    <a:pt x="2756285" y="6330"/>
                    <a:pt x="2758458" y="5779"/>
                    <a:pt x="2760799" y="5595"/>
                  </a:cubicBezTo>
                  <a:close/>
                  <a:moveTo>
                    <a:pt x="2596858" y="5595"/>
                  </a:moveTo>
                  <a:cubicBezTo>
                    <a:pt x="2599699" y="5411"/>
                    <a:pt x="2602541" y="5963"/>
                    <a:pt x="2605216" y="7066"/>
                  </a:cubicBezTo>
                  <a:cubicBezTo>
                    <a:pt x="2607055" y="7801"/>
                    <a:pt x="2608727" y="8905"/>
                    <a:pt x="2610232" y="10193"/>
                  </a:cubicBezTo>
                  <a:cubicBezTo>
                    <a:pt x="2611068" y="10928"/>
                    <a:pt x="2611736" y="11664"/>
                    <a:pt x="2612572" y="12399"/>
                  </a:cubicBezTo>
                  <a:cubicBezTo>
                    <a:pt x="2613408" y="13318"/>
                    <a:pt x="2614244" y="14422"/>
                    <a:pt x="2614912" y="15341"/>
                  </a:cubicBezTo>
                  <a:cubicBezTo>
                    <a:pt x="2615414" y="16077"/>
                    <a:pt x="2615916" y="16996"/>
                    <a:pt x="2616250" y="17732"/>
                  </a:cubicBezTo>
                  <a:cubicBezTo>
                    <a:pt x="2616919" y="18835"/>
                    <a:pt x="2617420" y="20122"/>
                    <a:pt x="2617755" y="21410"/>
                  </a:cubicBezTo>
                  <a:cubicBezTo>
                    <a:pt x="2618089" y="22145"/>
                    <a:pt x="2618256" y="23065"/>
                    <a:pt x="2618423" y="23801"/>
                  </a:cubicBezTo>
                  <a:cubicBezTo>
                    <a:pt x="2618758" y="24904"/>
                    <a:pt x="2618925" y="26191"/>
                    <a:pt x="2619092" y="27294"/>
                  </a:cubicBezTo>
                  <a:cubicBezTo>
                    <a:pt x="2619594" y="30605"/>
                    <a:pt x="2619594" y="33914"/>
                    <a:pt x="2618925" y="37041"/>
                  </a:cubicBezTo>
                  <a:cubicBezTo>
                    <a:pt x="2618758" y="38144"/>
                    <a:pt x="2618590" y="39248"/>
                    <a:pt x="2618256" y="40351"/>
                  </a:cubicBezTo>
                  <a:cubicBezTo>
                    <a:pt x="2617922" y="41270"/>
                    <a:pt x="2617755" y="42006"/>
                    <a:pt x="2617420" y="42925"/>
                  </a:cubicBezTo>
                  <a:cubicBezTo>
                    <a:pt x="2617086" y="43477"/>
                    <a:pt x="2616919" y="44028"/>
                    <a:pt x="2616751" y="44580"/>
                  </a:cubicBezTo>
                  <a:cubicBezTo>
                    <a:pt x="2616250" y="45684"/>
                    <a:pt x="2615748" y="46603"/>
                    <a:pt x="2615247" y="47523"/>
                  </a:cubicBezTo>
                  <a:cubicBezTo>
                    <a:pt x="2614745" y="48258"/>
                    <a:pt x="2614244" y="48994"/>
                    <a:pt x="2613743" y="49729"/>
                  </a:cubicBezTo>
                  <a:cubicBezTo>
                    <a:pt x="2613073" y="50649"/>
                    <a:pt x="2612238" y="51568"/>
                    <a:pt x="2611401" y="52303"/>
                  </a:cubicBezTo>
                  <a:cubicBezTo>
                    <a:pt x="2610733" y="53039"/>
                    <a:pt x="2609897" y="53591"/>
                    <a:pt x="2609228" y="54143"/>
                  </a:cubicBezTo>
                  <a:cubicBezTo>
                    <a:pt x="2608058" y="55062"/>
                    <a:pt x="2606721" y="55798"/>
                    <a:pt x="2605383" y="56350"/>
                  </a:cubicBezTo>
                  <a:cubicBezTo>
                    <a:pt x="2603711" y="57085"/>
                    <a:pt x="2601873" y="57637"/>
                    <a:pt x="2600034" y="57821"/>
                  </a:cubicBezTo>
                  <a:cubicBezTo>
                    <a:pt x="2599699" y="57821"/>
                    <a:pt x="2599532" y="57821"/>
                    <a:pt x="2599198" y="58004"/>
                  </a:cubicBezTo>
                  <a:cubicBezTo>
                    <a:pt x="2598195" y="58004"/>
                    <a:pt x="2597359" y="58004"/>
                    <a:pt x="2596356" y="58004"/>
                  </a:cubicBezTo>
                  <a:cubicBezTo>
                    <a:pt x="2596356" y="57821"/>
                    <a:pt x="2596188" y="58004"/>
                    <a:pt x="2596188" y="58004"/>
                  </a:cubicBezTo>
                  <a:cubicBezTo>
                    <a:pt x="2593012" y="57637"/>
                    <a:pt x="2590003" y="56533"/>
                    <a:pt x="2587328" y="54694"/>
                  </a:cubicBezTo>
                  <a:cubicBezTo>
                    <a:pt x="2586158" y="53959"/>
                    <a:pt x="2585155" y="53039"/>
                    <a:pt x="2584151" y="51936"/>
                  </a:cubicBezTo>
                  <a:cubicBezTo>
                    <a:pt x="2583316" y="51200"/>
                    <a:pt x="2582647" y="50281"/>
                    <a:pt x="2581978" y="49361"/>
                  </a:cubicBezTo>
                  <a:cubicBezTo>
                    <a:pt x="2581477" y="48626"/>
                    <a:pt x="2580975" y="47890"/>
                    <a:pt x="2580474" y="46971"/>
                  </a:cubicBezTo>
                  <a:cubicBezTo>
                    <a:pt x="2579972" y="46051"/>
                    <a:pt x="2579471" y="45132"/>
                    <a:pt x="2578969" y="44028"/>
                  </a:cubicBezTo>
                  <a:cubicBezTo>
                    <a:pt x="2578635" y="43293"/>
                    <a:pt x="2578468" y="42741"/>
                    <a:pt x="2578134" y="42006"/>
                  </a:cubicBezTo>
                  <a:cubicBezTo>
                    <a:pt x="2577799" y="41270"/>
                    <a:pt x="2577632" y="40534"/>
                    <a:pt x="2577464" y="39799"/>
                  </a:cubicBezTo>
                  <a:cubicBezTo>
                    <a:pt x="2577130" y="38512"/>
                    <a:pt x="2576963" y="37224"/>
                    <a:pt x="2576629" y="35937"/>
                  </a:cubicBezTo>
                  <a:cubicBezTo>
                    <a:pt x="2576462" y="35202"/>
                    <a:pt x="2576462" y="34650"/>
                    <a:pt x="2576462" y="33914"/>
                  </a:cubicBezTo>
                  <a:cubicBezTo>
                    <a:pt x="2576629" y="34466"/>
                    <a:pt x="2576796" y="34282"/>
                    <a:pt x="2576629" y="34098"/>
                  </a:cubicBezTo>
                  <a:cubicBezTo>
                    <a:pt x="2576629" y="32811"/>
                    <a:pt x="2576629" y="31524"/>
                    <a:pt x="2576629" y="30237"/>
                  </a:cubicBezTo>
                  <a:cubicBezTo>
                    <a:pt x="2576629" y="30237"/>
                    <a:pt x="2576629" y="30237"/>
                    <a:pt x="2576629" y="30053"/>
                  </a:cubicBezTo>
                  <a:cubicBezTo>
                    <a:pt x="2576629" y="28949"/>
                    <a:pt x="2576796" y="28030"/>
                    <a:pt x="2576963" y="26926"/>
                  </a:cubicBezTo>
                  <a:cubicBezTo>
                    <a:pt x="2577297" y="25639"/>
                    <a:pt x="2577297" y="24352"/>
                    <a:pt x="2577799" y="23248"/>
                  </a:cubicBezTo>
                  <a:cubicBezTo>
                    <a:pt x="2578134" y="22513"/>
                    <a:pt x="2578300" y="21777"/>
                    <a:pt x="2578468" y="21042"/>
                  </a:cubicBezTo>
                  <a:cubicBezTo>
                    <a:pt x="2578969" y="19939"/>
                    <a:pt x="2579471" y="18651"/>
                    <a:pt x="2579972" y="17548"/>
                  </a:cubicBezTo>
                  <a:cubicBezTo>
                    <a:pt x="2580474" y="16629"/>
                    <a:pt x="2580975" y="15893"/>
                    <a:pt x="2581477" y="14973"/>
                  </a:cubicBezTo>
                  <a:cubicBezTo>
                    <a:pt x="2581978" y="14238"/>
                    <a:pt x="2582480" y="13502"/>
                    <a:pt x="2582982" y="12950"/>
                  </a:cubicBezTo>
                  <a:cubicBezTo>
                    <a:pt x="2583483" y="12399"/>
                    <a:pt x="2583985" y="11847"/>
                    <a:pt x="2584486" y="11296"/>
                  </a:cubicBezTo>
                  <a:cubicBezTo>
                    <a:pt x="2585489" y="10376"/>
                    <a:pt x="2586492" y="9457"/>
                    <a:pt x="2587662" y="8721"/>
                  </a:cubicBezTo>
                  <a:cubicBezTo>
                    <a:pt x="2588498" y="8169"/>
                    <a:pt x="2589501" y="7618"/>
                    <a:pt x="2590337" y="7250"/>
                  </a:cubicBezTo>
                  <a:cubicBezTo>
                    <a:pt x="2592344" y="6330"/>
                    <a:pt x="2594517" y="5779"/>
                    <a:pt x="2596858" y="5595"/>
                  </a:cubicBezTo>
                  <a:close/>
                  <a:moveTo>
                    <a:pt x="2474015" y="5595"/>
                  </a:moveTo>
                  <a:cubicBezTo>
                    <a:pt x="2476856" y="5411"/>
                    <a:pt x="2479698" y="5963"/>
                    <a:pt x="2482373" y="7066"/>
                  </a:cubicBezTo>
                  <a:cubicBezTo>
                    <a:pt x="2484212" y="7801"/>
                    <a:pt x="2485884" y="8905"/>
                    <a:pt x="2487389" y="10193"/>
                  </a:cubicBezTo>
                  <a:cubicBezTo>
                    <a:pt x="2488225" y="10928"/>
                    <a:pt x="2488893" y="11664"/>
                    <a:pt x="2489729" y="12399"/>
                  </a:cubicBezTo>
                  <a:cubicBezTo>
                    <a:pt x="2490565" y="13318"/>
                    <a:pt x="2491401" y="14422"/>
                    <a:pt x="2492069" y="15341"/>
                  </a:cubicBezTo>
                  <a:cubicBezTo>
                    <a:pt x="2492571" y="16077"/>
                    <a:pt x="2493073" y="16996"/>
                    <a:pt x="2493407" y="17732"/>
                  </a:cubicBezTo>
                  <a:cubicBezTo>
                    <a:pt x="2494076" y="18835"/>
                    <a:pt x="2494577" y="20122"/>
                    <a:pt x="2494912" y="21410"/>
                  </a:cubicBezTo>
                  <a:cubicBezTo>
                    <a:pt x="2495246" y="22145"/>
                    <a:pt x="2495413" y="23065"/>
                    <a:pt x="2495580" y="23801"/>
                  </a:cubicBezTo>
                  <a:cubicBezTo>
                    <a:pt x="2495915" y="24904"/>
                    <a:pt x="2496082" y="26191"/>
                    <a:pt x="2496249" y="27294"/>
                  </a:cubicBezTo>
                  <a:cubicBezTo>
                    <a:pt x="2496751" y="30605"/>
                    <a:pt x="2496751" y="33914"/>
                    <a:pt x="2496082" y="37041"/>
                  </a:cubicBezTo>
                  <a:cubicBezTo>
                    <a:pt x="2495915" y="38144"/>
                    <a:pt x="2495748" y="39248"/>
                    <a:pt x="2495413" y="40351"/>
                  </a:cubicBezTo>
                  <a:cubicBezTo>
                    <a:pt x="2495079" y="41270"/>
                    <a:pt x="2494912" y="42006"/>
                    <a:pt x="2494577" y="42925"/>
                  </a:cubicBezTo>
                  <a:cubicBezTo>
                    <a:pt x="2494243" y="43477"/>
                    <a:pt x="2494076" y="44028"/>
                    <a:pt x="2493908" y="44580"/>
                  </a:cubicBezTo>
                  <a:cubicBezTo>
                    <a:pt x="2493407" y="45684"/>
                    <a:pt x="2492905" y="46603"/>
                    <a:pt x="2492404" y="47523"/>
                  </a:cubicBezTo>
                  <a:cubicBezTo>
                    <a:pt x="2491902" y="48258"/>
                    <a:pt x="2491401" y="48994"/>
                    <a:pt x="2490900" y="49729"/>
                  </a:cubicBezTo>
                  <a:cubicBezTo>
                    <a:pt x="2490230" y="50649"/>
                    <a:pt x="2489395" y="51568"/>
                    <a:pt x="2488559" y="52303"/>
                  </a:cubicBezTo>
                  <a:cubicBezTo>
                    <a:pt x="2487890" y="53039"/>
                    <a:pt x="2487054" y="53591"/>
                    <a:pt x="2486386" y="54143"/>
                  </a:cubicBezTo>
                  <a:cubicBezTo>
                    <a:pt x="2485215" y="55062"/>
                    <a:pt x="2483878" y="55798"/>
                    <a:pt x="2482540" y="56350"/>
                  </a:cubicBezTo>
                  <a:cubicBezTo>
                    <a:pt x="2480868" y="57085"/>
                    <a:pt x="2479030" y="57637"/>
                    <a:pt x="2477191" y="57821"/>
                  </a:cubicBezTo>
                  <a:cubicBezTo>
                    <a:pt x="2476856" y="57821"/>
                    <a:pt x="2476689" y="57821"/>
                    <a:pt x="2476355" y="58004"/>
                  </a:cubicBezTo>
                  <a:cubicBezTo>
                    <a:pt x="2475352" y="58004"/>
                    <a:pt x="2474516" y="58004"/>
                    <a:pt x="2473513" y="58004"/>
                  </a:cubicBezTo>
                  <a:cubicBezTo>
                    <a:pt x="2473513" y="57821"/>
                    <a:pt x="2473345" y="58004"/>
                    <a:pt x="2473345" y="58004"/>
                  </a:cubicBezTo>
                  <a:cubicBezTo>
                    <a:pt x="2470169" y="57637"/>
                    <a:pt x="2467160" y="56533"/>
                    <a:pt x="2464485" y="54694"/>
                  </a:cubicBezTo>
                  <a:cubicBezTo>
                    <a:pt x="2463315" y="53959"/>
                    <a:pt x="2462312" y="53039"/>
                    <a:pt x="2461308" y="51936"/>
                  </a:cubicBezTo>
                  <a:cubicBezTo>
                    <a:pt x="2460473" y="51200"/>
                    <a:pt x="2459804" y="50281"/>
                    <a:pt x="2459135" y="49361"/>
                  </a:cubicBezTo>
                  <a:cubicBezTo>
                    <a:pt x="2458634" y="48626"/>
                    <a:pt x="2458132" y="47890"/>
                    <a:pt x="2457631" y="46971"/>
                  </a:cubicBezTo>
                  <a:cubicBezTo>
                    <a:pt x="2457129" y="46051"/>
                    <a:pt x="2456628" y="45132"/>
                    <a:pt x="2456126" y="44028"/>
                  </a:cubicBezTo>
                  <a:cubicBezTo>
                    <a:pt x="2455792" y="43293"/>
                    <a:pt x="2455625" y="42741"/>
                    <a:pt x="2455291" y="42006"/>
                  </a:cubicBezTo>
                  <a:cubicBezTo>
                    <a:pt x="2454956" y="41270"/>
                    <a:pt x="2454789" y="40534"/>
                    <a:pt x="2454621" y="39799"/>
                  </a:cubicBezTo>
                  <a:cubicBezTo>
                    <a:pt x="2454287" y="38512"/>
                    <a:pt x="2454120" y="37224"/>
                    <a:pt x="2453786" y="35937"/>
                  </a:cubicBezTo>
                  <a:cubicBezTo>
                    <a:pt x="2453619" y="35202"/>
                    <a:pt x="2453619" y="34650"/>
                    <a:pt x="2453619" y="33914"/>
                  </a:cubicBezTo>
                  <a:cubicBezTo>
                    <a:pt x="2453786" y="34466"/>
                    <a:pt x="2453953" y="34282"/>
                    <a:pt x="2453786" y="34098"/>
                  </a:cubicBezTo>
                  <a:cubicBezTo>
                    <a:pt x="2453786" y="32811"/>
                    <a:pt x="2453786" y="31524"/>
                    <a:pt x="2453786" y="30237"/>
                  </a:cubicBezTo>
                  <a:cubicBezTo>
                    <a:pt x="2453786" y="30237"/>
                    <a:pt x="2453786" y="30237"/>
                    <a:pt x="2453786" y="30053"/>
                  </a:cubicBezTo>
                  <a:cubicBezTo>
                    <a:pt x="2453786" y="28949"/>
                    <a:pt x="2453953" y="28030"/>
                    <a:pt x="2454120" y="26926"/>
                  </a:cubicBezTo>
                  <a:cubicBezTo>
                    <a:pt x="2454454" y="25639"/>
                    <a:pt x="2454454" y="24352"/>
                    <a:pt x="2454956" y="23248"/>
                  </a:cubicBezTo>
                  <a:cubicBezTo>
                    <a:pt x="2455291" y="22513"/>
                    <a:pt x="2455457" y="21777"/>
                    <a:pt x="2455625" y="21042"/>
                  </a:cubicBezTo>
                  <a:cubicBezTo>
                    <a:pt x="2456126" y="19939"/>
                    <a:pt x="2456628" y="18651"/>
                    <a:pt x="2457129" y="17548"/>
                  </a:cubicBezTo>
                  <a:cubicBezTo>
                    <a:pt x="2457631" y="16629"/>
                    <a:pt x="2458132" y="15893"/>
                    <a:pt x="2458634" y="14973"/>
                  </a:cubicBezTo>
                  <a:cubicBezTo>
                    <a:pt x="2459135" y="14238"/>
                    <a:pt x="2459637" y="13502"/>
                    <a:pt x="2460139" y="12950"/>
                  </a:cubicBezTo>
                  <a:cubicBezTo>
                    <a:pt x="2460640" y="12399"/>
                    <a:pt x="2461142" y="11847"/>
                    <a:pt x="2461643" y="11296"/>
                  </a:cubicBezTo>
                  <a:cubicBezTo>
                    <a:pt x="2462646" y="10376"/>
                    <a:pt x="2463649" y="9457"/>
                    <a:pt x="2464819" y="8721"/>
                  </a:cubicBezTo>
                  <a:cubicBezTo>
                    <a:pt x="2465655" y="8169"/>
                    <a:pt x="2466658" y="7618"/>
                    <a:pt x="2467494" y="7250"/>
                  </a:cubicBezTo>
                  <a:cubicBezTo>
                    <a:pt x="2469501" y="6330"/>
                    <a:pt x="2471674" y="5779"/>
                    <a:pt x="2474015" y="5595"/>
                  </a:cubicBezTo>
                  <a:close/>
                  <a:moveTo>
                    <a:pt x="2351172" y="5595"/>
                  </a:moveTo>
                  <a:cubicBezTo>
                    <a:pt x="2354013" y="5411"/>
                    <a:pt x="2356856" y="5963"/>
                    <a:pt x="2359530" y="7066"/>
                  </a:cubicBezTo>
                  <a:cubicBezTo>
                    <a:pt x="2361370" y="7801"/>
                    <a:pt x="2363041" y="8905"/>
                    <a:pt x="2364546" y="10193"/>
                  </a:cubicBezTo>
                  <a:cubicBezTo>
                    <a:pt x="2365382" y="10928"/>
                    <a:pt x="2366050" y="11664"/>
                    <a:pt x="2366886" y="12399"/>
                  </a:cubicBezTo>
                  <a:cubicBezTo>
                    <a:pt x="2367722" y="13318"/>
                    <a:pt x="2368558" y="14422"/>
                    <a:pt x="2369226" y="15341"/>
                  </a:cubicBezTo>
                  <a:cubicBezTo>
                    <a:pt x="2369728" y="16077"/>
                    <a:pt x="2370230" y="16996"/>
                    <a:pt x="2370564" y="17732"/>
                  </a:cubicBezTo>
                  <a:cubicBezTo>
                    <a:pt x="2371233" y="18835"/>
                    <a:pt x="2371734" y="20122"/>
                    <a:pt x="2372069" y="21410"/>
                  </a:cubicBezTo>
                  <a:cubicBezTo>
                    <a:pt x="2372403" y="22145"/>
                    <a:pt x="2372570" y="23065"/>
                    <a:pt x="2372737" y="23801"/>
                  </a:cubicBezTo>
                  <a:cubicBezTo>
                    <a:pt x="2373072" y="24904"/>
                    <a:pt x="2373239" y="26191"/>
                    <a:pt x="2373406" y="27294"/>
                  </a:cubicBezTo>
                  <a:cubicBezTo>
                    <a:pt x="2373908" y="30605"/>
                    <a:pt x="2373908" y="33914"/>
                    <a:pt x="2373239" y="37041"/>
                  </a:cubicBezTo>
                  <a:cubicBezTo>
                    <a:pt x="2373072" y="38144"/>
                    <a:pt x="2372905" y="39248"/>
                    <a:pt x="2372570" y="40351"/>
                  </a:cubicBezTo>
                  <a:cubicBezTo>
                    <a:pt x="2372236" y="41270"/>
                    <a:pt x="2372069" y="42006"/>
                    <a:pt x="2371734" y="42925"/>
                  </a:cubicBezTo>
                  <a:cubicBezTo>
                    <a:pt x="2371400" y="43477"/>
                    <a:pt x="2371233" y="44028"/>
                    <a:pt x="2371065" y="44580"/>
                  </a:cubicBezTo>
                  <a:cubicBezTo>
                    <a:pt x="2370564" y="45684"/>
                    <a:pt x="2370062" y="46603"/>
                    <a:pt x="2369561" y="47523"/>
                  </a:cubicBezTo>
                  <a:cubicBezTo>
                    <a:pt x="2369059" y="48258"/>
                    <a:pt x="2368558" y="48994"/>
                    <a:pt x="2368057" y="49729"/>
                  </a:cubicBezTo>
                  <a:cubicBezTo>
                    <a:pt x="2367387" y="50649"/>
                    <a:pt x="2366552" y="51568"/>
                    <a:pt x="2365716" y="52303"/>
                  </a:cubicBezTo>
                  <a:cubicBezTo>
                    <a:pt x="2365047" y="53039"/>
                    <a:pt x="2364211" y="53591"/>
                    <a:pt x="2363543" y="54143"/>
                  </a:cubicBezTo>
                  <a:cubicBezTo>
                    <a:pt x="2362372" y="55062"/>
                    <a:pt x="2361035" y="55798"/>
                    <a:pt x="2359697" y="56350"/>
                  </a:cubicBezTo>
                  <a:cubicBezTo>
                    <a:pt x="2358025" y="57085"/>
                    <a:pt x="2356187" y="57637"/>
                    <a:pt x="2354348" y="57821"/>
                  </a:cubicBezTo>
                  <a:cubicBezTo>
                    <a:pt x="2354013" y="57821"/>
                    <a:pt x="2353846" y="57821"/>
                    <a:pt x="2353512" y="58004"/>
                  </a:cubicBezTo>
                  <a:cubicBezTo>
                    <a:pt x="2352509" y="58004"/>
                    <a:pt x="2351673" y="58004"/>
                    <a:pt x="2350670" y="58004"/>
                  </a:cubicBezTo>
                  <a:cubicBezTo>
                    <a:pt x="2350670" y="57821"/>
                    <a:pt x="2350502" y="58004"/>
                    <a:pt x="2350502" y="58004"/>
                  </a:cubicBezTo>
                  <a:cubicBezTo>
                    <a:pt x="2347326" y="57637"/>
                    <a:pt x="2344317" y="56533"/>
                    <a:pt x="2341642" y="54694"/>
                  </a:cubicBezTo>
                  <a:cubicBezTo>
                    <a:pt x="2340472" y="53959"/>
                    <a:pt x="2339469" y="53039"/>
                    <a:pt x="2338466" y="51936"/>
                  </a:cubicBezTo>
                  <a:cubicBezTo>
                    <a:pt x="2337630" y="51200"/>
                    <a:pt x="2336961" y="50281"/>
                    <a:pt x="2336292" y="49361"/>
                  </a:cubicBezTo>
                  <a:cubicBezTo>
                    <a:pt x="2335791" y="48626"/>
                    <a:pt x="2335289" y="47890"/>
                    <a:pt x="2334788" y="46971"/>
                  </a:cubicBezTo>
                  <a:cubicBezTo>
                    <a:pt x="2334286" y="46051"/>
                    <a:pt x="2333785" y="45132"/>
                    <a:pt x="2333283" y="44028"/>
                  </a:cubicBezTo>
                  <a:cubicBezTo>
                    <a:pt x="2332949" y="43293"/>
                    <a:pt x="2332782" y="42741"/>
                    <a:pt x="2332448" y="42006"/>
                  </a:cubicBezTo>
                  <a:cubicBezTo>
                    <a:pt x="2332113" y="41270"/>
                    <a:pt x="2331946" y="40534"/>
                    <a:pt x="2331778" y="39799"/>
                  </a:cubicBezTo>
                  <a:cubicBezTo>
                    <a:pt x="2331445" y="38512"/>
                    <a:pt x="2331277" y="37224"/>
                    <a:pt x="2330943" y="35937"/>
                  </a:cubicBezTo>
                  <a:cubicBezTo>
                    <a:pt x="2330776" y="35202"/>
                    <a:pt x="2330776" y="34650"/>
                    <a:pt x="2330776" y="33914"/>
                  </a:cubicBezTo>
                  <a:cubicBezTo>
                    <a:pt x="2330943" y="34466"/>
                    <a:pt x="2331110" y="34282"/>
                    <a:pt x="2330943" y="34098"/>
                  </a:cubicBezTo>
                  <a:cubicBezTo>
                    <a:pt x="2330943" y="32811"/>
                    <a:pt x="2330943" y="31524"/>
                    <a:pt x="2330943" y="30237"/>
                  </a:cubicBezTo>
                  <a:cubicBezTo>
                    <a:pt x="2330943" y="30237"/>
                    <a:pt x="2330943" y="30237"/>
                    <a:pt x="2330943" y="30053"/>
                  </a:cubicBezTo>
                  <a:cubicBezTo>
                    <a:pt x="2330943" y="28949"/>
                    <a:pt x="2331110" y="28030"/>
                    <a:pt x="2331277" y="26926"/>
                  </a:cubicBezTo>
                  <a:cubicBezTo>
                    <a:pt x="2331611" y="25639"/>
                    <a:pt x="2331611" y="24352"/>
                    <a:pt x="2332113" y="23248"/>
                  </a:cubicBezTo>
                  <a:cubicBezTo>
                    <a:pt x="2332448" y="22513"/>
                    <a:pt x="2332614" y="21777"/>
                    <a:pt x="2332782" y="21042"/>
                  </a:cubicBezTo>
                  <a:cubicBezTo>
                    <a:pt x="2333283" y="19939"/>
                    <a:pt x="2333785" y="18651"/>
                    <a:pt x="2334286" y="17548"/>
                  </a:cubicBezTo>
                  <a:cubicBezTo>
                    <a:pt x="2334788" y="16629"/>
                    <a:pt x="2335289" y="15893"/>
                    <a:pt x="2335791" y="14973"/>
                  </a:cubicBezTo>
                  <a:cubicBezTo>
                    <a:pt x="2336292" y="14238"/>
                    <a:pt x="2336794" y="13502"/>
                    <a:pt x="2337296" y="12950"/>
                  </a:cubicBezTo>
                  <a:cubicBezTo>
                    <a:pt x="2337797" y="12399"/>
                    <a:pt x="2338299" y="11847"/>
                    <a:pt x="2338800" y="11296"/>
                  </a:cubicBezTo>
                  <a:cubicBezTo>
                    <a:pt x="2339803" y="10376"/>
                    <a:pt x="2340806" y="9457"/>
                    <a:pt x="2341976" y="8721"/>
                  </a:cubicBezTo>
                  <a:cubicBezTo>
                    <a:pt x="2342812" y="8169"/>
                    <a:pt x="2343815" y="7618"/>
                    <a:pt x="2344651" y="7250"/>
                  </a:cubicBezTo>
                  <a:cubicBezTo>
                    <a:pt x="2346658" y="6330"/>
                    <a:pt x="2348831" y="5779"/>
                    <a:pt x="2351172" y="5595"/>
                  </a:cubicBezTo>
                  <a:close/>
                  <a:moveTo>
                    <a:pt x="2238478" y="5595"/>
                  </a:moveTo>
                  <a:cubicBezTo>
                    <a:pt x="2241319" y="5411"/>
                    <a:pt x="2244162" y="5963"/>
                    <a:pt x="2246836" y="7066"/>
                  </a:cubicBezTo>
                  <a:cubicBezTo>
                    <a:pt x="2248676" y="7801"/>
                    <a:pt x="2250347" y="8905"/>
                    <a:pt x="2251852" y="10193"/>
                  </a:cubicBezTo>
                  <a:cubicBezTo>
                    <a:pt x="2252688" y="10928"/>
                    <a:pt x="2253356" y="11664"/>
                    <a:pt x="2254192" y="12399"/>
                  </a:cubicBezTo>
                  <a:cubicBezTo>
                    <a:pt x="2255028" y="13318"/>
                    <a:pt x="2255864" y="14422"/>
                    <a:pt x="2256532" y="15341"/>
                  </a:cubicBezTo>
                  <a:cubicBezTo>
                    <a:pt x="2257034" y="16077"/>
                    <a:pt x="2257536" y="16996"/>
                    <a:pt x="2257870" y="17732"/>
                  </a:cubicBezTo>
                  <a:cubicBezTo>
                    <a:pt x="2258539" y="18835"/>
                    <a:pt x="2259040" y="20122"/>
                    <a:pt x="2259375" y="21410"/>
                  </a:cubicBezTo>
                  <a:cubicBezTo>
                    <a:pt x="2259709" y="22145"/>
                    <a:pt x="2259876" y="23065"/>
                    <a:pt x="2260043" y="23801"/>
                  </a:cubicBezTo>
                  <a:cubicBezTo>
                    <a:pt x="2260378" y="24904"/>
                    <a:pt x="2260545" y="26191"/>
                    <a:pt x="2260712" y="27294"/>
                  </a:cubicBezTo>
                  <a:cubicBezTo>
                    <a:pt x="2261214" y="30605"/>
                    <a:pt x="2261214" y="33914"/>
                    <a:pt x="2260545" y="37041"/>
                  </a:cubicBezTo>
                  <a:cubicBezTo>
                    <a:pt x="2260378" y="38144"/>
                    <a:pt x="2260211" y="39248"/>
                    <a:pt x="2259876" y="40351"/>
                  </a:cubicBezTo>
                  <a:cubicBezTo>
                    <a:pt x="2259542" y="41270"/>
                    <a:pt x="2259375" y="42006"/>
                    <a:pt x="2259040" y="42925"/>
                  </a:cubicBezTo>
                  <a:cubicBezTo>
                    <a:pt x="2258706" y="43477"/>
                    <a:pt x="2258539" y="44028"/>
                    <a:pt x="2258371" y="44580"/>
                  </a:cubicBezTo>
                  <a:cubicBezTo>
                    <a:pt x="2257870" y="45684"/>
                    <a:pt x="2257368" y="46603"/>
                    <a:pt x="2256867" y="47523"/>
                  </a:cubicBezTo>
                  <a:cubicBezTo>
                    <a:pt x="2256365" y="48258"/>
                    <a:pt x="2255864" y="48994"/>
                    <a:pt x="2255363" y="49729"/>
                  </a:cubicBezTo>
                  <a:cubicBezTo>
                    <a:pt x="2254693" y="50649"/>
                    <a:pt x="2253858" y="51568"/>
                    <a:pt x="2253022" y="52303"/>
                  </a:cubicBezTo>
                  <a:cubicBezTo>
                    <a:pt x="2252353" y="53039"/>
                    <a:pt x="2251517" y="53591"/>
                    <a:pt x="2250849" y="54143"/>
                  </a:cubicBezTo>
                  <a:cubicBezTo>
                    <a:pt x="2249678" y="55062"/>
                    <a:pt x="2248341" y="55798"/>
                    <a:pt x="2247003" y="56350"/>
                  </a:cubicBezTo>
                  <a:cubicBezTo>
                    <a:pt x="2245331" y="57085"/>
                    <a:pt x="2243493" y="57637"/>
                    <a:pt x="2241654" y="57821"/>
                  </a:cubicBezTo>
                  <a:cubicBezTo>
                    <a:pt x="2241319" y="57821"/>
                    <a:pt x="2241152" y="57821"/>
                    <a:pt x="2240818" y="58004"/>
                  </a:cubicBezTo>
                  <a:cubicBezTo>
                    <a:pt x="2239815" y="58004"/>
                    <a:pt x="2238979" y="58004"/>
                    <a:pt x="2237976" y="58004"/>
                  </a:cubicBezTo>
                  <a:cubicBezTo>
                    <a:pt x="2237976" y="57821"/>
                    <a:pt x="2237808" y="58004"/>
                    <a:pt x="2237808" y="58004"/>
                  </a:cubicBezTo>
                  <a:cubicBezTo>
                    <a:pt x="2234632" y="57637"/>
                    <a:pt x="2231623" y="56533"/>
                    <a:pt x="2228948" y="54694"/>
                  </a:cubicBezTo>
                  <a:cubicBezTo>
                    <a:pt x="2227778" y="53959"/>
                    <a:pt x="2226775" y="53039"/>
                    <a:pt x="2225772" y="51936"/>
                  </a:cubicBezTo>
                  <a:cubicBezTo>
                    <a:pt x="2224936" y="51200"/>
                    <a:pt x="2224267" y="50281"/>
                    <a:pt x="2223598" y="49361"/>
                  </a:cubicBezTo>
                  <a:cubicBezTo>
                    <a:pt x="2223097" y="48626"/>
                    <a:pt x="2222595" y="47890"/>
                    <a:pt x="2222094" y="46971"/>
                  </a:cubicBezTo>
                  <a:cubicBezTo>
                    <a:pt x="2221592" y="46051"/>
                    <a:pt x="2221091" y="45132"/>
                    <a:pt x="2220589" y="44028"/>
                  </a:cubicBezTo>
                  <a:cubicBezTo>
                    <a:pt x="2220255" y="43293"/>
                    <a:pt x="2220088" y="42741"/>
                    <a:pt x="2219754" y="42006"/>
                  </a:cubicBezTo>
                  <a:cubicBezTo>
                    <a:pt x="2219419" y="41270"/>
                    <a:pt x="2219252" y="40534"/>
                    <a:pt x="2219084" y="39799"/>
                  </a:cubicBezTo>
                  <a:cubicBezTo>
                    <a:pt x="2218751" y="38512"/>
                    <a:pt x="2218583" y="37224"/>
                    <a:pt x="2218249" y="35937"/>
                  </a:cubicBezTo>
                  <a:cubicBezTo>
                    <a:pt x="2218082" y="35202"/>
                    <a:pt x="2218082" y="34650"/>
                    <a:pt x="2218082" y="33914"/>
                  </a:cubicBezTo>
                  <a:cubicBezTo>
                    <a:pt x="2218249" y="34466"/>
                    <a:pt x="2218416" y="34282"/>
                    <a:pt x="2218249" y="34098"/>
                  </a:cubicBezTo>
                  <a:cubicBezTo>
                    <a:pt x="2218249" y="32811"/>
                    <a:pt x="2218249" y="31524"/>
                    <a:pt x="2218249" y="30237"/>
                  </a:cubicBezTo>
                  <a:cubicBezTo>
                    <a:pt x="2218249" y="30237"/>
                    <a:pt x="2218249" y="30237"/>
                    <a:pt x="2218249" y="30053"/>
                  </a:cubicBezTo>
                  <a:cubicBezTo>
                    <a:pt x="2218249" y="28949"/>
                    <a:pt x="2218416" y="28030"/>
                    <a:pt x="2218583" y="26926"/>
                  </a:cubicBezTo>
                  <a:cubicBezTo>
                    <a:pt x="2218917" y="25639"/>
                    <a:pt x="2218917" y="24352"/>
                    <a:pt x="2219419" y="23248"/>
                  </a:cubicBezTo>
                  <a:cubicBezTo>
                    <a:pt x="2219754" y="22513"/>
                    <a:pt x="2219920" y="21777"/>
                    <a:pt x="2220088" y="21042"/>
                  </a:cubicBezTo>
                  <a:cubicBezTo>
                    <a:pt x="2220589" y="19939"/>
                    <a:pt x="2221091" y="18651"/>
                    <a:pt x="2221592" y="17548"/>
                  </a:cubicBezTo>
                  <a:cubicBezTo>
                    <a:pt x="2222094" y="16629"/>
                    <a:pt x="2222595" y="15893"/>
                    <a:pt x="2223097" y="14973"/>
                  </a:cubicBezTo>
                  <a:cubicBezTo>
                    <a:pt x="2223598" y="14238"/>
                    <a:pt x="2224100" y="13502"/>
                    <a:pt x="2224602" y="12950"/>
                  </a:cubicBezTo>
                  <a:cubicBezTo>
                    <a:pt x="2225103" y="12399"/>
                    <a:pt x="2225605" y="11847"/>
                    <a:pt x="2226106" y="11296"/>
                  </a:cubicBezTo>
                  <a:cubicBezTo>
                    <a:pt x="2227109" y="10376"/>
                    <a:pt x="2228112" y="9457"/>
                    <a:pt x="2229282" y="8721"/>
                  </a:cubicBezTo>
                  <a:cubicBezTo>
                    <a:pt x="2230118" y="8169"/>
                    <a:pt x="2231121" y="7618"/>
                    <a:pt x="2231957" y="7250"/>
                  </a:cubicBezTo>
                  <a:cubicBezTo>
                    <a:pt x="2233964" y="6330"/>
                    <a:pt x="2236137" y="5779"/>
                    <a:pt x="2238478" y="5595"/>
                  </a:cubicBezTo>
                  <a:close/>
                  <a:moveTo>
                    <a:pt x="2002990" y="5595"/>
                  </a:moveTo>
                  <a:cubicBezTo>
                    <a:pt x="2005832" y="5411"/>
                    <a:pt x="2008674" y="5963"/>
                    <a:pt x="2011349" y="7066"/>
                  </a:cubicBezTo>
                  <a:cubicBezTo>
                    <a:pt x="2013188" y="7801"/>
                    <a:pt x="2014860" y="8905"/>
                    <a:pt x="2016364" y="10193"/>
                  </a:cubicBezTo>
                  <a:cubicBezTo>
                    <a:pt x="2017200" y="10928"/>
                    <a:pt x="2017869" y="11664"/>
                    <a:pt x="2018705" y="12399"/>
                  </a:cubicBezTo>
                  <a:cubicBezTo>
                    <a:pt x="2019541" y="13318"/>
                    <a:pt x="2020376" y="14422"/>
                    <a:pt x="2021045" y="15341"/>
                  </a:cubicBezTo>
                  <a:cubicBezTo>
                    <a:pt x="2021547" y="16077"/>
                    <a:pt x="2022048" y="16996"/>
                    <a:pt x="2022383" y="17732"/>
                  </a:cubicBezTo>
                  <a:cubicBezTo>
                    <a:pt x="2023051" y="18835"/>
                    <a:pt x="2023553" y="20122"/>
                    <a:pt x="2023887" y="21410"/>
                  </a:cubicBezTo>
                  <a:cubicBezTo>
                    <a:pt x="2024222" y="22145"/>
                    <a:pt x="2024389" y="23065"/>
                    <a:pt x="2024556" y="23801"/>
                  </a:cubicBezTo>
                  <a:cubicBezTo>
                    <a:pt x="2024890" y="24904"/>
                    <a:pt x="2025058" y="26191"/>
                    <a:pt x="2025224" y="27294"/>
                  </a:cubicBezTo>
                  <a:cubicBezTo>
                    <a:pt x="2025726" y="30605"/>
                    <a:pt x="2025726" y="33914"/>
                    <a:pt x="2025058" y="37041"/>
                  </a:cubicBezTo>
                  <a:cubicBezTo>
                    <a:pt x="2024890" y="38144"/>
                    <a:pt x="2024723" y="39248"/>
                    <a:pt x="2024389" y="40351"/>
                  </a:cubicBezTo>
                  <a:cubicBezTo>
                    <a:pt x="2024055" y="41270"/>
                    <a:pt x="2023887" y="42006"/>
                    <a:pt x="2023553" y="42925"/>
                  </a:cubicBezTo>
                  <a:cubicBezTo>
                    <a:pt x="2023219" y="43477"/>
                    <a:pt x="2023051" y="44028"/>
                    <a:pt x="2022884" y="44580"/>
                  </a:cubicBezTo>
                  <a:cubicBezTo>
                    <a:pt x="2022383" y="45684"/>
                    <a:pt x="2021881" y="46603"/>
                    <a:pt x="2021380" y="47523"/>
                  </a:cubicBezTo>
                  <a:cubicBezTo>
                    <a:pt x="2020878" y="48258"/>
                    <a:pt x="2020376" y="48994"/>
                    <a:pt x="2019875" y="49729"/>
                  </a:cubicBezTo>
                  <a:cubicBezTo>
                    <a:pt x="2019206" y="50649"/>
                    <a:pt x="2018371" y="51568"/>
                    <a:pt x="2017534" y="52303"/>
                  </a:cubicBezTo>
                  <a:cubicBezTo>
                    <a:pt x="2016866" y="53039"/>
                    <a:pt x="2016030" y="53591"/>
                    <a:pt x="2015361" y="54143"/>
                  </a:cubicBezTo>
                  <a:cubicBezTo>
                    <a:pt x="2014191" y="55062"/>
                    <a:pt x="2012854" y="55798"/>
                    <a:pt x="2011516" y="56350"/>
                  </a:cubicBezTo>
                  <a:cubicBezTo>
                    <a:pt x="2009844" y="57085"/>
                    <a:pt x="2008006" y="57637"/>
                    <a:pt x="2006166" y="57821"/>
                  </a:cubicBezTo>
                  <a:cubicBezTo>
                    <a:pt x="2005832" y="57821"/>
                    <a:pt x="2005665" y="57821"/>
                    <a:pt x="2005331" y="58004"/>
                  </a:cubicBezTo>
                  <a:cubicBezTo>
                    <a:pt x="2004327" y="58004"/>
                    <a:pt x="2003492" y="58004"/>
                    <a:pt x="2002488" y="58004"/>
                  </a:cubicBezTo>
                  <a:cubicBezTo>
                    <a:pt x="2002488" y="57821"/>
                    <a:pt x="2002321" y="58004"/>
                    <a:pt x="2002321" y="58004"/>
                  </a:cubicBezTo>
                  <a:cubicBezTo>
                    <a:pt x="1999145" y="57637"/>
                    <a:pt x="1996136" y="56533"/>
                    <a:pt x="1993461" y="54694"/>
                  </a:cubicBezTo>
                  <a:cubicBezTo>
                    <a:pt x="1992290" y="53959"/>
                    <a:pt x="1991287" y="53039"/>
                    <a:pt x="1990285" y="51936"/>
                  </a:cubicBezTo>
                  <a:cubicBezTo>
                    <a:pt x="1989448" y="51200"/>
                    <a:pt x="1988780" y="50281"/>
                    <a:pt x="1988111" y="49361"/>
                  </a:cubicBezTo>
                  <a:cubicBezTo>
                    <a:pt x="1987610" y="48626"/>
                    <a:pt x="1987108" y="47890"/>
                    <a:pt x="1986607" y="46971"/>
                  </a:cubicBezTo>
                  <a:cubicBezTo>
                    <a:pt x="1986105" y="46051"/>
                    <a:pt x="1985603" y="45132"/>
                    <a:pt x="1985102" y="44028"/>
                  </a:cubicBezTo>
                  <a:cubicBezTo>
                    <a:pt x="1984768" y="43293"/>
                    <a:pt x="1984600" y="42741"/>
                    <a:pt x="1984266" y="42006"/>
                  </a:cubicBezTo>
                  <a:cubicBezTo>
                    <a:pt x="1983932" y="41270"/>
                    <a:pt x="1983764" y="40534"/>
                    <a:pt x="1983597" y="39799"/>
                  </a:cubicBezTo>
                  <a:cubicBezTo>
                    <a:pt x="1983263" y="38512"/>
                    <a:pt x="1983096" y="37224"/>
                    <a:pt x="1982761" y="35937"/>
                  </a:cubicBezTo>
                  <a:cubicBezTo>
                    <a:pt x="1982595" y="35202"/>
                    <a:pt x="1982595" y="34650"/>
                    <a:pt x="1982595" y="33914"/>
                  </a:cubicBezTo>
                  <a:cubicBezTo>
                    <a:pt x="1982761" y="34466"/>
                    <a:pt x="1982928" y="34282"/>
                    <a:pt x="1982761" y="34098"/>
                  </a:cubicBezTo>
                  <a:cubicBezTo>
                    <a:pt x="1982761" y="32811"/>
                    <a:pt x="1982761" y="31524"/>
                    <a:pt x="1982761" y="30237"/>
                  </a:cubicBezTo>
                  <a:cubicBezTo>
                    <a:pt x="1982761" y="30237"/>
                    <a:pt x="1982761" y="30237"/>
                    <a:pt x="1982761" y="30053"/>
                  </a:cubicBezTo>
                  <a:cubicBezTo>
                    <a:pt x="1982761" y="28949"/>
                    <a:pt x="1982928" y="28030"/>
                    <a:pt x="1983096" y="26926"/>
                  </a:cubicBezTo>
                  <a:cubicBezTo>
                    <a:pt x="1983430" y="25639"/>
                    <a:pt x="1983430" y="24352"/>
                    <a:pt x="1983932" y="23248"/>
                  </a:cubicBezTo>
                  <a:cubicBezTo>
                    <a:pt x="1984266" y="22513"/>
                    <a:pt x="1984433" y="21777"/>
                    <a:pt x="1984600" y="21042"/>
                  </a:cubicBezTo>
                  <a:cubicBezTo>
                    <a:pt x="1985102" y="19939"/>
                    <a:pt x="1985603" y="18651"/>
                    <a:pt x="1986105" y="17548"/>
                  </a:cubicBezTo>
                  <a:cubicBezTo>
                    <a:pt x="1986607" y="16629"/>
                    <a:pt x="1987108" y="15893"/>
                    <a:pt x="1987610" y="14973"/>
                  </a:cubicBezTo>
                  <a:cubicBezTo>
                    <a:pt x="1988111" y="14238"/>
                    <a:pt x="1988613" y="13502"/>
                    <a:pt x="1989114" y="12950"/>
                  </a:cubicBezTo>
                  <a:cubicBezTo>
                    <a:pt x="1989616" y="12399"/>
                    <a:pt x="1990117" y="11847"/>
                    <a:pt x="1990619" y="11296"/>
                  </a:cubicBezTo>
                  <a:cubicBezTo>
                    <a:pt x="1991622" y="10376"/>
                    <a:pt x="1992625" y="9457"/>
                    <a:pt x="1993795" y="8721"/>
                  </a:cubicBezTo>
                  <a:cubicBezTo>
                    <a:pt x="1994631" y="8169"/>
                    <a:pt x="1995634" y="7618"/>
                    <a:pt x="1996470" y="7250"/>
                  </a:cubicBezTo>
                  <a:cubicBezTo>
                    <a:pt x="1998476" y="6330"/>
                    <a:pt x="2000649" y="5779"/>
                    <a:pt x="2002990" y="5595"/>
                  </a:cubicBezTo>
                  <a:close/>
                  <a:moveTo>
                    <a:pt x="1880147" y="5595"/>
                  </a:moveTo>
                  <a:cubicBezTo>
                    <a:pt x="1882989" y="5411"/>
                    <a:pt x="1885831" y="5963"/>
                    <a:pt x="1888506" y="7066"/>
                  </a:cubicBezTo>
                  <a:cubicBezTo>
                    <a:pt x="1890345" y="7801"/>
                    <a:pt x="1892017" y="8905"/>
                    <a:pt x="1893521" y="10193"/>
                  </a:cubicBezTo>
                  <a:cubicBezTo>
                    <a:pt x="1894357" y="10928"/>
                    <a:pt x="1895026" y="11664"/>
                    <a:pt x="1895862" y="12399"/>
                  </a:cubicBezTo>
                  <a:cubicBezTo>
                    <a:pt x="1896698" y="13318"/>
                    <a:pt x="1897533" y="14422"/>
                    <a:pt x="1898202" y="15341"/>
                  </a:cubicBezTo>
                  <a:cubicBezTo>
                    <a:pt x="1898704" y="16077"/>
                    <a:pt x="1899205" y="16996"/>
                    <a:pt x="1899540" y="17732"/>
                  </a:cubicBezTo>
                  <a:cubicBezTo>
                    <a:pt x="1900208" y="18835"/>
                    <a:pt x="1900710" y="20122"/>
                    <a:pt x="1901044" y="21410"/>
                  </a:cubicBezTo>
                  <a:cubicBezTo>
                    <a:pt x="1901379" y="22145"/>
                    <a:pt x="1901546" y="23065"/>
                    <a:pt x="1901713" y="23801"/>
                  </a:cubicBezTo>
                  <a:cubicBezTo>
                    <a:pt x="1902047" y="24904"/>
                    <a:pt x="1902215" y="26191"/>
                    <a:pt x="1902381" y="27294"/>
                  </a:cubicBezTo>
                  <a:cubicBezTo>
                    <a:pt x="1902883" y="30605"/>
                    <a:pt x="1902883" y="33914"/>
                    <a:pt x="1902215" y="37041"/>
                  </a:cubicBezTo>
                  <a:cubicBezTo>
                    <a:pt x="1902047" y="38144"/>
                    <a:pt x="1901880" y="39248"/>
                    <a:pt x="1901546" y="40351"/>
                  </a:cubicBezTo>
                  <a:cubicBezTo>
                    <a:pt x="1901212" y="41270"/>
                    <a:pt x="1901044" y="42006"/>
                    <a:pt x="1900710" y="42925"/>
                  </a:cubicBezTo>
                  <a:cubicBezTo>
                    <a:pt x="1900376" y="43477"/>
                    <a:pt x="1900208" y="44028"/>
                    <a:pt x="1900041" y="44580"/>
                  </a:cubicBezTo>
                  <a:cubicBezTo>
                    <a:pt x="1899540" y="45684"/>
                    <a:pt x="1899038" y="46603"/>
                    <a:pt x="1898537" y="47523"/>
                  </a:cubicBezTo>
                  <a:cubicBezTo>
                    <a:pt x="1898035" y="48258"/>
                    <a:pt x="1897533" y="48994"/>
                    <a:pt x="1897032" y="49729"/>
                  </a:cubicBezTo>
                  <a:cubicBezTo>
                    <a:pt x="1896363" y="50649"/>
                    <a:pt x="1895528" y="51568"/>
                    <a:pt x="1894691" y="52303"/>
                  </a:cubicBezTo>
                  <a:cubicBezTo>
                    <a:pt x="1894023" y="53039"/>
                    <a:pt x="1893187" y="53591"/>
                    <a:pt x="1892518" y="54143"/>
                  </a:cubicBezTo>
                  <a:cubicBezTo>
                    <a:pt x="1891348" y="55062"/>
                    <a:pt x="1890011" y="55798"/>
                    <a:pt x="1888673" y="56350"/>
                  </a:cubicBezTo>
                  <a:cubicBezTo>
                    <a:pt x="1887001" y="57085"/>
                    <a:pt x="1885163" y="57637"/>
                    <a:pt x="1883324" y="57821"/>
                  </a:cubicBezTo>
                  <a:cubicBezTo>
                    <a:pt x="1882989" y="57821"/>
                    <a:pt x="1882822" y="57821"/>
                    <a:pt x="1882488" y="58004"/>
                  </a:cubicBezTo>
                  <a:cubicBezTo>
                    <a:pt x="1881484" y="58004"/>
                    <a:pt x="1880649" y="58004"/>
                    <a:pt x="1879645" y="58004"/>
                  </a:cubicBezTo>
                  <a:cubicBezTo>
                    <a:pt x="1879645" y="57821"/>
                    <a:pt x="1879478" y="58004"/>
                    <a:pt x="1879478" y="58004"/>
                  </a:cubicBezTo>
                  <a:cubicBezTo>
                    <a:pt x="1876302" y="57637"/>
                    <a:pt x="1873293" y="56533"/>
                    <a:pt x="1870618" y="54694"/>
                  </a:cubicBezTo>
                  <a:cubicBezTo>
                    <a:pt x="1869448" y="53959"/>
                    <a:pt x="1868444" y="53039"/>
                    <a:pt x="1867442" y="51936"/>
                  </a:cubicBezTo>
                  <a:cubicBezTo>
                    <a:pt x="1866605" y="51200"/>
                    <a:pt x="1865937" y="50281"/>
                    <a:pt x="1865268" y="49361"/>
                  </a:cubicBezTo>
                  <a:cubicBezTo>
                    <a:pt x="1864767" y="48626"/>
                    <a:pt x="1864265" y="47890"/>
                    <a:pt x="1863764" y="46971"/>
                  </a:cubicBezTo>
                  <a:cubicBezTo>
                    <a:pt x="1863262" y="46051"/>
                    <a:pt x="1862760" y="45132"/>
                    <a:pt x="1862259" y="44028"/>
                  </a:cubicBezTo>
                  <a:cubicBezTo>
                    <a:pt x="1861925" y="43293"/>
                    <a:pt x="1861757" y="42741"/>
                    <a:pt x="1861423" y="42006"/>
                  </a:cubicBezTo>
                  <a:cubicBezTo>
                    <a:pt x="1861089" y="41270"/>
                    <a:pt x="1860921" y="40534"/>
                    <a:pt x="1860754" y="39799"/>
                  </a:cubicBezTo>
                  <a:cubicBezTo>
                    <a:pt x="1860420" y="38512"/>
                    <a:pt x="1860253" y="37224"/>
                    <a:pt x="1859918" y="35937"/>
                  </a:cubicBezTo>
                  <a:cubicBezTo>
                    <a:pt x="1859752" y="35202"/>
                    <a:pt x="1859752" y="34650"/>
                    <a:pt x="1859752" y="33914"/>
                  </a:cubicBezTo>
                  <a:cubicBezTo>
                    <a:pt x="1859918" y="34466"/>
                    <a:pt x="1860086" y="34282"/>
                    <a:pt x="1859918" y="34098"/>
                  </a:cubicBezTo>
                  <a:cubicBezTo>
                    <a:pt x="1859918" y="32811"/>
                    <a:pt x="1859918" y="31524"/>
                    <a:pt x="1859918" y="30237"/>
                  </a:cubicBezTo>
                  <a:cubicBezTo>
                    <a:pt x="1859918" y="30237"/>
                    <a:pt x="1859918" y="30237"/>
                    <a:pt x="1859918" y="30053"/>
                  </a:cubicBezTo>
                  <a:cubicBezTo>
                    <a:pt x="1859918" y="28949"/>
                    <a:pt x="1860086" y="28030"/>
                    <a:pt x="1860253" y="26926"/>
                  </a:cubicBezTo>
                  <a:cubicBezTo>
                    <a:pt x="1860587" y="25639"/>
                    <a:pt x="1860587" y="24352"/>
                    <a:pt x="1861089" y="23248"/>
                  </a:cubicBezTo>
                  <a:cubicBezTo>
                    <a:pt x="1861423" y="22513"/>
                    <a:pt x="1861590" y="21777"/>
                    <a:pt x="1861757" y="21042"/>
                  </a:cubicBezTo>
                  <a:cubicBezTo>
                    <a:pt x="1862259" y="19939"/>
                    <a:pt x="1862760" y="18651"/>
                    <a:pt x="1863262" y="17548"/>
                  </a:cubicBezTo>
                  <a:cubicBezTo>
                    <a:pt x="1863764" y="16629"/>
                    <a:pt x="1864265" y="15893"/>
                    <a:pt x="1864767" y="14973"/>
                  </a:cubicBezTo>
                  <a:cubicBezTo>
                    <a:pt x="1865268" y="14238"/>
                    <a:pt x="1865770" y="13502"/>
                    <a:pt x="1866271" y="12950"/>
                  </a:cubicBezTo>
                  <a:cubicBezTo>
                    <a:pt x="1866773" y="12399"/>
                    <a:pt x="1867274" y="11847"/>
                    <a:pt x="1867776" y="11296"/>
                  </a:cubicBezTo>
                  <a:cubicBezTo>
                    <a:pt x="1868779" y="10376"/>
                    <a:pt x="1869782" y="9457"/>
                    <a:pt x="1870952" y="8721"/>
                  </a:cubicBezTo>
                  <a:cubicBezTo>
                    <a:pt x="1871788" y="8169"/>
                    <a:pt x="1872791" y="7618"/>
                    <a:pt x="1873627" y="7250"/>
                  </a:cubicBezTo>
                  <a:cubicBezTo>
                    <a:pt x="1875633" y="6330"/>
                    <a:pt x="1877806" y="5779"/>
                    <a:pt x="1880147" y="5595"/>
                  </a:cubicBezTo>
                  <a:close/>
                  <a:moveTo>
                    <a:pt x="1716206" y="5595"/>
                  </a:moveTo>
                  <a:cubicBezTo>
                    <a:pt x="1719048" y="5411"/>
                    <a:pt x="1721890" y="5963"/>
                    <a:pt x="1724565" y="7066"/>
                  </a:cubicBezTo>
                  <a:cubicBezTo>
                    <a:pt x="1726403" y="7801"/>
                    <a:pt x="1728075" y="8905"/>
                    <a:pt x="1729580" y="10193"/>
                  </a:cubicBezTo>
                  <a:cubicBezTo>
                    <a:pt x="1730416" y="10928"/>
                    <a:pt x="1731085" y="11664"/>
                    <a:pt x="1731921" y="12399"/>
                  </a:cubicBezTo>
                  <a:cubicBezTo>
                    <a:pt x="1732756" y="13318"/>
                    <a:pt x="1733592" y="14422"/>
                    <a:pt x="1734261" y="15341"/>
                  </a:cubicBezTo>
                  <a:cubicBezTo>
                    <a:pt x="1734763" y="16077"/>
                    <a:pt x="1735264" y="16996"/>
                    <a:pt x="1735599" y="17732"/>
                  </a:cubicBezTo>
                  <a:cubicBezTo>
                    <a:pt x="1736267" y="18835"/>
                    <a:pt x="1736769" y="20122"/>
                    <a:pt x="1737103" y="21410"/>
                  </a:cubicBezTo>
                  <a:cubicBezTo>
                    <a:pt x="1737437" y="22145"/>
                    <a:pt x="1737604" y="23065"/>
                    <a:pt x="1737772" y="23801"/>
                  </a:cubicBezTo>
                  <a:cubicBezTo>
                    <a:pt x="1738106" y="24904"/>
                    <a:pt x="1738274" y="26191"/>
                    <a:pt x="1738440" y="27294"/>
                  </a:cubicBezTo>
                  <a:cubicBezTo>
                    <a:pt x="1738942" y="30605"/>
                    <a:pt x="1738942" y="33914"/>
                    <a:pt x="1738274" y="37041"/>
                  </a:cubicBezTo>
                  <a:cubicBezTo>
                    <a:pt x="1738106" y="38144"/>
                    <a:pt x="1737939" y="39248"/>
                    <a:pt x="1737604" y="40351"/>
                  </a:cubicBezTo>
                  <a:cubicBezTo>
                    <a:pt x="1737270" y="41270"/>
                    <a:pt x="1737103" y="42006"/>
                    <a:pt x="1736769" y="42925"/>
                  </a:cubicBezTo>
                  <a:cubicBezTo>
                    <a:pt x="1736435" y="43477"/>
                    <a:pt x="1736267" y="44028"/>
                    <a:pt x="1736100" y="44580"/>
                  </a:cubicBezTo>
                  <a:cubicBezTo>
                    <a:pt x="1735599" y="45684"/>
                    <a:pt x="1735097" y="46603"/>
                    <a:pt x="1734595" y="47523"/>
                  </a:cubicBezTo>
                  <a:cubicBezTo>
                    <a:pt x="1734094" y="48258"/>
                    <a:pt x="1733592" y="48994"/>
                    <a:pt x="1733091" y="49729"/>
                  </a:cubicBezTo>
                  <a:cubicBezTo>
                    <a:pt x="1732422" y="50649"/>
                    <a:pt x="1731586" y="51568"/>
                    <a:pt x="1730750" y="52303"/>
                  </a:cubicBezTo>
                  <a:cubicBezTo>
                    <a:pt x="1730081" y="53039"/>
                    <a:pt x="1729246" y="53591"/>
                    <a:pt x="1728577" y="54143"/>
                  </a:cubicBezTo>
                  <a:cubicBezTo>
                    <a:pt x="1727407" y="55062"/>
                    <a:pt x="1726069" y="55798"/>
                    <a:pt x="1724732" y="56350"/>
                  </a:cubicBezTo>
                  <a:cubicBezTo>
                    <a:pt x="1723060" y="57085"/>
                    <a:pt x="1721221" y="57637"/>
                    <a:pt x="1719382" y="57821"/>
                  </a:cubicBezTo>
                  <a:cubicBezTo>
                    <a:pt x="1719048" y="57821"/>
                    <a:pt x="1718880" y="57821"/>
                    <a:pt x="1718546" y="58004"/>
                  </a:cubicBezTo>
                  <a:cubicBezTo>
                    <a:pt x="1717543" y="58004"/>
                    <a:pt x="1716707" y="58004"/>
                    <a:pt x="1715704" y="58004"/>
                  </a:cubicBezTo>
                  <a:cubicBezTo>
                    <a:pt x="1715704" y="57821"/>
                    <a:pt x="1715537" y="58004"/>
                    <a:pt x="1715537" y="58004"/>
                  </a:cubicBezTo>
                  <a:cubicBezTo>
                    <a:pt x="1712361" y="57637"/>
                    <a:pt x="1709351" y="56533"/>
                    <a:pt x="1706677" y="54694"/>
                  </a:cubicBezTo>
                  <a:cubicBezTo>
                    <a:pt x="1705506" y="53959"/>
                    <a:pt x="1704503" y="53039"/>
                    <a:pt x="1703500" y="51936"/>
                  </a:cubicBezTo>
                  <a:cubicBezTo>
                    <a:pt x="1702664" y="51200"/>
                    <a:pt x="1701996" y="50281"/>
                    <a:pt x="1701327" y="49361"/>
                  </a:cubicBezTo>
                  <a:cubicBezTo>
                    <a:pt x="1700826" y="48626"/>
                    <a:pt x="1700324" y="47890"/>
                    <a:pt x="1699823" y="46971"/>
                  </a:cubicBezTo>
                  <a:cubicBezTo>
                    <a:pt x="1699321" y="46051"/>
                    <a:pt x="1698819" y="45132"/>
                    <a:pt x="1698317" y="44028"/>
                  </a:cubicBezTo>
                  <a:cubicBezTo>
                    <a:pt x="1697983" y="43293"/>
                    <a:pt x="1697816" y="42741"/>
                    <a:pt x="1697482" y="42006"/>
                  </a:cubicBezTo>
                  <a:cubicBezTo>
                    <a:pt x="1697148" y="41270"/>
                    <a:pt x="1696980" y="40534"/>
                    <a:pt x="1696813" y="39799"/>
                  </a:cubicBezTo>
                  <a:cubicBezTo>
                    <a:pt x="1696479" y="38512"/>
                    <a:pt x="1696312" y="37224"/>
                    <a:pt x="1695977" y="35937"/>
                  </a:cubicBezTo>
                  <a:cubicBezTo>
                    <a:pt x="1695810" y="35202"/>
                    <a:pt x="1695810" y="34650"/>
                    <a:pt x="1695810" y="33914"/>
                  </a:cubicBezTo>
                  <a:cubicBezTo>
                    <a:pt x="1695977" y="34466"/>
                    <a:pt x="1696144" y="34282"/>
                    <a:pt x="1695977" y="34098"/>
                  </a:cubicBezTo>
                  <a:cubicBezTo>
                    <a:pt x="1695977" y="32811"/>
                    <a:pt x="1695977" y="31524"/>
                    <a:pt x="1695977" y="30237"/>
                  </a:cubicBezTo>
                  <a:cubicBezTo>
                    <a:pt x="1695977" y="30237"/>
                    <a:pt x="1695977" y="30237"/>
                    <a:pt x="1695977" y="30053"/>
                  </a:cubicBezTo>
                  <a:cubicBezTo>
                    <a:pt x="1695977" y="28949"/>
                    <a:pt x="1696144" y="28030"/>
                    <a:pt x="1696312" y="26926"/>
                  </a:cubicBezTo>
                  <a:cubicBezTo>
                    <a:pt x="1696646" y="25639"/>
                    <a:pt x="1696646" y="24352"/>
                    <a:pt x="1697148" y="23248"/>
                  </a:cubicBezTo>
                  <a:cubicBezTo>
                    <a:pt x="1697482" y="22513"/>
                    <a:pt x="1697649" y="21777"/>
                    <a:pt x="1697816" y="21042"/>
                  </a:cubicBezTo>
                  <a:cubicBezTo>
                    <a:pt x="1698317" y="19939"/>
                    <a:pt x="1698819" y="18651"/>
                    <a:pt x="1699321" y="17548"/>
                  </a:cubicBezTo>
                  <a:cubicBezTo>
                    <a:pt x="1699823" y="16629"/>
                    <a:pt x="1700324" y="15893"/>
                    <a:pt x="1700826" y="14973"/>
                  </a:cubicBezTo>
                  <a:cubicBezTo>
                    <a:pt x="1701327" y="14238"/>
                    <a:pt x="1701828" y="13502"/>
                    <a:pt x="1702330" y="12950"/>
                  </a:cubicBezTo>
                  <a:cubicBezTo>
                    <a:pt x="1702831" y="12399"/>
                    <a:pt x="1703333" y="11847"/>
                    <a:pt x="1703835" y="11296"/>
                  </a:cubicBezTo>
                  <a:cubicBezTo>
                    <a:pt x="1704838" y="10376"/>
                    <a:pt x="1705841" y="9457"/>
                    <a:pt x="1707011" y="8721"/>
                  </a:cubicBezTo>
                  <a:cubicBezTo>
                    <a:pt x="1707847" y="8169"/>
                    <a:pt x="1708850" y="7618"/>
                    <a:pt x="1709686" y="7250"/>
                  </a:cubicBezTo>
                  <a:cubicBezTo>
                    <a:pt x="1711692" y="6330"/>
                    <a:pt x="1713865" y="5779"/>
                    <a:pt x="1716206" y="5595"/>
                  </a:cubicBezTo>
                  <a:close/>
                  <a:moveTo>
                    <a:pt x="1593363" y="5595"/>
                  </a:moveTo>
                  <a:cubicBezTo>
                    <a:pt x="1596205" y="5411"/>
                    <a:pt x="1599047" y="5963"/>
                    <a:pt x="1601722" y="7066"/>
                  </a:cubicBezTo>
                  <a:cubicBezTo>
                    <a:pt x="1603560" y="7801"/>
                    <a:pt x="1605232" y="8905"/>
                    <a:pt x="1606737" y="10193"/>
                  </a:cubicBezTo>
                  <a:cubicBezTo>
                    <a:pt x="1607573" y="10928"/>
                    <a:pt x="1608242" y="11664"/>
                    <a:pt x="1609078" y="12399"/>
                  </a:cubicBezTo>
                  <a:cubicBezTo>
                    <a:pt x="1609913" y="13318"/>
                    <a:pt x="1610749" y="14422"/>
                    <a:pt x="1611418" y="15341"/>
                  </a:cubicBezTo>
                  <a:cubicBezTo>
                    <a:pt x="1611920" y="16077"/>
                    <a:pt x="1612421" y="16996"/>
                    <a:pt x="1612756" y="17732"/>
                  </a:cubicBezTo>
                  <a:cubicBezTo>
                    <a:pt x="1613424" y="18835"/>
                    <a:pt x="1613926" y="20122"/>
                    <a:pt x="1614260" y="21410"/>
                  </a:cubicBezTo>
                  <a:cubicBezTo>
                    <a:pt x="1614595" y="22145"/>
                    <a:pt x="1614761" y="23065"/>
                    <a:pt x="1614929" y="23801"/>
                  </a:cubicBezTo>
                  <a:cubicBezTo>
                    <a:pt x="1615263" y="24904"/>
                    <a:pt x="1615431" y="26191"/>
                    <a:pt x="1615597" y="27294"/>
                  </a:cubicBezTo>
                  <a:cubicBezTo>
                    <a:pt x="1616099" y="30605"/>
                    <a:pt x="1616099" y="33914"/>
                    <a:pt x="1615431" y="37041"/>
                  </a:cubicBezTo>
                  <a:cubicBezTo>
                    <a:pt x="1615263" y="38144"/>
                    <a:pt x="1615096" y="39248"/>
                    <a:pt x="1614761" y="40351"/>
                  </a:cubicBezTo>
                  <a:cubicBezTo>
                    <a:pt x="1614427" y="41270"/>
                    <a:pt x="1614260" y="42006"/>
                    <a:pt x="1613926" y="42925"/>
                  </a:cubicBezTo>
                  <a:cubicBezTo>
                    <a:pt x="1613592" y="43477"/>
                    <a:pt x="1613424" y="44028"/>
                    <a:pt x="1613257" y="44580"/>
                  </a:cubicBezTo>
                  <a:cubicBezTo>
                    <a:pt x="1612756" y="45684"/>
                    <a:pt x="1612254" y="46603"/>
                    <a:pt x="1611753" y="47523"/>
                  </a:cubicBezTo>
                  <a:cubicBezTo>
                    <a:pt x="1611251" y="48258"/>
                    <a:pt x="1610749" y="48994"/>
                    <a:pt x="1610248" y="49729"/>
                  </a:cubicBezTo>
                  <a:cubicBezTo>
                    <a:pt x="1609579" y="50649"/>
                    <a:pt x="1608744" y="51568"/>
                    <a:pt x="1607907" y="52303"/>
                  </a:cubicBezTo>
                  <a:cubicBezTo>
                    <a:pt x="1607239" y="53039"/>
                    <a:pt x="1606403" y="53591"/>
                    <a:pt x="1605734" y="54143"/>
                  </a:cubicBezTo>
                  <a:cubicBezTo>
                    <a:pt x="1604564" y="55062"/>
                    <a:pt x="1603226" y="55798"/>
                    <a:pt x="1601889" y="56350"/>
                  </a:cubicBezTo>
                  <a:cubicBezTo>
                    <a:pt x="1600217" y="57085"/>
                    <a:pt x="1598378" y="57637"/>
                    <a:pt x="1596539" y="57821"/>
                  </a:cubicBezTo>
                  <a:cubicBezTo>
                    <a:pt x="1596205" y="57821"/>
                    <a:pt x="1596037" y="57821"/>
                    <a:pt x="1595704" y="58004"/>
                  </a:cubicBezTo>
                  <a:cubicBezTo>
                    <a:pt x="1594700" y="58004"/>
                    <a:pt x="1593864" y="58004"/>
                    <a:pt x="1592861" y="58004"/>
                  </a:cubicBezTo>
                  <a:cubicBezTo>
                    <a:pt x="1592861" y="57821"/>
                    <a:pt x="1592694" y="58004"/>
                    <a:pt x="1592694" y="58004"/>
                  </a:cubicBezTo>
                  <a:cubicBezTo>
                    <a:pt x="1589518" y="57637"/>
                    <a:pt x="1586508" y="56533"/>
                    <a:pt x="1583834" y="54694"/>
                  </a:cubicBezTo>
                  <a:cubicBezTo>
                    <a:pt x="1582663" y="53959"/>
                    <a:pt x="1581660" y="53039"/>
                    <a:pt x="1580657" y="51936"/>
                  </a:cubicBezTo>
                  <a:cubicBezTo>
                    <a:pt x="1579821" y="51200"/>
                    <a:pt x="1579153" y="50281"/>
                    <a:pt x="1578484" y="49361"/>
                  </a:cubicBezTo>
                  <a:cubicBezTo>
                    <a:pt x="1577983" y="48626"/>
                    <a:pt x="1577481" y="47890"/>
                    <a:pt x="1576980" y="46971"/>
                  </a:cubicBezTo>
                  <a:cubicBezTo>
                    <a:pt x="1576478" y="46051"/>
                    <a:pt x="1575976" y="45132"/>
                    <a:pt x="1575474" y="44028"/>
                  </a:cubicBezTo>
                  <a:cubicBezTo>
                    <a:pt x="1575140" y="43293"/>
                    <a:pt x="1574973" y="42741"/>
                    <a:pt x="1574639" y="42006"/>
                  </a:cubicBezTo>
                  <a:cubicBezTo>
                    <a:pt x="1574305" y="41270"/>
                    <a:pt x="1574137" y="40534"/>
                    <a:pt x="1573970" y="39799"/>
                  </a:cubicBezTo>
                  <a:cubicBezTo>
                    <a:pt x="1573636" y="38512"/>
                    <a:pt x="1573469" y="37224"/>
                    <a:pt x="1573134" y="35937"/>
                  </a:cubicBezTo>
                  <a:cubicBezTo>
                    <a:pt x="1572967" y="35202"/>
                    <a:pt x="1572967" y="34650"/>
                    <a:pt x="1572967" y="33914"/>
                  </a:cubicBezTo>
                  <a:cubicBezTo>
                    <a:pt x="1573134" y="34466"/>
                    <a:pt x="1573301" y="34282"/>
                    <a:pt x="1573134" y="34098"/>
                  </a:cubicBezTo>
                  <a:cubicBezTo>
                    <a:pt x="1573134" y="32811"/>
                    <a:pt x="1573134" y="31524"/>
                    <a:pt x="1573134" y="30237"/>
                  </a:cubicBezTo>
                  <a:cubicBezTo>
                    <a:pt x="1573134" y="30237"/>
                    <a:pt x="1573134" y="30237"/>
                    <a:pt x="1573134" y="30053"/>
                  </a:cubicBezTo>
                  <a:cubicBezTo>
                    <a:pt x="1573134" y="28949"/>
                    <a:pt x="1573301" y="28030"/>
                    <a:pt x="1573469" y="26926"/>
                  </a:cubicBezTo>
                  <a:cubicBezTo>
                    <a:pt x="1573803" y="25639"/>
                    <a:pt x="1573803" y="24352"/>
                    <a:pt x="1574305" y="23248"/>
                  </a:cubicBezTo>
                  <a:cubicBezTo>
                    <a:pt x="1574639" y="22513"/>
                    <a:pt x="1574806" y="21777"/>
                    <a:pt x="1574973" y="21042"/>
                  </a:cubicBezTo>
                  <a:cubicBezTo>
                    <a:pt x="1575474" y="19939"/>
                    <a:pt x="1575976" y="18651"/>
                    <a:pt x="1576478" y="17548"/>
                  </a:cubicBezTo>
                  <a:cubicBezTo>
                    <a:pt x="1576980" y="16629"/>
                    <a:pt x="1577481" y="15893"/>
                    <a:pt x="1577983" y="14973"/>
                  </a:cubicBezTo>
                  <a:cubicBezTo>
                    <a:pt x="1578484" y="14238"/>
                    <a:pt x="1578985" y="13502"/>
                    <a:pt x="1579487" y="12950"/>
                  </a:cubicBezTo>
                  <a:cubicBezTo>
                    <a:pt x="1579988" y="12399"/>
                    <a:pt x="1580490" y="11847"/>
                    <a:pt x="1580992" y="11296"/>
                  </a:cubicBezTo>
                  <a:cubicBezTo>
                    <a:pt x="1581995" y="10376"/>
                    <a:pt x="1582998" y="9457"/>
                    <a:pt x="1584168" y="8721"/>
                  </a:cubicBezTo>
                  <a:cubicBezTo>
                    <a:pt x="1585004" y="8169"/>
                    <a:pt x="1586007" y="7618"/>
                    <a:pt x="1586843" y="7250"/>
                  </a:cubicBezTo>
                  <a:cubicBezTo>
                    <a:pt x="1588849" y="6330"/>
                    <a:pt x="1591022" y="5779"/>
                    <a:pt x="1593363" y="5595"/>
                  </a:cubicBezTo>
                  <a:close/>
                  <a:moveTo>
                    <a:pt x="1306629" y="5595"/>
                  </a:moveTo>
                  <a:cubicBezTo>
                    <a:pt x="1309470" y="5411"/>
                    <a:pt x="1312313" y="5963"/>
                    <a:pt x="1314988" y="7066"/>
                  </a:cubicBezTo>
                  <a:cubicBezTo>
                    <a:pt x="1316827" y="7801"/>
                    <a:pt x="1318498" y="8905"/>
                    <a:pt x="1320003" y="10193"/>
                  </a:cubicBezTo>
                  <a:cubicBezTo>
                    <a:pt x="1320839" y="10928"/>
                    <a:pt x="1321507" y="11664"/>
                    <a:pt x="1322343" y="12399"/>
                  </a:cubicBezTo>
                  <a:cubicBezTo>
                    <a:pt x="1323179" y="13318"/>
                    <a:pt x="1324015" y="14422"/>
                    <a:pt x="1324684" y="15341"/>
                  </a:cubicBezTo>
                  <a:cubicBezTo>
                    <a:pt x="1325185" y="16077"/>
                    <a:pt x="1325687" y="16996"/>
                    <a:pt x="1326021" y="17732"/>
                  </a:cubicBezTo>
                  <a:cubicBezTo>
                    <a:pt x="1326690" y="18835"/>
                    <a:pt x="1327192" y="20122"/>
                    <a:pt x="1327526" y="21410"/>
                  </a:cubicBezTo>
                  <a:cubicBezTo>
                    <a:pt x="1327860" y="22145"/>
                    <a:pt x="1328028" y="23065"/>
                    <a:pt x="1328194" y="23801"/>
                  </a:cubicBezTo>
                  <a:cubicBezTo>
                    <a:pt x="1328529" y="24904"/>
                    <a:pt x="1328696" y="26191"/>
                    <a:pt x="1328864" y="27294"/>
                  </a:cubicBezTo>
                  <a:cubicBezTo>
                    <a:pt x="1329365" y="30605"/>
                    <a:pt x="1329365" y="33914"/>
                    <a:pt x="1328696" y="37041"/>
                  </a:cubicBezTo>
                  <a:cubicBezTo>
                    <a:pt x="1328529" y="38144"/>
                    <a:pt x="1328362" y="39248"/>
                    <a:pt x="1328028" y="40351"/>
                  </a:cubicBezTo>
                  <a:cubicBezTo>
                    <a:pt x="1327693" y="41270"/>
                    <a:pt x="1327526" y="42006"/>
                    <a:pt x="1327192" y="42925"/>
                  </a:cubicBezTo>
                  <a:cubicBezTo>
                    <a:pt x="1326857" y="43477"/>
                    <a:pt x="1326690" y="44028"/>
                    <a:pt x="1326523" y="44580"/>
                  </a:cubicBezTo>
                  <a:cubicBezTo>
                    <a:pt x="1326021" y="45684"/>
                    <a:pt x="1325519" y="46603"/>
                    <a:pt x="1325018" y="47523"/>
                  </a:cubicBezTo>
                  <a:cubicBezTo>
                    <a:pt x="1324517" y="48258"/>
                    <a:pt x="1324015" y="48994"/>
                    <a:pt x="1323514" y="49729"/>
                  </a:cubicBezTo>
                  <a:cubicBezTo>
                    <a:pt x="1322845" y="50649"/>
                    <a:pt x="1322009" y="51568"/>
                    <a:pt x="1321173" y="52303"/>
                  </a:cubicBezTo>
                  <a:cubicBezTo>
                    <a:pt x="1320504" y="53039"/>
                    <a:pt x="1319668" y="53591"/>
                    <a:pt x="1319000" y="54143"/>
                  </a:cubicBezTo>
                  <a:cubicBezTo>
                    <a:pt x="1317829" y="55062"/>
                    <a:pt x="1316492" y="55798"/>
                    <a:pt x="1315155" y="56350"/>
                  </a:cubicBezTo>
                  <a:cubicBezTo>
                    <a:pt x="1313483" y="57085"/>
                    <a:pt x="1311644" y="57637"/>
                    <a:pt x="1309805" y="57821"/>
                  </a:cubicBezTo>
                  <a:cubicBezTo>
                    <a:pt x="1309470" y="57821"/>
                    <a:pt x="1309304" y="57821"/>
                    <a:pt x="1308969" y="58004"/>
                  </a:cubicBezTo>
                  <a:cubicBezTo>
                    <a:pt x="1307966" y="58004"/>
                    <a:pt x="1307130" y="58004"/>
                    <a:pt x="1306127" y="58004"/>
                  </a:cubicBezTo>
                  <a:cubicBezTo>
                    <a:pt x="1306127" y="57821"/>
                    <a:pt x="1305960" y="58004"/>
                    <a:pt x="1305960" y="58004"/>
                  </a:cubicBezTo>
                  <a:cubicBezTo>
                    <a:pt x="1302783" y="57637"/>
                    <a:pt x="1299773" y="56533"/>
                    <a:pt x="1297098" y="54694"/>
                  </a:cubicBezTo>
                  <a:cubicBezTo>
                    <a:pt x="1295929" y="53959"/>
                    <a:pt x="1294925" y="53039"/>
                    <a:pt x="1293922" y="51936"/>
                  </a:cubicBezTo>
                  <a:cubicBezTo>
                    <a:pt x="1293087" y="51200"/>
                    <a:pt x="1292417" y="50281"/>
                    <a:pt x="1291748" y="49361"/>
                  </a:cubicBezTo>
                  <a:cubicBezTo>
                    <a:pt x="1291247" y="48626"/>
                    <a:pt x="1290745" y="47890"/>
                    <a:pt x="1290245" y="46971"/>
                  </a:cubicBezTo>
                  <a:cubicBezTo>
                    <a:pt x="1289742" y="46051"/>
                    <a:pt x="1289241" y="45132"/>
                    <a:pt x="1288739" y="44028"/>
                  </a:cubicBezTo>
                  <a:cubicBezTo>
                    <a:pt x="1288405" y="43293"/>
                    <a:pt x="1288237" y="42741"/>
                    <a:pt x="1287905" y="42006"/>
                  </a:cubicBezTo>
                  <a:cubicBezTo>
                    <a:pt x="1287570" y="41270"/>
                    <a:pt x="1287402" y="40534"/>
                    <a:pt x="1287235" y="39799"/>
                  </a:cubicBezTo>
                  <a:cubicBezTo>
                    <a:pt x="1286900" y="38512"/>
                    <a:pt x="1286733" y="37224"/>
                    <a:pt x="1286398" y="35937"/>
                  </a:cubicBezTo>
                  <a:cubicBezTo>
                    <a:pt x="1286232" y="35202"/>
                    <a:pt x="1286232" y="34650"/>
                    <a:pt x="1286232" y="33914"/>
                  </a:cubicBezTo>
                  <a:cubicBezTo>
                    <a:pt x="1286398" y="34466"/>
                    <a:pt x="1286566" y="34282"/>
                    <a:pt x="1286398" y="34098"/>
                  </a:cubicBezTo>
                  <a:cubicBezTo>
                    <a:pt x="1286398" y="32811"/>
                    <a:pt x="1286398" y="31524"/>
                    <a:pt x="1286398" y="30237"/>
                  </a:cubicBezTo>
                  <a:cubicBezTo>
                    <a:pt x="1286398" y="30237"/>
                    <a:pt x="1286398" y="30237"/>
                    <a:pt x="1286398" y="30053"/>
                  </a:cubicBezTo>
                  <a:cubicBezTo>
                    <a:pt x="1286398" y="28949"/>
                    <a:pt x="1286566" y="28030"/>
                    <a:pt x="1286733" y="26926"/>
                  </a:cubicBezTo>
                  <a:cubicBezTo>
                    <a:pt x="1287068" y="25639"/>
                    <a:pt x="1287068" y="24352"/>
                    <a:pt x="1287570" y="23248"/>
                  </a:cubicBezTo>
                  <a:cubicBezTo>
                    <a:pt x="1287905" y="22513"/>
                    <a:pt x="1288070" y="21777"/>
                    <a:pt x="1288237" y="21042"/>
                  </a:cubicBezTo>
                  <a:cubicBezTo>
                    <a:pt x="1288739" y="19939"/>
                    <a:pt x="1289241" y="18651"/>
                    <a:pt x="1289742" y="17548"/>
                  </a:cubicBezTo>
                  <a:cubicBezTo>
                    <a:pt x="1290245" y="16629"/>
                    <a:pt x="1290745" y="15893"/>
                    <a:pt x="1291247" y="14973"/>
                  </a:cubicBezTo>
                  <a:cubicBezTo>
                    <a:pt x="1291748" y="14238"/>
                    <a:pt x="1292250" y="13502"/>
                    <a:pt x="1292752" y="12950"/>
                  </a:cubicBezTo>
                  <a:cubicBezTo>
                    <a:pt x="1293254" y="12399"/>
                    <a:pt x="1293755" y="11847"/>
                    <a:pt x="1294256" y="11296"/>
                  </a:cubicBezTo>
                  <a:cubicBezTo>
                    <a:pt x="1295260" y="10376"/>
                    <a:pt x="1296264" y="9457"/>
                    <a:pt x="1297433" y="8721"/>
                  </a:cubicBezTo>
                  <a:cubicBezTo>
                    <a:pt x="1298269" y="8169"/>
                    <a:pt x="1299271" y="7618"/>
                    <a:pt x="1300107" y="7250"/>
                  </a:cubicBezTo>
                  <a:cubicBezTo>
                    <a:pt x="1302115" y="6330"/>
                    <a:pt x="1304288" y="5779"/>
                    <a:pt x="1306629" y="5595"/>
                  </a:cubicBezTo>
                  <a:close/>
                  <a:moveTo>
                    <a:pt x="1071141" y="5595"/>
                  </a:moveTo>
                  <a:cubicBezTo>
                    <a:pt x="1073983" y="5411"/>
                    <a:pt x="1076825" y="5963"/>
                    <a:pt x="1079499" y="7066"/>
                  </a:cubicBezTo>
                  <a:cubicBezTo>
                    <a:pt x="1081338" y="7801"/>
                    <a:pt x="1083010" y="8905"/>
                    <a:pt x="1084515" y="10193"/>
                  </a:cubicBezTo>
                  <a:cubicBezTo>
                    <a:pt x="1085351" y="10928"/>
                    <a:pt x="1086019" y="11664"/>
                    <a:pt x="1086855" y="12399"/>
                  </a:cubicBezTo>
                  <a:cubicBezTo>
                    <a:pt x="1087692" y="13318"/>
                    <a:pt x="1088527" y="14422"/>
                    <a:pt x="1089195" y="15341"/>
                  </a:cubicBezTo>
                  <a:cubicBezTo>
                    <a:pt x="1089697" y="16077"/>
                    <a:pt x="1090199" y="16996"/>
                    <a:pt x="1090534" y="17732"/>
                  </a:cubicBezTo>
                  <a:cubicBezTo>
                    <a:pt x="1091201" y="18835"/>
                    <a:pt x="1091703" y="20122"/>
                    <a:pt x="1092037" y="21410"/>
                  </a:cubicBezTo>
                  <a:cubicBezTo>
                    <a:pt x="1092372" y="22145"/>
                    <a:pt x="1092539" y="23065"/>
                    <a:pt x="1092706" y="23801"/>
                  </a:cubicBezTo>
                  <a:cubicBezTo>
                    <a:pt x="1093042" y="24904"/>
                    <a:pt x="1093209" y="26191"/>
                    <a:pt x="1093376" y="27294"/>
                  </a:cubicBezTo>
                  <a:cubicBezTo>
                    <a:pt x="1093876" y="30605"/>
                    <a:pt x="1093876" y="33914"/>
                    <a:pt x="1093209" y="37041"/>
                  </a:cubicBezTo>
                  <a:cubicBezTo>
                    <a:pt x="1093042" y="38144"/>
                    <a:pt x="1092874" y="39248"/>
                    <a:pt x="1092539" y="40351"/>
                  </a:cubicBezTo>
                  <a:cubicBezTo>
                    <a:pt x="1092204" y="41270"/>
                    <a:pt x="1092037" y="42006"/>
                    <a:pt x="1091703" y="42925"/>
                  </a:cubicBezTo>
                  <a:cubicBezTo>
                    <a:pt x="1091368" y="43477"/>
                    <a:pt x="1091201" y="44028"/>
                    <a:pt x="1091034" y="44580"/>
                  </a:cubicBezTo>
                  <a:cubicBezTo>
                    <a:pt x="1090534" y="45684"/>
                    <a:pt x="1090032" y="46603"/>
                    <a:pt x="1089529" y="47523"/>
                  </a:cubicBezTo>
                  <a:cubicBezTo>
                    <a:pt x="1089027" y="48258"/>
                    <a:pt x="1088527" y="48994"/>
                    <a:pt x="1088026" y="49729"/>
                  </a:cubicBezTo>
                  <a:cubicBezTo>
                    <a:pt x="1087357" y="50649"/>
                    <a:pt x="1086520" y="51568"/>
                    <a:pt x="1085684" y="52303"/>
                  </a:cubicBezTo>
                  <a:cubicBezTo>
                    <a:pt x="1085017" y="53039"/>
                    <a:pt x="1084180" y="53591"/>
                    <a:pt x="1083511" y="54143"/>
                  </a:cubicBezTo>
                  <a:cubicBezTo>
                    <a:pt x="1082342" y="55062"/>
                    <a:pt x="1081003" y="55798"/>
                    <a:pt x="1079667" y="56350"/>
                  </a:cubicBezTo>
                  <a:cubicBezTo>
                    <a:pt x="1077994" y="57085"/>
                    <a:pt x="1076156" y="57637"/>
                    <a:pt x="1074318" y="57821"/>
                  </a:cubicBezTo>
                  <a:cubicBezTo>
                    <a:pt x="1073983" y="57821"/>
                    <a:pt x="1073816" y="57821"/>
                    <a:pt x="1073480" y="58004"/>
                  </a:cubicBezTo>
                  <a:cubicBezTo>
                    <a:pt x="1072477" y="58004"/>
                    <a:pt x="1071643" y="58004"/>
                    <a:pt x="1070639" y="58004"/>
                  </a:cubicBezTo>
                  <a:cubicBezTo>
                    <a:pt x="1070639" y="57821"/>
                    <a:pt x="1070471" y="58004"/>
                    <a:pt x="1070471" y="58004"/>
                  </a:cubicBezTo>
                  <a:cubicBezTo>
                    <a:pt x="1067295" y="57637"/>
                    <a:pt x="1064286" y="56533"/>
                    <a:pt x="1061611" y="54694"/>
                  </a:cubicBezTo>
                  <a:cubicBezTo>
                    <a:pt x="1060441" y="53959"/>
                    <a:pt x="1059437" y="53039"/>
                    <a:pt x="1058436" y="51936"/>
                  </a:cubicBezTo>
                  <a:cubicBezTo>
                    <a:pt x="1057599" y="51200"/>
                    <a:pt x="1056929" y="50281"/>
                    <a:pt x="1056261" y="49361"/>
                  </a:cubicBezTo>
                  <a:cubicBezTo>
                    <a:pt x="1055761" y="48626"/>
                    <a:pt x="1055259" y="47890"/>
                    <a:pt x="1054757" y="46971"/>
                  </a:cubicBezTo>
                  <a:cubicBezTo>
                    <a:pt x="1054254" y="46051"/>
                    <a:pt x="1053753" y="45132"/>
                    <a:pt x="1053252" y="44028"/>
                  </a:cubicBezTo>
                  <a:cubicBezTo>
                    <a:pt x="1052919" y="43293"/>
                    <a:pt x="1052751" y="42741"/>
                    <a:pt x="1052417" y="42006"/>
                  </a:cubicBezTo>
                  <a:cubicBezTo>
                    <a:pt x="1052082" y="41270"/>
                    <a:pt x="1051915" y="40534"/>
                    <a:pt x="1051747" y="39799"/>
                  </a:cubicBezTo>
                  <a:cubicBezTo>
                    <a:pt x="1051413" y="38512"/>
                    <a:pt x="1051246" y="37224"/>
                    <a:pt x="1050911" y="35937"/>
                  </a:cubicBezTo>
                  <a:cubicBezTo>
                    <a:pt x="1050744" y="35202"/>
                    <a:pt x="1050744" y="34650"/>
                    <a:pt x="1050744" y="33914"/>
                  </a:cubicBezTo>
                  <a:cubicBezTo>
                    <a:pt x="1050911" y="34466"/>
                    <a:pt x="1051078" y="34282"/>
                    <a:pt x="1050911" y="34098"/>
                  </a:cubicBezTo>
                  <a:cubicBezTo>
                    <a:pt x="1050911" y="32811"/>
                    <a:pt x="1050911" y="31524"/>
                    <a:pt x="1050911" y="30237"/>
                  </a:cubicBezTo>
                  <a:cubicBezTo>
                    <a:pt x="1050911" y="30237"/>
                    <a:pt x="1050911" y="30237"/>
                    <a:pt x="1050911" y="30053"/>
                  </a:cubicBezTo>
                  <a:cubicBezTo>
                    <a:pt x="1050911" y="28949"/>
                    <a:pt x="1051078" y="28030"/>
                    <a:pt x="1051246" y="26926"/>
                  </a:cubicBezTo>
                  <a:cubicBezTo>
                    <a:pt x="1051580" y="25639"/>
                    <a:pt x="1051580" y="24352"/>
                    <a:pt x="1052082" y="23248"/>
                  </a:cubicBezTo>
                  <a:cubicBezTo>
                    <a:pt x="1052417" y="22513"/>
                    <a:pt x="1052584" y="21777"/>
                    <a:pt x="1052751" y="21042"/>
                  </a:cubicBezTo>
                  <a:cubicBezTo>
                    <a:pt x="1053252" y="19939"/>
                    <a:pt x="1053753" y="18651"/>
                    <a:pt x="1054254" y="17548"/>
                  </a:cubicBezTo>
                  <a:cubicBezTo>
                    <a:pt x="1054757" y="16629"/>
                    <a:pt x="1055259" y="15893"/>
                    <a:pt x="1055761" y="14973"/>
                  </a:cubicBezTo>
                  <a:cubicBezTo>
                    <a:pt x="1056261" y="14238"/>
                    <a:pt x="1056763" y="13502"/>
                    <a:pt x="1057264" y="12950"/>
                  </a:cubicBezTo>
                  <a:cubicBezTo>
                    <a:pt x="1057767" y="12399"/>
                    <a:pt x="1058269" y="11847"/>
                    <a:pt x="1058769" y="11296"/>
                  </a:cubicBezTo>
                  <a:cubicBezTo>
                    <a:pt x="1059772" y="10376"/>
                    <a:pt x="1060776" y="9457"/>
                    <a:pt x="1061945" y="8721"/>
                  </a:cubicBezTo>
                  <a:cubicBezTo>
                    <a:pt x="1062781" y="8169"/>
                    <a:pt x="1063785" y="7618"/>
                    <a:pt x="1064620" y="7250"/>
                  </a:cubicBezTo>
                  <a:cubicBezTo>
                    <a:pt x="1066626" y="6330"/>
                    <a:pt x="1068800" y="5779"/>
                    <a:pt x="1071141" y="5595"/>
                  </a:cubicBezTo>
                  <a:close/>
                  <a:moveTo>
                    <a:pt x="948298" y="5595"/>
                  </a:moveTo>
                  <a:cubicBezTo>
                    <a:pt x="951140" y="5411"/>
                    <a:pt x="953982" y="5963"/>
                    <a:pt x="956657" y="7066"/>
                  </a:cubicBezTo>
                  <a:cubicBezTo>
                    <a:pt x="958496" y="7801"/>
                    <a:pt x="960167" y="8905"/>
                    <a:pt x="961672" y="10193"/>
                  </a:cubicBezTo>
                  <a:cubicBezTo>
                    <a:pt x="962507" y="10928"/>
                    <a:pt x="963176" y="11664"/>
                    <a:pt x="964012" y="12399"/>
                  </a:cubicBezTo>
                  <a:cubicBezTo>
                    <a:pt x="964849" y="13318"/>
                    <a:pt x="965684" y="14422"/>
                    <a:pt x="966352" y="15341"/>
                  </a:cubicBezTo>
                  <a:cubicBezTo>
                    <a:pt x="966854" y="16077"/>
                    <a:pt x="967356" y="16996"/>
                    <a:pt x="967690" y="17732"/>
                  </a:cubicBezTo>
                  <a:cubicBezTo>
                    <a:pt x="968358" y="18835"/>
                    <a:pt x="968860" y="20122"/>
                    <a:pt x="969195" y="21410"/>
                  </a:cubicBezTo>
                  <a:cubicBezTo>
                    <a:pt x="969529" y="22145"/>
                    <a:pt x="969697" y="23065"/>
                    <a:pt x="969864" y="23801"/>
                  </a:cubicBezTo>
                  <a:cubicBezTo>
                    <a:pt x="970197" y="24904"/>
                    <a:pt x="970365" y="26191"/>
                    <a:pt x="970532" y="27294"/>
                  </a:cubicBezTo>
                  <a:cubicBezTo>
                    <a:pt x="971033" y="30605"/>
                    <a:pt x="971033" y="33914"/>
                    <a:pt x="970365" y="37041"/>
                  </a:cubicBezTo>
                  <a:cubicBezTo>
                    <a:pt x="970197" y="38144"/>
                    <a:pt x="970031" y="39248"/>
                    <a:pt x="969697" y="40351"/>
                  </a:cubicBezTo>
                  <a:cubicBezTo>
                    <a:pt x="969362" y="41270"/>
                    <a:pt x="969195" y="42006"/>
                    <a:pt x="968860" y="42925"/>
                  </a:cubicBezTo>
                  <a:cubicBezTo>
                    <a:pt x="968525" y="43477"/>
                    <a:pt x="968358" y="44028"/>
                    <a:pt x="968191" y="44580"/>
                  </a:cubicBezTo>
                  <a:cubicBezTo>
                    <a:pt x="967690" y="45684"/>
                    <a:pt x="967189" y="46603"/>
                    <a:pt x="966687" y="47523"/>
                  </a:cubicBezTo>
                  <a:cubicBezTo>
                    <a:pt x="966185" y="48258"/>
                    <a:pt x="965684" y="48994"/>
                    <a:pt x="965182" y="49729"/>
                  </a:cubicBezTo>
                  <a:cubicBezTo>
                    <a:pt x="964514" y="50649"/>
                    <a:pt x="963677" y="51568"/>
                    <a:pt x="962841" y="52303"/>
                  </a:cubicBezTo>
                  <a:cubicBezTo>
                    <a:pt x="962174" y="53039"/>
                    <a:pt x="961337" y="53591"/>
                    <a:pt x="960668" y="54143"/>
                  </a:cubicBezTo>
                  <a:cubicBezTo>
                    <a:pt x="959497" y="55062"/>
                    <a:pt x="958160" y="55798"/>
                    <a:pt x="956823" y="56350"/>
                  </a:cubicBezTo>
                  <a:cubicBezTo>
                    <a:pt x="955151" y="57085"/>
                    <a:pt x="953313" y="57637"/>
                    <a:pt x="951475" y="57821"/>
                  </a:cubicBezTo>
                  <a:cubicBezTo>
                    <a:pt x="951140" y="57821"/>
                    <a:pt x="950973" y="57821"/>
                    <a:pt x="950638" y="58004"/>
                  </a:cubicBezTo>
                  <a:cubicBezTo>
                    <a:pt x="949634" y="58004"/>
                    <a:pt x="948798" y="58004"/>
                    <a:pt x="947796" y="58004"/>
                  </a:cubicBezTo>
                  <a:cubicBezTo>
                    <a:pt x="947796" y="57821"/>
                    <a:pt x="947628" y="58004"/>
                    <a:pt x="947628" y="58004"/>
                  </a:cubicBezTo>
                  <a:cubicBezTo>
                    <a:pt x="944452" y="57637"/>
                    <a:pt x="941443" y="56533"/>
                    <a:pt x="938768" y="54694"/>
                  </a:cubicBezTo>
                  <a:cubicBezTo>
                    <a:pt x="937598" y="53959"/>
                    <a:pt x="936595" y="53039"/>
                    <a:pt x="935591" y="51936"/>
                  </a:cubicBezTo>
                  <a:cubicBezTo>
                    <a:pt x="934755" y="51200"/>
                    <a:pt x="934087" y="50281"/>
                    <a:pt x="933418" y="49361"/>
                  </a:cubicBezTo>
                  <a:cubicBezTo>
                    <a:pt x="932917" y="48626"/>
                    <a:pt x="932415" y="47890"/>
                    <a:pt x="931913" y="46971"/>
                  </a:cubicBezTo>
                  <a:cubicBezTo>
                    <a:pt x="931412" y="46051"/>
                    <a:pt x="930911" y="45132"/>
                    <a:pt x="930409" y="44028"/>
                  </a:cubicBezTo>
                  <a:cubicBezTo>
                    <a:pt x="930075" y="43293"/>
                    <a:pt x="929907" y="42741"/>
                    <a:pt x="929574" y="42006"/>
                  </a:cubicBezTo>
                  <a:cubicBezTo>
                    <a:pt x="929239" y="41270"/>
                    <a:pt x="929072" y="40534"/>
                    <a:pt x="928904" y="39799"/>
                  </a:cubicBezTo>
                  <a:cubicBezTo>
                    <a:pt x="928570" y="38512"/>
                    <a:pt x="928403" y="37224"/>
                    <a:pt x="928068" y="35937"/>
                  </a:cubicBezTo>
                  <a:cubicBezTo>
                    <a:pt x="927902" y="35202"/>
                    <a:pt x="927902" y="34650"/>
                    <a:pt x="927902" y="33914"/>
                  </a:cubicBezTo>
                  <a:cubicBezTo>
                    <a:pt x="928068" y="34466"/>
                    <a:pt x="928236" y="34282"/>
                    <a:pt x="928068" y="34098"/>
                  </a:cubicBezTo>
                  <a:cubicBezTo>
                    <a:pt x="928068" y="32811"/>
                    <a:pt x="928068" y="31524"/>
                    <a:pt x="928068" y="30237"/>
                  </a:cubicBezTo>
                  <a:cubicBezTo>
                    <a:pt x="928068" y="30237"/>
                    <a:pt x="928068" y="30237"/>
                    <a:pt x="928068" y="30053"/>
                  </a:cubicBezTo>
                  <a:cubicBezTo>
                    <a:pt x="928068" y="28949"/>
                    <a:pt x="928236" y="28030"/>
                    <a:pt x="928403" y="26926"/>
                  </a:cubicBezTo>
                  <a:cubicBezTo>
                    <a:pt x="928737" y="25639"/>
                    <a:pt x="928737" y="24352"/>
                    <a:pt x="929239" y="23248"/>
                  </a:cubicBezTo>
                  <a:cubicBezTo>
                    <a:pt x="929574" y="22513"/>
                    <a:pt x="929740" y="21777"/>
                    <a:pt x="929907" y="21042"/>
                  </a:cubicBezTo>
                  <a:cubicBezTo>
                    <a:pt x="930409" y="19939"/>
                    <a:pt x="930911" y="18651"/>
                    <a:pt x="931412" y="17548"/>
                  </a:cubicBezTo>
                  <a:cubicBezTo>
                    <a:pt x="931913" y="16629"/>
                    <a:pt x="932415" y="15893"/>
                    <a:pt x="932917" y="14973"/>
                  </a:cubicBezTo>
                  <a:cubicBezTo>
                    <a:pt x="933418" y="14238"/>
                    <a:pt x="933920" y="13502"/>
                    <a:pt x="934422" y="12950"/>
                  </a:cubicBezTo>
                  <a:cubicBezTo>
                    <a:pt x="934923" y="12399"/>
                    <a:pt x="935425" y="11847"/>
                    <a:pt x="935925" y="11296"/>
                  </a:cubicBezTo>
                  <a:cubicBezTo>
                    <a:pt x="936929" y="10376"/>
                    <a:pt x="937933" y="9457"/>
                    <a:pt x="939102" y="8721"/>
                  </a:cubicBezTo>
                  <a:cubicBezTo>
                    <a:pt x="939938" y="8169"/>
                    <a:pt x="940941" y="7618"/>
                    <a:pt x="941777" y="7250"/>
                  </a:cubicBezTo>
                  <a:cubicBezTo>
                    <a:pt x="943783" y="6330"/>
                    <a:pt x="945958" y="5779"/>
                    <a:pt x="948298" y="5595"/>
                  </a:cubicBezTo>
                  <a:close/>
                  <a:moveTo>
                    <a:pt x="835603" y="5595"/>
                  </a:moveTo>
                  <a:cubicBezTo>
                    <a:pt x="838445" y="5411"/>
                    <a:pt x="841287" y="5963"/>
                    <a:pt x="843962" y="7066"/>
                  </a:cubicBezTo>
                  <a:cubicBezTo>
                    <a:pt x="845801" y="7801"/>
                    <a:pt x="847473" y="8905"/>
                    <a:pt x="848978" y="10193"/>
                  </a:cubicBezTo>
                  <a:cubicBezTo>
                    <a:pt x="849814" y="10928"/>
                    <a:pt x="850481" y="11664"/>
                    <a:pt x="851317" y="12399"/>
                  </a:cubicBezTo>
                  <a:cubicBezTo>
                    <a:pt x="852153" y="13318"/>
                    <a:pt x="852990" y="14422"/>
                    <a:pt x="853658" y="15341"/>
                  </a:cubicBezTo>
                  <a:cubicBezTo>
                    <a:pt x="854160" y="16077"/>
                    <a:pt x="854662" y="16996"/>
                    <a:pt x="854996" y="17732"/>
                  </a:cubicBezTo>
                  <a:cubicBezTo>
                    <a:pt x="855664" y="18835"/>
                    <a:pt x="856165" y="20122"/>
                    <a:pt x="856501" y="21410"/>
                  </a:cubicBezTo>
                  <a:cubicBezTo>
                    <a:pt x="856835" y="22145"/>
                    <a:pt x="857001" y="23065"/>
                    <a:pt x="857169" y="23801"/>
                  </a:cubicBezTo>
                  <a:cubicBezTo>
                    <a:pt x="857503" y="24904"/>
                    <a:pt x="857671" y="26191"/>
                    <a:pt x="857838" y="27294"/>
                  </a:cubicBezTo>
                  <a:cubicBezTo>
                    <a:pt x="858339" y="30605"/>
                    <a:pt x="858339" y="33914"/>
                    <a:pt x="857671" y="37041"/>
                  </a:cubicBezTo>
                  <a:cubicBezTo>
                    <a:pt x="857503" y="38144"/>
                    <a:pt x="857336" y="39248"/>
                    <a:pt x="857001" y="40351"/>
                  </a:cubicBezTo>
                  <a:cubicBezTo>
                    <a:pt x="856667" y="41270"/>
                    <a:pt x="856501" y="42006"/>
                    <a:pt x="856165" y="42925"/>
                  </a:cubicBezTo>
                  <a:cubicBezTo>
                    <a:pt x="855831" y="43477"/>
                    <a:pt x="855664" y="44028"/>
                    <a:pt x="855497" y="44580"/>
                  </a:cubicBezTo>
                  <a:cubicBezTo>
                    <a:pt x="854996" y="45684"/>
                    <a:pt x="854494" y="46603"/>
                    <a:pt x="853992" y="47523"/>
                  </a:cubicBezTo>
                  <a:cubicBezTo>
                    <a:pt x="853490" y="48258"/>
                    <a:pt x="852990" y="48994"/>
                    <a:pt x="852489" y="49729"/>
                  </a:cubicBezTo>
                  <a:cubicBezTo>
                    <a:pt x="851819" y="50649"/>
                    <a:pt x="850983" y="51568"/>
                    <a:pt x="850147" y="52303"/>
                  </a:cubicBezTo>
                  <a:cubicBezTo>
                    <a:pt x="849479" y="53039"/>
                    <a:pt x="848642" y="53591"/>
                    <a:pt x="847975" y="54143"/>
                  </a:cubicBezTo>
                  <a:cubicBezTo>
                    <a:pt x="846804" y="55062"/>
                    <a:pt x="845467" y="55798"/>
                    <a:pt x="844130" y="56350"/>
                  </a:cubicBezTo>
                  <a:cubicBezTo>
                    <a:pt x="842457" y="57085"/>
                    <a:pt x="840619" y="57637"/>
                    <a:pt x="838780" y="57821"/>
                  </a:cubicBezTo>
                  <a:cubicBezTo>
                    <a:pt x="838445" y="57821"/>
                    <a:pt x="838278" y="57821"/>
                    <a:pt x="837944" y="58004"/>
                  </a:cubicBezTo>
                  <a:cubicBezTo>
                    <a:pt x="836940" y="58004"/>
                    <a:pt x="836105" y="58004"/>
                    <a:pt x="835101" y="58004"/>
                  </a:cubicBezTo>
                  <a:cubicBezTo>
                    <a:pt x="835101" y="57821"/>
                    <a:pt x="834934" y="58004"/>
                    <a:pt x="834934" y="58004"/>
                  </a:cubicBezTo>
                  <a:cubicBezTo>
                    <a:pt x="831758" y="57637"/>
                    <a:pt x="828749" y="56533"/>
                    <a:pt x="826074" y="54694"/>
                  </a:cubicBezTo>
                  <a:cubicBezTo>
                    <a:pt x="824903" y="53959"/>
                    <a:pt x="823901" y="53039"/>
                    <a:pt x="822898" y="51936"/>
                  </a:cubicBezTo>
                  <a:cubicBezTo>
                    <a:pt x="822062" y="51200"/>
                    <a:pt x="821392" y="50281"/>
                    <a:pt x="820724" y="49361"/>
                  </a:cubicBezTo>
                  <a:cubicBezTo>
                    <a:pt x="820223" y="48626"/>
                    <a:pt x="819721" y="47890"/>
                    <a:pt x="819219" y="46971"/>
                  </a:cubicBezTo>
                  <a:cubicBezTo>
                    <a:pt x="818717" y="46051"/>
                    <a:pt x="818217" y="45132"/>
                    <a:pt x="817716" y="44028"/>
                  </a:cubicBezTo>
                  <a:cubicBezTo>
                    <a:pt x="817381" y="43293"/>
                    <a:pt x="817214" y="42741"/>
                    <a:pt x="816880" y="42006"/>
                  </a:cubicBezTo>
                  <a:cubicBezTo>
                    <a:pt x="816544" y="41270"/>
                    <a:pt x="816378" y="40534"/>
                    <a:pt x="816210" y="39799"/>
                  </a:cubicBezTo>
                  <a:cubicBezTo>
                    <a:pt x="815876" y="38512"/>
                    <a:pt x="815708" y="37224"/>
                    <a:pt x="815374" y="35937"/>
                  </a:cubicBezTo>
                  <a:cubicBezTo>
                    <a:pt x="815207" y="35202"/>
                    <a:pt x="815207" y="34650"/>
                    <a:pt x="815207" y="33914"/>
                  </a:cubicBezTo>
                  <a:cubicBezTo>
                    <a:pt x="815374" y="34466"/>
                    <a:pt x="815542" y="34282"/>
                    <a:pt x="815374" y="34098"/>
                  </a:cubicBezTo>
                  <a:cubicBezTo>
                    <a:pt x="815374" y="32811"/>
                    <a:pt x="815374" y="31524"/>
                    <a:pt x="815374" y="30237"/>
                  </a:cubicBezTo>
                  <a:cubicBezTo>
                    <a:pt x="815374" y="30237"/>
                    <a:pt x="815374" y="30237"/>
                    <a:pt x="815374" y="30053"/>
                  </a:cubicBezTo>
                  <a:cubicBezTo>
                    <a:pt x="815374" y="28949"/>
                    <a:pt x="815542" y="28030"/>
                    <a:pt x="815708" y="26926"/>
                  </a:cubicBezTo>
                  <a:cubicBezTo>
                    <a:pt x="816044" y="25639"/>
                    <a:pt x="816044" y="24352"/>
                    <a:pt x="816544" y="23248"/>
                  </a:cubicBezTo>
                  <a:cubicBezTo>
                    <a:pt x="816880" y="22513"/>
                    <a:pt x="817046" y="21777"/>
                    <a:pt x="817214" y="21042"/>
                  </a:cubicBezTo>
                  <a:cubicBezTo>
                    <a:pt x="817716" y="19939"/>
                    <a:pt x="818217" y="18651"/>
                    <a:pt x="818717" y="17548"/>
                  </a:cubicBezTo>
                  <a:cubicBezTo>
                    <a:pt x="819219" y="16629"/>
                    <a:pt x="819721" y="15893"/>
                    <a:pt x="820223" y="14973"/>
                  </a:cubicBezTo>
                  <a:cubicBezTo>
                    <a:pt x="820724" y="14238"/>
                    <a:pt x="821226" y="13502"/>
                    <a:pt x="821728" y="12950"/>
                  </a:cubicBezTo>
                  <a:cubicBezTo>
                    <a:pt x="822228" y="12399"/>
                    <a:pt x="822730" y="11847"/>
                    <a:pt x="823231" y="11296"/>
                  </a:cubicBezTo>
                  <a:cubicBezTo>
                    <a:pt x="824235" y="10376"/>
                    <a:pt x="825238" y="9457"/>
                    <a:pt x="826408" y="8721"/>
                  </a:cubicBezTo>
                  <a:cubicBezTo>
                    <a:pt x="827243" y="8169"/>
                    <a:pt x="828247" y="7618"/>
                    <a:pt x="829083" y="7250"/>
                  </a:cubicBezTo>
                  <a:cubicBezTo>
                    <a:pt x="831089" y="6330"/>
                    <a:pt x="833262" y="5779"/>
                    <a:pt x="835603" y="5595"/>
                  </a:cubicBezTo>
                  <a:close/>
                  <a:moveTo>
                    <a:pt x="600116" y="5595"/>
                  </a:moveTo>
                  <a:cubicBezTo>
                    <a:pt x="602958" y="5411"/>
                    <a:pt x="605799" y="5963"/>
                    <a:pt x="608474" y="7066"/>
                  </a:cubicBezTo>
                  <a:cubicBezTo>
                    <a:pt x="610314" y="7801"/>
                    <a:pt x="611985" y="8905"/>
                    <a:pt x="613490" y="10193"/>
                  </a:cubicBezTo>
                  <a:cubicBezTo>
                    <a:pt x="614326" y="10928"/>
                    <a:pt x="614994" y="11664"/>
                    <a:pt x="615830" y="12399"/>
                  </a:cubicBezTo>
                  <a:cubicBezTo>
                    <a:pt x="616666" y="13318"/>
                    <a:pt x="617502" y="14422"/>
                    <a:pt x="618170" y="15341"/>
                  </a:cubicBezTo>
                  <a:cubicBezTo>
                    <a:pt x="618673" y="16077"/>
                    <a:pt x="619174" y="16996"/>
                    <a:pt x="619509" y="17732"/>
                  </a:cubicBezTo>
                  <a:cubicBezTo>
                    <a:pt x="620177" y="18835"/>
                    <a:pt x="620679" y="20122"/>
                    <a:pt x="621013" y="21410"/>
                  </a:cubicBezTo>
                  <a:cubicBezTo>
                    <a:pt x="621348" y="22145"/>
                    <a:pt x="621514" y="23065"/>
                    <a:pt x="621681" y="23801"/>
                  </a:cubicBezTo>
                  <a:cubicBezTo>
                    <a:pt x="622016" y="24904"/>
                    <a:pt x="622184" y="26191"/>
                    <a:pt x="622351" y="27294"/>
                  </a:cubicBezTo>
                  <a:cubicBezTo>
                    <a:pt x="622852" y="30605"/>
                    <a:pt x="622852" y="33914"/>
                    <a:pt x="622184" y="37041"/>
                  </a:cubicBezTo>
                  <a:cubicBezTo>
                    <a:pt x="622016" y="38144"/>
                    <a:pt x="621849" y="39248"/>
                    <a:pt x="621514" y="40351"/>
                  </a:cubicBezTo>
                  <a:cubicBezTo>
                    <a:pt x="621180" y="41270"/>
                    <a:pt x="621013" y="42006"/>
                    <a:pt x="620679" y="42925"/>
                  </a:cubicBezTo>
                  <a:cubicBezTo>
                    <a:pt x="620344" y="43477"/>
                    <a:pt x="620177" y="44028"/>
                    <a:pt x="620010" y="44580"/>
                  </a:cubicBezTo>
                  <a:cubicBezTo>
                    <a:pt x="619509" y="45684"/>
                    <a:pt x="619006" y="46603"/>
                    <a:pt x="618505" y="47523"/>
                  </a:cubicBezTo>
                  <a:cubicBezTo>
                    <a:pt x="618003" y="48258"/>
                    <a:pt x="617502" y="48994"/>
                    <a:pt x="617001" y="49729"/>
                  </a:cubicBezTo>
                  <a:cubicBezTo>
                    <a:pt x="616331" y="50649"/>
                    <a:pt x="615496" y="51568"/>
                    <a:pt x="614659" y="52303"/>
                  </a:cubicBezTo>
                  <a:cubicBezTo>
                    <a:pt x="613992" y="53039"/>
                    <a:pt x="613155" y="53591"/>
                    <a:pt x="612487" y="54143"/>
                  </a:cubicBezTo>
                  <a:cubicBezTo>
                    <a:pt x="611317" y="55062"/>
                    <a:pt x="609980" y="55798"/>
                    <a:pt x="608642" y="56350"/>
                  </a:cubicBezTo>
                  <a:cubicBezTo>
                    <a:pt x="606969" y="57085"/>
                    <a:pt x="605132" y="57637"/>
                    <a:pt x="603292" y="57821"/>
                  </a:cubicBezTo>
                  <a:cubicBezTo>
                    <a:pt x="602958" y="57821"/>
                    <a:pt x="602791" y="57821"/>
                    <a:pt x="602457" y="58004"/>
                  </a:cubicBezTo>
                  <a:cubicBezTo>
                    <a:pt x="601453" y="58004"/>
                    <a:pt x="600618" y="58004"/>
                    <a:pt x="599614" y="58004"/>
                  </a:cubicBezTo>
                  <a:cubicBezTo>
                    <a:pt x="599614" y="57821"/>
                    <a:pt x="599447" y="58004"/>
                    <a:pt x="599447" y="58004"/>
                  </a:cubicBezTo>
                  <a:cubicBezTo>
                    <a:pt x="596271" y="57637"/>
                    <a:pt x="593261" y="56533"/>
                    <a:pt x="590587" y="54694"/>
                  </a:cubicBezTo>
                  <a:cubicBezTo>
                    <a:pt x="589416" y="53959"/>
                    <a:pt x="588413" y="53039"/>
                    <a:pt x="587411" y="51936"/>
                  </a:cubicBezTo>
                  <a:cubicBezTo>
                    <a:pt x="586574" y="51200"/>
                    <a:pt x="585905" y="50281"/>
                    <a:pt x="585237" y="49361"/>
                  </a:cubicBezTo>
                  <a:cubicBezTo>
                    <a:pt x="584735" y="48626"/>
                    <a:pt x="584233" y="47890"/>
                    <a:pt x="583732" y="46971"/>
                  </a:cubicBezTo>
                  <a:cubicBezTo>
                    <a:pt x="583230" y="46051"/>
                    <a:pt x="582729" y="45132"/>
                    <a:pt x="582228" y="44028"/>
                  </a:cubicBezTo>
                  <a:cubicBezTo>
                    <a:pt x="581894" y="43293"/>
                    <a:pt x="581726" y="42741"/>
                    <a:pt x="581392" y="42006"/>
                  </a:cubicBezTo>
                  <a:cubicBezTo>
                    <a:pt x="581057" y="41270"/>
                    <a:pt x="580890" y="40534"/>
                    <a:pt x="580722" y="39799"/>
                  </a:cubicBezTo>
                  <a:cubicBezTo>
                    <a:pt x="580389" y="38512"/>
                    <a:pt x="580221" y="37224"/>
                    <a:pt x="579886" y="35937"/>
                  </a:cubicBezTo>
                  <a:cubicBezTo>
                    <a:pt x="579720" y="35202"/>
                    <a:pt x="579720" y="34650"/>
                    <a:pt x="579720" y="33914"/>
                  </a:cubicBezTo>
                  <a:cubicBezTo>
                    <a:pt x="579886" y="34466"/>
                    <a:pt x="580054" y="34282"/>
                    <a:pt x="579886" y="34098"/>
                  </a:cubicBezTo>
                  <a:cubicBezTo>
                    <a:pt x="579886" y="32811"/>
                    <a:pt x="579886" y="31524"/>
                    <a:pt x="579886" y="30237"/>
                  </a:cubicBezTo>
                  <a:cubicBezTo>
                    <a:pt x="579886" y="30237"/>
                    <a:pt x="579886" y="30237"/>
                    <a:pt x="579886" y="30053"/>
                  </a:cubicBezTo>
                  <a:cubicBezTo>
                    <a:pt x="579886" y="28949"/>
                    <a:pt x="580054" y="28030"/>
                    <a:pt x="580221" y="26926"/>
                  </a:cubicBezTo>
                  <a:cubicBezTo>
                    <a:pt x="580556" y="25639"/>
                    <a:pt x="580556" y="24352"/>
                    <a:pt x="581057" y="23248"/>
                  </a:cubicBezTo>
                  <a:cubicBezTo>
                    <a:pt x="581392" y="22513"/>
                    <a:pt x="581558" y="21777"/>
                    <a:pt x="581726" y="21042"/>
                  </a:cubicBezTo>
                  <a:cubicBezTo>
                    <a:pt x="582228" y="19939"/>
                    <a:pt x="582729" y="18651"/>
                    <a:pt x="583230" y="17548"/>
                  </a:cubicBezTo>
                  <a:cubicBezTo>
                    <a:pt x="583732" y="16629"/>
                    <a:pt x="584233" y="15893"/>
                    <a:pt x="584735" y="14973"/>
                  </a:cubicBezTo>
                  <a:cubicBezTo>
                    <a:pt x="585237" y="14238"/>
                    <a:pt x="585739" y="13502"/>
                    <a:pt x="586240" y="12950"/>
                  </a:cubicBezTo>
                  <a:cubicBezTo>
                    <a:pt x="586741" y="12399"/>
                    <a:pt x="587243" y="11847"/>
                    <a:pt x="587744" y="11296"/>
                  </a:cubicBezTo>
                  <a:cubicBezTo>
                    <a:pt x="588748" y="10376"/>
                    <a:pt x="589751" y="9457"/>
                    <a:pt x="590921" y="8721"/>
                  </a:cubicBezTo>
                  <a:cubicBezTo>
                    <a:pt x="591756" y="8169"/>
                    <a:pt x="592760" y="7618"/>
                    <a:pt x="593596" y="7250"/>
                  </a:cubicBezTo>
                  <a:cubicBezTo>
                    <a:pt x="595602" y="6330"/>
                    <a:pt x="597775" y="5779"/>
                    <a:pt x="600116" y="5595"/>
                  </a:cubicBezTo>
                  <a:close/>
                  <a:moveTo>
                    <a:pt x="477273" y="5595"/>
                  </a:moveTo>
                  <a:cubicBezTo>
                    <a:pt x="480114" y="5411"/>
                    <a:pt x="482956" y="5963"/>
                    <a:pt x="485631" y="7066"/>
                  </a:cubicBezTo>
                  <a:cubicBezTo>
                    <a:pt x="487470" y="7802"/>
                    <a:pt x="489142" y="8905"/>
                    <a:pt x="490647" y="10193"/>
                  </a:cubicBezTo>
                  <a:cubicBezTo>
                    <a:pt x="491483" y="10928"/>
                    <a:pt x="492151" y="11664"/>
                    <a:pt x="492987" y="12399"/>
                  </a:cubicBezTo>
                  <a:cubicBezTo>
                    <a:pt x="493823" y="13318"/>
                    <a:pt x="494659" y="14422"/>
                    <a:pt x="495327" y="15341"/>
                  </a:cubicBezTo>
                  <a:cubicBezTo>
                    <a:pt x="495829" y="16077"/>
                    <a:pt x="496331" y="16997"/>
                    <a:pt x="496665" y="17732"/>
                  </a:cubicBezTo>
                  <a:cubicBezTo>
                    <a:pt x="497334" y="18836"/>
                    <a:pt x="497835" y="20122"/>
                    <a:pt x="498170" y="21410"/>
                  </a:cubicBezTo>
                  <a:cubicBezTo>
                    <a:pt x="498504" y="22145"/>
                    <a:pt x="498672" y="23065"/>
                    <a:pt x="498838" y="23801"/>
                  </a:cubicBezTo>
                  <a:cubicBezTo>
                    <a:pt x="499173" y="24904"/>
                    <a:pt x="499340" y="26191"/>
                    <a:pt x="499507" y="27294"/>
                  </a:cubicBezTo>
                  <a:cubicBezTo>
                    <a:pt x="500009" y="30605"/>
                    <a:pt x="500009" y="33915"/>
                    <a:pt x="499340" y="37041"/>
                  </a:cubicBezTo>
                  <a:cubicBezTo>
                    <a:pt x="499173" y="38145"/>
                    <a:pt x="499005" y="39248"/>
                    <a:pt x="498672" y="40351"/>
                  </a:cubicBezTo>
                  <a:cubicBezTo>
                    <a:pt x="498337" y="41270"/>
                    <a:pt x="498170" y="42006"/>
                    <a:pt x="497835" y="42925"/>
                  </a:cubicBezTo>
                  <a:cubicBezTo>
                    <a:pt x="497501" y="43477"/>
                    <a:pt x="497334" y="44029"/>
                    <a:pt x="497166" y="44581"/>
                  </a:cubicBezTo>
                  <a:cubicBezTo>
                    <a:pt x="496665" y="45684"/>
                    <a:pt x="496163" y="46603"/>
                    <a:pt x="495662" y="47523"/>
                  </a:cubicBezTo>
                  <a:cubicBezTo>
                    <a:pt x="495160" y="48258"/>
                    <a:pt x="494659" y="48994"/>
                    <a:pt x="494158" y="49729"/>
                  </a:cubicBezTo>
                  <a:cubicBezTo>
                    <a:pt x="493488" y="50649"/>
                    <a:pt x="492653" y="51568"/>
                    <a:pt x="491817" y="52304"/>
                  </a:cubicBezTo>
                  <a:cubicBezTo>
                    <a:pt x="491149" y="53039"/>
                    <a:pt x="490313" y="53591"/>
                    <a:pt x="489643" y="54143"/>
                  </a:cubicBezTo>
                  <a:cubicBezTo>
                    <a:pt x="488474" y="55063"/>
                    <a:pt x="487136" y="55798"/>
                    <a:pt x="485799" y="56350"/>
                  </a:cubicBezTo>
                  <a:cubicBezTo>
                    <a:pt x="484127" y="57085"/>
                    <a:pt x="482288" y="57637"/>
                    <a:pt x="480449" y="57821"/>
                  </a:cubicBezTo>
                  <a:cubicBezTo>
                    <a:pt x="480114" y="57821"/>
                    <a:pt x="479947" y="57821"/>
                    <a:pt x="479613" y="58005"/>
                  </a:cubicBezTo>
                  <a:cubicBezTo>
                    <a:pt x="478610" y="58005"/>
                    <a:pt x="477774" y="58005"/>
                    <a:pt x="476771" y="58005"/>
                  </a:cubicBezTo>
                  <a:cubicBezTo>
                    <a:pt x="476771" y="57821"/>
                    <a:pt x="476604" y="58005"/>
                    <a:pt x="476604" y="58005"/>
                  </a:cubicBezTo>
                  <a:cubicBezTo>
                    <a:pt x="473427" y="57637"/>
                    <a:pt x="470418" y="56534"/>
                    <a:pt x="467743" y="54695"/>
                  </a:cubicBezTo>
                  <a:cubicBezTo>
                    <a:pt x="466573" y="53959"/>
                    <a:pt x="465570" y="53039"/>
                    <a:pt x="464566" y="51936"/>
                  </a:cubicBezTo>
                  <a:cubicBezTo>
                    <a:pt x="463731" y="51200"/>
                    <a:pt x="463062" y="50281"/>
                    <a:pt x="462393" y="49362"/>
                  </a:cubicBezTo>
                  <a:cubicBezTo>
                    <a:pt x="461892" y="48626"/>
                    <a:pt x="461390" y="47891"/>
                    <a:pt x="460889" y="46971"/>
                  </a:cubicBezTo>
                  <a:cubicBezTo>
                    <a:pt x="460388" y="46052"/>
                    <a:pt x="459886" y="45132"/>
                    <a:pt x="459385" y="44029"/>
                  </a:cubicBezTo>
                  <a:cubicBezTo>
                    <a:pt x="459050" y="43293"/>
                    <a:pt x="458883" y="42741"/>
                    <a:pt x="458549" y="42006"/>
                  </a:cubicBezTo>
                  <a:cubicBezTo>
                    <a:pt x="458214" y="41270"/>
                    <a:pt x="458047" y="40534"/>
                    <a:pt x="457879" y="39799"/>
                  </a:cubicBezTo>
                  <a:cubicBezTo>
                    <a:pt x="457545" y="38512"/>
                    <a:pt x="457378" y="37225"/>
                    <a:pt x="457044" y="35937"/>
                  </a:cubicBezTo>
                  <a:cubicBezTo>
                    <a:pt x="456877" y="35202"/>
                    <a:pt x="456877" y="34650"/>
                    <a:pt x="456877" y="33915"/>
                  </a:cubicBezTo>
                  <a:cubicBezTo>
                    <a:pt x="457044" y="34466"/>
                    <a:pt x="457212" y="34282"/>
                    <a:pt x="457044" y="34098"/>
                  </a:cubicBezTo>
                  <a:cubicBezTo>
                    <a:pt x="457044" y="32811"/>
                    <a:pt x="457044" y="31524"/>
                    <a:pt x="457044" y="30237"/>
                  </a:cubicBezTo>
                  <a:cubicBezTo>
                    <a:pt x="457044" y="30237"/>
                    <a:pt x="457044" y="30237"/>
                    <a:pt x="457044" y="30053"/>
                  </a:cubicBezTo>
                  <a:cubicBezTo>
                    <a:pt x="457044" y="28950"/>
                    <a:pt x="457212" y="28030"/>
                    <a:pt x="457378" y="26926"/>
                  </a:cubicBezTo>
                  <a:cubicBezTo>
                    <a:pt x="457713" y="25640"/>
                    <a:pt x="457713" y="24352"/>
                    <a:pt x="458214" y="23249"/>
                  </a:cubicBezTo>
                  <a:cubicBezTo>
                    <a:pt x="458549" y="22513"/>
                    <a:pt x="458715" y="21778"/>
                    <a:pt x="458883" y="21042"/>
                  </a:cubicBezTo>
                  <a:cubicBezTo>
                    <a:pt x="459385" y="19939"/>
                    <a:pt x="459886" y="18651"/>
                    <a:pt x="460388" y="17548"/>
                  </a:cubicBezTo>
                  <a:cubicBezTo>
                    <a:pt x="460889" y="16629"/>
                    <a:pt x="461390" y="15893"/>
                    <a:pt x="461892" y="14974"/>
                  </a:cubicBezTo>
                  <a:cubicBezTo>
                    <a:pt x="462393" y="14238"/>
                    <a:pt x="462895" y="13503"/>
                    <a:pt x="463397" y="12950"/>
                  </a:cubicBezTo>
                  <a:cubicBezTo>
                    <a:pt x="463899" y="12399"/>
                    <a:pt x="464400" y="11847"/>
                    <a:pt x="464901" y="11296"/>
                  </a:cubicBezTo>
                  <a:cubicBezTo>
                    <a:pt x="465904" y="10376"/>
                    <a:pt x="466907" y="9457"/>
                    <a:pt x="468077" y="8721"/>
                  </a:cubicBezTo>
                  <a:cubicBezTo>
                    <a:pt x="468913" y="8169"/>
                    <a:pt x="469917" y="7618"/>
                    <a:pt x="470752" y="7250"/>
                  </a:cubicBezTo>
                  <a:cubicBezTo>
                    <a:pt x="472759" y="6331"/>
                    <a:pt x="474932" y="5779"/>
                    <a:pt x="477273" y="5595"/>
                  </a:cubicBezTo>
                  <a:close/>
                  <a:moveTo>
                    <a:pt x="313331" y="5595"/>
                  </a:moveTo>
                  <a:cubicBezTo>
                    <a:pt x="316173" y="5411"/>
                    <a:pt x="319015" y="5963"/>
                    <a:pt x="321690" y="7066"/>
                  </a:cubicBezTo>
                  <a:cubicBezTo>
                    <a:pt x="323528" y="7802"/>
                    <a:pt x="325200" y="8905"/>
                    <a:pt x="326706" y="10193"/>
                  </a:cubicBezTo>
                  <a:cubicBezTo>
                    <a:pt x="327541" y="10928"/>
                    <a:pt x="328209" y="11664"/>
                    <a:pt x="329046" y="12399"/>
                  </a:cubicBezTo>
                  <a:cubicBezTo>
                    <a:pt x="329882" y="13318"/>
                    <a:pt x="330718" y="14422"/>
                    <a:pt x="331386" y="15341"/>
                  </a:cubicBezTo>
                  <a:cubicBezTo>
                    <a:pt x="331887" y="16077"/>
                    <a:pt x="332389" y="16997"/>
                    <a:pt x="332723" y="17732"/>
                  </a:cubicBezTo>
                  <a:cubicBezTo>
                    <a:pt x="333393" y="18836"/>
                    <a:pt x="333894" y="20122"/>
                    <a:pt x="334228" y="21410"/>
                  </a:cubicBezTo>
                  <a:cubicBezTo>
                    <a:pt x="334562" y="22145"/>
                    <a:pt x="334730" y="23065"/>
                    <a:pt x="334896" y="23801"/>
                  </a:cubicBezTo>
                  <a:cubicBezTo>
                    <a:pt x="335231" y="24904"/>
                    <a:pt x="335398" y="26191"/>
                    <a:pt x="335566" y="27294"/>
                  </a:cubicBezTo>
                  <a:cubicBezTo>
                    <a:pt x="336067" y="30605"/>
                    <a:pt x="336067" y="33915"/>
                    <a:pt x="335398" y="37041"/>
                  </a:cubicBezTo>
                  <a:cubicBezTo>
                    <a:pt x="335231" y="38145"/>
                    <a:pt x="335064" y="39248"/>
                    <a:pt x="334730" y="40351"/>
                  </a:cubicBezTo>
                  <a:cubicBezTo>
                    <a:pt x="334395" y="41270"/>
                    <a:pt x="334228" y="42006"/>
                    <a:pt x="333894" y="42925"/>
                  </a:cubicBezTo>
                  <a:cubicBezTo>
                    <a:pt x="333559" y="43477"/>
                    <a:pt x="333393" y="44029"/>
                    <a:pt x="333225" y="44581"/>
                  </a:cubicBezTo>
                  <a:cubicBezTo>
                    <a:pt x="332723" y="45684"/>
                    <a:pt x="332221" y="46603"/>
                    <a:pt x="331721" y="47523"/>
                  </a:cubicBezTo>
                  <a:cubicBezTo>
                    <a:pt x="331219" y="48258"/>
                    <a:pt x="330718" y="48994"/>
                    <a:pt x="330216" y="49729"/>
                  </a:cubicBezTo>
                  <a:cubicBezTo>
                    <a:pt x="329547" y="50649"/>
                    <a:pt x="328711" y="51568"/>
                    <a:pt x="327875" y="52304"/>
                  </a:cubicBezTo>
                  <a:cubicBezTo>
                    <a:pt x="327207" y="53039"/>
                    <a:pt x="326371" y="53591"/>
                    <a:pt x="325702" y="54143"/>
                  </a:cubicBezTo>
                  <a:cubicBezTo>
                    <a:pt x="324532" y="55063"/>
                    <a:pt x="323195" y="55798"/>
                    <a:pt x="321857" y="56350"/>
                  </a:cubicBezTo>
                  <a:cubicBezTo>
                    <a:pt x="320185" y="57085"/>
                    <a:pt x="318346" y="57637"/>
                    <a:pt x="316507" y="57821"/>
                  </a:cubicBezTo>
                  <a:cubicBezTo>
                    <a:pt x="316173" y="57821"/>
                    <a:pt x="316006" y="57821"/>
                    <a:pt x="315671" y="58005"/>
                  </a:cubicBezTo>
                  <a:cubicBezTo>
                    <a:pt x="314668" y="58005"/>
                    <a:pt x="313832" y="58005"/>
                    <a:pt x="312829" y="58005"/>
                  </a:cubicBezTo>
                  <a:cubicBezTo>
                    <a:pt x="312829" y="57821"/>
                    <a:pt x="312662" y="58005"/>
                    <a:pt x="312662" y="58005"/>
                  </a:cubicBezTo>
                  <a:cubicBezTo>
                    <a:pt x="309485" y="57637"/>
                    <a:pt x="306476" y="56534"/>
                    <a:pt x="303801" y="54695"/>
                  </a:cubicBezTo>
                  <a:cubicBezTo>
                    <a:pt x="302632" y="53959"/>
                    <a:pt x="301628" y="53039"/>
                    <a:pt x="300625" y="51936"/>
                  </a:cubicBezTo>
                  <a:cubicBezTo>
                    <a:pt x="299789" y="51200"/>
                    <a:pt x="299121" y="50281"/>
                    <a:pt x="298452" y="49362"/>
                  </a:cubicBezTo>
                  <a:cubicBezTo>
                    <a:pt x="297950" y="48626"/>
                    <a:pt x="297448" y="47891"/>
                    <a:pt x="296948" y="46971"/>
                  </a:cubicBezTo>
                  <a:cubicBezTo>
                    <a:pt x="296446" y="46052"/>
                    <a:pt x="295945" y="45132"/>
                    <a:pt x="295443" y="44029"/>
                  </a:cubicBezTo>
                  <a:cubicBezTo>
                    <a:pt x="295108" y="43293"/>
                    <a:pt x="294941" y="42741"/>
                    <a:pt x="294607" y="42006"/>
                  </a:cubicBezTo>
                  <a:cubicBezTo>
                    <a:pt x="294273" y="41270"/>
                    <a:pt x="294105" y="40534"/>
                    <a:pt x="293938" y="39799"/>
                  </a:cubicBezTo>
                  <a:cubicBezTo>
                    <a:pt x="293604" y="38512"/>
                    <a:pt x="293436" y="37225"/>
                    <a:pt x="293102" y="35937"/>
                  </a:cubicBezTo>
                  <a:cubicBezTo>
                    <a:pt x="292935" y="35202"/>
                    <a:pt x="292935" y="34650"/>
                    <a:pt x="292935" y="33915"/>
                  </a:cubicBezTo>
                  <a:cubicBezTo>
                    <a:pt x="293102" y="34466"/>
                    <a:pt x="293270" y="34282"/>
                    <a:pt x="293102" y="34098"/>
                  </a:cubicBezTo>
                  <a:cubicBezTo>
                    <a:pt x="293102" y="32811"/>
                    <a:pt x="293102" y="31524"/>
                    <a:pt x="293102" y="30237"/>
                  </a:cubicBezTo>
                  <a:cubicBezTo>
                    <a:pt x="293102" y="30237"/>
                    <a:pt x="293102" y="30237"/>
                    <a:pt x="293102" y="30053"/>
                  </a:cubicBezTo>
                  <a:cubicBezTo>
                    <a:pt x="293102" y="28950"/>
                    <a:pt x="293270" y="28030"/>
                    <a:pt x="293436" y="26926"/>
                  </a:cubicBezTo>
                  <a:cubicBezTo>
                    <a:pt x="293771" y="25640"/>
                    <a:pt x="293771" y="24352"/>
                    <a:pt x="294273" y="23249"/>
                  </a:cubicBezTo>
                  <a:cubicBezTo>
                    <a:pt x="294607" y="22513"/>
                    <a:pt x="294774" y="21778"/>
                    <a:pt x="294941" y="21042"/>
                  </a:cubicBezTo>
                  <a:cubicBezTo>
                    <a:pt x="295443" y="19939"/>
                    <a:pt x="295945" y="18651"/>
                    <a:pt x="296446" y="17548"/>
                  </a:cubicBezTo>
                  <a:cubicBezTo>
                    <a:pt x="296948" y="16629"/>
                    <a:pt x="297448" y="15893"/>
                    <a:pt x="297950" y="14974"/>
                  </a:cubicBezTo>
                  <a:cubicBezTo>
                    <a:pt x="298452" y="14238"/>
                    <a:pt x="298954" y="13503"/>
                    <a:pt x="299455" y="12950"/>
                  </a:cubicBezTo>
                  <a:cubicBezTo>
                    <a:pt x="299957" y="12399"/>
                    <a:pt x="300458" y="11847"/>
                    <a:pt x="300959" y="11296"/>
                  </a:cubicBezTo>
                  <a:cubicBezTo>
                    <a:pt x="301962" y="10376"/>
                    <a:pt x="302966" y="9457"/>
                    <a:pt x="304135" y="8721"/>
                  </a:cubicBezTo>
                  <a:cubicBezTo>
                    <a:pt x="304971" y="8169"/>
                    <a:pt x="305975" y="7618"/>
                    <a:pt x="306810" y="7250"/>
                  </a:cubicBezTo>
                  <a:cubicBezTo>
                    <a:pt x="308817" y="6331"/>
                    <a:pt x="310990" y="5779"/>
                    <a:pt x="313331" y="5595"/>
                  </a:cubicBezTo>
                  <a:close/>
                  <a:moveTo>
                    <a:pt x="80964" y="1038"/>
                  </a:moveTo>
                  <a:cubicBezTo>
                    <a:pt x="89283" y="1038"/>
                    <a:pt x="96223" y="6939"/>
                    <a:pt x="97828" y="14783"/>
                  </a:cubicBezTo>
                  <a:lnTo>
                    <a:pt x="98155" y="18019"/>
                  </a:lnTo>
                  <a:lnTo>
                    <a:pt x="99120" y="18019"/>
                  </a:lnTo>
                  <a:cubicBezTo>
                    <a:pt x="101546" y="18019"/>
                    <a:pt x="103509" y="19930"/>
                    <a:pt x="103509" y="22295"/>
                  </a:cubicBezTo>
                  <a:cubicBezTo>
                    <a:pt x="103509" y="22295"/>
                    <a:pt x="103509" y="22295"/>
                    <a:pt x="103509" y="56112"/>
                  </a:cubicBezTo>
                  <a:cubicBezTo>
                    <a:pt x="103509" y="58476"/>
                    <a:pt x="101546" y="60387"/>
                    <a:pt x="99120" y="60387"/>
                  </a:cubicBezTo>
                  <a:cubicBezTo>
                    <a:pt x="99120" y="60387"/>
                    <a:pt x="99120" y="60387"/>
                    <a:pt x="62809" y="60387"/>
                  </a:cubicBezTo>
                  <a:cubicBezTo>
                    <a:pt x="60382" y="60387"/>
                    <a:pt x="58420" y="58476"/>
                    <a:pt x="58420" y="56112"/>
                  </a:cubicBezTo>
                  <a:cubicBezTo>
                    <a:pt x="58420" y="56112"/>
                    <a:pt x="58420" y="56112"/>
                    <a:pt x="58420" y="22295"/>
                  </a:cubicBezTo>
                  <a:cubicBezTo>
                    <a:pt x="58420" y="19930"/>
                    <a:pt x="60382" y="18019"/>
                    <a:pt x="62809" y="18019"/>
                  </a:cubicBezTo>
                  <a:cubicBezTo>
                    <a:pt x="62809" y="18019"/>
                    <a:pt x="62809" y="18019"/>
                    <a:pt x="63377" y="18019"/>
                  </a:cubicBezTo>
                  <a:lnTo>
                    <a:pt x="63774" y="18019"/>
                  </a:lnTo>
                  <a:lnTo>
                    <a:pt x="64100" y="14783"/>
                  </a:lnTo>
                  <a:cubicBezTo>
                    <a:pt x="65705" y="6939"/>
                    <a:pt x="72646" y="1038"/>
                    <a:pt x="80964" y="1038"/>
                  </a:cubicBezTo>
                  <a:close/>
                  <a:moveTo>
                    <a:pt x="3007380" y="0"/>
                  </a:moveTo>
                  <a:cubicBezTo>
                    <a:pt x="3015698" y="0"/>
                    <a:pt x="3022638" y="5901"/>
                    <a:pt x="3024244" y="13745"/>
                  </a:cubicBezTo>
                  <a:lnTo>
                    <a:pt x="3024570" y="16981"/>
                  </a:lnTo>
                  <a:lnTo>
                    <a:pt x="3025535" y="16981"/>
                  </a:lnTo>
                  <a:cubicBezTo>
                    <a:pt x="3027962" y="16981"/>
                    <a:pt x="3029924" y="18892"/>
                    <a:pt x="3029924" y="21256"/>
                  </a:cubicBezTo>
                  <a:cubicBezTo>
                    <a:pt x="3029924" y="21256"/>
                    <a:pt x="3029924" y="21256"/>
                    <a:pt x="3029924" y="55073"/>
                  </a:cubicBezTo>
                  <a:cubicBezTo>
                    <a:pt x="3029924" y="57438"/>
                    <a:pt x="3027962" y="59349"/>
                    <a:pt x="3025535" y="59349"/>
                  </a:cubicBezTo>
                  <a:cubicBezTo>
                    <a:pt x="3025535" y="59349"/>
                    <a:pt x="3025535" y="59349"/>
                    <a:pt x="2989224" y="59349"/>
                  </a:cubicBezTo>
                  <a:cubicBezTo>
                    <a:pt x="2986797" y="59349"/>
                    <a:pt x="2984835" y="57438"/>
                    <a:pt x="2984835" y="55073"/>
                  </a:cubicBezTo>
                  <a:cubicBezTo>
                    <a:pt x="2984835" y="55073"/>
                    <a:pt x="2984835" y="55073"/>
                    <a:pt x="2984835" y="21256"/>
                  </a:cubicBezTo>
                  <a:cubicBezTo>
                    <a:pt x="2984835" y="18892"/>
                    <a:pt x="2986797" y="16981"/>
                    <a:pt x="2989224" y="16981"/>
                  </a:cubicBezTo>
                  <a:cubicBezTo>
                    <a:pt x="2989224" y="16981"/>
                    <a:pt x="2989224" y="16981"/>
                    <a:pt x="2989792" y="16981"/>
                  </a:cubicBezTo>
                  <a:lnTo>
                    <a:pt x="2990189" y="16981"/>
                  </a:lnTo>
                  <a:lnTo>
                    <a:pt x="2990516" y="13745"/>
                  </a:lnTo>
                  <a:cubicBezTo>
                    <a:pt x="2992120" y="5901"/>
                    <a:pt x="2999061" y="0"/>
                    <a:pt x="3007380" y="0"/>
                  </a:cubicBezTo>
                  <a:close/>
                  <a:moveTo>
                    <a:pt x="2945983" y="0"/>
                  </a:moveTo>
                  <a:cubicBezTo>
                    <a:pt x="2954302" y="0"/>
                    <a:pt x="2961242" y="5901"/>
                    <a:pt x="2962847" y="13745"/>
                  </a:cubicBezTo>
                  <a:lnTo>
                    <a:pt x="2963173" y="16981"/>
                  </a:lnTo>
                  <a:lnTo>
                    <a:pt x="2964138" y="16981"/>
                  </a:lnTo>
                  <a:cubicBezTo>
                    <a:pt x="2966565" y="16981"/>
                    <a:pt x="2968527" y="18892"/>
                    <a:pt x="2968527" y="21256"/>
                  </a:cubicBezTo>
                  <a:cubicBezTo>
                    <a:pt x="2968527" y="21256"/>
                    <a:pt x="2968527" y="21256"/>
                    <a:pt x="2968527" y="55073"/>
                  </a:cubicBezTo>
                  <a:cubicBezTo>
                    <a:pt x="2968527" y="57438"/>
                    <a:pt x="2966565" y="59349"/>
                    <a:pt x="2964138" y="59349"/>
                  </a:cubicBezTo>
                  <a:cubicBezTo>
                    <a:pt x="2964138" y="59349"/>
                    <a:pt x="2964138" y="59349"/>
                    <a:pt x="2927828" y="59349"/>
                  </a:cubicBezTo>
                  <a:cubicBezTo>
                    <a:pt x="2925400" y="59349"/>
                    <a:pt x="2923439" y="57438"/>
                    <a:pt x="2923439" y="55073"/>
                  </a:cubicBezTo>
                  <a:cubicBezTo>
                    <a:pt x="2923439" y="55073"/>
                    <a:pt x="2923439" y="55073"/>
                    <a:pt x="2923439" y="21256"/>
                  </a:cubicBezTo>
                  <a:cubicBezTo>
                    <a:pt x="2923439" y="18892"/>
                    <a:pt x="2925400" y="16981"/>
                    <a:pt x="2927828" y="16981"/>
                  </a:cubicBezTo>
                  <a:cubicBezTo>
                    <a:pt x="2927828" y="16981"/>
                    <a:pt x="2927828" y="16981"/>
                    <a:pt x="2928396" y="16981"/>
                  </a:cubicBezTo>
                  <a:lnTo>
                    <a:pt x="2928793" y="16981"/>
                  </a:lnTo>
                  <a:lnTo>
                    <a:pt x="2929119" y="13745"/>
                  </a:lnTo>
                  <a:cubicBezTo>
                    <a:pt x="2930724" y="5901"/>
                    <a:pt x="2937664" y="0"/>
                    <a:pt x="2945983" y="0"/>
                  </a:cubicBezTo>
                  <a:close/>
                  <a:moveTo>
                    <a:pt x="2823140" y="0"/>
                  </a:moveTo>
                  <a:cubicBezTo>
                    <a:pt x="2831459" y="0"/>
                    <a:pt x="2838399" y="5901"/>
                    <a:pt x="2840004" y="13745"/>
                  </a:cubicBezTo>
                  <a:lnTo>
                    <a:pt x="2840330" y="16981"/>
                  </a:lnTo>
                  <a:lnTo>
                    <a:pt x="2841295" y="16981"/>
                  </a:lnTo>
                  <a:cubicBezTo>
                    <a:pt x="2843722" y="16981"/>
                    <a:pt x="2845684" y="18892"/>
                    <a:pt x="2845684" y="21256"/>
                  </a:cubicBezTo>
                  <a:cubicBezTo>
                    <a:pt x="2845684" y="21256"/>
                    <a:pt x="2845684" y="21256"/>
                    <a:pt x="2845684" y="55073"/>
                  </a:cubicBezTo>
                  <a:cubicBezTo>
                    <a:pt x="2845684" y="57438"/>
                    <a:pt x="2843722" y="59349"/>
                    <a:pt x="2841295" y="59349"/>
                  </a:cubicBezTo>
                  <a:cubicBezTo>
                    <a:pt x="2841295" y="59349"/>
                    <a:pt x="2841295" y="59349"/>
                    <a:pt x="2804985" y="59349"/>
                  </a:cubicBezTo>
                  <a:cubicBezTo>
                    <a:pt x="2802557" y="59349"/>
                    <a:pt x="2800596" y="57438"/>
                    <a:pt x="2800596" y="55073"/>
                  </a:cubicBezTo>
                  <a:cubicBezTo>
                    <a:pt x="2800596" y="55073"/>
                    <a:pt x="2800596" y="55073"/>
                    <a:pt x="2800596" y="21256"/>
                  </a:cubicBezTo>
                  <a:cubicBezTo>
                    <a:pt x="2800596" y="18892"/>
                    <a:pt x="2802557" y="16981"/>
                    <a:pt x="2804985" y="16981"/>
                  </a:cubicBezTo>
                  <a:cubicBezTo>
                    <a:pt x="2804985" y="16981"/>
                    <a:pt x="2804985" y="16981"/>
                    <a:pt x="2805553" y="16981"/>
                  </a:cubicBezTo>
                  <a:lnTo>
                    <a:pt x="2805950" y="16981"/>
                  </a:lnTo>
                  <a:lnTo>
                    <a:pt x="2806276" y="13745"/>
                  </a:lnTo>
                  <a:cubicBezTo>
                    <a:pt x="2807881" y="5901"/>
                    <a:pt x="2814821" y="0"/>
                    <a:pt x="2823140" y="0"/>
                  </a:cubicBezTo>
                  <a:close/>
                  <a:moveTo>
                    <a:pt x="2536355" y="0"/>
                  </a:moveTo>
                  <a:cubicBezTo>
                    <a:pt x="2544674" y="0"/>
                    <a:pt x="2551614" y="5901"/>
                    <a:pt x="2553219" y="13745"/>
                  </a:cubicBezTo>
                  <a:lnTo>
                    <a:pt x="2553546" y="16981"/>
                  </a:lnTo>
                  <a:lnTo>
                    <a:pt x="2554511" y="16981"/>
                  </a:lnTo>
                  <a:cubicBezTo>
                    <a:pt x="2556937" y="16981"/>
                    <a:pt x="2558900" y="18892"/>
                    <a:pt x="2558900" y="21256"/>
                  </a:cubicBezTo>
                  <a:cubicBezTo>
                    <a:pt x="2558900" y="21256"/>
                    <a:pt x="2558900" y="21256"/>
                    <a:pt x="2558900" y="55073"/>
                  </a:cubicBezTo>
                  <a:cubicBezTo>
                    <a:pt x="2558900" y="57438"/>
                    <a:pt x="2556937" y="59349"/>
                    <a:pt x="2554511" y="59349"/>
                  </a:cubicBezTo>
                  <a:cubicBezTo>
                    <a:pt x="2554511" y="59349"/>
                    <a:pt x="2554511" y="59349"/>
                    <a:pt x="2518200" y="59349"/>
                  </a:cubicBezTo>
                  <a:cubicBezTo>
                    <a:pt x="2515773" y="59349"/>
                    <a:pt x="2513811" y="57438"/>
                    <a:pt x="2513811" y="55073"/>
                  </a:cubicBezTo>
                  <a:cubicBezTo>
                    <a:pt x="2513811" y="55073"/>
                    <a:pt x="2513811" y="55073"/>
                    <a:pt x="2513811" y="21256"/>
                  </a:cubicBezTo>
                  <a:cubicBezTo>
                    <a:pt x="2513811" y="18892"/>
                    <a:pt x="2515773" y="16981"/>
                    <a:pt x="2518200" y="16981"/>
                  </a:cubicBezTo>
                  <a:cubicBezTo>
                    <a:pt x="2518200" y="16981"/>
                    <a:pt x="2518200" y="16981"/>
                    <a:pt x="2518768" y="16981"/>
                  </a:cubicBezTo>
                  <a:lnTo>
                    <a:pt x="2519165" y="16981"/>
                  </a:lnTo>
                  <a:lnTo>
                    <a:pt x="2519492" y="13745"/>
                  </a:lnTo>
                  <a:cubicBezTo>
                    <a:pt x="2521096" y="5901"/>
                    <a:pt x="2528037" y="0"/>
                    <a:pt x="2536355" y="0"/>
                  </a:cubicBezTo>
                  <a:close/>
                  <a:moveTo>
                    <a:pt x="2413512" y="0"/>
                  </a:moveTo>
                  <a:cubicBezTo>
                    <a:pt x="2421831" y="0"/>
                    <a:pt x="2428771" y="5901"/>
                    <a:pt x="2430376" y="13745"/>
                  </a:cubicBezTo>
                  <a:lnTo>
                    <a:pt x="2430703" y="16981"/>
                  </a:lnTo>
                  <a:lnTo>
                    <a:pt x="2431668" y="16981"/>
                  </a:lnTo>
                  <a:cubicBezTo>
                    <a:pt x="2434094" y="16981"/>
                    <a:pt x="2436057" y="18892"/>
                    <a:pt x="2436057" y="21256"/>
                  </a:cubicBezTo>
                  <a:cubicBezTo>
                    <a:pt x="2436057" y="21256"/>
                    <a:pt x="2436057" y="21256"/>
                    <a:pt x="2436057" y="55073"/>
                  </a:cubicBezTo>
                  <a:cubicBezTo>
                    <a:pt x="2436057" y="57438"/>
                    <a:pt x="2434094" y="59349"/>
                    <a:pt x="2431668" y="59349"/>
                  </a:cubicBezTo>
                  <a:cubicBezTo>
                    <a:pt x="2431668" y="59349"/>
                    <a:pt x="2431668" y="59349"/>
                    <a:pt x="2395357" y="59349"/>
                  </a:cubicBezTo>
                  <a:cubicBezTo>
                    <a:pt x="2392930" y="59349"/>
                    <a:pt x="2390968" y="57438"/>
                    <a:pt x="2390968" y="55073"/>
                  </a:cubicBezTo>
                  <a:cubicBezTo>
                    <a:pt x="2390968" y="55073"/>
                    <a:pt x="2390968" y="55073"/>
                    <a:pt x="2390968" y="21256"/>
                  </a:cubicBezTo>
                  <a:cubicBezTo>
                    <a:pt x="2390968" y="18892"/>
                    <a:pt x="2392930" y="16981"/>
                    <a:pt x="2395357" y="16981"/>
                  </a:cubicBezTo>
                  <a:cubicBezTo>
                    <a:pt x="2395357" y="16981"/>
                    <a:pt x="2395357" y="16981"/>
                    <a:pt x="2395925" y="16981"/>
                  </a:cubicBezTo>
                  <a:lnTo>
                    <a:pt x="2396322" y="16981"/>
                  </a:lnTo>
                  <a:lnTo>
                    <a:pt x="2396649" y="13745"/>
                  </a:lnTo>
                  <a:cubicBezTo>
                    <a:pt x="2398253" y="5901"/>
                    <a:pt x="2405194" y="0"/>
                    <a:pt x="2413512" y="0"/>
                  </a:cubicBezTo>
                  <a:close/>
                  <a:moveTo>
                    <a:pt x="2126728" y="0"/>
                  </a:moveTo>
                  <a:cubicBezTo>
                    <a:pt x="2135046" y="0"/>
                    <a:pt x="2141986" y="5901"/>
                    <a:pt x="2143591" y="13745"/>
                  </a:cubicBezTo>
                  <a:lnTo>
                    <a:pt x="2143918" y="16981"/>
                  </a:lnTo>
                  <a:lnTo>
                    <a:pt x="2144883" y="16981"/>
                  </a:lnTo>
                  <a:cubicBezTo>
                    <a:pt x="2147310" y="16981"/>
                    <a:pt x="2149272" y="18892"/>
                    <a:pt x="2149272" y="21256"/>
                  </a:cubicBezTo>
                  <a:cubicBezTo>
                    <a:pt x="2149272" y="21256"/>
                    <a:pt x="2149272" y="21256"/>
                    <a:pt x="2149272" y="55073"/>
                  </a:cubicBezTo>
                  <a:cubicBezTo>
                    <a:pt x="2149272" y="57438"/>
                    <a:pt x="2147310" y="59349"/>
                    <a:pt x="2144883" y="59349"/>
                  </a:cubicBezTo>
                  <a:cubicBezTo>
                    <a:pt x="2144883" y="59349"/>
                    <a:pt x="2144883" y="59349"/>
                    <a:pt x="2108572" y="59349"/>
                  </a:cubicBezTo>
                  <a:cubicBezTo>
                    <a:pt x="2106145" y="59349"/>
                    <a:pt x="2104183" y="57438"/>
                    <a:pt x="2104183" y="55073"/>
                  </a:cubicBezTo>
                  <a:cubicBezTo>
                    <a:pt x="2104183" y="55073"/>
                    <a:pt x="2104183" y="55073"/>
                    <a:pt x="2104183" y="21256"/>
                  </a:cubicBezTo>
                  <a:cubicBezTo>
                    <a:pt x="2104183" y="18892"/>
                    <a:pt x="2106145" y="16981"/>
                    <a:pt x="2108572" y="16981"/>
                  </a:cubicBezTo>
                  <a:cubicBezTo>
                    <a:pt x="2108572" y="16981"/>
                    <a:pt x="2108572" y="16981"/>
                    <a:pt x="2109140" y="16981"/>
                  </a:cubicBezTo>
                  <a:lnTo>
                    <a:pt x="2109537" y="16981"/>
                  </a:lnTo>
                  <a:lnTo>
                    <a:pt x="2109864" y="13745"/>
                  </a:lnTo>
                  <a:cubicBezTo>
                    <a:pt x="2111469" y="5901"/>
                    <a:pt x="2118409" y="0"/>
                    <a:pt x="2126728" y="0"/>
                  </a:cubicBezTo>
                  <a:close/>
                  <a:moveTo>
                    <a:pt x="2065331" y="0"/>
                  </a:moveTo>
                  <a:cubicBezTo>
                    <a:pt x="2073650" y="0"/>
                    <a:pt x="2080590" y="5901"/>
                    <a:pt x="2082195" y="13745"/>
                  </a:cubicBezTo>
                  <a:lnTo>
                    <a:pt x="2082521" y="16981"/>
                  </a:lnTo>
                  <a:lnTo>
                    <a:pt x="2083486" y="16981"/>
                  </a:lnTo>
                  <a:cubicBezTo>
                    <a:pt x="2085913" y="16981"/>
                    <a:pt x="2087875" y="18892"/>
                    <a:pt x="2087875" y="21256"/>
                  </a:cubicBezTo>
                  <a:cubicBezTo>
                    <a:pt x="2087875" y="21256"/>
                    <a:pt x="2087875" y="21256"/>
                    <a:pt x="2087875" y="55073"/>
                  </a:cubicBezTo>
                  <a:cubicBezTo>
                    <a:pt x="2087875" y="57438"/>
                    <a:pt x="2085913" y="59349"/>
                    <a:pt x="2083486" y="59349"/>
                  </a:cubicBezTo>
                  <a:cubicBezTo>
                    <a:pt x="2083486" y="59349"/>
                    <a:pt x="2083486" y="59349"/>
                    <a:pt x="2047176" y="59349"/>
                  </a:cubicBezTo>
                  <a:cubicBezTo>
                    <a:pt x="2044748" y="59349"/>
                    <a:pt x="2042787" y="57438"/>
                    <a:pt x="2042787" y="55073"/>
                  </a:cubicBezTo>
                  <a:cubicBezTo>
                    <a:pt x="2042787" y="55073"/>
                    <a:pt x="2042787" y="55073"/>
                    <a:pt x="2042787" y="21256"/>
                  </a:cubicBezTo>
                  <a:cubicBezTo>
                    <a:pt x="2042787" y="18892"/>
                    <a:pt x="2044748" y="16981"/>
                    <a:pt x="2047176" y="16981"/>
                  </a:cubicBezTo>
                  <a:cubicBezTo>
                    <a:pt x="2047176" y="16981"/>
                    <a:pt x="2047176" y="16981"/>
                    <a:pt x="2047743" y="16981"/>
                  </a:cubicBezTo>
                  <a:lnTo>
                    <a:pt x="2048141" y="16981"/>
                  </a:lnTo>
                  <a:lnTo>
                    <a:pt x="2048467" y="13745"/>
                  </a:lnTo>
                  <a:cubicBezTo>
                    <a:pt x="2050072" y="5901"/>
                    <a:pt x="2057012" y="0"/>
                    <a:pt x="2065331" y="0"/>
                  </a:cubicBezTo>
                  <a:close/>
                  <a:moveTo>
                    <a:pt x="1942488" y="0"/>
                  </a:moveTo>
                  <a:cubicBezTo>
                    <a:pt x="1950807" y="0"/>
                    <a:pt x="1957747" y="5901"/>
                    <a:pt x="1959352" y="13745"/>
                  </a:cubicBezTo>
                  <a:lnTo>
                    <a:pt x="1959678" y="16981"/>
                  </a:lnTo>
                  <a:lnTo>
                    <a:pt x="1960643" y="16981"/>
                  </a:lnTo>
                  <a:cubicBezTo>
                    <a:pt x="1963071" y="16981"/>
                    <a:pt x="1965032" y="18892"/>
                    <a:pt x="1965032" y="21256"/>
                  </a:cubicBezTo>
                  <a:cubicBezTo>
                    <a:pt x="1965032" y="21256"/>
                    <a:pt x="1965032" y="21256"/>
                    <a:pt x="1965032" y="55073"/>
                  </a:cubicBezTo>
                  <a:cubicBezTo>
                    <a:pt x="1965032" y="57438"/>
                    <a:pt x="1963071" y="59349"/>
                    <a:pt x="1960643" y="59349"/>
                  </a:cubicBezTo>
                  <a:cubicBezTo>
                    <a:pt x="1960643" y="59349"/>
                    <a:pt x="1960643" y="59349"/>
                    <a:pt x="1924333" y="59349"/>
                  </a:cubicBezTo>
                  <a:cubicBezTo>
                    <a:pt x="1921905" y="59349"/>
                    <a:pt x="1919944" y="57438"/>
                    <a:pt x="1919944" y="55073"/>
                  </a:cubicBezTo>
                  <a:cubicBezTo>
                    <a:pt x="1919944" y="55073"/>
                    <a:pt x="1919944" y="55073"/>
                    <a:pt x="1919944" y="21256"/>
                  </a:cubicBezTo>
                  <a:cubicBezTo>
                    <a:pt x="1919944" y="18892"/>
                    <a:pt x="1921905" y="16981"/>
                    <a:pt x="1924333" y="16981"/>
                  </a:cubicBezTo>
                  <a:cubicBezTo>
                    <a:pt x="1924333" y="16981"/>
                    <a:pt x="1924333" y="16981"/>
                    <a:pt x="1924901" y="16981"/>
                  </a:cubicBezTo>
                  <a:lnTo>
                    <a:pt x="1925298" y="16981"/>
                  </a:lnTo>
                  <a:lnTo>
                    <a:pt x="1925624" y="13745"/>
                  </a:lnTo>
                  <a:cubicBezTo>
                    <a:pt x="1927229" y="5901"/>
                    <a:pt x="1934169" y="0"/>
                    <a:pt x="1942488" y="0"/>
                  </a:cubicBezTo>
                  <a:close/>
                  <a:moveTo>
                    <a:pt x="1655705" y="0"/>
                  </a:moveTo>
                  <a:cubicBezTo>
                    <a:pt x="1664023" y="0"/>
                    <a:pt x="1670963" y="5901"/>
                    <a:pt x="1672568" y="13745"/>
                  </a:cubicBezTo>
                  <a:lnTo>
                    <a:pt x="1672895" y="16981"/>
                  </a:lnTo>
                  <a:lnTo>
                    <a:pt x="1673859" y="16981"/>
                  </a:lnTo>
                  <a:cubicBezTo>
                    <a:pt x="1676287" y="16981"/>
                    <a:pt x="1678248" y="18892"/>
                    <a:pt x="1678248" y="21256"/>
                  </a:cubicBezTo>
                  <a:cubicBezTo>
                    <a:pt x="1678248" y="21256"/>
                    <a:pt x="1678248" y="21256"/>
                    <a:pt x="1678248" y="55073"/>
                  </a:cubicBezTo>
                  <a:cubicBezTo>
                    <a:pt x="1678248" y="57438"/>
                    <a:pt x="1676287" y="59349"/>
                    <a:pt x="1673859" y="59349"/>
                  </a:cubicBezTo>
                  <a:cubicBezTo>
                    <a:pt x="1673859" y="59349"/>
                    <a:pt x="1673859" y="59349"/>
                    <a:pt x="1637549" y="59349"/>
                  </a:cubicBezTo>
                  <a:cubicBezTo>
                    <a:pt x="1635122" y="59349"/>
                    <a:pt x="1633160" y="57438"/>
                    <a:pt x="1633160" y="55073"/>
                  </a:cubicBezTo>
                  <a:cubicBezTo>
                    <a:pt x="1633160" y="55073"/>
                    <a:pt x="1633160" y="55073"/>
                    <a:pt x="1633160" y="21256"/>
                  </a:cubicBezTo>
                  <a:cubicBezTo>
                    <a:pt x="1633160" y="18892"/>
                    <a:pt x="1635122" y="16981"/>
                    <a:pt x="1637549" y="16981"/>
                  </a:cubicBezTo>
                  <a:cubicBezTo>
                    <a:pt x="1637549" y="16981"/>
                    <a:pt x="1637549" y="16981"/>
                    <a:pt x="1638116" y="16981"/>
                  </a:cubicBezTo>
                  <a:lnTo>
                    <a:pt x="1638514" y="16981"/>
                  </a:lnTo>
                  <a:lnTo>
                    <a:pt x="1638840" y="13745"/>
                  </a:lnTo>
                  <a:cubicBezTo>
                    <a:pt x="1640445" y="5901"/>
                    <a:pt x="1647386" y="0"/>
                    <a:pt x="1655705" y="0"/>
                  </a:cubicBezTo>
                  <a:close/>
                  <a:moveTo>
                    <a:pt x="1481614" y="0"/>
                  </a:moveTo>
                  <a:cubicBezTo>
                    <a:pt x="1489932" y="0"/>
                    <a:pt x="1496873" y="5901"/>
                    <a:pt x="1498478" y="13745"/>
                  </a:cubicBezTo>
                  <a:lnTo>
                    <a:pt x="1498804" y="16981"/>
                  </a:lnTo>
                  <a:lnTo>
                    <a:pt x="1499769" y="16981"/>
                  </a:lnTo>
                  <a:cubicBezTo>
                    <a:pt x="1502196" y="16981"/>
                    <a:pt x="1504158" y="18892"/>
                    <a:pt x="1504158" y="21256"/>
                  </a:cubicBezTo>
                  <a:cubicBezTo>
                    <a:pt x="1504158" y="21256"/>
                    <a:pt x="1504158" y="21256"/>
                    <a:pt x="1504158" y="55073"/>
                  </a:cubicBezTo>
                  <a:cubicBezTo>
                    <a:pt x="1504158" y="57438"/>
                    <a:pt x="1502196" y="59349"/>
                    <a:pt x="1499769" y="59349"/>
                  </a:cubicBezTo>
                  <a:cubicBezTo>
                    <a:pt x="1499769" y="59349"/>
                    <a:pt x="1499769" y="59349"/>
                    <a:pt x="1463458" y="59349"/>
                  </a:cubicBezTo>
                  <a:cubicBezTo>
                    <a:pt x="1461031" y="59349"/>
                    <a:pt x="1459070" y="57438"/>
                    <a:pt x="1459070" y="55073"/>
                  </a:cubicBezTo>
                  <a:cubicBezTo>
                    <a:pt x="1459070" y="55073"/>
                    <a:pt x="1459070" y="55073"/>
                    <a:pt x="1459070" y="21256"/>
                  </a:cubicBezTo>
                  <a:cubicBezTo>
                    <a:pt x="1459070" y="18892"/>
                    <a:pt x="1461031" y="16981"/>
                    <a:pt x="1463458" y="16981"/>
                  </a:cubicBezTo>
                  <a:cubicBezTo>
                    <a:pt x="1463458" y="16981"/>
                    <a:pt x="1463458" y="16981"/>
                    <a:pt x="1464026" y="16981"/>
                  </a:cubicBezTo>
                  <a:lnTo>
                    <a:pt x="1464423" y="16981"/>
                  </a:lnTo>
                  <a:lnTo>
                    <a:pt x="1464749" y="13745"/>
                  </a:lnTo>
                  <a:cubicBezTo>
                    <a:pt x="1466354" y="5901"/>
                    <a:pt x="1473295" y="0"/>
                    <a:pt x="1481614" y="0"/>
                  </a:cubicBezTo>
                  <a:close/>
                  <a:moveTo>
                    <a:pt x="1420217" y="0"/>
                  </a:moveTo>
                  <a:cubicBezTo>
                    <a:pt x="1428535" y="0"/>
                    <a:pt x="1435476" y="5901"/>
                    <a:pt x="1437081" y="13745"/>
                  </a:cubicBezTo>
                  <a:lnTo>
                    <a:pt x="1437407" y="16981"/>
                  </a:lnTo>
                  <a:lnTo>
                    <a:pt x="1438372" y="16981"/>
                  </a:lnTo>
                  <a:cubicBezTo>
                    <a:pt x="1440799" y="16981"/>
                    <a:pt x="1442761" y="18892"/>
                    <a:pt x="1442761" y="21256"/>
                  </a:cubicBezTo>
                  <a:cubicBezTo>
                    <a:pt x="1442761" y="21256"/>
                    <a:pt x="1442761" y="21256"/>
                    <a:pt x="1442761" y="55073"/>
                  </a:cubicBezTo>
                  <a:cubicBezTo>
                    <a:pt x="1442761" y="57438"/>
                    <a:pt x="1440799" y="59349"/>
                    <a:pt x="1438372" y="59349"/>
                  </a:cubicBezTo>
                  <a:cubicBezTo>
                    <a:pt x="1438372" y="59349"/>
                    <a:pt x="1438372" y="59349"/>
                    <a:pt x="1402062" y="59349"/>
                  </a:cubicBezTo>
                  <a:cubicBezTo>
                    <a:pt x="1399634" y="59349"/>
                    <a:pt x="1397673" y="57438"/>
                    <a:pt x="1397673" y="55073"/>
                  </a:cubicBezTo>
                  <a:cubicBezTo>
                    <a:pt x="1397673" y="55073"/>
                    <a:pt x="1397673" y="55073"/>
                    <a:pt x="1397673" y="21256"/>
                  </a:cubicBezTo>
                  <a:cubicBezTo>
                    <a:pt x="1397673" y="18892"/>
                    <a:pt x="1399634" y="16981"/>
                    <a:pt x="1402062" y="16981"/>
                  </a:cubicBezTo>
                  <a:cubicBezTo>
                    <a:pt x="1402062" y="16981"/>
                    <a:pt x="1402062" y="16981"/>
                    <a:pt x="1402629" y="16981"/>
                  </a:cubicBezTo>
                  <a:lnTo>
                    <a:pt x="1403027" y="16981"/>
                  </a:lnTo>
                  <a:lnTo>
                    <a:pt x="1403353" y="13745"/>
                  </a:lnTo>
                  <a:cubicBezTo>
                    <a:pt x="1404958" y="5901"/>
                    <a:pt x="1411898" y="0"/>
                    <a:pt x="1420217" y="0"/>
                  </a:cubicBezTo>
                  <a:close/>
                  <a:moveTo>
                    <a:pt x="1246126" y="0"/>
                  </a:moveTo>
                  <a:cubicBezTo>
                    <a:pt x="1254444" y="0"/>
                    <a:pt x="1261385" y="5901"/>
                    <a:pt x="1262990" y="13745"/>
                  </a:cubicBezTo>
                  <a:lnTo>
                    <a:pt x="1263315" y="16981"/>
                  </a:lnTo>
                  <a:lnTo>
                    <a:pt x="1264280" y="16981"/>
                  </a:lnTo>
                  <a:cubicBezTo>
                    <a:pt x="1266709" y="16981"/>
                    <a:pt x="1268670" y="18892"/>
                    <a:pt x="1268670" y="21256"/>
                  </a:cubicBezTo>
                  <a:cubicBezTo>
                    <a:pt x="1268670" y="21256"/>
                    <a:pt x="1268670" y="21256"/>
                    <a:pt x="1268670" y="55073"/>
                  </a:cubicBezTo>
                  <a:cubicBezTo>
                    <a:pt x="1268670" y="57438"/>
                    <a:pt x="1266709" y="59349"/>
                    <a:pt x="1264280" y="59349"/>
                  </a:cubicBezTo>
                  <a:cubicBezTo>
                    <a:pt x="1264280" y="59349"/>
                    <a:pt x="1264280" y="59349"/>
                    <a:pt x="1227970" y="59349"/>
                  </a:cubicBezTo>
                  <a:cubicBezTo>
                    <a:pt x="1225544" y="59349"/>
                    <a:pt x="1223582" y="57438"/>
                    <a:pt x="1223582" y="55073"/>
                  </a:cubicBezTo>
                  <a:cubicBezTo>
                    <a:pt x="1223582" y="55073"/>
                    <a:pt x="1223582" y="55073"/>
                    <a:pt x="1223582" y="21256"/>
                  </a:cubicBezTo>
                  <a:cubicBezTo>
                    <a:pt x="1223582" y="18892"/>
                    <a:pt x="1225544" y="16981"/>
                    <a:pt x="1227970" y="16981"/>
                  </a:cubicBezTo>
                  <a:cubicBezTo>
                    <a:pt x="1227970" y="16981"/>
                    <a:pt x="1227970" y="16981"/>
                    <a:pt x="1228538" y="16981"/>
                  </a:cubicBezTo>
                  <a:lnTo>
                    <a:pt x="1228935" y="16981"/>
                  </a:lnTo>
                  <a:lnTo>
                    <a:pt x="1229261" y="13745"/>
                  </a:lnTo>
                  <a:cubicBezTo>
                    <a:pt x="1230867" y="5901"/>
                    <a:pt x="1237808" y="0"/>
                    <a:pt x="1246126" y="0"/>
                  </a:cubicBezTo>
                  <a:close/>
                  <a:moveTo>
                    <a:pt x="1184728" y="0"/>
                  </a:moveTo>
                  <a:cubicBezTo>
                    <a:pt x="1193047" y="0"/>
                    <a:pt x="1199987" y="5901"/>
                    <a:pt x="1201594" y="13745"/>
                  </a:cubicBezTo>
                  <a:lnTo>
                    <a:pt x="1201919" y="16981"/>
                  </a:lnTo>
                  <a:lnTo>
                    <a:pt x="1202884" y="16981"/>
                  </a:lnTo>
                  <a:cubicBezTo>
                    <a:pt x="1205311" y="16981"/>
                    <a:pt x="1207273" y="18892"/>
                    <a:pt x="1207273" y="21256"/>
                  </a:cubicBezTo>
                  <a:cubicBezTo>
                    <a:pt x="1207273" y="21256"/>
                    <a:pt x="1207273" y="21256"/>
                    <a:pt x="1207273" y="55073"/>
                  </a:cubicBezTo>
                  <a:cubicBezTo>
                    <a:pt x="1207273" y="57438"/>
                    <a:pt x="1205311" y="59349"/>
                    <a:pt x="1202884" y="59349"/>
                  </a:cubicBezTo>
                  <a:cubicBezTo>
                    <a:pt x="1202884" y="59349"/>
                    <a:pt x="1202884" y="59349"/>
                    <a:pt x="1166574" y="59349"/>
                  </a:cubicBezTo>
                  <a:cubicBezTo>
                    <a:pt x="1164146" y="59349"/>
                    <a:pt x="1162185" y="57438"/>
                    <a:pt x="1162185" y="55073"/>
                  </a:cubicBezTo>
                  <a:cubicBezTo>
                    <a:pt x="1162185" y="55073"/>
                    <a:pt x="1162185" y="55073"/>
                    <a:pt x="1162185" y="21256"/>
                  </a:cubicBezTo>
                  <a:cubicBezTo>
                    <a:pt x="1162185" y="18892"/>
                    <a:pt x="1164146" y="16981"/>
                    <a:pt x="1166574" y="16981"/>
                  </a:cubicBezTo>
                  <a:cubicBezTo>
                    <a:pt x="1166574" y="16981"/>
                    <a:pt x="1166574" y="16981"/>
                    <a:pt x="1167141" y="16981"/>
                  </a:cubicBezTo>
                  <a:lnTo>
                    <a:pt x="1167538" y="16981"/>
                  </a:lnTo>
                  <a:lnTo>
                    <a:pt x="1167865" y="13745"/>
                  </a:lnTo>
                  <a:cubicBezTo>
                    <a:pt x="1169470" y="5901"/>
                    <a:pt x="1176410" y="0"/>
                    <a:pt x="1184728" y="0"/>
                  </a:cubicBezTo>
                  <a:close/>
                  <a:moveTo>
                    <a:pt x="1010638" y="0"/>
                  </a:moveTo>
                  <a:cubicBezTo>
                    <a:pt x="1018956" y="0"/>
                    <a:pt x="1025897" y="5901"/>
                    <a:pt x="1027503" y="13745"/>
                  </a:cubicBezTo>
                  <a:lnTo>
                    <a:pt x="1027829" y="16981"/>
                  </a:lnTo>
                  <a:lnTo>
                    <a:pt x="1028793" y="16981"/>
                  </a:lnTo>
                  <a:cubicBezTo>
                    <a:pt x="1031220" y="16981"/>
                    <a:pt x="1033182" y="18892"/>
                    <a:pt x="1033182" y="21256"/>
                  </a:cubicBezTo>
                  <a:cubicBezTo>
                    <a:pt x="1033182" y="21256"/>
                    <a:pt x="1033182" y="21256"/>
                    <a:pt x="1033182" y="55073"/>
                  </a:cubicBezTo>
                  <a:cubicBezTo>
                    <a:pt x="1033182" y="57438"/>
                    <a:pt x="1031220" y="59349"/>
                    <a:pt x="1028793" y="59349"/>
                  </a:cubicBezTo>
                  <a:cubicBezTo>
                    <a:pt x="1028793" y="59349"/>
                    <a:pt x="1028793" y="59349"/>
                    <a:pt x="992484" y="59349"/>
                  </a:cubicBezTo>
                  <a:cubicBezTo>
                    <a:pt x="990056" y="59349"/>
                    <a:pt x="988094" y="57438"/>
                    <a:pt x="988094" y="55073"/>
                  </a:cubicBezTo>
                  <a:cubicBezTo>
                    <a:pt x="988094" y="55073"/>
                    <a:pt x="988094" y="55073"/>
                    <a:pt x="988094" y="21256"/>
                  </a:cubicBezTo>
                  <a:cubicBezTo>
                    <a:pt x="988094" y="18892"/>
                    <a:pt x="990056" y="16981"/>
                    <a:pt x="992484" y="16981"/>
                  </a:cubicBezTo>
                  <a:cubicBezTo>
                    <a:pt x="992484" y="16981"/>
                    <a:pt x="992484" y="16981"/>
                    <a:pt x="993051" y="16981"/>
                  </a:cubicBezTo>
                  <a:lnTo>
                    <a:pt x="993447" y="16981"/>
                  </a:lnTo>
                  <a:lnTo>
                    <a:pt x="993774" y="13745"/>
                  </a:lnTo>
                  <a:cubicBezTo>
                    <a:pt x="995379" y="5901"/>
                    <a:pt x="1002320" y="0"/>
                    <a:pt x="1010638" y="0"/>
                  </a:cubicBezTo>
                  <a:close/>
                  <a:moveTo>
                    <a:pt x="723853" y="0"/>
                  </a:moveTo>
                  <a:cubicBezTo>
                    <a:pt x="732172" y="0"/>
                    <a:pt x="739112" y="5901"/>
                    <a:pt x="740717" y="13745"/>
                  </a:cubicBezTo>
                  <a:lnTo>
                    <a:pt x="741044" y="16981"/>
                  </a:lnTo>
                  <a:lnTo>
                    <a:pt x="742008" y="16981"/>
                  </a:lnTo>
                  <a:cubicBezTo>
                    <a:pt x="744435" y="16981"/>
                    <a:pt x="746398" y="18892"/>
                    <a:pt x="746398" y="21256"/>
                  </a:cubicBezTo>
                  <a:cubicBezTo>
                    <a:pt x="746398" y="21256"/>
                    <a:pt x="746398" y="21256"/>
                    <a:pt x="746398" y="55073"/>
                  </a:cubicBezTo>
                  <a:cubicBezTo>
                    <a:pt x="746398" y="57438"/>
                    <a:pt x="744435" y="59349"/>
                    <a:pt x="742008" y="59349"/>
                  </a:cubicBezTo>
                  <a:cubicBezTo>
                    <a:pt x="742008" y="59349"/>
                    <a:pt x="742008" y="59349"/>
                    <a:pt x="705698" y="59349"/>
                  </a:cubicBezTo>
                  <a:cubicBezTo>
                    <a:pt x="703271" y="59349"/>
                    <a:pt x="701309" y="57438"/>
                    <a:pt x="701309" y="55073"/>
                  </a:cubicBezTo>
                  <a:cubicBezTo>
                    <a:pt x="701309" y="55073"/>
                    <a:pt x="701309" y="55073"/>
                    <a:pt x="701309" y="21256"/>
                  </a:cubicBezTo>
                  <a:cubicBezTo>
                    <a:pt x="701309" y="18892"/>
                    <a:pt x="703271" y="16981"/>
                    <a:pt x="705698" y="16981"/>
                  </a:cubicBezTo>
                  <a:cubicBezTo>
                    <a:pt x="705698" y="16981"/>
                    <a:pt x="705698" y="16981"/>
                    <a:pt x="706266" y="16981"/>
                  </a:cubicBezTo>
                  <a:lnTo>
                    <a:pt x="706663" y="16981"/>
                  </a:lnTo>
                  <a:lnTo>
                    <a:pt x="706989" y="13745"/>
                  </a:lnTo>
                  <a:cubicBezTo>
                    <a:pt x="708595" y="5901"/>
                    <a:pt x="715534" y="0"/>
                    <a:pt x="723853" y="0"/>
                  </a:cubicBezTo>
                  <a:close/>
                  <a:moveTo>
                    <a:pt x="662457" y="0"/>
                  </a:moveTo>
                  <a:cubicBezTo>
                    <a:pt x="670775" y="0"/>
                    <a:pt x="677715" y="5901"/>
                    <a:pt x="679320" y="13745"/>
                  </a:cubicBezTo>
                  <a:lnTo>
                    <a:pt x="679647" y="16981"/>
                  </a:lnTo>
                  <a:lnTo>
                    <a:pt x="680612" y="16981"/>
                  </a:lnTo>
                  <a:cubicBezTo>
                    <a:pt x="683040" y="16981"/>
                    <a:pt x="685001" y="18892"/>
                    <a:pt x="685001" y="21256"/>
                  </a:cubicBezTo>
                  <a:cubicBezTo>
                    <a:pt x="685001" y="21256"/>
                    <a:pt x="685001" y="21256"/>
                    <a:pt x="685001" y="55073"/>
                  </a:cubicBezTo>
                  <a:cubicBezTo>
                    <a:pt x="685001" y="57438"/>
                    <a:pt x="683040" y="59349"/>
                    <a:pt x="680612" y="59349"/>
                  </a:cubicBezTo>
                  <a:cubicBezTo>
                    <a:pt x="680612" y="59349"/>
                    <a:pt x="680612" y="59349"/>
                    <a:pt x="644302" y="59349"/>
                  </a:cubicBezTo>
                  <a:cubicBezTo>
                    <a:pt x="641874" y="59349"/>
                    <a:pt x="639913" y="57438"/>
                    <a:pt x="639913" y="55073"/>
                  </a:cubicBezTo>
                  <a:cubicBezTo>
                    <a:pt x="639913" y="55073"/>
                    <a:pt x="639913" y="55073"/>
                    <a:pt x="639913" y="21256"/>
                  </a:cubicBezTo>
                  <a:cubicBezTo>
                    <a:pt x="639913" y="18892"/>
                    <a:pt x="641874" y="16981"/>
                    <a:pt x="644302" y="16981"/>
                  </a:cubicBezTo>
                  <a:cubicBezTo>
                    <a:pt x="644302" y="16981"/>
                    <a:pt x="644302" y="16981"/>
                    <a:pt x="644869" y="16981"/>
                  </a:cubicBezTo>
                  <a:lnTo>
                    <a:pt x="645267" y="16981"/>
                  </a:lnTo>
                  <a:lnTo>
                    <a:pt x="645593" y="13745"/>
                  </a:lnTo>
                  <a:cubicBezTo>
                    <a:pt x="647198" y="5901"/>
                    <a:pt x="654138" y="0"/>
                    <a:pt x="662457" y="0"/>
                  </a:cubicBezTo>
                  <a:close/>
                  <a:moveTo>
                    <a:pt x="539613" y="0"/>
                  </a:moveTo>
                  <a:cubicBezTo>
                    <a:pt x="547932" y="0"/>
                    <a:pt x="554872" y="5901"/>
                    <a:pt x="556477" y="13745"/>
                  </a:cubicBezTo>
                  <a:lnTo>
                    <a:pt x="556804" y="16981"/>
                  </a:lnTo>
                  <a:lnTo>
                    <a:pt x="557769" y="16981"/>
                  </a:lnTo>
                  <a:cubicBezTo>
                    <a:pt x="560196" y="16981"/>
                    <a:pt x="562158" y="18892"/>
                    <a:pt x="562158" y="21256"/>
                  </a:cubicBezTo>
                  <a:cubicBezTo>
                    <a:pt x="562158" y="21256"/>
                    <a:pt x="562158" y="21256"/>
                    <a:pt x="562158" y="55074"/>
                  </a:cubicBezTo>
                  <a:cubicBezTo>
                    <a:pt x="562158" y="57438"/>
                    <a:pt x="560196" y="59349"/>
                    <a:pt x="557769" y="59349"/>
                  </a:cubicBezTo>
                  <a:cubicBezTo>
                    <a:pt x="557769" y="59349"/>
                    <a:pt x="557769" y="59349"/>
                    <a:pt x="521458" y="59349"/>
                  </a:cubicBezTo>
                  <a:cubicBezTo>
                    <a:pt x="519031" y="59349"/>
                    <a:pt x="517069" y="57438"/>
                    <a:pt x="517069" y="55074"/>
                  </a:cubicBezTo>
                  <a:cubicBezTo>
                    <a:pt x="517069" y="55074"/>
                    <a:pt x="517069" y="55074"/>
                    <a:pt x="517069" y="21256"/>
                  </a:cubicBezTo>
                  <a:cubicBezTo>
                    <a:pt x="517069" y="18892"/>
                    <a:pt x="519031" y="16981"/>
                    <a:pt x="521458" y="16981"/>
                  </a:cubicBezTo>
                  <a:cubicBezTo>
                    <a:pt x="521458" y="16981"/>
                    <a:pt x="521458" y="16981"/>
                    <a:pt x="522026" y="16981"/>
                  </a:cubicBezTo>
                  <a:lnTo>
                    <a:pt x="522423" y="16981"/>
                  </a:lnTo>
                  <a:lnTo>
                    <a:pt x="522749" y="13745"/>
                  </a:lnTo>
                  <a:cubicBezTo>
                    <a:pt x="524355" y="5901"/>
                    <a:pt x="531295" y="0"/>
                    <a:pt x="539613" y="0"/>
                  </a:cubicBezTo>
                  <a:close/>
                  <a:moveTo>
                    <a:pt x="252829" y="0"/>
                  </a:moveTo>
                  <a:cubicBezTo>
                    <a:pt x="261147" y="0"/>
                    <a:pt x="268088" y="5901"/>
                    <a:pt x="269692" y="13745"/>
                  </a:cubicBezTo>
                  <a:lnTo>
                    <a:pt x="270019" y="16981"/>
                  </a:lnTo>
                  <a:lnTo>
                    <a:pt x="270984" y="16981"/>
                  </a:lnTo>
                  <a:cubicBezTo>
                    <a:pt x="273411" y="16981"/>
                    <a:pt x="275373" y="18892"/>
                    <a:pt x="275373" y="21256"/>
                  </a:cubicBezTo>
                  <a:cubicBezTo>
                    <a:pt x="275373" y="21256"/>
                    <a:pt x="275373" y="21256"/>
                    <a:pt x="275373" y="55074"/>
                  </a:cubicBezTo>
                  <a:cubicBezTo>
                    <a:pt x="275373" y="57438"/>
                    <a:pt x="273411" y="59349"/>
                    <a:pt x="270984" y="59349"/>
                  </a:cubicBezTo>
                  <a:cubicBezTo>
                    <a:pt x="270984" y="59349"/>
                    <a:pt x="270984" y="59349"/>
                    <a:pt x="234673" y="59349"/>
                  </a:cubicBezTo>
                  <a:cubicBezTo>
                    <a:pt x="232246" y="59349"/>
                    <a:pt x="230284" y="57438"/>
                    <a:pt x="230284" y="55074"/>
                  </a:cubicBezTo>
                  <a:cubicBezTo>
                    <a:pt x="230284" y="55074"/>
                    <a:pt x="230284" y="55074"/>
                    <a:pt x="230284" y="21256"/>
                  </a:cubicBezTo>
                  <a:cubicBezTo>
                    <a:pt x="230284" y="18892"/>
                    <a:pt x="232246" y="16981"/>
                    <a:pt x="234673" y="16981"/>
                  </a:cubicBezTo>
                  <a:cubicBezTo>
                    <a:pt x="234673" y="16981"/>
                    <a:pt x="234673" y="16981"/>
                    <a:pt x="235241" y="16981"/>
                  </a:cubicBezTo>
                  <a:lnTo>
                    <a:pt x="235638" y="16981"/>
                  </a:lnTo>
                  <a:lnTo>
                    <a:pt x="235965" y="13745"/>
                  </a:lnTo>
                  <a:cubicBezTo>
                    <a:pt x="237570" y="5901"/>
                    <a:pt x="244510" y="0"/>
                    <a:pt x="252829" y="0"/>
                  </a:cubicBezTo>
                  <a:close/>
                </a:path>
              </a:pathLst>
            </a:custGeom>
            <a:solidFill>
              <a:srgbClr val="BFBFBF"/>
            </a:solidFill>
            <a:ln w="9525" cap="flat">
              <a:noFill/>
              <a:prstDash val="solid"/>
              <a:miter/>
            </a:ln>
          </p:spPr>
          <p:txBody>
            <a:bodyPr wrap="square">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279" name="Freeform: Shape 278">
              <a:extLst>
                <a:ext uri="{FF2B5EF4-FFF2-40B4-BE49-F238E27FC236}">
                  <a16:creationId xmlns:a16="http://schemas.microsoft.com/office/drawing/2014/main" id="{D2AE7B65-3C17-49E0-B636-9CE2C94744AD}"/>
                </a:ext>
              </a:extLst>
            </p:cNvPr>
            <p:cNvSpPr/>
            <p:nvPr/>
          </p:nvSpPr>
          <p:spPr>
            <a:xfrm>
              <a:off x="4871453" y="3161222"/>
              <a:ext cx="1629695" cy="203337"/>
            </a:xfrm>
            <a:custGeom>
              <a:avLst/>
              <a:gdLst>
                <a:gd name="connsiteX0" fmla="*/ 2632966 w 2663946"/>
                <a:gd name="connsiteY0" fmla="*/ 349534 h 410640"/>
                <a:gd name="connsiteX1" fmla="*/ 2621414 w 2663946"/>
                <a:gd name="connsiteY1" fmla="*/ 351967 h 410640"/>
                <a:gd name="connsiteX2" fmla="*/ 2618218 w 2663946"/>
                <a:gd name="connsiteY2" fmla="*/ 355482 h 410640"/>
                <a:gd name="connsiteX3" fmla="*/ 2616006 w 2663946"/>
                <a:gd name="connsiteY3" fmla="*/ 359267 h 410640"/>
                <a:gd name="connsiteX4" fmla="*/ 2615023 w 2663946"/>
                <a:gd name="connsiteY4" fmla="*/ 361971 h 410640"/>
                <a:gd name="connsiteX5" fmla="*/ 2614039 w 2663946"/>
                <a:gd name="connsiteY5" fmla="*/ 366027 h 410640"/>
                <a:gd name="connsiteX6" fmla="*/ 2613056 w 2663946"/>
                <a:gd name="connsiteY6" fmla="*/ 373057 h 410640"/>
                <a:gd name="connsiteX7" fmla="*/ 2614039 w 2663946"/>
                <a:gd name="connsiteY7" fmla="*/ 380357 h 410640"/>
                <a:gd name="connsiteX8" fmla="*/ 2615269 w 2663946"/>
                <a:gd name="connsiteY8" fmla="*/ 384142 h 410640"/>
                <a:gd name="connsiteX9" fmla="*/ 2617481 w 2663946"/>
                <a:gd name="connsiteY9" fmla="*/ 388468 h 410640"/>
                <a:gd name="connsiteX10" fmla="*/ 2620922 w 2663946"/>
                <a:gd name="connsiteY10" fmla="*/ 392795 h 410640"/>
                <a:gd name="connsiteX11" fmla="*/ 2625346 w 2663946"/>
                <a:gd name="connsiteY11" fmla="*/ 395498 h 410640"/>
                <a:gd name="connsiteX12" fmla="*/ 2637637 w 2663946"/>
                <a:gd name="connsiteY12" fmla="*/ 393065 h 410640"/>
                <a:gd name="connsiteX13" fmla="*/ 2640832 w 2663946"/>
                <a:gd name="connsiteY13" fmla="*/ 389550 h 410640"/>
                <a:gd name="connsiteX14" fmla="*/ 2643290 w 2663946"/>
                <a:gd name="connsiteY14" fmla="*/ 385224 h 410640"/>
                <a:gd name="connsiteX15" fmla="*/ 2644273 w 2663946"/>
                <a:gd name="connsiteY15" fmla="*/ 383061 h 410640"/>
                <a:gd name="connsiteX16" fmla="*/ 2645502 w 2663946"/>
                <a:gd name="connsiteY16" fmla="*/ 378735 h 410640"/>
                <a:gd name="connsiteX17" fmla="*/ 2645011 w 2663946"/>
                <a:gd name="connsiteY17" fmla="*/ 364945 h 410640"/>
                <a:gd name="connsiteX18" fmla="*/ 2644027 w 2663946"/>
                <a:gd name="connsiteY18" fmla="*/ 361971 h 410640"/>
                <a:gd name="connsiteX19" fmla="*/ 2642799 w 2663946"/>
                <a:gd name="connsiteY19" fmla="*/ 358997 h 410640"/>
                <a:gd name="connsiteX20" fmla="*/ 2640586 w 2663946"/>
                <a:gd name="connsiteY20" fmla="*/ 355482 h 410640"/>
                <a:gd name="connsiteX21" fmla="*/ 2636899 w 2663946"/>
                <a:gd name="connsiteY21" fmla="*/ 351697 h 410640"/>
                <a:gd name="connsiteX22" fmla="*/ 2632966 w 2663946"/>
                <a:gd name="connsiteY22" fmla="*/ 349534 h 410640"/>
                <a:gd name="connsiteX23" fmla="*/ 2627559 w 2663946"/>
                <a:gd name="connsiteY23" fmla="*/ 333581 h 410640"/>
                <a:gd name="connsiteX24" fmla="*/ 2639849 w 2663946"/>
                <a:gd name="connsiteY24" fmla="*/ 335744 h 410640"/>
                <a:gd name="connsiteX25" fmla="*/ 2647223 w 2663946"/>
                <a:gd name="connsiteY25" fmla="*/ 340341 h 410640"/>
                <a:gd name="connsiteX26" fmla="*/ 2650664 w 2663946"/>
                <a:gd name="connsiteY26" fmla="*/ 343585 h 410640"/>
                <a:gd name="connsiteX27" fmla="*/ 2654106 w 2663946"/>
                <a:gd name="connsiteY27" fmla="*/ 347911 h 410640"/>
                <a:gd name="connsiteX28" fmla="*/ 2656072 w 2663946"/>
                <a:gd name="connsiteY28" fmla="*/ 351426 h 410640"/>
                <a:gd name="connsiteX29" fmla="*/ 2658284 w 2663946"/>
                <a:gd name="connsiteY29" fmla="*/ 356834 h 410640"/>
                <a:gd name="connsiteX30" fmla="*/ 2659267 w 2663946"/>
                <a:gd name="connsiteY30" fmla="*/ 360349 h 410640"/>
                <a:gd name="connsiteX31" fmla="*/ 2660251 w 2663946"/>
                <a:gd name="connsiteY31" fmla="*/ 365486 h 410640"/>
                <a:gd name="connsiteX32" fmla="*/ 2660005 w 2663946"/>
                <a:gd name="connsiteY32" fmla="*/ 379816 h 410640"/>
                <a:gd name="connsiteX33" fmla="*/ 2659022 w 2663946"/>
                <a:gd name="connsiteY33" fmla="*/ 384683 h 410640"/>
                <a:gd name="connsiteX34" fmla="*/ 2657792 w 2663946"/>
                <a:gd name="connsiteY34" fmla="*/ 388468 h 410640"/>
                <a:gd name="connsiteX35" fmla="*/ 2656809 w 2663946"/>
                <a:gd name="connsiteY35" fmla="*/ 390902 h 410640"/>
                <a:gd name="connsiteX36" fmla="*/ 2654597 w 2663946"/>
                <a:gd name="connsiteY36" fmla="*/ 395228 h 410640"/>
                <a:gd name="connsiteX37" fmla="*/ 2652385 w 2663946"/>
                <a:gd name="connsiteY37" fmla="*/ 398472 h 410640"/>
                <a:gd name="connsiteX38" fmla="*/ 2648944 w 2663946"/>
                <a:gd name="connsiteY38" fmla="*/ 402258 h 410640"/>
                <a:gd name="connsiteX39" fmla="*/ 2645748 w 2663946"/>
                <a:gd name="connsiteY39" fmla="*/ 404961 h 410640"/>
                <a:gd name="connsiteX40" fmla="*/ 2640095 w 2663946"/>
                <a:gd name="connsiteY40" fmla="*/ 408206 h 410640"/>
                <a:gd name="connsiteX41" fmla="*/ 2632229 w 2663946"/>
                <a:gd name="connsiteY41" fmla="*/ 410369 h 410640"/>
                <a:gd name="connsiteX42" fmla="*/ 2631000 w 2663946"/>
                <a:gd name="connsiteY42" fmla="*/ 410640 h 410640"/>
                <a:gd name="connsiteX43" fmla="*/ 2626821 w 2663946"/>
                <a:gd name="connsiteY43" fmla="*/ 410640 h 410640"/>
                <a:gd name="connsiteX44" fmla="*/ 2626576 w 2663946"/>
                <a:gd name="connsiteY44" fmla="*/ 410640 h 410640"/>
                <a:gd name="connsiteX45" fmla="*/ 2613548 w 2663946"/>
                <a:gd name="connsiteY45" fmla="*/ 405773 h 410640"/>
                <a:gd name="connsiteX46" fmla="*/ 2608878 w 2663946"/>
                <a:gd name="connsiteY46" fmla="*/ 401717 h 410640"/>
                <a:gd name="connsiteX47" fmla="*/ 2605682 w 2663946"/>
                <a:gd name="connsiteY47" fmla="*/ 397932 h 410640"/>
                <a:gd name="connsiteX48" fmla="*/ 2603470 w 2663946"/>
                <a:gd name="connsiteY48" fmla="*/ 394417 h 410640"/>
                <a:gd name="connsiteX49" fmla="*/ 2601258 w 2663946"/>
                <a:gd name="connsiteY49" fmla="*/ 390091 h 410640"/>
                <a:gd name="connsiteX50" fmla="*/ 2600029 w 2663946"/>
                <a:gd name="connsiteY50" fmla="*/ 387116 h 410640"/>
                <a:gd name="connsiteX51" fmla="*/ 2599046 w 2663946"/>
                <a:gd name="connsiteY51" fmla="*/ 383872 h 410640"/>
                <a:gd name="connsiteX52" fmla="*/ 2597816 w 2663946"/>
                <a:gd name="connsiteY52" fmla="*/ 378194 h 410640"/>
                <a:gd name="connsiteX53" fmla="*/ 2597571 w 2663946"/>
                <a:gd name="connsiteY53" fmla="*/ 375220 h 410640"/>
                <a:gd name="connsiteX54" fmla="*/ 2597816 w 2663946"/>
                <a:gd name="connsiteY54" fmla="*/ 375490 h 410640"/>
                <a:gd name="connsiteX55" fmla="*/ 2597816 w 2663946"/>
                <a:gd name="connsiteY55" fmla="*/ 369812 h 410640"/>
                <a:gd name="connsiteX56" fmla="*/ 2597816 w 2663946"/>
                <a:gd name="connsiteY56" fmla="*/ 369542 h 410640"/>
                <a:gd name="connsiteX57" fmla="*/ 2598308 w 2663946"/>
                <a:gd name="connsiteY57" fmla="*/ 364945 h 410640"/>
                <a:gd name="connsiteX58" fmla="*/ 2599537 w 2663946"/>
                <a:gd name="connsiteY58" fmla="*/ 359538 h 410640"/>
                <a:gd name="connsiteX59" fmla="*/ 2600520 w 2663946"/>
                <a:gd name="connsiteY59" fmla="*/ 356293 h 410640"/>
                <a:gd name="connsiteX60" fmla="*/ 2602732 w 2663946"/>
                <a:gd name="connsiteY60" fmla="*/ 351156 h 410640"/>
                <a:gd name="connsiteX61" fmla="*/ 2604945 w 2663946"/>
                <a:gd name="connsiteY61" fmla="*/ 347371 h 410640"/>
                <a:gd name="connsiteX62" fmla="*/ 2607157 w 2663946"/>
                <a:gd name="connsiteY62" fmla="*/ 344396 h 410640"/>
                <a:gd name="connsiteX63" fmla="*/ 2609369 w 2663946"/>
                <a:gd name="connsiteY63" fmla="*/ 341963 h 410640"/>
                <a:gd name="connsiteX64" fmla="*/ 2614039 w 2663946"/>
                <a:gd name="connsiteY64" fmla="*/ 338178 h 410640"/>
                <a:gd name="connsiteX65" fmla="*/ 2617972 w 2663946"/>
                <a:gd name="connsiteY65" fmla="*/ 336015 h 410640"/>
                <a:gd name="connsiteX66" fmla="*/ 2627559 w 2663946"/>
                <a:gd name="connsiteY66" fmla="*/ 333581 h 410640"/>
                <a:gd name="connsiteX67" fmla="*/ 2631061 w 2663946"/>
                <a:gd name="connsiteY67" fmla="*/ 269671 h 410640"/>
                <a:gd name="connsiteX68" fmla="*/ 2621591 w 2663946"/>
                <a:gd name="connsiteY68" fmla="*/ 278945 h 410640"/>
                <a:gd name="connsiteX69" fmla="*/ 2626545 w 2663946"/>
                <a:gd name="connsiteY69" fmla="*/ 287102 h 410640"/>
                <a:gd name="connsiteX70" fmla="*/ 2626545 w 2663946"/>
                <a:gd name="connsiteY70" fmla="*/ 295497 h 410640"/>
                <a:gd name="connsiteX71" fmla="*/ 2631061 w 2663946"/>
                <a:gd name="connsiteY71" fmla="*/ 299920 h 410640"/>
                <a:gd name="connsiteX72" fmla="*/ 2635578 w 2663946"/>
                <a:gd name="connsiteY72" fmla="*/ 295497 h 410640"/>
                <a:gd name="connsiteX73" fmla="*/ 2635578 w 2663946"/>
                <a:gd name="connsiteY73" fmla="*/ 287102 h 410640"/>
                <a:gd name="connsiteX74" fmla="*/ 2640532 w 2663946"/>
                <a:gd name="connsiteY74" fmla="*/ 278945 h 410640"/>
                <a:gd name="connsiteX75" fmla="*/ 2631061 w 2663946"/>
                <a:gd name="connsiteY75" fmla="*/ 269671 h 410640"/>
                <a:gd name="connsiteX76" fmla="*/ 2630799 w 2663946"/>
                <a:gd name="connsiteY76" fmla="*/ 230954 h 410640"/>
                <a:gd name="connsiteX77" fmla="*/ 2619139 w 2663946"/>
                <a:gd name="connsiteY77" fmla="*/ 238683 h 410640"/>
                <a:gd name="connsiteX78" fmla="*/ 2618214 w 2663946"/>
                <a:gd name="connsiteY78" fmla="*/ 243266 h 410640"/>
                <a:gd name="connsiteX79" fmla="*/ 2621454 w 2663946"/>
                <a:gd name="connsiteY79" fmla="*/ 243266 h 410640"/>
                <a:gd name="connsiteX80" fmla="*/ 2639871 w 2663946"/>
                <a:gd name="connsiteY80" fmla="*/ 243266 h 410640"/>
                <a:gd name="connsiteX81" fmla="*/ 2643385 w 2663946"/>
                <a:gd name="connsiteY81" fmla="*/ 243266 h 410640"/>
                <a:gd name="connsiteX82" fmla="*/ 2642460 w 2663946"/>
                <a:gd name="connsiteY82" fmla="*/ 238683 h 410640"/>
                <a:gd name="connsiteX83" fmla="*/ 2630799 w 2663946"/>
                <a:gd name="connsiteY83" fmla="*/ 230954 h 410640"/>
                <a:gd name="connsiteX84" fmla="*/ 2630799 w 2663946"/>
                <a:gd name="connsiteY84" fmla="*/ 218299 h 410640"/>
                <a:gd name="connsiteX85" fmla="*/ 2655595 w 2663946"/>
                <a:gd name="connsiteY85" fmla="*/ 238508 h 410640"/>
                <a:gd name="connsiteX86" fmla="*/ 2656074 w 2663946"/>
                <a:gd name="connsiteY86" fmla="*/ 243266 h 410640"/>
                <a:gd name="connsiteX87" fmla="*/ 2657493 w 2663946"/>
                <a:gd name="connsiteY87" fmla="*/ 243266 h 410640"/>
                <a:gd name="connsiteX88" fmla="*/ 2663946 w 2663946"/>
                <a:gd name="connsiteY88" fmla="*/ 249552 h 410640"/>
                <a:gd name="connsiteX89" fmla="*/ 2663946 w 2663946"/>
                <a:gd name="connsiteY89" fmla="*/ 299274 h 410640"/>
                <a:gd name="connsiteX90" fmla="*/ 2657493 w 2663946"/>
                <a:gd name="connsiteY90" fmla="*/ 305560 h 410640"/>
                <a:gd name="connsiteX91" fmla="*/ 2604106 w 2663946"/>
                <a:gd name="connsiteY91" fmla="*/ 305560 h 410640"/>
                <a:gd name="connsiteX92" fmla="*/ 2597652 w 2663946"/>
                <a:gd name="connsiteY92" fmla="*/ 299274 h 410640"/>
                <a:gd name="connsiteX93" fmla="*/ 2597652 w 2663946"/>
                <a:gd name="connsiteY93" fmla="*/ 249552 h 410640"/>
                <a:gd name="connsiteX94" fmla="*/ 2604106 w 2663946"/>
                <a:gd name="connsiteY94" fmla="*/ 243266 h 410640"/>
                <a:gd name="connsiteX95" fmla="*/ 2604940 w 2663946"/>
                <a:gd name="connsiteY95" fmla="*/ 243266 h 410640"/>
                <a:gd name="connsiteX96" fmla="*/ 2605524 w 2663946"/>
                <a:gd name="connsiteY96" fmla="*/ 243266 h 410640"/>
                <a:gd name="connsiteX97" fmla="*/ 2606004 w 2663946"/>
                <a:gd name="connsiteY97" fmla="*/ 238508 h 410640"/>
                <a:gd name="connsiteX98" fmla="*/ 2630799 w 2663946"/>
                <a:gd name="connsiteY98" fmla="*/ 218299 h 410640"/>
                <a:gd name="connsiteX99" fmla="*/ 33409 w 2663946"/>
                <a:gd name="connsiteY99" fmla="*/ 165445 h 410640"/>
                <a:gd name="connsiteX100" fmla="*/ 23938 w 2663946"/>
                <a:gd name="connsiteY100" fmla="*/ 174719 h 410640"/>
                <a:gd name="connsiteX101" fmla="*/ 28892 w 2663946"/>
                <a:gd name="connsiteY101" fmla="*/ 182876 h 410640"/>
                <a:gd name="connsiteX102" fmla="*/ 28892 w 2663946"/>
                <a:gd name="connsiteY102" fmla="*/ 191271 h 410640"/>
                <a:gd name="connsiteX103" fmla="*/ 33409 w 2663946"/>
                <a:gd name="connsiteY103" fmla="*/ 195694 h 410640"/>
                <a:gd name="connsiteX104" fmla="*/ 37926 w 2663946"/>
                <a:gd name="connsiteY104" fmla="*/ 191271 h 410640"/>
                <a:gd name="connsiteX105" fmla="*/ 37926 w 2663946"/>
                <a:gd name="connsiteY105" fmla="*/ 182876 h 410640"/>
                <a:gd name="connsiteX106" fmla="*/ 42880 w 2663946"/>
                <a:gd name="connsiteY106" fmla="*/ 174719 h 410640"/>
                <a:gd name="connsiteX107" fmla="*/ 33409 w 2663946"/>
                <a:gd name="connsiteY107" fmla="*/ 165445 h 410640"/>
                <a:gd name="connsiteX108" fmla="*/ 2538193 w 2663946"/>
                <a:gd name="connsiteY108" fmla="*/ 157857 h 410640"/>
                <a:gd name="connsiteX109" fmla="*/ 2528723 w 2663946"/>
                <a:gd name="connsiteY109" fmla="*/ 167131 h 410640"/>
                <a:gd name="connsiteX110" fmla="*/ 2533677 w 2663946"/>
                <a:gd name="connsiteY110" fmla="*/ 175288 h 410640"/>
                <a:gd name="connsiteX111" fmla="*/ 2533677 w 2663946"/>
                <a:gd name="connsiteY111" fmla="*/ 183683 h 410640"/>
                <a:gd name="connsiteX112" fmla="*/ 2538193 w 2663946"/>
                <a:gd name="connsiteY112" fmla="*/ 188106 h 410640"/>
                <a:gd name="connsiteX113" fmla="*/ 2542710 w 2663946"/>
                <a:gd name="connsiteY113" fmla="*/ 183683 h 410640"/>
                <a:gd name="connsiteX114" fmla="*/ 2542710 w 2663946"/>
                <a:gd name="connsiteY114" fmla="*/ 175288 h 410640"/>
                <a:gd name="connsiteX115" fmla="*/ 2547664 w 2663946"/>
                <a:gd name="connsiteY115" fmla="*/ 167131 h 410640"/>
                <a:gd name="connsiteX116" fmla="*/ 2538193 w 2663946"/>
                <a:gd name="connsiteY116" fmla="*/ 157857 h 410640"/>
                <a:gd name="connsiteX117" fmla="*/ 2113196 w 2663946"/>
                <a:gd name="connsiteY117" fmla="*/ 157857 h 410640"/>
                <a:gd name="connsiteX118" fmla="*/ 2103726 w 2663946"/>
                <a:gd name="connsiteY118" fmla="*/ 167131 h 410640"/>
                <a:gd name="connsiteX119" fmla="*/ 2108680 w 2663946"/>
                <a:gd name="connsiteY119" fmla="*/ 175288 h 410640"/>
                <a:gd name="connsiteX120" fmla="*/ 2108680 w 2663946"/>
                <a:gd name="connsiteY120" fmla="*/ 183683 h 410640"/>
                <a:gd name="connsiteX121" fmla="*/ 2113196 w 2663946"/>
                <a:gd name="connsiteY121" fmla="*/ 188106 h 410640"/>
                <a:gd name="connsiteX122" fmla="*/ 2117713 w 2663946"/>
                <a:gd name="connsiteY122" fmla="*/ 183683 h 410640"/>
                <a:gd name="connsiteX123" fmla="*/ 2117713 w 2663946"/>
                <a:gd name="connsiteY123" fmla="*/ 175288 h 410640"/>
                <a:gd name="connsiteX124" fmla="*/ 2122667 w 2663946"/>
                <a:gd name="connsiteY124" fmla="*/ 167131 h 410640"/>
                <a:gd name="connsiteX125" fmla="*/ 2113196 w 2663946"/>
                <a:gd name="connsiteY125" fmla="*/ 157857 h 410640"/>
                <a:gd name="connsiteX126" fmla="*/ 1855228 w 2663946"/>
                <a:gd name="connsiteY126" fmla="*/ 157857 h 410640"/>
                <a:gd name="connsiteX127" fmla="*/ 1845758 w 2663946"/>
                <a:gd name="connsiteY127" fmla="*/ 167131 h 410640"/>
                <a:gd name="connsiteX128" fmla="*/ 1850712 w 2663946"/>
                <a:gd name="connsiteY128" fmla="*/ 175288 h 410640"/>
                <a:gd name="connsiteX129" fmla="*/ 1850712 w 2663946"/>
                <a:gd name="connsiteY129" fmla="*/ 183683 h 410640"/>
                <a:gd name="connsiteX130" fmla="*/ 1855228 w 2663946"/>
                <a:gd name="connsiteY130" fmla="*/ 188106 h 410640"/>
                <a:gd name="connsiteX131" fmla="*/ 1859745 w 2663946"/>
                <a:gd name="connsiteY131" fmla="*/ 183683 h 410640"/>
                <a:gd name="connsiteX132" fmla="*/ 1859745 w 2663946"/>
                <a:gd name="connsiteY132" fmla="*/ 175288 h 410640"/>
                <a:gd name="connsiteX133" fmla="*/ 1864699 w 2663946"/>
                <a:gd name="connsiteY133" fmla="*/ 167131 h 410640"/>
                <a:gd name="connsiteX134" fmla="*/ 1855228 w 2663946"/>
                <a:gd name="connsiteY134" fmla="*/ 157857 h 410640"/>
                <a:gd name="connsiteX135" fmla="*/ 1764289 w 2663946"/>
                <a:gd name="connsiteY135" fmla="*/ 157857 h 410640"/>
                <a:gd name="connsiteX136" fmla="*/ 1754819 w 2663946"/>
                <a:gd name="connsiteY136" fmla="*/ 167131 h 410640"/>
                <a:gd name="connsiteX137" fmla="*/ 1759773 w 2663946"/>
                <a:gd name="connsiteY137" fmla="*/ 175288 h 410640"/>
                <a:gd name="connsiteX138" fmla="*/ 1759773 w 2663946"/>
                <a:gd name="connsiteY138" fmla="*/ 183683 h 410640"/>
                <a:gd name="connsiteX139" fmla="*/ 1764289 w 2663946"/>
                <a:gd name="connsiteY139" fmla="*/ 188106 h 410640"/>
                <a:gd name="connsiteX140" fmla="*/ 1768806 w 2663946"/>
                <a:gd name="connsiteY140" fmla="*/ 183683 h 410640"/>
                <a:gd name="connsiteX141" fmla="*/ 1768806 w 2663946"/>
                <a:gd name="connsiteY141" fmla="*/ 175288 h 410640"/>
                <a:gd name="connsiteX142" fmla="*/ 1773760 w 2663946"/>
                <a:gd name="connsiteY142" fmla="*/ 167131 h 410640"/>
                <a:gd name="connsiteX143" fmla="*/ 1764289 w 2663946"/>
                <a:gd name="connsiteY143" fmla="*/ 157857 h 410640"/>
                <a:gd name="connsiteX144" fmla="*/ 1506321 w 2663946"/>
                <a:gd name="connsiteY144" fmla="*/ 157857 h 410640"/>
                <a:gd name="connsiteX145" fmla="*/ 1496851 w 2663946"/>
                <a:gd name="connsiteY145" fmla="*/ 167131 h 410640"/>
                <a:gd name="connsiteX146" fmla="*/ 1501805 w 2663946"/>
                <a:gd name="connsiteY146" fmla="*/ 175288 h 410640"/>
                <a:gd name="connsiteX147" fmla="*/ 1501805 w 2663946"/>
                <a:gd name="connsiteY147" fmla="*/ 183683 h 410640"/>
                <a:gd name="connsiteX148" fmla="*/ 1506321 w 2663946"/>
                <a:gd name="connsiteY148" fmla="*/ 188106 h 410640"/>
                <a:gd name="connsiteX149" fmla="*/ 1510838 w 2663946"/>
                <a:gd name="connsiteY149" fmla="*/ 183683 h 410640"/>
                <a:gd name="connsiteX150" fmla="*/ 1510838 w 2663946"/>
                <a:gd name="connsiteY150" fmla="*/ 175288 h 410640"/>
                <a:gd name="connsiteX151" fmla="*/ 1515792 w 2663946"/>
                <a:gd name="connsiteY151" fmla="*/ 167131 h 410640"/>
                <a:gd name="connsiteX152" fmla="*/ 1506321 w 2663946"/>
                <a:gd name="connsiteY152" fmla="*/ 157857 h 410640"/>
                <a:gd name="connsiteX153" fmla="*/ 1415382 w 2663946"/>
                <a:gd name="connsiteY153" fmla="*/ 157857 h 410640"/>
                <a:gd name="connsiteX154" fmla="*/ 1405912 w 2663946"/>
                <a:gd name="connsiteY154" fmla="*/ 167131 h 410640"/>
                <a:gd name="connsiteX155" fmla="*/ 1410866 w 2663946"/>
                <a:gd name="connsiteY155" fmla="*/ 175288 h 410640"/>
                <a:gd name="connsiteX156" fmla="*/ 1410866 w 2663946"/>
                <a:gd name="connsiteY156" fmla="*/ 183683 h 410640"/>
                <a:gd name="connsiteX157" fmla="*/ 1415382 w 2663946"/>
                <a:gd name="connsiteY157" fmla="*/ 188106 h 410640"/>
                <a:gd name="connsiteX158" fmla="*/ 1419899 w 2663946"/>
                <a:gd name="connsiteY158" fmla="*/ 183683 h 410640"/>
                <a:gd name="connsiteX159" fmla="*/ 1419899 w 2663946"/>
                <a:gd name="connsiteY159" fmla="*/ 175288 h 410640"/>
                <a:gd name="connsiteX160" fmla="*/ 1424853 w 2663946"/>
                <a:gd name="connsiteY160" fmla="*/ 167131 h 410640"/>
                <a:gd name="connsiteX161" fmla="*/ 1415382 w 2663946"/>
                <a:gd name="connsiteY161" fmla="*/ 157857 h 410640"/>
                <a:gd name="connsiteX162" fmla="*/ 1157414 w 2663946"/>
                <a:gd name="connsiteY162" fmla="*/ 157857 h 410640"/>
                <a:gd name="connsiteX163" fmla="*/ 1147944 w 2663946"/>
                <a:gd name="connsiteY163" fmla="*/ 167131 h 410640"/>
                <a:gd name="connsiteX164" fmla="*/ 1152898 w 2663946"/>
                <a:gd name="connsiteY164" fmla="*/ 175288 h 410640"/>
                <a:gd name="connsiteX165" fmla="*/ 1152898 w 2663946"/>
                <a:gd name="connsiteY165" fmla="*/ 183683 h 410640"/>
                <a:gd name="connsiteX166" fmla="*/ 1157414 w 2663946"/>
                <a:gd name="connsiteY166" fmla="*/ 188106 h 410640"/>
                <a:gd name="connsiteX167" fmla="*/ 1161931 w 2663946"/>
                <a:gd name="connsiteY167" fmla="*/ 183683 h 410640"/>
                <a:gd name="connsiteX168" fmla="*/ 1161931 w 2663946"/>
                <a:gd name="connsiteY168" fmla="*/ 175288 h 410640"/>
                <a:gd name="connsiteX169" fmla="*/ 1166885 w 2663946"/>
                <a:gd name="connsiteY169" fmla="*/ 167131 h 410640"/>
                <a:gd name="connsiteX170" fmla="*/ 1157414 w 2663946"/>
                <a:gd name="connsiteY170" fmla="*/ 157857 h 410640"/>
                <a:gd name="connsiteX171" fmla="*/ 732418 w 2663946"/>
                <a:gd name="connsiteY171" fmla="*/ 157857 h 410640"/>
                <a:gd name="connsiteX172" fmla="*/ 722947 w 2663946"/>
                <a:gd name="connsiteY172" fmla="*/ 167131 h 410640"/>
                <a:gd name="connsiteX173" fmla="*/ 727901 w 2663946"/>
                <a:gd name="connsiteY173" fmla="*/ 175288 h 410640"/>
                <a:gd name="connsiteX174" fmla="*/ 727901 w 2663946"/>
                <a:gd name="connsiteY174" fmla="*/ 183683 h 410640"/>
                <a:gd name="connsiteX175" fmla="*/ 732418 w 2663946"/>
                <a:gd name="connsiteY175" fmla="*/ 188106 h 410640"/>
                <a:gd name="connsiteX176" fmla="*/ 736935 w 2663946"/>
                <a:gd name="connsiteY176" fmla="*/ 183683 h 410640"/>
                <a:gd name="connsiteX177" fmla="*/ 736935 w 2663946"/>
                <a:gd name="connsiteY177" fmla="*/ 175288 h 410640"/>
                <a:gd name="connsiteX178" fmla="*/ 741889 w 2663946"/>
                <a:gd name="connsiteY178" fmla="*/ 167131 h 410640"/>
                <a:gd name="connsiteX179" fmla="*/ 732418 w 2663946"/>
                <a:gd name="connsiteY179" fmla="*/ 157857 h 410640"/>
                <a:gd name="connsiteX180" fmla="*/ 641479 w 2663946"/>
                <a:gd name="connsiteY180" fmla="*/ 157857 h 410640"/>
                <a:gd name="connsiteX181" fmla="*/ 632008 w 2663946"/>
                <a:gd name="connsiteY181" fmla="*/ 167131 h 410640"/>
                <a:gd name="connsiteX182" fmla="*/ 636962 w 2663946"/>
                <a:gd name="connsiteY182" fmla="*/ 175288 h 410640"/>
                <a:gd name="connsiteX183" fmla="*/ 636962 w 2663946"/>
                <a:gd name="connsiteY183" fmla="*/ 183683 h 410640"/>
                <a:gd name="connsiteX184" fmla="*/ 641479 w 2663946"/>
                <a:gd name="connsiteY184" fmla="*/ 188106 h 410640"/>
                <a:gd name="connsiteX185" fmla="*/ 645996 w 2663946"/>
                <a:gd name="connsiteY185" fmla="*/ 183683 h 410640"/>
                <a:gd name="connsiteX186" fmla="*/ 645996 w 2663946"/>
                <a:gd name="connsiteY186" fmla="*/ 175288 h 410640"/>
                <a:gd name="connsiteX187" fmla="*/ 650950 w 2663946"/>
                <a:gd name="connsiteY187" fmla="*/ 167131 h 410640"/>
                <a:gd name="connsiteX188" fmla="*/ 641479 w 2663946"/>
                <a:gd name="connsiteY188" fmla="*/ 157857 h 410640"/>
                <a:gd name="connsiteX189" fmla="*/ 459528 w 2663946"/>
                <a:gd name="connsiteY189" fmla="*/ 157857 h 410640"/>
                <a:gd name="connsiteX190" fmla="*/ 450057 w 2663946"/>
                <a:gd name="connsiteY190" fmla="*/ 167131 h 410640"/>
                <a:gd name="connsiteX191" fmla="*/ 455011 w 2663946"/>
                <a:gd name="connsiteY191" fmla="*/ 175288 h 410640"/>
                <a:gd name="connsiteX192" fmla="*/ 455011 w 2663946"/>
                <a:gd name="connsiteY192" fmla="*/ 183683 h 410640"/>
                <a:gd name="connsiteX193" fmla="*/ 459528 w 2663946"/>
                <a:gd name="connsiteY193" fmla="*/ 188106 h 410640"/>
                <a:gd name="connsiteX194" fmla="*/ 464045 w 2663946"/>
                <a:gd name="connsiteY194" fmla="*/ 183683 h 410640"/>
                <a:gd name="connsiteX195" fmla="*/ 464045 w 2663946"/>
                <a:gd name="connsiteY195" fmla="*/ 175288 h 410640"/>
                <a:gd name="connsiteX196" fmla="*/ 468999 w 2663946"/>
                <a:gd name="connsiteY196" fmla="*/ 167131 h 410640"/>
                <a:gd name="connsiteX197" fmla="*/ 459528 w 2663946"/>
                <a:gd name="connsiteY197" fmla="*/ 157857 h 410640"/>
                <a:gd name="connsiteX198" fmla="*/ 2632966 w 2663946"/>
                <a:gd name="connsiteY198" fmla="*/ 130664 h 410640"/>
                <a:gd name="connsiteX199" fmla="*/ 2621414 w 2663946"/>
                <a:gd name="connsiteY199" fmla="*/ 133097 h 410640"/>
                <a:gd name="connsiteX200" fmla="*/ 2618218 w 2663946"/>
                <a:gd name="connsiteY200" fmla="*/ 136612 h 410640"/>
                <a:gd name="connsiteX201" fmla="*/ 2616006 w 2663946"/>
                <a:gd name="connsiteY201" fmla="*/ 140397 h 410640"/>
                <a:gd name="connsiteX202" fmla="*/ 2615023 w 2663946"/>
                <a:gd name="connsiteY202" fmla="*/ 143101 h 410640"/>
                <a:gd name="connsiteX203" fmla="*/ 2614039 w 2663946"/>
                <a:gd name="connsiteY203" fmla="*/ 147157 h 410640"/>
                <a:gd name="connsiteX204" fmla="*/ 2613056 w 2663946"/>
                <a:gd name="connsiteY204" fmla="*/ 154187 h 410640"/>
                <a:gd name="connsiteX205" fmla="*/ 2614039 w 2663946"/>
                <a:gd name="connsiteY205" fmla="*/ 161487 h 410640"/>
                <a:gd name="connsiteX206" fmla="*/ 2615269 w 2663946"/>
                <a:gd name="connsiteY206" fmla="*/ 165272 h 410640"/>
                <a:gd name="connsiteX207" fmla="*/ 2617481 w 2663946"/>
                <a:gd name="connsiteY207" fmla="*/ 169598 h 410640"/>
                <a:gd name="connsiteX208" fmla="*/ 2620922 w 2663946"/>
                <a:gd name="connsiteY208" fmla="*/ 173925 h 410640"/>
                <a:gd name="connsiteX209" fmla="*/ 2625346 w 2663946"/>
                <a:gd name="connsiteY209" fmla="*/ 176628 h 410640"/>
                <a:gd name="connsiteX210" fmla="*/ 2637637 w 2663946"/>
                <a:gd name="connsiteY210" fmla="*/ 174195 h 410640"/>
                <a:gd name="connsiteX211" fmla="*/ 2640832 w 2663946"/>
                <a:gd name="connsiteY211" fmla="*/ 170680 h 410640"/>
                <a:gd name="connsiteX212" fmla="*/ 2643290 w 2663946"/>
                <a:gd name="connsiteY212" fmla="*/ 166354 h 410640"/>
                <a:gd name="connsiteX213" fmla="*/ 2644273 w 2663946"/>
                <a:gd name="connsiteY213" fmla="*/ 164191 h 410640"/>
                <a:gd name="connsiteX214" fmla="*/ 2645502 w 2663946"/>
                <a:gd name="connsiteY214" fmla="*/ 159865 h 410640"/>
                <a:gd name="connsiteX215" fmla="*/ 2645011 w 2663946"/>
                <a:gd name="connsiteY215" fmla="*/ 146075 h 410640"/>
                <a:gd name="connsiteX216" fmla="*/ 2644027 w 2663946"/>
                <a:gd name="connsiteY216" fmla="*/ 143101 h 410640"/>
                <a:gd name="connsiteX217" fmla="*/ 2642799 w 2663946"/>
                <a:gd name="connsiteY217" fmla="*/ 140127 h 410640"/>
                <a:gd name="connsiteX218" fmla="*/ 2640586 w 2663946"/>
                <a:gd name="connsiteY218" fmla="*/ 136612 h 410640"/>
                <a:gd name="connsiteX219" fmla="*/ 2636899 w 2663946"/>
                <a:gd name="connsiteY219" fmla="*/ 132827 h 410640"/>
                <a:gd name="connsiteX220" fmla="*/ 2632966 w 2663946"/>
                <a:gd name="connsiteY220" fmla="*/ 130664 h 410640"/>
                <a:gd name="connsiteX221" fmla="*/ 2451011 w 2663946"/>
                <a:gd name="connsiteY221" fmla="*/ 130664 h 410640"/>
                <a:gd name="connsiteX222" fmla="*/ 2439459 w 2663946"/>
                <a:gd name="connsiteY222" fmla="*/ 133097 h 410640"/>
                <a:gd name="connsiteX223" fmla="*/ 2436263 w 2663946"/>
                <a:gd name="connsiteY223" fmla="*/ 136612 h 410640"/>
                <a:gd name="connsiteX224" fmla="*/ 2434051 w 2663946"/>
                <a:gd name="connsiteY224" fmla="*/ 140397 h 410640"/>
                <a:gd name="connsiteX225" fmla="*/ 2433068 w 2663946"/>
                <a:gd name="connsiteY225" fmla="*/ 143101 h 410640"/>
                <a:gd name="connsiteX226" fmla="*/ 2432084 w 2663946"/>
                <a:gd name="connsiteY226" fmla="*/ 147157 h 410640"/>
                <a:gd name="connsiteX227" fmla="*/ 2431101 w 2663946"/>
                <a:gd name="connsiteY227" fmla="*/ 154187 h 410640"/>
                <a:gd name="connsiteX228" fmla="*/ 2432084 w 2663946"/>
                <a:gd name="connsiteY228" fmla="*/ 161487 h 410640"/>
                <a:gd name="connsiteX229" fmla="*/ 2433314 w 2663946"/>
                <a:gd name="connsiteY229" fmla="*/ 165272 h 410640"/>
                <a:gd name="connsiteX230" fmla="*/ 2435526 w 2663946"/>
                <a:gd name="connsiteY230" fmla="*/ 169598 h 410640"/>
                <a:gd name="connsiteX231" fmla="*/ 2438967 w 2663946"/>
                <a:gd name="connsiteY231" fmla="*/ 173925 h 410640"/>
                <a:gd name="connsiteX232" fmla="*/ 2443391 w 2663946"/>
                <a:gd name="connsiteY232" fmla="*/ 176628 h 410640"/>
                <a:gd name="connsiteX233" fmla="*/ 2455682 w 2663946"/>
                <a:gd name="connsiteY233" fmla="*/ 174195 h 410640"/>
                <a:gd name="connsiteX234" fmla="*/ 2458877 w 2663946"/>
                <a:gd name="connsiteY234" fmla="*/ 170680 h 410640"/>
                <a:gd name="connsiteX235" fmla="*/ 2461335 w 2663946"/>
                <a:gd name="connsiteY235" fmla="*/ 166354 h 410640"/>
                <a:gd name="connsiteX236" fmla="*/ 2462318 w 2663946"/>
                <a:gd name="connsiteY236" fmla="*/ 164191 h 410640"/>
                <a:gd name="connsiteX237" fmla="*/ 2463547 w 2663946"/>
                <a:gd name="connsiteY237" fmla="*/ 159865 h 410640"/>
                <a:gd name="connsiteX238" fmla="*/ 2463056 w 2663946"/>
                <a:gd name="connsiteY238" fmla="*/ 146075 h 410640"/>
                <a:gd name="connsiteX239" fmla="*/ 2462072 w 2663946"/>
                <a:gd name="connsiteY239" fmla="*/ 143101 h 410640"/>
                <a:gd name="connsiteX240" fmla="*/ 2460844 w 2663946"/>
                <a:gd name="connsiteY240" fmla="*/ 140127 h 410640"/>
                <a:gd name="connsiteX241" fmla="*/ 2458631 w 2663946"/>
                <a:gd name="connsiteY241" fmla="*/ 136612 h 410640"/>
                <a:gd name="connsiteX242" fmla="*/ 2454944 w 2663946"/>
                <a:gd name="connsiteY242" fmla="*/ 132827 h 410640"/>
                <a:gd name="connsiteX243" fmla="*/ 2451011 w 2663946"/>
                <a:gd name="connsiteY243" fmla="*/ 130664 h 410640"/>
                <a:gd name="connsiteX244" fmla="*/ 2207965 w 2663946"/>
                <a:gd name="connsiteY244" fmla="*/ 130664 h 410640"/>
                <a:gd name="connsiteX245" fmla="*/ 2196413 w 2663946"/>
                <a:gd name="connsiteY245" fmla="*/ 133097 h 410640"/>
                <a:gd name="connsiteX246" fmla="*/ 2193217 w 2663946"/>
                <a:gd name="connsiteY246" fmla="*/ 136612 h 410640"/>
                <a:gd name="connsiteX247" fmla="*/ 2191005 w 2663946"/>
                <a:gd name="connsiteY247" fmla="*/ 140397 h 410640"/>
                <a:gd name="connsiteX248" fmla="*/ 2190022 w 2663946"/>
                <a:gd name="connsiteY248" fmla="*/ 143101 h 410640"/>
                <a:gd name="connsiteX249" fmla="*/ 2189038 w 2663946"/>
                <a:gd name="connsiteY249" fmla="*/ 147157 h 410640"/>
                <a:gd name="connsiteX250" fmla="*/ 2188055 w 2663946"/>
                <a:gd name="connsiteY250" fmla="*/ 154187 h 410640"/>
                <a:gd name="connsiteX251" fmla="*/ 2189038 w 2663946"/>
                <a:gd name="connsiteY251" fmla="*/ 161487 h 410640"/>
                <a:gd name="connsiteX252" fmla="*/ 2190268 w 2663946"/>
                <a:gd name="connsiteY252" fmla="*/ 165272 h 410640"/>
                <a:gd name="connsiteX253" fmla="*/ 2192480 w 2663946"/>
                <a:gd name="connsiteY253" fmla="*/ 169598 h 410640"/>
                <a:gd name="connsiteX254" fmla="*/ 2195921 w 2663946"/>
                <a:gd name="connsiteY254" fmla="*/ 173925 h 410640"/>
                <a:gd name="connsiteX255" fmla="*/ 2200345 w 2663946"/>
                <a:gd name="connsiteY255" fmla="*/ 176628 h 410640"/>
                <a:gd name="connsiteX256" fmla="*/ 2212636 w 2663946"/>
                <a:gd name="connsiteY256" fmla="*/ 174195 h 410640"/>
                <a:gd name="connsiteX257" fmla="*/ 2215831 w 2663946"/>
                <a:gd name="connsiteY257" fmla="*/ 170680 h 410640"/>
                <a:gd name="connsiteX258" fmla="*/ 2218289 w 2663946"/>
                <a:gd name="connsiteY258" fmla="*/ 166354 h 410640"/>
                <a:gd name="connsiteX259" fmla="*/ 2219272 w 2663946"/>
                <a:gd name="connsiteY259" fmla="*/ 164191 h 410640"/>
                <a:gd name="connsiteX260" fmla="*/ 2220501 w 2663946"/>
                <a:gd name="connsiteY260" fmla="*/ 159865 h 410640"/>
                <a:gd name="connsiteX261" fmla="*/ 2220010 w 2663946"/>
                <a:gd name="connsiteY261" fmla="*/ 146075 h 410640"/>
                <a:gd name="connsiteX262" fmla="*/ 2219026 w 2663946"/>
                <a:gd name="connsiteY262" fmla="*/ 143101 h 410640"/>
                <a:gd name="connsiteX263" fmla="*/ 2217798 w 2663946"/>
                <a:gd name="connsiteY263" fmla="*/ 140127 h 410640"/>
                <a:gd name="connsiteX264" fmla="*/ 2215585 w 2663946"/>
                <a:gd name="connsiteY264" fmla="*/ 136612 h 410640"/>
                <a:gd name="connsiteX265" fmla="*/ 2211898 w 2663946"/>
                <a:gd name="connsiteY265" fmla="*/ 132827 h 410640"/>
                <a:gd name="connsiteX266" fmla="*/ 2207965 w 2663946"/>
                <a:gd name="connsiteY266" fmla="*/ 130664 h 410640"/>
                <a:gd name="connsiteX267" fmla="*/ 2026014 w 2663946"/>
                <a:gd name="connsiteY267" fmla="*/ 130664 h 410640"/>
                <a:gd name="connsiteX268" fmla="*/ 2014462 w 2663946"/>
                <a:gd name="connsiteY268" fmla="*/ 133097 h 410640"/>
                <a:gd name="connsiteX269" fmla="*/ 2011266 w 2663946"/>
                <a:gd name="connsiteY269" fmla="*/ 136612 h 410640"/>
                <a:gd name="connsiteX270" fmla="*/ 2009054 w 2663946"/>
                <a:gd name="connsiteY270" fmla="*/ 140397 h 410640"/>
                <a:gd name="connsiteX271" fmla="*/ 2008071 w 2663946"/>
                <a:gd name="connsiteY271" fmla="*/ 143101 h 410640"/>
                <a:gd name="connsiteX272" fmla="*/ 2007087 w 2663946"/>
                <a:gd name="connsiteY272" fmla="*/ 147157 h 410640"/>
                <a:gd name="connsiteX273" fmla="*/ 2006104 w 2663946"/>
                <a:gd name="connsiteY273" fmla="*/ 154187 h 410640"/>
                <a:gd name="connsiteX274" fmla="*/ 2007087 w 2663946"/>
                <a:gd name="connsiteY274" fmla="*/ 161487 h 410640"/>
                <a:gd name="connsiteX275" fmla="*/ 2008317 w 2663946"/>
                <a:gd name="connsiteY275" fmla="*/ 165272 h 410640"/>
                <a:gd name="connsiteX276" fmla="*/ 2010529 w 2663946"/>
                <a:gd name="connsiteY276" fmla="*/ 169598 h 410640"/>
                <a:gd name="connsiteX277" fmla="*/ 2013970 w 2663946"/>
                <a:gd name="connsiteY277" fmla="*/ 173925 h 410640"/>
                <a:gd name="connsiteX278" fmla="*/ 2018394 w 2663946"/>
                <a:gd name="connsiteY278" fmla="*/ 176628 h 410640"/>
                <a:gd name="connsiteX279" fmla="*/ 2030685 w 2663946"/>
                <a:gd name="connsiteY279" fmla="*/ 174195 h 410640"/>
                <a:gd name="connsiteX280" fmla="*/ 2033880 w 2663946"/>
                <a:gd name="connsiteY280" fmla="*/ 170680 h 410640"/>
                <a:gd name="connsiteX281" fmla="*/ 2036338 w 2663946"/>
                <a:gd name="connsiteY281" fmla="*/ 166354 h 410640"/>
                <a:gd name="connsiteX282" fmla="*/ 2037321 w 2663946"/>
                <a:gd name="connsiteY282" fmla="*/ 164191 h 410640"/>
                <a:gd name="connsiteX283" fmla="*/ 2038550 w 2663946"/>
                <a:gd name="connsiteY283" fmla="*/ 159865 h 410640"/>
                <a:gd name="connsiteX284" fmla="*/ 2038059 w 2663946"/>
                <a:gd name="connsiteY284" fmla="*/ 146075 h 410640"/>
                <a:gd name="connsiteX285" fmla="*/ 2037075 w 2663946"/>
                <a:gd name="connsiteY285" fmla="*/ 143101 h 410640"/>
                <a:gd name="connsiteX286" fmla="*/ 2035847 w 2663946"/>
                <a:gd name="connsiteY286" fmla="*/ 140127 h 410640"/>
                <a:gd name="connsiteX287" fmla="*/ 2033634 w 2663946"/>
                <a:gd name="connsiteY287" fmla="*/ 136612 h 410640"/>
                <a:gd name="connsiteX288" fmla="*/ 2029947 w 2663946"/>
                <a:gd name="connsiteY288" fmla="*/ 132827 h 410640"/>
                <a:gd name="connsiteX289" fmla="*/ 2026014 w 2663946"/>
                <a:gd name="connsiteY289" fmla="*/ 130664 h 410640"/>
                <a:gd name="connsiteX290" fmla="*/ 1601090 w 2663946"/>
                <a:gd name="connsiteY290" fmla="*/ 130664 h 410640"/>
                <a:gd name="connsiteX291" fmla="*/ 1589537 w 2663946"/>
                <a:gd name="connsiteY291" fmla="*/ 133097 h 410640"/>
                <a:gd name="connsiteX292" fmla="*/ 1586342 w 2663946"/>
                <a:gd name="connsiteY292" fmla="*/ 136612 h 410640"/>
                <a:gd name="connsiteX293" fmla="*/ 1584130 w 2663946"/>
                <a:gd name="connsiteY293" fmla="*/ 140397 h 410640"/>
                <a:gd name="connsiteX294" fmla="*/ 1583147 w 2663946"/>
                <a:gd name="connsiteY294" fmla="*/ 143101 h 410640"/>
                <a:gd name="connsiteX295" fmla="*/ 1582163 w 2663946"/>
                <a:gd name="connsiteY295" fmla="*/ 147157 h 410640"/>
                <a:gd name="connsiteX296" fmla="*/ 1581180 w 2663946"/>
                <a:gd name="connsiteY296" fmla="*/ 154187 h 410640"/>
                <a:gd name="connsiteX297" fmla="*/ 1582163 w 2663946"/>
                <a:gd name="connsiteY297" fmla="*/ 161487 h 410640"/>
                <a:gd name="connsiteX298" fmla="*/ 1583393 w 2663946"/>
                <a:gd name="connsiteY298" fmla="*/ 165272 h 410640"/>
                <a:gd name="connsiteX299" fmla="*/ 1585605 w 2663946"/>
                <a:gd name="connsiteY299" fmla="*/ 169598 h 410640"/>
                <a:gd name="connsiteX300" fmla="*/ 1589046 w 2663946"/>
                <a:gd name="connsiteY300" fmla="*/ 173925 h 410640"/>
                <a:gd name="connsiteX301" fmla="*/ 1593470 w 2663946"/>
                <a:gd name="connsiteY301" fmla="*/ 176628 h 410640"/>
                <a:gd name="connsiteX302" fmla="*/ 1605761 w 2663946"/>
                <a:gd name="connsiteY302" fmla="*/ 174195 h 410640"/>
                <a:gd name="connsiteX303" fmla="*/ 1608956 w 2663946"/>
                <a:gd name="connsiteY303" fmla="*/ 170680 h 410640"/>
                <a:gd name="connsiteX304" fmla="*/ 1611414 w 2663946"/>
                <a:gd name="connsiteY304" fmla="*/ 166354 h 410640"/>
                <a:gd name="connsiteX305" fmla="*/ 1612397 w 2663946"/>
                <a:gd name="connsiteY305" fmla="*/ 164191 h 410640"/>
                <a:gd name="connsiteX306" fmla="*/ 1613626 w 2663946"/>
                <a:gd name="connsiteY306" fmla="*/ 159865 h 410640"/>
                <a:gd name="connsiteX307" fmla="*/ 1613135 w 2663946"/>
                <a:gd name="connsiteY307" fmla="*/ 146075 h 410640"/>
                <a:gd name="connsiteX308" fmla="*/ 1612151 w 2663946"/>
                <a:gd name="connsiteY308" fmla="*/ 143101 h 410640"/>
                <a:gd name="connsiteX309" fmla="*/ 1610923 w 2663946"/>
                <a:gd name="connsiteY309" fmla="*/ 140127 h 410640"/>
                <a:gd name="connsiteX310" fmla="*/ 1608710 w 2663946"/>
                <a:gd name="connsiteY310" fmla="*/ 136612 h 410640"/>
                <a:gd name="connsiteX311" fmla="*/ 1605023 w 2663946"/>
                <a:gd name="connsiteY311" fmla="*/ 132827 h 410640"/>
                <a:gd name="connsiteX312" fmla="*/ 1601090 w 2663946"/>
                <a:gd name="connsiteY312" fmla="*/ 130664 h 410640"/>
                <a:gd name="connsiteX313" fmla="*/ 1252183 w 2663946"/>
                <a:gd name="connsiteY313" fmla="*/ 130664 h 410640"/>
                <a:gd name="connsiteX314" fmla="*/ 1240630 w 2663946"/>
                <a:gd name="connsiteY314" fmla="*/ 133097 h 410640"/>
                <a:gd name="connsiteX315" fmla="*/ 1237435 w 2663946"/>
                <a:gd name="connsiteY315" fmla="*/ 136612 h 410640"/>
                <a:gd name="connsiteX316" fmla="*/ 1235223 w 2663946"/>
                <a:gd name="connsiteY316" fmla="*/ 140397 h 410640"/>
                <a:gd name="connsiteX317" fmla="*/ 1234240 w 2663946"/>
                <a:gd name="connsiteY317" fmla="*/ 143101 h 410640"/>
                <a:gd name="connsiteX318" fmla="*/ 1233256 w 2663946"/>
                <a:gd name="connsiteY318" fmla="*/ 147157 h 410640"/>
                <a:gd name="connsiteX319" fmla="*/ 1232273 w 2663946"/>
                <a:gd name="connsiteY319" fmla="*/ 154187 h 410640"/>
                <a:gd name="connsiteX320" fmla="*/ 1233256 w 2663946"/>
                <a:gd name="connsiteY320" fmla="*/ 161487 h 410640"/>
                <a:gd name="connsiteX321" fmla="*/ 1234486 w 2663946"/>
                <a:gd name="connsiteY321" fmla="*/ 165272 h 410640"/>
                <a:gd name="connsiteX322" fmla="*/ 1236698 w 2663946"/>
                <a:gd name="connsiteY322" fmla="*/ 169598 h 410640"/>
                <a:gd name="connsiteX323" fmla="*/ 1240139 w 2663946"/>
                <a:gd name="connsiteY323" fmla="*/ 173925 h 410640"/>
                <a:gd name="connsiteX324" fmla="*/ 1244563 w 2663946"/>
                <a:gd name="connsiteY324" fmla="*/ 176628 h 410640"/>
                <a:gd name="connsiteX325" fmla="*/ 1256854 w 2663946"/>
                <a:gd name="connsiteY325" fmla="*/ 174195 h 410640"/>
                <a:gd name="connsiteX326" fmla="*/ 1260049 w 2663946"/>
                <a:gd name="connsiteY326" fmla="*/ 170680 h 410640"/>
                <a:gd name="connsiteX327" fmla="*/ 1262507 w 2663946"/>
                <a:gd name="connsiteY327" fmla="*/ 166354 h 410640"/>
                <a:gd name="connsiteX328" fmla="*/ 1263490 w 2663946"/>
                <a:gd name="connsiteY328" fmla="*/ 164191 h 410640"/>
                <a:gd name="connsiteX329" fmla="*/ 1264719 w 2663946"/>
                <a:gd name="connsiteY329" fmla="*/ 159865 h 410640"/>
                <a:gd name="connsiteX330" fmla="*/ 1264228 w 2663946"/>
                <a:gd name="connsiteY330" fmla="*/ 146075 h 410640"/>
                <a:gd name="connsiteX331" fmla="*/ 1263244 w 2663946"/>
                <a:gd name="connsiteY331" fmla="*/ 143101 h 410640"/>
                <a:gd name="connsiteX332" fmla="*/ 1262016 w 2663946"/>
                <a:gd name="connsiteY332" fmla="*/ 140127 h 410640"/>
                <a:gd name="connsiteX333" fmla="*/ 1259803 w 2663946"/>
                <a:gd name="connsiteY333" fmla="*/ 136612 h 410640"/>
                <a:gd name="connsiteX334" fmla="*/ 1256116 w 2663946"/>
                <a:gd name="connsiteY334" fmla="*/ 132827 h 410640"/>
                <a:gd name="connsiteX335" fmla="*/ 1252183 w 2663946"/>
                <a:gd name="connsiteY335" fmla="*/ 130664 h 410640"/>
                <a:gd name="connsiteX336" fmla="*/ 1070232 w 2663946"/>
                <a:gd name="connsiteY336" fmla="*/ 130664 h 410640"/>
                <a:gd name="connsiteX337" fmla="*/ 1058679 w 2663946"/>
                <a:gd name="connsiteY337" fmla="*/ 133097 h 410640"/>
                <a:gd name="connsiteX338" fmla="*/ 1055484 w 2663946"/>
                <a:gd name="connsiteY338" fmla="*/ 136612 h 410640"/>
                <a:gd name="connsiteX339" fmla="*/ 1053272 w 2663946"/>
                <a:gd name="connsiteY339" fmla="*/ 140397 h 410640"/>
                <a:gd name="connsiteX340" fmla="*/ 1052289 w 2663946"/>
                <a:gd name="connsiteY340" fmla="*/ 143101 h 410640"/>
                <a:gd name="connsiteX341" fmla="*/ 1051305 w 2663946"/>
                <a:gd name="connsiteY341" fmla="*/ 147157 h 410640"/>
                <a:gd name="connsiteX342" fmla="*/ 1050322 w 2663946"/>
                <a:gd name="connsiteY342" fmla="*/ 154187 h 410640"/>
                <a:gd name="connsiteX343" fmla="*/ 1051305 w 2663946"/>
                <a:gd name="connsiteY343" fmla="*/ 161487 h 410640"/>
                <a:gd name="connsiteX344" fmla="*/ 1052535 w 2663946"/>
                <a:gd name="connsiteY344" fmla="*/ 165272 h 410640"/>
                <a:gd name="connsiteX345" fmla="*/ 1054747 w 2663946"/>
                <a:gd name="connsiteY345" fmla="*/ 169598 h 410640"/>
                <a:gd name="connsiteX346" fmla="*/ 1058188 w 2663946"/>
                <a:gd name="connsiteY346" fmla="*/ 173925 h 410640"/>
                <a:gd name="connsiteX347" fmla="*/ 1062612 w 2663946"/>
                <a:gd name="connsiteY347" fmla="*/ 176628 h 410640"/>
                <a:gd name="connsiteX348" fmla="*/ 1074903 w 2663946"/>
                <a:gd name="connsiteY348" fmla="*/ 174195 h 410640"/>
                <a:gd name="connsiteX349" fmla="*/ 1078098 w 2663946"/>
                <a:gd name="connsiteY349" fmla="*/ 170680 h 410640"/>
                <a:gd name="connsiteX350" fmla="*/ 1080556 w 2663946"/>
                <a:gd name="connsiteY350" fmla="*/ 166354 h 410640"/>
                <a:gd name="connsiteX351" fmla="*/ 1081539 w 2663946"/>
                <a:gd name="connsiteY351" fmla="*/ 164191 h 410640"/>
                <a:gd name="connsiteX352" fmla="*/ 1082768 w 2663946"/>
                <a:gd name="connsiteY352" fmla="*/ 159865 h 410640"/>
                <a:gd name="connsiteX353" fmla="*/ 1082277 w 2663946"/>
                <a:gd name="connsiteY353" fmla="*/ 146075 h 410640"/>
                <a:gd name="connsiteX354" fmla="*/ 1081293 w 2663946"/>
                <a:gd name="connsiteY354" fmla="*/ 143101 h 410640"/>
                <a:gd name="connsiteX355" fmla="*/ 1080065 w 2663946"/>
                <a:gd name="connsiteY355" fmla="*/ 140127 h 410640"/>
                <a:gd name="connsiteX356" fmla="*/ 1077852 w 2663946"/>
                <a:gd name="connsiteY356" fmla="*/ 136612 h 410640"/>
                <a:gd name="connsiteX357" fmla="*/ 1074165 w 2663946"/>
                <a:gd name="connsiteY357" fmla="*/ 132827 h 410640"/>
                <a:gd name="connsiteX358" fmla="*/ 1070232 w 2663946"/>
                <a:gd name="connsiteY358" fmla="*/ 130664 h 410640"/>
                <a:gd name="connsiteX359" fmla="*/ 903203 w 2663946"/>
                <a:gd name="connsiteY359" fmla="*/ 130664 h 410640"/>
                <a:gd name="connsiteX360" fmla="*/ 891650 w 2663946"/>
                <a:gd name="connsiteY360" fmla="*/ 133097 h 410640"/>
                <a:gd name="connsiteX361" fmla="*/ 888455 w 2663946"/>
                <a:gd name="connsiteY361" fmla="*/ 136612 h 410640"/>
                <a:gd name="connsiteX362" fmla="*/ 886243 w 2663946"/>
                <a:gd name="connsiteY362" fmla="*/ 140397 h 410640"/>
                <a:gd name="connsiteX363" fmla="*/ 885260 w 2663946"/>
                <a:gd name="connsiteY363" fmla="*/ 143101 h 410640"/>
                <a:gd name="connsiteX364" fmla="*/ 884276 w 2663946"/>
                <a:gd name="connsiteY364" fmla="*/ 147157 h 410640"/>
                <a:gd name="connsiteX365" fmla="*/ 883293 w 2663946"/>
                <a:gd name="connsiteY365" fmla="*/ 154187 h 410640"/>
                <a:gd name="connsiteX366" fmla="*/ 884276 w 2663946"/>
                <a:gd name="connsiteY366" fmla="*/ 161487 h 410640"/>
                <a:gd name="connsiteX367" fmla="*/ 885506 w 2663946"/>
                <a:gd name="connsiteY367" fmla="*/ 165272 h 410640"/>
                <a:gd name="connsiteX368" fmla="*/ 887718 w 2663946"/>
                <a:gd name="connsiteY368" fmla="*/ 169598 h 410640"/>
                <a:gd name="connsiteX369" fmla="*/ 891159 w 2663946"/>
                <a:gd name="connsiteY369" fmla="*/ 173925 h 410640"/>
                <a:gd name="connsiteX370" fmla="*/ 895583 w 2663946"/>
                <a:gd name="connsiteY370" fmla="*/ 176628 h 410640"/>
                <a:gd name="connsiteX371" fmla="*/ 907874 w 2663946"/>
                <a:gd name="connsiteY371" fmla="*/ 174195 h 410640"/>
                <a:gd name="connsiteX372" fmla="*/ 911069 w 2663946"/>
                <a:gd name="connsiteY372" fmla="*/ 170680 h 410640"/>
                <a:gd name="connsiteX373" fmla="*/ 913527 w 2663946"/>
                <a:gd name="connsiteY373" fmla="*/ 166354 h 410640"/>
                <a:gd name="connsiteX374" fmla="*/ 914510 w 2663946"/>
                <a:gd name="connsiteY374" fmla="*/ 164191 h 410640"/>
                <a:gd name="connsiteX375" fmla="*/ 915739 w 2663946"/>
                <a:gd name="connsiteY375" fmla="*/ 159865 h 410640"/>
                <a:gd name="connsiteX376" fmla="*/ 915248 w 2663946"/>
                <a:gd name="connsiteY376" fmla="*/ 146075 h 410640"/>
                <a:gd name="connsiteX377" fmla="*/ 914264 w 2663946"/>
                <a:gd name="connsiteY377" fmla="*/ 143101 h 410640"/>
                <a:gd name="connsiteX378" fmla="*/ 913036 w 2663946"/>
                <a:gd name="connsiteY378" fmla="*/ 140127 h 410640"/>
                <a:gd name="connsiteX379" fmla="*/ 910823 w 2663946"/>
                <a:gd name="connsiteY379" fmla="*/ 136612 h 410640"/>
                <a:gd name="connsiteX380" fmla="*/ 907136 w 2663946"/>
                <a:gd name="connsiteY380" fmla="*/ 132827 h 410640"/>
                <a:gd name="connsiteX381" fmla="*/ 903203 w 2663946"/>
                <a:gd name="connsiteY381" fmla="*/ 130664 h 410640"/>
                <a:gd name="connsiteX382" fmla="*/ 554297 w 2663946"/>
                <a:gd name="connsiteY382" fmla="*/ 130664 h 410640"/>
                <a:gd name="connsiteX383" fmla="*/ 542744 w 2663946"/>
                <a:gd name="connsiteY383" fmla="*/ 133097 h 410640"/>
                <a:gd name="connsiteX384" fmla="*/ 539549 w 2663946"/>
                <a:gd name="connsiteY384" fmla="*/ 136612 h 410640"/>
                <a:gd name="connsiteX385" fmla="*/ 537337 w 2663946"/>
                <a:gd name="connsiteY385" fmla="*/ 140397 h 410640"/>
                <a:gd name="connsiteX386" fmla="*/ 536353 w 2663946"/>
                <a:gd name="connsiteY386" fmla="*/ 143101 h 410640"/>
                <a:gd name="connsiteX387" fmla="*/ 535370 w 2663946"/>
                <a:gd name="connsiteY387" fmla="*/ 147157 h 410640"/>
                <a:gd name="connsiteX388" fmla="*/ 534387 w 2663946"/>
                <a:gd name="connsiteY388" fmla="*/ 154187 h 410640"/>
                <a:gd name="connsiteX389" fmla="*/ 535370 w 2663946"/>
                <a:gd name="connsiteY389" fmla="*/ 161487 h 410640"/>
                <a:gd name="connsiteX390" fmla="*/ 536599 w 2663946"/>
                <a:gd name="connsiteY390" fmla="*/ 165272 h 410640"/>
                <a:gd name="connsiteX391" fmla="*/ 538811 w 2663946"/>
                <a:gd name="connsiteY391" fmla="*/ 169598 h 410640"/>
                <a:gd name="connsiteX392" fmla="*/ 542253 w 2663946"/>
                <a:gd name="connsiteY392" fmla="*/ 173925 h 410640"/>
                <a:gd name="connsiteX393" fmla="*/ 546677 w 2663946"/>
                <a:gd name="connsiteY393" fmla="*/ 176628 h 410640"/>
                <a:gd name="connsiteX394" fmla="*/ 558967 w 2663946"/>
                <a:gd name="connsiteY394" fmla="*/ 174195 h 410640"/>
                <a:gd name="connsiteX395" fmla="*/ 562163 w 2663946"/>
                <a:gd name="connsiteY395" fmla="*/ 170680 h 410640"/>
                <a:gd name="connsiteX396" fmla="*/ 564621 w 2663946"/>
                <a:gd name="connsiteY396" fmla="*/ 166354 h 410640"/>
                <a:gd name="connsiteX397" fmla="*/ 565604 w 2663946"/>
                <a:gd name="connsiteY397" fmla="*/ 164191 h 410640"/>
                <a:gd name="connsiteX398" fmla="*/ 566833 w 2663946"/>
                <a:gd name="connsiteY398" fmla="*/ 159865 h 410640"/>
                <a:gd name="connsiteX399" fmla="*/ 566341 w 2663946"/>
                <a:gd name="connsiteY399" fmla="*/ 146075 h 410640"/>
                <a:gd name="connsiteX400" fmla="*/ 565358 w 2663946"/>
                <a:gd name="connsiteY400" fmla="*/ 143101 h 410640"/>
                <a:gd name="connsiteX401" fmla="*/ 564129 w 2663946"/>
                <a:gd name="connsiteY401" fmla="*/ 140127 h 410640"/>
                <a:gd name="connsiteX402" fmla="*/ 561917 w 2663946"/>
                <a:gd name="connsiteY402" fmla="*/ 136612 h 410640"/>
                <a:gd name="connsiteX403" fmla="*/ 558230 w 2663946"/>
                <a:gd name="connsiteY403" fmla="*/ 132827 h 410640"/>
                <a:gd name="connsiteX404" fmla="*/ 554297 w 2663946"/>
                <a:gd name="connsiteY404" fmla="*/ 130664 h 410640"/>
                <a:gd name="connsiteX405" fmla="*/ 372346 w 2663946"/>
                <a:gd name="connsiteY405" fmla="*/ 130664 h 410640"/>
                <a:gd name="connsiteX406" fmla="*/ 360793 w 2663946"/>
                <a:gd name="connsiteY406" fmla="*/ 133097 h 410640"/>
                <a:gd name="connsiteX407" fmla="*/ 357598 w 2663946"/>
                <a:gd name="connsiteY407" fmla="*/ 136612 h 410640"/>
                <a:gd name="connsiteX408" fmla="*/ 355385 w 2663946"/>
                <a:gd name="connsiteY408" fmla="*/ 140397 h 410640"/>
                <a:gd name="connsiteX409" fmla="*/ 354402 w 2663946"/>
                <a:gd name="connsiteY409" fmla="*/ 143101 h 410640"/>
                <a:gd name="connsiteX410" fmla="*/ 353419 w 2663946"/>
                <a:gd name="connsiteY410" fmla="*/ 147157 h 410640"/>
                <a:gd name="connsiteX411" fmla="*/ 352436 w 2663946"/>
                <a:gd name="connsiteY411" fmla="*/ 154187 h 410640"/>
                <a:gd name="connsiteX412" fmla="*/ 353419 w 2663946"/>
                <a:gd name="connsiteY412" fmla="*/ 161487 h 410640"/>
                <a:gd name="connsiteX413" fmla="*/ 354648 w 2663946"/>
                <a:gd name="connsiteY413" fmla="*/ 165272 h 410640"/>
                <a:gd name="connsiteX414" fmla="*/ 356860 w 2663946"/>
                <a:gd name="connsiteY414" fmla="*/ 169598 h 410640"/>
                <a:gd name="connsiteX415" fmla="*/ 360301 w 2663946"/>
                <a:gd name="connsiteY415" fmla="*/ 173925 h 410640"/>
                <a:gd name="connsiteX416" fmla="*/ 364726 w 2663946"/>
                <a:gd name="connsiteY416" fmla="*/ 176628 h 410640"/>
                <a:gd name="connsiteX417" fmla="*/ 377016 w 2663946"/>
                <a:gd name="connsiteY417" fmla="*/ 174195 h 410640"/>
                <a:gd name="connsiteX418" fmla="*/ 380212 w 2663946"/>
                <a:gd name="connsiteY418" fmla="*/ 170680 h 410640"/>
                <a:gd name="connsiteX419" fmla="*/ 382670 w 2663946"/>
                <a:gd name="connsiteY419" fmla="*/ 166354 h 410640"/>
                <a:gd name="connsiteX420" fmla="*/ 383653 w 2663946"/>
                <a:gd name="connsiteY420" fmla="*/ 164191 h 410640"/>
                <a:gd name="connsiteX421" fmla="*/ 384882 w 2663946"/>
                <a:gd name="connsiteY421" fmla="*/ 159865 h 410640"/>
                <a:gd name="connsiteX422" fmla="*/ 384390 w 2663946"/>
                <a:gd name="connsiteY422" fmla="*/ 146075 h 410640"/>
                <a:gd name="connsiteX423" fmla="*/ 383407 w 2663946"/>
                <a:gd name="connsiteY423" fmla="*/ 143101 h 410640"/>
                <a:gd name="connsiteX424" fmla="*/ 382178 w 2663946"/>
                <a:gd name="connsiteY424" fmla="*/ 140127 h 410640"/>
                <a:gd name="connsiteX425" fmla="*/ 379966 w 2663946"/>
                <a:gd name="connsiteY425" fmla="*/ 136612 h 410640"/>
                <a:gd name="connsiteX426" fmla="*/ 376279 w 2663946"/>
                <a:gd name="connsiteY426" fmla="*/ 132827 h 410640"/>
                <a:gd name="connsiteX427" fmla="*/ 372346 w 2663946"/>
                <a:gd name="connsiteY427" fmla="*/ 130664 h 410640"/>
                <a:gd name="connsiteX428" fmla="*/ 129300 w 2663946"/>
                <a:gd name="connsiteY428" fmla="*/ 130664 h 410640"/>
                <a:gd name="connsiteX429" fmla="*/ 117747 w 2663946"/>
                <a:gd name="connsiteY429" fmla="*/ 133097 h 410640"/>
                <a:gd name="connsiteX430" fmla="*/ 114552 w 2663946"/>
                <a:gd name="connsiteY430" fmla="*/ 136612 h 410640"/>
                <a:gd name="connsiteX431" fmla="*/ 112340 w 2663946"/>
                <a:gd name="connsiteY431" fmla="*/ 140397 h 410640"/>
                <a:gd name="connsiteX432" fmla="*/ 111356 w 2663946"/>
                <a:gd name="connsiteY432" fmla="*/ 143101 h 410640"/>
                <a:gd name="connsiteX433" fmla="*/ 110373 w 2663946"/>
                <a:gd name="connsiteY433" fmla="*/ 147157 h 410640"/>
                <a:gd name="connsiteX434" fmla="*/ 109390 w 2663946"/>
                <a:gd name="connsiteY434" fmla="*/ 154187 h 410640"/>
                <a:gd name="connsiteX435" fmla="*/ 110373 w 2663946"/>
                <a:gd name="connsiteY435" fmla="*/ 161487 h 410640"/>
                <a:gd name="connsiteX436" fmla="*/ 111602 w 2663946"/>
                <a:gd name="connsiteY436" fmla="*/ 165272 h 410640"/>
                <a:gd name="connsiteX437" fmla="*/ 113814 w 2663946"/>
                <a:gd name="connsiteY437" fmla="*/ 169598 h 410640"/>
                <a:gd name="connsiteX438" fmla="*/ 117256 w 2663946"/>
                <a:gd name="connsiteY438" fmla="*/ 173925 h 410640"/>
                <a:gd name="connsiteX439" fmla="*/ 121680 w 2663946"/>
                <a:gd name="connsiteY439" fmla="*/ 176628 h 410640"/>
                <a:gd name="connsiteX440" fmla="*/ 133970 w 2663946"/>
                <a:gd name="connsiteY440" fmla="*/ 174195 h 410640"/>
                <a:gd name="connsiteX441" fmla="*/ 137166 w 2663946"/>
                <a:gd name="connsiteY441" fmla="*/ 170680 h 410640"/>
                <a:gd name="connsiteX442" fmla="*/ 139624 w 2663946"/>
                <a:gd name="connsiteY442" fmla="*/ 166354 h 410640"/>
                <a:gd name="connsiteX443" fmla="*/ 140607 w 2663946"/>
                <a:gd name="connsiteY443" fmla="*/ 164191 h 410640"/>
                <a:gd name="connsiteX444" fmla="*/ 141836 w 2663946"/>
                <a:gd name="connsiteY444" fmla="*/ 159865 h 410640"/>
                <a:gd name="connsiteX445" fmla="*/ 141344 w 2663946"/>
                <a:gd name="connsiteY445" fmla="*/ 146075 h 410640"/>
                <a:gd name="connsiteX446" fmla="*/ 140361 w 2663946"/>
                <a:gd name="connsiteY446" fmla="*/ 143101 h 410640"/>
                <a:gd name="connsiteX447" fmla="*/ 139132 w 2663946"/>
                <a:gd name="connsiteY447" fmla="*/ 140127 h 410640"/>
                <a:gd name="connsiteX448" fmla="*/ 136920 w 2663946"/>
                <a:gd name="connsiteY448" fmla="*/ 136612 h 410640"/>
                <a:gd name="connsiteX449" fmla="*/ 133233 w 2663946"/>
                <a:gd name="connsiteY449" fmla="*/ 132827 h 410640"/>
                <a:gd name="connsiteX450" fmla="*/ 129300 w 2663946"/>
                <a:gd name="connsiteY450" fmla="*/ 130664 h 410640"/>
                <a:gd name="connsiteX451" fmla="*/ 33147 w 2663946"/>
                <a:gd name="connsiteY451" fmla="*/ 126728 h 410640"/>
                <a:gd name="connsiteX452" fmla="*/ 21486 w 2663946"/>
                <a:gd name="connsiteY452" fmla="*/ 134457 h 410640"/>
                <a:gd name="connsiteX453" fmla="*/ 20561 w 2663946"/>
                <a:gd name="connsiteY453" fmla="*/ 139040 h 410640"/>
                <a:gd name="connsiteX454" fmla="*/ 23801 w 2663946"/>
                <a:gd name="connsiteY454" fmla="*/ 139040 h 410640"/>
                <a:gd name="connsiteX455" fmla="*/ 42218 w 2663946"/>
                <a:gd name="connsiteY455" fmla="*/ 139040 h 410640"/>
                <a:gd name="connsiteX456" fmla="*/ 45732 w 2663946"/>
                <a:gd name="connsiteY456" fmla="*/ 139040 h 410640"/>
                <a:gd name="connsiteX457" fmla="*/ 44807 w 2663946"/>
                <a:gd name="connsiteY457" fmla="*/ 134457 h 410640"/>
                <a:gd name="connsiteX458" fmla="*/ 33147 w 2663946"/>
                <a:gd name="connsiteY458" fmla="*/ 126728 h 410640"/>
                <a:gd name="connsiteX459" fmla="*/ 2537931 w 2663946"/>
                <a:gd name="connsiteY459" fmla="*/ 119140 h 410640"/>
                <a:gd name="connsiteX460" fmla="*/ 2526271 w 2663946"/>
                <a:gd name="connsiteY460" fmla="*/ 126869 h 410640"/>
                <a:gd name="connsiteX461" fmla="*/ 2525346 w 2663946"/>
                <a:gd name="connsiteY461" fmla="*/ 131452 h 410640"/>
                <a:gd name="connsiteX462" fmla="*/ 2528586 w 2663946"/>
                <a:gd name="connsiteY462" fmla="*/ 131452 h 410640"/>
                <a:gd name="connsiteX463" fmla="*/ 2547003 w 2663946"/>
                <a:gd name="connsiteY463" fmla="*/ 131452 h 410640"/>
                <a:gd name="connsiteX464" fmla="*/ 2550517 w 2663946"/>
                <a:gd name="connsiteY464" fmla="*/ 131452 h 410640"/>
                <a:gd name="connsiteX465" fmla="*/ 2549592 w 2663946"/>
                <a:gd name="connsiteY465" fmla="*/ 126869 h 410640"/>
                <a:gd name="connsiteX466" fmla="*/ 2537931 w 2663946"/>
                <a:gd name="connsiteY466" fmla="*/ 119140 h 410640"/>
                <a:gd name="connsiteX467" fmla="*/ 2112934 w 2663946"/>
                <a:gd name="connsiteY467" fmla="*/ 119140 h 410640"/>
                <a:gd name="connsiteX468" fmla="*/ 2101274 w 2663946"/>
                <a:gd name="connsiteY468" fmla="*/ 126869 h 410640"/>
                <a:gd name="connsiteX469" fmla="*/ 2100349 w 2663946"/>
                <a:gd name="connsiteY469" fmla="*/ 131452 h 410640"/>
                <a:gd name="connsiteX470" fmla="*/ 2103589 w 2663946"/>
                <a:gd name="connsiteY470" fmla="*/ 131452 h 410640"/>
                <a:gd name="connsiteX471" fmla="*/ 2122006 w 2663946"/>
                <a:gd name="connsiteY471" fmla="*/ 131452 h 410640"/>
                <a:gd name="connsiteX472" fmla="*/ 2125520 w 2663946"/>
                <a:gd name="connsiteY472" fmla="*/ 131452 h 410640"/>
                <a:gd name="connsiteX473" fmla="*/ 2124595 w 2663946"/>
                <a:gd name="connsiteY473" fmla="*/ 126869 h 410640"/>
                <a:gd name="connsiteX474" fmla="*/ 2112934 w 2663946"/>
                <a:gd name="connsiteY474" fmla="*/ 119140 h 410640"/>
                <a:gd name="connsiteX475" fmla="*/ 1854966 w 2663946"/>
                <a:gd name="connsiteY475" fmla="*/ 119140 h 410640"/>
                <a:gd name="connsiteX476" fmla="*/ 1843306 w 2663946"/>
                <a:gd name="connsiteY476" fmla="*/ 126869 h 410640"/>
                <a:gd name="connsiteX477" fmla="*/ 1842381 w 2663946"/>
                <a:gd name="connsiteY477" fmla="*/ 131452 h 410640"/>
                <a:gd name="connsiteX478" fmla="*/ 1845621 w 2663946"/>
                <a:gd name="connsiteY478" fmla="*/ 131452 h 410640"/>
                <a:gd name="connsiteX479" fmla="*/ 1864038 w 2663946"/>
                <a:gd name="connsiteY479" fmla="*/ 131452 h 410640"/>
                <a:gd name="connsiteX480" fmla="*/ 1867552 w 2663946"/>
                <a:gd name="connsiteY480" fmla="*/ 131452 h 410640"/>
                <a:gd name="connsiteX481" fmla="*/ 1866627 w 2663946"/>
                <a:gd name="connsiteY481" fmla="*/ 126869 h 410640"/>
                <a:gd name="connsiteX482" fmla="*/ 1854966 w 2663946"/>
                <a:gd name="connsiteY482" fmla="*/ 119140 h 410640"/>
                <a:gd name="connsiteX483" fmla="*/ 1764027 w 2663946"/>
                <a:gd name="connsiteY483" fmla="*/ 119140 h 410640"/>
                <a:gd name="connsiteX484" fmla="*/ 1752367 w 2663946"/>
                <a:gd name="connsiteY484" fmla="*/ 126869 h 410640"/>
                <a:gd name="connsiteX485" fmla="*/ 1751442 w 2663946"/>
                <a:gd name="connsiteY485" fmla="*/ 131452 h 410640"/>
                <a:gd name="connsiteX486" fmla="*/ 1754682 w 2663946"/>
                <a:gd name="connsiteY486" fmla="*/ 131452 h 410640"/>
                <a:gd name="connsiteX487" fmla="*/ 1773099 w 2663946"/>
                <a:gd name="connsiteY487" fmla="*/ 131452 h 410640"/>
                <a:gd name="connsiteX488" fmla="*/ 1776613 w 2663946"/>
                <a:gd name="connsiteY488" fmla="*/ 131452 h 410640"/>
                <a:gd name="connsiteX489" fmla="*/ 1775687 w 2663946"/>
                <a:gd name="connsiteY489" fmla="*/ 126869 h 410640"/>
                <a:gd name="connsiteX490" fmla="*/ 1764027 w 2663946"/>
                <a:gd name="connsiteY490" fmla="*/ 119140 h 410640"/>
                <a:gd name="connsiteX491" fmla="*/ 1506059 w 2663946"/>
                <a:gd name="connsiteY491" fmla="*/ 119140 h 410640"/>
                <a:gd name="connsiteX492" fmla="*/ 1494399 w 2663946"/>
                <a:gd name="connsiteY492" fmla="*/ 126869 h 410640"/>
                <a:gd name="connsiteX493" fmla="*/ 1493474 w 2663946"/>
                <a:gd name="connsiteY493" fmla="*/ 131452 h 410640"/>
                <a:gd name="connsiteX494" fmla="*/ 1496714 w 2663946"/>
                <a:gd name="connsiteY494" fmla="*/ 131452 h 410640"/>
                <a:gd name="connsiteX495" fmla="*/ 1515131 w 2663946"/>
                <a:gd name="connsiteY495" fmla="*/ 131452 h 410640"/>
                <a:gd name="connsiteX496" fmla="*/ 1518645 w 2663946"/>
                <a:gd name="connsiteY496" fmla="*/ 131452 h 410640"/>
                <a:gd name="connsiteX497" fmla="*/ 1517719 w 2663946"/>
                <a:gd name="connsiteY497" fmla="*/ 126869 h 410640"/>
                <a:gd name="connsiteX498" fmla="*/ 1506059 w 2663946"/>
                <a:gd name="connsiteY498" fmla="*/ 119140 h 410640"/>
                <a:gd name="connsiteX499" fmla="*/ 1415120 w 2663946"/>
                <a:gd name="connsiteY499" fmla="*/ 119140 h 410640"/>
                <a:gd name="connsiteX500" fmla="*/ 1403460 w 2663946"/>
                <a:gd name="connsiteY500" fmla="*/ 126869 h 410640"/>
                <a:gd name="connsiteX501" fmla="*/ 1402535 w 2663946"/>
                <a:gd name="connsiteY501" fmla="*/ 131452 h 410640"/>
                <a:gd name="connsiteX502" fmla="*/ 1405775 w 2663946"/>
                <a:gd name="connsiteY502" fmla="*/ 131452 h 410640"/>
                <a:gd name="connsiteX503" fmla="*/ 1424192 w 2663946"/>
                <a:gd name="connsiteY503" fmla="*/ 131452 h 410640"/>
                <a:gd name="connsiteX504" fmla="*/ 1427706 w 2663946"/>
                <a:gd name="connsiteY504" fmla="*/ 131452 h 410640"/>
                <a:gd name="connsiteX505" fmla="*/ 1426780 w 2663946"/>
                <a:gd name="connsiteY505" fmla="*/ 126869 h 410640"/>
                <a:gd name="connsiteX506" fmla="*/ 1415120 w 2663946"/>
                <a:gd name="connsiteY506" fmla="*/ 119140 h 410640"/>
                <a:gd name="connsiteX507" fmla="*/ 1157152 w 2663946"/>
                <a:gd name="connsiteY507" fmla="*/ 119140 h 410640"/>
                <a:gd name="connsiteX508" fmla="*/ 1145492 w 2663946"/>
                <a:gd name="connsiteY508" fmla="*/ 126869 h 410640"/>
                <a:gd name="connsiteX509" fmla="*/ 1144567 w 2663946"/>
                <a:gd name="connsiteY509" fmla="*/ 131452 h 410640"/>
                <a:gd name="connsiteX510" fmla="*/ 1147807 w 2663946"/>
                <a:gd name="connsiteY510" fmla="*/ 131452 h 410640"/>
                <a:gd name="connsiteX511" fmla="*/ 1166224 w 2663946"/>
                <a:gd name="connsiteY511" fmla="*/ 131452 h 410640"/>
                <a:gd name="connsiteX512" fmla="*/ 1169738 w 2663946"/>
                <a:gd name="connsiteY512" fmla="*/ 131452 h 410640"/>
                <a:gd name="connsiteX513" fmla="*/ 1168812 w 2663946"/>
                <a:gd name="connsiteY513" fmla="*/ 126869 h 410640"/>
                <a:gd name="connsiteX514" fmla="*/ 1157152 w 2663946"/>
                <a:gd name="connsiteY514" fmla="*/ 119140 h 410640"/>
                <a:gd name="connsiteX515" fmla="*/ 732156 w 2663946"/>
                <a:gd name="connsiteY515" fmla="*/ 119140 h 410640"/>
                <a:gd name="connsiteX516" fmla="*/ 720495 w 2663946"/>
                <a:gd name="connsiteY516" fmla="*/ 126869 h 410640"/>
                <a:gd name="connsiteX517" fmla="*/ 719570 w 2663946"/>
                <a:gd name="connsiteY517" fmla="*/ 131452 h 410640"/>
                <a:gd name="connsiteX518" fmla="*/ 722810 w 2663946"/>
                <a:gd name="connsiteY518" fmla="*/ 131452 h 410640"/>
                <a:gd name="connsiteX519" fmla="*/ 741228 w 2663946"/>
                <a:gd name="connsiteY519" fmla="*/ 131452 h 410640"/>
                <a:gd name="connsiteX520" fmla="*/ 744742 w 2663946"/>
                <a:gd name="connsiteY520" fmla="*/ 131452 h 410640"/>
                <a:gd name="connsiteX521" fmla="*/ 743816 w 2663946"/>
                <a:gd name="connsiteY521" fmla="*/ 126869 h 410640"/>
                <a:gd name="connsiteX522" fmla="*/ 732156 w 2663946"/>
                <a:gd name="connsiteY522" fmla="*/ 119140 h 410640"/>
                <a:gd name="connsiteX523" fmla="*/ 641217 w 2663946"/>
                <a:gd name="connsiteY523" fmla="*/ 119140 h 410640"/>
                <a:gd name="connsiteX524" fmla="*/ 629556 w 2663946"/>
                <a:gd name="connsiteY524" fmla="*/ 126869 h 410640"/>
                <a:gd name="connsiteX525" fmla="*/ 628631 w 2663946"/>
                <a:gd name="connsiteY525" fmla="*/ 131452 h 410640"/>
                <a:gd name="connsiteX526" fmla="*/ 631871 w 2663946"/>
                <a:gd name="connsiteY526" fmla="*/ 131452 h 410640"/>
                <a:gd name="connsiteX527" fmla="*/ 650289 w 2663946"/>
                <a:gd name="connsiteY527" fmla="*/ 131452 h 410640"/>
                <a:gd name="connsiteX528" fmla="*/ 653802 w 2663946"/>
                <a:gd name="connsiteY528" fmla="*/ 131452 h 410640"/>
                <a:gd name="connsiteX529" fmla="*/ 652877 w 2663946"/>
                <a:gd name="connsiteY529" fmla="*/ 126869 h 410640"/>
                <a:gd name="connsiteX530" fmla="*/ 641217 w 2663946"/>
                <a:gd name="connsiteY530" fmla="*/ 119140 h 410640"/>
                <a:gd name="connsiteX531" fmla="*/ 459266 w 2663946"/>
                <a:gd name="connsiteY531" fmla="*/ 119140 h 410640"/>
                <a:gd name="connsiteX532" fmla="*/ 447605 w 2663946"/>
                <a:gd name="connsiteY532" fmla="*/ 126869 h 410640"/>
                <a:gd name="connsiteX533" fmla="*/ 446680 w 2663946"/>
                <a:gd name="connsiteY533" fmla="*/ 131452 h 410640"/>
                <a:gd name="connsiteX534" fmla="*/ 449920 w 2663946"/>
                <a:gd name="connsiteY534" fmla="*/ 131452 h 410640"/>
                <a:gd name="connsiteX535" fmla="*/ 468337 w 2663946"/>
                <a:gd name="connsiteY535" fmla="*/ 131452 h 410640"/>
                <a:gd name="connsiteX536" fmla="*/ 471851 w 2663946"/>
                <a:gd name="connsiteY536" fmla="*/ 131452 h 410640"/>
                <a:gd name="connsiteX537" fmla="*/ 470926 w 2663946"/>
                <a:gd name="connsiteY537" fmla="*/ 126869 h 410640"/>
                <a:gd name="connsiteX538" fmla="*/ 459266 w 2663946"/>
                <a:gd name="connsiteY538" fmla="*/ 119140 h 410640"/>
                <a:gd name="connsiteX539" fmla="*/ 2361413 w 2663946"/>
                <a:gd name="connsiteY539" fmla="*/ 114780 h 410640"/>
                <a:gd name="connsiteX540" fmla="*/ 2365469 w 2663946"/>
                <a:gd name="connsiteY540" fmla="*/ 114780 h 410640"/>
                <a:gd name="connsiteX541" fmla="*/ 2370065 w 2663946"/>
                <a:gd name="connsiteY541" fmla="*/ 117214 h 410640"/>
                <a:gd name="connsiteX542" fmla="*/ 2372229 w 2663946"/>
                <a:gd name="connsiteY542" fmla="*/ 123432 h 410640"/>
                <a:gd name="connsiteX543" fmla="*/ 2372229 w 2663946"/>
                <a:gd name="connsiteY543" fmla="*/ 123973 h 410640"/>
                <a:gd name="connsiteX544" fmla="*/ 2372229 w 2663946"/>
                <a:gd name="connsiteY544" fmla="*/ 176968 h 410640"/>
                <a:gd name="connsiteX545" fmla="*/ 2372769 w 2663946"/>
                <a:gd name="connsiteY545" fmla="*/ 177508 h 410640"/>
                <a:gd name="connsiteX546" fmla="*/ 2380069 w 2663946"/>
                <a:gd name="connsiteY546" fmla="*/ 177508 h 410640"/>
                <a:gd name="connsiteX547" fmla="*/ 2384125 w 2663946"/>
                <a:gd name="connsiteY547" fmla="*/ 178590 h 410640"/>
                <a:gd name="connsiteX548" fmla="*/ 2387910 w 2663946"/>
                <a:gd name="connsiteY548" fmla="*/ 185349 h 410640"/>
                <a:gd name="connsiteX549" fmla="*/ 2385207 w 2663946"/>
                <a:gd name="connsiteY549" fmla="*/ 191027 h 410640"/>
                <a:gd name="connsiteX550" fmla="*/ 2381151 w 2663946"/>
                <a:gd name="connsiteY550" fmla="*/ 192920 h 410640"/>
                <a:gd name="connsiteX551" fmla="*/ 2380881 w 2663946"/>
                <a:gd name="connsiteY551" fmla="*/ 192920 h 410640"/>
                <a:gd name="connsiteX552" fmla="*/ 2380610 w 2663946"/>
                <a:gd name="connsiteY552" fmla="*/ 192920 h 410640"/>
                <a:gd name="connsiteX553" fmla="*/ 2380069 w 2663946"/>
                <a:gd name="connsiteY553" fmla="*/ 192920 h 410640"/>
                <a:gd name="connsiteX554" fmla="*/ 2347894 w 2663946"/>
                <a:gd name="connsiteY554" fmla="*/ 192920 h 410640"/>
                <a:gd name="connsiteX555" fmla="*/ 2347354 w 2663946"/>
                <a:gd name="connsiteY555" fmla="*/ 192920 h 410640"/>
                <a:gd name="connsiteX556" fmla="*/ 2346542 w 2663946"/>
                <a:gd name="connsiteY556" fmla="*/ 192920 h 410640"/>
                <a:gd name="connsiteX557" fmla="*/ 2345731 w 2663946"/>
                <a:gd name="connsiteY557" fmla="*/ 192650 h 410640"/>
                <a:gd name="connsiteX558" fmla="*/ 2342216 w 2663946"/>
                <a:gd name="connsiteY558" fmla="*/ 190757 h 410640"/>
                <a:gd name="connsiteX559" fmla="*/ 2339783 w 2663946"/>
                <a:gd name="connsiteY559" fmla="*/ 185079 h 410640"/>
                <a:gd name="connsiteX560" fmla="*/ 2341946 w 2663946"/>
                <a:gd name="connsiteY560" fmla="*/ 179942 h 410640"/>
                <a:gd name="connsiteX561" fmla="*/ 2347624 w 2663946"/>
                <a:gd name="connsiteY561" fmla="*/ 177508 h 410640"/>
                <a:gd name="connsiteX562" fmla="*/ 2355465 w 2663946"/>
                <a:gd name="connsiteY562" fmla="*/ 177508 h 410640"/>
                <a:gd name="connsiteX563" fmla="*/ 2356006 w 2663946"/>
                <a:gd name="connsiteY563" fmla="*/ 176968 h 410640"/>
                <a:gd name="connsiteX564" fmla="*/ 2356006 w 2663946"/>
                <a:gd name="connsiteY564" fmla="*/ 131003 h 410640"/>
                <a:gd name="connsiteX565" fmla="*/ 2355465 w 2663946"/>
                <a:gd name="connsiteY565" fmla="*/ 130462 h 410640"/>
                <a:gd name="connsiteX566" fmla="*/ 2349517 w 2663946"/>
                <a:gd name="connsiteY566" fmla="*/ 130462 h 410640"/>
                <a:gd name="connsiteX567" fmla="*/ 2342216 w 2663946"/>
                <a:gd name="connsiteY567" fmla="*/ 125866 h 410640"/>
                <a:gd name="connsiteX568" fmla="*/ 2341946 w 2663946"/>
                <a:gd name="connsiteY568" fmla="*/ 120188 h 410640"/>
                <a:gd name="connsiteX569" fmla="*/ 2349246 w 2663946"/>
                <a:gd name="connsiteY569" fmla="*/ 115051 h 410640"/>
                <a:gd name="connsiteX570" fmla="*/ 2361413 w 2663946"/>
                <a:gd name="connsiteY570" fmla="*/ 114780 h 410640"/>
                <a:gd name="connsiteX571" fmla="*/ 2285396 w 2663946"/>
                <a:gd name="connsiteY571" fmla="*/ 114780 h 410640"/>
                <a:gd name="connsiteX572" fmla="*/ 2289452 w 2663946"/>
                <a:gd name="connsiteY572" fmla="*/ 114780 h 410640"/>
                <a:gd name="connsiteX573" fmla="*/ 2294048 w 2663946"/>
                <a:gd name="connsiteY573" fmla="*/ 117214 h 410640"/>
                <a:gd name="connsiteX574" fmla="*/ 2296212 w 2663946"/>
                <a:gd name="connsiteY574" fmla="*/ 123432 h 410640"/>
                <a:gd name="connsiteX575" fmla="*/ 2296212 w 2663946"/>
                <a:gd name="connsiteY575" fmla="*/ 123973 h 410640"/>
                <a:gd name="connsiteX576" fmla="*/ 2296212 w 2663946"/>
                <a:gd name="connsiteY576" fmla="*/ 176968 h 410640"/>
                <a:gd name="connsiteX577" fmla="*/ 2296752 w 2663946"/>
                <a:gd name="connsiteY577" fmla="*/ 177508 h 410640"/>
                <a:gd name="connsiteX578" fmla="*/ 2304052 w 2663946"/>
                <a:gd name="connsiteY578" fmla="*/ 177508 h 410640"/>
                <a:gd name="connsiteX579" fmla="*/ 2308108 w 2663946"/>
                <a:gd name="connsiteY579" fmla="*/ 178590 h 410640"/>
                <a:gd name="connsiteX580" fmla="*/ 2311893 w 2663946"/>
                <a:gd name="connsiteY580" fmla="*/ 185349 h 410640"/>
                <a:gd name="connsiteX581" fmla="*/ 2309190 w 2663946"/>
                <a:gd name="connsiteY581" fmla="*/ 191027 h 410640"/>
                <a:gd name="connsiteX582" fmla="*/ 2305134 w 2663946"/>
                <a:gd name="connsiteY582" fmla="*/ 192920 h 410640"/>
                <a:gd name="connsiteX583" fmla="*/ 2304864 w 2663946"/>
                <a:gd name="connsiteY583" fmla="*/ 192920 h 410640"/>
                <a:gd name="connsiteX584" fmla="*/ 2304593 w 2663946"/>
                <a:gd name="connsiteY584" fmla="*/ 192920 h 410640"/>
                <a:gd name="connsiteX585" fmla="*/ 2304052 w 2663946"/>
                <a:gd name="connsiteY585" fmla="*/ 192920 h 410640"/>
                <a:gd name="connsiteX586" fmla="*/ 2271877 w 2663946"/>
                <a:gd name="connsiteY586" fmla="*/ 192920 h 410640"/>
                <a:gd name="connsiteX587" fmla="*/ 2271337 w 2663946"/>
                <a:gd name="connsiteY587" fmla="*/ 192920 h 410640"/>
                <a:gd name="connsiteX588" fmla="*/ 2270525 w 2663946"/>
                <a:gd name="connsiteY588" fmla="*/ 192920 h 410640"/>
                <a:gd name="connsiteX589" fmla="*/ 2269714 w 2663946"/>
                <a:gd name="connsiteY589" fmla="*/ 192650 h 410640"/>
                <a:gd name="connsiteX590" fmla="*/ 2266199 w 2663946"/>
                <a:gd name="connsiteY590" fmla="*/ 190757 h 410640"/>
                <a:gd name="connsiteX591" fmla="*/ 2263766 w 2663946"/>
                <a:gd name="connsiteY591" fmla="*/ 185079 h 410640"/>
                <a:gd name="connsiteX592" fmla="*/ 2265929 w 2663946"/>
                <a:gd name="connsiteY592" fmla="*/ 179942 h 410640"/>
                <a:gd name="connsiteX593" fmla="*/ 2271607 w 2663946"/>
                <a:gd name="connsiteY593" fmla="*/ 177508 h 410640"/>
                <a:gd name="connsiteX594" fmla="*/ 2279448 w 2663946"/>
                <a:gd name="connsiteY594" fmla="*/ 177508 h 410640"/>
                <a:gd name="connsiteX595" fmla="*/ 2279989 w 2663946"/>
                <a:gd name="connsiteY595" fmla="*/ 176968 h 410640"/>
                <a:gd name="connsiteX596" fmla="*/ 2279989 w 2663946"/>
                <a:gd name="connsiteY596" fmla="*/ 131003 h 410640"/>
                <a:gd name="connsiteX597" fmla="*/ 2279448 w 2663946"/>
                <a:gd name="connsiteY597" fmla="*/ 130462 h 410640"/>
                <a:gd name="connsiteX598" fmla="*/ 2273500 w 2663946"/>
                <a:gd name="connsiteY598" fmla="*/ 130462 h 410640"/>
                <a:gd name="connsiteX599" fmla="*/ 2266199 w 2663946"/>
                <a:gd name="connsiteY599" fmla="*/ 125866 h 410640"/>
                <a:gd name="connsiteX600" fmla="*/ 2265929 w 2663946"/>
                <a:gd name="connsiteY600" fmla="*/ 120188 h 410640"/>
                <a:gd name="connsiteX601" fmla="*/ 2273229 w 2663946"/>
                <a:gd name="connsiteY601" fmla="*/ 115051 h 410640"/>
                <a:gd name="connsiteX602" fmla="*/ 2285396 w 2663946"/>
                <a:gd name="connsiteY602" fmla="*/ 114780 h 410640"/>
                <a:gd name="connsiteX603" fmla="*/ 1936416 w 2663946"/>
                <a:gd name="connsiteY603" fmla="*/ 114780 h 410640"/>
                <a:gd name="connsiteX604" fmla="*/ 1940472 w 2663946"/>
                <a:gd name="connsiteY604" fmla="*/ 114780 h 410640"/>
                <a:gd name="connsiteX605" fmla="*/ 1945068 w 2663946"/>
                <a:gd name="connsiteY605" fmla="*/ 117214 h 410640"/>
                <a:gd name="connsiteX606" fmla="*/ 1947232 w 2663946"/>
                <a:gd name="connsiteY606" fmla="*/ 123432 h 410640"/>
                <a:gd name="connsiteX607" fmla="*/ 1947232 w 2663946"/>
                <a:gd name="connsiteY607" fmla="*/ 123973 h 410640"/>
                <a:gd name="connsiteX608" fmla="*/ 1947232 w 2663946"/>
                <a:gd name="connsiteY608" fmla="*/ 176968 h 410640"/>
                <a:gd name="connsiteX609" fmla="*/ 1947772 w 2663946"/>
                <a:gd name="connsiteY609" fmla="*/ 177508 h 410640"/>
                <a:gd name="connsiteX610" fmla="*/ 1955072 w 2663946"/>
                <a:gd name="connsiteY610" fmla="*/ 177508 h 410640"/>
                <a:gd name="connsiteX611" fmla="*/ 1959128 w 2663946"/>
                <a:gd name="connsiteY611" fmla="*/ 178590 h 410640"/>
                <a:gd name="connsiteX612" fmla="*/ 1962913 w 2663946"/>
                <a:gd name="connsiteY612" fmla="*/ 185349 h 410640"/>
                <a:gd name="connsiteX613" fmla="*/ 1960210 w 2663946"/>
                <a:gd name="connsiteY613" fmla="*/ 191027 h 410640"/>
                <a:gd name="connsiteX614" fmla="*/ 1956154 w 2663946"/>
                <a:gd name="connsiteY614" fmla="*/ 192920 h 410640"/>
                <a:gd name="connsiteX615" fmla="*/ 1955884 w 2663946"/>
                <a:gd name="connsiteY615" fmla="*/ 192920 h 410640"/>
                <a:gd name="connsiteX616" fmla="*/ 1955613 w 2663946"/>
                <a:gd name="connsiteY616" fmla="*/ 192920 h 410640"/>
                <a:gd name="connsiteX617" fmla="*/ 1955072 w 2663946"/>
                <a:gd name="connsiteY617" fmla="*/ 192920 h 410640"/>
                <a:gd name="connsiteX618" fmla="*/ 1922897 w 2663946"/>
                <a:gd name="connsiteY618" fmla="*/ 192920 h 410640"/>
                <a:gd name="connsiteX619" fmla="*/ 1922357 w 2663946"/>
                <a:gd name="connsiteY619" fmla="*/ 192920 h 410640"/>
                <a:gd name="connsiteX620" fmla="*/ 1921545 w 2663946"/>
                <a:gd name="connsiteY620" fmla="*/ 192920 h 410640"/>
                <a:gd name="connsiteX621" fmla="*/ 1920734 w 2663946"/>
                <a:gd name="connsiteY621" fmla="*/ 192650 h 410640"/>
                <a:gd name="connsiteX622" fmla="*/ 1917219 w 2663946"/>
                <a:gd name="connsiteY622" fmla="*/ 190757 h 410640"/>
                <a:gd name="connsiteX623" fmla="*/ 1914786 w 2663946"/>
                <a:gd name="connsiteY623" fmla="*/ 185079 h 410640"/>
                <a:gd name="connsiteX624" fmla="*/ 1916949 w 2663946"/>
                <a:gd name="connsiteY624" fmla="*/ 179942 h 410640"/>
                <a:gd name="connsiteX625" fmla="*/ 1922627 w 2663946"/>
                <a:gd name="connsiteY625" fmla="*/ 177508 h 410640"/>
                <a:gd name="connsiteX626" fmla="*/ 1930468 w 2663946"/>
                <a:gd name="connsiteY626" fmla="*/ 177508 h 410640"/>
                <a:gd name="connsiteX627" fmla="*/ 1931009 w 2663946"/>
                <a:gd name="connsiteY627" fmla="*/ 176968 h 410640"/>
                <a:gd name="connsiteX628" fmla="*/ 1931009 w 2663946"/>
                <a:gd name="connsiteY628" fmla="*/ 131003 h 410640"/>
                <a:gd name="connsiteX629" fmla="*/ 1930468 w 2663946"/>
                <a:gd name="connsiteY629" fmla="*/ 130462 h 410640"/>
                <a:gd name="connsiteX630" fmla="*/ 1924520 w 2663946"/>
                <a:gd name="connsiteY630" fmla="*/ 130462 h 410640"/>
                <a:gd name="connsiteX631" fmla="*/ 1917219 w 2663946"/>
                <a:gd name="connsiteY631" fmla="*/ 125866 h 410640"/>
                <a:gd name="connsiteX632" fmla="*/ 1916949 w 2663946"/>
                <a:gd name="connsiteY632" fmla="*/ 120188 h 410640"/>
                <a:gd name="connsiteX633" fmla="*/ 1924249 w 2663946"/>
                <a:gd name="connsiteY633" fmla="*/ 115051 h 410640"/>
                <a:gd name="connsiteX634" fmla="*/ 1936416 w 2663946"/>
                <a:gd name="connsiteY634" fmla="*/ 114780 h 410640"/>
                <a:gd name="connsiteX635" fmla="*/ 1678521 w 2663946"/>
                <a:gd name="connsiteY635" fmla="*/ 114780 h 410640"/>
                <a:gd name="connsiteX636" fmla="*/ 1682577 w 2663946"/>
                <a:gd name="connsiteY636" fmla="*/ 114780 h 410640"/>
                <a:gd name="connsiteX637" fmla="*/ 1687173 w 2663946"/>
                <a:gd name="connsiteY637" fmla="*/ 117214 h 410640"/>
                <a:gd name="connsiteX638" fmla="*/ 1689336 w 2663946"/>
                <a:gd name="connsiteY638" fmla="*/ 123432 h 410640"/>
                <a:gd name="connsiteX639" fmla="*/ 1689336 w 2663946"/>
                <a:gd name="connsiteY639" fmla="*/ 123973 h 410640"/>
                <a:gd name="connsiteX640" fmla="*/ 1689336 w 2663946"/>
                <a:gd name="connsiteY640" fmla="*/ 176968 h 410640"/>
                <a:gd name="connsiteX641" fmla="*/ 1689877 w 2663946"/>
                <a:gd name="connsiteY641" fmla="*/ 177508 h 410640"/>
                <a:gd name="connsiteX642" fmla="*/ 1697177 w 2663946"/>
                <a:gd name="connsiteY642" fmla="*/ 177508 h 410640"/>
                <a:gd name="connsiteX643" fmla="*/ 1701233 w 2663946"/>
                <a:gd name="connsiteY643" fmla="*/ 178590 h 410640"/>
                <a:gd name="connsiteX644" fmla="*/ 1705018 w 2663946"/>
                <a:gd name="connsiteY644" fmla="*/ 185349 h 410640"/>
                <a:gd name="connsiteX645" fmla="*/ 1702315 w 2663946"/>
                <a:gd name="connsiteY645" fmla="*/ 191027 h 410640"/>
                <a:gd name="connsiteX646" fmla="*/ 1698259 w 2663946"/>
                <a:gd name="connsiteY646" fmla="*/ 192920 h 410640"/>
                <a:gd name="connsiteX647" fmla="*/ 1697989 w 2663946"/>
                <a:gd name="connsiteY647" fmla="*/ 192920 h 410640"/>
                <a:gd name="connsiteX648" fmla="*/ 1697718 w 2663946"/>
                <a:gd name="connsiteY648" fmla="*/ 192920 h 410640"/>
                <a:gd name="connsiteX649" fmla="*/ 1697177 w 2663946"/>
                <a:gd name="connsiteY649" fmla="*/ 192920 h 410640"/>
                <a:gd name="connsiteX650" fmla="*/ 1665002 w 2663946"/>
                <a:gd name="connsiteY650" fmla="*/ 192920 h 410640"/>
                <a:gd name="connsiteX651" fmla="*/ 1664462 w 2663946"/>
                <a:gd name="connsiteY651" fmla="*/ 192920 h 410640"/>
                <a:gd name="connsiteX652" fmla="*/ 1663650 w 2663946"/>
                <a:gd name="connsiteY652" fmla="*/ 192920 h 410640"/>
                <a:gd name="connsiteX653" fmla="*/ 1662839 w 2663946"/>
                <a:gd name="connsiteY653" fmla="*/ 192650 h 410640"/>
                <a:gd name="connsiteX654" fmla="*/ 1659324 w 2663946"/>
                <a:gd name="connsiteY654" fmla="*/ 190757 h 410640"/>
                <a:gd name="connsiteX655" fmla="*/ 1656891 w 2663946"/>
                <a:gd name="connsiteY655" fmla="*/ 185079 h 410640"/>
                <a:gd name="connsiteX656" fmla="*/ 1659054 w 2663946"/>
                <a:gd name="connsiteY656" fmla="*/ 179942 h 410640"/>
                <a:gd name="connsiteX657" fmla="*/ 1664732 w 2663946"/>
                <a:gd name="connsiteY657" fmla="*/ 177508 h 410640"/>
                <a:gd name="connsiteX658" fmla="*/ 1672573 w 2663946"/>
                <a:gd name="connsiteY658" fmla="*/ 177508 h 410640"/>
                <a:gd name="connsiteX659" fmla="*/ 1673114 w 2663946"/>
                <a:gd name="connsiteY659" fmla="*/ 176968 h 410640"/>
                <a:gd name="connsiteX660" fmla="*/ 1673114 w 2663946"/>
                <a:gd name="connsiteY660" fmla="*/ 131003 h 410640"/>
                <a:gd name="connsiteX661" fmla="*/ 1672573 w 2663946"/>
                <a:gd name="connsiteY661" fmla="*/ 130462 h 410640"/>
                <a:gd name="connsiteX662" fmla="*/ 1666625 w 2663946"/>
                <a:gd name="connsiteY662" fmla="*/ 130462 h 410640"/>
                <a:gd name="connsiteX663" fmla="*/ 1659324 w 2663946"/>
                <a:gd name="connsiteY663" fmla="*/ 125866 h 410640"/>
                <a:gd name="connsiteX664" fmla="*/ 1659054 w 2663946"/>
                <a:gd name="connsiteY664" fmla="*/ 120188 h 410640"/>
                <a:gd name="connsiteX665" fmla="*/ 1666354 w 2663946"/>
                <a:gd name="connsiteY665" fmla="*/ 115051 h 410640"/>
                <a:gd name="connsiteX666" fmla="*/ 1678521 w 2663946"/>
                <a:gd name="connsiteY666" fmla="*/ 114780 h 410640"/>
                <a:gd name="connsiteX667" fmla="*/ 1329614 w 2663946"/>
                <a:gd name="connsiteY667" fmla="*/ 114780 h 410640"/>
                <a:gd name="connsiteX668" fmla="*/ 1333670 w 2663946"/>
                <a:gd name="connsiteY668" fmla="*/ 114780 h 410640"/>
                <a:gd name="connsiteX669" fmla="*/ 1338266 w 2663946"/>
                <a:gd name="connsiteY669" fmla="*/ 117214 h 410640"/>
                <a:gd name="connsiteX670" fmla="*/ 1340429 w 2663946"/>
                <a:gd name="connsiteY670" fmla="*/ 123432 h 410640"/>
                <a:gd name="connsiteX671" fmla="*/ 1340429 w 2663946"/>
                <a:gd name="connsiteY671" fmla="*/ 123973 h 410640"/>
                <a:gd name="connsiteX672" fmla="*/ 1340429 w 2663946"/>
                <a:gd name="connsiteY672" fmla="*/ 176968 h 410640"/>
                <a:gd name="connsiteX673" fmla="*/ 1340970 w 2663946"/>
                <a:gd name="connsiteY673" fmla="*/ 177508 h 410640"/>
                <a:gd name="connsiteX674" fmla="*/ 1348270 w 2663946"/>
                <a:gd name="connsiteY674" fmla="*/ 177508 h 410640"/>
                <a:gd name="connsiteX675" fmla="*/ 1352326 w 2663946"/>
                <a:gd name="connsiteY675" fmla="*/ 178590 h 410640"/>
                <a:gd name="connsiteX676" fmla="*/ 1356111 w 2663946"/>
                <a:gd name="connsiteY676" fmla="*/ 185349 h 410640"/>
                <a:gd name="connsiteX677" fmla="*/ 1353408 w 2663946"/>
                <a:gd name="connsiteY677" fmla="*/ 191027 h 410640"/>
                <a:gd name="connsiteX678" fmla="*/ 1349352 w 2663946"/>
                <a:gd name="connsiteY678" fmla="*/ 192920 h 410640"/>
                <a:gd name="connsiteX679" fmla="*/ 1349082 w 2663946"/>
                <a:gd name="connsiteY679" fmla="*/ 192920 h 410640"/>
                <a:gd name="connsiteX680" fmla="*/ 1348811 w 2663946"/>
                <a:gd name="connsiteY680" fmla="*/ 192920 h 410640"/>
                <a:gd name="connsiteX681" fmla="*/ 1348270 w 2663946"/>
                <a:gd name="connsiteY681" fmla="*/ 192920 h 410640"/>
                <a:gd name="connsiteX682" fmla="*/ 1316095 w 2663946"/>
                <a:gd name="connsiteY682" fmla="*/ 192920 h 410640"/>
                <a:gd name="connsiteX683" fmla="*/ 1315555 w 2663946"/>
                <a:gd name="connsiteY683" fmla="*/ 192920 h 410640"/>
                <a:gd name="connsiteX684" fmla="*/ 1314743 w 2663946"/>
                <a:gd name="connsiteY684" fmla="*/ 192920 h 410640"/>
                <a:gd name="connsiteX685" fmla="*/ 1313932 w 2663946"/>
                <a:gd name="connsiteY685" fmla="*/ 192650 h 410640"/>
                <a:gd name="connsiteX686" fmla="*/ 1310417 w 2663946"/>
                <a:gd name="connsiteY686" fmla="*/ 190757 h 410640"/>
                <a:gd name="connsiteX687" fmla="*/ 1307984 w 2663946"/>
                <a:gd name="connsiteY687" fmla="*/ 185079 h 410640"/>
                <a:gd name="connsiteX688" fmla="*/ 1310147 w 2663946"/>
                <a:gd name="connsiteY688" fmla="*/ 179942 h 410640"/>
                <a:gd name="connsiteX689" fmla="*/ 1315825 w 2663946"/>
                <a:gd name="connsiteY689" fmla="*/ 177508 h 410640"/>
                <a:gd name="connsiteX690" fmla="*/ 1323666 w 2663946"/>
                <a:gd name="connsiteY690" fmla="*/ 177508 h 410640"/>
                <a:gd name="connsiteX691" fmla="*/ 1324207 w 2663946"/>
                <a:gd name="connsiteY691" fmla="*/ 176968 h 410640"/>
                <a:gd name="connsiteX692" fmla="*/ 1324207 w 2663946"/>
                <a:gd name="connsiteY692" fmla="*/ 131003 h 410640"/>
                <a:gd name="connsiteX693" fmla="*/ 1323666 w 2663946"/>
                <a:gd name="connsiteY693" fmla="*/ 130462 h 410640"/>
                <a:gd name="connsiteX694" fmla="*/ 1317718 w 2663946"/>
                <a:gd name="connsiteY694" fmla="*/ 130462 h 410640"/>
                <a:gd name="connsiteX695" fmla="*/ 1310417 w 2663946"/>
                <a:gd name="connsiteY695" fmla="*/ 125866 h 410640"/>
                <a:gd name="connsiteX696" fmla="*/ 1310147 w 2663946"/>
                <a:gd name="connsiteY696" fmla="*/ 120188 h 410640"/>
                <a:gd name="connsiteX697" fmla="*/ 1317447 w 2663946"/>
                <a:gd name="connsiteY697" fmla="*/ 115051 h 410640"/>
                <a:gd name="connsiteX698" fmla="*/ 1329614 w 2663946"/>
                <a:gd name="connsiteY698" fmla="*/ 114780 h 410640"/>
                <a:gd name="connsiteX699" fmla="*/ 980634 w 2663946"/>
                <a:gd name="connsiteY699" fmla="*/ 114780 h 410640"/>
                <a:gd name="connsiteX700" fmla="*/ 984690 w 2663946"/>
                <a:gd name="connsiteY700" fmla="*/ 114780 h 410640"/>
                <a:gd name="connsiteX701" fmla="*/ 989286 w 2663946"/>
                <a:gd name="connsiteY701" fmla="*/ 117214 h 410640"/>
                <a:gd name="connsiteX702" fmla="*/ 991449 w 2663946"/>
                <a:gd name="connsiteY702" fmla="*/ 123432 h 410640"/>
                <a:gd name="connsiteX703" fmla="*/ 991449 w 2663946"/>
                <a:gd name="connsiteY703" fmla="*/ 123973 h 410640"/>
                <a:gd name="connsiteX704" fmla="*/ 991449 w 2663946"/>
                <a:gd name="connsiteY704" fmla="*/ 176968 h 410640"/>
                <a:gd name="connsiteX705" fmla="*/ 991990 w 2663946"/>
                <a:gd name="connsiteY705" fmla="*/ 177508 h 410640"/>
                <a:gd name="connsiteX706" fmla="*/ 999290 w 2663946"/>
                <a:gd name="connsiteY706" fmla="*/ 177508 h 410640"/>
                <a:gd name="connsiteX707" fmla="*/ 1003346 w 2663946"/>
                <a:gd name="connsiteY707" fmla="*/ 178590 h 410640"/>
                <a:gd name="connsiteX708" fmla="*/ 1007131 w 2663946"/>
                <a:gd name="connsiteY708" fmla="*/ 185349 h 410640"/>
                <a:gd name="connsiteX709" fmla="*/ 1004428 w 2663946"/>
                <a:gd name="connsiteY709" fmla="*/ 191027 h 410640"/>
                <a:gd name="connsiteX710" fmla="*/ 1000372 w 2663946"/>
                <a:gd name="connsiteY710" fmla="*/ 192920 h 410640"/>
                <a:gd name="connsiteX711" fmla="*/ 1000102 w 2663946"/>
                <a:gd name="connsiteY711" fmla="*/ 192920 h 410640"/>
                <a:gd name="connsiteX712" fmla="*/ 999831 w 2663946"/>
                <a:gd name="connsiteY712" fmla="*/ 192920 h 410640"/>
                <a:gd name="connsiteX713" fmla="*/ 999290 w 2663946"/>
                <a:gd name="connsiteY713" fmla="*/ 192920 h 410640"/>
                <a:gd name="connsiteX714" fmla="*/ 967115 w 2663946"/>
                <a:gd name="connsiteY714" fmla="*/ 192920 h 410640"/>
                <a:gd name="connsiteX715" fmla="*/ 966575 w 2663946"/>
                <a:gd name="connsiteY715" fmla="*/ 192920 h 410640"/>
                <a:gd name="connsiteX716" fmla="*/ 965763 w 2663946"/>
                <a:gd name="connsiteY716" fmla="*/ 192920 h 410640"/>
                <a:gd name="connsiteX717" fmla="*/ 964952 w 2663946"/>
                <a:gd name="connsiteY717" fmla="*/ 192650 h 410640"/>
                <a:gd name="connsiteX718" fmla="*/ 961437 w 2663946"/>
                <a:gd name="connsiteY718" fmla="*/ 190757 h 410640"/>
                <a:gd name="connsiteX719" fmla="*/ 959004 w 2663946"/>
                <a:gd name="connsiteY719" fmla="*/ 185079 h 410640"/>
                <a:gd name="connsiteX720" fmla="*/ 961167 w 2663946"/>
                <a:gd name="connsiteY720" fmla="*/ 179942 h 410640"/>
                <a:gd name="connsiteX721" fmla="*/ 966845 w 2663946"/>
                <a:gd name="connsiteY721" fmla="*/ 177508 h 410640"/>
                <a:gd name="connsiteX722" fmla="*/ 974686 w 2663946"/>
                <a:gd name="connsiteY722" fmla="*/ 177508 h 410640"/>
                <a:gd name="connsiteX723" fmla="*/ 975227 w 2663946"/>
                <a:gd name="connsiteY723" fmla="*/ 176968 h 410640"/>
                <a:gd name="connsiteX724" fmla="*/ 975227 w 2663946"/>
                <a:gd name="connsiteY724" fmla="*/ 131003 h 410640"/>
                <a:gd name="connsiteX725" fmla="*/ 974686 w 2663946"/>
                <a:gd name="connsiteY725" fmla="*/ 130462 h 410640"/>
                <a:gd name="connsiteX726" fmla="*/ 968738 w 2663946"/>
                <a:gd name="connsiteY726" fmla="*/ 130462 h 410640"/>
                <a:gd name="connsiteX727" fmla="*/ 961437 w 2663946"/>
                <a:gd name="connsiteY727" fmla="*/ 125866 h 410640"/>
                <a:gd name="connsiteX728" fmla="*/ 961167 w 2663946"/>
                <a:gd name="connsiteY728" fmla="*/ 120188 h 410640"/>
                <a:gd name="connsiteX729" fmla="*/ 968467 w 2663946"/>
                <a:gd name="connsiteY729" fmla="*/ 115051 h 410640"/>
                <a:gd name="connsiteX730" fmla="*/ 980634 w 2663946"/>
                <a:gd name="connsiteY730" fmla="*/ 114780 h 410640"/>
                <a:gd name="connsiteX731" fmla="*/ 813605 w 2663946"/>
                <a:gd name="connsiteY731" fmla="*/ 114780 h 410640"/>
                <a:gd name="connsiteX732" fmla="*/ 817661 w 2663946"/>
                <a:gd name="connsiteY732" fmla="*/ 114780 h 410640"/>
                <a:gd name="connsiteX733" fmla="*/ 822257 w 2663946"/>
                <a:gd name="connsiteY733" fmla="*/ 117214 h 410640"/>
                <a:gd name="connsiteX734" fmla="*/ 824420 w 2663946"/>
                <a:gd name="connsiteY734" fmla="*/ 123432 h 410640"/>
                <a:gd name="connsiteX735" fmla="*/ 824420 w 2663946"/>
                <a:gd name="connsiteY735" fmla="*/ 123973 h 410640"/>
                <a:gd name="connsiteX736" fmla="*/ 824420 w 2663946"/>
                <a:gd name="connsiteY736" fmla="*/ 176968 h 410640"/>
                <a:gd name="connsiteX737" fmla="*/ 824961 w 2663946"/>
                <a:gd name="connsiteY737" fmla="*/ 177508 h 410640"/>
                <a:gd name="connsiteX738" fmla="*/ 832261 w 2663946"/>
                <a:gd name="connsiteY738" fmla="*/ 177508 h 410640"/>
                <a:gd name="connsiteX739" fmla="*/ 836317 w 2663946"/>
                <a:gd name="connsiteY739" fmla="*/ 178590 h 410640"/>
                <a:gd name="connsiteX740" fmla="*/ 840102 w 2663946"/>
                <a:gd name="connsiteY740" fmla="*/ 185349 h 410640"/>
                <a:gd name="connsiteX741" fmla="*/ 837399 w 2663946"/>
                <a:gd name="connsiteY741" fmla="*/ 191027 h 410640"/>
                <a:gd name="connsiteX742" fmla="*/ 833343 w 2663946"/>
                <a:gd name="connsiteY742" fmla="*/ 192920 h 410640"/>
                <a:gd name="connsiteX743" fmla="*/ 833073 w 2663946"/>
                <a:gd name="connsiteY743" fmla="*/ 192920 h 410640"/>
                <a:gd name="connsiteX744" fmla="*/ 832802 w 2663946"/>
                <a:gd name="connsiteY744" fmla="*/ 192920 h 410640"/>
                <a:gd name="connsiteX745" fmla="*/ 832261 w 2663946"/>
                <a:gd name="connsiteY745" fmla="*/ 192920 h 410640"/>
                <a:gd name="connsiteX746" fmla="*/ 800086 w 2663946"/>
                <a:gd name="connsiteY746" fmla="*/ 192920 h 410640"/>
                <a:gd name="connsiteX747" fmla="*/ 799546 w 2663946"/>
                <a:gd name="connsiteY747" fmla="*/ 192920 h 410640"/>
                <a:gd name="connsiteX748" fmla="*/ 798734 w 2663946"/>
                <a:gd name="connsiteY748" fmla="*/ 192920 h 410640"/>
                <a:gd name="connsiteX749" fmla="*/ 797923 w 2663946"/>
                <a:gd name="connsiteY749" fmla="*/ 192650 h 410640"/>
                <a:gd name="connsiteX750" fmla="*/ 794408 w 2663946"/>
                <a:gd name="connsiteY750" fmla="*/ 190757 h 410640"/>
                <a:gd name="connsiteX751" fmla="*/ 791975 w 2663946"/>
                <a:gd name="connsiteY751" fmla="*/ 185079 h 410640"/>
                <a:gd name="connsiteX752" fmla="*/ 794138 w 2663946"/>
                <a:gd name="connsiteY752" fmla="*/ 179942 h 410640"/>
                <a:gd name="connsiteX753" fmla="*/ 799816 w 2663946"/>
                <a:gd name="connsiteY753" fmla="*/ 177508 h 410640"/>
                <a:gd name="connsiteX754" fmla="*/ 807657 w 2663946"/>
                <a:gd name="connsiteY754" fmla="*/ 177508 h 410640"/>
                <a:gd name="connsiteX755" fmla="*/ 808198 w 2663946"/>
                <a:gd name="connsiteY755" fmla="*/ 176968 h 410640"/>
                <a:gd name="connsiteX756" fmla="*/ 808198 w 2663946"/>
                <a:gd name="connsiteY756" fmla="*/ 131003 h 410640"/>
                <a:gd name="connsiteX757" fmla="*/ 807657 w 2663946"/>
                <a:gd name="connsiteY757" fmla="*/ 130462 h 410640"/>
                <a:gd name="connsiteX758" fmla="*/ 801709 w 2663946"/>
                <a:gd name="connsiteY758" fmla="*/ 130462 h 410640"/>
                <a:gd name="connsiteX759" fmla="*/ 794408 w 2663946"/>
                <a:gd name="connsiteY759" fmla="*/ 125866 h 410640"/>
                <a:gd name="connsiteX760" fmla="*/ 794138 w 2663946"/>
                <a:gd name="connsiteY760" fmla="*/ 120188 h 410640"/>
                <a:gd name="connsiteX761" fmla="*/ 801438 w 2663946"/>
                <a:gd name="connsiteY761" fmla="*/ 115051 h 410640"/>
                <a:gd name="connsiteX762" fmla="*/ 813605 w 2663946"/>
                <a:gd name="connsiteY762" fmla="*/ 114780 h 410640"/>
                <a:gd name="connsiteX763" fmla="*/ 282748 w 2663946"/>
                <a:gd name="connsiteY763" fmla="*/ 114780 h 410640"/>
                <a:gd name="connsiteX764" fmla="*/ 286803 w 2663946"/>
                <a:gd name="connsiteY764" fmla="*/ 114780 h 410640"/>
                <a:gd name="connsiteX765" fmla="*/ 291400 w 2663946"/>
                <a:gd name="connsiteY765" fmla="*/ 117214 h 410640"/>
                <a:gd name="connsiteX766" fmla="*/ 293563 w 2663946"/>
                <a:gd name="connsiteY766" fmla="*/ 123432 h 410640"/>
                <a:gd name="connsiteX767" fmla="*/ 293563 w 2663946"/>
                <a:gd name="connsiteY767" fmla="*/ 123973 h 410640"/>
                <a:gd name="connsiteX768" fmla="*/ 293563 w 2663946"/>
                <a:gd name="connsiteY768" fmla="*/ 176968 h 410640"/>
                <a:gd name="connsiteX769" fmla="*/ 294104 w 2663946"/>
                <a:gd name="connsiteY769" fmla="*/ 177508 h 410640"/>
                <a:gd name="connsiteX770" fmla="*/ 301404 w 2663946"/>
                <a:gd name="connsiteY770" fmla="*/ 177508 h 410640"/>
                <a:gd name="connsiteX771" fmla="*/ 305460 w 2663946"/>
                <a:gd name="connsiteY771" fmla="*/ 178590 h 410640"/>
                <a:gd name="connsiteX772" fmla="*/ 309245 w 2663946"/>
                <a:gd name="connsiteY772" fmla="*/ 185349 h 410640"/>
                <a:gd name="connsiteX773" fmla="*/ 306541 w 2663946"/>
                <a:gd name="connsiteY773" fmla="*/ 191027 h 410640"/>
                <a:gd name="connsiteX774" fmla="*/ 302485 w 2663946"/>
                <a:gd name="connsiteY774" fmla="*/ 192920 h 410640"/>
                <a:gd name="connsiteX775" fmla="*/ 302215 w 2663946"/>
                <a:gd name="connsiteY775" fmla="*/ 192920 h 410640"/>
                <a:gd name="connsiteX776" fmla="*/ 301945 w 2663946"/>
                <a:gd name="connsiteY776" fmla="*/ 192920 h 410640"/>
                <a:gd name="connsiteX777" fmla="*/ 301404 w 2663946"/>
                <a:gd name="connsiteY777" fmla="*/ 192920 h 410640"/>
                <a:gd name="connsiteX778" fmla="*/ 269229 w 2663946"/>
                <a:gd name="connsiteY778" fmla="*/ 192920 h 410640"/>
                <a:gd name="connsiteX779" fmla="*/ 268688 w 2663946"/>
                <a:gd name="connsiteY779" fmla="*/ 192920 h 410640"/>
                <a:gd name="connsiteX780" fmla="*/ 267877 w 2663946"/>
                <a:gd name="connsiteY780" fmla="*/ 192920 h 410640"/>
                <a:gd name="connsiteX781" fmla="*/ 267066 w 2663946"/>
                <a:gd name="connsiteY781" fmla="*/ 192650 h 410640"/>
                <a:gd name="connsiteX782" fmla="*/ 263551 w 2663946"/>
                <a:gd name="connsiteY782" fmla="*/ 190757 h 410640"/>
                <a:gd name="connsiteX783" fmla="*/ 261117 w 2663946"/>
                <a:gd name="connsiteY783" fmla="*/ 185079 h 410640"/>
                <a:gd name="connsiteX784" fmla="*/ 263281 w 2663946"/>
                <a:gd name="connsiteY784" fmla="*/ 179942 h 410640"/>
                <a:gd name="connsiteX785" fmla="*/ 268958 w 2663946"/>
                <a:gd name="connsiteY785" fmla="*/ 177508 h 410640"/>
                <a:gd name="connsiteX786" fmla="*/ 276800 w 2663946"/>
                <a:gd name="connsiteY786" fmla="*/ 177508 h 410640"/>
                <a:gd name="connsiteX787" fmla="*/ 277340 w 2663946"/>
                <a:gd name="connsiteY787" fmla="*/ 176968 h 410640"/>
                <a:gd name="connsiteX788" fmla="*/ 277340 w 2663946"/>
                <a:gd name="connsiteY788" fmla="*/ 131003 h 410640"/>
                <a:gd name="connsiteX789" fmla="*/ 276800 w 2663946"/>
                <a:gd name="connsiteY789" fmla="*/ 130462 h 410640"/>
                <a:gd name="connsiteX790" fmla="*/ 270851 w 2663946"/>
                <a:gd name="connsiteY790" fmla="*/ 130462 h 410640"/>
                <a:gd name="connsiteX791" fmla="*/ 263551 w 2663946"/>
                <a:gd name="connsiteY791" fmla="*/ 125866 h 410640"/>
                <a:gd name="connsiteX792" fmla="*/ 263281 w 2663946"/>
                <a:gd name="connsiteY792" fmla="*/ 120188 h 410640"/>
                <a:gd name="connsiteX793" fmla="*/ 270581 w 2663946"/>
                <a:gd name="connsiteY793" fmla="*/ 115051 h 410640"/>
                <a:gd name="connsiteX794" fmla="*/ 282748 w 2663946"/>
                <a:gd name="connsiteY794" fmla="*/ 114780 h 410640"/>
                <a:gd name="connsiteX795" fmla="*/ 206731 w 2663946"/>
                <a:gd name="connsiteY795" fmla="*/ 114780 h 410640"/>
                <a:gd name="connsiteX796" fmla="*/ 210787 w 2663946"/>
                <a:gd name="connsiteY796" fmla="*/ 114780 h 410640"/>
                <a:gd name="connsiteX797" fmla="*/ 215383 w 2663946"/>
                <a:gd name="connsiteY797" fmla="*/ 117214 h 410640"/>
                <a:gd name="connsiteX798" fmla="*/ 217546 w 2663946"/>
                <a:gd name="connsiteY798" fmla="*/ 123432 h 410640"/>
                <a:gd name="connsiteX799" fmla="*/ 217546 w 2663946"/>
                <a:gd name="connsiteY799" fmla="*/ 123973 h 410640"/>
                <a:gd name="connsiteX800" fmla="*/ 217546 w 2663946"/>
                <a:gd name="connsiteY800" fmla="*/ 176968 h 410640"/>
                <a:gd name="connsiteX801" fmla="*/ 218087 w 2663946"/>
                <a:gd name="connsiteY801" fmla="*/ 177508 h 410640"/>
                <a:gd name="connsiteX802" fmla="*/ 225387 w 2663946"/>
                <a:gd name="connsiteY802" fmla="*/ 177508 h 410640"/>
                <a:gd name="connsiteX803" fmla="*/ 229443 w 2663946"/>
                <a:gd name="connsiteY803" fmla="*/ 178590 h 410640"/>
                <a:gd name="connsiteX804" fmla="*/ 233228 w 2663946"/>
                <a:gd name="connsiteY804" fmla="*/ 185349 h 410640"/>
                <a:gd name="connsiteX805" fmla="*/ 230524 w 2663946"/>
                <a:gd name="connsiteY805" fmla="*/ 191027 h 410640"/>
                <a:gd name="connsiteX806" fmla="*/ 226468 w 2663946"/>
                <a:gd name="connsiteY806" fmla="*/ 192920 h 410640"/>
                <a:gd name="connsiteX807" fmla="*/ 226198 w 2663946"/>
                <a:gd name="connsiteY807" fmla="*/ 192920 h 410640"/>
                <a:gd name="connsiteX808" fmla="*/ 225928 w 2663946"/>
                <a:gd name="connsiteY808" fmla="*/ 192920 h 410640"/>
                <a:gd name="connsiteX809" fmla="*/ 225387 w 2663946"/>
                <a:gd name="connsiteY809" fmla="*/ 192920 h 410640"/>
                <a:gd name="connsiteX810" fmla="*/ 193212 w 2663946"/>
                <a:gd name="connsiteY810" fmla="*/ 192920 h 410640"/>
                <a:gd name="connsiteX811" fmla="*/ 192671 w 2663946"/>
                <a:gd name="connsiteY811" fmla="*/ 192920 h 410640"/>
                <a:gd name="connsiteX812" fmla="*/ 191860 w 2663946"/>
                <a:gd name="connsiteY812" fmla="*/ 192920 h 410640"/>
                <a:gd name="connsiteX813" fmla="*/ 191049 w 2663946"/>
                <a:gd name="connsiteY813" fmla="*/ 192650 h 410640"/>
                <a:gd name="connsiteX814" fmla="*/ 187534 w 2663946"/>
                <a:gd name="connsiteY814" fmla="*/ 190757 h 410640"/>
                <a:gd name="connsiteX815" fmla="*/ 185101 w 2663946"/>
                <a:gd name="connsiteY815" fmla="*/ 185079 h 410640"/>
                <a:gd name="connsiteX816" fmla="*/ 187264 w 2663946"/>
                <a:gd name="connsiteY816" fmla="*/ 179942 h 410640"/>
                <a:gd name="connsiteX817" fmla="*/ 192942 w 2663946"/>
                <a:gd name="connsiteY817" fmla="*/ 177508 h 410640"/>
                <a:gd name="connsiteX818" fmla="*/ 200783 w 2663946"/>
                <a:gd name="connsiteY818" fmla="*/ 177508 h 410640"/>
                <a:gd name="connsiteX819" fmla="*/ 201323 w 2663946"/>
                <a:gd name="connsiteY819" fmla="*/ 176968 h 410640"/>
                <a:gd name="connsiteX820" fmla="*/ 201323 w 2663946"/>
                <a:gd name="connsiteY820" fmla="*/ 131003 h 410640"/>
                <a:gd name="connsiteX821" fmla="*/ 200783 w 2663946"/>
                <a:gd name="connsiteY821" fmla="*/ 130462 h 410640"/>
                <a:gd name="connsiteX822" fmla="*/ 194834 w 2663946"/>
                <a:gd name="connsiteY822" fmla="*/ 130462 h 410640"/>
                <a:gd name="connsiteX823" fmla="*/ 187534 w 2663946"/>
                <a:gd name="connsiteY823" fmla="*/ 125866 h 410640"/>
                <a:gd name="connsiteX824" fmla="*/ 187264 w 2663946"/>
                <a:gd name="connsiteY824" fmla="*/ 120188 h 410640"/>
                <a:gd name="connsiteX825" fmla="*/ 194564 w 2663946"/>
                <a:gd name="connsiteY825" fmla="*/ 115051 h 410640"/>
                <a:gd name="connsiteX826" fmla="*/ 206731 w 2663946"/>
                <a:gd name="connsiteY826" fmla="*/ 114780 h 410640"/>
                <a:gd name="connsiteX827" fmla="*/ 2627559 w 2663946"/>
                <a:gd name="connsiteY827" fmla="*/ 114711 h 410640"/>
                <a:gd name="connsiteX828" fmla="*/ 2639849 w 2663946"/>
                <a:gd name="connsiteY828" fmla="*/ 116874 h 410640"/>
                <a:gd name="connsiteX829" fmla="*/ 2647223 w 2663946"/>
                <a:gd name="connsiteY829" fmla="*/ 121471 h 410640"/>
                <a:gd name="connsiteX830" fmla="*/ 2650664 w 2663946"/>
                <a:gd name="connsiteY830" fmla="*/ 124715 h 410640"/>
                <a:gd name="connsiteX831" fmla="*/ 2654106 w 2663946"/>
                <a:gd name="connsiteY831" fmla="*/ 129041 h 410640"/>
                <a:gd name="connsiteX832" fmla="*/ 2656072 w 2663946"/>
                <a:gd name="connsiteY832" fmla="*/ 132556 h 410640"/>
                <a:gd name="connsiteX833" fmla="*/ 2658284 w 2663946"/>
                <a:gd name="connsiteY833" fmla="*/ 137964 h 410640"/>
                <a:gd name="connsiteX834" fmla="*/ 2659267 w 2663946"/>
                <a:gd name="connsiteY834" fmla="*/ 141479 h 410640"/>
                <a:gd name="connsiteX835" fmla="*/ 2660251 w 2663946"/>
                <a:gd name="connsiteY835" fmla="*/ 146616 h 410640"/>
                <a:gd name="connsiteX836" fmla="*/ 2660005 w 2663946"/>
                <a:gd name="connsiteY836" fmla="*/ 160946 h 410640"/>
                <a:gd name="connsiteX837" fmla="*/ 2659022 w 2663946"/>
                <a:gd name="connsiteY837" fmla="*/ 165813 h 410640"/>
                <a:gd name="connsiteX838" fmla="*/ 2657792 w 2663946"/>
                <a:gd name="connsiteY838" fmla="*/ 169598 h 410640"/>
                <a:gd name="connsiteX839" fmla="*/ 2656809 w 2663946"/>
                <a:gd name="connsiteY839" fmla="*/ 172032 h 410640"/>
                <a:gd name="connsiteX840" fmla="*/ 2654597 w 2663946"/>
                <a:gd name="connsiteY840" fmla="*/ 176358 h 410640"/>
                <a:gd name="connsiteX841" fmla="*/ 2652385 w 2663946"/>
                <a:gd name="connsiteY841" fmla="*/ 179602 h 410640"/>
                <a:gd name="connsiteX842" fmla="*/ 2648944 w 2663946"/>
                <a:gd name="connsiteY842" fmla="*/ 183388 h 410640"/>
                <a:gd name="connsiteX843" fmla="*/ 2645748 w 2663946"/>
                <a:gd name="connsiteY843" fmla="*/ 186091 h 410640"/>
                <a:gd name="connsiteX844" fmla="*/ 2640095 w 2663946"/>
                <a:gd name="connsiteY844" fmla="*/ 189336 h 410640"/>
                <a:gd name="connsiteX845" fmla="*/ 2632229 w 2663946"/>
                <a:gd name="connsiteY845" fmla="*/ 191499 h 410640"/>
                <a:gd name="connsiteX846" fmla="*/ 2631000 w 2663946"/>
                <a:gd name="connsiteY846" fmla="*/ 191770 h 410640"/>
                <a:gd name="connsiteX847" fmla="*/ 2626821 w 2663946"/>
                <a:gd name="connsiteY847" fmla="*/ 191770 h 410640"/>
                <a:gd name="connsiteX848" fmla="*/ 2626576 w 2663946"/>
                <a:gd name="connsiteY848" fmla="*/ 191770 h 410640"/>
                <a:gd name="connsiteX849" fmla="*/ 2613548 w 2663946"/>
                <a:gd name="connsiteY849" fmla="*/ 186903 h 410640"/>
                <a:gd name="connsiteX850" fmla="*/ 2608878 w 2663946"/>
                <a:gd name="connsiteY850" fmla="*/ 182847 h 410640"/>
                <a:gd name="connsiteX851" fmla="*/ 2605682 w 2663946"/>
                <a:gd name="connsiteY851" fmla="*/ 179062 h 410640"/>
                <a:gd name="connsiteX852" fmla="*/ 2603470 w 2663946"/>
                <a:gd name="connsiteY852" fmla="*/ 175547 h 410640"/>
                <a:gd name="connsiteX853" fmla="*/ 2601258 w 2663946"/>
                <a:gd name="connsiteY853" fmla="*/ 171221 h 410640"/>
                <a:gd name="connsiteX854" fmla="*/ 2600029 w 2663946"/>
                <a:gd name="connsiteY854" fmla="*/ 168246 h 410640"/>
                <a:gd name="connsiteX855" fmla="*/ 2599046 w 2663946"/>
                <a:gd name="connsiteY855" fmla="*/ 165002 h 410640"/>
                <a:gd name="connsiteX856" fmla="*/ 2597816 w 2663946"/>
                <a:gd name="connsiteY856" fmla="*/ 159324 h 410640"/>
                <a:gd name="connsiteX857" fmla="*/ 2597571 w 2663946"/>
                <a:gd name="connsiteY857" fmla="*/ 156350 h 410640"/>
                <a:gd name="connsiteX858" fmla="*/ 2597816 w 2663946"/>
                <a:gd name="connsiteY858" fmla="*/ 156620 h 410640"/>
                <a:gd name="connsiteX859" fmla="*/ 2597816 w 2663946"/>
                <a:gd name="connsiteY859" fmla="*/ 150942 h 410640"/>
                <a:gd name="connsiteX860" fmla="*/ 2597816 w 2663946"/>
                <a:gd name="connsiteY860" fmla="*/ 150672 h 410640"/>
                <a:gd name="connsiteX861" fmla="*/ 2598308 w 2663946"/>
                <a:gd name="connsiteY861" fmla="*/ 146075 h 410640"/>
                <a:gd name="connsiteX862" fmla="*/ 2599537 w 2663946"/>
                <a:gd name="connsiteY862" fmla="*/ 140668 h 410640"/>
                <a:gd name="connsiteX863" fmla="*/ 2600520 w 2663946"/>
                <a:gd name="connsiteY863" fmla="*/ 137423 h 410640"/>
                <a:gd name="connsiteX864" fmla="*/ 2602732 w 2663946"/>
                <a:gd name="connsiteY864" fmla="*/ 132286 h 410640"/>
                <a:gd name="connsiteX865" fmla="*/ 2604945 w 2663946"/>
                <a:gd name="connsiteY865" fmla="*/ 128501 h 410640"/>
                <a:gd name="connsiteX866" fmla="*/ 2607157 w 2663946"/>
                <a:gd name="connsiteY866" fmla="*/ 125526 h 410640"/>
                <a:gd name="connsiteX867" fmla="*/ 2609369 w 2663946"/>
                <a:gd name="connsiteY867" fmla="*/ 123093 h 410640"/>
                <a:gd name="connsiteX868" fmla="*/ 2614039 w 2663946"/>
                <a:gd name="connsiteY868" fmla="*/ 119308 h 410640"/>
                <a:gd name="connsiteX869" fmla="*/ 2617972 w 2663946"/>
                <a:gd name="connsiteY869" fmla="*/ 117145 h 410640"/>
                <a:gd name="connsiteX870" fmla="*/ 2627559 w 2663946"/>
                <a:gd name="connsiteY870" fmla="*/ 114711 h 410640"/>
                <a:gd name="connsiteX871" fmla="*/ 2445604 w 2663946"/>
                <a:gd name="connsiteY871" fmla="*/ 114711 h 410640"/>
                <a:gd name="connsiteX872" fmla="*/ 2457894 w 2663946"/>
                <a:gd name="connsiteY872" fmla="*/ 116874 h 410640"/>
                <a:gd name="connsiteX873" fmla="*/ 2465268 w 2663946"/>
                <a:gd name="connsiteY873" fmla="*/ 121471 h 410640"/>
                <a:gd name="connsiteX874" fmla="*/ 2468709 w 2663946"/>
                <a:gd name="connsiteY874" fmla="*/ 124715 h 410640"/>
                <a:gd name="connsiteX875" fmla="*/ 2472151 w 2663946"/>
                <a:gd name="connsiteY875" fmla="*/ 129041 h 410640"/>
                <a:gd name="connsiteX876" fmla="*/ 2474117 w 2663946"/>
                <a:gd name="connsiteY876" fmla="*/ 132556 h 410640"/>
                <a:gd name="connsiteX877" fmla="*/ 2476329 w 2663946"/>
                <a:gd name="connsiteY877" fmla="*/ 137964 h 410640"/>
                <a:gd name="connsiteX878" fmla="*/ 2477312 w 2663946"/>
                <a:gd name="connsiteY878" fmla="*/ 141479 h 410640"/>
                <a:gd name="connsiteX879" fmla="*/ 2478296 w 2663946"/>
                <a:gd name="connsiteY879" fmla="*/ 146616 h 410640"/>
                <a:gd name="connsiteX880" fmla="*/ 2478050 w 2663946"/>
                <a:gd name="connsiteY880" fmla="*/ 160946 h 410640"/>
                <a:gd name="connsiteX881" fmla="*/ 2477067 w 2663946"/>
                <a:gd name="connsiteY881" fmla="*/ 165813 h 410640"/>
                <a:gd name="connsiteX882" fmla="*/ 2475837 w 2663946"/>
                <a:gd name="connsiteY882" fmla="*/ 169598 h 410640"/>
                <a:gd name="connsiteX883" fmla="*/ 2474854 w 2663946"/>
                <a:gd name="connsiteY883" fmla="*/ 172032 h 410640"/>
                <a:gd name="connsiteX884" fmla="*/ 2472642 w 2663946"/>
                <a:gd name="connsiteY884" fmla="*/ 176358 h 410640"/>
                <a:gd name="connsiteX885" fmla="*/ 2470430 w 2663946"/>
                <a:gd name="connsiteY885" fmla="*/ 179602 h 410640"/>
                <a:gd name="connsiteX886" fmla="*/ 2466989 w 2663946"/>
                <a:gd name="connsiteY886" fmla="*/ 183388 h 410640"/>
                <a:gd name="connsiteX887" fmla="*/ 2463793 w 2663946"/>
                <a:gd name="connsiteY887" fmla="*/ 186091 h 410640"/>
                <a:gd name="connsiteX888" fmla="*/ 2458140 w 2663946"/>
                <a:gd name="connsiteY888" fmla="*/ 189336 h 410640"/>
                <a:gd name="connsiteX889" fmla="*/ 2450274 w 2663946"/>
                <a:gd name="connsiteY889" fmla="*/ 191499 h 410640"/>
                <a:gd name="connsiteX890" fmla="*/ 2449045 w 2663946"/>
                <a:gd name="connsiteY890" fmla="*/ 191770 h 410640"/>
                <a:gd name="connsiteX891" fmla="*/ 2444866 w 2663946"/>
                <a:gd name="connsiteY891" fmla="*/ 191770 h 410640"/>
                <a:gd name="connsiteX892" fmla="*/ 2444621 w 2663946"/>
                <a:gd name="connsiteY892" fmla="*/ 191770 h 410640"/>
                <a:gd name="connsiteX893" fmla="*/ 2431593 w 2663946"/>
                <a:gd name="connsiteY893" fmla="*/ 186903 h 410640"/>
                <a:gd name="connsiteX894" fmla="*/ 2426923 w 2663946"/>
                <a:gd name="connsiteY894" fmla="*/ 182847 h 410640"/>
                <a:gd name="connsiteX895" fmla="*/ 2423727 w 2663946"/>
                <a:gd name="connsiteY895" fmla="*/ 179062 h 410640"/>
                <a:gd name="connsiteX896" fmla="*/ 2421515 w 2663946"/>
                <a:gd name="connsiteY896" fmla="*/ 175547 h 410640"/>
                <a:gd name="connsiteX897" fmla="*/ 2419303 w 2663946"/>
                <a:gd name="connsiteY897" fmla="*/ 171221 h 410640"/>
                <a:gd name="connsiteX898" fmla="*/ 2418074 w 2663946"/>
                <a:gd name="connsiteY898" fmla="*/ 168246 h 410640"/>
                <a:gd name="connsiteX899" fmla="*/ 2417091 w 2663946"/>
                <a:gd name="connsiteY899" fmla="*/ 165002 h 410640"/>
                <a:gd name="connsiteX900" fmla="*/ 2415861 w 2663946"/>
                <a:gd name="connsiteY900" fmla="*/ 159324 h 410640"/>
                <a:gd name="connsiteX901" fmla="*/ 2415616 w 2663946"/>
                <a:gd name="connsiteY901" fmla="*/ 156350 h 410640"/>
                <a:gd name="connsiteX902" fmla="*/ 2415861 w 2663946"/>
                <a:gd name="connsiteY902" fmla="*/ 156620 h 410640"/>
                <a:gd name="connsiteX903" fmla="*/ 2415861 w 2663946"/>
                <a:gd name="connsiteY903" fmla="*/ 150942 h 410640"/>
                <a:gd name="connsiteX904" fmla="*/ 2415861 w 2663946"/>
                <a:gd name="connsiteY904" fmla="*/ 150672 h 410640"/>
                <a:gd name="connsiteX905" fmla="*/ 2416353 w 2663946"/>
                <a:gd name="connsiteY905" fmla="*/ 146075 h 410640"/>
                <a:gd name="connsiteX906" fmla="*/ 2417582 w 2663946"/>
                <a:gd name="connsiteY906" fmla="*/ 140668 h 410640"/>
                <a:gd name="connsiteX907" fmla="*/ 2418565 w 2663946"/>
                <a:gd name="connsiteY907" fmla="*/ 137423 h 410640"/>
                <a:gd name="connsiteX908" fmla="*/ 2420777 w 2663946"/>
                <a:gd name="connsiteY908" fmla="*/ 132286 h 410640"/>
                <a:gd name="connsiteX909" fmla="*/ 2422990 w 2663946"/>
                <a:gd name="connsiteY909" fmla="*/ 128501 h 410640"/>
                <a:gd name="connsiteX910" fmla="*/ 2425202 w 2663946"/>
                <a:gd name="connsiteY910" fmla="*/ 125526 h 410640"/>
                <a:gd name="connsiteX911" fmla="*/ 2427414 w 2663946"/>
                <a:gd name="connsiteY911" fmla="*/ 123093 h 410640"/>
                <a:gd name="connsiteX912" fmla="*/ 2432084 w 2663946"/>
                <a:gd name="connsiteY912" fmla="*/ 119308 h 410640"/>
                <a:gd name="connsiteX913" fmla="*/ 2436017 w 2663946"/>
                <a:gd name="connsiteY913" fmla="*/ 117145 h 410640"/>
                <a:gd name="connsiteX914" fmla="*/ 2445604 w 2663946"/>
                <a:gd name="connsiteY914" fmla="*/ 114711 h 410640"/>
                <a:gd name="connsiteX915" fmla="*/ 2202558 w 2663946"/>
                <a:gd name="connsiteY915" fmla="*/ 114711 h 410640"/>
                <a:gd name="connsiteX916" fmla="*/ 2214848 w 2663946"/>
                <a:gd name="connsiteY916" fmla="*/ 116874 h 410640"/>
                <a:gd name="connsiteX917" fmla="*/ 2222222 w 2663946"/>
                <a:gd name="connsiteY917" fmla="*/ 121471 h 410640"/>
                <a:gd name="connsiteX918" fmla="*/ 2225663 w 2663946"/>
                <a:gd name="connsiteY918" fmla="*/ 124715 h 410640"/>
                <a:gd name="connsiteX919" fmla="*/ 2229105 w 2663946"/>
                <a:gd name="connsiteY919" fmla="*/ 129041 h 410640"/>
                <a:gd name="connsiteX920" fmla="*/ 2231071 w 2663946"/>
                <a:gd name="connsiteY920" fmla="*/ 132556 h 410640"/>
                <a:gd name="connsiteX921" fmla="*/ 2233283 w 2663946"/>
                <a:gd name="connsiteY921" fmla="*/ 137964 h 410640"/>
                <a:gd name="connsiteX922" fmla="*/ 2234266 w 2663946"/>
                <a:gd name="connsiteY922" fmla="*/ 141479 h 410640"/>
                <a:gd name="connsiteX923" fmla="*/ 2235250 w 2663946"/>
                <a:gd name="connsiteY923" fmla="*/ 146616 h 410640"/>
                <a:gd name="connsiteX924" fmla="*/ 2235004 w 2663946"/>
                <a:gd name="connsiteY924" fmla="*/ 160946 h 410640"/>
                <a:gd name="connsiteX925" fmla="*/ 2234021 w 2663946"/>
                <a:gd name="connsiteY925" fmla="*/ 165813 h 410640"/>
                <a:gd name="connsiteX926" fmla="*/ 2232791 w 2663946"/>
                <a:gd name="connsiteY926" fmla="*/ 169598 h 410640"/>
                <a:gd name="connsiteX927" fmla="*/ 2231808 w 2663946"/>
                <a:gd name="connsiteY927" fmla="*/ 172032 h 410640"/>
                <a:gd name="connsiteX928" fmla="*/ 2229596 w 2663946"/>
                <a:gd name="connsiteY928" fmla="*/ 176358 h 410640"/>
                <a:gd name="connsiteX929" fmla="*/ 2227384 w 2663946"/>
                <a:gd name="connsiteY929" fmla="*/ 179602 h 410640"/>
                <a:gd name="connsiteX930" fmla="*/ 2223943 w 2663946"/>
                <a:gd name="connsiteY930" fmla="*/ 183388 h 410640"/>
                <a:gd name="connsiteX931" fmla="*/ 2220747 w 2663946"/>
                <a:gd name="connsiteY931" fmla="*/ 186091 h 410640"/>
                <a:gd name="connsiteX932" fmla="*/ 2215094 w 2663946"/>
                <a:gd name="connsiteY932" fmla="*/ 189336 h 410640"/>
                <a:gd name="connsiteX933" fmla="*/ 2207228 w 2663946"/>
                <a:gd name="connsiteY933" fmla="*/ 191499 h 410640"/>
                <a:gd name="connsiteX934" fmla="*/ 2205999 w 2663946"/>
                <a:gd name="connsiteY934" fmla="*/ 191770 h 410640"/>
                <a:gd name="connsiteX935" fmla="*/ 2201820 w 2663946"/>
                <a:gd name="connsiteY935" fmla="*/ 191770 h 410640"/>
                <a:gd name="connsiteX936" fmla="*/ 2201575 w 2663946"/>
                <a:gd name="connsiteY936" fmla="*/ 191770 h 410640"/>
                <a:gd name="connsiteX937" fmla="*/ 2188547 w 2663946"/>
                <a:gd name="connsiteY937" fmla="*/ 186903 h 410640"/>
                <a:gd name="connsiteX938" fmla="*/ 2183877 w 2663946"/>
                <a:gd name="connsiteY938" fmla="*/ 182847 h 410640"/>
                <a:gd name="connsiteX939" fmla="*/ 2180681 w 2663946"/>
                <a:gd name="connsiteY939" fmla="*/ 179062 h 410640"/>
                <a:gd name="connsiteX940" fmla="*/ 2178469 w 2663946"/>
                <a:gd name="connsiteY940" fmla="*/ 175547 h 410640"/>
                <a:gd name="connsiteX941" fmla="*/ 2176257 w 2663946"/>
                <a:gd name="connsiteY941" fmla="*/ 171221 h 410640"/>
                <a:gd name="connsiteX942" fmla="*/ 2175028 w 2663946"/>
                <a:gd name="connsiteY942" fmla="*/ 168246 h 410640"/>
                <a:gd name="connsiteX943" fmla="*/ 2174045 w 2663946"/>
                <a:gd name="connsiteY943" fmla="*/ 165002 h 410640"/>
                <a:gd name="connsiteX944" fmla="*/ 2172815 w 2663946"/>
                <a:gd name="connsiteY944" fmla="*/ 159324 h 410640"/>
                <a:gd name="connsiteX945" fmla="*/ 2172570 w 2663946"/>
                <a:gd name="connsiteY945" fmla="*/ 156350 h 410640"/>
                <a:gd name="connsiteX946" fmla="*/ 2172815 w 2663946"/>
                <a:gd name="connsiteY946" fmla="*/ 156620 h 410640"/>
                <a:gd name="connsiteX947" fmla="*/ 2172815 w 2663946"/>
                <a:gd name="connsiteY947" fmla="*/ 150942 h 410640"/>
                <a:gd name="connsiteX948" fmla="*/ 2172815 w 2663946"/>
                <a:gd name="connsiteY948" fmla="*/ 150672 h 410640"/>
                <a:gd name="connsiteX949" fmla="*/ 2173307 w 2663946"/>
                <a:gd name="connsiteY949" fmla="*/ 146075 h 410640"/>
                <a:gd name="connsiteX950" fmla="*/ 2174536 w 2663946"/>
                <a:gd name="connsiteY950" fmla="*/ 140668 h 410640"/>
                <a:gd name="connsiteX951" fmla="*/ 2175519 w 2663946"/>
                <a:gd name="connsiteY951" fmla="*/ 137423 h 410640"/>
                <a:gd name="connsiteX952" fmla="*/ 2177731 w 2663946"/>
                <a:gd name="connsiteY952" fmla="*/ 132286 h 410640"/>
                <a:gd name="connsiteX953" fmla="*/ 2179944 w 2663946"/>
                <a:gd name="connsiteY953" fmla="*/ 128501 h 410640"/>
                <a:gd name="connsiteX954" fmla="*/ 2182156 w 2663946"/>
                <a:gd name="connsiteY954" fmla="*/ 125526 h 410640"/>
                <a:gd name="connsiteX955" fmla="*/ 2184368 w 2663946"/>
                <a:gd name="connsiteY955" fmla="*/ 123093 h 410640"/>
                <a:gd name="connsiteX956" fmla="*/ 2189038 w 2663946"/>
                <a:gd name="connsiteY956" fmla="*/ 119308 h 410640"/>
                <a:gd name="connsiteX957" fmla="*/ 2192971 w 2663946"/>
                <a:gd name="connsiteY957" fmla="*/ 117145 h 410640"/>
                <a:gd name="connsiteX958" fmla="*/ 2202558 w 2663946"/>
                <a:gd name="connsiteY958" fmla="*/ 114711 h 410640"/>
                <a:gd name="connsiteX959" fmla="*/ 2020607 w 2663946"/>
                <a:gd name="connsiteY959" fmla="*/ 114711 h 410640"/>
                <a:gd name="connsiteX960" fmla="*/ 2032897 w 2663946"/>
                <a:gd name="connsiteY960" fmla="*/ 116874 h 410640"/>
                <a:gd name="connsiteX961" fmla="*/ 2040271 w 2663946"/>
                <a:gd name="connsiteY961" fmla="*/ 121471 h 410640"/>
                <a:gd name="connsiteX962" fmla="*/ 2043712 w 2663946"/>
                <a:gd name="connsiteY962" fmla="*/ 124715 h 410640"/>
                <a:gd name="connsiteX963" fmla="*/ 2047154 w 2663946"/>
                <a:gd name="connsiteY963" fmla="*/ 129041 h 410640"/>
                <a:gd name="connsiteX964" fmla="*/ 2049120 w 2663946"/>
                <a:gd name="connsiteY964" fmla="*/ 132556 h 410640"/>
                <a:gd name="connsiteX965" fmla="*/ 2051332 w 2663946"/>
                <a:gd name="connsiteY965" fmla="*/ 137964 h 410640"/>
                <a:gd name="connsiteX966" fmla="*/ 2052315 w 2663946"/>
                <a:gd name="connsiteY966" fmla="*/ 141479 h 410640"/>
                <a:gd name="connsiteX967" fmla="*/ 2053299 w 2663946"/>
                <a:gd name="connsiteY967" fmla="*/ 146616 h 410640"/>
                <a:gd name="connsiteX968" fmla="*/ 2053053 w 2663946"/>
                <a:gd name="connsiteY968" fmla="*/ 160946 h 410640"/>
                <a:gd name="connsiteX969" fmla="*/ 2052070 w 2663946"/>
                <a:gd name="connsiteY969" fmla="*/ 165813 h 410640"/>
                <a:gd name="connsiteX970" fmla="*/ 2050840 w 2663946"/>
                <a:gd name="connsiteY970" fmla="*/ 169598 h 410640"/>
                <a:gd name="connsiteX971" fmla="*/ 2049857 w 2663946"/>
                <a:gd name="connsiteY971" fmla="*/ 172032 h 410640"/>
                <a:gd name="connsiteX972" fmla="*/ 2047645 w 2663946"/>
                <a:gd name="connsiteY972" fmla="*/ 176358 h 410640"/>
                <a:gd name="connsiteX973" fmla="*/ 2045433 w 2663946"/>
                <a:gd name="connsiteY973" fmla="*/ 179602 h 410640"/>
                <a:gd name="connsiteX974" fmla="*/ 2041992 w 2663946"/>
                <a:gd name="connsiteY974" fmla="*/ 183388 h 410640"/>
                <a:gd name="connsiteX975" fmla="*/ 2038796 w 2663946"/>
                <a:gd name="connsiteY975" fmla="*/ 186091 h 410640"/>
                <a:gd name="connsiteX976" fmla="*/ 2033143 w 2663946"/>
                <a:gd name="connsiteY976" fmla="*/ 189336 h 410640"/>
                <a:gd name="connsiteX977" fmla="*/ 2025277 w 2663946"/>
                <a:gd name="connsiteY977" fmla="*/ 191499 h 410640"/>
                <a:gd name="connsiteX978" fmla="*/ 2024048 w 2663946"/>
                <a:gd name="connsiteY978" fmla="*/ 191770 h 410640"/>
                <a:gd name="connsiteX979" fmla="*/ 2019869 w 2663946"/>
                <a:gd name="connsiteY979" fmla="*/ 191770 h 410640"/>
                <a:gd name="connsiteX980" fmla="*/ 2019624 w 2663946"/>
                <a:gd name="connsiteY980" fmla="*/ 191770 h 410640"/>
                <a:gd name="connsiteX981" fmla="*/ 2006596 w 2663946"/>
                <a:gd name="connsiteY981" fmla="*/ 186903 h 410640"/>
                <a:gd name="connsiteX982" fmla="*/ 2001926 w 2663946"/>
                <a:gd name="connsiteY982" fmla="*/ 182847 h 410640"/>
                <a:gd name="connsiteX983" fmla="*/ 1998730 w 2663946"/>
                <a:gd name="connsiteY983" fmla="*/ 179062 h 410640"/>
                <a:gd name="connsiteX984" fmla="*/ 1996518 w 2663946"/>
                <a:gd name="connsiteY984" fmla="*/ 175547 h 410640"/>
                <a:gd name="connsiteX985" fmla="*/ 1994306 w 2663946"/>
                <a:gd name="connsiteY985" fmla="*/ 171221 h 410640"/>
                <a:gd name="connsiteX986" fmla="*/ 1993077 w 2663946"/>
                <a:gd name="connsiteY986" fmla="*/ 168246 h 410640"/>
                <a:gd name="connsiteX987" fmla="*/ 1992094 w 2663946"/>
                <a:gd name="connsiteY987" fmla="*/ 165002 h 410640"/>
                <a:gd name="connsiteX988" fmla="*/ 1990864 w 2663946"/>
                <a:gd name="connsiteY988" fmla="*/ 159324 h 410640"/>
                <a:gd name="connsiteX989" fmla="*/ 1990619 w 2663946"/>
                <a:gd name="connsiteY989" fmla="*/ 156350 h 410640"/>
                <a:gd name="connsiteX990" fmla="*/ 1990864 w 2663946"/>
                <a:gd name="connsiteY990" fmla="*/ 156620 h 410640"/>
                <a:gd name="connsiteX991" fmla="*/ 1990864 w 2663946"/>
                <a:gd name="connsiteY991" fmla="*/ 150942 h 410640"/>
                <a:gd name="connsiteX992" fmla="*/ 1990864 w 2663946"/>
                <a:gd name="connsiteY992" fmla="*/ 150672 h 410640"/>
                <a:gd name="connsiteX993" fmla="*/ 1991356 w 2663946"/>
                <a:gd name="connsiteY993" fmla="*/ 146075 h 410640"/>
                <a:gd name="connsiteX994" fmla="*/ 1992585 w 2663946"/>
                <a:gd name="connsiteY994" fmla="*/ 140668 h 410640"/>
                <a:gd name="connsiteX995" fmla="*/ 1993568 w 2663946"/>
                <a:gd name="connsiteY995" fmla="*/ 137423 h 410640"/>
                <a:gd name="connsiteX996" fmla="*/ 1995780 w 2663946"/>
                <a:gd name="connsiteY996" fmla="*/ 132286 h 410640"/>
                <a:gd name="connsiteX997" fmla="*/ 1997993 w 2663946"/>
                <a:gd name="connsiteY997" fmla="*/ 128501 h 410640"/>
                <a:gd name="connsiteX998" fmla="*/ 2000205 w 2663946"/>
                <a:gd name="connsiteY998" fmla="*/ 125526 h 410640"/>
                <a:gd name="connsiteX999" fmla="*/ 2002417 w 2663946"/>
                <a:gd name="connsiteY999" fmla="*/ 123093 h 410640"/>
                <a:gd name="connsiteX1000" fmla="*/ 2007087 w 2663946"/>
                <a:gd name="connsiteY1000" fmla="*/ 119308 h 410640"/>
                <a:gd name="connsiteX1001" fmla="*/ 2011020 w 2663946"/>
                <a:gd name="connsiteY1001" fmla="*/ 117145 h 410640"/>
                <a:gd name="connsiteX1002" fmla="*/ 2020607 w 2663946"/>
                <a:gd name="connsiteY1002" fmla="*/ 114711 h 410640"/>
                <a:gd name="connsiteX1003" fmla="*/ 1595683 w 2663946"/>
                <a:gd name="connsiteY1003" fmla="*/ 114711 h 410640"/>
                <a:gd name="connsiteX1004" fmla="*/ 1607973 w 2663946"/>
                <a:gd name="connsiteY1004" fmla="*/ 116874 h 410640"/>
                <a:gd name="connsiteX1005" fmla="*/ 1615347 w 2663946"/>
                <a:gd name="connsiteY1005" fmla="*/ 121471 h 410640"/>
                <a:gd name="connsiteX1006" fmla="*/ 1618788 w 2663946"/>
                <a:gd name="connsiteY1006" fmla="*/ 124715 h 410640"/>
                <a:gd name="connsiteX1007" fmla="*/ 1622230 w 2663946"/>
                <a:gd name="connsiteY1007" fmla="*/ 129041 h 410640"/>
                <a:gd name="connsiteX1008" fmla="*/ 1624196 w 2663946"/>
                <a:gd name="connsiteY1008" fmla="*/ 132556 h 410640"/>
                <a:gd name="connsiteX1009" fmla="*/ 1626408 w 2663946"/>
                <a:gd name="connsiteY1009" fmla="*/ 137964 h 410640"/>
                <a:gd name="connsiteX1010" fmla="*/ 1627391 w 2663946"/>
                <a:gd name="connsiteY1010" fmla="*/ 141479 h 410640"/>
                <a:gd name="connsiteX1011" fmla="*/ 1628374 w 2663946"/>
                <a:gd name="connsiteY1011" fmla="*/ 146616 h 410640"/>
                <a:gd name="connsiteX1012" fmla="*/ 1628129 w 2663946"/>
                <a:gd name="connsiteY1012" fmla="*/ 160946 h 410640"/>
                <a:gd name="connsiteX1013" fmla="*/ 1627146 w 2663946"/>
                <a:gd name="connsiteY1013" fmla="*/ 165813 h 410640"/>
                <a:gd name="connsiteX1014" fmla="*/ 1625916 w 2663946"/>
                <a:gd name="connsiteY1014" fmla="*/ 169598 h 410640"/>
                <a:gd name="connsiteX1015" fmla="*/ 1624933 w 2663946"/>
                <a:gd name="connsiteY1015" fmla="*/ 172032 h 410640"/>
                <a:gd name="connsiteX1016" fmla="*/ 1622721 w 2663946"/>
                <a:gd name="connsiteY1016" fmla="*/ 176358 h 410640"/>
                <a:gd name="connsiteX1017" fmla="*/ 1620509 w 2663946"/>
                <a:gd name="connsiteY1017" fmla="*/ 179602 h 410640"/>
                <a:gd name="connsiteX1018" fmla="*/ 1617068 w 2663946"/>
                <a:gd name="connsiteY1018" fmla="*/ 183388 h 410640"/>
                <a:gd name="connsiteX1019" fmla="*/ 1613872 w 2663946"/>
                <a:gd name="connsiteY1019" fmla="*/ 186091 h 410640"/>
                <a:gd name="connsiteX1020" fmla="*/ 1608219 w 2663946"/>
                <a:gd name="connsiteY1020" fmla="*/ 189336 h 410640"/>
                <a:gd name="connsiteX1021" fmla="*/ 1600353 w 2663946"/>
                <a:gd name="connsiteY1021" fmla="*/ 191499 h 410640"/>
                <a:gd name="connsiteX1022" fmla="*/ 1599124 w 2663946"/>
                <a:gd name="connsiteY1022" fmla="*/ 191770 h 410640"/>
                <a:gd name="connsiteX1023" fmla="*/ 1594945 w 2663946"/>
                <a:gd name="connsiteY1023" fmla="*/ 191770 h 410640"/>
                <a:gd name="connsiteX1024" fmla="*/ 1594699 w 2663946"/>
                <a:gd name="connsiteY1024" fmla="*/ 191770 h 410640"/>
                <a:gd name="connsiteX1025" fmla="*/ 1581672 w 2663946"/>
                <a:gd name="connsiteY1025" fmla="*/ 186903 h 410640"/>
                <a:gd name="connsiteX1026" fmla="*/ 1577002 w 2663946"/>
                <a:gd name="connsiteY1026" fmla="*/ 182847 h 410640"/>
                <a:gd name="connsiteX1027" fmla="*/ 1573806 w 2663946"/>
                <a:gd name="connsiteY1027" fmla="*/ 179062 h 410640"/>
                <a:gd name="connsiteX1028" fmla="*/ 1571594 w 2663946"/>
                <a:gd name="connsiteY1028" fmla="*/ 175547 h 410640"/>
                <a:gd name="connsiteX1029" fmla="*/ 1569382 w 2663946"/>
                <a:gd name="connsiteY1029" fmla="*/ 171221 h 410640"/>
                <a:gd name="connsiteX1030" fmla="*/ 1568153 w 2663946"/>
                <a:gd name="connsiteY1030" fmla="*/ 168246 h 410640"/>
                <a:gd name="connsiteX1031" fmla="*/ 1567169 w 2663946"/>
                <a:gd name="connsiteY1031" fmla="*/ 165002 h 410640"/>
                <a:gd name="connsiteX1032" fmla="*/ 1565940 w 2663946"/>
                <a:gd name="connsiteY1032" fmla="*/ 159324 h 410640"/>
                <a:gd name="connsiteX1033" fmla="*/ 1565695 w 2663946"/>
                <a:gd name="connsiteY1033" fmla="*/ 156350 h 410640"/>
                <a:gd name="connsiteX1034" fmla="*/ 1565940 w 2663946"/>
                <a:gd name="connsiteY1034" fmla="*/ 156620 h 410640"/>
                <a:gd name="connsiteX1035" fmla="*/ 1565940 w 2663946"/>
                <a:gd name="connsiteY1035" fmla="*/ 150942 h 410640"/>
                <a:gd name="connsiteX1036" fmla="*/ 1565940 w 2663946"/>
                <a:gd name="connsiteY1036" fmla="*/ 150672 h 410640"/>
                <a:gd name="connsiteX1037" fmla="*/ 1566432 w 2663946"/>
                <a:gd name="connsiteY1037" fmla="*/ 146075 h 410640"/>
                <a:gd name="connsiteX1038" fmla="*/ 1567661 w 2663946"/>
                <a:gd name="connsiteY1038" fmla="*/ 140668 h 410640"/>
                <a:gd name="connsiteX1039" fmla="*/ 1568644 w 2663946"/>
                <a:gd name="connsiteY1039" fmla="*/ 137423 h 410640"/>
                <a:gd name="connsiteX1040" fmla="*/ 1570856 w 2663946"/>
                <a:gd name="connsiteY1040" fmla="*/ 132286 h 410640"/>
                <a:gd name="connsiteX1041" fmla="*/ 1573069 w 2663946"/>
                <a:gd name="connsiteY1041" fmla="*/ 128501 h 410640"/>
                <a:gd name="connsiteX1042" fmla="*/ 1575281 w 2663946"/>
                <a:gd name="connsiteY1042" fmla="*/ 125526 h 410640"/>
                <a:gd name="connsiteX1043" fmla="*/ 1577493 w 2663946"/>
                <a:gd name="connsiteY1043" fmla="*/ 123093 h 410640"/>
                <a:gd name="connsiteX1044" fmla="*/ 1582163 w 2663946"/>
                <a:gd name="connsiteY1044" fmla="*/ 119308 h 410640"/>
                <a:gd name="connsiteX1045" fmla="*/ 1586096 w 2663946"/>
                <a:gd name="connsiteY1045" fmla="*/ 117145 h 410640"/>
                <a:gd name="connsiteX1046" fmla="*/ 1595683 w 2663946"/>
                <a:gd name="connsiteY1046" fmla="*/ 114711 h 410640"/>
                <a:gd name="connsiteX1047" fmla="*/ 1246776 w 2663946"/>
                <a:gd name="connsiteY1047" fmla="*/ 114711 h 410640"/>
                <a:gd name="connsiteX1048" fmla="*/ 1259066 w 2663946"/>
                <a:gd name="connsiteY1048" fmla="*/ 116874 h 410640"/>
                <a:gd name="connsiteX1049" fmla="*/ 1266440 w 2663946"/>
                <a:gd name="connsiteY1049" fmla="*/ 121471 h 410640"/>
                <a:gd name="connsiteX1050" fmla="*/ 1269881 w 2663946"/>
                <a:gd name="connsiteY1050" fmla="*/ 124715 h 410640"/>
                <a:gd name="connsiteX1051" fmla="*/ 1273323 w 2663946"/>
                <a:gd name="connsiteY1051" fmla="*/ 129041 h 410640"/>
                <a:gd name="connsiteX1052" fmla="*/ 1275289 w 2663946"/>
                <a:gd name="connsiteY1052" fmla="*/ 132556 h 410640"/>
                <a:gd name="connsiteX1053" fmla="*/ 1277501 w 2663946"/>
                <a:gd name="connsiteY1053" fmla="*/ 137964 h 410640"/>
                <a:gd name="connsiteX1054" fmla="*/ 1278484 w 2663946"/>
                <a:gd name="connsiteY1054" fmla="*/ 141479 h 410640"/>
                <a:gd name="connsiteX1055" fmla="*/ 1279467 w 2663946"/>
                <a:gd name="connsiteY1055" fmla="*/ 146616 h 410640"/>
                <a:gd name="connsiteX1056" fmla="*/ 1279222 w 2663946"/>
                <a:gd name="connsiteY1056" fmla="*/ 160946 h 410640"/>
                <a:gd name="connsiteX1057" fmla="*/ 1278239 w 2663946"/>
                <a:gd name="connsiteY1057" fmla="*/ 165813 h 410640"/>
                <a:gd name="connsiteX1058" fmla="*/ 1277009 w 2663946"/>
                <a:gd name="connsiteY1058" fmla="*/ 169598 h 410640"/>
                <a:gd name="connsiteX1059" fmla="*/ 1276026 w 2663946"/>
                <a:gd name="connsiteY1059" fmla="*/ 172032 h 410640"/>
                <a:gd name="connsiteX1060" fmla="*/ 1273814 w 2663946"/>
                <a:gd name="connsiteY1060" fmla="*/ 176358 h 410640"/>
                <a:gd name="connsiteX1061" fmla="*/ 1271602 w 2663946"/>
                <a:gd name="connsiteY1061" fmla="*/ 179602 h 410640"/>
                <a:gd name="connsiteX1062" fmla="*/ 1268161 w 2663946"/>
                <a:gd name="connsiteY1062" fmla="*/ 183388 h 410640"/>
                <a:gd name="connsiteX1063" fmla="*/ 1264965 w 2663946"/>
                <a:gd name="connsiteY1063" fmla="*/ 186091 h 410640"/>
                <a:gd name="connsiteX1064" fmla="*/ 1259312 w 2663946"/>
                <a:gd name="connsiteY1064" fmla="*/ 189336 h 410640"/>
                <a:gd name="connsiteX1065" fmla="*/ 1251446 w 2663946"/>
                <a:gd name="connsiteY1065" fmla="*/ 191499 h 410640"/>
                <a:gd name="connsiteX1066" fmla="*/ 1250217 w 2663946"/>
                <a:gd name="connsiteY1066" fmla="*/ 191770 h 410640"/>
                <a:gd name="connsiteX1067" fmla="*/ 1246038 w 2663946"/>
                <a:gd name="connsiteY1067" fmla="*/ 191770 h 410640"/>
                <a:gd name="connsiteX1068" fmla="*/ 1245792 w 2663946"/>
                <a:gd name="connsiteY1068" fmla="*/ 191770 h 410640"/>
                <a:gd name="connsiteX1069" fmla="*/ 1232765 w 2663946"/>
                <a:gd name="connsiteY1069" fmla="*/ 186903 h 410640"/>
                <a:gd name="connsiteX1070" fmla="*/ 1228095 w 2663946"/>
                <a:gd name="connsiteY1070" fmla="*/ 182847 h 410640"/>
                <a:gd name="connsiteX1071" fmla="*/ 1224899 w 2663946"/>
                <a:gd name="connsiteY1071" fmla="*/ 179062 h 410640"/>
                <a:gd name="connsiteX1072" fmla="*/ 1222687 w 2663946"/>
                <a:gd name="connsiteY1072" fmla="*/ 175547 h 410640"/>
                <a:gd name="connsiteX1073" fmla="*/ 1220475 w 2663946"/>
                <a:gd name="connsiteY1073" fmla="*/ 171221 h 410640"/>
                <a:gd name="connsiteX1074" fmla="*/ 1219246 w 2663946"/>
                <a:gd name="connsiteY1074" fmla="*/ 168246 h 410640"/>
                <a:gd name="connsiteX1075" fmla="*/ 1218262 w 2663946"/>
                <a:gd name="connsiteY1075" fmla="*/ 165002 h 410640"/>
                <a:gd name="connsiteX1076" fmla="*/ 1217033 w 2663946"/>
                <a:gd name="connsiteY1076" fmla="*/ 159324 h 410640"/>
                <a:gd name="connsiteX1077" fmla="*/ 1216788 w 2663946"/>
                <a:gd name="connsiteY1077" fmla="*/ 156350 h 410640"/>
                <a:gd name="connsiteX1078" fmla="*/ 1217033 w 2663946"/>
                <a:gd name="connsiteY1078" fmla="*/ 156620 h 410640"/>
                <a:gd name="connsiteX1079" fmla="*/ 1217033 w 2663946"/>
                <a:gd name="connsiteY1079" fmla="*/ 150942 h 410640"/>
                <a:gd name="connsiteX1080" fmla="*/ 1217033 w 2663946"/>
                <a:gd name="connsiteY1080" fmla="*/ 150672 h 410640"/>
                <a:gd name="connsiteX1081" fmla="*/ 1217525 w 2663946"/>
                <a:gd name="connsiteY1081" fmla="*/ 146075 h 410640"/>
                <a:gd name="connsiteX1082" fmla="*/ 1218754 w 2663946"/>
                <a:gd name="connsiteY1082" fmla="*/ 140668 h 410640"/>
                <a:gd name="connsiteX1083" fmla="*/ 1219737 w 2663946"/>
                <a:gd name="connsiteY1083" fmla="*/ 137423 h 410640"/>
                <a:gd name="connsiteX1084" fmla="*/ 1221949 w 2663946"/>
                <a:gd name="connsiteY1084" fmla="*/ 132286 h 410640"/>
                <a:gd name="connsiteX1085" fmla="*/ 1224162 w 2663946"/>
                <a:gd name="connsiteY1085" fmla="*/ 128501 h 410640"/>
                <a:gd name="connsiteX1086" fmla="*/ 1226374 w 2663946"/>
                <a:gd name="connsiteY1086" fmla="*/ 125526 h 410640"/>
                <a:gd name="connsiteX1087" fmla="*/ 1228586 w 2663946"/>
                <a:gd name="connsiteY1087" fmla="*/ 123093 h 410640"/>
                <a:gd name="connsiteX1088" fmla="*/ 1233256 w 2663946"/>
                <a:gd name="connsiteY1088" fmla="*/ 119308 h 410640"/>
                <a:gd name="connsiteX1089" fmla="*/ 1237189 w 2663946"/>
                <a:gd name="connsiteY1089" fmla="*/ 117145 h 410640"/>
                <a:gd name="connsiteX1090" fmla="*/ 1246776 w 2663946"/>
                <a:gd name="connsiteY1090" fmla="*/ 114711 h 410640"/>
                <a:gd name="connsiteX1091" fmla="*/ 1064825 w 2663946"/>
                <a:gd name="connsiteY1091" fmla="*/ 114711 h 410640"/>
                <a:gd name="connsiteX1092" fmla="*/ 1077115 w 2663946"/>
                <a:gd name="connsiteY1092" fmla="*/ 116874 h 410640"/>
                <a:gd name="connsiteX1093" fmla="*/ 1084489 w 2663946"/>
                <a:gd name="connsiteY1093" fmla="*/ 121471 h 410640"/>
                <a:gd name="connsiteX1094" fmla="*/ 1087930 w 2663946"/>
                <a:gd name="connsiteY1094" fmla="*/ 124715 h 410640"/>
                <a:gd name="connsiteX1095" fmla="*/ 1091372 w 2663946"/>
                <a:gd name="connsiteY1095" fmla="*/ 129041 h 410640"/>
                <a:gd name="connsiteX1096" fmla="*/ 1093338 w 2663946"/>
                <a:gd name="connsiteY1096" fmla="*/ 132556 h 410640"/>
                <a:gd name="connsiteX1097" fmla="*/ 1095550 w 2663946"/>
                <a:gd name="connsiteY1097" fmla="*/ 137964 h 410640"/>
                <a:gd name="connsiteX1098" fmla="*/ 1096533 w 2663946"/>
                <a:gd name="connsiteY1098" fmla="*/ 141479 h 410640"/>
                <a:gd name="connsiteX1099" fmla="*/ 1097516 w 2663946"/>
                <a:gd name="connsiteY1099" fmla="*/ 146616 h 410640"/>
                <a:gd name="connsiteX1100" fmla="*/ 1097271 w 2663946"/>
                <a:gd name="connsiteY1100" fmla="*/ 160946 h 410640"/>
                <a:gd name="connsiteX1101" fmla="*/ 1096288 w 2663946"/>
                <a:gd name="connsiteY1101" fmla="*/ 165813 h 410640"/>
                <a:gd name="connsiteX1102" fmla="*/ 1095058 w 2663946"/>
                <a:gd name="connsiteY1102" fmla="*/ 169598 h 410640"/>
                <a:gd name="connsiteX1103" fmla="*/ 1094075 w 2663946"/>
                <a:gd name="connsiteY1103" fmla="*/ 172032 h 410640"/>
                <a:gd name="connsiteX1104" fmla="*/ 1091863 w 2663946"/>
                <a:gd name="connsiteY1104" fmla="*/ 176358 h 410640"/>
                <a:gd name="connsiteX1105" fmla="*/ 1089651 w 2663946"/>
                <a:gd name="connsiteY1105" fmla="*/ 179602 h 410640"/>
                <a:gd name="connsiteX1106" fmla="*/ 1086210 w 2663946"/>
                <a:gd name="connsiteY1106" fmla="*/ 183388 h 410640"/>
                <a:gd name="connsiteX1107" fmla="*/ 1083014 w 2663946"/>
                <a:gd name="connsiteY1107" fmla="*/ 186091 h 410640"/>
                <a:gd name="connsiteX1108" fmla="*/ 1077361 w 2663946"/>
                <a:gd name="connsiteY1108" fmla="*/ 189336 h 410640"/>
                <a:gd name="connsiteX1109" fmla="*/ 1069495 w 2663946"/>
                <a:gd name="connsiteY1109" fmla="*/ 191499 h 410640"/>
                <a:gd name="connsiteX1110" fmla="*/ 1068266 w 2663946"/>
                <a:gd name="connsiteY1110" fmla="*/ 191770 h 410640"/>
                <a:gd name="connsiteX1111" fmla="*/ 1064087 w 2663946"/>
                <a:gd name="connsiteY1111" fmla="*/ 191770 h 410640"/>
                <a:gd name="connsiteX1112" fmla="*/ 1063841 w 2663946"/>
                <a:gd name="connsiteY1112" fmla="*/ 191770 h 410640"/>
                <a:gd name="connsiteX1113" fmla="*/ 1050814 w 2663946"/>
                <a:gd name="connsiteY1113" fmla="*/ 186903 h 410640"/>
                <a:gd name="connsiteX1114" fmla="*/ 1046144 w 2663946"/>
                <a:gd name="connsiteY1114" fmla="*/ 182847 h 410640"/>
                <a:gd name="connsiteX1115" fmla="*/ 1042948 w 2663946"/>
                <a:gd name="connsiteY1115" fmla="*/ 179062 h 410640"/>
                <a:gd name="connsiteX1116" fmla="*/ 1040736 w 2663946"/>
                <a:gd name="connsiteY1116" fmla="*/ 175547 h 410640"/>
                <a:gd name="connsiteX1117" fmla="*/ 1038524 w 2663946"/>
                <a:gd name="connsiteY1117" fmla="*/ 171221 h 410640"/>
                <a:gd name="connsiteX1118" fmla="*/ 1037295 w 2663946"/>
                <a:gd name="connsiteY1118" fmla="*/ 168246 h 410640"/>
                <a:gd name="connsiteX1119" fmla="*/ 1036311 w 2663946"/>
                <a:gd name="connsiteY1119" fmla="*/ 165002 h 410640"/>
                <a:gd name="connsiteX1120" fmla="*/ 1035082 w 2663946"/>
                <a:gd name="connsiteY1120" fmla="*/ 159324 h 410640"/>
                <a:gd name="connsiteX1121" fmla="*/ 1034837 w 2663946"/>
                <a:gd name="connsiteY1121" fmla="*/ 156350 h 410640"/>
                <a:gd name="connsiteX1122" fmla="*/ 1035082 w 2663946"/>
                <a:gd name="connsiteY1122" fmla="*/ 156620 h 410640"/>
                <a:gd name="connsiteX1123" fmla="*/ 1035082 w 2663946"/>
                <a:gd name="connsiteY1123" fmla="*/ 150942 h 410640"/>
                <a:gd name="connsiteX1124" fmla="*/ 1035082 w 2663946"/>
                <a:gd name="connsiteY1124" fmla="*/ 150672 h 410640"/>
                <a:gd name="connsiteX1125" fmla="*/ 1035574 w 2663946"/>
                <a:gd name="connsiteY1125" fmla="*/ 146075 h 410640"/>
                <a:gd name="connsiteX1126" fmla="*/ 1036803 w 2663946"/>
                <a:gd name="connsiteY1126" fmla="*/ 140668 h 410640"/>
                <a:gd name="connsiteX1127" fmla="*/ 1037786 w 2663946"/>
                <a:gd name="connsiteY1127" fmla="*/ 137423 h 410640"/>
                <a:gd name="connsiteX1128" fmla="*/ 1039998 w 2663946"/>
                <a:gd name="connsiteY1128" fmla="*/ 132286 h 410640"/>
                <a:gd name="connsiteX1129" fmla="*/ 1042211 w 2663946"/>
                <a:gd name="connsiteY1129" fmla="*/ 128501 h 410640"/>
                <a:gd name="connsiteX1130" fmla="*/ 1044423 w 2663946"/>
                <a:gd name="connsiteY1130" fmla="*/ 125526 h 410640"/>
                <a:gd name="connsiteX1131" fmla="*/ 1046635 w 2663946"/>
                <a:gd name="connsiteY1131" fmla="*/ 123093 h 410640"/>
                <a:gd name="connsiteX1132" fmla="*/ 1051305 w 2663946"/>
                <a:gd name="connsiteY1132" fmla="*/ 119308 h 410640"/>
                <a:gd name="connsiteX1133" fmla="*/ 1055238 w 2663946"/>
                <a:gd name="connsiteY1133" fmla="*/ 117145 h 410640"/>
                <a:gd name="connsiteX1134" fmla="*/ 1064825 w 2663946"/>
                <a:gd name="connsiteY1134" fmla="*/ 114711 h 410640"/>
                <a:gd name="connsiteX1135" fmla="*/ 897796 w 2663946"/>
                <a:gd name="connsiteY1135" fmla="*/ 114711 h 410640"/>
                <a:gd name="connsiteX1136" fmla="*/ 910086 w 2663946"/>
                <a:gd name="connsiteY1136" fmla="*/ 116874 h 410640"/>
                <a:gd name="connsiteX1137" fmla="*/ 917460 w 2663946"/>
                <a:gd name="connsiteY1137" fmla="*/ 121471 h 410640"/>
                <a:gd name="connsiteX1138" fmla="*/ 920901 w 2663946"/>
                <a:gd name="connsiteY1138" fmla="*/ 124715 h 410640"/>
                <a:gd name="connsiteX1139" fmla="*/ 924343 w 2663946"/>
                <a:gd name="connsiteY1139" fmla="*/ 129041 h 410640"/>
                <a:gd name="connsiteX1140" fmla="*/ 926309 w 2663946"/>
                <a:gd name="connsiteY1140" fmla="*/ 132556 h 410640"/>
                <a:gd name="connsiteX1141" fmla="*/ 928521 w 2663946"/>
                <a:gd name="connsiteY1141" fmla="*/ 137964 h 410640"/>
                <a:gd name="connsiteX1142" fmla="*/ 929504 w 2663946"/>
                <a:gd name="connsiteY1142" fmla="*/ 141479 h 410640"/>
                <a:gd name="connsiteX1143" fmla="*/ 930487 w 2663946"/>
                <a:gd name="connsiteY1143" fmla="*/ 146616 h 410640"/>
                <a:gd name="connsiteX1144" fmla="*/ 930242 w 2663946"/>
                <a:gd name="connsiteY1144" fmla="*/ 160946 h 410640"/>
                <a:gd name="connsiteX1145" fmla="*/ 929259 w 2663946"/>
                <a:gd name="connsiteY1145" fmla="*/ 165813 h 410640"/>
                <a:gd name="connsiteX1146" fmla="*/ 928029 w 2663946"/>
                <a:gd name="connsiteY1146" fmla="*/ 169598 h 410640"/>
                <a:gd name="connsiteX1147" fmla="*/ 927046 w 2663946"/>
                <a:gd name="connsiteY1147" fmla="*/ 172032 h 410640"/>
                <a:gd name="connsiteX1148" fmla="*/ 924834 w 2663946"/>
                <a:gd name="connsiteY1148" fmla="*/ 176358 h 410640"/>
                <a:gd name="connsiteX1149" fmla="*/ 922622 w 2663946"/>
                <a:gd name="connsiteY1149" fmla="*/ 179602 h 410640"/>
                <a:gd name="connsiteX1150" fmla="*/ 919181 w 2663946"/>
                <a:gd name="connsiteY1150" fmla="*/ 183388 h 410640"/>
                <a:gd name="connsiteX1151" fmla="*/ 915985 w 2663946"/>
                <a:gd name="connsiteY1151" fmla="*/ 186091 h 410640"/>
                <a:gd name="connsiteX1152" fmla="*/ 910332 w 2663946"/>
                <a:gd name="connsiteY1152" fmla="*/ 189336 h 410640"/>
                <a:gd name="connsiteX1153" fmla="*/ 902466 w 2663946"/>
                <a:gd name="connsiteY1153" fmla="*/ 191499 h 410640"/>
                <a:gd name="connsiteX1154" fmla="*/ 901237 w 2663946"/>
                <a:gd name="connsiteY1154" fmla="*/ 191770 h 410640"/>
                <a:gd name="connsiteX1155" fmla="*/ 897058 w 2663946"/>
                <a:gd name="connsiteY1155" fmla="*/ 191770 h 410640"/>
                <a:gd name="connsiteX1156" fmla="*/ 896812 w 2663946"/>
                <a:gd name="connsiteY1156" fmla="*/ 191770 h 410640"/>
                <a:gd name="connsiteX1157" fmla="*/ 883785 w 2663946"/>
                <a:gd name="connsiteY1157" fmla="*/ 186903 h 410640"/>
                <a:gd name="connsiteX1158" fmla="*/ 879115 w 2663946"/>
                <a:gd name="connsiteY1158" fmla="*/ 182847 h 410640"/>
                <a:gd name="connsiteX1159" fmla="*/ 875919 w 2663946"/>
                <a:gd name="connsiteY1159" fmla="*/ 179062 h 410640"/>
                <a:gd name="connsiteX1160" fmla="*/ 873707 w 2663946"/>
                <a:gd name="connsiteY1160" fmla="*/ 175547 h 410640"/>
                <a:gd name="connsiteX1161" fmla="*/ 871495 w 2663946"/>
                <a:gd name="connsiteY1161" fmla="*/ 171221 h 410640"/>
                <a:gd name="connsiteX1162" fmla="*/ 870266 w 2663946"/>
                <a:gd name="connsiteY1162" fmla="*/ 168246 h 410640"/>
                <a:gd name="connsiteX1163" fmla="*/ 869282 w 2663946"/>
                <a:gd name="connsiteY1163" fmla="*/ 165002 h 410640"/>
                <a:gd name="connsiteX1164" fmla="*/ 868053 w 2663946"/>
                <a:gd name="connsiteY1164" fmla="*/ 159324 h 410640"/>
                <a:gd name="connsiteX1165" fmla="*/ 867808 w 2663946"/>
                <a:gd name="connsiteY1165" fmla="*/ 156350 h 410640"/>
                <a:gd name="connsiteX1166" fmla="*/ 868053 w 2663946"/>
                <a:gd name="connsiteY1166" fmla="*/ 156620 h 410640"/>
                <a:gd name="connsiteX1167" fmla="*/ 868053 w 2663946"/>
                <a:gd name="connsiteY1167" fmla="*/ 150942 h 410640"/>
                <a:gd name="connsiteX1168" fmla="*/ 868053 w 2663946"/>
                <a:gd name="connsiteY1168" fmla="*/ 150672 h 410640"/>
                <a:gd name="connsiteX1169" fmla="*/ 868545 w 2663946"/>
                <a:gd name="connsiteY1169" fmla="*/ 146075 h 410640"/>
                <a:gd name="connsiteX1170" fmla="*/ 869774 w 2663946"/>
                <a:gd name="connsiteY1170" fmla="*/ 140668 h 410640"/>
                <a:gd name="connsiteX1171" fmla="*/ 870757 w 2663946"/>
                <a:gd name="connsiteY1171" fmla="*/ 137423 h 410640"/>
                <a:gd name="connsiteX1172" fmla="*/ 872969 w 2663946"/>
                <a:gd name="connsiteY1172" fmla="*/ 132286 h 410640"/>
                <a:gd name="connsiteX1173" fmla="*/ 875182 w 2663946"/>
                <a:gd name="connsiteY1173" fmla="*/ 128501 h 410640"/>
                <a:gd name="connsiteX1174" fmla="*/ 877394 w 2663946"/>
                <a:gd name="connsiteY1174" fmla="*/ 125526 h 410640"/>
                <a:gd name="connsiteX1175" fmla="*/ 879606 w 2663946"/>
                <a:gd name="connsiteY1175" fmla="*/ 123093 h 410640"/>
                <a:gd name="connsiteX1176" fmla="*/ 884276 w 2663946"/>
                <a:gd name="connsiteY1176" fmla="*/ 119308 h 410640"/>
                <a:gd name="connsiteX1177" fmla="*/ 888209 w 2663946"/>
                <a:gd name="connsiteY1177" fmla="*/ 117145 h 410640"/>
                <a:gd name="connsiteX1178" fmla="*/ 897796 w 2663946"/>
                <a:gd name="connsiteY1178" fmla="*/ 114711 h 410640"/>
                <a:gd name="connsiteX1179" fmla="*/ 548889 w 2663946"/>
                <a:gd name="connsiteY1179" fmla="*/ 114711 h 410640"/>
                <a:gd name="connsiteX1180" fmla="*/ 561180 w 2663946"/>
                <a:gd name="connsiteY1180" fmla="*/ 116874 h 410640"/>
                <a:gd name="connsiteX1181" fmla="*/ 568554 w 2663946"/>
                <a:gd name="connsiteY1181" fmla="*/ 121471 h 410640"/>
                <a:gd name="connsiteX1182" fmla="*/ 571995 w 2663946"/>
                <a:gd name="connsiteY1182" fmla="*/ 124715 h 410640"/>
                <a:gd name="connsiteX1183" fmla="*/ 575436 w 2663946"/>
                <a:gd name="connsiteY1183" fmla="*/ 129041 h 410640"/>
                <a:gd name="connsiteX1184" fmla="*/ 577403 w 2663946"/>
                <a:gd name="connsiteY1184" fmla="*/ 132556 h 410640"/>
                <a:gd name="connsiteX1185" fmla="*/ 579615 w 2663946"/>
                <a:gd name="connsiteY1185" fmla="*/ 137964 h 410640"/>
                <a:gd name="connsiteX1186" fmla="*/ 580598 w 2663946"/>
                <a:gd name="connsiteY1186" fmla="*/ 141479 h 410640"/>
                <a:gd name="connsiteX1187" fmla="*/ 581581 w 2663946"/>
                <a:gd name="connsiteY1187" fmla="*/ 146616 h 410640"/>
                <a:gd name="connsiteX1188" fmla="*/ 581336 w 2663946"/>
                <a:gd name="connsiteY1188" fmla="*/ 160946 h 410640"/>
                <a:gd name="connsiteX1189" fmla="*/ 580352 w 2663946"/>
                <a:gd name="connsiteY1189" fmla="*/ 165813 h 410640"/>
                <a:gd name="connsiteX1190" fmla="*/ 579123 w 2663946"/>
                <a:gd name="connsiteY1190" fmla="*/ 169598 h 410640"/>
                <a:gd name="connsiteX1191" fmla="*/ 578140 w 2663946"/>
                <a:gd name="connsiteY1191" fmla="*/ 172032 h 410640"/>
                <a:gd name="connsiteX1192" fmla="*/ 575928 w 2663946"/>
                <a:gd name="connsiteY1192" fmla="*/ 176358 h 410640"/>
                <a:gd name="connsiteX1193" fmla="*/ 573715 w 2663946"/>
                <a:gd name="connsiteY1193" fmla="*/ 179602 h 410640"/>
                <a:gd name="connsiteX1194" fmla="*/ 570274 w 2663946"/>
                <a:gd name="connsiteY1194" fmla="*/ 183388 h 410640"/>
                <a:gd name="connsiteX1195" fmla="*/ 567079 w 2663946"/>
                <a:gd name="connsiteY1195" fmla="*/ 186091 h 410640"/>
                <a:gd name="connsiteX1196" fmla="*/ 561425 w 2663946"/>
                <a:gd name="connsiteY1196" fmla="*/ 189336 h 410640"/>
                <a:gd name="connsiteX1197" fmla="*/ 553559 w 2663946"/>
                <a:gd name="connsiteY1197" fmla="*/ 191499 h 410640"/>
                <a:gd name="connsiteX1198" fmla="*/ 552331 w 2663946"/>
                <a:gd name="connsiteY1198" fmla="*/ 191770 h 410640"/>
                <a:gd name="connsiteX1199" fmla="*/ 548152 w 2663946"/>
                <a:gd name="connsiteY1199" fmla="*/ 191770 h 410640"/>
                <a:gd name="connsiteX1200" fmla="*/ 547906 w 2663946"/>
                <a:gd name="connsiteY1200" fmla="*/ 191770 h 410640"/>
                <a:gd name="connsiteX1201" fmla="*/ 534879 w 2663946"/>
                <a:gd name="connsiteY1201" fmla="*/ 186903 h 410640"/>
                <a:gd name="connsiteX1202" fmla="*/ 530208 w 2663946"/>
                <a:gd name="connsiteY1202" fmla="*/ 182847 h 410640"/>
                <a:gd name="connsiteX1203" fmla="*/ 527013 w 2663946"/>
                <a:gd name="connsiteY1203" fmla="*/ 179062 h 410640"/>
                <a:gd name="connsiteX1204" fmla="*/ 524801 w 2663946"/>
                <a:gd name="connsiteY1204" fmla="*/ 175547 h 410640"/>
                <a:gd name="connsiteX1205" fmla="*/ 522588 w 2663946"/>
                <a:gd name="connsiteY1205" fmla="*/ 171221 h 410640"/>
                <a:gd name="connsiteX1206" fmla="*/ 521359 w 2663946"/>
                <a:gd name="connsiteY1206" fmla="*/ 168246 h 410640"/>
                <a:gd name="connsiteX1207" fmla="*/ 520376 w 2663946"/>
                <a:gd name="connsiteY1207" fmla="*/ 165002 h 410640"/>
                <a:gd name="connsiteX1208" fmla="*/ 519147 w 2663946"/>
                <a:gd name="connsiteY1208" fmla="*/ 159324 h 410640"/>
                <a:gd name="connsiteX1209" fmla="*/ 518901 w 2663946"/>
                <a:gd name="connsiteY1209" fmla="*/ 156350 h 410640"/>
                <a:gd name="connsiteX1210" fmla="*/ 519147 w 2663946"/>
                <a:gd name="connsiteY1210" fmla="*/ 156620 h 410640"/>
                <a:gd name="connsiteX1211" fmla="*/ 519147 w 2663946"/>
                <a:gd name="connsiteY1211" fmla="*/ 150942 h 410640"/>
                <a:gd name="connsiteX1212" fmla="*/ 519147 w 2663946"/>
                <a:gd name="connsiteY1212" fmla="*/ 150672 h 410640"/>
                <a:gd name="connsiteX1213" fmla="*/ 519639 w 2663946"/>
                <a:gd name="connsiteY1213" fmla="*/ 146075 h 410640"/>
                <a:gd name="connsiteX1214" fmla="*/ 520868 w 2663946"/>
                <a:gd name="connsiteY1214" fmla="*/ 140668 h 410640"/>
                <a:gd name="connsiteX1215" fmla="*/ 521851 w 2663946"/>
                <a:gd name="connsiteY1215" fmla="*/ 137423 h 410640"/>
                <a:gd name="connsiteX1216" fmla="*/ 524063 w 2663946"/>
                <a:gd name="connsiteY1216" fmla="*/ 132286 h 410640"/>
                <a:gd name="connsiteX1217" fmla="*/ 526275 w 2663946"/>
                <a:gd name="connsiteY1217" fmla="*/ 128501 h 410640"/>
                <a:gd name="connsiteX1218" fmla="*/ 528488 w 2663946"/>
                <a:gd name="connsiteY1218" fmla="*/ 125526 h 410640"/>
                <a:gd name="connsiteX1219" fmla="*/ 530700 w 2663946"/>
                <a:gd name="connsiteY1219" fmla="*/ 123093 h 410640"/>
                <a:gd name="connsiteX1220" fmla="*/ 535370 w 2663946"/>
                <a:gd name="connsiteY1220" fmla="*/ 119308 h 410640"/>
                <a:gd name="connsiteX1221" fmla="*/ 539303 w 2663946"/>
                <a:gd name="connsiteY1221" fmla="*/ 117145 h 410640"/>
                <a:gd name="connsiteX1222" fmla="*/ 548889 w 2663946"/>
                <a:gd name="connsiteY1222" fmla="*/ 114711 h 410640"/>
                <a:gd name="connsiteX1223" fmla="*/ 366938 w 2663946"/>
                <a:gd name="connsiteY1223" fmla="*/ 114711 h 410640"/>
                <a:gd name="connsiteX1224" fmla="*/ 379228 w 2663946"/>
                <a:gd name="connsiteY1224" fmla="*/ 116874 h 410640"/>
                <a:gd name="connsiteX1225" fmla="*/ 386603 w 2663946"/>
                <a:gd name="connsiteY1225" fmla="*/ 121471 h 410640"/>
                <a:gd name="connsiteX1226" fmla="*/ 390044 w 2663946"/>
                <a:gd name="connsiteY1226" fmla="*/ 124715 h 410640"/>
                <a:gd name="connsiteX1227" fmla="*/ 393485 w 2663946"/>
                <a:gd name="connsiteY1227" fmla="*/ 129041 h 410640"/>
                <a:gd name="connsiteX1228" fmla="*/ 395452 w 2663946"/>
                <a:gd name="connsiteY1228" fmla="*/ 132556 h 410640"/>
                <a:gd name="connsiteX1229" fmla="*/ 397664 w 2663946"/>
                <a:gd name="connsiteY1229" fmla="*/ 137964 h 410640"/>
                <a:gd name="connsiteX1230" fmla="*/ 398647 w 2663946"/>
                <a:gd name="connsiteY1230" fmla="*/ 141479 h 410640"/>
                <a:gd name="connsiteX1231" fmla="*/ 399630 w 2663946"/>
                <a:gd name="connsiteY1231" fmla="*/ 146616 h 410640"/>
                <a:gd name="connsiteX1232" fmla="*/ 399384 w 2663946"/>
                <a:gd name="connsiteY1232" fmla="*/ 160946 h 410640"/>
                <a:gd name="connsiteX1233" fmla="*/ 398401 w 2663946"/>
                <a:gd name="connsiteY1233" fmla="*/ 165813 h 410640"/>
                <a:gd name="connsiteX1234" fmla="*/ 397172 w 2663946"/>
                <a:gd name="connsiteY1234" fmla="*/ 169598 h 410640"/>
                <a:gd name="connsiteX1235" fmla="*/ 396189 w 2663946"/>
                <a:gd name="connsiteY1235" fmla="*/ 172032 h 410640"/>
                <a:gd name="connsiteX1236" fmla="*/ 393977 w 2663946"/>
                <a:gd name="connsiteY1236" fmla="*/ 176358 h 410640"/>
                <a:gd name="connsiteX1237" fmla="*/ 391764 w 2663946"/>
                <a:gd name="connsiteY1237" fmla="*/ 179602 h 410640"/>
                <a:gd name="connsiteX1238" fmla="*/ 388323 w 2663946"/>
                <a:gd name="connsiteY1238" fmla="*/ 183388 h 410640"/>
                <a:gd name="connsiteX1239" fmla="*/ 385128 w 2663946"/>
                <a:gd name="connsiteY1239" fmla="*/ 186091 h 410640"/>
                <a:gd name="connsiteX1240" fmla="*/ 379474 w 2663946"/>
                <a:gd name="connsiteY1240" fmla="*/ 189336 h 410640"/>
                <a:gd name="connsiteX1241" fmla="*/ 371609 w 2663946"/>
                <a:gd name="connsiteY1241" fmla="*/ 191499 h 410640"/>
                <a:gd name="connsiteX1242" fmla="*/ 370380 w 2663946"/>
                <a:gd name="connsiteY1242" fmla="*/ 191770 h 410640"/>
                <a:gd name="connsiteX1243" fmla="*/ 366201 w 2663946"/>
                <a:gd name="connsiteY1243" fmla="*/ 191770 h 410640"/>
                <a:gd name="connsiteX1244" fmla="*/ 365955 w 2663946"/>
                <a:gd name="connsiteY1244" fmla="*/ 191770 h 410640"/>
                <a:gd name="connsiteX1245" fmla="*/ 352927 w 2663946"/>
                <a:gd name="connsiteY1245" fmla="*/ 186903 h 410640"/>
                <a:gd name="connsiteX1246" fmla="*/ 348257 w 2663946"/>
                <a:gd name="connsiteY1246" fmla="*/ 182847 h 410640"/>
                <a:gd name="connsiteX1247" fmla="*/ 345062 w 2663946"/>
                <a:gd name="connsiteY1247" fmla="*/ 179062 h 410640"/>
                <a:gd name="connsiteX1248" fmla="*/ 342850 w 2663946"/>
                <a:gd name="connsiteY1248" fmla="*/ 175547 h 410640"/>
                <a:gd name="connsiteX1249" fmla="*/ 340637 w 2663946"/>
                <a:gd name="connsiteY1249" fmla="*/ 171221 h 410640"/>
                <a:gd name="connsiteX1250" fmla="*/ 339408 w 2663946"/>
                <a:gd name="connsiteY1250" fmla="*/ 168246 h 410640"/>
                <a:gd name="connsiteX1251" fmla="*/ 338425 w 2663946"/>
                <a:gd name="connsiteY1251" fmla="*/ 165002 h 410640"/>
                <a:gd name="connsiteX1252" fmla="*/ 337196 w 2663946"/>
                <a:gd name="connsiteY1252" fmla="*/ 159324 h 410640"/>
                <a:gd name="connsiteX1253" fmla="*/ 336950 w 2663946"/>
                <a:gd name="connsiteY1253" fmla="*/ 156350 h 410640"/>
                <a:gd name="connsiteX1254" fmla="*/ 337196 w 2663946"/>
                <a:gd name="connsiteY1254" fmla="*/ 156620 h 410640"/>
                <a:gd name="connsiteX1255" fmla="*/ 337196 w 2663946"/>
                <a:gd name="connsiteY1255" fmla="*/ 150942 h 410640"/>
                <a:gd name="connsiteX1256" fmla="*/ 337196 w 2663946"/>
                <a:gd name="connsiteY1256" fmla="*/ 150672 h 410640"/>
                <a:gd name="connsiteX1257" fmla="*/ 337687 w 2663946"/>
                <a:gd name="connsiteY1257" fmla="*/ 146075 h 410640"/>
                <a:gd name="connsiteX1258" fmla="*/ 338917 w 2663946"/>
                <a:gd name="connsiteY1258" fmla="*/ 140668 h 410640"/>
                <a:gd name="connsiteX1259" fmla="*/ 339900 w 2663946"/>
                <a:gd name="connsiteY1259" fmla="*/ 137423 h 410640"/>
                <a:gd name="connsiteX1260" fmla="*/ 342112 w 2663946"/>
                <a:gd name="connsiteY1260" fmla="*/ 132286 h 410640"/>
                <a:gd name="connsiteX1261" fmla="*/ 344324 w 2663946"/>
                <a:gd name="connsiteY1261" fmla="*/ 128501 h 410640"/>
                <a:gd name="connsiteX1262" fmla="*/ 346536 w 2663946"/>
                <a:gd name="connsiteY1262" fmla="*/ 125526 h 410640"/>
                <a:gd name="connsiteX1263" fmla="*/ 348749 w 2663946"/>
                <a:gd name="connsiteY1263" fmla="*/ 123093 h 410640"/>
                <a:gd name="connsiteX1264" fmla="*/ 353419 w 2663946"/>
                <a:gd name="connsiteY1264" fmla="*/ 119308 h 410640"/>
                <a:gd name="connsiteX1265" fmla="*/ 357352 w 2663946"/>
                <a:gd name="connsiteY1265" fmla="*/ 117145 h 410640"/>
                <a:gd name="connsiteX1266" fmla="*/ 366938 w 2663946"/>
                <a:gd name="connsiteY1266" fmla="*/ 114711 h 410640"/>
                <a:gd name="connsiteX1267" fmla="*/ 123893 w 2663946"/>
                <a:gd name="connsiteY1267" fmla="*/ 114711 h 410640"/>
                <a:gd name="connsiteX1268" fmla="*/ 136183 w 2663946"/>
                <a:gd name="connsiteY1268" fmla="*/ 116874 h 410640"/>
                <a:gd name="connsiteX1269" fmla="*/ 143557 w 2663946"/>
                <a:gd name="connsiteY1269" fmla="*/ 121471 h 410640"/>
                <a:gd name="connsiteX1270" fmla="*/ 146998 w 2663946"/>
                <a:gd name="connsiteY1270" fmla="*/ 124715 h 410640"/>
                <a:gd name="connsiteX1271" fmla="*/ 150439 w 2663946"/>
                <a:gd name="connsiteY1271" fmla="*/ 129041 h 410640"/>
                <a:gd name="connsiteX1272" fmla="*/ 152406 w 2663946"/>
                <a:gd name="connsiteY1272" fmla="*/ 132556 h 410640"/>
                <a:gd name="connsiteX1273" fmla="*/ 154618 w 2663946"/>
                <a:gd name="connsiteY1273" fmla="*/ 137964 h 410640"/>
                <a:gd name="connsiteX1274" fmla="*/ 155601 w 2663946"/>
                <a:gd name="connsiteY1274" fmla="*/ 141479 h 410640"/>
                <a:gd name="connsiteX1275" fmla="*/ 156584 w 2663946"/>
                <a:gd name="connsiteY1275" fmla="*/ 146616 h 410640"/>
                <a:gd name="connsiteX1276" fmla="*/ 156339 w 2663946"/>
                <a:gd name="connsiteY1276" fmla="*/ 160946 h 410640"/>
                <a:gd name="connsiteX1277" fmla="*/ 155355 w 2663946"/>
                <a:gd name="connsiteY1277" fmla="*/ 165813 h 410640"/>
                <a:gd name="connsiteX1278" fmla="*/ 154126 w 2663946"/>
                <a:gd name="connsiteY1278" fmla="*/ 169598 h 410640"/>
                <a:gd name="connsiteX1279" fmla="*/ 153143 w 2663946"/>
                <a:gd name="connsiteY1279" fmla="*/ 172032 h 410640"/>
                <a:gd name="connsiteX1280" fmla="*/ 150931 w 2663946"/>
                <a:gd name="connsiteY1280" fmla="*/ 176358 h 410640"/>
                <a:gd name="connsiteX1281" fmla="*/ 148719 w 2663946"/>
                <a:gd name="connsiteY1281" fmla="*/ 179602 h 410640"/>
                <a:gd name="connsiteX1282" fmla="*/ 145277 w 2663946"/>
                <a:gd name="connsiteY1282" fmla="*/ 183388 h 410640"/>
                <a:gd name="connsiteX1283" fmla="*/ 142082 w 2663946"/>
                <a:gd name="connsiteY1283" fmla="*/ 186091 h 410640"/>
                <a:gd name="connsiteX1284" fmla="*/ 136428 w 2663946"/>
                <a:gd name="connsiteY1284" fmla="*/ 189336 h 410640"/>
                <a:gd name="connsiteX1285" fmla="*/ 128563 w 2663946"/>
                <a:gd name="connsiteY1285" fmla="*/ 191499 h 410640"/>
                <a:gd name="connsiteX1286" fmla="*/ 127334 w 2663946"/>
                <a:gd name="connsiteY1286" fmla="*/ 191770 h 410640"/>
                <a:gd name="connsiteX1287" fmla="*/ 123155 w 2663946"/>
                <a:gd name="connsiteY1287" fmla="*/ 191770 h 410640"/>
                <a:gd name="connsiteX1288" fmla="*/ 122909 w 2663946"/>
                <a:gd name="connsiteY1288" fmla="*/ 191770 h 410640"/>
                <a:gd name="connsiteX1289" fmla="*/ 109882 w 2663946"/>
                <a:gd name="connsiteY1289" fmla="*/ 186903 h 410640"/>
                <a:gd name="connsiteX1290" fmla="*/ 105211 w 2663946"/>
                <a:gd name="connsiteY1290" fmla="*/ 182847 h 410640"/>
                <a:gd name="connsiteX1291" fmla="*/ 102016 w 2663946"/>
                <a:gd name="connsiteY1291" fmla="*/ 179062 h 410640"/>
                <a:gd name="connsiteX1292" fmla="*/ 99804 w 2663946"/>
                <a:gd name="connsiteY1292" fmla="*/ 175547 h 410640"/>
                <a:gd name="connsiteX1293" fmla="*/ 97591 w 2663946"/>
                <a:gd name="connsiteY1293" fmla="*/ 171221 h 410640"/>
                <a:gd name="connsiteX1294" fmla="*/ 96362 w 2663946"/>
                <a:gd name="connsiteY1294" fmla="*/ 168246 h 410640"/>
                <a:gd name="connsiteX1295" fmla="*/ 95379 w 2663946"/>
                <a:gd name="connsiteY1295" fmla="*/ 165002 h 410640"/>
                <a:gd name="connsiteX1296" fmla="*/ 94150 w 2663946"/>
                <a:gd name="connsiteY1296" fmla="*/ 159324 h 410640"/>
                <a:gd name="connsiteX1297" fmla="*/ 93904 w 2663946"/>
                <a:gd name="connsiteY1297" fmla="*/ 156350 h 410640"/>
                <a:gd name="connsiteX1298" fmla="*/ 94150 w 2663946"/>
                <a:gd name="connsiteY1298" fmla="*/ 156620 h 410640"/>
                <a:gd name="connsiteX1299" fmla="*/ 94150 w 2663946"/>
                <a:gd name="connsiteY1299" fmla="*/ 150942 h 410640"/>
                <a:gd name="connsiteX1300" fmla="*/ 94150 w 2663946"/>
                <a:gd name="connsiteY1300" fmla="*/ 150672 h 410640"/>
                <a:gd name="connsiteX1301" fmla="*/ 94642 w 2663946"/>
                <a:gd name="connsiteY1301" fmla="*/ 146075 h 410640"/>
                <a:gd name="connsiteX1302" fmla="*/ 95871 w 2663946"/>
                <a:gd name="connsiteY1302" fmla="*/ 140668 h 410640"/>
                <a:gd name="connsiteX1303" fmla="*/ 96854 w 2663946"/>
                <a:gd name="connsiteY1303" fmla="*/ 137423 h 410640"/>
                <a:gd name="connsiteX1304" fmla="*/ 99066 w 2663946"/>
                <a:gd name="connsiteY1304" fmla="*/ 132286 h 410640"/>
                <a:gd name="connsiteX1305" fmla="*/ 101279 w 2663946"/>
                <a:gd name="connsiteY1305" fmla="*/ 128501 h 410640"/>
                <a:gd name="connsiteX1306" fmla="*/ 103491 w 2663946"/>
                <a:gd name="connsiteY1306" fmla="*/ 125526 h 410640"/>
                <a:gd name="connsiteX1307" fmla="*/ 105703 w 2663946"/>
                <a:gd name="connsiteY1307" fmla="*/ 123093 h 410640"/>
                <a:gd name="connsiteX1308" fmla="*/ 110373 w 2663946"/>
                <a:gd name="connsiteY1308" fmla="*/ 119308 h 410640"/>
                <a:gd name="connsiteX1309" fmla="*/ 114306 w 2663946"/>
                <a:gd name="connsiteY1309" fmla="*/ 117145 h 410640"/>
                <a:gd name="connsiteX1310" fmla="*/ 123893 w 2663946"/>
                <a:gd name="connsiteY1310" fmla="*/ 114711 h 410640"/>
                <a:gd name="connsiteX1311" fmla="*/ 33147 w 2663946"/>
                <a:gd name="connsiteY1311" fmla="*/ 114073 h 410640"/>
                <a:gd name="connsiteX1312" fmla="*/ 57942 w 2663946"/>
                <a:gd name="connsiteY1312" fmla="*/ 134282 h 410640"/>
                <a:gd name="connsiteX1313" fmla="*/ 58422 w 2663946"/>
                <a:gd name="connsiteY1313" fmla="*/ 139040 h 410640"/>
                <a:gd name="connsiteX1314" fmla="*/ 59840 w 2663946"/>
                <a:gd name="connsiteY1314" fmla="*/ 139040 h 410640"/>
                <a:gd name="connsiteX1315" fmla="*/ 66294 w 2663946"/>
                <a:gd name="connsiteY1315" fmla="*/ 145326 h 410640"/>
                <a:gd name="connsiteX1316" fmla="*/ 66294 w 2663946"/>
                <a:gd name="connsiteY1316" fmla="*/ 195048 h 410640"/>
                <a:gd name="connsiteX1317" fmla="*/ 59840 w 2663946"/>
                <a:gd name="connsiteY1317" fmla="*/ 201334 h 410640"/>
                <a:gd name="connsiteX1318" fmla="*/ 6453 w 2663946"/>
                <a:gd name="connsiteY1318" fmla="*/ 201334 h 410640"/>
                <a:gd name="connsiteX1319" fmla="*/ 0 w 2663946"/>
                <a:gd name="connsiteY1319" fmla="*/ 195048 h 410640"/>
                <a:gd name="connsiteX1320" fmla="*/ 0 w 2663946"/>
                <a:gd name="connsiteY1320" fmla="*/ 145326 h 410640"/>
                <a:gd name="connsiteX1321" fmla="*/ 6453 w 2663946"/>
                <a:gd name="connsiteY1321" fmla="*/ 139040 h 410640"/>
                <a:gd name="connsiteX1322" fmla="*/ 7288 w 2663946"/>
                <a:gd name="connsiteY1322" fmla="*/ 139040 h 410640"/>
                <a:gd name="connsiteX1323" fmla="*/ 7872 w 2663946"/>
                <a:gd name="connsiteY1323" fmla="*/ 139040 h 410640"/>
                <a:gd name="connsiteX1324" fmla="*/ 8351 w 2663946"/>
                <a:gd name="connsiteY1324" fmla="*/ 134282 h 410640"/>
                <a:gd name="connsiteX1325" fmla="*/ 33147 w 2663946"/>
                <a:gd name="connsiteY1325" fmla="*/ 114073 h 410640"/>
                <a:gd name="connsiteX1326" fmla="*/ 2537931 w 2663946"/>
                <a:gd name="connsiteY1326" fmla="*/ 106485 h 410640"/>
                <a:gd name="connsiteX1327" fmla="*/ 2562727 w 2663946"/>
                <a:gd name="connsiteY1327" fmla="*/ 126694 h 410640"/>
                <a:gd name="connsiteX1328" fmla="*/ 2563206 w 2663946"/>
                <a:gd name="connsiteY1328" fmla="*/ 131452 h 410640"/>
                <a:gd name="connsiteX1329" fmla="*/ 2564625 w 2663946"/>
                <a:gd name="connsiteY1329" fmla="*/ 131452 h 410640"/>
                <a:gd name="connsiteX1330" fmla="*/ 2571078 w 2663946"/>
                <a:gd name="connsiteY1330" fmla="*/ 137738 h 410640"/>
                <a:gd name="connsiteX1331" fmla="*/ 2571078 w 2663946"/>
                <a:gd name="connsiteY1331" fmla="*/ 187460 h 410640"/>
                <a:gd name="connsiteX1332" fmla="*/ 2564625 w 2663946"/>
                <a:gd name="connsiteY1332" fmla="*/ 193746 h 410640"/>
                <a:gd name="connsiteX1333" fmla="*/ 2511238 w 2663946"/>
                <a:gd name="connsiteY1333" fmla="*/ 193746 h 410640"/>
                <a:gd name="connsiteX1334" fmla="*/ 2504784 w 2663946"/>
                <a:gd name="connsiteY1334" fmla="*/ 187460 h 410640"/>
                <a:gd name="connsiteX1335" fmla="*/ 2504784 w 2663946"/>
                <a:gd name="connsiteY1335" fmla="*/ 137738 h 410640"/>
                <a:gd name="connsiteX1336" fmla="*/ 2511238 w 2663946"/>
                <a:gd name="connsiteY1336" fmla="*/ 131452 h 410640"/>
                <a:gd name="connsiteX1337" fmla="*/ 2512072 w 2663946"/>
                <a:gd name="connsiteY1337" fmla="*/ 131452 h 410640"/>
                <a:gd name="connsiteX1338" fmla="*/ 2512656 w 2663946"/>
                <a:gd name="connsiteY1338" fmla="*/ 131452 h 410640"/>
                <a:gd name="connsiteX1339" fmla="*/ 2513136 w 2663946"/>
                <a:gd name="connsiteY1339" fmla="*/ 126694 h 410640"/>
                <a:gd name="connsiteX1340" fmla="*/ 2537931 w 2663946"/>
                <a:gd name="connsiteY1340" fmla="*/ 106485 h 410640"/>
                <a:gd name="connsiteX1341" fmla="*/ 2112934 w 2663946"/>
                <a:gd name="connsiteY1341" fmla="*/ 106485 h 410640"/>
                <a:gd name="connsiteX1342" fmla="*/ 2137730 w 2663946"/>
                <a:gd name="connsiteY1342" fmla="*/ 126694 h 410640"/>
                <a:gd name="connsiteX1343" fmla="*/ 2138209 w 2663946"/>
                <a:gd name="connsiteY1343" fmla="*/ 131452 h 410640"/>
                <a:gd name="connsiteX1344" fmla="*/ 2139628 w 2663946"/>
                <a:gd name="connsiteY1344" fmla="*/ 131452 h 410640"/>
                <a:gd name="connsiteX1345" fmla="*/ 2146081 w 2663946"/>
                <a:gd name="connsiteY1345" fmla="*/ 137738 h 410640"/>
                <a:gd name="connsiteX1346" fmla="*/ 2146081 w 2663946"/>
                <a:gd name="connsiteY1346" fmla="*/ 187460 h 410640"/>
                <a:gd name="connsiteX1347" fmla="*/ 2139628 w 2663946"/>
                <a:gd name="connsiteY1347" fmla="*/ 193746 h 410640"/>
                <a:gd name="connsiteX1348" fmla="*/ 2086241 w 2663946"/>
                <a:gd name="connsiteY1348" fmla="*/ 193746 h 410640"/>
                <a:gd name="connsiteX1349" fmla="*/ 2079787 w 2663946"/>
                <a:gd name="connsiteY1349" fmla="*/ 187460 h 410640"/>
                <a:gd name="connsiteX1350" fmla="*/ 2079787 w 2663946"/>
                <a:gd name="connsiteY1350" fmla="*/ 137738 h 410640"/>
                <a:gd name="connsiteX1351" fmla="*/ 2086241 w 2663946"/>
                <a:gd name="connsiteY1351" fmla="*/ 131452 h 410640"/>
                <a:gd name="connsiteX1352" fmla="*/ 2087075 w 2663946"/>
                <a:gd name="connsiteY1352" fmla="*/ 131452 h 410640"/>
                <a:gd name="connsiteX1353" fmla="*/ 2087659 w 2663946"/>
                <a:gd name="connsiteY1353" fmla="*/ 131452 h 410640"/>
                <a:gd name="connsiteX1354" fmla="*/ 2088139 w 2663946"/>
                <a:gd name="connsiteY1354" fmla="*/ 126694 h 410640"/>
                <a:gd name="connsiteX1355" fmla="*/ 2112934 w 2663946"/>
                <a:gd name="connsiteY1355" fmla="*/ 106485 h 410640"/>
                <a:gd name="connsiteX1356" fmla="*/ 1854966 w 2663946"/>
                <a:gd name="connsiteY1356" fmla="*/ 106485 h 410640"/>
                <a:gd name="connsiteX1357" fmla="*/ 1879762 w 2663946"/>
                <a:gd name="connsiteY1357" fmla="*/ 126694 h 410640"/>
                <a:gd name="connsiteX1358" fmla="*/ 1880241 w 2663946"/>
                <a:gd name="connsiteY1358" fmla="*/ 131452 h 410640"/>
                <a:gd name="connsiteX1359" fmla="*/ 1881660 w 2663946"/>
                <a:gd name="connsiteY1359" fmla="*/ 131452 h 410640"/>
                <a:gd name="connsiteX1360" fmla="*/ 1888113 w 2663946"/>
                <a:gd name="connsiteY1360" fmla="*/ 137738 h 410640"/>
                <a:gd name="connsiteX1361" fmla="*/ 1888113 w 2663946"/>
                <a:gd name="connsiteY1361" fmla="*/ 187460 h 410640"/>
                <a:gd name="connsiteX1362" fmla="*/ 1881660 w 2663946"/>
                <a:gd name="connsiteY1362" fmla="*/ 193746 h 410640"/>
                <a:gd name="connsiteX1363" fmla="*/ 1828273 w 2663946"/>
                <a:gd name="connsiteY1363" fmla="*/ 193746 h 410640"/>
                <a:gd name="connsiteX1364" fmla="*/ 1821819 w 2663946"/>
                <a:gd name="connsiteY1364" fmla="*/ 187460 h 410640"/>
                <a:gd name="connsiteX1365" fmla="*/ 1821819 w 2663946"/>
                <a:gd name="connsiteY1365" fmla="*/ 137738 h 410640"/>
                <a:gd name="connsiteX1366" fmla="*/ 1828273 w 2663946"/>
                <a:gd name="connsiteY1366" fmla="*/ 131452 h 410640"/>
                <a:gd name="connsiteX1367" fmla="*/ 1829107 w 2663946"/>
                <a:gd name="connsiteY1367" fmla="*/ 131452 h 410640"/>
                <a:gd name="connsiteX1368" fmla="*/ 1829691 w 2663946"/>
                <a:gd name="connsiteY1368" fmla="*/ 131452 h 410640"/>
                <a:gd name="connsiteX1369" fmla="*/ 1830171 w 2663946"/>
                <a:gd name="connsiteY1369" fmla="*/ 126694 h 410640"/>
                <a:gd name="connsiteX1370" fmla="*/ 1854966 w 2663946"/>
                <a:gd name="connsiteY1370" fmla="*/ 106485 h 410640"/>
                <a:gd name="connsiteX1371" fmla="*/ 1764027 w 2663946"/>
                <a:gd name="connsiteY1371" fmla="*/ 106485 h 410640"/>
                <a:gd name="connsiteX1372" fmla="*/ 1788823 w 2663946"/>
                <a:gd name="connsiteY1372" fmla="*/ 126694 h 410640"/>
                <a:gd name="connsiteX1373" fmla="*/ 1789302 w 2663946"/>
                <a:gd name="connsiteY1373" fmla="*/ 131452 h 410640"/>
                <a:gd name="connsiteX1374" fmla="*/ 1790721 w 2663946"/>
                <a:gd name="connsiteY1374" fmla="*/ 131452 h 410640"/>
                <a:gd name="connsiteX1375" fmla="*/ 1797174 w 2663946"/>
                <a:gd name="connsiteY1375" fmla="*/ 137738 h 410640"/>
                <a:gd name="connsiteX1376" fmla="*/ 1797174 w 2663946"/>
                <a:gd name="connsiteY1376" fmla="*/ 187460 h 410640"/>
                <a:gd name="connsiteX1377" fmla="*/ 1790721 w 2663946"/>
                <a:gd name="connsiteY1377" fmla="*/ 193746 h 410640"/>
                <a:gd name="connsiteX1378" fmla="*/ 1737333 w 2663946"/>
                <a:gd name="connsiteY1378" fmla="*/ 193746 h 410640"/>
                <a:gd name="connsiteX1379" fmla="*/ 1730880 w 2663946"/>
                <a:gd name="connsiteY1379" fmla="*/ 187460 h 410640"/>
                <a:gd name="connsiteX1380" fmla="*/ 1730880 w 2663946"/>
                <a:gd name="connsiteY1380" fmla="*/ 137738 h 410640"/>
                <a:gd name="connsiteX1381" fmla="*/ 1737333 w 2663946"/>
                <a:gd name="connsiteY1381" fmla="*/ 131452 h 410640"/>
                <a:gd name="connsiteX1382" fmla="*/ 1738168 w 2663946"/>
                <a:gd name="connsiteY1382" fmla="*/ 131452 h 410640"/>
                <a:gd name="connsiteX1383" fmla="*/ 1738752 w 2663946"/>
                <a:gd name="connsiteY1383" fmla="*/ 131452 h 410640"/>
                <a:gd name="connsiteX1384" fmla="*/ 1739232 w 2663946"/>
                <a:gd name="connsiteY1384" fmla="*/ 126694 h 410640"/>
                <a:gd name="connsiteX1385" fmla="*/ 1764027 w 2663946"/>
                <a:gd name="connsiteY1385" fmla="*/ 106485 h 410640"/>
                <a:gd name="connsiteX1386" fmla="*/ 1506059 w 2663946"/>
                <a:gd name="connsiteY1386" fmla="*/ 106485 h 410640"/>
                <a:gd name="connsiteX1387" fmla="*/ 1530855 w 2663946"/>
                <a:gd name="connsiteY1387" fmla="*/ 126694 h 410640"/>
                <a:gd name="connsiteX1388" fmla="*/ 1531334 w 2663946"/>
                <a:gd name="connsiteY1388" fmla="*/ 131452 h 410640"/>
                <a:gd name="connsiteX1389" fmla="*/ 1532753 w 2663946"/>
                <a:gd name="connsiteY1389" fmla="*/ 131452 h 410640"/>
                <a:gd name="connsiteX1390" fmla="*/ 1539206 w 2663946"/>
                <a:gd name="connsiteY1390" fmla="*/ 137738 h 410640"/>
                <a:gd name="connsiteX1391" fmla="*/ 1539206 w 2663946"/>
                <a:gd name="connsiteY1391" fmla="*/ 187460 h 410640"/>
                <a:gd name="connsiteX1392" fmla="*/ 1532753 w 2663946"/>
                <a:gd name="connsiteY1392" fmla="*/ 193746 h 410640"/>
                <a:gd name="connsiteX1393" fmla="*/ 1479365 w 2663946"/>
                <a:gd name="connsiteY1393" fmla="*/ 193746 h 410640"/>
                <a:gd name="connsiteX1394" fmla="*/ 1472912 w 2663946"/>
                <a:gd name="connsiteY1394" fmla="*/ 187460 h 410640"/>
                <a:gd name="connsiteX1395" fmla="*/ 1472912 w 2663946"/>
                <a:gd name="connsiteY1395" fmla="*/ 137738 h 410640"/>
                <a:gd name="connsiteX1396" fmla="*/ 1479365 w 2663946"/>
                <a:gd name="connsiteY1396" fmla="*/ 131452 h 410640"/>
                <a:gd name="connsiteX1397" fmla="*/ 1480200 w 2663946"/>
                <a:gd name="connsiteY1397" fmla="*/ 131452 h 410640"/>
                <a:gd name="connsiteX1398" fmla="*/ 1480784 w 2663946"/>
                <a:gd name="connsiteY1398" fmla="*/ 131452 h 410640"/>
                <a:gd name="connsiteX1399" fmla="*/ 1481264 w 2663946"/>
                <a:gd name="connsiteY1399" fmla="*/ 126694 h 410640"/>
                <a:gd name="connsiteX1400" fmla="*/ 1506059 w 2663946"/>
                <a:gd name="connsiteY1400" fmla="*/ 106485 h 410640"/>
                <a:gd name="connsiteX1401" fmla="*/ 1415120 w 2663946"/>
                <a:gd name="connsiteY1401" fmla="*/ 106485 h 410640"/>
                <a:gd name="connsiteX1402" fmla="*/ 1439916 w 2663946"/>
                <a:gd name="connsiteY1402" fmla="*/ 126694 h 410640"/>
                <a:gd name="connsiteX1403" fmla="*/ 1440395 w 2663946"/>
                <a:gd name="connsiteY1403" fmla="*/ 131452 h 410640"/>
                <a:gd name="connsiteX1404" fmla="*/ 1441814 w 2663946"/>
                <a:gd name="connsiteY1404" fmla="*/ 131452 h 410640"/>
                <a:gd name="connsiteX1405" fmla="*/ 1448267 w 2663946"/>
                <a:gd name="connsiteY1405" fmla="*/ 137738 h 410640"/>
                <a:gd name="connsiteX1406" fmla="*/ 1448267 w 2663946"/>
                <a:gd name="connsiteY1406" fmla="*/ 187460 h 410640"/>
                <a:gd name="connsiteX1407" fmla="*/ 1441814 w 2663946"/>
                <a:gd name="connsiteY1407" fmla="*/ 193746 h 410640"/>
                <a:gd name="connsiteX1408" fmla="*/ 1388426 w 2663946"/>
                <a:gd name="connsiteY1408" fmla="*/ 193746 h 410640"/>
                <a:gd name="connsiteX1409" fmla="*/ 1381973 w 2663946"/>
                <a:gd name="connsiteY1409" fmla="*/ 187460 h 410640"/>
                <a:gd name="connsiteX1410" fmla="*/ 1381973 w 2663946"/>
                <a:gd name="connsiteY1410" fmla="*/ 137738 h 410640"/>
                <a:gd name="connsiteX1411" fmla="*/ 1388426 w 2663946"/>
                <a:gd name="connsiteY1411" fmla="*/ 131452 h 410640"/>
                <a:gd name="connsiteX1412" fmla="*/ 1389261 w 2663946"/>
                <a:gd name="connsiteY1412" fmla="*/ 131452 h 410640"/>
                <a:gd name="connsiteX1413" fmla="*/ 1389845 w 2663946"/>
                <a:gd name="connsiteY1413" fmla="*/ 131452 h 410640"/>
                <a:gd name="connsiteX1414" fmla="*/ 1390325 w 2663946"/>
                <a:gd name="connsiteY1414" fmla="*/ 126694 h 410640"/>
                <a:gd name="connsiteX1415" fmla="*/ 1415120 w 2663946"/>
                <a:gd name="connsiteY1415" fmla="*/ 106485 h 410640"/>
                <a:gd name="connsiteX1416" fmla="*/ 1157152 w 2663946"/>
                <a:gd name="connsiteY1416" fmla="*/ 106485 h 410640"/>
                <a:gd name="connsiteX1417" fmla="*/ 1181948 w 2663946"/>
                <a:gd name="connsiteY1417" fmla="*/ 126694 h 410640"/>
                <a:gd name="connsiteX1418" fmla="*/ 1182427 w 2663946"/>
                <a:gd name="connsiteY1418" fmla="*/ 131452 h 410640"/>
                <a:gd name="connsiteX1419" fmla="*/ 1183846 w 2663946"/>
                <a:gd name="connsiteY1419" fmla="*/ 131452 h 410640"/>
                <a:gd name="connsiteX1420" fmla="*/ 1190299 w 2663946"/>
                <a:gd name="connsiteY1420" fmla="*/ 137738 h 410640"/>
                <a:gd name="connsiteX1421" fmla="*/ 1190299 w 2663946"/>
                <a:gd name="connsiteY1421" fmla="*/ 187460 h 410640"/>
                <a:gd name="connsiteX1422" fmla="*/ 1183846 w 2663946"/>
                <a:gd name="connsiteY1422" fmla="*/ 193746 h 410640"/>
                <a:gd name="connsiteX1423" fmla="*/ 1130458 w 2663946"/>
                <a:gd name="connsiteY1423" fmla="*/ 193746 h 410640"/>
                <a:gd name="connsiteX1424" fmla="*/ 1124005 w 2663946"/>
                <a:gd name="connsiteY1424" fmla="*/ 187460 h 410640"/>
                <a:gd name="connsiteX1425" fmla="*/ 1124005 w 2663946"/>
                <a:gd name="connsiteY1425" fmla="*/ 137738 h 410640"/>
                <a:gd name="connsiteX1426" fmla="*/ 1130458 w 2663946"/>
                <a:gd name="connsiteY1426" fmla="*/ 131452 h 410640"/>
                <a:gd name="connsiteX1427" fmla="*/ 1131293 w 2663946"/>
                <a:gd name="connsiteY1427" fmla="*/ 131452 h 410640"/>
                <a:gd name="connsiteX1428" fmla="*/ 1131877 w 2663946"/>
                <a:gd name="connsiteY1428" fmla="*/ 131452 h 410640"/>
                <a:gd name="connsiteX1429" fmla="*/ 1132357 w 2663946"/>
                <a:gd name="connsiteY1429" fmla="*/ 126694 h 410640"/>
                <a:gd name="connsiteX1430" fmla="*/ 1157152 w 2663946"/>
                <a:gd name="connsiteY1430" fmla="*/ 106485 h 410640"/>
                <a:gd name="connsiteX1431" fmla="*/ 732156 w 2663946"/>
                <a:gd name="connsiteY1431" fmla="*/ 106485 h 410640"/>
                <a:gd name="connsiteX1432" fmla="*/ 756951 w 2663946"/>
                <a:gd name="connsiteY1432" fmla="*/ 126694 h 410640"/>
                <a:gd name="connsiteX1433" fmla="*/ 757431 w 2663946"/>
                <a:gd name="connsiteY1433" fmla="*/ 131452 h 410640"/>
                <a:gd name="connsiteX1434" fmla="*/ 758849 w 2663946"/>
                <a:gd name="connsiteY1434" fmla="*/ 131452 h 410640"/>
                <a:gd name="connsiteX1435" fmla="*/ 765303 w 2663946"/>
                <a:gd name="connsiteY1435" fmla="*/ 137738 h 410640"/>
                <a:gd name="connsiteX1436" fmla="*/ 765303 w 2663946"/>
                <a:gd name="connsiteY1436" fmla="*/ 187460 h 410640"/>
                <a:gd name="connsiteX1437" fmla="*/ 758849 w 2663946"/>
                <a:gd name="connsiteY1437" fmla="*/ 193746 h 410640"/>
                <a:gd name="connsiteX1438" fmla="*/ 705462 w 2663946"/>
                <a:gd name="connsiteY1438" fmla="*/ 193746 h 410640"/>
                <a:gd name="connsiteX1439" fmla="*/ 699009 w 2663946"/>
                <a:gd name="connsiteY1439" fmla="*/ 187460 h 410640"/>
                <a:gd name="connsiteX1440" fmla="*/ 699009 w 2663946"/>
                <a:gd name="connsiteY1440" fmla="*/ 137738 h 410640"/>
                <a:gd name="connsiteX1441" fmla="*/ 705462 w 2663946"/>
                <a:gd name="connsiteY1441" fmla="*/ 131452 h 410640"/>
                <a:gd name="connsiteX1442" fmla="*/ 706296 w 2663946"/>
                <a:gd name="connsiteY1442" fmla="*/ 131452 h 410640"/>
                <a:gd name="connsiteX1443" fmla="*/ 706881 w 2663946"/>
                <a:gd name="connsiteY1443" fmla="*/ 131452 h 410640"/>
                <a:gd name="connsiteX1444" fmla="*/ 707360 w 2663946"/>
                <a:gd name="connsiteY1444" fmla="*/ 126694 h 410640"/>
                <a:gd name="connsiteX1445" fmla="*/ 732156 w 2663946"/>
                <a:gd name="connsiteY1445" fmla="*/ 106485 h 410640"/>
                <a:gd name="connsiteX1446" fmla="*/ 641217 w 2663946"/>
                <a:gd name="connsiteY1446" fmla="*/ 106485 h 410640"/>
                <a:gd name="connsiteX1447" fmla="*/ 666012 w 2663946"/>
                <a:gd name="connsiteY1447" fmla="*/ 126694 h 410640"/>
                <a:gd name="connsiteX1448" fmla="*/ 666492 w 2663946"/>
                <a:gd name="connsiteY1448" fmla="*/ 131452 h 410640"/>
                <a:gd name="connsiteX1449" fmla="*/ 667910 w 2663946"/>
                <a:gd name="connsiteY1449" fmla="*/ 131452 h 410640"/>
                <a:gd name="connsiteX1450" fmla="*/ 674364 w 2663946"/>
                <a:gd name="connsiteY1450" fmla="*/ 137738 h 410640"/>
                <a:gd name="connsiteX1451" fmla="*/ 674364 w 2663946"/>
                <a:gd name="connsiteY1451" fmla="*/ 187460 h 410640"/>
                <a:gd name="connsiteX1452" fmla="*/ 667910 w 2663946"/>
                <a:gd name="connsiteY1452" fmla="*/ 193746 h 410640"/>
                <a:gd name="connsiteX1453" fmla="*/ 614523 w 2663946"/>
                <a:gd name="connsiteY1453" fmla="*/ 193746 h 410640"/>
                <a:gd name="connsiteX1454" fmla="*/ 608070 w 2663946"/>
                <a:gd name="connsiteY1454" fmla="*/ 187460 h 410640"/>
                <a:gd name="connsiteX1455" fmla="*/ 608070 w 2663946"/>
                <a:gd name="connsiteY1455" fmla="*/ 137738 h 410640"/>
                <a:gd name="connsiteX1456" fmla="*/ 614523 w 2663946"/>
                <a:gd name="connsiteY1456" fmla="*/ 131452 h 410640"/>
                <a:gd name="connsiteX1457" fmla="*/ 615358 w 2663946"/>
                <a:gd name="connsiteY1457" fmla="*/ 131452 h 410640"/>
                <a:gd name="connsiteX1458" fmla="*/ 615942 w 2663946"/>
                <a:gd name="connsiteY1458" fmla="*/ 131452 h 410640"/>
                <a:gd name="connsiteX1459" fmla="*/ 616422 w 2663946"/>
                <a:gd name="connsiteY1459" fmla="*/ 126694 h 410640"/>
                <a:gd name="connsiteX1460" fmla="*/ 641217 w 2663946"/>
                <a:gd name="connsiteY1460" fmla="*/ 106485 h 410640"/>
                <a:gd name="connsiteX1461" fmla="*/ 459266 w 2663946"/>
                <a:gd name="connsiteY1461" fmla="*/ 106485 h 410640"/>
                <a:gd name="connsiteX1462" fmla="*/ 484061 w 2663946"/>
                <a:gd name="connsiteY1462" fmla="*/ 126694 h 410640"/>
                <a:gd name="connsiteX1463" fmla="*/ 484541 w 2663946"/>
                <a:gd name="connsiteY1463" fmla="*/ 131452 h 410640"/>
                <a:gd name="connsiteX1464" fmla="*/ 485959 w 2663946"/>
                <a:gd name="connsiteY1464" fmla="*/ 131452 h 410640"/>
                <a:gd name="connsiteX1465" fmla="*/ 492413 w 2663946"/>
                <a:gd name="connsiteY1465" fmla="*/ 137738 h 410640"/>
                <a:gd name="connsiteX1466" fmla="*/ 492413 w 2663946"/>
                <a:gd name="connsiteY1466" fmla="*/ 187460 h 410640"/>
                <a:gd name="connsiteX1467" fmla="*/ 485959 w 2663946"/>
                <a:gd name="connsiteY1467" fmla="*/ 193746 h 410640"/>
                <a:gd name="connsiteX1468" fmla="*/ 432572 w 2663946"/>
                <a:gd name="connsiteY1468" fmla="*/ 193746 h 410640"/>
                <a:gd name="connsiteX1469" fmla="*/ 426119 w 2663946"/>
                <a:gd name="connsiteY1469" fmla="*/ 187460 h 410640"/>
                <a:gd name="connsiteX1470" fmla="*/ 426119 w 2663946"/>
                <a:gd name="connsiteY1470" fmla="*/ 137738 h 410640"/>
                <a:gd name="connsiteX1471" fmla="*/ 432572 w 2663946"/>
                <a:gd name="connsiteY1471" fmla="*/ 131452 h 410640"/>
                <a:gd name="connsiteX1472" fmla="*/ 433406 w 2663946"/>
                <a:gd name="connsiteY1472" fmla="*/ 131452 h 410640"/>
                <a:gd name="connsiteX1473" fmla="*/ 433991 w 2663946"/>
                <a:gd name="connsiteY1473" fmla="*/ 131452 h 410640"/>
                <a:gd name="connsiteX1474" fmla="*/ 434470 w 2663946"/>
                <a:gd name="connsiteY1474" fmla="*/ 126694 h 410640"/>
                <a:gd name="connsiteX1475" fmla="*/ 459266 w 2663946"/>
                <a:gd name="connsiteY1475" fmla="*/ 106485 h 410640"/>
                <a:gd name="connsiteX1476" fmla="*/ 29535 w 2663946"/>
                <a:gd name="connsiteY1476" fmla="*/ 120 h 410640"/>
                <a:gd name="connsiteX1477" fmla="*/ 33591 w 2663946"/>
                <a:gd name="connsiteY1477" fmla="*/ 120 h 410640"/>
                <a:gd name="connsiteX1478" fmla="*/ 38187 w 2663946"/>
                <a:gd name="connsiteY1478" fmla="*/ 2554 h 410640"/>
                <a:gd name="connsiteX1479" fmla="*/ 40350 w 2663946"/>
                <a:gd name="connsiteY1479" fmla="*/ 8772 h 410640"/>
                <a:gd name="connsiteX1480" fmla="*/ 40350 w 2663946"/>
                <a:gd name="connsiteY1480" fmla="*/ 9313 h 410640"/>
                <a:gd name="connsiteX1481" fmla="*/ 40350 w 2663946"/>
                <a:gd name="connsiteY1481" fmla="*/ 62308 h 410640"/>
                <a:gd name="connsiteX1482" fmla="*/ 40891 w 2663946"/>
                <a:gd name="connsiteY1482" fmla="*/ 62848 h 410640"/>
                <a:gd name="connsiteX1483" fmla="*/ 48191 w 2663946"/>
                <a:gd name="connsiteY1483" fmla="*/ 62848 h 410640"/>
                <a:gd name="connsiteX1484" fmla="*/ 52247 w 2663946"/>
                <a:gd name="connsiteY1484" fmla="*/ 63930 h 410640"/>
                <a:gd name="connsiteX1485" fmla="*/ 56032 w 2663946"/>
                <a:gd name="connsiteY1485" fmla="*/ 70689 h 410640"/>
                <a:gd name="connsiteX1486" fmla="*/ 53328 w 2663946"/>
                <a:gd name="connsiteY1486" fmla="*/ 76367 h 410640"/>
                <a:gd name="connsiteX1487" fmla="*/ 49273 w 2663946"/>
                <a:gd name="connsiteY1487" fmla="*/ 78260 h 410640"/>
                <a:gd name="connsiteX1488" fmla="*/ 49002 w 2663946"/>
                <a:gd name="connsiteY1488" fmla="*/ 78260 h 410640"/>
                <a:gd name="connsiteX1489" fmla="*/ 48732 w 2663946"/>
                <a:gd name="connsiteY1489" fmla="*/ 78260 h 410640"/>
                <a:gd name="connsiteX1490" fmla="*/ 48191 w 2663946"/>
                <a:gd name="connsiteY1490" fmla="*/ 78260 h 410640"/>
                <a:gd name="connsiteX1491" fmla="*/ 16016 w 2663946"/>
                <a:gd name="connsiteY1491" fmla="*/ 78260 h 410640"/>
                <a:gd name="connsiteX1492" fmla="*/ 15475 w 2663946"/>
                <a:gd name="connsiteY1492" fmla="*/ 78260 h 410640"/>
                <a:gd name="connsiteX1493" fmla="*/ 14664 w 2663946"/>
                <a:gd name="connsiteY1493" fmla="*/ 78260 h 410640"/>
                <a:gd name="connsiteX1494" fmla="*/ 13853 w 2663946"/>
                <a:gd name="connsiteY1494" fmla="*/ 77990 h 410640"/>
                <a:gd name="connsiteX1495" fmla="*/ 10338 w 2663946"/>
                <a:gd name="connsiteY1495" fmla="*/ 76097 h 410640"/>
                <a:gd name="connsiteX1496" fmla="*/ 7905 w 2663946"/>
                <a:gd name="connsiteY1496" fmla="*/ 70419 h 410640"/>
                <a:gd name="connsiteX1497" fmla="*/ 10068 w 2663946"/>
                <a:gd name="connsiteY1497" fmla="*/ 65282 h 410640"/>
                <a:gd name="connsiteX1498" fmla="*/ 15746 w 2663946"/>
                <a:gd name="connsiteY1498" fmla="*/ 62848 h 410640"/>
                <a:gd name="connsiteX1499" fmla="*/ 23587 w 2663946"/>
                <a:gd name="connsiteY1499" fmla="*/ 62848 h 410640"/>
                <a:gd name="connsiteX1500" fmla="*/ 24128 w 2663946"/>
                <a:gd name="connsiteY1500" fmla="*/ 62308 h 410640"/>
                <a:gd name="connsiteX1501" fmla="*/ 24128 w 2663946"/>
                <a:gd name="connsiteY1501" fmla="*/ 16343 h 410640"/>
                <a:gd name="connsiteX1502" fmla="*/ 23587 w 2663946"/>
                <a:gd name="connsiteY1502" fmla="*/ 15802 h 410640"/>
                <a:gd name="connsiteX1503" fmla="*/ 17638 w 2663946"/>
                <a:gd name="connsiteY1503" fmla="*/ 15802 h 410640"/>
                <a:gd name="connsiteX1504" fmla="*/ 10338 w 2663946"/>
                <a:gd name="connsiteY1504" fmla="*/ 11206 h 410640"/>
                <a:gd name="connsiteX1505" fmla="*/ 10068 w 2663946"/>
                <a:gd name="connsiteY1505" fmla="*/ 5528 h 410640"/>
                <a:gd name="connsiteX1506" fmla="*/ 17368 w 2663946"/>
                <a:gd name="connsiteY1506" fmla="*/ 391 h 410640"/>
                <a:gd name="connsiteX1507" fmla="*/ 29535 w 2663946"/>
                <a:gd name="connsiteY1507" fmla="*/ 120 h 410640"/>
                <a:gd name="connsiteX0" fmla="*/ 2632966 w 2663946"/>
                <a:gd name="connsiteY0" fmla="*/ 349752 h 410858"/>
                <a:gd name="connsiteX1" fmla="*/ 2621414 w 2663946"/>
                <a:gd name="connsiteY1" fmla="*/ 352185 h 410858"/>
                <a:gd name="connsiteX2" fmla="*/ 2618218 w 2663946"/>
                <a:gd name="connsiteY2" fmla="*/ 355700 h 410858"/>
                <a:gd name="connsiteX3" fmla="*/ 2616006 w 2663946"/>
                <a:gd name="connsiteY3" fmla="*/ 359485 h 410858"/>
                <a:gd name="connsiteX4" fmla="*/ 2615023 w 2663946"/>
                <a:gd name="connsiteY4" fmla="*/ 362189 h 410858"/>
                <a:gd name="connsiteX5" fmla="*/ 2614039 w 2663946"/>
                <a:gd name="connsiteY5" fmla="*/ 366245 h 410858"/>
                <a:gd name="connsiteX6" fmla="*/ 2613056 w 2663946"/>
                <a:gd name="connsiteY6" fmla="*/ 373275 h 410858"/>
                <a:gd name="connsiteX7" fmla="*/ 2614039 w 2663946"/>
                <a:gd name="connsiteY7" fmla="*/ 380575 h 410858"/>
                <a:gd name="connsiteX8" fmla="*/ 2615269 w 2663946"/>
                <a:gd name="connsiteY8" fmla="*/ 384360 h 410858"/>
                <a:gd name="connsiteX9" fmla="*/ 2617481 w 2663946"/>
                <a:gd name="connsiteY9" fmla="*/ 388686 h 410858"/>
                <a:gd name="connsiteX10" fmla="*/ 2620922 w 2663946"/>
                <a:gd name="connsiteY10" fmla="*/ 393013 h 410858"/>
                <a:gd name="connsiteX11" fmla="*/ 2625346 w 2663946"/>
                <a:gd name="connsiteY11" fmla="*/ 395716 h 410858"/>
                <a:gd name="connsiteX12" fmla="*/ 2637637 w 2663946"/>
                <a:gd name="connsiteY12" fmla="*/ 393283 h 410858"/>
                <a:gd name="connsiteX13" fmla="*/ 2640832 w 2663946"/>
                <a:gd name="connsiteY13" fmla="*/ 389768 h 410858"/>
                <a:gd name="connsiteX14" fmla="*/ 2643290 w 2663946"/>
                <a:gd name="connsiteY14" fmla="*/ 385442 h 410858"/>
                <a:gd name="connsiteX15" fmla="*/ 2644273 w 2663946"/>
                <a:gd name="connsiteY15" fmla="*/ 383279 h 410858"/>
                <a:gd name="connsiteX16" fmla="*/ 2645502 w 2663946"/>
                <a:gd name="connsiteY16" fmla="*/ 378953 h 410858"/>
                <a:gd name="connsiteX17" fmla="*/ 2645011 w 2663946"/>
                <a:gd name="connsiteY17" fmla="*/ 365163 h 410858"/>
                <a:gd name="connsiteX18" fmla="*/ 2644027 w 2663946"/>
                <a:gd name="connsiteY18" fmla="*/ 362189 h 410858"/>
                <a:gd name="connsiteX19" fmla="*/ 2642799 w 2663946"/>
                <a:gd name="connsiteY19" fmla="*/ 359215 h 410858"/>
                <a:gd name="connsiteX20" fmla="*/ 2640586 w 2663946"/>
                <a:gd name="connsiteY20" fmla="*/ 355700 h 410858"/>
                <a:gd name="connsiteX21" fmla="*/ 2636899 w 2663946"/>
                <a:gd name="connsiteY21" fmla="*/ 351915 h 410858"/>
                <a:gd name="connsiteX22" fmla="*/ 2632966 w 2663946"/>
                <a:gd name="connsiteY22" fmla="*/ 349752 h 410858"/>
                <a:gd name="connsiteX23" fmla="*/ 2627559 w 2663946"/>
                <a:gd name="connsiteY23" fmla="*/ 333799 h 410858"/>
                <a:gd name="connsiteX24" fmla="*/ 2639849 w 2663946"/>
                <a:gd name="connsiteY24" fmla="*/ 335962 h 410858"/>
                <a:gd name="connsiteX25" fmla="*/ 2647223 w 2663946"/>
                <a:gd name="connsiteY25" fmla="*/ 340559 h 410858"/>
                <a:gd name="connsiteX26" fmla="*/ 2650664 w 2663946"/>
                <a:gd name="connsiteY26" fmla="*/ 343803 h 410858"/>
                <a:gd name="connsiteX27" fmla="*/ 2654106 w 2663946"/>
                <a:gd name="connsiteY27" fmla="*/ 348129 h 410858"/>
                <a:gd name="connsiteX28" fmla="*/ 2656072 w 2663946"/>
                <a:gd name="connsiteY28" fmla="*/ 351644 h 410858"/>
                <a:gd name="connsiteX29" fmla="*/ 2658284 w 2663946"/>
                <a:gd name="connsiteY29" fmla="*/ 357052 h 410858"/>
                <a:gd name="connsiteX30" fmla="*/ 2659267 w 2663946"/>
                <a:gd name="connsiteY30" fmla="*/ 360567 h 410858"/>
                <a:gd name="connsiteX31" fmla="*/ 2660251 w 2663946"/>
                <a:gd name="connsiteY31" fmla="*/ 365704 h 410858"/>
                <a:gd name="connsiteX32" fmla="*/ 2660005 w 2663946"/>
                <a:gd name="connsiteY32" fmla="*/ 380034 h 410858"/>
                <a:gd name="connsiteX33" fmla="*/ 2659022 w 2663946"/>
                <a:gd name="connsiteY33" fmla="*/ 384901 h 410858"/>
                <a:gd name="connsiteX34" fmla="*/ 2657792 w 2663946"/>
                <a:gd name="connsiteY34" fmla="*/ 388686 h 410858"/>
                <a:gd name="connsiteX35" fmla="*/ 2656809 w 2663946"/>
                <a:gd name="connsiteY35" fmla="*/ 391120 h 410858"/>
                <a:gd name="connsiteX36" fmla="*/ 2654597 w 2663946"/>
                <a:gd name="connsiteY36" fmla="*/ 395446 h 410858"/>
                <a:gd name="connsiteX37" fmla="*/ 2652385 w 2663946"/>
                <a:gd name="connsiteY37" fmla="*/ 398690 h 410858"/>
                <a:gd name="connsiteX38" fmla="*/ 2648944 w 2663946"/>
                <a:gd name="connsiteY38" fmla="*/ 402476 h 410858"/>
                <a:gd name="connsiteX39" fmla="*/ 2645748 w 2663946"/>
                <a:gd name="connsiteY39" fmla="*/ 405179 h 410858"/>
                <a:gd name="connsiteX40" fmla="*/ 2640095 w 2663946"/>
                <a:gd name="connsiteY40" fmla="*/ 408424 h 410858"/>
                <a:gd name="connsiteX41" fmla="*/ 2632229 w 2663946"/>
                <a:gd name="connsiteY41" fmla="*/ 410587 h 410858"/>
                <a:gd name="connsiteX42" fmla="*/ 2631000 w 2663946"/>
                <a:gd name="connsiteY42" fmla="*/ 410858 h 410858"/>
                <a:gd name="connsiteX43" fmla="*/ 2626821 w 2663946"/>
                <a:gd name="connsiteY43" fmla="*/ 410858 h 410858"/>
                <a:gd name="connsiteX44" fmla="*/ 2626576 w 2663946"/>
                <a:gd name="connsiteY44" fmla="*/ 410858 h 410858"/>
                <a:gd name="connsiteX45" fmla="*/ 2613548 w 2663946"/>
                <a:gd name="connsiteY45" fmla="*/ 405991 h 410858"/>
                <a:gd name="connsiteX46" fmla="*/ 2608878 w 2663946"/>
                <a:gd name="connsiteY46" fmla="*/ 401935 h 410858"/>
                <a:gd name="connsiteX47" fmla="*/ 2605682 w 2663946"/>
                <a:gd name="connsiteY47" fmla="*/ 398150 h 410858"/>
                <a:gd name="connsiteX48" fmla="*/ 2603470 w 2663946"/>
                <a:gd name="connsiteY48" fmla="*/ 394635 h 410858"/>
                <a:gd name="connsiteX49" fmla="*/ 2601258 w 2663946"/>
                <a:gd name="connsiteY49" fmla="*/ 390309 h 410858"/>
                <a:gd name="connsiteX50" fmla="*/ 2600029 w 2663946"/>
                <a:gd name="connsiteY50" fmla="*/ 387334 h 410858"/>
                <a:gd name="connsiteX51" fmla="*/ 2599046 w 2663946"/>
                <a:gd name="connsiteY51" fmla="*/ 384090 h 410858"/>
                <a:gd name="connsiteX52" fmla="*/ 2597816 w 2663946"/>
                <a:gd name="connsiteY52" fmla="*/ 378412 h 410858"/>
                <a:gd name="connsiteX53" fmla="*/ 2597571 w 2663946"/>
                <a:gd name="connsiteY53" fmla="*/ 375438 h 410858"/>
                <a:gd name="connsiteX54" fmla="*/ 2597816 w 2663946"/>
                <a:gd name="connsiteY54" fmla="*/ 375708 h 410858"/>
                <a:gd name="connsiteX55" fmla="*/ 2597816 w 2663946"/>
                <a:gd name="connsiteY55" fmla="*/ 370030 h 410858"/>
                <a:gd name="connsiteX56" fmla="*/ 2597816 w 2663946"/>
                <a:gd name="connsiteY56" fmla="*/ 369760 h 410858"/>
                <a:gd name="connsiteX57" fmla="*/ 2598308 w 2663946"/>
                <a:gd name="connsiteY57" fmla="*/ 365163 h 410858"/>
                <a:gd name="connsiteX58" fmla="*/ 2599537 w 2663946"/>
                <a:gd name="connsiteY58" fmla="*/ 359756 h 410858"/>
                <a:gd name="connsiteX59" fmla="*/ 2600520 w 2663946"/>
                <a:gd name="connsiteY59" fmla="*/ 356511 h 410858"/>
                <a:gd name="connsiteX60" fmla="*/ 2602732 w 2663946"/>
                <a:gd name="connsiteY60" fmla="*/ 351374 h 410858"/>
                <a:gd name="connsiteX61" fmla="*/ 2604945 w 2663946"/>
                <a:gd name="connsiteY61" fmla="*/ 347589 h 410858"/>
                <a:gd name="connsiteX62" fmla="*/ 2607157 w 2663946"/>
                <a:gd name="connsiteY62" fmla="*/ 344614 h 410858"/>
                <a:gd name="connsiteX63" fmla="*/ 2609369 w 2663946"/>
                <a:gd name="connsiteY63" fmla="*/ 342181 h 410858"/>
                <a:gd name="connsiteX64" fmla="*/ 2614039 w 2663946"/>
                <a:gd name="connsiteY64" fmla="*/ 338396 h 410858"/>
                <a:gd name="connsiteX65" fmla="*/ 2617972 w 2663946"/>
                <a:gd name="connsiteY65" fmla="*/ 336233 h 410858"/>
                <a:gd name="connsiteX66" fmla="*/ 2627559 w 2663946"/>
                <a:gd name="connsiteY66" fmla="*/ 333799 h 410858"/>
                <a:gd name="connsiteX67" fmla="*/ 2631061 w 2663946"/>
                <a:gd name="connsiteY67" fmla="*/ 269889 h 410858"/>
                <a:gd name="connsiteX68" fmla="*/ 2621591 w 2663946"/>
                <a:gd name="connsiteY68" fmla="*/ 279163 h 410858"/>
                <a:gd name="connsiteX69" fmla="*/ 2626545 w 2663946"/>
                <a:gd name="connsiteY69" fmla="*/ 287320 h 410858"/>
                <a:gd name="connsiteX70" fmla="*/ 2626545 w 2663946"/>
                <a:gd name="connsiteY70" fmla="*/ 295715 h 410858"/>
                <a:gd name="connsiteX71" fmla="*/ 2631061 w 2663946"/>
                <a:gd name="connsiteY71" fmla="*/ 300138 h 410858"/>
                <a:gd name="connsiteX72" fmla="*/ 2635578 w 2663946"/>
                <a:gd name="connsiteY72" fmla="*/ 295715 h 410858"/>
                <a:gd name="connsiteX73" fmla="*/ 2635578 w 2663946"/>
                <a:gd name="connsiteY73" fmla="*/ 287320 h 410858"/>
                <a:gd name="connsiteX74" fmla="*/ 2640532 w 2663946"/>
                <a:gd name="connsiteY74" fmla="*/ 279163 h 410858"/>
                <a:gd name="connsiteX75" fmla="*/ 2631061 w 2663946"/>
                <a:gd name="connsiteY75" fmla="*/ 269889 h 410858"/>
                <a:gd name="connsiteX76" fmla="*/ 2630799 w 2663946"/>
                <a:gd name="connsiteY76" fmla="*/ 231172 h 410858"/>
                <a:gd name="connsiteX77" fmla="*/ 2619139 w 2663946"/>
                <a:gd name="connsiteY77" fmla="*/ 238901 h 410858"/>
                <a:gd name="connsiteX78" fmla="*/ 2618214 w 2663946"/>
                <a:gd name="connsiteY78" fmla="*/ 243484 h 410858"/>
                <a:gd name="connsiteX79" fmla="*/ 2621454 w 2663946"/>
                <a:gd name="connsiteY79" fmla="*/ 243484 h 410858"/>
                <a:gd name="connsiteX80" fmla="*/ 2639871 w 2663946"/>
                <a:gd name="connsiteY80" fmla="*/ 243484 h 410858"/>
                <a:gd name="connsiteX81" fmla="*/ 2643385 w 2663946"/>
                <a:gd name="connsiteY81" fmla="*/ 243484 h 410858"/>
                <a:gd name="connsiteX82" fmla="*/ 2642460 w 2663946"/>
                <a:gd name="connsiteY82" fmla="*/ 238901 h 410858"/>
                <a:gd name="connsiteX83" fmla="*/ 2630799 w 2663946"/>
                <a:gd name="connsiteY83" fmla="*/ 231172 h 410858"/>
                <a:gd name="connsiteX84" fmla="*/ 2630799 w 2663946"/>
                <a:gd name="connsiteY84" fmla="*/ 218517 h 410858"/>
                <a:gd name="connsiteX85" fmla="*/ 2655595 w 2663946"/>
                <a:gd name="connsiteY85" fmla="*/ 238726 h 410858"/>
                <a:gd name="connsiteX86" fmla="*/ 2656074 w 2663946"/>
                <a:gd name="connsiteY86" fmla="*/ 243484 h 410858"/>
                <a:gd name="connsiteX87" fmla="*/ 2657493 w 2663946"/>
                <a:gd name="connsiteY87" fmla="*/ 243484 h 410858"/>
                <a:gd name="connsiteX88" fmla="*/ 2663946 w 2663946"/>
                <a:gd name="connsiteY88" fmla="*/ 249770 h 410858"/>
                <a:gd name="connsiteX89" fmla="*/ 2663946 w 2663946"/>
                <a:gd name="connsiteY89" fmla="*/ 299492 h 410858"/>
                <a:gd name="connsiteX90" fmla="*/ 2657493 w 2663946"/>
                <a:gd name="connsiteY90" fmla="*/ 305778 h 410858"/>
                <a:gd name="connsiteX91" fmla="*/ 2604106 w 2663946"/>
                <a:gd name="connsiteY91" fmla="*/ 305778 h 410858"/>
                <a:gd name="connsiteX92" fmla="*/ 2597652 w 2663946"/>
                <a:gd name="connsiteY92" fmla="*/ 299492 h 410858"/>
                <a:gd name="connsiteX93" fmla="*/ 2597652 w 2663946"/>
                <a:gd name="connsiteY93" fmla="*/ 249770 h 410858"/>
                <a:gd name="connsiteX94" fmla="*/ 2604106 w 2663946"/>
                <a:gd name="connsiteY94" fmla="*/ 243484 h 410858"/>
                <a:gd name="connsiteX95" fmla="*/ 2604940 w 2663946"/>
                <a:gd name="connsiteY95" fmla="*/ 243484 h 410858"/>
                <a:gd name="connsiteX96" fmla="*/ 2605524 w 2663946"/>
                <a:gd name="connsiteY96" fmla="*/ 243484 h 410858"/>
                <a:gd name="connsiteX97" fmla="*/ 2606004 w 2663946"/>
                <a:gd name="connsiteY97" fmla="*/ 238726 h 410858"/>
                <a:gd name="connsiteX98" fmla="*/ 2630799 w 2663946"/>
                <a:gd name="connsiteY98" fmla="*/ 218517 h 410858"/>
                <a:gd name="connsiteX99" fmla="*/ 33409 w 2663946"/>
                <a:gd name="connsiteY99" fmla="*/ 165663 h 410858"/>
                <a:gd name="connsiteX100" fmla="*/ 23938 w 2663946"/>
                <a:gd name="connsiteY100" fmla="*/ 174937 h 410858"/>
                <a:gd name="connsiteX101" fmla="*/ 28892 w 2663946"/>
                <a:gd name="connsiteY101" fmla="*/ 183094 h 410858"/>
                <a:gd name="connsiteX102" fmla="*/ 28892 w 2663946"/>
                <a:gd name="connsiteY102" fmla="*/ 191489 h 410858"/>
                <a:gd name="connsiteX103" fmla="*/ 33409 w 2663946"/>
                <a:gd name="connsiteY103" fmla="*/ 195912 h 410858"/>
                <a:gd name="connsiteX104" fmla="*/ 37926 w 2663946"/>
                <a:gd name="connsiteY104" fmla="*/ 191489 h 410858"/>
                <a:gd name="connsiteX105" fmla="*/ 37926 w 2663946"/>
                <a:gd name="connsiteY105" fmla="*/ 183094 h 410858"/>
                <a:gd name="connsiteX106" fmla="*/ 42880 w 2663946"/>
                <a:gd name="connsiteY106" fmla="*/ 174937 h 410858"/>
                <a:gd name="connsiteX107" fmla="*/ 33409 w 2663946"/>
                <a:gd name="connsiteY107" fmla="*/ 165663 h 410858"/>
                <a:gd name="connsiteX108" fmla="*/ 2538193 w 2663946"/>
                <a:gd name="connsiteY108" fmla="*/ 158075 h 410858"/>
                <a:gd name="connsiteX109" fmla="*/ 2528723 w 2663946"/>
                <a:gd name="connsiteY109" fmla="*/ 167349 h 410858"/>
                <a:gd name="connsiteX110" fmla="*/ 2533677 w 2663946"/>
                <a:gd name="connsiteY110" fmla="*/ 175506 h 410858"/>
                <a:gd name="connsiteX111" fmla="*/ 2533677 w 2663946"/>
                <a:gd name="connsiteY111" fmla="*/ 183901 h 410858"/>
                <a:gd name="connsiteX112" fmla="*/ 2538193 w 2663946"/>
                <a:gd name="connsiteY112" fmla="*/ 188324 h 410858"/>
                <a:gd name="connsiteX113" fmla="*/ 2542710 w 2663946"/>
                <a:gd name="connsiteY113" fmla="*/ 183901 h 410858"/>
                <a:gd name="connsiteX114" fmla="*/ 2542710 w 2663946"/>
                <a:gd name="connsiteY114" fmla="*/ 175506 h 410858"/>
                <a:gd name="connsiteX115" fmla="*/ 2547664 w 2663946"/>
                <a:gd name="connsiteY115" fmla="*/ 167349 h 410858"/>
                <a:gd name="connsiteX116" fmla="*/ 2538193 w 2663946"/>
                <a:gd name="connsiteY116" fmla="*/ 158075 h 410858"/>
                <a:gd name="connsiteX117" fmla="*/ 2113196 w 2663946"/>
                <a:gd name="connsiteY117" fmla="*/ 158075 h 410858"/>
                <a:gd name="connsiteX118" fmla="*/ 2103726 w 2663946"/>
                <a:gd name="connsiteY118" fmla="*/ 167349 h 410858"/>
                <a:gd name="connsiteX119" fmla="*/ 2108680 w 2663946"/>
                <a:gd name="connsiteY119" fmla="*/ 175506 h 410858"/>
                <a:gd name="connsiteX120" fmla="*/ 2108680 w 2663946"/>
                <a:gd name="connsiteY120" fmla="*/ 183901 h 410858"/>
                <a:gd name="connsiteX121" fmla="*/ 2113196 w 2663946"/>
                <a:gd name="connsiteY121" fmla="*/ 188324 h 410858"/>
                <a:gd name="connsiteX122" fmla="*/ 2117713 w 2663946"/>
                <a:gd name="connsiteY122" fmla="*/ 183901 h 410858"/>
                <a:gd name="connsiteX123" fmla="*/ 2117713 w 2663946"/>
                <a:gd name="connsiteY123" fmla="*/ 175506 h 410858"/>
                <a:gd name="connsiteX124" fmla="*/ 2122667 w 2663946"/>
                <a:gd name="connsiteY124" fmla="*/ 167349 h 410858"/>
                <a:gd name="connsiteX125" fmla="*/ 2113196 w 2663946"/>
                <a:gd name="connsiteY125" fmla="*/ 158075 h 410858"/>
                <a:gd name="connsiteX126" fmla="*/ 1855228 w 2663946"/>
                <a:gd name="connsiteY126" fmla="*/ 158075 h 410858"/>
                <a:gd name="connsiteX127" fmla="*/ 1845758 w 2663946"/>
                <a:gd name="connsiteY127" fmla="*/ 167349 h 410858"/>
                <a:gd name="connsiteX128" fmla="*/ 1850712 w 2663946"/>
                <a:gd name="connsiteY128" fmla="*/ 175506 h 410858"/>
                <a:gd name="connsiteX129" fmla="*/ 1850712 w 2663946"/>
                <a:gd name="connsiteY129" fmla="*/ 183901 h 410858"/>
                <a:gd name="connsiteX130" fmla="*/ 1855228 w 2663946"/>
                <a:gd name="connsiteY130" fmla="*/ 188324 h 410858"/>
                <a:gd name="connsiteX131" fmla="*/ 1859745 w 2663946"/>
                <a:gd name="connsiteY131" fmla="*/ 183901 h 410858"/>
                <a:gd name="connsiteX132" fmla="*/ 1859745 w 2663946"/>
                <a:gd name="connsiteY132" fmla="*/ 175506 h 410858"/>
                <a:gd name="connsiteX133" fmla="*/ 1864699 w 2663946"/>
                <a:gd name="connsiteY133" fmla="*/ 167349 h 410858"/>
                <a:gd name="connsiteX134" fmla="*/ 1855228 w 2663946"/>
                <a:gd name="connsiteY134" fmla="*/ 158075 h 410858"/>
                <a:gd name="connsiteX135" fmla="*/ 1764289 w 2663946"/>
                <a:gd name="connsiteY135" fmla="*/ 158075 h 410858"/>
                <a:gd name="connsiteX136" fmla="*/ 1754819 w 2663946"/>
                <a:gd name="connsiteY136" fmla="*/ 167349 h 410858"/>
                <a:gd name="connsiteX137" fmla="*/ 1759773 w 2663946"/>
                <a:gd name="connsiteY137" fmla="*/ 175506 h 410858"/>
                <a:gd name="connsiteX138" fmla="*/ 1759773 w 2663946"/>
                <a:gd name="connsiteY138" fmla="*/ 183901 h 410858"/>
                <a:gd name="connsiteX139" fmla="*/ 1764289 w 2663946"/>
                <a:gd name="connsiteY139" fmla="*/ 188324 h 410858"/>
                <a:gd name="connsiteX140" fmla="*/ 1768806 w 2663946"/>
                <a:gd name="connsiteY140" fmla="*/ 183901 h 410858"/>
                <a:gd name="connsiteX141" fmla="*/ 1768806 w 2663946"/>
                <a:gd name="connsiteY141" fmla="*/ 175506 h 410858"/>
                <a:gd name="connsiteX142" fmla="*/ 1773760 w 2663946"/>
                <a:gd name="connsiteY142" fmla="*/ 167349 h 410858"/>
                <a:gd name="connsiteX143" fmla="*/ 1764289 w 2663946"/>
                <a:gd name="connsiteY143" fmla="*/ 158075 h 410858"/>
                <a:gd name="connsiteX144" fmla="*/ 1506321 w 2663946"/>
                <a:gd name="connsiteY144" fmla="*/ 158075 h 410858"/>
                <a:gd name="connsiteX145" fmla="*/ 1496851 w 2663946"/>
                <a:gd name="connsiteY145" fmla="*/ 167349 h 410858"/>
                <a:gd name="connsiteX146" fmla="*/ 1501805 w 2663946"/>
                <a:gd name="connsiteY146" fmla="*/ 175506 h 410858"/>
                <a:gd name="connsiteX147" fmla="*/ 1501805 w 2663946"/>
                <a:gd name="connsiteY147" fmla="*/ 183901 h 410858"/>
                <a:gd name="connsiteX148" fmla="*/ 1506321 w 2663946"/>
                <a:gd name="connsiteY148" fmla="*/ 188324 h 410858"/>
                <a:gd name="connsiteX149" fmla="*/ 1510838 w 2663946"/>
                <a:gd name="connsiteY149" fmla="*/ 183901 h 410858"/>
                <a:gd name="connsiteX150" fmla="*/ 1510838 w 2663946"/>
                <a:gd name="connsiteY150" fmla="*/ 175506 h 410858"/>
                <a:gd name="connsiteX151" fmla="*/ 1515792 w 2663946"/>
                <a:gd name="connsiteY151" fmla="*/ 167349 h 410858"/>
                <a:gd name="connsiteX152" fmla="*/ 1506321 w 2663946"/>
                <a:gd name="connsiteY152" fmla="*/ 158075 h 410858"/>
                <a:gd name="connsiteX153" fmla="*/ 1415382 w 2663946"/>
                <a:gd name="connsiteY153" fmla="*/ 158075 h 410858"/>
                <a:gd name="connsiteX154" fmla="*/ 1405912 w 2663946"/>
                <a:gd name="connsiteY154" fmla="*/ 167349 h 410858"/>
                <a:gd name="connsiteX155" fmla="*/ 1410866 w 2663946"/>
                <a:gd name="connsiteY155" fmla="*/ 175506 h 410858"/>
                <a:gd name="connsiteX156" fmla="*/ 1410866 w 2663946"/>
                <a:gd name="connsiteY156" fmla="*/ 183901 h 410858"/>
                <a:gd name="connsiteX157" fmla="*/ 1415382 w 2663946"/>
                <a:gd name="connsiteY157" fmla="*/ 188324 h 410858"/>
                <a:gd name="connsiteX158" fmla="*/ 1419899 w 2663946"/>
                <a:gd name="connsiteY158" fmla="*/ 183901 h 410858"/>
                <a:gd name="connsiteX159" fmla="*/ 1419899 w 2663946"/>
                <a:gd name="connsiteY159" fmla="*/ 175506 h 410858"/>
                <a:gd name="connsiteX160" fmla="*/ 1424853 w 2663946"/>
                <a:gd name="connsiteY160" fmla="*/ 167349 h 410858"/>
                <a:gd name="connsiteX161" fmla="*/ 1415382 w 2663946"/>
                <a:gd name="connsiteY161" fmla="*/ 158075 h 410858"/>
                <a:gd name="connsiteX162" fmla="*/ 1157414 w 2663946"/>
                <a:gd name="connsiteY162" fmla="*/ 158075 h 410858"/>
                <a:gd name="connsiteX163" fmla="*/ 1147944 w 2663946"/>
                <a:gd name="connsiteY163" fmla="*/ 167349 h 410858"/>
                <a:gd name="connsiteX164" fmla="*/ 1152898 w 2663946"/>
                <a:gd name="connsiteY164" fmla="*/ 175506 h 410858"/>
                <a:gd name="connsiteX165" fmla="*/ 1152898 w 2663946"/>
                <a:gd name="connsiteY165" fmla="*/ 183901 h 410858"/>
                <a:gd name="connsiteX166" fmla="*/ 1157414 w 2663946"/>
                <a:gd name="connsiteY166" fmla="*/ 188324 h 410858"/>
                <a:gd name="connsiteX167" fmla="*/ 1161931 w 2663946"/>
                <a:gd name="connsiteY167" fmla="*/ 183901 h 410858"/>
                <a:gd name="connsiteX168" fmla="*/ 1161931 w 2663946"/>
                <a:gd name="connsiteY168" fmla="*/ 175506 h 410858"/>
                <a:gd name="connsiteX169" fmla="*/ 1166885 w 2663946"/>
                <a:gd name="connsiteY169" fmla="*/ 167349 h 410858"/>
                <a:gd name="connsiteX170" fmla="*/ 1157414 w 2663946"/>
                <a:gd name="connsiteY170" fmla="*/ 158075 h 410858"/>
                <a:gd name="connsiteX171" fmla="*/ 732418 w 2663946"/>
                <a:gd name="connsiteY171" fmla="*/ 158075 h 410858"/>
                <a:gd name="connsiteX172" fmla="*/ 722947 w 2663946"/>
                <a:gd name="connsiteY172" fmla="*/ 167349 h 410858"/>
                <a:gd name="connsiteX173" fmla="*/ 727901 w 2663946"/>
                <a:gd name="connsiteY173" fmla="*/ 175506 h 410858"/>
                <a:gd name="connsiteX174" fmla="*/ 727901 w 2663946"/>
                <a:gd name="connsiteY174" fmla="*/ 183901 h 410858"/>
                <a:gd name="connsiteX175" fmla="*/ 732418 w 2663946"/>
                <a:gd name="connsiteY175" fmla="*/ 188324 h 410858"/>
                <a:gd name="connsiteX176" fmla="*/ 736935 w 2663946"/>
                <a:gd name="connsiteY176" fmla="*/ 183901 h 410858"/>
                <a:gd name="connsiteX177" fmla="*/ 736935 w 2663946"/>
                <a:gd name="connsiteY177" fmla="*/ 175506 h 410858"/>
                <a:gd name="connsiteX178" fmla="*/ 741889 w 2663946"/>
                <a:gd name="connsiteY178" fmla="*/ 167349 h 410858"/>
                <a:gd name="connsiteX179" fmla="*/ 732418 w 2663946"/>
                <a:gd name="connsiteY179" fmla="*/ 158075 h 410858"/>
                <a:gd name="connsiteX180" fmla="*/ 641479 w 2663946"/>
                <a:gd name="connsiteY180" fmla="*/ 158075 h 410858"/>
                <a:gd name="connsiteX181" fmla="*/ 632008 w 2663946"/>
                <a:gd name="connsiteY181" fmla="*/ 167349 h 410858"/>
                <a:gd name="connsiteX182" fmla="*/ 636962 w 2663946"/>
                <a:gd name="connsiteY182" fmla="*/ 175506 h 410858"/>
                <a:gd name="connsiteX183" fmla="*/ 636962 w 2663946"/>
                <a:gd name="connsiteY183" fmla="*/ 183901 h 410858"/>
                <a:gd name="connsiteX184" fmla="*/ 641479 w 2663946"/>
                <a:gd name="connsiteY184" fmla="*/ 188324 h 410858"/>
                <a:gd name="connsiteX185" fmla="*/ 645996 w 2663946"/>
                <a:gd name="connsiteY185" fmla="*/ 183901 h 410858"/>
                <a:gd name="connsiteX186" fmla="*/ 645996 w 2663946"/>
                <a:gd name="connsiteY186" fmla="*/ 175506 h 410858"/>
                <a:gd name="connsiteX187" fmla="*/ 650950 w 2663946"/>
                <a:gd name="connsiteY187" fmla="*/ 167349 h 410858"/>
                <a:gd name="connsiteX188" fmla="*/ 641479 w 2663946"/>
                <a:gd name="connsiteY188" fmla="*/ 158075 h 410858"/>
                <a:gd name="connsiteX189" fmla="*/ 459528 w 2663946"/>
                <a:gd name="connsiteY189" fmla="*/ 158075 h 410858"/>
                <a:gd name="connsiteX190" fmla="*/ 450057 w 2663946"/>
                <a:gd name="connsiteY190" fmla="*/ 167349 h 410858"/>
                <a:gd name="connsiteX191" fmla="*/ 455011 w 2663946"/>
                <a:gd name="connsiteY191" fmla="*/ 175506 h 410858"/>
                <a:gd name="connsiteX192" fmla="*/ 455011 w 2663946"/>
                <a:gd name="connsiteY192" fmla="*/ 183901 h 410858"/>
                <a:gd name="connsiteX193" fmla="*/ 459528 w 2663946"/>
                <a:gd name="connsiteY193" fmla="*/ 188324 h 410858"/>
                <a:gd name="connsiteX194" fmla="*/ 464045 w 2663946"/>
                <a:gd name="connsiteY194" fmla="*/ 183901 h 410858"/>
                <a:gd name="connsiteX195" fmla="*/ 464045 w 2663946"/>
                <a:gd name="connsiteY195" fmla="*/ 175506 h 410858"/>
                <a:gd name="connsiteX196" fmla="*/ 468999 w 2663946"/>
                <a:gd name="connsiteY196" fmla="*/ 167349 h 410858"/>
                <a:gd name="connsiteX197" fmla="*/ 459528 w 2663946"/>
                <a:gd name="connsiteY197" fmla="*/ 158075 h 410858"/>
                <a:gd name="connsiteX198" fmla="*/ 2632966 w 2663946"/>
                <a:gd name="connsiteY198" fmla="*/ 130882 h 410858"/>
                <a:gd name="connsiteX199" fmla="*/ 2621414 w 2663946"/>
                <a:gd name="connsiteY199" fmla="*/ 133315 h 410858"/>
                <a:gd name="connsiteX200" fmla="*/ 2618218 w 2663946"/>
                <a:gd name="connsiteY200" fmla="*/ 136830 h 410858"/>
                <a:gd name="connsiteX201" fmla="*/ 2616006 w 2663946"/>
                <a:gd name="connsiteY201" fmla="*/ 140615 h 410858"/>
                <a:gd name="connsiteX202" fmla="*/ 2615023 w 2663946"/>
                <a:gd name="connsiteY202" fmla="*/ 143319 h 410858"/>
                <a:gd name="connsiteX203" fmla="*/ 2614039 w 2663946"/>
                <a:gd name="connsiteY203" fmla="*/ 147375 h 410858"/>
                <a:gd name="connsiteX204" fmla="*/ 2613056 w 2663946"/>
                <a:gd name="connsiteY204" fmla="*/ 154405 h 410858"/>
                <a:gd name="connsiteX205" fmla="*/ 2614039 w 2663946"/>
                <a:gd name="connsiteY205" fmla="*/ 161705 h 410858"/>
                <a:gd name="connsiteX206" fmla="*/ 2615269 w 2663946"/>
                <a:gd name="connsiteY206" fmla="*/ 165490 h 410858"/>
                <a:gd name="connsiteX207" fmla="*/ 2617481 w 2663946"/>
                <a:gd name="connsiteY207" fmla="*/ 169816 h 410858"/>
                <a:gd name="connsiteX208" fmla="*/ 2620922 w 2663946"/>
                <a:gd name="connsiteY208" fmla="*/ 174143 h 410858"/>
                <a:gd name="connsiteX209" fmla="*/ 2625346 w 2663946"/>
                <a:gd name="connsiteY209" fmla="*/ 176846 h 410858"/>
                <a:gd name="connsiteX210" fmla="*/ 2637637 w 2663946"/>
                <a:gd name="connsiteY210" fmla="*/ 174413 h 410858"/>
                <a:gd name="connsiteX211" fmla="*/ 2640832 w 2663946"/>
                <a:gd name="connsiteY211" fmla="*/ 170898 h 410858"/>
                <a:gd name="connsiteX212" fmla="*/ 2643290 w 2663946"/>
                <a:gd name="connsiteY212" fmla="*/ 166572 h 410858"/>
                <a:gd name="connsiteX213" fmla="*/ 2644273 w 2663946"/>
                <a:gd name="connsiteY213" fmla="*/ 164409 h 410858"/>
                <a:gd name="connsiteX214" fmla="*/ 2645502 w 2663946"/>
                <a:gd name="connsiteY214" fmla="*/ 160083 h 410858"/>
                <a:gd name="connsiteX215" fmla="*/ 2645011 w 2663946"/>
                <a:gd name="connsiteY215" fmla="*/ 146293 h 410858"/>
                <a:gd name="connsiteX216" fmla="*/ 2644027 w 2663946"/>
                <a:gd name="connsiteY216" fmla="*/ 143319 h 410858"/>
                <a:gd name="connsiteX217" fmla="*/ 2642799 w 2663946"/>
                <a:gd name="connsiteY217" fmla="*/ 140345 h 410858"/>
                <a:gd name="connsiteX218" fmla="*/ 2640586 w 2663946"/>
                <a:gd name="connsiteY218" fmla="*/ 136830 h 410858"/>
                <a:gd name="connsiteX219" fmla="*/ 2636899 w 2663946"/>
                <a:gd name="connsiteY219" fmla="*/ 133045 h 410858"/>
                <a:gd name="connsiteX220" fmla="*/ 2632966 w 2663946"/>
                <a:gd name="connsiteY220" fmla="*/ 130882 h 410858"/>
                <a:gd name="connsiteX221" fmla="*/ 2451011 w 2663946"/>
                <a:gd name="connsiteY221" fmla="*/ 130882 h 410858"/>
                <a:gd name="connsiteX222" fmla="*/ 2439459 w 2663946"/>
                <a:gd name="connsiteY222" fmla="*/ 133315 h 410858"/>
                <a:gd name="connsiteX223" fmla="*/ 2436263 w 2663946"/>
                <a:gd name="connsiteY223" fmla="*/ 136830 h 410858"/>
                <a:gd name="connsiteX224" fmla="*/ 2434051 w 2663946"/>
                <a:gd name="connsiteY224" fmla="*/ 140615 h 410858"/>
                <a:gd name="connsiteX225" fmla="*/ 2433068 w 2663946"/>
                <a:gd name="connsiteY225" fmla="*/ 143319 h 410858"/>
                <a:gd name="connsiteX226" fmla="*/ 2432084 w 2663946"/>
                <a:gd name="connsiteY226" fmla="*/ 147375 h 410858"/>
                <a:gd name="connsiteX227" fmla="*/ 2431101 w 2663946"/>
                <a:gd name="connsiteY227" fmla="*/ 154405 h 410858"/>
                <a:gd name="connsiteX228" fmla="*/ 2432084 w 2663946"/>
                <a:gd name="connsiteY228" fmla="*/ 161705 h 410858"/>
                <a:gd name="connsiteX229" fmla="*/ 2433314 w 2663946"/>
                <a:gd name="connsiteY229" fmla="*/ 165490 h 410858"/>
                <a:gd name="connsiteX230" fmla="*/ 2435526 w 2663946"/>
                <a:gd name="connsiteY230" fmla="*/ 169816 h 410858"/>
                <a:gd name="connsiteX231" fmla="*/ 2438967 w 2663946"/>
                <a:gd name="connsiteY231" fmla="*/ 174143 h 410858"/>
                <a:gd name="connsiteX232" fmla="*/ 2443391 w 2663946"/>
                <a:gd name="connsiteY232" fmla="*/ 176846 h 410858"/>
                <a:gd name="connsiteX233" fmla="*/ 2455682 w 2663946"/>
                <a:gd name="connsiteY233" fmla="*/ 174413 h 410858"/>
                <a:gd name="connsiteX234" fmla="*/ 2458877 w 2663946"/>
                <a:gd name="connsiteY234" fmla="*/ 170898 h 410858"/>
                <a:gd name="connsiteX235" fmla="*/ 2461335 w 2663946"/>
                <a:gd name="connsiteY235" fmla="*/ 166572 h 410858"/>
                <a:gd name="connsiteX236" fmla="*/ 2462318 w 2663946"/>
                <a:gd name="connsiteY236" fmla="*/ 164409 h 410858"/>
                <a:gd name="connsiteX237" fmla="*/ 2463547 w 2663946"/>
                <a:gd name="connsiteY237" fmla="*/ 160083 h 410858"/>
                <a:gd name="connsiteX238" fmla="*/ 2463056 w 2663946"/>
                <a:gd name="connsiteY238" fmla="*/ 146293 h 410858"/>
                <a:gd name="connsiteX239" fmla="*/ 2462072 w 2663946"/>
                <a:gd name="connsiteY239" fmla="*/ 143319 h 410858"/>
                <a:gd name="connsiteX240" fmla="*/ 2460844 w 2663946"/>
                <a:gd name="connsiteY240" fmla="*/ 140345 h 410858"/>
                <a:gd name="connsiteX241" fmla="*/ 2458631 w 2663946"/>
                <a:gd name="connsiteY241" fmla="*/ 136830 h 410858"/>
                <a:gd name="connsiteX242" fmla="*/ 2454944 w 2663946"/>
                <a:gd name="connsiteY242" fmla="*/ 133045 h 410858"/>
                <a:gd name="connsiteX243" fmla="*/ 2451011 w 2663946"/>
                <a:gd name="connsiteY243" fmla="*/ 130882 h 410858"/>
                <a:gd name="connsiteX244" fmla="*/ 2207965 w 2663946"/>
                <a:gd name="connsiteY244" fmla="*/ 130882 h 410858"/>
                <a:gd name="connsiteX245" fmla="*/ 2196413 w 2663946"/>
                <a:gd name="connsiteY245" fmla="*/ 133315 h 410858"/>
                <a:gd name="connsiteX246" fmla="*/ 2193217 w 2663946"/>
                <a:gd name="connsiteY246" fmla="*/ 136830 h 410858"/>
                <a:gd name="connsiteX247" fmla="*/ 2191005 w 2663946"/>
                <a:gd name="connsiteY247" fmla="*/ 140615 h 410858"/>
                <a:gd name="connsiteX248" fmla="*/ 2190022 w 2663946"/>
                <a:gd name="connsiteY248" fmla="*/ 143319 h 410858"/>
                <a:gd name="connsiteX249" fmla="*/ 2189038 w 2663946"/>
                <a:gd name="connsiteY249" fmla="*/ 147375 h 410858"/>
                <a:gd name="connsiteX250" fmla="*/ 2188055 w 2663946"/>
                <a:gd name="connsiteY250" fmla="*/ 154405 h 410858"/>
                <a:gd name="connsiteX251" fmla="*/ 2189038 w 2663946"/>
                <a:gd name="connsiteY251" fmla="*/ 161705 h 410858"/>
                <a:gd name="connsiteX252" fmla="*/ 2190268 w 2663946"/>
                <a:gd name="connsiteY252" fmla="*/ 165490 h 410858"/>
                <a:gd name="connsiteX253" fmla="*/ 2192480 w 2663946"/>
                <a:gd name="connsiteY253" fmla="*/ 169816 h 410858"/>
                <a:gd name="connsiteX254" fmla="*/ 2195921 w 2663946"/>
                <a:gd name="connsiteY254" fmla="*/ 174143 h 410858"/>
                <a:gd name="connsiteX255" fmla="*/ 2200345 w 2663946"/>
                <a:gd name="connsiteY255" fmla="*/ 176846 h 410858"/>
                <a:gd name="connsiteX256" fmla="*/ 2212636 w 2663946"/>
                <a:gd name="connsiteY256" fmla="*/ 174413 h 410858"/>
                <a:gd name="connsiteX257" fmla="*/ 2215831 w 2663946"/>
                <a:gd name="connsiteY257" fmla="*/ 170898 h 410858"/>
                <a:gd name="connsiteX258" fmla="*/ 2218289 w 2663946"/>
                <a:gd name="connsiteY258" fmla="*/ 166572 h 410858"/>
                <a:gd name="connsiteX259" fmla="*/ 2219272 w 2663946"/>
                <a:gd name="connsiteY259" fmla="*/ 164409 h 410858"/>
                <a:gd name="connsiteX260" fmla="*/ 2220501 w 2663946"/>
                <a:gd name="connsiteY260" fmla="*/ 160083 h 410858"/>
                <a:gd name="connsiteX261" fmla="*/ 2220010 w 2663946"/>
                <a:gd name="connsiteY261" fmla="*/ 146293 h 410858"/>
                <a:gd name="connsiteX262" fmla="*/ 2219026 w 2663946"/>
                <a:gd name="connsiteY262" fmla="*/ 143319 h 410858"/>
                <a:gd name="connsiteX263" fmla="*/ 2217798 w 2663946"/>
                <a:gd name="connsiteY263" fmla="*/ 140345 h 410858"/>
                <a:gd name="connsiteX264" fmla="*/ 2215585 w 2663946"/>
                <a:gd name="connsiteY264" fmla="*/ 136830 h 410858"/>
                <a:gd name="connsiteX265" fmla="*/ 2211898 w 2663946"/>
                <a:gd name="connsiteY265" fmla="*/ 133045 h 410858"/>
                <a:gd name="connsiteX266" fmla="*/ 2207965 w 2663946"/>
                <a:gd name="connsiteY266" fmla="*/ 130882 h 410858"/>
                <a:gd name="connsiteX267" fmla="*/ 2026014 w 2663946"/>
                <a:gd name="connsiteY267" fmla="*/ 130882 h 410858"/>
                <a:gd name="connsiteX268" fmla="*/ 2014462 w 2663946"/>
                <a:gd name="connsiteY268" fmla="*/ 133315 h 410858"/>
                <a:gd name="connsiteX269" fmla="*/ 2011266 w 2663946"/>
                <a:gd name="connsiteY269" fmla="*/ 136830 h 410858"/>
                <a:gd name="connsiteX270" fmla="*/ 2009054 w 2663946"/>
                <a:gd name="connsiteY270" fmla="*/ 140615 h 410858"/>
                <a:gd name="connsiteX271" fmla="*/ 2008071 w 2663946"/>
                <a:gd name="connsiteY271" fmla="*/ 143319 h 410858"/>
                <a:gd name="connsiteX272" fmla="*/ 2007087 w 2663946"/>
                <a:gd name="connsiteY272" fmla="*/ 147375 h 410858"/>
                <a:gd name="connsiteX273" fmla="*/ 2006104 w 2663946"/>
                <a:gd name="connsiteY273" fmla="*/ 154405 h 410858"/>
                <a:gd name="connsiteX274" fmla="*/ 2007087 w 2663946"/>
                <a:gd name="connsiteY274" fmla="*/ 161705 h 410858"/>
                <a:gd name="connsiteX275" fmla="*/ 2008317 w 2663946"/>
                <a:gd name="connsiteY275" fmla="*/ 165490 h 410858"/>
                <a:gd name="connsiteX276" fmla="*/ 2010529 w 2663946"/>
                <a:gd name="connsiteY276" fmla="*/ 169816 h 410858"/>
                <a:gd name="connsiteX277" fmla="*/ 2013970 w 2663946"/>
                <a:gd name="connsiteY277" fmla="*/ 174143 h 410858"/>
                <a:gd name="connsiteX278" fmla="*/ 2018394 w 2663946"/>
                <a:gd name="connsiteY278" fmla="*/ 176846 h 410858"/>
                <a:gd name="connsiteX279" fmla="*/ 2030685 w 2663946"/>
                <a:gd name="connsiteY279" fmla="*/ 174413 h 410858"/>
                <a:gd name="connsiteX280" fmla="*/ 2033880 w 2663946"/>
                <a:gd name="connsiteY280" fmla="*/ 170898 h 410858"/>
                <a:gd name="connsiteX281" fmla="*/ 2036338 w 2663946"/>
                <a:gd name="connsiteY281" fmla="*/ 166572 h 410858"/>
                <a:gd name="connsiteX282" fmla="*/ 2037321 w 2663946"/>
                <a:gd name="connsiteY282" fmla="*/ 164409 h 410858"/>
                <a:gd name="connsiteX283" fmla="*/ 2038550 w 2663946"/>
                <a:gd name="connsiteY283" fmla="*/ 160083 h 410858"/>
                <a:gd name="connsiteX284" fmla="*/ 2038059 w 2663946"/>
                <a:gd name="connsiteY284" fmla="*/ 146293 h 410858"/>
                <a:gd name="connsiteX285" fmla="*/ 2037075 w 2663946"/>
                <a:gd name="connsiteY285" fmla="*/ 143319 h 410858"/>
                <a:gd name="connsiteX286" fmla="*/ 2035847 w 2663946"/>
                <a:gd name="connsiteY286" fmla="*/ 140345 h 410858"/>
                <a:gd name="connsiteX287" fmla="*/ 2033634 w 2663946"/>
                <a:gd name="connsiteY287" fmla="*/ 136830 h 410858"/>
                <a:gd name="connsiteX288" fmla="*/ 2029947 w 2663946"/>
                <a:gd name="connsiteY288" fmla="*/ 133045 h 410858"/>
                <a:gd name="connsiteX289" fmla="*/ 2026014 w 2663946"/>
                <a:gd name="connsiteY289" fmla="*/ 130882 h 410858"/>
                <a:gd name="connsiteX290" fmla="*/ 1601090 w 2663946"/>
                <a:gd name="connsiteY290" fmla="*/ 130882 h 410858"/>
                <a:gd name="connsiteX291" fmla="*/ 1589537 w 2663946"/>
                <a:gd name="connsiteY291" fmla="*/ 133315 h 410858"/>
                <a:gd name="connsiteX292" fmla="*/ 1586342 w 2663946"/>
                <a:gd name="connsiteY292" fmla="*/ 136830 h 410858"/>
                <a:gd name="connsiteX293" fmla="*/ 1584130 w 2663946"/>
                <a:gd name="connsiteY293" fmla="*/ 140615 h 410858"/>
                <a:gd name="connsiteX294" fmla="*/ 1583147 w 2663946"/>
                <a:gd name="connsiteY294" fmla="*/ 143319 h 410858"/>
                <a:gd name="connsiteX295" fmla="*/ 1582163 w 2663946"/>
                <a:gd name="connsiteY295" fmla="*/ 147375 h 410858"/>
                <a:gd name="connsiteX296" fmla="*/ 1581180 w 2663946"/>
                <a:gd name="connsiteY296" fmla="*/ 154405 h 410858"/>
                <a:gd name="connsiteX297" fmla="*/ 1582163 w 2663946"/>
                <a:gd name="connsiteY297" fmla="*/ 161705 h 410858"/>
                <a:gd name="connsiteX298" fmla="*/ 1583393 w 2663946"/>
                <a:gd name="connsiteY298" fmla="*/ 165490 h 410858"/>
                <a:gd name="connsiteX299" fmla="*/ 1585605 w 2663946"/>
                <a:gd name="connsiteY299" fmla="*/ 169816 h 410858"/>
                <a:gd name="connsiteX300" fmla="*/ 1589046 w 2663946"/>
                <a:gd name="connsiteY300" fmla="*/ 174143 h 410858"/>
                <a:gd name="connsiteX301" fmla="*/ 1593470 w 2663946"/>
                <a:gd name="connsiteY301" fmla="*/ 176846 h 410858"/>
                <a:gd name="connsiteX302" fmla="*/ 1605761 w 2663946"/>
                <a:gd name="connsiteY302" fmla="*/ 174413 h 410858"/>
                <a:gd name="connsiteX303" fmla="*/ 1608956 w 2663946"/>
                <a:gd name="connsiteY303" fmla="*/ 170898 h 410858"/>
                <a:gd name="connsiteX304" fmla="*/ 1611414 w 2663946"/>
                <a:gd name="connsiteY304" fmla="*/ 166572 h 410858"/>
                <a:gd name="connsiteX305" fmla="*/ 1612397 w 2663946"/>
                <a:gd name="connsiteY305" fmla="*/ 164409 h 410858"/>
                <a:gd name="connsiteX306" fmla="*/ 1613626 w 2663946"/>
                <a:gd name="connsiteY306" fmla="*/ 160083 h 410858"/>
                <a:gd name="connsiteX307" fmla="*/ 1613135 w 2663946"/>
                <a:gd name="connsiteY307" fmla="*/ 146293 h 410858"/>
                <a:gd name="connsiteX308" fmla="*/ 1612151 w 2663946"/>
                <a:gd name="connsiteY308" fmla="*/ 143319 h 410858"/>
                <a:gd name="connsiteX309" fmla="*/ 1610923 w 2663946"/>
                <a:gd name="connsiteY309" fmla="*/ 140345 h 410858"/>
                <a:gd name="connsiteX310" fmla="*/ 1608710 w 2663946"/>
                <a:gd name="connsiteY310" fmla="*/ 136830 h 410858"/>
                <a:gd name="connsiteX311" fmla="*/ 1605023 w 2663946"/>
                <a:gd name="connsiteY311" fmla="*/ 133045 h 410858"/>
                <a:gd name="connsiteX312" fmla="*/ 1601090 w 2663946"/>
                <a:gd name="connsiteY312" fmla="*/ 130882 h 410858"/>
                <a:gd name="connsiteX313" fmla="*/ 1252183 w 2663946"/>
                <a:gd name="connsiteY313" fmla="*/ 130882 h 410858"/>
                <a:gd name="connsiteX314" fmla="*/ 1240630 w 2663946"/>
                <a:gd name="connsiteY314" fmla="*/ 133315 h 410858"/>
                <a:gd name="connsiteX315" fmla="*/ 1237435 w 2663946"/>
                <a:gd name="connsiteY315" fmla="*/ 136830 h 410858"/>
                <a:gd name="connsiteX316" fmla="*/ 1235223 w 2663946"/>
                <a:gd name="connsiteY316" fmla="*/ 140615 h 410858"/>
                <a:gd name="connsiteX317" fmla="*/ 1234240 w 2663946"/>
                <a:gd name="connsiteY317" fmla="*/ 143319 h 410858"/>
                <a:gd name="connsiteX318" fmla="*/ 1233256 w 2663946"/>
                <a:gd name="connsiteY318" fmla="*/ 147375 h 410858"/>
                <a:gd name="connsiteX319" fmla="*/ 1232273 w 2663946"/>
                <a:gd name="connsiteY319" fmla="*/ 154405 h 410858"/>
                <a:gd name="connsiteX320" fmla="*/ 1233256 w 2663946"/>
                <a:gd name="connsiteY320" fmla="*/ 161705 h 410858"/>
                <a:gd name="connsiteX321" fmla="*/ 1234486 w 2663946"/>
                <a:gd name="connsiteY321" fmla="*/ 165490 h 410858"/>
                <a:gd name="connsiteX322" fmla="*/ 1236698 w 2663946"/>
                <a:gd name="connsiteY322" fmla="*/ 169816 h 410858"/>
                <a:gd name="connsiteX323" fmla="*/ 1240139 w 2663946"/>
                <a:gd name="connsiteY323" fmla="*/ 174143 h 410858"/>
                <a:gd name="connsiteX324" fmla="*/ 1244563 w 2663946"/>
                <a:gd name="connsiteY324" fmla="*/ 176846 h 410858"/>
                <a:gd name="connsiteX325" fmla="*/ 1256854 w 2663946"/>
                <a:gd name="connsiteY325" fmla="*/ 174413 h 410858"/>
                <a:gd name="connsiteX326" fmla="*/ 1260049 w 2663946"/>
                <a:gd name="connsiteY326" fmla="*/ 170898 h 410858"/>
                <a:gd name="connsiteX327" fmla="*/ 1262507 w 2663946"/>
                <a:gd name="connsiteY327" fmla="*/ 166572 h 410858"/>
                <a:gd name="connsiteX328" fmla="*/ 1263490 w 2663946"/>
                <a:gd name="connsiteY328" fmla="*/ 164409 h 410858"/>
                <a:gd name="connsiteX329" fmla="*/ 1264719 w 2663946"/>
                <a:gd name="connsiteY329" fmla="*/ 160083 h 410858"/>
                <a:gd name="connsiteX330" fmla="*/ 1264228 w 2663946"/>
                <a:gd name="connsiteY330" fmla="*/ 146293 h 410858"/>
                <a:gd name="connsiteX331" fmla="*/ 1263244 w 2663946"/>
                <a:gd name="connsiteY331" fmla="*/ 143319 h 410858"/>
                <a:gd name="connsiteX332" fmla="*/ 1262016 w 2663946"/>
                <a:gd name="connsiteY332" fmla="*/ 140345 h 410858"/>
                <a:gd name="connsiteX333" fmla="*/ 1259803 w 2663946"/>
                <a:gd name="connsiteY333" fmla="*/ 136830 h 410858"/>
                <a:gd name="connsiteX334" fmla="*/ 1256116 w 2663946"/>
                <a:gd name="connsiteY334" fmla="*/ 133045 h 410858"/>
                <a:gd name="connsiteX335" fmla="*/ 1252183 w 2663946"/>
                <a:gd name="connsiteY335" fmla="*/ 130882 h 410858"/>
                <a:gd name="connsiteX336" fmla="*/ 1070232 w 2663946"/>
                <a:gd name="connsiteY336" fmla="*/ 130882 h 410858"/>
                <a:gd name="connsiteX337" fmla="*/ 1058679 w 2663946"/>
                <a:gd name="connsiteY337" fmla="*/ 133315 h 410858"/>
                <a:gd name="connsiteX338" fmla="*/ 1055484 w 2663946"/>
                <a:gd name="connsiteY338" fmla="*/ 136830 h 410858"/>
                <a:gd name="connsiteX339" fmla="*/ 1053272 w 2663946"/>
                <a:gd name="connsiteY339" fmla="*/ 140615 h 410858"/>
                <a:gd name="connsiteX340" fmla="*/ 1052289 w 2663946"/>
                <a:gd name="connsiteY340" fmla="*/ 143319 h 410858"/>
                <a:gd name="connsiteX341" fmla="*/ 1051305 w 2663946"/>
                <a:gd name="connsiteY341" fmla="*/ 147375 h 410858"/>
                <a:gd name="connsiteX342" fmla="*/ 1050322 w 2663946"/>
                <a:gd name="connsiteY342" fmla="*/ 154405 h 410858"/>
                <a:gd name="connsiteX343" fmla="*/ 1051305 w 2663946"/>
                <a:gd name="connsiteY343" fmla="*/ 161705 h 410858"/>
                <a:gd name="connsiteX344" fmla="*/ 1052535 w 2663946"/>
                <a:gd name="connsiteY344" fmla="*/ 165490 h 410858"/>
                <a:gd name="connsiteX345" fmla="*/ 1054747 w 2663946"/>
                <a:gd name="connsiteY345" fmla="*/ 169816 h 410858"/>
                <a:gd name="connsiteX346" fmla="*/ 1058188 w 2663946"/>
                <a:gd name="connsiteY346" fmla="*/ 174143 h 410858"/>
                <a:gd name="connsiteX347" fmla="*/ 1062612 w 2663946"/>
                <a:gd name="connsiteY347" fmla="*/ 176846 h 410858"/>
                <a:gd name="connsiteX348" fmla="*/ 1074903 w 2663946"/>
                <a:gd name="connsiteY348" fmla="*/ 174413 h 410858"/>
                <a:gd name="connsiteX349" fmla="*/ 1078098 w 2663946"/>
                <a:gd name="connsiteY349" fmla="*/ 170898 h 410858"/>
                <a:gd name="connsiteX350" fmla="*/ 1080556 w 2663946"/>
                <a:gd name="connsiteY350" fmla="*/ 166572 h 410858"/>
                <a:gd name="connsiteX351" fmla="*/ 1081539 w 2663946"/>
                <a:gd name="connsiteY351" fmla="*/ 164409 h 410858"/>
                <a:gd name="connsiteX352" fmla="*/ 1082768 w 2663946"/>
                <a:gd name="connsiteY352" fmla="*/ 160083 h 410858"/>
                <a:gd name="connsiteX353" fmla="*/ 1082277 w 2663946"/>
                <a:gd name="connsiteY353" fmla="*/ 146293 h 410858"/>
                <a:gd name="connsiteX354" fmla="*/ 1081293 w 2663946"/>
                <a:gd name="connsiteY354" fmla="*/ 143319 h 410858"/>
                <a:gd name="connsiteX355" fmla="*/ 1080065 w 2663946"/>
                <a:gd name="connsiteY355" fmla="*/ 140345 h 410858"/>
                <a:gd name="connsiteX356" fmla="*/ 1077852 w 2663946"/>
                <a:gd name="connsiteY356" fmla="*/ 136830 h 410858"/>
                <a:gd name="connsiteX357" fmla="*/ 1074165 w 2663946"/>
                <a:gd name="connsiteY357" fmla="*/ 133045 h 410858"/>
                <a:gd name="connsiteX358" fmla="*/ 1070232 w 2663946"/>
                <a:gd name="connsiteY358" fmla="*/ 130882 h 410858"/>
                <a:gd name="connsiteX359" fmla="*/ 903203 w 2663946"/>
                <a:gd name="connsiteY359" fmla="*/ 130882 h 410858"/>
                <a:gd name="connsiteX360" fmla="*/ 891650 w 2663946"/>
                <a:gd name="connsiteY360" fmla="*/ 133315 h 410858"/>
                <a:gd name="connsiteX361" fmla="*/ 888455 w 2663946"/>
                <a:gd name="connsiteY361" fmla="*/ 136830 h 410858"/>
                <a:gd name="connsiteX362" fmla="*/ 886243 w 2663946"/>
                <a:gd name="connsiteY362" fmla="*/ 140615 h 410858"/>
                <a:gd name="connsiteX363" fmla="*/ 885260 w 2663946"/>
                <a:gd name="connsiteY363" fmla="*/ 143319 h 410858"/>
                <a:gd name="connsiteX364" fmla="*/ 884276 w 2663946"/>
                <a:gd name="connsiteY364" fmla="*/ 147375 h 410858"/>
                <a:gd name="connsiteX365" fmla="*/ 883293 w 2663946"/>
                <a:gd name="connsiteY365" fmla="*/ 154405 h 410858"/>
                <a:gd name="connsiteX366" fmla="*/ 884276 w 2663946"/>
                <a:gd name="connsiteY366" fmla="*/ 161705 h 410858"/>
                <a:gd name="connsiteX367" fmla="*/ 885506 w 2663946"/>
                <a:gd name="connsiteY367" fmla="*/ 165490 h 410858"/>
                <a:gd name="connsiteX368" fmla="*/ 887718 w 2663946"/>
                <a:gd name="connsiteY368" fmla="*/ 169816 h 410858"/>
                <a:gd name="connsiteX369" fmla="*/ 891159 w 2663946"/>
                <a:gd name="connsiteY369" fmla="*/ 174143 h 410858"/>
                <a:gd name="connsiteX370" fmla="*/ 895583 w 2663946"/>
                <a:gd name="connsiteY370" fmla="*/ 176846 h 410858"/>
                <a:gd name="connsiteX371" fmla="*/ 907874 w 2663946"/>
                <a:gd name="connsiteY371" fmla="*/ 174413 h 410858"/>
                <a:gd name="connsiteX372" fmla="*/ 911069 w 2663946"/>
                <a:gd name="connsiteY372" fmla="*/ 170898 h 410858"/>
                <a:gd name="connsiteX373" fmla="*/ 913527 w 2663946"/>
                <a:gd name="connsiteY373" fmla="*/ 166572 h 410858"/>
                <a:gd name="connsiteX374" fmla="*/ 914510 w 2663946"/>
                <a:gd name="connsiteY374" fmla="*/ 164409 h 410858"/>
                <a:gd name="connsiteX375" fmla="*/ 915739 w 2663946"/>
                <a:gd name="connsiteY375" fmla="*/ 160083 h 410858"/>
                <a:gd name="connsiteX376" fmla="*/ 915248 w 2663946"/>
                <a:gd name="connsiteY376" fmla="*/ 146293 h 410858"/>
                <a:gd name="connsiteX377" fmla="*/ 914264 w 2663946"/>
                <a:gd name="connsiteY377" fmla="*/ 143319 h 410858"/>
                <a:gd name="connsiteX378" fmla="*/ 913036 w 2663946"/>
                <a:gd name="connsiteY378" fmla="*/ 140345 h 410858"/>
                <a:gd name="connsiteX379" fmla="*/ 910823 w 2663946"/>
                <a:gd name="connsiteY379" fmla="*/ 136830 h 410858"/>
                <a:gd name="connsiteX380" fmla="*/ 907136 w 2663946"/>
                <a:gd name="connsiteY380" fmla="*/ 133045 h 410858"/>
                <a:gd name="connsiteX381" fmla="*/ 903203 w 2663946"/>
                <a:gd name="connsiteY381" fmla="*/ 130882 h 410858"/>
                <a:gd name="connsiteX382" fmla="*/ 554297 w 2663946"/>
                <a:gd name="connsiteY382" fmla="*/ 130882 h 410858"/>
                <a:gd name="connsiteX383" fmla="*/ 542744 w 2663946"/>
                <a:gd name="connsiteY383" fmla="*/ 133315 h 410858"/>
                <a:gd name="connsiteX384" fmla="*/ 539549 w 2663946"/>
                <a:gd name="connsiteY384" fmla="*/ 136830 h 410858"/>
                <a:gd name="connsiteX385" fmla="*/ 537337 w 2663946"/>
                <a:gd name="connsiteY385" fmla="*/ 140615 h 410858"/>
                <a:gd name="connsiteX386" fmla="*/ 536353 w 2663946"/>
                <a:gd name="connsiteY386" fmla="*/ 143319 h 410858"/>
                <a:gd name="connsiteX387" fmla="*/ 535370 w 2663946"/>
                <a:gd name="connsiteY387" fmla="*/ 147375 h 410858"/>
                <a:gd name="connsiteX388" fmla="*/ 534387 w 2663946"/>
                <a:gd name="connsiteY388" fmla="*/ 154405 h 410858"/>
                <a:gd name="connsiteX389" fmla="*/ 535370 w 2663946"/>
                <a:gd name="connsiteY389" fmla="*/ 161705 h 410858"/>
                <a:gd name="connsiteX390" fmla="*/ 536599 w 2663946"/>
                <a:gd name="connsiteY390" fmla="*/ 165490 h 410858"/>
                <a:gd name="connsiteX391" fmla="*/ 538811 w 2663946"/>
                <a:gd name="connsiteY391" fmla="*/ 169816 h 410858"/>
                <a:gd name="connsiteX392" fmla="*/ 542253 w 2663946"/>
                <a:gd name="connsiteY392" fmla="*/ 174143 h 410858"/>
                <a:gd name="connsiteX393" fmla="*/ 546677 w 2663946"/>
                <a:gd name="connsiteY393" fmla="*/ 176846 h 410858"/>
                <a:gd name="connsiteX394" fmla="*/ 558967 w 2663946"/>
                <a:gd name="connsiteY394" fmla="*/ 174413 h 410858"/>
                <a:gd name="connsiteX395" fmla="*/ 562163 w 2663946"/>
                <a:gd name="connsiteY395" fmla="*/ 170898 h 410858"/>
                <a:gd name="connsiteX396" fmla="*/ 564621 w 2663946"/>
                <a:gd name="connsiteY396" fmla="*/ 166572 h 410858"/>
                <a:gd name="connsiteX397" fmla="*/ 565604 w 2663946"/>
                <a:gd name="connsiteY397" fmla="*/ 164409 h 410858"/>
                <a:gd name="connsiteX398" fmla="*/ 566833 w 2663946"/>
                <a:gd name="connsiteY398" fmla="*/ 160083 h 410858"/>
                <a:gd name="connsiteX399" fmla="*/ 566341 w 2663946"/>
                <a:gd name="connsiteY399" fmla="*/ 146293 h 410858"/>
                <a:gd name="connsiteX400" fmla="*/ 565358 w 2663946"/>
                <a:gd name="connsiteY400" fmla="*/ 143319 h 410858"/>
                <a:gd name="connsiteX401" fmla="*/ 564129 w 2663946"/>
                <a:gd name="connsiteY401" fmla="*/ 140345 h 410858"/>
                <a:gd name="connsiteX402" fmla="*/ 561917 w 2663946"/>
                <a:gd name="connsiteY402" fmla="*/ 136830 h 410858"/>
                <a:gd name="connsiteX403" fmla="*/ 558230 w 2663946"/>
                <a:gd name="connsiteY403" fmla="*/ 133045 h 410858"/>
                <a:gd name="connsiteX404" fmla="*/ 554297 w 2663946"/>
                <a:gd name="connsiteY404" fmla="*/ 130882 h 410858"/>
                <a:gd name="connsiteX405" fmla="*/ 372346 w 2663946"/>
                <a:gd name="connsiteY405" fmla="*/ 130882 h 410858"/>
                <a:gd name="connsiteX406" fmla="*/ 360793 w 2663946"/>
                <a:gd name="connsiteY406" fmla="*/ 133315 h 410858"/>
                <a:gd name="connsiteX407" fmla="*/ 357598 w 2663946"/>
                <a:gd name="connsiteY407" fmla="*/ 136830 h 410858"/>
                <a:gd name="connsiteX408" fmla="*/ 355385 w 2663946"/>
                <a:gd name="connsiteY408" fmla="*/ 140615 h 410858"/>
                <a:gd name="connsiteX409" fmla="*/ 354402 w 2663946"/>
                <a:gd name="connsiteY409" fmla="*/ 143319 h 410858"/>
                <a:gd name="connsiteX410" fmla="*/ 353419 w 2663946"/>
                <a:gd name="connsiteY410" fmla="*/ 147375 h 410858"/>
                <a:gd name="connsiteX411" fmla="*/ 352436 w 2663946"/>
                <a:gd name="connsiteY411" fmla="*/ 154405 h 410858"/>
                <a:gd name="connsiteX412" fmla="*/ 353419 w 2663946"/>
                <a:gd name="connsiteY412" fmla="*/ 161705 h 410858"/>
                <a:gd name="connsiteX413" fmla="*/ 354648 w 2663946"/>
                <a:gd name="connsiteY413" fmla="*/ 165490 h 410858"/>
                <a:gd name="connsiteX414" fmla="*/ 356860 w 2663946"/>
                <a:gd name="connsiteY414" fmla="*/ 169816 h 410858"/>
                <a:gd name="connsiteX415" fmla="*/ 360301 w 2663946"/>
                <a:gd name="connsiteY415" fmla="*/ 174143 h 410858"/>
                <a:gd name="connsiteX416" fmla="*/ 364726 w 2663946"/>
                <a:gd name="connsiteY416" fmla="*/ 176846 h 410858"/>
                <a:gd name="connsiteX417" fmla="*/ 377016 w 2663946"/>
                <a:gd name="connsiteY417" fmla="*/ 174413 h 410858"/>
                <a:gd name="connsiteX418" fmla="*/ 380212 w 2663946"/>
                <a:gd name="connsiteY418" fmla="*/ 170898 h 410858"/>
                <a:gd name="connsiteX419" fmla="*/ 382670 w 2663946"/>
                <a:gd name="connsiteY419" fmla="*/ 166572 h 410858"/>
                <a:gd name="connsiteX420" fmla="*/ 383653 w 2663946"/>
                <a:gd name="connsiteY420" fmla="*/ 164409 h 410858"/>
                <a:gd name="connsiteX421" fmla="*/ 384882 w 2663946"/>
                <a:gd name="connsiteY421" fmla="*/ 160083 h 410858"/>
                <a:gd name="connsiteX422" fmla="*/ 384390 w 2663946"/>
                <a:gd name="connsiteY422" fmla="*/ 146293 h 410858"/>
                <a:gd name="connsiteX423" fmla="*/ 383407 w 2663946"/>
                <a:gd name="connsiteY423" fmla="*/ 143319 h 410858"/>
                <a:gd name="connsiteX424" fmla="*/ 382178 w 2663946"/>
                <a:gd name="connsiteY424" fmla="*/ 140345 h 410858"/>
                <a:gd name="connsiteX425" fmla="*/ 379966 w 2663946"/>
                <a:gd name="connsiteY425" fmla="*/ 136830 h 410858"/>
                <a:gd name="connsiteX426" fmla="*/ 376279 w 2663946"/>
                <a:gd name="connsiteY426" fmla="*/ 133045 h 410858"/>
                <a:gd name="connsiteX427" fmla="*/ 372346 w 2663946"/>
                <a:gd name="connsiteY427" fmla="*/ 130882 h 410858"/>
                <a:gd name="connsiteX428" fmla="*/ 129300 w 2663946"/>
                <a:gd name="connsiteY428" fmla="*/ 130882 h 410858"/>
                <a:gd name="connsiteX429" fmla="*/ 117747 w 2663946"/>
                <a:gd name="connsiteY429" fmla="*/ 133315 h 410858"/>
                <a:gd name="connsiteX430" fmla="*/ 114552 w 2663946"/>
                <a:gd name="connsiteY430" fmla="*/ 136830 h 410858"/>
                <a:gd name="connsiteX431" fmla="*/ 112340 w 2663946"/>
                <a:gd name="connsiteY431" fmla="*/ 140615 h 410858"/>
                <a:gd name="connsiteX432" fmla="*/ 111356 w 2663946"/>
                <a:gd name="connsiteY432" fmla="*/ 143319 h 410858"/>
                <a:gd name="connsiteX433" fmla="*/ 110373 w 2663946"/>
                <a:gd name="connsiteY433" fmla="*/ 147375 h 410858"/>
                <a:gd name="connsiteX434" fmla="*/ 109390 w 2663946"/>
                <a:gd name="connsiteY434" fmla="*/ 154405 h 410858"/>
                <a:gd name="connsiteX435" fmla="*/ 110373 w 2663946"/>
                <a:gd name="connsiteY435" fmla="*/ 161705 h 410858"/>
                <a:gd name="connsiteX436" fmla="*/ 111602 w 2663946"/>
                <a:gd name="connsiteY436" fmla="*/ 165490 h 410858"/>
                <a:gd name="connsiteX437" fmla="*/ 113814 w 2663946"/>
                <a:gd name="connsiteY437" fmla="*/ 169816 h 410858"/>
                <a:gd name="connsiteX438" fmla="*/ 117256 w 2663946"/>
                <a:gd name="connsiteY438" fmla="*/ 174143 h 410858"/>
                <a:gd name="connsiteX439" fmla="*/ 121680 w 2663946"/>
                <a:gd name="connsiteY439" fmla="*/ 176846 h 410858"/>
                <a:gd name="connsiteX440" fmla="*/ 133970 w 2663946"/>
                <a:gd name="connsiteY440" fmla="*/ 174413 h 410858"/>
                <a:gd name="connsiteX441" fmla="*/ 137166 w 2663946"/>
                <a:gd name="connsiteY441" fmla="*/ 170898 h 410858"/>
                <a:gd name="connsiteX442" fmla="*/ 139624 w 2663946"/>
                <a:gd name="connsiteY442" fmla="*/ 166572 h 410858"/>
                <a:gd name="connsiteX443" fmla="*/ 140607 w 2663946"/>
                <a:gd name="connsiteY443" fmla="*/ 164409 h 410858"/>
                <a:gd name="connsiteX444" fmla="*/ 141836 w 2663946"/>
                <a:gd name="connsiteY444" fmla="*/ 160083 h 410858"/>
                <a:gd name="connsiteX445" fmla="*/ 141344 w 2663946"/>
                <a:gd name="connsiteY445" fmla="*/ 146293 h 410858"/>
                <a:gd name="connsiteX446" fmla="*/ 140361 w 2663946"/>
                <a:gd name="connsiteY446" fmla="*/ 143319 h 410858"/>
                <a:gd name="connsiteX447" fmla="*/ 139132 w 2663946"/>
                <a:gd name="connsiteY447" fmla="*/ 140345 h 410858"/>
                <a:gd name="connsiteX448" fmla="*/ 136920 w 2663946"/>
                <a:gd name="connsiteY448" fmla="*/ 136830 h 410858"/>
                <a:gd name="connsiteX449" fmla="*/ 133233 w 2663946"/>
                <a:gd name="connsiteY449" fmla="*/ 133045 h 410858"/>
                <a:gd name="connsiteX450" fmla="*/ 129300 w 2663946"/>
                <a:gd name="connsiteY450" fmla="*/ 130882 h 410858"/>
                <a:gd name="connsiteX451" fmla="*/ 33147 w 2663946"/>
                <a:gd name="connsiteY451" fmla="*/ 126946 h 410858"/>
                <a:gd name="connsiteX452" fmla="*/ 21486 w 2663946"/>
                <a:gd name="connsiteY452" fmla="*/ 134675 h 410858"/>
                <a:gd name="connsiteX453" fmla="*/ 20561 w 2663946"/>
                <a:gd name="connsiteY453" fmla="*/ 139258 h 410858"/>
                <a:gd name="connsiteX454" fmla="*/ 23801 w 2663946"/>
                <a:gd name="connsiteY454" fmla="*/ 139258 h 410858"/>
                <a:gd name="connsiteX455" fmla="*/ 42218 w 2663946"/>
                <a:gd name="connsiteY455" fmla="*/ 139258 h 410858"/>
                <a:gd name="connsiteX456" fmla="*/ 45732 w 2663946"/>
                <a:gd name="connsiteY456" fmla="*/ 139258 h 410858"/>
                <a:gd name="connsiteX457" fmla="*/ 44807 w 2663946"/>
                <a:gd name="connsiteY457" fmla="*/ 134675 h 410858"/>
                <a:gd name="connsiteX458" fmla="*/ 33147 w 2663946"/>
                <a:gd name="connsiteY458" fmla="*/ 126946 h 410858"/>
                <a:gd name="connsiteX459" fmla="*/ 2537931 w 2663946"/>
                <a:gd name="connsiteY459" fmla="*/ 119358 h 410858"/>
                <a:gd name="connsiteX460" fmla="*/ 2526271 w 2663946"/>
                <a:gd name="connsiteY460" fmla="*/ 127087 h 410858"/>
                <a:gd name="connsiteX461" fmla="*/ 2525346 w 2663946"/>
                <a:gd name="connsiteY461" fmla="*/ 131670 h 410858"/>
                <a:gd name="connsiteX462" fmla="*/ 2528586 w 2663946"/>
                <a:gd name="connsiteY462" fmla="*/ 131670 h 410858"/>
                <a:gd name="connsiteX463" fmla="*/ 2547003 w 2663946"/>
                <a:gd name="connsiteY463" fmla="*/ 131670 h 410858"/>
                <a:gd name="connsiteX464" fmla="*/ 2550517 w 2663946"/>
                <a:gd name="connsiteY464" fmla="*/ 131670 h 410858"/>
                <a:gd name="connsiteX465" fmla="*/ 2549592 w 2663946"/>
                <a:gd name="connsiteY465" fmla="*/ 127087 h 410858"/>
                <a:gd name="connsiteX466" fmla="*/ 2537931 w 2663946"/>
                <a:gd name="connsiteY466" fmla="*/ 119358 h 410858"/>
                <a:gd name="connsiteX467" fmla="*/ 2112934 w 2663946"/>
                <a:gd name="connsiteY467" fmla="*/ 119358 h 410858"/>
                <a:gd name="connsiteX468" fmla="*/ 2101274 w 2663946"/>
                <a:gd name="connsiteY468" fmla="*/ 127087 h 410858"/>
                <a:gd name="connsiteX469" fmla="*/ 2100349 w 2663946"/>
                <a:gd name="connsiteY469" fmla="*/ 131670 h 410858"/>
                <a:gd name="connsiteX470" fmla="*/ 2103589 w 2663946"/>
                <a:gd name="connsiteY470" fmla="*/ 131670 h 410858"/>
                <a:gd name="connsiteX471" fmla="*/ 2122006 w 2663946"/>
                <a:gd name="connsiteY471" fmla="*/ 131670 h 410858"/>
                <a:gd name="connsiteX472" fmla="*/ 2125520 w 2663946"/>
                <a:gd name="connsiteY472" fmla="*/ 131670 h 410858"/>
                <a:gd name="connsiteX473" fmla="*/ 2124595 w 2663946"/>
                <a:gd name="connsiteY473" fmla="*/ 127087 h 410858"/>
                <a:gd name="connsiteX474" fmla="*/ 2112934 w 2663946"/>
                <a:gd name="connsiteY474" fmla="*/ 119358 h 410858"/>
                <a:gd name="connsiteX475" fmla="*/ 1854966 w 2663946"/>
                <a:gd name="connsiteY475" fmla="*/ 119358 h 410858"/>
                <a:gd name="connsiteX476" fmla="*/ 1843306 w 2663946"/>
                <a:gd name="connsiteY476" fmla="*/ 127087 h 410858"/>
                <a:gd name="connsiteX477" fmla="*/ 1842381 w 2663946"/>
                <a:gd name="connsiteY477" fmla="*/ 131670 h 410858"/>
                <a:gd name="connsiteX478" fmla="*/ 1845621 w 2663946"/>
                <a:gd name="connsiteY478" fmla="*/ 131670 h 410858"/>
                <a:gd name="connsiteX479" fmla="*/ 1864038 w 2663946"/>
                <a:gd name="connsiteY479" fmla="*/ 131670 h 410858"/>
                <a:gd name="connsiteX480" fmla="*/ 1867552 w 2663946"/>
                <a:gd name="connsiteY480" fmla="*/ 131670 h 410858"/>
                <a:gd name="connsiteX481" fmla="*/ 1866627 w 2663946"/>
                <a:gd name="connsiteY481" fmla="*/ 127087 h 410858"/>
                <a:gd name="connsiteX482" fmla="*/ 1854966 w 2663946"/>
                <a:gd name="connsiteY482" fmla="*/ 119358 h 410858"/>
                <a:gd name="connsiteX483" fmla="*/ 1764027 w 2663946"/>
                <a:gd name="connsiteY483" fmla="*/ 119358 h 410858"/>
                <a:gd name="connsiteX484" fmla="*/ 1752367 w 2663946"/>
                <a:gd name="connsiteY484" fmla="*/ 127087 h 410858"/>
                <a:gd name="connsiteX485" fmla="*/ 1751442 w 2663946"/>
                <a:gd name="connsiteY485" fmla="*/ 131670 h 410858"/>
                <a:gd name="connsiteX486" fmla="*/ 1754682 w 2663946"/>
                <a:gd name="connsiteY486" fmla="*/ 131670 h 410858"/>
                <a:gd name="connsiteX487" fmla="*/ 1773099 w 2663946"/>
                <a:gd name="connsiteY487" fmla="*/ 131670 h 410858"/>
                <a:gd name="connsiteX488" fmla="*/ 1776613 w 2663946"/>
                <a:gd name="connsiteY488" fmla="*/ 131670 h 410858"/>
                <a:gd name="connsiteX489" fmla="*/ 1775687 w 2663946"/>
                <a:gd name="connsiteY489" fmla="*/ 127087 h 410858"/>
                <a:gd name="connsiteX490" fmla="*/ 1764027 w 2663946"/>
                <a:gd name="connsiteY490" fmla="*/ 119358 h 410858"/>
                <a:gd name="connsiteX491" fmla="*/ 1506059 w 2663946"/>
                <a:gd name="connsiteY491" fmla="*/ 119358 h 410858"/>
                <a:gd name="connsiteX492" fmla="*/ 1494399 w 2663946"/>
                <a:gd name="connsiteY492" fmla="*/ 127087 h 410858"/>
                <a:gd name="connsiteX493" fmla="*/ 1493474 w 2663946"/>
                <a:gd name="connsiteY493" fmla="*/ 131670 h 410858"/>
                <a:gd name="connsiteX494" fmla="*/ 1496714 w 2663946"/>
                <a:gd name="connsiteY494" fmla="*/ 131670 h 410858"/>
                <a:gd name="connsiteX495" fmla="*/ 1515131 w 2663946"/>
                <a:gd name="connsiteY495" fmla="*/ 131670 h 410858"/>
                <a:gd name="connsiteX496" fmla="*/ 1518645 w 2663946"/>
                <a:gd name="connsiteY496" fmla="*/ 131670 h 410858"/>
                <a:gd name="connsiteX497" fmla="*/ 1517719 w 2663946"/>
                <a:gd name="connsiteY497" fmla="*/ 127087 h 410858"/>
                <a:gd name="connsiteX498" fmla="*/ 1506059 w 2663946"/>
                <a:gd name="connsiteY498" fmla="*/ 119358 h 410858"/>
                <a:gd name="connsiteX499" fmla="*/ 1415120 w 2663946"/>
                <a:gd name="connsiteY499" fmla="*/ 119358 h 410858"/>
                <a:gd name="connsiteX500" fmla="*/ 1403460 w 2663946"/>
                <a:gd name="connsiteY500" fmla="*/ 127087 h 410858"/>
                <a:gd name="connsiteX501" fmla="*/ 1402535 w 2663946"/>
                <a:gd name="connsiteY501" fmla="*/ 131670 h 410858"/>
                <a:gd name="connsiteX502" fmla="*/ 1405775 w 2663946"/>
                <a:gd name="connsiteY502" fmla="*/ 131670 h 410858"/>
                <a:gd name="connsiteX503" fmla="*/ 1424192 w 2663946"/>
                <a:gd name="connsiteY503" fmla="*/ 131670 h 410858"/>
                <a:gd name="connsiteX504" fmla="*/ 1427706 w 2663946"/>
                <a:gd name="connsiteY504" fmla="*/ 131670 h 410858"/>
                <a:gd name="connsiteX505" fmla="*/ 1426780 w 2663946"/>
                <a:gd name="connsiteY505" fmla="*/ 127087 h 410858"/>
                <a:gd name="connsiteX506" fmla="*/ 1415120 w 2663946"/>
                <a:gd name="connsiteY506" fmla="*/ 119358 h 410858"/>
                <a:gd name="connsiteX507" fmla="*/ 1157152 w 2663946"/>
                <a:gd name="connsiteY507" fmla="*/ 119358 h 410858"/>
                <a:gd name="connsiteX508" fmla="*/ 1145492 w 2663946"/>
                <a:gd name="connsiteY508" fmla="*/ 127087 h 410858"/>
                <a:gd name="connsiteX509" fmla="*/ 1144567 w 2663946"/>
                <a:gd name="connsiteY509" fmla="*/ 131670 h 410858"/>
                <a:gd name="connsiteX510" fmla="*/ 1147807 w 2663946"/>
                <a:gd name="connsiteY510" fmla="*/ 131670 h 410858"/>
                <a:gd name="connsiteX511" fmla="*/ 1166224 w 2663946"/>
                <a:gd name="connsiteY511" fmla="*/ 131670 h 410858"/>
                <a:gd name="connsiteX512" fmla="*/ 1169738 w 2663946"/>
                <a:gd name="connsiteY512" fmla="*/ 131670 h 410858"/>
                <a:gd name="connsiteX513" fmla="*/ 1168812 w 2663946"/>
                <a:gd name="connsiteY513" fmla="*/ 127087 h 410858"/>
                <a:gd name="connsiteX514" fmla="*/ 1157152 w 2663946"/>
                <a:gd name="connsiteY514" fmla="*/ 119358 h 410858"/>
                <a:gd name="connsiteX515" fmla="*/ 732156 w 2663946"/>
                <a:gd name="connsiteY515" fmla="*/ 119358 h 410858"/>
                <a:gd name="connsiteX516" fmla="*/ 720495 w 2663946"/>
                <a:gd name="connsiteY516" fmla="*/ 127087 h 410858"/>
                <a:gd name="connsiteX517" fmla="*/ 719570 w 2663946"/>
                <a:gd name="connsiteY517" fmla="*/ 131670 h 410858"/>
                <a:gd name="connsiteX518" fmla="*/ 722810 w 2663946"/>
                <a:gd name="connsiteY518" fmla="*/ 131670 h 410858"/>
                <a:gd name="connsiteX519" fmla="*/ 741228 w 2663946"/>
                <a:gd name="connsiteY519" fmla="*/ 131670 h 410858"/>
                <a:gd name="connsiteX520" fmla="*/ 744742 w 2663946"/>
                <a:gd name="connsiteY520" fmla="*/ 131670 h 410858"/>
                <a:gd name="connsiteX521" fmla="*/ 743816 w 2663946"/>
                <a:gd name="connsiteY521" fmla="*/ 127087 h 410858"/>
                <a:gd name="connsiteX522" fmla="*/ 732156 w 2663946"/>
                <a:gd name="connsiteY522" fmla="*/ 119358 h 410858"/>
                <a:gd name="connsiteX523" fmla="*/ 641217 w 2663946"/>
                <a:gd name="connsiteY523" fmla="*/ 119358 h 410858"/>
                <a:gd name="connsiteX524" fmla="*/ 629556 w 2663946"/>
                <a:gd name="connsiteY524" fmla="*/ 127087 h 410858"/>
                <a:gd name="connsiteX525" fmla="*/ 628631 w 2663946"/>
                <a:gd name="connsiteY525" fmla="*/ 131670 h 410858"/>
                <a:gd name="connsiteX526" fmla="*/ 631871 w 2663946"/>
                <a:gd name="connsiteY526" fmla="*/ 131670 h 410858"/>
                <a:gd name="connsiteX527" fmla="*/ 650289 w 2663946"/>
                <a:gd name="connsiteY527" fmla="*/ 131670 h 410858"/>
                <a:gd name="connsiteX528" fmla="*/ 653802 w 2663946"/>
                <a:gd name="connsiteY528" fmla="*/ 131670 h 410858"/>
                <a:gd name="connsiteX529" fmla="*/ 652877 w 2663946"/>
                <a:gd name="connsiteY529" fmla="*/ 127087 h 410858"/>
                <a:gd name="connsiteX530" fmla="*/ 641217 w 2663946"/>
                <a:gd name="connsiteY530" fmla="*/ 119358 h 410858"/>
                <a:gd name="connsiteX531" fmla="*/ 459266 w 2663946"/>
                <a:gd name="connsiteY531" fmla="*/ 119358 h 410858"/>
                <a:gd name="connsiteX532" fmla="*/ 447605 w 2663946"/>
                <a:gd name="connsiteY532" fmla="*/ 127087 h 410858"/>
                <a:gd name="connsiteX533" fmla="*/ 446680 w 2663946"/>
                <a:gd name="connsiteY533" fmla="*/ 131670 h 410858"/>
                <a:gd name="connsiteX534" fmla="*/ 449920 w 2663946"/>
                <a:gd name="connsiteY534" fmla="*/ 131670 h 410858"/>
                <a:gd name="connsiteX535" fmla="*/ 468337 w 2663946"/>
                <a:gd name="connsiteY535" fmla="*/ 131670 h 410858"/>
                <a:gd name="connsiteX536" fmla="*/ 471851 w 2663946"/>
                <a:gd name="connsiteY536" fmla="*/ 131670 h 410858"/>
                <a:gd name="connsiteX537" fmla="*/ 470926 w 2663946"/>
                <a:gd name="connsiteY537" fmla="*/ 127087 h 410858"/>
                <a:gd name="connsiteX538" fmla="*/ 459266 w 2663946"/>
                <a:gd name="connsiteY538" fmla="*/ 119358 h 410858"/>
                <a:gd name="connsiteX539" fmla="*/ 2361413 w 2663946"/>
                <a:gd name="connsiteY539" fmla="*/ 114998 h 410858"/>
                <a:gd name="connsiteX540" fmla="*/ 2365469 w 2663946"/>
                <a:gd name="connsiteY540" fmla="*/ 114998 h 410858"/>
                <a:gd name="connsiteX541" fmla="*/ 2370065 w 2663946"/>
                <a:gd name="connsiteY541" fmla="*/ 117432 h 410858"/>
                <a:gd name="connsiteX542" fmla="*/ 2372229 w 2663946"/>
                <a:gd name="connsiteY542" fmla="*/ 123650 h 410858"/>
                <a:gd name="connsiteX543" fmla="*/ 2372229 w 2663946"/>
                <a:gd name="connsiteY543" fmla="*/ 124191 h 410858"/>
                <a:gd name="connsiteX544" fmla="*/ 2372229 w 2663946"/>
                <a:gd name="connsiteY544" fmla="*/ 177186 h 410858"/>
                <a:gd name="connsiteX545" fmla="*/ 2372769 w 2663946"/>
                <a:gd name="connsiteY545" fmla="*/ 177726 h 410858"/>
                <a:gd name="connsiteX546" fmla="*/ 2380069 w 2663946"/>
                <a:gd name="connsiteY546" fmla="*/ 177726 h 410858"/>
                <a:gd name="connsiteX547" fmla="*/ 2384125 w 2663946"/>
                <a:gd name="connsiteY547" fmla="*/ 178808 h 410858"/>
                <a:gd name="connsiteX548" fmla="*/ 2387910 w 2663946"/>
                <a:gd name="connsiteY548" fmla="*/ 185567 h 410858"/>
                <a:gd name="connsiteX549" fmla="*/ 2385207 w 2663946"/>
                <a:gd name="connsiteY549" fmla="*/ 191245 h 410858"/>
                <a:gd name="connsiteX550" fmla="*/ 2381151 w 2663946"/>
                <a:gd name="connsiteY550" fmla="*/ 193138 h 410858"/>
                <a:gd name="connsiteX551" fmla="*/ 2380881 w 2663946"/>
                <a:gd name="connsiteY551" fmla="*/ 193138 h 410858"/>
                <a:gd name="connsiteX552" fmla="*/ 2380610 w 2663946"/>
                <a:gd name="connsiteY552" fmla="*/ 193138 h 410858"/>
                <a:gd name="connsiteX553" fmla="*/ 2380069 w 2663946"/>
                <a:gd name="connsiteY553" fmla="*/ 193138 h 410858"/>
                <a:gd name="connsiteX554" fmla="*/ 2347894 w 2663946"/>
                <a:gd name="connsiteY554" fmla="*/ 193138 h 410858"/>
                <a:gd name="connsiteX555" fmla="*/ 2347354 w 2663946"/>
                <a:gd name="connsiteY555" fmla="*/ 193138 h 410858"/>
                <a:gd name="connsiteX556" fmla="*/ 2346542 w 2663946"/>
                <a:gd name="connsiteY556" fmla="*/ 193138 h 410858"/>
                <a:gd name="connsiteX557" fmla="*/ 2345731 w 2663946"/>
                <a:gd name="connsiteY557" fmla="*/ 192868 h 410858"/>
                <a:gd name="connsiteX558" fmla="*/ 2342216 w 2663946"/>
                <a:gd name="connsiteY558" fmla="*/ 190975 h 410858"/>
                <a:gd name="connsiteX559" fmla="*/ 2339783 w 2663946"/>
                <a:gd name="connsiteY559" fmla="*/ 185297 h 410858"/>
                <a:gd name="connsiteX560" fmla="*/ 2341946 w 2663946"/>
                <a:gd name="connsiteY560" fmla="*/ 180160 h 410858"/>
                <a:gd name="connsiteX561" fmla="*/ 2347624 w 2663946"/>
                <a:gd name="connsiteY561" fmla="*/ 177726 h 410858"/>
                <a:gd name="connsiteX562" fmla="*/ 2355465 w 2663946"/>
                <a:gd name="connsiteY562" fmla="*/ 177726 h 410858"/>
                <a:gd name="connsiteX563" fmla="*/ 2356006 w 2663946"/>
                <a:gd name="connsiteY563" fmla="*/ 177186 h 410858"/>
                <a:gd name="connsiteX564" fmla="*/ 2356006 w 2663946"/>
                <a:gd name="connsiteY564" fmla="*/ 131221 h 410858"/>
                <a:gd name="connsiteX565" fmla="*/ 2355465 w 2663946"/>
                <a:gd name="connsiteY565" fmla="*/ 130680 h 410858"/>
                <a:gd name="connsiteX566" fmla="*/ 2349517 w 2663946"/>
                <a:gd name="connsiteY566" fmla="*/ 130680 h 410858"/>
                <a:gd name="connsiteX567" fmla="*/ 2342216 w 2663946"/>
                <a:gd name="connsiteY567" fmla="*/ 126084 h 410858"/>
                <a:gd name="connsiteX568" fmla="*/ 2341946 w 2663946"/>
                <a:gd name="connsiteY568" fmla="*/ 120406 h 410858"/>
                <a:gd name="connsiteX569" fmla="*/ 2349246 w 2663946"/>
                <a:gd name="connsiteY569" fmla="*/ 115269 h 410858"/>
                <a:gd name="connsiteX570" fmla="*/ 2361413 w 2663946"/>
                <a:gd name="connsiteY570" fmla="*/ 114998 h 410858"/>
                <a:gd name="connsiteX571" fmla="*/ 2285396 w 2663946"/>
                <a:gd name="connsiteY571" fmla="*/ 114998 h 410858"/>
                <a:gd name="connsiteX572" fmla="*/ 2289452 w 2663946"/>
                <a:gd name="connsiteY572" fmla="*/ 114998 h 410858"/>
                <a:gd name="connsiteX573" fmla="*/ 2294048 w 2663946"/>
                <a:gd name="connsiteY573" fmla="*/ 117432 h 410858"/>
                <a:gd name="connsiteX574" fmla="*/ 2296212 w 2663946"/>
                <a:gd name="connsiteY574" fmla="*/ 123650 h 410858"/>
                <a:gd name="connsiteX575" fmla="*/ 2296212 w 2663946"/>
                <a:gd name="connsiteY575" fmla="*/ 124191 h 410858"/>
                <a:gd name="connsiteX576" fmla="*/ 2296212 w 2663946"/>
                <a:gd name="connsiteY576" fmla="*/ 177186 h 410858"/>
                <a:gd name="connsiteX577" fmla="*/ 2296752 w 2663946"/>
                <a:gd name="connsiteY577" fmla="*/ 177726 h 410858"/>
                <a:gd name="connsiteX578" fmla="*/ 2304052 w 2663946"/>
                <a:gd name="connsiteY578" fmla="*/ 177726 h 410858"/>
                <a:gd name="connsiteX579" fmla="*/ 2308108 w 2663946"/>
                <a:gd name="connsiteY579" fmla="*/ 178808 h 410858"/>
                <a:gd name="connsiteX580" fmla="*/ 2311893 w 2663946"/>
                <a:gd name="connsiteY580" fmla="*/ 185567 h 410858"/>
                <a:gd name="connsiteX581" fmla="*/ 2309190 w 2663946"/>
                <a:gd name="connsiteY581" fmla="*/ 191245 h 410858"/>
                <a:gd name="connsiteX582" fmla="*/ 2305134 w 2663946"/>
                <a:gd name="connsiteY582" fmla="*/ 193138 h 410858"/>
                <a:gd name="connsiteX583" fmla="*/ 2304864 w 2663946"/>
                <a:gd name="connsiteY583" fmla="*/ 193138 h 410858"/>
                <a:gd name="connsiteX584" fmla="*/ 2304593 w 2663946"/>
                <a:gd name="connsiteY584" fmla="*/ 193138 h 410858"/>
                <a:gd name="connsiteX585" fmla="*/ 2304052 w 2663946"/>
                <a:gd name="connsiteY585" fmla="*/ 193138 h 410858"/>
                <a:gd name="connsiteX586" fmla="*/ 2271877 w 2663946"/>
                <a:gd name="connsiteY586" fmla="*/ 193138 h 410858"/>
                <a:gd name="connsiteX587" fmla="*/ 2271337 w 2663946"/>
                <a:gd name="connsiteY587" fmla="*/ 193138 h 410858"/>
                <a:gd name="connsiteX588" fmla="*/ 2270525 w 2663946"/>
                <a:gd name="connsiteY588" fmla="*/ 193138 h 410858"/>
                <a:gd name="connsiteX589" fmla="*/ 2269714 w 2663946"/>
                <a:gd name="connsiteY589" fmla="*/ 192868 h 410858"/>
                <a:gd name="connsiteX590" fmla="*/ 2266199 w 2663946"/>
                <a:gd name="connsiteY590" fmla="*/ 190975 h 410858"/>
                <a:gd name="connsiteX591" fmla="*/ 2263766 w 2663946"/>
                <a:gd name="connsiteY591" fmla="*/ 185297 h 410858"/>
                <a:gd name="connsiteX592" fmla="*/ 2265929 w 2663946"/>
                <a:gd name="connsiteY592" fmla="*/ 180160 h 410858"/>
                <a:gd name="connsiteX593" fmla="*/ 2271607 w 2663946"/>
                <a:gd name="connsiteY593" fmla="*/ 177726 h 410858"/>
                <a:gd name="connsiteX594" fmla="*/ 2279448 w 2663946"/>
                <a:gd name="connsiteY594" fmla="*/ 177726 h 410858"/>
                <a:gd name="connsiteX595" fmla="*/ 2279989 w 2663946"/>
                <a:gd name="connsiteY595" fmla="*/ 177186 h 410858"/>
                <a:gd name="connsiteX596" fmla="*/ 2279989 w 2663946"/>
                <a:gd name="connsiteY596" fmla="*/ 131221 h 410858"/>
                <a:gd name="connsiteX597" fmla="*/ 2279448 w 2663946"/>
                <a:gd name="connsiteY597" fmla="*/ 130680 h 410858"/>
                <a:gd name="connsiteX598" fmla="*/ 2273500 w 2663946"/>
                <a:gd name="connsiteY598" fmla="*/ 130680 h 410858"/>
                <a:gd name="connsiteX599" fmla="*/ 2266199 w 2663946"/>
                <a:gd name="connsiteY599" fmla="*/ 126084 h 410858"/>
                <a:gd name="connsiteX600" fmla="*/ 2265929 w 2663946"/>
                <a:gd name="connsiteY600" fmla="*/ 120406 h 410858"/>
                <a:gd name="connsiteX601" fmla="*/ 2273229 w 2663946"/>
                <a:gd name="connsiteY601" fmla="*/ 115269 h 410858"/>
                <a:gd name="connsiteX602" fmla="*/ 2285396 w 2663946"/>
                <a:gd name="connsiteY602" fmla="*/ 114998 h 410858"/>
                <a:gd name="connsiteX603" fmla="*/ 1936416 w 2663946"/>
                <a:gd name="connsiteY603" fmla="*/ 114998 h 410858"/>
                <a:gd name="connsiteX604" fmla="*/ 1940472 w 2663946"/>
                <a:gd name="connsiteY604" fmla="*/ 114998 h 410858"/>
                <a:gd name="connsiteX605" fmla="*/ 1945068 w 2663946"/>
                <a:gd name="connsiteY605" fmla="*/ 117432 h 410858"/>
                <a:gd name="connsiteX606" fmla="*/ 1947232 w 2663946"/>
                <a:gd name="connsiteY606" fmla="*/ 123650 h 410858"/>
                <a:gd name="connsiteX607" fmla="*/ 1947232 w 2663946"/>
                <a:gd name="connsiteY607" fmla="*/ 124191 h 410858"/>
                <a:gd name="connsiteX608" fmla="*/ 1947232 w 2663946"/>
                <a:gd name="connsiteY608" fmla="*/ 177186 h 410858"/>
                <a:gd name="connsiteX609" fmla="*/ 1947772 w 2663946"/>
                <a:gd name="connsiteY609" fmla="*/ 177726 h 410858"/>
                <a:gd name="connsiteX610" fmla="*/ 1955072 w 2663946"/>
                <a:gd name="connsiteY610" fmla="*/ 177726 h 410858"/>
                <a:gd name="connsiteX611" fmla="*/ 1959128 w 2663946"/>
                <a:gd name="connsiteY611" fmla="*/ 178808 h 410858"/>
                <a:gd name="connsiteX612" fmla="*/ 1962913 w 2663946"/>
                <a:gd name="connsiteY612" fmla="*/ 185567 h 410858"/>
                <a:gd name="connsiteX613" fmla="*/ 1960210 w 2663946"/>
                <a:gd name="connsiteY613" fmla="*/ 191245 h 410858"/>
                <a:gd name="connsiteX614" fmla="*/ 1956154 w 2663946"/>
                <a:gd name="connsiteY614" fmla="*/ 193138 h 410858"/>
                <a:gd name="connsiteX615" fmla="*/ 1955884 w 2663946"/>
                <a:gd name="connsiteY615" fmla="*/ 193138 h 410858"/>
                <a:gd name="connsiteX616" fmla="*/ 1955613 w 2663946"/>
                <a:gd name="connsiteY616" fmla="*/ 193138 h 410858"/>
                <a:gd name="connsiteX617" fmla="*/ 1955072 w 2663946"/>
                <a:gd name="connsiteY617" fmla="*/ 193138 h 410858"/>
                <a:gd name="connsiteX618" fmla="*/ 1922897 w 2663946"/>
                <a:gd name="connsiteY618" fmla="*/ 193138 h 410858"/>
                <a:gd name="connsiteX619" fmla="*/ 1922357 w 2663946"/>
                <a:gd name="connsiteY619" fmla="*/ 193138 h 410858"/>
                <a:gd name="connsiteX620" fmla="*/ 1921545 w 2663946"/>
                <a:gd name="connsiteY620" fmla="*/ 193138 h 410858"/>
                <a:gd name="connsiteX621" fmla="*/ 1920734 w 2663946"/>
                <a:gd name="connsiteY621" fmla="*/ 192868 h 410858"/>
                <a:gd name="connsiteX622" fmla="*/ 1917219 w 2663946"/>
                <a:gd name="connsiteY622" fmla="*/ 190975 h 410858"/>
                <a:gd name="connsiteX623" fmla="*/ 1914786 w 2663946"/>
                <a:gd name="connsiteY623" fmla="*/ 185297 h 410858"/>
                <a:gd name="connsiteX624" fmla="*/ 1916949 w 2663946"/>
                <a:gd name="connsiteY624" fmla="*/ 180160 h 410858"/>
                <a:gd name="connsiteX625" fmla="*/ 1922627 w 2663946"/>
                <a:gd name="connsiteY625" fmla="*/ 177726 h 410858"/>
                <a:gd name="connsiteX626" fmla="*/ 1930468 w 2663946"/>
                <a:gd name="connsiteY626" fmla="*/ 177726 h 410858"/>
                <a:gd name="connsiteX627" fmla="*/ 1931009 w 2663946"/>
                <a:gd name="connsiteY627" fmla="*/ 177186 h 410858"/>
                <a:gd name="connsiteX628" fmla="*/ 1931009 w 2663946"/>
                <a:gd name="connsiteY628" fmla="*/ 131221 h 410858"/>
                <a:gd name="connsiteX629" fmla="*/ 1930468 w 2663946"/>
                <a:gd name="connsiteY629" fmla="*/ 130680 h 410858"/>
                <a:gd name="connsiteX630" fmla="*/ 1924520 w 2663946"/>
                <a:gd name="connsiteY630" fmla="*/ 130680 h 410858"/>
                <a:gd name="connsiteX631" fmla="*/ 1917219 w 2663946"/>
                <a:gd name="connsiteY631" fmla="*/ 126084 h 410858"/>
                <a:gd name="connsiteX632" fmla="*/ 1916949 w 2663946"/>
                <a:gd name="connsiteY632" fmla="*/ 120406 h 410858"/>
                <a:gd name="connsiteX633" fmla="*/ 1924249 w 2663946"/>
                <a:gd name="connsiteY633" fmla="*/ 115269 h 410858"/>
                <a:gd name="connsiteX634" fmla="*/ 1936416 w 2663946"/>
                <a:gd name="connsiteY634" fmla="*/ 114998 h 410858"/>
                <a:gd name="connsiteX635" fmla="*/ 1678521 w 2663946"/>
                <a:gd name="connsiteY635" fmla="*/ 114998 h 410858"/>
                <a:gd name="connsiteX636" fmla="*/ 1682577 w 2663946"/>
                <a:gd name="connsiteY636" fmla="*/ 114998 h 410858"/>
                <a:gd name="connsiteX637" fmla="*/ 1687173 w 2663946"/>
                <a:gd name="connsiteY637" fmla="*/ 117432 h 410858"/>
                <a:gd name="connsiteX638" fmla="*/ 1689336 w 2663946"/>
                <a:gd name="connsiteY638" fmla="*/ 123650 h 410858"/>
                <a:gd name="connsiteX639" fmla="*/ 1689336 w 2663946"/>
                <a:gd name="connsiteY639" fmla="*/ 124191 h 410858"/>
                <a:gd name="connsiteX640" fmla="*/ 1689336 w 2663946"/>
                <a:gd name="connsiteY640" fmla="*/ 177186 h 410858"/>
                <a:gd name="connsiteX641" fmla="*/ 1689877 w 2663946"/>
                <a:gd name="connsiteY641" fmla="*/ 177726 h 410858"/>
                <a:gd name="connsiteX642" fmla="*/ 1697177 w 2663946"/>
                <a:gd name="connsiteY642" fmla="*/ 177726 h 410858"/>
                <a:gd name="connsiteX643" fmla="*/ 1701233 w 2663946"/>
                <a:gd name="connsiteY643" fmla="*/ 178808 h 410858"/>
                <a:gd name="connsiteX644" fmla="*/ 1705018 w 2663946"/>
                <a:gd name="connsiteY644" fmla="*/ 185567 h 410858"/>
                <a:gd name="connsiteX645" fmla="*/ 1702315 w 2663946"/>
                <a:gd name="connsiteY645" fmla="*/ 191245 h 410858"/>
                <a:gd name="connsiteX646" fmla="*/ 1698259 w 2663946"/>
                <a:gd name="connsiteY646" fmla="*/ 193138 h 410858"/>
                <a:gd name="connsiteX647" fmla="*/ 1697989 w 2663946"/>
                <a:gd name="connsiteY647" fmla="*/ 193138 h 410858"/>
                <a:gd name="connsiteX648" fmla="*/ 1697718 w 2663946"/>
                <a:gd name="connsiteY648" fmla="*/ 193138 h 410858"/>
                <a:gd name="connsiteX649" fmla="*/ 1697177 w 2663946"/>
                <a:gd name="connsiteY649" fmla="*/ 193138 h 410858"/>
                <a:gd name="connsiteX650" fmla="*/ 1665002 w 2663946"/>
                <a:gd name="connsiteY650" fmla="*/ 193138 h 410858"/>
                <a:gd name="connsiteX651" fmla="*/ 1664462 w 2663946"/>
                <a:gd name="connsiteY651" fmla="*/ 193138 h 410858"/>
                <a:gd name="connsiteX652" fmla="*/ 1663650 w 2663946"/>
                <a:gd name="connsiteY652" fmla="*/ 193138 h 410858"/>
                <a:gd name="connsiteX653" fmla="*/ 1662839 w 2663946"/>
                <a:gd name="connsiteY653" fmla="*/ 192868 h 410858"/>
                <a:gd name="connsiteX654" fmla="*/ 1659324 w 2663946"/>
                <a:gd name="connsiteY654" fmla="*/ 190975 h 410858"/>
                <a:gd name="connsiteX655" fmla="*/ 1656891 w 2663946"/>
                <a:gd name="connsiteY655" fmla="*/ 185297 h 410858"/>
                <a:gd name="connsiteX656" fmla="*/ 1659054 w 2663946"/>
                <a:gd name="connsiteY656" fmla="*/ 180160 h 410858"/>
                <a:gd name="connsiteX657" fmla="*/ 1664732 w 2663946"/>
                <a:gd name="connsiteY657" fmla="*/ 177726 h 410858"/>
                <a:gd name="connsiteX658" fmla="*/ 1672573 w 2663946"/>
                <a:gd name="connsiteY658" fmla="*/ 177726 h 410858"/>
                <a:gd name="connsiteX659" fmla="*/ 1673114 w 2663946"/>
                <a:gd name="connsiteY659" fmla="*/ 177186 h 410858"/>
                <a:gd name="connsiteX660" fmla="*/ 1673114 w 2663946"/>
                <a:gd name="connsiteY660" fmla="*/ 131221 h 410858"/>
                <a:gd name="connsiteX661" fmla="*/ 1672573 w 2663946"/>
                <a:gd name="connsiteY661" fmla="*/ 130680 h 410858"/>
                <a:gd name="connsiteX662" fmla="*/ 1666625 w 2663946"/>
                <a:gd name="connsiteY662" fmla="*/ 130680 h 410858"/>
                <a:gd name="connsiteX663" fmla="*/ 1659324 w 2663946"/>
                <a:gd name="connsiteY663" fmla="*/ 126084 h 410858"/>
                <a:gd name="connsiteX664" fmla="*/ 1659054 w 2663946"/>
                <a:gd name="connsiteY664" fmla="*/ 120406 h 410858"/>
                <a:gd name="connsiteX665" fmla="*/ 1666354 w 2663946"/>
                <a:gd name="connsiteY665" fmla="*/ 115269 h 410858"/>
                <a:gd name="connsiteX666" fmla="*/ 1678521 w 2663946"/>
                <a:gd name="connsiteY666" fmla="*/ 114998 h 410858"/>
                <a:gd name="connsiteX667" fmla="*/ 1329614 w 2663946"/>
                <a:gd name="connsiteY667" fmla="*/ 114998 h 410858"/>
                <a:gd name="connsiteX668" fmla="*/ 1333670 w 2663946"/>
                <a:gd name="connsiteY668" fmla="*/ 114998 h 410858"/>
                <a:gd name="connsiteX669" fmla="*/ 1338266 w 2663946"/>
                <a:gd name="connsiteY669" fmla="*/ 117432 h 410858"/>
                <a:gd name="connsiteX670" fmla="*/ 1340429 w 2663946"/>
                <a:gd name="connsiteY670" fmla="*/ 123650 h 410858"/>
                <a:gd name="connsiteX671" fmla="*/ 1340429 w 2663946"/>
                <a:gd name="connsiteY671" fmla="*/ 124191 h 410858"/>
                <a:gd name="connsiteX672" fmla="*/ 1340429 w 2663946"/>
                <a:gd name="connsiteY672" fmla="*/ 177186 h 410858"/>
                <a:gd name="connsiteX673" fmla="*/ 1340970 w 2663946"/>
                <a:gd name="connsiteY673" fmla="*/ 177726 h 410858"/>
                <a:gd name="connsiteX674" fmla="*/ 1348270 w 2663946"/>
                <a:gd name="connsiteY674" fmla="*/ 177726 h 410858"/>
                <a:gd name="connsiteX675" fmla="*/ 1352326 w 2663946"/>
                <a:gd name="connsiteY675" fmla="*/ 178808 h 410858"/>
                <a:gd name="connsiteX676" fmla="*/ 1356111 w 2663946"/>
                <a:gd name="connsiteY676" fmla="*/ 185567 h 410858"/>
                <a:gd name="connsiteX677" fmla="*/ 1353408 w 2663946"/>
                <a:gd name="connsiteY677" fmla="*/ 191245 h 410858"/>
                <a:gd name="connsiteX678" fmla="*/ 1349352 w 2663946"/>
                <a:gd name="connsiteY678" fmla="*/ 193138 h 410858"/>
                <a:gd name="connsiteX679" fmla="*/ 1349082 w 2663946"/>
                <a:gd name="connsiteY679" fmla="*/ 193138 h 410858"/>
                <a:gd name="connsiteX680" fmla="*/ 1348811 w 2663946"/>
                <a:gd name="connsiteY680" fmla="*/ 193138 h 410858"/>
                <a:gd name="connsiteX681" fmla="*/ 1348270 w 2663946"/>
                <a:gd name="connsiteY681" fmla="*/ 193138 h 410858"/>
                <a:gd name="connsiteX682" fmla="*/ 1316095 w 2663946"/>
                <a:gd name="connsiteY682" fmla="*/ 193138 h 410858"/>
                <a:gd name="connsiteX683" fmla="*/ 1315555 w 2663946"/>
                <a:gd name="connsiteY683" fmla="*/ 193138 h 410858"/>
                <a:gd name="connsiteX684" fmla="*/ 1314743 w 2663946"/>
                <a:gd name="connsiteY684" fmla="*/ 193138 h 410858"/>
                <a:gd name="connsiteX685" fmla="*/ 1313932 w 2663946"/>
                <a:gd name="connsiteY685" fmla="*/ 192868 h 410858"/>
                <a:gd name="connsiteX686" fmla="*/ 1310417 w 2663946"/>
                <a:gd name="connsiteY686" fmla="*/ 190975 h 410858"/>
                <a:gd name="connsiteX687" fmla="*/ 1307984 w 2663946"/>
                <a:gd name="connsiteY687" fmla="*/ 185297 h 410858"/>
                <a:gd name="connsiteX688" fmla="*/ 1310147 w 2663946"/>
                <a:gd name="connsiteY688" fmla="*/ 180160 h 410858"/>
                <a:gd name="connsiteX689" fmla="*/ 1315825 w 2663946"/>
                <a:gd name="connsiteY689" fmla="*/ 177726 h 410858"/>
                <a:gd name="connsiteX690" fmla="*/ 1323666 w 2663946"/>
                <a:gd name="connsiteY690" fmla="*/ 177726 h 410858"/>
                <a:gd name="connsiteX691" fmla="*/ 1324207 w 2663946"/>
                <a:gd name="connsiteY691" fmla="*/ 177186 h 410858"/>
                <a:gd name="connsiteX692" fmla="*/ 1324207 w 2663946"/>
                <a:gd name="connsiteY692" fmla="*/ 131221 h 410858"/>
                <a:gd name="connsiteX693" fmla="*/ 1323666 w 2663946"/>
                <a:gd name="connsiteY693" fmla="*/ 130680 h 410858"/>
                <a:gd name="connsiteX694" fmla="*/ 1317718 w 2663946"/>
                <a:gd name="connsiteY694" fmla="*/ 130680 h 410858"/>
                <a:gd name="connsiteX695" fmla="*/ 1310417 w 2663946"/>
                <a:gd name="connsiteY695" fmla="*/ 126084 h 410858"/>
                <a:gd name="connsiteX696" fmla="*/ 1310147 w 2663946"/>
                <a:gd name="connsiteY696" fmla="*/ 120406 h 410858"/>
                <a:gd name="connsiteX697" fmla="*/ 1317447 w 2663946"/>
                <a:gd name="connsiteY697" fmla="*/ 115269 h 410858"/>
                <a:gd name="connsiteX698" fmla="*/ 1329614 w 2663946"/>
                <a:gd name="connsiteY698" fmla="*/ 114998 h 410858"/>
                <a:gd name="connsiteX699" fmla="*/ 980634 w 2663946"/>
                <a:gd name="connsiteY699" fmla="*/ 114998 h 410858"/>
                <a:gd name="connsiteX700" fmla="*/ 984690 w 2663946"/>
                <a:gd name="connsiteY700" fmla="*/ 114998 h 410858"/>
                <a:gd name="connsiteX701" fmla="*/ 989286 w 2663946"/>
                <a:gd name="connsiteY701" fmla="*/ 117432 h 410858"/>
                <a:gd name="connsiteX702" fmla="*/ 991449 w 2663946"/>
                <a:gd name="connsiteY702" fmla="*/ 123650 h 410858"/>
                <a:gd name="connsiteX703" fmla="*/ 991449 w 2663946"/>
                <a:gd name="connsiteY703" fmla="*/ 124191 h 410858"/>
                <a:gd name="connsiteX704" fmla="*/ 991449 w 2663946"/>
                <a:gd name="connsiteY704" fmla="*/ 177186 h 410858"/>
                <a:gd name="connsiteX705" fmla="*/ 991990 w 2663946"/>
                <a:gd name="connsiteY705" fmla="*/ 177726 h 410858"/>
                <a:gd name="connsiteX706" fmla="*/ 999290 w 2663946"/>
                <a:gd name="connsiteY706" fmla="*/ 177726 h 410858"/>
                <a:gd name="connsiteX707" fmla="*/ 1003346 w 2663946"/>
                <a:gd name="connsiteY707" fmla="*/ 178808 h 410858"/>
                <a:gd name="connsiteX708" fmla="*/ 1007131 w 2663946"/>
                <a:gd name="connsiteY708" fmla="*/ 185567 h 410858"/>
                <a:gd name="connsiteX709" fmla="*/ 1004428 w 2663946"/>
                <a:gd name="connsiteY709" fmla="*/ 191245 h 410858"/>
                <a:gd name="connsiteX710" fmla="*/ 1000372 w 2663946"/>
                <a:gd name="connsiteY710" fmla="*/ 193138 h 410858"/>
                <a:gd name="connsiteX711" fmla="*/ 1000102 w 2663946"/>
                <a:gd name="connsiteY711" fmla="*/ 193138 h 410858"/>
                <a:gd name="connsiteX712" fmla="*/ 999831 w 2663946"/>
                <a:gd name="connsiteY712" fmla="*/ 193138 h 410858"/>
                <a:gd name="connsiteX713" fmla="*/ 999290 w 2663946"/>
                <a:gd name="connsiteY713" fmla="*/ 193138 h 410858"/>
                <a:gd name="connsiteX714" fmla="*/ 967115 w 2663946"/>
                <a:gd name="connsiteY714" fmla="*/ 193138 h 410858"/>
                <a:gd name="connsiteX715" fmla="*/ 966575 w 2663946"/>
                <a:gd name="connsiteY715" fmla="*/ 193138 h 410858"/>
                <a:gd name="connsiteX716" fmla="*/ 965763 w 2663946"/>
                <a:gd name="connsiteY716" fmla="*/ 193138 h 410858"/>
                <a:gd name="connsiteX717" fmla="*/ 964952 w 2663946"/>
                <a:gd name="connsiteY717" fmla="*/ 192868 h 410858"/>
                <a:gd name="connsiteX718" fmla="*/ 961437 w 2663946"/>
                <a:gd name="connsiteY718" fmla="*/ 190975 h 410858"/>
                <a:gd name="connsiteX719" fmla="*/ 959004 w 2663946"/>
                <a:gd name="connsiteY719" fmla="*/ 185297 h 410858"/>
                <a:gd name="connsiteX720" fmla="*/ 961167 w 2663946"/>
                <a:gd name="connsiteY720" fmla="*/ 180160 h 410858"/>
                <a:gd name="connsiteX721" fmla="*/ 966845 w 2663946"/>
                <a:gd name="connsiteY721" fmla="*/ 177726 h 410858"/>
                <a:gd name="connsiteX722" fmla="*/ 974686 w 2663946"/>
                <a:gd name="connsiteY722" fmla="*/ 177726 h 410858"/>
                <a:gd name="connsiteX723" fmla="*/ 975227 w 2663946"/>
                <a:gd name="connsiteY723" fmla="*/ 177186 h 410858"/>
                <a:gd name="connsiteX724" fmla="*/ 975227 w 2663946"/>
                <a:gd name="connsiteY724" fmla="*/ 131221 h 410858"/>
                <a:gd name="connsiteX725" fmla="*/ 974686 w 2663946"/>
                <a:gd name="connsiteY725" fmla="*/ 130680 h 410858"/>
                <a:gd name="connsiteX726" fmla="*/ 968738 w 2663946"/>
                <a:gd name="connsiteY726" fmla="*/ 130680 h 410858"/>
                <a:gd name="connsiteX727" fmla="*/ 961437 w 2663946"/>
                <a:gd name="connsiteY727" fmla="*/ 126084 h 410858"/>
                <a:gd name="connsiteX728" fmla="*/ 961167 w 2663946"/>
                <a:gd name="connsiteY728" fmla="*/ 120406 h 410858"/>
                <a:gd name="connsiteX729" fmla="*/ 968467 w 2663946"/>
                <a:gd name="connsiteY729" fmla="*/ 115269 h 410858"/>
                <a:gd name="connsiteX730" fmla="*/ 980634 w 2663946"/>
                <a:gd name="connsiteY730" fmla="*/ 114998 h 410858"/>
                <a:gd name="connsiteX731" fmla="*/ 813605 w 2663946"/>
                <a:gd name="connsiteY731" fmla="*/ 114998 h 410858"/>
                <a:gd name="connsiteX732" fmla="*/ 817661 w 2663946"/>
                <a:gd name="connsiteY732" fmla="*/ 114998 h 410858"/>
                <a:gd name="connsiteX733" fmla="*/ 822257 w 2663946"/>
                <a:gd name="connsiteY733" fmla="*/ 117432 h 410858"/>
                <a:gd name="connsiteX734" fmla="*/ 824420 w 2663946"/>
                <a:gd name="connsiteY734" fmla="*/ 123650 h 410858"/>
                <a:gd name="connsiteX735" fmla="*/ 824420 w 2663946"/>
                <a:gd name="connsiteY735" fmla="*/ 124191 h 410858"/>
                <a:gd name="connsiteX736" fmla="*/ 824420 w 2663946"/>
                <a:gd name="connsiteY736" fmla="*/ 177186 h 410858"/>
                <a:gd name="connsiteX737" fmla="*/ 824961 w 2663946"/>
                <a:gd name="connsiteY737" fmla="*/ 177726 h 410858"/>
                <a:gd name="connsiteX738" fmla="*/ 832261 w 2663946"/>
                <a:gd name="connsiteY738" fmla="*/ 177726 h 410858"/>
                <a:gd name="connsiteX739" fmla="*/ 836317 w 2663946"/>
                <a:gd name="connsiteY739" fmla="*/ 178808 h 410858"/>
                <a:gd name="connsiteX740" fmla="*/ 840102 w 2663946"/>
                <a:gd name="connsiteY740" fmla="*/ 185567 h 410858"/>
                <a:gd name="connsiteX741" fmla="*/ 837399 w 2663946"/>
                <a:gd name="connsiteY741" fmla="*/ 191245 h 410858"/>
                <a:gd name="connsiteX742" fmla="*/ 833343 w 2663946"/>
                <a:gd name="connsiteY742" fmla="*/ 193138 h 410858"/>
                <a:gd name="connsiteX743" fmla="*/ 833073 w 2663946"/>
                <a:gd name="connsiteY743" fmla="*/ 193138 h 410858"/>
                <a:gd name="connsiteX744" fmla="*/ 832802 w 2663946"/>
                <a:gd name="connsiteY744" fmla="*/ 193138 h 410858"/>
                <a:gd name="connsiteX745" fmla="*/ 832261 w 2663946"/>
                <a:gd name="connsiteY745" fmla="*/ 193138 h 410858"/>
                <a:gd name="connsiteX746" fmla="*/ 800086 w 2663946"/>
                <a:gd name="connsiteY746" fmla="*/ 193138 h 410858"/>
                <a:gd name="connsiteX747" fmla="*/ 799546 w 2663946"/>
                <a:gd name="connsiteY747" fmla="*/ 193138 h 410858"/>
                <a:gd name="connsiteX748" fmla="*/ 798734 w 2663946"/>
                <a:gd name="connsiteY748" fmla="*/ 193138 h 410858"/>
                <a:gd name="connsiteX749" fmla="*/ 797923 w 2663946"/>
                <a:gd name="connsiteY749" fmla="*/ 192868 h 410858"/>
                <a:gd name="connsiteX750" fmla="*/ 794408 w 2663946"/>
                <a:gd name="connsiteY750" fmla="*/ 190975 h 410858"/>
                <a:gd name="connsiteX751" fmla="*/ 791975 w 2663946"/>
                <a:gd name="connsiteY751" fmla="*/ 185297 h 410858"/>
                <a:gd name="connsiteX752" fmla="*/ 794138 w 2663946"/>
                <a:gd name="connsiteY752" fmla="*/ 180160 h 410858"/>
                <a:gd name="connsiteX753" fmla="*/ 799816 w 2663946"/>
                <a:gd name="connsiteY753" fmla="*/ 177726 h 410858"/>
                <a:gd name="connsiteX754" fmla="*/ 807657 w 2663946"/>
                <a:gd name="connsiteY754" fmla="*/ 177726 h 410858"/>
                <a:gd name="connsiteX755" fmla="*/ 808198 w 2663946"/>
                <a:gd name="connsiteY755" fmla="*/ 177186 h 410858"/>
                <a:gd name="connsiteX756" fmla="*/ 808198 w 2663946"/>
                <a:gd name="connsiteY756" fmla="*/ 131221 h 410858"/>
                <a:gd name="connsiteX757" fmla="*/ 807657 w 2663946"/>
                <a:gd name="connsiteY757" fmla="*/ 130680 h 410858"/>
                <a:gd name="connsiteX758" fmla="*/ 801709 w 2663946"/>
                <a:gd name="connsiteY758" fmla="*/ 130680 h 410858"/>
                <a:gd name="connsiteX759" fmla="*/ 794408 w 2663946"/>
                <a:gd name="connsiteY759" fmla="*/ 126084 h 410858"/>
                <a:gd name="connsiteX760" fmla="*/ 794138 w 2663946"/>
                <a:gd name="connsiteY760" fmla="*/ 120406 h 410858"/>
                <a:gd name="connsiteX761" fmla="*/ 801438 w 2663946"/>
                <a:gd name="connsiteY761" fmla="*/ 115269 h 410858"/>
                <a:gd name="connsiteX762" fmla="*/ 813605 w 2663946"/>
                <a:gd name="connsiteY762" fmla="*/ 114998 h 410858"/>
                <a:gd name="connsiteX763" fmla="*/ 282748 w 2663946"/>
                <a:gd name="connsiteY763" fmla="*/ 114998 h 410858"/>
                <a:gd name="connsiteX764" fmla="*/ 286803 w 2663946"/>
                <a:gd name="connsiteY764" fmla="*/ 114998 h 410858"/>
                <a:gd name="connsiteX765" fmla="*/ 291400 w 2663946"/>
                <a:gd name="connsiteY765" fmla="*/ 117432 h 410858"/>
                <a:gd name="connsiteX766" fmla="*/ 293563 w 2663946"/>
                <a:gd name="connsiteY766" fmla="*/ 123650 h 410858"/>
                <a:gd name="connsiteX767" fmla="*/ 293563 w 2663946"/>
                <a:gd name="connsiteY767" fmla="*/ 124191 h 410858"/>
                <a:gd name="connsiteX768" fmla="*/ 293563 w 2663946"/>
                <a:gd name="connsiteY768" fmla="*/ 177186 h 410858"/>
                <a:gd name="connsiteX769" fmla="*/ 294104 w 2663946"/>
                <a:gd name="connsiteY769" fmla="*/ 177726 h 410858"/>
                <a:gd name="connsiteX770" fmla="*/ 301404 w 2663946"/>
                <a:gd name="connsiteY770" fmla="*/ 177726 h 410858"/>
                <a:gd name="connsiteX771" fmla="*/ 305460 w 2663946"/>
                <a:gd name="connsiteY771" fmla="*/ 178808 h 410858"/>
                <a:gd name="connsiteX772" fmla="*/ 309245 w 2663946"/>
                <a:gd name="connsiteY772" fmla="*/ 185567 h 410858"/>
                <a:gd name="connsiteX773" fmla="*/ 306541 w 2663946"/>
                <a:gd name="connsiteY773" fmla="*/ 191245 h 410858"/>
                <a:gd name="connsiteX774" fmla="*/ 302485 w 2663946"/>
                <a:gd name="connsiteY774" fmla="*/ 193138 h 410858"/>
                <a:gd name="connsiteX775" fmla="*/ 302215 w 2663946"/>
                <a:gd name="connsiteY775" fmla="*/ 193138 h 410858"/>
                <a:gd name="connsiteX776" fmla="*/ 301945 w 2663946"/>
                <a:gd name="connsiteY776" fmla="*/ 193138 h 410858"/>
                <a:gd name="connsiteX777" fmla="*/ 301404 w 2663946"/>
                <a:gd name="connsiteY777" fmla="*/ 193138 h 410858"/>
                <a:gd name="connsiteX778" fmla="*/ 269229 w 2663946"/>
                <a:gd name="connsiteY778" fmla="*/ 193138 h 410858"/>
                <a:gd name="connsiteX779" fmla="*/ 268688 w 2663946"/>
                <a:gd name="connsiteY779" fmla="*/ 193138 h 410858"/>
                <a:gd name="connsiteX780" fmla="*/ 267877 w 2663946"/>
                <a:gd name="connsiteY780" fmla="*/ 193138 h 410858"/>
                <a:gd name="connsiteX781" fmla="*/ 267066 w 2663946"/>
                <a:gd name="connsiteY781" fmla="*/ 192868 h 410858"/>
                <a:gd name="connsiteX782" fmla="*/ 263551 w 2663946"/>
                <a:gd name="connsiteY782" fmla="*/ 190975 h 410858"/>
                <a:gd name="connsiteX783" fmla="*/ 261117 w 2663946"/>
                <a:gd name="connsiteY783" fmla="*/ 185297 h 410858"/>
                <a:gd name="connsiteX784" fmla="*/ 263281 w 2663946"/>
                <a:gd name="connsiteY784" fmla="*/ 180160 h 410858"/>
                <a:gd name="connsiteX785" fmla="*/ 268958 w 2663946"/>
                <a:gd name="connsiteY785" fmla="*/ 177726 h 410858"/>
                <a:gd name="connsiteX786" fmla="*/ 276800 w 2663946"/>
                <a:gd name="connsiteY786" fmla="*/ 177726 h 410858"/>
                <a:gd name="connsiteX787" fmla="*/ 277340 w 2663946"/>
                <a:gd name="connsiteY787" fmla="*/ 177186 h 410858"/>
                <a:gd name="connsiteX788" fmla="*/ 277340 w 2663946"/>
                <a:gd name="connsiteY788" fmla="*/ 131221 h 410858"/>
                <a:gd name="connsiteX789" fmla="*/ 276800 w 2663946"/>
                <a:gd name="connsiteY789" fmla="*/ 130680 h 410858"/>
                <a:gd name="connsiteX790" fmla="*/ 270851 w 2663946"/>
                <a:gd name="connsiteY790" fmla="*/ 130680 h 410858"/>
                <a:gd name="connsiteX791" fmla="*/ 263551 w 2663946"/>
                <a:gd name="connsiteY791" fmla="*/ 126084 h 410858"/>
                <a:gd name="connsiteX792" fmla="*/ 263281 w 2663946"/>
                <a:gd name="connsiteY792" fmla="*/ 120406 h 410858"/>
                <a:gd name="connsiteX793" fmla="*/ 270581 w 2663946"/>
                <a:gd name="connsiteY793" fmla="*/ 115269 h 410858"/>
                <a:gd name="connsiteX794" fmla="*/ 282748 w 2663946"/>
                <a:gd name="connsiteY794" fmla="*/ 114998 h 410858"/>
                <a:gd name="connsiteX795" fmla="*/ 206731 w 2663946"/>
                <a:gd name="connsiteY795" fmla="*/ 114998 h 410858"/>
                <a:gd name="connsiteX796" fmla="*/ 210787 w 2663946"/>
                <a:gd name="connsiteY796" fmla="*/ 114998 h 410858"/>
                <a:gd name="connsiteX797" fmla="*/ 215383 w 2663946"/>
                <a:gd name="connsiteY797" fmla="*/ 117432 h 410858"/>
                <a:gd name="connsiteX798" fmla="*/ 217546 w 2663946"/>
                <a:gd name="connsiteY798" fmla="*/ 123650 h 410858"/>
                <a:gd name="connsiteX799" fmla="*/ 217546 w 2663946"/>
                <a:gd name="connsiteY799" fmla="*/ 124191 h 410858"/>
                <a:gd name="connsiteX800" fmla="*/ 217546 w 2663946"/>
                <a:gd name="connsiteY800" fmla="*/ 177186 h 410858"/>
                <a:gd name="connsiteX801" fmla="*/ 218087 w 2663946"/>
                <a:gd name="connsiteY801" fmla="*/ 177726 h 410858"/>
                <a:gd name="connsiteX802" fmla="*/ 225387 w 2663946"/>
                <a:gd name="connsiteY802" fmla="*/ 177726 h 410858"/>
                <a:gd name="connsiteX803" fmla="*/ 229443 w 2663946"/>
                <a:gd name="connsiteY803" fmla="*/ 178808 h 410858"/>
                <a:gd name="connsiteX804" fmla="*/ 233228 w 2663946"/>
                <a:gd name="connsiteY804" fmla="*/ 185567 h 410858"/>
                <a:gd name="connsiteX805" fmla="*/ 230524 w 2663946"/>
                <a:gd name="connsiteY805" fmla="*/ 191245 h 410858"/>
                <a:gd name="connsiteX806" fmla="*/ 226468 w 2663946"/>
                <a:gd name="connsiteY806" fmla="*/ 193138 h 410858"/>
                <a:gd name="connsiteX807" fmla="*/ 226198 w 2663946"/>
                <a:gd name="connsiteY807" fmla="*/ 193138 h 410858"/>
                <a:gd name="connsiteX808" fmla="*/ 225928 w 2663946"/>
                <a:gd name="connsiteY808" fmla="*/ 193138 h 410858"/>
                <a:gd name="connsiteX809" fmla="*/ 225387 w 2663946"/>
                <a:gd name="connsiteY809" fmla="*/ 193138 h 410858"/>
                <a:gd name="connsiteX810" fmla="*/ 193212 w 2663946"/>
                <a:gd name="connsiteY810" fmla="*/ 193138 h 410858"/>
                <a:gd name="connsiteX811" fmla="*/ 192671 w 2663946"/>
                <a:gd name="connsiteY811" fmla="*/ 193138 h 410858"/>
                <a:gd name="connsiteX812" fmla="*/ 191860 w 2663946"/>
                <a:gd name="connsiteY812" fmla="*/ 193138 h 410858"/>
                <a:gd name="connsiteX813" fmla="*/ 191049 w 2663946"/>
                <a:gd name="connsiteY813" fmla="*/ 192868 h 410858"/>
                <a:gd name="connsiteX814" fmla="*/ 187534 w 2663946"/>
                <a:gd name="connsiteY814" fmla="*/ 190975 h 410858"/>
                <a:gd name="connsiteX815" fmla="*/ 185101 w 2663946"/>
                <a:gd name="connsiteY815" fmla="*/ 185297 h 410858"/>
                <a:gd name="connsiteX816" fmla="*/ 187264 w 2663946"/>
                <a:gd name="connsiteY816" fmla="*/ 180160 h 410858"/>
                <a:gd name="connsiteX817" fmla="*/ 192942 w 2663946"/>
                <a:gd name="connsiteY817" fmla="*/ 177726 h 410858"/>
                <a:gd name="connsiteX818" fmla="*/ 200783 w 2663946"/>
                <a:gd name="connsiteY818" fmla="*/ 177726 h 410858"/>
                <a:gd name="connsiteX819" fmla="*/ 201323 w 2663946"/>
                <a:gd name="connsiteY819" fmla="*/ 177186 h 410858"/>
                <a:gd name="connsiteX820" fmla="*/ 201323 w 2663946"/>
                <a:gd name="connsiteY820" fmla="*/ 131221 h 410858"/>
                <a:gd name="connsiteX821" fmla="*/ 200783 w 2663946"/>
                <a:gd name="connsiteY821" fmla="*/ 130680 h 410858"/>
                <a:gd name="connsiteX822" fmla="*/ 194834 w 2663946"/>
                <a:gd name="connsiteY822" fmla="*/ 130680 h 410858"/>
                <a:gd name="connsiteX823" fmla="*/ 187534 w 2663946"/>
                <a:gd name="connsiteY823" fmla="*/ 126084 h 410858"/>
                <a:gd name="connsiteX824" fmla="*/ 187264 w 2663946"/>
                <a:gd name="connsiteY824" fmla="*/ 120406 h 410858"/>
                <a:gd name="connsiteX825" fmla="*/ 194564 w 2663946"/>
                <a:gd name="connsiteY825" fmla="*/ 115269 h 410858"/>
                <a:gd name="connsiteX826" fmla="*/ 206731 w 2663946"/>
                <a:gd name="connsiteY826" fmla="*/ 114998 h 410858"/>
                <a:gd name="connsiteX827" fmla="*/ 2627559 w 2663946"/>
                <a:gd name="connsiteY827" fmla="*/ 114929 h 410858"/>
                <a:gd name="connsiteX828" fmla="*/ 2639849 w 2663946"/>
                <a:gd name="connsiteY828" fmla="*/ 117092 h 410858"/>
                <a:gd name="connsiteX829" fmla="*/ 2647223 w 2663946"/>
                <a:gd name="connsiteY829" fmla="*/ 121689 h 410858"/>
                <a:gd name="connsiteX830" fmla="*/ 2650664 w 2663946"/>
                <a:gd name="connsiteY830" fmla="*/ 124933 h 410858"/>
                <a:gd name="connsiteX831" fmla="*/ 2654106 w 2663946"/>
                <a:gd name="connsiteY831" fmla="*/ 129259 h 410858"/>
                <a:gd name="connsiteX832" fmla="*/ 2656072 w 2663946"/>
                <a:gd name="connsiteY832" fmla="*/ 132774 h 410858"/>
                <a:gd name="connsiteX833" fmla="*/ 2658284 w 2663946"/>
                <a:gd name="connsiteY833" fmla="*/ 138182 h 410858"/>
                <a:gd name="connsiteX834" fmla="*/ 2659267 w 2663946"/>
                <a:gd name="connsiteY834" fmla="*/ 141697 h 410858"/>
                <a:gd name="connsiteX835" fmla="*/ 2660251 w 2663946"/>
                <a:gd name="connsiteY835" fmla="*/ 146834 h 410858"/>
                <a:gd name="connsiteX836" fmla="*/ 2660005 w 2663946"/>
                <a:gd name="connsiteY836" fmla="*/ 161164 h 410858"/>
                <a:gd name="connsiteX837" fmla="*/ 2659022 w 2663946"/>
                <a:gd name="connsiteY837" fmla="*/ 166031 h 410858"/>
                <a:gd name="connsiteX838" fmla="*/ 2657792 w 2663946"/>
                <a:gd name="connsiteY838" fmla="*/ 169816 h 410858"/>
                <a:gd name="connsiteX839" fmla="*/ 2656809 w 2663946"/>
                <a:gd name="connsiteY839" fmla="*/ 172250 h 410858"/>
                <a:gd name="connsiteX840" fmla="*/ 2654597 w 2663946"/>
                <a:gd name="connsiteY840" fmla="*/ 176576 h 410858"/>
                <a:gd name="connsiteX841" fmla="*/ 2652385 w 2663946"/>
                <a:gd name="connsiteY841" fmla="*/ 179820 h 410858"/>
                <a:gd name="connsiteX842" fmla="*/ 2648944 w 2663946"/>
                <a:gd name="connsiteY842" fmla="*/ 183606 h 410858"/>
                <a:gd name="connsiteX843" fmla="*/ 2645748 w 2663946"/>
                <a:gd name="connsiteY843" fmla="*/ 186309 h 410858"/>
                <a:gd name="connsiteX844" fmla="*/ 2640095 w 2663946"/>
                <a:gd name="connsiteY844" fmla="*/ 189554 h 410858"/>
                <a:gd name="connsiteX845" fmla="*/ 2632229 w 2663946"/>
                <a:gd name="connsiteY845" fmla="*/ 191717 h 410858"/>
                <a:gd name="connsiteX846" fmla="*/ 2631000 w 2663946"/>
                <a:gd name="connsiteY846" fmla="*/ 191988 h 410858"/>
                <a:gd name="connsiteX847" fmla="*/ 2626821 w 2663946"/>
                <a:gd name="connsiteY847" fmla="*/ 191988 h 410858"/>
                <a:gd name="connsiteX848" fmla="*/ 2626576 w 2663946"/>
                <a:gd name="connsiteY848" fmla="*/ 191988 h 410858"/>
                <a:gd name="connsiteX849" fmla="*/ 2613548 w 2663946"/>
                <a:gd name="connsiteY849" fmla="*/ 187121 h 410858"/>
                <a:gd name="connsiteX850" fmla="*/ 2608878 w 2663946"/>
                <a:gd name="connsiteY850" fmla="*/ 183065 h 410858"/>
                <a:gd name="connsiteX851" fmla="*/ 2605682 w 2663946"/>
                <a:gd name="connsiteY851" fmla="*/ 179280 h 410858"/>
                <a:gd name="connsiteX852" fmla="*/ 2603470 w 2663946"/>
                <a:gd name="connsiteY852" fmla="*/ 175765 h 410858"/>
                <a:gd name="connsiteX853" fmla="*/ 2601258 w 2663946"/>
                <a:gd name="connsiteY853" fmla="*/ 171439 h 410858"/>
                <a:gd name="connsiteX854" fmla="*/ 2600029 w 2663946"/>
                <a:gd name="connsiteY854" fmla="*/ 168464 h 410858"/>
                <a:gd name="connsiteX855" fmla="*/ 2599046 w 2663946"/>
                <a:gd name="connsiteY855" fmla="*/ 165220 h 410858"/>
                <a:gd name="connsiteX856" fmla="*/ 2597816 w 2663946"/>
                <a:gd name="connsiteY856" fmla="*/ 159542 h 410858"/>
                <a:gd name="connsiteX857" fmla="*/ 2597571 w 2663946"/>
                <a:gd name="connsiteY857" fmla="*/ 156568 h 410858"/>
                <a:gd name="connsiteX858" fmla="*/ 2597816 w 2663946"/>
                <a:gd name="connsiteY858" fmla="*/ 156838 h 410858"/>
                <a:gd name="connsiteX859" fmla="*/ 2597816 w 2663946"/>
                <a:gd name="connsiteY859" fmla="*/ 151160 h 410858"/>
                <a:gd name="connsiteX860" fmla="*/ 2597816 w 2663946"/>
                <a:gd name="connsiteY860" fmla="*/ 150890 h 410858"/>
                <a:gd name="connsiteX861" fmla="*/ 2598308 w 2663946"/>
                <a:gd name="connsiteY861" fmla="*/ 146293 h 410858"/>
                <a:gd name="connsiteX862" fmla="*/ 2599537 w 2663946"/>
                <a:gd name="connsiteY862" fmla="*/ 140886 h 410858"/>
                <a:gd name="connsiteX863" fmla="*/ 2600520 w 2663946"/>
                <a:gd name="connsiteY863" fmla="*/ 137641 h 410858"/>
                <a:gd name="connsiteX864" fmla="*/ 2602732 w 2663946"/>
                <a:gd name="connsiteY864" fmla="*/ 132504 h 410858"/>
                <a:gd name="connsiteX865" fmla="*/ 2604945 w 2663946"/>
                <a:gd name="connsiteY865" fmla="*/ 128719 h 410858"/>
                <a:gd name="connsiteX866" fmla="*/ 2607157 w 2663946"/>
                <a:gd name="connsiteY866" fmla="*/ 125744 h 410858"/>
                <a:gd name="connsiteX867" fmla="*/ 2609369 w 2663946"/>
                <a:gd name="connsiteY867" fmla="*/ 123311 h 410858"/>
                <a:gd name="connsiteX868" fmla="*/ 2614039 w 2663946"/>
                <a:gd name="connsiteY868" fmla="*/ 119526 h 410858"/>
                <a:gd name="connsiteX869" fmla="*/ 2617972 w 2663946"/>
                <a:gd name="connsiteY869" fmla="*/ 117363 h 410858"/>
                <a:gd name="connsiteX870" fmla="*/ 2627559 w 2663946"/>
                <a:gd name="connsiteY870" fmla="*/ 114929 h 410858"/>
                <a:gd name="connsiteX871" fmla="*/ 2445604 w 2663946"/>
                <a:gd name="connsiteY871" fmla="*/ 114929 h 410858"/>
                <a:gd name="connsiteX872" fmla="*/ 2457894 w 2663946"/>
                <a:gd name="connsiteY872" fmla="*/ 117092 h 410858"/>
                <a:gd name="connsiteX873" fmla="*/ 2465268 w 2663946"/>
                <a:gd name="connsiteY873" fmla="*/ 121689 h 410858"/>
                <a:gd name="connsiteX874" fmla="*/ 2468709 w 2663946"/>
                <a:gd name="connsiteY874" fmla="*/ 124933 h 410858"/>
                <a:gd name="connsiteX875" fmla="*/ 2472151 w 2663946"/>
                <a:gd name="connsiteY875" fmla="*/ 129259 h 410858"/>
                <a:gd name="connsiteX876" fmla="*/ 2474117 w 2663946"/>
                <a:gd name="connsiteY876" fmla="*/ 132774 h 410858"/>
                <a:gd name="connsiteX877" fmla="*/ 2476329 w 2663946"/>
                <a:gd name="connsiteY877" fmla="*/ 138182 h 410858"/>
                <a:gd name="connsiteX878" fmla="*/ 2477312 w 2663946"/>
                <a:gd name="connsiteY878" fmla="*/ 141697 h 410858"/>
                <a:gd name="connsiteX879" fmla="*/ 2478296 w 2663946"/>
                <a:gd name="connsiteY879" fmla="*/ 146834 h 410858"/>
                <a:gd name="connsiteX880" fmla="*/ 2478050 w 2663946"/>
                <a:gd name="connsiteY880" fmla="*/ 161164 h 410858"/>
                <a:gd name="connsiteX881" fmla="*/ 2477067 w 2663946"/>
                <a:gd name="connsiteY881" fmla="*/ 166031 h 410858"/>
                <a:gd name="connsiteX882" fmla="*/ 2475837 w 2663946"/>
                <a:gd name="connsiteY882" fmla="*/ 169816 h 410858"/>
                <a:gd name="connsiteX883" fmla="*/ 2474854 w 2663946"/>
                <a:gd name="connsiteY883" fmla="*/ 172250 h 410858"/>
                <a:gd name="connsiteX884" fmla="*/ 2472642 w 2663946"/>
                <a:gd name="connsiteY884" fmla="*/ 176576 h 410858"/>
                <a:gd name="connsiteX885" fmla="*/ 2470430 w 2663946"/>
                <a:gd name="connsiteY885" fmla="*/ 179820 h 410858"/>
                <a:gd name="connsiteX886" fmla="*/ 2466989 w 2663946"/>
                <a:gd name="connsiteY886" fmla="*/ 183606 h 410858"/>
                <a:gd name="connsiteX887" fmla="*/ 2463793 w 2663946"/>
                <a:gd name="connsiteY887" fmla="*/ 186309 h 410858"/>
                <a:gd name="connsiteX888" fmla="*/ 2458140 w 2663946"/>
                <a:gd name="connsiteY888" fmla="*/ 189554 h 410858"/>
                <a:gd name="connsiteX889" fmla="*/ 2450274 w 2663946"/>
                <a:gd name="connsiteY889" fmla="*/ 191717 h 410858"/>
                <a:gd name="connsiteX890" fmla="*/ 2449045 w 2663946"/>
                <a:gd name="connsiteY890" fmla="*/ 191988 h 410858"/>
                <a:gd name="connsiteX891" fmla="*/ 2444866 w 2663946"/>
                <a:gd name="connsiteY891" fmla="*/ 191988 h 410858"/>
                <a:gd name="connsiteX892" fmla="*/ 2444621 w 2663946"/>
                <a:gd name="connsiteY892" fmla="*/ 191988 h 410858"/>
                <a:gd name="connsiteX893" fmla="*/ 2431593 w 2663946"/>
                <a:gd name="connsiteY893" fmla="*/ 187121 h 410858"/>
                <a:gd name="connsiteX894" fmla="*/ 2426923 w 2663946"/>
                <a:gd name="connsiteY894" fmla="*/ 183065 h 410858"/>
                <a:gd name="connsiteX895" fmla="*/ 2423727 w 2663946"/>
                <a:gd name="connsiteY895" fmla="*/ 179280 h 410858"/>
                <a:gd name="connsiteX896" fmla="*/ 2421515 w 2663946"/>
                <a:gd name="connsiteY896" fmla="*/ 175765 h 410858"/>
                <a:gd name="connsiteX897" fmla="*/ 2419303 w 2663946"/>
                <a:gd name="connsiteY897" fmla="*/ 171439 h 410858"/>
                <a:gd name="connsiteX898" fmla="*/ 2418074 w 2663946"/>
                <a:gd name="connsiteY898" fmla="*/ 168464 h 410858"/>
                <a:gd name="connsiteX899" fmla="*/ 2417091 w 2663946"/>
                <a:gd name="connsiteY899" fmla="*/ 165220 h 410858"/>
                <a:gd name="connsiteX900" fmla="*/ 2415861 w 2663946"/>
                <a:gd name="connsiteY900" fmla="*/ 159542 h 410858"/>
                <a:gd name="connsiteX901" fmla="*/ 2415616 w 2663946"/>
                <a:gd name="connsiteY901" fmla="*/ 156568 h 410858"/>
                <a:gd name="connsiteX902" fmla="*/ 2415861 w 2663946"/>
                <a:gd name="connsiteY902" fmla="*/ 156838 h 410858"/>
                <a:gd name="connsiteX903" fmla="*/ 2415861 w 2663946"/>
                <a:gd name="connsiteY903" fmla="*/ 151160 h 410858"/>
                <a:gd name="connsiteX904" fmla="*/ 2415861 w 2663946"/>
                <a:gd name="connsiteY904" fmla="*/ 150890 h 410858"/>
                <a:gd name="connsiteX905" fmla="*/ 2416353 w 2663946"/>
                <a:gd name="connsiteY905" fmla="*/ 146293 h 410858"/>
                <a:gd name="connsiteX906" fmla="*/ 2417582 w 2663946"/>
                <a:gd name="connsiteY906" fmla="*/ 140886 h 410858"/>
                <a:gd name="connsiteX907" fmla="*/ 2418565 w 2663946"/>
                <a:gd name="connsiteY907" fmla="*/ 137641 h 410858"/>
                <a:gd name="connsiteX908" fmla="*/ 2420777 w 2663946"/>
                <a:gd name="connsiteY908" fmla="*/ 132504 h 410858"/>
                <a:gd name="connsiteX909" fmla="*/ 2422990 w 2663946"/>
                <a:gd name="connsiteY909" fmla="*/ 128719 h 410858"/>
                <a:gd name="connsiteX910" fmla="*/ 2425202 w 2663946"/>
                <a:gd name="connsiteY910" fmla="*/ 125744 h 410858"/>
                <a:gd name="connsiteX911" fmla="*/ 2427414 w 2663946"/>
                <a:gd name="connsiteY911" fmla="*/ 123311 h 410858"/>
                <a:gd name="connsiteX912" fmla="*/ 2432084 w 2663946"/>
                <a:gd name="connsiteY912" fmla="*/ 119526 h 410858"/>
                <a:gd name="connsiteX913" fmla="*/ 2436017 w 2663946"/>
                <a:gd name="connsiteY913" fmla="*/ 117363 h 410858"/>
                <a:gd name="connsiteX914" fmla="*/ 2445604 w 2663946"/>
                <a:gd name="connsiteY914" fmla="*/ 114929 h 410858"/>
                <a:gd name="connsiteX915" fmla="*/ 2202558 w 2663946"/>
                <a:gd name="connsiteY915" fmla="*/ 114929 h 410858"/>
                <a:gd name="connsiteX916" fmla="*/ 2214848 w 2663946"/>
                <a:gd name="connsiteY916" fmla="*/ 117092 h 410858"/>
                <a:gd name="connsiteX917" fmla="*/ 2222222 w 2663946"/>
                <a:gd name="connsiteY917" fmla="*/ 121689 h 410858"/>
                <a:gd name="connsiteX918" fmla="*/ 2225663 w 2663946"/>
                <a:gd name="connsiteY918" fmla="*/ 124933 h 410858"/>
                <a:gd name="connsiteX919" fmla="*/ 2229105 w 2663946"/>
                <a:gd name="connsiteY919" fmla="*/ 129259 h 410858"/>
                <a:gd name="connsiteX920" fmla="*/ 2231071 w 2663946"/>
                <a:gd name="connsiteY920" fmla="*/ 132774 h 410858"/>
                <a:gd name="connsiteX921" fmla="*/ 2233283 w 2663946"/>
                <a:gd name="connsiteY921" fmla="*/ 138182 h 410858"/>
                <a:gd name="connsiteX922" fmla="*/ 2234266 w 2663946"/>
                <a:gd name="connsiteY922" fmla="*/ 141697 h 410858"/>
                <a:gd name="connsiteX923" fmla="*/ 2235250 w 2663946"/>
                <a:gd name="connsiteY923" fmla="*/ 146834 h 410858"/>
                <a:gd name="connsiteX924" fmla="*/ 2235004 w 2663946"/>
                <a:gd name="connsiteY924" fmla="*/ 161164 h 410858"/>
                <a:gd name="connsiteX925" fmla="*/ 2234021 w 2663946"/>
                <a:gd name="connsiteY925" fmla="*/ 166031 h 410858"/>
                <a:gd name="connsiteX926" fmla="*/ 2232791 w 2663946"/>
                <a:gd name="connsiteY926" fmla="*/ 169816 h 410858"/>
                <a:gd name="connsiteX927" fmla="*/ 2231808 w 2663946"/>
                <a:gd name="connsiteY927" fmla="*/ 172250 h 410858"/>
                <a:gd name="connsiteX928" fmla="*/ 2229596 w 2663946"/>
                <a:gd name="connsiteY928" fmla="*/ 176576 h 410858"/>
                <a:gd name="connsiteX929" fmla="*/ 2227384 w 2663946"/>
                <a:gd name="connsiteY929" fmla="*/ 179820 h 410858"/>
                <a:gd name="connsiteX930" fmla="*/ 2223943 w 2663946"/>
                <a:gd name="connsiteY930" fmla="*/ 183606 h 410858"/>
                <a:gd name="connsiteX931" fmla="*/ 2220747 w 2663946"/>
                <a:gd name="connsiteY931" fmla="*/ 186309 h 410858"/>
                <a:gd name="connsiteX932" fmla="*/ 2215094 w 2663946"/>
                <a:gd name="connsiteY932" fmla="*/ 189554 h 410858"/>
                <a:gd name="connsiteX933" fmla="*/ 2207228 w 2663946"/>
                <a:gd name="connsiteY933" fmla="*/ 191717 h 410858"/>
                <a:gd name="connsiteX934" fmla="*/ 2205999 w 2663946"/>
                <a:gd name="connsiteY934" fmla="*/ 191988 h 410858"/>
                <a:gd name="connsiteX935" fmla="*/ 2201820 w 2663946"/>
                <a:gd name="connsiteY935" fmla="*/ 191988 h 410858"/>
                <a:gd name="connsiteX936" fmla="*/ 2201575 w 2663946"/>
                <a:gd name="connsiteY936" fmla="*/ 191988 h 410858"/>
                <a:gd name="connsiteX937" fmla="*/ 2188547 w 2663946"/>
                <a:gd name="connsiteY937" fmla="*/ 187121 h 410858"/>
                <a:gd name="connsiteX938" fmla="*/ 2183877 w 2663946"/>
                <a:gd name="connsiteY938" fmla="*/ 183065 h 410858"/>
                <a:gd name="connsiteX939" fmla="*/ 2180681 w 2663946"/>
                <a:gd name="connsiteY939" fmla="*/ 179280 h 410858"/>
                <a:gd name="connsiteX940" fmla="*/ 2178469 w 2663946"/>
                <a:gd name="connsiteY940" fmla="*/ 175765 h 410858"/>
                <a:gd name="connsiteX941" fmla="*/ 2176257 w 2663946"/>
                <a:gd name="connsiteY941" fmla="*/ 171439 h 410858"/>
                <a:gd name="connsiteX942" fmla="*/ 2175028 w 2663946"/>
                <a:gd name="connsiteY942" fmla="*/ 168464 h 410858"/>
                <a:gd name="connsiteX943" fmla="*/ 2174045 w 2663946"/>
                <a:gd name="connsiteY943" fmla="*/ 165220 h 410858"/>
                <a:gd name="connsiteX944" fmla="*/ 2172815 w 2663946"/>
                <a:gd name="connsiteY944" fmla="*/ 159542 h 410858"/>
                <a:gd name="connsiteX945" fmla="*/ 2172570 w 2663946"/>
                <a:gd name="connsiteY945" fmla="*/ 156568 h 410858"/>
                <a:gd name="connsiteX946" fmla="*/ 2172815 w 2663946"/>
                <a:gd name="connsiteY946" fmla="*/ 156838 h 410858"/>
                <a:gd name="connsiteX947" fmla="*/ 2172815 w 2663946"/>
                <a:gd name="connsiteY947" fmla="*/ 151160 h 410858"/>
                <a:gd name="connsiteX948" fmla="*/ 2172815 w 2663946"/>
                <a:gd name="connsiteY948" fmla="*/ 150890 h 410858"/>
                <a:gd name="connsiteX949" fmla="*/ 2173307 w 2663946"/>
                <a:gd name="connsiteY949" fmla="*/ 146293 h 410858"/>
                <a:gd name="connsiteX950" fmla="*/ 2174536 w 2663946"/>
                <a:gd name="connsiteY950" fmla="*/ 140886 h 410858"/>
                <a:gd name="connsiteX951" fmla="*/ 2175519 w 2663946"/>
                <a:gd name="connsiteY951" fmla="*/ 137641 h 410858"/>
                <a:gd name="connsiteX952" fmla="*/ 2177731 w 2663946"/>
                <a:gd name="connsiteY952" fmla="*/ 132504 h 410858"/>
                <a:gd name="connsiteX953" fmla="*/ 2179944 w 2663946"/>
                <a:gd name="connsiteY953" fmla="*/ 128719 h 410858"/>
                <a:gd name="connsiteX954" fmla="*/ 2182156 w 2663946"/>
                <a:gd name="connsiteY954" fmla="*/ 125744 h 410858"/>
                <a:gd name="connsiteX955" fmla="*/ 2184368 w 2663946"/>
                <a:gd name="connsiteY955" fmla="*/ 123311 h 410858"/>
                <a:gd name="connsiteX956" fmla="*/ 2189038 w 2663946"/>
                <a:gd name="connsiteY956" fmla="*/ 119526 h 410858"/>
                <a:gd name="connsiteX957" fmla="*/ 2192971 w 2663946"/>
                <a:gd name="connsiteY957" fmla="*/ 117363 h 410858"/>
                <a:gd name="connsiteX958" fmla="*/ 2202558 w 2663946"/>
                <a:gd name="connsiteY958" fmla="*/ 114929 h 410858"/>
                <a:gd name="connsiteX959" fmla="*/ 2020607 w 2663946"/>
                <a:gd name="connsiteY959" fmla="*/ 114929 h 410858"/>
                <a:gd name="connsiteX960" fmla="*/ 2032897 w 2663946"/>
                <a:gd name="connsiteY960" fmla="*/ 117092 h 410858"/>
                <a:gd name="connsiteX961" fmla="*/ 2040271 w 2663946"/>
                <a:gd name="connsiteY961" fmla="*/ 121689 h 410858"/>
                <a:gd name="connsiteX962" fmla="*/ 2043712 w 2663946"/>
                <a:gd name="connsiteY962" fmla="*/ 124933 h 410858"/>
                <a:gd name="connsiteX963" fmla="*/ 2047154 w 2663946"/>
                <a:gd name="connsiteY963" fmla="*/ 129259 h 410858"/>
                <a:gd name="connsiteX964" fmla="*/ 2049120 w 2663946"/>
                <a:gd name="connsiteY964" fmla="*/ 132774 h 410858"/>
                <a:gd name="connsiteX965" fmla="*/ 2051332 w 2663946"/>
                <a:gd name="connsiteY965" fmla="*/ 138182 h 410858"/>
                <a:gd name="connsiteX966" fmla="*/ 2052315 w 2663946"/>
                <a:gd name="connsiteY966" fmla="*/ 141697 h 410858"/>
                <a:gd name="connsiteX967" fmla="*/ 2053299 w 2663946"/>
                <a:gd name="connsiteY967" fmla="*/ 146834 h 410858"/>
                <a:gd name="connsiteX968" fmla="*/ 2053053 w 2663946"/>
                <a:gd name="connsiteY968" fmla="*/ 161164 h 410858"/>
                <a:gd name="connsiteX969" fmla="*/ 2052070 w 2663946"/>
                <a:gd name="connsiteY969" fmla="*/ 166031 h 410858"/>
                <a:gd name="connsiteX970" fmla="*/ 2050840 w 2663946"/>
                <a:gd name="connsiteY970" fmla="*/ 169816 h 410858"/>
                <a:gd name="connsiteX971" fmla="*/ 2049857 w 2663946"/>
                <a:gd name="connsiteY971" fmla="*/ 172250 h 410858"/>
                <a:gd name="connsiteX972" fmla="*/ 2047645 w 2663946"/>
                <a:gd name="connsiteY972" fmla="*/ 176576 h 410858"/>
                <a:gd name="connsiteX973" fmla="*/ 2045433 w 2663946"/>
                <a:gd name="connsiteY973" fmla="*/ 179820 h 410858"/>
                <a:gd name="connsiteX974" fmla="*/ 2041992 w 2663946"/>
                <a:gd name="connsiteY974" fmla="*/ 183606 h 410858"/>
                <a:gd name="connsiteX975" fmla="*/ 2038796 w 2663946"/>
                <a:gd name="connsiteY975" fmla="*/ 186309 h 410858"/>
                <a:gd name="connsiteX976" fmla="*/ 2033143 w 2663946"/>
                <a:gd name="connsiteY976" fmla="*/ 189554 h 410858"/>
                <a:gd name="connsiteX977" fmla="*/ 2025277 w 2663946"/>
                <a:gd name="connsiteY977" fmla="*/ 191717 h 410858"/>
                <a:gd name="connsiteX978" fmla="*/ 2024048 w 2663946"/>
                <a:gd name="connsiteY978" fmla="*/ 191988 h 410858"/>
                <a:gd name="connsiteX979" fmla="*/ 2019869 w 2663946"/>
                <a:gd name="connsiteY979" fmla="*/ 191988 h 410858"/>
                <a:gd name="connsiteX980" fmla="*/ 2019624 w 2663946"/>
                <a:gd name="connsiteY980" fmla="*/ 191988 h 410858"/>
                <a:gd name="connsiteX981" fmla="*/ 2006596 w 2663946"/>
                <a:gd name="connsiteY981" fmla="*/ 187121 h 410858"/>
                <a:gd name="connsiteX982" fmla="*/ 2001926 w 2663946"/>
                <a:gd name="connsiteY982" fmla="*/ 183065 h 410858"/>
                <a:gd name="connsiteX983" fmla="*/ 1998730 w 2663946"/>
                <a:gd name="connsiteY983" fmla="*/ 179280 h 410858"/>
                <a:gd name="connsiteX984" fmla="*/ 1996518 w 2663946"/>
                <a:gd name="connsiteY984" fmla="*/ 175765 h 410858"/>
                <a:gd name="connsiteX985" fmla="*/ 1994306 w 2663946"/>
                <a:gd name="connsiteY985" fmla="*/ 171439 h 410858"/>
                <a:gd name="connsiteX986" fmla="*/ 1993077 w 2663946"/>
                <a:gd name="connsiteY986" fmla="*/ 168464 h 410858"/>
                <a:gd name="connsiteX987" fmla="*/ 1992094 w 2663946"/>
                <a:gd name="connsiteY987" fmla="*/ 165220 h 410858"/>
                <a:gd name="connsiteX988" fmla="*/ 1990864 w 2663946"/>
                <a:gd name="connsiteY988" fmla="*/ 159542 h 410858"/>
                <a:gd name="connsiteX989" fmla="*/ 1990619 w 2663946"/>
                <a:gd name="connsiteY989" fmla="*/ 156568 h 410858"/>
                <a:gd name="connsiteX990" fmla="*/ 1990864 w 2663946"/>
                <a:gd name="connsiteY990" fmla="*/ 156838 h 410858"/>
                <a:gd name="connsiteX991" fmla="*/ 1990864 w 2663946"/>
                <a:gd name="connsiteY991" fmla="*/ 151160 h 410858"/>
                <a:gd name="connsiteX992" fmla="*/ 1990864 w 2663946"/>
                <a:gd name="connsiteY992" fmla="*/ 150890 h 410858"/>
                <a:gd name="connsiteX993" fmla="*/ 1991356 w 2663946"/>
                <a:gd name="connsiteY993" fmla="*/ 146293 h 410858"/>
                <a:gd name="connsiteX994" fmla="*/ 1992585 w 2663946"/>
                <a:gd name="connsiteY994" fmla="*/ 140886 h 410858"/>
                <a:gd name="connsiteX995" fmla="*/ 1993568 w 2663946"/>
                <a:gd name="connsiteY995" fmla="*/ 137641 h 410858"/>
                <a:gd name="connsiteX996" fmla="*/ 1995780 w 2663946"/>
                <a:gd name="connsiteY996" fmla="*/ 132504 h 410858"/>
                <a:gd name="connsiteX997" fmla="*/ 1997993 w 2663946"/>
                <a:gd name="connsiteY997" fmla="*/ 128719 h 410858"/>
                <a:gd name="connsiteX998" fmla="*/ 2000205 w 2663946"/>
                <a:gd name="connsiteY998" fmla="*/ 125744 h 410858"/>
                <a:gd name="connsiteX999" fmla="*/ 2002417 w 2663946"/>
                <a:gd name="connsiteY999" fmla="*/ 123311 h 410858"/>
                <a:gd name="connsiteX1000" fmla="*/ 2007087 w 2663946"/>
                <a:gd name="connsiteY1000" fmla="*/ 119526 h 410858"/>
                <a:gd name="connsiteX1001" fmla="*/ 2011020 w 2663946"/>
                <a:gd name="connsiteY1001" fmla="*/ 117363 h 410858"/>
                <a:gd name="connsiteX1002" fmla="*/ 2020607 w 2663946"/>
                <a:gd name="connsiteY1002" fmla="*/ 114929 h 410858"/>
                <a:gd name="connsiteX1003" fmla="*/ 1595683 w 2663946"/>
                <a:gd name="connsiteY1003" fmla="*/ 114929 h 410858"/>
                <a:gd name="connsiteX1004" fmla="*/ 1607973 w 2663946"/>
                <a:gd name="connsiteY1004" fmla="*/ 117092 h 410858"/>
                <a:gd name="connsiteX1005" fmla="*/ 1615347 w 2663946"/>
                <a:gd name="connsiteY1005" fmla="*/ 121689 h 410858"/>
                <a:gd name="connsiteX1006" fmla="*/ 1618788 w 2663946"/>
                <a:gd name="connsiteY1006" fmla="*/ 124933 h 410858"/>
                <a:gd name="connsiteX1007" fmla="*/ 1622230 w 2663946"/>
                <a:gd name="connsiteY1007" fmla="*/ 129259 h 410858"/>
                <a:gd name="connsiteX1008" fmla="*/ 1624196 w 2663946"/>
                <a:gd name="connsiteY1008" fmla="*/ 132774 h 410858"/>
                <a:gd name="connsiteX1009" fmla="*/ 1626408 w 2663946"/>
                <a:gd name="connsiteY1009" fmla="*/ 138182 h 410858"/>
                <a:gd name="connsiteX1010" fmla="*/ 1627391 w 2663946"/>
                <a:gd name="connsiteY1010" fmla="*/ 141697 h 410858"/>
                <a:gd name="connsiteX1011" fmla="*/ 1628374 w 2663946"/>
                <a:gd name="connsiteY1011" fmla="*/ 146834 h 410858"/>
                <a:gd name="connsiteX1012" fmla="*/ 1628129 w 2663946"/>
                <a:gd name="connsiteY1012" fmla="*/ 161164 h 410858"/>
                <a:gd name="connsiteX1013" fmla="*/ 1627146 w 2663946"/>
                <a:gd name="connsiteY1013" fmla="*/ 166031 h 410858"/>
                <a:gd name="connsiteX1014" fmla="*/ 1625916 w 2663946"/>
                <a:gd name="connsiteY1014" fmla="*/ 169816 h 410858"/>
                <a:gd name="connsiteX1015" fmla="*/ 1624933 w 2663946"/>
                <a:gd name="connsiteY1015" fmla="*/ 172250 h 410858"/>
                <a:gd name="connsiteX1016" fmla="*/ 1622721 w 2663946"/>
                <a:gd name="connsiteY1016" fmla="*/ 176576 h 410858"/>
                <a:gd name="connsiteX1017" fmla="*/ 1620509 w 2663946"/>
                <a:gd name="connsiteY1017" fmla="*/ 179820 h 410858"/>
                <a:gd name="connsiteX1018" fmla="*/ 1617068 w 2663946"/>
                <a:gd name="connsiteY1018" fmla="*/ 183606 h 410858"/>
                <a:gd name="connsiteX1019" fmla="*/ 1613872 w 2663946"/>
                <a:gd name="connsiteY1019" fmla="*/ 186309 h 410858"/>
                <a:gd name="connsiteX1020" fmla="*/ 1608219 w 2663946"/>
                <a:gd name="connsiteY1020" fmla="*/ 189554 h 410858"/>
                <a:gd name="connsiteX1021" fmla="*/ 1600353 w 2663946"/>
                <a:gd name="connsiteY1021" fmla="*/ 191717 h 410858"/>
                <a:gd name="connsiteX1022" fmla="*/ 1599124 w 2663946"/>
                <a:gd name="connsiteY1022" fmla="*/ 191988 h 410858"/>
                <a:gd name="connsiteX1023" fmla="*/ 1594945 w 2663946"/>
                <a:gd name="connsiteY1023" fmla="*/ 191988 h 410858"/>
                <a:gd name="connsiteX1024" fmla="*/ 1594699 w 2663946"/>
                <a:gd name="connsiteY1024" fmla="*/ 191988 h 410858"/>
                <a:gd name="connsiteX1025" fmla="*/ 1581672 w 2663946"/>
                <a:gd name="connsiteY1025" fmla="*/ 187121 h 410858"/>
                <a:gd name="connsiteX1026" fmla="*/ 1577002 w 2663946"/>
                <a:gd name="connsiteY1026" fmla="*/ 183065 h 410858"/>
                <a:gd name="connsiteX1027" fmla="*/ 1573806 w 2663946"/>
                <a:gd name="connsiteY1027" fmla="*/ 179280 h 410858"/>
                <a:gd name="connsiteX1028" fmla="*/ 1571594 w 2663946"/>
                <a:gd name="connsiteY1028" fmla="*/ 175765 h 410858"/>
                <a:gd name="connsiteX1029" fmla="*/ 1569382 w 2663946"/>
                <a:gd name="connsiteY1029" fmla="*/ 171439 h 410858"/>
                <a:gd name="connsiteX1030" fmla="*/ 1568153 w 2663946"/>
                <a:gd name="connsiteY1030" fmla="*/ 168464 h 410858"/>
                <a:gd name="connsiteX1031" fmla="*/ 1567169 w 2663946"/>
                <a:gd name="connsiteY1031" fmla="*/ 165220 h 410858"/>
                <a:gd name="connsiteX1032" fmla="*/ 1565940 w 2663946"/>
                <a:gd name="connsiteY1032" fmla="*/ 159542 h 410858"/>
                <a:gd name="connsiteX1033" fmla="*/ 1565695 w 2663946"/>
                <a:gd name="connsiteY1033" fmla="*/ 156568 h 410858"/>
                <a:gd name="connsiteX1034" fmla="*/ 1565940 w 2663946"/>
                <a:gd name="connsiteY1034" fmla="*/ 156838 h 410858"/>
                <a:gd name="connsiteX1035" fmla="*/ 1565940 w 2663946"/>
                <a:gd name="connsiteY1035" fmla="*/ 151160 h 410858"/>
                <a:gd name="connsiteX1036" fmla="*/ 1565940 w 2663946"/>
                <a:gd name="connsiteY1036" fmla="*/ 150890 h 410858"/>
                <a:gd name="connsiteX1037" fmla="*/ 1566432 w 2663946"/>
                <a:gd name="connsiteY1037" fmla="*/ 146293 h 410858"/>
                <a:gd name="connsiteX1038" fmla="*/ 1567661 w 2663946"/>
                <a:gd name="connsiteY1038" fmla="*/ 140886 h 410858"/>
                <a:gd name="connsiteX1039" fmla="*/ 1568644 w 2663946"/>
                <a:gd name="connsiteY1039" fmla="*/ 137641 h 410858"/>
                <a:gd name="connsiteX1040" fmla="*/ 1570856 w 2663946"/>
                <a:gd name="connsiteY1040" fmla="*/ 132504 h 410858"/>
                <a:gd name="connsiteX1041" fmla="*/ 1573069 w 2663946"/>
                <a:gd name="connsiteY1041" fmla="*/ 128719 h 410858"/>
                <a:gd name="connsiteX1042" fmla="*/ 1575281 w 2663946"/>
                <a:gd name="connsiteY1042" fmla="*/ 125744 h 410858"/>
                <a:gd name="connsiteX1043" fmla="*/ 1577493 w 2663946"/>
                <a:gd name="connsiteY1043" fmla="*/ 123311 h 410858"/>
                <a:gd name="connsiteX1044" fmla="*/ 1582163 w 2663946"/>
                <a:gd name="connsiteY1044" fmla="*/ 119526 h 410858"/>
                <a:gd name="connsiteX1045" fmla="*/ 1586096 w 2663946"/>
                <a:gd name="connsiteY1045" fmla="*/ 117363 h 410858"/>
                <a:gd name="connsiteX1046" fmla="*/ 1595683 w 2663946"/>
                <a:gd name="connsiteY1046" fmla="*/ 114929 h 410858"/>
                <a:gd name="connsiteX1047" fmla="*/ 1246776 w 2663946"/>
                <a:gd name="connsiteY1047" fmla="*/ 114929 h 410858"/>
                <a:gd name="connsiteX1048" fmla="*/ 1259066 w 2663946"/>
                <a:gd name="connsiteY1048" fmla="*/ 117092 h 410858"/>
                <a:gd name="connsiteX1049" fmla="*/ 1266440 w 2663946"/>
                <a:gd name="connsiteY1049" fmla="*/ 121689 h 410858"/>
                <a:gd name="connsiteX1050" fmla="*/ 1269881 w 2663946"/>
                <a:gd name="connsiteY1050" fmla="*/ 124933 h 410858"/>
                <a:gd name="connsiteX1051" fmla="*/ 1273323 w 2663946"/>
                <a:gd name="connsiteY1051" fmla="*/ 129259 h 410858"/>
                <a:gd name="connsiteX1052" fmla="*/ 1275289 w 2663946"/>
                <a:gd name="connsiteY1052" fmla="*/ 132774 h 410858"/>
                <a:gd name="connsiteX1053" fmla="*/ 1277501 w 2663946"/>
                <a:gd name="connsiteY1053" fmla="*/ 138182 h 410858"/>
                <a:gd name="connsiteX1054" fmla="*/ 1278484 w 2663946"/>
                <a:gd name="connsiteY1054" fmla="*/ 141697 h 410858"/>
                <a:gd name="connsiteX1055" fmla="*/ 1279467 w 2663946"/>
                <a:gd name="connsiteY1055" fmla="*/ 146834 h 410858"/>
                <a:gd name="connsiteX1056" fmla="*/ 1279222 w 2663946"/>
                <a:gd name="connsiteY1056" fmla="*/ 161164 h 410858"/>
                <a:gd name="connsiteX1057" fmla="*/ 1278239 w 2663946"/>
                <a:gd name="connsiteY1057" fmla="*/ 166031 h 410858"/>
                <a:gd name="connsiteX1058" fmla="*/ 1277009 w 2663946"/>
                <a:gd name="connsiteY1058" fmla="*/ 169816 h 410858"/>
                <a:gd name="connsiteX1059" fmla="*/ 1276026 w 2663946"/>
                <a:gd name="connsiteY1059" fmla="*/ 172250 h 410858"/>
                <a:gd name="connsiteX1060" fmla="*/ 1273814 w 2663946"/>
                <a:gd name="connsiteY1060" fmla="*/ 176576 h 410858"/>
                <a:gd name="connsiteX1061" fmla="*/ 1271602 w 2663946"/>
                <a:gd name="connsiteY1061" fmla="*/ 179820 h 410858"/>
                <a:gd name="connsiteX1062" fmla="*/ 1268161 w 2663946"/>
                <a:gd name="connsiteY1062" fmla="*/ 183606 h 410858"/>
                <a:gd name="connsiteX1063" fmla="*/ 1264965 w 2663946"/>
                <a:gd name="connsiteY1063" fmla="*/ 186309 h 410858"/>
                <a:gd name="connsiteX1064" fmla="*/ 1259312 w 2663946"/>
                <a:gd name="connsiteY1064" fmla="*/ 189554 h 410858"/>
                <a:gd name="connsiteX1065" fmla="*/ 1251446 w 2663946"/>
                <a:gd name="connsiteY1065" fmla="*/ 191717 h 410858"/>
                <a:gd name="connsiteX1066" fmla="*/ 1250217 w 2663946"/>
                <a:gd name="connsiteY1066" fmla="*/ 191988 h 410858"/>
                <a:gd name="connsiteX1067" fmla="*/ 1246038 w 2663946"/>
                <a:gd name="connsiteY1067" fmla="*/ 191988 h 410858"/>
                <a:gd name="connsiteX1068" fmla="*/ 1245792 w 2663946"/>
                <a:gd name="connsiteY1068" fmla="*/ 191988 h 410858"/>
                <a:gd name="connsiteX1069" fmla="*/ 1232765 w 2663946"/>
                <a:gd name="connsiteY1069" fmla="*/ 187121 h 410858"/>
                <a:gd name="connsiteX1070" fmla="*/ 1228095 w 2663946"/>
                <a:gd name="connsiteY1070" fmla="*/ 183065 h 410858"/>
                <a:gd name="connsiteX1071" fmla="*/ 1224899 w 2663946"/>
                <a:gd name="connsiteY1071" fmla="*/ 179280 h 410858"/>
                <a:gd name="connsiteX1072" fmla="*/ 1222687 w 2663946"/>
                <a:gd name="connsiteY1072" fmla="*/ 175765 h 410858"/>
                <a:gd name="connsiteX1073" fmla="*/ 1220475 w 2663946"/>
                <a:gd name="connsiteY1073" fmla="*/ 171439 h 410858"/>
                <a:gd name="connsiteX1074" fmla="*/ 1219246 w 2663946"/>
                <a:gd name="connsiteY1074" fmla="*/ 168464 h 410858"/>
                <a:gd name="connsiteX1075" fmla="*/ 1218262 w 2663946"/>
                <a:gd name="connsiteY1075" fmla="*/ 165220 h 410858"/>
                <a:gd name="connsiteX1076" fmla="*/ 1217033 w 2663946"/>
                <a:gd name="connsiteY1076" fmla="*/ 159542 h 410858"/>
                <a:gd name="connsiteX1077" fmla="*/ 1216788 w 2663946"/>
                <a:gd name="connsiteY1077" fmla="*/ 156568 h 410858"/>
                <a:gd name="connsiteX1078" fmla="*/ 1217033 w 2663946"/>
                <a:gd name="connsiteY1078" fmla="*/ 156838 h 410858"/>
                <a:gd name="connsiteX1079" fmla="*/ 1217033 w 2663946"/>
                <a:gd name="connsiteY1079" fmla="*/ 151160 h 410858"/>
                <a:gd name="connsiteX1080" fmla="*/ 1217033 w 2663946"/>
                <a:gd name="connsiteY1080" fmla="*/ 150890 h 410858"/>
                <a:gd name="connsiteX1081" fmla="*/ 1217525 w 2663946"/>
                <a:gd name="connsiteY1081" fmla="*/ 146293 h 410858"/>
                <a:gd name="connsiteX1082" fmla="*/ 1218754 w 2663946"/>
                <a:gd name="connsiteY1082" fmla="*/ 140886 h 410858"/>
                <a:gd name="connsiteX1083" fmla="*/ 1219737 w 2663946"/>
                <a:gd name="connsiteY1083" fmla="*/ 137641 h 410858"/>
                <a:gd name="connsiteX1084" fmla="*/ 1221949 w 2663946"/>
                <a:gd name="connsiteY1084" fmla="*/ 132504 h 410858"/>
                <a:gd name="connsiteX1085" fmla="*/ 1224162 w 2663946"/>
                <a:gd name="connsiteY1085" fmla="*/ 128719 h 410858"/>
                <a:gd name="connsiteX1086" fmla="*/ 1226374 w 2663946"/>
                <a:gd name="connsiteY1086" fmla="*/ 125744 h 410858"/>
                <a:gd name="connsiteX1087" fmla="*/ 1228586 w 2663946"/>
                <a:gd name="connsiteY1087" fmla="*/ 123311 h 410858"/>
                <a:gd name="connsiteX1088" fmla="*/ 1233256 w 2663946"/>
                <a:gd name="connsiteY1088" fmla="*/ 119526 h 410858"/>
                <a:gd name="connsiteX1089" fmla="*/ 1237189 w 2663946"/>
                <a:gd name="connsiteY1089" fmla="*/ 117363 h 410858"/>
                <a:gd name="connsiteX1090" fmla="*/ 1246776 w 2663946"/>
                <a:gd name="connsiteY1090" fmla="*/ 114929 h 410858"/>
                <a:gd name="connsiteX1091" fmla="*/ 1064825 w 2663946"/>
                <a:gd name="connsiteY1091" fmla="*/ 114929 h 410858"/>
                <a:gd name="connsiteX1092" fmla="*/ 1077115 w 2663946"/>
                <a:gd name="connsiteY1092" fmla="*/ 117092 h 410858"/>
                <a:gd name="connsiteX1093" fmla="*/ 1084489 w 2663946"/>
                <a:gd name="connsiteY1093" fmla="*/ 121689 h 410858"/>
                <a:gd name="connsiteX1094" fmla="*/ 1087930 w 2663946"/>
                <a:gd name="connsiteY1094" fmla="*/ 124933 h 410858"/>
                <a:gd name="connsiteX1095" fmla="*/ 1091372 w 2663946"/>
                <a:gd name="connsiteY1095" fmla="*/ 129259 h 410858"/>
                <a:gd name="connsiteX1096" fmla="*/ 1093338 w 2663946"/>
                <a:gd name="connsiteY1096" fmla="*/ 132774 h 410858"/>
                <a:gd name="connsiteX1097" fmla="*/ 1095550 w 2663946"/>
                <a:gd name="connsiteY1097" fmla="*/ 138182 h 410858"/>
                <a:gd name="connsiteX1098" fmla="*/ 1096533 w 2663946"/>
                <a:gd name="connsiteY1098" fmla="*/ 141697 h 410858"/>
                <a:gd name="connsiteX1099" fmla="*/ 1097516 w 2663946"/>
                <a:gd name="connsiteY1099" fmla="*/ 146834 h 410858"/>
                <a:gd name="connsiteX1100" fmla="*/ 1097271 w 2663946"/>
                <a:gd name="connsiteY1100" fmla="*/ 161164 h 410858"/>
                <a:gd name="connsiteX1101" fmla="*/ 1096288 w 2663946"/>
                <a:gd name="connsiteY1101" fmla="*/ 166031 h 410858"/>
                <a:gd name="connsiteX1102" fmla="*/ 1095058 w 2663946"/>
                <a:gd name="connsiteY1102" fmla="*/ 169816 h 410858"/>
                <a:gd name="connsiteX1103" fmla="*/ 1094075 w 2663946"/>
                <a:gd name="connsiteY1103" fmla="*/ 172250 h 410858"/>
                <a:gd name="connsiteX1104" fmla="*/ 1091863 w 2663946"/>
                <a:gd name="connsiteY1104" fmla="*/ 176576 h 410858"/>
                <a:gd name="connsiteX1105" fmla="*/ 1089651 w 2663946"/>
                <a:gd name="connsiteY1105" fmla="*/ 179820 h 410858"/>
                <a:gd name="connsiteX1106" fmla="*/ 1086210 w 2663946"/>
                <a:gd name="connsiteY1106" fmla="*/ 183606 h 410858"/>
                <a:gd name="connsiteX1107" fmla="*/ 1083014 w 2663946"/>
                <a:gd name="connsiteY1107" fmla="*/ 186309 h 410858"/>
                <a:gd name="connsiteX1108" fmla="*/ 1077361 w 2663946"/>
                <a:gd name="connsiteY1108" fmla="*/ 189554 h 410858"/>
                <a:gd name="connsiteX1109" fmla="*/ 1069495 w 2663946"/>
                <a:gd name="connsiteY1109" fmla="*/ 191717 h 410858"/>
                <a:gd name="connsiteX1110" fmla="*/ 1068266 w 2663946"/>
                <a:gd name="connsiteY1110" fmla="*/ 191988 h 410858"/>
                <a:gd name="connsiteX1111" fmla="*/ 1064087 w 2663946"/>
                <a:gd name="connsiteY1111" fmla="*/ 191988 h 410858"/>
                <a:gd name="connsiteX1112" fmla="*/ 1063841 w 2663946"/>
                <a:gd name="connsiteY1112" fmla="*/ 191988 h 410858"/>
                <a:gd name="connsiteX1113" fmla="*/ 1050814 w 2663946"/>
                <a:gd name="connsiteY1113" fmla="*/ 187121 h 410858"/>
                <a:gd name="connsiteX1114" fmla="*/ 1046144 w 2663946"/>
                <a:gd name="connsiteY1114" fmla="*/ 183065 h 410858"/>
                <a:gd name="connsiteX1115" fmla="*/ 1042948 w 2663946"/>
                <a:gd name="connsiteY1115" fmla="*/ 179280 h 410858"/>
                <a:gd name="connsiteX1116" fmla="*/ 1040736 w 2663946"/>
                <a:gd name="connsiteY1116" fmla="*/ 175765 h 410858"/>
                <a:gd name="connsiteX1117" fmla="*/ 1038524 w 2663946"/>
                <a:gd name="connsiteY1117" fmla="*/ 171439 h 410858"/>
                <a:gd name="connsiteX1118" fmla="*/ 1037295 w 2663946"/>
                <a:gd name="connsiteY1118" fmla="*/ 168464 h 410858"/>
                <a:gd name="connsiteX1119" fmla="*/ 1036311 w 2663946"/>
                <a:gd name="connsiteY1119" fmla="*/ 165220 h 410858"/>
                <a:gd name="connsiteX1120" fmla="*/ 1035082 w 2663946"/>
                <a:gd name="connsiteY1120" fmla="*/ 159542 h 410858"/>
                <a:gd name="connsiteX1121" fmla="*/ 1034837 w 2663946"/>
                <a:gd name="connsiteY1121" fmla="*/ 156568 h 410858"/>
                <a:gd name="connsiteX1122" fmla="*/ 1035082 w 2663946"/>
                <a:gd name="connsiteY1122" fmla="*/ 156838 h 410858"/>
                <a:gd name="connsiteX1123" fmla="*/ 1035082 w 2663946"/>
                <a:gd name="connsiteY1123" fmla="*/ 151160 h 410858"/>
                <a:gd name="connsiteX1124" fmla="*/ 1035082 w 2663946"/>
                <a:gd name="connsiteY1124" fmla="*/ 150890 h 410858"/>
                <a:gd name="connsiteX1125" fmla="*/ 1035574 w 2663946"/>
                <a:gd name="connsiteY1125" fmla="*/ 146293 h 410858"/>
                <a:gd name="connsiteX1126" fmla="*/ 1036803 w 2663946"/>
                <a:gd name="connsiteY1126" fmla="*/ 140886 h 410858"/>
                <a:gd name="connsiteX1127" fmla="*/ 1037786 w 2663946"/>
                <a:gd name="connsiteY1127" fmla="*/ 137641 h 410858"/>
                <a:gd name="connsiteX1128" fmla="*/ 1039998 w 2663946"/>
                <a:gd name="connsiteY1128" fmla="*/ 132504 h 410858"/>
                <a:gd name="connsiteX1129" fmla="*/ 1042211 w 2663946"/>
                <a:gd name="connsiteY1129" fmla="*/ 128719 h 410858"/>
                <a:gd name="connsiteX1130" fmla="*/ 1044423 w 2663946"/>
                <a:gd name="connsiteY1130" fmla="*/ 125744 h 410858"/>
                <a:gd name="connsiteX1131" fmla="*/ 1046635 w 2663946"/>
                <a:gd name="connsiteY1131" fmla="*/ 123311 h 410858"/>
                <a:gd name="connsiteX1132" fmla="*/ 1051305 w 2663946"/>
                <a:gd name="connsiteY1132" fmla="*/ 119526 h 410858"/>
                <a:gd name="connsiteX1133" fmla="*/ 1055238 w 2663946"/>
                <a:gd name="connsiteY1133" fmla="*/ 117363 h 410858"/>
                <a:gd name="connsiteX1134" fmla="*/ 1064825 w 2663946"/>
                <a:gd name="connsiteY1134" fmla="*/ 114929 h 410858"/>
                <a:gd name="connsiteX1135" fmla="*/ 897796 w 2663946"/>
                <a:gd name="connsiteY1135" fmla="*/ 114929 h 410858"/>
                <a:gd name="connsiteX1136" fmla="*/ 910086 w 2663946"/>
                <a:gd name="connsiteY1136" fmla="*/ 117092 h 410858"/>
                <a:gd name="connsiteX1137" fmla="*/ 917460 w 2663946"/>
                <a:gd name="connsiteY1137" fmla="*/ 121689 h 410858"/>
                <a:gd name="connsiteX1138" fmla="*/ 920901 w 2663946"/>
                <a:gd name="connsiteY1138" fmla="*/ 124933 h 410858"/>
                <a:gd name="connsiteX1139" fmla="*/ 924343 w 2663946"/>
                <a:gd name="connsiteY1139" fmla="*/ 129259 h 410858"/>
                <a:gd name="connsiteX1140" fmla="*/ 926309 w 2663946"/>
                <a:gd name="connsiteY1140" fmla="*/ 132774 h 410858"/>
                <a:gd name="connsiteX1141" fmla="*/ 928521 w 2663946"/>
                <a:gd name="connsiteY1141" fmla="*/ 138182 h 410858"/>
                <a:gd name="connsiteX1142" fmla="*/ 929504 w 2663946"/>
                <a:gd name="connsiteY1142" fmla="*/ 141697 h 410858"/>
                <a:gd name="connsiteX1143" fmla="*/ 930487 w 2663946"/>
                <a:gd name="connsiteY1143" fmla="*/ 146834 h 410858"/>
                <a:gd name="connsiteX1144" fmla="*/ 930242 w 2663946"/>
                <a:gd name="connsiteY1144" fmla="*/ 161164 h 410858"/>
                <a:gd name="connsiteX1145" fmla="*/ 929259 w 2663946"/>
                <a:gd name="connsiteY1145" fmla="*/ 166031 h 410858"/>
                <a:gd name="connsiteX1146" fmla="*/ 928029 w 2663946"/>
                <a:gd name="connsiteY1146" fmla="*/ 169816 h 410858"/>
                <a:gd name="connsiteX1147" fmla="*/ 927046 w 2663946"/>
                <a:gd name="connsiteY1147" fmla="*/ 172250 h 410858"/>
                <a:gd name="connsiteX1148" fmla="*/ 924834 w 2663946"/>
                <a:gd name="connsiteY1148" fmla="*/ 176576 h 410858"/>
                <a:gd name="connsiteX1149" fmla="*/ 922622 w 2663946"/>
                <a:gd name="connsiteY1149" fmla="*/ 179820 h 410858"/>
                <a:gd name="connsiteX1150" fmla="*/ 919181 w 2663946"/>
                <a:gd name="connsiteY1150" fmla="*/ 183606 h 410858"/>
                <a:gd name="connsiteX1151" fmla="*/ 915985 w 2663946"/>
                <a:gd name="connsiteY1151" fmla="*/ 186309 h 410858"/>
                <a:gd name="connsiteX1152" fmla="*/ 910332 w 2663946"/>
                <a:gd name="connsiteY1152" fmla="*/ 189554 h 410858"/>
                <a:gd name="connsiteX1153" fmla="*/ 902466 w 2663946"/>
                <a:gd name="connsiteY1153" fmla="*/ 191717 h 410858"/>
                <a:gd name="connsiteX1154" fmla="*/ 901237 w 2663946"/>
                <a:gd name="connsiteY1154" fmla="*/ 191988 h 410858"/>
                <a:gd name="connsiteX1155" fmla="*/ 897058 w 2663946"/>
                <a:gd name="connsiteY1155" fmla="*/ 191988 h 410858"/>
                <a:gd name="connsiteX1156" fmla="*/ 896812 w 2663946"/>
                <a:gd name="connsiteY1156" fmla="*/ 191988 h 410858"/>
                <a:gd name="connsiteX1157" fmla="*/ 883785 w 2663946"/>
                <a:gd name="connsiteY1157" fmla="*/ 187121 h 410858"/>
                <a:gd name="connsiteX1158" fmla="*/ 879115 w 2663946"/>
                <a:gd name="connsiteY1158" fmla="*/ 183065 h 410858"/>
                <a:gd name="connsiteX1159" fmla="*/ 875919 w 2663946"/>
                <a:gd name="connsiteY1159" fmla="*/ 179280 h 410858"/>
                <a:gd name="connsiteX1160" fmla="*/ 873707 w 2663946"/>
                <a:gd name="connsiteY1160" fmla="*/ 175765 h 410858"/>
                <a:gd name="connsiteX1161" fmla="*/ 871495 w 2663946"/>
                <a:gd name="connsiteY1161" fmla="*/ 171439 h 410858"/>
                <a:gd name="connsiteX1162" fmla="*/ 870266 w 2663946"/>
                <a:gd name="connsiteY1162" fmla="*/ 168464 h 410858"/>
                <a:gd name="connsiteX1163" fmla="*/ 869282 w 2663946"/>
                <a:gd name="connsiteY1163" fmla="*/ 165220 h 410858"/>
                <a:gd name="connsiteX1164" fmla="*/ 868053 w 2663946"/>
                <a:gd name="connsiteY1164" fmla="*/ 159542 h 410858"/>
                <a:gd name="connsiteX1165" fmla="*/ 867808 w 2663946"/>
                <a:gd name="connsiteY1165" fmla="*/ 156568 h 410858"/>
                <a:gd name="connsiteX1166" fmla="*/ 868053 w 2663946"/>
                <a:gd name="connsiteY1166" fmla="*/ 156838 h 410858"/>
                <a:gd name="connsiteX1167" fmla="*/ 868053 w 2663946"/>
                <a:gd name="connsiteY1167" fmla="*/ 151160 h 410858"/>
                <a:gd name="connsiteX1168" fmla="*/ 868053 w 2663946"/>
                <a:gd name="connsiteY1168" fmla="*/ 150890 h 410858"/>
                <a:gd name="connsiteX1169" fmla="*/ 868545 w 2663946"/>
                <a:gd name="connsiteY1169" fmla="*/ 146293 h 410858"/>
                <a:gd name="connsiteX1170" fmla="*/ 869774 w 2663946"/>
                <a:gd name="connsiteY1170" fmla="*/ 140886 h 410858"/>
                <a:gd name="connsiteX1171" fmla="*/ 870757 w 2663946"/>
                <a:gd name="connsiteY1171" fmla="*/ 137641 h 410858"/>
                <a:gd name="connsiteX1172" fmla="*/ 872969 w 2663946"/>
                <a:gd name="connsiteY1172" fmla="*/ 132504 h 410858"/>
                <a:gd name="connsiteX1173" fmla="*/ 875182 w 2663946"/>
                <a:gd name="connsiteY1173" fmla="*/ 128719 h 410858"/>
                <a:gd name="connsiteX1174" fmla="*/ 877394 w 2663946"/>
                <a:gd name="connsiteY1174" fmla="*/ 125744 h 410858"/>
                <a:gd name="connsiteX1175" fmla="*/ 879606 w 2663946"/>
                <a:gd name="connsiteY1175" fmla="*/ 123311 h 410858"/>
                <a:gd name="connsiteX1176" fmla="*/ 884276 w 2663946"/>
                <a:gd name="connsiteY1176" fmla="*/ 119526 h 410858"/>
                <a:gd name="connsiteX1177" fmla="*/ 888209 w 2663946"/>
                <a:gd name="connsiteY1177" fmla="*/ 117363 h 410858"/>
                <a:gd name="connsiteX1178" fmla="*/ 897796 w 2663946"/>
                <a:gd name="connsiteY1178" fmla="*/ 114929 h 410858"/>
                <a:gd name="connsiteX1179" fmla="*/ 548889 w 2663946"/>
                <a:gd name="connsiteY1179" fmla="*/ 114929 h 410858"/>
                <a:gd name="connsiteX1180" fmla="*/ 561180 w 2663946"/>
                <a:gd name="connsiteY1180" fmla="*/ 117092 h 410858"/>
                <a:gd name="connsiteX1181" fmla="*/ 568554 w 2663946"/>
                <a:gd name="connsiteY1181" fmla="*/ 121689 h 410858"/>
                <a:gd name="connsiteX1182" fmla="*/ 571995 w 2663946"/>
                <a:gd name="connsiteY1182" fmla="*/ 124933 h 410858"/>
                <a:gd name="connsiteX1183" fmla="*/ 575436 w 2663946"/>
                <a:gd name="connsiteY1183" fmla="*/ 129259 h 410858"/>
                <a:gd name="connsiteX1184" fmla="*/ 577403 w 2663946"/>
                <a:gd name="connsiteY1184" fmla="*/ 132774 h 410858"/>
                <a:gd name="connsiteX1185" fmla="*/ 579615 w 2663946"/>
                <a:gd name="connsiteY1185" fmla="*/ 138182 h 410858"/>
                <a:gd name="connsiteX1186" fmla="*/ 580598 w 2663946"/>
                <a:gd name="connsiteY1186" fmla="*/ 141697 h 410858"/>
                <a:gd name="connsiteX1187" fmla="*/ 581581 w 2663946"/>
                <a:gd name="connsiteY1187" fmla="*/ 146834 h 410858"/>
                <a:gd name="connsiteX1188" fmla="*/ 581336 w 2663946"/>
                <a:gd name="connsiteY1188" fmla="*/ 161164 h 410858"/>
                <a:gd name="connsiteX1189" fmla="*/ 580352 w 2663946"/>
                <a:gd name="connsiteY1189" fmla="*/ 166031 h 410858"/>
                <a:gd name="connsiteX1190" fmla="*/ 579123 w 2663946"/>
                <a:gd name="connsiteY1190" fmla="*/ 169816 h 410858"/>
                <a:gd name="connsiteX1191" fmla="*/ 578140 w 2663946"/>
                <a:gd name="connsiteY1191" fmla="*/ 172250 h 410858"/>
                <a:gd name="connsiteX1192" fmla="*/ 575928 w 2663946"/>
                <a:gd name="connsiteY1192" fmla="*/ 176576 h 410858"/>
                <a:gd name="connsiteX1193" fmla="*/ 573715 w 2663946"/>
                <a:gd name="connsiteY1193" fmla="*/ 179820 h 410858"/>
                <a:gd name="connsiteX1194" fmla="*/ 570274 w 2663946"/>
                <a:gd name="connsiteY1194" fmla="*/ 183606 h 410858"/>
                <a:gd name="connsiteX1195" fmla="*/ 567079 w 2663946"/>
                <a:gd name="connsiteY1195" fmla="*/ 186309 h 410858"/>
                <a:gd name="connsiteX1196" fmla="*/ 561425 w 2663946"/>
                <a:gd name="connsiteY1196" fmla="*/ 189554 h 410858"/>
                <a:gd name="connsiteX1197" fmla="*/ 553559 w 2663946"/>
                <a:gd name="connsiteY1197" fmla="*/ 191717 h 410858"/>
                <a:gd name="connsiteX1198" fmla="*/ 552331 w 2663946"/>
                <a:gd name="connsiteY1198" fmla="*/ 191988 h 410858"/>
                <a:gd name="connsiteX1199" fmla="*/ 548152 w 2663946"/>
                <a:gd name="connsiteY1199" fmla="*/ 191988 h 410858"/>
                <a:gd name="connsiteX1200" fmla="*/ 547906 w 2663946"/>
                <a:gd name="connsiteY1200" fmla="*/ 191988 h 410858"/>
                <a:gd name="connsiteX1201" fmla="*/ 534879 w 2663946"/>
                <a:gd name="connsiteY1201" fmla="*/ 187121 h 410858"/>
                <a:gd name="connsiteX1202" fmla="*/ 530208 w 2663946"/>
                <a:gd name="connsiteY1202" fmla="*/ 183065 h 410858"/>
                <a:gd name="connsiteX1203" fmla="*/ 527013 w 2663946"/>
                <a:gd name="connsiteY1203" fmla="*/ 179280 h 410858"/>
                <a:gd name="connsiteX1204" fmla="*/ 524801 w 2663946"/>
                <a:gd name="connsiteY1204" fmla="*/ 175765 h 410858"/>
                <a:gd name="connsiteX1205" fmla="*/ 522588 w 2663946"/>
                <a:gd name="connsiteY1205" fmla="*/ 171439 h 410858"/>
                <a:gd name="connsiteX1206" fmla="*/ 521359 w 2663946"/>
                <a:gd name="connsiteY1206" fmla="*/ 168464 h 410858"/>
                <a:gd name="connsiteX1207" fmla="*/ 520376 w 2663946"/>
                <a:gd name="connsiteY1207" fmla="*/ 165220 h 410858"/>
                <a:gd name="connsiteX1208" fmla="*/ 519147 w 2663946"/>
                <a:gd name="connsiteY1208" fmla="*/ 159542 h 410858"/>
                <a:gd name="connsiteX1209" fmla="*/ 518901 w 2663946"/>
                <a:gd name="connsiteY1209" fmla="*/ 156568 h 410858"/>
                <a:gd name="connsiteX1210" fmla="*/ 519147 w 2663946"/>
                <a:gd name="connsiteY1210" fmla="*/ 156838 h 410858"/>
                <a:gd name="connsiteX1211" fmla="*/ 519147 w 2663946"/>
                <a:gd name="connsiteY1211" fmla="*/ 151160 h 410858"/>
                <a:gd name="connsiteX1212" fmla="*/ 519147 w 2663946"/>
                <a:gd name="connsiteY1212" fmla="*/ 150890 h 410858"/>
                <a:gd name="connsiteX1213" fmla="*/ 519639 w 2663946"/>
                <a:gd name="connsiteY1213" fmla="*/ 146293 h 410858"/>
                <a:gd name="connsiteX1214" fmla="*/ 520868 w 2663946"/>
                <a:gd name="connsiteY1214" fmla="*/ 140886 h 410858"/>
                <a:gd name="connsiteX1215" fmla="*/ 521851 w 2663946"/>
                <a:gd name="connsiteY1215" fmla="*/ 137641 h 410858"/>
                <a:gd name="connsiteX1216" fmla="*/ 524063 w 2663946"/>
                <a:gd name="connsiteY1216" fmla="*/ 132504 h 410858"/>
                <a:gd name="connsiteX1217" fmla="*/ 526275 w 2663946"/>
                <a:gd name="connsiteY1217" fmla="*/ 128719 h 410858"/>
                <a:gd name="connsiteX1218" fmla="*/ 528488 w 2663946"/>
                <a:gd name="connsiteY1218" fmla="*/ 125744 h 410858"/>
                <a:gd name="connsiteX1219" fmla="*/ 530700 w 2663946"/>
                <a:gd name="connsiteY1219" fmla="*/ 123311 h 410858"/>
                <a:gd name="connsiteX1220" fmla="*/ 535370 w 2663946"/>
                <a:gd name="connsiteY1220" fmla="*/ 119526 h 410858"/>
                <a:gd name="connsiteX1221" fmla="*/ 539303 w 2663946"/>
                <a:gd name="connsiteY1221" fmla="*/ 117363 h 410858"/>
                <a:gd name="connsiteX1222" fmla="*/ 548889 w 2663946"/>
                <a:gd name="connsiteY1222" fmla="*/ 114929 h 410858"/>
                <a:gd name="connsiteX1223" fmla="*/ 366938 w 2663946"/>
                <a:gd name="connsiteY1223" fmla="*/ 114929 h 410858"/>
                <a:gd name="connsiteX1224" fmla="*/ 379228 w 2663946"/>
                <a:gd name="connsiteY1224" fmla="*/ 117092 h 410858"/>
                <a:gd name="connsiteX1225" fmla="*/ 386603 w 2663946"/>
                <a:gd name="connsiteY1225" fmla="*/ 121689 h 410858"/>
                <a:gd name="connsiteX1226" fmla="*/ 390044 w 2663946"/>
                <a:gd name="connsiteY1226" fmla="*/ 124933 h 410858"/>
                <a:gd name="connsiteX1227" fmla="*/ 393485 w 2663946"/>
                <a:gd name="connsiteY1227" fmla="*/ 129259 h 410858"/>
                <a:gd name="connsiteX1228" fmla="*/ 395452 w 2663946"/>
                <a:gd name="connsiteY1228" fmla="*/ 132774 h 410858"/>
                <a:gd name="connsiteX1229" fmla="*/ 397664 w 2663946"/>
                <a:gd name="connsiteY1229" fmla="*/ 138182 h 410858"/>
                <a:gd name="connsiteX1230" fmla="*/ 398647 w 2663946"/>
                <a:gd name="connsiteY1230" fmla="*/ 141697 h 410858"/>
                <a:gd name="connsiteX1231" fmla="*/ 399630 w 2663946"/>
                <a:gd name="connsiteY1231" fmla="*/ 146834 h 410858"/>
                <a:gd name="connsiteX1232" fmla="*/ 399384 w 2663946"/>
                <a:gd name="connsiteY1232" fmla="*/ 161164 h 410858"/>
                <a:gd name="connsiteX1233" fmla="*/ 398401 w 2663946"/>
                <a:gd name="connsiteY1233" fmla="*/ 166031 h 410858"/>
                <a:gd name="connsiteX1234" fmla="*/ 397172 w 2663946"/>
                <a:gd name="connsiteY1234" fmla="*/ 169816 h 410858"/>
                <a:gd name="connsiteX1235" fmla="*/ 396189 w 2663946"/>
                <a:gd name="connsiteY1235" fmla="*/ 172250 h 410858"/>
                <a:gd name="connsiteX1236" fmla="*/ 393977 w 2663946"/>
                <a:gd name="connsiteY1236" fmla="*/ 176576 h 410858"/>
                <a:gd name="connsiteX1237" fmla="*/ 391764 w 2663946"/>
                <a:gd name="connsiteY1237" fmla="*/ 179820 h 410858"/>
                <a:gd name="connsiteX1238" fmla="*/ 388323 w 2663946"/>
                <a:gd name="connsiteY1238" fmla="*/ 183606 h 410858"/>
                <a:gd name="connsiteX1239" fmla="*/ 385128 w 2663946"/>
                <a:gd name="connsiteY1239" fmla="*/ 186309 h 410858"/>
                <a:gd name="connsiteX1240" fmla="*/ 379474 w 2663946"/>
                <a:gd name="connsiteY1240" fmla="*/ 189554 h 410858"/>
                <a:gd name="connsiteX1241" fmla="*/ 371609 w 2663946"/>
                <a:gd name="connsiteY1241" fmla="*/ 191717 h 410858"/>
                <a:gd name="connsiteX1242" fmla="*/ 370380 w 2663946"/>
                <a:gd name="connsiteY1242" fmla="*/ 191988 h 410858"/>
                <a:gd name="connsiteX1243" fmla="*/ 366201 w 2663946"/>
                <a:gd name="connsiteY1243" fmla="*/ 191988 h 410858"/>
                <a:gd name="connsiteX1244" fmla="*/ 365955 w 2663946"/>
                <a:gd name="connsiteY1244" fmla="*/ 191988 h 410858"/>
                <a:gd name="connsiteX1245" fmla="*/ 352927 w 2663946"/>
                <a:gd name="connsiteY1245" fmla="*/ 187121 h 410858"/>
                <a:gd name="connsiteX1246" fmla="*/ 348257 w 2663946"/>
                <a:gd name="connsiteY1246" fmla="*/ 183065 h 410858"/>
                <a:gd name="connsiteX1247" fmla="*/ 345062 w 2663946"/>
                <a:gd name="connsiteY1247" fmla="*/ 179280 h 410858"/>
                <a:gd name="connsiteX1248" fmla="*/ 342850 w 2663946"/>
                <a:gd name="connsiteY1248" fmla="*/ 175765 h 410858"/>
                <a:gd name="connsiteX1249" fmla="*/ 340637 w 2663946"/>
                <a:gd name="connsiteY1249" fmla="*/ 171439 h 410858"/>
                <a:gd name="connsiteX1250" fmla="*/ 339408 w 2663946"/>
                <a:gd name="connsiteY1250" fmla="*/ 168464 h 410858"/>
                <a:gd name="connsiteX1251" fmla="*/ 338425 w 2663946"/>
                <a:gd name="connsiteY1251" fmla="*/ 165220 h 410858"/>
                <a:gd name="connsiteX1252" fmla="*/ 337196 w 2663946"/>
                <a:gd name="connsiteY1252" fmla="*/ 159542 h 410858"/>
                <a:gd name="connsiteX1253" fmla="*/ 336950 w 2663946"/>
                <a:gd name="connsiteY1253" fmla="*/ 156568 h 410858"/>
                <a:gd name="connsiteX1254" fmla="*/ 337196 w 2663946"/>
                <a:gd name="connsiteY1254" fmla="*/ 156838 h 410858"/>
                <a:gd name="connsiteX1255" fmla="*/ 337196 w 2663946"/>
                <a:gd name="connsiteY1255" fmla="*/ 151160 h 410858"/>
                <a:gd name="connsiteX1256" fmla="*/ 337196 w 2663946"/>
                <a:gd name="connsiteY1256" fmla="*/ 150890 h 410858"/>
                <a:gd name="connsiteX1257" fmla="*/ 337687 w 2663946"/>
                <a:gd name="connsiteY1257" fmla="*/ 146293 h 410858"/>
                <a:gd name="connsiteX1258" fmla="*/ 338917 w 2663946"/>
                <a:gd name="connsiteY1258" fmla="*/ 140886 h 410858"/>
                <a:gd name="connsiteX1259" fmla="*/ 339900 w 2663946"/>
                <a:gd name="connsiteY1259" fmla="*/ 137641 h 410858"/>
                <a:gd name="connsiteX1260" fmla="*/ 342112 w 2663946"/>
                <a:gd name="connsiteY1260" fmla="*/ 132504 h 410858"/>
                <a:gd name="connsiteX1261" fmla="*/ 344324 w 2663946"/>
                <a:gd name="connsiteY1261" fmla="*/ 128719 h 410858"/>
                <a:gd name="connsiteX1262" fmla="*/ 346536 w 2663946"/>
                <a:gd name="connsiteY1262" fmla="*/ 125744 h 410858"/>
                <a:gd name="connsiteX1263" fmla="*/ 348749 w 2663946"/>
                <a:gd name="connsiteY1263" fmla="*/ 123311 h 410858"/>
                <a:gd name="connsiteX1264" fmla="*/ 353419 w 2663946"/>
                <a:gd name="connsiteY1264" fmla="*/ 119526 h 410858"/>
                <a:gd name="connsiteX1265" fmla="*/ 357352 w 2663946"/>
                <a:gd name="connsiteY1265" fmla="*/ 117363 h 410858"/>
                <a:gd name="connsiteX1266" fmla="*/ 366938 w 2663946"/>
                <a:gd name="connsiteY1266" fmla="*/ 114929 h 410858"/>
                <a:gd name="connsiteX1267" fmla="*/ 123893 w 2663946"/>
                <a:gd name="connsiteY1267" fmla="*/ 114929 h 410858"/>
                <a:gd name="connsiteX1268" fmla="*/ 136183 w 2663946"/>
                <a:gd name="connsiteY1268" fmla="*/ 117092 h 410858"/>
                <a:gd name="connsiteX1269" fmla="*/ 143557 w 2663946"/>
                <a:gd name="connsiteY1269" fmla="*/ 121689 h 410858"/>
                <a:gd name="connsiteX1270" fmla="*/ 146998 w 2663946"/>
                <a:gd name="connsiteY1270" fmla="*/ 124933 h 410858"/>
                <a:gd name="connsiteX1271" fmla="*/ 150439 w 2663946"/>
                <a:gd name="connsiteY1271" fmla="*/ 129259 h 410858"/>
                <a:gd name="connsiteX1272" fmla="*/ 152406 w 2663946"/>
                <a:gd name="connsiteY1272" fmla="*/ 132774 h 410858"/>
                <a:gd name="connsiteX1273" fmla="*/ 154618 w 2663946"/>
                <a:gd name="connsiteY1273" fmla="*/ 138182 h 410858"/>
                <a:gd name="connsiteX1274" fmla="*/ 155601 w 2663946"/>
                <a:gd name="connsiteY1274" fmla="*/ 141697 h 410858"/>
                <a:gd name="connsiteX1275" fmla="*/ 156584 w 2663946"/>
                <a:gd name="connsiteY1275" fmla="*/ 146834 h 410858"/>
                <a:gd name="connsiteX1276" fmla="*/ 156339 w 2663946"/>
                <a:gd name="connsiteY1276" fmla="*/ 161164 h 410858"/>
                <a:gd name="connsiteX1277" fmla="*/ 155355 w 2663946"/>
                <a:gd name="connsiteY1277" fmla="*/ 166031 h 410858"/>
                <a:gd name="connsiteX1278" fmla="*/ 154126 w 2663946"/>
                <a:gd name="connsiteY1278" fmla="*/ 169816 h 410858"/>
                <a:gd name="connsiteX1279" fmla="*/ 153143 w 2663946"/>
                <a:gd name="connsiteY1279" fmla="*/ 172250 h 410858"/>
                <a:gd name="connsiteX1280" fmla="*/ 150931 w 2663946"/>
                <a:gd name="connsiteY1280" fmla="*/ 176576 h 410858"/>
                <a:gd name="connsiteX1281" fmla="*/ 148719 w 2663946"/>
                <a:gd name="connsiteY1281" fmla="*/ 179820 h 410858"/>
                <a:gd name="connsiteX1282" fmla="*/ 145277 w 2663946"/>
                <a:gd name="connsiteY1282" fmla="*/ 183606 h 410858"/>
                <a:gd name="connsiteX1283" fmla="*/ 142082 w 2663946"/>
                <a:gd name="connsiteY1283" fmla="*/ 186309 h 410858"/>
                <a:gd name="connsiteX1284" fmla="*/ 136428 w 2663946"/>
                <a:gd name="connsiteY1284" fmla="*/ 189554 h 410858"/>
                <a:gd name="connsiteX1285" fmla="*/ 128563 w 2663946"/>
                <a:gd name="connsiteY1285" fmla="*/ 191717 h 410858"/>
                <a:gd name="connsiteX1286" fmla="*/ 127334 w 2663946"/>
                <a:gd name="connsiteY1286" fmla="*/ 191988 h 410858"/>
                <a:gd name="connsiteX1287" fmla="*/ 123155 w 2663946"/>
                <a:gd name="connsiteY1287" fmla="*/ 191988 h 410858"/>
                <a:gd name="connsiteX1288" fmla="*/ 122909 w 2663946"/>
                <a:gd name="connsiteY1288" fmla="*/ 191988 h 410858"/>
                <a:gd name="connsiteX1289" fmla="*/ 109882 w 2663946"/>
                <a:gd name="connsiteY1289" fmla="*/ 187121 h 410858"/>
                <a:gd name="connsiteX1290" fmla="*/ 105211 w 2663946"/>
                <a:gd name="connsiteY1290" fmla="*/ 183065 h 410858"/>
                <a:gd name="connsiteX1291" fmla="*/ 102016 w 2663946"/>
                <a:gd name="connsiteY1291" fmla="*/ 179280 h 410858"/>
                <a:gd name="connsiteX1292" fmla="*/ 99804 w 2663946"/>
                <a:gd name="connsiteY1292" fmla="*/ 175765 h 410858"/>
                <a:gd name="connsiteX1293" fmla="*/ 97591 w 2663946"/>
                <a:gd name="connsiteY1293" fmla="*/ 171439 h 410858"/>
                <a:gd name="connsiteX1294" fmla="*/ 96362 w 2663946"/>
                <a:gd name="connsiteY1294" fmla="*/ 168464 h 410858"/>
                <a:gd name="connsiteX1295" fmla="*/ 95379 w 2663946"/>
                <a:gd name="connsiteY1295" fmla="*/ 165220 h 410858"/>
                <a:gd name="connsiteX1296" fmla="*/ 94150 w 2663946"/>
                <a:gd name="connsiteY1296" fmla="*/ 159542 h 410858"/>
                <a:gd name="connsiteX1297" fmla="*/ 93904 w 2663946"/>
                <a:gd name="connsiteY1297" fmla="*/ 156568 h 410858"/>
                <a:gd name="connsiteX1298" fmla="*/ 94150 w 2663946"/>
                <a:gd name="connsiteY1298" fmla="*/ 156838 h 410858"/>
                <a:gd name="connsiteX1299" fmla="*/ 94150 w 2663946"/>
                <a:gd name="connsiteY1299" fmla="*/ 151160 h 410858"/>
                <a:gd name="connsiteX1300" fmla="*/ 94150 w 2663946"/>
                <a:gd name="connsiteY1300" fmla="*/ 150890 h 410858"/>
                <a:gd name="connsiteX1301" fmla="*/ 94642 w 2663946"/>
                <a:gd name="connsiteY1301" fmla="*/ 146293 h 410858"/>
                <a:gd name="connsiteX1302" fmla="*/ 95871 w 2663946"/>
                <a:gd name="connsiteY1302" fmla="*/ 140886 h 410858"/>
                <a:gd name="connsiteX1303" fmla="*/ 96854 w 2663946"/>
                <a:gd name="connsiteY1303" fmla="*/ 137641 h 410858"/>
                <a:gd name="connsiteX1304" fmla="*/ 99066 w 2663946"/>
                <a:gd name="connsiteY1304" fmla="*/ 132504 h 410858"/>
                <a:gd name="connsiteX1305" fmla="*/ 101279 w 2663946"/>
                <a:gd name="connsiteY1305" fmla="*/ 128719 h 410858"/>
                <a:gd name="connsiteX1306" fmla="*/ 103491 w 2663946"/>
                <a:gd name="connsiteY1306" fmla="*/ 125744 h 410858"/>
                <a:gd name="connsiteX1307" fmla="*/ 105703 w 2663946"/>
                <a:gd name="connsiteY1307" fmla="*/ 123311 h 410858"/>
                <a:gd name="connsiteX1308" fmla="*/ 110373 w 2663946"/>
                <a:gd name="connsiteY1308" fmla="*/ 119526 h 410858"/>
                <a:gd name="connsiteX1309" fmla="*/ 114306 w 2663946"/>
                <a:gd name="connsiteY1309" fmla="*/ 117363 h 410858"/>
                <a:gd name="connsiteX1310" fmla="*/ 123893 w 2663946"/>
                <a:gd name="connsiteY1310" fmla="*/ 114929 h 410858"/>
                <a:gd name="connsiteX1311" fmla="*/ 33147 w 2663946"/>
                <a:gd name="connsiteY1311" fmla="*/ 114291 h 410858"/>
                <a:gd name="connsiteX1312" fmla="*/ 57942 w 2663946"/>
                <a:gd name="connsiteY1312" fmla="*/ 134500 h 410858"/>
                <a:gd name="connsiteX1313" fmla="*/ 58422 w 2663946"/>
                <a:gd name="connsiteY1313" fmla="*/ 139258 h 410858"/>
                <a:gd name="connsiteX1314" fmla="*/ 59840 w 2663946"/>
                <a:gd name="connsiteY1314" fmla="*/ 139258 h 410858"/>
                <a:gd name="connsiteX1315" fmla="*/ 66294 w 2663946"/>
                <a:gd name="connsiteY1315" fmla="*/ 145544 h 410858"/>
                <a:gd name="connsiteX1316" fmla="*/ 66294 w 2663946"/>
                <a:gd name="connsiteY1316" fmla="*/ 195266 h 410858"/>
                <a:gd name="connsiteX1317" fmla="*/ 59840 w 2663946"/>
                <a:gd name="connsiteY1317" fmla="*/ 201552 h 410858"/>
                <a:gd name="connsiteX1318" fmla="*/ 6453 w 2663946"/>
                <a:gd name="connsiteY1318" fmla="*/ 201552 h 410858"/>
                <a:gd name="connsiteX1319" fmla="*/ 0 w 2663946"/>
                <a:gd name="connsiteY1319" fmla="*/ 195266 h 410858"/>
                <a:gd name="connsiteX1320" fmla="*/ 0 w 2663946"/>
                <a:gd name="connsiteY1320" fmla="*/ 145544 h 410858"/>
                <a:gd name="connsiteX1321" fmla="*/ 6453 w 2663946"/>
                <a:gd name="connsiteY1321" fmla="*/ 139258 h 410858"/>
                <a:gd name="connsiteX1322" fmla="*/ 7288 w 2663946"/>
                <a:gd name="connsiteY1322" fmla="*/ 139258 h 410858"/>
                <a:gd name="connsiteX1323" fmla="*/ 7872 w 2663946"/>
                <a:gd name="connsiteY1323" fmla="*/ 139258 h 410858"/>
                <a:gd name="connsiteX1324" fmla="*/ 8351 w 2663946"/>
                <a:gd name="connsiteY1324" fmla="*/ 134500 h 410858"/>
                <a:gd name="connsiteX1325" fmla="*/ 33147 w 2663946"/>
                <a:gd name="connsiteY1325" fmla="*/ 114291 h 410858"/>
                <a:gd name="connsiteX1326" fmla="*/ 2537931 w 2663946"/>
                <a:gd name="connsiteY1326" fmla="*/ 106703 h 410858"/>
                <a:gd name="connsiteX1327" fmla="*/ 2562727 w 2663946"/>
                <a:gd name="connsiteY1327" fmla="*/ 126912 h 410858"/>
                <a:gd name="connsiteX1328" fmla="*/ 2563206 w 2663946"/>
                <a:gd name="connsiteY1328" fmla="*/ 131670 h 410858"/>
                <a:gd name="connsiteX1329" fmla="*/ 2564625 w 2663946"/>
                <a:gd name="connsiteY1329" fmla="*/ 131670 h 410858"/>
                <a:gd name="connsiteX1330" fmla="*/ 2571078 w 2663946"/>
                <a:gd name="connsiteY1330" fmla="*/ 137956 h 410858"/>
                <a:gd name="connsiteX1331" fmla="*/ 2571078 w 2663946"/>
                <a:gd name="connsiteY1331" fmla="*/ 187678 h 410858"/>
                <a:gd name="connsiteX1332" fmla="*/ 2564625 w 2663946"/>
                <a:gd name="connsiteY1332" fmla="*/ 193964 h 410858"/>
                <a:gd name="connsiteX1333" fmla="*/ 2511238 w 2663946"/>
                <a:gd name="connsiteY1333" fmla="*/ 193964 h 410858"/>
                <a:gd name="connsiteX1334" fmla="*/ 2504784 w 2663946"/>
                <a:gd name="connsiteY1334" fmla="*/ 187678 h 410858"/>
                <a:gd name="connsiteX1335" fmla="*/ 2504784 w 2663946"/>
                <a:gd name="connsiteY1335" fmla="*/ 137956 h 410858"/>
                <a:gd name="connsiteX1336" fmla="*/ 2511238 w 2663946"/>
                <a:gd name="connsiteY1336" fmla="*/ 131670 h 410858"/>
                <a:gd name="connsiteX1337" fmla="*/ 2512072 w 2663946"/>
                <a:gd name="connsiteY1337" fmla="*/ 131670 h 410858"/>
                <a:gd name="connsiteX1338" fmla="*/ 2512656 w 2663946"/>
                <a:gd name="connsiteY1338" fmla="*/ 131670 h 410858"/>
                <a:gd name="connsiteX1339" fmla="*/ 2513136 w 2663946"/>
                <a:gd name="connsiteY1339" fmla="*/ 126912 h 410858"/>
                <a:gd name="connsiteX1340" fmla="*/ 2537931 w 2663946"/>
                <a:gd name="connsiteY1340" fmla="*/ 106703 h 410858"/>
                <a:gd name="connsiteX1341" fmla="*/ 2112934 w 2663946"/>
                <a:gd name="connsiteY1341" fmla="*/ 106703 h 410858"/>
                <a:gd name="connsiteX1342" fmla="*/ 2137730 w 2663946"/>
                <a:gd name="connsiteY1342" fmla="*/ 126912 h 410858"/>
                <a:gd name="connsiteX1343" fmla="*/ 2138209 w 2663946"/>
                <a:gd name="connsiteY1343" fmla="*/ 131670 h 410858"/>
                <a:gd name="connsiteX1344" fmla="*/ 2139628 w 2663946"/>
                <a:gd name="connsiteY1344" fmla="*/ 131670 h 410858"/>
                <a:gd name="connsiteX1345" fmla="*/ 2146081 w 2663946"/>
                <a:gd name="connsiteY1345" fmla="*/ 137956 h 410858"/>
                <a:gd name="connsiteX1346" fmla="*/ 2146081 w 2663946"/>
                <a:gd name="connsiteY1346" fmla="*/ 187678 h 410858"/>
                <a:gd name="connsiteX1347" fmla="*/ 2139628 w 2663946"/>
                <a:gd name="connsiteY1347" fmla="*/ 193964 h 410858"/>
                <a:gd name="connsiteX1348" fmla="*/ 2086241 w 2663946"/>
                <a:gd name="connsiteY1348" fmla="*/ 193964 h 410858"/>
                <a:gd name="connsiteX1349" fmla="*/ 2079787 w 2663946"/>
                <a:gd name="connsiteY1349" fmla="*/ 187678 h 410858"/>
                <a:gd name="connsiteX1350" fmla="*/ 2079787 w 2663946"/>
                <a:gd name="connsiteY1350" fmla="*/ 137956 h 410858"/>
                <a:gd name="connsiteX1351" fmla="*/ 2086241 w 2663946"/>
                <a:gd name="connsiteY1351" fmla="*/ 131670 h 410858"/>
                <a:gd name="connsiteX1352" fmla="*/ 2087075 w 2663946"/>
                <a:gd name="connsiteY1352" fmla="*/ 131670 h 410858"/>
                <a:gd name="connsiteX1353" fmla="*/ 2087659 w 2663946"/>
                <a:gd name="connsiteY1353" fmla="*/ 131670 h 410858"/>
                <a:gd name="connsiteX1354" fmla="*/ 2088139 w 2663946"/>
                <a:gd name="connsiteY1354" fmla="*/ 126912 h 410858"/>
                <a:gd name="connsiteX1355" fmla="*/ 2112934 w 2663946"/>
                <a:gd name="connsiteY1355" fmla="*/ 106703 h 410858"/>
                <a:gd name="connsiteX1356" fmla="*/ 1854966 w 2663946"/>
                <a:gd name="connsiteY1356" fmla="*/ 106703 h 410858"/>
                <a:gd name="connsiteX1357" fmla="*/ 1879762 w 2663946"/>
                <a:gd name="connsiteY1357" fmla="*/ 126912 h 410858"/>
                <a:gd name="connsiteX1358" fmla="*/ 1880241 w 2663946"/>
                <a:gd name="connsiteY1358" fmla="*/ 131670 h 410858"/>
                <a:gd name="connsiteX1359" fmla="*/ 1881660 w 2663946"/>
                <a:gd name="connsiteY1359" fmla="*/ 131670 h 410858"/>
                <a:gd name="connsiteX1360" fmla="*/ 1888113 w 2663946"/>
                <a:gd name="connsiteY1360" fmla="*/ 137956 h 410858"/>
                <a:gd name="connsiteX1361" fmla="*/ 1888113 w 2663946"/>
                <a:gd name="connsiteY1361" fmla="*/ 187678 h 410858"/>
                <a:gd name="connsiteX1362" fmla="*/ 1881660 w 2663946"/>
                <a:gd name="connsiteY1362" fmla="*/ 193964 h 410858"/>
                <a:gd name="connsiteX1363" fmla="*/ 1828273 w 2663946"/>
                <a:gd name="connsiteY1363" fmla="*/ 193964 h 410858"/>
                <a:gd name="connsiteX1364" fmla="*/ 1821819 w 2663946"/>
                <a:gd name="connsiteY1364" fmla="*/ 187678 h 410858"/>
                <a:gd name="connsiteX1365" fmla="*/ 1821819 w 2663946"/>
                <a:gd name="connsiteY1365" fmla="*/ 137956 h 410858"/>
                <a:gd name="connsiteX1366" fmla="*/ 1828273 w 2663946"/>
                <a:gd name="connsiteY1366" fmla="*/ 131670 h 410858"/>
                <a:gd name="connsiteX1367" fmla="*/ 1829107 w 2663946"/>
                <a:gd name="connsiteY1367" fmla="*/ 131670 h 410858"/>
                <a:gd name="connsiteX1368" fmla="*/ 1829691 w 2663946"/>
                <a:gd name="connsiteY1368" fmla="*/ 131670 h 410858"/>
                <a:gd name="connsiteX1369" fmla="*/ 1830171 w 2663946"/>
                <a:gd name="connsiteY1369" fmla="*/ 126912 h 410858"/>
                <a:gd name="connsiteX1370" fmla="*/ 1854966 w 2663946"/>
                <a:gd name="connsiteY1370" fmla="*/ 106703 h 410858"/>
                <a:gd name="connsiteX1371" fmla="*/ 1764027 w 2663946"/>
                <a:gd name="connsiteY1371" fmla="*/ 106703 h 410858"/>
                <a:gd name="connsiteX1372" fmla="*/ 1788823 w 2663946"/>
                <a:gd name="connsiteY1372" fmla="*/ 126912 h 410858"/>
                <a:gd name="connsiteX1373" fmla="*/ 1789302 w 2663946"/>
                <a:gd name="connsiteY1373" fmla="*/ 131670 h 410858"/>
                <a:gd name="connsiteX1374" fmla="*/ 1790721 w 2663946"/>
                <a:gd name="connsiteY1374" fmla="*/ 131670 h 410858"/>
                <a:gd name="connsiteX1375" fmla="*/ 1797174 w 2663946"/>
                <a:gd name="connsiteY1375" fmla="*/ 137956 h 410858"/>
                <a:gd name="connsiteX1376" fmla="*/ 1797174 w 2663946"/>
                <a:gd name="connsiteY1376" fmla="*/ 187678 h 410858"/>
                <a:gd name="connsiteX1377" fmla="*/ 1790721 w 2663946"/>
                <a:gd name="connsiteY1377" fmla="*/ 193964 h 410858"/>
                <a:gd name="connsiteX1378" fmla="*/ 1737333 w 2663946"/>
                <a:gd name="connsiteY1378" fmla="*/ 193964 h 410858"/>
                <a:gd name="connsiteX1379" fmla="*/ 1730880 w 2663946"/>
                <a:gd name="connsiteY1379" fmla="*/ 187678 h 410858"/>
                <a:gd name="connsiteX1380" fmla="*/ 1730880 w 2663946"/>
                <a:gd name="connsiteY1380" fmla="*/ 137956 h 410858"/>
                <a:gd name="connsiteX1381" fmla="*/ 1737333 w 2663946"/>
                <a:gd name="connsiteY1381" fmla="*/ 131670 h 410858"/>
                <a:gd name="connsiteX1382" fmla="*/ 1738168 w 2663946"/>
                <a:gd name="connsiteY1382" fmla="*/ 131670 h 410858"/>
                <a:gd name="connsiteX1383" fmla="*/ 1738752 w 2663946"/>
                <a:gd name="connsiteY1383" fmla="*/ 131670 h 410858"/>
                <a:gd name="connsiteX1384" fmla="*/ 1739232 w 2663946"/>
                <a:gd name="connsiteY1384" fmla="*/ 126912 h 410858"/>
                <a:gd name="connsiteX1385" fmla="*/ 1764027 w 2663946"/>
                <a:gd name="connsiteY1385" fmla="*/ 106703 h 410858"/>
                <a:gd name="connsiteX1386" fmla="*/ 1506059 w 2663946"/>
                <a:gd name="connsiteY1386" fmla="*/ 106703 h 410858"/>
                <a:gd name="connsiteX1387" fmla="*/ 1530855 w 2663946"/>
                <a:gd name="connsiteY1387" fmla="*/ 126912 h 410858"/>
                <a:gd name="connsiteX1388" fmla="*/ 1531334 w 2663946"/>
                <a:gd name="connsiteY1388" fmla="*/ 131670 h 410858"/>
                <a:gd name="connsiteX1389" fmla="*/ 1532753 w 2663946"/>
                <a:gd name="connsiteY1389" fmla="*/ 131670 h 410858"/>
                <a:gd name="connsiteX1390" fmla="*/ 1539206 w 2663946"/>
                <a:gd name="connsiteY1390" fmla="*/ 137956 h 410858"/>
                <a:gd name="connsiteX1391" fmla="*/ 1539206 w 2663946"/>
                <a:gd name="connsiteY1391" fmla="*/ 187678 h 410858"/>
                <a:gd name="connsiteX1392" fmla="*/ 1532753 w 2663946"/>
                <a:gd name="connsiteY1392" fmla="*/ 193964 h 410858"/>
                <a:gd name="connsiteX1393" fmla="*/ 1479365 w 2663946"/>
                <a:gd name="connsiteY1393" fmla="*/ 193964 h 410858"/>
                <a:gd name="connsiteX1394" fmla="*/ 1472912 w 2663946"/>
                <a:gd name="connsiteY1394" fmla="*/ 187678 h 410858"/>
                <a:gd name="connsiteX1395" fmla="*/ 1472912 w 2663946"/>
                <a:gd name="connsiteY1395" fmla="*/ 137956 h 410858"/>
                <a:gd name="connsiteX1396" fmla="*/ 1479365 w 2663946"/>
                <a:gd name="connsiteY1396" fmla="*/ 131670 h 410858"/>
                <a:gd name="connsiteX1397" fmla="*/ 1480200 w 2663946"/>
                <a:gd name="connsiteY1397" fmla="*/ 131670 h 410858"/>
                <a:gd name="connsiteX1398" fmla="*/ 1480784 w 2663946"/>
                <a:gd name="connsiteY1398" fmla="*/ 131670 h 410858"/>
                <a:gd name="connsiteX1399" fmla="*/ 1481264 w 2663946"/>
                <a:gd name="connsiteY1399" fmla="*/ 126912 h 410858"/>
                <a:gd name="connsiteX1400" fmla="*/ 1506059 w 2663946"/>
                <a:gd name="connsiteY1400" fmla="*/ 106703 h 410858"/>
                <a:gd name="connsiteX1401" fmla="*/ 1415120 w 2663946"/>
                <a:gd name="connsiteY1401" fmla="*/ 106703 h 410858"/>
                <a:gd name="connsiteX1402" fmla="*/ 1439916 w 2663946"/>
                <a:gd name="connsiteY1402" fmla="*/ 126912 h 410858"/>
                <a:gd name="connsiteX1403" fmla="*/ 1440395 w 2663946"/>
                <a:gd name="connsiteY1403" fmla="*/ 131670 h 410858"/>
                <a:gd name="connsiteX1404" fmla="*/ 1441814 w 2663946"/>
                <a:gd name="connsiteY1404" fmla="*/ 131670 h 410858"/>
                <a:gd name="connsiteX1405" fmla="*/ 1448267 w 2663946"/>
                <a:gd name="connsiteY1405" fmla="*/ 137956 h 410858"/>
                <a:gd name="connsiteX1406" fmla="*/ 1448267 w 2663946"/>
                <a:gd name="connsiteY1406" fmla="*/ 187678 h 410858"/>
                <a:gd name="connsiteX1407" fmla="*/ 1441814 w 2663946"/>
                <a:gd name="connsiteY1407" fmla="*/ 193964 h 410858"/>
                <a:gd name="connsiteX1408" fmla="*/ 1388426 w 2663946"/>
                <a:gd name="connsiteY1408" fmla="*/ 193964 h 410858"/>
                <a:gd name="connsiteX1409" fmla="*/ 1381973 w 2663946"/>
                <a:gd name="connsiteY1409" fmla="*/ 187678 h 410858"/>
                <a:gd name="connsiteX1410" fmla="*/ 1381973 w 2663946"/>
                <a:gd name="connsiteY1410" fmla="*/ 137956 h 410858"/>
                <a:gd name="connsiteX1411" fmla="*/ 1388426 w 2663946"/>
                <a:gd name="connsiteY1411" fmla="*/ 131670 h 410858"/>
                <a:gd name="connsiteX1412" fmla="*/ 1389261 w 2663946"/>
                <a:gd name="connsiteY1412" fmla="*/ 131670 h 410858"/>
                <a:gd name="connsiteX1413" fmla="*/ 1389845 w 2663946"/>
                <a:gd name="connsiteY1413" fmla="*/ 131670 h 410858"/>
                <a:gd name="connsiteX1414" fmla="*/ 1390325 w 2663946"/>
                <a:gd name="connsiteY1414" fmla="*/ 126912 h 410858"/>
                <a:gd name="connsiteX1415" fmla="*/ 1415120 w 2663946"/>
                <a:gd name="connsiteY1415" fmla="*/ 106703 h 410858"/>
                <a:gd name="connsiteX1416" fmla="*/ 1157152 w 2663946"/>
                <a:gd name="connsiteY1416" fmla="*/ 106703 h 410858"/>
                <a:gd name="connsiteX1417" fmla="*/ 1181948 w 2663946"/>
                <a:gd name="connsiteY1417" fmla="*/ 126912 h 410858"/>
                <a:gd name="connsiteX1418" fmla="*/ 1182427 w 2663946"/>
                <a:gd name="connsiteY1418" fmla="*/ 131670 h 410858"/>
                <a:gd name="connsiteX1419" fmla="*/ 1183846 w 2663946"/>
                <a:gd name="connsiteY1419" fmla="*/ 131670 h 410858"/>
                <a:gd name="connsiteX1420" fmla="*/ 1190299 w 2663946"/>
                <a:gd name="connsiteY1420" fmla="*/ 137956 h 410858"/>
                <a:gd name="connsiteX1421" fmla="*/ 1190299 w 2663946"/>
                <a:gd name="connsiteY1421" fmla="*/ 187678 h 410858"/>
                <a:gd name="connsiteX1422" fmla="*/ 1183846 w 2663946"/>
                <a:gd name="connsiteY1422" fmla="*/ 193964 h 410858"/>
                <a:gd name="connsiteX1423" fmla="*/ 1130458 w 2663946"/>
                <a:gd name="connsiteY1423" fmla="*/ 193964 h 410858"/>
                <a:gd name="connsiteX1424" fmla="*/ 1124005 w 2663946"/>
                <a:gd name="connsiteY1424" fmla="*/ 187678 h 410858"/>
                <a:gd name="connsiteX1425" fmla="*/ 1124005 w 2663946"/>
                <a:gd name="connsiteY1425" fmla="*/ 137956 h 410858"/>
                <a:gd name="connsiteX1426" fmla="*/ 1130458 w 2663946"/>
                <a:gd name="connsiteY1426" fmla="*/ 131670 h 410858"/>
                <a:gd name="connsiteX1427" fmla="*/ 1131293 w 2663946"/>
                <a:gd name="connsiteY1427" fmla="*/ 131670 h 410858"/>
                <a:gd name="connsiteX1428" fmla="*/ 1131877 w 2663946"/>
                <a:gd name="connsiteY1428" fmla="*/ 131670 h 410858"/>
                <a:gd name="connsiteX1429" fmla="*/ 1132357 w 2663946"/>
                <a:gd name="connsiteY1429" fmla="*/ 126912 h 410858"/>
                <a:gd name="connsiteX1430" fmla="*/ 1157152 w 2663946"/>
                <a:gd name="connsiteY1430" fmla="*/ 106703 h 410858"/>
                <a:gd name="connsiteX1431" fmla="*/ 732156 w 2663946"/>
                <a:gd name="connsiteY1431" fmla="*/ 106703 h 410858"/>
                <a:gd name="connsiteX1432" fmla="*/ 756951 w 2663946"/>
                <a:gd name="connsiteY1432" fmla="*/ 126912 h 410858"/>
                <a:gd name="connsiteX1433" fmla="*/ 757431 w 2663946"/>
                <a:gd name="connsiteY1433" fmla="*/ 131670 h 410858"/>
                <a:gd name="connsiteX1434" fmla="*/ 758849 w 2663946"/>
                <a:gd name="connsiteY1434" fmla="*/ 131670 h 410858"/>
                <a:gd name="connsiteX1435" fmla="*/ 765303 w 2663946"/>
                <a:gd name="connsiteY1435" fmla="*/ 137956 h 410858"/>
                <a:gd name="connsiteX1436" fmla="*/ 765303 w 2663946"/>
                <a:gd name="connsiteY1436" fmla="*/ 187678 h 410858"/>
                <a:gd name="connsiteX1437" fmla="*/ 758849 w 2663946"/>
                <a:gd name="connsiteY1437" fmla="*/ 193964 h 410858"/>
                <a:gd name="connsiteX1438" fmla="*/ 705462 w 2663946"/>
                <a:gd name="connsiteY1438" fmla="*/ 193964 h 410858"/>
                <a:gd name="connsiteX1439" fmla="*/ 699009 w 2663946"/>
                <a:gd name="connsiteY1439" fmla="*/ 187678 h 410858"/>
                <a:gd name="connsiteX1440" fmla="*/ 699009 w 2663946"/>
                <a:gd name="connsiteY1440" fmla="*/ 137956 h 410858"/>
                <a:gd name="connsiteX1441" fmla="*/ 705462 w 2663946"/>
                <a:gd name="connsiteY1441" fmla="*/ 131670 h 410858"/>
                <a:gd name="connsiteX1442" fmla="*/ 706296 w 2663946"/>
                <a:gd name="connsiteY1442" fmla="*/ 131670 h 410858"/>
                <a:gd name="connsiteX1443" fmla="*/ 706881 w 2663946"/>
                <a:gd name="connsiteY1443" fmla="*/ 131670 h 410858"/>
                <a:gd name="connsiteX1444" fmla="*/ 707360 w 2663946"/>
                <a:gd name="connsiteY1444" fmla="*/ 126912 h 410858"/>
                <a:gd name="connsiteX1445" fmla="*/ 732156 w 2663946"/>
                <a:gd name="connsiteY1445" fmla="*/ 106703 h 410858"/>
                <a:gd name="connsiteX1446" fmla="*/ 641217 w 2663946"/>
                <a:gd name="connsiteY1446" fmla="*/ 106703 h 410858"/>
                <a:gd name="connsiteX1447" fmla="*/ 666012 w 2663946"/>
                <a:gd name="connsiteY1447" fmla="*/ 126912 h 410858"/>
                <a:gd name="connsiteX1448" fmla="*/ 666492 w 2663946"/>
                <a:gd name="connsiteY1448" fmla="*/ 131670 h 410858"/>
                <a:gd name="connsiteX1449" fmla="*/ 667910 w 2663946"/>
                <a:gd name="connsiteY1449" fmla="*/ 131670 h 410858"/>
                <a:gd name="connsiteX1450" fmla="*/ 674364 w 2663946"/>
                <a:gd name="connsiteY1450" fmla="*/ 137956 h 410858"/>
                <a:gd name="connsiteX1451" fmla="*/ 674364 w 2663946"/>
                <a:gd name="connsiteY1451" fmla="*/ 187678 h 410858"/>
                <a:gd name="connsiteX1452" fmla="*/ 667910 w 2663946"/>
                <a:gd name="connsiteY1452" fmla="*/ 193964 h 410858"/>
                <a:gd name="connsiteX1453" fmla="*/ 614523 w 2663946"/>
                <a:gd name="connsiteY1453" fmla="*/ 193964 h 410858"/>
                <a:gd name="connsiteX1454" fmla="*/ 608070 w 2663946"/>
                <a:gd name="connsiteY1454" fmla="*/ 187678 h 410858"/>
                <a:gd name="connsiteX1455" fmla="*/ 608070 w 2663946"/>
                <a:gd name="connsiteY1455" fmla="*/ 137956 h 410858"/>
                <a:gd name="connsiteX1456" fmla="*/ 614523 w 2663946"/>
                <a:gd name="connsiteY1456" fmla="*/ 131670 h 410858"/>
                <a:gd name="connsiteX1457" fmla="*/ 615358 w 2663946"/>
                <a:gd name="connsiteY1457" fmla="*/ 131670 h 410858"/>
                <a:gd name="connsiteX1458" fmla="*/ 615942 w 2663946"/>
                <a:gd name="connsiteY1458" fmla="*/ 131670 h 410858"/>
                <a:gd name="connsiteX1459" fmla="*/ 616422 w 2663946"/>
                <a:gd name="connsiteY1459" fmla="*/ 126912 h 410858"/>
                <a:gd name="connsiteX1460" fmla="*/ 641217 w 2663946"/>
                <a:gd name="connsiteY1460" fmla="*/ 106703 h 410858"/>
                <a:gd name="connsiteX1461" fmla="*/ 459266 w 2663946"/>
                <a:gd name="connsiteY1461" fmla="*/ 106703 h 410858"/>
                <a:gd name="connsiteX1462" fmla="*/ 484061 w 2663946"/>
                <a:gd name="connsiteY1462" fmla="*/ 126912 h 410858"/>
                <a:gd name="connsiteX1463" fmla="*/ 484541 w 2663946"/>
                <a:gd name="connsiteY1463" fmla="*/ 131670 h 410858"/>
                <a:gd name="connsiteX1464" fmla="*/ 485959 w 2663946"/>
                <a:gd name="connsiteY1464" fmla="*/ 131670 h 410858"/>
                <a:gd name="connsiteX1465" fmla="*/ 492413 w 2663946"/>
                <a:gd name="connsiteY1465" fmla="*/ 137956 h 410858"/>
                <a:gd name="connsiteX1466" fmla="*/ 492413 w 2663946"/>
                <a:gd name="connsiteY1466" fmla="*/ 187678 h 410858"/>
                <a:gd name="connsiteX1467" fmla="*/ 485959 w 2663946"/>
                <a:gd name="connsiteY1467" fmla="*/ 193964 h 410858"/>
                <a:gd name="connsiteX1468" fmla="*/ 432572 w 2663946"/>
                <a:gd name="connsiteY1468" fmla="*/ 193964 h 410858"/>
                <a:gd name="connsiteX1469" fmla="*/ 426119 w 2663946"/>
                <a:gd name="connsiteY1469" fmla="*/ 187678 h 410858"/>
                <a:gd name="connsiteX1470" fmla="*/ 426119 w 2663946"/>
                <a:gd name="connsiteY1470" fmla="*/ 137956 h 410858"/>
                <a:gd name="connsiteX1471" fmla="*/ 432572 w 2663946"/>
                <a:gd name="connsiteY1471" fmla="*/ 131670 h 410858"/>
                <a:gd name="connsiteX1472" fmla="*/ 433406 w 2663946"/>
                <a:gd name="connsiteY1472" fmla="*/ 131670 h 410858"/>
                <a:gd name="connsiteX1473" fmla="*/ 433991 w 2663946"/>
                <a:gd name="connsiteY1473" fmla="*/ 131670 h 410858"/>
                <a:gd name="connsiteX1474" fmla="*/ 434470 w 2663946"/>
                <a:gd name="connsiteY1474" fmla="*/ 126912 h 410858"/>
                <a:gd name="connsiteX1475" fmla="*/ 459266 w 2663946"/>
                <a:gd name="connsiteY1475" fmla="*/ 106703 h 410858"/>
                <a:gd name="connsiteX1476" fmla="*/ 17368 w 2663946"/>
                <a:gd name="connsiteY1476" fmla="*/ 609 h 410858"/>
                <a:gd name="connsiteX1477" fmla="*/ 33591 w 2663946"/>
                <a:gd name="connsiteY1477" fmla="*/ 338 h 410858"/>
                <a:gd name="connsiteX1478" fmla="*/ 38187 w 2663946"/>
                <a:gd name="connsiteY1478" fmla="*/ 2772 h 410858"/>
                <a:gd name="connsiteX1479" fmla="*/ 40350 w 2663946"/>
                <a:gd name="connsiteY1479" fmla="*/ 8990 h 410858"/>
                <a:gd name="connsiteX1480" fmla="*/ 40350 w 2663946"/>
                <a:gd name="connsiteY1480" fmla="*/ 9531 h 410858"/>
                <a:gd name="connsiteX1481" fmla="*/ 40350 w 2663946"/>
                <a:gd name="connsiteY1481" fmla="*/ 62526 h 410858"/>
                <a:gd name="connsiteX1482" fmla="*/ 40891 w 2663946"/>
                <a:gd name="connsiteY1482" fmla="*/ 63066 h 410858"/>
                <a:gd name="connsiteX1483" fmla="*/ 48191 w 2663946"/>
                <a:gd name="connsiteY1483" fmla="*/ 63066 h 410858"/>
                <a:gd name="connsiteX1484" fmla="*/ 52247 w 2663946"/>
                <a:gd name="connsiteY1484" fmla="*/ 64148 h 410858"/>
                <a:gd name="connsiteX1485" fmla="*/ 56032 w 2663946"/>
                <a:gd name="connsiteY1485" fmla="*/ 70907 h 410858"/>
                <a:gd name="connsiteX1486" fmla="*/ 53328 w 2663946"/>
                <a:gd name="connsiteY1486" fmla="*/ 76585 h 410858"/>
                <a:gd name="connsiteX1487" fmla="*/ 49273 w 2663946"/>
                <a:gd name="connsiteY1487" fmla="*/ 78478 h 410858"/>
                <a:gd name="connsiteX1488" fmla="*/ 49002 w 2663946"/>
                <a:gd name="connsiteY1488" fmla="*/ 78478 h 410858"/>
                <a:gd name="connsiteX1489" fmla="*/ 48732 w 2663946"/>
                <a:gd name="connsiteY1489" fmla="*/ 78478 h 410858"/>
                <a:gd name="connsiteX1490" fmla="*/ 48191 w 2663946"/>
                <a:gd name="connsiteY1490" fmla="*/ 78478 h 410858"/>
                <a:gd name="connsiteX1491" fmla="*/ 16016 w 2663946"/>
                <a:gd name="connsiteY1491" fmla="*/ 78478 h 410858"/>
                <a:gd name="connsiteX1492" fmla="*/ 15475 w 2663946"/>
                <a:gd name="connsiteY1492" fmla="*/ 78478 h 410858"/>
                <a:gd name="connsiteX1493" fmla="*/ 14664 w 2663946"/>
                <a:gd name="connsiteY1493" fmla="*/ 78478 h 410858"/>
                <a:gd name="connsiteX1494" fmla="*/ 13853 w 2663946"/>
                <a:gd name="connsiteY1494" fmla="*/ 78208 h 410858"/>
                <a:gd name="connsiteX1495" fmla="*/ 10338 w 2663946"/>
                <a:gd name="connsiteY1495" fmla="*/ 76315 h 410858"/>
                <a:gd name="connsiteX1496" fmla="*/ 7905 w 2663946"/>
                <a:gd name="connsiteY1496" fmla="*/ 70637 h 410858"/>
                <a:gd name="connsiteX1497" fmla="*/ 10068 w 2663946"/>
                <a:gd name="connsiteY1497" fmla="*/ 65500 h 410858"/>
                <a:gd name="connsiteX1498" fmla="*/ 15746 w 2663946"/>
                <a:gd name="connsiteY1498" fmla="*/ 63066 h 410858"/>
                <a:gd name="connsiteX1499" fmla="*/ 23587 w 2663946"/>
                <a:gd name="connsiteY1499" fmla="*/ 63066 h 410858"/>
                <a:gd name="connsiteX1500" fmla="*/ 24128 w 2663946"/>
                <a:gd name="connsiteY1500" fmla="*/ 62526 h 410858"/>
                <a:gd name="connsiteX1501" fmla="*/ 24128 w 2663946"/>
                <a:gd name="connsiteY1501" fmla="*/ 16561 h 410858"/>
                <a:gd name="connsiteX1502" fmla="*/ 23587 w 2663946"/>
                <a:gd name="connsiteY1502" fmla="*/ 16020 h 410858"/>
                <a:gd name="connsiteX1503" fmla="*/ 17638 w 2663946"/>
                <a:gd name="connsiteY1503" fmla="*/ 16020 h 410858"/>
                <a:gd name="connsiteX1504" fmla="*/ 10338 w 2663946"/>
                <a:gd name="connsiteY1504" fmla="*/ 11424 h 410858"/>
                <a:gd name="connsiteX1505" fmla="*/ 10068 w 2663946"/>
                <a:gd name="connsiteY1505" fmla="*/ 5746 h 410858"/>
                <a:gd name="connsiteX1506" fmla="*/ 17368 w 2663946"/>
                <a:gd name="connsiteY1506" fmla="*/ 609 h 410858"/>
                <a:gd name="connsiteX0" fmla="*/ 2632966 w 2663946"/>
                <a:gd name="connsiteY0" fmla="*/ 349414 h 410520"/>
                <a:gd name="connsiteX1" fmla="*/ 2621414 w 2663946"/>
                <a:gd name="connsiteY1" fmla="*/ 351847 h 410520"/>
                <a:gd name="connsiteX2" fmla="*/ 2618218 w 2663946"/>
                <a:gd name="connsiteY2" fmla="*/ 355362 h 410520"/>
                <a:gd name="connsiteX3" fmla="*/ 2616006 w 2663946"/>
                <a:gd name="connsiteY3" fmla="*/ 359147 h 410520"/>
                <a:gd name="connsiteX4" fmla="*/ 2615023 w 2663946"/>
                <a:gd name="connsiteY4" fmla="*/ 361851 h 410520"/>
                <a:gd name="connsiteX5" fmla="*/ 2614039 w 2663946"/>
                <a:gd name="connsiteY5" fmla="*/ 365907 h 410520"/>
                <a:gd name="connsiteX6" fmla="*/ 2613056 w 2663946"/>
                <a:gd name="connsiteY6" fmla="*/ 372937 h 410520"/>
                <a:gd name="connsiteX7" fmla="*/ 2614039 w 2663946"/>
                <a:gd name="connsiteY7" fmla="*/ 380237 h 410520"/>
                <a:gd name="connsiteX8" fmla="*/ 2615269 w 2663946"/>
                <a:gd name="connsiteY8" fmla="*/ 384022 h 410520"/>
                <a:gd name="connsiteX9" fmla="*/ 2617481 w 2663946"/>
                <a:gd name="connsiteY9" fmla="*/ 388348 h 410520"/>
                <a:gd name="connsiteX10" fmla="*/ 2620922 w 2663946"/>
                <a:gd name="connsiteY10" fmla="*/ 392675 h 410520"/>
                <a:gd name="connsiteX11" fmla="*/ 2625346 w 2663946"/>
                <a:gd name="connsiteY11" fmla="*/ 395378 h 410520"/>
                <a:gd name="connsiteX12" fmla="*/ 2637637 w 2663946"/>
                <a:gd name="connsiteY12" fmla="*/ 392945 h 410520"/>
                <a:gd name="connsiteX13" fmla="*/ 2640832 w 2663946"/>
                <a:gd name="connsiteY13" fmla="*/ 389430 h 410520"/>
                <a:gd name="connsiteX14" fmla="*/ 2643290 w 2663946"/>
                <a:gd name="connsiteY14" fmla="*/ 385104 h 410520"/>
                <a:gd name="connsiteX15" fmla="*/ 2644273 w 2663946"/>
                <a:gd name="connsiteY15" fmla="*/ 382941 h 410520"/>
                <a:gd name="connsiteX16" fmla="*/ 2645502 w 2663946"/>
                <a:gd name="connsiteY16" fmla="*/ 378615 h 410520"/>
                <a:gd name="connsiteX17" fmla="*/ 2645011 w 2663946"/>
                <a:gd name="connsiteY17" fmla="*/ 364825 h 410520"/>
                <a:gd name="connsiteX18" fmla="*/ 2644027 w 2663946"/>
                <a:gd name="connsiteY18" fmla="*/ 361851 h 410520"/>
                <a:gd name="connsiteX19" fmla="*/ 2642799 w 2663946"/>
                <a:gd name="connsiteY19" fmla="*/ 358877 h 410520"/>
                <a:gd name="connsiteX20" fmla="*/ 2640586 w 2663946"/>
                <a:gd name="connsiteY20" fmla="*/ 355362 h 410520"/>
                <a:gd name="connsiteX21" fmla="*/ 2636899 w 2663946"/>
                <a:gd name="connsiteY21" fmla="*/ 351577 h 410520"/>
                <a:gd name="connsiteX22" fmla="*/ 2632966 w 2663946"/>
                <a:gd name="connsiteY22" fmla="*/ 349414 h 410520"/>
                <a:gd name="connsiteX23" fmla="*/ 2627559 w 2663946"/>
                <a:gd name="connsiteY23" fmla="*/ 333461 h 410520"/>
                <a:gd name="connsiteX24" fmla="*/ 2639849 w 2663946"/>
                <a:gd name="connsiteY24" fmla="*/ 335624 h 410520"/>
                <a:gd name="connsiteX25" fmla="*/ 2647223 w 2663946"/>
                <a:gd name="connsiteY25" fmla="*/ 340221 h 410520"/>
                <a:gd name="connsiteX26" fmla="*/ 2650664 w 2663946"/>
                <a:gd name="connsiteY26" fmla="*/ 343465 h 410520"/>
                <a:gd name="connsiteX27" fmla="*/ 2654106 w 2663946"/>
                <a:gd name="connsiteY27" fmla="*/ 347791 h 410520"/>
                <a:gd name="connsiteX28" fmla="*/ 2656072 w 2663946"/>
                <a:gd name="connsiteY28" fmla="*/ 351306 h 410520"/>
                <a:gd name="connsiteX29" fmla="*/ 2658284 w 2663946"/>
                <a:gd name="connsiteY29" fmla="*/ 356714 h 410520"/>
                <a:gd name="connsiteX30" fmla="*/ 2659267 w 2663946"/>
                <a:gd name="connsiteY30" fmla="*/ 360229 h 410520"/>
                <a:gd name="connsiteX31" fmla="*/ 2660251 w 2663946"/>
                <a:gd name="connsiteY31" fmla="*/ 365366 h 410520"/>
                <a:gd name="connsiteX32" fmla="*/ 2660005 w 2663946"/>
                <a:gd name="connsiteY32" fmla="*/ 379696 h 410520"/>
                <a:gd name="connsiteX33" fmla="*/ 2659022 w 2663946"/>
                <a:gd name="connsiteY33" fmla="*/ 384563 h 410520"/>
                <a:gd name="connsiteX34" fmla="*/ 2657792 w 2663946"/>
                <a:gd name="connsiteY34" fmla="*/ 388348 h 410520"/>
                <a:gd name="connsiteX35" fmla="*/ 2656809 w 2663946"/>
                <a:gd name="connsiteY35" fmla="*/ 390782 h 410520"/>
                <a:gd name="connsiteX36" fmla="*/ 2654597 w 2663946"/>
                <a:gd name="connsiteY36" fmla="*/ 395108 h 410520"/>
                <a:gd name="connsiteX37" fmla="*/ 2652385 w 2663946"/>
                <a:gd name="connsiteY37" fmla="*/ 398352 h 410520"/>
                <a:gd name="connsiteX38" fmla="*/ 2648944 w 2663946"/>
                <a:gd name="connsiteY38" fmla="*/ 402138 h 410520"/>
                <a:gd name="connsiteX39" fmla="*/ 2645748 w 2663946"/>
                <a:gd name="connsiteY39" fmla="*/ 404841 h 410520"/>
                <a:gd name="connsiteX40" fmla="*/ 2640095 w 2663946"/>
                <a:gd name="connsiteY40" fmla="*/ 408086 h 410520"/>
                <a:gd name="connsiteX41" fmla="*/ 2632229 w 2663946"/>
                <a:gd name="connsiteY41" fmla="*/ 410249 h 410520"/>
                <a:gd name="connsiteX42" fmla="*/ 2631000 w 2663946"/>
                <a:gd name="connsiteY42" fmla="*/ 410520 h 410520"/>
                <a:gd name="connsiteX43" fmla="*/ 2626821 w 2663946"/>
                <a:gd name="connsiteY43" fmla="*/ 410520 h 410520"/>
                <a:gd name="connsiteX44" fmla="*/ 2626576 w 2663946"/>
                <a:gd name="connsiteY44" fmla="*/ 410520 h 410520"/>
                <a:gd name="connsiteX45" fmla="*/ 2613548 w 2663946"/>
                <a:gd name="connsiteY45" fmla="*/ 405653 h 410520"/>
                <a:gd name="connsiteX46" fmla="*/ 2608878 w 2663946"/>
                <a:gd name="connsiteY46" fmla="*/ 401597 h 410520"/>
                <a:gd name="connsiteX47" fmla="*/ 2605682 w 2663946"/>
                <a:gd name="connsiteY47" fmla="*/ 397812 h 410520"/>
                <a:gd name="connsiteX48" fmla="*/ 2603470 w 2663946"/>
                <a:gd name="connsiteY48" fmla="*/ 394297 h 410520"/>
                <a:gd name="connsiteX49" fmla="*/ 2601258 w 2663946"/>
                <a:gd name="connsiteY49" fmla="*/ 389971 h 410520"/>
                <a:gd name="connsiteX50" fmla="*/ 2600029 w 2663946"/>
                <a:gd name="connsiteY50" fmla="*/ 386996 h 410520"/>
                <a:gd name="connsiteX51" fmla="*/ 2599046 w 2663946"/>
                <a:gd name="connsiteY51" fmla="*/ 383752 h 410520"/>
                <a:gd name="connsiteX52" fmla="*/ 2597816 w 2663946"/>
                <a:gd name="connsiteY52" fmla="*/ 378074 h 410520"/>
                <a:gd name="connsiteX53" fmla="*/ 2597571 w 2663946"/>
                <a:gd name="connsiteY53" fmla="*/ 375100 h 410520"/>
                <a:gd name="connsiteX54" fmla="*/ 2597816 w 2663946"/>
                <a:gd name="connsiteY54" fmla="*/ 375370 h 410520"/>
                <a:gd name="connsiteX55" fmla="*/ 2597816 w 2663946"/>
                <a:gd name="connsiteY55" fmla="*/ 369692 h 410520"/>
                <a:gd name="connsiteX56" fmla="*/ 2597816 w 2663946"/>
                <a:gd name="connsiteY56" fmla="*/ 369422 h 410520"/>
                <a:gd name="connsiteX57" fmla="*/ 2598308 w 2663946"/>
                <a:gd name="connsiteY57" fmla="*/ 364825 h 410520"/>
                <a:gd name="connsiteX58" fmla="*/ 2599537 w 2663946"/>
                <a:gd name="connsiteY58" fmla="*/ 359418 h 410520"/>
                <a:gd name="connsiteX59" fmla="*/ 2600520 w 2663946"/>
                <a:gd name="connsiteY59" fmla="*/ 356173 h 410520"/>
                <a:gd name="connsiteX60" fmla="*/ 2602732 w 2663946"/>
                <a:gd name="connsiteY60" fmla="*/ 351036 h 410520"/>
                <a:gd name="connsiteX61" fmla="*/ 2604945 w 2663946"/>
                <a:gd name="connsiteY61" fmla="*/ 347251 h 410520"/>
                <a:gd name="connsiteX62" fmla="*/ 2607157 w 2663946"/>
                <a:gd name="connsiteY62" fmla="*/ 344276 h 410520"/>
                <a:gd name="connsiteX63" fmla="*/ 2609369 w 2663946"/>
                <a:gd name="connsiteY63" fmla="*/ 341843 h 410520"/>
                <a:gd name="connsiteX64" fmla="*/ 2614039 w 2663946"/>
                <a:gd name="connsiteY64" fmla="*/ 338058 h 410520"/>
                <a:gd name="connsiteX65" fmla="*/ 2617972 w 2663946"/>
                <a:gd name="connsiteY65" fmla="*/ 335895 h 410520"/>
                <a:gd name="connsiteX66" fmla="*/ 2627559 w 2663946"/>
                <a:gd name="connsiteY66" fmla="*/ 333461 h 410520"/>
                <a:gd name="connsiteX67" fmla="*/ 2631061 w 2663946"/>
                <a:gd name="connsiteY67" fmla="*/ 269551 h 410520"/>
                <a:gd name="connsiteX68" fmla="*/ 2621591 w 2663946"/>
                <a:gd name="connsiteY68" fmla="*/ 278825 h 410520"/>
                <a:gd name="connsiteX69" fmla="*/ 2626545 w 2663946"/>
                <a:gd name="connsiteY69" fmla="*/ 286982 h 410520"/>
                <a:gd name="connsiteX70" fmla="*/ 2626545 w 2663946"/>
                <a:gd name="connsiteY70" fmla="*/ 295377 h 410520"/>
                <a:gd name="connsiteX71" fmla="*/ 2631061 w 2663946"/>
                <a:gd name="connsiteY71" fmla="*/ 299800 h 410520"/>
                <a:gd name="connsiteX72" fmla="*/ 2635578 w 2663946"/>
                <a:gd name="connsiteY72" fmla="*/ 295377 h 410520"/>
                <a:gd name="connsiteX73" fmla="*/ 2635578 w 2663946"/>
                <a:gd name="connsiteY73" fmla="*/ 286982 h 410520"/>
                <a:gd name="connsiteX74" fmla="*/ 2640532 w 2663946"/>
                <a:gd name="connsiteY74" fmla="*/ 278825 h 410520"/>
                <a:gd name="connsiteX75" fmla="*/ 2631061 w 2663946"/>
                <a:gd name="connsiteY75" fmla="*/ 269551 h 410520"/>
                <a:gd name="connsiteX76" fmla="*/ 2630799 w 2663946"/>
                <a:gd name="connsiteY76" fmla="*/ 230834 h 410520"/>
                <a:gd name="connsiteX77" fmla="*/ 2619139 w 2663946"/>
                <a:gd name="connsiteY77" fmla="*/ 238563 h 410520"/>
                <a:gd name="connsiteX78" fmla="*/ 2618214 w 2663946"/>
                <a:gd name="connsiteY78" fmla="*/ 243146 h 410520"/>
                <a:gd name="connsiteX79" fmla="*/ 2621454 w 2663946"/>
                <a:gd name="connsiteY79" fmla="*/ 243146 h 410520"/>
                <a:gd name="connsiteX80" fmla="*/ 2639871 w 2663946"/>
                <a:gd name="connsiteY80" fmla="*/ 243146 h 410520"/>
                <a:gd name="connsiteX81" fmla="*/ 2643385 w 2663946"/>
                <a:gd name="connsiteY81" fmla="*/ 243146 h 410520"/>
                <a:gd name="connsiteX82" fmla="*/ 2642460 w 2663946"/>
                <a:gd name="connsiteY82" fmla="*/ 238563 h 410520"/>
                <a:gd name="connsiteX83" fmla="*/ 2630799 w 2663946"/>
                <a:gd name="connsiteY83" fmla="*/ 230834 h 410520"/>
                <a:gd name="connsiteX84" fmla="*/ 2630799 w 2663946"/>
                <a:gd name="connsiteY84" fmla="*/ 218179 h 410520"/>
                <a:gd name="connsiteX85" fmla="*/ 2655595 w 2663946"/>
                <a:gd name="connsiteY85" fmla="*/ 238388 h 410520"/>
                <a:gd name="connsiteX86" fmla="*/ 2656074 w 2663946"/>
                <a:gd name="connsiteY86" fmla="*/ 243146 h 410520"/>
                <a:gd name="connsiteX87" fmla="*/ 2657493 w 2663946"/>
                <a:gd name="connsiteY87" fmla="*/ 243146 h 410520"/>
                <a:gd name="connsiteX88" fmla="*/ 2663946 w 2663946"/>
                <a:gd name="connsiteY88" fmla="*/ 249432 h 410520"/>
                <a:gd name="connsiteX89" fmla="*/ 2663946 w 2663946"/>
                <a:gd name="connsiteY89" fmla="*/ 299154 h 410520"/>
                <a:gd name="connsiteX90" fmla="*/ 2657493 w 2663946"/>
                <a:gd name="connsiteY90" fmla="*/ 305440 h 410520"/>
                <a:gd name="connsiteX91" fmla="*/ 2604106 w 2663946"/>
                <a:gd name="connsiteY91" fmla="*/ 305440 h 410520"/>
                <a:gd name="connsiteX92" fmla="*/ 2597652 w 2663946"/>
                <a:gd name="connsiteY92" fmla="*/ 299154 h 410520"/>
                <a:gd name="connsiteX93" fmla="*/ 2597652 w 2663946"/>
                <a:gd name="connsiteY93" fmla="*/ 249432 h 410520"/>
                <a:gd name="connsiteX94" fmla="*/ 2604106 w 2663946"/>
                <a:gd name="connsiteY94" fmla="*/ 243146 h 410520"/>
                <a:gd name="connsiteX95" fmla="*/ 2604940 w 2663946"/>
                <a:gd name="connsiteY95" fmla="*/ 243146 h 410520"/>
                <a:gd name="connsiteX96" fmla="*/ 2605524 w 2663946"/>
                <a:gd name="connsiteY96" fmla="*/ 243146 h 410520"/>
                <a:gd name="connsiteX97" fmla="*/ 2606004 w 2663946"/>
                <a:gd name="connsiteY97" fmla="*/ 238388 h 410520"/>
                <a:gd name="connsiteX98" fmla="*/ 2630799 w 2663946"/>
                <a:gd name="connsiteY98" fmla="*/ 218179 h 410520"/>
                <a:gd name="connsiteX99" fmla="*/ 33409 w 2663946"/>
                <a:gd name="connsiteY99" fmla="*/ 165325 h 410520"/>
                <a:gd name="connsiteX100" fmla="*/ 23938 w 2663946"/>
                <a:gd name="connsiteY100" fmla="*/ 174599 h 410520"/>
                <a:gd name="connsiteX101" fmla="*/ 28892 w 2663946"/>
                <a:gd name="connsiteY101" fmla="*/ 182756 h 410520"/>
                <a:gd name="connsiteX102" fmla="*/ 28892 w 2663946"/>
                <a:gd name="connsiteY102" fmla="*/ 191151 h 410520"/>
                <a:gd name="connsiteX103" fmla="*/ 33409 w 2663946"/>
                <a:gd name="connsiteY103" fmla="*/ 195574 h 410520"/>
                <a:gd name="connsiteX104" fmla="*/ 37926 w 2663946"/>
                <a:gd name="connsiteY104" fmla="*/ 191151 h 410520"/>
                <a:gd name="connsiteX105" fmla="*/ 37926 w 2663946"/>
                <a:gd name="connsiteY105" fmla="*/ 182756 h 410520"/>
                <a:gd name="connsiteX106" fmla="*/ 42880 w 2663946"/>
                <a:gd name="connsiteY106" fmla="*/ 174599 h 410520"/>
                <a:gd name="connsiteX107" fmla="*/ 33409 w 2663946"/>
                <a:gd name="connsiteY107" fmla="*/ 165325 h 410520"/>
                <a:gd name="connsiteX108" fmla="*/ 2538193 w 2663946"/>
                <a:gd name="connsiteY108" fmla="*/ 157737 h 410520"/>
                <a:gd name="connsiteX109" fmla="*/ 2528723 w 2663946"/>
                <a:gd name="connsiteY109" fmla="*/ 167011 h 410520"/>
                <a:gd name="connsiteX110" fmla="*/ 2533677 w 2663946"/>
                <a:gd name="connsiteY110" fmla="*/ 175168 h 410520"/>
                <a:gd name="connsiteX111" fmla="*/ 2533677 w 2663946"/>
                <a:gd name="connsiteY111" fmla="*/ 183563 h 410520"/>
                <a:gd name="connsiteX112" fmla="*/ 2538193 w 2663946"/>
                <a:gd name="connsiteY112" fmla="*/ 187986 h 410520"/>
                <a:gd name="connsiteX113" fmla="*/ 2542710 w 2663946"/>
                <a:gd name="connsiteY113" fmla="*/ 183563 h 410520"/>
                <a:gd name="connsiteX114" fmla="*/ 2542710 w 2663946"/>
                <a:gd name="connsiteY114" fmla="*/ 175168 h 410520"/>
                <a:gd name="connsiteX115" fmla="*/ 2547664 w 2663946"/>
                <a:gd name="connsiteY115" fmla="*/ 167011 h 410520"/>
                <a:gd name="connsiteX116" fmla="*/ 2538193 w 2663946"/>
                <a:gd name="connsiteY116" fmla="*/ 157737 h 410520"/>
                <a:gd name="connsiteX117" fmla="*/ 2113196 w 2663946"/>
                <a:gd name="connsiteY117" fmla="*/ 157737 h 410520"/>
                <a:gd name="connsiteX118" fmla="*/ 2103726 w 2663946"/>
                <a:gd name="connsiteY118" fmla="*/ 167011 h 410520"/>
                <a:gd name="connsiteX119" fmla="*/ 2108680 w 2663946"/>
                <a:gd name="connsiteY119" fmla="*/ 175168 h 410520"/>
                <a:gd name="connsiteX120" fmla="*/ 2108680 w 2663946"/>
                <a:gd name="connsiteY120" fmla="*/ 183563 h 410520"/>
                <a:gd name="connsiteX121" fmla="*/ 2113196 w 2663946"/>
                <a:gd name="connsiteY121" fmla="*/ 187986 h 410520"/>
                <a:gd name="connsiteX122" fmla="*/ 2117713 w 2663946"/>
                <a:gd name="connsiteY122" fmla="*/ 183563 h 410520"/>
                <a:gd name="connsiteX123" fmla="*/ 2117713 w 2663946"/>
                <a:gd name="connsiteY123" fmla="*/ 175168 h 410520"/>
                <a:gd name="connsiteX124" fmla="*/ 2122667 w 2663946"/>
                <a:gd name="connsiteY124" fmla="*/ 167011 h 410520"/>
                <a:gd name="connsiteX125" fmla="*/ 2113196 w 2663946"/>
                <a:gd name="connsiteY125" fmla="*/ 157737 h 410520"/>
                <a:gd name="connsiteX126" fmla="*/ 1855228 w 2663946"/>
                <a:gd name="connsiteY126" fmla="*/ 157737 h 410520"/>
                <a:gd name="connsiteX127" fmla="*/ 1845758 w 2663946"/>
                <a:gd name="connsiteY127" fmla="*/ 167011 h 410520"/>
                <a:gd name="connsiteX128" fmla="*/ 1850712 w 2663946"/>
                <a:gd name="connsiteY128" fmla="*/ 175168 h 410520"/>
                <a:gd name="connsiteX129" fmla="*/ 1850712 w 2663946"/>
                <a:gd name="connsiteY129" fmla="*/ 183563 h 410520"/>
                <a:gd name="connsiteX130" fmla="*/ 1855228 w 2663946"/>
                <a:gd name="connsiteY130" fmla="*/ 187986 h 410520"/>
                <a:gd name="connsiteX131" fmla="*/ 1859745 w 2663946"/>
                <a:gd name="connsiteY131" fmla="*/ 183563 h 410520"/>
                <a:gd name="connsiteX132" fmla="*/ 1859745 w 2663946"/>
                <a:gd name="connsiteY132" fmla="*/ 175168 h 410520"/>
                <a:gd name="connsiteX133" fmla="*/ 1864699 w 2663946"/>
                <a:gd name="connsiteY133" fmla="*/ 167011 h 410520"/>
                <a:gd name="connsiteX134" fmla="*/ 1855228 w 2663946"/>
                <a:gd name="connsiteY134" fmla="*/ 157737 h 410520"/>
                <a:gd name="connsiteX135" fmla="*/ 1764289 w 2663946"/>
                <a:gd name="connsiteY135" fmla="*/ 157737 h 410520"/>
                <a:gd name="connsiteX136" fmla="*/ 1754819 w 2663946"/>
                <a:gd name="connsiteY136" fmla="*/ 167011 h 410520"/>
                <a:gd name="connsiteX137" fmla="*/ 1759773 w 2663946"/>
                <a:gd name="connsiteY137" fmla="*/ 175168 h 410520"/>
                <a:gd name="connsiteX138" fmla="*/ 1759773 w 2663946"/>
                <a:gd name="connsiteY138" fmla="*/ 183563 h 410520"/>
                <a:gd name="connsiteX139" fmla="*/ 1764289 w 2663946"/>
                <a:gd name="connsiteY139" fmla="*/ 187986 h 410520"/>
                <a:gd name="connsiteX140" fmla="*/ 1768806 w 2663946"/>
                <a:gd name="connsiteY140" fmla="*/ 183563 h 410520"/>
                <a:gd name="connsiteX141" fmla="*/ 1768806 w 2663946"/>
                <a:gd name="connsiteY141" fmla="*/ 175168 h 410520"/>
                <a:gd name="connsiteX142" fmla="*/ 1773760 w 2663946"/>
                <a:gd name="connsiteY142" fmla="*/ 167011 h 410520"/>
                <a:gd name="connsiteX143" fmla="*/ 1764289 w 2663946"/>
                <a:gd name="connsiteY143" fmla="*/ 157737 h 410520"/>
                <a:gd name="connsiteX144" fmla="*/ 1506321 w 2663946"/>
                <a:gd name="connsiteY144" fmla="*/ 157737 h 410520"/>
                <a:gd name="connsiteX145" fmla="*/ 1496851 w 2663946"/>
                <a:gd name="connsiteY145" fmla="*/ 167011 h 410520"/>
                <a:gd name="connsiteX146" fmla="*/ 1501805 w 2663946"/>
                <a:gd name="connsiteY146" fmla="*/ 175168 h 410520"/>
                <a:gd name="connsiteX147" fmla="*/ 1501805 w 2663946"/>
                <a:gd name="connsiteY147" fmla="*/ 183563 h 410520"/>
                <a:gd name="connsiteX148" fmla="*/ 1506321 w 2663946"/>
                <a:gd name="connsiteY148" fmla="*/ 187986 h 410520"/>
                <a:gd name="connsiteX149" fmla="*/ 1510838 w 2663946"/>
                <a:gd name="connsiteY149" fmla="*/ 183563 h 410520"/>
                <a:gd name="connsiteX150" fmla="*/ 1510838 w 2663946"/>
                <a:gd name="connsiteY150" fmla="*/ 175168 h 410520"/>
                <a:gd name="connsiteX151" fmla="*/ 1515792 w 2663946"/>
                <a:gd name="connsiteY151" fmla="*/ 167011 h 410520"/>
                <a:gd name="connsiteX152" fmla="*/ 1506321 w 2663946"/>
                <a:gd name="connsiteY152" fmla="*/ 157737 h 410520"/>
                <a:gd name="connsiteX153" fmla="*/ 1415382 w 2663946"/>
                <a:gd name="connsiteY153" fmla="*/ 157737 h 410520"/>
                <a:gd name="connsiteX154" fmla="*/ 1405912 w 2663946"/>
                <a:gd name="connsiteY154" fmla="*/ 167011 h 410520"/>
                <a:gd name="connsiteX155" fmla="*/ 1410866 w 2663946"/>
                <a:gd name="connsiteY155" fmla="*/ 175168 h 410520"/>
                <a:gd name="connsiteX156" fmla="*/ 1410866 w 2663946"/>
                <a:gd name="connsiteY156" fmla="*/ 183563 h 410520"/>
                <a:gd name="connsiteX157" fmla="*/ 1415382 w 2663946"/>
                <a:gd name="connsiteY157" fmla="*/ 187986 h 410520"/>
                <a:gd name="connsiteX158" fmla="*/ 1419899 w 2663946"/>
                <a:gd name="connsiteY158" fmla="*/ 183563 h 410520"/>
                <a:gd name="connsiteX159" fmla="*/ 1419899 w 2663946"/>
                <a:gd name="connsiteY159" fmla="*/ 175168 h 410520"/>
                <a:gd name="connsiteX160" fmla="*/ 1424853 w 2663946"/>
                <a:gd name="connsiteY160" fmla="*/ 167011 h 410520"/>
                <a:gd name="connsiteX161" fmla="*/ 1415382 w 2663946"/>
                <a:gd name="connsiteY161" fmla="*/ 157737 h 410520"/>
                <a:gd name="connsiteX162" fmla="*/ 1157414 w 2663946"/>
                <a:gd name="connsiteY162" fmla="*/ 157737 h 410520"/>
                <a:gd name="connsiteX163" fmla="*/ 1147944 w 2663946"/>
                <a:gd name="connsiteY163" fmla="*/ 167011 h 410520"/>
                <a:gd name="connsiteX164" fmla="*/ 1152898 w 2663946"/>
                <a:gd name="connsiteY164" fmla="*/ 175168 h 410520"/>
                <a:gd name="connsiteX165" fmla="*/ 1152898 w 2663946"/>
                <a:gd name="connsiteY165" fmla="*/ 183563 h 410520"/>
                <a:gd name="connsiteX166" fmla="*/ 1157414 w 2663946"/>
                <a:gd name="connsiteY166" fmla="*/ 187986 h 410520"/>
                <a:gd name="connsiteX167" fmla="*/ 1161931 w 2663946"/>
                <a:gd name="connsiteY167" fmla="*/ 183563 h 410520"/>
                <a:gd name="connsiteX168" fmla="*/ 1161931 w 2663946"/>
                <a:gd name="connsiteY168" fmla="*/ 175168 h 410520"/>
                <a:gd name="connsiteX169" fmla="*/ 1166885 w 2663946"/>
                <a:gd name="connsiteY169" fmla="*/ 167011 h 410520"/>
                <a:gd name="connsiteX170" fmla="*/ 1157414 w 2663946"/>
                <a:gd name="connsiteY170" fmla="*/ 157737 h 410520"/>
                <a:gd name="connsiteX171" fmla="*/ 732418 w 2663946"/>
                <a:gd name="connsiteY171" fmla="*/ 157737 h 410520"/>
                <a:gd name="connsiteX172" fmla="*/ 722947 w 2663946"/>
                <a:gd name="connsiteY172" fmla="*/ 167011 h 410520"/>
                <a:gd name="connsiteX173" fmla="*/ 727901 w 2663946"/>
                <a:gd name="connsiteY173" fmla="*/ 175168 h 410520"/>
                <a:gd name="connsiteX174" fmla="*/ 727901 w 2663946"/>
                <a:gd name="connsiteY174" fmla="*/ 183563 h 410520"/>
                <a:gd name="connsiteX175" fmla="*/ 732418 w 2663946"/>
                <a:gd name="connsiteY175" fmla="*/ 187986 h 410520"/>
                <a:gd name="connsiteX176" fmla="*/ 736935 w 2663946"/>
                <a:gd name="connsiteY176" fmla="*/ 183563 h 410520"/>
                <a:gd name="connsiteX177" fmla="*/ 736935 w 2663946"/>
                <a:gd name="connsiteY177" fmla="*/ 175168 h 410520"/>
                <a:gd name="connsiteX178" fmla="*/ 741889 w 2663946"/>
                <a:gd name="connsiteY178" fmla="*/ 167011 h 410520"/>
                <a:gd name="connsiteX179" fmla="*/ 732418 w 2663946"/>
                <a:gd name="connsiteY179" fmla="*/ 157737 h 410520"/>
                <a:gd name="connsiteX180" fmla="*/ 641479 w 2663946"/>
                <a:gd name="connsiteY180" fmla="*/ 157737 h 410520"/>
                <a:gd name="connsiteX181" fmla="*/ 632008 w 2663946"/>
                <a:gd name="connsiteY181" fmla="*/ 167011 h 410520"/>
                <a:gd name="connsiteX182" fmla="*/ 636962 w 2663946"/>
                <a:gd name="connsiteY182" fmla="*/ 175168 h 410520"/>
                <a:gd name="connsiteX183" fmla="*/ 636962 w 2663946"/>
                <a:gd name="connsiteY183" fmla="*/ 183563 h 410520"/>
                <a:gd name="connsiteX184" fmla="*/ 641479 w 2663946"/>
                <a:gd name="connsiteY184" fmla="*/ 187986 h 410520"/>
                <a:gd name="connsiteX185" fmla="*/ 645996 w 2663946"/>
                <a:gd name="connsiteY185" fmla="*/ 183563 h 410520"/>
                <a:gd name="connsiteX186" fmla="*/ 645996 w 2663946"/>
                <a:gd name="connsiteY186" fmla="*/ 175168 h 410520"/>
                <a:gd name="connsiteX187" fmla="*/ 650950 w 2663946"/>
                <a:gd name="connsiteY187" fmla="*/ 167011 h 410520"/>
                <a:gd name="connsiteX188" fmla="*/ 641479 w 2663946"/>
                <a:gd name="connsiteY188" fmla="*/ 157737 h 410520"/>
                <a:gd name="connsiteX189" fmla="*/ 459528 w 2663946"/>
                <a:gd name="connsiteY189" fmla="*/ 157737 h 410520"/>
                <a:gd name="connsiteX190" fmla="*/ 450057 w 2663946"/>
                <a:gd name="connsiteY190" fmla="*/ 167011 h 410520"/>
                <a:gd name="connsiteX191" fmla="*/ 455011 w 2663946"/>
                <a:gd name="connsiteY191" fmla="*/ 175168 h 410520"/>
                <a:gd name="connsiteX192" fmla="*/ 455011 w 2663946"/>
                <a:gd name="connsiteY192" fmla="*/ 183563 h 410520"/>
                <a:gd name="connsiteX193" fmla="*/ 459528 w 2663946"/>
                <a:gd name="connsiteY193" fmla="*/ 187986 h 410520"/>
                <a:gd name="connsiteX194" fmla="*/ 464045 w 2663946"/>
                <a:gd name="connsiteY194" fmla="*/ 183563 h 410520"/>
                <a:gd name="connsiteX195" fmla="*/ 464045 w 2663946"/>
                <a:gd name="connsiteY195" fmla="*/ 175168 h 410520"/>
                <a:gd name="connsiteX196" fmla="*/ 468999 w 2663946"/>
                <a:gd name="connsiteY196" fmla="*/ 167011 h 410520"/>
                <a:gd name="connsiteX197" fmla="*/ 459528 w 2663946"/>
                <a:gd name="connsiteY197" fmla="*/ 157737 h 410520"/>
                <a:gd name="connsiteX198" fmla="*/ 2632966 w 2663946"/>
                <a:gd name="connsiteY198" fmla="*/ 130544 h 410520"/>
                <a:gd name="connsiteX199" fmla="*/ 2621414 w 2663946"/>
                <a:gd name="connsiteY199" fmla="*/ 132977 h 410520"/>
                <a:gd name="connsiteX200" fmla="*/ 2618218 w 2663946"/>
                <a:gd name="connsiteY200" fmla="*/ 136492 h 410520"/>
                <a:gd name="connsiteX201" fmla="*/ 2616006 w 2663946"/>
                <a:gd name="connsiteY201" fmla="*/ 140277 h 410520"/>
                <a:gd name="connsiteX202" fmla="*/ 2615023 w 2663946"/>
                <a:gd name="connsiteY202" fmla="*/ 142981 h 410520"/>
                <a:gd name="connsiteX203" fmla="*/ 2614039 w 2663946"/>
                <a:gd name="connsiteY203" fmla="*/ 147037 h 410520"/>
                <a:gd name="connsiteX204" fmla="*/ 2613056 w 2663946"/>
                <a:gd name="connsiteY204" fmla="*/ 154067 h 410520"/>
                <a:gd name="connsiteX205" fmla="*/ 2614039 w 2663946"/>
                <a:gd name="connsiteY205" fmla="*/ 161367 h 410520"/>
                <a:gd name="connsiteX206" fmla="*/ 2615269 w 2663946"/>
                <a:gd name="connsiteY206" fmla="*/ 165152 h 410520"/>
                <a:gd name="connsiteX207" fmla="*/ 2617481 w 2663946"/>
                <a:gd name="connsiteY207" fmla="*/ 169478 h 410520"/>
                <a:gd name="connsiteX208" fmla="*/ 2620922 w 2663946"/>
                <a:gd name="connsiteY208" fmla="*/ 173805 h 410520"/>
                <a:gd name="connsiteX209" fmla="*/ 2625346 w 2663946"/>
                <a:gd name="connsiteY209" fmla="*/ 176508 h 410520"/>
                <a:gd name="connsiteX210" fmla="*/ 2637637 w 2663946"/>
                <a:gd name="connsiteY210" fmla="*/ 174075 h 410520"/>
                <a:gd name="connsiteX211" fmla="*/ 2640832 w 2663946"/>
                <a:gd name="connsiteY211" fmla="*/ 170560 h 410520"/>
                <a:gd name="connsiteX212" fmla="*/ 2643290 w 2663946"/>
                <a:gd name="connsiteY212" fmla="*/ 166234 h 410520"/>
                <a:gd name="connsiteX213" fmla="*/ 2644273 w 2663946"/>
                <a:gd name="connsiteY213" fmla="*/ 164071 h 410520"/>
                <a:gd name="connsiteX214" fmla="*/ 2645502 w 2663946"/>
                <a:gd name="connsiteY214" fmla="*/ 159745 h 410520"/>
                <a:gd name="connsiteX215" fmla="*/ 2645011 w 2663946"/>
                <a:gd name="connsiteY215" fmla="*/ 145955 h 410520"/>
                <a:gd name="connsiteX216" fmla="*/ 2644027 w 2663946"/>
                <a:gd name="connsiteY216" fmla="*/ 142981 h 410520"/>
                <a:gd name="connsiteX217" fmla="*/ 2642799 w 2663946"/>
                <a:gd name="connsiteY217" fmla="*/ 140007 h 410520"/>
                <a:gd name="connsiteX218" fmla="*/ 2640586 w 2663946"/>
                <a:gd name="connsiteY218" fmla="*/ 136492 h 410520"/>
                <a:gd name="connsiteX219" fmla="*/ 2636899 w 2663946"/>
                <a:gd name="connsiteY219" fmla="*/ 132707 h 410520"/>
                <a:gd name="connsiteX220" fmla="*/ 2632966 w 2663946"/>
                <a:gd name="connsiteY220" fmla="*/ 130544 h 410520"/>
                <a:gd name="connsiteX221" fmla="*/ 2451011 w 2663946"/>
                <a:gd name="connsiteY221" fmla="*/ 130544 h 410520"/>
                <a:gd name="connsiteX222" fmla="*/ 2439459 w 2663946"/>
                <a:gd name="connsiteY222" fmla="*/ 132977 h 410520"/>
                <a:gd name="connsiteX223" fmla="*/ 2436263 w 2663946"/>
                <a:gd name="connsiteY223" fmla="*/ 136492 h 410520"/>
                <a:gd name="connsiteX224" fmla="*/ 2434051 w 2663946"/>
                <a:gd name="connsiteY224" fmla="*/ 140277 h 410520"/>
                <a:gd name="connsiteX225" fmla="*/ 2433068 w 2663946"/>
                <a:gd name="connsiteY225" fmla="*/ 142981 h 410520"/>
                <a:gd name="connsiteX226" fmla="*/ 2432084 w 2663946"/>
                <a:gd name="connsiteY226" fmla="*/ 147037 h 410520"/>
                <a:gd name="connsiteX227" fmla="*/ 2431101 w 2663946"/>
                <a:gd name="connsiteY227" fmla="*/ 154067 h 410520"/>
                <a:gd name="connsiteX228" fmla="*/ 2432084 w 2663946"/>
                <a:gd name="connsiteY228" fmla="*/ 161367 h 410520"/>
                <a:gd name="connsiteX229" fmla="*/ 2433314 w 2663946"/>
                <a:gd name="connsiteY229" fmla="*/ 165152 h 410520"/>
                <a:gd name="connsiteX230" fmla="*/ 2435526 w 2663946"/>
                <a:gd name="connsiteY230" fmla="*/ 169478 h 410520"/>
                <a:gd name="connsiteX231" fmla="*/ 2438967 w 2663946"/>
                <a:gd name="connsiteY231" fmla="*/ 173805 h 410520"/>
                <a:gd name="connsiteX232" fmla="*/ 2443391 w 2663946"/>
                <a:gd name="connsiteY232" fmla="*/ 176508 h 410520"/>
                <a:gd name="connsiteX233" fmla="*/ 2455682 w 2663946"/>
                <a:gd name="connsiteY233" fmla="*/ 174075 h 410520"/>
                <a:gd name="connsiteX234" fmla="*/ 2458877 w 2663946"/>
                <a:gd name="connsiteY234" fmla="*/ 170560 h 410520"/>
                <a:gd name="connsiteX235" fmla="*/ 2461335 w 2663946"/>
                <a:gd name="connsiteY235" fmla="*/ 166234 h 410520"/>
                <a:gd name="connsiteX236" fmla="*/ 2462318 w 2663946"/>
                <a:gd name="connsiteY236" fmla="*/ 164071 h 410520"/>
                <a:gd name="connsiteX237" fmla="*/ 2463547 w 2663946"/>
                <a:gd name="connsiteY237" fmla="*/ 159745 h 410520"/>
                <a:gd name="connsiteX238" fmla="*/ 2463056 w 2663946"/>
                <a:gd name="connsiteY238" fmla="*/ 145955 h 410520"/>
                <a:gd name="connsiteX239" fmla="*/ 2462072 w 2663946"/>
                <a:gd name="connsiteY239" fmla="*/ 142981 h 410520"/>
                <a:gd name="connsiteX240" fmla="*/ 2460844 w 2663946"/>
                <a:gd name="connsiteY240" fmla="*/ 140007 h 410520"/>
                <a:gd name="connsiteX241" fmla="*/ 2458631 w 2663946"/>
                <a:gd name="connsiteY241" fmla="*/ 136492 h 410520"/>
                <a:gd name="connsiteX242" fmla="*/ 2454944 w 2663946"/>
                <a:gd name="connsiteY242" fmla="*/ 132707 h 410520"/>
                <a:gd name="connsiteX243" fmla="*/ 2451011 w 2663946"/>
                <a:gd name="connsiteY243" fmla="*/ 130544 h 410520"/>
                <a:gd name="connsiteX244" fmla="*/ 2207965 w 2663946"/>
                <a:gd name="connsiteY244" fmla="*/ 130544 h 410520"/>
                <a:gd name="connsiteX245" fmla="*/ 2196413 w 2663946"/>
                <a:gd name="connsiteY245" fmla="*/ 132977 h 410520"/>
                <a:gd name="connsiteX246" fmla="*/ 2193217 w 2663946"/>
                <a:gd name="connsiteY246" fmla="*/ 136492 h 410520"/>
                <a:gd name="connsiteX247" fmla="*/ 2191005 w 2663946"/>
                <a:gd name="connsiteY247" fmla="*/ 140277 h 410520"/>
                <a:gd name="connsiteX248" fmla="*/ 2190022 w 2663946"/>
                <a:gd name="connsiteY248" fmla="*/ 142981 h 410520"/>
                <a:gd name="connsiteX249" fmla="*/ 2189038 w 2663946"/>
                <a:gd name="connsiteY249" fmla="*/ 147037 h 410520"/>
                <a:gd name="connsiteX250" fmla="*/ 2188055 w 2663946"/>
                <a:gd name="connsiteY250" fmla="*/ 154067 h 410520"/>
                <a:gd name="connsiteX251" fmla="*/ 2189038 w 2663946"/>
                <a:gd name="connsiteY251" fmla="*/ 161367 h 410520"/>
                <a:gd name="connsiteX252" fmla="*/ 2190268 w 2663946"/>
                <a:gd name="connsiteY252" fmla="*/ 165152 h 410520"/>
                <a:gd name="connsiteX253" fmla="*/ 2192480 w 2663946"/>
                <a:gd name="connsiteY253" fmla="*/ 169478 h 410520"/>
                <a:gd name="connsiteX254" fmla="*/ 2195921 w 2663946"/>
                <a:gd name="connsiteY254" fmla="*/ 173805 h 410520"/>
                <a:gd name="connsiteX255" fmla="*/ 2200345 w 2663946"/>
                <a:gd name="connsiteY255" fmla="*/ 176508 h 410520"/>
                <a:gd name="connsiteX256" fmla="*/ 2212636 w 2663946"/>
                <a:gd name="connsiteY256" fmla="*/ 174075 h 410520"/>
                <a:gd name="connsiteX257" fmla="*/ 2215831 w 2663946"/>
                <a:gd name="connsiteY257" fmla="*/ 170560 h 410520"/>
                <a:gd name="connsiteX258" fmla="*/ 2218289 w 2663946"/>
                <a:gd name="connsiteY258" fmla="*/ 166234 h 410520"/>
                <a:gd name="connsiteX259" fmla="*/ 2219272 w 2663946"/>
                <a:gd name="connsiteY259" fmla="*/ 164071 h 410520"/>
                <a:gd name="connsiteX260" fmla="*/ 2220501 w 2663946"/>
                <a:gd name="connsiteY260" fmla="*/ 159745 h 410520"/>
                <a:gd name="connsiteX261" fmla="*/ 2220010 w 2663946"/>
                <a:gd name="connsiteY261" fmla="*/ 145955 h 410520"/>
                <a:gd name="connsiteX262" fmla="*/ 2219026 w 2663946"/>
                <a:gd name="connsiteY262" fmla="*/ 142981 h 410520"/>
                <a:gd name="connsiteX263" fmla="*/ 2217798 w 2663946"/>
                <a:gd name="connsiteY263" fmla="*/ 140007 h 410520"/>
                <a:gd name="connsiteX264" fmla="*/ 2215585 w 2663946"/>
                <a:gd name="connsiteY264" fmla="*/ 136492 h 410520"/>
                <a:gd name="connsiteX265" fmla="*/ 2211898 w 2663946"/>
                <a:gd name="connsiteY265" fmla="*/ 132707 h 410520"/>
                <a:gd name="connsiteX266" fmla="*/ 2207965 w 2663946"/>
                <a:gd name="connsiteY266" fmla="*/ 130544 h 410520"/>
                <a:gd name="connsiteX267" fmla="*/ 2026014 w 2663946"/>
                <a:gd name="connsiteY267" fmla="*/ 130544 h 410520"/>
                <a:gd name="connsiteX268" fmla="*/ 2014462 w 2663946"/>
                <a:gd name="connsiteY268" fmla="*/ 132977 h 410520"/>
                <a:gd name="connsiteX269" fmla="*/ 2011266 w 2663946"/>
                <a:gd name="connsiteY269" fmla="*/ 136492 h 410520"/>
                <a:gd name="connsiteX270" fmla="*/ 2009054 w 2663946"/>
                <a:gd name="connsiteY270" fmla="*/ 140277 h 410520"/>
                <a:gd name="connsiteX271" fmla="*/ 2008071 w 2663946"/>
                <a:gd name="connsiteY271" fmla="*/ 142981 h 410520"/>
                <a:gd name="connsiteX272" fmla="*/ 2007087 w 2663946"/>
                <a:gd name="connsiteY272" fmla="*/ 147037 h 410520"/>
                <a:gd name="connsiteX273" fmla="*/ 2006104 w 2663946"/>
                <a:gd name="connsiteY273" fmla="*/ 154067 h 410520"/>
                <a:gd name="connsiteX274" fmla="*/ 2007087 w 2663946"/>
                <a:gd name="connsiteY274" fmla="*/ 161367 h 410520"/>
                <a:gd name="connsiteX275" fmla="*/ 2008317 w 2663946"/>
                <a:gd name="connsiteY275" fmla="*/ 165152 h 410520"/>
                <a:gd name="connsiteX276" fmla="*/ 2010529 w 2663946"/>
                <a:gd name="connsiteY276" fmla="*/ 169478 h 410520"/>
                <a:gd name="connsiteX277" fmla="*/ 2013970 w 2663946"/>
                <a:gd name="connsiteY277" fmla="*/ 173805 h 410520"/>
                <a:gd name="connsiteX278" fmla="*/ 2018394 w 2663946"/>
                <a:gd name="connsiteY278" fmla="*/ 176508 h 410520"/>
                <a:gd name="connsiteX279" fmla="*/ 2030685 w 2663946"/>
                <a:gd name="connsiteY279" fmla="*/ 174075 h 410520"/>
                <a:gd name="connsiteX280" fmla="*/ 2033880 w 2663946"/>
                <a:gd name="connsiteY280" fmla="*/ 170560 h 410520"/>
                <a:gd name="connsiteX281" fmla="*/ 2036338 w 2663946"/>
                <a:gd name="connsiteY281" fmla="*/ 166234 h 410520"/>
                <a:gd name="connsiteX282" fmla="*/ 2037321 w 2663946"/>
                <a:gd name="connsiteY282" fmla="*/ 164071 h 410520"/>
                <a:gd name="connsiteX283" fmla="*/ 2038550 w 2663946"/>
                <a:gd name="connsiteY283" fmla="*/ 159745 h 410520"/>
                <a:gd name="connsiteX284" fmla="*/ 2038059 w 2663946"/>
                <a:gd name="connsiteY284" fmla="*/ 145955 h 410520"/>
                <a:gd name="connsiteX285" fmla="*/ 2037075 w 2663946"/>
                <a:gd name="connsiteY285" fmla="*/ 142981 h 410520"/>
                <a:gd name="connsiteX286" fmla="*/ 2035847 w 2663946"/>
                <a:gd name="connsiteY286" fmla="*/ 140007 h 410520"/>
                <a:gd name="connsiteX287" fmla="*/ 2033634 w 2663946"/>
                <a:gd name="connsiteY287" fmla="*/ 136492 h 410520"/>
                <a:gd name="connsiteX288" fmla="*/ 2029947 w 2663946"/>
                <a:gd name="connsiteY288" fmla="*/ 132707 h 410520"/>
                <a:gd name="connsiteX289" fmla="*/ 2026014 w 2663946"/>
                <a:gd name="connsiteY289" fmla="*/ 130544 h 410520"/>
                <a:gd name="connsiteX290" fmla="*/ 1601090 w 2663946"/>
                <a:gd name="connsiteY290" fmla="*/ 130544 h 410520"/>
                <a:gd name="connsiteX291" fmla="*/ 1589537 w 2663946"/>
                <a:gd name="connsiteY291" fmla="*/ 132977 h 410520"/>
                <a:gd name="connsiteX292" fmla="*/ 1586342 w 2663946"/>
                <a:gd name="connsiteY292" fmla="*/ 136492 h 410520"/>
                <a:gd name="connsiteX293" fmla="*/ 1584130 w 2663946"/>
                <a:gd name="connsiteY293" fmla="*/ 140277 h 410520"/>
                <a:gd name="connsiteX294" fmla="*/ 1583147 w 2663946"/>
                <a:gd name="connsiteY294" fmla="*/ 142981 h 410520"/>
                <a:gd name="connsiteX295" fmla="*/ 1582163 w 2663946"/>
                <a:gd name="connsiteY295" fmla="*/ 147037 h 410520"/>
                <a:gd name="connsiteX296" fmla="*/ 1581180 w 2663946"/>
                <a:gd name="connsiteY296" fmla="*/ 154067 h 410520"/>
                <a:gd name="connsiteX297" fmla="*/ 1582163 w 2663946"/>
                <a:gd name="connsiteY297" fmla="*/ 161367 h 410520"/>
                <a:gd name="connsiteX298" fmla="*/ 1583393 w 2663946"/>
                <a:gd name="connsiteY298" fmla="*/ 165152 h 410520"/>
                <a:gd name="connsiteX299" fmla="*/ 1585605 w 2663946"/>
                <a:gd name="connsiteY299" fmla="*/ 169478 h 410520"/>
                <a:gd name="connsiteX300" fmla="*/ 1589046 w 2663946"/>
                <a:gd name="connsiteY300" fmla="*/ 173805 h 410520"/>
                <a:gd name="connsiteX301" fmla="*/ 1593470 w 2663946"/>
                <a:gd name="connsiteY301" fmla="*/ 176508 h 410520"/>
                <a:gd name="connsiteX302" fmla="*/ 1605761 w 2663946"/>
                <a:gd name="connsiteY302" fmla="*/ 174075 h 410520"/>
                <a:gd name="connsiteX303" fmla="*/ 1608956 w 2663946"/>
                <a:gd name="connsiteY303" fmla="*/ 170560 h 410520"/>
                <a:gd name="connsiteX304" fmla="*/ 1611414 w 2663946"/>
                <a:gd name="connsiteY304" fmla="*/ 166234 h 410520"/>
                <a:gd name="connsiteX305" fmla="*/ 1612397 w 2663946"/>
                <a:gd name="connsiteY305" fmla="*/ 164071 h 410520"/>
                <a:gd name="connsiteX306" fmla="*/ 1613626 w 2663946"/>
                <a:gd name="connsiteY306" fmla="*/ 159745 h 410520"/>
                <a:gd name="connsiteX307" fmla="*/ 1613135 w 2663946"/>
                <a:gd name="connsiteY307" fmla="*/ 145955 h 410520"/>
                <a:gd name="connsiteX308" fmla="*/ 1612151 w 2663946"/>
                <a:gd name="connsiteY308" fmla="*/ 142981 h 410520"/>
                <a:gd name="connsiteX309" fmla="*/ 1610923 w 2663946"/>
                <a:gd name="connsiteY309" fmla="*/ 140007 h 410520"/>
                <a:gd name="connsiteX310" fmla="*/ 1608710 w 2663946"/>
                <a:gd name="connsiteY310" fmla="*/ 136492 h 410520"/>
                <a:gd name="connsiteX311" fmla="*/ 1605023 w 2663946"/>
                <a:gd name="connsiteY311" fmla="*/ 132707 h 410520"/>
                <a:gd name="connsiteX312" fmla="*/ 1601090 w 2663946"/>
                <a:gd name="connsiteY312" fmla="*/ 130544 h 410520"/>
                <a:gd name="connsiteX313" fmla="*/ 1252183 w 2663946"/>
                <a:gd name="connsiteY313" fmla="*/ 130544 h 410520"/>
                <a:gd name="connsiteX314" fmla="*/ 1240630 w 2663946"/>
                <a:gd name="connsiteY314" fmla="*/ 132977 h 410520"/>
                <a:gd name="connsiteX315" fmla="*/ 1237435 w 2663946"/>
                <a:gd name="connsiteY315" fmla="*/ 136492 h 410520"/>
                <a:gd name="connsiteX316" fmla="*/ 1235223 w 2663946"/>
                <a:gd name="connsiteY316" fmla="*/ 140277 h 410520"/>
                <a:gd name="connsiteX317" fmla="*/ 1234240 w 2663946"/>
                <a:gd name="connsiteY317" fmla="*/ 142981 h 410520"/>
                <a:gd name="connsiteX318" fmla="*/ 1233256 w 2663946"/>
                <a:gd name="connsiteY318" fmla="*/ 147037 h 410520"/>
                <a:gd name="connsiteX319" fmla="*/ 1232273 w 2663946"/>
                <a:gd name="connsiteY319" fmla="*/ 154067 h 410520"/>
                <a:gd name="connsiteX320" fmla="*/ 1233256 w 2663946"/>
                <a:gd name="connsiteY320" fmla="*/ 161367 h 410520"/>
                <a:gd name="connsiteX321" fmla="*/ 1234486 w 2663946"/>
                <a:gd name="connsiteY321" fmla="*/ 165152 h 410520"/>
                <a:gd name="connsiteX322" fmla="*/ 1236698 w 2663946"/>
                <a:gd name="connsiteY322" fmla="*/ 169478 h 410520"/>
                <a:gd name="connsiteX323" fmla="*/ 1240139 w 2663946"/>
                <a:gd name="connsiteY323" fmla="*/ 173805 h 410520"/>
                <a:gd name="connsiteX324" fmla="*/ 1244563 w 2663946"/>
                <a:gd name="connsiteY324" fmla="*/ 176508 h 410520"/>
                <a:gd name="connsiteX325" fmla="*/ 1256854 w 2663946"/>
                <a:gd name="connsiteY325" fmla="*/ 174075 h 410520"/>
                <a:gd name="connsiteX326" fmla="*/ 1260049 w 2663946"/>
                <a:gd name="connsiteY326" fmla="*/ 170560 h 410520"/>
                <a:gd name="connsiteX327" fmla="*/ 1262507 w 2663946"/>
                <a:gd name="connsiteY327" fmla="*/ 166234 h 410520"/>
                <a:gd name="connsiteX328" fmla="*/ 1263490 w 2663946"/>
                <a:gd name="connsiteY328" fmla="*/ 164071 h 410520"/>
                <a:gd name="connsiteX329" fmla="*/ 1264719 w 2663946"/>
                <a:gd name="connsiteY329" fmla="*/ 159745 h 410520"/>
                <a:gd name="connsiteX330" fmla="*/ 1264228 w 2663946"/>
                <a:gd name="connsiteY330" fmla="*/ 145955 h 410520"/>
                <a:gd name="connsiteX331" fmla="*/ 1263244 w 2663946"/>
                <a:gd name="connsiteY331" fmla="*/ 142981 h 410520"/>
                <a:gd name="connsiteX332" fmla="*/ 1262016 w 2663946"/>
                <a:gd name="connsiteY332" fmla="*/ 140007 h 410520"/>
                <a:gd name="connsiteX333" fmla="*/ 1259803 w 2663946"/>
                <a:gd name="connsiteY333" fmla="*/ 136492 h 410520"/>
                <a:gd name="connsiteX334" fmla="*/ 1256116 w 2663946"/>
                <a:gd name="connsiteY334" fmla="*/ 132707 h 410520"/>
                <a:gd name="connsiteX335" fmla="*/ 1252183 w 2663946"/>
                <a:gd name="connsiteY335" fmla="*/ 130544 h 410520"/>
                <a:gd name="connsiteX336" fmla="*/ 1070232 w 2663946"/>
                <a:gd name="connsiteY336" fmla="*/ 130544 h 410520"/>
                <a:gd name="connsiteX337" fmla="*/ 1058679 w 2663946"/>
                <a:gd name="connsiteY337" fmla="*/ 132977 h 410520"/>
                <a:gd name="connsiteX338" fmla="*/ 1055484 w 2663946"/>
                <a:gd name="connsiteY338" fmla="*/ 136492 h 410520"/>
                <a:gd name="connsiteX339" fmla="*/ 1053272 w 2663946"/>
                <a:gd name="connsiteY339" fmla="*/ 140277 h 410520"/>
                <a:gd name="connsiteX340" fmla="*/ 1052289 w 2663946"/>
                <a:gd name="connsiteY340" fmla="*/ 142981 h 410520"/>
                <a:gd name="connsiteX341" fmla="*/ 1051305 w 2663946"/>
                <a:gd name="connsiteY341" fmla="*/ 147037 h 410520"/>
                <a:gd name="connsiteX342" fmla="*/ 1050322 w 2663946"/>
                <a:gd name="connsiteY342" fmla="*/ 154067 h 410520"/>
                <a:gd name="connsiteX343" fmla="*/ 1051305 w 2663946"/>
                <a:gd name="connsiteY343" fmla="*/ 161367 h 410520"/>
                <a:gd name="connsiteX344" fmla="*/ 1052535 w 2663946"/>
                <a:gd name="connsiteY344" fmla="*/ 165152 h 410520"/>
                <a:gd name="connsiteX345" fmla="*/ 1054747 w 2663946"/>
                <a:gd name="connsiteY345" fmla="*/ 169478 h 410520"/>
                <a:gd name="connsiteX346" fmla="*/ 1058188 w 2663946"/>
                <a:gd name="connsiteY346" fmla="*/ 173805 h 410520"/>
                <a:gd name="connsiteX347" fmla="*/ 1062612 w 2663946"/>
                <a:gd name="connsiteY347" fmla="*/ 176508 h 410520"/>
                <a:gd name="connsiteX348" fmla="*/ 1074903 w 2663946"/>
                <a:gd name="connsiteY348" fmla="*/ 174075 h 410520"/>
                <a:gd name="connsiteX349" fmla="*/ 1078098 w 2663946"/>
                <a:gd name="connsiteY349" fmla="*/ 170560 h 410520"/>
                <a:gd name="connsiteX350" fmla="*/ 1080556 w 2663946"/>
                <a:gd name="connsiteY350" fmla="*/ 166234 h 410520"/>
                <a:gd name="connsiteX351" fmla="*/ 1081539 w 2663946"/>
                <a:gd name="connsiteY351" fmla="*/ 164071 h 410520"/>
                <a:gd name="connsiteX352" fmla="*/ 1082768 w 2663946"/>
                <a:gd name="connsiteY352" fmla="*/ 159745 h 410520"/>
                <a:gd name="connsiteX353" fmla="*/ 1082277 w 2663946"/>
                <a:gd name="connsiteY353" fmla="*/ 145955 h 410520"/>
                <a:gd name="connsiteX354" fmla="*/ 1081293 w 2663946"/>
                <a:gd name="connsiteY354" fmla="*/ 142981 h 410520"/>
                <a:gd name="connsiteX355" fmla="*/ 1080065 w 2663946"/>
                <a:gd name="connsiteY355" fmla="*/ 140007 h 410520"/>
                <a:gd name="connsiteX356" fmla="*/ 1077852 w 2663946"/>
                <a:gd name="connsiteY356" fmla="*/ 136492 h 410520"/>
                <a:gd name="connsiteX357" fmla="*/ 1074165 w 2663946"/>
                <a:gd name="connsiteY357" fmla="*/ 132707 h 410520"/>
                <a:gd name="connsiteX358" fmla="*/ 1070232 w 2663946"/>
                <a:gd name="connsiteY358" fmla="*/ 130544 h 410520"/>
                <a:gd name="connsiteX359" fmla="*/ 903203 w 2663946"/>
                <a:gd name="connsiteY359" fmla="*/ 130544 h 410520"/>
                <a:gd name="connsiteX360" fmla="*/ 891650 w 2663946"/>
                <a:gd name="connsiteY360" fmla="*/ 132977 h 410520"/>
                <a:gd name="connsiteX361" fmla="*/ 888455 w 2663946"/>
                <a:gd name="connsiteY361" fmla="*/ 136492 h 410520"/>
                <a:gd name="connsiteX362" fmla="*/ 886243 w 2663946"/>
                <a:gd name="connsiteY362" fmla="*/ 140277 h 410520"/>
                <a:gd name="connsiteX363" fmla="*/ 885260 w 2663946"/>
                <a:gd name="connsiteY363" fmla="*/ 142981 h 410520"/>
                <a:gd name="connsiteX364" fmla="*/ 884276 w 2663946"/>
                <a:gd name="connsiteY364" fmla="*/ 147037 h 410520"/>
                <a:gd name="connsiteX365" fmla="*/ 883293 w 2663946"/>
                <a:gd name="connsiteY365" fmla="*/ 154067 h 410520"/>
                <a:gd name="connsiteX366" fmla="*/ 884276 w 2663946"/>
                <a:gd name="connsiteY366" fmla="*/ 161367 h 410520"/>
                <a:gd name="connsiteX367" fmla="*/ 885506 w 2663946"/>
                <a:gd name="connsiteY367" fmla="*/ 165152 h 410520"/>
                <a:gd name="connsiteX368" fmla="*/ 887718 w 2663946"/>
                <a:gd name="connsiteY368" fmla="*/ 169478 h 410520"/>
                <a:gd name="connsiteX369" fmla="*/ 891159 w 2663946"/>
                <a:gd name="connsiteY369" fmla="*/ 173805 h 410520"/>
                <a:gd name="connsiteX370" fmla="*/ 895583 w 2663946"/>
                <a:gd name="connsiteY370" fmla="*/ 176508 h 410520"/>
                <a:gd name="connsiteX371" fmla="*/ 907874 w 2663946"/>
                <a:gd name="connsiteY371" fmla="*/ 174075 h 410520"/>
                <a:gd name="connsiteX372" fmla="*/ 911069 w 2663946"/>
                <a:gd name="connsiteY372" fmla="*/ 170560 h 410520"/>
                <a:gd name="connsiteX373" fmla="*/ 913527 w 2663946"/>
                <a:gd name="connsiteY373" fmla="*/ 166234 h 410520"/>
                <a:gd name="connsiteX374" fmla="*/ 914510 w 2663946"/>
                <a:gd name="connsiteY374" fmla="*/ 164071 h 410520"/>
                <a:gd name="connsiteX375" fmla="*/ 915739 w 2663946"/>
                <a:gd name="connsiteY375" fmla="*/ 159745 h 410520"/>
                <a:gd name="connsiteX376" fmla="*/ 915248 w 2663946"/>
                <a:gd name="connsiteY376" fmla="*/ 145955 h 410520"/>
                <a:gd name="connsiteX377" fmla="*/ 914264 w 2663946"/>
                <a:gd name="connsiteY377" fmla="*/ 142981 h 410520"/>
                <a:gd name="connsiteX378" fmla="*/ 913036 w 2663946"/>
                <a:gd name="connsiteY378" fmla="*/ 140007 h 410520"/>
                <a:gd name="connsiteX379" fmla="*/ 910823 w 2663946"/>
                <a:gd name="connsiteY379" fmla="*/ 136492 h 410520"/>
                <a:gd name="connsiteX380" fmla="*/ 907136 w 2663946"/>
                <a:gd name="connsiteY380" fmla="*/ 132707 h 410520"/>
                <a:gd name="connsiteX381" fmla="*/ 903203 w 2663946"/>
                <a:gd name="connsiteY381" fmla="*/ 130544 h 410520"/>
                <a:gd name="connsiteX382" fmla="*/ 554297 w 2663946"/>
                <a:gd name="connsiteY382" fmla="*/ 130544 h 410520"/>
                <a:gd name="connsiteX383" fmla="*/ 542744 w 2663946"/>
                <a:gd name="connsiteY383" fmla="*/ 132977 h 410520"/>
                <a:gd name="connsiteX384" fmla="*/ 539549 w 2663946"/>
                <a:gd name="connsiteY384" fmla="*/ 136492 h 410520"/>
                <a:gd name="connsiteX385" fmla="*/ 537337 w 2663946"/>
                <a:gd name="connsiteY385" fmla="*/ 140277 h 410520"/>
                <a:gd name="connsiteX386" fmla="*/ 536353 w 2663946"/>
                <a:gd name="connsiteY386" fmla="*/ 142981 h 410520"/>
                <a:gd name="connsiteX387" fmla="*/ 535370 w 2663946"/>
                <a:gd name="connsiteY387" fmla="*/ 147037 h 410520"/>
                <a:gd name="connsiteX388" fmla="*/ 534387 w 2663946"/>
                <a:gd name="connsiteY388" fmla="*/ 154067 h 410520"/>
                <a:gd name="connsiteX389" fmla="*/ 535370 w 2663946"/>
                <a:gd name="connsiteY389" fmla="*/ 161367 h 410520"/>
                <a:gd name="connsiteX390" fmla="*/ 536599 w 2663946"/>
                <a:gd name="connsiteY390" fmla="*/ 165152 h 410520"/>
                <a:gd name="connsiteX391" fmla="*/ 538811 w 2663946"/>
                <a:gd name="connsiteY391" fmla="*/ 169478 h 410520"/>
                <a:gd name="connsiteX392" fmla="*/ 542253 w 2663946"/>
                <a:gd name="connsiteY392" fmla="*/ 173805 h 410520"/>
                <a:gd name="connsiteX393" fmla="*/ 546677 w 2663946"/>
                <a:gd name="connsiteY393" fmla="*/ 176508 h 410520"/>
                <a:gd name="connsiteX394" fmla="*/ 558967 w 2663946"/>
                <a:gd name="connsiteY394" fmla="*/ 174075 h 410520"/>
                <a:gd name="connsiteX395" fmla="*/ 562163 w 2663946"/>
                <a:gd name="connsiteY395" fmla="*/ 170560 h 410520"/>
                <a:gd name="connsiteX396" fmla="*/ 564621 w 2663946"/>
                <a:gd name="connsiteY396" fmla="*/ 166234 h 410520"/>
                <a:gd name="connsiteX397" fmla="*/ 565604 w 2663946"/>
                <a:gd name="connsiteY397" fmla="*/ 164071 h 410520"/>
                <a:gd name="connsiteX398" fmla="*/ 566833 w 2663946"/>
                <a:gd name="connsiteY398" fmla="*/ 159745 h 410520"/>
                <a:gd name="connsiteX399" fmla="*/ 566341 w 2663946"/>
                <a:gd name="connsiteY399" fmla="*/ 145955 h 410520"/>
                <a:gd name="connsiteX400" fmla="*/ 565358 w 2663946"/>
                <a:gd name="connsiteY400" fmla="*/ 142981 h 410520"/>
                <a:gd name="connsiteX401" fmla="*/ 564129 w 2663946"/>
                <a:gd name="connsiteY401" fmla="*/ 140007 h 410520"/>
                <a:gd name="connsiteX402" fmla="*/ 561917 w 2663946"/>
                <a:gd name="connsiteY402" fmla="*/ 136492 h 410520"/>
                <a:gd name="connsiteX403" fmla="*/ 558230 w 2663946"/>
                <a:gd name="connsiteY403" fmla="*/ 132707 h 410520"/>
                <a:gd name="connsiteX404" fmla="*/ 554297 w 2663946"/>
                <a:gd name="connsiteY404" fmla="*/ 130544 h 410520"/>
                <a:gd name="connsiteX405" fmla="*/ 372346 w 2663946"/>
                <a:gd name="connsiteY405" fmla="*/ 130544 h 410520"/>
                <a:gd name="connsiteX406" fmla="*/ 360793 w 2663946"/>
                <a:gd name="connsiteY406" fmla="*/ 132977 h 410520"/>
                <a:gd name="connsiteX407" fmla="*/ 357598 w 2663946"/>
                <a:gd name="connsiteY407" fmla="*/ 136492 h 410520"/>
                <a:gd name="connsiteX408" fmla="*/ 355385 w 2663946"/>
                <a:gd name="connsiteY408" fmla="*/ 140277 h 410520"/>
                <a:gd name="connsiteX409" fmla="*/ 354402 w 2663946"/>
                <a:gd name="connsiteY409" fmla="*/ 142981 h 410520"/>
                <a:gd name="connsiteX410" fmla="*/ 353419 w 2663946"/>
                <a:gd name="connsiteY410" fmla="*/ 147037 h 410520"/>
                <a:gd name="connsiteX411" fmla="*/ 352436 w 2663946"/>
                <a:gd name="connsiteY411" fmla="*/ 154067 h 410520"/>
                <a:gd name="connsiteX412" fmla="*/ 353419 w 2663946"/>
                <a:gd name="connsiteY412" fmla="*/ 161367 h 410520"/>
                <a:gd name="connsiteX413" fmla="*/ 354648 w 2663946"/>
                <a:gd name="connsiteY413" fmla="*/ 165152 h 410520"/>
                <a:gd name="connsiteX414" fmla="*/ 356860 w 2663946"/>
                <a:gd name="connsiteY414" fmla="*/ 169478 h 410520"/>
                <a:gd name="connsiteX415" fmla="*/ 360301 w 2663946"/>
                <a:gd name="connsiteY415" fmla="*/ 173805 h 410520"/>
                <a:gd name="connsiteX416" fmla="*/ 364726 w 2663946"/>
                <a:gd name="connsiteY416" fmla="*/ 176508 h 410520"/>
                <a:gd name="connsiteX417" fmla="*/ 377016 w 2663946"/>
                <a:gd name="connsiteY417" fmla="*/ 174075 h 410520"/>
                <a:gd name="connsiteX418" fmla="*/ 380212 w 2663946"/>
                <a:gd name="connsiteY418" fmla="*/ 170560 h 410520"/>
                <a:gd name="connsiteX419" fmla="*/ 382670 w 2663946"/>
                <a:gd name="connsiteY419" fmla="*/ 166234 h 410520"/>
                <a:gd name="connsiteX420" fmla="*/ 383653 w 2663946"/>
                <a:gd name="connsiteY420" fmla="*/ 164071 h 410520"/>
                <a:gd name="connsiteX421" fmla="*/ 384882 w 2663946"/>
                <a:gd name="connsiteY421" fmla="*/ 159745 h 410520"/>
                <a:gd name="connsiteX422" fmla="*/ 384390 w 2663946"/>
                <a:gd name="connsiteY422" fmla="*/ 145955 h 410520"/>
                <a:gd name="connsiteX423" fmla="*/ 383407 w 2663946"/>
                <a:gd name="connsiteY423" fmla="*/ 142981 h 410520"/>
                <a:gd name="connsiteX424" fmla="*/ 382178 w 2663946"/>
                <a:gd name="connsiteY424" fmla="*/ 140007 h 410520"/>
                <a:gd name="connsiteX425" fmla="*/ 379966 w 2663946"/>
                <a:gd name="connsiteY425" fmla="*/ 136492 h 410520"/>
                <a:gd name="connsiteX426" fmla="*/ 376279 w 2663946"/>
                <a:gd name="connsiteY426" fmla="*/ 132707 h 410520"/>
                <a:gd name="connsiteX427" fmla="*/ 372346 w 2663946"/>
                <a:gd name="connsiteY427" fmla="*/ 130544 h 410520"/>
                <a:gd name="connsiteX428" fmla="*/ 129300 w 2663946"/>
                <a:gd name="connsiteY428" fmla="*/ 130544 h 410520"/>
                <a:gd name="connsiteX429" fmla="*/ 117747 w 2663946"/>
                <a:gd name="connsiteY429" fmla="*/ 132977 h 410520"/>
                <a:gd name="connsiteX430" fmla="*/ 114552 w 2663946"/>
                <a:gd name="connsiteY430" fmla="*/ 136492 h 410520"/>
                <a:gd name="connsiteX431" fmla="*/ 112340 w 2663946"/>
                <a:gd name="connsiteY431" fmla="*/ 140277 h 410520"/>
                <a:gd name="connsiteX432" fmla="*/ 111356 w 2663946"/>
                <a:gd name="connsiteY432" fmla="*/ 142981 h 410520"/>
                <a:gd name="connsiteX433" fmla="*/ 110373 w 2663946"/>
                <a:gd name="connsiteY433" fmla="*/ 147037 h 410520"/>
                <a:gd name="connsiteX434" fmla="*/ 109390 w 2663946"/>
                <a:gd name="connsiteY434" fmla="*/ 154067 h 410520"/>
                <a:gd name="connsiteX435" fmla="*/ 110373 w 2663946"/>
                <a:gd name="connsiteY435" fmla="*/ 161367 h 410520"/>
                <a:gd name="connsiteX436" fmla="*/ 111602 w 2663946"/>
                <a:gd name="connsiteY436" fmla="*/ 165152 h 410520"/>
                <a:gd name="connsiteX437" fmla="*/ 113814 w 2663946"/>
                <a:gd name="connsiteY437" fmla="*/ 169478 h 410520"/>
                <a:gd name="connsiteX438" fmla="*/ 117256 w 2663946"/>
                <a:gd name="connsiteY438" fmla="*/ 173805 h 410520"/>
                <a:gd name="connsiteX439" fmla="*/ 121680 w 2663946"/>
                <a:gd name="connsiteY439" fmla="*/ 176508 h 410520"/>
                <a:gd name="connsiteX440" fmla="*/ 133970 w 2663946"/>
                <a:gd name="connsiteY440" fmla="*/ 174075 h 410520"/>
                <a:gd name="connsiteX441" fmla="*/ 137166 w 2663946"/>
                <a:gd name="connsiteY441" fmla="*/ 170560 h 410520"/>
                <a:gd name="connsiteX442" fmla="*/ 139624 w 2663946"/>
                <a:gd name="connsiteY442" fmla="*/ 166234 h 410520"/>
                <a:gd name="connsiteX443" fmla="*/ 140607 w 2663946"/>
                <a:gd name="connsiteY443" fmla="*/ 164071 h 410520"/>
                <a:gd name="connsiteX444" fmla="*/ 141836 w 2663946"/>
                <a:gd name="connsiteY444" fmla="*/ 159745 h 410520"/>
                <a:gd name="connsiteX445" fmla="*/ 141344 w 2663946"/>
                <a:gd name="connsiteY445" fmla="*/ 145955 h 410520"/>
                <a:gd name="connsiteX446" fmla="*/ 140361 w 2663946"/>
                <a:gd name="connsiteY446" fmla="*/ 142981 h 410520"/>
                <a:gd name="connsiteX447" fmla="*/ 139132 w 2663946"/>
                <a:gd name="connsiteY447" fmla="*/ 140007 h 410520"/>
                <a:gd name="connsiteX448" fmla="*/ 136920 w 2663946"/>
                <a:gd name="connsiteY448" fmla="*/ 136492 h 410520"/>
                <a:gd name="connsiteX449" fmla="*/ 133233 w 2663946"/>
                <a:gd name="connsiteY449" fmla="*/ 132707 h 410520"/>
                <a:gd name="connsiteX450" fmla="*/ 129300 w 2663946"/>
                <a:gd name="connsiteY450" fmla="*/ 130544 h 410520"/>
                <a:gd name="connsiteX451" fmla="*/ 33147 w 2663946"/>
                <a:gd name="connsiteY451" fmla="*/ 126608 h 410520"/>
                <a:gd name="connsiteX452" fmla="*/ 21486 w 2663946"/>
                <a:gd name="connsiteY452" fmla="*/ 134337 h 410520"/>
                <a:gd name="connsiteX453" fmla="*/ 20561 w 2663946"/>
                <a:gd name="connsiteY453" fmla="*/ 138920 h 410520"/>
                <a:gd name="connsiteX454" fmla="*/ 23801 w 2663946"/>
                <a:gd name="connsiteY454" fmla="*/ 138920 h 410520"/>
                <a:gd name="connsiteX455" fmla="*/ 42218 w 2663946"/>
                <a:gd name="connsiteY455" fmla="*/ 138920 h 410520"/>
                <a:gd name="connsiteX456" fmla="*/ 45732 w 2663946"/>
                <a:gd name="connsiteY456" fmla="*/ 138920 h 410520"/>
                <a:gd name="connsiteX457" fmla="*/ 44807 w 2663946"/>
                <a:gd name="connsiteY457" fmla="*/ 134337 h 410520"/>
                <a:gd name="connsiteX458" fmla="*/ 33147 w 2663946"/>
                <a:gd name="connsiteY458" fmla="*/ 126608 h 410520"/>
                <a:gd name="connsiteX459" fmla="*/ 2537931 w 2663946"/>
                <a:gd name="connsiteY459" fmla="*/ 119020 h 410520"/>
                <a:gd name="connsiteX460" fmla="*/ 2526271 w 2663946"/>
                <a:gd name="connsiteY460" fmla="*/ 126749 h 410520"/>
                <a:gd name="connsiteX461" fmla="*/ 2525346 w 2663946"/>
                <a:gd name="connsiteY461" fmla="*/ 131332 h 410520"/>
                <a:gd name="connsiteX462" fmla="*/ 2528586 w 2663946"/>
                <a:gd name="connsiteY462" fmla="*/ 131332 h 410520"/>
                <a:gd name="connsiteX463" fmla="*/ 2547003 w 2663946"/>
                <a:gd name="connsiteY463" fmla="*/ 131332 h 410520"/>
                <a:gd name="connsiteX464" fmla="*/ 2550517 w 2663946"/>
                <a:gd name="connsiteY464" fmla="*/ 131332 h 410520"/>
                <a:gd name="connsiteX465" fmla="*/ 2549592 w 2663946"/>
                <a:gd name="connsiteY465" fmla="*/ 126749 h 410520"/>
                <a:gd name="connsiteX466" fmla="*/ 2537931 w 2663946"/>
                <a:gd name="connsiteY466" fmla="*/ 119020 h 410520"/>
                <a:gd name="connsiteX467" fmla="*/ 2112934 w 2663946"/>
                <a:gd name="connsiteY467" fmla="*/ 119020 h 410520"/>
                <a:gd name="connsiteX468" fmla="*/ 2101274 w 2663946"/>
                <a:gd name="connsiteY468" fmla="*/ 126749 h 410520"/>
                <a:gd name="connsiteX469" fmla="*/ 2100349 w 2663946"/>
                <a:gd name="connsiteY469" fmla="*/ 131332 h 410520"/>
                <a:gd name="connsiteX470" fmla="*/ 2103589 w 2663946"/>
                <a:gd name="connsiteY470" fmla="*/ 131332 h 410520"/>
                <a:gd name="connsiteX471" fmla="*/ 2122006 w 2663946"/>
                <a:gd name="connsiteY471" fmla="*/ 131332 h 410520"/>
                <a:gd name="connsiteX472" fmla="*/ 2125520 w 2663946"/>
                <a:gd name="connsiteY472" fmla="*/ 131332 h 410520"/>
                <a:gd name="connsiteX473" fmla="*/ 2124595 w 2663946"/>
                <a:gd name="connsiteY473" fmla="*/ 126749 h 410520"/>
                <a:gd name="connsiteX474" fmla="*/ 2112934 w 2663946"/>
                <a:gd name="connsiteY474" fmla="*/ 119020 h 410520"/>
                <a:gd name="connsiteX475" fmla="*/ 1854966 w 2663946"/>
                <a:gd name="connsiteY475" fmla="*/ 119020 h 410520"/>
                <a:gd name="connsiteX476" fmla="*/ 1843306 w 2663946"/>
                <a:gd name="connsiteY476" fmla="*/ 126749 h 410520"/>
                <a:gd name="connsiteX477" fmla="*/ 1842381 w 2663946"/>
                <a:gd name="connsiteY477" fmla="*/ 131332 h 410520"/>
                <a:gd name="connsiteX478" fmla="*/ 1845621 w 2663946"/>
                <a:gd name="connsiteY478" fmla="*/ 131332 h 410520"/>
                <a:gd name="connsiteX479" fmla="*/ 1864038 w 2663946"/>
                <a:gd name="connsiteY479" fmla="*/ 131332 h 410520"/>
                <a:gd name="connsiteX480" fmla="*/ 1867552 w 2663946"/>
                <a:gd name="connsiteY480" fmla="*/ 131332 h 410520"/>
                <a:gd name="connsiteX481" fmla="*/ 1866627 w 2663946"/>
                <a:gd name="connsiteY481" fmla="*/ 126749 h 410520"/>
                <a:gd name="connsiteX482" fmla="*/ 1854966 w 2663946"/>
                <a:gd name="connsiteY482" fmla="*/ 119020 h 410520"/>
                <a:gd name="connsiteX483" fmla="*/ 1764027 w 2663946"/>
                <a:gd name="connsiteY483" fmla="*/ 119020 h 410520"/>
                <a:gd name="connsiteX484" fmla="*/ 1752367 w 2663946"/>
                <a:gd name="connsiteY484" fmla="*/ 126749 h 410520"/>
                <a:gd name="connsiteX485" fmla="*/ 1751442 w 2663946"/>
                <a:gd name="connsiteY485" fmla="*/ 131332 h 410520"/>
                <a:gd name="connsiteX486" fmla="*/ 1754682 w 2663946"/>
                <a:gd name="connsiteY486" fmla="*/ 131332 h 410520"/>
                <a:gd name="connsiteX487" fmla="*/ 1773099 w 2663946"/>
                <a:gd name="connsiteY487" fmla="*/ 131332 h 410520"/>
                <a:gd name="connsiteX488" fmla="*/ 1776613 w 2663946"/>
                <a:gd name="connsiteY488" fmla="*/ 131332 h 410520"/>
                <a:gd name="connsiteX489" fmla="*/ 1775687 w 2663946"/>
                <a:gd name="connsiteY489" fmla="*/ 126749 h 410520"/>
                <a:gd name="connsiteX490" fmla="*/ 1764027 w 2663946"/>
                <a:gd name="connsiteY490" fmla="*/ 119020 h 410520"/>
                <a:gd name="connsiteX491" fmla="*/ 1506059 w 2663946"/>
                <a:gd name="connsiteY491" fmla="*/ 119020 h 410520"/>
                <a:gd name="connsiteX492" fmla="*/ 1494399 w 2663946"/>
                <a:gd name="connsiteY492" fmla="*/ 126749 h 410520"/>
                <a:gd name="connsiteX493" fmla="*/ 1493474 w 2663946"/>
                <a:gd name="connsiteY493" fmla="*/ 131332 h 410520"/>
                <a:gd name="connsiteX494" fmla="*/ 1496714 w 2663946"/>
                <a:gd name="connsiteY494" fmla="*/ 131332 h 410520"/>
                <a:gd name="connsiteX495" fmla="*/ 1515131 w 2663946"/>
                <a:gd name="connsiteY495" fmla="*/ 131332 h 410520"/>
                <a:gd name="connsiteX496" fmla="*/ 1518645 w 2663946"/>
                <a:gd name="connsiteY496" fmla="*/ 131332 h 410520"/>
                <a:gd name="connsiteX497" fmla="*/ 1517719 w 2663946"/>
                <a:gd name="connsiteY497" fmla="*/ 126749 h 410520"/>
                <a:gd name="connsiteX498" fmla="*/ 1506059 w 2663946"/>
                <a:gd name="connsiteY498" fmla="*/ 119020 h 410520"/>
                <a:gd name="connsiteX499" fmla="*/ 1415120 w 2663946"/>
                <a:gd name="connsiteY499" fmla="*/ 119020 h 410520"/>
                <a:gd name="connsiteX500" fmla="*/ 1403460 w 2663946"/>
                <a:gd name="connsiteY500" fmla="*/ 126749 h 410520"/>
                <a:gd name="connsiteX501" fmla="*/ 1402535 w 2663946"/>
                <a:gd name="connsiteY501" fmla="*/ 131332 h 410520"/>
                <a:gd name="connsiteX502" fmla="*/ 1405775 w 2663946"/>
                <a:gd name="connsiteY502" fmla="*/ 131332 h 410520"/>
                <a:gd name="connsiteX503" fmla="*/ 1424192 w 2663946"/>
                <a:gd name="connsiteY503" fmla="*/ 131332 h 410520"/>
                <a:gd name="connsiteX504" fmla="*/ 1427706 w 2663946"/>
                <a:gd name="connsiteY504" fmla="*/ 131332 h 410520"/>
                <a:gd name="connsiteX505" fmla="*/ 1426780 w 2663946"/>
                <a:gd name="connsiteY505" fmla="*/ 126749 h 410520"/>
                <a:gd name="connsiteX506" fmla="*/ 1415120 w 2663946"/>
                <a:gd name="connsiteY506" fmla="*/ 119020 h 410520"/>
                <a:gd name="connsiteX507" fmla="*/ 1157152 w 2663946"/>
                <a:gd name="connsiteY507" fmla="*/ 119020 h 410520"/>
                <a:gd name="connsiteX508" fmla="*/ 1145492 w 2663946"/>
                <a:gd name="connsiteY508" fmla="*/ 126749 h 410520"/>
                <a:gd name="connsiteX509" fmla="*/ 1144567 w 2663946"/>
                <a:gd name="connsiteY509" fmla="*/ 131332 h 410520"/>
                <a:gd name="connsiteX510" fmla="*/ 1147807 w 2663946"/>
                <a:gd name="connsiteY510" fmla="*/ 131332 h 410520"/>
                <a:gd name="connsiteX511" fmla="*/ 1166224 w 2663946"/>
                <a:gd name="connsiteY511" fmla="*/ 131332 h 410520"/>
                <a:gd name="connsiteX512" fmla="*/ 1169738 w 2663946"/>
                <a:gd name="connsiteY512" fmla="*/ 131332 h 410520"/>
                <a:gd name="connsiteX513" fmla="*/ 1168812 w 2663946"/>
                <a:gd name="connsiteY513" fmla="*/ 126749 h 410520"/>
                <a:gd name="connsiteX514" fmla="*/ 1157152 w 2663946"/>
                <a:gd name="connsiteY514" fmla="*/ 119020 h 410520"/>
                <a:gd name="connsiteX515" fmla="*/ 732156 w 2663946"/>
                <a:gd name="connsiteY515" fmla="*/ 119020 h 410520"/>
                <a:gd name="connsiteX516" fmla="*/ 720495 w 2663946"/>
                <a:gd name="connsiteY516" fmla="*/ 126749 h 410520"/>
                <a:gd name="connsiteX517" fmla="*/ 719570 w 2663946"/>
                <a:gd name="connsiteY517" fmla="*/ 131332 h 410520"/>
                <a:gd name="connsiteX518" fmla="*/ 722810 w 2663946"/>
                <a:gd name="connsiteY518" fmla="*/ 131332 h 410520"/>
                <a:gd name="connsiteX519" fmla="*/ 741228 w 2663946"/>
                <a:gd name="connsiteY519" fmla="*/ 131332 h 410520"/>
                <a:gd name="connsiteX520" fmla="*/ 744742 w 2663946"/>
                <a:gd name="connsiteY520" fmla="*/ 131332 h 410520"/>
                <a:gd name="connsiteX521" fmla="*/ 743816 w 2663946"/>
                <a:gd name="connsiteY521" fmla="*/ 126749 h 410520"/>
                <a:gd name="connsiteX522" fmla="*/ 732156 w 2663946"/>
                <a:gd name="connsiteY522" fmla="*/ 119020 h 410520"/>
                <a:gd name="connsiteX523" fmla="*/ 641217 w 2663946"/>
                <a:gd name="connsiteY523" fmla="*/ 119020 h 410520"/>
                <a:gd name="connsiteX524" fmla="*/ 629556 w 2663946"/>
                <a:gd name="connsiteY524" fmla="*/ 126749 h 410520"/>
                <a:gd name="connsiteX525" fmla="*/ 628631 w 2663946"/>
                <a:gd name="connsiteY525" fmla="*/ 131332 h 410520"/>
                <a:gd name="connsiteX526" fmla="*/ 631871 w 2663946"/>
                <a:gd name="connsiteY526" fmla="*/ 131332 h 410520"/>
                <a:gd name="connsiteX527" fmla="*/ 650289 w 2663946"/>
                <a:gd name="connsiteY527" fmla="*/ 131332 h 410520"/>
                <a:gd name="connsiteX528" fmla="*/ 653802 w 2663946"/>
                <a:gd name="connsiteY528" fmla="*/ 131332 h 410520"/>
                <a:gd name="connsiteX529" fmla="*/ 652877 w 2663946"/>
                <a:gd name="connsiteY529" fmla="*/ 126749 h 410520"/>
                <a:gd name="connsiteX530" fmla="*/ 641217 w 2663946"/>
                <a:gd name="connsiteY530" fmla="*/ 119020 h 410520"/>
                <a:gd name="connsiteX531" fmla="*/ 459266 w 2663946"/>
                <a:gd name="connsiteY531" fmla="*/ 119020 h 410520"/>
                <a:gd name="connsiteX532" fmla="*/ 447605 w 2663946"/>
                <a:gd name="connsiteY532" fmla="*/ 126749 h 410520"/>
                <a:gd name="connsiteX533" fmla="*/ 446680 w 2663946"/>
                <a:gd name="connsiteY533" fmla="*/ 131332 h 410520"/>
                <a:gd name="connsiteX534" fmla="*/ 449920 w 2663946"/>
                <a:gd name="connsiteY534" fmla="*/ 131332 h 410520"/>
                <a:gd name="connsiteX535" fmla="*/ 468337 w 2663946"/>
                <a:gd name="connsiteY535" fmla="*/ 131332 h 410520"/>
                <a:gd name="connsiteX536" fmla="*/ 471851 w 2663946"/>
                <a:gd name="connsiteY536" fmla="*/ 131332 h 410520"/>
                <a:gd name="connsiteX537" fmla="*/ 470926 w 2663946"/>
                <a:gd name="connsiteY537" fmla="*/ 126749 h 410520"/>
                <a:gd name="connsiteX538" fmla="*/ 459266 w 2663946"/>
                <a:gd name="connsiteY538" fmla="*/ 119020 h 410520"/>
                <a:gd name="connsiteX539" fmla="*/ 2361413 w 2663946"/>
                <a:gd name="connsiteY539" fmla="*/ 114660 h 410520"/>
                <a:gd name="connsiteX540" fmla="*/ 2365469 w 2663946"/>
                <a:gd name="connsiteY540" fmla="*/ 114660 h 410520"/>
                <a:gd name="connsiteX541" fmla="*/ 2370065 w 2663946"/>
                <a:gd name="connsiteY541" fmla="*/ 117094 h 410520"/>
                <a:gd name="connsiteX542" fmla="*/ 2372229 w 2663946"/>
                <a:gd name="connsiteY542" fmla="*/ 123312 h 410520"/>
                <a:gd name="connsiteX543" fmla="*/ 2372229 w 2663946"/>
                <a:gd name="connsiteY543" fmla="*/ 123853 h 410520"/>
                <a:gd name="connsiteX544" fmla="*/ 2372229 w 2663946"/>
                <a:gd name="connsiteY544" fmla="*/ 176848 h 410520"/>
                <a:gd name="connsiteX545" fmla="*/ 2372769 w 2663946"/>
                <a:gd name="connsiteY545" fmla="*/ 177388 h 410520"/>
                <a:gd name="connsiteX546" fmla="*/ 2380069 w 2663946"/>
                <a:gd name="connsiteY546" fmla="*/ 177388 h 410520"/>
                <a:gd name="connsiteX547" fmla="*/ 2384125 w 2663946"/>
                <a:gd name="connsiteY547" fmla="*/ 178470 h 410520"/>
                <a:gd name="connsiteX548" fmla="*/ 2387910 w 2663946"/>
                <a:gd name="connsiteY548" fmla="*/ 185229 h 410520"/>
                <a:gd name="connsiteX549" fmla="*/ 2385207 w 2663946"/>
                <a:gd name="connsiteY549" fmla="*/ 190907 h 410520"/>
                <a:gd name="connsiteX550" fmla="*/ 2381151 w 2663946"/>
                <a:gd name="connsiteY550" fmla="*/ 192800 h 410520"/>
                <a:gd name="connsiteX551" fmla="*/ 2380881 w 2663946"/>
                <a:gd name="connsiteY551" fmla="*/ 192800 h 410520"/>
                <a:gd name="connsiteX552" fmla="*/ 2380610 w 2663946"/>
                <a:gd name="connsiteY552" fmla="*/ 192800 h 410520"/>
                <a:gd name="connsiteX553" fmla="*/ 2380069 w 2663946"/>
                <a:gd name="connsiteY553" fmla="*/ 192800 h 410520"/>
                <a:gd name="connsiteX554" fmla="*/ 2347894 w 2663946"/>
                <a:gd name="connsiteY554" fmla="*/ 192800 h 410520"/>
                <a:gd name="connsiteX555" fmla="*/ 2347354 w 2663946"/>
                <a:gd name="connsiteY555" fmla="*/ 192800 h 410520"/>
                <a:gd name="connsiteX556" fmla="*/ 2346542 w 2663946"/>
                <a:gd name="connsiteY556" fmla="*/ 192800 h 410520"/>
                <a:gd name="connsiteX557" fmla="*/ 2345731 w 2663946"/>
                <a:gd name="connsiteY557" fmla="*/ 192530 h 410520"/>
                <a:gd name="connsiteX558" fmla="*/ 2342216 w 2663946"/>
                <a:gd name="connsiteY558" fmla="*/ 190637 h 410520"/>
                <a:gd name="connsiteX559" fmla="*/ 2339783 w 2663946"/>
                <a:gd name="connsiteY559" fmla="*/ 184959 h 410520"/>
                <a:gd name="connsiteX560" fmla="*/ 2341946 w 2663946"/>
                <a:gd name="connsiteY560" fmla="*/ 179822 h 410520"/>
                <a:gd name="connsiteX561" fmla="*/ 2347624 w 2663946"/>
                <a:gd name="connsiteY561" fmla="*/ 177388 h 410520"/>
                <a:gd name="connsiteX562" fmla="*/ 2355465 w 2663946"/>
                <a:gd name="connsiteY562" fmla="*/ 177388 h 410520"/>
                <a:gd name="connsiteX563" fmla="*/ 2356006 w 2663946"/>
                <a:gd name="connsiteY563" fmla="*/ 176848 h 410520"/>
                <a:gd name="connsiteX564" fmla="*/ 2356006 w 2663946"/>
                <a:gd name="connsiteY564" fmla="*/ 130883 h 410520"/>
                <a:gd name="connsiteX565" fmla="*/ 2355465 w 2663946"/>
                <a:gd name="connsiteY565" fmla="*/ 130342 h 410520"/>
                <a:gd name="connsiteX566" fmla="*/ 2349517 w 2663946"/>
                <a:gd name="connsiteY566" fmla="*/ 130342 h 410520"/>
                <a:gd name="connsiteX567" fmla="*/ 2342216 w 2663946"/>
                <a:gd name="connsiteY567" fmla="*/ 125746 h 410520"/>
                <a:gd name="connsiteX568" fmla="*/ 2341946 w 2663946"/>
                <a:gd name="connsiteY568" fmla="*/ 120068 h 410520"/>
                <a:gd name="connsiteX569" fmla="*/ 2349246 w 2663946"/>
                <a:gd name="connsiteY569" fmla="*/ 114931 h 410520"/>
                <a:gd name="connsiteX570" fmla="*/ 2361413 w 2663946"/>
                <a:gd name="connsiteY570" fmla="*/ 114660 h 410520"/>
                <a:gd name="connsiteX571" fmla="*/ 2285396 w 2663946"/>
                <a:gd name="connsiteY571" fmla="*/ 114660 h 410520"/>
                <a:gd name="connsiteX572" fmla="*/ 2289452 w 2663946"/>
                <a:gd name="connsiteY572" fmla="*/ 114660 h 410520"/>
                <a:gd name="connsiteX573" fmla="*/ 2294048 w 2663946"/>
                <a:gd name="connsiteY573" fmla="*/ 117094 h 410520"/>
                <a:gd name="connsiteX574" fmla="*/ 2296212 w 2663946"/>
                <a:gd name="connsiteY574" fmla="*/ 123312 h 410520"/>
                <a:gd name="connsiteX575" fmla="*/ 2296212 w 2663946"/>
                <a:gd name="connsiteY575" fmla="*/ 123853 h 410520"/>
                <a:gd name="connsiteX576" fmla="*/ 2296212 w 2663946"/>
                <a:gd name="connsiteY576" fmla="*/ 176848 h 410520"/>
                <a:gd name="connsiteX577" fmla="*/ 2296752 w 2663946"/>
                <a:gd name="connsiteY577" fmla="*/ 177388 h 410520"/>
                <a:gd name="connsiteX578" fmla="*/ 2304052 w 2663946"/>
                <a:gd name="connsiteY578" fmla="*/ 177388 h 410520"/>
                <a:gd name="connsiteX579" fmla="*/ 2308108 w 2663946"/>
                <a:gd name="connsiteY579" fmla="*/ 178470 h 410520"/>
                <a:gd name="connsiteX580" fmla="*/ 2311893 w 2663946"/>
                <a:gd name="connsiteY580" fmla="*/ 185229 h 410520"/>
                <a:gd name="connsiteX581" fmla="*/ 2309190 w 2663946"/>
                <a:gd name="connsiteY581" fmla="*/ 190907 h 410520"/>
                <a:gd name="connsiteX582" fmla="*/ 2305134 w 2663946"/>
                <a:gd name="connsiteY582" fmla="*/ 192800 h 410520"/>
                <a:gd name="connsiteX583" fmla="*/ 2304864 w 2663946"/>
                <a:gd name="connsiteY583" fmla="*/ 192800 h 410520"/>
                <a:gd name="connsiteX584" fmla="*/ 2304593 w 2663946"/>
                <a:gd name="connsiteY584" fmla="*/ 192800 h 410520"/>
                <a:gd name="connsiteX585" fmla="*/ 2304052 w 2663946"/>
                <a:gd name="connsiteY585" fmla="*/ 192800 h 410520"/>
                <a:gd name="connsiteX586" fmla="*/ 2271877 w 2663946"/>
                <a:gd name="connsiteY586" fmla="*/ 192800 h 410520"/>
                <a:gd name="connsiteX587" fmla="*/ 2271337 w 2663946"/>
                <a:gd name="connsiteY587" fmla="*/ 192800 h 410520"/>
                <a:gd name="connsiteX588" fmla="*/ 2270525 w 2663946"/>
                <a:gd name="connsiteY588" fmla="*/ 192800 h 410520"/>
                <a:gd name="connsiteX589" fmla="*/ 2269714 w 2663946"/>
                <a:gd name="connsiteY589" fmla="*/ 192530 h 410520"/>
                <a:gd name="connsiteX590" fmla="*/ 2266199 w 2663946"/>
                <a:gd name="connsiteY590" fmla="*/ 190637 h 410520"/>
                <a:gd name="connsiteX591" fmla="*/ 2263766 w 2663946"/>
                <a:gd name="connsiteY591" fmla="*/ 184959 h 410520"/>
                <a:gd name="connsiteX592" fmla="*/ 2265929 w 2663946"/>
                <a:gd name="connsiteY592" fmla="*/ 179822 h 410520"/>
                <a:gd name="connsiteX593" fmla="*/ 2271607 w 2663946"/>
                <a:gd name="connsiteY593" fmla="*/ 177388 h 410520"/>
                <a:gd name="connsiteX594" fmla="*/ 2279448 w 2663946"/>
                <a:gd name="connsiteY594" fmla="*/ 177388 h 410520"/>
                <a:gd name="connsiteX595" fmla="*/ 2279989 w 2663946"/>
                <a:gd name="connsiteY595" fmla="*/ 176848 h 410520"/>
                <a:gd name="connsiteX596" fmla="*/ 2279989 w 2663946"/>
                <a:gd name="connsiteY596" fmla="*/ 130883 h 410520"/>
                <a:gd name="connsiteX597" fmla="*/ 2279448 w 2663946"/>
                <a:gd name="connsiteY597" fmla="*/ 130342 h 410520"/>
                <a:gd name="connsiteX598" fmla="*/ 2273500 w 2663946"/>
                <a:gd name="connsiteY598" fmla="*/ 130342 h 410520"/>
                <a:gd name="connsiteX599" fmla="*/ 2266199 w 2663946"/>
                <a:gd name="connsiteY599" fmla="*/ 125746 h 410520"/>
                <a:gd name="connsiteX600" fmla="*/ 2265929 w 2663946"/>
                <a:gd name="connsiteY600" fmla="*/ 120068 h 410520"/>
                <a:gd name="connsiteX601" fmla="*/ 2273229 w 2663946"/>
                <a:gd name="connsiteY601" fmla="*/ 114931 h 410520"/>
                <a:gd name="connsiteX602" fmla="*/ 2285396 w 2663946"/>
                <a:gd name="connsiteY602" fmla="*/ 114660 h 410520"/>
                <a:gd name="connsiteX603" fmla="*/ 1936416 w 2663946"/>
                <a:gd name="connsiteY603" fmla="*/ 114660 h 410520"/>
                <a:gd name="connsiteX604" fmla="*/ 1940472 w 2663946"/>
                <a:gd name="connsiteY604" fmla="*/ 114660 h 410520"/>
                <a:gd name="connsiteX605" fmla="*/ 1945068 w 2663946"/>
                <a:gd name="connsiteY605" fmla="*/ 117094 h 410520"/>
                <a:gd name="connsiteX606" fmla="*/ 1947232 w 2663946"/>
                <a:gd name="connsiteY606" fmla="*/ 123312 h 410520"/>
                <a:gd name="connsiteX607" fmla="*/ 1947232 w 2663946"/>
                <a:gd name="connsiteY607" fmla="*/ 123853 h 410520"/>
                <a:gd name="connsiteX608" fmla="*/ 1947232 w 2663946"/>
                <a:gd name="connsiteY608" fmla="*/ 176848 h 410520"/>
                <a:gd name="connsiteX609" fmla="*/ 1947772 w 2663946"/>
                <a:gd name="connsiteY609" fmla="*/ 177388 h 410520"/>
                <a:gd name="connsiteX610" fmla="*/ 1955072 w 2663946"/>
                <a:gd name="connsiteY610" fmla="*/ 177388 h 410520"/>
                <a:gd name="connsiteX611" fmla="*/ 1959128 w 2663946"/>
                <a:gd name="connsiteY611" fmla="*/ 178470 h 410520"/>
                <a:gd name="connsiteX612" fmla="*/ 1962913 w 2663946"/>
                <a:gd name="connsiteY612" fmla="*/ 185229 h 410520"/>
                <a:gd name="connsiteX613" fmla="*/ 1960210 w 2663946"/>
                <a:gd name="connsiteY613" fmla="*/ 190907 h 410520"/>
                <a:gd name="connsiteX614" fmla="*/ 1956154 w 2663946"/>
                <a:gd name="connsiteY614" fmla="*/ 192800 h 410520"/>
                <a:gd name="connsiteX615" fmla="*/ 1955884 w 2663946"/>
                <a:gd name="connsiteY615" fmla="*/ 192800 h 410520"/>
                <a:gd name="connsiteX616" fmla="*/ 1955613 w 2663946"/>
                <a:gd name="connsiteY616" fmla="*/ 192800 h 410520"/>
                <a:gd name="connsiteX617" fmla="*/ 1955072 w 2663946"/>
                <a:gd name="connsiteY617" fmla="*/ 192800 h 410520"/>
                <a:gd name="connsiteX618" fmla="*/ 1922897 w 2663946"/>
                <a:gd name="connsiteY618" fmla="*/ 192800 h 410520"/>
                <a:gd name="connsiteX619" fmla="*/ 1922357 w 2663946"/>
                <a:gd name="connsiteY619" fmla="*/ 192800 h 410520"/>
                <a:gd name="connsiteX620" fmla="*/ 1921545 w 2663946"/>
                <a:gd name="connsiteY620" fmla="*/ 192800 h 410520"/>
                <a:gd name="connsiteX621" fmla="*/ 1920734 w 2663946"/>
                <a:gd name="connsiteY621" fmla="*/ 192530 h 410520"/>
                <a:gd name="connsiteX622" fmla="*/ 1917219 w 2663946"/>
                <a:gd name="connsiteY622" fmla="*/ 190637 h 410520"/>
                <a:gd name="connsiteX623" fmla="*/ 1914786 w 2663946"/>
                <a:gd name="connsiteY623" fmla="*/ 184959 h 410520"/>
                <a:gd name="connsiteX624" fmla="*/ 1916949 w 2663946"/>
                <a:gd name="connsiteY624" fmla="*/ 179822 h 410520"/>
                <a:gd name="connsiteX625" fmla="*/ 1922627 w 2663946"/>
                <a:gd name="connsiteY625" fmla="*/ 177388 h 410520"/>
                <a:gd name="connsiteX626" fmla="*/ 1930468 w 2663946"/>
                <a:gd name="connsiteY626" fmla="*/ 177388 h 410520"/>
                <a:gd name="connsiteX627" fmla="*/ 1931009 w 2663946"/>
                <a:gd name="connsiteY627" fmla="*/ 176848 h 410520"/>
                <a:gd name="connsiteX628" fmla="*/ 1931009 w 2663946"/>
                <a:gd name="connsiteY628" fmla="*/ 130883 h 410520"/>
                <a:gd name="connsiteX629" fmla="*/ 1930468 w 2663946"/>
                <a:gd name="connsiteY629" fmla="*/ 130342 h 410520"/>
                <a:gd name="connsiteX630" fmla="*/ 1924520 w 2663946"/>
                <a:gd name="connsiteY630" fmla="*/ 130342 h 410520"/>
                <a:gd name="connsiteX631" fmla="*/ 1917219 w 2663946"/>
                <a:gd name="connsiteY631" fmla="*/ 125746 h 410520"/>
                <a:gd name="connsiteX632" fmla="*/ 1916949 w 2663946"/>
                <a:gd name="connsiteY632" fmla="*/ 120068 h 410520"/>
                <a:gd name="connsiteX633" fmla="*/ 1924249 w 2663946"/>
                <a:gd name="connsiteY633" fmla="*/ 114931 h 410520"/>
                <a:gd name="connsiteX634" fmla="*/ 1936416 w 2663946"/>
                <a:gd name="connsiteY634" fmla="*/ 114660 h 410520"/>
                <a:gd name="connsiteX635" fmla="*/ 1678521 w 2663946"/>
                <a:gd name="connsiteY635" fmla="*/ 114660 h 410520"/>
                <a:gd name="connsiteX636" fmla="*/ 1682577 w 2663946"/>
                <a:gd name="connsiteY636" fmla="*/ 114660 h 410520"/>
                <a:gd name="connsiteX637" fmla="*/ 1687173 w 2663946"/>
                <a:gd name="connsiteY637" fmla="*/ 117094 h 410520"/>
                <a:gd name="connsiteX638" fmla="*/ 1689336 w 2663946"/>
                <a:gd name="connsiteY638" fmla="*/ 123312 h 410520"/>
                <a:gd name="connsiteX639" fmla="*/ 1689336 w 2663946"/>
                <a:gd name="connsiteY639" fmla="*/ 123853 h 410520"/>
                <a:gd name="connsiteX640" fmla="*/ 1689336 w 2663946"/>
                <a:gd name="connsiteY640" fmla="*/ 176848 h 410520"/>
                <a:gd name="connsiteX641" fmla="*/ 1689877 w 2663946"/>
                <a:gd name="connsiteY641" fmla="*/ 177388 h 410520"/>
                <a:gd name="connsiteX642" fmla="*/ 1697177 w 2663946"/>
                <a:gd name="connsiteY642" fmla="*/ 177388 h 410520"/>
                <a:gd name="connsiteX643" fmla="*/ 1701233 w 2663946"/>
                <a:gd name="connsiteY643" fmla="*/ 178470 h 410520"/>
                <a:gd name="connsiteX644" fmla="*/ 1705018 w 2663946"/>
                <a:gd name="connsiteY644" fmla="*/ 185229 h 410520"/>
                <a:gd name="connsiteX645" fmla="*/ 1702315 w 2663946"/>
                <a:gd name="connsiteY645" fmla="*/ 190907 h 410520"/>
                <a:gd name="connsiteX646" fmla="*/ 1698259 w 2663946"/>
                <a:gd name="connsiteY646" fmla="*/ 192800 h 410520"/>
                <a:gd name="connsiteX647" fmla="*/ 1697989 w 2663946"/>
                <a:gd name="connsiteY647" fmla="*/ 192800 h 410520"/>
                <a:gd name="connsiteX648" fmla="*/ 1697718 w 2663946"/>
                <a:gd name="connsiteY648" fmla="*/ 192800 h 410520"/>
                <a:gd name="connsiteX649" fmla="*/ 1697177 w 2663946"/>
                <a:gd name="connsiteY649" fmla="*/ 192800 h 410520"/>
                <a:gd name="connsiteX650" fmla="*/ 1665002 w 2663946"/>
                <a:gd name="connsiteY650" fmla="*/ 192800 h 410520"/>
                <a:gd name="connsiteX651" fmla="*/ 1664462 w 2663946"/>
                <a:gd name="connsiteY651" fmla="*/ 192800 h 410520"/>
                <a:gd name="connsiteX652" fmla="*/ 1663650 w 2663946"/>
                <a:gd name="connsiteY652" fmla="*/ 192800 h 410520"/>
                <a:gd name="connsiteX653" fmla="*/ 1662839 w 2663946"/>
                <a:gd name="connsiteY653" fmla="*/ 192530 h 410520"/>
                <a:gd name="connsiteX654" fmla="*/ 1659324 w 2663946"/>
                <a:gd name="connsiteY654" fmla="*/ 190637 h 410520"/>
                <a:gd name="connsiteX655" fmla="*/ 1656891 w 2663946"/>
                <a:gd name="connsiteY655" fmla="*/ 184959 h 410520"/>
                <a:gd name="connsiteX656" fmla="*/ 1659054 w 2663946"/>
                <a:gd name="connsiteY656" fmla="*/ 179822 h 410520"/>
                <a:gd name="connsiteX657" fmla="*/ 1664732 w 2663946"/>
                <a:gd name="connsiteY657" fmla="*/ 177388 h 410520"/>
                <a:gd name="connsiteX658" fmla="*/ 1672573 w 2663946"/>
                <a:gd name="connsiteY658" fmla="*/ 177388 h 410520"/>
                <a:gd name="connsiteX659" fmla="*/ 1673114 w 2663946"/>
                <a:gd name="connsiteY659" fmla="*/ 176848 h 410520"/>
                <a:gd name="connsiteX660" fmla="*/ 1673114 w 2663946"/>
                <a:gd name="connsiteY660" fmla="*/ 130883 h 410520"/>
                <a:gd name="connsiteX661" fmla="*/ 1672573 w 2663946"/>
                <a:gd name="connsiteY661" fmla="*/ 130342 h 410520"/>
                <a:gd name="connsiteX662" fmla="*/ 1666625 w 2663946"/>
                <a:gd name="connsiteY662" fmla="*/ 130342 h 410520"/>
                <a:gd name="connsiteX663" fmla="*/ 1659324 w 2663946"/>
                <a:gd name="connsiteY663" fmla="*/ 125746 h 410520"/>
                <a:gd name="connsiteX664" fmla="*/ 1659054 w 2663946"/>
                <a:gd name="connsiteY664" fmla="*/ 120068 h 410520"/>
                <a:gd name="connsiteX665" fmla="*/ 1666354 w 2663946"/>
                <a:gd name="connsiteY665" fmla="*/ 114931 h 410520"/>
                <a:gd name="connsiteX666" fmla="*/ 1678521 w 2663946"/>
                <a:gd name="connsiteY666" fmla="*/ 114660 h 410520"/>
                <a:gd name="connsiteX667" fmla="*/ 1329614 w 2663946"/>
                <a:gd name="connsiteY667" fmla="*/ 114660 h 410520"/>
                <a:gd name="connsiteX668" fmla="*/ 1333670 w 2663946"/>
                <a:gd name="connsiteY668" fmla="*/ 114660 h 410520"/>
                <a:gd name="connsiteX669" fmla="*/ 1338266 w 2663946"/>
                <a:gd name="connsiteY669" fmla="*/ 117094 h 410520"/>
                <a:gd name="connsiteX670" fmla="*/ 1340429 w 2663946"/>
                <a:gd name="connsiteY670" fmla="*/ 123312 h 410520"/>
                <a:gd name="connsiteX671" fmla="*/ 1340429 w 2663946"/>
                <a:gd name="connsiteY671" fmla="*/ 123853 h 410520"/>
                <a:gd name="connsiteX672" fmla="*/ 1340429 w 2663946"/>
                <a:gd name="connsiteY672" fmla="*/ 176848 h 410520"/>
                <a:gd name="connsiteX673" fmla="*/ 1340970 w 2663946"/>
                <a:gd name="connsiteY673" fmla="*/ 177388 h 410520"/>
                <a:gd name="connsiteX674" fmla="*/ 1348270 w 2663946"/>
                <a:gd name="connsiteY674" fmla="*/ 177388 h 410520"/>
                <a:gd name="connsiteX675" fmla="*/ 1352326 w 2663946"/>
                <a:gd name="connsiteY675" fmla="*/ 178470 h 410520"/>
                <a:gd name="connsiteX676" fmla="*/ 1356111 w 2663946"/>
                <a:gd name="connsiteY676" fmla="*/ 185229 h 410520"/>
                <a:gd name="connsiteX677" fmla="*/ 1353408 w 2663946"/>
                <a:gd name="connsiteY677" fmla="*/ 190907 h 410520"/>
                <a:gd name="connsiteX678" fmla="*/ 1349352 w 2663946"/>
                <a:gd name="connsiteY678" fmla="*/ 192800 h 410520"/>
                <a:gd name="connsiteX679" fmla="*/ 1349082 w 2663946"/>
                <a:gd name="connsiteY679" fmla="*/ 192800 h 410520"/>
                <a:gd name="connsiteX680" fmla="*/ 1348811 w 2663946"/>
                <a:gd name="connsiteY680" fmla="*/ 192800 h 410520"/>
                <a:gd name="connsiteX681" fmla="*/ 1348270 w 2663946"/>
                <a:gd name="connsiteY681" fmla="*/ 192800 h 410520"/>
                <a:gd name="connsiteX682" fmla="*/ 1316095 w 2663946"/>
                <a:gd name="connsiteY682" fmla="*/ 192800 h 410520"/>
                <a:gd name="connsiteX683" fmla="*/ 1315555 w 2663946"/>
                <a:gd name="connsiteY683" fmla="*/ 192800 h 410520"/>
                <a:gd name="connsiteX684" fmla="*/ 1314743 w 2663946"/>
                <a:gd name="connsiteY684" fmla="*/ 192800 h 410520"/>
                <a:gd name="connsiteX685" fmla="*/ 1313932 w 2663946"/>
                <a:gd name="connsiteY685" fmla="*/ 192530 h 410520"/>
                <a:gd name="connsiteX686" fmla="*/ 1310417 w 2663946"/>
                <a:gd name="connsiteY686" fmla="*/ 190637 h 410520"/>
                <a:gd name="connsiteX687" fmla="*/ 1307984 w 2663946"/>
                <a:gd name="connsiteY687" fmla="*/ 184959 h 410520"/>
                <a:gd name="connsiteX688" fmla="*/ 1310147 w 2663946"/>
                <a:gd name="connsiteY688" fmla="*/ 179822 h 410520"/>
                <a:gd name="connsiteX689" fmla="*/ 1315825 w 2663946"/>
                <a:gd name="connsiteY689" fmla="*/ 177388 h 410520"/>
                <a:gd name="connsiteX690" fmla="*/ 1323666 w 2663946"/>
                <a:gd name="connsiteY690" fmla="*/ 177388 h 410520"/>
                <a:gd name="connsiteX691" fmla="*/ 1324207 w 2663946"/>
                <a:gd name="connsiteY691" fmla="*/ 176848 h 410520"/>
                <a:gd name="connsiteX692" fmla="*/ 1324207 w 2663946"/>
                <a:gd name="connsiteY692" fmla="*/ 130883 h 410520"/>
                <a:gd name="connsiteX693" fmla="*/ 1323666 w 2663946"/>
                <a:gd name="connsiteY693" fmla="*/ 130342 h 410520"/>
                <a:gd name="connsiteX694" fmla="*/ 1317718 w 2663946"/>
                <a:gd name="connsiteY694" fmla="*/ 130342 h 410520"/>
                <a:gd name="connsiteX695" fmla="*/ 1310417 w 2663946"/>
                <a:gd name="connsiteY695" fmla="*/ 125746 h 410520"/>
                <a:gd name="connsiteX696" fmla="*/ 1310147 w 2663946"/>
                <a:gd name="connsiteY696" fmla="*/ 120068 h 410520"/>
                <a:gd name="connsiteX697" fmla="*/ 1317447 w 2663946"/>
                <a:gd name="connsiteY697" fmla="*/ 114931 h 410520"/>
                <a:gd name="connsiteX698" fmla="*/ 1329614 w 2663946"/>
                <a:gd name="connsiteY698" fmla="*/ 114660 h 410520"/>
                <a:gd name="connsiteX699" fmla="*/ 980634 w 2663946"/>
                <a:gd name="connsiteY699" fmla="*/ 114660 h 410520"/>
                <a:gd name="connsiteX700" fmla="*/ 984690 w 2663946"/>
                <a:gd name="connsiteY700" fmla="*/ 114660 h 410520"/>
                <a:gd name="connsiteX701" fmla="*/ 989286 w 2663946"/>
                <a:gd name="connsiteY701" fmla="*/ 117094 h 410520"/>
                <a:gd name="connsiteX702" fmla="*/ 991449 w 2663946"/>
                <a:gd name="connsiteY702" fmla="*/ 123312 h 410520"/>
                <a:gd name="connsiteX703" fmla="*/ 991449 w 2663946"/>
                <a:gd name="connsiteY703" fmla="*/ 123853 h 410520"/>
                <a:gd name="connsiteX704" fmla="*/ 991449 w 2663946"/>
                <a:gd name="connsiteY704" fmla="*/ 176848 h 410520"/>
                <a:gd name="connsiteX705" fmla="*/ 991990 w 2663946"/>
                <a:gd name="connsiteY705" fmla="*/ 177388 h 410520"/>
                <a:gd name="connsiteX706" fmla="*/ 999290 w 2663946"/>
                <a:gd name="connsiteY706" fmla="*/ 177388 h 410520"/>
                <a:gd name="connsiteX707" fmla="*/ 1003346 w 2663946"/>
                <a:gd name="connsiteY707" fmla="*/ 178470 h 410520"/>
                <a:gd name="connsiteX708" fmla="*/ 1007131 w 2663946"/>
                <a:gd name="connsiteY708" fmla="*/ 185229 h 410520"/>
                <a:gd name="connsiteX709" fmla="*/ 1004428 w 2663946"/>
                <a:gd name="connsiteY709" fmla="*/ 190907 h 410520"/>
                <a:gd name="connsiteX710" fmla="*/ 1000372 w 2663946"/>
                <a:gd name="connsiteY710" fmla="*/ 192800 h 410520"/>
                <a:gd name="connsiteX711" fmla="*/ 1000102 w 2663946"/>
                <a:gd name="connsiteY711" fmla="*/ 192800 h 410520"/>
                <a:gd name="connsiteX712" fmla="*/ 999831 w 2663946"/>
                <a:gd name="connsiteY712" fmla="*/ 192800 h 410520"/>
                <a:gd name="connsiteX713" fmla="*/ 999290 w 2663946"/>
                <a:gd name="connsiteY713" fmla="*/ 192800 h 410520"/>
                <a:gd name="connsiteX714" fmla="*/ 967115 w 2663946"/>
                <a:gd name="connsiteY714" fmla="*/ 192800 h 410520"/>
                <a:gd name="connsiteX715" fmla="*/ 966575 w 2663946"/>
                <a:gd name="connsiteY715" fmla="*/ 192800 h 410520"/>
                <a:gd name="connsiteX716" fmla="*/ 965763 w 2663946"/>
                <a:gd name="connsiteY716" fmla="*/ 192800 h 410520"/>
                <a:gd name="connsiteX717" fmla="*/ 964952 w 2663946"/>
                <a:gd name="connsiteY717" fmla="*/ 192530 h 410520"/>
                <a:gd name="connsiteX718" fmla="*/ 961437 w 2663946"/>
                <a:gd name="connsiteY718" fmla="*/ 190637 h 410520"/>
                <a:gd name="connsiteX719" fmla="*/ 959004 w 2663946"/>
                <a:gd name="connsiteY719" fmla="*/ 184959 h 410520"/>
                <a:gd name="connsiteX720" fmla="*/ 961167 w 2663946"/>
                <a:gd name="connsiteY720" fmla="*/ 179822 h 410520"/>
                <a:gd name="connsiteX721" fmla="*/ 966845 w 2663946"/>
                <a:gd name="connsiteY721" fmla="*/ 177388 h 410520"/>
                <a:gd name="connsiteX722" fmla="*/ 974686 w 2663946"/>
                <a:gd name="connsiteY722" fmla="*/ 177388 h 410520"/>
                <a:gd name="connsiteX723" fmla="*/ 975227 w 2663946"/>
                <a:gd name="connsiteY723" fmla="*/ 176848 h 410520"/>
                <a:gd name="connsiteX724" fmla="*/ 975227 w 2663946"/>
                <a:gd name="connsiteY724" fmla="*/ 130883 h 410520"/>
                <a:gd name="connsiteX725" fmla="*/ 974686 w 2663946"/>
                <a:gd name="connsiteY725" fmla="*/ 130342 h 410520"/>
                <a:gd name="connsiteX726" fmla="*/ 968738 w 2663946"/>
                <a:gd name="connsiteY726" fmla="*/ 130342 h 410520"/>
                <a:gd name="connsiteX727" fmla="*/ 961437 w 2663946"/>
                <a:gd name="connsiteY727" fmla="*/ 125746 h 410520"/>
                <a:gd name="connsiteX728" fmla="*/ 961167 w 2663946"/>
                <a:gd name="connsiteY728" fmla="*/ 120068 h 410520"/>
                <a:gd name="connsiteX729" fmla="*/ 968467 w 2663946"/>
                <a:gd name="connsiteY729" fmla="*/ 114931 h 410520"/>
                <a:gd name="connsiteX730" fmla="*/ 980634 w 2663946"/>
                <a:gd name="connsiteY730" fmla="*/ 114660 h 410520"/>
                <a:gd name="connsiteX731" fmla="*/ 813605 w 2663946"/>
                <a:gd name="connsiteY731" fmla="*/ 114660 h 410520"/>
                <a:gd name="connsiteX732" fmla="*/ 817661 w 2663946"/>
                <a:gd name="connsiteY732" fmla="*/ 114660 h 410520"/>
                <a:gd name="connsiteX733" fmla="*/ 822257 w 2663946"/>
                <a:gd name="connsiteY733" fmla="*/ 117094 h 410520"/>
                <a:gd name="connsiteX734" fmla="*/ 824420 w 2663946"/>
                <a:gd name="connsiteY734" fmla="*/ 123312 h 410520"/>
                <a:gd name="connsiteX735" fmla="*/ 824420 w 2663946"/>
                <a:gd name="connsiteY735" fmla="*/ 123853 h 410520"/>
                <a:gd name="connsiteX736" fmla="*/ 824420 w 2663946"/>
                <a:gd name="connsiteY736" fmla="*/ 176848 h 410520"/>
                <a:gd name="connsiteX737" fmla="*/ 824961 w 2663946"/>
                <a:gd name="connsiteY737" fmla="*/ 177388 h 410520"/>
                <a:gd name="connsiteX738" fmla="*/ 832261 w 2663946"/>
                <a:gd name="connsiteY738" fmla="*/ 177388 h 410520"/>
                <a:gd name="connsiteX739" fmla="*/ 836317 w 2663946"/>
                <a:gd name="connsiteY739" fmla="*/ 178470 h 410520"/>
                <a:gd name="connsiteX740" fmla="*/ 840102 w 2663946"/>
                <a:gd name="connsiteY740" fmla="*/ 185229 h 410520"/>
                <a:gd name="connsiteX741" fmla="*/ 837399 w 2663946"/>
                <a:gd name="connsiteY741" fmla="*/ 190907 h 410520"/>
                <a:gd name="connsiteX742" fmla="*/ 833343 w 2663946"/>
                <a:gd name="connsiteY742" fmla="*/ 192800 h 410520"/>
                <a:gd name="connsiteX743" fmla="*/ 833073 w 2663946"/>
                <a:gd name="connsiteY743" fmla="*/ 192800 h 410520"/>
                <a:gd name="connsiteX744" fmla="*/ 832802 w 2663946"/>
                <a:gd name="connsiteY744" fmla="*/ 192800 h 410520"/>
                <a:gd name="connsiteX745" fmla="*/ 832261 w 2663946"/>
                <a:gd name="connsiteY745" fmla="*/ 192800 h 410520"/>
                <a:gd name="connsiteX746" fmla="*/ 800086 w 2663946"/>
                <a:gd name="connsiteY746" fmla="*/ 192800 h 410520"/>
                <a:gd name="connsiteX747" fmla="*/ 799546 w 2663946"/>
                <a:gd name="connsiteY747" fmla="*/ 192800 h 410520"/>
                <a:gd name="connsiteX748" fmla="*/ 798734 w 2663946"/>
                <a:gd name="connsiteY748" fmla="*/ 192800 h 410520"/>
                <a:gd name="connsiteX749" fmla="*/ 797923 w 2663946"/>
                <a:gd name="connsiteY749" fmla="*/ 192530 h 410520"/>
                <a:gd name="connsiteX750" fmla="*/ 794408 w 2663946"/>
                <a:gd name="connsiteY750" fmla="*/ 190637 h 410520"/>
                <a:gd name="connsiteX751" fmla="*/ 791975 w 2663946"/>
                <a:gd name="connsiteY751" fmla="*/ 184959 h 410520"/>
                <a:gd name="connsiteX752" fmla="*/ 794138 w 2663946"/>
                <a:gd name="connsiteY752" fmla="*/ 179822 h 410520"/>
                <a:gd name="connsiteX753" fmla="*/ 799816 w 2663946"/>
                <a:gd name="connsiteY753" fmla="*/ 177388 h 410520"/>
                <a:gd name="connsiteX754" fmla="*/ 807657 w 2663946"/>
                <a:gd name="connsiteY754" fmla="*/ 177388 h 410520"/>
                <a:gd name="connsiteX755" fmla="*/ 808198 w 2663946"/>
                <a:gd name="connsiteY755" fmla="*/ 176848 h 410520"/>
                <a:gd name="connsiteX756" fmla="*/ 808198 w 2663946"/>
                <a:gd name="connsiteY756" fmla="*/ 130883 h 410520"/>
                <a:gd name="connsiteX757" fmla="*/ 807657 w 2663946"/>
                <a:gd name="connsiteY757" fmla="*/ 130342 h 410520"/>
                <a:gd name="connsiteX758" fmla="*/ 801709 w 2663946"/>
                <a:gd name="connsiteY758" fmla="*/ 130342 h 410520"/>
                <a:gd name="connsiteX759" fmla="*/ 794408 w 2663946"/>
                <a:gd name="connsiteY759" fmla="*/ 125746 h 410520"/>
                <a:gd name="connsiteX760" fmla="*/ 794138 w 2663946"/>
                <a:gd name="connsiteY760" fmla="*/ 120068 h 410520"/>
                <a:gd name="connsiteX761" fmla="*/ 801438 w 2663946"/>
                <a:gd name="connsiteY761" fmla="*/ 114931 h 410520"/>
                <a:gd name="connsiteX762" fmla="*/ 813605 w 2663946"/>
                <a:gd name="connsiteY762" fmla="*/ 114660 h 410520"/>
                <a:gd name="connsiteX763" fmla="*/ 282748 w 2663946"/>
                <a:gd name="connsiteY763" fmla="*/ 114660 h 410520"/>
                <a:gd name="connsiteX764" fmla="*/ 286803 w 2663946"/>
                <a:gd name="connsiteY764" fmla="*/ 114660 h 410520"/>
                <a:gd name="connsiteX765" fmla="*/ 291400 w 2663946"/>
                <a:gd name="connsiteY765" fmla="*/ 117094 h 410520"/>
                <a:gd name="connsiteX766" fmla="*/ 293563 w 2663946"/>
                <a:gd name="connsiteY766" fmla="*/ 123312 h 410520"/>
                <a:gd name="connsiteX767" fmla="*/ 293563 w 2663946"/>
                <a:gd name="connsiteY767" fmla="*/ 123853 h 410520"/>
                <a:gd name="connsiteX768" fmla="*/ 293563 w 2663946"/>
                <a:gd name="connsiteY768" fmla="*/ 176848 h 410520"/>
                <a:gd name="connsiteX769" fmla="*/ 294104 w 2663946"/>
                <a:gd name="connsiteY769" fmla="*/ 177388 h 410520"/>
                <a:gd name="connsiteX770" fmla="*/ 301404 w 2663946"/>
                <a:gd name="connsiteY770" fmla="*/ 177388 h 410520"/>
                <a:gd name="connsiteX771" fmla="*/ 305460 w 2663946"/>
                <a:gd name="connsiteY771" fmla="*/ 178470 h 410520"/>
                <a:gd name="connsiteX772" fmla="*/ 309245 w 2663946"/>
                <a:gd name="connsiteY772" fmla="*/ 185229 h 410520"/>
                <a:gd name="connsiteX773" fmla="*/ 306541 w 2663946"/>
                <a:gd name="connsiteY773" fmla="*/ 190907 h 410520"/>
                <a:gd name="connsiteX774" fmla="*/ 302485 w 2663946"/>
                <a:gd name="connsiteY774" fmla="*/ 192800 h 410520"/>
                <a:gd name="connsiteX775" fmla="*/ 302215 w 2663946"/>
                <a:gd name="connsiteY775" fmla="*/ 192800 h 410520"/>
                <a:gd name="connsiteX776" fmla="*/ 301945 w 2663946"/>
                <a:gd name="connsiteY776" fmla="*/ 192800 h 410520"/>
                <a:gd name="connsiteX777" fmla="*/ 301404 w 2663946"/>
                <a:gd name="connsiteY777" fmla="*/ 192800 h 410520"/>
                <a:gd name="connsiteX778" fmla="*/ 269229 w 2663946"/>
                <a:gd name="connsiteY778" fmla="*/ 192800 h 410520"/>
                <a:gd name="connsiteX779" fmla="*/ 268688 w 2663946"/>
                <a:gd name="connsiteY779" fmla="*/ 192800 h 410520"/>
                <a:gd name="connsiteX780" fmla="*/ 267877 w 2663946"/>
                <a:gd name="connsiteY780" fmla="*/ 192800 h 410520"/>
                <a:gd name="connsiteX781" fmla="*/ 267066 w 2663946"/>
                <a:gd name="connsiteY781" fmla="*/ 192530 h 410520"/>
                <a:gd name="connsiteX782" fmla="*/ 263551 w 2663946"/>
                <a:gd name="connsiteY782" fmla="*/ 190637 h 410520"/>
                <a:gd name="connsiteX783" fmla="*/ 261117 w 2663946"/>
                <a:gd name="connsiteY783" fmla="*/ 184959 h 410520"/>
                <a:gd name="connsiteX784" fmla="*/ 263281 w 2663946"/>
                <a:gd name="connsiteY784" fmla="*/ 179822 h 410520"/>
                <a:gd name="connsiteX785" fmla="*/ 268958 w 2663946"/>
                <a:gd name="connsiteY785" fmla="*/ 177388 h 410520"/>
                <a:gd name="connsiteX786" fmla="*/ 276800 w 2663946"/>
                <a:gd name="connsiteY786" fmla="*/ 177388 h 410520"/>
                <a:gd name="connsiteX787" fmla="*/ 277340 w 2663946"/>
                <a:gd name="connsiteY787" fmla="*/ 176848 h 410520"/>
                <a:gd name="connsiteX788" fmla="*/ 277340 w 2663946"/>
                <a:gd name="connsiteY788" fmla="*/ 130883 h 410520"/>
                <a:gd name="connsiteX789" fmla="*/ 276800 w 2663946"/>
                <a:gd name="connsiteY789" fmla="*/ 130342 h 410520"/>
                <a:gd name="connsiteX790" fmla="*/ 270851 w 2663946"/>
                <a:gd name="connsiteY790" fmla="*/ 130342 h 410520"/>
                <a:gd name="connsiteX791" fmla="*/ 263551 w 2663946"/>
                <a:gd name="connsiteY791" fmla="*/ 125746 h 410520"/>
                <a:gd name="connsiteX792" fmla="*/ 263281 w 2663946"/>
                <a:gd name="connsiteY792" fmla="*/ 120068 h 410520"/>
                <a:gd name="connsiteX793" fmla="*/ 270581 w 2663946"/>
                <a:gd name="connsiteY793" fmla="*/ 114931 h 410520"/>
                <a:gd name="connsiteX794" fmla="*/ 282748 w 2663946"/>
                <a:gd name="connsiteY794" fmla="*/ 114660 h 410520"/>
                <a:gd name="connsiteX795" fmla="*/ 206731 w 2663946"/>
                <a:gd name="connsiteY795" fmla="*/ 114660 h 410520"/>
                <a:gd name="connsiteX796" fmla="*/ 210787 w 2663946"/>
                <a:gd name="connsiteY796" fmla="*/ 114660 h 410520"/>
                <a:gd name="connsiteX797" fmla="*/ 215383 w 2663946"/>
                <a:gd name="connsiteY797" fmla="*/ 117094 h 410520"/>
                <a:gd name="connsiteX798" fmla="*/ 217546 w 2663946"/>
                <a:gd name="connsiteY798" fmla="*/ 123312 h 410520"/>
                <a:gd name="connsiteX799" fmla="*/ 217546 w 2663946"/>
                <a:gd name="connsiteY799" fmla="*/ 123853 h 410520"/>
                <a:gd name="connsiteX800" fmla="*/ 217546 w 2663946"/>
                <a:gd name="connsiteY800" fmla="*/ 176848 h 410520"/>
                <a:gd name="connsiteX801" fmla="*/ 218087 w 2663946"/>
                <a:gd name="connsiteY801" fmla="*/ 177388 h 410520"/>
                <a:gd name="connsiteX802" fmla="*/ 225387 w 2663946"/>
                <a:gd name="connsiteY802" fmla="*/ 177388 h 410520"/>
                <a:gd name="connsiteX803" fmla="*/ 229443 w 2663946"/>
                <a:gd name="connsiteY803" fmla="*/ 178470 h 410520"/>
                <a:gd name="connsiteX804" fmla="*/ 233228 w 2663946"/>
                <a:gd name="connsiteY804" fmla="*/ 185229 h 410520"/>
                <a:gd name="connsiteX805" fmla="*/ 230524 w 2663946"/>
                <a:gd name="connsiteY805" fmla="*/ 190907 h 410520"/>
                <a:gd name="connsiteX806" fmla="*/ 226468 w 2663946"/>
                <a:gd name="connsiteY806" fmla="*/ 192800 h 410520"/>
                <a:gd name="connsiteX807" fmla="*/ 226198 w 2663946"/>
                <a:gd name="connsiteY807" fmla="*/ 192800 h 410520"/>
                <a:gd name="connsiteX808" fmla="*/ 225928 w 2663946"/>
                <a:gd name="connsiteY808" fmla="*/ 192800 h 410520"/>
                <a:gd name="connsiteX809" fmla="*/ 225387 w 2663946"/>
                <a:gd name="connsiteY809" fmla="*/ 192800 h 410520"/>
                <a:gd name="connsiteX810" fmla="*/ 193212 w 2663946"/>
                <a:gd name="connsiteY810" fmla="*/ 192800 h 410520"/>
                <a:gd name="connsiteX811" fmla="*/ 192671 w 2663946"/>
                <a:gd name="connsiteY811" fmla="*/ 192800 h 410520"/>
                <a:gd name="connsiteX812" fmla="*/ 191860 w 2663946"/>
                <a:gd name="connsiteY812" fmla="*/ 192800 h 410520"/>
                <a:gd name="connsiteX813" fmla="*/ 191049 w 2663946"/>
                <a:gd name="connsiteY813" fmla="*/ 192530 h 410520"/>
                <a:gd name="connsiteX814" fmla="*/ 187534 w 2663946"/>
                <a:gd name="connsiteY814" fmla="*/ 190637 h 410520"/>
                <a:gd name="connsiteX815" fmla="*/ 185101 w 2663946"/>
                <a:gd name="connsiteY815" fmla="*/ 184959 h 410520"/>
                <a:gd name="connsiteX816" fmla="*/ 187264 w 2663946"/>
                <a:gd name="connsiteY816" fmla="*/ 179822 h 410520"/>
                <a:gd name="connsiteX817" fmla="*/ 192942 w 2663946"/>
                <a:gd name="connsiteY817" fmla="*/ 177388 h 410520"/>
                <a:gd name="connsiteX818" fmla="*/ 200783 w 2663946"/>
                <a:gd name="connsiteY818" fmla="*/ 177388 h 410520"/>
                <a:gd name="connsiteX819" fmla="*/ 201323 w 2663946"/>
                <a:gd name="connsiteY819" fmla="*/ 176848 h 410520"/>
                <a:gd name="connsiteX820" fmla="*/ 201323 w 2663946"/>
                <a:gd name="connsiteY820" fmla="*/ 130883 h 410520"/>
                <a:gd name="connsiteX821" fmla="*/ 200783 w 2663946"/>
                <a:gd name="connsiteY821" fmla="*/ 130342 h 410520"/>
                <a:gd name="connsiteX822" fmla="*/ 194834 w 2663946"/>
                <a:gd name="connsiteY822" fmla="*/ 130342 h 410520"/>
                <a:gd name="connsiteX823" fmla="*/ 187534 w 2663946"/>
                <a:gd name="connsiteY823" fmla="*/ 125746 h 410520"/>
                <a:gd name="connsiteX824" fmla="*/ 187264 w 2663946"/>
                <a:gd name="connsiteY824" fmla="*/ 120068 h 410520"/>
                <a:gd name="connsiteX825" fmla="*/ 194564 w 2663946"/>
                <a:gd name="connsiteY825" fmla="*/ 114931 h 410520"/>
                <a:gd name="connsiteX826" fmla="*/ 206731 w 2663946"/>
                <a:gd name="connsiteY826" fmla="*/ 114660 h 410520"/>
                <a:gd name="connsiteX827" fmla="*/ 2627559 w 2663946"/>
                <a:gd name="connsiteY827" fmla="*/ 114591 h 410520"/>
                <a:gd name="connsiteX828" fmla="*/ 2639849 w 2663946"/>
                <a:gd name="connsiteY828" fmla="*/ 116754 h 410520"/>
                <a:gd name="connsiteX829" fmla="*/ 2647223 w 2663946"/>
                <a:gd name="connsiteY829" fmla="*/ 121351 h 410520"/>
                <a:gd name="connsiteX830" fmla="*/ 2650664 w 2663946"/>
                <a:gd name="connsiteY830" fmla="*/ 124595 h 410520"/>
                <a:gd name="connsiteX831" fmla="*/ 2654106 w 2663946"/>
                <a:gd name="connsiteY831" fmla="*/ 128921 h 410520"/>
                <a:gd name="connsiteX832" fmla="*/ 2656072 w 2663946"/>
                <a:gd name="connsiteY832" fmla="*/ 132436 h 410520"/>
                <a:gd name="connsiteX833" fmla="*/ 2658284 w 2663946"/>
                <a:gd name="connsiteY833" fmla="*/ 137844 h 410520"/>
                <a:gd name="connsiteX834" fmla="*/ 2659267 w 2663946"/>
                <a:gd name="connsiteY834" fmla="*/ 141359 h 410520"/>
                <a:gd name="connsiteX835" fmla="*/ 2660251 w 2663946"/>
                <a:gd name="connsiteY835" fmla="*/ 146496 h 410520"/>
                <a:gd name="connsiteX836" fmla="*/ 2660005 w 2663946"/>
                <a:gd name="connsiteY836" fmla="*/ 160826 h 410520"/>
                <a:gd name="connsiteX837" fmla="*/ 2659022 w 2663946"/>
                <a:gd name="connsiteY837" fmla="*/ 165693 h 410520"/>
                <a:gd name="connsiteX838" fmla="*/ 2657792 w 2663946"/>
                <a:gd name="connsiteY838" fmla="*/ 169478 h 410520"/>
                <a:gd name="connsiteX839" fmla="*/ 2656809 w 2663946"/>
                <a:gd name="connsiteY839" fmla="*/ 171912 h 410520"/>
                <a:gd name="connsiteX840" fmla="*/ 2654597 w 2663946"/>
                <a:gd name="connsiteY840" fmla="*/ 176238 h 410520"/>
                <a:gd name="connsiteX841" fmla="*/ 2652385 w 2663946"/>
                <a:gd name="connsiteY841" fmla="*/ 179482 h 410520"/>
                <a:gd name="connsiteX842" fmla="*/ 2648944 w 2663946"/>
                <a:gd name="connsiteY842" fmla="*/ 183268 h 410520"/>
                <a:gd name="connsiteX843" fmla="*/ 2645748 w 2663946"/>
                <a:gd name="connsiteY843" fmla="*/ 185971 h 410520"/>
                <a:gd name="connsiteX844" fmla="*/ 2640095 w 2663946"/>
                <a:gd name="connsiteY844" fmla="*/ 189216 h 410520"/>
                <a:gd name="connsiteX845" fmla="*/ 2632229 w 2663946"/>
                <a:gd name="connsiteY845" fmla="*/ 191379 h 410520"/>
                <a:gd name="connsiteX846" fmla="*/ 2631000 w 2663946"/>
                <a:gd name="connsiteY846" fmla="*/ 191650 h 410520"/>
                <a:gd name="connsiteX847" fmla="*/ 2626821 w 2663946"/>
                <a:gd name="connsiteY847" fmla="*/ 191650 h 410520"/>
                <a:gd name="connsiteX848" fmla="*/ 2626576 w 2663946"/>
                <a:gd name="connsiteY848" fmla="*/ 191650 h 410520"/>
                <a:gd name="connsiteX849" fmla="*/ 2613548 w 2663946"/>
                <a:gd name="connsiteY849" fmla="*/ 186783 h 410520"/>
                <a:gd name="connsiteX850" fmla="*/ 2608878 w 2663946"/>
                <a:gd name="connsiteY850" fmla="*/ 182727 h 410520"/>
                <a:gd name="connsiteX851" fmla="*/ 2605682 w 2663946"/>
                <a:gd name="connsiteY851" fmla="*/ 178942 h 410520"/>
                <a:gd name="connsiteX852" fmla="*/ 2603470 w 2663946"/>
                <a:gd name="connsiteY852" fmla="*/ 175427 h 410520"/>
                <a:gd name="connsiteX853" fmla="*/ 2601258 w 2663946"/>
                <a:gd name="connsiteY853" fmla="*/ 171101 h 410520"/>
                <a:gd name="connsiteX854" fmla="*/ 2600029 w 2663946"/>
                <a:gd name="connsiteY854" fmla="*/ 168126 h 410520"/>
                <a:gd name="connsiteX855" fmla="*/ 2599046 w 2663946"/>
                <a:gd name="connsiteY855" fmla="*/ 164882 h 410520"/>
                <a:gd name="connsiteX856" fmla="*/ 2597816 w 2663946"/>
                <a:gd name="connsiteY856" fmla="*/ 159204 h 410520"/>
                <a:gd name="connsiteX857" fmla="*/ 2597571 w 2663946"/>
                <a:gd name="connsiteY857" fmla="*/ 156230 h 410520"/>
                <a:gd name="connsiteX858" fmla="*/ 2597816 w 2663946"/>
                <a:gd name="connsiteY858" fmla="*/ 156500 h 410520"/>
                <a:gd name="connsiteX859" fmla="*/ 2597816 w 2663946"/>
                <a:gd name="connsiteY859" fmla="*/ 150822 h 410520"/>
                <a:gd name="connsiteX860" fmla="*/ 2597816 w 2663946"/>
                <a:gd name="connsiteY860" fmla="*/ 150552 h 410520"/>
                <a:gd name="connsiteX861" fmla="*/ 2598308 w 2663946"/>
                <a:gd name="connsiteY861" fmla="*/ 145955 h 410520"/>
                <a:gd name="connsiteX862" fmla="*/ 2599537 w 2663946"/>
                <a:gd name="connsiteY862" fmla="*/ 140548 h 410520"/>
                <a:gd name="connsiteX863" fmla="*/ 2600520 w 2663946"/>
                <a:gd name="connsiteY863" fmla="*/ 137303 h 410520"/>
                <a:gd name="connsiteX864" fmla="*/ 2602732 w 2663946"/>
                <a:gd name="connsiteY864" fmla="*/ 132166 h 410520"/>
                <a:gd name="connsiteX865" fmla="*/ 2604945 w 2663946"/>
                <a:gd name="connsiteY865" fmla="*/ 128381 h 410520"/>
                <a:gd name="connsiteX866" fmla="*/ 2607157 w 2663946"/>
                <a:gd name="connsiteY866" fmla="*/ 125406 h 410520"/>
                <a:gd name="connsiteX867" fmla="*/ 2609369 w 2663946"/>
                <a:gd name="connsiteY867" fmla="*/ 122973 h 410520"/>
                <a:gd name="connsiteX868" fmla="*/ 2614039 w 2663946"/>
                <a:gd name="connsiteY868" fmla="*/ 119188 h 410520"/>
                <a:gd name="connsiteX869" fmla="*/ 2617972 w 2663946"/>
                <a:gd name="connsiteY869" fmla="*/ 117025 h 410520"/>
                <a:gd name="connsiteX870" fmla="*/ 2627559 w 2663946"/>
                <a:gd name="connsiteY870" fmla="*/ 114591 h 410520"/>
                <a:gd name="connsiteX871" fmla="*/ 2445604 w 2663946"/>
                <a:gd name="connsiteY871" fmla="*/ 114591 h 410520"/>
                <a:gd name="connsiteX872" fmla="*/ 2457894 w 2663946"/>
                <a:gd name="connsiteY872" fmla="*/ 116754 h 410520"/>
                <a:gd name="connsiteX873" fmla="*/ 2465268 w 2663946"/>
                <a:gd name="connsiteY873" fmla="*/ 121351 h 410520"/>
                <a:gd name="connsiteX874" fmla="*/ 2468709 w 2663946"/>
                <a:gd name="connsiteY874" fmla="*/ 124595 h 410520"/>
                <a:gd name="connsiteX875" fmla="*/ 2472151 w 2663946"/>
                <a:gd name="connsiteY875" fmla="*/ 128921 h 410520"/>
                <a:gd name="connsiteX876" fmla="*/ 2474117 w 2663946"/>
                <a:gd name="connsiteY876" fmla="*/ 132436 h 410520"/>
                <a:gd name="connsiteX877" fmla="*/ 2476329 w 2663946"/>
                <a:gd name="connsiteY877" fmla="*/ 137844 h 410520"/>
                <a:gd name="connsiteX878" fmla="*/ 2477312 w 2663946"/>
                <a:gd name="connsiteY878" fmla="*/ 141359 h 410520"/>
                <a:gd name="connsiteX879" fmla="*/ 2478296 w 2663946"/>
                <a:gd name="connsiteY879" fmla="*/ 146496 h 410520"/>
                <a:gd name="connsiteX880" fmla="*/ 2478050 w 2663946"/>
                <a:gd name="connsiteY880" fmla="*/ 160826 h 410520"/>
                <a:gd name="connsiteX881" fmla="*/ 2477067 w 2663946"/>
                <a:gd name="connsiteY881" fmla="*/ 165693 h 410520"/>
                <a:gd name="connsiteX882" fmla="*/ 2475837 w 2663946"/>
                <a:gd name="connsiteY882" fmla="*/ 169478 h 410520"/>
                <a:gd name="connsiteX883" fmla="*/ 2474854 w 2663946"/>
                <a:gd name="connsiteY883" fmla="*/ 171912 h 410520"/>
                <a:gd name="connsiteX884" fmla="*/ 2472642 w 2663946"/>
                <a:gd name="connsiteY884" fmla="*/ 176238 h 410520"/>
                <a:gd name="connsiteX885" fmla="*/ 2470430 w 2663946"/>
                <a:gd name="connsiteY885" fmla="*/ 179482 h 410520"/>
                <a:gd name="connsiteX886" fmla="*/ 2466989 w 2663946"/>
                <a:gd name="connsiteY886" fmla="*/ 183268 h 410520"/>
                <a:gd name="connsiteX887" fmla="*/ 2463793 w 2663946"/>
                <a:gd name="connsiteY887" fmla="*/ 185971 h 410520"/>
                <a:gd name="connsiteX888" fmla="*/ 2458140 w 2663946"/>
                <a:gd name="connsiteY888" fmla="*/ 189216 h 410520"/>
                <a:gd name="connsiteX889" fmla="*/ 2450274 w 2663946"/>
                <a:gd name="connsiteY889" fmla="*/ 191379 h 410520"/>
                <a:gd name="connsiteX890" fmla="*/ 2449045 w 2663946"/>
                <a:gd name="connsiteY890" fmla="*/ 191650 h 410520"/>
                <a:gd name="connsiteX891" fmla="*/ 2444866 w 2663946"/>
                <a:gd name="connsiteY891" fmla="*/ 191650 h 410520"/>
                <a:gd name="connsiteX892" fmla="*/ 2444621 w 2663946"/>
                <a:gd name="connsiteY892" fmla="*/ 191650 h 410520"/>
                <a:gd name="connsiteX893" fmla="*/ 2431593 w 2663946"/>
                <a:gd name="connsiteY893" fmla="*/ 186783 h 410520"/>
                <a:gd name="connsiteX894" fmla="*/ 2426923 w 2663946"/>
                <a:gd name="connsiteY894" fmla="*/ 182727 h 410520"/>
                <a:gd name="connsiteX895" fmla="*/ 2423727 w 2663946"/>
                <a:gd name="connsiteY895" fmla="*/ 178942 h 410520"/>
                <a:gd name="connsiteX896" fmla="*/ 2421515 w 2663946"/>
                <a:gd name="connsiteY896" fmla="*/ 175427 h 410520"/>
                <a:gd name="connsiteX897" fmla="*/ 2419303 w 2663946"/>
                <a:gd name="connsiteY897" fmla="*/ 171101 h 410520"/>
                <a:gd name="connsiteX898" fmla="*/ 2418074 w 2663946"/>
                <a:gd name="connsiteY898" fmla="*/ 168126 h 410520"/>
                <a:gd name="connsiteX899" fmla="*/ 2417091 w 2663946"/>
                <a:gd name="connsiteY899" fmla="*/ 164882 h 410520"/>
                <a:gd name="connsiteX900" fmla="*/ 2415861 w 2663946"/>
                <a:gd name="connsiteY900" fmla="*/ 159204 h 410520"/>
                <a:gd name="connsiteX901" fmla="*/ 2415616 w 2663946"/>
                <a:gd name="connsiteY901" fmla="*/ 156230 h 410520"/>
                <a:gd name="connsiteX902" fmla="*/ 2415861 w 2663946"/>
                <a:gd name="connsiteY902" fmla="*/ 156500 h 410520"/>
                <a:gd name="connsiteX903" fmla="*/ 2415861 w 2663946"/>
                <a:gd name="connsiteY903" fmla="*/ 150822 h 410520"/>
                <a:gd name="connsiteX904" fmla="*/ 2415861 w 2663946"/>
                <a:gd name="connsiteY904" fmla="*/ 150552 h 410520"/>
                <a:gd name="connsiteX905" fmla="*/ 2416353 w 2663946"/>
                <a:gd name="connsiteY905" fmla="*/ 145955 h 410520"/>
                <a:gd name="connsiteX906" fmla="*/ 2417582 w 2663946"/>
                <a:gd name="connsiteY906" fmla="*/ 140548 h 410520"/>
                <a:gd name="connsiteX907" fmla="*/ 2418565 w 2663946"/>
                <a:gd name="connsiteY907" fmla="*/ 137303 h 410520"/>
                <a:gd name="connsiteX908" fmla="*/ 2420777 w 2663946"/>
                <a:gd name="connsiteY908" fmla="*/ 132166 h 410520"/>
                <a:gd name="connsiteX909" fmla="*/ 2422990 w 2663946"/>
                <a:gd name="connsiteY909" fmla="*/ 128381 h 410520"/>
                <a:gd name="connsiteX910" fmla="*/ 2425202 w 2663946"/>
                <a:gd name="connsiteY910" fmla="*/ 125406 h 410520"/>
                <a:gd name="connsiteX911" fmla="*/ 2427414 w 2663946"/>
                <a:gd name="connsiteY911" fmla="*/ 122973 h 410520"/>
                <a:gd name="connsiteX912" fmla="*/ 2432084 w 2663946"/>
                <a:gd name="connsiteY912" fmla="*/ 119188 h 410520"/>
                <a:gd name="connsiteX913" fmla="*/ 2436017 w 2663946"/>
                <a:gd name="connsiteY913" fmla="*/ 117025 h 410520"/>
                <a:gd name="connsiteX914" fmla="*/ 2445604 w 2663946"/>
                <a:gd name="connsiteY914" fmla="*/ 114591 h 410520"/>
                <a:gd name="connsiteX915" fmla="*/ 2202558 w 2663946"/>
                <a:gd name="connsiteY915" fmla="*/ 114591 h 410520"/>
                <a:gd name="connsiteX916" fmla="*/ 2214848 w 2663946"/>
                <a:gd name="connsiteY916" fmla="*/ 116754 h 410520"/>
                <a:gd name="connsiteX917" fmla="*/ 2222222 w 2663946"/>
                <a:gd name="connsiteY917" fmla="*/ 121351 h 410520"/>
                <a:gd name="connsiteX918" fmla="*/ 2225663 w 2663946"/>
                <a:gd name="connsiteY918" fmla="*/ 124595 h 410520"/>
                <a:gd name="connsiteX919" fmla="*/ 2229105 w 2663946"/>
                <a:gd name="connsiteY919" fmla="*/ 128921 h 410520"/>
                <a:gd name="connsiteX920" fmla="*/ 2231071 w 2663946"/>
                <a:gd name="connsiteY920" fmla="*/ 132436 h 410520"/>
                <a:gd name="connsiteX921" fmla="*/ 2233283 w 2663946"/>
                <a:gd name="connsiteY921" fmla="*/ 137844 h 410520"/>
                <a:gd name="connsiteX922" fmla="*/ 2234266 w 2663946"/>
                <a:gd name="connsiteY922" fmla="*/ 141359 h 410520"/>
                <a:gd name="connsiteX923" fmla="*/ 2235250 w 2663946"/>
                <a:gd name="connsiteY923" fmla="*/ 146496 h 410520"/>
                <a:gd name="connsiteX924" fmla="*/ 2235004 w 2663946"/>
                <a:gd name="connsiteY924" fmla="*/ 160826 h 410520"/>
                <a:gd name="connsiteX925" fmla="*/ 2234021 w 2663946"/>
                <a:gd name="connsiteY925" fmla="*/ 165693 h 410520"/>
                <a:gd name="connsiteX926" fmla="*/ 2232791 w 2663946"/>
                <a:gd name="connsiteY926" fmla="*/ 169478 h 410520"/>
                <a:gd name="connsiteX927" fmla="*/ 2231808 w 2663946"/>
                <a:gd name="connsiteY927" fmla="*/ 171912 h 410520"/>
                <a:gd name="connsiteX928" fmla="*/ 2229596 w 2663946"/>
                <a:gd name="connsiteY928" fmla="*/ 176238 h 410520"/>
                <a:gd name="connsiteX929" fmla="*/ 2227384 w 2663946"/>
                <a:gd name="connsiteY929" fmla="*/ 179482 h 410520"/>
                <a:gd name="connsiteX930" fmla="*/ 2223943 w 2663946"/>
                <a:gd name="connsiteY930" fmla="*/ 183268 h 410520"/>
                <a:gd name="connsiteX931" fmla="*/ 2220747 w 2663946"/>
                <a:gd name="connsiteY931" fmla="*/ 185971 h 410520"/>
                <a:gd name="connsiteX932" fmla="*/ 2215094 w 2663946"/>
                <a:gd name="connsiteY932" fmla="*/ 189216 h 410520"/>
                <a:gd name="connsiteX933" fmla="*/ 2207228 w 2663946"/>
                <a:gd name="connsiteY933" fmla="*/ 191379 h 410520"/>
                <a:gd name="connsiteX934" fmla="*/ 2205999 w 2663946"/>
                <a:gd name="connsiteY934" fmla="*/ 191650 h 410520"/>
                <a:gd name="connsiteX935" fmla="*/ 2201820 w 2663946"/>
                <a:gd name="connsiteY935" fmla="*/ 191650 h 410520"/>
                <a:gd name="connsiteX936" fmla="*/ 2201575 w 2663946"/>
                <a:gd name="connsiteY936" fmla="*/ 191650 h 410520"/>
                <a:gd name="connsiteX937" fmla="*/ 2188547 w 2663946"/>
                <a:gd name="connsiteY937" fmla="*/ 186783 h 410520"/>
                <a:gd name="connsiteX938" fmla="*/ 2183877 w 2663946"/>
                <a:gd name="connsiteY938" fmla="*/ 182727 h 410520"/>
                <a:gd name="connsiteX939" fmla="*/ 2180681 w 2663946"/>
                <a:gd name="connsiteY939" fmla="*/ 178942 h 410520"/>
                <a:gd name="connsiteX940" fmla="*/ 2178469 w 2663946"/>
                <a:gd name="connsiteY940" fmla="*/ 175427 h 410520"/>
                <a:gd name="connsiteX941" fmla="*/ 2176257 w 2663946"/>
                <a:gd name="connsiteY941" fmla="*/ 171101 h 410520"/>
                <a:gd name="connsiteX942" fmla="*/ 2175028 w 2663946"/>
                <a:gd name="connsiteY942" fmla="*/ 168126 h 410520"/>
                <a:gd name="connsiteX943" fmla="*/ 2174045 w 2663946"/>
                <a:gd name="connsiteY943" fmla="*/ 164882 h 410520"/>
                <a:gd name="connsiteX944" fmla="*/ 2172815 w 2663946"/>
                <a:gd name="connsiteY944" fmla="*/ 159204 h 410520"/>
                <a:gd name="connsiteX945" fmla="*/ 2172570 w 2663946"/>
                <a:gd name="connsiteY945" fmla="*/ 156230 h 410520"/>
                <a:gd name="connsiteX946" fmla="*/ 2172815 w 2663946"/>
                <a:gd name="connsiteY946" fmla="*/ 156500 h 410520"/>
                <a:gd name="connsiteX947" fmla="*/ 2172815 w 2663946"/>
                <a:gd name="connsiteY947" fmla="*/ 150822 h 410520"/>
                <a:gd name="connsiteX948" fmla="*/ 2172815 w 2663946"/>
                <a:gd name="connsiteY948" fmla="*/ 150552 h 410520"/>
                <a:gd name="connsiteX949" fmla="*/ 2173307 w 2663946"/>
                <a:gd name="connsiteY949" fmla="*/ 145955 h 410520"/>
                <a:gd name="connsiteX950" fmla="*/ 2174536 w 2663946"/>
                <a:gd name="connsiteY950" fmla="*/ 140548 h 410520"/>
                <a:gd name="connsiteX951" fmla="*/ 2175519 w 2663946"/>
                <a:gd name="connsiteY951" fmla="*/ 137303 h 410520"/>
                <a:gd name="connsiteX952" fmla="*/ 2177731 w 2663946"/>
                <a:gd name="connsiteY952" fmla="*/ 132166 h 410520"/>
                <a:gd name="connsiteX953" fmla="*/ 2179944 w 2663946"/>
                <a:gd name="connsiteY953" fmla="*/ 128381 h 410520"/>
                <a:gd name="connsiteX954" fmla="*/ 2182156 w 2663946"/>
                <a:gd name="connsiteY954" fmla="*/ 125406 h 410520"/>
                <a:gd name="connsiteX955" fmla="*/ 2184368 w 2663946"/>
                <a:gd name="connsiteY955" fmla="*/ 122973 h 410520"/>
                <a:gd name="connsiteX956" fmla="*/ 2189038 w 2663946"/>
                <a:gd name="connsiteY956" fmla="*/ 119188 h 410520"/>
                <a:gd name="connsiteX957" fmla="*/ 2192971 w 2663946"/>
                <a:gd name="connsiteY957" fmla="*/ 117025 h 410520"/>
                <a:gd name="connsiteX958" fmla="*/ 2202558 w 2663946"/>
                <a:gd name="connsiteY958" fmla="*/ 114591 h 410520"/>
                <a:gd name="connsiteX959" fmla="*/ 2020607 w 2663946"/>
                <a:gd name="connsiteY959" fmla="*/ 114591 h 410520"/>
                <a:gd name="connsiteX960" fmla="*/ 2032897 w 2663946"/>
                <a:gd name="connsiteY960" fmla="*/ 116754 h 410520"/>
                <a:gd name="connsiteX961" fmla="*/ 2040271 w 2663946"/>
                <a:gd name="connsiteY961" fmla="*/ 121351 h 410520"/>
                <a:gd name="connsiteX962" fmla="*/ 2043712 w 2663946"/>
                <a:gd name="connsiteY962" fmla="*/ 124595 h 410520"/>
                <a:gd name="connsiteX963" fmla="*/ 2047154 w 2663946"/>
                <a:gd name="connsiteY963" fmla="*/ 128921 h 410520"/>
                <a:gd name="connsiteX964" fmla="*/ 2049120 w 2663946"/>
                <a:gd name="connsiteY964" fmla="*/ 132436 h 410520"/>
                <a:gd name="connsiteX965" fmla="*/ 2051332 w 2663946"/>
                <a:gd name="connsiteY965" fmla="*/ 137844 h 410520"/>
                <a:gd name="connsiteX966" fmla="*/ 2052315 w 2663946"/>
                <a:gd name="connsiteY966" fmla="*/ 141359 h 410520"/>
                <a:gd name="connsiteX967" fmla="*/ 2053299 w 2663946"/>
                <a:gd name="connsiteY967" fmla="*/ 146496 h 410520"/>
                <a:gd name="connsiteX968" fmla="*/ 2053053 w 2663946"/>
                <a:gd name="connsiteY968" fmla="*/ 160826 h 410520"/>
                <a:gd name="connsiteX969" fmla="*/ 2052070 w 2663946"/>
                <a:gd name="connsiteY969" fmla="*/ 165693 h 410520"/>
                <a:gd name="connsiteX970" fmla="*/ 2050840 w 2663946"/>
                <a:gd name="connsiteY970" fmla="*/ 169478 h 410520"/>
                <a:gd name="connsiteX971" fmla="*/ 2049857 w 2663946"/>
                <a:gd name="connsiteY971" fmla="*/ 171912 h 410520"/>
                <a:gd name="connsiteX972" fmla="*/ 2047645 w 2663946"/>
                <a:gd name="connsiteY972" fmla="*/ 176238 h 410520"/>
                <a:gd name="connsiteX973" fmla="*/ 2045433 w 2663946"/>
                <a:gd name="connsiteY973" fmla="*/ 179482 h 410520"/>
                <a:gd name="connsiteX974" fmla="*/ 2041992 w 2663946"/>
                <a:gd name="connsiteY974" fmla="*/ 183268 h 410520"/>
                <a:gd name="connsiteX975" fmla="*/ 2038796 w 2663946"/>
                <a:gd name="connsiteY975" fmla="*/ 185971 h 410520"/>
                <a:gd name="connsiteX976" fmla="*/ 2033143 w 2663946"/>
                <a:gd name="connsiteY976" fmla="*/ 189216 h 410520"/>
                <a:gd name="connsiteX977" fmla="*/ 2025277 w 2663946"/>
                <a:gd name="connsiteY977" fmla="*/ 191379 h 410520"/>
                <a:gd name="connsiteX978" fmla="*/ 2024048 w 2663946"/>
                <a:gd name="connsiteY978" fmla="*/ 191650 h 410520"/>
                <a:gd name="connsiteX979" fmla="*/ 2019869 w 2663946"/>
                <a:gd name="connsiteY979" fmla="*/ 191650 h 410520"/>
                <a:gd name="connsiteX980" fmla="*/ 2019624 w 2663946"/>
                <a:gd name="connsiteY980" fmla="*/ 191650 h 410520"/>
                <a:gd name="connsiteX981" fmla="*/ 2006596 w 2663946"/>
                <a:gd name="connsiteY981" fmla="*/ 186783 h 410520"/>
                <a:gd name="connsiteX982" fmla="*/ 2001926 w 2663946"/>
                <a:gd name="connsiteY982" fmla="*/ 182727 h 410520"/>
                <a:gd name="connsiteX983" fmla="*/ 1998730 w 2663946"/>
                <a:gd name="connsiteY983" fmla="*/ 178942 h 410520"/>
                <a:gd name="connsiteX984" fmla="*/ 1996518 w 2663946"/>
                <a:gd name="connsiteY984" fmla="*/ 175427 h 410520"/>
                <a:gd name="connsiteX985" fmla="*/ 1994306 w 2663946"/>
                <a:gd name="connsiteY985" fmla="*/ 171101 h 410520"/>
                <a:gd name="connsiteX986" fmla="*/ 1993077 w 2663946"/>
                <a:gd name="connsiteY986" fmla="*/ 168126 h 410520"/>
                <a:gd name="connsiteX987" fmla="*/ 1992094 w 2663946"/>
                <a:gd name="connsiteY987" fmla="*/ 164882 h 410520"/>
                <a:gd name="connsiteX988" fmla="*/ 1990864 w 2663946"/>
                <a:gd name="connsiteY988" fmla="*/ 159204 h 410520"/>
                <a:gd name="connsiteX989" fmla="*/ 1990619 w 2663946"/>
                <a:gd name="connsiteY989" fmla="*/ 156230 h 410520"/>
                <a:gd name="connsiteX990" fmla="*/ 1990864 w 2663946"/>
                <a:gd name="connsiteY990" fmla="*/ 156500 h 410520"/>
                <a:gd name="connsiteX991" fmla="*/ 1990864 w 2663946"/>
                <a:gd name="connsiteY991" fmla="*/ 150822 h 410520"/>
                <a:gd name="connsiteX992" fmla="*/ 1990864 w 2663946"/>
                <a:gd name="connsiteY992" fmla="*/ 150552 h 410520"/>
                <a:gd name="connsiteX993" fmla="*/ 1991356 w 2663946"/>
                <a:gd name="connsiteY993" fmla="*/ 145955 h 410520"/>
                <a:gd name="connsiteX994" fmla="*/ 1992585 w 2663946"/>
                <a:gd name="connsiteY994" fmla="*/ 140548 h 410520"/>
                <a:gd name="connsiteX995" fmla="*/ 1993568 w 2663946"/>
                <a:gd name="connsiteY995" fmla="*/ 137303 h 410520"/>
                <a:gd name="connsiteX996" fmla="*/ 1995780 w 2663946"/>
                <a:gd name="connsiteY996" fmla="*/ 132166 h 410520"/>
                <a:gd name="connsiteX997" fmla="*/ 1997993 w 2663946"/>
                <a:gd name="connsiteY997" fmla="*/ 128381 h 410520"/>
                <a:gd name="connsiteX998" fmla="*/ 2000205 w 2663946"/>
                <a:gd name="connsiteY998" fmla="*/ 125406 h 410520"/>
                <a:gd name="connsiteX999" fmla="*/ 2002417 w 2663946"/>
                <a:gd name="connsiteY999" fmla="*/ 122973 h 410520"/>
                <a:gd name="connsiteX1000" fmla="*/ 2007087 w 2663946"/>
                <a:gd name="connsiteY1000" fmla="*/ 119188 h 410520"/>
                <a:gd name="connsiteX1001" fmla="*/ 2011020 w 2663946"/>
                <a:gd name="connsiteY1001" fmla="*/ 117025 h 410520"/>
                <a:gd name="connsiteX1002" fmla="*/ 2020607 w 2663946"/>
                <a:gd name="connsiteY1002" fmla="*/ 114591 h 410520"/>
                <a:gd name="connsiteX1003" fmla="*/ 1595683 w 2663946"/>
                <a:gd name="connsiteY1003" fmla="*/ 114591 h 410520"/>
                <a:gd name="connsiteX1004" fmla="*/ 1607973 w 2663946"/>
                <a:gd name="connsiteY1004" fmla="*/ 116754 h 410520"/>
                <a:gd name="connsiteX1005" fmla="*/ 1615347 w 2663946"/>
                <a:gd name="connsiteY1005" fmla="*/ 121351 h 410520"/>
                <a:gd name="connsiteX1006" fmla="*/ 1618788 w 2663946"/>
                <a:gd name="connsiteY1006" fmla="*/ 124595 h 410520"/>
                <a:gd name="connsiteX1007" fmla="*/ 1622230 w 2663946"/>
                <a:gd name="connsiteY1007" fmla="*/ 128921 h 410520"/>
                <a:gd name="connsiteX1008" fmla="*/ 1624196 w 2663946"/>
                <a:gd name="connsiteY1008" fmla="*/ 132436 h 410520"/>
                <a:gd name="connsiteX1009" fmla="*/ 1626408 w 2663946"/>
                <a:gd name="connsiteY1009" fmla="*/ 137844 h 410520"/>
                <a:gd name="connsiteX1010" fmla="*/ 1627391 w 2663946"/>
                <a:gd name="connsiteY1010" fmla="*/ 141359 h 410520"/>
                <a:gd name="connsiteX1011" fmla="*/ 1628374 w 2663946"/>
                <a:gd name="connsiteY1011" fmla="*/ 146496 h 410520"/>
                <a:gd name="connsiteX1012" fmla="*/ 1628129 w 2663946"/>
                <a:gd name="connsiteY1012" fmla="*/ 160826 h 410520"/>
                <a:gd name="connsiteX1013" fmla="*/ 1627146 w 2663946"/>
                <a:gd name="connsiteY1013" fmla="*/ 165693 h 410520"/>
                <a:gd name="connsiteX1014" fmla="*/ 1625916 w 2663946"/>
                <a:gd name="connsiteY1014" fmla="*/ 169478 h 410520"/>
                <a:gd name="connsiteX1015" fmla="*/ 1624933 w 2663946"/>
                <a:gd name="connsiteY1015" fmla="*/ 171912 h 410520"/>
                <a:gd name="connsiteX1016" fmla="*/ 1622721 w 2663946"/>
                <a:gd name="connsiteY1016" fmla="*/ 176238 h 410520"/>
                <a:gd name="connsiteX1017" fmla="*/ 1620509 w 2663946"/>
                <a:gd name="connsiteY1017" fmla="*/ 179482 h 410520"/>
                <a:gd name="connsiteX1018" fmla="*/ 1617068 w 2663946"/>
                <a:gd name="connsiteY1018" fmla="*/ 183268 h 410520"/>
                <a:gd name="connsiteX1019" fmla="*/ 1613872 w 2663946"/>
                <a:gd name="connsiteY1019" fmla="*/ 185971 h 410520"/>
                <a:gd name="connsiteX1020" fmla="*/ 1608219 w 2663946"/>
                <a:gd name="connsiteY1020" fmla="*/ 189216 h 410520"/>
                <a:gd name="connsiteX1021" fmla="*/ 1600353 w 2663946"/>
                <a:gd name="connsiteY1021" fmla="*/ 191379 h 410520"/>
                <a:gd name="connsiteX1022" fmla="*/ 1599124 w 2663946"/>
                <a:gd name="connsiteY1022" fmla="*/ 191650 h 410520"/>
                <a:gd name="connsiteX1023" fmla="*/ 1594945 w 2663946"/>
                <a:gd name="connsiteY1023" fmla="*/ 191650 h 410520"/>
                <a:gd name="connsiteX1024" fmla="*/ 1594699 w 2663946"/>
                <a:gd name="connsiteY1024" fmla="*/ 191650 h 410520"/>
                <a:gd name="connsiteX1025" fmla="*/ 1581672 w 2663946"/>
                <a:gd name="connsiteY1025" fmla="*/ 186783 h 410520"/>
                <a:gd name="connsiteX1026" fmla="*/ 1577002 w 2663946"/>
                <a:gd name="connsiteY1026" fmla="*/ 182727 h 410520"/>
                <a:gd name="connsiteX1027" fmla="*/ 1573806 w 2663946"/>
                <a:gd name="connsiteY1027" fmla="*/ 178942 h 410520"/>
                <a:gd name="connsiteX1028" fmla="*/ 1571594 w 2663946"/>
                <a:gd name="connsiteY1028" fmla="*/ 175427 h 410520"/>
                <a:gd name="connsiteX1029" fmla="*/ 1569382 w 2663946"/>
                <a:gd name="connsiteY1029" fmla="*/ 171101 h 410520"/>
                <a:gd name="connsiteX1030" fmla="*/ 1568153 w 2663946"/>
                <a:gd name="connsiteY1030" fmla="*/ 168126 h 410520"/>
                <a:gd name="connsiteX1031" fmla="*/ 1567169 w 2663946"/>
                <a:gd name="connsiteY1031" fmla="*/ 164882 h 410520"/>
                <a:gd name="connsiteX1032" fmla="*/ 1565940 w 2663946"/>
                <a:gd name="connsiteY1032" fmla="*/ 159204 h 410520"/>
                <a:gd name="connsiteX1033" fmla="*/ 1565695 w 2663946"/>
                <a:gd name="connsiteY1033" fmla="*/ 156230 h 410520"/>
                <a:gd name="connsiteX1034" fmla="*/ 1565940 w 2663946"/>
                <a:gd name="connsiteY1034" fmla="*/ 156500 h 410520"/>
                <a:gd name="connsiteX1035" fmla="*/ 1565940 w 2663946"/>
                <a:gd name="connsiteY1035" fmla="*/ 150822 h 410520"/>
                <a:gd name="connsiteX1036" fmla="*/ 1565940 w 2663946"/>
                <a:gd name="connsiteY1036" fmla="*/ 150552 h 410520"/>
                <a:gd name="connsiteX1037" fmla="*/ 1566432 w 2663946"/>
                <a:gd name="connsiteY1037" fmla="*/ 145955 h 410520"/>
                <a:gd name="connsiteX1038" fmla="*/ 1567661 w 2663946"/>
                <a:gd name="connsiteY1038" fmla="*/ 140548 h 410520"/>
                <a:gd name="connsiteX1039" fmla="*/ 1568644 w 2663946"/>
                <a:gd name="connsiteY1039" fmla="*/ 137303 h 410520"/>
                <a:gd name="connsiteX1040" fmla="*/ 1570856 w 2663946"/>
                <a:gd name="connsiteY1040" fmla="*/ 132166 h 410520"/>
                <a:gd name="connsiteX1041" fmla="*/ 1573069 w 2663946"/>
                <a:gd name="connsiteY1041" fmla="*/ 128381 h 410520"/>
                <a:gd name="connsiteX1042" fmla="*/ 1575281 w 2663946"/>
                <a:gd name="connsiteY1042" fmla="*/ 125406 h 410520"/>
                <a:gd name="connsiteX1043" fmla="*/ 1577493 w 2663946"/>
                <a:gd name="connsiteY1043" fmla="*/ 122973 h 410520"/>
                <a:gd name="connsiteX1044" fmla="*/ 1582163 w 2663946"/>
                <a:gd name="connsiteY1044" fmla="*/ 119188 h 410520"/>
                <a:gd name="connsiteX1045" fmla="*/ 1586096 w 2663946"/>
                <a:gd name="connsiteY1045" fmla="*/ 117025 h 410520"/>
                <a:gd name="connsiteX1046" fmla="*/ 1595683 w 2663946"/>
                <a:gd name="connsiteY1046" fmla="*/ 114591 h 410520"/>
                <a:gd name="connsiteX1047" fmla="*/ 1246776 w 2663946"/>
                <a:gd name="connsiteY1047" fmla="*/ 114591 h 410520"/>
                <a:gd name="connsiteX1048" fmla="*/ 1259066 w 2663946"/>
                <a:gd name="connsiteY1048" fmla="*/ 116754 h 410520"/>
                <a:gd name="connsiteX1049" fmla="*/ 1266440 w 2663946"/>
                <a:gd name="connsiteY1049" fmla="*/ 121351 h 410520"/>
                <a:gd name="connsiteX1050" fmla="*/ 1269881 w 2663946"/>
                <a:gd name="connsiteY1050" fmla="*/ 124595 h 410520"/>
                <a:gd name="connsiteX1051" fmla="*/ 1273323 w 2663946"/>
                <a:gd name="connsiteY1051" fmla="*/ 128921 h 410520"/>
                <a:gd name="connsiteX1052" fmla="*/ 1275289 w 2663946"/>
                <a:gd name="connsiteY1052" fmla="*/ 132436 h 410520"/>
                <a:gd name="connsiteX1053" fmla="*/ 1277501 w 2663946"/>
                <a:gd name="connsiteY1053" fmla="*/ 137844 h 410520"/>
                <a:gd name="connsiteX1054" fmla="*/ 1278484 w 2663946"/>
                <a:gd name="connsiteY1054" fmla="*/ 141359 h 410520"/>
                <a:gd name="connsiteX1055" fmla="*/ 1279467 w 2663946"/>
                <a:gd name="connsiteY1055" fmla="*/ 146496 h 410520"/>
                <a:gd name="connsiteX1056" fmla="*/ 1279222 w 2663946"/>
                <a:gd name="connsiteY1056" fmla="*/ 160826 h 410520"/>
                <a:gd name="connsiteX1057" fmla="*/ 1278239 w 2663946"/>
                <a:gd name="connsiteY1057" fmla="*/ 165693 h 410520"/>
                <a:gd name="connsiteX1058" fmla="*/ 1277009 w 2663946"/>
                <a:gd name="connsiteY1058" fmla="*/ 169478 h 410520"/>
                <a:gd name="connsiteX1059" fmla="*/ 1276026 w 2663946"/>
                <a:gd name="connsiteY1059" fmla="*/ 171912 h 410520"/>
                <a:gd name="connsiteX1060" fmla="*/ 1273814 w 2663946"/>
                <a:gd name="connsiteY1060" fmla="*/ 176238 h 410520"/>
                <a:gd name="connsiteX1061" fmla="*/ 1271602 w 2663946"/>
                <a:gd name="connsiteY1061" fmla="*/ 179482 h 410520"/>
                <a:gd name="connsiteX1062" fmla="*/ 1268161 w 2663946"/>
                <a:gd name="connsiteY1062" fmla="*/ 183268 h 410520"/>
                <a:gd name="connsiteX1063" fmla="*/ 1264965 w 2663946"/>
                <a:gd name="connsiteY1063" fmla="*/ 185971 h 410520"/>
                <a:gd name="connsiteX1064" fmla="*/ 1259312 w 2663946"/>
                <a:gd name="connsiteY1064" fmla="*/ 189216 h 410520"/>
                <a:gd name="connsiteX1065" fmla="*/ 1251446 w 2663946"/>
                <a:gd name="connsiteY1065" fmla="*/ 191379 h 410520"/>
                <a:gd name="connsiteX1066" fmla="*/ 1250217 w 2663946"/>
                <a:gd name="connsiteY1066" fmla="*/ 191650 h 410520"/>
                <a:gd name="connsiteX1067" fmla="*/ 1246038 w 2663946"/>
                <a:gd name="connsiteY1067" fmla="*/ 191650 h 410520"/>
                <a:gd name="connsiteX1068" fmla="*/ 1245792 w 2663946"/>
                <a:gd name="connsiteY1068" fmla="*/ 191650 h 410520"/>
                <a:gd name="connsiteX1069" fmla="*/ 1232765 w 2663946"/>
                <a:gd name="connsiteY1069" fmla="*/ 186783 h 410520"/>
                <a:gd name="connsiteX1070" fmla="*/ 1228095 w 2663946"/>
                <a:gd name="connsiteY1070" fmla="*/ 182727 h 410520"/>
                <a:gd name="connsiteX1071" fmla="*/ 1224899 w 2663946"/>
                <a:gd name="connsiteY1071" fmla="*/ 178942 h 410520"/>
                <a:gd name="connsiteX1072" fmla="*/ 1222687 w 2663946"/>
                <a:gd name="connsiteY1072" fmla="*/ 175427 h 410520"/>
                <a:gd name="connsiteX1073" fmla="*/ 1220475 w 2663946"/>
                <a:gd name="connsiteY1073" fmla="*/ 171101 h 410520"/>
                <a:gd name="connsiteX1074" fmla="*/ 1219246 w 2663946"/>
                <a:gd name="connsiteY1074" fmla="*/ 168126 h 410520"/>
                <a:gd name="connsiteX1075" fmla="*/ 1218262 w 2663946"/>
                <a:gd name="connsiteY1075" fmla="*/ 164882 h 410520"/>
                <a:gd name="connsiteX1076" fmla="*/ 1217033 w 2663946"/>
                <a:gd name="connsiteY1076" fmla="*/ 159204 h 410520"/>
                <a:gd name="connsiteX1077" fmla="*/ 1216788 w 2663946"/>
                <a:gd name="connsiteY1077" fmla="*/ 156230 h 410520"/>
                <a:gd name="connsiteX1078" fmla="*/ 1217033 w 2663946"/>
                <a:gd name="connsiteY1078" fmla="*/ 156500 h 410520"/>
                <a:gd name="connsiteX1079" fmla="*/ 1217033 w 2663946"/>
                <a:gd name="connsiteY1079" fmla="*/ 150822 h 410520"/>
                <a:gd name="connsiteX1080" fmla="*/ 1217033 w 2663946"/>
                <a:gd name="connsiteY1080" fmla="*/ 150552 h 410520"/>
                <a:gd name="connsiteX1081" fmla="*/ 1217525 w 2663946"/>
                <a:gd name="connsiteY1081" fmla="*/ 145955 h 410520"/>
                <a:gd name="connsiteX1082" fmla="*/ 1218754 w 2663946"/>
                <a:gd name="connsiteY1082" fmla="*/ 140548 h 410520"/>
                <a:gd name="connsiteX1083" fmla="*/ 1219737 w 2663946"/>
                <a:gd name="connsiteY1083" fmla="*/ 137303 h 410520"/>
                <a:gd name="connsiteX1084" fmla="*/ 1221949 w 2663946"/>
                <a:gd name="connsiteY1084" fmla="*/ 132166 h 410520"/>
                <a:gd name="connsiteX1085" fmla="*/ 1224162 w 2663946"/>
                <a:gd name="connsiteY1085" fmla="*/ 128381 h 410520"/>
                <a:gd name="connsiteX1086" fmla="*/ 1226374 w 2663946"/>
                <a:gd name="connsiteY1086" fmla="*/ 125406 h 410520"/>
                <a:gd name="connsiteX1087" fmla="*/ 1228586 w 2663946"/>
                <a:gd name="connsiteY1087" fmla="*/ 122973 h 410520"/>
                <a:gd name="connsiteX1088" fmla="*/ 1233256 w 2663946"/>
                <a:gd name="connsiteY1088" fmla="*/ 119188 h 410520"/>
                <a:gd name="connsiteX1089" fmla="*/ 1237189 w 2663946"/>
                <a:gd name="connsiteY1089" fmla="*/ 117025 h 410520"/>
                <a:gd name="connsiteX1090" fmla="*/ 1246776 w 2663946"/>
                <a:gd name="connsiteY1090" fmla="*/ 114591 h 410520"/>
                <a:gd name="connsiteX1091" fmla="*/ 1064825 w 2663946"/>
                <a:gd name="connsiteY1091" fmla="*/ 114591 h 410520"/>
                <a:gd name="connsiteX1092" fmla="*/ 1077115 w 2663946"/>
                <a:gd name="connsiteY1092" fmla="*/ 116754 h 410520"/>
                <a:gd name="connsiteX1093" fmla="*/ 1084489 w 2663946"/>
                <a:gd name="connsiteY1093" fmla="*/ 121351 h 410520"/>
                <a:gd name="connsiteX1094" fmla="*/ 1087930 w 2663946"/>
                <a:gd name="connsiteY1094" fmla="*/ 124595 h 410520"/>
                <a:gd name="connsiteX1095" fmla="*/ 1091372 w 2663946"/>
                <a:gd name="connsiteY1095" fmla="*/ 128921 h 410520"/>
                <a:gd name="connsiteX1096" fmla="*/ 1093338 w 2663946"/>
                <a:gd name="connsiteY1096" fmla="*/ 132436 h 410520"/>
                <a:gd name="connsiteX1097" fmla="*/ 1095550 w 2663946"/>
                <a:gd name="connsiteY1097" fmla="*/ 137844 h 410520"/>
                <a:gd name="connsiteX1098" fmla="*/ 1096533 w 2663946"/>
                <a:gd name="connsiteY1098" fmla="*/ 141359 h 410520"/>
                <a:gd name="connsiteX1099" fmla="*/ 1097516 w 2663946"/>
                <a:gd name="connsiteY1099" fmla="*/ 146496 h 410520"/>
                <a:gd name="connsiteX1100" fmla="*/ 1097271 w 2663946"/>
                <a:gd name="connsiteY1100" fmla="*/ 160826 h 410520"/>
                <a:gd name="connsiteX1101" fmla="*/ 1096288 w 2663946"/>
                <a:gd name="connsiteY1101" fmla="*/ 165693 h 410520"/>
                <a:gd name="connsiteX1102" fmla="*/ 1095058 w 2663946"/>
                <a:gd name="connsiteY1102" fmla="*/ 169478 h 410520"/>
                <a:gd name="connsiteX1103" fmla="*/ 1094075 w 2663946"/>
                <a:gd name="connsiteY1103" fmla="*/ 171912 h 410520"/>
                <a:gd name="connsiteX1104" fmla="*/ 1091863 w 2663946"/>
                <a:gd name="connsiteY1104" fmla="*/ 176238 h 410520"/>
                <a:gd name="connsiteX1105" fmla="*/ 1089651 w 2663946"/>
                <a:gd name="connsiteY1105" fmla="*/ 179482 h 410520"/>
                <a:gd name="connsiteX1106" fmla="*/ 1086210 w 2663946"/>
                <a:gd name="connsiteY1106" fmla="*/ 183268 h 410520"/>
                <a:gd name="connsiteX1107" fmla="*/ 1083014 w 2663946"/>
                <a:gd name="connsiteY1107" fmla="*/ 185971 h 410520"/>
                <a:gd name="connsiteX1108" fmla="*/ 1077361 w 2663946"/>
                <a:gd name="connsiteY1108" fmla="*/ 189216 h 410520"/>
                <a:gd name="connsiteX1109" fmla="*/ 1069495 w 2663946"/>
                <a:gd name="connsiteY1109" fmla="*/ 191379 h 410520"/>
                <a:gd name="connsiteX1110" fmla="*/ 1068266 w 2663946"/>
                <a:gd name="connsiteY1110" fmla="*/ 191650 h 410520"/>
                <a:gd name="connsiteX1111" fmla="*/ 1064087 w 2663946"/>
                <a:gd name="connsiteY1111" fmla="*/ 191650 h 410520"/>
                <a:gd name="connsiteX1112" fmla="*/ 1063841 w 2663946"/>
                <a:gd name="connsiteY1112" fmla="*/ 191650 h 410520"/>
                <a:gd name="connsiteX1113" fmla="*/ 1050814 w 2663946"/>
                <a:gd name="connsiteY1113" fmla="*/ 186783 h 410520"/>
                <a:gd name="connsiteX1114" fmla="*/ 1046144 w 2663946"/>
                <a:gd name="connsiteY1114" fmla="*/ 182727 h 410520"/>
                <a:gd name="connsiteX1115" fmla="*/ 1042948 w 2663946"/>
                <a:gd name="connsiteY1115" fmla="*/ 178942 h 410520"/>
                <a:gd name="connsiteX1116" fmla="*/ 1040736 w 2663946"/>
                <a:gd name="connsiteY1116" fmla="*/ 175427 h 410520"/>
                <a:gd name="connsiteX1117" fmla="*/ 1038524 w 2663946"/>
                <a:gd name="connsiteY1117" fmla="*/ 171101 h 410520"/>
                <a:gd name="connsiteX1118" fmla="*/ 1037295 w 2663946"/>
                <a:gd name="connsiteY1118" fmla="*/ 168126 h 410520"/>
                <a:gd name="connsiteX1119" fmla="*/ 1036311 w 2663946"/>
                <a:gd name="connsiteY1119" fmla="*/ 164882 h 410520"/>
                <a:gd name="connsiteX1120" fmla="*/ 1035082 w 2663946"/>
                <a:gd name="connsiteY1120" fmla="*/ 159204 h 410520"/>
                <a:gd name="connsiteX1121" fmla="*/ 1034837 w 2663946"/>
                <a:gd name="connsiteY1121" fmla="*/ 156230 h 410520"/>
                <a:gd name="connsiteX1122" fmla="*/ 1035082 w 2663946"/>
                <a:gd name="connsiteY1122" fmla="*/ 156500 h 410520"/>
                <a:gd name="connsiteX1123" fmla="*/ 1035082 w 2663946"/>
                <a:gd name="connsiteY1123" fmla="*/ 150822 h 410520"/>
                <a:gd name="connsiteX1124" fmla="*/ 1035082 w 2663946"/>
                <a:gd name="connsiteY1124" fmla="*/ 150552 h 410520"/>
                <a:gd name="connsiteX1125" fmla="*/ 1035574 w 2663946"/>
                <a:gd name="connsiteY1125" fmla="*/ 145955 h 410520"/>
                <a:gd name="connsiteX1126" fmla="*/ 1036803 w 2663946"/>
                <a:gd name="connsiteY1126" fmla="*/ 140548 h 410520"/>
                <a:gd name="connsiteX1127" fmla="*/ 1037786 w 2663946"/>
                <a:gd name="connsiteY1127" fmla="*/ 137303 h 410520"/>
                <a:gd name="connsiteX1128" fmla="*/ 1039998 w 2663946"/>
                <a:gd name="connsiteY1128" fmla="*/ 132166 h 410520"/>
                <a:gd name="connsiteX1129" fmla="*/ 1042211 w 2663946"/>
                <a:gd name="connsiteY1129" fmla="*/ 128381 h 410520"/>
                <a:gd name="connsiteX1130" fmla="*/ 1044423 w 2663946"/>
                <a:gd name="connsiteY1130" fmla="*/ 125406 h 410520"/>
                <a:gd name="connsiteX1131" fmla="*/ 1046635 w 2663946"/>
                <a:gd name="connsiteY1131" fmla="*/ 122973 h 410520"/>
                <a:gd name="connsiteX1132" fmla="*/ 1051305 w 2663946"/>
                <a:gd name="connsiteY1132" fmla="*/ 119188 h 410520"/>
                <a:gd name="connsiteX1133" fmla="*/ 1055238 w 2663946"/>
                <a:gd name="connsiteY1133" fmla="*/ 117025 h 410520"/>
                <a:gd name="connsiteX1134" fmla="*/ 1064825 w 2663946"/>
                <a:gd name="connsiteY1134" fmla="*/ 114591 h 410520"/>
                <a:gd name="connsiteX1135" fmla="*/ 897796 w 2663946"/>
                <a:gd name="connsiteY1135" fmla="*/ 114591 h 410520"/>
                <a:gd name="connsiteX1136" fmla="*/ 910086 w 2663946"/>
                <a:gd name="connsiteY1136" fmla="*/ 116754 h 410520"/>
                <a:gd name="connsiteX1137" fmla="*/ 917460 w 2663946"/>
                <a:gd name="connsiteY1137" fmla="*/ 121351 h 410520"/>
                <a:gd name="connsiteX1138" fmla="*/ 920901 w 2663946"/>
                <a:gd name="connsiteY1138" fmla="*/ 124595 h 410520"/>
                <a:gd name="connsiteX1139" fmla="*/ 924343 w 2663946"/>
                <a:gd name="connsiteY1139" fmla="*/ 128921 h 410520"/>
                <a:gd name="connsiteX1140" fmla="*/ 926309 w 2663946"/>
                <a:gd name="connsiteY1140" fmla="*/ 132436 h 410520"/>
                <a:gd name="connsiteX1141" fmla="*/ 928521 w 2663946"/>
                <a:gd name="connsiteY1141" fmla="*/ 137844 h 410520"/>
                <a:gd name="connsiteX1142" fmla="*/ 929504 w 2663946"/>
                <a:gd name="connsiteY1142" fmla="*/ 141359 h 410520"/>
                <a:gd name="connsiteX1143" fmla="*/ 930487 w 2663946"/>
                <a:gd name="connsiteY1143" fmla="*/ 146496 h 410520"/>
                <a:gd name="connsiteX1144" fmla="*/ 930242 w 2663946"/>
                <a:gd name="connsiteY1144" fmla="*/ 160826 h 410520"/>
                <a:gd name="connsiteX1145" fmla="*/ 929259 w 2663946"/>
                <a:gd name="connsiteY1145" fmla="*/ 165693 h 410520"/>
                <a:gd name="connsiteX1146" fmla="*/ 928029 w 2663946"/>
                <a:gd name="connsiteY1146" fmla="*/ 169478 h 410520"/>
                <a:gd name="connsiteX1147" fmla="*/ 927046 w 2663946"/>
                <a:gd name="connsiteY1147" fmla="*/ 171912 h 410520"/>
                <a:gd name="connsiteX1148" fmla="*/ 924834 w 2663946"/>
                <a:gd name="connsiteY1148" fmla="*/ 176238 h 410520"/>
                <a:gd name="connsiteX1149" fmla="*/ 922622 w 2663946"/>
                <a:gd name="connsiteY1149" fmla="*/ 179482 h 410520"/>
                <a:gd name="connsiteX1150" fmla="*/ 919181 w 2663946"/>
                <a:gd name="connsiteY1150" fmla="*/ 183268 h 410520"/>
                <a:gd name="connsiteX1151" fmla="*/ 915985 w 2663946"/>
                <a:gd name="connsiteY1151" fmla="*/ 185971 h 410520"/>
                <a:gd name="connsiteX1152" fmla="*/ 910332 w 2663946"/>
                <a:gd name="connsiteY1152" fmla="*/ 189216 h 410520"/>
                <a:gd name="connsiteX1153" fmla="*/ 902466 w 2663946"/>
                <a:gd name="connsiteY1153" fmla="*/ 191379 h 410520"/>
                <a:gd name="connsiteX1154" fmla="*/ 901237 w 2663946"/>
                <a:gd name="connsiteY1154" fmla="*/ 191650 h 410520"/>
                <a:gd name="connsiteX1155" fmla="*/ 897058 w 2663946"/>
                <a:gd name="connsiteY1155" fmla="*/ 191650 h 410520"/>
                <a:gd name="connsiteX1156" fmla="*/ 896812 w 2663946"/>
                <a:gd name="connsiteY1156" fmla="*/ 191650 h 410520"/>
                <a:gd name="connsiteX1157" fmla="*/ 883785 w 2663946"/>
                <a:gd name="connsiteY1157" fmla="*/ 186783 h 410520"/>
                <a:gd name="connsiteX1158" fmla="*/ 879115 w 2663946"/>
                <a:gd name="connsiteY1158" fmla="*/ 182727 h 410520"/>
                <a:gd name="connsiteX1159" fmla="*/ 875919 w 2663946"/>
                <a:gd name="connsiteY1159" fmla="*/ 178942 h 410520"/>
                <a:gd name="connsiteX1160" fmla="*/ 873707 w 2663946"/>
                <a:gd name="connsiteY1160" fmla="*/ 175427 h 410520"/>
                <a:gd name="connsiteX1161" fmla="*/ 871495 w 2663946"/>
                <a:gd name="connsiteY1161" fmla="*/ 171101 h 410520"/>
                <a:gd name="connsiteX1162" fmla="*/ 870266 w 2663946"/>
                <a:gd name="connsiteY1162" fmla="*/ 168126 h 410520"/>
                <a:gd name="connsiteX1163" fmla="*/ 869282 w 2663946"/>
                <a:gd name="connsiteY1163" fmla="*/ 164882 h 410520"/>
                <a:gd name="connsiteX1164" fmla="*/ 868053 w 2663946"/>
                <a:gd name="connsiteY1164" fmla="*/ 159204 h 410520"/>
                <a:gd name="connsiteX1165" fmla="*/ 867808 w 2663946"/>
                <a:gd name="connsiteY1165" fmla="*/ 156230 h 410520"/>
                <a:gd name="connsiteX1166" fmla="*/ 868053 w 2663946"/>
                <a:gd name="connsiteY1166" fmla="*/ 156500 h 410520"/>
                <a:gd name="connsiteX1167" fmla="*/ 868053 w 2663946"/>
                <a:gd name="connsiteY1167" fmla="*/ 150822 h 410520"/>
                <a:gd name="connsiteX1168" fmla="*/ 868053 w 2663946"/>
                <a:gd name="connsiteY1168" fmla="*/ 150552 h 410520"/>
                <a:gd name="connsiteX1169" fmla="*/ 868545 w 2663946"/>
                <a:gd name="connsiteY1169" fmla="*/ 145955 h 410520"/>
                <a:gd name="connsiteX1170" fmla="*/ 869774 w 2663946"/>
                <a:gd name="connsiteY1170" fmla="*/ 140548 h 410520"/>
                <a:gd name="connsiteX1171" fmla="*/ 870757 w 2663946"/>
                <a:gd name="connsiteY1171" fmla="*/ 137303 h 410520"/>
                <a:gd name="connsiteX1172" fmla="*/ 872969 w 2663946"/>
                <a:gd name="connsiteY1172" fmla="*/ 132166 h 410520"/>
                <a:gd name="connsiteX1173" fmla="*/ 875182 w 2663946"/>
                <a:gd name="connsiteY1173" fmla="*/ 128381 h 410520"/>
                <a:gd name="connsiteX1174" fmla="*/ 877394 w 2663946"/>
                <a:gd name="connsiteY1174" fmla="*/ 125406 h 410520"/>
                <a:gd name="connsiteX1175" fmla="*/ 879606 w 2663946"/>
                <a:gd name="connsiteY1175" fmla="*/ 122973 h 410520"/>
                <a:gd name="connsiteX1176" fmla="*/ 884276 w 2663946"/>
                <a:gd name="connsiteY1176" fmla="*/ 119188 h 410520"/>
                <a:gd name="connsiteX1177" fmla="*/ 888209 w 2663946"/>
                <a:gd name="connsiteY1177" fmla="*/ 117025 h 410520"/>
                <a:gd name="connsiteX1178" fmla="*/ 897796 w 2663946"/>
                <a:gd name="connsiteY1178" fmla="*/ 114591 h 410520"/>
                <a:gd name="connsiteX1179" fmla="*/ 548889 w 2663946"/>
                <a:gd name="connsiteY1179" fmla="*/ 114591 h 410520"/>
                <a:gd name="connsiteX1180" fmla="*/ 561180 w 2663946"/>
                <a:gd name="connsiteY1180" fmla="*/ 116754 h 410520"/>
                <a:gd name="connsiteX1181" fmla="*/ 568554 w 2663946"/>
                <a:gd name="connsiteY1181" fmla="*/ 121351 h 410520"/>
                <a:gd name="connsiteX1182" fmla="*/ 571995 w 2663946"/>
                <a:gd name="connsiteY1182" fmla="*/ 124595 h 410520"/>
                <a:gd name="connsiteX1183" fmla="*/ 575436 w 2663946"/>
                <a:gd name="connsiteY1183" fmla="*/ 128921 h 410520"/>
                <a:gd name="connsiteX1184" fmla="*/ 577403 w 2663946"/>
                <a:gd name="connsiteY1184" fmla="*/ 132436 h 410520"/>
                <a:gd name="connsiteX1185" fmla="*/ 579615 w 2663946"/>
                <a:gd name="connsiteY1185" fmla="*/ 137844 h 410520"/>
                <a:gd name="connsiteX1186" fmla="*/ 580598 w 2663946"/>
                <a:gd name="connsiteY1186" fmla="*/ 141359 h 410520"/>
                <a:gd name="connsiteX1187" fmla="*/ 581581 w 2663946"/>
                <a:gd name="connsiteY1187" fmla="*/ 146496 h 410520"/>
                <a:gd name="connsiteX1188" fmla="*/ 581336 w 2663946"/>
                <a:gd name="connsiteY1188" fmla="*/ 160826 h 410520"/>
                <a:gd name="connsiteX1189" fmla="*/ 580352 w 2663946"/>
                <a:gd name="connsiteY1189" fmla="*/ 165693 h 410520"/>
                <a:gd name="connsiteX1190" fmla="*/ 579123 w 2663946"/>
                <a:gd name="connsiteY1190" fmla="*/ 169478 h 410520"/>
                <a:gd name="connsiteX1191" fmla="*/ 578140 w 2663946"/>
                <a:gd name="connsiteY1191" fmla="*/ 171912 h 410520"/>
                <a:gd name="connsiteX1192" fmla="*/ 575928 w 2663946"/>
                <a:gd name="connsiteY1192" fmla="*/ 176238 h 410520"/>
                <a:gd name="connsiteX1193" fmla="*/ 573715 w 2663946"/>
                <a:gd name="connsiteY1193" fmla="*/ 179482 h 410520"/>
                <a:gd name="connsiteX1194" fmla="*/ 570274 w 2663946"/>
                <a:gd name="connsiteY1194" fmla="*/ 183268 h 410520"/>
                <a:gd name="connsiteX1195" fmla="*/ 567079 w 2663946"/>
                <a:gd name="connsiteY1195" fmla="*/ 185971 h 410520"/>
                <a:gd name="connsiteX1196" fmla="*/ 561425 w 2663946"/>
                <a:gd name="connsiteY1196" fmla="*/ 189216 h 410520"/>
                <a:gd name="connsiteX1197" fmla="*/ 553559 w 2663946"/>
                <a:gd name="connsiteY1197" fmla="*/ 191379 h 410520"/>
                <a:gd name="connsiteX1198" fmla="*/ 552331 w 2663946"/>
                <a:gd name="connsiteY1198" fmla="*/ 191650 h 410520"/>
                <a:gd name="connsiteX1199" fmla="*/ 548152 w 2663946"/>
                <a:gd name="connsiteY1199" fmla="*/ 191650 h 410520"/>
                <a:gd name="connsiteX1200" fmla="*/ 547906 w 2663946"/>
                <a:gd name="connsiteY1200" fmla="*/ 191650 h 410520"/>
                <a:gd name="connsiteX1201" fmla="*/ 534879 w 2663946"/>
                <a:gd name="connsiteY1201" fmla="*/ 186783 h 410520"/>
                <a:gd name="connsiteX1202" fmla="*/ 530208 w 2663946"/>
                <a:gd name="connsiteY1202" fmla="*/ 182727 h 410520"/>
                <a:gd name="connsiteX1203" fmla="*/ 527013 w 2663946"/>
                <a:gd name="connsiteY1203" fmla="*/ 178942 h 410520"/>
                <a:gd name="connsiteX1204" fmla="*/ 524801 w 2663946"/>
                <a:gd name="connsiteY1204" fmla="*/ 175427 h 410520"/>
                <a:gd name="connsiteX1205" fmla="*/ 522588 w 2663946"/>
                <a:gd name="connsiteY1205" fmla="*/ 171101 h 410520"/>
                <a:gd name="connsiteX1206" fmla="*/ 521359 w 2663946"/>
                <a:gd name="connsiteY1206" fmla="*/ 168126 h 410520"/>
                <a:gd name="connsiteX1207" fmla="*/ 520376 w 2663946"/>
                <a:gd name="connsiteY1207" fmla="*/ 164882 h 410520"/>
                <a:gd name="connsiteX1208" fmla="*/ 519147 w 2663946"/>
                <a:gd name="connsiteY1208" fmla="*/ 159204 h 410520"/>
                <a:gd name="connsiteX1209" fmla="*/ 518901 w 2663946"/>
                <a:gd name="connsiteY1209" fmla="*/ 156230 h 410520"/>
                <a:gd name="connsiteX1210" fmla="*/ 519147 w 2663946"/>
                <a:gd name="connsiteY1210" fmla="*/ 156500 h 410520"/>
                <a:gd name="connsiteX1211" fmla="*/ 519147 w 2663946"/>
                <a:gd name="connsiteY1211" fmla="*/ 150822 h 410520"/>
                <a:gd name="connsiteX1212" fmla="*/ 519147 w 2663946"/>
                <a:gd name="connsiteY1212" fmla="*/ 150552 h 410520"/>
                <a:gd name="connsiteX1213" fmla="*/ 519639 w 2663946"/>
                <a:gd name="connsiteY1213" fmla="*/ 145955 h 410520"/>
                <a:gd name="connsiteX1214" fmla="*/ 520868 w 2663946"/>
                <a:gd name="connsiteY1214" fmla="*/ 140548 h 410520"/>
                <a:gd name="connsiteX1215" fmla="*/ 521851 w 2663946"/>
                <a:gd name="connsiteY1215" fmla="*/ 137303 h 410520"/>
                <a:gd name="connsiteX1216" fmla="*/ 524063 w 2663946"/>
                <a:gd name="connsiteY1216" fmla="*/ 132166 h 410520"/>
                <a:gd name="connsiteX1217" fmla="*/ 526275 w 2663946"/>
                <a:gd name="connsiteY1217" fmla="*/ 128381 h 410520"/>
                <a:gd name="connsiteX1218" fmla="*/ 528488 w 2663946"/>
                <a:gd name="connsiteY1218" fmla="*/ 125406 h 410520"/>
                <a:gd name="connsiteX1219" fmla="*/ 530700 w 2663946"/>
                <a:gd name="connsiteY1219" fmla="*/ 122973 h 410520"/>
                <a:gd name="connsiteX1220" fmla="*/ 535370 w 2663946"/>
                <a:gd name="connsiteY1220" fmla="*/ 119188 h 410520"/>
                <a:gd name="connsiteX1221" fmla="*/ 539303 w 2663946"/>
                <a:gd name="connsiteY1221" fmla="*/ 117025 h 410520"/>
                <a:gd name="connsiteX1222" fmla="*/ 548889 w 2663946"/>
                <a:gd name="connsiteY1222" fmla="*/ 114591 h 410520"/>
                <a:gd name="connsiteX1223" fmla="*/ 366938 w 2663946"/>
                <a:gd name="connsiteY1223" fmla="*/ 114591 h 410520"/>
                <a:gd name="connsiteX1224" fmla="*/ 379228 w 2663946"/>
                <a:gd name="connsiteY1224" fmla="*/ 116754 h 410520"/>
                <a:gd name="connsiteX1225" fmla="*/ 386603 w 2663946"/>
                <a:gd name="connsiteY1225" fmla="*/ 121351 h 410520"/>
                <a:gd name="connsiteX1226" fmla="*/ 390044 w 2663946"/>
                <a:gd name="connsiteY1226" fmla="*/ 124595 h 410520"/>
                <a:gd name="connsiteX1227" fmla="*/ 393485 w 2663946"/>
                <a:gd name="connsiteY1227" fmla="*/ 128921 h 410520"/>
                <a:gd name="connsiteX1228" fmla="*/ 395452 w 2663946"/>
                <a:gd name="connsiteY1228" fmla="*/ 132436 h 410520"/>
                <a:gd name="connsiteX1229" fmla="*/ 397664 w 2663946"/>
                <a:gd name="connsiteY1229" fmla="*/ 137844 h 410520"/>
                <a:gd name="connsiteX1230" fmla="*/ 398647 w 2663946"/>
                <a:gd name="connsiteY1230" fmla="*/ 141359 h 410520"/>
                <a:gd name="connsiteX1231" fmla="*/ 399630 w 2663946"/>
                <a:gd name="connsiteY1231" fmla="*/ 146496 h 410520"/>
                <a:gd name="connsiteX1232" fmla="*/ 399384 w 2663946"/>
                <a:gd name="connsiteY1232" fmla="*/ 160826 h 410520"/>
                <a:gd name="connsiteX1233" fmla="*/ 398401 w 2663946"/>
                <a:gd name="connsiteY1233" fmla="*/ 165693 h 410520"/>
                <a:gd name="connsiteX1234" fmla="*/ 397172 w 2663946"/>
                <a:gd name="connsiteY1234" fmla="*/ 169478 h 410520"/>
                <a:gd name="connsiteX1235" fmla="*/ 396189 w 2663946"/>
                <a:gd name="connsiteY1235" fmla="*/ 171912 h 410520"/>
                <a:gd name="connsiteX1236" fmla="*/ 393977 w 2663946"/>
                <a:gd name="connsiteY1236" fmla="*/ 176238 h 410520"/>
                <a:gd name="connsiteX1237" fmla="*/ 391764 w 2663946"/>
                <a:gd name="connsiteY1237" fmla="*/ 179482 h 410520"/>
                <a:gd name="connsiteX1238" fmla="*/ 388323 w 2663946"/>
                <a:gd name="connsiteY1238" fmla="*/ 183268 h 410520"/>
                <a:gd name="connsiteX1239" fmla="*/ 385128 w 2663946"/>
                <a:gd name="connsiteY1239" fmla="*/ 185971 h 410520"/>
                <a:gd name="connsiteX1240" fmla="*/ 379474 w 2663946"/>
                <a:gd name="connsiteY1240" fmla="*/ 189216 h 410520"/>
                <a:gd name="connsiteX1241" fmla="*/ 371609 w 2663946"/>
                <a:gd name="connsiteY1241" fmla="*/ 191379 h 410520"/>
                <a:gd name="connsiteX1242" fmla="*/ 370380 w 2663946"/>
                <a:gd name="connsiteY1242" fmla="*/ 191650 h 410520"/>
                <a:gd name="connsiteX1243" fmla="*/ 366201 w 2663946"/>
                <a:gd name="connsiteY1243" fmla="*/ 191650 h 410520"/>
                <a:gd name="connsiteX1244" fmla="*/ 365955 w 2663946"/>
                <a:gd name="connsiteY1244" fmla="*/ 191650 h 410520"/>
                <a:gd name="connsiteX1245" fmla="*/ 352927 w 2663946"/>
                <a:gd name="connsiteY1245" fmla="*/ 186783 h 410520"/>
                <a:gd name="connsiteX1246" fmla="*/ 348257 w 2663946"/>
                <a:gd name="connsiteY1246" fmla="*/ 182727 h 410520"/>
                <a:gd name="connsiteX1247" fmla="*/ 345062 w 2663946"/>
                <a:gd name="connsiteY1247" fmla="*/ 178942 h 410520"/>
                <a:gd name="connsiteX1248" fmla="*/ 342850 w 2663946"/>
                <a:gd name="connsiteY1248" fmla="*/ 175427 h 410520"/>
                <a:gd name="connsiteX1249" fmla="*/ 340637 w 2663946"/>
                <a:gd name="connsiteY1249" fmla="*/ 171101 h 410520"/>
                <a:gd name="connsiteX1250" fmla="*/ 339408 w 2663946"/>
                <a:gd name="connsiteY1250" fmla="*/ 168126 h 410520"/>
                <a:gd name="connsiteX1251" fmla="*/ 338425 w 2663946"/>
                <a:gd name="connsiteY1251" fmla="*/ 164882 h 410520"/>
                <a:gd name="connsiteX1252" fmla="*/ 337196 w 2663946"/>
                <a:gd name="connsiteY1252" fmla="*/ 159204 h 410520"/>
                <a:gd name="connsiteX1253" fmla="*/ 336950 w 2663946"/>
                <a:gd name="connsiteY1253" fmla="*/ 156230 h 410520"/>
                <a:gd name="connsiteX1254" fmla="*/ 337196 w 2663946"/>
                <a:gd name="connsiteY1254" fmla="*/ 156500 h 410520"/>
                <a:gd name="connsiteX1255" fmla="*/ 337196 w 2663946"/>
                <a:gd name="connsiteY1255" fmla="*/ 150822 h 410520"/>
                <a:gd name="connsiteX1256" fmla="*/ 337196 w 2663946"/>
                <a:gd name="connsiteY1256" fmla="*/ 150552 h 410520"/>
                <a:gd name="connsiteX1257" fmla="*/ 337687 w 2663946"/>
                <a:gd name="connsiteY1257" fmla="*/ 145955 h 410520"/>
                <a:gd name="connsiteX1258" fmla="*/ 338917 w 2663946"/>
                <a:gd name="connsiteY1258" fmla="*/ 140548 h 410520"/>
                <a:gd name="connsiteX1259" fmla="*/ 339900 w 2663946"/>
                <a:gd name="connsiteY1259" fmla="*/ 137303 h 410520"/>
                <a:gd name="connsiteX1260" fmla="*/ 342112 w 2663946"/>
                <a:gd name="connsiteY1260" fmla="*/ 132166 h 410520"/>
                <a:gd name="connsiteX1261" fmla="*/ 344324 w 2663946"/>
                <a:gd name="connsiteY1261" fmla="*/ 128381 h 410520"/>
                <a:gd name="connsiteX1262" fmla="*/ 346536 w 2663946"/>
                <a:gd name="connsiteY1262" fmla="*/ 125406 h 410520"/>
                <a:gd name="connsiteX1263" fmla="*/ 348749 w 2663946"/>
                <a:gd name="connsiteY1263" fmla="*/ 122973 h 410520"/>
                <a:gd name="connsiteX1264" fmla="*/ 353419 w 2663946"/>
                <a:gd name="connsiteY1264" fmla="*/ 119188 h 410520"/>
                <a:gd name="connsiteX1265" fmla="*/ 357352 w 2663946"/>
                <a:gd name="connsiteY1265" fmla="*/ 117025 h 410520"/>
                <a:gd name="connsiteX1266" fmla="*/ 366938 w 2663946"/>
                <a:gd name="connsiteY1266" fmla="*/ 114591 h 410520"/>
                <a:gd name="connsiteX1267" fmla="*/ 123893 w 2663946"/>
                <a:gd name="connsiteY1267" fmla="*/ 114591 h 410520"/>
                <a:gd name="connsiteX1268" fmla="*/ 136183 w 2663946"/>
                <a:gd name="connsiteY1268" fmla="*/ 116754 h 410520"/>
                <a:gd name="connsiteX1269" fmla="*/ 143557 w 2663946"/>
                <a:gd name="connsiteY1269" fmla="*/ 121351 h 410520"/>
                <a:gd name="connsiteX1270" fmla="*/ 146998 w 2663946"/>
                <a:gd name="connsiteY1270" fmla="*/ 124595 h 410520"/>
                <a:gd name="connsiteX1271" fmla="*/ 150439 w 2663946"/>
                <a:gd name="connsiteY1271" fmla="*/ 128921 h 410520"/>
                <a:gd name="connsiteX1272" fmla="*/ 152406 w 2663946"/>
                <a:gd name="connsiteY1272" fmla="*/ 132436 h 410520"/>
                <a:gd name="connsiteX1273" fmla="*/ 154618 w 2663946"/>
                <a:gd name="connsiteY1273" fmla="*/ 137844 h 410520"/>
                <a:gd name="connsiteX1274" fmla="*/ 155601 w 2663946"/>
                <a:gd name="connsiteY1274" fmla="*/ 141359 h 410520"/>
                <a:gd name="connsiteX1275" fmla="*/ 156584 w 2663946"/>
                <a:gd name="connsiteY1275" fmla="*/ 146496 h 410520"/>
                <a:gd name="connsiteX1276" fmla="*/ 156339 w 2663946"/>
                <a:gd name="connsiteY1276" fmla="*/ 160826 h 410520"/>
                <a:gd name="connsiteX1277" fmla="*/ 155355 w 2663946"/>
                <a:gd name="connsiteY1277" fmla="*/ 165693 h 410520"/>
                <a:gd name="connsiteX1278" fmla="*/ 154126 w 2663946"/>
                <a:gd name="connsiteY1278" fmla="*/ 169478 h 410520"/>
                <a:gd name="connsiteX1279" fmla="*/ 153143 w 2663946"/>
                <a:gd name="connsiteY1279" fmla="*/ 171912 h 410520"/>
                <a:gd name="connsiteX1280" fmla="*/ 150931 w 2663946"/>
                <a:gd name="connsiteY1280" fmla="*/ 176238 h 410520"/>
                <a:gd name="connsiteX1281" fmla="*/ 148719 w 2663946"/>
                <a:gd name="connsiteY1281" fmla="*/ 179482 h 410520"/>
                <a:gd name="connsiteX1282" fmla="*/ 145277 w 2663946"/>
                <a:gd name="connsiteY1282" fmla="*/ 183268 h 410520"/>
                <a:gd name="connsiteX1283" fmla="*/ 142082 w 2663946"/>
                <a:gd name="connsiteY1283" fmla="*/ 185971 h 410520"/>
                <a:gd name="connsiteX1284" fmla="*/ 136428 w 2663946"/>
                <a:gd name="connsiteY1284" fmla="*/ 189216 h 410520"/>
                <a:gd name="connsiteX1285" fmla="*/ 128563 w 2663946"/>
                <a:gd name="connsiteY1285" fmla="*/ 191379 h 410520"/>
                <a:gd name="connsiteX1286" fmla="*/ 127334 w 2663946"/>
                <a:gd name="connsiteY1286" fmla="*/ 191650 h 410520"/>
                <a:gd name="connsiteX1287" fmla="*/ 123155 w 2663946"/>
                <a:gd name="connsiteY1287" fmla="*/ 191650 h 410520"/>
                <a:gd name="connsiteX1288" fmla="*/ 122909 w 2663946"/>
                <a:gd name="connsiteY1288" fmla="*/ 191650 h 410520"/>
                <a:gd name="connsiteX1289" fmla="*/ 109882 w 2663946"/>
                <a:gd name="connsiteY1289" fmla="*/ 186783 h 410520"/>
                <a:gd name="connsiteX1290" fmla="*/ 105211 w 2663946"/>
                <a:gd name="connsiteY1290" fmla="*/ 182727 h 410520"/>
                <a:gd name="connsiteX1291" fmla="*/ 102016 w 2663946"/>
                <a:gd name="connsiteY1291" fmla="*/ 178942 h 410520"/>
                <a:gd name="connsiteX1292" fmla="*/ 99804 w 2663946"/>
                <a:gd name="connsiteY1292" fmla="*/ 175427 h 410520"/>
                <a:gd name="connsiteX1293" fmla="*/ 97591 w 2663946"/>
                <a:gd name="connsiteY1293" fmla="*/ 171101 h 410520"/>
                <a:gd name="connsiteX1294" fmla="*/ 96362 w 2663946"/>
                <a:gd name="connsiteY1294" fmla="*/ 168126 h 410520"/>
                <a:gd name="connsiteX1295" fmla="*/ 95379 w 2663946"/>
                <a:gd name="connsiteY1295" fmla="*/ 164882 h 410520"/>
                <a:gd name="connsiteX1296" fmla="*/ 94150 w 2663946"/>
                <a:gd name="connsiteY1296" fmla="*/ 159204 h 410520"/>
                <a:gd name="connsiteX1297" fmla="*/ 93904 w 2663946"/>
                <a:gd name="connsiteY1297" fmla="*/ 156230 h 410520"/>
                <a:gd name="connsiteX1298" fmla="*/ 94150 w 2663946"/>
                <a:gd name="connsiteY1298" fmla="*/ 156500 h 410520"/>
                <a:gd name="connsiteX1299" fmla="*/ 94150 w 2663946"/>
                <a:gd name="connsiteY1299" fmla="*/ 150822 h 410520"/>
                <a:gd name="connsiteX1300" fmla="*/ 94150 w 2663946"/>
                <a:gd name="connsiteY1300" fmla="*/ 150552 h 410520"/>
                <a:gd name="connsiteX1301" fmla="*/ 94642 w 2663946"/>
                <a:gd name="connsiteY1301" fmla="*/ 145955 h 410520"/>
                <a:gd name="connsiteX1302" fmla="*/ 95871 w 2663946"/>
                <a:gd name="connsiteY1302" fmla="*/ 140548 h 410520"/>
                <a:gd name="connsiteX1303" fmla="*/ 96854 w 2663946"/>
                <a:gd name="connsiteY1303" fmla="*/ 137303 h 410520"/>
                <a:gd name="connsiteX1304" fmla="*/ 99066 w 2663946"/>
                <a:gd name="connsiteY1304" fmla="*/ 132166 h 410520"/>
                <a:gd name="connsiteX1305" fmla="*/ 101279 w 2663946"/>
                <a:gd name="connsiteY1305" fmla="*/ 128381 h 410520"/>
                <a:gd name="connsiteX1306" fmla="*/ 103491 w 2663946"/>
                <a:gd name="connsiteY1306" fmla="*/ 125406 h 410520"/>
                <a:gd name="connsiteX1307" fmla="*/ 105703 w 2663946"/>
                <a:gd name="connsiteY1307" fmla="*/ 122973 h 410520"/>
                <a:gd name="connsiteX1308" fmla="*/ 110373 w 2663946"/>
                <a:gd name="connsiteY1308" fmla="*/ 119188 h 410520"/>
                <a:gd name="connsiteX1309" fmla="*/ 114306 w 2663946"/>
                <a:gd name="connsiteY1309" fmla="*/ 117025 h 410520"/>
                <a:gd name="connsiteX1310" fmla="*/ 123893 w 2663946"/>
                <a:gd name="connsiteY1310" fmla="*/ 114591 h 410520"/>
                <a:gd name="connsiteX1311" fmla="*/ 33147 w 2663946"/>
                <a:gd name="connsiteY1311" fmla="*/ 113953 h 410520"/>
                <a:gd name="connsiteX1312" fmla="*/ 57942 w 2663946"/>
                <a:gd name="connsiteY1312" fmla="*/ 134162 h 410520"/>
                <a:gd name="connsiteX1313" fmla="*/ 58422 w 2663946"/>
                <a:gd name="connsiteY1313" fmla="*/ 138920 h 410520"/>
                <a:gd name="connsiteX1314" fmla="*/ 59840 w 2663946"/>
                <a:gd name="connsiteY1314" fmla="*/ 138920 h 410520"/>
                <a:gd name="connsiteX1315" fmla="*/ 66294 w 2663946"/>
                <a:gd name="connsiteY1315" fmla="*/ 145206 h 410520"/>
                <a:gd name="connsiteX1316" fmla="*/ 66294 w 2663946"/>
                <a:gd name="connsiteY1316" fmla="*/ 194928 h 410520"/>
                <a:gd name="connsiteX1317" fmla="*/ 59840 w 2663946"/>
                <a:gd name="connsiteY1317" fmla="*/ 201214 h 410520"/>
                <a:gd name="connsiteX1318" fmla="*/ 6453 w 2663946"/>
                <a:gd name="connsiteY1318" fmla="*/ 201214 h 410520"/>
                <a:gd name="connsiteX1319" fmla="*/ 0 w 2663946"/>
                <a:gd name="connsiteY1319" fmla="*/ 194928 h 410520"/>
                <a:gd name="connsiteX1320" fmla="*/ 0 w 2663946"/>
                <a:gd name="connsiteY1320" fmla="*/ 145206 h 410520"/>
                <a:gd name="connsiteX1321" fmla="*/ 6453 w 2663946"/>
                <a:gd name="connsiteY1321" fmla="*/ 138920 h 410520"/>
                <a:gd name="connsiteX1322" fmla="*/ 7288 w 2663946"/>
                <a:gd name="connsiteY1322" fmla="*/ 138920 h 410520"/>
                <a:gd name="connsiteX1323" fmla="*/ 7872 w 2663946"/>
                <a:gd name="connsiteY1323" fmla="*/ 138920 h 410520"/>
                <a:gd name="connsiteX1324" fmla="*/ 8351 w 2663946"/>
                <a:gd name="connsiteY1324" fmla="*/ 134162 h 410520"/>
                <a:gd name="connsiteX1325" fmla="*/ 33147 w 2663946"/>
                <a:gd name="connsiteY1325" fmla="*/ 113953 h 410520"/>
                <a:gd name="connsiteX1326" fmla="*/ 2537931 w 2663946"/>
                <a:gd name="connsiteY1326" fmla="*/ 106365 h 410520"/>
                <a:gd name="connsiteX1327" fmla="*/ 2562727 w 2663946"/>
                <a:gd name="connsiteY1327" fmla="*/ 126574 h 410520"/>
                <a:gd name="connsiteX1328" fmla="*/ 2563206 w 2663946"/>
                <a:gd name="connsiteY1328" fmla="*/ 131332 h 410520"/>
                <a:gd name="connsiteX1329" fmla="*/ 2564625 w 2663946"/>
                <a:gd name="connsiteY1329" fmla="*/ 131332 h 410520"/>
                <a:gd name="connsiteX1330" fmla="*/ 2571078 w 2663946"/>
                <a:gd name="connsiteY1330" fmla="*/ 137618 h 410520"/>
                <a:gd name="connsiteX1331" fmla="*/ 2571078 w 2663946"/>
                <a:gd name="connsiteY1331" fmla="*/ 187340 h 410520"/>
                <a:gd name="connsiteX1332" fmla="*/ 2564625 w 2663946"/>
                <a:gd name="connsiteY1332" fmla="*/ 193626 h 410520"/>
                <a:gd name="connsiteX1333" fmla="*/ 2511238 w 2663946"/>
                <a:gd name="connsiteY1333" fmla="*/ 193626 h 410520"/>
                <a:gd name="connsiteX1334" fmla="*/ 2504784 w 2663946"/>
                <a:gd name="connsiteY1334" fmla="*/ 187340 h 410520"/>
                <a:gd name="connsiteX1335" fmla="*/ 2504784 w 2663946"/>
                <a:gd name="connsiteY1335" fmla="*/ 137618 h 410520"/>
                <a:gd name="connsiteX1336" fmla="*/ 2511238 w 2663946"/>
                <a:gd name="connsiteY1336" fmla="*/ 131332 h 410520"/>
                <a:gd name="connsiteX1337" fmla="*/ 2512072 w 2663946"/>
                <a:gd name="connsiteY1337" fmla="*/ 131332 h 410520"/>
                <a:gd name="connsiteX1338" fmla="*/ 2512656 w 2663946"/>
                <a:gd name="connsiteY1338" fmla="*/ 131332 h 410520"/>
                <a:gd name="connsiteX1339" fmla="*/ 2513136 w 2663946"/>
                <a:gd name="connsiteY1339" fmla="*/ 126574 h 410520"/>
                <a:gd name="connsiteX1340" fmla="*/ 2537931 w 2663946"/>
                <a:gd name="connsiteY1340" fmla="*/ 106365 h 410520"/>
                <a:gd name="connsiteX1341" fmla="*/ 2112934 w 2663946"/>
                <a:gd name="connsiteY1341" fmla="*/ 106365 h 410520"/>
                <a:gd name="connsiteX1342" fmla="*/ 2137730 w 2663946"/>
                <a:gd name="connsiteY1342" fmla="*/ 126574 h 410520"/>
                <a:gd name="connsiteX1343" fmla="*/ 2138209 w 2663946"/>
                <a:gd name="connsiteY1343" fmla="*/ 131332 h 410520"/>
                <a:gd name="connsiteX1344" fmla="*/ 2139628 w 2663946"/>
                <a:gd name="connsiteY1344" fmla="*/ 131332 h 410520"/>
                <a:gd name="connsiteX1345" fmla="*/ 2146081 w 2663946"/>
                <a:gd name="connsiteY1345" fmla="*/ 137618 h 410520"/>
                <a:gd name="connsiteX1346" fmla="*/ 2146081 w 2663946"/>
                <a:gd name="connsiteY1346" fmla="*/ 187340 h 410520"/>
                <a:gd name="connsiteX1347" fmla="*/ 2139628 w 2663946"/>
                <a:gd name="connsiteY1347" fmla="*/ 193626 h 410520"/>
                <a:gd name="connsiteX1348" fmla="*/ 2086241 w 2663946"/>
                <a:gd name="connsiteY1348" fmla="*/ 193626 h 410520"/>
                <a:gd name="connsiteX1349" fmla="*/ 2079787 w 2663946"/>
                <a:gd name="connsiteY1349" fmla="*/ 187340 h 410520"/>
                <a:gd name="connsiteX1350" fmla="*/ 2079787 w 2663946"/>
                <a:gd name="connsiteY1350" fmla="*/ 137618 h 410520"/>
                <a:gd name="connsiteX1351" fmla="*/ 2086241 w 2663946"/>
                <a:gd name="connsiteY1351" fmla="*/ 131332 h 410520"/>
                <a:gd name="connsiteX1352" fmla="*/ 2087075 w 2663946"/>
                <a:gd name="connsiteY1352" fmla="*/ 131332 h 410520"/>
                <a:gd name="connsiteX1353" fmla="*/ 2087659 w 2663946"/>
                <a:gd name="connsiteY1353" fmla="*/ 131332 h 410520"/>
                <a:gd name="connsiteX1354" fmla="*/ 2088139 w 2663946"/>
                <a:gd name="connsiteY1354" fmla="*/ 126574 h 410520"/>
                <a:gd name="connsiteX1355" fmla="*/ 2112934 w 2663946"/>
                <a:gd name="connsiteY1355" fmla="*/ 106365 h 410520"/>
                <a:gd name="connsiteX1356" fmla="*/ 1854966 w 2663946"/>
                <a:gd name="connsiteY1356" fmla="*/ 106365 h 410520"/>
                <a:gd name="connsiteX1357" fmla="*/ 1879762 w 2663946"/>
                <a:gd name="connsiteY1357" fmla="*/ 126574 h 410520"/>
                <a:gd name="connsiteX1358" fmla="*/ 1880241 w 2663946"/>
                <a:gd name="connsiteY1358" fmla="*/ 131332 h 410520"/>
                <a:gd name="connsiteX1359" fmla="*/ 1881660 w 2663946"/>
                <a:gd name="connsiteY1359" fmla="*/ 131332 h 410520"/>
                <a:gd name="connsiteX1360" fmla="*/ 1888113 w 2663946"/>
                <a:gd name="connsiteY1360" fmla="*/ 137618 h 410520"/>
                <a:gd name="connsiteX1361" fmla="*/ 1888113 w 2663946"/>
                <a:gd name="connsiteY1361" fmla="*/ 187340 h 410520"/>
                <a:gd name="connsiteX1362" fmla="*/ 1881660 w 2663946"/>
                <a:gd name="connsiteY1362" fmla="*/ 193626 h 410520"/>
                <a:gd name="connsiteX1363" fmla="*/ 1828273 w 2663946"/>
                <a:gd name="connsiteY1363" fmla="*/ 193626 h 410520"/>
                <a:gd name="connsiteX1364" fmla="*/ 1821819 w 2663946"/>
                <a:gd name="connsiteY1364" fmla="*/ 187340 h 410520"/>
                <a:gd name="connsiteX1365" fmla="*/ 1821819 w 2663946"/>
                <a:gd name="connsiteY1365" fmla="*/ 137618 h 410520"/>
                <a:gd name="connsiteX1366" fmla="*/ 1828273 w 2663946"/>
                <a:gd name="connsiteY1366" fmla="*/ 131332 h 410520"/>
                <a:gd name="connsiteX1367" fmla="*/ 1829107 w 2663946"/>
                <a:gd name="connsiteY1367" fmla="*/ 131332 h 410520"/>
                <a:gd name="connsiteX1368" fmla="*/ 1829691 w 2663946"/>
                <a:gd name="connsiteY1368" fmla="*/ 131332 h 410520"/>
                <a:gd name="connsiteX1369" fmla="*/ 1830171 w 2663946"/>
                <a:gd name="connsiteY1369" fmla="*/ 126574 h 410520"/>
                <a:gd name="connsiteX1370" fmla="*/ 1854966 w 2663946"/>
                <a:gd name="connsiteY1370" fmla="*/ 106365 h 410520"/>
                <a:gd name="connsiteX1371" fmla="*/ 1764027 w 2663946"/>
                <a:gd name="connsiteY1371" fmla="*/ 106365 h 410520"/>
                <a:gd name="connsiteX1372" fmla="*/ 1788823 w 2663946"/>
                <a:gd name="connsiteY1372" fmla="*/ 126574 h 410520"/>
                <a:gd name="connsiteX1373" fmla="*/ 1789302 w 2663946"/>
                <a:gd name="connsiteY1373" fmla="*/ 131332 h 410520"/>
                <a:gd name="connsiteX1374" fmla="*/ 1790721 w 2663946"/>
                <a:gd name="connsiteY1374" fmla="*/ 131332 h 410520"/>
                <a:gd name="connsiteX1375" fmla="*/ 1797174 w 2663946"/>
                <a:gd name="connsiteY1375" fmla="*/ 137618 h 410520"/>
                <a:gd name="connsiteX1376" fmla="*/ 1797174 w 2663946"/>
                <a:gd name="connsiteY1376" fmla="*/ 187340 h 410520"/>
                <a:gd name="connsiteX1377" fmla="*/ 1790721 w 2663946"/>
                <a:gd name="connsiteY1377" fmla="*/ 193626 h 410520"/>
                <a:gd name="connsiteX1378" fmla="*/ 1737333 w 2663946"/>
                <a:gd name="connsiteY1378" fmla="*/ 193626 h 410520"/>
                <a:gd name="connsiteX1379" fmla="*/ 1730880 w 2663946"/>
                <a:gd name="connsiteY1379" fmla="*/ 187340 h 410520"/>
                <a:gd name="connsiteX1380" fmla="*/ 1730880 w 2663946"/>
                <a:gd name="connsiteY1380" fmla="*/ 137618 h 410520"/>
                <a:gd name="connsiteX1381" fmla="*/ 1737333 w 2663946"/>
                <a:gd name="connsiteY1381" fmla="*/ 131332 h 410520"/>
                <a:gd name="connsiteX1382" fmla="*/ 1738168 w 2663946"/>
                <a:gd name="connsiteY1382" fmla="*/ 131332 h 410520"/>
                <a:gd name="connsiteX1383" fmla="*/ 1738752 w 2663946"/>
                <a:gd name="connsiteY1383" fmla="*/ 131332 h 410520"/>
                <a:gd name="connsiteX1384" fmla="*/ 1739232 w 2663946"/>
                <a:gd name="connsiteY1384" fmla="*/ 126574 h 410520"/>
                <a:gd name="connsiteX1385" fmla="*/ 1764027 w 2663946"/>
                <a:gd name="connsiteY1385" fmla="*/ 106365 h 410520"/>
                <a:gd name="connsiteX1386" fmla="*/ 1506059 w 2663946"/>
                <a:gd name="connsiteY1386" fmla="*/ 106365 h 410520"/>
                <a:gd name="connsiteX1387" fmla="*/ 1530855 w 2663946"/>
                <a:gd name="connsiteY1387" fmla="*/ 126574 h 410520"/>
                <a:gd name="connsiteX1388" fmla="*/ 1531334 w 2663946"/>
                <a:gd name="connsiteY1388" fmla="*/ 131332 h 410520"/>
                <a:gd name="connsiteX1389" fmla="*/ 1532753 w 2663946"/>
                <a:gd name="connsiteY1389" fmla="*/ 131332 h 410520"/>
                <a:gd name="connsiteX1390" fmla="*/ 1539206 w 2663946"/>
                <a:gd name="connsiteY1390" fmla="*/ 137618 h 410520"/>
                <a:gd name="connsiteX1391" fmla="*/ 1539206 w 2663946"/>
                <a:gd name="connsiteY1391" fmla="*/ 187340 h 410520"/>
                <a:gd name="connsiteX1392" fmla="*/ 1532753 w 2663946"/>
                <a:gd name="connsiteY1392" fmla="*/ 193626 h 410520"/>
                <a:gd name="connsiteX1393" fmla="*/ 1479365 w 2663946"/>
                <a:gd name="connsiteY1393" fmla="*/ 193626 h 410520"/>
                <a:gd name="connsiteX1394" fmla="*/ 1472912 w 2663946"/>
                <a:gd name="connsiteY1394" fmla="*/ 187340 h 410520"/>
                <a:gd name="connsiteX1395" fmla="*/ 1472912 w 2663946"/>
                <a:gd name="connsiteY1395" fmla="*/ 137618 h 410520"/>
                <a:gd name="connsiteX1396" fmla="*/ 1479365 w 2663946"/>
                <a:gd name="connsiteY1396" fmla="*/ 131332 h 410520"/>
                <a:gd name="connsiteX1397" fmla="*/ 1480200 w 2663946"/>
                <a:gd name="connsiteY1397" fmla="*/ 131332 h 410520"/>
                <a:gd name="connsiteX1398" fmla="*/ 1480784 w 2663946"/>
                <a:gd name="connsiteY1398" fmla="*/ 131332 h 410520"/>
                <a:gd name="connsiteX1399" fmla="*/ 1481264 w 2663946"/>
                <a:gd name="connsiteY1399" fmla="*/ 126574 h 410520"/>
                <a:gd name="connsiteX1400" fmla="*/ 1506059 w 2663946"/>
                <a:gd name="connsiteY1400" fmla="*/ 106365 h 410520"/>
                <a:gd name="connsiteX1401" fmla="*/ 1415120 w 2663946"/>
                <a:gd name="connsiteY1401" fmla="*/ 106365 h 410520"/>
                <a:gd name="connsiteX1402" fmla="*/ 1439916 w 2663946"/>
                <a:gd name="connsiteY1402" fmla="*/ 126574 h 410520"/>
                <a:gd name="connsiteX1403" fmla="*/ 1440395 w 2663946"/>
                <a:gd name="connsiteY1403" fmla="*/ 131332 h 410520"/>
                <a:gd name="connsiteX1404" fmla="*/ 1441814 w 2663946"/>
                <a:gd name="connsiteY1404" fmla="*/ 131332 h 410520"/>
                <a:gd name="connsiteX1405" fmla="*/ 1448267 w 2663946"/>
                <a:gd name="connsiteY1405" fmla="*/ 137618 h 410520"/>
                <a:gd name="connsiteX1406" fmla="*/ 1448267 w 2663946"/>
                <a:gd name="connsiteY1406" fmla="*/ 187340 h 410520"/>
                <a:gd name="connsiteX1407" fmla="*/ 1441814 w 2663946"/>
                <a:gd name="connsiteY1407" fmla="*/ 193626 h 410520"/>
                <a:gd name="connsiteX1408" fmla="*/ 1388426 w 2663946"/>
                <a:gd name="connsiteY1408" fmla="*/ 193626 h 410520"/>
                <a:gd name="connsiteX1409" fmla="*/ 1381973 w 2663946"/>
                <a:gd name="connsiteY1409" fmla="*/ 187340 h 410520"/>
                <a:gd name="connsiteX1410" fmla="*/ 1381973 w 2663946"/>
                <a:gd name="connsiteY1410" fmla="*/ 137618 h 410520"/>
                <a:gd name="connsiteX1411" fmla="*/ 1388426 w 2663946"/>
                <a:gd name="connsiteY1411" fmla="*/ 131332 h 410520"/>
                <a:gd name="connsiteX1412" fmla="*/ 1389261 w 2663946"/>
                <a:gd name="connsiteY1412" fmla="*/ 131332 h 410520"/>
                <a:gd name="connsiteX1413" fmla="*/ 1389845 w 2663946"/>
                <a:gd name="connsiteY1413" fmla="*/ 131332 h 410520"/>
                <a:gd name="connsiteX1414" fmla="*/ 1390325 w 2663946"/>
                <a:gd name="connsiteY1414" fmla="*/ 126574 h 410520"/>
                <a:gd name="connsiteX1415" fmla="*/ 1415120 w 2663946"/>
                <a:gd name="connsiteY1415" fmla="*/ 106365 h 410520"/>
                <a:gd name="connsiteX1416" fmla="*/ 1157152 w 2663946"/>
                <a:gd name="connsiteY1416" fmla="*/ 106365 h 410520"/>
                <a:gd name="connsiteX1417" fmla="*/ 1181948 w 2663946"/>
                <a:gd name="connsiteY1417" fmla="*/ 126574 h 410520"/>
                <a:gd name="connsiteX1418" fmla="*/ 1182427 w 2663946"/>
                <a:gd name="connsiteY1418" fmla="*/ 131332 h 410520"/>
                <a:gd name="connsiteX1419" fmla="*/ 1183846 w 2663946"/>
                <a:gd name="connsiteY1419" fmla="*/ 131332 h 410520"/>
                <a:gd name="connsiteX1420" fmla="*/ 1190299 w 2663946"/>
                <a:gd name="connsiteY1420" fmla="*/ 137618 h 410520"/>
                <a:gd name="connsiteX1421" fmla="*/ 1190299 w 2663946"/>
                <a:gd name="connsiteY1421" fmla="*/ 187340 h 410520"/>
                <a:gd name="connsiteX1422" fmla="*/ 1183846 w 2663946"/>
                <a:gd name="connsiteY1422" fmla="*/ 193626 h 410520"/>
                <a:gd name="connsiteX1423" fmla="*/ 1130458 w 2663946"/>
                <a:gd name="connsiteY1423" fmla="*/ 193626 h 410520"/>
                <a:gd name="connsiteX1424" fmla="*/ 1124005 w 2663946"/>
                <a:gd name="connsiteY1424" fmla="*/ 187340 h 410520"/>
                <a:gd name="connsiteX1425" fmla="*/ 1124005 w 2663946"/>
                <a:gd name="connsiteY1425" fmla="*/ 137618 h 410520"/>
                <a:gd name="connsiteX1426" fmla="*/ 1130458 w 2663946"/>
                <a:gd name="connsiteY1426" fmla="*/ 131332 h 410520"/>
                <a:gd name="connsiteX1427" fmla="*/ 1131293 w 2663946"/>
                <a:gd name="connsiteY1427" fmla="*/ 131332 h 410520"/>
                <a:gd name="connsiteX1428" fmla="*/ 1131877 w 2663946"/>
                <a:gd name="connsiteY1428" fmla="*/ 131332 h 410520"/>
                <a:gd name="connsiteX1429" fmla="*/ 1132357 w 2663946"/>
                <a:gd name="connsiteY1429" fmla="*/ 126574 h 410520"/>
                <a:gd name="connsiteX1430" fmla="*/ 1157152 w 2663946"/>
                <a:gd name="connsiteY1430" fmla="*/ 106365 h 410520"/>
                <a:gd name="connsiteX1431" fmla="*/ 732156 w 2663946"/>
                <a:gd name="connsiteY1431" fmla="*/ 106365 h 410520"/>
                <a:gd name="connsiteX1432" fmla="*/ 756951 w 2663946"/>
                <a:gd name="connsiteY1432" fmla="*/ 126574 h 410520"/>
                <a:gd name="connsiteX1433" fmla="*/ 757431 w 2663946"/>
                <a:gd name="connsiteY1433" fmla="*/ 131332 h 410520"/>
                <a:gd name="connsiteX1434" fmla="*/ 758849 w 2663946"/>
                <a:gd name="connsiteY1434" fmla="*/ 131332 h 410520"/>
                <a:gd name="connsiteX1435" fmla="*/ 765303 w 2663946"/>
                <a:gd name="connsiteY1435" fmla="*/ 137618 h 410520"/>
                <a:gd name="connsiteX1436" fmla="*/ 765303 w 2663946"/>
                <a:gd name="connsiteY1436" fmla="*/ 187340 h 410520"/>
                <a:gd name="connsiteX1437" fmla="*/ 758849 w 2663946"/>
                <a:gd name="connsiteY1437" fmla="*/ 193626 h 410520"/>
                <a:gd name="connsiteX1438" fmla="*/ 705462 w 2663946"/>
                <a:gd name="connsiteY1438" fmla="*/ 193626 h 410520"/>
                <a:gd name="connsiteX1439" fmla="*/ 699009 w 2663946"/>
                <a:gd name="connsiteY1439" fmla="*/ 187340 h 410520"/>
                <a:gd name="connsiteX1440" fmla="*/ 699009 w 2663946"/>
                <a:gd name="connsiteY1440" fmla="*/ 137618 h 410520"/>
                <a:gd name="connsiteX1441" fmla="*/ 705462 w 2663946"/>
                <a:gd name="connsiteY1441" fmla="*/ 131332 h 410520"/>
                <a:gd name="connsiteX1442" fmla="*/ 706296 w 2663946"/>
                <a:gd name="connsiteY1442" fmla="*/ 131332 h 410520"/>
                <a:gd name="connsiteX1443" fmla="*/ 706881 w 2663946"/>
                <a:gd name="connsiteY1443" fmla="*/ 131332 h 410520"/>
                <a:gd name="connsiteX1444" fmla="*/ 707360 w 2663946"/>
                <a:gd name="connsiteY1444" fmla="*/ 126574 h 410520"/>
                <a:gd name="connsiteX1445" fmla="*/ 732156 w 2663946"/>
                <a:gd name="connsiteY1445" fmla="*/ 106365 h 410520"/>
                <a:gd name="connsiteX1446" fmla="*/ 641217 w 2663946"/>
                <a:gd name="connsiteY1446" fmla="*/ 106365 h 410520"/>
                <a:gd name="connsiteX1447" fmla="*/ 666012 w 2663946"/>
                <a:gd name="connsiteY1447" fmla="*/ 126574 h 410520"/>
                <a:gd name="connsiteX1448" fmla="*/ 666492 w 2663946"/>
                <a:gd name="connsiteY1448" fmla="*/ 131332 h 410520"/>
                <a:gd name="connsiteX1449" fmla="*/ 667910 w 2663946"/>
                <a:gd name="connsiteY1449" fmla="*/ 131332 h 410520"/>
                <a:gd name="connsiteX1450" fmla="*/ 674364 w 2663946"/>
                <a:gd name="connsiteY1450" fmla="*/ 137618 h 410520"/>
                <a:gd name="connsiteX1451" fmla="*/ 674364 w 2663946"/>
                <a:gd name="connsiteY1451" fmla="*/ 187340 h 410520"/>
                <a:gd name="connsiteX1452" fmla="*/ 667910 w 2663946"/>
                <a:gd name="connsiteY1452" fmla="*/ 193626 h 410520"/>
                <a:gd name="connsiteX1453" fmla="*/ 614523 w 2663946"/>
                <a:gd name="connsiteY1453" fmla="*/ 193626 h 410520"/>
                <a:gd name="connsiteX1454" fmla="*/ 608070 w 2663946"/>
                <a:gd name="connsiteY1454" fmla="*/ 187340 h 410520"/>
                <a:gd name="connsiteX1455" fmla="*/ 608070 w 2663946"/>
                <a:gd name="connsiteY1455" fmla="*/ 137618 h 410520"/>
                <a:gd name="connsiteX1456" fmla="*/ 614523 w 2663946"/>
                <a:gd name="connsiteY1456" fmla="*/ 131332 h 410520"/>
                <a:gd name="connsiteX1457" fmla="*/ 615358 w 2663946"/>
                <a:gd name="connsiteY1457" fmla="*/ 131332 h 410520"/>
                <a:gd name="connsiteX1458" fmla="*/ 615942 w 2663946"/>
                <a:gd name="connsiteY1458" fmla="*/ 131332 h 410520"/>
                <a:gd name="connsiteX1459" fmla="*/ 616422 w 2663946"/>
                <a:gd name="connsiteY1459" fmla="*/ 126574 h 410520"/>
                <a:gd name="connsiteX1460" fmla="*/ 641217 w 2663946"/>
                <a:gd name="connsiteY1460" fmla="*/ 106365 h 410520"/>
                <a:gd name="connsiteX1461" fmla="*/ 459266 w 2663946"/>
                <a:gd name="connsiteY1461" fmla="*/ 106365 h 410520"/>
                <a:gd name="connsiteX1462" fmla="*/ 484061 w 2663946"/>
                <a:gd name="connsiteY1462" fmla="*/ 126574 h 410520"/>
                <a:gd name="connsiteX1463" fmla="*/ 484541 w 2663946"/>
                <a:gd name="connsiteY1463" fmla="*/ 131332 h 410520"/>
                <a:gd name="connsiteX1464" fmla="*/ 485959 w 2663946"/>
                <a:gd name="connsiteY1464" fmla="*/ 131332 h 410520"/>
                <a:gd name="connsiteX1465" fmla="*/ 492413 w 2663946"/>
                <a:gd name="connsiteY1465" fmla="*/ 137618 h 410520"/>
                <a:gd name="connsiteX1466" fmla="*/ 492413 w 2663946"/>
                <a:gd name="connsiteY1466" fmla="*/ 187340 h 410520"/>
                <a:gd name="connsiteX1467" fmla="*/ 485959 w 2663946"/>
                <a:gd name="connsiteY1467" fmla="*/ 193626 h 410520"/>
                <a:gd name="connsiteX1468" fmla="*/ 432572 w 2663946"/>
                <a:gd name="connsiteY1468" fmla="*/ 193626 h 410520"/>
                <a:gd name="connsiteX1469" fmla="*/ 426119 w 2663946"/>
                <a:gd name="connsiteY1469" fmla="*/ 187340 h 410520"/>
                <a:gd name="connsiteX1470" fmla="*/ 426119 w 2663946"/>
                <a:gd name="connsiteY1470" fmla="*/ 137618 h 410520"/>
                <a:gd name="connsiteX1471" fmla="*/ 432572 w 2663946"/>
                <a:gd name="connsiteY1471" fmla="*/ 131332 h 410520"/>
                <a:gd name="connsiteX1472" fmla="*/ 433406 w 2663946"/>
                <a:gd name="connsiteY1472" fmla="*/ 131332 h 410520"/>
                <a:gd name="connsiteX1473" fmla="*/ 433991 w 2663946"/>
                <a:gd name="connsiteY1473" fmla="*/ 131332 h 410520"/>
                <a:gd name="connsiteX1474" fmla="*/ 434470 w 2663946"/>
                <a:gd name="connsiteY1474" fmla="*/ 126574 h 410520"/>
                <a:gd name="connsiteX1475" fmla="*/ 459266 w 2663946"/>
                <a:gd name="connsiteY1475" fmla="*/ 106365 h 410520"/>
                <a:gd name="connsiteX1476" fmla="*/ 10068 w 2663946"/>
                <a:gd name="connsiteY1476" fmla="*/ 5408 h 410520"/>
                <a:gd name="connsiteX1477" fmla="*/ 33591 w 2663946"/>
                <a:gd name="connsiteY1477" fmla="*/ 0 h 410520"/>
                <a:gd name="connsiteX1478" fmla="*/ 38187 w 2663946"/>
                <a:gd name="connsiteY1478" fmla="*/ 2434 h 410520"/>
                <a:gd name="connsiteX1479" fmla="*/ 40350 w 2663946"/>
                <a:gd name="connsiteY1479" fmla="*/ 8652 h 410520"/>
                <a:gd name="connsiteX1480" fmla="*/ 40350 w 2663946"/>
                <a:gd name="connsiteY1480" fmla="*/ 9193 h 410520"/>
                <a:gd name="connsiteX1481" fmla="*/ 40350 w 2663946"/>
                <a:gd name="connsiteY1481" fmla="*/ 62188 h 410520"/>
                <a:gd name="connsiteX1482" fmla="*/ 40891 w 2663946"/>
                <a:gd name="connsiteY1482" fmla="*/ 62728 h 410520"/>
                <a:gd name="connsiteX1483" fmla="*/ 48191 w 2663946"/>
                <a:gd name="connsiteY1483" fmla="*/ 62728 h 410520"/>
                <a:gd name="connsiteX1484" fmla="*/ 52247 w 2663946"/>
                <a:gd name="connsiteY1484" fmla="*/ 63810 h 410520"/>
                <a:gd name="connsiteX1485" fmla="*/ 56032 w 2663946"/>
                <a:gd name="connsiteY1485" fmla="*/ 70569 h 410520"/>
                <a:gd name="connsiteX1486" fmla="*/ 53328 w 2663946"/>
                <a:gd name="connsiteY1486" fmla="*/ 76247 h 410520"/>
                <a:gd name="connsiteX1487" fmla="*/ 49273 w 2663946"/>
                <a:gd name="connsiteY1487" fmla="*/ 78140 h 410520"/>
                <a:gd name="connsiteX1488" fmla="*/ 49002 w 2663946"/>
                <a:gd name="connsiteY1488" fmla="*/ 78140 h 410520"/>
                <a:gd name="connsiteX1489" fmla="*/ 48732 w 2663946"/>
                <a:gd name="connsiteY1489" fmla="*/ 78140 h 410520"/>
                <a:gd name="connsiteX1490" fmla="*/ 48191 w 2663946"/>
                <a:gd name="connsiteY1490" fmla="*/ 78140 h 410520"/>
                <a:gd name="connsiteX1491" fmla="*/ 16016 w 2663946"/>
                <a:gd name="connsiteY1491" fmla="*/ 78140 h 410520"/>
                <a:gd name="connsiteX1492" fmla="*/ 15475 w 2663946"/>
                <a:gd name="connsiteY1492" fmla="*/ 78140 h 410520"/>
                <a:gd name="connsiteX1493" fmla="*/ 14664 w 2663946"/>
                <a:gd name="connsiteY1493" fmla="*/ 78140 h 410520"/>
                <a:gd name="connsiteX1494" fmla="*/ 13853 w 2663946"/>
                <a:gd name="connsiteY1494" fmla="*/ 77870 h 410520"/>
                <a:gd name="connsiteX1495" fmla="*/ 10338 w 2663946"/>
                <a:gd name="connsiteY1495" fmla="*/ 75977 h 410520"/>
                <a:gd name="connsiteX1496" fmla="*/ 7905 w 2663946"/>
                <a:gd name="connsiteY1496" fmla="*/ 70299 h 410520"/>
                <a:gd name="connsiteX1497" fmla="*/ 10068 w 2663946"/>
                <a:gd name="connsiteY1497" fmla="*/ 65162 h 410520"/>
                <a:gd name="connsiteX1498" fmla="*/ 15746 w 2663946"/>
                <a:gd name="connsiteY1498" fmla="*/ 62728 h 410520"/>
                <a:gd name="connsiteX1499" fmla="*/ 23587 w 2663946"/>
                <a:gd name="connsiteY1499" fmla="*/ 62728 h 410520"/>
                <a:gd name="connsiteX1500" fmla="*/ 24128 w 2663946"/>
                <a:gd name="connsiteY1500" fmla="*/ 62188 h 410520"/>
                <a:gd name="connsiteX1501" fmla="*/ 24128 w 2663946"/>
                <a:gd name="connsiteY1501" fmla="*/ 16223 h 410520"/>
                <a:gd name="connsiteX1502" fmla="*/ 23587 w 2663946"/>
                <a:gd name="connsiteY1502" fmla="*/ 15682 h 410520"/>
                <a:gd name="connsiteX1503" fmla="*/ 17638 w 2663946"/>
                <a:gd name="connsiteY1503" fmla="*/ 15682 h 410520"/>
                <a:gd name="connsiteX1504" fmla="*/ 10338 w 2663946"/>
                <a:gd name="connsiteY1504" fmla="*/ 11086 h 410520"/>
                <a:gd name="connsiteX1505" fmla="*/ 10068 w 2663946"/>
                <a:gd name="connsiteY1505" fmla="*/ 5408 h 410520"/>
                <a:gd name="connsiteX0" fmla="*/ 2632966 w 2663946"/>
                <a:gd name="connsiteY0" fmla="*/ 349414 h 410520"/>
                <a:gd name="connsiteX1" fmla="*/ 2621414 w 2663946"/>
                <a:gd name="connsiteY1" fmla="*/ 351847 h 410520"/>
                <a:gd name="connsiteX2" fmla="*/ 2618218 w 2663946"/>
                <a:gd name="connsiteY2" fmla="*/ 355362 h 410520"/>
                <a:gd name="connsiteX3" fmla="*/ 2616006 w 2663946"/>
                <a:gd name="connsiteY3" fmla="*/ 359147 h 410520"/>
                <a:gd name="connsiteX4" fmla="*/ 2615023 w 2663946"/>
                <a:gd name="connsiteY4" fmla="*/ 361851 h 410520"/>
                <a:gd name="connsiteX5" fmla="*/ 2614039 w 2663946"/>
                <a:gd name="connsiteY5" fmla="*/ 365907 h 410520"/>
                <a:gd name="connsiteX6" fmla="*/ 2613056 w 2663946"/>
                <a:gd name="connsiteY6" fmla="*/ 372937 h 410520"/>
                <a:gd name="connsiteX7" fmla="*/ 2614039 w 2663946"/>
                <a:gd name="connsiteY7" fmla="*/ 380237 h 410520"/>
                <a:gd name="connsiteX8" fmla="*/ 2615269 w 2663946"/>
                <a:gd name="connsiteY8" fmla="*/ 384022 h 410520"/>
                <a:gd name="connsiteX9" fmla="*/ 2617481 w 2663946"/>
                <a:gd name="connsiteY9" fmla="*/ 388348 h 410520"/>
                <a:gd name="connsiteX10" fmla="*/ 2620922 w 2663946"/>
                <a:gd name="connsiteY10" fmla="*/ 392675 h 410520"/>
                <a:gd name="connsiteX11" fmla="*/ 2625346 w 2663946"/>
                <a:gd name="connsiteY11" fmla="*/ 395378 h 410520"/>
                <a:gd name="connsiteX12" fmla="*/ 2637637 w 2663946"/>
                <a:gd name="connsiteY12" fmla="*/ 392945 h 410520"/>
                <a:gd name="connsiteX13" fmla="*/ 2640832 w 2663946"/>
                <a:gd name="connsiteY13" fmla="*/ 389430 h 410520"/>
                <a:gd name="connsiteX14" fmla="*/ 2643290 w 2663946"/>
                <a:gd name="connsiteY14" fmla="*/ 385104 h 410520"/>
                <a:gd name="connsiteX15" fmla="*/ 2644273 w 2663946"/>
                <a:gd name="connsiteY15" fmla="*/ 382941 h 410520"/>
                <a:gd name="connsiteX16" fmla="*/ 2645502 w 2663946"/>
                <a:gd name="connsiteY16" fmla="*/ 378615 h 410520"/>
                <a:gd name="connsiteX17" fmla="*/ 2645011 w 2663946"/>
                <a:gd name="connsiteY17" fmla="*/ 364825 h 410520"/>
                <a:gd name="connsiteX18" fmla="*/ 2644027 w 2663946"/>
                <a:gd name="connsiteY18" fmla="*/ 361851 h 410520"/>
                <a:gd name="connsiteX19" fmla="*/ 2642799 w 2663946"/>
                <a:gd name="connsiteY19" fmla="*/ 358877 h 410520"/>
                <a:gd name="connsiteX20" fmla="*/ 2640586 w 2663946"/>
                <a:gd name="connsiteY20" fmla="*/ 355362 h 410520"/>
                <a:gd name="connsiteX21" fmla="*/ 2636899 w 2663946"/>
                <a:gd name="connsiteY21" fmla="*/ 351577 h 410520"/>
                <a:gd name="connsiteX22" fmla="*/ 2632966 w 2663946"/>
                <a:gd name="connsiteY22" fmla="*/ 349414 h 410520"/>
                <a:gd name="connsiteX23" fmla="*/ 2627559 w 2663946"/>
                <a:gd name="connsiteY23" fmla="*/ 333461 h 410520"/>
                <a:gd name="connsiteX24" fmla="*/ 2639849 w 2663946"/>
                <a:gd name="connsiteY24" fmla="*/ 335624 h 410520"/>
                <a:gd name="connsiteX25" fmla="*/ 2647223 w 2663946"/>
                <a:gd name="connsiteY25" fmla="*/ 340221 h 410520"/>
                <a:gd name="connsiteX26" fmla="*/ 2650664 w 2663946"/>
                <a:gd name="connsiteY26" fmla="*/ 343465 h 410520"/>
                <a:gd name="connsiteX27" fmla="*/ 2654106 w 2663946"/>
                <a:gd name="connsiteY27" fmla="*/ 347791 h 410520"/>
                <a:gd name="connsiteX28" fmla="*/ 2656072 w 2663946"/>
                <a:gd name="connsiteY28" fmla="*/ 351306 h 410520"/>
                <a:gd name="connsiteX29" fmla="*/ 2658284 w 2663946"/>
                <a:gd name="connsiteY29" fmla="*/ 356714 h 410520"/>
                <a:gd name="connsiteX30" fmla="*/ 2659267 w 2663946"/>
                <a:gd name="connsiteY30" fmla="*/ 360229 h 410520"/>
                <a:gd name="connsiteX31" fmla="*/ 2660251 w 2663946"/>
                <a:gd name="connsiteY31" fmla="*/ 365366 h 410520"/>
                <a:gd name="connsiteX32" fmla="*/ 2660005 w 2663946"/>
                <a:gd name="connsiteY32" fmla="*/ 379696 h 410520"/>
                <a:gd name="connsiteX33" fmla="*/ 2659022 w 2663946"/>
                <a:gd name="connsiteY33" fmla="*/ 384563 h 410520"/>
                <a:gd name="connsiteX34" fmla="*/ 2657792 w 2663946"/>
                <a:gd name="connsiteY34" fmla="*/ 388348 h 410520"/>
                <a:gd name="connsiteX35" fmla="*/ 2656809 w 2663946"/>
                <a:gd name="connsiteY35" fmla="*/ 390782 h 410520"/>
                <a:gd name="connsiteX36" fmla="*/ 2654597 w 2663946"/>
                <a:gd name="connsiteY36" fmla="*/ 395108 h 410520"/>
                <a:gd name="connsiteX37" fmla="*/ 2652385 w 2663946"/>
                <a:gd name="connsiteY37" fmla="*/ 398352 h 410520"/>
                <a:gd name="connsiteX38" fmla="*/ 2648944 w 2663946"/>
                <a:gd name="connsiteY38" fmla="*/ 402138 h 410520"/>
                <a:gd name="connsiteX39" fmla="*/ 2645748 w 2663946"/>
                <a:gd name="connsiteY39" fmla="*/ 404841 h 410520"/>
                <a:gd name="connsiteX40" fmla="*/ 2640095 w 2663946"/>
                <a:gd name="connsiteY40" fmla="*/ 408086 h 410520"/>
                <a:gd name="connsiteX41" fmla="*/ 2632229 w 2663946"/>
                <a:gd name="connsiteY41" fmla="*/ 410249 h 410520"/>
                <a:gd name="connsiteX42" fmla="*/ 2631000 w 2663946"/>
                <a:gd name="connsiteY42" fmla="*/ 410520 h 410520"/>
                <a:gd name="connsiteX43" fmla="*/ 2626821 w 2663946"/>
                <a:gd name="connsiteY43" fmla="*/ 410520 h 410520"/>
                <a:gd name="connsiteX44" fmla="*/ 2626576 w 2663946"/>
                <a:gd name="connsiteY44" fmla="*/ 410520 h 410520"/>
                <a:gd name="connsiteX45" fmla="*/ 2613548 w 2663946"/>
                <a:gd name="connsiteY45" fmla="*/ 405653 h 410520"/>
                <a:gd name="connsiteX46" fmla="*/ 2608878 w 2663946"/>
                <a:gd name="connsiteY46" fmla="*/ 401597 h 410520"/>
                <a:gd name="connsiteX47" fmla="*/ 2605682 w 2663946"/>
                <a:gd name="connsiteY47" fmla="*/ 397812 h 410520"/>
                <a:gd name="connsiteX48" fmla="*/ 2603470 w 2663946"/>
                <a:gd name="connsiteY48" fmla="*/ 394297 h 410520"/>
                <a:gd name="connsiteX49" fmla="*/ 2601258 w 2663946"/>
                <a:gd name="connsiteY49" fmla="*/ 389971 h 410520"/>
                <a:gd name="connsiteX50" fmla="*/ 2600029 w 2663946"/>
                <a:gd name="connsiteY50" fmla="*/ 386996 h 410520"/>
                <a:gd name="connsiteX51" fmla="*/ 2599046 w 2663946"/>
                <a:gd name="connsiteY51" fmla="*/ 383752 h 410520"/>
                <a:gd name="connsiteX52" fmla="*/ 2597816 w 2663946"/>
                <a:gd name="connsiteY52" fmla="*/ 378074 h 410520"/>
                <a:gd name="connsiteX53" fmla="*/ 2597571 w 2663946"/>
                <a:gd name="connsiteY53" fmla="*/ 375100 h 410520"/>
                <a:gd name="connsiteX54" fmla="*/ 2597816 w 2663946"/>
                <a:gd name="connsiteY54" fmla="*/ 375370 h 410520"/>
                <a:gd name="connsiteX55" fmla="*/ 2597816 w 2663946"/>
                <a:gd name="connsiteY55" fmla="*/ 369692 h 410520"/>
                <a:gd name="connsiteX56" fmla="*/ 2597816 w 2663946"/>
                <a:gd name="connsiteY56" fmla="*/ 369422 h 410520"/>
                <a:gd name="connsiteX57" fmla="*/ 2598308 w 2663946"/>
                <a:gd name="connsiteY57" fmla="*/ 364825 h 410520"/>
                <a:gd name="connsiteX58" fmla="*/ 2599537 w 2663946"/>
                <a:gd name="connsiteY58" fmla="*/ 359418 h 410520"/>
                <a:gd name="connsiteX59" fmla="*/ 2600520 w 2663946"/>
                <a:gd name="connsiteY59" fmla="*/ 356173 h 410520"/>
                <a:gd name="connsiteX60" fmla="*/ 2602732 w 2663946"/>
                <a:gd name="connsiteY60" fmla="*/ 351036 h 410520"/>
                <a:gd name="connsiteX61" fmla="*/ 2604945 w 2663946"/>
                <a:gd name="connsiteY61" fmla="*/ 347251 h 410520"/>
                <a:gd name="connsiteX62" fmla="*/ 2607157 w 2663946"/>
                <a:gd name="connsiteY62" fmla="*/ 344276 h 410520"/>
                <a:gd name="connsiteX63" fmla="*/ 2609369 w 2663946"/>
                <a:gd name="connsiteY63" fmla="*/ 341843 h 410520"/>
                <a:gd name="connsiteX64" fmla="*/ 2614039 w 2663946"/>
                <a:gd name="connsiteY64" fmla="*/ 338058 h 410520"/>
                <a:gd name="connsiteX65" fmla="*/ 2617972 w 2663946"/>
                <a:gd name="connsiteY65" fmla="*/ 335895 h 410520"/>
                <a:gd name="connsiteX66" fmla="*/ 2627559 w 2663946"/>
                <a:gd name="connsiteY66" fmla="*/ 333461 h 410520"/>
                <a:gd name="connsiteX67" fmla="*/ 2631061 w 2663946"/>
                <a:gd name="connsiteY67" fmla="*/ 269551 h 410520"/>
                <a:gd name="connsiteX68" fmla="*/ 2621591 w 2663946"/>
                <a:gd name="connsiteY68" fmla="*/ 278825 h 410520"/>
                <a:gd name="connsiteX69" fmla="*/ 2626545 w 2663946"/>
                <a:gd name="connsiteY69" fmla="*/ 286982 h 410520"/>
                <a:gd name="connsiteX70" fmla="*/ 2626545 w 2663946"/>
                <a:gd name="connsiteY70" fmla="*/ 295377 h 410520"/>
                <a:gd name="connsiteX71" fmla="*/ 2631061 w 2663946"/>
                <a:gd name="connsiteY71" fmla="*/ 299800 h 410520"/>
                <a:gd name="connsiteX72" fmla="*/ 2635578 w 2663946"/>
                <a:gd name="connsiteY72" fmla="*/ 295377 h 410520"/>
                <a:gd name="connsiteX73" fmla="*/ 2635578 w 2663946"/>
                <a:gd name="connsiteY73" fmla="*/ 286982 h 410520"/>
                <a:gd name="connsiteX74" fmla="*/ 2640532 w 2663946"/>
                <a:gd name="connsiteY74" fmla="*/ 278825 h 410520"/>
                <a:gd name="connsiteX75" fmla="*/ 2631061 w 2663946"/>
                <a:gd name="connsiteY75" fmla="*/ 269551 h 410520"/>
                <a:gd name="connsiteX76" fmla="*/ 2630799 w 2663946"/>
                <a:gd name="connsiteY76" fmla="*/ 230834 h 410520"/>
                <a:gd name="connsiteX77" fmla="*/ 2619139 w 2663946"/>
                <a:gd name="connsiteY77" fmla="*/ 238563 h 410520"/>
                <a:gd name="connsiteX78" fmla="*/ 2618214 w 2663946"/>
                <a:gd name="connsiteY78" fmla="*/ 243146 h 410520"/>
                <a:gd name="connsiteX79" fmla="*/ 2621454 w 2663946"/>
                <a:gd name="connsiteY79" fmla="*/ 243146 h 410520"/>
                <a:gd name="connsiteX80" fmla="*/ 2639871 w 2663946"/>
                <a:gd name="connsiteY80" fmla="*/ 243146 h 410520"/>
                <a:gd name="connsiteX81" fmla="*/ 2643385 w 2663946"/>
                <a:gd name="connsiteY81" fmla="*/ 243146 h 410520"/>
                <a:gd name="connsiteX82" fmla="*/ 2642460 w 2663946"/>
                <a:gd name="connsiteY82" fmla="*/ 238563 h 410520"/>
                <a:gd name="connsiteX83" fmla="*/ 2630799 w 2663946"/>
                <a:gd name="connsiteY83" fmla="*/ 230834 h 410520"/>
                <a:gd name="connsiteX84" fmla="*/ 2630799 w 2663946"/>
                <a:gd name="connsiteY84" fmla="*/ 218179 h 410520"/>
                <a:gd name="connsiteX85" fmla="*/ 2655595 w 2663946"/>
                <a:gd name="connsiteY85" fmla="*/ 238388 h 410520"/>
                <a:gd name="connsiteX86" fmla="*/ 2656074 w 2663946"/>
                <a:gd name="connsiteY86" fmla="*/ 243146 h 410520"/>
                <a:gd name="connsiteX87" fmla="*/ 2657493 w 2663946"/>
                <a:gd name="connsiteY87" fmla="*/ 243146 h 410520"/>
                <a:gd name="connsiteX88" fmla="*/ 2663946 w 2663946"/>
                <a:gd name="connsiteY88" fmla="*/ 249432 h 410520"/>
                <a:gd name="connsiteX89" fmla="*/ 2663946 w 2663946"/>
                <a:gd name="connsiteY89" fmla="*/ 299154 h 410520"/>
                <a:gd name="connsiteX90" fmla="*/ 2657493 w 2663946"/>
                <a:gd name="connsiteY90" fmla="*/ 305440 h 410520"/>
                <a:gd name="connsiteX91" fmla="*/ 2604106 w 2663946"/>
                <a:gd name="connsiteY91" fmla="*/ 305440 h 410520"/>
                <a:gd name="connsiteX92" fmla="*/ 2597652 w 2663946"/>
                <a:gd name="connsiteY92" fmla="*/ 299154 h 410520"/>
                <a:gd name="connsiteX93" fmla="*/ 2597652 w 2663946"/>
                <a:gd name="connsiteY93" fmla="*/ 249432 h 410520"/>
                <a:gd name="connsiteX94" fmla="*/ 2604106 w 2663946"/>
                <a:gd name="connsiteY94" fmla="*/ 243146 h 410520"/>
                <a:gd name="connsiteX95" fmla="*/ 2604940 w 2663946"/>
                <a:gd name="connsiteY95" fmla="*/ 243146 h 410520"/>
                <a:gd name="connsiteX96" fmla="*/ 2605524 w 2663946"/>
                <a:gd name="connsiteY96" fmla="*/ 243146 h 410520"/>
                <a:gd name="connsiteX97" fmla="*/ 2606004 w 2663946"/>
                <a:gd name="connsiteY97" fmla="*/ 238388 h 410520"/>
                <a:gd name="connsiteX98" fmla="*/ 2630799 w 2663946"/>
                <a:gd name="connsiteY98" fmla="*/ 218179 h 410520"/>
                <a:gd name="connsiteX99" fmla="*/ 33409 w 2663946"/>
                <a:gd name="connsiteY99" fmla="*/ 165325 h 410520"/>
                <a:gd name="connsiteX100" fmla="*/ 23938 w 2663946"/>
                <a:gd name="connsiteY100" fmla="*/ 174599 h 410520"/>
                <a:gd name="connsiteX101" fmla="*/ 28892 w 2663946"/>
                <a:gd name="connsiteY101" fmla="*/ 182756 h 410520"/>
                <a:gd name="connsiteX102" fmla="*/ 28892 w 2663946"/>
                <a:gd name="connsiteY102" fmla="*/ 191151 h 410520"/>
                <a:gd name="connsiteX103" fmla="*/ 33409 w 2663946"/>
                <a:gd name="connsiteY103" fmla="*/ 195574 h 410520"/>
                <a:gd name="connsiteX104" fmla="*/ 37926 w 2663946"/>
                <a:gd name="connsiteY104" fmla="*/ 191151 h 410520"/>
                <a:gd name="connsiteX105" fmla="*/ 37926 w 2663946"/>
                <a:gd name="connsiteY105" fmla="*/ 182756 h 410520"/>
                <a:gd name="connsiteX106" fmla="*/ 42880 w 2663946"/>
                <a:gd name="connsiteY106" fmla="*/ 174599 h 410520"/>
                <a:gd name="connsiteX107" fmla="*/ 33409 w 2663946"/>
                <a:gd name="connsiteY107" fmla="*/ 165325 h 410520"/>
                <a:gd name="connsiteX108" fmla="*/ 2538193 w 2663946"/>
                <a:gd name="connsiteY108" fmla="*/ 157737 h 410520"/>
                <a:gd name="connsiteX109" fmla="*/ 2528723 w 2663946"/>
                <a:gd name="connsiteY109" fmla="*/ 167011 h 410520"/>
                <a:gd name="connsiteX110" fmla="*/ 2533677 w 2663946"/>
                <a:gd name="connsiteY110" fmla="*/ 175168 h 410520"/>
                <a:gd name="connsiteX111" fmla="*/ 2533677 w 2663946"/>
                <a:gd name="connsiteY111" fmla="*/ 183563 h 410520"/>
                <a:gd name="connsiteX112" fmla="*/ 2538193 w 2663946"/>
                <a:gd name="connsiteY112" fmla="*/ 187986 h 410520"/>
                <a:gd name="connsiteX113" fmla="*/ 2542710 w 2663946"/>
                <a:gd name="connsiteY113" fmla="*/ 183563 h 410520"/>
                <a:gd name="connsiteX114" fmla="*/ 2542710 w 2663946"/>
                <a:gd name="connsiteY114" fmla="*/ 175168 h 410520"/>
                <a:gd name="connsiteX115" fmla="*/ 2547664 w 2663946"/>
                <a:gd name="connsiteY115" fmla="*/ 167011 h 410520"/>
                <a:gd name="connsiteX116" fmla="*/ 2538193 w 2663946"/>
                <a:gd name="connsiteY116" fmla="*/ 157737 h 410520"/>
                <a:gd name="connsiteX117" fmla="*/ 2113196 w 2663946"/>
                <a:gd name="connsiteY117" fmla="*/ 157737 h 410520"/>
                <a:gd name="connsiteX118" fmla="*/ 2103726 w 2663946"/>
                <a:gd name="connsiteY118" fmla="*/ 167011 h 410520"/>
                <a:gd name="connsiteX119" fmla="*/ 2108680 w 2663946"/>
                <a:gd name="connsiteY119" fmla="*/ 175168 h 410520"/>
                <a:gd name="connsiteX120" fmla="*/ 2108680 w 2663946"/>
                <a:gd name="connsiteY120" fmla="*/ 183563 h 410520"/>
                <a:gd name="connsiteX121" fmla="*/ 2113196 w 2663946"/>
                <a:gd name="connsiteY121" fmla="*/ 187986 h 410520"/>
                <a:gd name="connsiteX122" fmla="*/ 2117713 w 2663946"/>
                <a:gd name="connsiteY122" fmla="*/ 183563 h 410520"/>
                <a:gd name="connsiteX123" fmla="*/ 2117713 w 2663946"/>
                <a:gd name="connsiteY123" fmla="*/ 175168 h 410520"/>
                <a:gd name="connsiteX124" fmla="*/ 2122667 w 2663946"/>
                <a:gd name="connsiteY124" fmla="*/ 167011 h 410520"/>
                <a:gd name="connsiteX125" fmla="*/ 2113196 w 2663946"/>
                <a:gd name="connsiteY125" fmla="*/ 157737 h 410520"/>
                <a:gd name="connsiteX126" fmla="*/ 1855228 w 2663946"/>
                <a:gd name="connsiteY126" fmla="*/ 157737 h 410520"/>
                <a:gd name="connsiteX127" fmla="*/ 1845758 w 2663946"/>
                <a:gd name="connsiteY127" fmla="*/ 167011 h 410520"/>
                <a:gd name="connsiteX128" fmla="*/ 1850712 w 2663946"/>
                <a:gd name="connsiteY128" fmla="*/ 175168 h 410520"/>
                <a:gd name="connsiteX129" fmla="*/ 1850712 w 2663946"/>
                <a:gd name="connsiteY129" fmla="*/ 183563 h 410520"/>
                <a:gd name="connsiteX130" fmla="*/ 1855228 w 2663946"/>
                <a:gd name="connsiteY130" fmla="*/ 187986 h 410520"/>
                <a:gd name="connsiteX131" fmla="*/ 1859745 w 2663946"/>
                <a:gd name="connsiteY131" fmla="*/ 183563 h 410520"/>
                <a:gd name="connsiteX132" fmla="*/ 1859745 w 2663946"/>
                <a:gd name="connsiteY132" fmla="*/ 175168 h 410520"/>
                <a:gd name="connsiteX133" fmla="*/ 1864699 w 2663946"/>
                <a:gd name="connsiteY133" fmla="*/ 167011 h 410520"/>
                <a:gd name="connsiteX134" fmla="*/ 1855228 w 2663946"/>
                <a:gd name="connsiteY134" fmla="*/ 157737 h 410520"/>
                <a:gd name="connsiteX135" fmla="*/ 1764289 w 2663946"/>
                <a:gd name="connsiteY135" fmla="*/ 157737 h 410520"/>
                <a:gd name="connsiteX136" fmla="*/ 1754819 w 2663946"/>
                <a:gd name="connsiteY136" fmla="*/ 167011 h 410520"/>
                <a:gd name="connsiteX137" fmla="*/ 1759773 w 2663946"/>
                <a:gd name="connsiteY137" fmla="*/ 175168 h 410520"/>
                <a:gd name="connsiteX138" fmla="*/ 1759773 w 2663946"/>
                <a:gd name="connsiteY138" fmla="*/ 183563 h 410520"/>
                <a:gd name="connsiteX139" fmla="*/ 1764289 w 2663946"/>
                <a:gd name="connsiteY139" fmla="*/ 187986 h 410520"/>
                <a:gd name="connsiteX140" fmla="*/ 1768806 w 2663946"/>
                <a:gd name="connsiteY140" fmla="*/ 183563 h 410520"/>
                <a:gd name="connsiteX141" fmla="*/ 1768806 w 2663946"/>
                <a:gd name="connsiteY141" fmla="*/ 175168 h 410520"/>
                <a:gd name="connsiteX142" fmla="*/ 1773760 w 2663946"/>
                <a:gd name="connsiteY142" fmla="*/ 167011 h 410520"/>
                <a:gd name="connsiteX143" fmla="*/ 1764289 w 2663946"/>
                <a:gd name="connsiteY143" fmla="*/ 157737 h 410520"/>
                <a:gd name="connsiteX144" fmla="*/ 1506321 w 2663946"/>
                <a:gd name="connsiteY144" fmla="*/ 157737 h 410520"/>
                <a:gd name="connsiteX145" fmla="*/ 1496851 w 2663946"/>
                <a:gd name="connsiteY145" fmla="*/ 167011 h 410520"/>
                <a:gd name="connsiteX146" fmla="*/ 1501805 w 2663946"/>
                <a:gd name="connsiteY146" fmla="*/ 175168 h 410520"/>
                <a:gd name="connsiteX147" fmla="*/ 1501805 w 2663946"/>
                <a:gd name="connsiteY147" fmla="*/ 183563 h 410520"/>
                <a:gd name="connsiteX148" fmla="*/ 1506321 w 2663946"/>
                <a:gd name="connsiteY148" fmla="*/ 187986 h 410520"/>
                <a:gd name="connsiteX149" fmla="*/ 1510838 w 2663946"/>
                <a:gd name="connsiteY149" fmla="*/ 183563 h 410520"/>
                <a:gd name="connsiteX150" fmla="*/ 1510838 w 2663946"/>
                <a:gd name="connsiteY150" fmla="*/ 175168 h 410520"/>
                <a:gd name="connsiteX151" fmla="*/ 1515792 w 2663946"/>
                <a:gd name="connsiteY151" fmla="*/ 167011 h 410520"/>
                <a:gd name="connsiteX152" fmla="*/ 1506321 w 2663946"/>
                <a:gd name="connsiteY152" fmla="*/ 157737 h 410520"/>
                <a:gd name="connsiteX153" fmla="*/ 1415382 w 2663946"/>
                <a:gd name="connsiteY153" fmla="*/ 157737 h 410520"/>
                <a:gd name="connsiteX154" fmla="*/ 1405912 w 2663946"/>
                <a:gd name="connsiteY154" fmla="*/ 167011 h 410520"/>
                <a:gd name="connsiteX155" fmla="*/ 1410866 w 2663946"/>
                <a:gd name="connsiteY155" fmla="*/ 175168 h 410520"/>
                <a:gd name="connsiteX156" fmla="*/ 1410866 w 2663946"/>
                <a:gd name="connsiteY156" fmla="*/ 183563 h 410520"/>
                <a:gd name="connsiteX157" fmla="*/ 1415382 w 2663946"/>
                <a:gd name="connsiteY157" fmla="*/ 187986 h 410520"/>
                <a:gd name="connsiteX158" fmla="*/ 1419899 w 2663946"/>
                <a:gd name="connsiteY158" fmla="*/ 183563 h 410520"/>
                <a:gd name="connsiteX159" fmla="*/ 1419899 w 2663946"/>
                <a:gd name="connsiteY159" fmla="*/ 175168 h 410520"/>
                <a:gd name="connsiteX160" fmla="*/ 1424853 w 2663946"/>
                <a:gd name="connsiteY160" fmla="*/ 167011 h 410520"/>
                <a:gd name="connsiteX161" fmla="*/ 1415382 w 2663946"/>
                <a:gd name="connsiteY161" fmla="*/ 157737 h 410520"/>
                <a:gd name="connsiteX162" fmla="*/ 1157414 w 2663946"/>
                <a:gd name="connsiteY162" fmla="*/ 157737 h 410520"/>
                <a:gd name="connsiteX163" fmla="*/ 1147944 w 2663946"/>
                <a:gd name="connsiteY163" fmla="*/ 167011 h 410520"/>
                <a:gd name="connsiteX164" fmla="*/ 1152898 w 2663946"/>
                <a:gd name="connsiteY164" fmla="*/ 175168 h 410520"/>
                <a:gd name="connsiteX165" fmla="*/ 1152898 w 2663946"/>
                <a:gd name="connsiteY165" fmla="*/ 183563 h 410520"/>
                <a:gd name="connsiteX166" fmla="*/ 1157414 w 2663946"/>
                <a:gd name="connsiteY166" fmla="*/ 187986 h 410520"/>
                <a:gd name="connsiteX167" fmla="*/ 1161931 w 2663946"/>
                <a:gd name="connsiteY167" fmla="*/ 183563 h 410520"/>
                <a:gd name="connsiteX168" fmla="*/ 1161931 w 2663946"/>
                <a:gd name="connsiteY168" fmla="*/ 175168 h 410520"/>
                <a:gd name="connsiteX169" fmla="*/ 1166885 w 2663946"/>
                <a:gd name="connsiteY169" fmla="*/ 167011 h 410520"/>
                <a:gd name="connsiteX170" fmla="*/ 1157414 w 2663946"/>
                <a:gd name="connsiteY170" fmla="*/ 157737 h 410520"/>
                <a:gd name="connsiteX171" fmla="*/ 732418 w 2663946"/>
                <a:gd name="connsiteY171" fmla="*/ 157737 h 410520"/>
                <a:gd name="connsiteX172" fmla="*/ 722947 w 2663946"/>
                <a:gd name="connsiteY172" fmla="*/ 167011 h 410520"/>
                <a:gd name="connsiteX173" fmla="*/ 727901 w 2663946"/>
                <a:gd name="connsiteY173" fmla="*/ 175168 h 410520"/>
                <a:gd name="connsiteX174" fmla="*/ 727901 w 2663946"/>
                <a:gd name="connsiteY174" fmla="*/ 183563 h 410520"/>
                <a:gd name="connsiteX175" fmla="*/ 732418 w 2663946"/>
                <a:gd name="connsiteY175" fmla="*/ 187986 h 410520"/>
                <a:gd name="connsiteX176" fmla="*/ 736935 w 2663946"/>
                <a:gd name="connsiteY176" fmla="*/ 183563 h 410520"/>
                <a:gd name="connsiteX177" fmla="*/ 736935 w 2663946"/>
                <a:gd name="connsiteY177" fmla="*/ 175168 h 410520"/>
                <a:gd name="connsiteX178" fmla="*/ 741889 w 2663946"/>
                <a:gd name="connsiteY178" fmla="*/ 167011 h 410520"/>
                <a:gd name="connsiteX179" fmla="*/ 732418 w 2663946"/>
                <a:gd name="connsiteY179" fmla="*/ 157737 h 410520"/>
                <a:gd name="connsiteX180" fmla="*/ 641479 w 2663946"/>
                <a:gd name="connsiteY180" fmla="*/ 157737 h 410520"/>
                <a:gd name="connsiteX181" fmla="*/ 632008 w 2663946"/>
                <a:gd name="connsiteY181" fmla="*/ 167011 h 410520"/>
                <a:gd name="connsiteX182" fmla="*/ 636962 w 2663946"/>
                <a:gd name="connsiteY182" fmla="*/ 175168 h 410520"/>
                <a:gd name="connsiteX183" fmla="*/ 636962 w 2663946"/>
                <a:gd name="connsiteY183" fmla="*/ 183563 h 410520"/>
                <a:gd name="connsiteX184" fmla="*/ 641479 w 2663946"/>
                <a:gd name="connsiteY184" fmla="*/ 187986 h 410520"/>
                <a:gd name="connsiteX185" fmla="*/ 645996 w 2663946"/>
                <a:gd name="connsiteY185" fmla="*/ 183563 h 410520"/>
                <a:gd name="connsiteX186" fmla="*/ 645996 w 2663946"/>
                <a:gd name="connsiteY186" fmla="*/ 175168 h 410520"/>
                <a:gd name="connsiteX187" fmla="*/ 650950 w 2663946"/>
                <a:gd name="connsiteY187" fmla="*/ 167011 h 410520"/>
                <a:gd name="connsiteX188" fmla="*/ 641479 w 2663946"/>
                <a:gd name="connsiteY188" fmla="*/ 157737 h 410520"/>
                <a:gd name="connsiteX189" fmla="*/ 459528 w 2663946"/>
                <a:gd name="connsiteY189" fmla="*/ 157737 h 410520"/>
                <a:gd name="connsiteX190" fmla="*/ 450057 w 2663946"/>
                <a:gd name="connsiteY190" fmla="*/ 167011 h 410520"/>
                <a:gd name="connsiteX191" fmla="*/ 455011 w 2663946"/>
                <a:gd name="connsiteY191" fmla="*/ 175168 h 410520"/>
                <a:gd name="connsiteX192" fmla="*/ 455011 w 2663946"/>
                <a:gd name="connsiteY192" fmla="*/ 183563 h 410520"/>
                <a:gd name="connsiteX193" fmla="*/ 459528 w 2663946"/>
                <a:gd name="connsiteY193" fmla="*/ 187986 h 410520"/>
                <a:gd name="connsiteX194" fmla="*/ 464045 w 2663946"/>
                <a:gd name="connsiteY194" fmla="*/ 183563 h 410520"/>
                <a:gd name="connsiteX195" fmla="*/ 464045 w 2663946"/>
                <a:gd name="connsiteY195" fmla="*/ 175168 h 410520"/>
                <a:gd name="connsiteX196" fmla="*/ 468999 w 2663946"/>
                <a:gd name="connsiteY196" fmla="*/ 167011 h 410520"/>
                <a:gd name="connsiteX197" fmla="*/ 459528 w 2663946"/>
                <a:gd name="connsiteY197" fmla="*/ 157737 h 410520"/>
                <a:gd name="connsiteX198" fmla="*/ 2632966 w 2663946"/>
                <a:gd name="connsiteY198" fmla="*/ 130544 h 410520"/>
                <a:gd name="connsiteX199" fmla="*/ 2621414 w 2663946"/>
                <a:gd name="connsiteY199" fmla="*/ 132977 h 410520"/>
                <a:gd name="connsiteX200" fmla="*/ 2618218 w 2663946"/>
                <a:gd name="connsiteY200" fmla="*/ 136492 h 410520"/>
                <a:gd name="connsiteX201" fmla="*/ 2616006 w 2663946"/>
                <a:gd name="connsiteY201" fmla="*/ 140277 h 410520"/>
                <a:gd name="connsiteX202" fmla="*/ 2615023 w 2663946"/>
                <a:gd name="connsiteY202" fmla="*/ 142981 h 410520"/>
                <a:gd name="connsiteX203" fmla="*/ 2614039 w 2663946"/>
                <a:gd name="connsiteY203" fmla="*/ 147037 h 410520"/>
                <a:gd name="connsiteX204" fmla="*/ 2613056 w 2663946"/>
                <a:gd name="connsiteY204" fmla="*/ 154067 h 410520"/>
                <a:gd name="connsiteX205" fmla="*/ 2614039 w 2663946"/>
                <a:gd name="connsiteY205" fmla="*/ 161367 h 410520"/>
                <a:gd name="connsiteX206" fmla="*/ 2615269 w 2663946"/>
                <a:gd name="connsiteY206" fmla="*/ 165152 h 410520"/>
                <a:gd name="connsiteX207" fmla="*/ 2617481 w 2663946"/>
                <a:gd name="connsiteY207" fmla="*/ 169478 h 410520"/>
                <a:gd name="connsiteX208" fmla="*/ 2620922 w 2663946"/>
                <a:gd name="connsiteY208" fmla="*/ 173805 h 410520"/>
                <a:gd name="connsiteX209" fmla="*/ 2625346 w 2663946"/>
                <a:gd name="connsiteY209" fmla="*/ 176508 h 410520"/>
                <a:gd name="connsiteX210" fmla="*/ 2637637 w 2663946"/>
                <a:gd name="connsiteY210" fmla="*/ 174075 h 410520"/>
                <a:gd name="connsiteX211" fmla="*/ 2640832 w 2663946"/>
                <a:gd name="connsiteY211" fmla="*/ 170560 h 410520"/>
                <a:gd name="connsiteX212" fmla="*/ 2643290 w 2663946"/>
                <a:gd name="connsiteY212" fmla="*/ 166234 h 410520"/>
                <a:gd name="connsiteX213" fmla="*/ 2644273 w 2663946"/>
                <a:gd name="connsiteY213" fmla="*/ 164071 h 410520"/>
                <a:gd name="connsiteX214" fmla="*/ 2645502 w 2663946"/>
                <a:gd name="connsiteY214" fmla="*/ 159745 h 410520"/>
                <a:gd name="connsiteX215" fmla="*/ 2645011 w 2663946"/>
                <a:gd name="connsiteY215" fmla="*/ 145955 h 410520"/>
                <a:gd name="connsiteX216" fmla="*/ 2644027 w 2663946"/>
                <a:gd name="connsiteY216" fmla="*/ 142981 h 410520"/>
                <a:gd name="connsiteX217" fmla="*/ 2642799 w 2663946"/>
                <a:gd name="connsiteY217" fmla="*/ 140007 h 410520"/>
                <a:gd name="connsiteX218" fmla="*/ 2640586 w 2663946"/>
                <a:gd name="connsiteY218" fmla="*/ 136492 h 410520"/>
                <a:gd name="connsiteX219" fmla="*/ 2636899 w 2663946"/>
                <a:gd name="connsiteY219" fmla="*/ 132707 h 410520"/>
                <a:gd name="connsiteX220" fmla="*/ 2632966 w 2663946"/>
                <a:gd name="connsiteY220" fmla="*/ 130544 h 410520"/>
                <a:gd name="connsiteX221" fmla="*/ 2451011 w 2663946"/>
                <a:gd name="connsiteY221" fmla="*/ 130544 h 410520"/>
                <a:gd name="connsiteX222" fmla="*/ 2439459 w 2663946"/>
                <a:gd name="connsiteY222" fmla="*/ 132977 h 410520"/>
                <a:gd name="connsiteX223" fmla="*/ 2436263 w 2663946"/>
                <a:gd name="connsiteY223" fmla="*/ 136492 h 410520"/>
                <a:gd name="connsiteX224" fmla="*/ 2434051 w 2663946"/>
                <a:gd name="connsiteY224" fmla="*/ 140277 h 410520"/>
                <a:gd name="connsiteX225" fmla="*/ 2433068 w 2663946"/>
                <a:gd name="connsiteY225" fmla="*/ 142981 h 410520"/>
                <a:gd name="connsiteX226" fmla="*/ 2432084 w 2663946"/>
                <a:gd name="connsiteY226" fmla="*/ 147037 h 410520"/>
                <a:gd name="connsiteX227" fmla="*/ 2431101 w 2663946"/>
                <a:gd name="connsiteY227" fmla="*/ 154067 h 410520"/>
                <a:gd name="connsiteX228" fmla="*/ 2432084 w 2663946"/>
                <a:gd name="connsiteY228" fmla="*/ 161367 h 410520"/>
                <a:gd name="connsiteX229" fmla="*/ 2433314 w 2663946"/>
                <a:gd name="connsiteY229" fmla="*/ 165152 h 410520"/>
                <a:gd name="connsiteX230" fmla="*/ 2435526 w 2663946"/>
                <a:gd name="connsiteY230" fmla="*/ 169478 h 410520"/>
                <a:gd name="connsiteX231" fmla="*/ 2438967 w 2663946"/>
                <a:gd name="connsiteY231" fmla="*/ 173805 h 410520"/>
                <a:gd name="connsiteX232" fmla="*/ 2443391 w 2663946"/>
                <a:gd name="connsiteY232" fmla="*/ 176508 h 410520"/>
                <a:gd name="connsiteX233" fmla="*/ 2455682 w 2663946"/>
                <a:gd name="connsiteY233" fmla="*/ 174075 h 410520"/>
                <a:gd name="connsiteX234" fmla="*/ 2458877 w 2663946"/>
                <a:gd name="connsiteY234" fmla="*/ 170560 h 410520"/>
                <a:gd name="connsiteX235" fmla="*/ 2461335 w 2663946"/>
                <a:gd name="connsiteY235" fmla="*/ 166234 h 410520"/>
                <a:gd name="connsiteX236" fmla="*/ 2462318 w 2663946"/>
                <a:gd name="connsiteY236" fmla="*/ 164071 h 410520"/>
                <a:gd name="connsiteX237" fmla="*/ 2463547 w 2663946"/>
                <a:gd name="connsiteY237" fmla="*/ 159745 h 410520"/>
                <a:gd name="connsiteX238" fmla="*/ 2463056 w 2663946"/>
                <a:gd name="connsiteY238" fmla="*/ 145955 h 410520"/>
                <a:gd name="connsiteX239" fmla="*/ 2462072 w 2663946"/>
                <a:gd name="connsiteY239" fmla="*/ 142981 h 410520"/>
                <a:gd name="connsiteX240" fmla="*/ 2460844 w 2663946"/>
                <a:gd name="connsiteY240" fmla="*/ 140007 h 410520"/>
                <a:gd name="connsiteX241" fmla="*/ 2458631 w 2663946"/>
                <a:gd name="connsiteY241" fmla="*/ 136492 h 410520"/>
                <a:gd name="connsiteX242" fmla="*/ 2454944 w 2663946"/>
                <a:gd name="connsiteY242" fmla="*/ 132707 h 410520"/>
                <a:gd name="connsiteX243" fmla="*/ 2451011 w 2663946"/>
                <a:gd name="connsiteY243" fmla="*/ 130544 h 410520"/>
                <a:gd name="connsiteX244" fmla="*/ 2207965 w 2663946"/>
                <a:gd name="connsiteY244" fmla="*/ 130544 h 410520"/>
                <a:gd name="connsiteX245" fmla="*/ 2196413 w 2663946"/>
                <a:gd name="connsiteY245" fmla="*/ 132977 h 410520"/>
                <a:gd name="connsiteX246" fmla="*/ 2193217 w 2663946"/>
                <a:gd name="connsiteY246" fmla="*/ 136492 h 410520"/>
                <a:gd name="connsiteX247" fmla="*/ 2191005 w 2663946"/>
                <a:gd name="connsiteY247" fmla="*/ 140277 h 410520"/>
                <a:gd name="connsiteX248" fmla="*/ 2190022 w 2663946"/>
                <a:gd name="connsiteY248" fmla="*/ 142981 h 410520"/>
                <a:gd name="connsiteX249" fmla="*/ 2189038 w 2663946"/>
                <a:gd name="connsiteY249" fmla="*/ 147037 h 410520"/>
                <a:gd name="connsiteX250" fmla="*/ 2188055 w 2663946"/>
                <a:gd name="connsiteY250" fmla="*/ 154067 h 410520"/>
                <a:gd name="connsiteX251" fmla="*/ 2189038 w 2663946"/>
                <a:gd name="connsiteY251" fmla="*/ 161367 h 410520"/>
                <a:gd name="connsiteX252" fmla="*/ 2190268 w 2663946"/>
                <a:gd name="connsiteY252" fmla="*/ 165152 h 410520"/>
                <a:gd name="connsiteX253" fmla="*/ 2192480 w 2663946"/>
                <a:gd name="connsiteY253" fmla="*/ 169478 h 410520"/>
                <a:gd name="connsiteX254" fmla="*/ 2195921 w 2663946"/>
                <a:gd name="connsiteY254" fmla="*/ 173805 h 410520"/>
                <a:gd name="connsiteX255" fmla="*/ 2200345 w 2663946"/>
                <a:gd name="connsiteY255" fmla="*/ 176508 h 410520"/>
                <a:gd name="connsiteX256" fmla="*/ 2212636 w 2663946"/>
                <a:gd name="connsiteY256" fmla="*/ 174075 h 410520"/>
                <a:gd name="connsiteX257" fmla="*/ 2215831 w 2663946"/>
                <a:gd name="connsiteY257" fmla="*/ 170560 h 410520"/>
                <a:gd name="connsiteX258" fmla="*/ 2218289 w 2663946"/>
                <a:gd name="connsiteY258" fmla="*/ 166234 h 410520"/>
                <a:gd name="connsiteX259" fmla="*/ 2219272 w 2663946"/>
                <a:gd name="connsiteY259" fmla="*/ 164071 h 410520"/>
                <a:gd name="connsiteX260" fmla="*/ 2220501 w 2663946"/>
                <a:gd name="connsiteY260" fmla="*/ 159745 h 410520"/>
                <a:gd name="connsiteX261" fmla="*/ 2220010 w 2663946"/>
                <a:gd name="connsiteY261" fmla="*/ 145955 h 410520"/>
                <a:gd name="connsiteX262" fmla="*/ 2219026 w 2663946"/>
                <a:gd name="connsiteY262" fmla="*/ 142981 h 410520"/>
                <a:gd name="connsiteX263" fmla="*/ 2217798 w 2663946"/>
                <a:gd name="connsiteY263" fmla="*/ 140007 h 410520"/>
                <a:gd name="connsiteX264" fmla="*/ 2215585 w 2663946"/>
                <a:gd name="connsiteY264" fmla="*/ 136492 h 410520"/>
                <a:gd name="connsiteX265" fmla="*/ 2211898 w 2663946"/>
                <a:gd name="connsiteY265" fmla="*/ 132707 h 410520"/>
                <a:gd name="connsiteX266" fmla="*/ 2207965 w 2663946"/>
                <a:gd name="connsiteY266" fmla="*/ 130544 h 410520"/>
                <a:gd name="connsiteX267" fmla="*/ 2026014 w 2663946"/>
                <a:gd name="connsiteY267" fmla="*/ 130544 h 410520"/>
                <a:gd name="connsiteX268" fmla="*/ 2014462 w 2663946"/>
                <a:gd name="connsiteY268" fmla="*/ 132977 h 410520"/>
                <a:gd name="connsiteX269" fmla="*/ 2011266 w 2663946"/>
                <a:gd name="connsiteY269" fmla="*/ 136492 h 410520"/>
                <a:gd name="connsiteX270" fmla="*/ 2009054 w 2663946"/>
                <a:gd name="connsiteY270" fmla="*/ 140277 h 410520"/>
                <a:gd name="connsiteX271" fmla="*/ 2008071 w 2663946"/>
                <a:gd name="connsiteY271" fmla="*/ 142981 h 410520"/>
                <a:gd name="connsiteX272" fmla="*/ 2007087 w 2663946"/>
                <a:gd name="connsiteY272" fmla="*/ 147037 h 410520"/>
                <a:gd name="connsiteX273" fmla="*/ 2006104 w 2663946"/>
                <a:gd name="connsiteY273" fmla="*/ 154067 h 410520"/>
                <a:gd name="connsiteX274" fmla="*/ 2007087 w 2663946"/>
                <a:gd name="connsiteY274" fmla="*/ 161367 h 410520"/>
                <a:gd name="connsiteX275" fmla="*/ 2008317 w 2663946"/>
                <a:gd name="connsiteY275" fmla="*/ 165152 h 410520"/>
                <a:gd name="connsiteX276" fmla="*/ 2010529 w 2663946"/>
                <a:gd name="connsiteY276" fmla="*/ 169478 h 410520"/>
                <a:gd name="connsiteX277" fmla="*/ 2013970 w 2663946"/>
                <a:gd name="connsiteY277" fmla="*/ 173805 h 410520"/>
                <a:gd name="connsiteX278" fmla="*/ 2018394 w 2663946"/>
                <a:gd name="connsiteY278" fmla="*/ 176508 h 410520"/>
                <a:gd name="connsiteX279" fmla="*/ 2030685 w 2663946"/>
                <a:gd name="connsiteY279" fmla="*/ 174075 h 410520"/>
                <a:gd name="connsiteX280" fmla="*/ 2033880 w 2663946"/>
                <a:gd name="connsiteY280" fmla="*/ 170560 h 410520"/>
                <a:gd name="connsiteX281" fmla="*/ 2036338 w 2663946"/>
                <a:gd name="connsiteY281" fmla="*/ 166234 h 410520"/>
                <a:gd name="connsiteX282" fmla="*/ 2037321 w 2663946"/>
                <a:gd name="connsiteY282" fmla="*/ 164071 h 410520"/>
                <a:gd name="connsiteX283" fmla="*/ 2038550 w 2663946"/>
                <a:gd name="connsiteY283" fmla="*/ 159745 h 410520"/>
                <a:gd name="connsiteX284" fmla="*/ 2038059 w 2663946"/>
                <a:gd name="connsiteY284" fmla="*/ 145955 h 410520"/>
                <a:gd name="connsiteX285" fmla="*/ 2037075 w 2663946"/>
                <a:gd name="connsiteY285" fmla="*/ 142981 h 410520"/>
                <a:gd name="connsiteX286" fmla="*/ 2035847 w 2663946"/>
                <a:gd name="connsiteY286" fmla="*/ 140007 h 410520"/>
                <a:gd name="connsiteX287" fmla="*/ 2033634 w 2663946"/>
                <a:gd name="connsiteY287" fmla="*/ 136492 h 410520"/>
                <a:gd name="connsiteX288" fmla="*/ 2029947 w 2663946"/>
                <a:gd name="connsiteY288" fmla="*/ 132707 h 410520"/>
                <a:gd name="connsiteX289" fmla="*/ 2026014 w 2663946"/>
                <a:gd name="connsiteY289" fmla="*/ 130544 h 410520"/>
                <a:gd name="connsiteX290" fmla="*/ 1601090 w 2663946"/>
                <a:gd name="connsiteY290" fmla="*/ 130544 h 410520"/>
                <a:gd name="connsiteX291" fmla="*/ 1589537 w 2663946"/>
                <a:gd name="connsiteY291" fmla="*/ 132977 h 410520"/>
                <a:gd name="connsiteX292" fmla="*/ 1586342 w 2663946"/>
                <a:gd name="connsiteY292" fmla="*/ 136492 h 410520"/>
                <a:gd name="connsiteX293" fmla="*/ 1584130 w 2663946"/>
                <a:gd name="connsiteY293" fmla="*/ 140277 h 410520"/>
                <a:gd name="connsiteX294" fmla="*/ 1583147 w 2663946"/>
                <a:gd name="connsiteY294" fmla="*/ 142981 h 410520"/>
                <a:gd name="connsiteX295" fmla="*/ 1582163 w 2663946"/>
                <a:gd name="connsiteY295" fmla="*/ 147037 h 410520"/>
                <a:gd name="connsiteX296" fmla="*/ 1581180 w 2663946"/>
                <a:gd name="connsiteY296" fmla="*/ 154067 h 410520"/>
                <a:gd name="connsiteX297" fmla="*/ 1582163 w 2663946"/>
                <a:gd name="connsiteY297" fmla="*/ 161367 h 410520"/>
                <a:gd name="connsiteX298" fmla="*/ 1583393 w 2663946"/>
                <a:gd name="connsiteY298" fmla="*/ 165152 h 410520"/>
                <a:gd name="connsiteX299" fmla="*/ 1585605 w 2663946"/>
                <a:gd name="connsiteY299" fmla="*/ 169478 h 410520"/>
                <a:gd name="connsiteX300" fmla="*/ 1589046 w 2663946"/>
                <a:gd name="connsiteY300" fmla="*/ 173805 h 410520"/>
                <a:gd name="connsiteX301" fmla="*/ 1593470 w 2663946"/>
                <a:gd name="connsiteY301" fmla="*/ 176508 h 410520"/>
                <a:gd name="connsiteX302" fmla="*/ 1605761 w 2663946"/>
                <a:gd name="connsiteY302" fmla="*/ 174075 h 410520"/>
                <a:gd name="connsiteX303" fmla="*/ 1608956 w 2663946"/>
                <a:gd name="connsiteY303" fmla="*/ 170560 h 410520"/>
                <a:gd name="connsiteX304" fmla="*/ 1611414 w 2663946"/>
                <a:gd name="connsiteY304" fmla="*/ 166234 h 410520"/>
                <a:gd name="connsiteX305" fmla="*/ 1612397 w 2663946"/>
                <a:gd name="connsiteY305" fmla="*/ 164071 h 410520"/>
                <a:gd name="connsiteX306" fmla="*/ 1613626 w 2663946"/>
                <a:gd name="connsiteY306" fmla="*/ 159745 h 410520"/>
                <a:gd name="connsiteX307" fmla="*/ 1613135 w 2663946"/>
                <a:gd name="connsiteY307" fmla="*/ 145955 h 410520"/>
                <a:gd name="connsiteX308" fmla="*/ 1612151 w 2663946"/>
                <a:gd name="connsiteY308" fmla="*/ 142981 h 410520"/>
                <a:gd name="connsiteX309" fmla="*/ 1610923 w 2663946"/>
                <a:gd name="connsiteY309" fmla="*/ 140007 h 410520"/>
                <a:gd name="connsiteX310" fmla="*/ 1608710 w 2663946"/>
                <a:gd name="connsiteY310" fmla="*/ 136492 h 410520"/>
                <a:gd name="connsiteX311" fmla="*/ 1605023 w 2663946"/>
                <a:gd name="connsiteY311" fmla="*/ 132707 h 410520"/>
                <a:gd name="connsiteX312" fmla="*/ 1601090 w 2663946"/>
                <a:gd name="connsiteY312" fmla="*/ 130544 h 410520"/>
                <a:gd name="connsiteX313" fmla="*/ 1252183 w 2663946"/>
                <a:gd name="connsiteY313" fmla="*/ 130544 h 410520"/>
                <a:gd name="connsiteX314" fmla="*/ 1240630 w 2663946"/>
                <a:gd name="connsiteY314" fmla="*/ 132977 h 410520"/>
                <a:gd name="connsiteX315" fmla="*/ 1237435 w 2663946"/>
                <a:gd name="connsiteY315" fmla="*/ 136492 h 410520"/>
                <a:gd name="connsiteX316" fmla="*/ 1235223 w 2663946"/>
                <a:gd name="connsiteY316" fmla="*/ 140277 h 410520"/>
                <a:gd name="connsiteX317" fmla="*/ 1234240 w 2663946"/>
                <a:gd name="connsiteY317" fmla="*/ 142981 h 410520"/>
                <a:gd name="connsiteX318" fmla="*/ 1233256 w 2663946"/>
                <a:gd name="connsiteY318" fmla="*/ 147037 h 410520"/>
                <a:gd name="connsiteX319" fmla="*/ 1232273 w 2663946"/>
                <a:gd name="connsiteY319" fmla="*/ 154067 h 410520"/>
                <a:gd name="connsiteX320" fmla="*/ 1233256 w 2663946"/>
                <a:gd name="connsiteY320" fmla="*/ 161367 h 410520"/>
                <a:gd name="connsiteX321" fmla="*/ 1234486 w 2663946"/>
                <a:gd name="connsiteY321" fmla="*/ 165152 h 410520"/>
                <a:gd name="connsiteX322" fmla="*/ 1236698 w 2663946"/>
                <a:gd name="connsiteY322" fmla="*/ 169478 h 410520"/>
                <a:gd name="connsiteX323" fmla="*/ 1240139 w 2663946"/>
                <a:gd name="connsiteY323" fmla="*/ 173805 h 410520"/>
                <a:gd name="connsiteX324" fmla="*/ 1244563 w 2663946"/>
                <a:gd name="connsiteY324" fmla="*/ 176508 h 410520"/>
                <a:gd name="connsiteX325" fmla="*/ 1256854 w 2663946"/>
                <a:gd name="connsiteY325" fmla="*/ 174075 h 410520"/>
                <a:gd name="connsiteX326" fmla="*/ 1260049 w 2663946"/>
                <a:gd name="connsiteY326" fmla="*/ 170560 h 410520"/>
                <a:gd name="connsiteX327" fmla="*/ 1262507 w 2663946"/>
                <a:gd name="connsiteY327" fmla="*/ 166234 h 410520"/>
                <a:gd name="connsiteX328" fmla="*/ 1263490 w 2663946"/>
                <a:gd name="connsiteY328" fmla="*/ 164071 h 410520"/>
                <a:gd name="connsiteX329" fmla="*/ 1264719 w 2663946"/>
                <a:gd name="connsiteY329" fmla="*/ 159745 h 410520"/>
                <a:gd name="connsiteX330" fmla="*/ 1264228 w 2663946"/>
                <a:gd name="connsiteY330" fmla="*/ 145955 h 410520"/>
                <a:gd name="connsiteX331" fmla="*/ 1263244 w 2663946"/>
                <a:gd name="connsiteY331" fmla="*/ 142981 h 410520"/>
                <a:gd name="connsiteX332" fmla="*/ 1262016 w 2663946"/>
                <a:gd name="connsiteY332" fmla="*/ 140007 h 410520"/>
                <a:gd name="connsiteX333" fmla="*/ 1259803 w 2663946"/>
                <a:gd name="connsiteY333" fmla="*/ 136492 h 410520"/>
                <a:gd name="connsiteX334" fmla="*/ 1256116 w 2663946"/>
                <a:gd name="connsiteY334" fmla="*/ 132707 h 410520"/>
                <a:gd name="connsiteX335" fmla="*/ 1252183 w 2663946"/>
                <a:gd name="connsiteY335" fmla="*/ 130544 h 410520"/>
                <a:gd name="connsiteX336" fmla="*/ 1070232 w 2663946"/>
                <a:gd name="connsiteY336" fmla="*/ 130544 h 410520"/>
                <a:gd name="connsiteX337" fmla="*/ 1058679 w 2663946"/>
                <a:gd name="connsiteY337" fmla="*/ 132977 h 410520"/>
                <a:gd name="connsiteX338" fmla="*/ 1055484 w 2663946"/>
                <a:gd name="connsiteY338" fmla="*/ 136492 h 410520"/>
                <a:gd name="connsiteX339" fmla="*/ 1053272 w 2663946"/>
                <a:gd name="connsiteY339" fmla="*/ 140277 h 410520"/>
                <a:gd name="connsiteX340" fmla="*/ 1052289 w 2663946"/>
                <a:gd name="connsiteY340" fmla="*/ 142981 h 410520"/>
                <a:gd name="connsiteX341" fmla="*/ 1051305 w 2663946"/>
                <a:gd name="connsiteY341" fmla="*/ 147037 h 410520"/>
                <a:gd name="connsiteX342" fmla="*/ 1050322 w 2663946"/>
                <a:gd name="connsiteY342" fmla="*/ 154067 h 410520"/>
                <a:gd name="connsiteX343" fmla="*/ 1051305 w 2663946"/>
                <a:gd name="connsiteY343" fmla="*/ 161367 h 410520"/>
                <a:gd name="connsiteX344" fmla="*/ 1052535 w 2663946"/>
                <a:gd name="connsiteY344" fmla="*/ 165152 h 410520"/>
                <a:gd name="connsiteX345" fmla="*/ 1054747 w 2663946"/>
                <a:gd name="connsiteY345" fmla="*/ 169478 h 410520"/>
                <a:gd name="connsiteX346" fmla="*/ 1058188 w 2663946"/>
                <a:gd name="connsiteY346" fmla="*/ 173805 h 410520"/>
                <a:gd name="connsiteX347" fmla="*/ 1062612 w 2663946"/>
                <a:gd name="connsiteY347" fmla="*/ 176508 h 410520"/>
                <a:gd name="connsiteX348" fmla="*/ 1074903 w 2663946"/>
                <a:gd name="connsiteY348" fmla="*/ 174075 h 410520"/>
                <a:gd name="connsiteX349" fmla="*/ 1078098 w 2663946"/>
                <a:gd name="connsiteY349" fmla="*/ 170560 h 410520"/>
                <a:gd name="connsiteX350" fmla="*/ 1080556 w 2663946"/>
                <a:gd name="connsiteY350" fmla="*/ 166234 h 410520"/>
                <a:gd name="connsiteX351" fmla="*/ 1081539 w 2663946"/>
                <a:gd name="connsiteY351" fmla="*/ 164071 h 410520"/>
                <a:gd name="connsiteX352" fmla="*/ 1082768 w 2663946"/>
                <a:gd name="connsiteY352" fmla="*/ 159745 h 410520"/>
                <a:gd name="connsiteX353" fmla="*/ 1082277 w 2663946"/>
                <a:gd name="connsiteY353" fmla="*/ 145955 h 410520"/>
                <a:gd name="connsiteX354" fmla="*/ 1081293 w 2663946"/>
                <a:gd name="connsiteY354" fmla="*/ 142981 h 410520"/>
                <a:gd name="connsiteX355" fmla="*/ 1080065 w 2663946"/>
                <a:gd name="connsiteY355" fmla="*/ 140007 h 410520"/>
                <a:gd name="connsiteX356" fmla="*/ 1077852 w 2663946"/>
                <a:gd name="connsiteY356" fmla="*/ 136492 h 410520"/>
                <a:gd name="connsiteX357" fmla="*/ 1074165 w 2663946"/>
                <a:gd name="connsiteY357" fmla="*/ 132707 h 410520"/>
                <a:gd name="connsiteX358" fmla="*/ 1070232 w 2663946"/>
                <a:gd name="connsiteY358" fmla="*/ 130544 h 410520"/>
                <a:gd name="connsiteX359" fmla="*/ 903203 w 2663946"/>
                <a:gd name="connsiteY359" fmla="*/ 130544 h 410520"/>
                <a:gd name="connsiteX360" fmla="*/ 891650 w 2663946"/>
                <a:gd name="connsiteY360" fmla="*/ 132977 h 410520"/>
                <a:gd name="connsiteX361" fmla="*/ 888455 w 2663946"/>
                <a:gd name="connsiteY361" fmla="*/ 136492 h 410520"/>
                <a:gd name="connsiteX362" fmla="*/ 886243 w 2663946"/>
                <a:gd name="connsiteY362" fmla="*/ 140277 h 410520"/>
                <a:gd name="connsiteX363" fmla="*/ 885260 w 2663946"/>
                <a:gd name="connsiteY363" fmla="*/ 142981 h 410520"/>
                <a:gd name="connsiteX364" fmla="*/ 884276 w 2663946"/>
                <a:gd name="connsiteY364" fmla="*/ 147037 h 410520"/>
                <a:gd name="connsiteX365" fmla="*/ 883293 w 2663946"/>
                <a:gd name="connsiteY365" fmla="*/ 154067 h 410520"/>
                <a:gd name="connsiteX366" fmla="*/ 884276 w 2663946"/>
                <a:gd name="connsiteY366" fmla="*/ 161367 h 410520"/>
                <a:gd name="connsiteX367" fmla="*/ 885506 w 2663946"/>
                <a:gd name="connsiteY367" fmla="*/ 165152 h 410520"/>
                <a:gd name="connsiteX368" fmla="*/ 887718 w 2663946"/>
                <a:gd name="connsiteY368" fmla="*/ 169478 h 410520"/>
                <a:gd name="connsiteX369" fmla="*/ 891159 w 2663946"/>
                <a:gd name="connsiteY369" fmla="*/ 173805 h 410520"/>
                <a:gd name="connsiteX370" fmla="*/ 895583 w 2663946"/>
                <a:gd name="connsiteY370" fmla="*/ 176508 h 410520"/>
                <a:gd name="connsiteX371" fmla="*/ 907874 w 2663946"/>
                <a:gd name="connsiteY371" fmla="*/ 174075 h 410520"/>
                <a:gd name="connsiteX372" fmla="*/ 911069 w 2663946"/>
                <a:gd name="connsiteY372" fmla="*/ 170560 h 410520"/>
                <a:gd name="connsiteX373" fmla="*/ 913527 w 2663946"/>
                <a:gd name="connsiteY373" fmla="*/ 166234 h 410520"/>
                <a:gd name="connsiteX374" fmla="*/ 914510 w 2663946"/>
                <a:gd name="connsiteY374" fmla="*/ 164071 h 410520"/>
                <a:gd name="connsiteX375" fmla="*/ 915739 w 2663946"/>
                <a:gd name="connsiteY375" fmla="*/ 159745 h 410520"/>
                <a:gd name="connsiteX376" fmla="*/ 915248 w 2663946"/>
                <a:gd name="connsiteY376" fmla="*/ 145955 h 410520"/>
                <a:gd name="connsiteX377" fmla="*/ 914264 w 2663946"/>
                <a:gd name="connsiteY377" fmla="*/ 142981 h 410520"/>
                <a:gd name="connsiteX378" fmla="*/ 913036 w 2663946"/>
                <a:gd name="connsiteY378" fmla="*/ 140007 h 410520"/>
                <a:gd name="connsiteX379" fmla="*/ 910823 w 2663946"/>
                <a:gd name="connsiteY379" fmla="*/ 136492 h 410520"/>
                <a:gd name="connsiteX380" fmla="*/ 907136 w 2663946"/>
                <a:gd name="connsiteY380" fmla="*/ 132707 h 410520"/>
                <a:gd name="connsiteX381" fmla="*/ 903203 w 2663946"/>
                <a:gd name="connsiteY381" fmla="*/ 130544 h 410520"/>
                <a:gd name="connsiteX382" fmla="*/ 554297 w 2663946"/>
                <a:gd name="connsiteY382" fmla="*/ 130544 h 410520"/>
                <a:gd name="connsiteX383" fmla="*/ 542744 w 2663946"/>
                <a:gd name="connsiteY383" fmla="*/ 132977 h 410520"/>
                <a:gd name="connsiteX384" fmla="*/ 539549 w 2663946"/>
                <a:gd name="connsiteY384" fmla="*/ 136492 h 410520"/>
                <a:gd name="connsiteX385" fmla="*/ 537337 w 2663946"/>
                <a:gd name="connsiteY385" fmla="*/ 140277 h 410520"/>
                <a:gd name="connsiteX386" fmla="*/ 536353 w 2663946"/>
                <a:gd name="connsiteY386" fmla="*/ 142981 h 410520"/>
                <a:gd name="connsiteX387" fmla="*/ 535370 w 2663946"/>
                <a:gd name="connsiteY387" fmla="*/ 147037 h 410520"/>
                <a:gd name="connsiteX388" fmla="*/ 534387 w 2663946"/>
                <a:gd name="connsiteY388" fmla="*/ 154067 h 410520"/>
                <a:gd name="connsiteX389" fmla="*/ 535370 w 2663946"/>
                <a:gd name="connsiteY389" fmla="*/ 161367 h 410520"/>
                <a:gd name="connsiteX390" fmla="*/ 536599 w 2663946"/>
                <a:gd name="connsiteY390" fmla="*/ 165152 h 410520"/>
                <a:gd name="connsiteX391" fmla="*/ 538811 w 2663946"/>
                <a:gd name="connsiteY391" fmla="*/ 169478 h 410520"/>
                <a:gd name="connsiteX392" fmla="*/ 542253 w 2663946"/>
                <a:gd name="connsiteY392" fmla="*/ 173805 h 410520"/>
                <a:gd name="connsiteX393" fmla="*/ 546677 w 2663946"/>
                <a:gd name="connsiteY393" fmla="*/ 176508 h 410520"/>
                <a:gd name="connsiteX394" fmla="*/ 558967 w 2663946"/>
                <a:gd name="connsiteY394" fmla="*/ 174075 h 410520"/>
                <a:gd name="connsiteX395" fmla="*/ 562163 w 2663946"/>
                <a:gd name="connsiteY395" fmla="*/ 170560 h 410520"/>
                <a:gd name="connsiteX396" fmla="*/ 564621 w 2663946"/>
                <a:gd name="connsiteY396" fmla="*/ 166234 h 410520"/>
                <a:gd name="connsiteX397" fmla="*/ 565604 w 2663946"/>
                <a:gd name="connsiteY397" fmla="*/ 164071 h 410520"/>
                <a:gd name="connsiteX398" fmla="*/ 566833 w 2663946"/>
                <a:gd name="connsiteY398" fmla="*/ 159745 h 410520"/>
                <a:gd name="connsiteX399" fmla="*/ 566341 w 2663946"/>
                <a:gd name="connsiteY399" fmla="*/ 145955 h 410520"/>
                <a:gd name="connsiteX400" fmla="*/ 565358 w 2663946"/>
                <a:gd name="connsiteY400" fmla="*/ 142981 h 410520"/>
                <a:gd name="connsiteX401" fmla="*/ 564129 w 2663946"/>
                <a:gd name="connsiteY401" fmla="*/ 140007 h 410520"/>
                <a:gd name="connsiteX402" fmla="*/ 561917 w 2663946"/>
                <a:gd name="connsiteY402" fmla="*/ 136492 h 410520"/>
                <a:gd name="connsiteX403" fmla="*/ 558230 w 2663946"/>
                <a:gd name="connsiteY403" fmla="*/ 132707 h 410520"/>
                <a:gd name="connsiteX404" fmla="*/ 554297 w 2663946"/>
                <a:gd name="connsiteY404" fmla="*/ 130544 h 410520"/>
                <a:gd name="connsiteX405" fmla="*/ 372346 w 2663946"/>
                <a:gd name="connsiteY405" fmla="*/ 130544 h 410520"/>
                <a:gd name="connsiteX406" fmla="*/ 360793 w 2663946"/>
                <a:gd name="connsiteY406" fmla="*/ 132977 h 410520"/>
                <a:gd name="connsiteX407" fmla="*/ 357598 w 2663946"/>
                <a:gd name="connsiteY407" fmla="*/ 136492 h 410520"/>
                <a:gd name="connsiteX408" fmla="*/ 355385 w 2663946"/>
                <a:gd name="connsiteY408" fmla="*/ 140277 h 410520"/>
                <a:gd name="connsiteX409" fmla="*/ 354402 w 2663946"/>
                <a:gd name="connsiteY409" fmla="*/ 142981 h 410520"/>
                <a:gd name="connsiteX410" fmla="*/ 353419 w 2663946"/>
                <a:gd name="connsiteY410" fmla="*/ 147037 h 410520"/>
                <a:gd name="connsiteX411" fmla="*/ 352436 w 2663946"/>
                <a:gd name="connsiteY411" fmla="*/ 154067 h 410520"/>
                <a:gd name="connsiteX412" fmla="*/ 353419 w 2663946"/>
                <a:gd name="connsiteY412" fmla="*/ 161367 h 410520"/>
                <a:gd name="connsiteX413" fmla="*/ 354648 w 2663946"/>
                <a:gd name="connsiteY413" fmla="*/ 165152 h 410520"/>
                <a:gd name="connsiteX414" fmla="*/ 356860 w 2663946"/>
                <a:gd name="connsiteY414" fmla="*/ 169478 h 410520"/>
                <a:gd name="connsiteX415" fmla="*/ 360301 w 2663946"/>
                <a:gd name="connsiteY415" fmla="*/ 173805 h 410520"/>
                <a:gd name="connsiteX416" fmla="*/ 364726 w 2663946"/>
                <a:gd name="connsiteY416" fmla="*/ 176508 h 410520"/>
                <a:gd name="connsiteX417" fmla="*/ 377016 w 2663946"/>
                <a:gd name="connsiteY417" fmla="*/ 174075 h 410520"/>
                <a:gd name="connsiteX418" fmla="*/ 380212 w 2663946"/>
                <a:gd name="connsiteY418" fmla="*/ 170560 h 410520"/>
                <a:gd name="connsiteX419" fmla="*/ 382670 w 2663946"/>
                <a:gd name="connsiteY419" fmla="*/ 166234 h 410520"/>
                <a:gd name="connsiteX420" fmla="*/ 383653 w 2663946"/>
                <a:gd name="connsiteY420" fmla="*/ 164071 h 410520"/>
                <a:gd name="connsiteX421" fmla="*/ 384882 w 2663946"/>
                <a:gd name="connsiteY421" fmla="*/ 159745 h 410520"/>
                <a:gd name="connsiteX422" fmla="*/ 384390 w 2663946"/>
                <a:gd name="connsiteY422" fmla="*/ 145955 h 410520"/>
                <a:gd name="connsiteX423" fmla="*/ 383407 w 2663946"/>
                <a:gd name="connsiteY423" fmla="*/ 142981 h 410520"/>
                <a:gd name="connsiteX424" fmla="*/ 382178 w 2663946"/>
                <a:gd name="connsiteY424" fmla="*/ 140007 h 410520"/>
                <a:gd name="connsiteX425" fmla="*/ 379966 w 2663946"/>
                <a:gd name="connsiteY425" fmla="*/ 136492 h 410520"/>
                <a:gd name="connsiteX426" fmla="*/ 376279 w 2663946"/>
                <a:gd name="connsiteY426" fmla="*/ 132707 h 410520"/>
                <a:gd name="connsiteX427" fmla="*/ 372346 w 2663946"/>
                <a:gd name="connsiteY427" fmla="*/ 130544 h 410520"/>
                <a:gd name="connsiteX428" fmla="*/ 129300 w 2663946"/>
                <a:gd name="connsiteY428" fmla="*/ 130544 h 410520"/>
                <a:gd name="connsiteX429" fmla="*/ 117747 w 2663946"/>
                <a:gd name="connsiteY429" fmla="*/ 132977 h 410520"/>
                <a:gd name="connsiteX430" fmla="*/ 114552 w 2663946"/>
                <a:gd name="connsiteY430" fmla="*/ 136492 h 410520"/>
                <a:gd name="connsiteX431" fmla="*/ 112340 w 2663946"/>
                <a:gd name="connsiteY431" fmla="*/ 140277 h 410520"/>
                <a:gd name="connsiteX432" fmla="*/ 111356 w 2663946"/>
                <a:gd name="connsiteY432" fmla="*/ 142981 h 410520"/>
                <a:gd name="connsiteX433" fmla="*/ 110373 w 2663946"/>
                <a:gd name="connsiteY433" fmla="*/ 147037 h 410520"/>
                <a:gd name="connsiteX434" fmla="*/ 109390 w 2663946"/>
                <a:gd name="connsiteY434" fmla="*/ 154067 h 410520"/>
                <a:gd name="connsiteX435" fmla="*/ 110373 w 2663946"/>
                <a:gd name="connsiteY435" fmla="*/ 161367 h 410520"/>
                <a:gd name="connsiteX436" fmla="*/ 111602 w 2663946"/>
                <a:gd name="connsiteY436" fmla="*/ 165152 h 410520"/>
                <a:gd name="connsiteX437" fmla="*/ 113814 w 2663946"/>
                <a:gd name="connsiteY437" fmla="*/ 169478 h 410520"/>
                <a:gd name="connsiteX438" fmla="*/ 117256 w 2663946"/>
                <a:gd name="connsiteY438" fmla="*/ 173805 h 410520"/>
                <a:gd name="connsiteX439" fmla="*/ 121680 w 2663946"/>
                <a:gd name="connsiteY439" fmla="*/ 176508 h 410520"/>
                <a:gd name="connsiteX440" fmla="*/ 133970 w 2663946"/>
                <a:gd name="connsiteY440" fmla="*/ 174075 h 410520"/>
                <a:gd name="connsiteX441" fmla="*/ 137166 w 2663946"/>
                <a:gd name="connsiteY441" fmla="*/ 170560 h 410520"/>
                <a:gd name="connsiteX442" fmla="*/ 139624 w 2663946"/>
                <a:gd name="connsiteY442" fmla="*/ 166234 h 410520"/>
                <a:gd name="connsiteX443" fmla="*/ 140607 w 2663946"/>
                <a:gd name="connsiteY443" fmla="*/ 164071 h 410520"/>
                <a:gd name="connsiteX444" fmla="*/ 141836 w 2663946"/>
                <a:gd name="connsiteY444" fmla="*/ 159745 h 410520"/>
                <a:gd name="connsiteX445" fmla="*/ 141344 w 2663946"/>
                <a:gd name="connsiteY445" fmla="*/ 145955 h 410520"/>
                <a:gd name="connsiteX446" fmla="*/ 140361 w 2663946"/>
                <a:gd name="connsiteY446" fmla="*/ 142981 h 410520"/>
                <a:gd name="connsiteX447" fmla="*/ 139132 w 2663946"/>
                <a:gd name="connsiteY447" fmla="*/ 140007 h 410520"/>
                <a:gd name="connsiteX448" fmla="*/ 136920 w 2663946"/>
                <a:gd name="connsiteY448" fmla="*/ 136492 h 410520"/>
                <a:gd name="connsiteX449" fmla="*/ 133233 w 2663946"/>
                <a:gd name="connsiteY449" fmla="*/ 132707 h 410520"/>
                <a:gd name="connsiteX450" fmla="*/ 129300 w 2663946"/>
                <a:gd name="connsiteY450" fmla="*/ 130544 h 410520"/>
                <a:gd name="connsiteX451" fmla="*/ 33147 w 2663946"/>
                <a:gd name="connsiteY451" fmla="*/ 126608 h 410520"/>
                <a:gd name="connsiteX452" fmla="*/ 21486 w 2663946"/>
                <a:gd name="connsiteY452" fmla="*/ 134337 h 410520"/>
                <a:gd name="connsiteX453" fmla="*/ 20561 w 2663946"/>
                <a:gd name="connsiteY453" fmla="*/ 138920 h 410520"/>
                <a:gd name="connsiteX454" fmla="*/ 23801 w 2663946"/>
                <a:gd name="connsiteY454" fmla="*/ 138920 h 410520"/>
                <a:gd name="connsiteX455" fmla="*/ 42218 w 2663946"/>
                <a:gd name="connsiteY455" fmla="*/ 138920 h 410520"/>
                <a:gd name="connsiteX456" fmla="*/ 45732 w 2663946"/>
                <a:gd name="connsiteY456" fmla="*/ 138920 h 410520"/>
                <a:gd name="connsiteX457" fmla="*/ 44807 w 2663946"/>
                <a:gd name="connsiteY457" fmla="*/ 134337 h 410520"/>
                <a:gd name="connsiteX458" fmla="*/ 33147 w 2663946"/>
                <a:gd name="connsiteY458" fmla="*/ 126608 h 410520"/>
                <a:gd name="connsiteX459" fmla="*/ 2537931 w 2663946"/>
                <a:gd name="connsiteY459" fmla="*/ 119020 h 410520"/>
                <a:gd name="connsiteX460" fmla="*/ 2526271 w 2663946"/>
                <a:gd name="connsiteY460" fmla="*/ 126749 h 410520"/>
                <a:gd name="connsiteX461" fmla="*/ 2525346 w 2663946"/>
                <a:gd name="connsiteY461" fmla="*/ 131332 h 410520"/>
                <a:gd name="connsiteX462" fmla="*/ 2528586 w 2663946"/>
                <a:gd name="connsiteY462" fmla="*/ 131332 h 410520"/>
                <a:gd name="connsiteX463" fmla="*/ 2547003 w 2663946"/>
                <a:gd name="connsiteY463" fmla="*/ 131332 h 410520"/>
                <a:gd name="connsiteX464" fmla="*/ 2550517 w 2663946"/>
                <a:gd name="connsiteY464" fmla="*/ 131332 h 410520"/>
                <a:gd name="connsiteX465" fmla="*/ 2549592 w 2663946"/>
                <a:gd name="connsiteY465" fmla="*/ 126749 h 410520"/>
                <a:gd name="connsiteX466" fmla="*/ 2537931 w 2663946"/>
                <a:gd name="connsiteY466" fmla="*/ 119020 h 410520"/>
                <a:gd name="connsiteX467" fmla="*/ 2112934 w 2663946"/>
                <a:gd name="connsiteY467" fmla="*/ 119020 h 410520"/>
                <a:gd name="connsiteX468" fmla="*/ 2101274 w 2663946"/>
                <a:gd name="connsiteY468" fmla="*/ 126749 h 410520"/>
                <a:gd name="connsiteX469" fmla="*/ 2100349 w 2663946"/>
                <a:gd name="connsiteY469" fmla="*/ 131332 h 410520"/>
                <a:gd name="connsiteX470" fmla="*/ 2103589 w 2663946"/>
                <a:gd name="connsiteY470" fmla="*/ 131332 h 410520"/>
                <a:gd name="connsiteX471" fmla="*/ 2122006 w 2663946"/>
                <a:gd name="connsiteY471" fmla="*/ 131332 h 410520"/>
                <a:gd name="connsiteX472" fmla="*/ 2125520 w 2663946"/>
                <a:gd name="connsiteY472" fmla="*/ 131332 h 410520"/>
                <a:gd name="connsiteX473" fmla="*/ 2124595 w 2663946"/>
                <a:gd name="connsiteY473" fmla="*/ 126749 h 410520"/>
                <a:gd name="connsiteX474" fmla="*/ 2112934 w 2663946"/>
                <a:gd name="connsiteY474" fmla="*/ 119020 h 410520"/>
                <a:gd name="connsiteX475" fmla="*/ 1854966 w 2663946"/>
                <a:gd name="connsiteY475" fmla="*/ 119020 h 410520"/>
                <a:gd name="connsiteX476" fmla="*/ 1843306 w 2663946"/>
                <a:gd name="connsiteY476" fmla="*/ 126749 h 410520"/>
                <a:gd name="connsiteX477" fmla="*/ 1842381 w 2663946"/>
                <a:gd name="connsiteY477" fmla="*/ 131332 h 410520"/>
                <a:gd name="connsiteX478" fmla="*/ 1845621 w 2663946"/>
                <a:gd name="connsiteY478" fmla="*/ 131332 h 410520"/>
                <a:gd name="connsiteX479" fmla="*/ 1864038 w 2663946"/>
                <a:gd name="connsiteY479" fmla="*/ 131332 h 410520"/>
                <a:gd name="connsiteX480" fmla="*/ 1867552 w 2663946"/>
                <a:gd name="connsiteY480" fmla="*/ 131332 h 410520"/>
                <a:gd name="connsiteX481" fmla="*/ 1866627 w 2663946"/>
                <a:gd name="connsiteY481" fmla="*/ 126749 h 410520"/>
                <a:gd name="connsiteX482" fmla="*/ 1854966 w 2663946"/>
                <a:gd name="connsiteY482" fmla="*/ 119020 h 410520"/>
                <a:gd name="connsiteX483" fmla="*/ 1764027 w 2663946"/>
                <a:gd name="connsiteY483" fmla="*/ 119020 h 410520"/>
                <a:gd name="connsiteX484" fmla="*/ 1752367 w 2663946"/>
                <a:gd name="connsiteY484" fmla="*/ 126749 h 410520"/>
                <a:gd name="connsiteX485" fmla="*/ 1751442 w 2663946"/>
                <a:gd name="connsiteY485" fmla="*/ 131332 h 410520"/>
                <a:gd name="connsiteX486" fmla="*/ 1754682 w 2663946"/>
                <a:gd name="connsiteY486" fmla="*/ 131332 h 410520"/>
                <a:gd name="connsiteX487" fmla="*/ 1773099 w 2663946"/>
                <a:gd name="connsiteY487" fmla="*/ 131332 h 410520"/>
                <a:gd name="connsiteX488" fmla="*/ 1776613 w 2663946"/>
                <a:gd name="connsiteY488" fmla="*/ 131332 h 410520"/>
                <a:gd name="connsiteX489" fmla="*/ 1775687 w 2663946"/>
                <a:gd name="connsiteY489" fmla="*/ 126749 h 410520"/>
                <a:gd name="connsiteX490" fmla="*/ 1764027 w 2663946"/>
                <a:gd name="connsiteY490" fmla="*/ 119020 h 410520"/>
                <a:gd name="connsiteX491" fmla="*/ 1506059 w 2663946"/>
                <a:gd name="connsiteY491" fmla="*/ 119020 h 410520"/>
                <a:gd name="connsiteX492" fmla="*/ 1494399 w 2663946"/>
                <a:gd name="connsiteY492" fmla="*/ 126749 h 410520"/>
                <a:gd name="connsiteX493" fmla="*/ 1493474 w 2663946"/>
                <a:gd name="connsiteY493" fmla="*/ 131332 h 410520"/>
                <a:gd name="connsiteX494" fmla="*/ 1496714 w 2663946"/>
                <a:gd name="connsiteY494" fmla="*/ 131332 h 410520"/>
                <a:gd name="connsiteX495" fmla="*/ 1515131 w 2663946"/>
                <a:gd name="connsiteY495" fmla="*/ 131332 h 410520"/>
                <a:gd name="connsiteX496" fmla="*/ 1518645 w 2663946"/>
                <a:gd name="connsiteY496" fmla="*/ 131332 h 410520"/>
                <a:gd name="connsiteX497" fmla="*/ 1517719 w 2663946"/>
                <a:gd name="connsiteY497" fmla="*/ 126749 h 410520"/>
                <a:gd name="connsiteX498" fmla="*/ 1506059 w 2663946"/>
                <a:gd name="connsiteY498" fmla="*/ 119020 h 410520"/>
                <a:gd name="connsiteX499" fmla="*/ 1415120 w 2663946"/>
                <a:gd name="connsiteY499" fmla="*/ 119020 h 410520"/>
                <a:gd name="connsiteX500" fmla="*/ 1403460 w 2663946"/>
                <a:gd name="connsiteY500" fmla="*/ 126749 h 410520"/>
                <a:gd name="connsiteX501" fmla="*/ 1402535 w 2663946"/>
                <a:gd name="connsiteY501" fmla="*/ 131332 h 410520"/>
                <a:gd name="connsiteX502" fmla="*/ 1405775 w 2663946"/>
                <a:gd name="connsiteY502" fmla="*/ 131332 h 410520"/>
                <a:gd name="connsiteX503" fmla="*/ 1424192 w 2663946"/>
                <a:gd name="connsiteY503" fmla="*/ 131332 h 410520"/>
                <a:gd name="connsiteX504" fmla="*/ 1427706 w 2663946"/>
                <a:gd name="connsiteY504" fmla="*/ 131332 h 410520"/>
                <a:gd name="connsiteX505" fmla="*/ 1426780 w 2663946"/>
                <a:gd name="connsiteY505" fmla="*/ 126749 h 410520"/>
                <a:gd name="connsiteX506" fmla="*/ 1415120 w 2663946"/>
                <a:gd name="connsiteY506" fmla="*/ 119020 h 410520"/>
                <a:gd name="connsiteX507" fmla="*/ 1157152 w 2663946"/>
                <a:gd name="connsiteY507" fmla="*/ 119020 h 410520"/>
                <a:gd name="connsiteX508" fmla="*/ 1145492 w 2663946"/>
                <a:gd name="connsiteY508" fmla="*/ 126749 h 410520"/>
                <a:gd name="connsiteX509" fmla="*/ 1144567 w 2663946"/>
                <a:gd name="connsiteY509" fmla="*/ 131332 h 410520"/>
                <a:gd name="connsiteX510" fmla="*/ 1147807 w 2663946"/>
                <a:gd name="connsiteY510" fmla="*/ 131332 h 410520"/>
                <a:gd name="connsiteX511" fmla="*/ 1166224 w 2663946"/>
                <a:gd name="connsiteY511" fmla="*/ 131332 h 410520"/>
                <a:gd name="connsiteX512" fmla="*/ 1169738 w 2663946"/>
                <a:gd name="connsiteY512" fmla="*/ 131332 h 410520"/>
                <a:gd name="connsiteX513" fmla="*/ 1168812 w 2663946"/>
                <a:gd name="connsiteY513" fmla="*/ 126749 h 410520"/>
                <a:gd name="connsiteX514" fmla="*/ 1157152 w 2663946"/>
                <a:gd name="connsiteY514" fmla="*/ 119020 h 410520"/>
                <a:gd name="connsiteX515" fmla="*/ 732156 w 2663946"/>
                <a:gd name="connsiteY515" fmla="*/ 119020 h 410520"/>
                <a:gd name="connsiteX516" fmla="*/ 720495 w 2663946"/>
                <a:gd name="connsiteY516" fmla="*/ 126749 h 410520"/>
                <a:gd name="connsiteX517" fmla="*/ 719570 w 2663946"/>
                <a:gd name="connsiteY517" fmla="*/ 131332 h 410520"/>
                <a:gd name="connsiteX518" fmla="*/ 722810 w 2663946"/>
                <a:gd name="connsiteY518" fmla="*/ 131332 h 410520"/>
                <a:gd name="connsiteX519" fmla="*/ 741228 w 2663946"/>
                <a:gd name="connsiteY519" fmla="*/ 131332 h 410520"/>
                <a:gd name="connsiteX520" fmla="*/ 744742 w 2663946"/>
                <a:gd name="connsiteY520" fmla="*/ 131332 h 410520"/>
                <a:gd name="connsiteX521" fmla="*/ 743816 w 2663946"/>
                <a:gd name="connsiteY521" fmla="*/ 126749 h 410520"/>
                <a:gd name="connsiteX522" fmla="*/ 732156 w 2663946"/>
                <a:gd name="connsiteY522" fmla="*/ 119020 h 410520"/>
                <a:gd name="connsiteX523" fmla="*/ 641217 w 2663946"/>
                <a:gd name="connsiteY523" fmla="*/ 119020 h 410520"/>
                <a:gd name="connsiteX524" fmla="*/ 629556 w 2663946"/>
                <a:gd name="connsiteY524" fmla="*/ 126749 h 410520"/>
                <a:gd name="connsiteX525" fmla="*/ 628631 w 2663946"/>
                <a:gd name="connsiteY525" fmla="*/ 131332 h 410520"/>
                <a:gd name="connsiteX526" fmla="*/ 631871 w 2663946"/>
                <a:gd name="connsiteY526" fmla="*/ 131332 h 410520"/>
                <a:gd name="connsiteX527" fmla="*/ 650289 w 2663946"/>
                <a:gd name="connsiteY527" fmla="*/ 131332 h 410520"/>
                <a:gd name="connsiteX528" fmla="*/ 653802 w 2663946"/>
                <a:gd name="connsiteY528" fmla="*/ 131332 h 410520"/>
                <a:gd name="connsiteX529" fmla="*/ 652877 w 2663946"/>
                <a:gd name="connsiteY529" fmla="*/ 126749 h 410520"/>
                <a:gd name="connsiteX530" fmla="*/ 641217 w 2663946"/>
                <a:gd name="connsiteY530" fmla="*/ 119020 h 410520"/>
                <a:gd name="connsiteX531" fmla="*/ 459266 w 2663946"/>
                <a:gd name="connsiteY531" fmla="*/ 119020 h 410520"/>
                <a:gd name="connsiteX532" fmla="*/ 447605 w 2663946"/>
                <a:gd name="connsiteY532" fmla="*/ 126749 h 410520"/>
                <a:gd name="connsiteX533" fmla="*/ 446680 w 2663946"/>
                <a:gd name="connsiteY533" fmla="*/ 131332 h 410520"/>
                <a:gd name="connsiteX534" fmla="*/ 449920 w 2663946"/>
                <a:gd name="connsiteY534" fmla="*/ 131332 h 410520"/>
                <a:gd name="connsiteX535" fmla="*/ 468337 w 2663946"/>
                <a:gd name="connsiteY535" fmla="*/ 131332 h 410520"/>
                <a:gd name="connsiteX536" fmla="*/ 471851 w 2663946"/>
                <a:gd name="connsiteY536" fmla="*/ 131332 h 410520"/>
                <a:gd name="connsiteX537" fmla="*/ 470926 w 2663946"/>
                <a:gd name="connsiteY537" fmla="*/ 126749 h 410520"/>
                <a:gd name="connsiteX538" fmla="*/ 459266 w 2663946"/>
                <a:gd name="connsiteY538" fmla="*/ 119020 h 410520"/>
                <a:gd name="connsiteX539" fmla="*/ 2361413 w 2663946"/>
                <a:gd name="connsiteY539" fmla="*/ 114660 h 410520"/>
                <a:gd name="connsiteX540" fmla="*/ 2365469 w 2663946"/>
                <a:gd name="connsiteY540" fmla="*/ 114660 h 410520"/>
                <a:gd name="connsiteX541" fmla="*/ 2370065 w 2663946"/>
                <a:gd name="connsiteY541" fmla="*/ 117094 h 410520"/>
                <a:gd name="connsiteX542" fmla="*/ 2372229 w 2663946"/>
                <a:gd name="connsiteY542" fmla="*/ 123312 h 410520"/>
                <a:gd name="connsiteX543" fmla="*/ 2372229 w 2663946"/>
                <a:gd name="connsiteY543" fmla="*/ 123853 h 410520"/>
                <a:gd name="connsiteX544" fmla="*/ 2372229 w 2663946"/>
                <a:gd name="connsiteY544" fmla="*/ 176848 h 410520"/>
                <a:gd name="connsiteX545" fmla="*/ 2372769 w 2663946"/>
                <a:gd name="connsiteY545" fmla="*/ 177388 h 410520"/>
                <a:gd name="connsiteX546" fmla="*/ 2380069 w 2663946"/>
                <a:gd name="connsiteY546" fmla="*/ 177388 h 410520"/>
                <a:gd name="connsiteX547" fmla="*/ 2384125 w 2663946"/>
                <a:gd name="connsiteY547" fmla="*/ 178470 h 410520"/>
                <a:gd name="connsiteX548" fmla="*/ 2387910 w 2663946"/>
                <a:gd name="connsiteY548" fmla="*/ 185229 h 410520"/>
                <a:gd name="connsiteX549" fmla="*/ 2385207 w 2663946"/>
                <a:gd name="connsiteY549" fmla="*/ 190907 h 410520"/>
                <a:gd name="connsiteX550" fmla="*/ 2381151 w 2663946"/>
                <a:gd name="connsiteY550" fmla="*/ 192800 h 410520"/>
                <a:gd name="connsiteX551" fmla="*/ 2380881 w 2663946"/>
                <a:gd name="connsiteY551" fmla="*/ 192800 h 410520"/>
                <a:gd name="connsiteX552" fmla="*/ 2380610 w 2663946"/>
                <a:gd name="connsiteY552" fmla="*/ 192800 h 410520"/>
                <a:gd name="connsiteX553" fmla="*/ 2380069 w 2663946"/>
                <a:gd name="connsiteY553" fmla="*/ 192800 h 410520"/>
                <a:gd name="connsiteX554" fmla="*/ 2347894 w 2663946"/>
                <a:gd name="connsiteY554" fmla="*/ 192800 h 410520"/>
                <a:gd name="connsiteX555" fmla="*/ 2347354 w 2663946"/>
                <a:gd name="connsiteY555" fmla="*/ 192800 h 410520"/>
                <a:gd name="connsiteX556" fmla="*/ 2346542 w 2663946"/>
                <a:gd name="connsiteY556" fmla="*/ 192800 h 410520"/>
                <a:gd name="connsiteX557" fmla="*/ 2345731 w 2663946"/>
                <a:gd name="connsiteY557" fmla="*/ 192530 h 410520"/>
                <a:gd name="connsiteX558" fmla="*/ 2342216 w 2663946"/>
                <a:gd name="connsiteY558" fmla="*/ 190637 h 410520"/>
                <a:gd name="connsiteX559" fmla="*/ 2339783 w 2663946"/>
                <a:gd name="connsiteY559" fmla="*/ 184959 h 410520"/>
                <a:gd name="connsiteX560" fmla="*/ 2341946 w 2663946"/>
                <a:gd name="connsiteY560" fmla="*/ 179822 h 410520"/>
                <a:gd name="connsiteX561" fmla="*/ 2347624 w 2663946"/>
                <a:gd name="connsiteY561" fmla="*/ 177388 h 410520"/>
                <a:gd name="connsiteX562" fmla="*/ 2355465 w 2663946"/>
                <a:gd name="connsiteY562" fmla="*/ 177388 h 410520"/>
                <a:gd name="connsiteX563" fmla="*/ 2356006 w 2663946"/>
                <a:gd name="connsiteY563" fmla="*/ 176848 h 410520"/>
                <a:gd name="connsiteX564" fmla="*/ 2356006 w 2663946"/>
                <a:gd name="connsiteY564" fmla="*/ 130883 h 410520"/>
                <a:gd name="connsiteX565" fmla="*/ 2355465 w 2663946"/>
                <a:gd name="connsiteY565" fmla="*/ 130342 h 410520"/>
                <a:gd name="connsiteX566" fmla="*/ 2349517 w 2663946"/>
                <a:gd name="connsiteY566" fmla="*/ 130342 h 410520"/>
                <a:gd name="connsiteX567" fmla="*/ 2342216 w 2663946"/>
                <a:gd name="connsiteY567" fmla="*/ 125746 h 410520"/>
                <a:gd name="connsiteX568" fmla="*/ 2341946 w 2663946"/>
                <a:gd name="connsiteY568" fmla="*/ 120068 h 410520"/>
                <a:gd name="connsiteX569" fmla="*/ 2349246 w 2663946"/>
                <a:gd name="connsiteY569" fmla="*/ 114931 h 410520"/>
                <a:gd name="connsiteX570" fmla="*/ 2361413 w 2663946"/>
                <a:gd name="connsiteY570" fmla="*/ 114660 h 410520"/>
                <a:gd name="connsiteX571" fmla="*/ 2285396 w 2663946"/>
                <a:gd name="connsiteY571" fmla="*/ 114660 h 410520"/>
                <a:gd name="connsiteX572" fmla="*/ 2289452 w 2663946"/>
                <a:gd name="connsiteY572" fmla="*/ 114660 h 410520"/>
                <a:gd name="connsiteX573" fmla="*/ 2294048 w 2663946"/>
                <a:gd name="connsiteY573" fmla="*/ 117094 h 410520"/>
                <a:gd name="connsiteX574" fmla="*/ 2296212 w 2663946"/>
                <a:gd name="connsiteY574" fmla="*/ 123312 h 410520"/>
                <a:gd name="connsiteX575" fmla="*/ 2296212 w 2663946"/>
                <a:gd name="connsiteY575" fmla="*/ 123853 h 410520"/>
                <a:gd name="connsiteX576" fmla="*/ 2296212 w 2663946"/>
                <a:gd name="connsiteY576" fmla="*/ 176848 h 410520"/>
                <a:gd name="connsiteX577" fmla="*/ 2296752 w 2663946"/>
                <a:gd name="connsiteY577" fmla="*/ 177388 h 410520"/>
                <a:gd name="connsiteX578" fmla="*/ 2304052 w 2663946"/>
                <a:gd name="connsiteY578" fmla="*/ 177388 h 410520"/>
                <a:gd name="connsiteX579" fmla="*/ 2308108 w 2663946"/>
                <a:gd name="connsiteY579" fmla="*/ 178470 h 410520"/>
                <a:gd name="connsiteX580" fmla="*/ 2311893 w 2663946"/>
                <a:gd name="connsiteY580" fmla="*/ 185229 h 410520"/>
                <a:gd name="connsiteX581" fmla="*/ 2309190 w 2663946"/>
                <a:gd name="connsiteY581" fmla="*/ 190907 h 410520"/>
                <a:gd name="connsiteX582" fmla="*/ 2305134 w 2663946"/>
                <a:gd name="connsiteY582" fmla="*/ 192800 h 410520"/>
                <a:gd name="connsiteX583" fmla="*/ 2304864 w 2663946"/>
                <a:gd name="connsiteY583" fmla="*/ 192800 h 410520"/>
                <a:gd name="connsiteX584" fmla="*/ 2304593 w 2663946"/>
                <a:gd name="connsiteY584" fmla="*/ 192800 h 410520"/>
                <a:gd name="connsiteX585" fmla="*/ 2304052 w 2663946"/>
                <a:gd name="connsiteY585" fmla="*/ 192800 h 410520"/>
                <a:gd name="connsiteX586" fmla="*/ 2271877 w 2663946"/>
                <a:gd name="connsiteY586" fmla="*/ 192800 h 410520"/>
                <a:gd name="connsiteX587" fmla="*/ 2271337 w 2663946"/>
                <a:gd name="connsiteY587" fmla="*/ 192800 h 410520"/>
                <a:gd name="connsiteX588" fmla="*/ 2270525 w 2663946"/>
                <a:gd name="connsiteY588" fmla="*/ 192800 h 410520"/>
                <a:gd name="connsiteX589" fmla="*/ 2269714 w 2663946"/>
                <a:gd name="connsiteY589" fmla="*/ 192530 h 410520"/>
                <a:gd name="connsiteX590" fmla="*/ 2266199 w 2663946"/>
                <a:gd name="connsiteY590" fmla="*/ 190637 h 410520"/>
                <a:gd name="connsiteX591" fmla="*/ 2263766 w 2663946"/>
                <a:gd name="connsiteY591" fmla="*/ 184959 h 410520"/>
                <a:gd name="connsiteX592" fmla="*/ 2265929 w 2663946"/>
                <a:gd name="connsiteY592" fmla="*/ 179822 h 410520"/>
                <a:gd name="connsiteX593" fmla="*/ 2271607 w 2663946"/>
                <a:gd name="connsiteY593" fmla="*/ 177388 h 410520"/>
                <a:gd name="connsiteX594" fmla="*/ 2279448 w 2663946"/>
                <a:gd name="connsiteY594" fmla="*/ 177388 h 410520"/>
                <a:gd name="connsiteX595" fmla="*/ 2279989 w 2663946"/>
                <a:gd name="connsiteY595" fmla="*/ 176848 h 410520"/>
                <a:gd name="connsiteX596" fmla="*/ 2279989 w 2663946"/>
                <a:gd name="connsiteY596" fmla="*/ 130883 h 410520"/>
                <a:gd name="connsiteX597" fmla="*/ 2279448 w 2663946"/>
                <a:gd name="connsiteY597" fmla="*/ 130342 h 410520"/>
                <a:gd name="connsiteX598" fmla="*/ 2273500 w 2663946"/>
                <a:gd name="connsiteY598" fmla="*/ 130342 h 410520"/>
                <a:gd name="connsiteX599" fmla="*/ 2266199 w 2663946"/>
                <a:gd name="connsiteY599" fmla="*/ 125746 h 410520"/>
                <a:gd name="connsiteX600" fmla="*/ 2265929 w 2663946"/>
                <a:gd name="connsiteY600" fmla="*/ 120068 h 410520"/>
                <a:gd name="connsiteX601" fmla="*/ 2273229 w 2663946"/>
                <a:gd name="connsiteY601" fmla="*/ 114931 h 410520"/>
                <a:gd name="connsiteX602" fmla="*/ 2285396 w 2663946"/>
                <a:gd name="connsiteY602" fmla="*/ 114660 h 410520"/>
                <a:gd name="connsiteX603" fmla="*/ 1936416 w 2663946"/>
                <a:gd name="connsiteY603" fmla="*/ 114660 h 410520"/>
                <a:gd name="connsiteX604" fmla="*/ 1940472 w 2663946"/>
                <a:gd name="connsiteY604" fmla="*/ 114660 h 410520"/>
                <a:gd name="connsiteX605" fmla="*/ 1945068 w 2663946"/>
                <a:gd name="connsiteY605" fmla="*/ 117094 h 410520"/>
                <a:gd name="connsiteX606" fmla="*/ 1947232 w 2663946"/>
                <a:gd name="connsiteY606" fmla="*/ 123312 h 410520"/>
                <a:gd name="connsiteX607" fmla="*/ 1947232 w 2663946"/>
                <a:gd name="connsiteY607" fmla="*/ 123853 h 410520"/>
                <a:gd name="connsiteX608" fmla="*/ 1947232 w 2663946"/>
                <a:gd name="connsiteY608" fmla="*/ 176848 h 410520"/>
                <a:gd name="connsiteX609" fmla="*/ 1947772 w 2663946"/>
                <a:gd name="connsiteY609" fmla="*/ 177388 h 410520"/>
                <a:gd name="connsiteX610" fmla="*/ 1955072 w 2663946"/>
                <a:gd name="connsiteY610" fmla="*/ 177388 h 410520"/>
                <a:gd name="connsiteX611" fmla="*/ 1959128 w 2663946"/>
                <a:gd name="connsiteY611" fmla="*/ 178470 h 410520"/>
                <a:gd name="connsiteX612" fmla="*/ 1962913 w 2663946"/>
                <a:gd name="connsiteY612" fmla="*/ 185229 h 410520"/>
                <a:gd name="connsiteX613" fmla="*/ 1960210 w 2663946"/>
                <a:gd name="connsiteY613" fmla="*/ 190907 h 410520"/>
                <a:gd name="connsiteX614" fmla="*/ 1956154 w 2663946"/>
                <a:gd name="connsiteY614" fmla="*/ 192800 h 410520"/>
                <a:gd name="connsiteX615" fmla="*/ 1955884 w 2663946"/>
                <a:gd name="connsiteY615" fmla="*/ 192800 h 410520"/>
                <a:gd name="connsiteX616" fmla="*/ 1955613 w 2663946"/>
                <a:gd name="connsiteY616" fmla="*/ 192800 h 410520"/>
                <a:gd name="connsiteX617" fmla="*/ 1955072 w 2663946"/>
                <a:gd name="connsiteY617" fmla="*/ 192800 h 410520"/>
                <a:gd name="connsiteX618" fmla="*/ 1922897 w 2663946"/>
                <a:gd name="connsiteY618" fmla="*/ 192800 h 410520"/>
                <a:gd name="connsiteX619" fmla="*/ 1922357 w 2663946"/>
                <a:gd name="connsiteY619" fmla="*/ 192800 h 410520"/>
                <a:gd name="connsiteX620" fmla="*/ 1921545 w 2663946"/>
                <a:gd name="connsiteY620" fmla="*/ 192800 h 410520"/>
                <a:gd name="connsiteX621" fmla="*/ 1920734 w 2663946"/>
                <a:gd name="connsiteY621" fmla="*/ 192530 h 410520"/>
                <a:gd name="connsiteX622" fmla="*/ 1917219 w 2663946"/>
                <a:gd name="connsiteY622" fmla="*/ 190637 h 410520"/>
                <a:gd name="connsiteX623" fmla="*/ 1914786 w 2663946"/>
                <a:gd name="connsiteY623" fmla="*/ 184959 h 410520"/>
                <a:gd name="connsiteX624" fmla="*/ 1916949 w 2663946"/>
                <a:gd name="connsiteY624" fmla="*/ 179822 h 410520"/>
                <a:gd name="connsiteX625" fmla="*/ 1922627 w 2663946"/>
                <a:gd name="connsiteY625" fmla="*/ 177388 h 410520"/>
                <a:gd name="connsiteX626" fmla="*/ 1930468 w 2663946"/>
                <a:gd name="connsiteY626" fmla="*/ 177388 h 410520"/>
                <a:gd name="connsiteX627" fmla="*/ 1931009 w 2663946"/>
                <a:gd name="connsiteY627" fmla="*/ 176848 h 410520"/>
                <a:gd name="connsiteX628" fmla="*/ 1931009 w 2663946"/>
                <a:gd name="connsiteY628" fmla="*/ 130883 h 410520"/>
                <a:gd name="connsiteX629" fmla="*/ 1930468 w 2663946"/>
                <a:gd name="connsiteY629" fmla="*/ 130342 h 410520"/>
                <a:gd name="connsiteX630" fmla="*/ 1924520 w 2663946"/>
                <a:gd name="connsiteY630" fmla="*/ 130342 h 410520"/>
                <a:gd name="connsiteX631" fmla="*/ 1917219 w 2663946"/>
                <a:gd name="connsiteY631" fmla="*/ 125746 h 410520"/>
                <a:gd name="connsiteX632" fmla="*/ 1916949 w 2663946"/>
                <a:gd name="connsiteY632" fmla="*/ 120068 h 410520"/>
                <a:gd name="connsiteX633" fmla="*/ 1924249 w 2663946"/>
                <a:gd name="connsiteY633" fmla="*/ 114931 h 410520"/>
                <a:gd name="connsiteX634" fmla="*/ 1936416 w 2663946"/>
                <a:gd name="connsiteY634" fmla="*/ 114660 h 410520"/>
                <a:gd name="connsiteX635" fmla="*/ 1678521 w 2663946"/>
                <a:gd name="connsiteY635" fmla="*/ 114660 h 410520"/>
                <a:gd name="connsiteX636" fmla="*/ 1682577 w 2663946"/>
                <a:gd name="connsiteY636" fmla="*/ 114660 h 410520"/>
                <a:gd name="connsiteX637" fmla="*/ 1687173 w 2663946"/>
                <a:gd name="connsiteY637" fmla="*/ 117094 h 410520"/>
                <a:gd name="connsiteX638" fmla="*/ 1689336 w 2663946"/>
                <a:gd name="connsiteY638" fmla="*/ 123312 h 410520"/>
                <a:gd name="connsiteX639" fmla="*/ 1689336 w 2663946"/>
                <a:gd name="connsiteY639" fmla="*/ 123853 h 410520"/>
                <a:gd name="connsiteX640" fmla="*/ 1689336 w 2663946"/>
                <a:gd name="connsiteY640" fmla="*/ 176848 h 410520"/>
                <a:gd name="connsiteX641" fmla="*/ 1689877 w 2663946"/>
                <a:gd name="connsiteY641" fmla="*/ 177388 h 410520"/>
                <a:gd name="connsiteX642" fmla="*/ 1697177 w 2663946"/>
                <a:gd name="connsiteY642" fmla="*/ 177388 h 410520"/>
                <a:gd name="connsiteX643" fmla="*/ 1701233 w 2663946"/>
                <a:gd name="connsiteY643" fmla="*/ 178470 h 410520"/>
                <a:gd name="connsiteX644" fmla="*/ 1705018 w 2663946"/>
                <a:gd name="connsiteY644" fmla="*/ 185229 h 410520"/>
                <a:gd name="connsiteX645" fmla="*/ 1702315 w 2663946"/>
                <a:gd name="connsiteY645" fmla="*/ 190907 h 410520"/>
                <a:gd name="connsiteX646" fmla="*/ 1698259 w 2663946"/>
                <a:gd name="connsiteY646" fmla="*/ 192800 h 410520"/>
                <a:gd name="connsiteX647" fmla="*/ 1697989 w 2663946"/>
                <a:gd name="connsiteY647" fmla="*/ 192800 h 410520"/>
                <a:gd name="connsiteX648" fmla="*/ 1697718 w 2663946"/>
                <a:gd name="connsiteY648" fmla="*/ 192800 h 410520"/>
                <a:gd name="connsiteX649" fmla="*/ 1697177 w 2663946"/>
                <a:gd name="connsiteY649" fmla="*/ 192800 h 410520"/>
                <a:gd name="connsiteX650" fmla="*/ 1665002 w 2663946"/>
                <a:gd name="connsiteY650" fmla="*/ 192800 h 410520"/>
                <a:gd name="connsiteX651" fmla="*/ 1664462 w 2663946"/>
                <a:gd name="connsiteY651" fmla="*/ 192800 h 410520"/>
                <a:gd name="connsiteX652" fmla="*/ 1663650 w 2663946"/>
                <a:gd name="connsiteY652" fmla="*/ 192800 h 410520"/>
                <a:gd name="connsiteX653" fmla="*/ 1662839 w 2663946"/>
                <a:gd name="connsiteY653" fmla="*/ 192530 h 410520"/>
                <a:gd name="connsiteX654" fmla="*/ 1659324 w 2663946"/>
                <a:gd name="connsiteY654" fmla="*/ 190637 h 410520"/>
                <a:gd name="connsiteX655" fmla="*/ 1656891 w 2663946"/>
                <a:gd name="connsiteY655" fmla="*/ 184959 h 410520"/>
                <a:gd name="connsiteX656" fmla="*/ 1659054 w 2663946"/>
                <a:gd name="connsiteY656" fmla="*/ 179822 h 410520"/>
                <a:gd name="connsiteX657" fmla="*/ 1664732 w 2663946"/>
                <a:gd name="connsiteY657" fmla="*/ 177388 h 410520"/>
                <a:gd name="connsiteX658" fmla="*/ 1672573 w 2663946"/>
                <a:gd name="connsiteY658" fmla="*/ 177388 h 410520"/>
                <a:gd name="connsiteX659" fmla="*/ 1673114 w 2663946"/>
                <a:gd name="connsiteY659" fmla="*/ 176848 h 410520"/>
                <a:gd name="connsiteX660" fmla="*/ 1673114 w 2663946"/>
                <a:gd name="connsiteY660" fmla="*/ 130883 h 410520"/>
                <a:gd name="connsiteX661" fmla="*/ 1672573 w 2663946"/>
                <a:gd name="connsiteY661" fmla="*/ 130342 h 410520"/>
                <a:gd name="connsiteX662" fmla="*/ 1666625 w 2663946"/>
                <a:gd name="connsiteY662" fmla="*/ 130342 h 410520"/>
                <a:gd name="connsiteX663" fmla="*/ 1659324 w 2663946"/>
                <a:gd name="connsiteY663" fmla="*/ 125746 h 410520"/>
                <a:gd name="connsiteX664" fmla="*/ 1659054 w 2663946"/>
                <a:gd name="connsiteY664" fmla="*/ 120068 h 410520"/>
                <a:gd name="connsiteX665" fmla="*/ 1666354 w 2663946"/>
                <a:gd name="connsiteY665" fmla="*/ 114931 h 410520"/>
                <a:gd name="connsiteX666" fmla="*/ 1678521 w 2663946"/>
                <a:gd name="connsiteY666" fmla="*/ 114660 h 410520"/>
                <a:gd name="connsiteX667" fmla="*/ 1329614 w 2663946"/>
                <a:gd name="connsiteY667" fmla="*/ 114660 h 410520"/>
                <a:gd name="connsiteX668" fmla="*/ 1333670 w 2663946"/>
                <a:gd name="connsiteY668" fmla="*/ 114660 h 410520"/>
                <a:gd name="connsiteX669" fmla="*/ 1338266 w 2663946"/>
                <a:gd name="connsiteY669" fmla="*/ 117094 h 410520"/>
                <a:gd name="connsiteX670" fmla="*/ 1340429 w 2663946"/>
                <a:gd name="connsiteY670" fmla="*/ 123312 h 410520"/>
                <a:gd name="connsiteX671" fmla="*/ 1340429 w 2663946"/>
                <a:gd name="connsiteY671" fmla="*/ 123853 h 410520"/>
                <a:gd name="connsiteX672" fmla="*/ 1340429 w 2663946"/>
                <a:gd name="connsiteY672" fmla="*/ 176848 h 410520"/>
                <a:gd name="connsiteX673" fmla="*/ 1340970 w 2663946"/>
                <a:gd name="connsiteY673" fmla="*/ 177388 h 410520"/>
                <a:gd name="connsiteX674" fmla="*/ 1348270 w 2663946"/>
                <a:gd name="connsiteY674" fmla="*/ 177388 h 410520"/>
                <a:gd name="connsiteX675" fmla="*/ 1352326 w 2663946"/>
                <a:gd name="connsiteY675" fmla="*/ 178470 h 410520"/>
                <a:gd name="connsiteX676" fmla="*/ 1356111 w 2663946"/>
                <a:gd name="connsiteY676" fmla="*/ 185229 h 410520"/>
                <a:gd name="connsiteX677" fmla="*/ 1353408 w 2663946"/>
                <a:gd name="connsiteY677" fmla="*/ 190907 h 410520"/>
                <a:gd name="connsiteX678" fmla="*/ 1349352 w 2663946"/>
                <a:gd name="connsiteY678" fmla="*/ 192800 h 410520"/>
                <a:gd name="connsiteX679" fmla="*/ 1349082 w 2663946"/>
                <a:gd name="connsiteY679" fmla="*/ 192800 h 410520"/>
                <a:gd name="connsiteX680" fmla="*/ 1348811 w 2663946"/>
                <a:gd name="connsiteY680" fmla="*/ 192800 h 410520"/>
                <a:gd name="connsiteX681" fmla="*/ 1348270 w 2663946"/>
                <a:gd name="connsiteY681" fmla="*/ 192800 h 410520"/>
                <a:gd name="connsiteX682" fmla="*/ 1316095 w 2663946"/>
                <a:gd name="connsiteY682" fmla="*/ 192800 h 410520"/>
                <a:gd name="connsiteX683" fmla="*/ 1315555 w 2663946"/>
                <a:gd name="connsiteY683" fmla="*/ 192800 h 410520"/>
                <a:gd name="connsiteX684" fmla="*/ 1314743 w 2663946"/>
                <a:gd name="connsiteY684" fmla="*/ 192800 h 410520"/>
                <a:gd name="connsiteX685" fmla="*/ 1313932 w 2663946"/>
                <a:gd name="connsiteY685" fmla="*/ 192530 h 410520"/>
                <a:gd name="connsiteX686" fmla="*/ 1310417 w 2663946"/>
                <a:gd name="connsiteY686" fmla="*/ 190637 h 410520"/>
                <a:gd name="connsiteX687" fmla="*/ 1307984 w 2663946"/>
                <a:gd name="connsiteY687" fmla="*/ 184959 h 410520"/>
                <a:gd name="connsiteX688" fmla="*/ 1310147 w 2663946"/>
                <a:gd name="connsiteY688" fmla="*/ 179822 h 410520"/>
                <a:gd name="connsiteX689" fmla="*/ 1315825 w 2663946"/>
                <a:gd name="connsiteY689" fmla="*/ 177388 h 410520"/>
                <a:gd name="connsiteX690" fmla="*/ 1323666 w 2663946"/>
                <a:gd name="connsiteY690" fmla="*/ 177388 h 410520"/>
                <a:gd name="connsiteX691" fmla="*/ 1324207 w 2663946"/>
                <a:gd name="connsiteY691" fmla="*/ 176848 h 410520"/>
                <a:gd name="connsiteX692" fmla="*/ 1324207 w 2663946"/>
                <a:gd name="connsiteY692" fmla="*/ 130883 h 410520"/>
                <a:gd name="connsiteX693" fmla="*/ 1323666 w 2663946"/>
                <a:gd name="connsiteY693" fmla="*/ 130342 h 410520"/>
                <a:gd name="connsiteX694" fmla="*/ 1317718 w 2663946"/>
                <a:gd name="connsiteY694" fmla="*/ 130342 h 410520"/>
                <a:gd name="connsiteX695" fmla="*/ 1310417 w 2663946"/>
                <a:gd name="connsiteY695" fmla="*/ 125746 h 410520"/>
                <a:gd name="connsiteX696" fmla="*/ 1310147 w 2663946"/>
                <a:gd name="connsiteY696" fmla="*/ 120068 h 410520"/>
                <a:gd name="connsiteX697" fmla="*/ 1317447 w 2663946"/>
                <a:gd name="connsiteY697" fmla="*/ 114931 h 410520"/>
                <a:gd name="connsiteX698" fmla="*/ 1329614 w 2663946"/>
                <a:gd name="connsiteY698" fmla="*/ 114660 h 410520"/>
                <a:gd name="connsiteX699" fmla="*/ 980634 w 2663946"/>
                <a:gd name="connsiteY699" fmla="*/ 114660 h 410520"/>
                <a:gd name="connsiteX700" fmla="*/ 984690 w 2663946"/>
                <a:gd name="connsiteY700" fmla="*/ 114660 h 410520"/>
                <a:gd name="connsiteX701" fmla="*/ 989286 w 2663946"/>
                <a:gd name="connsiteY701" fmla="*/ 117094 h 410520"/>
                <a:gd name="connsiteX702" fmla="*/ 991449 w 2663946"/>
                <a:gd name="connsiteY702" fmla="*/ 123312 h 410520"/>
                <a:gd name="connsiteX703" fmla="*/ 991449 w 2663946"/>
                <a:gd name="connsiteY703" fmla="*/ 123853 h 410520"/>
                <a:gd name="connsiteX704" fmla="*/ 991449 w 2663946"/>
                <a:gd name="connsiteY704" fmla="*/ 176848 h 410520"/>
                <a:gd name="connsiteX705" fmla="*/ 991990 w 2663946"/>
                <a:gd name="connsiteY705" fmla="*/ 177388 h 410520"/>
                <a:gd name="connsiteX706" fmla="*/ 999290 w 2663946"/>
                <a:gd name="connsiteY706" fmla="*/ 177388 h 410520"/>
                <a:gd name="connsiteX707" fmla="*/ 1003346 w 2663946"/>
                <a:gd name="connsiteY707" fmla="*/ 178470 h 410520"/>
                <a:gd name="connsiteX708" fmla="*/ 1007131 w 2663946"/>
                <a:gd name="connsiteY708" fmla="*/ 185229 h 410520"/>
                <a:gd name="connsiteX709" fmla="*/ 1004428 w 2663946"/>
                <a:gd name="connsiteY709" fmla="*/ 190907 h 410520"/>
                <a:gd name="connsiteX710" fmla="*/ 1000372 w 2663946"/>
                <a:gd name="connsiteY710" fmla="*/ 192800 h 410520"/>
                <a:gd name="connsiteX711" fmla="*/ 1000102 w 2663946"/>
                <a:gd name="connsiteY711" fmla="*/ 192800 h 410520"/>
                <a:gd name="connsiteX712" fmla="*/ 999831 w 2663946"/>
                <a:gd name="connsiteY712" fmla="*/ 192800 h 410520"/>
                <a:gd name="connsiteX713" fmla="*/ 999290 w 2663946"/>
                <a:gd name="connsiteY713" fmla="*/ 192800 h 410520"/>
                <a:gd name="connsiteX714" fmla="*/ 967115 w 2663946"/>
                <a:gd name="connsiteY714" fmla="*/ 192800 h 410520"/>
                <a:gd name="connsiteX715" fmla="*/ 966575 w 2663946"/>
                <a:gd name="connsiteY715" fmla="*/ 192800 h 410520"/>
                <a:gd name="connsiteX716" fmla="*/ 965763 w 2663946"/>
                <a:gd name="connsiteY716" fmla="*/ 192800 h 410520"/>
                <a:gd name="connsiteX717" fmla="*/ 964952 w 2663946"/>
                <a:gd name="connsiteY717" fmla="*/ 192530 h 410520"/>
                <a:gd name="connsiteX718" fmla="*/ 961437 w 2663946"/>
                <a:gd name="connsiteY718" fmla="*/ 190637 h 410520"/>
                <a:gd name="connsiteX719" fmla="*/ 959004 w 2663946"/>
                <a:gd name="connsiteY719" fmla="*/ 184959 h 410520"/>
                <a:gd name="connsiteX720" fmla="*/ 961167 w 2663946"/>
                <a:gd name="connsiteY720" fmla="*/ 179822 h 410520"/>
                <a:gd name="connsiteX721" fmla="*/ 966845 w 2663946"/>
                <a:gd name="connsiteY721" fmla="*/ 177388 h 410520"/>
                <a:gd name="connsiteX722" fmla="*/ 974686 w 2663946"/>
                <a:gd name="connsiteY722" fmla="*/ 177388 h 410520"/>
                <a:gd name="connsiteX723" fmla="*/ 975227 w 2663946"/>
                <a:gd name="connsiteY723" fmla="*/ 176848 h 410520"/>
                <a:gd name="connsiteX724" fmla="*/ 975227 w 2663946"/>
                <a:gd name="connsiteY724" fmla="*/ 130883 h 410520"/>
                <a:gd name="connsiteX725" fmla="*/ 974686 w 2663946"/>
                <a:gd name="connsiteY725" fmla="*/ 130342 h 410520"/>
                <a:gd name="connsiteX726" fmla="*/ 968738 w 2663946"/>
                <a:gd name="connsiteY726" fmla="*/ 130342 h 410520"/>
                <a:gd name="connsiteX727" fmla="*/ 961437 w 2663946"/>
                <a:gd name="connsiteY727" fmla="*/ 125746 h 410520"/>
                <a:gd name="connsiteX728" fmla="*/ 961167 w 2663946"/>
                <a:gd name="connsiteY728" fmla="*/ 120068 h 410520"/>
                <a:gd name="connsiteX729" fmla="*/ 968467 w 2663946"/>
                <a:gd name="connsiteY729" fmla="*/ 114931 h 410520"/>
                <a:gd name="connsiteX730" fmla="*/ 980634 w 2663946"/>
                <a:gd name="connsiteY730" fmla="*/ 114660 h 410520"/>
                <a:gd name="connsiteX731" fmla="*/ 813605 w 2663946"/>
                <a:gd name="connsiteY731" fmla="*/ 114660 h 410520"/>
                <a:gd name="connsiteX732" fmla="*/ 817661 w 2663946"/>
                <a:gd name="connsiteY732" fmla="*/ 114660 h 410520"/>
                <a:gd name="connsiteX733" fmla="*/ 822257 w 2663946"/>
                <a:gd name="connsiteY733" fmla="*/ 117094 h 410520"/>
                <a:gd name="connsiteX734" fmla="*/ 824420 w 2663946"/>
                <a:gd name="connsiteY734" fmla="*/ 123312 h 410520"/>
                <a:gd name="connsiteX735" fmla="*/ 824420 w 2663946"/>
                <a:gd name="connsiteY735" fmla="*/ 123853 h 410520"/>
                <a:gd name="connsiteX736" fmla="*/ 824420 w 2663946"/>
                <a:gd name="connsiteY736" fmla="*/ 176848 h 410520"/>
                <a:gd name="connsiteX737" fmla="*/ 824961 w 2663946"/>
                <a:gd name="connsiteY737" fmla="*/ 177388 h 410520"/>
                <a:gd name="connsiteX738" fmla="*/ 832261 w 2663946"/>
                <a:gd name="connsiteY738" fmla="*/ 177388 h 410520"/>
                <a:gd name="connsiteX739" fmla="*/ 836317 w 2663946"/>
                <a:gd name="connsiteY739" fmla="*/ 178470 h 410520"/>
                <a:gd name="connsiteX740" fmla="*/ 840102 w 2663946"/>
                <a:gd name="connsiteY740" fmla="*/ 185229 h 410520"/>
                <a:gd name="connsiteX741" fmla="*/ 837399 w 2663946"/>
                <a:gd name="connsiteY741" fmla="*/ 190907 h 410520"/>
                <a:gd name="connsiteX742" fmla="*/ 833343 w 2663946"/>
                <a:gd name="connsiteY742" fmla="*/ 192800 h 410520"/>
                <a:gd name="connsiteX743" fmla="*/ 833073 w 2663946"/>
                <a:gd name="connsiteY743" fmla="*/ 192800 h 410520"/>
                <a:gd name="connsiteX744" fmla="*/ 832802 w 2663946"/>
                <a:gd name="connsiteY744" fmla="*/ 192800 h 410520"/>
                <a:gd name="connsiteX745" fmla="*/ 832261 w 2663946"/>
                <a:gd name="connsiteY745" fmla="*/ 192800 h 410520"/>
                <a:gd name="connsiteX746" fmla="*/ 800086 w 2663946"/>
                <a:gd name="connsiteY746" fmla="*/ 192800 h 410520"/>
                <a:gd name="connsiteX747" fmla="*/ 799546 w 2663946"/>
                <a:gd name="connsiteY747" fmla="*/ 192800 h 410520"/>
                <a:gd name="connsiteX748" fmla="*/ 798734 w 2663946"/>
                <a:gd name="connsiteY748" fmla="*/ 192800 h 410520"/>
                <a:gd name="connsiteX749" fmla="*/ 797923 w 2663946"/>
                <a:gd name="connsiteY749" fmla="*/ 192530 h 410520"/>
                <a:gd name="connsiteX750" fmla="*/ 794408 w 2663946"/>
                <a:gd name="connsiteY750" fmla="*/ 190637 h 410520"/>
                <a:gd name="connsiteX751" fmla="*/ 791975 w 2663946"/>
                <a:gd name="connsiteY751" fmla="*/ 184959 h 410520"/>
                <a:gd name="connsiteX752" fmla="*/ 794138 w 2663946"/>
                <a:gd name="connsiteY752" fmla="*/ 179822 h 410520"/>
                <a:gd name="connsiteX753" fmla="*/ 799816 w 2663946"/>
                <a:gd name="connsiteY753" fmla="*/ 177388 h 410520"/>
                <a:gd name="connsiteX754" fmla="*/ 807657 w 2663946"/>
                <a:gd name="connsiteY754" fmla="*/ 177388 h 410520"/>
                <a:gd name="connsiteX755" fmla="*/ 808198 w 2663946"/>
                <a:gd name="connsiteY755" fmla="*/ 176848 h 410520"/>
                <a:gd name="connsiteX756" fmla="*/ 808198 w 2663946"/>
                <a:gd name="connsiteY756" fmla="*/ 130883 h 410520"/>
                <a:gd name="connsiteX757" fmla="*/ 807657 w 2663946"/>
                <a:gd name="connsiteY757" fmla="*/ 130342 h 410520"/>
                <a:gd name="connsiteX758" fmla="*/ 801709 w 2663946"/>
                <a:gd name="connsiteY758" fmla="*/ 130342 h 410520"/>
                <a:gd name="connsiteX759" fmla="*/ 794408 w 2663946"/>
                <a:gd name="connsiteY759" fmla="*/ 125746 h 410520"/>
                <a:gd name="connsiteX760" fmla="*/ 794138 w 2663946"/>
                <a:gd name="connsiteY760" fmla="*/ 120068 h 410520"/>
                <a:gd name="connsiteX761" fmla="*/ 801438 w 2663946"/>
                <a:gd name="connsiteY761" fmla="*/ 114931 h 410520"/>
                <a:gd name="connsiteX762" fmla="*/ 813605 w 2663946"/>
                <a:gd name="connsiteY762" fmla="*/ 114660 h 410520"/>
                <a:gd name="connsiteX763" fmla="*/ 282748 w 2663946"/>
                <a:gd name="connsiteY763" fmla="*/ 114660 h 410520"/>
                <a:gd name="connsiteX764" fmla="*/ 286803 w 2663946"/>
                <a:gd name="connsiteY764" fmla="*/ 114660 h 410520"/>
                <a:gd name="connsiteX765" fmla="*/ 291400 w 2663946"/>
                <a:gd name="connsiteY765" fmla="*/ 117094 h 410520"/>
                <a:gd name="connsiteX766" fmla="*/ 293563 w 2663946"/>
                <a:gd name="connsiteY766" fmla="*/ 123312 h 410520"/>
                <a:gd name="connsiteX767" fmla="*/ 293563 w 2663946"/>
                <a:gd name="connsiteY767" fmla="*/ 123853 h 410520"/>
                <a:gd name="connsiteX768" fmla="*/ 293563 w 2663946"/>
                <a:gd name="connsiteY768" fmla="*/ 176848 h 410520"/>
                <a:gd name="connsiteX769" fmla="*/ 294104 w 2663946"/>
                <a:gd name="connsiteY769" fmla="*/ 177388 h 410520"/>
                <a:gd name="connsiteX770" fmla="*/ 301404 w 2663946"/>
                <a:gd name="connsiteY770" fmla="*/ 177388 h 410520"/>
                <a:gd name="connsiteX771" fmla="*/ 305460 w 2663946"/>
                <a:gd name="connsiteY771" fmla="*/ 178470 h 410520"/>
                <a:gd name="connsiteX772" fmla="*/ 309245 w 2663946"/>
                <a:gd name="connsiteY772" fmla="*/ 185229 h 410520"/>
                <a:gd name="connsiteX773" fmla="*/ 306541 w 2663946"/>
                <a:gd name="connsiteY773" fmla="*/ 190907 h 410520"/>
                <a:gd name="connsiteX774" fmla="*/ 302485 w 2663946"/>
                <a:gd name="connsiteY774" fmla="*/ 192800 h 410520"/>
                <a:gd name="connsiteX775" fmla="*/ 302215 w 2663946"/>
                <a:gd name="connsiteY775" fmla="*/ 192800 h 410520"/>
                <a:gd name="connsiteX776" fmla="*/ 301945 w 2663946"/>
                <a:gd name="connsiteY776" fmla="*/ 192800 h 410520"/>
                <a:gd name="connsiteX777" fmla="*/ 301404 w 2663946"/>
                <a:gd name="connsiteY777" fmla="*/ 192800 h 410520"/>
                <a:gd name="connsiteX778" fmla="*/ 269229 w 2663946"/>
                <a:gd name="connsiteY778" fmla="*/ 192800 h 410520"/>
                <a:gd name="connsiteX779" fmla="*/ 268688 w 2663946"/>
                <a:gd name="connsiteY779" fmla="*/ 192800 h 410520"/>
                <a:gd name="connsiteX780" fmla="*/ 267877 w 2663946"/>
                <a:gd name="connsiteY780" fmla="*/ 192800 h 410520"/>
                <a:gd name="connsiteX781" fmla="*/ 267066 w 2663946"/>
                <a:gd name="connsiteY781" fmla="*/ 192530 h 410520"/>
                <a:gd name="connsiteX782" fmla="*/ 263551 w 2663946"/>
                <a:gd name="connsiteY782" fmla="*/ 190637 h 410520"/>
                <a:gd name="connsiteX783" fmla="*/ 261117 w 2663946"/>
                <a:gd name="connsiteY783" fmla="*/ 184959 h 410520"/>
                <a:gd name="connsiteX784" fmla="*/ 263281 w 2663946"/>
                <a:gd name="connsiteY784" fmla="*/ 179822 h 410520"/>
                <a:gd name="connsiteX785" fmla="*/ 268958 w 2663946"/>
                <a:gd name="connsiteY785" fmla="*/ 177388 h 410520"/>
                <a:gd name="connsiteX786" fmla="*/ 276800 w 2663946"/>
                <a:gd name="connsiteY786" fmla="*/ 177388 h 410520"/>
                <a:gd name="connsiteX787" fmla="*/ 277340 w 2663946"/>
                <a:gd name="connsiteY787" fmla="*/ 176848 h 410520"/>
                <a:gd name="connsiteX788" fmla="*/ 277340 w 2663946"/>
                <a:gd name="connsiteY788" fmla="*/ 130883 h 410520"/>
                <a:gd name="connsiteX789" fmla="*/ 276800 w 2663946"/>
                <a:gd name="connsiteY789" fmla="*/ 130342 h 410520"/>
                <a:gd name="connsiteX790" fmla="*/ 270851 w 2663946"/>
                <a:gd name="connsiteY790" fmla="*/ 130342 h 410520"/>
                <a:gd name="connsiteX791" fmla="*/ 263551 w 2663946"/>
                <a:gd name="connsiteY791" fmla="*/ 125746 h 410520"/>
                <a:gd name="connsiteX792" fmla="*/ 263281 w 2663946"/>
                <a:gd name="connsiteY792" fmla="*/ 120068 h 410520"/>
                <a:gd name="connsiteX793" fmla="*/ 270581 w 2663946"/>
                <a:gd name="connsiteY793" fmla="*/ 114931 h 410520"/>
                <a:gd name="connsiteX794" fmla="*/ 282748 w 2663946"/>
                <a:gd name="connsiteY794" fmla="*/ 114660 h 410520"/>
                <a:gd name="connsiteX795" fmla="*/ 206731 w 2663946"/>
                <a:gd name="connsiteY795" fmla="*/ 114660 h 410520"/>
                <a:gd name="connsiteX796" fmla="*/ 210787 w 2663946"/>
                <a:gd name="connsiteY796" fmla="*/ 114660 h 410520"/>
                <a:gd name="connsiteX797" fmla="*/ 215383 w 2663946"/>
                <a:gd name="connsiteY797" fmla="*/ 117094 h 410520"/>
                <a:gd name="connsiteX798" fmla="*/ 217546 w 2663946"/>
                <a:gd name="connsiteY798" fmla="*/ 123312 h 410520"/>
                <a:gd name="connsiteX799" fmla="*/ 217546 w 2663946"/>
                <a:gd name="connsiteY799" fmla="*/ 123853 h 410520"/>
                <a:gd name="connsiteX800" fmla="*/ 217546 w 2663946"/>
                <a:gd name="connsiteY800" fmla="*/ 176848 h 410520"/>
                <a:gd name="connsiteX801" fmla="*/ 218087 w 2663946"/>
                <a:gd name="connsiteY801" fmla="*/ 177388 h 410520"/>
                <a:gd name="connsiteX802" fmla="*/ 225387 w 2663946"/>
                <a:gd name="connsiteY802" fmla="*/ 177388 h 410520"/>
                <a:gd name="connsiteX803" fmla="*/ 229443 w 2663946"/>
                <a:gd name="connsiteY803" fmla="*/ 178470 h 410520"/>
                <a:gd name="connsiteX804" fmla="*/ 233228 w 2663946"/>
                <a:gd name="connsiteY804" fmla="*/ 185229 h 410520"/>
                <a:gd name="connsiteX805" fmla="*/ 230524 w 2663946"/>
                <a:gd name="connsiteY805" fmla="*/ 190907 h 410520"/>
                <a:gd name="connsiteX806" fmla="*/ 226468 w 2663946"/>
                <a:gd name="connsiteY806" fmla="*/ 192800 h 410520"/>
                <a:gd name="connsiteX807" fmla="*/ 226198 w 2663946"/>
                <a:gd name="connsiteY807" fmla="*/ 192800 h 410520"/>
                <a:gd name="connsiteX808" fmla="*/ 225928 w 2663946"/>
                <a:gd name="connsiteY808" fmla="*/ 192800 h 410520"/>
                <a:gd name="connsiteX809" fmla="*/ 225387 w 2663946"/>
                <a:gd name="connsiteY809" fmla="*/ 192800 h 410520"/>
                <a:gd name="connsiteX810" fmla="*/ 193212 w 2663946"/>
                <a:gd name="connsiteY810" fmla="*/ 192800 h 410520"/>
                <a:gd name="connsiteX811" fmla="*/ 192671 w 2663946"/>
                <a:gd name="connsiteY811" fmla="*/ 192800 h 410520"/>
                <a:gd name="connsiteX812" fmla="*/ 191860 w 2663946"/>
                <a:gd name="connsiteY812" fmla="*/ 192800 h 410520"/>
                <a:gd name="connsiteX813" fmla="*/ 191049 w 2663946"/>
                <a:gd name="connsiteY813" fmla="*/ 192530 h 410520"/>
                <a:gd name="connsiteX814" fmla="*/ 187534 w 2663946"/>
                <a:gd name="connsiteY814" fmla="*/ 190637 h 410520"/>
                <a:gd name="connsiteX815" fmla="*/ 185101 w 2663946"/>
                <a:gd name="connsiteY815" fmla="*/ 184959 h 410520"/>
                <a:gd name="connsiteX816" fmla="*/ 187264 w 2663946"/>
                <a:gd name="connsiteY816" fmla="*/ 179822 h 410520"/>
                <a:gd name="connsiteX817" fmla="*/ 192942 w 2663946"/>
                <a:gd name="connsiteY817" fmla="*/ 177388 h 410520"/>
                <a:gd name="connsiteX818" fmla="*/ 200783 w 2663946"/>
                <a:gd name="connsiteY818" fmla="*/ 177388 h 410520"/>
                <a:gd name="connsiteX819" fmla="*/ 201323 w 2663946"/>
                <a:gd name="connsiteY819" fmla="*/ 176848 h 410520"/>
                <a:gd name="connsiteX820" fmla="*/ 201323 w 2663946"/>
                <a:gd name="connsiteY820" fmla="*/ 130883 h 410520"/>
                <a:gd name="connsiteX821" fmla="*/ 200783 w 2663946"/>
                <a:gd name="connsiteY821" fmla="*/ 130342 h 410520"/>
                <a:gd name="connsiteX822" fmla="*/ 194834 w 2663946"/>
                <a:gd name="connsiteY822" fmla="*/ 130342 h 410520"/>
                <a:gd name="connsiteX823" fmla="*/ 187534 w 2663946"/>
                <a:gd name="connsiteY823" fmla="*/ 125746 h 410520"/>
                <a:gd name="connsiteX824" fmla="*/ 187264 w 2663946"/>
                <a:gd name="connsiteY824" fmla="*/ 120068 h 410520"/>
                <a:gd name="connsiteX825" fmla="*/ 194564 w 2663946"/>
                <a:gd name="connsiteY825" fmla="*/ 114931 h 410520"/>
                <a:gd name="connsiteX826" fmla="*/ 206731 w 2663946"/>
                <a:gd name="connsiteY826" fmla="*/ 114660 h 410520"/>
                <a:gd name="connsiteX827" fmla="*/ 2627559 w 2663946"/>
                <a:gd name="connsiteY827" fmla="*/ 114591 h 410520"/>
                <a:gd name="connsiteX828" fmla="*/ 2639849 w 2663946"/>
                <a:gd name="connsiteY828" fmla="*/ 116754 h 410520"/>
                <a:gd name="connsiteX829" fmla="*/ 2647223 w 2663946"/>
                <a:gd name="connsiteY829" fmla="*/ 121351 h 410520"/>
                <a:gd name="connsiteX830" fmla="*/ 2650664 w 2663946"/>
                <a:gd name="connsiteY830" fmla="*/ 124595 h 410520"/>
                <a:gd name="connsiteX831" fmla="*/ 2654106 w 2663946"/>
                <a:gd name="connsiteY831" fmla="*/ 128921 h 410520"/>
                <a:gd name="connsiteX832" fmla="*/ 2656072 w 2663946"/>
                <a:gd name="connsiteY832" fmla="*/ 132436 h 410520"/>
                <a:gd name="connsiteX833" fmla="*/ 2658284 w 2663946"/>
                <a:gd name="connsiteY833" fmla="*/ 137844 h 410520"/>
                <a:gd name="connsiteX834" fmla="*/ 2659267 w 2663946"/>
                <a:gd name="connsiteY834" fmla="*/ 141359 h 410520"/>
                <a:gd name="connsiteX835" fmla="*/ 2660251 w 2663946"/>
                <a:gd name="connsiteY835" fmla="*/ 146496 h 410520"/>
                <a:gd name="connsiteX836" fmla="*/ 2660005 w 2663946"/>
                <a:gd name="connsiteY836" fmla="*/ 160826 h 410520"/>
                <a:gd name="connsiteX837" fmla="*/ 2659022 w 2663946"/>
                <a:gd name="connsiteY837" fmla="*/ 165693 h 410520"/>
                <a:gd name="connsiteX838" fmla="*/ 2657792 w 2663946"/>
                <a:gd name="connsiteY838" fmla="*/ 169478 h 410520"/>
                <a:gd name="connsiteX839" fmla="*/ 2656809 w 2663946"/>
                <a:gd name="connsiteY839" fmla="*/ 171912 h 410520"/>
                <a:gd name="connsiteX840" fmla="*/ 2654597 w 2663946"/>
                <a:gd name="connsiteY840" fmla="*/ 176238 h 410520"/>
                <a:gd name="connsiteX841" fmla="*/ 2652385 w 2663946"/>
                <a:gd name="connsiteY841" fmla="*/ 179482 h 410520"/>
                <a:gd name="connsiteX842" fmla="*/ 2648944 w 2663946"/>
                <a:gd name="connsiteY842" fmla="*/ 183268 h 410520"/>
                <a:gd name="connsiteX843" fmla="*/ 2645748 w 2663946"/>
                <a:gd name="connsiteY843" fmla="*/ 185971 h 410520"/>
                <a:gd name="connsiteX844" fmla="*/ 2640095 w 2663946"/>
                <a:gd name="connsiteY844" fmla="*/ 189216 h 410520"/>
                <a:gd name="connsiteX845" fmla="*/ 2632229 w 2663946"/>
                <a:gd name="connsiteY845" fmla="*/ 191379 h 410520"/>
                <a:gd name="connsiteX846" fmla="*/ 2631000 w 2663946"/>
                <a:gd name="connsiteY846" fmla="*/ 191650 h 410520"/>
                <a:gd name="connsiteX847" fmla="*/ 2626821 w 2663946"/>
                <a:gd name="connsiteY847" fmla="*/ 191650 h 410520"/>
                <a:gd name="connsiteX848" fmla="*/ 2626576 w 2663946"/>
                <a:gd name="connsiteY848" fmla="*/ 191650 h 410520"/>
                <a:gd name="connsiteX849" fmla="*/ 2613548 w 2663946"/>
                <a:gd name="connsiteY849" fmla="*/ 186783 h 410520"/>
                <a:gd name="connsiteX850" fmla="*/ 2608878 w 2663946"/>
                <a:gd name="connsiteY850" fmla="*/ 182727 h 410520"/>
                <a:gd name="connsiteX851" fmla="*/ 2605682 w 2663946"/>
                <a:gd name="connsiteY851" fmla="*/ 178942 h 410520"/>
                <a:gd name="connsiteX852" fmla="*/ 2603470 w 2663946"/>
                <a:gd name="connsiteY852" fmla="*/ 175427 h 410520"/>
                <a:gd name="connsiteX853" fmla="*/ 2601258 w 2663946"/>
                <a:gd name="connsiteY853" fmla="*/ 171101 h 410520"/>
                <a:gd name="connsiteX854" fmla="*/ 2600029 w 2663946"/>
                <a:gd name="connsiteY854" fmla="*/ 168126 h 410520"/>
                <a:gd name="connsiteX855" fmla="*/ 2599046 w 2663946"/>
                <a:gd name="connsiteY855" fmla="*/ 164882 h 410520"/>
                <a:gd name="connsiteX856" fmla="*/ 2597816 w 2663946"/>
                <a:gd name="connsiteY856" fmla="*/ 159204 h 410520"/>
                <a:gd name="connsiteX857" fmla="*/ 2597571 w 2663946"/>
                <a:gd name="connsiteY857" fmla="*/ 156230 h 410520"/>
                <a:gd name="connsiteX858" fmla="*/ 2597816 w 2663946"/>
                <a:gd name="connsiteY858" fmla="*/ 156500 h 410520"/>
                <a:gd name="connsiteX859" fmla="*/ 2597816 w 2663946"/>
                <a:gd name="connsiteY859" fmla="*/ 150822 h 410520"/>
                <a:gd name="connsiteX860" fmla="*/ 2597816 w 2663946"/>
                <a:gd name="connsiteY860" fmla="*/ 150552 h 410520"/>
                <a:gd name="connsiteX861" fmla="*/ 2598308 w 2663946"/>
                <a:gd name="connsiteY861" fmla="*/ 145955 h 410520"/>
                <a:gd name="connsiteX862" fmla="*/ 2599537 w 2663946"/>
                <a:gd name="connsiteY862" fmla="*/ 140548 h 410520"/>
                <a:gd name="connsiteX863" fmla="*/ 2600520 w 2663946"/>
                <a:gd name="connsiteY863" fmla="*/ 137303 h 410520"/>
                <a:gd name="connsiteX864" fmla="*/ 2602732 w 2663946"/>
                <a:gd name="connsiteY864" fmla="*/ 132166 h 410520"/>
                <a:gd name="connsiteX865" fmla="*/ 2604945 w 2663946"/>
                <a:gd name="connsiteY865" fmla="*/ 128381 h 410520"/>
                <a:gd name="connsiteX866" fmla="*/ 2607157 w 2663946"/>
                <a:gd name="connsiteY866" fmla="*/ 125406 h 410520"/>
                <a:gd name="connsiteX867" fmla="*/ 2609369 w 2663946"/>
                <a:gd name="connsiteY867" fmla="*/ 122973 h 410520"/>
                <a:gd name="connsiteX868" fmla="*/ 2614039 w 2663946"/>
                <a:gd name="connsiteY868" fmla="*/ 119188 h 410520"/>
                <a:gd name="connsiteX869" fmla="*/ 2617972 w 2663946"/>
                <a:gd name="connsiteY869" fmla="*/ 117025 h 410520"/>
                <a:gd name="connsiteX870" fmla="*/ 2627559 w 2663946"/>
                <a:gd name="connsiteY870" fmla="*/ 114591 h 410520"/>
                <a:gd name="connsiteX871" fmla="*/ 2445604 w 2663946"/>
                <a:gd name="connsiteY871" fmla="*/ 114591 h 410520"/>
                <a:gd name="connsiteX872" fmla="*/ 2457894 w 2663946"/>
                <a:gd name="connsiteY872" fmla="*/ 116754 h 410520"/>
                <a:gd name="connsiteX873" fmla="*/ 2465268 w 2663946"/>
                <a:gd name="connsiteY873" fmla="*/ 121351 h 410520"/>
                <a:gd name="connsiteX874" fmla="*/ 2468709 w 2663946"/>
                <a:gd name="connsiteY874" fmla="*/ 124595 h 410520"/>
                <a:gd name="connsiteX875" fmla="*/ 2472151 w 2663946"/>
                <a:gd name="connsiteY875" fmla="*/ 128921 h 410520"/>
                <a:gd name="connsiteX876" fmla="*/ 2474117 w 2663946"/>
                <a:gd name="connsiteY876" fmla="*/ 132436 h 410520"/>
                <a:gd name="connsiteX877" fmla="*/ 2476329 w 2663946"/>
                <a:gd name="connsiteY877" fmla="*/ 137844 h 410520"/>
                <a:gd name="connsiteX878" fmla="*/ 2477312 w 2663946"/>
                <a:gd name="connsiteY878" fmla="*/ 141359 h 410520"/>
                <a:gd name="connsiteX879" fmla="*/ 2478296 w 2663946"/>
                <a:gd name="connsiteY879" fmla="*/ 146496 h 410520"/>
                <a:gd name="connsiteX880" fmla="*/ 2478050 w 2663946"/>
                <a:gd name="connsiteY880" fmla="*/ 160826 h 410520"/>
                <a:gd name="connsiteX881" fmla="*/ 2477067 w 2663946"/>
                <a:gd name="connsiteY881" fmla="*/ 165693 h 410520"/>
                <a:gd name="connsiteX882" fmla="*/ 2475837 w 2663946"/>
                <a:gd name="connsiteY882" fmla="*/ 169478 h 410520"/>
                <a:gd name="connsiteX883" fmla="*/ 2474854 w 2663946"/>
                <a:gd name="connsiteY883" fmla="*/ 171912 h 410520"/>
                <a:gd name="connsiteX884" fmla="*/ 2472642 w 2663946"/>
                <a:gd name="connsiteY884" fmla="*/ 176238 h 410520"/>
                <a:gd name="connsiteX885" fmla="*/ 2470430 w 2663946"/>
                <a:gd name="connsiteY885" fmla="*/ 179482 h 410520"/>
                <a:gd name="connsiteX886" fmla="*/ 2466989 w 2663946"/>
                <a:gd name="connsiteY886" fmla="*/ 183268 h 410520"/>
                <a:gd name="connsiteX887" fmla="*/ 2463793 w 2663946"/>
                <a:gd name="connsiteY887" fmla="*/ 185971 h 410520"/>
                <a:gd name="connsiteX888" fmla="*/ 2458140 w 2663946"/>
                <a:gd name="connsiteY888" fmla="*/ 189216 h 410520"/>
                <a:gd name="connsiteX889" fmla="*/ 2450274 w 2663946"/>
                <a:gd name="connsiteY889" fmla="*/ 191379 h 410520"/>
                <a:gd name="connsiteX890" fmla="*/ 2449045 w 2663946"/>
                <a:gd name="connsiteY890" fmla="*/ 191650 h 410520"/>
                <a:gd name="connsiteX891" fmla="*/ 2444866 w 2663946"/>
                <a:gd name="connsiteY891" fmla="*/ 191650 h 410520"/>
                <a:gd name="connsiteX892" fmla="*/ 2444621 w 2663946"/>
                <a:gd name="connsiteY892" fmla="*/ 191650 h 410520"/>
                <a:gd name="connsiteX893" fmla="*/ 2431593 w 2663946"/>
                <a:gd name="connsiteY893" fmla="*/ 186783 h 410520"/>
                <a:gd name="connsiteX894" fmla="*/ 2426923 w 2663946"/>
                <a:gd name="connsiteY894" fmla="*/ 182727 h 410520"/>
                <a:gd name="connsiteX895" fmla="*/ 2423727 w 2663946"/>
                <a:gd name="connsiteY895" fmla="*/ 178942 h 410520"/>
                <a:gd name="connsiteX896" fmla="*/ 2421515 w 2663946"/>
                <a:gd name="connsiteY896" fmla="*/ 175427 h 410520"/>
                <a:gd name="connsiteX897" fmla="*/ 2419303 w 2663946"/>
                <a:gd name="connsiteY897" fmla="*/ 171101 h 410520"/>
                <a:gd name="connsiteX898" fmla="*/ 2418074 w 2663946"/>
                <a:gd name="connsiteY898" fmla="*/ 168126 h 410520"/>
                <a:gd name="connsiteX899" fmla="*/ 2417091 w 2663946"/>
                <a:gd name="connsiteY899" fmla="*/ 164882 h 410520"/>
                <a:gd name="connsiteX900" fmla="*/ 2415861 w 2663946"/>
                <a:gd name="connsiteY900" fmla="*/ 159204 h 410520"/>
                <a:gd name="connsiteX901" fmla="*/ 2415616 w 2663946"/>
                <a:gd name="connsiteY901" fmla="*/ 156230 h 410520"/>
                <a:gd name="connsiteX902" fmla="*/ 2415861 w 2663946"/>
                <a:gd name="connsiteY902" fmla="*/ 156500 h 410520"/>
                <a:gd name="connsiteX903" fmla="*/ 2415861 w 2663946"/>
                <a:gd name="connsiteY903" fmla="*/ 150822 h 410520"/>
                <a:gd name="connsiteX904" fmla="*/ 2415861 w 2663946"/>
                <a:gd name="connsiteY904" fmla="*/ 150552 h 410520"/>
                <a:gd name="connsiteX905" fmla="*/ 2416353 w 2663946"/>
                <a:gd name="connsiteY905" fmla="*/ 145955 h 410520"/>
                <a:gd name="connsiteX906" fmla="*/ 2417582 w 2663946"/>
                <a:gd name="connsiteY906" fmla="*/ 140548 h 410520"/>
                <a:gd name="connsiteX907" fmla="*/ 2418565 w 2663946"/>
                <a:gd name="connsiteY907" fmla="*/ 137303 h 410520"/>
                <a:gd name="connsiteX908" fmla="*/ 2420777 w 2663946"/>
                <a:gd name="connsiteY908" fmla="*/ 132166 h 410520"/>
                <a:gd name="connsiteX909" fmla="*/ 2422990 w 2663946"/>
                <a:gd name="connsiteY909" fmla="*/ 128381 h 410520"/>
                <a:gd name="connsiteX910" fmla="*/ 2425202 w 2663946"/>
                <a:gd name="connsiteY910" fmla="*/ 125406 h 410520"/>
                <a:gd name="connsiteX911" fmla="*/ 2427414 w 2663946"/>
                <a:gd name="connsiteY911" fmla="*/ 122973 h 410520"/>
                <a:gd name="connsiteX912" fmla="*/ 2432084 w 2663946"/>
                <a:gd name="connsiteY912" fmla="*/ 119188 h 410520"/>
                <a:gd name="connsiteX913" fmla="*/ 2436017 w 2663946"/>
                <a:gd name="connsiteY913" fmla="*/ 117025 h 410520"/>
                <a:gd name="connsiteX914" fmla="*/ 2445604 w 2663946"/>
                <a:gd name="connsiteY914" fmla="*/ 114591 h 410520"/>
                <a:gd name="connsiteX915" fmla="*/ 2202558 w 2663946"/>
                <a:gd name="connsiteY915" fmla="*/ 114591 h 410520"/>
                <a:gd name="connsiteX916" fmla="*/ 2214848 w 2663946"/>
                <a:gd name="connsiteY916" fmla="*/ 116754 h 410520"/>
                <a:gd name="connsiteX917" fmla="*/ 2222222 w 2663946"/>
                <a:gd name="connsiteY917" fmla="*/ 121351 h 410520"/>
                <a:gd name="connsiteX918" fmla="*/ 2225663 w 2663946"/>
                <a:gd name="connsiteY918" fmla="*/ 124595 h 410520"/>
                <a:gd name="connsiteX919" fmla="*/ 2229105 w 2663946"/>
                <a:gd name="connsiteY919" fmla="*/ 128921 h 410520"/>
                <a:gd name="connsiteX920" fmla="*/ 2231071 w 2663946"/>
                <a:gd name="connsiteY920" fmla="*/ 132436 h 410520"/>
                <a:gd name="connsiteX921" fmla="*/ 2233283 w 2663946"/>
                <a:gd name="connsiteY921" fmla="*/ 137844 h 410520"/>
                <a:gd name="connsiteX922" fmla="*/ 2234266 w 2663946"/>
                <a:gd name="connsiteY922" fmla="*/ 141359 h 410520"/>
                <a:gd name="connsiteX923" fmla="*/ 2235250 w 2663946"/>
                <a:gd name="connsiteY923" fmla="*/ 146496 h 410520"/>
                <a:gd name="connsiteX924" fmla="*/ 2235004 w 2663946"/>
                <a:gd name="connsiteY924" fmla="*/ 160826 h 410520"/>
                <a:gd name="connsiteX925" fmla="*/ 2234021 w 2663946"/>
                <a:gd name="connsiteY925" fmla="*/ 165693 h 410520"/>
                <a:gd name="connsiteX926" fmla="*/ 2232791 w 2663946"/>
                <a:gd name="connsiteY926" fmla="*/ 169478 h 410520"/>
                <a:gd name="connsiteX927" fmla="*/ 2231808 w 2663946"/>
                <a:gd name="connsiteY927" fmla="*/ 171912 h 410520"/>
                <a:gd name="connsiteX928" fmla="*/ 2229596 w 2663946"/>
                <a:gd name="connsiteY928" fmla="*/ 176238 h 410520"/>
                <a:gd name="connsiteX929" fmla="*/ 2227384 w 2663946"/>
                <a:gd name="connsiteY929" fmla="*/ 179482 h 410520"/>
                <a:gd name="connsiteX930" fmla="*/ 2223943 w 2663946"/>
                <a:gd name="connsiteY930" fmla="*/ 183268 h 410520"/>
                <a:gd name="connsiteX931" fmla="*/ 2220747 w 2663946"/>
                <a:gd name="connsiteY931" fmla="*/ 185971 h 410520"/>
                <a:gd name="connsiteX932" fmla="*/ 2215094 w 2663946"/>
                <a:gd name="connsiteY932" fmla="*/ 189216 h 410520"/>
                <a:gd name="connsiteX933" fmla="*/ 2207228 w 2663946"/>
                <a:gd name="connsiteY933" fmla="*/ 191379 h 410520"/>
                <a:gd name="connsiteX934" fmla="*/ 2205999 w 2663946"/>
                <a:gd name="connsiteY934" fmla="*/ 191650 h 410520"/>
                <a:gd name="connsiteX935" fmla="*/ 2201820 w 2663946"/>
                <a:gd name="connsiteY935" fmla="*/ 191650 h 410520"/>
                <a:gd name="connsiteX936" fmla="*/ 2201575 w 2663946"/>
                <a:gd name="connsiteY936" fmla="*/ 191650 h 410520"/>
                <a:gd name="connsiteX937" fmla="*/ 2188547 w 2663946"/>
                <a:gd name="connsiteY937" fmla="*/ 186783 h 410520"/>
                <a:gd name="connsiteX938" fmla="*/ 2183877 w 2663946"/>
                <a:gd name="connsiteY938" fmla="*/ 182727 h 410520"/>
                <a:gd name="connsiteX939" fmla="*/ 2180681 w 2663946"/>
                <a:gd name="connsiteY939" fmla="*/ 178942 h 410520"/>
                <a:gd name="connsiteX940" fmla="*/ 2178469 w 2663946"/>
                <a:gd name="connsiteY940" fmla="*/ 175427 h 410520"/>
                <a:gd name="connsiteX941" fmla="*/ 2176257 w 2663946"/>
                <a:gd name="connsiteY941" fmla="*/ 171101 h 410520"/>
                <a:gd name="connsiteX942" fmla="*/ 2175028 w 2663946"/>
                <a:gd name="connsiteY942" fmla="*/ 168126 h 410520"/>
                <a:gd name="connsiteX943" fmla="*/ 2174045 w 2663946"/>
                <a:gd name="connsiteY943" fmla="*/ 164882 h 410520"/>
                <a:gd name="connsiteX944" fmla="*/ 2172815 w 2663946"/>
                <a:gd name="connsiteY944" fmla="*/ 159204 h 410520"/>
                <a:gd name="connsiteX945" fmla="*/ 2172570 w 2663946"/>
                <a:gd name="connsiteY945" fmla="*/ 156230 h 410520"/>
                <a:gd name="connsiteX946" fmla="*/ 2172815 w 2663946"/>
                <a:gd name="connsiteY946" fmla="*/ 156500 h 410520"/>
                <a:gd name="connsiteX947" fmla="*/ 2172815 w 2663946"/>
                <a:gd name="connsiteY947" fmla="*/ 150822 h 410520"/>
                <a:gd name="connsiteX948" fmla="*/ 2172815 w 2663946"/>
                <a:gd name="connsiteY948" fmla="*/ 150552 h 410520"/>
                <a:gd name="connsiteX949" fmla="*/ 2173307 w 2663946"/>
                <a:gd name="connsiteY949" fmla="*/ 145955 h 410520"/>
                <a:gd name="connsiteX950" fmla="*/ 2174536 w 2663946"/>
                <a:gd name="connsiteY950" fmla="*/ 140548 h 410520"/>
                <a:gd name="connsiteX951" fmla="*/ 2175519 w 2663946"/>
                <a:gd name="connsiteY951" fmla="*/ 137303 h 410520"/>
                <a:gd name="connsiteX952" fmla="*/ 2177731 w 2663946"/>
                <a:gd name="connsiteY952" fmla="*/ 132166 h 410520"/>
                <a:gd name="connsiteX953" fmla="*/ 2179944 w 2663946"/>
                <a:gd name="connsiteY953" fmla="*/ 128381 h 410520"/>
                <a:gd name="connsiteX954" fmla="*/ 2182156 w 2663946"/>
                <a:gd name="connsiteY954" fmla="*/ 125406 h 410520"/>
                <a:gd name="connsiteX955" fmla="*/ 2184368 w 2663946"/>
                <a:gd name="connsiteY955" fmla="*/ 122973 h 410520"/>
                <a:gd name="connsiteX956" fmla="*/ 2189038 w 2663946"/>
                <a:gd name="connsiteY956" fmla="*/ 119188 h 410520"/>
                <a:gd name="connsiteX957" fmla="*/ 2192971 w 2663946"/>
                <a:gd name="connsiteY957" fmla="*/ 117025 h 410520"/>
                <a:gd name="connsiteX958" fmla="*/ 2202558 w 2663946"/>
                <a:gd name="connsiteY958" fmla="*/ 114591 h 410520"/>
                <a:gd name="connsiteX959" fmla="*/ 2020607 w 2663946"/>
                <a:gd name="connsiteY959" fmla="*/ 114591 h 410520"/>
                <a:gd name="connsiteX960" fmla="*/ 2032897 w 2663946"/>
                <a:gd name="connsiteY960" fmla="*/ 116754 h 410520"/>
                <a:gd name="connsiteX961" fmla="*/ 2040271 w 2663946"/>
                <a:gd name="connsiteY961" fmla="*/ 121351 h 410520"/>
                <a:gd name="connsiteX962" fmla="*/ 2043712 w 2663946"/>
                <a:gd name="connsiteY962" fmla="*/ 124595 h 410520"/>
                <a:gd name="connsiteX963" fmla="*/ 2047154 w 2663946"/>
                <a:gd name="connsiteY963" fmla="*/ 128921 h 410520"/>
                <a:gd name="connsiteX964" fmla="*/ 2049120 w 2663946"/>
                <a:gd name="connsiteY964" fmla="*/ 132436 h 410520"/>
                <a:gd name="connsiteX965" fmla="*/ 2051332 w 2663946"/>
                <a:gd name="connsiteY965" fmla="*/ 137844 h 410520"/>
                <a:gd name="connsiteX966" fmla="*/ 2052315 w 2663946"/>
                <a:gd name="connsiteY966" fmla="*/ 141359 h 410520"/>
                <a:gd name="connsiteX967" fmla="*/ 2053299 w 2663946"/>
                <a:gd name="connsiteY967" fmla="*/ 146496 h 410520"/>
                <a:gd name="connsiteX968" fmla="*/ 2053053 w 2663946"/>
                <a:gd name="connsiteY968" fmla="*/ 160826 h 410520"/>
                <a:gd name="connsiteX969" fmla="*/ 2052070 w 2663946"/>
                <a:gd name="connsiteY969" fmla="*/ 165693 h 410520"/>
                <a:gd name="connsiteX970" fmla="*/ 2050840 w 2663946"/>
                <a:gd name="connsiteY970" fmla="*/ 169478 h 410520"/>
                <a:gd name="connsiteX971" fmla="*/ 2049857 w 2663946"/>
                <a:gd name="connsiteY971" fmla="*/ 171912 h 410520"/>
                <a:gd name="connsiteX972" fmla="*/ 2047645 w 2663946"/>
                <a:gd name="connsiteY972" fmla="*/ 176238 h 410520"/>
                <a:gd name="connsiteX973" fmla="*/ 2045433 w 2663946"/>
                <a:gd name="connsiteY973" fmla="*/ 179482 h 410520"/>
                <a:gd name="connsiteX974" fmla="*/ 2041992 w 2663946"/>
                <a:gd name="connsiteY974" fmla="*/ 183268 h 410520"/>
                <a:gd name="connsiteX975" fmla="*/ 2038796 w 2663946"/>
                <a:gd name="connsiteY975" fmla="*/ 185971 h 410520"/>
                <a:gd name="connsiteX976" fmla="*/ 2033143 w 2663946"/>
                <a:gd name="connsiteY976" fmla="*/ 189216 h 410520"/>
                <a:gd name="connsiteX977" fmla="*/ 2025277 w 2663946"/>
                <a:gd name="connsiteY977" fmla="*/ 191379 h 410520"/>
                <a:gd name="connsiteX978" fmla="*/ 2024048 w 2663946"/>
                <a:gd name="connsiteY978" fmla="*/ 191650 h 410520"/>
                <a:gd name="connsiteX979" fmla="*/ 2019869 w 2663946"/>
                <a:gd name="connsiteY979" fmla="*/ 191650 h 410520"/>
                <a:gd name="connsiteX980" fmla="*/ 2019624 w 2663946"/>
                <a:gd name="connsiteY980" fmla="*/ 191650 h 410520"/>
                <a:gd name="connsiteX981" fmla="*/ 2006596 w 2663946"/>
                <a:gd name="connsiteY981" fmla="*/ 186783 h 410520"/>
                <a:gd name="connsiteX982" fmla="*/ 2001926 w 2663946"/>
                <a:gd name="connsiteY982" fmla="*/ 182727 h 410520"/>
                <a:gd name="connsiteX983" fmla="*/ 1998730 w 2663946"/>
                <a:gd name="connsiteY983" fmla="*/ 178942 h 410520"/>
                <a:gd name="connsiteX984" fmla="*/ 1996518 w 2663946"/>
                <a:gd name="connsiteY984" fmla="*/ 175427 h 410520"/>
                <a:gd name="connsiteX985" fmla="*/ 1994306 w 2663946"/>
                <a:gd name="connsiteY985" fmla="*/ 171101 h 410520"/>
                <a:gd name="connsiteX986" fmla="*/ 1993077 w 2663946"/>
                <a:gd name="connsiteY986" fmla="*/ 168126 h 410520"/>
                <a:gd name="connsiteX987" fmla="*/ 1992094 w 2663946"/>
                <a:gd name="connsiteY987" fmla="*/ 164882 h 410520"/>
                <a:gd name="connsiteX988" fmla="*/ 1990864 w 2663946"/>
                <a:gd name="connsiteY988" fmla="*/ 159204 h 410520"/>
                <a:gd name="connsiteX989" fmla="*/ 1990619 w 2663946"/>
                <a:gd name="connsiteY989" fmla="*/ 156230 h 410520"/>
                <a:gd name="connsiteX990" fmla="*/ 1990864 w 2663946"/>
                <a:gd name="connsiteY990" fmla="*/ 156500 h 410520"/>
                <a:gd name="connsiteX991" fmla="*/ 1990864 w 2663946"/>
                <a:gd name="connsiteY991" fmla="*/ 150822 h 410520"/>
                <a:gd name="connsiteX992" fmla="*/ 1990864 w 2663946"/>
                <a:gd name="connsiteY992" fmla="*/ 150552 h 410520"/>
                <a:gd name="connsiteX993" fmla="*/ 1991356 w 2663946"/>
                <a:gd name="connsiteY993" fmla="*/ 145955 h 410520"/>
                <a:gd name="connsiteX994" fmla="*/ 1992585 w 2663946"/>
                <a:gd name="connsiteY994" fmla="*/ 140548 h 410520"/>
                <a:gd name="connsiteX995" fmla="*/ 1993568 w 2663946"/>
                <a:gd name="connsiteY995" fmla="*/ 137303 h 410520"/>
                <a:gd name="connsiteX996" fmla="*/ 1995780 w 2663946"/>
                <a:gd name="connsiteY996" fmla="*/ 132166 h 410520"/>
                <a:gd name="connsiteX997" fmla="*/ 1997993 w 2663946"/>
                <a:gd name="connsiteY997" fmla="*/ 128381 h 410520"/>
                <a:gd name="connsiteX998" fmla="*/ 2000205 w 2663946"/>
                <a:gd name="connsiteY998" fmla="*/ 125406 h 410520"/>
                <a:gd name="connsiteX999" fmla="*/ 2002417 w 2663946"/>
                <a:gd name="connsiteY999" fmla="*/ 122973 h 410520"/>
                <a:gd name="connsiteX1000" fmla="*/ 2007087 w 2663946"/>
                <a:gd name="connsiteY1000" fmla="*/ 119188 h 410520"/>
                <a:gd name="connsiteX1001" fmla="*/ 2011020 w 2663946"/>
                <a:gd name="connsiteY1001" fmla="*/ 117025 h 410520"/>
                <a:gd name="connsiteX1002" fmla="*/ 2020607 w 2663946"/>
                <a:gd name="connsiteY1002" fmla="*/ 114591 h 410520"/>
                <a:gd name="connsiteX1003" fmla="*/ 1595683 w 2663946"/>
                <a:gd name="connsiteY1003" fmla="*/ 114591 h 410520"/>
                <a:gd name="connsiteX1004" fmla="*/ 1607973 w 2663946"/>
                <a:gd name="connsiteY1004" fmla="*/ 116754 h 410520"/>
                <a:gd name="connsiteX1005" fmla="*/ 1615347 w 2663946"/>
                <a:gd name="connsiteY1005" fmla="*/ 121351 h 410520"/>
                <a:gd name="connsiteX1006" fmla="*/ 1618788 w 2663946"/>
                <a:gd name="connsiteY1006" fmla="*/ 124595 h 410520"/>
                <a:gd name="connsiteX1007" fmla="*/ 1622230 w 2663946"/>
                <a:gd name="connsiteY1007" fmla="*/ 128921 h 410520"/>
                <a:gd name="connsiteX1008" fmla="*/ 1624196 w 2663946"/>
                <a:gd name="connsiteY1008" fmla="*/ 132436 h 410520"/>
                <a:gd name="connsiteX1009" fmla="*/ 1626408 w 2663946"/>
                <a:gd name="connsiteY1009" fmla="*/ 137844 h 410520"/>
                <a:gd name="connsiteX1010" fmla="*/ 1627391 w 2663946"/>
                <a:gd name="connsiteY1010" fmla="*/ 141359 h 410520"/>
                <a:gd name="connsiteX1011" fmla="*/ 1628374 w 2663946"/>
                <a:gd name="connsiteY1011" fmla="*/ 146496 h 410520"/>
                <a:gd name="connsiteX1012" fmla="*/ 1628129 w 2663946"/>
                <a:gd name="connsiteY1012" fmla="*/ 160826 h 410520"/>
                <a:gd name="connsiteX1013" fmla="*/ 1627146 w 2663946"/>
                <a:gd name="connsiteY1013" fmla="*/ 165693 h 410520"/>
                <a:gd name="connsiteX1014" fmla="*/ 1625916 w 2663946"/>
                <a:gd name="connsiteY1014" fmla="*/ 169478 h 410520"/>
                <a:gd name="connsiteX1015" fmla="*/ 1624933 w 2663946"/>
                <a:gd name="connsiteY1015" fmla="*/ 171912 h 410520"/>
                <a:gd name="connsiteX1016" fmla="*/ 1622721 w 2663946"/>
                <a:gd name="connsiteY1016" fmla="*/ 176238 h 410520"/>
                <a:gd name="connsiteX1017" fmla="*/ 1620509 w 2663946"/>
                <a:gd name="connsiteY1017" fmla="*/ 179482 h 410520"/>
                <a:gd name="connsiteX1018" fmla="*/ 1617068 w 2663946"/>
                <a:gd name="connsiteY1018" fmla="*/ 183268 h 410520"/>
                <a:gd name="connsiteX1019" fmla="*/ 1613872 w 2663946"/>
                <a:gd name="connsiteY1019" fmla="*/ 185971 h 410520"/>
                <a:gd name="connsiteX1020" fmla="*/ 1608219 w 2663946"/>
                <a:gd name="connsiteY1020" fmla="*/ 189216 h 410520"/>
                <a:gd name="connsiteX1021" fmla="*/ 1600353 w 2663946"/>
                <a:gd name="connsiteY1021" fmla="*/ 191379 h 410520"/>
                <a:gd name="connsiteX1022" fmla="*/ 1599124 w 2663946"/>
                <a:gd name="connsiteY1022" fmla="*/ 191650 h 410520"/>
                <a:gd name="connsiteX1023" fmla="*/ 1594945 w 2663946"/>
                <a:gd name="connsiteY1023" fmla="*/ 191650 h 410520"/>
                <a:gd name="connsiteX1024" fmla="*/ 1594699 w 2663946"/>
                <a:gd name="connsiteY1024" fmla="*/ 191650 h 410520"/>
                <a:gd name="connsiteX1025" fmla="*/ 1581672 w 2663946"/>
                <a:gd name="connsiteY1025" fmla="*/ 186783 h 410520"/>
                <a:gd name="connsiteX1026" fmla="*/ 1577002 w 2663946"/>
                <a:gd name="connsiteY1026" fmla="*/ 182727 h 410520"/>
                <a:gd name="connsiteX1027" fmla="*/ 1573806 w 2663946"/>
                <a:gd name="connsiteY1027" fmla="*/ 178942 h 410520"/>
                <a:gd name="connsiteX1028" fmla="*/ 1571594 w 2663946"/>
                <a:gd name="connsiteY1028" fmla="*/ 175427 h 410520"/>
                <a:gd name="connsiteX1029" fmla="*/ 1569382 w 2663946"/>
                <a:gd name="connsiteY1029" fmla="*/ 171101 h 410520"/>
                <a:gd name="connsiteX1030" fmla="*/ 1568153 w 2663946"/>
                <a:gd name="connsiteY1030" fmla="*/ 168126 h 410520"/>
                <a:gd name="connsiteX1031" fmla="*/ 1567169 w 2663946"/>
                <a:gd name="connsiteY1031" fmla="*/ 164882 h 410520"/>
                <a:gd name="connsiteX1032" fmla="*/ 1565940 w 2663946"/>
                <a:gd name="connsiteY1032" fmla="*/ 159204 h 410520"/>
                <a:gd name="connsiteX1033" fmla="*/ 1565695 w 2663946"/>
                <a:gd name="connsiteY1033" fmla="*/ 156230 h 410520"/>
                <a:gd name="connsiteX1034" fmla="*/ 1565940 w 2663946"/>
                <a:gd name="connsiteY1034" fmla="*/ 156500 h 410520"/>
                <a:gd name="connsiteX1035" fmla="*/ 1565940 w 2663946"/>
                <a:gd name="connsiteY1035" fmla="*/ 150822 h 410520"/>
                <a:gd name="connsiteX1036" fmla="*/ 1565940 w 2663946"/>
                <a:gd name="connsiteY1036" fmla="*/ 150552 h 410520"/>
                <a:gd name="connsiteX1037" fmla="*/ 1566432 w 2663946"/>
                <a:gd name="connsiteY1037" fmla="*/ 145955 h 410520"/>
                <a:gd name="connsiteX1038" fmla="*/ 1567661 w 2663946"/>
                <a:gd name="connsiteY1038" fmla="*/ 140548 h 410520"/>
                <a:gd name="connsiteX1039" fmla="*/ 1568644 w 2663946"/>
                <a:gd name="connsiteY1039" fmla="*/ 137303 h 410520"/>
                <a:gd name="connsiteX1040" fmla="*/ 1570856 w 2663946"/>
                <a:gd name="connsiteY1040" fmla="*/ 132166 h 410520"/>
                <a:gd name="connsiteX1041" fmla="*/ 1573069 w 2663946"/>
                <a:gd name="connsiteY1041" fmla="*/ 128381 h 410520"/>
                <a:gd name="connsiteX1042" fmla="*/ 1575281 w 2663946"/>
                <a:gd name="connsiteY1042" fmla="*/ 125406 h 410520"/>
                <a:gd name="connsiteX1043" fmla="*/ 1577493 w 2663946"/>
                <a:gd name="connsiteY1043" fmla="*/ 122973 h 410520"/>
                <a:gd name="connsiteX1044" fmla="*/ 1582163 w 2663946"/>
                <a:gd name="connsiteY1044" fmla="*/ 119188 h 410520"/>
                <a:gd name="connsiteX1045" fmla="*/ 1586096 w 2663946"/>
                <a:gd name="connsiteY1045" fmla="*/ 117025 h 410520"/>
                <a:gd name="connsiteX1046" fmla="*/ 1595683 w 2663946"/>
                <a:gd name="connsiteY1046" fmla="*/ 114591 h 410520"/>
                <a:gd name="connsiteX1047" fmla="*/ 1246776 w 2663946"/>
                <a:gd name="connsiteY1047" fmla="*/ 114591 h 410520"/>
                <a:gd name="connsiteX1048" fmla="*/ 1259066 w 2663946"/>
                <a:gd name="connsiteY1048" fmla="*/ 116754 h 410520"/>
                <a:gd name="connsiteX1049" fmla="*/ 1266440 w 2663946"/>
                <a:gd name="connsiteY1049" fmla="*/ 121351 h 410520"/>
                <a:gd name="connsiteX1050" fmla="*/ 1269881 w 2663946"/>
                <a:gd name="connsiteY1050" fmla="*/ 124595 h 410520"/>
                <a:gd name="connsiteX1051" fmla="*/ 1273323 w 2663946"/>
                <a:gd name="connsiteY1051" fmla="*/ 128921 h 410520"/>
                <a:gd name="connsiteX1052" fmla="*/ 1275289 w 2663946"/>
                <a:gd name="connsiteY1052" fmla="*/ 132436 h 410520"/>
                <a:gd name="connsiteX1053" fmla="*/ 1277501 w 2663946"/>
                <a:gd name="connsiteY1053" fmla="*/ 137844 h 410520"/>
                <a:gd name="connsiteX1054" fmla="*/ 1278484 w 2663946"/>
                <a:gd name="connsiteY1054" fmla="*/ 141359 h 410520"/>
                <a:gd name="connsiteX1055" fmla="*/ 1279467 w 2663946"/>
                <a:gd name="connsiteY1055" fmla="*/ 146496 h 410520"/>
                <a:gd name="connsiteX1056" fmla="*/ 1279222 w 2663946"/>
                <a:gd name="connsiteY1056" fmla="*/ 160826 h 410520"/>
                <a:gd name="connsiteX1057" fmla="*/ 1278239 w 2663946"/>
                <a:gd name="connsiteY1057" fmla="*/ 165693 h 410520"/>
                <a:gd name="connsiteX1058" fmla="*/ 1277009 w 2663946"/>
                <a:gd name="connsiteY1058" fmla="*/ 169478 h 410520"/>
                <a:gd name="connsiteX1059" fmla="*/ 1276026 w 2663946"/>
                <a:gd name="connsiteY1059" fmla="*/ 171912 h 410520"/>
                <a:gd name="connsiteX1060" fmla="*/ 1273814 w 2663946"/>
                <a:gd name="connsiteY1060" fmla="*/ 176238 h 410520"/>
                <a:gd name="connsiteX1061" fmla="*/ 1271602 w 2663946"/>
                <a:gd name="connsiteY1061" fmla="*/ 179482 h 410520"/>
                <a:gd name="connsiteX1062" fmla="*/ 1268161 w 2663946"/>
                <a:gd name="connsiteY1062" fmla="*/ 183268 h 410520"/>
                <a:gd name="connsiteX1063" fmla="*/ 1264965 w 2663946"/>
                <a:gd name="connsiteY1063" fmla="*/ 185971 h 410520"/>
                <a:gd name="connsiteX1064" fmla="*/ 1259312 w 2663946"/>
                <a:gd name="connsiteY1064" fmla="*/ 189216 h 410520"/>
                <a:gd name="connsiteX1065" fmla="*/ 1251446 w 2663946"/>
                <a:gd name="connsiteY1065" fmla="*/ 191379 h 410520"/>
                <a:gd name="connsiteX1066" fmla="*/ 1250217 w 2663946"/>
                <a:gd name="connsiteY1066" fmla="*/ 191650 h 410520"/>
                <a:gd name="connsiteX1067" fmla="*/ 1246038 w 2663946"/>
                <a:gd name="connsiteY1067" fmla="*/ 191650 h 410520"/>
                <a:gd name="connsiteX1068" fmla="*/ 1245792 w 2663946"/>
                <a:gd name="connsiteY1068" fmla="*/ 191650 h 410520"/>
                <a:gd name="connsiteX1069" fmla="*/ 1232765 w 2663946"/>
                <a:gd name="connsiteY1069" fmla="*/ 186783 h 410520"/>
                <a:gd name="connsiteX1070" fmla="*/ 1228095 w 2663946"/>
                <a:gd name="connsiteY1070" fmla="*/ 182727 h 410520"/>
                <a:gd name="connsiteX1071" fmla="*/ 1224899 w 2663946"/>
                <a:gd name="connsiteY1071" fmla="*/ 178942 h 410520"/>
                <a:gd name="connsiteX1072" fmla="*/ 1222687 w 2663946"/>
                <a:gd name="connsiteY1072" fmla="*/ 175427 h 410520"/>
                <a:gd name="connsiteX1073" fmla="*/ 1220475 w 2663946"/>
                <a:gd name="connsiteY1073" fmla="*/ 171101 h 410520"/>
                <a:gd name="connsiteX1074" fmla="*/ 1219246 w 2663946"/>
                <a:gd name="connsiteY1074" fmla="*/ 168126 h 410520"/>
                <a:gd name="connsiteX1075" fmla="*/ 1218262 w 2663946"/>
                <a:gd name="connsiteY1075" fmla="*/ 164882 h 410520"/>
                <a:gd name="connsiteX1076" fmla="*/ 1217033 w 2663946"/>
                <a:gd name="connsiteY1076" fmla="*/ 159204 h 410520"/>
                <a:gd name="connsiteX1077" fmla="*/ 1216788 w 2663946"/>
                <a:gd name="connsiteY1077" fmla="*/ 156230 h 410520"/>
                <a:gd name="connsiteX1078" fmla="*/ 1217033 w 2663946"/>
                <a:gd name="connsiteY1078" fmla="*/ 156500 h 410520"/>
                <a:gd name="connsiteX1079" fmla="*/ 1217033 w 2663946"/>
                <a:gd name="connsiteY1079" fmla="*/ 150822 h 410520"/>
                <a:gd name="connsiteX1080" fmla="*/ 1217033 w 2663946"/>
                <a:gd name="connsiteY1080" fmla="*/ 150552 h 410520"/>
                <a:gd name="connsiteX1081" fmla="*/ 1217525 w 2663946"/>
                <a:gd name="connsiteY1081" fmla="*/ 145955 h 410520"/>
                <a:gd name="connsiteX1082" fmla="*/ 1218754 w 2663946"/>
                <a:gd name="connsiteY1082" fmla="*/ 140548 h 410520"/>
                <a:gd name="connsiteX1083" fmla="*/ 1219737 w 2663946"/>
                <a:gd name="connsiteY1083" fmla="*/ 137303 h 410520"/>
                <a:gd name="connsiteX1084" fmla="*/ 1221949 w 2663946"/>
                <a:gd name="connsiteY1084" fmla="*/ 132166 h 410520"/>
                <a:gd name="connsiteX1085" fmla="*/ 1224162 w 2663946"/>
                <a:gd name="connsiteY1085" fmla="*/ 128381 h 410520"/>
                <a:gd name="connsiteX1086" fmla="*/ 1226374 w 2663946"/>
                <a:gd name="connsiteY1086" fmla="*/ 125406 h 410520"/>
                <a:gd name="connsiteX1087" fmla="*/ 1228586 w 2663946"/>
                <a:gd name="connsiteY1087" fmla="*/ 122973 h 410520"/>
                <a:gd name="connsiteX1088" fmla="*/ 1233256 w 2663946"/>
                <a:gd name="connsiteY1088" fmla="*/ 119188 h 410520"/>
                <a:gd name="connsiteX1089" fmla="*/ 1237189 w 2663946"/>
                <a:gd name="connsiteY1089" fmla="*/ 117025 h 410520"/>
                <a:gd name="connsiteX1090" fmla="*/ 1246776 w 2663946"/>
                <a:gd name="connsiteY1090" fmla="*/ 114591 h 410520"/>
                <a:gd name="connsiteX1091" fmla="*/ 1064825 w 2663946"/>
                <a:gd name="connsiteY1091" fmla="*/ 114591 h 410520"/>
                <a:gd name="connsiteX1092" fmla="*/ 1077115 w 2663946"/>
                <a:gd name="connsiteY1092" fmla="*/ 116754 h 410520"/>
                <a:gd name="connsiteX1093" fmla="*/ 1084489 w 2663946"/>
                <a:gd name="connsiteY1093" fmla="*/ 121351 h 410520"/>
                <a:gd name="connsiteX1094" fmla="*/ 1087930 w 2663946"/>
                <a:gd name="connsiteY1094" fmla="*/ 124595 h 410520"/>
                <a:gd name="connsiteX1095" fmla="*/ 1091372 w 2663946"/>
                <a:gd name="connsiteY1095" fmla="*/ 128921 h 410520"/>
                <a:gd name="connsiteX1096" fmla="*/ 1093338 w 2663946"/>
                <a:gd name="connsiteY1096" fmla="*/ 132436 h 410520"/>
                <a:gd name="connsiteX1097" fmla="*/ 1095550 w 2663946"/>
                <a:gd name="connsiteY1097" fmla="*/ 137844 h 410520"/>
                <a:gd name="connsiteX1098" fmla="*/ 1096533 w 2663946"/>
                <a:gd name="connsiteY1098" fmla="*/ 141359 h 410520"/>
                <a:gd name="connsiteX1099" fmla="*/ 1097516 w 2663946"/>
                <a:gd name="connsiteY1099" fmla="*/ 146496 h 410520"/>
                <a:gd name="connsiteX1100" fmla="*/ 1097271 w 2663946"/>
                <a:gd name="connsiteY1100" fmla="*/ 160826 h 410520"/>
                <a:gd name="connsiteX1101" fmla="*/ 1096288 w 2663946"/>
                <a:gd name="connsiteY1101" fmla="*/ 165693 h 410520"/>
                <a:gd name="connsiteX1102" fmla="*/ 1095058 w 2663946"/>
                <a:gd name="connsiteY1102" fmla="*/ 169478 h 410520"/>
                <a:gd name="connsiteX1103" fmla="*/ 1094075 w 2663946"/>
                <a:gd name="connsiteY1103" fmla="*/ 171912 h 410520"/>
                <a:gd name="connsiteX1104" fmla="*/ 1091863 w 2663946"/>
                <a:gd name="connsiteY1104" fmla="*/ 176238 h 410520"/>
                <a:gd name="connsiteX1105" fmla="*/ 1089651 w 2663946"/>
                <a:gd name="connsiteY1105" fmla="*/ 179482 h 410520"/>
                <a:gd name="connsiteX1106" fmla="*/ 1086210 w 2663946"/>
                <a:gd name="connsiteY1106" fmla="*/ 183268 h 410520"/>
                <a:gd name="connsiteX1107" fmla="*/ 1083014 w 2663946"/>
                <a:gd name="connsiteY1107" fmla="*/ 185971 h 410520"/>
                <a:gd name="connsiteX1108" fmla="*/ 1077361 w 2663946"/>
                <a:gd name="connsiteY1108" fmla="*/ 189216 h 410520"/>
                <a:gd name="connsiteX1109" fmla="*/ 1069495 w 2663946"/>
                <a:gd name="connsiteY1109" fmla="*/ 191379 h 410520"/>
                <a:gd name="connsiteX1110" fmla="*/ 1068266 w 2663946"/>
                <a:gd name="connsiteY1110" fmla="*/ 191650 h 410520"/>
                <a:gd name="connsiteX1111" fmla="*/ 1064087 w 2663946"/>
                <a:gd name="connsiteY1111" fmla="*/ 191650 h 410520"/>
                <a:gd name="connsiteX1112" fmla="*/ 1063841 w 2663946"/>
                <a:gd name="connsiteY1112" fmla="*/ 191650 h 410520"/>
                <a:gd name="connsiteX1113" fmla="*/ 1050814 w 2663946"/>
                <a:gd name="connsiteY1113" fmla="*/ 186783 h 410520"/>
                <a:gd name="connsiteX1114" fmla="*/ 1046144 w 2663946"/>
                <a:gd name="connsiteY1114" fmla="*/ 182727 h 410520"/>
                <a:gd name="connsiteX1115" fmla="*/ 1042948 w 2663946"/>
                <a:gd name="connsiteY1115" fmla="*/ 178942 h 410520"/>
                <a:gd name="connsiteX1116" fmla="*/ 1040736 w 2663946"/>
                <a:gd name="connsiteY1116" fmla="*/ 175427 h 410520"/>
                <a:gd name="connsiteX1117" fmla="*/ 1038524 w 2663946"/>
                <a:gd name="connsiteY1117" fmla="*/ 171101 h 410520"/>
                <a:gd name="connsiteX1118" fmla="*/ 1037295 w 2663946"/>
                <a:gd name="connsiteY1118" fmla="*/ 168126 h 410520"/>
                <a:gd name="connsiteX1119" fmla="*/ 1036311 w 2663946"/>
                <a:gd name="connsiteY1119" fmla="*/ 164882 h 410520"/>
                <a:gd name="connsiteX1120" fmla="*/ 1035082 w 2663946"/>
                <a:gd name="connsiteY1120" fmla="*/ 159204 h 410520"/>
                <a:gd name="connsiteX1121" fmla="*/ 1034837 w 2663946"/>
                <a:gd name="connsiteY1121" fmla="*/ 156230 h 410520"/>
                <a:gd name="connsiteX1122" fmla="*/ 1035082 w 2663946"/>
                <a:gd name="connsiteY1122" fmla="*/ 156500 h 410520"/>
                <a:gd name="connsiteX1123" fmla="*/ 1035082 w 2663946"/>
                <a:gd name="connsiteY1123" fmla="*/ 150822 h 410520"/>
                <a:gd name="connsiteX1124" fmla="*/ 1035082 w 2663946"/>
                <a:gd name="connsiteY1124" fmla="*/ 150552 h 410520"/>
                <a:gd name="connsiteX1125" fmla="*/ 1035574 w 2663946"/>
                <a:gd name="connsiteY1125" fmla="*/ 145955 h 410520"/>
                <a:gd name="connsiteX1126" fmla="*/ 1036803 w 2663946"/>
                <a:gd name="connsiteY1126" fmla="*/ 140548 h 410520"/>
                <a:gd name="connsiteX1127" fmla="*/ 1037786 w 2663946"/>
                <a:gd name="connsiteY1127" fmla="*/ 137303 h 410520"/>
                <a:gd name="connsiteX1128" fmla="*/ 1039998 w 2663946"/>
                <a:gd name="connsiteY1128" fmla="*/ 132166 h 410520"/>
                <a:gd name="connsiteX1129" fmla="*/ 1042211 w 2663946"/>
                <a:gd name="connsiteY1129" fmla="*/ 128381 h 410520"/>
                <a:gd name="connsiteX1130" fmla="*/ 1044423 w 2663946"/>
                <a:gd name="connsiteY1130" fmla="*/ 125406 h 410520"/>
                <a:gd name="connsiteX1131" fmla="*/ 1046635 w 2663946"/>
                <a:gd name="connsiteY1131" fmla="*/ 122973 h 410520"/>
                <a:gd name="connsiteX1132" fmla="*/ 1051305 w 2663946"/>
                <a:gd name="connsiteY1132" fmla="*/ 119188 h 410520"/>
                <a:gd name="connsiteX1133" fmla="*/ 1055238 w 2663946"/>
                <a:gd name="connsiteY1133" fmla="*/ 117025 h 410520"/>
                <a:gd name="connsiteX1134" fmla="*/ 1064825 w 2663946"/>
                <a:gd name="connsiteY1134" fmla="*/ 114591 h 410520"/>
                <a:gd name="connsiteX1135" fmla="*/ 897796 w 2663946"/>
                <a:gd name="connsiteY1135" fmla="*/ 114591 h 410520"/>
                <a:gd name="connsiteX1136" fmla="*/ 910086 w 2663946"/>
                <a:gd name="connsiteY1136" fmla="*/ 116754 h 410520"/>
                <a:gd name="connsiteX1137" fmla="*/ 917460 w 2663946"/>
                <a:gd name="connsiteY1137" fmla="*/ 121351 h 410520"/>
                <a:gd name="connsiteX1138" fmla="*/ 920901 w 2663946"/>
                <a:gd name="connsiteY1138" fmla="*/ 124595 h 410520"/>
                <a:gd name="connsiteX1139" fmla="*/ 924343 w 2663946"/>
                <a:gd name="connsiteY1139" fmla="*/ 128921 h 410520"/>
                <a:gd name="connsiteX1140" fmla="*/ 926309 w 2663946"/>
                <a:gd name="connsiteY1140" fmla="*/ 132436 h 410520"/>
                <a:gd name="connsiteX1141" fmla="*/ 928521 w 2663946"/>
                <a:gd name="connsiteY1141" fmla="*/ 137844 h 410520"/>
                <a:gd name="connsiteX1142" fmla="*/ 929504 w 2663946"/>
                <a:gd name="connsiteY1142" fmla="*/ 141359 h 410520"/>
                <a:gd name="connsiteX1143" fmla="*/ 930487 w 2663946"/>
                <a:gd name="connsiteY1143" fmla="*/ 146496 h 410520"/>
                <a:gd name="connsiteX1144" fmla="*/ 930242 w 2663946"/>
                <a:gd name="connsiteY1144" fmla="*/ 160826 h 410520"/>
                <a:gd name="connsiteX1145" fmla="*/ 929259 w 2663946"/>
                <a:gd name="connsiteY1145" fmla="*/ 165693 h 410520"/>
                <a:gd name="connsiteX1146" fmla="*/ 928029 w 2663946"/>
                <a:gd name="connsiteY1146" fmla="*/ 169478 h 410520"/>
                <a:gd name="connsiteX1147" fmla="*/ 927046 w 2663946"/>
                <a:gd name="connsiteY1147" fmla="*/ 171912 h 410520"/>
                <a:gd name="connsiteX1148" fmla="*/ 924834 w 2663946"/>
                <a:gd name="connsiteY1148" fmla="*/ 176238 h 410520"/>
                <a:gd name="connsiteX1149" fmla="*/ 922622 w 2663946"/>
                <a:gd name="connsiteY1149" fmla="*/ 179482 h 410520"/>
                <a:gd name="connsiteX1150" fmla="*/ 919181 w 2663946"/>
                <a:gd name="connsiteY1150" fmla="*/ 183268 h 410520"/>
                <a:gd name="connsiteX1151" fmla="*/ 915985 w 2663946"/>
                <a:gd name="connsiteY1151" fmla="*/ 185971 h 410520"/>
                <a:gd name="connsiteX1152" fmla="*/ 910332 w 2663946"/>
                <a:gd name="connsiteY1152" fmla="*/ 189216 h 410520"/>
                <a:gd name="connsiteX1153" fmla="*/ 902466 w 2663946"/>
                <a:gd name="connsiteY1153" fmla="*/ 191379 h 410520"/>
                <a:gd name="connsiteX1154" fmla="*/ 901237 w 2663946"/>
                <a:gd name="connsiteY1154" fmla="*/ 191650 h 410520"/>
                <a:gd name="connsiteX1155" fmla="*/ 897058 w 2663946"/>
                <a:gd name="connsiteY1155" fmla="*/ 191650 h 410520"/>
                <a:gd name="connsiteX1156" fmla="*/ 896812 w 2663946"/>
                <a:gd name="connsiteY1156" fmla="*/ 191650 h 410520"/>
                <a:gd name="connsiteX1157" fmla="*/ 883785 w 2663946"/>
                <a:gd name="connsiteY1157" fmla="*/ 186783 h 410520"/>
                <a:gd name="connsiteX1158" fmla="*/ 879115 w 2663946"/>
                <a:gd name="connsiteY1158" fmla="*/ 182727 h 410520"/>
                <a:gd name="connsiteX1159" fmla="*/ 875919 w 2663946"/>
                <a:gd name="connsiteY1159" fmla="*/ 178942 h 410520"/>
                <a:gd name="connsiteX1160" fmla="*/ 873707 w 2663946"/>
                <a:gd name="connsiteY1160" fmla="*/ 175427 h 410520"/>
                <a:gd name="connsiteX1161" fmla="*/ 871495 w 2663946"/>
                <a:gd name="connsiteY1161" fmla="*/ 171101 h 410520"/>
                <a:gd name="connsiteX1162" fmla="*/ 870266 w 2663946"/>
                <a:gd name="connsiteY1162" fmla="*/ 168126 h 410520"/>
                <a:gd name="connsiteX1163" fmla="*/ 869282 w 2663946"/>
                <a:gd name="connsiteY1163" fmla="*/ 164882 h 410520"/>
                <a:gd name="connsiteX1164" fmla="*/ 868053 w 2663946"/>
                <a:gd name="connsiteY1164" fmla="*/ 159204 h 410520"/>
                <a:gd name="connsiteX1165" fmla="*/ 867808 w 2663946"/>
                <a:gd name="connsiteY1165" fmla="*/ 156230 h 410520"/>
                <a:gd name="connsiteX1166" fmla="*/ 868053 w 2663946"/>
                <a:gd name="connsiteY1166" fmla="*/ 156500 h 410520"/>
                <a:gd name="connsiteX1167" fmla="*/ 868053 w 2663946"/>
                <a:gd name="connsiteY1167" fmla="*/ 150822 h 410520"/>
                <a:gd name="connsiteX1168" fmla="*/ 868053 w 2663946"/>
                <a:gd name="connsiteY1168" fmla="*/ 150552 h 410520"/>
                <a:gd name="connsiteX1169" fmla="*/ 868545 w 2663946"/>
                <a:gd name="connsiteY1169" fmla="*/ 145955 h 410520"/>
                <a:gd name="connsiteX1170" fmla="*/ 869774 w 2663946"/>
                <a:gd name="connsiteY1170" fmla="*/ 140548 h 410520"/>
                <a:gd name="connsiteX1171" fmla="*/ 870757 w 2663946"/>
                <a:gd name="connsiteY1171" fmla="*/ 137303 h 410520"/>
                <a:gd name="connsiteX1172" fmla="*/ 872969 w 2663946"/>
                <a:gd name="connsiteY1172" fmla="*/ 132166 h 410520"/>
                <a:gd name="connsiteX1173" fmla="*/ 875182 w 2663946"/>
                <a:gd name="connsiteY1173" fmla="*/ 128381 h 410520"/>
                <a:gd name="connsiteX1174" fmla="*/ 877394 w 2663946"/>
                <a:gd name="connsiteY1174" fmla="*/ 125406 h 410520"/>
                <a:gd name="connsiteX1175" fmla="*/ 879606 w 2663946"/>
                <a:gd name="connsiteY1175" fmla="*/ 122973 h 410520"/>
                <a:gd name="connsiteX1176" fmla="*/ 884276 w 2663946"/>
                <a:gd name="connsiteY1176" fmla="*/ 119188 h 410520"/>
                <a:gd name="connsiteX1177" fmla="*/ 888209 w 2663946"/>
                <a:gd name="connsiteY1177" fmla="*/ 117025 h 410520"/>
                <a:gd name="connsiteX1178" fmla="*/ 897796 w 2663946"/>
                <a:gd name="connsiteY1178" fmla="*/ 114591 h 410520"/>
                <a:gd name="connsiteX1179" fmla="*/ 548889 w 2663946"/>
                <a:gd name="connsiteY1179" fmla="*/ 114591 h 410520"/>
                <a:gd name="connsiteX1180" fmla="*/ 561180 w 2663946"/>
                <a:gd name="connsiteY1180" fmla="*/ 116754 h 410520"/>
                <a:gd name="connsiteX1181" fmla="*/ 568554 w 2663946"/>
                <a:gd name="connsiteY1181" fmla="*/ 121351 h 410520"/>
                <a:gd name="connsiteX1182" fmla="*/ 571995 w 2663946"/>
                <a:gd name="connsiteY1182" fmla="*/ 124595 h 410520"/>
                <a:gd name="connsiteX1183" fmla="*/ 575436 w 2663946"/>
                <a:gd name="connsiteY1183" fmla="*/ 128921 h 410520"/>
                <a:gd name="connsiteX1184" fmla="*/ 577403 w 2663946"/>
                <a:gd name="connsiteY1184" fmla="*/ 132436 h 410520"/>
                <a:gd name="connsiteX1185" fmla="*/ 579615 w 2663946"/>
                <a:gd name="connsiteY1185" fmla="*/ 137844 h 410520"/>
                <a:gd name="connsiteX1186" fmla="*/ 580598 w 2663946"/>
                <a:gd name="connsiteY1186" fmla="*/ 141359 h 410520"/>
                <a:gd name="connsiteX1187" fmla="*/ 581581 w 2663946"/>
                <a:gd name="connsiteY1187" fmla="*/ 146496 h 410520"/>
                <a:gd name="connsiteX1188" fmla="*/ 581336 w 2663946"/>
                <a:gd name="connsiteY1188" fmla="*/ 160826 h 410520"/>
                <a:gd name="connsiteX1189" fmla="*/ 580352 w 2663946"/>
                <a:gd name="connsiteY1189" fmla="*/ 165693 h 410520"/>
                <a:gd name="connsiteX1190" fmla="*/ 579123 w 2663946"/>
                <a:gd name="connsiteY1190" fmla="*/ 169478 h 410520"/>
                <a:gd name="connsiteX1191" fmla="*/ 578140 w 2663946"/>
                <a:gd name="connsiteY1191" fmla="*/ 171912 h 410520"/>
                <a:gd name="connsiteX1192" fmla="*/ 575928 w 2663946"/>
                <a:gd name="connsiteY1192" fmla="*/ 176238 h 410520"/>
                <a:gd name="connsiteX1193" fmla="*/ 573715 w 2663946"/>
                <a:gd name="connsiteY1193" fmla="*/ 179482 h 410520"/>
                <a:gd name="connsiteX1194" fmla="*/ 570274 w 2663946"/>
                <a:gd name="connsiteY1194" fmla="*/ 183268 h 410520"/>
                <a:gd name="connsiteX1195" fmla="*/ 567079 w 2663946"/>
                <a:gd name="connsiteY1195" fmla="*/ 185971 h 410520"/>
                <a:gd name="connsiteX1196" fmla="*/ 561425 w 2663946"/>
                <a:gd name="connsiteY1196" fmla="*/ 189216 h 410520"/>
                <a:gd name="connsiteX1197" fmla="*/ 553559 w 2663946"/>
                <a:gd name="connsiteY1197" fmla="*/ 191379 h 410520"/>
                <a:gd name="connsiteX1198" fmla="*/ 552331 w 2663946"/>
                <a:gd name="connsiteY1198" fmla="*/ 191650 h 410520"/>
                <a:gd name="connsiteX1199" fmla="*/ 548152 w 2663946"/>
                <a:gd name="connsiteY1199" fmla="*/ 191650 h 410520"/>
                <a:gd name="connsiteX1200" fmla="*/ 547906 w 2663946"/>
                <a:gd name="connsiteY1200" fmla="*/ 191650 h 410520"/>
                <a:gd name="connsiteX1201" fmla="*/ 534879 w 2663946"/>
                <a:gd name="connsiteY1201" fmla="*/ 186783 h 410520"/>
                <a:gd name="connsiteX1202" fmla="*/ 530208 w 2663946"/>
                <a:gd name="connsiteY1202" fmla="*/ 182727 h 410520"/>
                <a:gd name="connsiteX1203" fmla="*/ 527013 w 2663946"/>
                <a:gd name="connsiteY1203" fmla="*/ 178942 h 410520"/>
                <a:gd name="connsiteX1204" fmla="*/ 524801 w 2663946"/>
                <a:gd name="connsiteY1204" fmla="*/ 175427 h 410520"/>
                <a:gd name="connsiteX1205" fmla="*/ 522588 w 2663946"/>
                <a:gd name="connsiteY1205" fmla="*/ 171101 h 410520"/>
                <a:gd name="connsiteX1206" fmla="*/ 521359 w 2663946"/>
                <a:gd name="connsiteY1206" fmla="*/ 168126 h 410520"/>
                <a:gd name="connsiteX1207" fmla="*/ 520376 w 2663946"/>
                <a:gd name="connsiteY1207" fmla="*/ 164882 h 410520"/>
                <a:gd name="connsiteX1208" fmla="*/ 519147 w 2663946"/>
                <a:gd name="connsiteY1208" fmla="*/ 159204 h 410520"/>
                <a:gd name="connsiteX1209" fmla="*/ 518901 w 2663946"/>
                <a:gd name="connsiteY1209" fmla="*/ 156230 h 410520"/>
                <a:gd name="connsiteX1210" fmla="*/ 519147 w 2663946"/>
                <a:gd name="connsiteY1210" fmla="*/ 156500 h 410520"/>
                <a:gd name="connsiteX1211" fmla="*/ 519147 w 2663946"/>
                <a:gd name="connsiteY1211" fmla="*/ 150822 h 410520"/>
                <a:gd name="connsiteX1212" fmla="*/ 519147 w 2663946"/>
                <a:gd name="connsiteY1212" fmla="*/ 150552 h 410520"/>
                <a:gd name="connsiteX1213" fmla="*/ 519639 w 2663946"/>
                <a:gd name="connsiteY1213" fmla="*/ 145955 h 410520"/>
                <a:gd name="connsiteX1214" fmla="*/ 520868 w 2663946"/>
                <a:gd name="connsiteY1214" fmla="*/ 140548 h 410520"/>
                <a:gd name="connsiteX1215" fmla="*/ 521851 w 2663946"/>
                <a:gd name="connsiteY1215" fmla="*/ 137303 h 410520"/>
                <a:gd name="connsiteX1216" fmla="*/ 524063 w 2663946"/>
                <a:gd name="connsiteY1216" fmla="*/ 132166 h 410520"/>
                <a:gd name="connsiteX1217" fmla="*/ 526275 w 2663946"/>
                <a:gd name="connsiteY1217" fmla="*/ 128381 h 410520"/>
                <a:gd name="connsiteX1218" fmla="*/ 528488 w 2663946"/>
                <a:gd name="connsiteY1218" fmla="*/ 125406 h 410520"/>
                <a:gd name="connsiteX1219" fmla="*/ 530700 w 2663946"/>
                <a:gd name="connsiteY1219" fmla="*/ 122973 h 410520"/>
                <a:gd name="connsiteX1220" fmla="*/ 535370 w 2663946"/>
                <a:gd name="connsiteY1220" fmla="*/ 119188 h 410520"/>
                <a:gd name="connsiteX1221" fmla="*/ 539303 w 2663946"/>
                <a:gd name="connsiteY1221" fmla="*/ 117025 h 410520"/>
                <a:gd name="connsiteX1222" fmla="*/ 548889 w 2663946"/>
                <a:gd name="connsiteY1222" fmla="*/ 114591 h 410520"/>
                <a:gd name="connsiteX1223" fmla="*/ 366938 w 2663946"/>
                <a:gd name="connsiteY1223" fmla="*/ 114591 h 410520"/>
                <a:gd name="connsiteX1224" fmla="*/ 379228 w 2663946"/>
                <a:gd name="connsiteY1224" fmla="*/ 116754 h 410520"/>
                <a:gd name="connsiteX1225" fmla="*/ 386603 w 2663946"/>
                <a:gd name="connsiteY1225" fmla="*/ 121351 h 410520"/>
                <a:gd name="connsiteX1226" fmla="*/ 390044 w 2663946"/>
                <a:gd name="connsiteY1226" fmla="*/ 124595 h 410520"/>
                <a:gd name="connsiteX1227" fmla="*/ 393485 w 2663946"/>
                <a:gd name="connsiteY1227" fmla="*/ 128921 h 410520"/>
                <a:gd name="connsiteX1228" fmla="*/ 395452 w 2663946"/>
                <a:gd name="connsiteY1228" fmla="*/ 132436 h 410520"/>
                <a:gd name="connsiteX1229" fmla="*/ 397664 w 2663946"/>
                <a:gd name="connsiteY1229" fmla="*/ 137844 h 410520"/>
                <a:gd name="connsiteX1230" fmla="*/ 398647 w 2663946"/>
                <a:gd name="connsiteY1230" fmla="*/ 141359 h 410520"/>
                <a:gd name="connsiteX1231" fmla="*/ 399630 w 2663946"/>
                <a:gd name="connsiteY1231" fmla="*/ 146496 h 410520"/>
                <a:gd name="connsiteX1232" fmla="*/ 399384 w 2663946"/>
                <a:gd name="connsiteY1232" fmla="*/ 160826 h 410520"/>
                <a:gd name="connsiteX1233" fmla="*/ 398401 w 2663946"/>
                <a:gd name="connsiteY1233" fmla="*/ 165693 h 410520"/>
                <a:gd name="connsiteX1234" fmla="*/ 397172 w 2663946"/>
                <a:gd name="connsiteY1234" fmla="*/ 169478 h 410520"/>
                <a:gd name="connsiteX1235" fmla="*/ 396189 w 2663946"/>
                <a:gd name="connsiteY1235" fmla="*/ 171912 h 410520"/>
                <a:gd name="connsiteX1236" fmla="*/ 393977 w 2663946"/>
                <a:gd name="connsiteY1236" fmla="*/ 176238 h 410520"/>
                <a:gd name="connsiteX1237" fmla="*/ 391764 w 2663946"/>
                <a:gd name="connsiteY1237" fmla="*/ 179482 h 410520"/>
                <a:gd name="connsiteX1238" fmla="*/ 388323 w 2663946"/>
                <a:gd name="connsiteY1238" fmla="*/ 183268 h 410520"/>
                <a:gd name="connsiteX1239" fmla="*/ 385128 w 2663946"/>
                <a:gd name="connsiteY1239" fmla="*/ 185971 h 410520"/>
                <a:gd name="connsiteX1240" fmla="*/ 379474 w 2663946"/>
                <a:gd name="connsiteY1240" fmla="*/ 189216 h 410520"/>
                <a:gd name="connsiteX1241" fmla="*/ 371609 w 2663946"/>
                <a:gd name="connsiteY1241" fmla="*/ 191379 h 410520"/>
                <a:gd name="connsiteX1242" fmla="*/ 370380 w 2663946"/>
                <a:gd name="connsiteY1242" fmla="*/ 191650 h 410520"/>
                <a:gd name="connsiteX1243" fmla="*/ 366201 w 2663946"/>
                <a:gd name="connsiteY1243" fmla="*/ 191650 h 410520"/>
                <a:gd name="connsiteX1244" fmla="*/ 365955 w 2663946"/>
                <a:gd name="connsiteY1244" fmla="*/ 191650 h 410520"/>
                <a:gd name="connsiteX1245" fmla="*/ 352927 w 2663946"/>
                <a:gd name="connsiteY1245" fmla="*/ 186783 h 410520"/>
                <a:gd name="connsiteX1246" fmla="*/ 348257 w 2663946"/>
                <a:gd name="connsiteY1246" fmla="*/ 182727 h 410520"/>
                <a:gd name="connsiteX1247" fmla="*/ 345062 w 2663946"/>
                <a:gd name="connsiteY1247" fmla="*/ 178942 h 410520"/>
                <a:gd name="connsiteX1248" fmla="*/ 342850 w 2663946"/>
                <a:gd name="connsiteY1248" fmla="*/ 175427 h 410520"/>
                <a:gd name="connsiteX1249" fmla="*/ 340637 w 2663946"/>
                <a:gd name="connsiteY1249" fmla="*/ 171101 h 410520"/>
                <a:gd name="connsiteX1250" fmla="*/ 339408 w 2663946"/>
                <a:gd name="connsiteY1250" fmla="*/ 168126 h 410520"/>
                <a:gd name="connsiteX1251" fmla="*/ 338425 w 2663946"/>
                <a:gd name="connsiteY1251" fmla="*/ 164882 h 410520"/>
                <a:gd name="connsiteX1252" fmla="*/ 337196 w 2663946"/>
                <a:gd name="connsiteY1252" fmla="*/ 159204 h 410520"/>
                <a:gd name="connsiteX1253" fmla="*/ 336950 w 2663946"/>
                <a:gd name="connsiteY1253" fmla="*/ 156230 h 410520"/>
                <a:gd name="connsiteX1254" fmla="*/ 337196 w 2663946"/>
                <a:gd name="connsiteY1254" fmla="*/ 156500 h 410520"/>
                <a:gd name="connsiteX1255" fmla="*/ 337196 w 2663946"/>
                <a:gd name="connsiteY1255" fmla="*/ 150822 h 410520"/>
                <a:gd name="connsiteX1256" fmla="*/ 337196 w 2663946"/>
                <a:gd name="connsiteY1256" fmla="*/ 150552 h 410520"/>
                <a:gd name="connsiteX1257" fmla="*/ 337687 w 2663946"/>
                <a:gd name="connsiteY1257" fmla="*/ 145955 h 410520"/>
                <a:gd name="connsiteX1258" fmla="*/ 338917 w 2663946"/>
                <a:gd name="connsiteY1258" fmla="*/ 140548 h 410520"/>
                <a:gd name="connsiteX1259" fmla="*/ 339900 w 2663946"/>
                <a:gd name="connsiteY1259" fmla="*/ 137303 h 410520"/>
                <a:gd name="connsiteX1260" fmla="*/ 342112 w 2663946"/>
                <a:gd name="connsiteY1260" fmla="*/ 132166 h 410520"/>
                <a:gd name="connsiteX1261" fmla="*/ 344324 w 2663946"/>
                <a:gd name="connsiteY1261" fmla="*/ 128381 h 410520"/>
                <a:gd name="connsiteX1262" fmla="*/ 346536 w 2663946"/>
                <a:gd name="connsiteY1262" fmla="*/ 125406 h 410520"/>
                <a:gd name="connsiteX1263" fmla="*/ 348749 w 2663946"/>
                <a:gd name="connsiteY1263" fmla="*/ 122973 h 410520"/>
                <a:gd name="connsiteX1264" fmla="*/ 353419 w 2663946"/>
                <a:gd name="connsiteY1264" fmla="*/ 119188 h 410520"/>
                <a:gd name="connsiteX1265" fmla="*/ 357352 w 2663946"/>
                <a:gd name="connsiteY1265" fmla="*/ 117025 h 410520"/>
                <a:gd name="connsiteX1266" fmla="*/ 366938 w 2663946"/>
                <a:gd name="connsiteY1266" fmla="*/ 114591 h 410520"/>
                <a:gd name="connsiteX1267" fmla="*/ 123893 w 2663946"/>
                <a:gd name="connsiteY1267" fmla="*/ 114591 h 410520"/>
                <a:gd name="connsiteX1268" fmla="*/ 136183 w 2663946"/>
                <a:gd name="connsiteY1268" fmla="*/ 116754 h 410520"/>
                <a:gd name="connsiteX1269" fmla="*/ 143557 w 2663946"/>
                <a:gd name="connsiteY1269" fmla="*/ 121351 h 410520"/>
                <a:gd name="connsiteX1270" fmla="*/ 146998 w 2663946"/>
                <a:gd name="connsiteY1270" fmla="*/ 124595 h 410520"/>
                <a:gd name="connsiteX1271" fmla="*/ 150439 w 2663946"/>
                <a:gd name="connsiteY1271" fmla="*/ 128921 h 410520"/>
                <a:gd name="connsiteX1272" fmla="*/ 152406 w 2663946"/>
                <a:gd name="connsiteY1272" fmla="*/ 132436 h 410520"/>
                <a:gd name="connsiteX1273" fmla="*/ 154618 w 2663946"/>
                <a:gd name="connsiteY1273" fmla="*/ 137844 h 410520"/>
                <a:gd name="connsiteX1274" fmla="*/ 155601 w 2663946"/>
                <a:gd name="connsiteY1274" fmla="*/ 141359 h 410520"/>
                <a:gd name="connsiteX1275" fmla="*/ 156584 w 2663946"/>
                <a:gd name="connsiteY1275" fmla="*/ 146496 h 410520"/>
                <a:gd name="connsiteX1276" fmla="*/ 156339 w 2663946"/>
                <a:gd name="connsiteY1276" fmla="*/ 160826 h 410520"/>
                <a:gd name="connsiteX1277" fmla="*/ 155355 w 2663946"/>
                <a:gd name="connsiteY1277" fmla="*/ 165693 h 410520"/>
                <a:gd name="connsiteX1278" fmla="*/ 154126 w 2663946"/>
                <a:gd name="connsiteY1278" fmla="*/ 169478 h 410520"/>
                <a:gd name="connsiteX1279" fmla="*/ 153143 w 2663946"/>
                <a:gd name="connsiteY1279" fmla="*/ 171912 h 410520"/>
                <a:gd name="connsiteX1280" fmla="*/ 150931 w 2663946"/>
                <a:gd name="connsiteY1280" fmla="*/ 176238 h 410520"/>
                <a:gd name="connsiteX1281" fmla="*/ 148719 w 2663946"/>
                <a:gd name="connsiteY1281" fmla="*/ 179482 h 410520"/>
                <a:gd name="connsiteX1282" fmla="*/ 145277 w 2663946"/>
                <a:gd name="connsiteY1282" fmla="*/ 183268 h 410520"/>
                <a:gd name="connsiteX1283" fmla="*/ 142082 w 2663946"/>
                <a:gd name="connsiteY1283" fmla="*/ 185971 h 410520"/>
                <a:gd name="connsiteX1284" fmla="*/ 136428 w 2663946"/>
                <a:gd name="connsiteY1284" fmla="*/ 189216 h 410520"/>
                <a:gd name="connsiteX1285" fmla="*/ 128563 w 2663946"/>
                <a:gd name="connsiteY1285" fmla="*/ 191379 h 410520"/>
                <a:gd name="connsiteX1286" fmla="*/ 127334 w 2663946"/>
                <a:gd name="connsiteY1286" fmla="*/ 191650 h 410520"/>
                <a:gd name="connsiteX1287" fmla="*/ 123155 w 2663946"/>
                <a:gd name="connsiteY1287" fmla="*/ 191650 h 410520"/>
                <a:gd name="connsiteX1288" fmla="*/ 122909 w 2663946"/>
                <a:gd name="connsiteY1288" fmla="*/ 191650 h 410520"/>
                <a:gd name="connsiteX1289" fmla="*/ 109882 w 2663946"/>
                <a:gd name="connsiteY1289" fmla="*/ 186783 h 410520"/>
                <a:gd name="connsiteX1290" fmla="*/ 105211 w 2663946"/>
                <a:gd name="connsiteY1290" fmla="*/ 182727 h 410520"/>
                <a:gd name="connsiteX1291" fmla="*/ 102016 w 2663946"/>
                <a:gd name="connsiteY1291" fmla="*/ 178942 h 410520"/>
                <a:gd name="connsiteX1292" fmla="*/ 99804 w 2663946"/>
                <a:gd name="connsiteY1292" fmla="*/ 175427 h 410520"/>
                <a:gd name="connsiteX1293" fmla="*/ 97591 w 2663946"/>
                <a:gd name="connsiteY1293" fmla="*/ 171101 h 410520"/>
                <a:gd name="connsiteX1294" fmla="*/ 96362 w 2663946"/>
                <a:gd name="connsiteY1294" fmla="*/ 168126 h 410520"/>
                <a:gd name="connsiteX1295" fmla="*/ 95379 w 2663946"/>
                <a:gd name="connsiteY1295" fmla="*/ 164882 h 410520"/>
                <a:gd name="connsiteX1296" fmla="*/ 94150 w 2663946"/>
                <a:gd name="connsiteY1296" fmla="*/ 159204 h 410520"/>
                <a:gd name="connsiteX1297" fmla="*/ 93904 w 2663946"/>
                <a:gd name="connsiteY1297" fmla="*/ 156230 h 410520"/>
                <a:gd name="connsiteX1298" fmla="*/ 94150 w 2663946"/>
                <a:gd name="connsiteY1298" fmla="*/ 156500 h 410520"/>
                <a:gd name="connsiteX1299" fmla="*/ 94150 w 2663946"/>
                <a:gd name="connsiteY1299" fmla="*/ 150822 h 410520"/>
                <a:gd name="connsiteX1300" fmla="*/ 94150 w 2663946"/>
                <a:gd name="connsiteY1300" fmla="*/ 150552 h 410520"/>
                <a:gd name="connsiteX1301" fmla="*/ 94642 w 2663946"/>
                <a:gd name="connsiteY1301" fmla="*/ 145955 h 410520"/>
                <a:gd name="connsiteX1302" fmla="*/ 95871 w 2663946"/>
                <a:gd name="connsiteY1302" fmla="*/ 140548 h 410520"/>
                <a:gd name="connsiteX1303" fmla="*/ 96854 w 2663946"/>
                <a:gd name="connsiteY1303" fmla="*/ 137303 h 410520"/>
                <a:gd name="connsiteX1304" fmla="*/ 99066 w 2663946"/>
                <a:gd name="connsiteY1304" fmla="*/ 132166 h 410520"/>
                <a:gd name="connsiteX1305" fmla="*/ 101279 w 2663946"/>
                <a:gd name="connsiteY1305" fmla="*/ 128381 h 410520"/>
                <a:gd name="connsiteX1306" fmla="*/ 103491 w 2663946"/>
                <a:gd name="connsiteY1306" fmla="*/ 125406 h 410520"/>
                <a:gd name="connsiteX1307" fmla="*/ 105703 w 2663946"/>
                <a:gd name="connsiteY1307" fmla="*/ 122973 h 410520"/>
                <a:gd name="connsiteX1308" fmla="*/ 110373 w 2663946"/>
                <a:gd name="connsiteY1308" fmla="*/ 119188 h 410520"/>
                <a:gd name="connsiteX1309" fmla="*/ 114306 w 2663946"/>
                <a:gd name="connsiteY1309" fmla="*/ 117025 h 410520"/>
                <a:gd name="connsiteX1310" fmla="*/ 123893 w 2663946"/>
                <a:gd name="connsiteY1310" fmla="*/ 114591 h 410520"/>
                <a:gd name="connsiteX1311" fmla="*/ 33147 w 2663946"/>
                <a:gd name="connsiteY1311" fmla="*/ 113953 h 410520"/>
                <a:gd name="connsiteX1312" fmla="*/ 57942 w 2663946"/>
                <a:gd name="connsiteY1312" fmla="*/ 134162 h 410520"/>
                <a:gd name="connsiteX1313" fmla="*/ 58422 w 2663946"/>
                <a:gd name="connsiteY1313" fmla="*/ 138920 h 410520"/>
                <a:gd name="connsiteX1314" fmla="*/ 59840 w 2663946"/>
                <a:gd name="connsiteY1314" fmla="*/ 138920 h 410520"/>
                <a:gd name="connsiteX1315" fmla="*/ 66294 w 2663946"/>
                <a:gd name="connsiteY1315" fmla="*/ 145206 h 410520"/>
                <a:gd name="connsiteX1316" fmla="*/ 66294 w 2663946"/>
                <a:gd name="connsiteY1316" fmla="*/ 194928 h 410520"/>
                <a:gd name="connsiteX1317" fmla="*/ 59840 w 2663946"/>
                <a:gd name="connsiteY1317" fmla="*/ 201214 h 410520"/>
                <a:gd name="connsiteX1318" fmla="*/ 6453 w 2663946"/>
                <a:gd name="connsiteY1318" fmla="*/ 201214 h 410520"/>
                <a:gd name="connsiteX1319" fmla="*/ 0 w 2663946"/>
                <a:gd name="connsiteY1319" fmla="*/ 194928 h 410520"/>
                <a:gd name="connsiteX1320" fmla="*/ 0 w 2663946"/>
                <a:gd name="connsiteY1320" fmla="*/ 145206 h 410520"/>
                <a:gd name="connsiteX1321" fmla="*/ 6453 w 2663946"/>
                <a:gd name="connsiteY1321" fmla="*/ 138920 h 410520"/>
                <a:gd name="connsiteX1322" fmla="*/ 7288 w 2663946"/>
                <a:gd name="connsiteY1322" fmla="*/ 138920 h 410520"/>
                <a:gd name="connsiteX1323" fmla="*/ 7872 w 2663946"/>
                <a:gd name="connsiteY1323" fmla="*/ 138920 h 410520"/>
                <a:gd name="connsiteX1324" fmla="*/ 8351 w 2663946"/>
                <a:gd name="connsiteY1324" fmla="*/ 134162 h 410520"/>
                <a:gd name="connsiteX1325" fmla="*/ 33147 w 2663946"/>
                <a:gd name="connsiteY1325" fmla="*/ 113953 h 410520"/>
                <a:gd name="connsiteX1326" fmla="*/ 2537931 w 2663946"/>
                <a:gd name="connsiteY1326" fmla="*/ 106365 h 410520"/>
                <a:gd name="connsiteX1327" fmla="*/ 2562727 w 2663946"/>
                <a:gd name="connsiteY1327" fmla="*/ 126574 h 410520"/>
                <a:gd name="connsiteX1328" fmla="*/ 2563206 w 2663946"/>
                <a:gd name="connsiteY1328" fmla="*/ 131332 h 410520"/>
                <a:gd name="connsiteX1329" fmla="*/ 2564625 w 2663946"/>
                <a:gd name="connsiteY1329" fmla="*/ 131332 h 410520"/>
                <a:gd name="connsiteX1330" fmla="*/ 2571078 w 2663946"/>
                <a:gd name="connsiteY1330" fmla="*/ 137618 h 410520"/>
                <a:gd name="connsiteX1331" fmla="*/ 2571078 w 2663946"/>
                <a:gd name="connsiteY1331" fmla="*/ 187340 h 410520"/>
                <a:gd name="connsiteX1332" fmla="*/ 2564625 w 2663946"/>
                <a:gd name="connsiteY1332" fmla="*/ 193626 h 410520"/>
                <a:gd name="connsiteX1333" fmla="*/ 2511238 w 2663946"/>
                <a:gd name="connsiteY1333" fmla="*/ 193626 h 410520"/>
                <a:gd name="connsiteX1334" fmla="*/ 2504784 w 2663946"/>
                <a:gd name="connsiteY1334" fmla="*/ 187340 h 410520"/>
                <a:gd name="connsiteX1335" fmla="*/ 2504784 w 2663946"/>
                <a:gd name="connsiteY1335" fmla="*/ 137618 h 410520"/>
                <a:gd name="connsiteX1336" fmla="*/ 2511238 w 2663946"/>
                <a:gd name="connsiteY1336" fmla="*/ 131332 h 410520"/>
                <a:gd name="connsiteX1337" fmla="*/ 2512072 w 2663946"/>
                <a:gd name="connsiteY1337" fmla="*/ 131332 h 410520"/>
                <a:gd name="connsiteX1338" fmla="*/ 2512656 w 2663946"/>
                <a:gd name="connsiteY1338" fmla="*/ 131332 h 410520"/>
                <a:gd name="connsiteX1339" fmla="*/ 2513136 w 2663946"/>
                <a:gd name="connsiteY1339" fmla="*/ 126574 h 410520"/>
                <a:gd name="connsiteX1340" fmla="*/ 2537931 w 2663946"/>
                <a:gd name="connsiteY1340" fmla="*/ 106365 h 410520"/>
                <a:gd name="connsiteX1341" fmla="*/ 2112934 w 2663946"/>
                <a:gd name="connsiteY1341" fmla="*/ 106365 h 410520"/>
                <a:gd name="connsiteX1342" fmla="*/ 2137730 w 2663946"/>
                <a:gd name="connsiteY1342" fmla="*/ 126574 h 410520"/>
                <a:gd name="connsiteX1343" fmla="*/ 2138209 w 2663946"/>
                <a:gd name="connsiteY1343" fmla="*/ 131332 h 410520"/>
                <a:gd name="connsiteX1344" fmla="*/ 2139628 w 2663946"/>
                <a:gd name="connsiteY1344" fmla="*/ 131332 h 410520"/>
                <a:gd name="connsiteX1345" fmla="*/ 2146081 w 2663946"/>
                <a:gd name="connsiteY1345" fmla="*/ 137618 h 410520"/>
                <a:gd name="connsiteX1346" fmla="*/ 2146081 w 2663946"/>
                <a:gd name="connsiteY1346" fmla="*/ 187340 h 410520"/>
                <a:gd name="connsiteX1347" fmla="*/ 2139628 w 2663946"/>
                <a:gd name="connsiteY1347" fmla="*/ 193626 h 410520"/>
                <a:gd name="connsiteX1348" fmla="*/ 2086241 w 2663946"/>
                <a:gd name="connsiteY1348" fmla="*/ 193626 h 410520"/>
                <a:gd name="connsiteX1349" fmla="*/ 2079787 w 2663946"/>
                <a:gd name="connsiteY1349" fmla="*/ 187340 h 410520"/>
                <a:gd name="connsiteX1350" fmla="*/ 2079787 w 2663946"/>
                <a:gd name="connsiteY1350" fmla="*/ 137618 h 410520"/>
                <a:gd name="connsiteX1351" fmla="*/ 2086241 w 2663946"/>
                <a:gd name="connsiteY1351" fmla="*/ 131332 h 410520"/>
                <a:gd name="connsiteX1352" fmla="*/ 2087075 w 2663946"/>
                <a:gd name="connsiteY1352" fmla="*/ 131332 h 410520"/>
                <a:gd name="connsiteX1353" fmla="*/ 2087659 w 2663946"/>
                <a:gd name="connsiteY1353" fmla="*/ 131332 h 410520"/>
                <a:gd name="connsiteX1354" fmla="*/ 2088139 w 2663946"/>
                <a:gd name="connsiteY1354" fmla="*/ 126574 h 410520"/>
                <a:gd name="connsiteX1355" fmla="*/ 2112934 w 2663946"/>
                <a:gd name="connsiteY1355" fmla="*/ 106365 h 410520"/>
                <a:gd name="connsiteX1356" fmla="*/ 1854966 w 2663946"/>
                <a:gd name="connsiteY1356" fmla="*/ 106365 h 410520"/>
                <a:gd name="connsiteX1357" fmla="*/ 1879762 w 2663946"/>
                <a:gd name="connsiteY1357" fmla="*/ 126574 h 410520"/>
                <a:gd name="connsiteX1358" fmla="*/ 1880241 w 2663946"/>
                <a:gd name="connsiteY1358" fmla="*/ 131332 h 410520"/>
                <a:gd name="connsiteX1359" fmla="*/ 1881660 w 2663946"/>
                <a:gd name="connsiteY1359" fmla="*/ 131332 h 410520"/>
                <a:gd name="connsiteX1360" fmla="*/ 1888113 w 2663946"/>
                <a:gd name="connsiteY1360" fmla="*/ 137618 h 410520"/>
                <a:gd name="connsiteX1361" fmla="*/ 1888113 w 2663946"/>
                <a:gd name="connsiteY1361" fmla="*/ 187340 h 410520"/>
                <a:gd name="connsiteX1362" fmla="*/ 1881660 w 2663946"/>
                <a:gd name="connsiteY1362" fmla="*/ 193626 h 410520"/>
                <a:gd name="connsiteX1363" fmla="*/ 1828273 w 2663946"/>
                <a:gd name="connsiteY1363" fmla="*/ 193626 h 410520"/>
                <a:gd name="connsiteX1364" fmla="*/ 1821819 w 2663946"/>
                <a:gd name="connsiteY1364" fmla="*/ 187340 h 410520"/>
                <a:gd name="connsiteX1365" fmla="*/ 1821819 w 2663946"/>
                <a:gd name="connsiteY1365" fmla="*/ 137618 h 410520"/>
                <a:gd name="connsiteX1366" fmla="*/ 1828273 w 2663946"/>
                <a:gd name="connsiteY1366" fmla="*/ 131332 h 410520"/>
                <a:gd name="connsiteX1367" fmla="*/ 1829107 w 2663946"/>
                <a:gd name="connsiteY1367" fmla="*/ 131332 h 410520"/>
                <a:gd name="connsiteX1368" fmla="*/ 1829691 w 2663946"/>
                <a:gd name="connsiteY1368" fmla="*/ 131332 h 410520"/>
                <a:gd name="connsiteX1369" fmla="*/ 1830171 w 2663946"/>
                <a:gd name="connsiteY1369" fmla="*/ 126574 h 410520"/>
                <a:gd name="connsiteX1370" fmla="*/ 1854966 w 2663946"/>
                <a:gd name="connsiteY1370" fmla="*/ 106365 h 410520"/>
                <a:gd name="connsiteX1371" fmla="*/ 1764027 w 2663946"/>
                <a:gd name="connsiteY1371" fmla="*/ 106365 h 410520"/>
                <a:gd name="connsiteX1372" fmla="*/ 1788823 w 2663946"/>
                <a:gd name="connsiteY1372" fmla="*/ 126574 h 410520"/>
                <a:gd name="connsiteX1373" fmla="*/ 1789302 w 2663946"/>
                <a:gd name="connsiteY1373" fmla="*/ 131332 h 410520"/>
                <a:gd name="connsiteX1374" fmla="*/ 1790721 w 2663946"/>
                <a:gd name="connsiteY1374" fmla="*/ 131332 h 410520"/>
                <a:gd name="connsiteX1375" fmla="*/ 1797174 w 2663946"/>
                <a:gd name="connsiteY1375" fmla="*/ 137618 h 410520"/>
                <a:gd name="connsiteX1376" fmla="*/ 1797174 w 2663946"/>
                <a:gd name="connsiteY1376" fmla="*/ 187340 h 410520"/>
                <a:gd name="connsiteX1377" fmla="*/ 1790721 w 2663946"/>
                <a:gd name="connsiteY1377" fmla="*/ 193626 h 410520"/>
                <a:gd name="connsiteX1378" fmla="*/ 1737333 w 2663946"/>
                <a:gd name="connsiteY1378" fmla="*/ 193626 h 410520"/>
                <a:gd name="connsiteX1379" fmla="*/ 1730880 w 2663946"/>
                <a:gd name="connsiteY1379" fmla="*/ 187340 h 410520"/>
                <a:gd name="connsiteX1380" fmla="*/ 1730880 w 2663946"/>
                <a:gd name="connsiteY1380" fmla="*/ 137618 h 410520"/>
                <a:gd name="connsiteX1381" fmla="*/ 1737333 w 2663946"/>
                <a:gd name="connsiteY1381" fmla="*/ 131332 h 410520"/>
                <a:gd name="connsiteX1382" fmla="*/ 1738168 w 2663946"/>
                <a:gd name="connsiteY1382" fmla="*/ 131332 h 410520"/>
                <a:gd name="connsiteX1383" fmla="*/ 1738752 w 2663946"/>
                <a:gd name="connsiteY1383" fmla="*/ 131332 h 410520"/>
                <a:gd name="connsiteX1384" fmla="*/ 1739232 w 2663946"/>
                <a:gd name="connsiteY1384" fmla="*/ 126574 h 410520"/>
                <a:gd name="connsiteX1385" fmla="*/ 1764027 w 2663946"/>
                <a:gd name="connsiteY1385" fmla="*/ 106365 h 410520"/>
                <a:gd name="connsiteX1386" fmla="*/ 1506059 w 2663946"/>
                <a:gd name="connsiteY1386" fmla="*/ 106365 h 410520"/>
                <a:gd name="connsiteX1387" fmla="*/ 1530855 w 2663946"/>
                <a:gd name="connsiteY1387" fmla="*/ 126574 h 410520"/>
                <a:gd name="connsiteX1388" fmla="*/ 1531334 w 2663946"/>
                <a:gd name="connsiteY1388" fmla="*/ 131332 h 410520"/>
                <a:gd name="connsiteX1389" fmla="*/ 1532753 w 2663946"/>
                <a:gd name="connsiteY1389" fmla="*/ 131332 h 410520"/>
                <a:gd name="connsiteX1390" fmla="*/ 1539206 w 2663946"/>
                <a:gd name="connsiteY1390" fmla="*/ 137618 h 410520"/>
                <a:gd name="connsiteX1391" fmla="*/ 1539206 w 2663946"/>
                <a:gd name="connsiteY1391" fmla="*/ 187340 h 410520"/>
                <a:gd name="connsiteX1392" fmla="*/ 1532753 w 2663946"/>
                <a:gd name="connsiteY1392" fmla="*/ 193626 h 410520"/>
                <a:gd name="connsiteX1393" fmla="*/ 1479365 w 2663946"/>
                <a:gd name="connsiteY1393" fmla="*/ 193626 h 410520"/>
                <a:gd name="connsiteX1394" fmla="*/ 1472912 w 2663946"/>
                <a:gd name="connsiteY1394" fmla="*/ 187340 h 410520"/>
                <a:gd name="connsiteX1395" fmla="*/ 1472912 w 2663946"/>
                <a:gd name="connsiteY1395" fmla="*/ 137618 h 410520"/>
                <a:gd name="connsiteX1396" fmla="*/ 1479365 w 2663946"/>
                <a:gd name="connsiteY1396" fmla="*/ 131332 h 410520"/>
                <a:gd name="connsiteX1397" fmla="*/ 1480200 w 2663946"/>
                <a:gd name="connsiteY1397" fmla="*/ 131332 h 410520"/>
                <a:gd name="connsiteX1398" fmla="*/ 1480784 w 2663946"/>
                <a:gd name="connsiteY1398" fmla="*/ 131332 h 410520"/>
                <a:gd name="connsiteX1399" fmla="*/ 1481264 w 2663946"/>
                <a:gd name="connsiteY1399" fmla="*/ 126574 h 410520"/>
                <a:gd name="connsiteX1400" fmla="*/ 1506059 w 2663946"/>
                <a:gd name="connsiteY1400" fmla="*/ 106365 h 410520"/>
                <a:gd name="connsiteX1401" fmla="*/ 1415120 w 2663946"/>
                <a:gd name="connsiteY1401" fmla="*/ 106365 h 410520"/>
                <a:gd name="connsiteX1402" fmla="*/ 1439916 w 2663946"/>
                <a:gd name="connsiteY1402" fmla="*/ 126574 h 410520"/>
                <a:gd name="connsiteX1403" fmla="*/ 1440395 w 2663946"/>
                <a:gd name="connsiteY1403" fmla="*/ 131332 h 410520"/>
                <a:gd name="connsiteX1404" fmla="*/ 1441814 w 2663946"/>
                <a:gd name="connsiteY1404" fmla="*/ 131332 h 410520"/>
                <a:gd name="connsiteX1405" fmla="*/ 1448267 w 2663946"/>
                <a:gd name="connsiteY1405" fmla="*/ 137618 h 410520"/>
                <a:gd name="connsiteX1406" fmla="*/ 1448267 w 2663946"/>
                <a:gd name="connsiteY1406" fmla="*/ 187340 h 410520"/>
                <a:gd name="connsiteX1407" fmla="*/ 1441814 w 2663946"/>
                <a:gd name="connsiteY1407" fmla="*/ 193626 h 410520"/>
                <a:gd name="connsiteX1408" fmla="*/ 1388426 w 2663946"/>
                <a:gd name="connsiteY1408" fmla="*/ 193626 h 410520"/>
                <a:gd name="connsiteX1409" fmla="*/ 1381973 w 2663946"/>
                <a:gd name="connsiteY1409" fmla="*/ 187340 h 410520"/>
                <a:gd name="connsiteX1410" fmla="*/ 1381973 w 2663946"/>
                <a:gd name="connsiteY1410" fmla="*/ 137618 h 410520"/>
                <a:gd name="connsiteX1411" fmla="*/ 1388426 w 2663946"/>
                <a:gd name="connsiteY1411" fmla="*/ 131332 h 410520"/>
                <a:gd name="connsiteX1412" fmla="*/ 1389261 w 2663946"/>
                <a:gd name="connsiteY1412" fmla="*/ 131332 h 410520"/>
                <a:gd name="connsiteX1413" fmla="*/ 1389845 w 2663946"/>
                <a:gd name="connsiteY1413" fmla="*/ 131332 h 410520"/>
                <a:gd name="connsiteX1414" fmla="*/ 1390325 w 2663946"/>
                <a:gd name="connsiteY1414" fmla="*/ 126574 h 410520"/>
                <a:gd name="connsiteX1415" fmla="*/ 1415120 w 2663946"/>
                <a:gd name="connsiteY1415" fmla="*/ 106365 h 410520"/>
                <a:gd name="connsiteX1416" fmla="*/ 1157152 w 2663946"/>
                <a:gd name="connsiteY1416" fmla="*/ 106365 h 410520"/>
                <a:gd name="connsiteX1417" fmla="*/ 1181948 w 2663946"/>
                <a:gd name="connsiteY1417" fmla="*/ 126574 h 410520"/>
                <a:gd name="connsiteX1418" fmla="*/ 1182427 w 2663946"/>
                <a:gd name="connsiteY1418" fmla="*/ 131332 h 410520"/>
                <a:gd name="connsiteX1419" fmla="*/ 1183846 w 2663946"/>
                <a:gd name="connsiteY1419" fmla="*/ 131332 h 410520"/>
                <a:gd name="connsiteX1420" fmla="*/ 1190299 w 2663946"/>
                <a:gd name="connsiteY1420" fmla="*/ 137618 h 410520"/>
                <a:gd name="connsiteX1421" fmla="*/ 1190299 w 2663946"/>
                <a:gd name="connsiteY1421" fmla="*/ 187340 h 410520"/>
                <a:gd name="connsiteX1422" fmla="*/ 1183846 w 2663946"/>
                <a:gd name="connsiteY1422" fmla="*/ 193626 h 410520"/>
                <a:gd name="connsiteX1423" fmla="*/ 1130458 w 2663946"/>
                <a:gd name="connsiteY1423" fmla="*/ 193626 h 410520"/>
                <a:gd name="connsiteX1424" fmla="*/ 1124005 w 2663946"/>
                <a:gd name="connsiteY1424" fmla="*/ 187340 h 410520"/>
                <a:gd name="connsiteX1425" fmla="*/ 1124005 w 2663946"/>
                <a:gd name="connsiteY1425" fmla="*/ 137618 h 410520"/>
                <a:gd name="connsiteX1426" fmla="*/ 1130458 w 2663946"/>
                <a:gd name="connsiteY1426" fmla="*/ 131332 h 410520"/>
                <a:gd name="connsiteX1427" fmla="*/ 1131293 w 2663946"/>
                <a:gd name="connsiteY1427" fmla="*/ 131332 h 410520"/>
                <a:gd name="connsiteX1428" fmla="*/ 1131877 w 2663946"/>
                <a:gd name="connsiteY1428" fmla="*/ 131332 h 410520"/>
                <a:gd name="connsiteX1429" fmla="*/ 1132357 w 2663946"/>
                <a:gd name="connsiteY1429" fmla="*/ 126574 h 410520"/>
                <a:gd name="connsiteX1430" fmla="*/ 1157152 w 2663946"/>
                <a:gd name="connsiteY1430" fmla="*/ 106365 h 410520"/>
                <a:gd name="connsiteX1431" fmla="*/ 732156 w 2663946"/>
                <a:gd name="connsiteY1431" fmla="*/ 106365 h 410520"/>
                <a:gd name="connsiteX1432" fmla="*/ 756951 w 2663946"/>
                <a:gd name="connsiteY1432" fmla="*/ 126574 h 410520"/>
                <a:gd name="connsiteX1433" fmla="*/ 757431 w 2663946"/>
                <a:gd name="connsiteY1433" fmla="*/ 131332 h 410520"/>
                <a:gd name="connsiteX1434" fmla="*/ 758849 w 2663946"/>
                <a:gd name="connsiteY1434" fmla="*/ 131332 h 410520"/>
                <a:gd name="connsiteX1435" fmla="*/ 765303 w 2663946"/>
                <a:gd name="connsiteY1435" fmla="*/ 137618 h 410520"/>
                <a:gd name="connsiteX1436" fmla="*/ 765303 w 2663946"/>
                <a:gd name="connsiteY1436" fmla="*/ 187340 h 410520"/>
                <a:gd name="connsiteX1437" fmla="*/ 758849 w 2663946"/>
                <a:gd name="connsiteY1437" fmla="*/ 193626 h 410520"/>
                <a:gd name="connsiteX1438" fmla="*/ 705462 w 2663946"/>
                <a:gd name="connsiteY1438" fmla="*/ 193626 h 410520"/>
                <a:gd name="connsiteX1439" fmla="*/ 699009 w 2663946"/>
                <a:gd name="connsiteY1439" fmla="*/ 187340 h 410520"/>
                <a:gd name="connsiteX1440" fmla="*/ 699009 w 2663946"/>
                <a:gd name="connsiteY1440" fmla="*/ 137618 h 410520"/>
                <a:gd name="connsiteX1441" fmla="*/ 705462 w 2663946"/>
                <a:gd name="connsiteY1441" fmla="*/ 131332 h 410520"/>
                <a:gd name="connsiteX1442" fmla="*/ 706296 w 2663946"/>
                <a:gd name="connsiteY1442" fmla="*/ 131332 h 410520"/>
                <a:gd name="connsiteX1443" fmla="*/ 706881 w 2663946"/>
                <a:gd name="connsiteY1443" fmla="*/ 131332 h 410520"/>
                <a:gd name="connsiteX1444" fmla="*/ 707360 w 2663946"/>
                <a:gd name="connsiteY1444" fmla="*/ 126574 h 410520"/>
                <a:gd name="connsiteX1445" fmla="*/ 732156 w 2663946"/>
                <a:gd name="connsiteY1445" fmla="*/ 106365 h 410520"/>
                <a:gd name="connsiteX1446" fmla="*/ 641217 w 2663946"/>
                <a:gd name="connsiteY1446" fmla="*/ 106365 h 410520"/>
                <a:gd name="connsiteX1447" fmla="*/ 666012 w 2663946"/>
                <a:gd name="connsiteY1447" fmla="*/ 126574 h 410520"/>
                <a:gd name="connsiteX1448" fmla="*/ 666492 w 2663946"/>
                <a:gd name="connsiteY1448" fmla="*/ 131332 h 410520"/>
                <a:gd name="connsiteX1449" fmla="*/ 667910 w 2663946"/>
                <a:gd name="connsiteY1449" fmla="*/ 131332 h 410520"/>
                <a:gd name="connsiteX1450" fmla="*/ 674364 w 2663946"/>
                <a:gd name="connsiteY1450" fmla="*/ 137618 h 410520"/>
                <a:gd name="connsiteX1451" fmla="*/ 674364 w 2663946"/>
                <a:gd name="connsiteY1451" fmla="*/ 187340 h 410520"/>
                <a:gd name="connsiteX1452" fmla="*/ 667910 w 2663946"/>
                <a:gd name="connsiteY1452" fmla="*/ 193626 h 410520"/>
                <a:gd name="connsiteX1453" fmla="*/ 614523 w 2663946"/>
                <a:gd name="connsiteY1453" fmla="*/ 193626 h 410520"/>
                <a:gd name="connsiteX1454" fmla="*/ 608070 w 2663946"/>
                <a:gd name="connsiteY1454" fmla="*/ 187340 h 410520"/>
                <a:gd name="connsiteX1455" fmla="*/ 608070 w 2663946"/>
                <a:gd name="connsiteY1455" fmla="*/ 137618 h 410520"/>
                <a:gd name="connsiteX1456" fmla="*/ 614523 w 2663946"/>
                <a:gd name="connsiteY1456" fmla="*/ 131332 h 410520"/>
                <a:gd name="connsiteX1457" fmla="*/ 615358 w 2663946"/>
                <a:gd name="connsiteY1457" fmla="*/ 131332 h 410520"/>
                <a:gd name="connsiteX1458" fmla="*/ 615942 w 2663946"/>
                <a:gd name="connsiteY1458" fmla="*/ 131332 h 410520"/>
                <a:gd name="connsiteX1459" fmla="*/ 616422 w 2663946"/>
                <a:gd name="connsiteY1459" fmla="*/ 126574 h 410520"/>
                <a:gd name="connsiteX1460" fmla="*/ 641217 w 2663946"/>
                <a:gd name="connsiteY1460" fmla="*/ 106365 h 410520"/>
                <a:gd name="connsiteX1461" fmla="*/ 459266 w 2663946"/>
                <a:gd name="connsiteY1461" fmla="*/ 106365 h 410520"/>
                <a:gd name="connsiteX1462" fmla="*/ 484061 w 2663946"/>
                <a:gd name="connsiteY1462" fmla="*/ 126574 h 410520"/>
                <a:gd name="connsiteX1463" fmla="*/ 484541 w 2663946"/>
                <a:gd name="connsiteY1463" fmla="*/ 131332 h 410520"/>
                <a:gd name="connsiteX1464" fmla="*/ 485959 w 2663946"/>
                <a:gd name="connsiteY1464" fmla="*/ 131332 h 410520"/>
                <a:gd name="connsiteX1465" fmla="*/ 492413 w 2663946"/>
                <a:gd name="connsiteY1465" fmla="*/ 137618 h 410520"/>
                <a:gd name="connsiteX1466" fmla="*/ 492413 w 2663946"/>
                <a:gd name="connsiteY1466" fmla="*/ 187340 h 410520"/>
                <a:gd name="connsiteX1467" fmla="*/ 485959 w 2663946"/>
                <a:gd name="connsiteY1467" fmla="*/ 193626 h 410520"/>
                <a:gd name="connsiteX1468" fmla="*/ 432572 w 2663946"/>
                <a:gd name="connsiteY1468" fmla="*/ 193626 h 410520"/>
                <a:gd name="connsiteX1469" fmla="*/ 426119 w 2663946"/>
                <a:gd name="connsiteY1469" fmla="*/ 187340 h 410520"/>
                <a:gd name="connsiteX1470" fmla="*/ 426119 w 2663946"/>
                <a:gd name="connsiteY1470" fmla="*/ 137618 h 410520"/>
                <a:gd name="connsiteX1471" fmla="*/ 432572 w 2663946"/>
                <a:gd name="connsiteY1471" fmla="*/ 131332 h 410520"/>
                <a:gd name="connsiteX1472" fmla="*/ 433406 w 2663946"/>
                <a:gd name="connsiteY1472" fmla="*/ 131332 h 410520"/>
                <a:gd name="connsiteX1473" fmla="*/ 433991 w 2663946"/>
                <a:gd name="connsiteY1473" fmla="*/ 131332 h 410520"/>
                <a:gd name="connsiteX1474" fmla="*/ 434470 w 2663946"/>
                <a:gd name="connsiteY1474" fmla="*/ 126574 h 410520"/>
                <a:gd name="connsiteX1475" fmla="*/ 459266 w 2663946"/>
                <a:gd name="connsiteY1475" fmla="*/ 106365 h 410520"/>
                <a:gd name="connsiteX1476" fmla="*/ 10338 w 2663946"/>
                <a:gd name="connsiteY1476" fmla="*/ 11086 h 410520"/>
                <a:gd name="connsiteX1477" fmla="*/ 33591 w 2663946"/>
                <a:gd name="connsiteY1477" fmla="*/ 0 h 410520"/>
                <a:gd name="connsiteX1478" fmla="*/ 38187 w 2663946"/>
                <a:gd name="connsiteY1478" fmla="*/ 2434 h 410520"/>
                <a:gd name="connsiteX1479" fmla="*/ 40350 w 2663946"/>
                <a:gd name="connsiteY1479" fmla="*/ 8652 h 410520"/>
                <a:gd name="connsiteX1480" fmla="*/ 40350 w 2663946"/>
                <a:gd name="connsiteY1480" fmla="*/ 9193 h 410520"/>
                <a:gd name="connsiteX1481" fmla="*/ 40350 w 2663946"/>
                <a:gd name="connsiteY1481" fmla="*/ 62188 h 410520"/>
                <a:gd name="connsiteX1482" fmla="*/ 40891 w 2663946"/>
                <a:gd name="connsiteY1482" fmla="*/ 62728 h 410520"/>
                <a:gd name="connsiteX1483" fmla="*/ 48191 w 2663946"/>
                <a:gd name="connsiteY1483" fmla="*/ 62728 h 410520"/>
                <a:gd name="connsiteX1484" fmla="*/ 52247 w 2663946"/>
                <a:gd name="connsiteY1484" fmla="*/ 63810 h 410520"/>
                <a:gd name="connsiteX1485" fmla="*/ 56032 w 2663946"/>
                <a:gd name="connsiteY1485" fmla="*/ 70569 h 410520"/>
                <a:gd name="connsiteX1486" fmla="*/ 53328 w 2663946"/>
                <a:gd name="connsiteY1486" fmla="*/ 76247 h 410520"/>
                <a:gd name="connsiteX1487" fmla="*/ 49273 w 2663946"/>
                <a:gd name="connsiteY1487" fmla="*/ 78140 h 410520"/>
                <a:gd name="connsiteX1488" fmla="*/ 49002 w 2663946"/>
                <a:gd name="connsiteY1488" fmla="*/ 78140 h 410520"/>
                <a:gd name="connsiteX1489" fmla="*/ 48732 w 2663946"/>
                <a:gd name="connsiteY1489" fmla="*/ 78140 h 410520"/>
                <a:gd name="connsiteX1490" fmla="*/ 48191 w 2663946"/>
                <a:gd name="connsiteY1490" fmla="*/ 78140 h 410520"/>
                <a:gd name="connsiteX1491" fmla="*/ 16016 w 2663946"/>
                <a:gd name="connsiteY1491" fmla="*/ 78140 h 410520"/>
                <a:gd name="connsiteX1492" fmla="*/ 15475 w 2663946"/>
                <a:gd name="connsiteY1492" fmla="*/ 78140 h 410520"/>
                <a:gd name="connsiteX1493" fmla="*/ 14664 w 2663946"/>
                <a:gd name="connsiteY1493" fmla="*/ 78140 h 410520"/>
                <a:gd name="connsiteX1494" fmla="*/ 13853 w 2663946"/>
                <a:gd name="connsiteY1494" fmla="*/ 77870 h 410520"/>
                <a:gd name="connsiteX1495" fmla="*/ 10338 w 2663946"/>
                <a:gd name="connsiteY1495" fmla="*/ 75977 h 410520"/>
                <a:gd name="connsiteX1496" fmla="*/ 7905 w 2663946"/>
                <a:gd name="connsiteY1496" fmla="*/ 70299 h 410520"/>
                <a:gd name="connsiteX1497" fmla="*/ 10068 w 2663946"/>
                <a:gd name="connsiteY1497" fmla="*/ 65162 h 410520"/>
                <a:gd name="connsiteX1498" fmla="*/ 15746 w 2663946"/>
                <a:gd name="connsiteY1498" fmla="*/ 62728 h 410520"/>
                <a:gd name="connsiteX1499" fmla="*/ 23587 w 2663946"/>
                <a:gd name="connsiteY1499" fmla="*/ 62728 h 410520"/>
                <a:gd name="connsiteX1500" fmla="*/ 24128 w 2663946"/>
                <a:gd name="connsiteY1500" fmla="*/ 62188 h 410520"/>
                <a:gd name="connsiteX1501" fmla="*/ 24128 w 2663946"/>
                <a:gd name="connsiteY1501" fmla="*/ 16223 h 410520"/>
                <a:gd name="connsiteX1502" fmla="*/ 23587 w 2663946"/>
                <a:gd name="connsiteY1502" fmla="*/ 15682 h 410520"/>
                <a:gd name="connsiteX1503" fmla="*/ 17638 w 2663946"/>
                <a:gd name="connsiteY1503" fmla="*/ 15682 h 410520"/>
                <a:gd name="connsiteX1504" fmla="*/ 10338 w 2663946"/>
                <a:gd name="connsiteY1504" fmla="*/ 11086 h 410520"/>
                <a:gd name="connsiteX0" fmla="*/ 2632966 w 2663946"/>
                <a:gd name="connsiteY0" fmla="*/ 349414 h 410520"/>
                <a:gd name="connsiteX1" fmla="*/ 2621414 w 2663946"/>
                <a:gd name="connsiteY1" fmla="*/ 351847 h 410520"/>
                <a:gd name="connsiteX2" fmla="*/ 2618218 w 2663946"/>
                <a:gd name="connsiteY2" fmla="*/ 355362 h 410520"/>
                <a:gd name="connsiteX3" fmla="*/ 2616006 w 2663946"/>
                <a:gd name="connsiteY3" fmla="*/ 359147 h 410520"/>
                <a:gd name="connsiteX4" fmla="*/ 2615023 w 2663946"/>
                <a:gd name="connsiteY4" fmla="*/ 361851 h 410520"/>
                <a:gd name="connsiteX5" fmla="*/ 2614039 w 2663946"/>
                <a:gd name="connsiteY5" fmla="*/ 365907 h 410520"/>
                <a:gd name="connsiteX6" fmla="*/ 2613056 w 2663946"/>
                <a:gd name="connsiteY6" fmla="*/ 372937 h 410520"/>
                <a:gd name="connsiteX7" fmla="*/ 2614039 w 2663946"/>
                <a:gd name="connsiteY7" fmla="*/ 380237 h 410520"/>
                <a:gd name="connsiteX8" fmla="*/ 2615269 w 2663946"/>
                <a:gd name="connsiteY8" fmla="*/ 384022 h 410520"/>
                <a:gd name="connsiteX9" fmla="*/ 2617481 w 2663946"/>
                <a:gd name="connsiteY9" fmla="*/ 388348 h 410520"/>
                <a:gd name="connsiteX10" fmla="*/ 2620922 w 2663946"/>
                <a:gd name="connsiteY10" fmla="*/ 392675 h 410520"/>
                <a:gd name="connsiteX11" fmla="*/ 2625346 w 2663946"/>
                <a:gd name="connsiteY11" fmla="*/ 395378 h 410520"/>
                <a:gd name="connsiteX12" fmla="*/ 2637637 w 2663946"/>
                <a:gd name="connsiteY12" fmla="*/ 392945 h 410520"/>
                <a:gd name="connsiteX13" fmla="*/ 2640832 w 2663946"/>
                <a:gd name="connsiteY13" fmla="*/ 389430 h 410520"/>
                <a:gd name="connsiteX14" fmla="*/ 2643290 w 2663946"/>
                <a:gd name="connsiteY14" fmla="*/ 385104 h 410520"/>
                <a:gd name="connsiteX15" fmla="*/ 2644273 w 2663946"/>
                <a:gd name="connsiteY15" fmla="*/ 382941 h 410520"/>
                <a:gd name="connsiteX16" fmla="*/ 2645502 w 2663946"/>
                <a:gd name="connsiteY16" fmla="*/ 378615 h 410520"/>
                <a:gd name="connsiteX17" fmla="*/ 2645011 w 2663946"/>
                <a:gd name="connsiteY17" fmla="*/ 364825 h 410520"/>
                <a:gd name="connsiteX18" fmla="*/ 2644027 w 2663946"/>
                <a:gd name="connsiteY18" fmla="*/ 361851 h 410520"/>
                <a:gd name="connsiteX19" fmla="*/ 2642799 w 2663946"/>
                <a:gd name="connsiteY19" fmla="*/ 358877 h 410520"/>
                <a:gd name="connsiteX20" fmla="*/ 2640586 w 2663946"/>
                <a:gd name="connsiteY20" fmla="*/ 355362 h 410520"/>
                <a:gd name="connsiteX21" fmla="*/ 2636899 w 2663946"/>
                <a:gd name="connsiteY21" fmla="*/ 351577 h 410520"/>
                <a:gd name="connsiteX22" fmla="*/ 2632966 w 2663946"/>
                <a:gd name="connsiteY22" fmla="*/ 349414 h 410520"/>
                <a:gd name="connsiteX23" fmla="*/ 2627559 w 2663946"/>
                <a:gd name="connsiteY23" fmla="*/ 333461 h 410520"/>
                <a:gd name="connsiteX24" fmla="*/ 2639849 w 2663946"/>
                <a:gd name="connsiteY24" fmla="*/ 335624 h 410520"/>
                <a:gd name="connsiteX25" fmla="*/ 2647223 w 2663946"/>
                <a:gd name="connsiteY25" fmla="*/ 340221 h 410520"/>
                <a:gd name="connsiteX26" fmla="*/ 2650664 w 2663946"/>
                <a:gd name="connsiteY26" fmla="*/ 343465 h 410520"/>
                <a:gd name="connsiteX27" fmla="*/ 2654106 w 2663946"/>
                <a:gd name="connsiteY27" fmla="*/ 347791 h 410520"/>
                <a:gd name="connsiteX28" fmla="*/ 2656072 w 2663946"/>
                <a:gd name="connsiteY28" fmla="*/ 351306 h 410520"/>
                <a:gd name="connsiteX29" fmla="*/ 2658284 w 2663946"/>
                <a:gd name="connsiteY29" fmla="*/ 356714 h 410520"/>
                <a:gd name="connsiteX30" fmla="*/ 2659267 w 2663946"/>
                <a:gd name="connsiteY30" fmla="*/ 360229 h 410520"/>
                <a:gd name="connsiteX31" fmla="*/ 2660251 w 2663946"/>
                <a:gd name="connsiteY31" fmla="*/ 365366 h 410520"/>
                <a:gd name="connsiteX32" fmla="*/ 2660005 w 2663946"/>
                <a:gd name="connsiteY32" fmla="*/ 379696 h 410520"/>
                <a:gd name="connsiteX33" fmla="*/ 2659022 w 2663946"/>
                <a:gd name="connsiteY33" fmla="*/ 384563 h 410520"/>
                <a:gd name="connsiteX34" fmla="*/ 2657792 w 2663946"/>
                <a:gd name="connsiteY34" fmla="*/ 388348 h 410520"/>
                <a:gd name="connsiteX35" fmla="*/ 2656809 w 2663946"/>
                <a:gd name="connsiteY35" fmla="*/ 390782 h 410520"/>
                <a:gd name="connsiteX36" fmla="*/ 2654597 w 2663946"/>
                <a:gd name="connsiteY36" fmla="*/ 395108 h 410520"/>
                <a:gd name="connsiteX37" fmla="*/ 2652385 w 2663946"/>
                <a:gd name="connsiteY37" fmla="*/ 398352 h 410520"/>
                <a:gd name="connsiteX38" fmla="*/ 2648944 w 2663946"/>
                <a:gd name="connsiteY38" fmla="*/ 402138 h 410520"/>
                <a:gd name="connsiteX39" fmla="*/ 2645748 w 2663946"/>
                <a:gd name="connsiteY39" fmla="*/ 404841 h 410520"/>
                <a:gd name="connsiteX40" fmla="*/ 2640095 w 2663946"/>
                <a:gd name="connsiteY40" fmla="*/ 408086 h 410520"/>
                <a:gd name="connsiteX41" fmla="*/ 2632229 w 2663946"/>
                <a:gd name="connsiteY41" fmla="*/ 410249 h 410520"/>
                <a:gd name="connsiteX42" fmla="*/ 2631000 w 2663946"/>
                <a:gd name="connsiteY42" fmla="*/ 410520 h 410520"/>
                <a:gd name="connsiteX43" fmla="*/ 2626821 w 2663946"/>
                <a:gd name="connsiteY43" fmla="*/ 410520 h 410520"/>
                <a:gd name="connsiteX44" fmla="*/ 2626576 w 2663946"/>
                <a:gd name="connsiteY44" fmla="*/ 410520 h 410520"/>
                <a:gd name="connsiteX45" fmla="*/ 2613548 w 2663946"/>
                <a:gd name="connsiteY45" fmla="*/ 405653 h 410520"/>
                <a:gd name="connsiteX46" fmla="*/ 2608878 w 2663946"/>
                <a:gd name="connsiteY46" fmla="*/ 401597 h 410520"/>
                <a:gd name="connsiteX47" fmla="*/ 2605682 w 2663946"/>
                <a:gd name="connsiteY47" fmla="*/ 397812 h 410520"/>
                <a:gd name="connsiteX48" fmla="*/ 2603470 w 2663946"/>
                <a:gd name="connsiteY48" fmla="*/ 394297 h 410520"/>
                <a:gd name="connsiteX49" fmla="*/ 2601258 w 2663946"/>
                <a:gd name="connsiteY49" fmla="*/ 389971 h 410520"/>
                <a:gd name="connsiteX50" fmla="*/ 2600029 w 2663946"/>
                <a:gd name="connsiteY50" fmla="*/ 386996 h 410520"/>
                <a:gd name="connsiteX51" fmla="*/ 2599046 w 2663946"/>
                <a:gd name="connsiteY51" fmla="*/ 383752 h 410520"/>
                <a:gd name="connsiteX52" fmla="*/ 2597816 w 2663946"/>
                <a:gd name="connsiteY52" fmla="*/ 378074 h 410520"/>
                <a:gd name="connsiteX53" fmla="*/ 2597571 w 2663946"/>
                <a:gd name="connsiteY53" fmla="*/ 375100 h 410520"/>
                <a:gd name="connsiteX54" fmla="*/ 2597816 w 2663946"/>
                <a:gd name="connsiteY54" fmla="*/ 375370 h 410520"/>
                <a:gd name="connsiteX55" fmla="*/ 2597816 w 2663946"/>
                <a:gd name="connsiteY55" fmla="*/ 369692 h 410520"/>
                <a:gd name="connsiteX56" fmla="*/ 2597816 w 2663946"/>
                <a:gd name="connsiteY56" fmla="*/ 369422 h 410520"/>
                <a:gd name="connsiteX57" fmla="*/ 2598308 w 2663946"/>
                <a:gd name="connsiteY57" fmla="*/ 364825 h 410520"/>
                <a:gd name="connsiteX58" fmla="*/ 2599537 w 2663946"/>
                <a:gd name="connsiteY58" fmla="*/ 359418 h 410520"/>
                <a:gd name="connsiteX59" fmla="*/ 2600520 w 2663946"/>
                <a:gd name="connsiteY59" fmla="*/ 356173 h 410520"/>
                <a:gd name="connsiteX60" fmla="*/ 2602732 w 2663946"/>
                <a:gd name="connsiteY60" fmla="*/ 351036 h 410520"/>
                <a:gd name="connsiteX61" fmla="*/ 2604945 w 2663946"/>
                <a:gd name="connsiteY61" fmla="*/ 347251 h 410520"/>
                <a:gd name="connsiteX62" fmla="*/ 2607157 w 2663946"/>
                <a:gd name="connsiteY62" fmla="*/ 344276 h 410520"/>
                <a:gd name="connsiteX63" fmla="*/ 2609369 w 2663946"/>
                <a:gd name="connsiteY63" fmla="*/ 341843 h 410520"/>
                <a:gd name="connsiteX64" fmla="*/ 2614039 w 2663946"/>
                <a:gd name="connsiteY64" fmla="*/ 338058 h 410520"/>
                <a:gd name="connsiteX65" fmla="*/ 2617972 w 2663946"/>
                <a:gd name="connsiteY65" fmla="*/ 335895 h 410520"/>
                <a:gd name="connsiteX66" fmla="*/ 2627559 w 2663946"/>
                <a:gd name="connsiteY66" fmla="*/ 333461 h 410520"/>
                <a:gd name="connsiteX67" fmla="*/ 2631061 w 2663946"/>
                <a:gd name="connsiteY67" fmla="*/ 269551 h 410520"/>
                <a:gd name="connsiteX68" fmla="*/ 2621591 w 2663946"/>
                <a:gd name="connsiteY68" fmla="*/ 278825 h 410520"/>
                <a:gd name="connsiteX69" fmla="*/ 2626545 w 2663946"/>
                <a:gd name="connsiteY69" fmla="*/ 286982 h 410520"/>
                <a:gd name="connsiteX70" fmla="*/ 2626545 w 2663946"/>
                <a:gd name="connsiteY70" fmla="*/ 295377 h 410520"/>
                <a:gd name="connsiteX71" fmla="*/ 2631061 w 2663946"/>
                <a:gd name="connsiteY71" fmla="*/ 299800 h 410520"/>
                <a:gd name="connsiteX72" fmla="*/ 2635578 w 2663946"/>
                <a:gd name="connsiteY72" fmla="*/ 295377 h 410520"/>
                <a:gd name="connsiteX73" fmla="*/ 2635578 w 2663946"/>
                <a:gd name="connsiteY73" fmla="*/ 286982 h 410520"/>
                <a:gd name="connsiteX74" fmla="*/ 2640532 w 2663946"/>
                <a:gd name="connsiteY74" fmla="*/ 278825 h 410520"/>
                <a:gd name="connsiteX75" fmla="*/ 2631061 w 2663946"/>
                <a:gd name="connsiteY75" fmla="*/ 269551 h 410520"/>
                <a:gd name="connsiteX76" fmla="*/ 2630799 w 2663946"/>
                <a:gd name="connsiteY76" fmla="*/ 230834 h 410520"/>
                <a:gd name="connsiteX77" fmla="*/ 2619139 w 2663946"/>
                <a:gd name="connsiteY77" fmla="*/ 238563 h 410520"/>
                <a:gd name="connsiteX78" fmla="*/ 2618214 w 2663946"/>
                <a:gd name="connsiteY78" fmla="*/ 243146 h 410520"/>
                <a:gd name="connsiteX79" fmla="*/ 2621454 w 2663946"/>
                <a:gd name="connsiteY79" fmla="*/ 243146 h 410520"/>
                <a:gd name="connsiteX80" fmla="*/ 2639871 w 2663946"/>
                <a:gd name="connsiteY80" fmla="*/ 243146 h 410520"/>
                <a:gd name="connsiteX81" fmla="*/ 2643385 w 2663946"/>
                <a:gd name="connsiteY81" fmla="*/ 243146 h 410520"/>
                <a:gd name="connsiteX82" fmla="*/ 2642460 w 2663946"/>
                <a:gd name="connsiteY82" fmla="*/ 238563 h 410520"/>
                <a:gd name="connsiteX83" fmla="*/ 2630799 w 2663946"/>
                <a:gd name="connsiteY83" fmla="*/ 230834 h 410520"/>
                <a:gd name="connsiteX84" fmla="*/ 2630799 w 2663946"/>
                <a:gd name="connsiteY84" fmla="*/ 218179 h 410520"/>
                <a:gd name="connsiteX85" fmla="*/ 2655595 w 2663946"/>
                <a:gd name="connsiteY85" fmla="*/ 238388 h 410520"/>
                <a:gd name="connsiteX86" fmla="*/ 2656074 w 2663946"/>
                <a:gd name="connsiteY86" fmla="*/ 243146 h 410520"/>
                <a:gd name="connsiteX87" fmla="*/ 2657493 w 2663946"/>
                <a:gd name="connsiteY87" fmla="*/ 243146 h 410520"/>
                <a:gd name="connsiteX88" fmla="*/ 2663946 w 2663946"/>
                <a:gd name="connsiteY88" fmla="*/ 249432 h 410520"/>
                <a:gd name="connsiteX89" fmla="*/ 2663946 w 2663946"/>
                <a:gd name="connsiteY89" fmla="*/ 299154 h 410520"/>
                <a:gd name="connsiteX90" fmla="*/ 2657493 w 2663946"/>
                <a:gd name="connsiteY90" fmla="*/ 305440 h 410520"/>
                <a:gd name="connsiteX91" fmla="*/ 2604106 w 2663946"/>
                <a:gd name="connsiteY91" fmla="*/ 305440 h 410520"/>
                <a:gd name="connsiteX92" fmla="*/ 2597652 w 2663946"/>
                <a:gd name="connsiteY92" fmla="*/ 299154 h 410520"/>
                <a:gd name="connsiteX93" fmla="*/ 2597652 w 2663946"/>
                <a:gd name="connsiteY93" fmla="*/ 249432 h 410520"/>
                <a:gd name="connsiteX94" fmla="*/ 2604106 w 2663946"/>
                <a:gd name="connsiteY94" fmla="*/ 243146 h 410520"/>
                <a:gd name="connsiteX95" fmla="*/ 2604940 w 2663946"/>
                <a:gd name="connsiteY95" fmla="*/ 243146 h 410520"/>
                <a:gd name="connsiteX96" fmla="*/ 2605524 w 2663946"/>
                <a:gd name="connsiteY96" fmla="*/ 243146 h 410520"/>
                <a:gd name="connsiteX97" fmla="*/ 2606004 w 2663946"/>
                <a:gd name="connsiteY97" fmla="*/ 238388 h 410520"/>
                <a:gd name="connsiteX98" fmla="*/ 2630799 w 2663946"/>
                <a:gd name="connsiteY98" fmla="*/ 218179 h 410520"/>
                <a:gd name="connsiteX99" fmla="*/ 33409 w 2663946"/>
                <a:gd name="connsiteY99" fmla="*/ 165325 h 410520"/>
                <a:gd name="connsiteX100" fmla="*/ 23938 w 2663946"/>
                <a:gd name="connsiteY100" fmla="*/ 174599 h 410520"/>
                <a:gd name="connsiteX101" fmla="*/ 28892 w 2663946"/>
                <a:gd name="connsiteY101" fmla="*/ 182756 h 410520"/>
                <a:gd name="connsiteX102" fmla="*/ 28892 w 2663946"/>
                <a:gd name="connsiteY102" fmla="*/ 191151 h 410520"/>
                <a:gd name="connsiteX103" fmla="*/ 33409 w 2663946"/>
                <a:gd name="connsiteY103" fmla="*/ 195574 h 410520"/>
                <a:gd name="connsiteX104" fmla="*/ 37926 w 2663946"/>
                <a:gd name="connsiteY104" fmla="*/ 191151 h 410520"/>
                <a:gd name="connsiteX105" fmla="*/ 37926 w 2663946"/>
                <a:gd name="connsiteY105" fmla="*/ 182756 h 410520"/>
                <a:gd name="connsiteX106" fmla="*/ 42880 w 2663946"/>
                <a:gd name="connsiteY106" fmla="*/ 174599 h 410520"/>
                <a:gd name="connsiteX107" fmla="*/ 33409 w 2663946"/>
                <a:gd name="connsiteY107" fmla="*/ 165325 h 410520"/>
                <a:gd name="connsiteX108" fmla="*/ 2538193 w 2663946"/>
                <a:gd name="connsiteY108" fmla="*/ 157737 h 410520"/>
                <a:gd name="connsiteX109" fmla="*/ 2528723 w 2663946"/>
                <a:gd name="connsiteY109" fmla="*/ 167011 h 410520"/>
                <a:gd name="connsiteX110" fmla="*/ 2533677 w 2663946"/>
                <a:gd name="connsiteY110" fmla="*/ 175168 h 410520"/>
                <a:gd name="connsiteX111" fmla="*/ 2533677 w 2663946"/>
                <a:gd name="connsiteY111" fmla="*/ 183563 h 410520"/>
                <a:gd name="connsiteX112" fmla="*/ 2538193 w 2663946"/>
                <a:gd name="connsiteY112" fmla="*/ 187986 h 410520"/>
                <a:gd name="connsiteX113" fmla="*/ 2542710 w 2663946"/>
                <a:gd name="connsiteY113" fmla="*/ 183563 h 410520"/>
                <a:gd name="connsiteX114" fmla="*/ 2542710 w 2663946"/>
                <a:gd name="connsiteY114" fmla="*/ 175168 h 410520"/>
                <a:gd name="connsiteX115" fmla="*/ 2547664 w 2663946"/>
                <a:gd name="connsiteY115" fmla="*/ 167011 h 410520"/>
                <a:gd name="connsiteX116" fmla="*/ 2538193 w 2663946"/>
                <a:gd name="connsiteY116" fmla="*/ 157737 h 410520"/>
                <a:gd name="connsiteX117" fmla="*/ 2113196 w 2663946"/>
                <a:gd name="connsiteY117" fmla="*/ 157737 h 410520"/>
                <a:gd name="connsiteX118" fmla="*/ 2103726 w 2663946"/>
                <a:gd name="connsiteY118" fmla="*/ 167011 h 410520"/>
                <a:gd name="connsiteX119" fmla="*/ 2108680 w 2663946"/>
                <a:gd name="connsiteY119" fmla="*/ 175168 h 410520"/>
                <a:gd name="connsiteX120" fmla="*/ 2108680 w 2663946"/>
                <a:gd name="connsiteY120" fmla="*/ 183563 h 410520"/>
                <a:gd name="connsiteX121" fmla="*/ 2113196 w 2663946"/>
                <a:gd name="connsiteY121" fmla="*/ 187986 h 410520"/>
                <a:gd name="connsiteX122" fmla="*/ 2117713 w 2663946"/>
                <a:gd name="connsiteY122" fmla="*/ 183563 h 410520"/>
                <a:gd name="connsiteX123" fmla="*/ 2117713 w 2663946"/>
                <a:gd name="connsiteY123" fmla="*/ 175168 h 410520"/>
                <a:gd name="connsiteX124" fmla="*/ 2122667 w 2663946"/>
                <a:gd name="connsiteY124" fmla="*/ 167011 h 410520"/>
                <a:gd name="connsiteX125" fmla="*/ 2113196 w 2663946"/>
                <a:gd name="connsiteY125" fmla="*/ 157737 h 410520"/>
                <a:gd name="connsiteX126" fmla="*/ 1855228 w 2663946"/>
                <a:gd name="connsiteY126" fmla="*/ 157737 h 410520"/>
                <a:gd name="connsiteX127" fmla="*/ 1845758 w 2663946"/>
                <a:gd name="connsiteY127" fmla="*/ 167011 h 410520"/>
                <a:gd name="connsiteX128" fmla="*/ 1850712 w 2663946"/>
                <a:gd name="connsiteY128" fmla="*/ 175168 h 410520"/>
                <a:gd name="connsiteX129" fmla="*/ 1850712 w 2663946"/>
                <a:gd name="connsiteY129" fmla="*/ 183563 h 410520"/>
                <a:gd name="connsiteX130" fmla="*/ 1855228 w 2663946"/>
                <a:gd name="connsiteY130" fmla="*/ 187986 h 410520"/>
                <a:gd name="connsiteX131" fmla="*/ 1859745 w 2663946"/>
                <a:gd name="connsiteY131" fmla="*/ 183563 h 410520"/>
                <a:gd name="connsiteX132" fmla="*/ 1859745 w 2663946"/>
                <a:gd name="connsiteY132" fmla="*/ 175168 h 410520"/>
                <a:gd name="connsiteX133" fmla="*/ 1864699 w 2663946"/>
                <a:gd name="connsiteY133" fmla="*/ 167011 h 410520"/>
                <a:gd name="connsiteX134" fmla="*/ 1855228 w 2663946"/>
                <a:gd name="connsiteY134" fmla="*/ 157737 h 410520"/>
                <a:gd name="connsiteX135" fmla="*/ 1764289 w 2663946"/>
                <a:gd name="connsiteY135" fmla="*/ 157737 h 410520"/>
                <a:gd name="connsiteX136" fmla="*/ 1754819 w 2663946"/>
                <a:gd name="connsiteY136" fmla="*/ 167011 h 410520"/>
                <a:gd name="connsiteX137" fmla="*/ 1759773 w 2663946"/>
                <a:gd name="connsiteY137" fmla="*/ 175168 h 410520"/>
                <a:gd name="connsiteX138" fmla="*/ 1759773 w 2663946"/>
                <a:gd name="connsiteY138" fmla="*/ 183563 h 410520"/>
                <a:gd name="connsiteX139" fmla="*/ 1764289 w 2663946"/>
                <a:gd name="connsiteY139" fmla="*/ 187986 h 410520"/>
                <a:gd name="connsiteX140" fmla="*/ 1768806 w 2663946"/>
                <a:gd name="connsiteY140" fmla="*/ 183563 h 410520"/>
                <a:gd name="connsiteX141" fmla="*/ 1768806 w 2663946"/>
                <a:gd name="connsiteY141" fmla="*/ 175168 h 410520"/>
                <a:gd name="connsiteX142" fmla="*/ 1773760 w 2663946"/>
                <a:gd name="connsiteY142" fmla="*/ 167011 h 410520"/>
                <a:gd name="connsiteX143" fmla="*/ 1764289 w 2663946"/>
                <a:gd name="connsiteY143" fmla="*/ 157737 h 410520"/>
                <a:gd name="connsiteX144" fmla="*/ 1506321 w 2663946"/>
                <a:gd name="connsiteY144" fmla="*/ 157737 h 410520"/>
                <a:gd name="connsiteX145" fmla="*/ 1496851 w 2663946"/>
                <a:gd name="connsiteY145" fmla="*/ 167011 h 410520"/>
                <a:gd name="connsiteX146" fmla="*/ 1501805 w 2663946"/>
                <a:gd name="connsiteY146" fmla="*/ 175168 h 410520"/>
                <a:gd name="connsiteX147" fmla="*/ 1501805 w 2663946"/>
                <a:gd name="connsiteY147" fmla="*/ 183563 h 410520"/>
                <a:gd name="connsiteX148" fmla="*/ 1506321 w 2663946"/>
                <a:gd name="connsiteY148" fmla="*/ 187986 h 410520"/>
                <a:gd name="connsiteX149" fmla="*/ 1510838 w 2663946"/>
                <a:gd name="connsiteY149" fmla="*/ 183563 h 410520"/>
                <a:gd name="connsiteX150" fmla="*/ 1510838 w 2663946"/>
                <a:gd name="connsiteY150" fmla="*/ 175168 h 410520"/>
                <a:gd name="connsiteX151" fmla="*/ 1515792 w 2663946"/>
                <a:gd name="connsiteY151" fmla="*/ 167011 h 410520"/>
                <a:gd name="connsiteX152" fmla="*/ 1506321 w 2663946"/>
                <a:gd name="connsiteY152" fmla="*/ 157737 h 410520"/>
                <a:gd name="connsiteX153" fmla="*/ 1415382 w 2663946"/>
                <a:gd name="connsiteY153" fmla="*/ 157737 h 410520"/>
                <a:gd name="connsiteX154" fmla="*/ 1405912 w 2663946"/>
                <a:gd name="connsiteY154" fmla="*/ 167011 h 410520"/>
                <a:gd name="connsiteX155" fmla="*/ 1410866 w 2663946"/>
                <a:gd name="connsiteY155" fmla="*/ 175168 h 410520"/>
                <a:gd name="connsiteX156" fmla="*/ 1410866 w 2663946"/>
                <a:gd name="connsiteY156" fmla="*/ 183563 h 410520"/>
                <a:gd name="connsiteX157" fmla="*/ 1415382 w 2663946"/>
                <a:gd name="connsiteY157" fmla="*/ 187986 h 410520"/>
                <a:gd name="connsiteX158" fmla="*/ 1419899 w 2663946"/>
                <a:gd name="connsiteY158" fmla="*/ 183563 h 410520"/>
                <a:gd name="connsiteX159" fmla="*/ 1419899 w 2663946"/>
                <a:gd name="connsiteY159" fmla="*/ 175168 h 410520"/>
                <a:gd name="connsiteX160" fmla="*/ 1424853 w 2663946"/>
                <a:gd name="connsiteY160" fmla="*/ 167011 h 410520"/>
                <a:gd name="connsiteX161" fmla="*/ 1415382 w 2663946"/>
                <a:gd name="connsiteY161" fmla="*/ 157737 h 410520"/>
                <a:gd name="connsiteX162" fmla="*/ 1157414 w 2663946"/>
                <a:gd name="connsiteY162" fmla="*/ 157737 h 410520"/>
                <a:gd name="connsiteX163" fmla="*/ 1147944 w 2663946"/>
                <a:gd name="connsiteY163" fmla="*/ 167011 h 410520"/>
                <a:gd name="connsiteX164" fmla="*/ 1152898 w 2663946"/>
                <a:gd name="connsiteY164" fmla="*/ 175168 h 410520"/>
                <a:gd name="connsiteX165" fmla="*/ 1152898 w 2663946"/>
                <a:gd name="connsiteY165" fmla="*/ 183563 h 410520"/>
                <a:gd name="connsiteX166" fmla="*/ 1157414 w 2663946"/>
                <a:gd name="connsiteY166" fmla="*/ 187986 h 410520"/>
                <a:gd name="connsiteX167" fmla="*/ 1161931 w 2663946"/>
                <a:gd name="connsiteY167" fmla="*/ 183563 h 410520"/>
                <a:gd name="connsiteX168" fmla="*/ 1161931 w 2663946"/>
                <a:gd name="connsiteY168" fmla="*/ 175168 h 410520"/>
                <a:gd name="connsiteX169" fmla="*/ 1166885 w 2663946"/>
                <a:gd name="connsiteY169" fmla="*/ 167011 h 410520"/>
                <a:gd name="connsiteX170" fmla="*/ 1157414 w 2663946"/>
                <a:gd name="connsiteY170" fmla="*/ 157737 h 410520"/>
                <a:gd name="connsiteX171" fmla="*/ 732418 w 2663946"/>
                <a:gd name="connsiteY171" fmla="*/ 157737 h 410520"/>
                <a:gd name="connsiteX172" fmla="*/ 722947 w 2663946"/>
                <a:gd name="connsiteY172" fmla="*/ 167011 h 410520"/>
                <a:gd name="connsiteX173" fmla="*/ 727901 w 2663946"/>
                <a:gd name="connsiteY173" fmla="*/ 175168 h 410520"/>
                <a:gd name="connsiteX174" fmla="*/ 727901 w 2663946"/>
                <a:gd name="connsiteY174" fmla="*/ 183563 h 410520"/>
                <a:gd name="connsiteX175" fmla="*/ 732418 w 2663946"/>
                <a:gd name="connsiteY175" fmla="*/ 187986 h 410520"/>
                <a:gd name="connsiteX176" fmla="*/ 736935 w 2663946"/>
                <a:gd name="connsiteY176" fmla="*/ 183563 h 410520"/>
                <a:gd name="connsiteX177" fmla="*/ 736935 w 2663946"/>
                <a:gd name="connsiteY177" fmla="*/ 175168 h 410520"/>
                <a:gd name="connsiteX178" fmla="*/ 741889 w 2663946"/>
                <a:gd name="connsiteY178" fmla="*/ 167011 h 410520"/>
                <a:gd name="connsiteX179" fmla="*/ 732418 w 2663946"/>
                <a:gd name="connsiteY179" fmla="*/ 157737 h 410520"/>
                <a:gd name="connsiteX180" fmla="*/ 641479 w 2663946"/>
                <a:gd name="connsiteY180" fmla="*/ 157737 h 410520"/>
                <a:gd name="connsiteX181" fmla="*/ 632008 w 2663946"/>
                <a:gd name="connsiteY181" fmla="*/ 167011 h 410520"/>
                <a:gd name="connsiteX182" fmla="*/ 636962 w 2663946"/>
                <a:gd name="connsiteY182" fmla="*/ 175168 h 410520"/>
                <a:gd name="connsiteX183" fmla="*/ 636962 w 2663946"/>
                <a:gd name="connsiteY183" fmla="*/ 183563 h 410520"/>
                <a:gd name="connsiteX184" fmla="*/ 641479 w 2663946"/>
                <a:gd name="connsiteY184" fmla="*/ 187986 h 410520"/>
                <a:gd name="connsiteX185" fmla="*/ 645996 w 2663946"/>
                <a:gd name="connsiteY185" fmla="*/ 183563 h 410520"/>
                <a:gd name="connsiteX186" fmla="*/ 645996 w 2663946"/>
                <a:gd name="connsiteY186" fmla="*/ 175168 h 410520"/>
                <a:gd name="connsiteX187" fmla="*/ 650950 w 2663946"/>
                <a:gd name="connsiteY187" fmla="*/ 167011 h 410520"/>
                <a:gd name="connsiteX188" fmla="*/ 641479 w 2663946"/>
                <a:gd name="connsiteY188" fmla="*/ 157737 h 410520"/>
                <a:gd name="connsiteX189" fmla="*/ 459528 w 2663946"/>
                <a:gd name="connsiteY189" fmla="*/ 157737 h 410520"/>
                <a:gd name="connsiteX190" fmla="*/ 450057 w 2663946"/>
                <a:gd name="connsiteY190" fmla="*/ 167011 h 410520"/>
                <a:gd name="connsiteX191" fmla="*/ 455011 w 2663946"/>
                <a:gd name="connsiteY191" fmla="*/ 175168 h 410520"/>
                <a:gd name="connsiteX192" fmla="*/ 455011 w 2663946"/>
                <a:gd name="connsiteY192" fmla="*/ 183563 h 410520"/>
                <a:gd name="connsiteX193" fmla="*/ 459528 w 2663946"/>
                <a:gd name="connsiteY193" fmla="*/ 187986 h 410520"/>
                <a:gd name="connsiteX194" fmla="*/ 464045 w 2663946"/>
                <a:gd name="connsiteY194" fmla="*/ 183563 h 410520"/>
                <a:gd name="connsiteX195" fmla="*/ 464045 w 2663946"/>
                <a:gd name="connsiteY195" fmla="*/ 175168 h 410520"/>
                <a:gd name="connsiteX196" fmla="*/ 468999 w 2663946"/>
                <a:gd name="connsiteY196" fmla="*/ 167011 h 410520"/>
                <a:gd name="connsiteX197" fmla="*/ 459528 w 2663946"/>
                <a:gd name="connsiteY197" fmla="*/ 157737 h 410520"/>
                <a:gd name="connsiteX198" fmla="*/ 2632966 w 2663946"/>
                <a:gd name="connsiteY198" fmla="*/ 130544 h 410520"/>
                <a:gd name="connsiteX199" fmla="*/ 2621414 w 2663946"/>
                <a:gd name="connsiteY199" fmla="*/ 132977 h 410520"/>
                <a:gd name="connsiteX200" fmla="*/ 2618218 w 2663946"/>
                <a:gd name="connsiteY200" fmla="*/ 136492 h 410520"/>
                <a:gd name="connsiteX201" fmla="*/ 2616006 w 2663946"/>
                <a:gd name="connsiteY201" fmla="*/ 140277 h 410520"/>
                <a:gd name="connsiteX202" fmla="*/ 2615023 w 2663946"/>
                <a:gd name="connsiteY202" fmla="*/ 142981 h 410520"/>
                <a:gd name="connsiteX203" fmla="*/ 2614039 w 2663946"/>
                <a:gd name="connsiteY203" fmla="*/ 147037 h 410520"/>
                <a:gd name="connsiteX204" fmla="*/ 2613056 w 2663946"/>
                <a:gd name="connsiteY204" fmla="*/ 154067 h 410520"/>
                <a:gd name="connsiteX205" fmla="*/ 2614039 w 2663946"/>
                <a:gd name="connsiteY205" fmla="*/ 161367 h 410520"/>
                <a:gd name="connsiteX206" fmla="*/ 2615269 w 2663946"/>
                <a:gd name="connsiteY206" fmla="*/ 165152 h 410520"/>
                <a:gd name="connsiteX207" fmla="*/ 2617481 w 2663946"/>
                <a:gd name="connsiteY207" fmla="*/ 169478 h 410520"/>
                <a:gd name="connsiteX208" fmla="*/ 2620922 w 2663946"/>
                <a:gd name="connsiteY208" fmla="*/ 173805 h 410520"/>
                <a:gd name="connsiteX209" fmla="*/ 2625346 w 2663946"/>
                <a:gd name="connsiteY209" fmla="*/ 176508 h 410520"/>
                <a:gd name="connsiteX210" fmla="*/ 2637637 w 2663946"/>
                <a:gd name="connsiteY210" fmla="*/ 174075 h 410520"/>
                <a:gd name="connsiteX211" fmla="*/ 2640832 w 2663946"/>
                <a:gd name="connsiteY211" fmla="*/ 170560 h 410520"/>
                <a:gd name="connsiteX212" fmla="*/ 2643290 w 2663946"/>
                <a:gd name="connsiteY212" fmla="*/ 166234 h 410520"/>
                <a:gd name="connsiteX213" fmla="*/ 2644273 w 2663946"/>
                <a:gd name="connsiteY213" fmla="*/ 164071 h 410520"/>
                <a:gd name="connsiteX214" fmla="*/ 2645502 w 2663946"/>
                <a:gd name="connsiteY214" fmla="*/ 159745 h 410520"/>
                <a:gd name="connsiteX215" fmla="*/ 2645011 w 2663946"/>
                <a:gd name="connsiteY215" fmla="*/ 145955 h 410520"/>
                <a:gd name="connsiteX216" fmla="*/ 2644027 w 2663946"/>
                <a:gd name="connsiteY216" fmla="*/ 142981 h 410520"/>
                <a:gd name="connsiteX217" fmla="*/ 2642799 w 2663946"/>
                <a:gd name="connsiteY217" fmla="*/ 140007 h 410520"/>
                <a:gd name="connsiteX218" fmla="*/ 2640586 w 2663946"/>
                <a:gd name="connsiteY218" fmla="*/ 136492 h 410520"/>
                <a:gd name="connsiteX219" fmla="*/ 2636899 w 2663946"/>
                <a:gd name="connsiteY219" fmla="*/ 132707 h 410520"/>
                <a:gd name="connsiteX220" fmla="*/ 2632966 w 2663946"/>
                <a:gd name="connsiteY220" fmla="*/ 130544 h 410520"/>
                <a:gd name="connsiteX221" fmla="*/ 2451011 w 2663946"/>
                <a:gd name="connsiteY221" fmla="*/ 130544 h 410520"/>
                <a:gd name="connsiteX222" fmla="*/ 2439459 w 2663946"/>
                <a:gd name="connsiteY222" fmla="*/ 132977 h 410520"/>
                <a:gd name="connsiteX223" fmla="*/ 2436263 w 2663946"/>
                <a:gd name="connsiteY223" fmla="*/ 136492 h 410520"/>
                <a:gd name="connsiteX224" fmla="*/ 2434051 w 2663946"/>
                <a:gd name="connsiteY224" fmla="*/ 140277 h 410520"/>
                <a:gd name="connsiteX225" fmla="*/ 2433068 w 2663946"/>
                <a:gd name="connsiteY225" fmla="*/ 142981 h 410520"/>
                <a:gd name="connsiteX226" fmla="*/ 2432084 w 2663946"/>
                <a:gd name="connsiteY226" fmla="*/ 147037 h 410520"/>
                <a:gd name="connsiteX227" fmla="*/ 2431101 w 2663946"/>
                <a:gd name="connsiteY227" fmla="*/ 154067 h 410520"/>
                <a:gd name="connsiteX228" fmla="*/ 2432084 w 2663946"/>
                <a:gd name="connsiteY228" fmla="*/ 161367 h 410520"/>
                <a:gd name="connsiteX229" fmla="*/ 2433314 w 2663946"/>
                <a:gd name="connsiteY229" fmla="*/ 165152 h 410520"/>
                <a:gd name="connsiteX230" fmla="*/ 2435526 w 2663946"/>
                <a:gd name="connsiteY230" fmla="*/ 169478 h 410520"/>
                <a:gd name="connsiteX231" fmla="*/ 2438967 w 2663946"/>
                <a:gd name="connsiteY231" fmla="*/ 173805 h 410520"/>
                <a:gd name="connsiteX232" fmla="*/ 2443391 w 2663946"/>
                <a:gd name="connsiteY232" fmla="*/ 176508 h 410520"/>
                <a:gd name="connsiteX233" fmla="*/ 2455682 w 2663946"/>
                <a:gd name="connsiteY233" fmla="*/ 174075 h 410520"/>
                <a:gd name="connsiteX234" fmla="*/ 2458877 w 2663946"/>
                <a:gd name="connsiteY234" fmla="*/ 170560 h 410520"/>
                <a:gd name="connsiteX235" fmla="*/ 2461335 w 2663946"/>
                <a:gd name="connsiteY235" fmla="*/ 166234 h 410520"/>
                <a:gd name="connsiteX236" fmla="*/ 2462318 w 2663946"/>
                <a:gd name="connsiteY236" fmla="*/ 164071 h 410520"/>
                <a:gd name="connsiteX237" fmla="*/ 2463547 w 2663946"/>
                <a:gd name="connsiteY237" fmla="*/ 159745 h 410520"/>
                <a:gd name="connsiteX238" fmla="*/ 2463056 w 2663946"/>
                <a:gd name="connsiteY238" fmla="*/ 145955 h 410520"/>
                <a:gd name="connsiteX239" fmla="*/ 2462072 w 2663946"/>
                <a:gd name="connsiteY239" fmla="*/ 142981 h 410520"/>
                <a:gd name="connsiteX240" fmla="*/ 2460844 w 2663946"/>
                <a:gd name="connsiteY240" fmla="*/ 140007 h 410520"/>
                <a:gd name="connsiteX241" fmla="*/ 2458631 w 2663946"/>
                <a:gd name="connsiteY241" fmla="*/ 136492 h 410520"/>
                <a:gd name="connsiteX242" fmla="*/ 2454944 w 2663946"/>
                <a:gd name="connsiteY242" fmla="*/ 132707 h 410520"/>
                <a:gd name="connsiteX243" fmla="*/ 2451011 w 2663946"/>
                <a:gd name="connsiteY243" fmla="*/ 130544 h 410520"/>
                <a:gd name="connsiteX244" fmla="*/ 2207965 w 2663946"/>
                <a:gd name="connsiteY244" fmla="*/ 130544 h 410520"/>
                <a:gd name="connsiteX245" fmla="*/ 2196413 w 2663946"/>
                <a:gd name="connsiteY245" fmla="*/ 132977 h 410520"/>
                <a:gd name="connsiteX246" fmla="*/ 2193217 w 2663946"/>
                <a:gd name="connsiteY246" fmla="*/ 136492 h 410520"/>
                <a:gd name="connsiteX247" fmla="*/ 2191005 w 2663946"/>
                <a:gd name="connsiteY247" fmla="*/ 140277 h 410520"/>
                <a:gd name="connsiteX248" fmla="*/ 2190022 w 2663946"/>
                <a:gd name="connsiteY248" fmla="*/ 142981 h 410520"/>
                <a:gd name="connsiteX249" fmla="*/ 2189038 w 2663946"/>
                <a:gd name="connsiteY249" fmla="*/ 147037 h 410520"/>
                <a:gd name="connsiteX250" fmla="*/ 2188055 w 2663946"/>
                <a:gd name="connsiteY250" fmla="*/ 154067 h 410520"/>
                <a:gd name="connsiteX251" fmla="*/ 2189038 w 2663946"/>
                <a:gd name="connsiteY251" fmla="*/ 161367 h 410520"/>
                <a:gd name="connsiteX252" fmla="*/ 2190268 w 2663946"/>
                <a:gd name="connsiteY252" fmla="*/ 165152 h 410520"/>
                <a:gd name="connsiteX253" fmla="*/ 2192480 w 2663946"/>
                <a:gd name="connsiteY253" fmla="*/ 169478 h 410520"/>
                <a:gd name="connsiteX254" fmla="*/ 2195921 w 2663946"/>
                <a:gd name="connsiteY254" fmla="*/ 173805 h 410520"/>
                <a:gd name="connsiteX255" fmla="*/ 2200345 w 2663946"/>
                <a:gd name="connsiteY255" fmla="*/ 176508 h 410520"/>
                <a:gd name="connsiteX256" fmla="*/ 2212636 w 2663946"/>
                <a:gd name="connsiteY256" fmla="*/ 174075 h 410520"/>
                <a:gd name="connsiteX257" fmla="*/ 2215831 w 2663946"/>
                <a:gd name="connsiteY257" fmla="*/ 170560 h 410520"/>
                <a:gd name="connsiteX258" fmla="*/ 2218289 w 2663946"/>
                <a:gd name="connsiteY258" fmla="*/ 166234 h 410520"/>
                <a:gd name="connsiteX259" fmla="*/ 2219272 w 2663946"/>
                <a:gd name="connsiteY259" fmla="*/ 164071 h 410520"/>
                <a:gd name="connsiteX260" fmla="*/ 2220501 w 2663946"/>
                <a:gd name="connsiteY260" fmla="*/ 159745 h 410520"/>
                <a:gd name="connsiteX261" fmla="*/ 2220010 w 2663946"/>
                <a:gd name="connsiteY261" fmla="*/ 145955 h 410520"/>
                <a:gd name="connsiteX262" fmla="*/ 2219026 w 2663946"/>
                <a:gd name="connsiteY262" fmla="*/ 142981 h 410520"/>
                <a:gd name="connsiteX263" fmla="*/ 2217798 w 2663946"/>
                <a:gd name="connsiteY263" fmla="*/ 140007 h 410520"/>
                <a:gd name="connsiteX264" fmla="*/ 2215585 w 2663946"/>
                <a:gd name="connsiteY264" fmla="*/ 136492 h 410520"/>
                <a:gd name="connsiteX265" fmla="*/ 2211898 w 2663946"/>
                <a:gd name="connsiteY265" fmla="*/ 132707 h 410520"/>
                <a:gd name="connsiteX266" fmla="*/ 2207965 w 2663946"/>
                <a:gd name="connsiteY266" fmla="*/ 130544 h 410520"/>
                <a:gd name="connsiteX267" fmla="*/ 2026014 w 2663946"/>
                <a:gd name="connsiteY267" fmla="*/ 130544 h 410520"/>
                <a:gd name="connsiteX268" fmla="*/ 2014462 w 2663946"/>
                <a:gd name="connsiteY268" fmla="*/ 132977 h 410520"/>
                <a:gd name="connsiteX269" fmla="*/ 2011266 w 2663946"/>
                <a:gd name="connsiteY269" fmla="*/ 136492 h 410520"/>
                <a:gd name="connsiteX270" fmla="*/ 2009054 w 2663946"/>
                <a:gd name="connsiteY270" fmla="*/ 140277 h 410520"/>
                <a:gd name="connsiteX271" fmla="*/ 2008071 w 2663946"/>
                <a:gd name="connsiteY271" fmla="*/ 142981 h 410520"/>
                <a:gd name="connsiteX272" fmla="*/ 2007087 w 2663946"/>
                <a:gd name="connsiteY272" fmla="*/ 147037 h 410520"/>
                <a:gd name="connsiteX273" fmla="*/ 2006104 w 2663946"/>
                <a:gd name="connsiteY273" fmla="*/ 154067 h 410520"/>
                <a:gd name="connsiteX274" fmla="*/ 2007087 w 2663946"/>
                <a:gd name="connsiteY274" fmla="*/ 161367 h 410520"/>
                <a:gd name="connsiteX275" fmla="*/ 2008317 w 2663946"/>
                <a:gd name="connsiteY275" fmla="*/ 165152 h 410520"/>
                <a:gd name="connsiteX276" fmla="*/ 2010529 w 2663946"/>
                <a:gd name="connsiteY276" fmla="*/ 169478 h 410520"/>
                <a:gd name="connsiteX277" fmla="*/ 2013970 w 2663946"/>
                <a:gd name="connsiteY277" fmla="*/ 173805 h 410520"/>
                <a:gd name="connsiteX278" fmla="*/ 2018394 w 2663946"/>
                <a:gd name="connsiteY278" fmla="*/ 176508 h 410520"/>
                <a:gd name="connsiteX279" fmla="*/ 2030685 w 2663946"/>
                <a:gd name="connsiteY279" fmla="*/ 174075 h 410520"/>
                <a:gd name="connsiteX280" fmla="*/ 2033880 w 2663946"/>
                <a:gd name="connsiteY280" fmla="*/ 170560 h 410520"/>
                <a:gd name="connsiteX281" fmla="*/ 2036338 w 2663946"/>
                <a:gd name="connsiteY281" fmla="*/ 166234 h 410520"/>
                <a:gd name="connsiteX282" fmla="*/ 2037321 w 2663946"/>
                <a:gd name="connsiteY282" fmla="*/ 164071 h 410520"/>
                <a:gd name="connsiteX283" fmla="*/ 2038550 w 2663946"/>
                <a:gd name="connsiteY283" fmla="*/ 159745 h 410520"/>
                <a:gd name="connsiteX284" fmla="*/ 2038059 w 2663946"/>
                <a:gd name="connsiteY284" fmla="*/ 145955 h 410520"/>
                <a:gd name="connsiteX285" fmla="*/ 2037075 w 2663946"/>
                <a:gd name="connsiteY285" fmla="*/ 142981 h 410520"/>
                <a:gd name="connsiteX286" fmla="*/ 2035847 w 2663946"/>
                <a:gd name="connsiteY286" fmla="*/ 140007 h 410520"/>
                <a:gd name="connsiteX287" fmla="*/ 2033634 w 2663946"/>
                <a:gd name="connsiteY287" fmla="*/ 136492 h 410520"/>
                <a:gd name="connsiteX288" fmla="*/ 2029947 w 2663946"/>
                <a:gd name="connsiteY288" fmla="*/ 132707 h 410520"/>
                <a:gd name="connsiteX289" fmla="*/ 2026014 w 2663946"/>
                <a:gd name="connsiteY289" fmla="*/ 130544 h 410520"/>
                <a:gd name="connsiteX290" fmla="*/ 1601090 w 2663946"/>
                <a:gd name="connsiteY290" fmla="*/ 130544 h 410520"/>
                <a:gd name="connsiteX291" fmla="*/ 1589537 w 2663946"/>
                <a:gd name="connsiteY291" fmla="*/ 132977 h 410520"/>
                <a:gd name="connsiteX292" fmla="*/ 1586342 w 2663946"/>
                <a:gd name="connsiteY292" fmla="*/ 136492 h 410520"/>
                <a:gd name="connsiteX293" fmla="*/ 1584130 w 2663946"/>
                <a:gd name="connsiteY293" fmla="*/ 140277 h 410520"/>
                <a:gd name="connsiteX294" fmla="*/ 1583147 w 2663946"/>
                <a:gd name="connsiteY294" fmla="*/ 142981 h 410520"/>
                <a:gd name="connsiteX295" fmla="*/ 1582163 w 2663946"/>
                <a:gd name="connsiteY295" fmla="*/ 147037 h 410520"/>
                <a:gd name="connsiteX296" fmla="*/ 1581180 w 2663946"/>
                <a:gd name="connsiteY296" fmla="*/ 154067 h 410520"/>
                <a:gd name="connsiteX297" fmla="*/ 1582163 w 2663946"/>
                <a:gd name="connsiteY297" fmla="*/ 161367 h 410520"/>
                <a:gd name="connsiteX298" fmla="*/ 1583393 w 2663946"/>
                <a:gd name="connsiteY298" fmla="*/ 165152 h 410520"/>
                <a:gd name="connsiteX299" fmla="*/ 1585605 w 2663946"/>
                <a:gd name="connsiteY299" fmla="*/ 169478 h 410520"/>
                <a:gd name="connsiteX300" fmla="*/ 1589046 w 2663946"/>
                <a:gd name="connsiteY300" fmla="*/ 173805 h 410520"/>
                <a:gd name="connsiteX301" fmla="*/ 1593470 w 2663946"/>
                <a:gd name="connsiteY301" fmla="*/ 176508 h 410520"/>
                <a:gd name="connsiteX302" fmla="*/ 1605761 w 2663946"/>
                <a:gd name="connsiteY302" fmla="*/ 174075 h 410520"/>
                <a:gd name="connsiteX303" fmla="*/ 1608956 w 2663946"/>
                <a:gd name="connsiteY303" fmla="*/ 170560 h 410520"/>
                <a:gd name="connsiteX304" fmla="*/ 1611414 w 2663946"/>
                <a:gd name="connsiteY304" fmla="*/ 166234 h 410520"/>
                <a:gd name="connsiteX305" fmla="*/ 1612397 w 2663946"/>
                <a:gd name="connsiteY305" fmla="*/ 164071 h 410520"/>
                <a:gd name="connsiteX306" fmla="*/ 1613626 w 2663946"/>
                <a:gd name="connsiteY306" fmla="*/ 159745 h 410520"/>
                <a:gd name="connsiteX307" fmla="*/ 1613135 w 2663946"/>
                <a:gd name="connsiteY307" fmla="*/ 145955 h 410520"/>
                <a:gd name="connsiteX308" fmla="*/ 1612151 w 2663946"/>
                <a:gd name="connsiteY308" fmla="*/ 142981 h 410520"/>
                <a:gd name="connsiteX309" fmla="*/ 1610923 w 2663946"/>
                <a:gd name="connsiteY309" fmla="*/ 140007 h 410520"/>
                <a:gd name="connsiteX310" fmla="*/ 1608710 w 2663946"/>
                <a:gd name="connsiteY310" fmla="*/ 136492 h 410520"/>
                <a:gd name="connsiteX311" fmla="*/ 1605023 w 2663946"/>
                <a:gd name="connsiteY311" fmla="*/ 132707 h 410520"/>
                <a:gd name="connsiteX312" fmla="*/ 1601090 w 2663946"/>
                <a:gd name="connsiteY312" fmla="*/ 130544 h 410520"/>
                <a:gd name="connsiteX313" fmla="*/ 1252183 w 2663946"/>
                <a:gd name="connsiteY313" fmla="*/ 130544 h 410520"/>
                <a:gd name="connsiteX314" fmla="*/ 1240630 w 2663946"/>
                <a:gd name="connsiteY314" fmla="*/ 132977 h 410520"/>
                <a:gd name="connsiteX315" fmla="*/ 1237435 w 2663946"/>
                <a:gd name="connsiteY315" fmla="*/ 136492 h 410520"/>
                <a:gd name="connsiteX316" fmla="*/ 1235223 w 2663946"/>
                <a:gd name="connsiteY316" fmla="*/ 140277 h 410520"/>
                <a:gd name="connsiteX317" fmla="*/ 1234240 w 2663946"/>
                <a:gd name="connsiteY317" fmla="*/ 142981 h 410520"/>
                <a:gd name="connsiteX318" fmla="*/ 1233256 w 2663946"/>
                <a:gd name="connsiteY318" fmla="*/ 147037 h 410520"/>
                <a:gd name="connsiteX319" fmla="*/ 1232273 w 2663946"/>
                <a:gd name="connsiteY319" fmla="*/ 154067 h 410520"/>
                <a:gd name="connsiteX320" fmla="*/ 1233256 w 2663946"/>
                <a:gd name="connsiteY320" fmla="*/ 161367 h 410520"/>
                <a:gd name="connsiteX321" fmla="*/ 1234486 w 2663946"/>
                <a:gd name="connsiteY321" fmla="*/ 165152 h 410520"/>
                <a:gd name="connsiteX322" fmla="*/ 1236698 w 2663946"/>
                <a:gd name="connsiteY322" fmla="*/ 169478 h 410520"/>
                <a:gd name="connsiteX323" fmla="*/ 1240139 w 2663946"/>
                <a:gd name="connsiteY323" fmla="*/ 173805 h 410520"/>
                <a:gd name="connsiteX324" fmla="*/ 1244563 w 2663946"/>
                <a:gd name="connsiteY324" fmla="*/ 176508 h 410520"/>
                <a:gd name="connsiteX325" fmla="*/ 1256854 w 2663946"/>
                <a:gd name="connsiteY325" fmla="*/ 174075 h 410520"/>
                <a:gd name="connsiteX326" fmla="*/ 1260049 w 2663946"/>
                <a:gd name="connsiteY326" fmla="*/ 170560 h 410520"/>
                <a:gd name="connsiteX327" fmla="*/ 1262507 w 2663946"/>
                <a:gd name="connsiteY327" fmla="*/ 166234 h 410520"/>
                <a:gd name="connsiteX328" fmla="*/ 1263490 w 2663946"/>
                <a:gd name="connsiteY328" fmla="*/ 164071 h 410520"/>
                <a:gd name="connsiteX329" fmla="*/ 1264719 w 2663946"/>
                <a:gd name="connsiteY329" fmla="*/ 159745 h 410520"/>
                <a:gd name="connsiteX330" fmla="*/ 1264228 w 2663946"/>
                <a:gd name="connsiteY330" fmla="*/ 145955 h 410520"/>
                <a:gd name="connsiteX331" fmla="*/ 1263244 w 2663946"/>
                <a:gd name="connsiteY331" fmla="*/ 142981 h 410520"/>
                <a:gd name="connsiteX332" fmla="*/ 1262016 w 2663946"/>
                <a:gd name="connsiteY332" fmla="*/ 140007 h 410520"/>
                <a:gd name="connsiteX333" fmla="*/ 1259803 w 2663946"/>
                <a:gd name="connsiteY333" fmla="*/ 136492 h 410520"/>
                <a:gd name="connsiteX334" fmla="*/ 1256116 w 2663946"/>
                <a:gd name="connsiteY334" fmla="*/ 132707 h 410520"/>
                <a:gd name="connsiteX335" fmla="*/ 1252183 w 2663946"/>
                <a:gd name="connsiteY335" fmla="*/ 130544 h 410520"/>
                <a:gd name="connsiteX336" fmla="*/ 1070232 w 2663946"/>
                <a:gd name="connsiteY336" fmla="*/ 130544 h 410520"/>
                <a:gd name="connsiteX337" fmla="*/ 1058679 w 2663946"/>
                <a:gd name="connsiteY337" fmla="*/ 132977 h 410520"/>
                <a:gd name="connsiteX338" fmla="*/ 1055484 w 2663946"/>
                <a:gd name="connsiteY338" fmla="*/ 136492 h 410520"/>
                <a:gd name="connsiteX339" fmla="*/ 1053272 w 2663946"/>
                <a:gd name="connsiteY339" fmla="*/ 140277 h 410520"/>
                <a:gd name="connsiteX340" fmla="*/ 1052289 w 2663946"/>
                <a:gd name="connsiteY340" fmla="*/ 142981 h 410520"/>
                <a:gd name="connsiteX341" fmla="*/ 1051305 w 2663946"/>
                <a:gd name="connsiteY341" fmla="*/ 147037 h 410520"/>
                <a:gd name="connsiteX342" fmla="*/ 1050322 w 2663946"/>
                <a:gd name="connsiteY342" fmla="*/ 154067 h 410520"/>
                <a:gd name="connsiteX343" fmla="*/ 1051305 w 2663946"/>
                <a:gd name="connsiteY343" fmla="*/ 161367 h 410520"/>
                <a:gd name="connsiteX344" fmla="*/ 1052535 w 2663946"/>
                <a:gd name="connsiteY344" fmla="*/ 165152 h 410520"/>
                <a:gd name="connsiteX345" fmla="*/ 1054747 w 2663946"/>
                <a:gd name="connsiteY345" fmla="*/ 169478 h 410520"/>
                <a:gd name="connsiteX346" fmla="*/ 1058188 w 2663946"/>
                <a:gd name="connsiteY346" fmla="*/ 173805 h 410520"/>
                <a:gd name="connsiteX347" fmla="*/ 1062612 w 2663946"/>
                <a:gd name="connsiteY347" fmla="*/ 176508 h 410520"/>
                <a:gd name="connsiteX348" fmla="*/ 1074903 w 2663946"/>
                <a:gd name="connsiteY348" fmla="*/ 174075 h 410520"/>
                <a:gd name="connsiteX349" fmla="*/ 1078098 w 2663946"/>
                <a:gd name="connsiteY349" fmla="*/ 170560 h 410520"/>
                <a:gd name="connsiteX350" fmla="*/ 1080556 w 2663946"/>
                <a:gd name="connsiteY350" fmla="*/ 166234 h 410520"/>
                <a:gd name="connsiteX351" fmla="*/ 1081539 w 2663946"/>
                <a:gd name="connsiteY351" fmla="*/ 164071 h 410520"/>
                <a:gd name="connsiteX352" fmla="*/ 1082768 w 2663946"/>
                <a:gd name="connsiteY352" fmla="*/ 159745 h 410520"/>
                <a:gd name="connsiteX353" fmla="*/ 1082277 w 2663946"/>
                <a:gd name="connsiteY353" fmla="*/ 145955 h 410520"/>
                <a:gd name="connsiteX354" fmla="*/ 1081293 w 2663946"/>
                <a:gd name="connsiteY354" fmla="*/ 142981 h 410520"/>
                <a:gd name="connsiteX355" fmla="*/ 1080065 w 2663946"/>
                <a:gd name="connsiteY355" fmla="*/ 140007 h 410520"/>
                <a:gd name="connsiteX356" fmla="*/ 1077852 w 2663946"/>
                <a:gd name="connsiteY356" fmla="*/ 136492 h 410520"/>
                <a:gd name="connsiteX357" fmla="*/ 1074165 w 2663946"/>
                <a:gd name="connsiteY357" fmla="*/ 132707 h 410520"/>
                <a:gd name="connsiteX358" fmla="*/ 1070232 w 2663946"/>
                <a:gd name="connsiteY358" fmla="*/ 130544 h 410520"/>
                <a:gd name="connsiteX359" fmla="*/ 903203 w 2663946"/>
                <a:gd name="connsiteY359" fmla="*/ 130544 h 410520"/>
                <a:gd name="connsiteX360" fmla="*/ 891650 w 2663946"/>
                <a:gd name="connsiteY360" fmla="*/ 132977 h 410520"/>
                <a:gd name="connsiteX361" fmla="*/ 888455 w 2663946"/>
                <a:gd name="connsiteY361" fmla="*/ 136492 h 410520"/>
                <a:gd name="connsiteX362" fmla="*/ 886243 w 2663946"/>
                <a:gd name="connsiteY362" fmla="*/ 140277 h 410520"/>
                <a:gd name="connsiteX363" fmla="*/ 885260 w 2663946"/>
                <a:gd name="connsiteY363" fmla="*/ 142981 h 410520"/>
                <a:gd name="connsiteX364" fmla="*/ 884276 w 2663946"/>
                <a:gd name="connsiteY364" fmla="*/ 147037 h 410520"/>
                <a:gd name="connsiteX365" fmla="*/ 883293 w 2663946"/>
                <a:gd name="connsiteY365" fmla="*/ 154067 h 410520"/>
                <a:gd name="connsiteX366" fmla="*/ 884276 w 2663946"/>
                <a:gd name="connsiteY366" fmla="*/ 161367 h 410520"/>
                <a:gd name="connsiteX367" fmla="*/ 885506 w 2663946"/>
                <a:gd name="connsiteY367" fmla="*/ 165152 h 410520"/>
                <a:gd name="connsiteX368" fmla="*/ 887718 w 2663946"/>
                <a:gd name="connsiteY368" fmla="*/ 169478 h 410520"/>
                <a:gd name="connsiteX369" fmla="*/ 891159 w 2663946"/>
                <a:gd name="connsiteY369" fmla="*/ 173805 h 410520"/>
                <a:gd name="connsiteX370" fmla="*/ 895583 w 2663946"/>
                <a:gd name="connsiteY370" fmla="*/ 176508 h 410520"/>
                <a:gd name="connsiteX371" fmla="*/ 907874 w 2663946"/>
                <a:gd name="connsiteY371" fmla="*/ 174075 h 410520"/>
                <a:gd name="connsiteX372" fmla="*/ 911069 w 2663946"/>
                <a:gd name="connsiteY372" fmla="*/ 170560 h 410520"/>
                <a:gd name="connsiteX373" fmla="*/ 913527 w 2663946"/>
                <a:gd name="connsiteY373" fmla="*/ 166234 h 410520"/>
                <a:gd name="connsiteX374" fmla="*/ 914510 w 2663946"/>
                <a:gd name="connsiteY374" fmla="*/ 164071 h 410520"/>
                <a:gd name="connsiteX375" fmla="*/ 915739 w 2663946"/>
                <a:gd name="connsiteY375" fmla="*/ 159745 h 410520"/>
                <a:gd name="connsiteX376" fmla="*/ 915248 w 2663946"/>
                <a:gd name="connsiteY376" fmla="*/ 145955 h 410520"/>
                <a:gd name="connsiteX377" fmla="*/ 914264 w 2663946"/>
                <a:gd name="connsiteY377" fmla="*/ 142981 h 410520"/>
                <a:gd name="connsiteX378" fmla="*/ 913036 w 2663946"/>
                <a:gd name="connsiteY378" fmla="*/ 140007 h 410520"/>
                <a:gd name="connsiteX379" fmla="*/ 910823 w 2663946"/>
                <a:gd name="connsiteY379" fmla="*/ 136492 h 410520"/>
                <a:gd name="connsiteX380" fmla="*/ 907136 w 2663946"/>
                <a:gd name="connsiteY380" fmla="*/ 132707 h 410520"/>
                <a:gd name="connsiteX381" fmla="*/ 903203 w 2663946"/>
                <a:gd name="connsiteY381" fmla="*/ 130544 h 410520"/>
                <a:gd name="connsiteX382" fmla="*/ 554297 w 2663946"/>
                <a:gd name="connsiteY382" fmla="*/ 130544 h 410520"/>
                <a:gd name="connsiteX383" fmla="*/ 542744 w 2663946"/>
                <a:gd name="connsiteY383" fmla="*/ 132977 h 410520"/>
                <a:gd name="connsiteX384" fmla="*/ 539549 w 2663946"/>
                <a:gd name="connsiteY384" fmla="*/ 136492 h 410520"/>
                <a:gd name="connsiteX385" fmla="*/ 537337 w 2663946"/>
                <a:gd name="connsiteY385" fmla="*/ 140277 h 410520"/>
                <a:gd name="connsiteX386" fmla="*/ 536353 w 2663946"/>
                <a:gd name="connsiteY386" fmla="*/ 142981 h 410520"/>
                <a:gd name="connsiteX387" fmla="*/ 535370 w 2663946"/>
                <a:gd name="connsiteY387" fmla="*/ 147037 h 410520"/>
                <a:gd name="connsiteX388" fmla="*/ 534387 w 2663946"/>
                <a:gd name="connsiteY388" fmla="*/ 154067 h 410520"/>
                <a:gd name="connsiteX389" fmla="*/ 535370 w 2663946"/>
                <a:gd name="connsiteY389" fmla="*/ 161367 h 410520"/>
                <a:gd name="connsiteX390" fmla="*/ 536599 w 2663946"/>
                <a:gd name="connsiteY390" fmla="*/ 165152 h 410520"/>
                <a:gd name="connsiteX391" fmla="*/ 538811 w 2663946"/>
                <a:gd name="connsiteY391" fmla="*/ 169478 h 410520"/>
                <a:gd name="connsiteX392" fmla="*/ 542253 w 2663946"/>
                <a:gd name="connsiteY392" fmla="*/ 173805 h 410520"/>
                <a:gd name="connsiteX393" fmla="*/ 546677 w 2663946"/>
                <a:gd name="connsiteY393" fmla="*/ 176508 h 410520"/>
                <a:gd name="connsiteX394" fmla="*/ 558967 w 2663946"/>
                <a:gd name="connsiteY394" fmla="*/ 174075 h 410520"/>
                <a:gd name="connsiteX395" fmla="*/ 562163 w 2663946"/>
                <a:gd name="connsiteY395" fmla="*/ 170560 h 410520"/>
                <a:gd name="connsiteX396" fmla="*/ 564621 w 2663946"/>
                <a:gd name="connsiteY396" fmla="*/ 166234 h 410520"/>
                <a:gd name="connsiteX397" fmla="*/ 565604 w 2663946"/>
                <a:gd name="connsiteY397" fmla="*/ 164071 h 410520"/>
                <a:gd name="connsiteX398" fmla="*/ 566833 w 2663946"/>
                <a:gd name="connsiteY398" fmla="*/ 159745 h 410520"/>
                <a:gd name="connsiteX399" fmla="*/ 566341 w 2663946"/>
                <a:gd name="connsiteY399" fmla="*/ 145955 h 410520"/>
                <a:gd name="connsiteX400" fmla="*/ 565358 w 2663946"/>
                <a:gd name="connsiteY400" fmla="*/ 142981 h 410520"/>
                <a:gd name="connsiteX401" fmla="*/ 564129 w 2663946"/>
                <a:gd name="connsiteY401" fmla="*/ 140007 h 410520"/>
                <a:gd name="connsiteX402" fmla="*/ 561917 w 2663946"/>
                <a:gd name="connsiteY402" fmla="*/ 136492 h 410520"/>
                <a:gd name="connsiteX403" fmla="*/ 558230 w 2663946"/>
                <a:gd name="connsiteY403" fmla="*/ 132707 h 410520"/>
                <a:gd name="connsiteX404" fmla="*/ 554297 w 2663946"/>
                <a:gd name="connsiteY404" fmla="*/ 130544 h 410520"/>
                <a:gd name="connsiteX405" fmla="*/ 372346 w 2663946"/>
                <a:gd name="connsiteY405" fmla="*/ 130544 h 410520"/>
                <a:gd name="connsiteX406" fmla="*/ 360793 w 2663946"/>
                <a:gd name="connsiteY406" fmla="*/ 132977 h 410520"/>
                <a:gd name="connsiteX407" fmla="*/ 357598 w 2663946"/>
                <a:gd name="connsiteY407" fmla="*/ 136492 h 410520"/>
                <a:gd name="connsiteX408" fmla="*/ 355385 w 2663946"/>
                <a:gd name="connsiteY408" fmla="*/ 140277 h 410520"/>
                <a:gd name="connsiteX409" fmla="*/ 354402 w 2663946"/>
                <a:gd name="connsiteY409" fmla="*/ 142981 h 410520"/>
                <a:gd name="connsiteX410" fmla="*/ 353419 w 2663946"/>
                <a:gd name="connsiteY410" fmla="*/ 147037 h 410520"/>
                <a:gd name="connsiteX411" fmla="*/ 352436 w 2663946"/>
                <a:gd name="connsiteY411" fmla="*/ 154067 h 410520"/>
                <a:gd name="connsiteX412" fmla="*/ 353419 w 2663946"/>
                <a:gd name="connsiteY412" fmla="*/ 161367 h 410520"/>
                <a:gd name="connsiteX413" fmla="*/ 354648 w 2663946"/>
                <a:gd name="connsiteY413" fmla="*/ 165152 h 410520"/>
                <a:gd name="connsiteX414" fmla="*/ 356860 w 2663946"/>
                <a:gd name="connsiteY414" fmla="*/ 169478 h 410520"/>
                <a:gd name="connsiteX415" fmla="*/ 360301 w 2663946"/>
                <a:gd name="connsiteY415" fmla="*/ 173805 h 410520"/>
                <a:gd name="connsiteX416" fmla="*/ 364726 w 2663946"/>
                <a:gd name="connsiteY416" fmla="*/ 176508 h 410520"/>
                <a:gd name="connsiteX417" fmla="*/ 377016 w 2663946"/>
                <a:gd name="connsiteY417" fmla="*/ 174075 h 410520"/>
                <a:gd name="connsiteX418" fmla="*/ 380212 w 2663946"/>
                <a:gd name="connsiteY418" fmla="*/ 170560 h 410520"/>
                <a:gd name="connsiteX419" fmla="*/ 382670 w 2663946"/>
                <a:gd name="connsiteY419" fmla="*/ 166234 h 410520"/>
                <a:gd name="connsiteX420" fmla="*/ 383653 w 2663946"/>
                <a:gd name="connsiteY420" fmla="*/ 164071 h 410520"/>
                <a:gd name="connsiteX421" fmla="*/ 384882 w 2663946"/>
                <a:gd name="connsiteY421" fmla="*/ 159745 h 410520"/>
                <a:gd name="connsiteX422" fmla="*/ 384390 w 2663946"/>
                <a:gd name="connsiteY422" fmla="*/ 145955 h 410520"/>
                <a:gd name="connsiteX423" fmla="*/ 383407 w 2663946"/>
                <a:gd name="connsiteY423" fmla="*/ 142981 h 410520"/>
                <a:gd name="connsiteX424" fmla="*/ 382178 w 2663946"/>
                <a:gd name="connsiteY424" fmla="*/ 140007 h 410520"/>
                <a:gd name="connsiteX425" fmla="*/ 379966 w 2663946"/>
                <a:gd name="connsiteY425" fmla="*/ 136492 h 410520"/>
                <a:gd name="connsiteX426" fmla="*/ 376279 w 2663946"/>
                <a:gd name="connsiteY426" fmla="*/ 132707 h 410520"/>
                <a:gd name="connsiteX427" fmla="*/ 372346 w 2663946"/>
                <a:gd name="connsiteY427" fmla="*/ 130544 h 410520"/>
                <a:gd name="connsiteX428" fmla="*/ 129300 w 2663946"/>
                <a:gd name="connsiteY428" fmla="*/ 130544 h 410520"/>
                <a:gd name="connsiteX429" fmla="*/ 117747 w 2663946"/>
                <a:gd name="connsiteY429" fmla="*/ 132977 h 410520"/>
                <a:gd name="connsiteX430" fmla="*/ 114552 w 2663946"/>
                <a:gd name="connsiteY430" fmla="*/ 136492 h 410520"/>
                <a:gd name="connsiteX431" fmla="*/ 112340 w 2663946"/>
                <a:gd name="connsiteY431" fmla="*/ 140277 h 410520"/>
                <a:gd name="connsiteX432" fmla="*/ 111356 w 2663946"/>
                <a:gd name="connsiteY432" fmla="*/ 142981 h 410520"/>
                <a:gd name="connsiteX433" fmla="*/ 110373 w 2663946"/>
                <a:gd name="connsiteY433" fmla="*/ 147037 h 410520"/>
                <a:gd name="connsiteX434" fmla="*/ 109390 w 2663946"/>
                <a:gd name="connsiteY434" fmla="*/ 154067 h 410520"/>
                <a:gd name="connsiteX435" fmla="*/ 110373 w 2663946"/>
                <a:gd name="connsiteY435" fmla="*/ 161367 h 410520"/>
                <a:gd name="connsiteX436" fmla="*/ 111602 w 2663946"/>
                <a:gd name="connsiteY436" fmla="*/ 165152 h 410520"/>
                <a:gd name="connsiteX437" fmla="*/ 113814 w 2663946"/>
                <a:gd name="connsiteY437" fmla="*/ 169478 h 410520"/>
                <a:gd name="connsiteX438" fmla="*/ 117256 w 2663946"/>
                <a:gd name="connsiteY438" fmla="*/ 173805 h 410520"/>
                <a:gd name="connsiteX439" fmla="*/ 121680 w 2663946"/>
                <a:gd name="connsiteY439" fmla="*/ 176508 h 410520"/>
                <a:gd name="connsiteX440" fmla="*/ 133970 w 2663946"/>
                <a:gd name="connsiteY440" fmla="*/ 174075 h 410520"/>
                <a:gd name="connsiteX441" fmla="*/ 137166 w 2663946"/>
                <a:gd name="connsiteY441" fmla="*/ 170560 h 410520"/>
                <a:gd name="connsiteX442" fmla="*/ 139624 w 2663946"/>
                <a:gd name="connsiteY442" fmla="*/ 166234 h 410520"/>
                <a:gd name="connsiteX443" fmla="*/ 140607 w 2663946"/>
                <a:gd name="connsiteY443" fmla="*/ 164071 h 410520"/>
                <a:gd name="connsiteX444" fmla="*/ 141836 w 2663946"/>
                <a:gd name="connsiteY444" fmla="*/ 159745 h 410520"/>
                <a:gd name="connsiteX445" fmla="*/ 141344 w 2663946"/>
                <a:gd name="connsiteY445" fmla="*/ 145955 h 410520"/>
                <a:gd name="connsiteX446" fmla="*/ 140361 w 2663946"/>
                <a:gd name="connsiteY446" fmla="*/ 142981 h 410520"/>
                <a:gd name="connsiteX447" fmla="*/ 139132 w 2663946"/>
                <a:gd name="connsiteY447" fmla="*/ 140007 h 410520"/>
                <a:gd name="connsiteX448" fmla="*/ 136920 w 2663946"/>
                <a:gd name="connsiteY448" fmla="*/ 136492 h 410520"/>
                <a:gd name="connsiteX449" fmla="*/ 133233 w 2663946"/>
                <a:gd name="connsiteY449" fmla="*/ 132707 h 410520"/>
                <a:gd name="connsiteX450" fmla="*/ 129300 w 2663946"/>
                <a:gd name="connsiteY450" fmla="*/ 130544 h 410520"/>
                <a:gd name="connsiteX451" fmla="*/ 33147 w 2663946"/>
                <a:gd name="connsiteY451" fmla="*/ 126608 h 410520"/>
                <a:gd name="connsiteX452" fmla="*/ 21486 w 2663946"/>
                <a:gd name="connsiteY452" fmla="*/ 134337 h 410520"/>
                <a:gd name="connsiteX453" fmla="*/ 20561 w 2663946"/>
                <a:gd name="connsiteY453" fmla="*/ 138920 h 410520"/>
                <a:gd name="connsiteX454" fmla="*/ 23801 w 2663946"/>
                <a:gd name="connsiteY454" fmla="*/ 138920 h 410520"/>
                <a:gd name="connsiteX455" fmla="*/ 42218 w 2663946"/>
                <a:gd name="connsiteY455" fmla="*/ 138920 h 410520"/>
                <a:gd name="connsiteX456" fmla="*/ 45732 w 2663946"/>
                <a:gd name="connsiteY456" fmla="*/ 138920 h 410520"/>
                <a:gd name="connsiteX457" fmla="*/ 44807 w 2663946"/>
                <a:gd name="connsiteY457" fmla="*/ 134337 h 410520"/>
                <a:gd name="connsiteX458" fmla="*/ 33147 w 2663946"/>
                <a:gd name="connsiteY458" fmla="*/ 126608 h 410520"/>
                <a:gd name="connsiteX459" fmla="*/ 2537931 w 2663946"/>
                <a:gd name="connsiteY459" fmla="*/ 119020 h 410520"/>
                <a:gd name="connsiteX460" fmla="*/ 2526271 w 2663946"/>
                <a:gd name="connsiteY460" fmla="*/ 126749 h 410520"/>
                <a:gd name="connsiteX461" fmla="*/ 2525346 w 2663946"/>
                <a:gd name="connsiteY461" fmla="*/ 131332 h 410520"/>
                <a:gd name="connsiteX462" fmla="*/ 2528586 w 2663946"/>
                <a:gd name="connsiteY462" fmla="*/ 131332 h 410520"/>
                <a:gd name="connsiteX463" fmla="*/ 2547003 w 2663946"/>
                <a:gd name="connsiteY463" fmla="*/ 131332 h 410520"/>
                <a:gd name="connsiteX464" fmla="*/ 2550517 w 2663946"/>
                <a:gd name="connsiteY464" fmla="*/ 131332 h 410520"/>
                <a:gd name="connsiteX465" fmla="*/ 2549592 w 2663946"/>
                <a:gd name="connsiteY465" fmla="*/ 126749 h 410520"/>
                <a:gd name="connsiteX466" fmla="*/ 2537931 w 2663946"/>
                <a:gd name="connsiteY466" fmla="*/ 119020 h 410520"/>
                <a:gd name="connsiteX467" fmla="*/ 2112934 w 2663946"/>
                <a:gd name="connsiteY467" fmla="*/ 119020 h 410520"/>
                <a:gd name="connsiteX468" fmla="*/ 2101274 w 2663946"/>
                <a:gd name="connsiteY468" fmla="*/ 126749 h 410520"/>
                <a:gd name="connsiteX469" fmla="*/ 2100349 w 2663946"/>
                <a:gd name="connsiteY469" fmla="*/ 131332 h 410520"/>
                <a:gd name="connsiteX470" fmla="*/ 2103589 w 2663946"/>
                <a:gd name="connsiteY470" fmla="*/ 131332 h 410520"/>
                <a:gd name="connsiteX471" fmla="*/ 2122006 w 2663946"/>
                <a:gd name="connsiteY471" fmla="*/ 131332 h 410520"/>
                <a:gd name="connsiteX472" fmla="*/ 2125520 w 2663946"/>
                <a:gd name="connsiteY472" fmla="*/ 131332 h 410520"/>
                <a:gd name="connsiteX473" fmla="*/ 2124595 w 2663946"/>
                <a:gd name="connsiteY473" fmla="*/ 126749 h 410520"/>
                <a:gd name="connsiteX474" fmla="*/ 2112934 w 2663946"/>
                <a:gd name="connsiteY474" fmla="*/ 119020 h 410520"/>
                <a:gd name="connsiteX475" fmla="*/ 1854966 w 2663946"/>
                <a:gd name="connsiteY475" fmla="*/ 119020 h 410520"/>
                <a:gd name="connsiteX476" fmla="*/ 1843306 w 2663946"/>
                <a:gd name="connsiteY476" fmla="*/ 126749 h 410520"/>
                <a:gd name="connsiteX477" fmla="*/ 1842381 w 2663946"/>
                <a:gd name="connsiteY477" fmla="*/ 131332 h 410520"/>
                <a:gd name="connsiteX478" fmla="*/ 1845621 w 2663946"/>
                <a:gd name="connsiteY478" fmla="*/ 131332 h 410520"/>
                <a:gd name="connsiteX479" fmla="*/ 1864038 w 2663946"/>
                <a:gd name="connsiteY479" fmla="*/ 131332 h 410520"/>
                <a:gd name="connsiteX480" fmla="*/ 1867552 w 2663946"/>
                <a:gd name="connsiteY480" fmla="*/ 131332 h 410520"/>
                <a:gd name="connsiteX481" fmla="*/ 1866627 w 2663946"/>
                <a:gd name="connsiteY481" fmla="*/ 126749 h 410520"/>
                <a:gd name="connsiteX482" fmla="*/ 1854966 w 2663946"/>
                <a:gd name="connsiteY482" fmla="*/ 119020 h 410520"/>
                <a:gd name="connsiteX483" fmla="*/ 1764027 w 2663946"/>
                <a:gd name="connsiteY483" fmla="*/ 119020 h 410520"/>
                <a:gd name="connsiteX484" fmla="*/ 1752367 w 2663946"/>
                <a:gd name="connsiteY484" fmla="*/ 126749 h 410520"/>
                <a:gd name="connsiteX485" fmla="*/ 1751442 w 2663946"/>
                <a:gd name="connsiteY485" fmla="*/ 131332 h 410520"/>
                <a:gd name="connsiteX486" fmla="*/ 1754682 w 2663946"/>
                <a:gd name="connsiteY486" fmla="*/ 131332 h 410520"/>
                <a:gd name="connsiteX487" fmla="*/ 1773099 w 2663946"/>
                <a:gd name="connsiteY487" fmla="*/ 131332 h 410520"/>
                <a:gd name="connsiteX488" fmla="*/ 1776613 w 2663946"/>
                <a:gd name="connsiteY488" fmla="*/ 131332 h 410520"/>
                <a:gd name="connsiteX489" fmla="*/ 1775687 w 2663946"/>
                <a:gd name="connsiteY489" fmla="*/ 126749 h 410520"/>
                <a:gd name="connsiteX490" fmla="*/ 1764027 w 2663946"/>
                <a:gd name="connsiteY490" fmla="*/ 119020 h 410520"/>
                <a:gd name="connsiteX491" fmla="*/ 1506059 w 2663946"/>
                <a:gd name="connsiteY491" fmla="*/ 119020 h 410520"/>
                <a:gd name="connsiteX492" fmla="*/ 1494399 w 2663946"/>
                <a:gd name="connsiteY492" fmla="*/ 126749 h 410520"/>
                <a:gd name="connsiteX493" fmla="*/ 1493474 w 2663946"/>
                <a:gd name="connsiteY493" fmla="*/ 131332 h 410520"/>
                <a:gd name="connsiteX494" fmla="*/ 1496714 w 2663946"/>
                <a:gd name="connsiteY494" fmla="*/ 131332 h 410520"/>
                <a:gd name="connsiteX495" fmla="*/ 1515131 w 2663946"/>
                <a:gd name="connsiteY495" fmla="*/ 131332 h 410520"/>
                <a:gd name="connsiteX496" fmla="*/ 1518645 w 2663946"/>
                <a:gd name="connsiteY496" fmla="*/ 131332 h 410520"/>
                <a:gd name="connsiteX497" fmla="*/ 1517719 w 2663946"/>
                <a:gd name="connsiteY497" fmla="*/ 126749 h 410520"/>
                <a:gd name="connsiteX498" fmla="*/ 1506059 w 2663946"/>
                <a:gd name="connsiteY498" fmla="*/ 119020 h 410520"/>
                <a:gd name="connsiteX499" fmla="*/ 1415120 w 2663946"/>
                <a:gd name="connsiteY499" fmla="*/ 119020 h 410520"/>
                <a:gd name="connsiteX500" fmla="*/ 1403460 w 2663946"/>
                <a:gd name="connsiteY500" fmla="*/ 126749 h 410520"/>
                <a:gd name="connsiteX501" fmla="*/ 1402535 w 2663946"/>
                <a:gd name="connsiteY501" fmla="*/ 131332 h 410520"/>
                <a:gd name="connsiteX502" fmla="*/ 1405775 w 2663946"/>
                <a:gd name="connsiteY502" fmla="*/ 131332 h 410520"/>
                <a:gd name="connsiteX503" fmla="*/ 1424192 w 2663946"/>
                <a:gd name="connsiteY503" fmla="*/ 131332 h 410520"/>
                <a:gd name="connsiteX504" fmla="*/ 1427706 w 2663946"/>
                <a:gd name="connsiteY504" fmla="*/ 131332 h 410520"/>
                <a:gd name="connsiteX505" fmla="*/ 1426780 w 2663946"/>
                <a:gd name="connsiteY505" fmla="*/ 126749 h 410520"/>
                <a:gd name="connsiteX506" fmla="*/ 1415120 w 2663946"/>
                <a:gd name="connsiteY506" fmla="*/ 119020 h 410520"/>
                <a:gd name="connsiteX507" fmla="*/ 1157152 w 2663946"/>
                <a:gd name="connsiteY507" fmla="*/ 119020 h 410520"/>
                <a:gd name="connsiteX508" fmla="*/ 1145492 w 2663946"/>
                <a:gd name="connsiteY508" fmla="*/ 126749 h 410520"/>
                <a:gd name="connsiteX509" fmla="*/ 1144567 w 2663946"/>
                <a:gd name="connsiteY509" fmla="*/ 131332 h 410520"/>
                <a:gd name="connsiteX510" fmla="*/ 1147807 w 2663946"/>
                <a:gd name="connsiteY510" fmla="*/ 131332 h 410520"/>
                <a:gd name="connsiteX511" fmla="*/ 1166224 w 2663946"/>
                <a:gd name="connsiteY511" fmla="*/ 131332 h 410520"/>
                <a:gd name="connsiteX512" fmla="*/ 1169738 w 2663946"/>
                <a:gd name="connsiteY512" fmla="*/ 131332 h 410520"/>
                <a:gd name="connsiteX513" fmla="*/ 1168812 w 2663946"/>
                <a:gd name="connsiteY513" fmla="*/ 126749 h 410520"/>
                <a:gd name="connsiteX514" fmla="*/ 1157152 w 2663946"/>
                <a:gd name="connsiteY514" fmla="*/ 119020 h 410520"/>
                <a:gd name="connsiteX515" fmla="*/ 732156 w 2663946"/>
                <a:gd name="connsiteY515" fmla="*/ 119020 h 410520"/>
                <a:gd name="connsiteX516" fmla="*/ 720495 w 2663946"/>
                <a:gd name="connsiteY516" fmla="*/ 126749 h 410520"/>
                <a:gd name="connsiteX517" fmla="*/ 719570 w 2663946"/>
                <a:gd name="connsiteY517" fmla="*/ 131332 h 410520"/>
                <a:gd name="connsiteX518" fmla="*/ 722810 w 2663946"/>
                <a:gd name="connsiteY518" fmla="*/ 131332 h 410520"/>
                <a:gd name="connsiteX519" fmla="*/ 741228 w 2663946"/>
                <a:gd name="connsiteY519" fmla="*/ 131332 h 410520"/>
                <a:gd name="connsiteX520" fmla="*/ 744742 w 2663946"/>
                <a:gd name="connsiteY520" fmla="*/ 131332 h 410520"/>
                <a:gd name="connsiteX521" fmla="*/ 743816 w 2663946"/>
                <a:gd name="connsiteY521" fmla="*/ 126749 h 410520"/>
                <a:gd name="connsiteX522" fmla="*/ 732156 w 2663946"/>
                <a:gd name="connsiteY522" fmla="*/ 119020 h 410520"/>
                <a:gd name="connsiteX523" fmla="*/ 641217 w 2663946"/>
                <a:gd name="connsiteY523" fmla="*/ 119020 h 410520"/>
                <a:gd name="connsiteX524" fmla="*/ 629556 w 2663946"/>
                <a:gd name="connsiteY524" fmla="*/ 126749 h 410520"/>
                <a:gd name="connsiteX525" fmla="*/ 628631 w 2663946"/>
                <a:gd name="connsiteY525" fmla="*/ 131332 h 410520"/>
                <a:gd name="connsiteX526" fmla="*/ 631871 w 2663946"/>
                <a:gd name="connsiteY526" fmla="*/ 131332 h 410520"/>
                <a:gd name="connsiteX527" fmla="*/ 650289 w 2663946"/>
                <a:gd name="connsiteY527" fmla="*/ 131332 h 410520"/>
                <a:gd name="connsiteX528" fmla="*/ 653802 w 2663946"/>
                <a:gd name="connsiteY528" fmla="*/ 131332 h 410520"/>
                <a:gd name="connsiteX529" fmla="*/ 652877 w 2663946"/>
                <a:gd name="connsiteY529" fmla="*/ 126749 h 410520"/>
                <a:gd name="connsiteX530" fmla="*/ 641217 w 2663946"/>
                <a:gd name="connsiteY530" fmla="*/ 119020 h 410520"/>
                <a:gd name="connsiteX531" fmla="*/ 459266 w 2663946"/>
                <a:gd name="connsiteY531" fmla="*/ 119020 h 410520"/>
                <a:gd name="connsiteX532" fmla="*/ 447605 w 2663946"/>
                <a:gd name="connsiteY532" fmla="*/ 126749 h 410520"/>
                <a:gd name="connsiteX533" fmla="*/ 446680 w 2663946"/>
                <a:gd name="connsiteY533" fmla="*/ 131332 h 410520"/>
                <a:gd name="connsiteX534" fmla="*/ 449920 w 2663946"/>
                <a:gd name="connsiteY534" fmla="*/ 131332 h 410520"/>
                <a:gd name="connsiteX535" fmla="*/ 468337 w 2663946"/>
                <a:gd name="connsiteY535" fmla="*/ 131332 h 410520"/>
                <a:gd name="connsiteX536" fmla="*/ 471851 w 2663946"/>
                <a:gd name="connsiteY536" fmla="*/ 131332 h 410520"/>
                <a:gd name="connsiteX537" fmla="*/ 470926 w 2663946"/>
                <a:gd name="connsiteY537" fmla="*/ 126749 h 410520"/>
                <a:gd name="connsiteX538" fmla="*/ 459266 w 2663946"/>
                <a:gd name="connsiteY538" fmla="*/ 119020 h 410520"/>
                <a:gd name="connsiteX539" fmla="*/ 2361413 w 2663946"/>
                <a:gd name="connsiteY539" fmla="*/ 114660 h 410520"/>
                <a:gd name="connsiteX540" fmla="*/ 2365469 w 2663946"/>
                <a:gd name="connsiteY540" fmla="*/ 114660 h 410520"/>
                <a:gd name="connsiteX541" fmla="*/ 2370065 w 2663946"/>
                <a:gd name="connsiteY541" fmla="*/ 117094 h 410520"/>
                <a:gd name="connsiteX542" fmla="*/ 2372229 w 2663946"/>
                <a:gd name="connsiteY542" fmla="*/ 123312 h 410520"/>
                <a:gd name="connsiteX543" fmla="*/ 2372229 w 2663946"/>
                <a:gd name="connsiteY543" fmla="*/ 123853 h 410520"/>
                <a:gd name="connsiteX544" fmla="*/ 2372229 w 2663946"/>
                <a:gd name="connsiteY544" fmla="*/ 176848 h 410520"/>
                <a:gd name="connsiteX545" fmla="*/ 2372769 w 2663946"/>
                <a:gd name="connsiteY545" fmla="*/ 177388 h 410520"/>
                <a:gd name="connsiteX546" fmla="*/ 2380069 w 2663946"/>
                <a:gd name="connsiteY546" fmla="*/ 177388 h 410520"/>
                <a:gd name="connsiteX547" fmla="*/ 2384125 w 2663946"/>
                <a:gd name="connsiteY547" fmla="*/ 178470 h 410520"/>
                <a:gd name="connsiteX548" fmla="*/ 2387910 w 2663946"/>
                <a:gd name="connsiteY548" fmla="*/ 185229 h 410520"/>
                <a:gd name="connsiteX549" fmla="*/ 2385207 w 2663946"/>
                <a:gd name="connsiteY549" fmla="*/ 190907 h 410520"/>
                <a:gd name="connsiteX550" fmla="*/ 2381151 w 2663946"/>
                <a:gd name="connsiteY550" fmla="*/ 192800 h 410520"/>
                <a:gd name="connsiteX551" fmla="*/ 2380881 w 2663946"/>
                <a:gd name="connsiteY551" fmla="*/ 192800 h 410520"/>
                <a:gd name="connsiteX552" fmla="*/ 2380610 w 2663946"/>
                <a:gd name="connsiteY552" fmla="*/ 192800 h 410520"/>
                <a:gd name="connsiteX553" fmla="*/ 2380069 w 2663946"/>
                <a:gd name="connsiteY553" fmla="*/ 192800 h 410520"/>
                <a:gd name="connsiteX554" fmla="*/ 2347894 w 2663946"/>
                <a:gd name="connsiteY554" fmla="*/ 192800 h 410520"/>
                <a:gd name="connsiteX555" fmla="*/ 2347354 w 2663946"/>
                <a:gd name="connsiteY555" fmla="*/ 192800 h 410520"/>
                <a:gd name="connsiteX556" fmla="*/ 2346542 w 2663946"/>
                <a:gd name="connsiteY556" fmla="*/ 192800 h 410520"/>
                <a:gd name="connsiteX557" fmla="*/ 2345731 w 2663946"/>
                <a:gd name="connsiteY557" fmla="*/ 192530 h 410520"/>
                <a:gd name="connsiteX558" fmla="*/ 2342216 w 2663946"/>
                <a:gd name="connsiteY558" fmla="*/ 190637 h 410520"/>
                <a:gd name="connsiteX559" fmla="*/ 2339783 w 2663946"/>
                <a:gd name="connsiteY559" fmla="*/ 184959 h 410520"/>
                <a:gd name="connsiteX560" fmla="*/ 2341946 w 2663946"/>
                <a:gd name="connsiteY560" fmla="*/ 179822 h 410520"/>
                <a:gd name="connsiteX561" fmla="*/ 2347624 w 2663946"/>
                <a:gd name="connsiteY561" fmla="*/ 177388 h 410520"/>
                <a:gd name="connsiteX562" fmla="*/ 2355465 w 2663946"/>
                <a:gd name="connsiteY562" fmla="*/ 177388 h 410520"/>
                <a:gd name="connsiteX563" fmla="*/ 2356006 w 2663946"/>
                <a:gd name="connsiteY563" fmla="*/ 176848 h 410520"/>
                <a:gd name="connsiteX564" fmla="*/ 2356006 w 2663946"/>
                <a:gd name="connsiteY564" fmla="*/ 130883 h 410520"/>
                <a:gd name="connsiteX565" fmla="*/ 2355465 w 2663946"/>
                <a:gd name="connsiteY565" fmla="*/ 130342 h 410520"/>
                <a:gd name="connsiteX566" fmla="*/ 2349517 w 2663946"/>
                <a:gd name="connsiteY566" fmla="*/ 130342 h 410520"/>
                <a:gd name="connsiteX567" fmla="*/ 2342216 w 2663946"/>
                <a:gd name="connsiteY567" fmla="*/ 125746 h 410520"/>
                <a:gd name="connsiteX568" fmla="*/ 2341946 w 2663946"/>
                <a:gd name="connsiteY568" fmla="*/ 120068 h 410520"/>
                <a:gd name="connsiteX569" fmla="*/ 2349246 w 2663946"/>
                <a:gd name="connsiteY569" fmla="*/ 114931 h 410520"/>
                <a:gd name="connsiteX570" fmla="*/ 2361413 w 2663946"/>
                <a:gd name="connsiteY570" fmla="*/ 114660 h 410520"/>
                <a:gd name="connsiteX571" fmla="*/ 2285396 w 2663946"/>
                <a:gd name="connsiteY571" fmla="*/ 114660 h 410520"/>
                <a:gd name="connsiteX572" fmla="*/ 2289452 w 2663946"/>
                <a:gd name="connsiteY572" fmla="*/ 114660 h 410520"/>
                <a:gd name="connsiteX573" fmla="*/ 2294048 w 2663946"/>
                <a:gd name="connsiteY573" fmla="*/ 117094 h 410520"/>
                <a:gd name="connsiteX574" fmla="*/ 2296212 w 2663946"/>
                <a:gd name="connsiteY574" fmla="*/ 123312 h 410520"/>
                <a:gd name="connsiteX575" fmla="*/ 2296212 w 2663946"/>
                <a:gd name="connsiteY575" fmla="*/ 123853 h 410520"/>
                <a:gd name="connsiteX576" fmla="*/ 2296212 w 2663946"/>
                <a:gd name="connsiteY576" fmla="*/ 176848 h 410520"/>
                <a:gd name="connsiteX577" fmla="*/ 2296752 w 2663946"/>
                <a:gd name="connsiteY577" fmla="*/ 177388 h 410520"/>
                <a:gd name="connsiteX578" fmla="*/ 2304052 w 2663946"/>
                <a:gd name="connsiteY578" fmla="*/ 177388 h 410520"/>
                <a:gd name="connsiteX579" fmla="*/ 2308108 w 2663946"/>
                <a:gd name="connsiteY579" fmla="*/ 178470 h 410520"/>
                <a:gd name="connsiteX580" fmla="*/ 2311893 w 2663946"/>
                <a:gd name="connsiteY580" fmla="*/ 185229 h 410520"/>
                <a:gd name="connsiteX581" fmla="*/ 2309190 w 2663946"/>
                <a:gd name="connsiteY581" fmla="*/ 190907 h 410520"/>
                <a:gd name="connsiteX582" fmla="*/ 2305134 w 2663946"/>
                <a:gd name="connsiteY582" fmla="*/ 192800 h 410520"/>
                <a:gd name="connsiteX583" fmla="*/ 2304864 w 2663946"/>
                <a:gd name="connsiteY583" fmla="*/ 192800 h 410520"/>
                <a:gd name="connsiteX584" fmla="*/ 2304593 w 2663946"/>
                <a:gd name="connsiteY584" fmla="*/ 192800 h 410520"/>
                <a:gd name="connsiteX585" fmla="*/ 2304052 w 2663946"/>
                <a:gd name="connsiteY585" fmla="*/ 192800 h 410520"/>
                <a:gd name="connsiteX586" fmla="*/ 2271877 w 2663946"/>
                <a:gd name="connsiteY586" fmla="*/ 192800 h 410520"/>
                <a:gd name="connsiteX587" fmla="*/ 2271337 w 2663946"/>
                <a:gd name="connsiteY587" fmla="*/ 192800 h 410520"/>
                <a:gd name="connsiteX588" fmla="*/ 2270525 w 2663946"/>
                <a:gd name="connsiteY588" fmla="*/ 192800 h 410520"/>
                <a:gd name="connsiteX589" fmla="*/ 2269714 w 2663946"/>
                <a:gd name="connsiteY589" fmla="*/ 192530 h 410520"/>
                <a:gd name="connsiteX590" fmla="*/ 2266199 w 2663946"/>
                <a:gd name="connsiteY590" fmla="*/ 190637 h 410520"/>
                <a:gd name="connsiteX591" fmla="*/ 2263766 w 2663946"/>
                <a:gd name="connsiteY591" fmla="*/ 184959 h 410520"/>
                <a:gd name="connsiteX592" fmla="*/ 2265929 w 2663946"/>
                <a:gd name="connsiteY592" fmla="*/ 179822 h 410520"/>
                <a:gd name="connsiteX593" fmla="*/ 2271607 w 2663946"/>
                <a:gd name="connsiteY593" fmla="*/ 177388 h 410520"/>
                <a:gd name="connsiteX594" fmla="*/ 2279448 w 2663946"/>
                <a:gd name="connsiteY594" fmla="*/ 177388 h 410520"/>
                <a:gd name="connsiteX595" fmla="*/ 2279989 w 2663946"/>
                <a:gd name="connsiteY595" fmla="*/ 176848 h 410520"/>
                <a:gd name="connsiteX596" fmla="*/ 2279989 w 2663946"/>
                <a:gd name="connsiteY596" fmla="*/ 130883 h 410520"/>
                <a:gd name="connsiteX597" fmla="*/ 2279448 w 2663946"/>
                <a:gd name="connsiteY597" fmla="*/ 130342 h 410520"/>
                <a:gd name="connsiteX598" fmla="*/ 2273500 w 2663946"/>
                <a:gd name="connsiteY598" fmla="*/ 130342 h 410520"/>
                <a:gd name="connsiteX599" fmla="*/ 2266199 w 2663946"/>
                <a:gd name="connsiteY599" fmla="*/ 125746 h 410520"/>
                <a:gd name="connsiteX600" fmla="*/ 2265929 w 2663946"/>
                <a:gd name="connsiteY600" fmla="*/ 120068 h 410520"/>
                <a:gd name="connsiteX601" fmla="*/ 2273229 w 2663946"/>
                <a:gd name="connsiteY601" fmla="*/ 114931 h 410520"/>
                <a:gd name="connsiteX602" fmla="*/ 2285396 w 2663946"/>
                <a:gd name="connsiteY602" fmla="*/ 114660 h 410520"/>
                <a:gd name="connsiteX603" fmla="*/ 1936416 w 2663946"/>
                <a:gd name="connsiteY603" fmla="*/ 114660 h 410520"/>
                <a:gd name="connsiteX604" fmla="*/ 1940472 w 2663946"/>
                <a:gd name="connsiteY604" fmla="*/ 114660 h 410520"/>
                <a:gd name="connsiteX605" fmla="*/ 1945068 w 2663946"/>
                <a:gd name="connsiteY605" fmla="*/ 117094 h 410520"/>
                <a:gd name="connsiteX606" fmla="*/ 1947232 w 2663946"/>
                <a:gd name="connsiteY606" fmla="*/ 123312 h 410520"/>
                <a:gd name="connsiteX607" fmla="*/ 1947232 w 2663946"/>
                <a:gd name="connsiteY607" fmla="*/ 123853 h 410520"/>
                <a:gd name="connsiteX608" fmla="*/ 1947232 w 2663946"/>
                <a:gd name="connsiteY608" fmla="*/ 176848 h 410520"/>
                <a:gd name="connsiteX609" fmla="*/ 1947772 w 2663946"/>
                <a:gd name="connsiteY609" fmla="*/ 177388 h 410520"/>
                <a:gd name="connsiteX610" fmla="*/ 1955072 w 2663946"/>
                <a:gd name="connsiteY610" fmla="*/ 177388 h 410520"/>
                <a:gd name="connsiteX611" fmla="*/ 1959128 w 2663946"/>
                <a:gd name="connsiteY611" fmla="*/ 178470 h 410520"/>
                <a:gd name="connsiteX612" fmla="*/ 1962913 w 2663946"/>
                <a:gd name="connsiteY612" fmla="*/ 185229 h 410520"/>
                <a:gd name="connsiteX613" fmla="*/ 1960210 w 2663946"/>
                <a:gd name="connsiteY613" fmla="*/ 190907 h 410520"/>
                <a:gd name="connsiteX614" fmla="*/ 1956154 w 2663946"/>
                <a:gd name="connsiteY614" fmla="*/ 192800 h 410520"/>
                <a:gd name="connsiteX615" fmla="*/ 1955884 w 2663946"/>
                <a:gd name="connsiteY615" fmla="*/ 192800 h 410520"/>
                <a:gd name="connsiteX616" fmla="*/ 1955613 w 2663946"/>
                <a:gd name="connsiteY616" fmla="*/ 192800 h 410520"/>
                <a:gd name="connsiteX617" fmla="*/ 1955072 w 2663946"/>
                <a:gd name="connsiteY617" fmla="*/ 192800 h 410520"/>
                <a:gd name="connsiteX618" fmla="*/ 1922897 w 2663946"/>
                <a:gd name="connsiteY618" fmla="*/ 192800 h 410520"/>
                <a:gd name="connsiteX619" fmla="*/ 1922357 w 2663946"/>
                <a:gd name="connsiteY619" fmla="*/ 192800 h 410520"/>
                <a:gd name="connsiteX620" fmla="*/ 1921545 w 2663946"/>
                <a:gd name="connsiteY620" fmla="*/ 192800 h 410520"/>
                <a:gd name="connsiteX621" fmla="*/ 1920734 w 2663946"/>
                <a:gd name="connsiteY621" fmla="*/ 192530 h 410520"/>
                <a:gd name="connsiteX622" fmla="*/ 1917219 w 2663946"/>
                <a:gd name="connsiteY622" fmla="*/ 190637 h 410520"/>
                <a:gd name="connsiteX623" fmla="*/ 1914786 w 2663946"/>
                <a:gd name="connsiteY623" fmla="*/ 184959 h 410520"/>
                <a:gd name="connsiteX624" fmla="*/ 1916949 w 2663946"/>
                <a:gd name="connsiteY624" fmla="*/ 179822 h 410520"/>
                <a:gd name="connsiteX625" fmla="*/ 1922627 w 2663946"/>
                <a:gd name="connsiteY625" fmla="*/ 177388 h 410520"/>
                <a:gd name="connsiteX626" fmla="*/ 1930468 w 2663946"/>
                <a:gd name="connsiteY626" fmla="*/ 177388 h 410520"/>
                <a:gd name="connsiteX627" fmla="*/ 1931009 w 2663946"/>
                <a:gd name="connsiteY627" fmla="*/ 176848 h 410520"/>
                <a:gd name="connsiteX628" fmla="*/ 1931009 w 2663946"/>
                <a:gd name="connsiteY628" fmla="*/ 130883 h 410520"/>
                <a:gd name="connsiteX629" fmla="*/ 1930468 w 2663946"/>
                <a:gd name="connsiteY629" fmla="*/ 130342 h 410520"/>
                <a:gd name="connsiteX630" fmla="*/ 1924520 w 2663946"/>
                <a:gd name="connsiteY630" fmla="*/ 130342 h 410520"/>
                <a:gd name="connsiteX631" fmla="*/ 1917219 w 2663946"/>
                <a:gd name="connsiteY631" fmla="*/ 125746 h 410520"/>
                <a:gd name="connsiteX632" fmla="*/ 1916949 w 2663946"/>
                <a:gd name="connsiteY632" fmla="*/ 120068 h 410520"/>
                <a:gd name="connsiteX633" fmla="*/ 1924249 w 2663946"/>
                <a:gd name="connsiteY633" fmla="*/ 114931 h 410520"/>
                <a:gd name="connsiteX634" fmla="*/ 1936416 w 2663946"/>
                <a:gd name="connsiteY634" fmla="*/ 114660 h 410520"/>
                <a:gd name="connsiteX635" fmla="*/ 1678521 w 2663946"/>
                <a:gd name="connsiteY635" fmla="*/ 114660 h 410520"/>
                <a:gd name="connsiteX636" fmla="*/ 1682577 w 2663946"/>
                <a:gd name="connsiteY636" fmla="*/ 114660 h 410520"/>
                <a:gd name="connsiteX637" fmla="*/ 1687173 w 2663946"/>
                <a:gd name="connsiteY637" fmla="*/ 117094 h 410520"/>
                <a:gd name="connsiteX638" fmla="*/ 1689336 w 2663946"/>
                <a:gd name="connsiteY638" fmla="*/ 123312 h 410520"/>
                <a:gd name="connsiteX639" fmla="*/ 1689336 w 2663946"/>
                <a:gd name="connsiteY639" fmla="*/ 123853 h 410520"/>
                <a:gd name="connsiteX640" fmla="*/ 1689336 w 2663946"/>
                <a:gd name="connsiteY640" fmla="*/ 176848 h 410520"/>
                <a:gd name="connsiteX641" fmla="*/ 1689877 w 2663946"/>
                <a:gd name="connsiteY641" fmla="*/ 177388 h 410520"/>
                <a:gd name="connsiteX642" fmla="*/ 1697177 w 2663946"/>
                <a:gd name="connsiteY642" fmla="*/ 177388 h 410520"/>
                <a:gd name="connsiteX643" fmla="*/ 1701233 w 2663946"/>
                <a:gd name="connsiteY643" fmla="*/ 178470 h 410520"/>
                <a:gd name="connsiteX644" fmla="*/ 1705018 w 2663946"/>
                <a:gd name="connsiteY644" fmla="*/ 185229 h 410520"/>
                <a:gd name="connsiteX645" fmla="*/ 1702315 w 2663946"/>
                <a:gd name="connsiteY645" fmla="*/ 190907 h 410520"/>
                <a:gd name="connsiteX646" fmla="*/ 1698259 w 2663946"/>
                <a:gd name="connsiteY646" fmla="*/ 192800 h 410520"/>
                <a:gd name="connsiteX647" fmla="*/ 1697989 w 2663946"/>
                <a:gd name="connsiteY647" fmla="*/ 192800 h 410520"/>
                <a:gd name="connsiteX648" fmla="*/ 1697718 w 2663946"/>
                <a:gd name="connsiteY648" fmla="*/ 192800 h 410520"/>
                <a:gd name="connsiteX649" fmla="*/ 1697177 w 2663946"/>
                <a:gd name="connsiteY649" fmla="*/ 192800 h 410520"/>
                <a:gd name="connsiteX650" fmla="*/ 1665002 w 2663946"/>
                <a:gd name="connsiteY650" fmla="*/ 192800 h 410520"/>
                <a:gd name="connsiteX651" fmla="*/ 1664462 w 2663946"/>
                <a:gd name="connsiteY651" fmla="*/ 192800 h 410520"/>
                <a:gd name="connsiteX652" fmla="*/ 1663650 w 2663946"/>
                <a:gd name="connsiteY652" fmla="*/ 192800 h 410520"/>
                <a:gd name="connsiteX653" fmla="*/ 1662839 w 2663946"/>
                <a:gd name="connsiteY653" fmla="*/ 192530 h 410520"/>
                <a:gd name="connsiteX654" fmla="*/ 1659324 w 2663946"/>
                <a:gd name="connsiteY654" fmla="*/ 190637 h 410520"/>
                <a:gd name="connsiteX655" fmla="*/ 1656891 w 2663946"/>
                <a:gd name="connsiteY655" fmla="*/ 184959 h 410520"/>
                <a:gd name="connsiteX656" fmla="*/ 1659054 w 2663946"/>
                <a:gd name="connsiteY656" fmla="*/ 179822 h 410520"/>
                <a:gd name="connsiteX657" fmla="*/ 1664732 w 2663946"/>
                <a:gd name="connsiteY657" fmla="*/ 177388 h 410520"/>
                <a:gd name="connsiteX658" fmla="*/ 1672573 w 2663946"/>
                <a:gd name="connsiteY658" fmla="*/ 177388 h 410520"/>
                <a:gd name="connsiteX659" fmla="*/ 1673114 w 2663946"/>
                <a:gd name="connsiteY659" fmla="*/ 176848 h 410520"/>
                <a:gd name="connsiteX660" fmla="*/ 1673114 w 2663946"/>
                <a:gd name="connsiteY660" fmla="*/ 130883 h 410520"/>
                <a:gd name="connsiteX661" fmla="*/ 1672573 w 2663946"/>
                <a:gd name="connsiteY661" fmla="*/ 130342 h 410520"/>
                <a:gd name="connsiteX662" fmla="*/ 1666625 w 2663946"/>
                <a:gd name="connsiteY662" fmla="*/ 130342 h 410520"/>
                <a:gd name="connsiteX663" fmla="*/ 1659324 w 2663946"/>
                <a:gd name="connsiteY663" fmla="*/ 125746 h 410520"/>
                <a:gd name="connsiteX664" fmla="*/ 1659054 w 2663946"/>
                <a:gd name="connsiteY664" fmla="*/ 120068 h 410520"/>
                <a:gd name="connsiteX665" fmla="*/ 1666354 w 2663946"/>
                <a:gd name="connsiteY665" fmla="*/ 114931 h 410520"/>
                <a:gd name="connsiteX666" fmla="*/ 1678521 w 2663946"/>
                <a:gd name="connsiteY666" fmla="*/ 114660 h 410520"/>
                <a:gd name="connsiteX667" fmla="*/ 1329614 w 2663946"/>
                <a:gd name="connsiteY667" fmla="*/ 114660 h 410520"/>
                <a:gd name="connsiteX668" fmla="*/ 1333670 w 2663946"/>
                <a:gd name="connsiteY668" fmla="*/ 114660 h 410520"/>
                <a:gd name="connsiteX669" fmla="*/ 1338266 w 2663946"/>
                <a:gd name="connsiteY669" fmla="*/ 117094 h 410520"/>
                <a:gd name="connsiteX670" fmla="*/ 1340429 w 2663946"/>
                <a:gd name="connsiteY670" fmla="*/ 123312 h 410520"/>
                <a:gd name="connsiteX671" fmla="*/ 1340429 w 2663946"/>
                <a:gd name="connsiteY671" fmla="*/ 123853 h 410520"/>
                <a:gd name="connsiteX672" fmla="*/ 1340429 w 2663946"/>
                <a:gd name="connsiteY672" fmla="*/ 176848 h 410520"/>
                <a:gd name="connsiteX673" fmla="*/ 1340970 w 2663946"/>
                <a:gd name="connsiteY673" fmla="*/ 177388 h 410520"/>
                <a:gd name="connsiteX674" fmla="*/ 1348270 w 2663946"/>
                <a:gd name="connsiteY674" fmla="*/ 177388 h 410520"/>
                <a:gd name="connsiteX675" fmla="*/ 1352326 w 2663946"/>
                <a:gd name="connsiteY675" fmla="*/ 178470 h 410520"/>
                <a:gd name="connsiteX676" fmla="*/ 1356111 w 2663946"/>
                <a:gd name="connsiteY676" fmla="*/ 185229 h 410520"/>
                <a:gd name="connsiteX677" fmla="*/ 1353408 w 2663946"/>
                <a:gd name="connsiteY677" fmla="*/ 190907 h 410520"/>
                <a:gd name="connsiteX678" fmla="*/ 1349352 w 2663946"/>
                <a:gd name="connsiteY678" fmla="*/ 192800 h 410520"/>
                <a:gd name="connsiteX679" fmla="*/ 1349082 w 2663946"/>
                <a:gd name="connsiteY679" fmla="*/ 192800 h 410520"/>
                <a:gd name="connsiteX680" fmla="*/ 1348811 w 2663946"/>
                <a:gd name="connsiteY680" fmla="*/ 192800 h 410520"/>
                <a:gd name="connsiteX681" fmla="*/ 1348270 w 2663946"/>
                <a:gd name="connsiteY681" fmla="*/ 192800 h 410520"/>
                <a:gd name="connsiteX682" fmla="*/ 1316095 w 2663946"/>
                <a:gd name="connsiteY682" fmla="*/ 192800 h 410520"/>
                <a:gd name="connsiteX683" fmla="*/ 1315555 w 2663946"/>
                <a:gd name="connsiteY683" fmla="*/ 192800 h 410520"/>
                <a:gd name="connsiteX684" fmla="*/ 1314743 w 2663946"/>
                <a:gd name="connsiteY684" fmla="*/ 192800 h 410520"/>
                <a:gd name="connsiteX685" fmla="*/ 1313932 w 2663946"/>
                <a:gd name="connsiteY685" fmla="*/ 192530 h 410520"/>
                <a:gd name="connsiteX686" fmla="*/ 1310417 w 2663946"/>
                <a:gd name="connsiteY686" fmla="*/ 190637 h 410520"/>
                <a:gd name="connsiteX687" fmla="*/ 1307984 w 2663946"/>
                <a:gd name="connsiteY687" fmla="*/ 184959 h 410520"/>
                <a:gd name="connsiteX688" fmla="*/ 1310147 w 2663946"/>
                <a:gd name="connsiteY688" fmla="*/ 179822 h 410520"/>
                <a:gd name="connsiteX689" fmla="*/ 1315825 w 2663946"/>
                <a:gd name="connsiteY689" fmla="*/ 177388 h 410520"/>
                <a:gd name="connsiteX690" fmla="*/ 1323666 w 2663946"/>
                <a:gd name="connsiteY690" fmla="*/ 177388 h 410520"/>
                <a:gd name="connsiteX691" fmla="*/ 1324207 w 2663946"/>
                <a:gd name="connsiteY691" fmla="*/ 176848 h 410520"/>
                <a:gd name="connsiteX692" fmla="*/ 1324207 w 2663946"/>
                <a:gd name="connsiteY692" fmla="*/ 130883 h 410520"/>
                <a:gd name="connsiteX693" fmla="*/ 1323666 w 2663946"/>
                <a:gd name="connsiteY693" fmla="*/ 130342 h 410520"/>
                <a:gd name="connsiteX694" fmla="*/ 1317718 w 2663946"/>
                <a:gd name="connsiteY694" fmla="*/ 130342 h 410520"/>
                <a:gd name="connsiteX695" fmla="*/ 1310417 w 2663946"/>
                <a:gd name="connsiteY695" fmla="*/ 125746 h 410520"/>
                <a:gd name="connsiteX696" fmla="*/ 1310147 w 2663946"/>
                <a:gd name="connsiteY696" fmla="*/ 120068 h 410520"/>
                <a:gd name="connsiteX697" fmla="*/ 1317447 w 2663946"/>
                <a:gd name="connsiteY697" fmla="*/ 114931 h 410520"/>
                <a:gd name="connsiteX698" fmla="*/ 1329614 w 2663946"/>
                <a:gd name="connsiteY698" fmla="*/ 114660 h 410520"/>
                <a:gd name="connsiteX699" fmla="*/ 980634 w 2663946"/>
                <a:gd name="connsiteY699" fmla="*/ 114660 h 410520"/>
                <a:gd name="connsiteX700" fmla="*/ 984690 w 2663946"/>
                <a:gd name="connsiteY700" fmla="*/ 114660 h 410520"/>
                <a:gd name="connsiteX701" fmla="*/ 989286 w 2663946"/>
                <a:gd name="connsiteY701" fmla="*/ 117094 h 410520"/>
                <a:gd name="connsiteX702" fmla="*/ 991449 w 2663946"/>
                <a:gd name="connsiteY702" fmla="*/ 123312 h 410520"/>
                <a:gd name="connsiteX703" fmla="*/ 991449 w 2663946"/>
                <a:gd name="connsiteY703" fmla="*/ 123853 h 410520"/>
                <a:gd name="connsiteX704" fmla="*/ 991449 w 2663946"/>
                <a:gd name="connsiteY704" fmla="*/ 176848 h 410520"/>
                <a:gd name="connsiteX705" fmla="*/ 991990 w 2663946"/>
                <a:gd name="connsiteY705" fmla="*/ 177388 h 410520"/>
                <a:gd name="connsiteX706" fmla="*/ 999290 w 2663946"/>
                <a:gd name="connsiteY706" fmla="*/ 177388 h 410520"/>
                <a:gd name="connsiteX707" fmla="*/ 1003346 w 2663946"/>
                <a:gd name="connsiteY707" fmla="*/ 178470 h 410520"/>
                <a:gd name="connsiteX708" fmla="*/ 1007131 w 2663946"/>
                <a:gd name="connsiteY708" fmla="*/ 185229 h 410520"/>
                <a:gd name="connsiteX709" fmla="*/ 1004428 w 2663946"/>
                <a:gd name="connsiteY709" fmla="*/ 190907 h 410520"/>
                <a:gd name="connsiteX710" fmla="*/ 1000372 w 2663946"/>
                <a:gd name="connsiteY710" fmla="*/ 192800 h 410520"/>
                <a:gd name="connsiteX711" fmla="*/ 1000102 w 2663946"/>
                <a:gd name="connsiteY711" fmla="*/ 192800 h 410520"/>
                <a:gd name="connsiteX712" fmla="*/ 999831 w 2663946"/>
                <a:gd name="connsiteY712" fmla="*/ 192800 h 410520"/>
                <a:gd name="connsiteX713" fmla="*/ 999290 w 2663946"/>
                <a:gd name="connsiteY713" fmla="*/ 192800 h 410520"/>
                <a:gd name="connsiteX714" fmla="*/ 967115 w 2663946"/>
                <a:gd name="connsiteY714" fmla="*/ 192800 h 410520"/>
                <a:gd name="connsiteX715" fmla="*/ 966575 w 2663946"/>
                <a:gd name="connsiteY715" fmla="*/ 192800 h 410520"/>
                <a:gd name="connsiteX716" fmla="*/ 965763 w 2663946"/>
                <a:gd name="connsiteY716" fmla="*/ 192800 h 410520"/>
                <a:gd name="connsiteX717" fmla="*/ 964952 w 2663946"/>
                <a:gd name="connsiteY717" fmla="*/ 192530 h 410520"/>
                <a:gd name="connsiteX718" fmla="*/ 961437 w 2663946"/>
                <a:gd name="connsiteY718" fmla="*/ 190637 h 410520"/>
                <a:gd name="connsiteX719" fmla="*/ 959004 w 2663946"/>
                <a:gd name="connsiteY719" fmla="*/ 184959 h 410520"/>
                <a:gd name="connsiteX720" fmla="*/ 961167 w 2663946"/>
                <a:gd name="connsiteY720" fmla="*/ 179822 h 410520"/>
                <a:gd name="connsiteX721" fmla="*/ 966845 w 2663946"/>
                <a:gd name="connsiteY721" fmla="*/ 177388 h 410520"/>
                <a:gd name="connsiteX722" fmla="*/ 974686 w 2663946"/>
                <a:gd name="connsiteY722" fmla="*/ 177388 h 410520"/>
                <a:gd name="connsiteX723" fmla="*/ 975227 w 2663946"/>
                <a:gd name="connsiteY723" fmla="*/ 176848 h 410520"/>
                <a:gd name="connsiteX724" fmla="*/ 975227 w 2663946"/>
                <a:gd name="connsiteY724" fmla="*/ 130883 h 410520"/>
                <a:gd name="connsiteX725" fmla="*/ 974686 w 2663946"/>
                <a:gd name="connsiteY725" fmla="*/ 130342 h 410520"/>
                <a:gd name="connsiteX726" fmla="*/ 968738 w 2663946"/>
                <a:gd name="connsiteY726" fmla="*/ 130342 h 410520"/>
                <a:gd name="connsiteX727" fmla="*/ 961437 w 2663946"/>
                <a:gd name="connsiteY727" fmla="*/ 125746 h 410520"/>
                <a:gd name="connsiteX728" fmla="*/ 961167 w 2663946"/>
                <a:gd name="connsiteY728" fmla="*/ 120068 h 410520"/>
                <a:gd name="connsiteX729" fmla="*/ 968467 w 2663946"/>
                <a:gd name="connsiteY729" fmla="*/ 114931 h 410520"/>
                <a:gd name="connsiteX730" fmla="*/ 980634 w 2663946"/>
                <a:gd name="connsiteY730" fmla="*/ 114660 h 410520"/>
                <a:gd name="connsiteX731" fmla="*/ 813605 w 2663946"/>
                <a:gd name="connsiteY731" fmla="*/ 114660 h 410520"/>
                <a:gd name="connsiteX732" fmla="*/ 817661 w 2663946"/>
                <a:gd name="connsiteY732" fmla="*/ 114660 h 410520"/>
                <a:gd name="connsiteX733" fmla="*/ 822257 w 2663946"/>
                <a:gd name="connsiteY733" fmla="*/ 117094 h 410520"/>
                <a:gd name="connsiteX734" fmla="*/ 824420 w 2663946"/>
                <a:gd name="connsiteY734" fmla="*/ 123312 h 410520"/>
                <a:gd name="connsiteX735" fmla="*/ 824420 w 2663946"/>
                <a:gd name="connsiteY735" fmla="*/ 123853 h 410520"/>
                <a:gd name="connsiteX736" fmla="*/ 824420 w 2663946"/>
                <a:gd name="connsiteY736" fmla="*/ 176848 h 410520"/>
                <a:gd name="connsiteX737" fmla="*/ 824961 w 2663946"/>
                <a:gd name="connsiteY737" fmla="*/ 177388 h 410520"/>
                <a:gd name="connsiteX738" fmla="*/ 832261 w 2663946"/>
                <a:gd name="connsiteY738" fmla="*/ 177388 h 410520"/>
                <a:gd name="connsiteX739" fmla="*/ 836317 w 2663946"/>
                <a:gd name="connsiteY739" fmla="*/ 178470 h 410520"/>
                <a:gd name="connsiteX740" fmla="*/ 840102 w 2663946"/>
                <a:gd name="connsiteY740" fmla="*/ 185229 h 410520"/>
                <a:gd name="connsiteX741" fmla="*/ 837399 w 2663946"/>
                <a:gd name="connsiteY741" fmla="*/ 190907 h 410520"/>
                <a:gd name="connsiteX742" fmla="*/ 833343 w 2663946"/>
                <a:gd name="connsiteY742" fmla="*/ 192800 h 410520"/>
                <a:gd name="connsiteX743" fmla="*/ 833073 w 2663946"/>
                <a:gd name="connsiteY743" fmla="*/ 192800 h 410520"/>
                <a:gd name="connsiteX744" fmla="*/ 832802 w 2663946"/>
                <a:gd name="connsiteY744" fmla="*/ 192800 h 410520"/>
                <a:gd name="connsiteX745" fmla="*/ 832261 w 2663946"/>
                <a:gd name="connsiteY745" fmla="*/ 192800 h 410520"/>
                <a:gd name="connsiteX746" fmla="*/ 800086 w 2663946"/>
                <a:gd name="connsiteY746" fmla="*/ 192800 h 410520"/>
                <a:gd name="connsiteX747" fmla="*/ 799546 w 2663946"/>
                <a:gd name="connsiteY747" fmla="*/ 192800 h 410520"/>
                <a:gd name="connsiteX748" fmla="*/ 798734 w 2663946"/>
                <a:gd name="connsiteY748" fmla="*/ 192800 h 410520"/>
                <a:gd name="connsiteX749" fmla="*/ 797923 w 2663946"/>
                <a:gd name="connsiteY749" fmla="*/ 192530 h 410520"/>
                <a:gd name="connsiteX750" fmla="*/ 794408 w 2663946"/>
                <a:gd name="connsiteY750" fmla="*/ 190637 h 410520"/>
                <a:gd name="connsiteX751" fmla="*/ 791975 w 2663946"/>
                <a:gd name="connsiteY751" fmla="*/ 184959 h 410520"/>
                <a:gd name="connsiteX752" fmla="*/ 794138 w 2663946"/>
                <a:gd name="connsiteY752" fmla="*/ 179822 h 410520"/>
                <a:gd name="connsiteX753" fmla="*/ 799816 w 2663946"/>
                <a:gd name="connsiteY753" fmla="*/ 177388 h 410520"/>
                <a:gd name="connsiteX754" fmla="*/ 807657 w 2663946"/>
                <a:gd name="connsiteY754" fmla="*/ 177388 h 410520"/>
                <a:gd name="connsiteX755" fmla="*/ 808198 w 2663946"/>
                <a:gd name="connsiteY755" fmla="*/ 176848 h 410520"/>
                <a:gd name="connsiteX756" fmla="*/ 808198 w 2663946"/>
                <a:gd name="connsiteY756" fmla="*/ 130883 h 410520"/>
                <a:gd name="connsiteX757" fmla="*/ 807657 w 2663946"/>
                <a:gd name="connsiteY757" fmla="*/ 130342 h 410520"/>
                <a:gd name="connsiteX758" fmla="*/ 801709 w 2663946"/>
                <a:gd name="connsiteY758" fmla="*/ 130342 h 410520"/>
                <a:gd name="connsiteX759" fmla="*/ 794408 w 2663946"/>
                <a:gd name="connsiteY759" fmla="*/ 125746 h 410520"/>
                <a:gd name="connsiteX760" fmla="*/ 794138 w 2663946"/>
                <a:gd name="connsiteY760" fmla="*/ 120068 h 410520"/>
                <a:gd name="connsiteX761" fmla="*/ 801438 w 2663946"/>
                <a:gd name="connsiteY761" fmla="*/ 114931 h 410520"/>
                <a:gd name="connsiteX762" fmla="*/ 813605 w 2663946"/>
                <a:gd name="connsiteY762" fmla="*/ 114660 h 410520"/>
                <a:gd name="connsiteX763" fmla="*/ 282748 w 2663946"/>
                <a:gd name="connsiteY763" fmla="*/ 114660 h 410520"/>
                <a:gd name="connsiteX764" fmla="*/ 286803 w 2663946"/>
                <a:gd name="connsiteY764" fmla="*/ 114660 h 410520"/>
                <a:gd name="connsiteX765" fmla="*/ 291400 w 2663946"/>
                <a:gd name="connsiteY765" fmla="*/ 117094 h 410520"/>
                <a:gd name="connsiteX766" fmla="*/ 293563 w 2663946"/>
                <a:gd name="connsiteY766" fmla="*/ 123312 h 410520"/>
                <a:gd name="connsiteX767" fmla="*/ 293563 w 2663946"/>
                <a:gd name="connsiteY767" fmla="*/ 123853 h 410520"/>
                <a:gd name="connsiteX768" fmla="*/ 293563 w 2663946"/>
                <a:gd name="connsiteY768" fmla="*/ 176848 h 410520"/>
                <a:gd name="connsiteX769" fmla="*/ 294104 w 2663946"/>
                <a:gd name="connsiteY769" fmla="*/ 177388 h 410520"/>
                <a:gd name="connsiteX770" fmla="*/ 301404 w 2663946"/>
                <a:gd name="connsiteY770" fmla="*/ 177388 h 410520"/>
                <a:gd name="connsiteX771" fmla="*/ 305460 w 2663946"/>
                <a:gd name="connsiteY771" fmla="*/ 178470 h 410520"/>
                <a:gd name="connsiteX772" fmla="*/ 309245 w 2663946"/>
                <a:gd name="connsiteY772" fmla="*/ 185229 h 410520"/>
                <a:gd name="connsiteX773" fmla="*/ 306541 w 2663946"/>
                <a:gd name="connsiteY773" fmla="*/ 190907 h 410520"/>
                <a:gd name="connsiteX774" fmla="*/ 302485 w 2663946"/>
                <a:gd name="connsiteY774" fmla="*/ 192800 h 410520"/>
                <a:gd name="connsiteX775" fmla="*/ 302215 w 2663946"/>
                <a:gd name="connsiteY775" fmla="*/ 192800 h 410520"/>
                <a:gd name="connsiteX776" fmla="*/ 301945 w 2663946"/>
                <a:gd name="connsiteY776" fmla="*/ 192800 h 410520"/>
                <a:gd name="connsiteX777" fmla="*/ 301404 w 2663946"/>
                <a:gd name="connsiteY777" fmla="*/ 192800 h 410520"/>
                <a:gd name="connsiteX778" fmla="*/ 269229 w 2663946"/>
                <a:gd name="connsiteY778" fmla="*/ 192800 h 410520"/>
                <a:gd name="connsiteX779" fmla="*/ 268688 w 2663946"/>
                <a:gd name="connsiteY779" fmla="*/ 192800 h 410520"/>
                <a:gd name="connsiteX780" fmla="*/ 267877 w 2663946"/>
                <a:gd name="connsiteY780" fmla="*/ 192800 h 410520"/>
                <a:gd name="connsiteX781" fmla="*/ 267066 w 2663946"/>
                <a:gd name="connsiteY781" fmla="*/ 192530 h 410520"/>
                <a:gd name="connsiteX782" fmla="*/ 263551 w 2663946"/>
                <a:gd name="connsiteY782" fmla="*/ 190637 h 410520"/>
                <a:gd name="connsiteX783" fmla="*/ 261117 w 2663946"/>
                <a:gd name="connsiteY783" fmla="*/ 184959 h 410520"/>
                <a:gd name="connsiteX784" fmla="*/ 263281 w 2663946"/>
                <a:gd name="connsiteY784" fmla="*/ 179822 h 410520"/>
                <a:gd name="connsiteX785" fmla="*/ 268958 w 2663946"/>
                <a:gd name="connsiteY785" fmla="*/ 177388 h 410520"/>
                <a:gd name="connsiteX786" fmla="*/ 276800 w 2663946"/>
                <a:gd name="connsiteY786" fmla="*/ 177388 h 410520"/>
                <a:gd name="connsiteX787" fmla="*/ 277340 w 2663946"/>
                <a:gd name="connsiteY787" fmla="*/ 176848 h 410520"/>
                <a:gd name="connsiteX788" fmla="*/ 277340 w 2663946"/>
                <a:gd name="connsiteY788" fmla="*/ 130883 h 410520"/>
                <a:gd name="connsiteX789" fmla="*/ 276800 w 2663946"/>
                <a:gd name="connsiteY789" fmla="*/ 130342 h 410520"/>
                <a:gd name="connsiteX790" fmla="*/ 270851 w 2663946"/>
                <a:gd name="connsiteY790" fmla="*/ 130342 h 410520"/>
                <a:gd name="connsiteX791" fmla="*/ 263551 w 2663946"/>
                <a:gd name="connsiteY791" fmla="*/ 125746 h 410520"/>
                <a:gd name="connsiteX792" fmla="*/ 263281 w 2663946"/>
                <a:gd name="connsiteY792" fmla="*/ 120068 h 410520"/>
                <a:gd name="connsiteX793" fmla="*/ 270581 w 2663946"/>
                <a:gd name="connsiteY793" fmla="*/ 114931 h 410520"/>
                <a:gd name="connsiteX794" fmla="*/ 282748 w 2663946"/>
                <a:gd name="connsiteY794" fmla="*/ 114660 h 410520"/>
                <a:gd name="connsiteX795" fmla="*/ 206731 w 2663946"/>
                <a:gd name="connsiteY795" fmla="*/ 114660 h 410520"/>
                <a:gd name="connsiteX796" fmla="*/ 210787 w 2663946"/>
                <a:gd name="connsiteY796" fmla="*/ 114660 h 410520"/>
                <a:gd name="connsiteX797" fmla="*/ 215383 w 2663946"/>
                <a:gd name="connsiteY797" fmla="*/ 117094 h 410520"/>
                <a:gd name="connsiteX798" fmla="*/ 217546 w 2663946"/>
                <a:gd name="connsiteY798" fmla="*/ 123312 h 410520"/>
                <a:gd name="connsiteX799" fmla="*/ 217546 w 2663946"/>
                <a:gd name="connsiteY799" fmla="*/ 123853 h 410520"/>
                <a:gd name="connsiteX800" fmla="*/ 217546 w 2663946"/>
                <a:gd name="connsiteY800" fmla="*/ 176848 h 410520"/>
                <a:gd name="connsiteX801" fmla="*/ 218087 w 2663946"/>
                <a:gd name="connsiteY801" fmla="*/ 177388 h 410520"/>
                <a:gd name="connsiteX802" fmla="*/ 225387 w 2663946"/>
                <a:gd name="connsiteY802" fmla="*/ 177388 h 410520"/>
                <a:gd name="connsiteX803" fmla="*/ 229443 w 2663946"/>
                <a:gd name="connsiteY803" fmla="*/ 178470 h 410520"/>
                <a:gd name="connsiteX804" fmla="*/ 233228 w 2663946"/>
                <a:gd name="connsiteY804" fmla="*/ 185229 h 410520"/>
                <a:gd name="connsiteX805" fmla="*/ 230524 w 2663946"/>
                <a:gd name="connsiteY805" fmla="*/ 190907 h 410520"/>
                <a:gd name="connsiteX806" fmla="*/ 226468 w 2663946"/>
                <a:gd name="connsiteY806" fmla="*/ 192800 h 410520"/>
                <a:gd name="connsiteX807" fmla="*/ 226198 w 2663946"/>
                <a:gd name="connsiteY807" fmla="*/ 192800 h 410520"/>
                <a:gd name="connsiteX808" fmla="*/ 225928 w 2663946"/>
                <a:gd name="connsiteY808" fmla="*/ 192800 h 410520"/>
                <a:gd name="connsiteX809" fmla="*/ 225387 w 2663946"/>
                <a:gd name="connsiteY809" fmla="*/ 192800 h 410520"/>
                <a:gd name="connsiteX810" fmla="*/ 193212 w 2663946"/>
                <a:gd name="connsiteY810" fmla="*/ 192800 h 410520"/>
                <a:gd name="connsiteX811" fmla="*/ 192671 w 2663946"/>
                <a:gd name="connsiteY811" fmla="*/ 192800 h 410520"/>
                <a:gd name="connsiteX812" fmla="*/ 191860 w 2663946"/>
                <a:gd name="connsiteY812" fmla="*/ 192800 h 410520"/>
                <a:gd name="connsiteX813" fmla="*/ 191049 w 2663946"/>
                <a:gd name="connsiteY813" fmla="*/ 192530 h 410520"/>
                <a:gd name="connsiteX814" fmla="*/ 187534 w 2663946"/>
                <a:gd name="connsiteY814" fmla="*/ 190637 h 410520"/>
                <a:gd name="connsiteX815" fmla="*/ 185101 w 2663946"/>
                <a:gd name="connsiteY815" fmla="*/ 184959 h 410520"/>
                <a:gd name="connsiteX816" fmla="*/ 187264 w 2663946"/>
                <a:gd name="connsiteY816" fmla="*/ 179822 h 410520"/>
                <a:gd name="connsiteX817" fmla="*/ 192942 w 2663946"/>
                <a:gd name="connsiteY817" fmla="*/ 177388 h 410520"/>
                <a:gd name="connsiteX818" fmla="*/ 200783 w 2663946"/>
                <a:gd name="connsiteY818" fmla="*/ 177388 h 410520"/>
                <a:gd name="connsiteX819" fmla="*/ 201323 w 2663946"/>
                <a:gd name="connsiteY819" fmla="*/ 176848 h 410520"/>
                <a:gd name="connsiteX820" fmla="*/ 201323 w 2663946"/>
                <a:gd name="connsiteY820" fmla="*/ 130883 h 410520"/>
                <a:gd name="connsiteX821" fmla="*/ 200783 w 2663946"/>
                <a:gd name="connsiteY821" fmla="*/ 130342 h 410520"/>
                <a:gd name="connsiteX822" fmla="*/ 194834 w 2663946"/>
                <a:gd name="connsiteY822" fmla="*/ 130342 h 410520"/>
                <a:gd name="connsiteX823" fmla="*/ 187534 w 2663946"/>
                <a:gd name="connsiteY823" fmla="*/ 125746 h 410520"/>
                <a:gd name="connsiteX824" fmla="*/ 187264 w 2663946"/>
                <a:gd name="connsiteY824" fmla="*/ 120068 h 410520"/>
                <a:gd name="connsiteX825" fmla="*/ 194564 w 2663946"/>
                <a:gd name="connsiteY825" fmla="*/ 114931 h 410520"/>
                <a:gd name="connsiteX826" fmla="*/ 206731 w 2663946"/>
                <a:gd name="connsiteY826" fmla="*/ 114660 h 410520"/>
                <a:gd name="connsiteX827" fmla="*/ 2627559 w 2663946"/>
                <a:gd name="connsiteY827" fmla="*/ 114591 h 410520"/>
                <a:gd name="connsiteX828" fmla="*/ 2639849 w 2663946"/>
                <a:gd name="connsiteY828" fmla="*/ 116754 h 410520"/>
                <a:gd name="connsiteX829" fmla="*/ 2647223 w 2663946"/>
                <a:gd name="connsiteY829" fmla="*/ 121351 h 410520"/>
                <a:gd name="connsiteX830" fmla="*/ 2650664 w 2663946"/>
                <a:gd name="connsiteY830" fmla="*/ 124595 h 410520"/>
                <a:gd name="connsiteX831" fmla="*/ 2654106 w 2663946"/>
                <a:gd name="connsiteY831" fmla="*/ 128921 h 410520"/>
                <a:gd name="connsiteX832" fmla="*/ 2656072 w 2663946"/>
                <a:gd name="connsiteY832" fmla="*/ 132436 h 410520"/>
                <a:gd name="connsiteX833" fmla="*/ 2658284 w 2663946"/>
                <a:gd name="connsiteY833" fmla="*/ 137844 h 410520"/>
                <a:gd name="connsiteX834" fmla="*/ 2659267 w 2663946"/>
                <a:gd name="connsiteY834" fmla="*/ 141359 h 410520"/>
                <a:gd name="connsiteX835" fmla="*/ 2660251 w 2663946"/>
                <a:gd name="connsiteY835" fmla="*/ 146496 h 410520"/>
                <a:gd name="connsiteX836" fmla="*/ 2660005 w 2663946"/>
                <a:gd name="connsiteY836" fmla="*/ 160826 h 410520"/>
                <a:gd name="connsiteX837" fmla="*/ 2659022 w 2663946"/>
                <a:gd name="connsiteY837" fmla="*/ 165693 h 410520"/>
                <a:gd name="connsiteX838" fmla="*/ 2657792 w 2663946"/>
                <a:gd name="connsiteY838" fmla="*/ 169478 h 410520"/>
                <a:gd name="connsiteX839" fmla="*/ 2656809 w 2663946"/>
                <a:gd name="connsiteY839" fmla="*/ 171912 h 410520"/>
                <a:gd name="connsiteX840" fmla="*/ 2654597 w 2663946"/>
                <a:gd name="connsiteY840" fmla="*/ 176238 h 410520"/>
                <a:gd name="connsiteX841" fmla="*/ 2652385 w 2663946"/>
                <a:gd name="connsiteY841" fmla="*/ 179482 h 410520"/>
                <a:gd name="connsiteX842" fmla="*/ 2648944 w 2663946"/>
                <a:gd name="connsiteY842" fmla="*/ 183268 h 410520"/>
                <a:gd name="connsiteX843" fmla="*/ 2645748 w 2663946"/>
                <a:gd name="connsiteY843" fmla="*/ 185971 h 410520"/>
                <a:gd name="connsiteX844" fmla="*/ 2640095 w 2663946"/>
                <a:gd name="connsiteY844" fmla="*/ 189216 h 410520"/>
                <a:gd name="connsiteX845" fmla="*/ 2632229 w 2663946"/>
                <a:gd name="connsiteY845" fmla="*/ 191379 h 410520"/>
                <a:gd name="connsiteX846" fmla="*/ 2631000 w 2663946"/>
                <a:gd name="connsiteY846" fmla="*/ 191650 h 410520"/>
                <a:gd name="connsiteX847" fmla="*/ 2626821 w 2663946"/>
                <a:gd name="connsiteY847" fmla="*/ 191650 h 410520"/>
                <a:gd name="connsiteX848" fmla="*/ 2626576 w 2663946"/>
                <a:gd name="connsiteY848" fmla="*/ 191650 h 410520"/>
                <a:gd name="connsiteX849" fmla="*/ 2613548 w 2663946"/>
                <a:gd name="connsiteY849" fmla="*/ 186783 h 410520"/>
                <a:gd name="connsiteX850" fmla="*/ 2608878 w 2663946"/>
                <a:gd name="connsiteY850" fmla="*/ 182727 h 410520"/>
                <a:gd name="connsiteX851" fmla="*/ 2605682 w 2663946"/>
                <a:gd name="connsiteY851" fmla="*/ 178942 h 410520"/>
                <a:gd name="connsiteX852" fmla="*/ 2603470 w 2663946"/>
                <a:gd name="connsiteY852" fmla="*/ 175427 h 410520"/>
                <a:gd name="connsiteX853" fmla="*/ 2601258 w 2663946"/>
                <a:gd name="connsiteY853" fmla="*/ 171101 h 410520"/>
                <a:gd name="connsiteX854" fmla="*/ 2600029 w 2663946"/>
                <a:gd name="connsiteY854" fmla="*/ 168126 h 410520"/>
                <a:gd name="connsiteX855" fmla="*/ 2599046 w 2663946"/>
                <a:gd name="connsiteY855" fmla="*/ 164882 h 410520"/>
                <a:gd name="connsiteX856" fmla="*/ 2597816 w 2663946"/>
                <a:gd name="connsiteY856" fmla="*/ 159204 h 410520"/>
                <a:gd name="connsiteX857" fmla="*/ 2597571 w 2663946"/>
                <a:gd name="connsiteY857" fmla="*/ 156230 h 410520"/>
                <a:gd name="connsiteX858" fmla="*/ 2597816 w 2663946"/>
                <a:gd name="connsiteY858" fmla="*/ 156500 h 410520"/>
                <a:gd name="connsiteX859" fmla="*/ 2597816 w 2663946"/>
                <a:gd name="connsiteY859" fmla="*/ 150822 h 410520"/>
                <a:gd name="connsiteX860" fmla="*/ 2597816 w 2663946"/>
                <a:gd name="connsiteY860" fmla="*/ 150552 h 410520"/>
                <a:gd name="connsiteX861" fmla="*/ 2598308 w 2663946"/>
                <a:gd name="connsiteY861" fmla="*/ 145955 h 410520"/>
                <a:gd name="connsiteX862" fmla="*/ 2599537 w 2663946"/>
                <a:gd name="connsiteY862" fmla="*/ 140548 h 410520"/>
                <a:gd name="connsiteX863" fmla="*/ 2600520 w 2663946"/>
                <a:gd name="connsiteY863" fmla="*/ 137303 h 410520"/>
                <a:gd name="connsiteX864" fmla="*/ 2602732 w 2663946"/>
                <a:gd name="connsiteY864" fmla="*/ 132166 h 410520"/>
                <a:gd name="connsiteX865" fmla="*/ 2604945 w 2663946"/>
                <a:gd name="connsiteY865" fmla="*/ 128381 h 410520"/>
                <a:gd name="connsiteX866" fmla="*/ 2607157 w 2663946"/>
                <a:gd name="connsiteY866" fmla="*/ 125406 h 410520"/>
                <a:gd name="connsiteX867" fmla="*/ 2609369 w 2663946"/>
                <a:gd name="connsiteY867" fmla="*/ 122973 h 410520"/>
                <a:gd name="connsiteX868" fmla="*/ 2614039 w 2663946"/>
                <a:gd name="connsiteY868" fmla="*/ 119188 h 410520"/>
                <a:gd name="connsiteX869" fmla="*/ 2617972 w 2663946"/>
                <a:gd name="connsiteY869" fmla="*/ 117025 h 410520"/>
                <a:gd name="connsiteX870" fmla="*/ 2627559 w 2663946"/>
                <a:gd name="connsiteY870" fmla="*/ 114591 h 410520"/>
                <a:gd name="connsiteX871" fmla="*/ 2445604 w 2663946"/>
                <a:gd name="connsiteY871" fmla="*/ 114591 h 410520"/>
                <a:gd name="connsiteX872" fmla="*/ 2457894 w 2663946"/>
                <a:gd name="connsiteY872" fmla="*/ 116754 h 410520"/>
                <a:gd name="connsiteX873" fmla="*/ 2465268 w 2663946"/>
                <a:gd name="connsiteY873" fmla="*/ 121351 h 410520"/>
                <a:gd name="connsiteX874" fmla="*/ 2468709 w 2663946"/>
                <a:gd name="connsiteY874" fmla="*/ 124595 h 410520"/>
                <a:gd name="connsiteX875" fmla="*/ 2472151 w 2663946"/>
                <a:gd name="connsiteY875" fmla="*/ 128921 h 410520"/>
                <a:gd name="connsiteX876" fmla="*/ 2474117 w 2663946"/>
                <a:gd name="connsiteY876" fmla="*/ 132436 h 410520"/>
                <a:gd name="connsiteX877" fmla="*/ 2476329 w 2663946"/>
                <a:gd name="connsiteY877" fmla="*/ 137844 h 410520"/>
                <a:gd name="connsiteX878" fmla="*/ 2477312 w 2663946"/>
                <a:gd name="connsiteY878" fmla="*/ 141359 h 410520"/>
                <a:gd name="connsiteX879" fmla="*/ 2478296 w 2663946"/>
                <a:gd name="connsiteY879" fmla="*/ 146496 h 410520"/>
                <a:gd name="connsiteX880" fmla="*/ 2478050 w 2663946"/>
                <a:gd name="connsiteY880" fmla="*/ 160826 h 410520"/>
                <a:gd name="connsiteX881" fmla="*/ 2477067 w 2663946"/>
                <a:gd name="connsiteY881" fmla="*/ 165693 h 410520"/>
                <a:gd name="connsiteX882" fmla="*/ 2475837 w 2663946"/>
                <a:gd name="connsiteY882" fmla="*/ 169478 h 410520"/>
                <a:gd name="connsiteX883" fmla="*/ 2474854 w 2663946"/>
                <a:gd name="connsiteY883" fmla="*/ 171912 h 410520"/>
                <a:gd name="connsiteX884" fmla="*/ 2472642 w 2663946"/>
                <a:gd name="connsiteY884" fmla="*/ 176238 h 410520"/>
                <a:gd name="connsiteX885" fmla="*/ 2470430 w 2663946"/>
                <a:gd name="connsiteY885" fmla="*/ 179482 h 410520"/>
                <a:gd name="connsiteX886" fmla="*/ 2466989 w 2663946"/>
                <a:gd name="connsiteY886" fmla="*/ 183268 h 410520"/>
                <a:gd name="connsiteX887" fmla="*/ 2463793 w 2663946"/>
                <a:gd name="connsiteY887" fmla="*/ 185971 h 410520"/>
                <a:gd name="connsiteX888" fmla="*/ 2458140 w 2663946"/>
                <a:gd name="connsiteY888" fmla="*/ 189216 h 410520"/>
                <a:gd name="connsiteX889" fmla="*/ 2450274 w 2663946"/>
                <a:gd name="connsiteY889" fmla="*/ 191379 h 410520"/>
                <a:gd name="connsiteX890" fmla="*/ 2449045 w 2663946"/>
                <a:gd name="connsiteY890" fmla="*/ 191650 h 410520"/>
                <a:gd name="connsiteX891" fmla="*/ 2444866 w 2663946"/>
                <a:gd name="connsiteY891" fmla="*/ 191650 h 410520"/>
                <a:gd name="connsiteX892" fmla="*/ 2444621 w 2663946"/>
                <a:gd name="connsiteY892" fmla="*/ 191650 h 410520"/>
                <a:gd name="connsiteX893" fmla="*/ 2431593 w 2663946"/>
                <a:gd name="connsiteY893" fmla="*/ 186783 h 410520"/>
                <a:gd name="connsiteX894" fmla="*/ 2426923 w 2663946"/>
                <a:gd name="connsiteY894" fmla="*/ 182727 h 410520"/>
                <a:gd name="connsiteX895" fmla="*/ 2423727 w 2663946"/>
                <a:gd name="connsiteY895" fmla="*/ 178942 h 410520"/>
                <a:gd name="connsiteX896" fmla="*/ 2421515 w 2663946"/>
                <a:gd name="connsiteY896" fmla="*/ 175427 h 410520"/>
                <a:gd name="connsiteX897" fmla="*/ 2419303 w 2663946"/>
                <a:gd name="connsiteY897" fmla="*/ 171101 h 410520"/>
                <a:gd name="connsiteX898" fmla="*/ 2418074 w 2663946"/>
                <a:gd name="connsiteY898" fmla="*/ 168126 h 410520"/>
                <a:gd name="connsiteX899" fmla="*/ 2417091 w 2663946"/>
                <a:gd name="connsiteY899" fmla="*/ 164882 h 410520"/>
                <a:gd name="connsiteX900" fmla="*/ 2415861 w 2663946"/>
                <a:gd name="connsiteY900" fmla="*/ 159204 h 410520"/>
                <a:gd name="connsiteX901" fmla="*/ 2415616 w 2663946"/>
                <a:gd name="connsiteY901" fmla="*/ 156230 h 410520"/>
                <a:gd name="connsiteX902" fmla="*/ 2415861 w 2663946"/>
                <a:gd name="connsiteY902" fmla="*/ 156500 h 410520"/>
                <a:gd name="connsiteX903" fmla="*/ 2415861 w 2663946"/>
                <a:gd name="connsiteY903" fmla="*/ 150822 h 410520"/>
                <a:gd name="connsiteX904" fmla="*/ 2415861 w 2663946"/>
                <a:gd name="connsiteY904" fmla="*/ 150552 h 410520"/>
                <a:gd name="connsiteX905" fmla="*/ 2416353 w 2663946"/>
                <a:gd name="connsiteY905" fmla="*/ 145955 h 410520"/>
                <a:gd name="connsiteX906" fmla="*/ 2417582 w 2663946"/>
                <a:gd name="connsiteY906" fmla="*/ 140548 h 410520"/>
                <a:gd name="connsiteX907" fmla="*/ 2418565 w 2663946"/>
                <a:gd name="connsiteY907" fmla="*/ 137303 h 410520"/>
                <a:gd name="connsiteX908" fmla="*/ 2420777 w 2663946"/>
                <a:gd name="connsiteY908" fmla="*/ 132166 h 410520"/>
                <a:gd name="connsiteX909" fmla="*/ 2422990 w 2663946"/>
                <a:gd name="connsiteY909" fmla="*/ 128381 h 410520"/>
                <a:gd name="connsiteX910" fmla="*/ 2425202 w 2663946"/>
                <a:gd name="connsiteY910" fmla="*/ 125406 h 410520"/>
                <a:gd name="connsiteX911" fmla="*/ 2427414 w 2663946"/>
                <a:gd name="connsiteY911" fmla="*/ 122973 h 410520"/>
                <a:gd name="connsiteX912" fmla="*/ 2432084 w 2663946"/>
                <a:gd name="connsiteY912" fmla="*/ 119188 h 410520"/>
                <a:gd name="connsiteX913" fmla="*/ 2436017 w 2663946"/>
                <a:gd name="connsiteY913" fmla="*/ 117025 h 410520"/>
                <a:gd name="connsiteX914" fmla="*/ 2445604 w 2663946"/>
                <a:gd name="connsiteY914" fmla="*/ 114591 h 410520"/>
                <a:gd name="connsiteX915" fmla="*/ 2202558 w 2663946"/>
                <a:gd name="connsiteY915" fmla="*/ 114591 h 410520"/>
                <a:gd name="connsiteX916" fmla="*/ 2214848 w 2663946"/>
                <a:gd name="connsiteY916" fmla="*/ 116754 h 410520"/>
                <a:gd name="connsiteX917" fmla="*/ 2222222 w 2663946"/>
                <a:gd name="connsiteY917" fmla="*/ 121351 h 410520"/>
                <a:gd name="connsiteX918" fmla="*/ 2225663 w 2663946"/>
                <a:gd name="connsiteY918" fmla="*/ 124595 h 410520"/>
                <a:gd name="connsiteX919" fmla="*/ 2229105 w 2663946"/>
                <a:gd name="connsiteY919" fmla="*/ 128921 h 410520"/>
                <a:gd name="connsiteX920" fmla="*/ 2231071 w 2663946"/>
                <a:gd name="connsiteY920" fmla="*/ 132436 h 410520"/>
                <a:gd name="connsiteX921" fmla="*/ 2233283 w 2663946"/>
                <a:gd name="connsiteY921" fmla="*/ 137844 h 410520"/>
                <a:gd name="connsiteX922" fmla="*/ 2234266 w 2663946"/>
                <a:gd name="connsiteY922" fmla="*/ 141359 h 410520"/>
                <a:gd name="connsiteX923" fmla="*/ 2235250 w 2663946"/>
                <a:gd name="connsiteY923" fmla="*/ 146496 h 410520"/>
                <a:gd name="connsiteX924" fmla="*/ 2235004 w 2663946"/>
                <a:gd name="connsiteY924" fmla="*/ 160826 h 410520"/>
                <a:gd name="connsiteX925" fmla="*/ 2234021 w 2663946"/>
                <a:gd name="connsiteY925" fmla="*/ 165693 h 410520"/>
                <a:gd name="connsiteX926" fmla="*/ 2232791 w 2663946"/>
                <a:gd name="connsiteY926" fmla="*/ 169478 h 410520"/>
                <a:gd name="connsiteX927" fmla="*/ 2231808 w 2663946"/>
                <a:gd name="connsiteY927" fmla="*/ 171912 h 410520"/>
                <a:gd name="connsiteX928" fmla="*/ 2229596 w 2663946"/>
                <a:gd name="connsiteY928" fmla="*/ 176238 h 410520"/>
                <a:gd name="connsiteX929" fmla="*/ 2227384 w 2663946"/>
                <a:gd name="connsiteY929" fmla="*/ 179482 h 410520"/>
                <a:gd name="connsiteX930" fmla="*/ 2223943 w 2663946"/>
                <a:gd name="connsiteY930" fmla="*/ 183268 h 410520"/>
                <a:gd name="connsiteX931" fmla="*/ 2220747 w 2663946"/>
                <a:gd name="connsiteY931" fmla="*/ 185971 h 410520"/>
                <a:gd name="connsiteX932" fmla="*/ 2215094 w 2663946"/>
                <a:gd name="connsiteY932" fmla="*/ 189216 h 410520"/>
                <a:gd name="connsiteX933" fmla="*/ 2207228 w 2663946"/>
                <a:gd name="connsiteY933" fmla="*/ 191379 h 410520"/>
                <a:gd name="connsiteX934" fmla="*/ 2205999 w 2663946"/>
                <a:gd name="connsiteY934" fmla="*/ 191650 h 410520"/>
                <a:gd name="connsiteX935" fmla="*/ 2201820 w 2663946"/>
                <a:gd name="connsiteY935" fmla="*/ 191650 h 410520"/>
                <a:gd name="connsiteX936" fmla="*/ 2201575 w 2663946"/>
                <a:gd name="connsiteY936" fmla="*/ 191650 h 410520"/>
                <a:gd name="connsiteX937" fmla="*/ 2188547 w 2663946"/>
                <a:gd name="connsiteY937" fmla="*/ 186783 h 410520"/>
                <a:gd name="connsiteX938" fmla="*/ 2183877 w 2663946"/>
                <a:gd name="connsiteY938" fmla="*/ 182727 h 410520"/>
                <a:gd name="connsiteX939" fmla="*/ 2180681 w 2663946"/>
                <a:gd name="connsiteY939" fmla="*/ 178942 h 410520"/>
                <a:gd name="connsiteX940" fmla="*/ 2178469 w 2663946"/>
                <a:gd name="connsiteY940" fmla="*/ 175427 h 410520"/>
                <a:gd name="connsiteX941" fmla="*/ 2176257 w 2663946"/>
                <a:gd name="connsiteY941" fmla="*/ 171101 h 410520"/>
                <a:gd name="connsiteX942" fmla="*/ 2175028 w 2663946"/>
                <a:gd name="connsiteY942" fmla="*/ 168126 h 410520"/>
                <a:gd name="connsiteX943" fmla="*/ 2174045 w 2663946"/>
                <a:gd name="connsiteY943" fmla="*/ 164882 h 410520"/>
                <a:gd name="connsiteX944" fmla="*/ 2172815 w 2663946"/>
                <a:gd name="connsiteY944" fmla="*/ 159204 h 410520"/>
                <a:gd name="connsiteX945" fmla="*/ 2172570 w 2663946"/>
                <a:gd name="connsiteY945" fmla="*/ 156230 h 410520"/>
                <a:gd name="connsiteX946" fmla="*/ 2172815 w 2663946"/>
                <a:gd name="connsiteY946" fmla="*/ 156500 h 410520"/>
                <a:gd name="connsiteX947" fmla="*/ 2172815 w 2663946"/>
                <a:gd name="connsiteY947" fmla="*/ 150822 h 410520"/>
                <a:gd name="connsiteX948" fmla="*/ 2172815 w 2663946"/>
                <a:gd name="connsiteY948" fmla="*/ 150552 h 410520"/>
                <a:gd name="connsiteX949" fmla="*/ 2173307 w 2663946"/>
                <a:gd name="connsiteY949" fmla="*/ 145955 h 410520"/>
                <a:gd name="connsiteX950" fmla="*/ 2174536 w 2663946"/>
                <a:gd name="connsiteY950" fmla="*/ 140548 h 410520"/>
                <a:gd name="connsiteX951" fmla="*/ 2175519 w 2663946"/>
                <a:gd name="connsiteY951" fmla="*/ 137303 h 410520"/>
                <a:gd name="connsiteX952" fmla="*/ 2177731 w 2663946"/>
                <a:gd name="connsiteY952" fmla="*/ 132166 h 410520"/>
                <a:gd name="connsiteX953" fmla="*/ 2179944 w 2663946"/>
                <a:gd name="connsiteY953" fmla="*/ 128381 h 410520"/>
                <a:gd name="connsiteX954" fmla="*/ 2182156 w 2663946"/>
                <a:gd name="connsiteY954" fmla="*/ 125406 h 410520"/>
                <a:gd name="connsiteX955" fmla="*/ 2184368 w 2663946"/>
                <a:gd name="connsiteY955" fmla="*/ 122973 h 410520"/>
                <a:gd name="connsiteX956" fmla="*/ 2189038 w 2663946"/>
                <a:gd name="connsiteY956" fmla="*/ 119188 h 410520"/>
                <a:gd name="connsiteX957" fmla="*/ 2192971 w 2663946"/>
                <a:gd name="connsiteY957" fmla="*/ 117025 h 410520"/>
                <a:gd name="connsiteX958" fmla="*/ 2202558 w 2663946"/>
                <a:gd name="connsiteY958" fmla="*/ 114591 h 410520"/>
                <a:gd name="connsiteX959" fmla="*/ 2020607 w 2663946"/>
                <a:gd name="connsiteY959" fmla="*/ 114591 h 410520"/>
                <a:gd name="connsiteX960" fmla="*/ 2032897 w 2663946"/>
                <a:gd name="connsiteY960" fmla="*/ 116754 h 410520"/>
                <a:gd name="connsiteX961" fmla="*/ 2040271 w 2663946"/>
                <a:gd name="connsiteY961" fmla="*/ 121351 h 410520"/>
                <a:gd name="connsiteX962" fmla="*/ 2043712 w 2663946"/>
                <a:gd name="connsiteY962" fmla="*/ 124595 h 410520"/>
                <a:gd name="connsiteX963" fmla="*/ 2047154 w 2663946"/>
                <a:gd name="connsiteY963" fmla="*/ 128921 h 410520"/>
                <a:gd name="connsiteX964" fmla="*/ 2049120 w 2663946"/>
                <a:gd name="connsiteY964" fmla="*/ 132436 h 410520"/>
                <a:gd name="connsiteX965" fmla="*/ 2051332 w 2663946"/>
                <a:gd name="connsiteY965" fmla="*/ 137844 h 410520"/>
                <a:gd name="connsiteX966" fmla="*/ 2052315 w 2663946"/>
                <a:gd name="connsiteY966" fmla="*/ 141359 h 410520"/>
                <a:gd name="connsiteX967" fmla="*/ 2053299 w 2663946"/>
                <a:gd name="connsiteY967" fmla="*/ 146496 h 410520"/>
                <a:gd name="connsiteX968" fmla="*/ 2053053 w 2663946"/>
                <a:gd name="connsiteY968" fmla="*/ 160826 h 410520"/>
                <a:gd name="connsiteX969" fmla="*/ 2052070 w 2663946"/>
                <a:gd name="connsiteY969" fmla="*/ 165693 h 410520"/>
                <a:gd name="connsiteX970" fmla="*/ 2050840 w 2663946"/>
                <a:gd name="connsiteY970" fmla="*/ 169478 h 410520"/>
                <a:gd name="connsiteX971" fmla="*/ 2049857 w 2663946"/>
                <a:gd name="connsiteY971" fmla="*/ 171912 h 410520"/>
                <a:gd name="connsiteX972" fmla="*/ 2047645 w 2663946"/>
                <a:gd name="connsiteY972" fmla="*/ 176238 h 410520"/>
                <a:gd name="connsiteX973" fmla="*/ 2045433 w 2663946"/>
                <a:gd name="connsiteY973" fmla="*/ 179482 h 410520"/>
                <a:gd name="connsiteX974" fmla="*/ 2041992 w 2663946"/>
                <a:gd name="connsiteY974" fmla="*/ 183268 h 410520"/>
                <a:gd name="connsiteX975" fmla="*/ 2038796 w 2663946"/>
                <a:gd name="connsiteY975" fmla="*/ 185971 h 410520"/>
                <a:gd name="connsiteX976" fmla="*/ 2033143 w 2663946"/>
                <a:gd name="connsiteY976" fmla="*/ 189216 h 410520"/>
                <a:gd name="connsiteX977" fmla="*/ 2025277 w 2663946"/>
                <a:gd name="connsiteY977" fmla="*/ 191379 h 410520"/>
                <a:gd name="connsiteX978" fmla="*/ 2024048 w 2663946"/>
                <a:gd name="connsiteY978" fmla="*/ 191650 h 410520"/>
                <a:gd name="connsiteX979" fmla="*/ 2019869 w 2663946"/>
                <a:gd name="connsiteY979" fmla="*/ 191650 h 410520"/>
                <a:gd name="connsiteX980" fmla="*/ 2019624 w 2663946"/>
                <a:gd name="connsiteY980" fmla="*/ 191650 h 410520"/>
                <a:gd name="connsiteX981" fmla="*/ 2006596 w 2663946"/>
                <a:gd name="connsiteY981" fmla="*/ 186783 h 410520"/>
                <a:gd name="connsiteX982" fmla="*/ 2001926 w 2663946"/>
                <a:gd name="connsiteY982" fmla="*/ 182727 h 410520"/>
                <a:gd name="connsiteX983" fmla="*/ 1998730 w 2663946"/>
                <a:gd name="connsiteY983" fmla="*/ 178942 h 410520"/>
                <a:gd name="connsiteX984" fmla="*/ 1996518 w 2663946"/>
                <a:gd name="connsiteY984" fmla="*/ 175427 h 410520"/>
                <a:gd name="connsiteX985" fmla="*/ 1994306 w 2663946"/>
                <a:gd name="connsiteY985" fmla="*/ 171101 h 410520"/>
                <a:gd name="connsiteX986" fmla="*/ 1993077 w 2663946"/>
                <a:gd name="connsiteY986" fmla="*/ 168126 h 410520"/>
                <a:gd name="connsiteX987" fmla="*/ 1992094 w 2663946"/>
                <a:gd name="connsiteY987" fmla="*/ 164882 h 410520"/>
                <a:gd name="connsiteX988" fmla="*/ 1990864 w 2663946"/>
                <a:gd name="connsiteY988" fmla="*/ 159204 h 410520"/>
                <a:gd name="connsiteX989" fmla="*/ 1990619 w 2663946"/>
                <a:gd name="connsiteY989" fmla="*/ 156230 h 410520"/>
                <a:gd name="connsiteX990" fmla="*/ 1990864 w 2663946"/>
                <a:gd name="connsiteY990" fmla="*/ 156500 h 410520"/>
                <a:gd name="connsiteX991" fmla="*/ 1990864 w 2663946"/>
                <a:gd name="connsiteY991" fmla="*/ 150822 h 410520"/>
                <a:gd name="connsiteX992" fmla="*/ 1990864 w 2663946"/>
                <a:gd name="connsiteY992" fmla="*/ 150552 h 410520"/>
                <a:gd name="connsiteX993" fmla="*/ 1991356 w 2663946"/>
                <a:gd name="connsiteY993" fmla="*/ 145955 h 410520"/>
                <a:gd name="connsiteX994" fmla="*/ 1992585 w 2663946"/>
                <a:gd name="connsiteY994" fmla="*/ 140548 h 410520"/>
                <a:gd name="connsiteX995" fmla="*/ 1993568 w 2663946"/>
                <a:gd name="connsiteY995" fmla="*/ 137303 h 410520"/>
                <a:gd name="connsiteX996" fmla="*/ 1995780 w 2663946"/>
                <a:gd name="connsiteY996" fmla="*/ 132166 h 410520"/>
                <a:gd name="connsiteX997" fmla="*/ 1997993 w 2663946"/>
                <a:gd name="connsiteY997" fmla="*/ 128381 h 410520"/>
                <a:gd name="connsiteX998" fmla="*/ 2000205 w 2663946"/>
                <a:gd name="connsiteY998" fmla="*/ 125406 h 410520"/>
                <a:gd name="connsiteX999" fmla="*/ 2002417 w 2663946"/>
                <a:gd name="connsiteY999" fmla="*/ 122973 h 410520"/>
                <a:gd name="connsiteX1000" fmla="*/ 2007087 w 2663946"/>
                <a:gd name="connsiteY1000" fmla="*/ 119188 h 410520"/>
                <a:gd name="connsiteX1001" fmla="*/ 2011020 w 2663946"/>
                <a:gd name="connsiteY1001" fmla="*/ 117025 h 410520"/>
                <a:gd name="connsiteX1002" fmla="*/ 2020607 w 2663946"/>
                <a:gd name="connsiteY1002" fmla="*/ 114591 h 410520"/>
                <a:gd name="connsiteX1003" fmla="*/ 1595683 w 2663946"/>
                <a:gd name="connsiteY1003" fmla="*/ 114591 h 410520"/>
                <a:gd name="connsiteX1004" fmla="*/ 1607973 w 2663946"/>
                <a:gd name="connsiteY1004" fmla="*/ 116754 h 410520"/>
                <a:gd name="connsiteX1005" fmla="*/ 1615347 w 2663946"/>
                <a:gd name="connsiteY1005" fmla="*/ 121351 h 410520"/>
                <a:gd name="connsiteX1006" fmla="*/ 1618788 w 2663946"/>
                <a:gd name="connsiteY1006" fmla="*/ 124595 h 410520"/>
                <a:gd name="connsiteX1007" fmla="*/ 1622230 w 2663946"/>
                <a:gd name="connsiteY1007" fmla="*/ 128921 h 410520"/>
                <a:gd name="connsiteX1008" fmla="*/ 1624196 w 2663946"/>
                <a:gd name="connsiteY1008" fmla="*/ 132436 h 410520"/>
                <a:gd name="connsiteX1009" fmla="*/ 1626408 w 2663946"/>
                <a:gd name="connsiteY1009" fmla="*/ 137844 h 410520"/>
                <a:gd name="connsiteX1010" fmla="*/ 1627391 w 2663946"/>
                <a:gd name="connsiteY1010" fmla="*/ 141359 h 410520"/>
                <a:gd name="connsiteX1011" fmla="*/ 1628374 w 2663946"/>
                <a:gd name="connsiteY1011" fmla="*/ 146496 h 410520"/>
                <a:gd name="connsiteX1012" fmla="*/ 1628129 w 2663946"/>
                <a:gd name="connsiteY1012" fmla="*/ 160826 h 410520"/>
                <a:gd name="connsiteX1013" fmla="*/ 1627146 w 2663946"/>
                <a:gd name="connsiteY1013" fmla="*/ 165693 h 410520"/>
                <a:gd name="connsiteX1014" fmla="*/ 1625916 w 2663946"/>
                <a:gd name="connsiteY1014" fmla="*/ 169478 h 410520"/>
                <a:gd name="connsiteX1015" fmla="*/ 1624933 w 2663946"/>
                <a:gd name="connsiteY1015" fmla="*/ 171912 h 410520"/>
                <a:gd name="connsiteX1016" fmla="*/ 1622721 w 2663946"/>
                <a:gd name="connsiteY1016" fmla="*/ 176238 h 410520"/>
                <a:gd name="connsiteX1017" fmla="*/ 1620509 w 2663946"/>
                <a:gd name="connsiteY1017" fmla="*/ 179482 h 410520"/>
                <a:gd name="connsiteX1018" fmla="*/ 1617068 w 2663946"/>
                <a:gd name="connsiteY1018" fmla="*/ 183268 h 410520"/>
                <a:gd name="connsiteX1019" fmla="*/ 1613872 w 2663946"/>
                <a:gd name="connsiteY1019" fmla="*/ 185971 h 410520"/>
                <a:gd name="connsiteX1020" fmla="*/ 1608219 w 2663946"/>
                <a:gd name="connsiteY1020" fmla="*/ 189216 h 410520"/>
                <a:gd name="connsiteX1021" fmla="*/ 1600353 w 2663946"/>
                <a:gd name="connsiteY1021" fmla="*/ 191379 h 410520"/>
                <a:gd name="connsiteX1022" fmla="*/ 1599124 w 2663946"/>
                <a:gd name="connsiteY1022" fmla="*/ 191650 h 410520"/>
                <a:gd name="connsiteX1023" fmla="*/ 1594945 w 2663946"/>
                <a:gd name="connsiteY1023" fmla="*/ 191650 h 410520"/>
                <a:gd name="connsiteX1024" fmla="*/ 1594699 w 2663946"/>
                <a:gd name="connsiteY1024" fmla="*/ 191650 h 410520"/>
                <a:gd name="connsiteX1025" fmla="*/ 1581672 w 2663946"/>
                <a:gd name="connsiteY1025" fmla="*/ 186783 h 410520"/>
                <a:gd name="connsiteX1026" fmla="*/ 1577002 w 2663946"/>
                <a:gd name="connsiteY1026" fmla="*/ 182727 h 410520"/>
                <a:gd name="connsiteX1027" fmla="*/ 1573806 w 2663946"/>
                <a:gd name="connsiteY1027" fmla="*/ 178942 h 410520"/>
                <a:gd name="connsiteX1028" fmla="*/ 1571594 w 2663946"/>
                <a:gd name="connsiteY1028" fmla="*/ 175427 h 410520"/>
                <a:gd name="connsiteX1029" fmla="*/ 1569382 w 2663946"/>
                <a:gd name="connsiteY1029" fmla="*/ 171101 h 410520"/>
                <a:gd name="connsiteX1030" fmla="*/ 1568153 w 2663946"/>
                <a:gd name="connsiteY1030" fmla="*/ 168126 h 410520"/>
                <a:gd name="connsiteX1031" fmla="*/ 1567169 w 2663946"/>
                <a:gd name="connsiteY1031" fmla="*/ 164882 h 410520"/>
                <a:gd name="connsiteX1032" fmla="*/ 1565940 w 2663946"/>
                <a:gd name="connsiteY1032" fmla="*/ 159204 h 410520"/>
                <a:gd name="connsiteX1033" fmla="*/ 1565695 w 2663946"/>
                <a:gd name="connsiteY1033" fmla="*/ 156230 h 410520"/>
                <a:gd name="connsiteX1034" fmla="*/ 1565940 w 2663946"/>
                <a:gd name="connsiteY1034" fmla="*/ 156500 h 410520"/>
                <a:gd name="connsiteX1035" fmla="*/ 1565940 w 2663946"/>
                <a:gd name="connsiteY1035" fmla="*/ 150822 h 410520"/>
                <a:gd name="connsiteX1036" fmla="*/ 1565940 w 2663946"/>
                <a:gd name="connsiteY1036" fmla="*/ 150552 h 410520"/>
                <a:gd name="connsiteX1037" fmla="*/ 1566432 w 2663946"/>
                <a:gd name="connsiteY1037" fmla="*/ 145955 h 410520"/>
                <a:gd name="connsiteX1038" fmla="*/ 1567661 w 2663946"/>
                <a:gd name="connsiteY1038" fmla="*/ 140548 h 410520"/>
                <a:gd name="connsiteX1039" fmla="*/ 1568644 w 2663946"/>
                <a:gd name="connsiteY1039" fmla="*/ 137303 h 410520"/>
                <a:gd name="connsiteX1040" fmla="*/ 1570856 w 2663946"/>
                <a:gd name="connsiteY1040" fmla="*/ 132166 h 410520"/>
                <a:gd name="connsiteX1041" fmla="*/ 1573069 w 2663946"/>
                <a:gd name="connsiteY1041" fmla="*/ 128381 h 410520"/>
                <a:gd name="connsiteX1042" fmla="*/ 1575281 w 2663946"/>
                <a:gd name="connsiteY1042" fmla="*/ 125406 h 410520"/>
                <a:gd name="connsiteX1043" fmla="*/ 1577493 w 2663946"/>
                <a:gd name="connsiteY1043" fmla="*/ 122973 h 410520"/>
                <a:gd name="connsiteX1044" fmla="*/ 1582163 w 2663946"/>
                <a:gd name="connsiteY1044" fmla="*/ 119188 h 410520"/>
                <a:gd name="connsiteX1045" fmla="*/ 1586096 w 2663946"/>
                <a:gd name="connsiteY1045" fmla="*/ 117025 h 410520"/>
                <a:gd name="connsiteX1046" fmla="*/ 1595683 w 2663946"/>
                <a:gd name="connsiteY1046" fmla="*/ 114591 h 410520"/>
                <a:gd name="connsiteX1047" fmla="*/ 1246776 w 2663946"/>
                <a:gd name="connsiteY1047" fmla="*/ 114591 h 410520"/>
                <a:gd name="connsiteX1048" fmla="*/ 1259066 w 2663946"/>
                <a:gd name="connsiteY1048" fmla="*/ 116754 h 410520"/>
                <a:gd name="connsiteX1049" fmla="*/ 1266440 w 2663946"/>
                <a:gd name="connsiteY1049" fmla="*/ 121351 h 410520"/>
                <a:gd name="connsiteX1050" fmla="*/ 1269881 w 2663946"/>
                <a:gd name="connsiteY1050" fmla="*/ 124595 h 410520"/>
                <a:gd name="connsiteX1051" fmla="*/ 1273323 w 2663946"/>
                <a:gd name="connsiteY1051" fmla="*/ 128921 h 410520"/>
                <a:gd name="connsiteX1052" fmla="*/ 1275289 w 2663946"/>
                <a:gd name="connsiteY1052" fmla="*/ 132436 h 410520"/>
                <a:gd name="connsiteX1053" fmla="*/ 1277501 w 2663946"/>
                <a:gd name="connsiteY1053" fmla="*/ 137844 h 410520"/>
                <a:gd name="connsiteX1054" fmla="*/ 1278484 w 2663946"/>
                <a:gd name="connsiteY1054" fmla="*/ 141359 h 410520"/>
                <a:gd name="connsiteX1055" fmla="*/ 1279467 w 2663946"/>
                <a:gd name="connsiteY1055" fmla="*/ 146496 h 410520"/>
                <a:gd name="connsiteX1056" fmla="*/ 1279222 w 2663946"/>
                <a:gd name="connsiteY1056" fmla="*/ 160826 h 410520"/>
                <a:gd name="connsiteX1057" fmla="*/ 1278239 w 2663946"/>
                <a:gd name="connsiteY1057" fmla="*/ 165693 h 410520"/>
                <a:gd name="connsiteX1058" fmla="*/ 1277009 w 2663946"/>
                <a:gd name="connsiteY1058" fmla="*/ 169478 h 410520"/>
                <a:gd name="connsiteX1059" fmla="*/ 1276026 w 2663946"/>
                <a:gd name="connsiteY1059" fmla="*/ 171912 h 410520"/>
                <a:gd name="connsiteX1060" fmla="*/ 1273814 w 2663946"/>
                <a:gd name="connsiteY1060" fmla="*/ 176238 h 410520"/>
                <a:gd name="connsiteX1061" fmla="*/ 1271602 w 2663946"/>
                <a:gd name="connsiteY1061" fmla="*/ 179482 h 410520"/>
                <a:gd name="connsiteX1062" fmla="*/ 1268161 w 2663946"/>
                <a:gd name="connsiteY1062" fmla="*/ 183268 h 410520"/>
                <a:gd name="connsiteX1063" fmla="*/ 1264965 w 2663946"/>
                <a:gd name="connsiteY1063" fmla="*/ 185971 h 410520"/>
                <a:gd name="connsiteX1064" fmla="*/ 1259312 w 2663946"/>
                <a:gd name="connsiteY1064" fmla="*/ 189216 h 410520"/>
                <a:gd name="connsiteX1065" fmla="*/ 1251446 w 2663946"/>
                <a:gd name="connsiteY1065" fmla="*/ 191379 h 410520"/>
                <a:gd name="connsiteX1066" fmla="*/ 1250217 w 2663946"/>
                <a:gd name="connsiteY1066" fmla="*/ 191650 h 410520"/>
                <a:gd name="connsiteX1067" fmla="*/ 1246038 w 2663946"/>
                <a:gd name="connsiteY1067" fmla="*/ 191650 h 410520"/>
                <a:gd name="connsiteX1068" fmla="*/ 1245792 w 2663946"/>
                <a:gd name="connsiteY1068" fmla="*/ 191650 h 410520"/>
                <a:gd name="connsiteX1069" fmla="*/ 1232765 w 2663946"/>
                <a:gd name="connsiteY1069" fmla="*/ 186783 h 410520"/>
                <a:gd name="connsiteX1070" fmla="*/ 1228095 w 2663946"/>
                <a:gd name="connsiteY1070" fmla="*/ 182727 h 410520"/>
                <a:gd name="connsiteX1071" fmla="*/ 1224899 w 2663946"/>
                <a:gd name="connsiteY1071" fmla="*/ 178942 h 410520"/>
                <a:gd name="connsiteX1072" fmla="*/ 1222687 w 2663946"/>
                <a:gd name="connsiteY1072" fmla="*/ 175427 h 410520"/>
                <a:gd name="connsiteX1073" fmla="*/ 1220475 w 2663946"/>
                <a:gd name="connsiteY1073" fmla="*/ 171101 h 410520"/>
                <a:gd name="connsiteX1074" fmla="*/ 1219246 w 2663946"/>
                <a:gd name="connsiteY1074" fmla="*/ 168126 h 410520"/>
                <a:gd name="connsiteX1075" fmla="*/ 1218262 w 2663946"/>
                <a:gd name="connsiteY1075" fmla="*/ 164882 h 410520"/>
                <a:gd name="connsiteX1076" fmla="*/ 1217033 w 2663946"/>
                <a:gd name="connsiteY1076" fmla="*/ 159204 h 410520"/>
                <a:gd name="connsiteX1077" fmla="*/ 1216788 w 2663946"/>
                <a:gd name="connsiteY1077" fmla="*/ 156230 h 410520"/>
                <a:gd name="connsiteX1078" fmla="*/ 1217033 w 2663946"/>
                <a:gd name="connsiteY1078" fmla="*/ 156500 h 410520"/>
                <a:gd name="connsiteX1079" fmla="*/ 1217033 w 2663946"/>
                <a:gd name="connsiteY1079" fmla="*/ 150822 h 410520"/>
                <a:gd name="connsiteX1080" fmla="*/ 1217033 w 2663946"/>
                <a:gd name="connsiteY1080" fmla="*/ 150552 h 410520"/>
                <a:gd name="connsiteX1081" fmla="*/ 1217525 w 2663946"/>
                <a:gd name="connsiteY1081" fmla="*/ 145955 h 410520"/>
                <a:gd name="connsiteX1082" fmla="*/ 1218754 w 2663946"/>
                <a:gd name="connsiteY1082" fmla="*/ 140548 h 410520"/>
                <a:gd name="connsiteX1083" fmla="*/ 1219737 w 2663946"/>
                <a:gd name="connsiteY1083" fmla="*/ 137303 h 410520"/>
                <a:gd name="connsiteX1084" fmla="*/ 1221949 w 2663946"/>
                <a:gd name="connsiteY1084" fmla="*/ 132166 h 410520"/>
                <a:gd name="connsiteX1085" fmla="*/ 1224162 w 2663946"/>
                <a:gd name="connsiteY1085" fmla="*/ 128381 h 410520"/>
                <a:gd name="connsiteX1086" fmla="*/ 1226374 w 2663946"/>
                <a:gd name="connsiteY1086" fmla="*/ 125406 h 410520"/>
                <a:gd name="connsiteX1087" fmla="*/ 1228586 w 2663946"/>
                <a:gd name="connsiteY1087" fmla="*/ 122973 h 410520"/>
                <a:gd name="connsiteX1088" fmla="*/ 1233256 w 2663946"/>
                <a:gd name="connsiteY1088" fmla="*/ 119188 h 410520"/>
                <a:gd name="connsiteX1089" fmla="*/ 1237189 w 2663946"/>
                <a:gd name="connsiteY1089" fmla="*/ 117025 h 410520"/>
                <a:gd name="connsiteX1090" fmla="*/ 1246776 w 2663946"/>
                <a:gd name="connsiteY1090" fmla="*/ 114591 h 410520"/>
                <a:gd name="connsiteX1091" fmla="*/ 1064825 w 2663946"/>
                <a:gd name="connsiteY1091" fmla="*/ 114591 h 410520"/>
                <a:gd name="connsiteX1092" fmla="*/ 1077115 w 2663946"/>
                <a:gd name="connsiteY1092" fmla="*/ 116754 h 410520"/>
                <a:gd name="connsiteX1093" fmla="*/ 1084489 w 2663946"/>
                <a:gd name="connsiteY1093" fmla="*/ 121351 h 410520"/>
                <a:gd name="connsiteX1094" fmla="*/ 1087930 w 2663946"/>
                <a:gd name="connsiteY1094" fmla="*/ 124595 h 410520"/>
                <a:gd name="connsiteX1095" fmla="*/ 1091372 w 2663946"/>
                <a:gd name="connsiteY1095" fmla="*/ 128921 h 410520"/>
                <a:gd name="connsiteX1096" fmla="*/ 1093338 w 2663946"/>
                <a:gd name="connsiteY1096" fmla="*/ 132436 h 410520"/>
                <a:gd name="connsiteX1097" fmla="*/ 1095550 w 2663946"/>
                <a:gd name="connsiteY1097" fmla="*/ 137844 h 410520"/>
                <a:gd name="connsiteX1098" fmla="*/ 1096533 w 2663946"/>
                <a:gd name="connsiteY1098" fmla="*/ 141359 h 410520"/>
                <a:gd name="connsiteX1099" fmla="*/ 1097516 w 2663946"/>
                <a:gd name="connsiteY1099" fmla="*/ 146496 h 410520"/>
                <a:gd name="connsiteX1100" fmla="*/ 1097271 w 2663946"/>
                <a:gd name="connsiteY1100" fmla="*/ 160826 h 410520"/>
                <a:gd name="connsiteX1101" fmla="*/ 1096288 w 2663946"/>
                <a:gd name="connsiteY1101" fmla="*/ 165693 h 410520"/>
                <a:gd name="connsiteX1102" fmla="*/ 1095058 w 2663946"/>
                <a:gd name="connsiteY1102" fmla="*/ 169478 h 410520"/>
                <a:gd name="connsiteX1103" fmla="*/ 1094075 w 2663946"/>
                <a:gd name="connsiteY1103" fmla="*/ 171912 h 410520"/>
                <a:gd name="connsiteX1104" fmla="*/ 1091863 w 2663946"/>
                <a:gd name="connsiteY1104" fmla="*/ 176238 h 410520"/>
                <a:gd name="connsiteX1105" fmla="*/ 1089651 w 2663946"/>
                <a:gd name="connsiteY1105" fmla="*/ 179482 h 410520"/>
                <a:gd name="connsiteX1106" fmla="*/ 1086210 w 2663946"/>
                <a:gd name="connsiteY1106" fmla="*/ 183268 h 410520"/>
                <a:gd name="connsiteX1107" fmla="*/ 1083014 w 2663946"/>
                <a:gd name="connsiteY1107" fmla="*/ 185971 h 410520"/>
                <a:gd name="connsiteX1108" fmla="*/ 1077361 w 2663946"/>
                <a:gd name="connsiteY1108" fmla="*/ 189216 h 410520"/>
                <a:gd name="connsiteX1109" fmla="*/ 1069495 w 2663946"/>
                <a:gd name="connsiteY1109" fmla="*/ 191379 h 410520"/>
                <a:gd name="connsiteX1110" fmla="*/ 1068266 w 2663946"/>
                <a:gd name="connsiteY1110" fmla="*/ 191650 h 410520"/>
                <a:gd name="connsiteX1111" fmla="*/ 1064087 w 2663946"/>
                <a:gd name="connsiteY1111" fmla="*/ 191650 h 410520"/>
                <a:gd name="connsiteX1112" fmla="*/ 1063841 w 2663946"/>
                <a:gd name="connsiteY1112" fmla="*/ 191650 h 410520"/>
                <a:gd name="connsiteX1113" fmla="*/ 1050814 w 2663946"/>
                <a:gd name="connsiteY1113" fmla="*/ 186783 h 410520"/>
                <a:gd name="connsiteX1114" fmla="*/ 1046144 w 2663946"/>
                <a:gd name="connsiteY1114" fmla="*/ 182727 h 410520"/>
                <a:gd name="connsiteX1115" fmla="*/ 1042948 w 2663946"/>
                <a:gd name="connsiteY1115" fmla="*/ 178942 h 410520"/>
                <a:gd name="connsiteX1116" fmla="*/ 1040736 w 2663946"/>
                <a:gd name="connsiteY1116" fmla="*/ 175427 h 410520"/>
                <a:gd name="connsiteX1117" fmla="*/ 1038524 w 2663946"/>
                <a:gd name="connsiteY1117" fmla="*/ 171101 h 410520"/>
                <a:gd name="connsiteX1118" fmla="*/ 1037295 w 2663946"/>
                <a:gd name="connsiteY1118" fmla="*/ 168126 h 410520"/>
                <a:gd name="connsiteX1119" fmla="*/ 1036311 w 2663946"/>
                <a:gd name="connsiteY1119" fmla="*/ 164882 h 410520"/>
                <a:gd name="connsiteX1120" fmla="*/ 1035082 w 2663946"/>
                <a:gd name="connsiteY1120" fmla="*/ 159204 h 410520"/>
                <a:gd name="connsiteX1121" fmla="*/ 1034837 w 2663946"/>
                <a:gd name="connsiteY1121" fmla="*/ 156230 h 410520"/>
                <a:gd name="connsiteX1122" fmla="*/ 1035082 w 2663946"/>
                <a:gd name="connsiteY1122" fmla="*/ 156500 h 410520"/>
                <a:gd name="connsiteX1123" fmla="*/ 1035082 w 2663946"/>
                <a:gd name="connsiteY1123" fmla="*/ 150822 h 410520"/>
                <a:gd name="connsiteX1124" fmla="*/ 1035082 w 2663946"/>
                <a:gd name="connsiteY1124" fmla="*/ 150552 h 410520"/>
                <a:gd name="connsiteX1125" fmla="*/ 1035574 w 2663946"/>
                <a:gd name="connsiteY1125" fmla="*/ 145955 h 410520"/>
                <a:gd name="connsiteX1126" fmla="*/ 1036803 w 2663946"/>
                <a:gd name="connsiteY1126" fmla="*/ 140548 h 410520"/>
                <a:gd name="connsiteX1127" fmla="*/ 1037786 w 2663946"/>
                <a:gd name="connsiteY1127" fmla="*/ 137303 h 410520"/>
                <a:gd name="connsiteX1128" fmla="*/ 1039998 w 2663946"/>
                <a:gd name="connsiteY1128" fmla="*/ 132166 h 410520"/>
                <a:gd name="connsiteX1129" fmla="*/ 1042211 w 2663946"/>
                <a:gd name="connsiteY1129" fmla="*/ 128381 h 410520"/>
                <a:gd name="connsiteX1130" fmla="*/ 1044423 w 2663946"/>
                <a:gd name="connsiteY1130" fmla="*/ 125406 h 410520"/>
                <a:gd name="connsiteX1131" fmla="*/ 1046635 w 2663946"/>
                <a:gd name="connsiteY1131" fmla="*/ 122973 h 410520"/>
                <a:gd name="connsiteX1132" fmla="*/ 1051305 w 2663946"/>
                <a:gd name="connsiteY1132" fmla="*/ 119188 h 410520"/>
                <a:gd name="connsiteX1133" fmla="*/ 1055238 w 2663946"/>
                <a:gd name="connsiteY1133" fmla="*/ 117025 h 410520"/>
                <a:gd name="connsiteX1134" fmla="*/ 1064825 w 2663946"/>
                <a:gd name="connsiteY1134" fmla="*/ 114591 h 410520"/>
                <a:gd name="connsiteX1135" fmla="*/ 897796 w 2663946"/>
                <a:gd name="connsiteY1135" fmla="*/ 114591 h 410520"/>
                <a:gd name="connsiteX1136" fmla="*/ 910086 w 2663946"/>
                <a:gd name="connsiteY1136" fmla="*/ 116754 h 410520"/>
                <a:gd name="connsiteX1137" fmla="*/ 917460 w 2663946"/>
                <a:gd name="connsiteY1137" fmla="*/ 121351 h 410520"/>
                <a:gd name="connsiteX1138" fmla="*/ 920901 w 2663946"/>
                <a:gd name="connsiteY1138" fmla="*/ 124595 h 410520"/>
                <a:gd name="connsiteX1139" fmla="*/ 924343 w 2663946"/>
                <a:gd name="connsiteY1139" fmla="*/ 128921 h 410520"/>
                <a:gd name="connsiteX1140" fmla="*/ 926309 w 2663946"/>
                <a:gd name="connsiteY1140" fmla="*/ 132436 h 410520"/>
                <a:gd name="connsiteX1141" fmla="*/ 928521 w 2663946"/>
                <a:gd name="connsiteY1141" fmla="*/ 137844 h 410520"/>
                <a:gd name="connsiteX1142" fmla="*/ 929504 w 2663946"/>
                <a:gd name="connsiteY1142" fmla="*/ 141359 h 410520"/>
                <a:gd name="connsiteX1143" fmla="*/ 930487 w 2663946"/>
                <a:gd name="connsiteY1143" fmla="*/ 146496 h 410520"/>
                <a:gd name="connsiteX1144" fmla="*/ 930242 w 2663946"/>
                <a:gd name="connsiteY1144" fmla="*/ 160826 h 410520"/>
                <a:gd name="connsiteX1145" fmla="*/ 929259 w 2663946"/>
                <a:gd name="connsiteY1145" fmla="*/ 165693 h 410520"/>
                <a:gd name="connsiteX1146" fmla="*/ 928029 w 2663946"/>
                <a:gd name="connsiteY1146" fmla="*/ 169478 h 410520"/>
                <a:gd name="connsiteX1147" fmla="*/ 927046 w 2663946"/>
                <a:gd name="connsiteY1147" fmla="*/ 171912 h 410520"/>
                <a:gd name="connsiteX1148" fmla="*/ 924834 w 2663946"/>
                <a:gd name="connsiteY1148" fmla="*/ 176238 h 410520"/>
                <a:gd name="connsiteX1149" fmla="*/ 922622 w 2663946"/>
                <a:gd name="connsiteY1149" fmla="*/ 179482 h 410520"/>
                <a:gd name="connsiteX1150" fmla="*/ 919181 w 2663946"/>
                <a:gd name="connsiteY1150" fmla="*/ 183268 h 410520"/>
                <a:gd name="connsiteX1151" fmla="*/ 915985 w 2663946"/>
                <a:gd name="connsiteY1151" fmla="*/ 185971 h 410520"/>
                <a:gd name="connsiteX1152" fmla="*/ 910332 w 2663946"/>
                <a:gd name="connsiteY1152" fmla="*/ 189216 h 410520"/>
                <a:gd name="connsiteX1153" fmla="*/ 902466 w 2663946"/>
                <a:gd name="connsiteY1153" fmla="*/ 191379 h 410520"/>
                <a:gd name="connsiteX1154" fmla="*/ 901237 w 2663946"/>
                <a:gd name="connsiteY1154" fmla="*/ 191650 h 410520"/>
                <a:gd name="connsiteX1155" fmla="*/ 897058 w 2663946"/>
                <a:gd name="connsiteY1155" fmla="*/ 191650 h 410520"/>
                <a:gd name="connsiteX1156" fmla="*/ 896812 w 2663946"/>
                <a:gd name="connsiteY1156" fmla="*/ 191650 h 410520"/>
                <a:gd name="connsiteX1157" fmla="*/ 883785 w 2663946"/>
                <a:gd name="connsiteY1157" fmla="*/ 186783 h 410520"/>
                <a:gd name="connsiteX1158" fmla="*/ 879115 w 2663946"/>
                <a:gd name="connsiteY1158" fmla="*/ 182727 h 410520"/>
                <a:gd name="connsiteX1159" fmla="*/ 875919 w 2663946"/>
                <a:gd name="connsiteY1159" fmla="*/ 178942 h 410520"/>
                <a:gd name="connsiteX1160" fmla="*/ 873707 w 2663946"/>
                <a:gd name="connsiteY1160" fmla="*/ 175427 h 410520"/>
                <a:gd name="connsiteX1161" fmla="*/ 871495 w 2663946"/>
                <a:gd name="connsiteY1161" fmla="*/ 171101 h 410520"/>
                <a:gd name="connsiteX1162" fmla="*/ 870266 w 2663946"/>
                <a:gd name="connsiteY1162" fmla="*/ 168126 h 410520"/>
                <a:gd name="connsiteX1163" fmla="*/ 869282 w 2663946"/>
                <a:gd name="connsiteY1163" fmla="*/ 164882 h 410520"/>
                <a:gd name="connsiteX1164" fmla="*/ 868053 w 2663946"/>
                <a:gd name="connsiteY1164" fmla="*/ 159204 h 410520"/>
                <a:gd name="connsiteX1165" fmla="*/ 867808 w 2663946"/>
                <a:gd name="connsiteY1165" fmla="*/ 156230 h 410520"/>
                <a:gd name="connsiteX1166" fmla="*/ 868053 w 2663946"/>
                <a:gd name="connsiteY1166" fmla="*/ 156500 h 410520"/>
                <a:gd name="connsiteX1167" fmla="*/ 868053 w 2663946"/>
                <a:gd name="connsiteY1167" fmla="*/ 150822 h 410520"/>
                <a:gd name="connsiteX1168" fmla="*/ 868053 w 2663946"/>
                <a:gd name="connsiteY1168" fmla="*/ 150552 h 410520"/>
                <a:gd name="connsiteX1169" fmla="*/ 868545 w 2663946"/>
                <a:gd name="connsiteY1169" fmla="*/ 145955 h 410520"/>
                <a:gd name="connsiteX1170" fmla="*/ 869774 w 2663946"/>
                <a:gd name="connsiteY1170" fmla="*/ 140548 h 410520"/>
                <a:gd name="connsiteX1171" fmla="*/ 870757 w 2663946"/>
                <a:gd name="connsiteY1171" fmla="*/ 137303 h 410520"/>
                <a:gd name="connsiteX1172" fmla="*/ 872969 w 2663946"/>
                <a:gd name="connsiteY1172" fmla="*/ 132166 h 410520"/>
                <a:gd name="connsiteX1173" fmla="*/ 875182 w 2663946"/>
                <a:gd name="connsiteY1173" fmla="*/ 128381 h 410520"/>
                <a:gd name="connsiteX1174" fmla="*/ 877394 w 2663946"/>
                <a:gd name="connsiteY1174" fmla="*/ 125406 h 410520"/>
                <a:gd name="connsiteX1175" fmla="*/ 879606 w 2663946"/>
                <a:gd name="connsiteY1175" fmla="*/ 122973 h 410520"/>
                <a:gd name="connsiteX1176" fmla="*/ 884276 w 2663946"/>
                <a:gd name="connsiteY1176" fmla="*/ 119188 h 410520"/>
                <a:gd name="connsiteX1177" fmla="*/ 888209 w 2663946"/>
                <a:gd name="connsiteY1177" fmla="*/ 117025 h 410520"/>
                <a:gd name="connsiteX1178" fmla="*/ 897796 w 2663946"/>
                <a:gd name="connsiteY1178" fmla="*/ 114591 h 410520"/>
                <a:gd name="connsiteX1179" fmla="*/ 548889 w 2663946"/>
                <a:gd name="connsiteY1179" fmla="*/ 114591 h 410520"/>
                <a:gd name="connsiteX1180" fmla="*/ 561180 w 2663946"/>
                <a:gd name="connsiteY1180" fmla="*/ 116754 h 410520"/>
                <a:gd name="connsiteX1181" fmla="*/ 568554 w 2663946"/>
                <a:gd name="connsiteY1181" fmla="*/ 121351 h 410520"/>
                <a:gd name="connsiteX1182" fmla="*/ 571995 w 2663946"/>
                <a:gd name="connsiteY1182" fmla="*/ 124595 h 410520"/>
                <a:gd name="connsiteX1183" fmla="*/ 575436 w 2663946"/>
                <a:gd name="connsiteY1183" fmla="*/ 128921 h 410520"/>
                <a:gd name="connsiteX1184" fmla="*/ 577403 w 2663946"/>
                <a:gd name="connsiteY1184" fmla="*/ 132436 h 410520"/>
                <a:gd name="connsiteX1185" fmla="*/ 579615 w 2663946"/>
                <a:gd name="connsiteY1185" fmla="*/ 137844 h 410520"/>
                <a:gd name="connsiteX1186" fmla="*/ 580598 w 2663946"/>
                <a:gd name="connsiteY1186" fmla="*/ 141359 h 410520"/>
                <a:gd name="connsiteX1187" fmla="*/ 581581 w 2663946"/>
                <a:gd name="connsiteY1187" fmla="*/ 146496 h 410520"/>
                <a:gd name="connsiteX1188" fmla="*/ 581336 w 2663946"/>
                <a:gd name="connsiteY1188" fmla="*/ 160826 h 410520"/>
                <a:gd name="connsiteX1189" fmla="*/ 580352 w 2663946"/>
                <a:gd name="connsiteY1189" fmla="*/ 165693 h 410520"/>
                <a:gd name="connsiteX1190" fmla="*/ 579123 w 2663946"/>
                <a:gd name="connsiteY1190" fmla="*/ 169478 h 410520"/>
                <a:gd name="connsiteX1191" fmla="*/ 578140 w 2663946"/>
                <a:gd name="connsiteY1191" fmla="*/ 171912 h 410520"/>
                <a:gd name="connsiteX1192" fmla="*/ 575928 w 2663946"/>
                <a:gd name="connsiteY1192" fmla="*/ 176238 h 410520"/>
                <a:gd name="connsiteX1193" fmla="*/ 573715 w 2663946"/>
                <a:gd name="connsiteY1193" fmla="*/ 179482 h 410520"/>
                <a:gd name="connsiteX1194" fmla="*/ 570274 w 2663946"/>
                <a:gd name="connsiteY1194" fmla="*/ 183268 h 410520"/>
                <a:gd name="connsiteX1195" fmla="*/ 567079 w 2663946"/>
                <a:gd name="connsiteY1195" fmla="*/ 185971 h 410520"/>
                <a:gd name="connsiteX1196" fmla="*/ 561425 w 2663946"/>
                <a:gd name="connsiteY1196" fmla="*/ 189216 h 410520"/>
                <a:gd name="connsiteX1197" fmla="*/ 553559 w 2663946"/>
                <a:gd name="connsiteY1197" fmla="*/ 191379 h 410520"/>
                <a:gd name="connsiteX1198" fmla="*/ 552331 w 2663946"/>
                <a:gd name="connsiteY1198" fmla="*/ 191650 h 410520"/>
                <a:gd name="connsiteX1199" fmla="*/ 548152 w 2663946"/>
                <a:gd name="connsiteY1199" fmla="*/ 191650 h 410520"/>
                <a:gd name="connsiteX1200" fmla="*/ 547906 w 2663946"/>
                <a:gd name="connsiteY1200" fmla="*/ 191650 h 410520"/>
                <a:gd name="connsiteX1201" fmla="*/ 534879 w 2663946"/>
                <a:gd name="connsiteY1201" fmla="*/ 186783 h 410520"/>
                <a:gd name="connsiteX1202" fmla="*/ 530208 w 2663946"/>
                <a:gd name="connsiteY1202" fmla="*/ 182727 h 410520"/>
                <a:gd name="connsiteX1203" fmla="*/ 527013 w 2663946"/>
                <a:gd name="connsiteY1203" fmla="*/ 178942 h 410520"/>
                <a:gd name="connsiteX1204" fmla="*/ 524801 w 2663946"/>
                <a:gd name="connsiteY1204" fmla="*/ 175427 h 410520"/>
                <a:gd name="connsiteX1205" fmla="*/ 522588 w 2663946"/>
                <a:gd name="connsiteY1205" fmla="*/ 171101 h 410520"/>
                <a:gd name="connsiteX1206" fmla="*/ 521359 w 2663946"/>
                <a:gd name="connsiteY1206" fmla="*/ 168126 h 410520"/>
                <a:gd name="connsiteX1207" fmla="*/ 520376 w 2663946"/>
                <a:gd name="connsiteY1207" fmla="*/ 164882 h 410520"/>
                <a:gd name="connsiteX1208" fmla="*/ 519147 w 2663946"/>
                <a:gd name="connsiteY1208" fmla="*/ 159204 h 410520"/>
                <a:gd name="connsiteX1209" fmla="*/ 518901 w 2663946"/>
                <a:gd name="connsiteY1209" fmla="*/ 156230 h 410520"/>
                <a:gd name="connsiteX1210" fmla="*/ 519147 w 2663946"/>
                <a:gd name="connsiteY1210" fmla="*/ 156500 h 410520"/>
                <a:gd name="connsiteX1211" fmla="*/ 519147 w 2663946"/>
                <a:gd name="connsiteY1211" fmla="*/ 150822 h 410520"/>
                <a:gd name="connsiteX1212" fmla="*/ 519147 w 2663946"/>
                <a:gd name="connsiteY1212" fmla="*/ 150552 h 410520"/>
                <a:gd name="connsiteX1213" fmla="*/ 519639 w 2663946"/>
                <a:gd name="connsiteY1213" fmla="*/ 145955 h 410520"/>
                <a:gd name="connsiteX1214" fmla="*/ 520868 w 2663946"/>
                <a:gd name="connsiteY1214" fmla="*/ 140548 h 410520"/>
                <a:gd name="connsiteX1215" fmla="*/ 521851 w 2663946"/>
                <a:gd name="connsiteY1215" fmla="*/ 137303 h 410520"/>
                <a:gd name="connsiteX1216" fmla="*/ 524063 w 2663946"/>
                <a:gd name="connsiteY1216" fmla="*/ 132166 h 410520"/>
                <a:gd name="connsiteX1217" fmla="*/ 526275 w 2663946"/>
                <a:gd name="connsiteY1217" fmla="*/ 128381 h 410520"/>
                <a:gd name="connsiteX1218" fmla="*/ 528488 w 2663946"/>
                <a:gd name="connsiteY1218" fmla="*/ 125406 h 410520"/>
                <a:gd name="connsiteX1219" fmla="*/ 530700 w 2663946"/>
                <a:gd name="connsiteY1219" fmla="*/ 122973 h 410520"/>
                <a:gd name="connsiteX1220" fmla="*/ 535370 w 2663946"/>
                <a:gd name="connsiteY1220" fmla="*/ 119188 h 410520"/>
                <a:gd name="connsiteX1221" fmla="*/ 539303 w 2663946"/>
                <a:gd name="connsiteY1221" fmla="*/ 117025 h 410520"/>
                <a:gd name="connsiteX1222" fmla="*/ 548889 w 2663946"/>
                <a:gd name="connsiteY1222" fmla="*/ 114591 h 410520"/>
                <a:gd name="connsiteX1223" fmla="*/ 366938 w 2663946"/>
                <a:gd name="connsiteY1223" fmla="*/ 114591 h 410520"/>
                <a:gd name="connsiteX1224" fmla="*/ 379228 w 2663946"/>
                <a:gd name="connsiteY1224" fmla="*/ 116754 h 410520"/>
                <a:gd name="connsiteX1225" fmla="*/ 386603 w 2663946"/>
                <a:gd name="connsiteY1225" fmla="*/ 121351 h 410520"/>
                <a:gd name="connsiteX1226" fmla="*/ 390044 w 2663946"/>
                <a:gd name="connsiteY1226" fmla="*/ 124595 h 410520"/>
                <a:gd name="connsiteX1227" fmla="*/ 393485 w 2663946"/>
                <a:gd name="connsiteY1227" fmla="*/ 128921 h 410520"/>
                <a:gd name="connsiteX1228" fmla="*/ 395452 w 2663946"/>
                <a:gd name="connsiteY1228" fmla="*/ 132436 h 410520"/>
                <a:gd name="connsiteX1229" fmla="*/ 397664 w 2663946"/>
                <a:gd name="connsiteY1229" fmla="*/ 137844 h 410520"/>
                <a:gd name="connsiteX1230" fmla="*/ 398647 w 2663946"/>
                <a:gd name="connsiteY1230" fmla="*/ 141359 h 410520"/>
                <a:gd name="connsiteX1231" fmla="*/ 399630 w 2663946"/>
                <a:gd name="connsiteY1231" fmla="*/ 146496 h 410520"/>
                <a:gd name="connsiteX1232" fmla="*/ 399384 w 2663946"/>
                <a:gd name="connsiteY1232" fmla="*/ 160826 h 410520"/>
                <a:gd name="connsiteX1233" fmla="*/ 398401 w 2663946"/>
                <a:gd name="connsiteY1233" fmla="*/ 165693 h 410520"/>
                <a:gd name="connsiteX1234" fmla="*/ 397172 w 2663946"/>
                <a:gd name="connsiteY1234" fmla="*/ 169478 h 410520"/>
                <a:gd name="connsiteX1235" fmla="*/ 396189 w 2663946"/>
                <a:gd name="connsiteY1235" fmla="*/ 171912 h 410520"/>
                <a:gd name="connsiteX1236" fmla="*/ 393977 w 2663946"/>
                <a:gd name="connsiteY1236" fmla="*/ 176238 h 410520"/>
                <a:gd name="connsiteX1237" fmla="*/ 391764 w 2663946"/>
                <a:gd name="connsiteY1237" fmla="*/ 179482 h 410520"/>
                <a:gd name="connsiteX1238" fmla="*/ 388323 w 2663946"/>
                <a:gd name="connsiteY1238" fmla="*/ 183268 h 410520"/>
                <a:gd name="connsiteX1239" fmla="*/ 385128 w 2663946"/>
                <a:gd name="connsiteY1239" fmla="*/ 185971 h 410520"/>
                <a:gd name="connsiteX1240" fmla="*/ 379474 w 2663946"/>
                <a:gd name="connsiteY1240" fmla="*/ 189216 h 410520"/>
                <a:gd name="connsiteX1241" fmla="*/ 371609 w 2663946"/>
                <a:gd name="connsiteY1241" fmla="*/ 191379 h 410520"/>
                <a:gd name="connsiteX1242" fmla="*/ 370380 w 2663946"/>
                <a:gd name="connsiteY1242" fmla="*/ 191650 h 410520"/>
                <a:gd name="connsiteX1243" fmla="*/ 366201 w 2663946"/>
                <a:gd name="connsiteY1243" fmla="*/ 191650 h 410520"/>
                <a:gd name="connsiteX1244" fmla="*/ 365955 w 2663946"/>
                <a:gd name="connsiteY1244" fmla="*/ 191650 h 410520"/>
                <a:gd name="connsiteX1245" fmla="*/ 352927 w 2663946"/>
                <a:gd name="connsiteY1245" fmla="*/ 186783 h 410520"/>
                <a:gd name="connsiteX1246" fmla="*/ 348257 w 2663946"/>
                <a:gd name="connsiteY1246" fmla="*/ 182727 h 410520"/>
                <a:gd name="connsiteX1247" fmla="*/ 345062 w 2663946"/>
                <a:gd name="connsiteY1247" fmla="*/ 178942 h 410520"/>
                <a:gd name="connsiteX1248" fmla="*/ 342850 w 2663946"/>
                <a:gd name="connsiteY1248" fmla="*/ 175427 h 410520"/>
                <a:gd name="connsiteX1249" fmla="*/ 340637 w 2663946"/>
                <a:gd name="connsiteY1249" fmla="*/ 171101 h 410520"/>
                <a:gd name="connsiteX1250" fmla="*/ 339408 w 2663946"/>
                <a:gd name="connsiteY1250" fmla="*/ 168126 h 410520"/>
                <a:gd name="connsiteX1251" fmla="*/ 338425 w 2663946"/>
                <a:gd name="connsiteY1251" fmla="*/ 164882 h 410520"/>
                <a:gd name="connsiteX1252" fmla="*/ 337196 w 2663946"/>
                <a:gd name="connsiteY1252" fmla="*/ 159204 h 410520"/>
                <a:gd name="connsiteX1253" fmla="*/ 336950 w 2663946"/>
                <a:gd name="connsiteY1253" fmla="*/ 156230 h 410520"/>
                <a:gd name="connsiteX1254" fmla="*/ 337196 w 2663946"/>
                <a:gd name="connsiteY1254" fmla="*/ 156500 h 410520"/>
                <a:gd name="connsiteX1255" fmla="*/ 337196 w 2663946"/>
                <a:gd name="connsiteY1255" fmla="*/ 150822 h 410520"/>
                <a:gd name="connsiteX1256" fmla="*/ 337196 w 2663946"/>
                <a:gd name="connsiteY1256" fmla="*/ 150552 h 410520"/>
                <a:gd name="connsiteX1257" fmla="*/ 337687 w 2663946"/>
                <a:gd name="connsiteY1257" fmla="*/ 145955 h 410520"/>
                <a:gd name="connsiteX1258" fmla="*/ 338917 w 2663946"/>
                <a:gd name="connsiteY1258" fmla="*/ 140548 h 410520"/>
                <a:gd name="connsiteX1259" fmla="*/ 339900 w 2663946"/>
                <a:gd name="connsiteY1259" fmla="*/ 137303 h 410520"/>
                <a:gd name="connsiteX1260" fmla="*/ 342112 w 2663946"/>
                <a:gd name="connsiteY1260" fmla="*/ 132166 h 410520"/>
                <a:gd name="connsiteX1261" fmla="*/ 344324 w 2663946"/>
                <a:gd name="connsiteY1261" fmla="*/ 128381 h 410520"/>
                <a:gd name="connsiteX1262" fmla="*/ 346536 w 2663946"/>
                <a:gd name="connsiteY1262" fmla="*/ 125406 h 410520"/>
                <a:gd name="connsiteX1263" fmla="*/ 348749 w 2663946"/>
                <a:gd name="connsiteY1263" fmla="*/ 122973 h 410520"/>
                <a:gd name="connsiteX1264" fmla="*/ 353419 w 2663946"/>
                <a:gd name="connsiteY1264" fmla="*/ 119188 h 410520"/>
                <a:gd name="connsiteX1265" fmla="*/ 357352 w 2663946"/>
                <a:gd name="connsiteY1265" fmla="*/ 117025 h 410520"/>
                <a:gd name="connsiteX1266" fmla="*/ 366938 w 2663946"/>
                <a:gd name="connsiteY1266" fmla="*/ 114591 h 410520"/>
                <a:gd name="connsiteX1267" fmla="*/ 123893 w 2663946"/>
                <a:gd name="connsiteY1267" fmla="*/ 114591 h 410520"/>
                <a:gd name="connsiteX1268" fmla="*/ 136183 w 2663946"/>
                <a:gd name="connsiteY1268" fmla="*/ 116754 h 410520"/>
                <a:gd name="connsiteX1269" fmla="*/ 143557 w 2663946"/>
                <a:gd name="connsiteY1269" fmla="*/ 121351 h 410520"/>
                <a:gd name="connsiteX1270" fmla="*/ 146998 w 2663946"/>
                <a:gd name="connsiteY1270" fmla="*/ 124595 h 410520"/>
                <a:gd name="connsiteX1271" fmla="*/ 150439 w 2663946"/>
                <a:gd name="connsiteY1271" fmla="*/ 128921 h 410520"/>
                <a:gd name="connsiteX1272" fmla="*/ 152406 w 2663946"/>
                <a:gd name="connsiteY1272" fmla="*/ 132436 h 410520"/>
                <a:gd name="connsiteX1273" fmla="*/ 154618 w 2663946"/>
                <a:gd name="connsiteY1273" fmla="*/ 137844 h 410520"/>
                <a:gd name="connsiteX1274" fmla="*/ 155601 w 2663946"/>
                <a:gd name="connsiteY1274" fmla="*/ 141359 h 410520"/>
                <a:gd name="connsiteX1275" fmla="*/ 156584 w 2663946"/>
                <a:gd name="connsiteY1275" fmla="*/ 146496 h 410520"/>
                <a:gd name="connsiteX1276" fmla="*/ 156339 w 2663946"/>
                <a:gd name="connsiteY1276" fmla="*/ 160826 h 410520"/>
                <a:gd name="connsiteX1277" fmla="*/ 155355 w 2663946"/>
                <a:gd name="connsiteY1277" fmla="*/ 165693 h 410520"/>
                <a:gd name="connsiteX1278" fmla="*/ 154126 w 2663946"/>
                <a:gd name="connsiteY1278" fmla="*/ 169478 h 410520"/>
                <a:gd name="connsiteX1279" fmla="*/ 153143 w 2663946"/>
                <a:gd name="connsiteY1279" fmla="*/ 171912 h 410520"/>
                <a:gd name="connsiteX1280" fmla="*/ 150931 w 2663946"/>
                <a:gd name="connsiteY1280" fmla="*/ 176238 h 410520"/>
                <a:gd name="connsiteX1281" fmla="*/ 148719 w 2663946"/>
                <a:gd name="connsiteY1281" fmla="*/ 179482 h 410520"/>
                <a:gd name="connsiteX1282" fmla="*/ 145277 w 2663946"/>
                <a:gd name="connsiteY1282" fmla="*/ 183268 h 410520"/>
                <a:gd name="connsiteX1283" fmla="*/ 142082 w 2663946"/>
                <a:gd name="connsiteY1283" fmla="*/ 185971 h 410520"/>
                <a:gd name="connsiteX1284" fmla="*/ 136428 w 2663946"/>
                <a:gd name="connsiteY1284" fmla="*/ 189216 h 410520"/>
                <a:gd name="connsiteX1285" fmla="*/ 128563 w 2663946"/>
                <a:gd name="connsiteY1285" fmla="*/ 191379 h 410520"/>
                <a:gd name="connsiteX1286" fmla="*/ 127334 w 2663946"/>
                <a:gd name="connsiteY1286" fmla="*/ 191650 h 410520"/>
                <a:gd name="connsiteX1287" fmla="*/ 123155 w 2663946"/>
                <a:gd name="connsiteY1287" fmla="*/ 191650 h 410520"/>
                <a:gd name="connsiteX1288" fmla="*/ 122909 w 2663946"/>
                <a:gd name="connsiteY1288" fmla="*/ 191650 h 410520"/>
                <a:gd name="connsiteX1289" fmla="*/ 109882 w 2663946"/>
                <a:gd name="connsiteY1289" fmla="*/ 186783 h 410520"/>
                <a:gd name="connsiteX1290" fmla="*/ 105211 w 2663946"/>
                <a:gd name="connsiteY1290" fmla="*/ 182727 h 410520"/>
                <a:gd name="connsiteX1291" fmla="*/ 102016 w 2663946"/>
                <a:gd name="connsiteY1291" fmla="*/ 178942 h 410520"/>
                <a:gd name="connsiteX1292" fmla="*/ 99804 w 2663946"/>
                <a:gd name="connsiteY1292" fmla="*/ 175427 h 410520"/>
                <a:gd name="connsiteX1293" fmla="*/ 97591 w 2663946"/>
                <a:gd name="connsiteY1293" fmla="*/ 171101 h 410520"/>
                <a:gd name="connsiteX1294" fmla="*/ 96362 w 2663946"/>
                <a:gd name="connsiteY1294" fmla="*/ 168126 h 410520"/>
                <a:gd name="connsiteX1295" fmla="*/ 95379 w 2663946"/>
                <a:gd name="connsiteY1295" fmla="*/ 164882 h 410520"/>
                <a:gd name="connsiteX1296" fmla="*/ 94150 w 2663946"/>
                <a:gd name="connsiteY1296" fmla="*/ 159204 h 410520"/>
                <a:gd name="connsiteX1297" fmla="*/ 93904 w 2663946"/>
                <a:gd name="connsiteY1297" fmla="*/ 156230 h 410520"/>
                <a:gd name="connsiteX1298" fmla="*/ 94150 w 2663946"/>
                <a:gd name="connsiteY1298" fmla="*/ 156500 h 410520"/>
                <a:gd name="connsiteX1299" fmla="*/ 94150 w 2663946"/>
                <a:gd name="connsiteY1299" fmla="*/ 150822 h 410520"/>
                <a:gd name="connsiteX1300" fmla="*/ 94150 w 2663946"/>
                <a:gd name="connsiteY1300" fmla="*/ 150552 h 410520"/>
                <a:gd name="connsiteX1301" fmla="*/ 94642 w 2663946"/>
                <a:gd name="connsiteY1301" fmla="*/ 145955 h 410520"/>
                <a:gd name="connsiteX1302" fmla="*/ 95871 w 2663946"/>
                <a:gd name="connsiteY1302" fmla="*/ 140548 h 410520"/>
                <a:gd name="connsiteX1303" fmla="*/ 96854 w 2663946"/>
                <a:gd name="connsiteY1303" fmla="*/ 137303 h 410520"/>
                <a:gd name="connsiteX1304" fmla="*/ 99066 w 2663946"/>
                <a:gd name="connsiteY1304" fmla="*/ 132166 h 410520"/>
                <a:gd name="connsiteX1305" fmla="*/ 101279 w 2663946"/>
                <a:gd name="connsiteY1305" fmla="*/ 128381 h 410520"/>
                <a:gd name="connsiteX1306" fmla="*/ 103491 w 2663946"/>
                <a:gd name="connsiteY1306" fmla="*/ 125406 h 410520"/>
                <a:gd name="connsiteX1307" fmla="*/ 105703 w 2663946"/>
                <a:gd name="connsiteY1307" fmla="*/ 122973 h 410520"/>
                <a:gd name="connsiteX1308" fmla="*/ 110373 w 2663946"/>
                <a:gd name="connsiteY1308" fmla="*/ 119188 h 410520"/>
                <a:gd name="connsiteX1309" fmla="*/ 114306 w 2663946"/>
                <a:gd name="connsiteY1309" fmla="*/ 117025 h 410520"/>
                <a:gd name="connsiteX1310" fmla="*/ 123893 w 2663946"/>
                <a:gd name="connsiteY1310" fmla="*/ 114591 h 410520"/>
                <a:gd name="connsiteX1311" fmla="*/ 33147 w 2663946"/>
                <a:gd name="connsiteY1311" fmla="*/ 113953 h 410520"/>
                <a:gd name="connsiteX1312" fmla="*/ 57942 w 2663946"/>
                <a:gd name="connsiteY1312" fmla="*/ 134162 h 410520"/>
                <a:gd name="connsiteX1313" fmla="*/ 58422 w 2663946"/>
                <a:gd name="connsiteY1313" fmla="*/ 138920 h 410520"/>
                <a:gd name="connsiteX1314" fmla="*/ 59840 w 2663946"/>
                <a:gd name="connsiteY1314" fmla="*/ 138920 h 410520"/>
                <a:gd name="connsiteX1315" fmla="*/ 66294 w 2663946"/>
                <a:gd name="connsiteY1315" fmla="*/ 145206 h 410520"/>
                <a:gd name="connsiteX1316" fmla="*/ 66294 w 2663946"/>
                <a:gd name="connsiteY1316" fmla="*/ 194928 h 410520"/>
                <a:gd name="connsiteX1317" fmla="*/ 59840 w 2663946"/>
                <a:gd name="connsiteY1317" fmla="*/ 201214 h 410520"/>
                <a:gd name="connsiteX1318" fmla="*/ 6453 w 2663946"/>
                <a:gd name="connsiteY1318" fmla="*/ 201214 h 410520"/>
                <a:gd name="connsiteX1319" fmla="*/ 0 w 2663946"/>
                <a:gd name="connsiteY1319" fmla="*/ 194928 h 410520"/>
                <a:gd name="connsiteX1320" fmla="*/ 0 w 2663946"/>
                <a:gd name="connsiteY1320" fmla="*/ 145206 h 410520"/>
                <a:gd name="connsiteX1321" fmla="*/ 6453 w 2663946"/>
                <a:gd name="connsiteY1321" fmla="*/ 138920 h 410520"/>
                <a:gd name="connsiteX1322" fmla="*/ 7288 w 2663946"/>
                <a:gd name="connsiteY1322" fmla="*/ 138920 h 410520"/>
                <a:gd name="connsiteX1323" fmla="*/ 7872 w 2663946"/>
                <a:gd name="connsiteY1323" fmla="*/ 138920 h 410520"/>
                <a:gd name="connsiteX1324" fmla="*/ 8351 w 2663946"/>
                <a:gd name="connsiteY1324" fmla="*/ 134162 h 410520"/>
                <a:gd name="connsiteX1325" fmla="*/ 33147 w 2663946"/>
                <a:gd name="connsiteY1325" fmla="*/ 113953 h 410520"/>
                <a:gd name="connsiteX1326" fmla="*/ 2537931 w 2663946"/>
                <a:gd name="connsiteY1326" fmla="*/ 106365 h 410520"/>
                <a:gd name="connsiteX1327" fmla="*/ 2562727 w 2663946"/>
                <a:gd name="connsiteY1327" fmla="*/ 126574 h 410520"/>
                <a:gd name="connsiteX1328" fmla="*/ 2563206 w 2663946"/>
                <a:gd name="connsiteY1328" fmla="*/ 131332 h 410520"/>
                <a:gd name="connsiteX1329" fmla="*/ 2564625 w 2663946"/>
                <a:gd name="connsiteY1329" fmla="*/ 131332 h 410520"/>
                <a:gd name="connsiteX1330" fmla="*/ 2571078 w 2663946"/>
                <a:gd name="connsiteY1330" fmla="*/ 137618 h 410520"/>
                <a:gd name="connsiteX1331" fmla="*/ 2571078 w 2663946"/>
                <a:gd name="connsiteY1331" fmla="*/ 187340 h 410520"/>
                <a:gd name="connsiteX1332" fmla="*/ 2564625 w 2663946"/>
                <a:gd name="connsiteY1332" fmla="*/ 193626 h 410520"/>
                <a:gd name="connsiteX1333" fmla="*/ 2511238 w 2663946"/>
                <a:gd name="connsiteY1333" fmla="*/ 193626 h 410520"/>
                <a:gd name="connsiteX1334" fmla="*/ 2504784 w 2663946"/>
                <a:gd name="connsiteY1334" fmla="*/ 187340 h 410520"/>
                <a:gd name="connsiteX1335" fmla="*/ 2504784 w 2663946"/>
                <a:gd name="connsiteY1335" fmla="*/ 137618 h 410520"/>
                <a:gd name="connsiteX1336" fmla="*/ 2511238 w 2663946"/>
                <a:gd name="connsiteY1336" fmla="*/ 131332 h 410520"/>
                <a:gd name="connsiteX1337" fmla="*/ 2512072 w 2663946"/>
                <a:gd name="connsiteY1337" fmla="*/ 131332 h 410520"/>
                <a:gd name="connsiteX1338" fmla="*/ 2512656 w 2663946"/>
                <a:gd name="connsiteY1338" fmla="*/ 131332 h 410520"/>
                <a:gd name="connsiteX1339" fmla="*/ 2513136 w 2663946"/>
                <a:gd name="connsiteY1339" fmla="*/ 126574 h 410520"/>
                <a:gd name="connsiteX1340" fmla="*/ 2537931 w 2663946"/>
                <a:gd name="connsiteY1340" fmla="*/ 106365 h 410520"/>
                <a:gd name="connsiteX1341" fmla="*/ 2112934 w 2663946"/>
                <a:gd name="connsiteY1341" fmla="*/ 106365 h 410520"/>
                <a:gd name="connsiteX1342" fmla="*/ 2137730 w 2663946"/>
                <a:gd name="connsiteY1342" fmla="*/ 126574 h 410520"/>
                <a:gd name="connsiteX1343" fmla="*/ 2138209 w 2663946"/>
                <a:gd name="connsiteY1343" fmla="*/ 131332 h 410520"/>
                <a:gd name="connsiteX1344" fmla="*/ 2139628 w 2663946"/>
                <a:gd name="connsiteY1344" fmla="*/ 131332 h 410520"/>
                <a:gd name="connsiteX1345" fmla="*/ 2146081 w 2663946"/>
                <a:gd name="connsiteY1345" fmla="*/ 137618 h 410520"/>
                <a:gd name="connsiteX1346" fmla="*/ 2146081 w 2663946"/>
                <a:gd name="connsiteY1346" fmla="*/ 187340 h 410520"/>
                <a:gd name="connsiteX1347" fmla="*/ 2139628 w 2663946"/>
                <a:gd name="connsiteY1347" fmla="*/ 193626 h 410520"/>
                <a:gd name="connsiteX1348" fmla="*/ 2086241 w 2663946"/>
                <a:gd name="connsiteY1348" fmla="*/ 193626 h 410520"/>
                <a:gd name="connsiteX1349" fmla="*/ 2079787 w 2663946"/>
                <a:gd name="connsiteY1349" fmla="*/ 187340 h 410520"/>
                <a:gd name="connsiteX1350" fmla="*/ 2079787 w 2663946"/>
                <a:gd name="connsiteY1350" fmla="*/ 137618 h 410520"/>
                <a:gd name="connsiteX1351" fmla="*/ 2086241 w 2663946"/>
                <a:gd name="connsiteY1351" fmla="*/ 131332 h 410520"/>
                <a:gd name="connsiteX1352" fmla="*/ 2087075 w 2663946"/>
                <a:gd name="connsiteY1352" fmla="*/ 131332 h 410520"/>
                <a:gd name="connsiteX1353" fmla="*/ 2087659 w 2663946"/>
                <a:gd name="connsiteY1353" fmla="*/ 131332 h 410520"/>
                <a:gd name="connsiteX1354" fmla="*/ 2088139 w 2663946"/>
                <a:gd name="connsiteY1354" fmla="*/ 126574 h 410520"/>
                <a:gd name="connsiteX1355" fmla="*/ 2112934 w 2663946"/>
                <a:gd name="connsiteY1355" fmla="*/ 106365 h 410520"/>
                <a:gd name="connsiteX1356" fmla="*/ 1854966 w 2663946"/>
                <a:gd name="connsiteY1356" fmla="*/ 106365 h 410520"/>
                <a:gd name="connsiteX1357" fmla="*/ 1879762 w 2663946"/>
                <a:gd name="connsiteY1357" fmla="*/ 126574 h 410520"/>
                <a:gd name="connsiteX1358" fmla="*/ 1880241 w 2663946"/>
                <a:gd name="connsiteY1358" fmla="*/ 131332 h 410520"/>
                <a:gd name="connsiteX1359" fmla="*/ 1881660 w 2663946"/>
                <a:gd name="connsiteY1359" fmla="*/ 131332 h 410520"/>
                <a:gd name="connsiteX1360" fmla="*/ 1888113 w 2663946"/>
                <a:gd name="connsiteY1360" fmla="*/ 137618 h 410520"/>
                <a:gd name="connsiteX1361" fmla="*/ 1888113 w 2663946"/>
                <a:gd name="connsiteY1361" fmla="*/ 187340 h 410520"/>
                <a:gd name="connsiteX1362" fmla="*/ 1881660 w 2663946"/>
                <a:gd name="connsiteY1362" fmla="*/ 193626 h 410520"/>
                <a:gd name="connsiteX1363" fmla="*/ 1828273 w 2663946"/>
                <a:gd name="connsiteY1363" fmla="*/ 193626 h 410520"/>
                <a:gd name="connsiteX1364" fmla="*/ 1821819 w 2663946"/>
                <a:gd name="connsiteY1364" fmla="*/ 187340 h 410520"/>
                <a:gd name="connsiteX1365" fmla="*/ 1821819 w 2663946"/>
                <a:gd name="connsiteY1365" fmla="*/ 137618 h 410520"/>
                <a:gd name="connsiteX1366" fmla="*/ 1828273 w 2663946"/>
                <a:gd name="connsiteY1366" fmla="*/ 131332 h 410520"/>
                <a:gd name="connsiteX1367" fmla="*/ 1829107 w 2663946"/>
                <a:gd name="connsiteY1367" fmla="*/ 131332 h 410520"/>
                <a:gd name="connsiteX1368" fmla="*/ 1829691 w 2663946"/>
                <a:gd name="connsiteY1368" fmla="*/ 131332 h 410520"/>
                <a:gd name="connsiteX1369" fmla="*/ 1830171 w 2663946"/>
                <a:gd name="connsiteY1369" fmla="*/ 126574 h 410520"/>
                <a:gd name="connsiteX1370" fmla="*/ 1854966 w 2663946"/>
                <a:gd name="connsiteY1370" fmla="*/ 106365 h 410520"/>
                <a:gd name="connsiteX1371" fmla="*/ 1764027 w 2663946"/>
                <a:gd name="connsiteY1371" fmla="*/ 106365 h 410520"/>
                <a:gd name="connsiteX1372" fmla="*/ 1788823 w 2663946"/>
                <a:gd name="connsiteY1372" fmla="*/ 126574 h 410520"/>
                <a:gd name="connsiteX1373" fmla="*/ 1789302 w 2663946"/>
                <a:gd name="connsiteY1373" fmla="*/ 131332 h 410520"/>
                <a:gd name="connsiteX1374" fmla="*/ 1790721 w 2663946"/>
                <a:gd name="connsiteY1374" fmla="*/ 131332 h 410520"/>
                <a:gd name="connsiteX1375" fmla="*/ 1797174 w 2663946"/>
                <a:gd name="connsiteY1375" fmla="*/ 137618 h 410520"/>
                <a:gd name="connsiteX1376" fmla="*/ 1797174 w 2663946"/>
                <a:gd name="connsiteY1376" fmla="*/ 187340 h 410520"/>
                <a:gd name="connsiteX1377" fmla="*/ 1790721 w 2663946"/>
                <a:gd name="connsiteY1377" fmla="*/ 193626 h 410520"/>
                <a:gd name="connsiteX1378" fmla="*/ 1737333 w 2663946"/>
                <a:gd name="connsiteY1378" fmla="*/ 193626 h 410520"/>
                <a:gd name="connsiteX1379" fmla="*/ 1730880 w 2663946"/>
                <a:gd name="connsiteY1379" fmla="*/ 187340 h 410520"/>
                <a:gd name="connsiteX1380" fmla="*/ 1730880 w 2663946"/>
                <a:gd name="connsiteY1380" fmla="*/ 137618 h 410520"/>
                <a:gd name="connsiteX1381" fmla="*/ 1737333 w 2663946"/>
                <a:gd name="connsiteY1381" fmla="*/ 131332 h 410520"/>
                <a:gd name="connsiteX1382" fmla="*/ 1738168 w 2663946"/>
                <a:gd name="connsiteY1382" fmla="*/ 131332 h 410520"/>
                <a:gd name="connsiteX1383" fmla="*/ 1738752 w 2663946"/>
                <a:gd name="connsiteY1383" fmla="*/ 131332 h 410520"/>
                <a:gd name="connsiteX1384" fmla="*/ 1739232 w 2663946"/>
                <a:gd name="connsiteY1384" fmla="*/ 126574 h 410520"/>
                <a:gd name="connsiteX1385" fmla="*/ 1764027 w 2663946"/>
                <a:gd name="connsiteY1385" fmla="*/ 106365 h 410520"/>
                <a:gd name="connsiteX1386" fmla="*/ 1506059 w 2663946"/>
                <a:gd name="connsiteY1386" fmla="*/ 106365 h 410520"/>
                <a:gd name="connsiteX1387" fmla="*/ 1530855 w 2663946"/>
                <a:gd name="connsiteY1387" fmla="*/ 126574 h 410520"/>
                <a:gd name="connsiteX1388" fmla="*/ 1531334 w 2663946"/>
                <a:gd name="connsiteY1388" fmla="*/ 131332 h 410520"/>
                <a:gd name="connsiteX1389" fmla="*/ 1532753 w 2663946"/>
                <a:gd name="connsiteY1389" fmla="*/ 131332 h 410520"/>
                <a:gd name="connsiteX1390" fmla="*/ 1539206 w 2663946"/>
                <a:gd name="connsiteY1390" fmla="*/ 137618 h 410520"/>
                <a:gd name="connsiteX1391" fmla="*/ 1539206 w 2663946"/>
                <a:gd name="connsiteY1391" fmla="*/ 187340 h 410520"/>
                <a:gd name="connsiteX1392" fmla="*/ 1532753 w 2663946"/>
                <a:gd name="connsiteY1392" fmla="*/ 193626 h 410520"/>
                <a:gd name="connsiteX1393" fmla="*/ 1479365 w 2663946"/>
                <a:gd name="connsiteY1393" fmla="*/ 193626 h 410520"/>
                <a:gd name="connsiteX1394" fmla="*/ 1472912 w 2663946"/>
                <a:gd name="connsiteY1394" fmla="*/ 187340 h 410520"/>
                <a:gd name="connsiteX1395" fmla="*/ 1472912 w 2663946"/>
                <a:gd name="connsiteY1395" fmla="*/ 137618 h 410520"/>
                <a:gd name="connsiteX1396" fmla="*/ 1479365 w 2663946"/>
                <a:gd name="connsiteY1396" fmla="*/ 131332 h 410520"/>
                <a:gd name="connsiteX1397" fmla="*/ 1480200 w 2663946"/>
                <a:gd name="connsiteY1397" fmla="*/ 131332 h 410520"/>
                <a:gd name="connsiteX1398" fmla="*/ 1480784 w 2663946"/>
                <a:gd name="connsiteY1398" fmla="*/ 131332 h 410520"/>
                <a:gd name="connsiteX1399" fmla="*/ 1481264 w 2663946"/>
                <a:gd name="connsiteY1399" fmla="*/ 126574 h 410520"/>
                <a:gd name="connsiteX1400" fmla="*/ 1506059 w 2663946"/>
                <a:gd name="connsiteY1400" fmla="*/ 106365 h 410520"/>
                <a:gd name="connsiteX1401" fmla="*/ 1415120 w 2663946"/>
                <a:gd name="connsiteY1401" fmla="*/ 106365 h 410520"/>
                <a:gd name="connsiteX1402" fmla="*/ 1439916 w 2663946"/>
                <a:gd name="connsiteY1402" fmla="*/ 126574 h 410520"/>
                <a:gd name="connsiteX1403" fmla="*/ 1440395 w 2663946"/>
                <a:gd name="connsiteY1403" fmla="*/ 131332 h 410520"/>
                <a:gd name="connsiteX1404" fmla="*/ 1441814 w 2663946"/>
                <a:gd name="connsiteY1404" fmla="*/ 131332 h 410520"/>
                <a:gd name="connsiteX1405" fmla="*/ 1448267 w 2663946"/>
                <a:gd name="connsiteY1405" fmla="*/ 137618 h 410520"/>
                <a:gd name="connsiteX1406" fmla="*/ 1448267 w 2663946"/>
                <a:gd name="connsiteY1406" fmla="*/ 187340 h 410520"/>
                <a:gd name="connsiteX1407" fmla="*/ 1441814 w 2663946"/>
                <a:gd name="connsiteY1407" fmla="*/ 193626 h 410520"/>
                <a:gd name="connsiteX1408" fmla="*/ 1388426 w 2663946"/>
                <a:gd name="connsiteY1408" fmla="*/ 193626 h 410520"/>
                <a:gd name="connsiteX1409" fmla="*/ 1381973 w 2663946"/>
                <a:gd name="connsiteY1409" fmla="*/ 187340 h 410520"/>
                <a:gd name="connsiteX1410" fmla="*/ 1381973 w 2663946"/>
                <a:gd name="connsiteY1410" fmla="*/ 137618 h 410520"/>
                <a:gd name="connsiteX1411" fmla="*/ 1388426 w 2663946"/>
                <a:gd name="connsiteY1411" fmla="*/ 131332 h 410520"/>
                <a:gd name="connsiteX1412" fmla="*/ 1389261 w 2663946"/>
                <a:gd name="connsiteY1412" fmla="*/ 131332 h 410520"/>
                <a:gd name="connsiteX1413" fmla="*/ 1389845 w 2663946"/>
                <a:gd name="connsiteY1413" fmla="*/ 131332 h 410520"/>
                <a:gd name="connsiteX1414" fmla="*/ 1390325 w 2663946"/>
                <a:gd name="connsiteY1414" fmla="*/ 126574 h 410520"/>
                <a:gd name="connsiteX1415" fmla="*/ 1415120 w 2663946"/>
                <a:gd name="connsiteY1415" fmla="*/ 106365 h 410520"/>
                <a:gd name="connsiteX1416" fmla="*/ 1157152 w 2663946"/>
                <a:gd name="connsiteY1416" fmla="*/ 106365 h 410520"/>
                <a:gd name="connsiteX1417" fmla="*/ 1181948 w 2663946"/>
                <a:gd name="connsiteY1417" fmla="*/ 126574 h 410520"/>
                <a:gd name="connsiteX1418" fmla="*/ 1182427 w 2663946"/>
                <a:gd name="connsiteY1418" fmla="*/ 131332 h 410520"/>
                <a:gd name="connsiteX1419" fmla="*/ 1183846 w 2663946"/>
                <a:gd name="connsiteY1419" fmla="*/ 131332 h 410520"/>
                <a:gd name="connsiteX1420" fmla="*/ 1190299 w 2663946"/>
                <a:gd name="connsiteY1420" fmla="*/ 137618 h 410520"/>
                <a:gd name="connsiteX1421" fmla="*/ 1190299 w 2663946"/>
                <a:gd name="connsiteY1421" fmla="*/ 187340 h 410520"/>
                <a:gd name="connsiteX1422" fmla="*/ 1183846 w 2663946"/>
                <a:gd name="connsiteY1422" fmla="*/ 193626 h 410520"/>
                <a:gd name="connsiteX1423" fmla="*/ 1130458 w 2663946"/>
                <a:gd name="connsiteY1423" fmla="*/ 193626 h 410520"/>
                <a:gd name="connsiteX1424" fmla="*/ 1124005 w 2663946"/>
                <a:gd name="connsiteY1424" fmla="*/ 187340 h 410520"/>
                <a:gd name="connsiteX1425" fmla="*/ 1124005 w 2663946"/>
                <a:gd name="connsiteY1425" fmla="*/ 137618 h 410520"/>
                <a:gd name="connsiteX1426" fmla="*/ 1130458 w 2663946"/>
                <a:gd name="connsiteY1426" fmla="*/ 131332 h 410520"/>
                <a:gd name="connsiteX1427" fmla="*/ 1131293 w 2663946"/>
                <a:gd name="connsiteY1427" fmla="*/ 131332 h 410520"/>
                <a:gd name="connsiteX1428" fmla="*/ 1131877 w 2663946"/>
                <a:gd name="connsiteY1428" fmla="*/ 131332 h 410520"/>
                <a:gd name="connsiteX1429" fmla="*/ 1132357 w 2663946"/>
                <a:gd name="connsiteY1429" fmla="*/ 126574 h 410520"/>
                <a:gd name="connsiteX1430" fmla="*/ 1157152 w 2663946"/>
                <a:gd name="connsiteY1430" fmla="*/ 106365 h 410520"/>
                <a:gd name="connsiteX1431" fmla="*/ 732156 w 2663946"/>
                <a:gd name="connsiteY1431" fmla="*/ 106365 h 410520"/>
                <a:gd name="connsiteX1432" fmla="*/ 756951 w 2663946"/>
                <a:gd name="connsiteY1432" fmla="*/ 126574 h 410520"/>
                <a:gd name="connsiteX1433" fmla="*/ 757431 w 2663946"/>
                <a:gd name="connsiteY1433" fmla="*/ 131332 h 410520"/>
                <a:gd name="connsiteX1434" fmla="*/ 758849 w 2663946"/>
                <a:gd name="connsiteY1434" fmla="*/ 131332 h 410520"/>
                <a:gd name="connsiteX1435" fmla="*/ 765303 w 2663946"/>
                <a:gd name="connsiteY1435" fmla="*/ 137618 h 410520"/>
                <a:gd name="connsiteX1436" fmla="*/ 765303 w 2663946"/>
                <a:gd name="connsiteY1436" fmla="*/ 187340 h 410520"/>
                <a:gd name="connsiteX1437" fmla="*/ 758849 w 2663946"/>
                <a:gd name="connsiteY1437" fmla="*/ 193626 h 410520"/>
                <a:gd name="connsiteX1438" fmla="*/ 705462 w 2663946"/>
                <a:gd name="connsiteY1438" fmla="*/ 193626 h 410520"/>
                <a:gd name="connsiteX1439" fmla="*/ 699009 w 2663946"/>
                <a:gd name="connsiteY1439" fmla="*/ 187340 h 410520"/>
                <a:gd name="connsiteX1440" fmla="*/ 699009 w 2663946"/>
                <a:gd name="connsiteY1440" fmla="*/ 137618 h 410520"/>
                <a:gd name="connsiteX1441" fmla="*/ 705462 w 2663946"/>
                <a:gd name="connsiteY1441" fmla="*/ 131332 h 410520"/>
                <a:gd name="connsiteX1442" fmla="*/ 706296 w 2663946"/>
                <a:gd name="connsiteY1442" fmla="*/ 131332 h 410520"/>
                <a:gd name="connsiteX1443" fmla="*/ 706881 w 2663946"/>
                <a:gd name="connsiteY1443" fmla="*/ 131332 h 410520"/>
                <a:gd name="connsiteX1444" fmla="*/ 707360 w 2663946"/>
                <a:gd name="connsiteY1444" fmla="*/ 126574 h 410520"/>
                <a:gd name="connsiteX1445" fmla="*/ 732156 w 2663946"/>
                <a:gd name="connsiteY1445" fmla="*/ 106365 h 410520"/>
                <a:gd name="connsiteX1446" fmla="*/ 641217 w 2663946"/>
                <a:gd name="connsiteY1446" fmla="*/ 106365 h 410520"/>
                <a:gd name="connsiteX1447" fmla="*/ 666012 w 2663946"/>
                <a:gd name="connsiteY1447" fmla="*/ 126574 h 410520"/>
                <a:gd name="connsiteX1448" fmla="*/ 666492 w 2663946"/>
                <a:gd name="connsiteY1448" fmla="*/ 131332 h 410520"/>
                <a:gd name="connsiteX1449" fmla="*/ 667910 w 2663946"/>
                <a:gd name="connsiteY1449" fmla="*/ 131332 h 410520"/>
                <a:gd name="connsiteX1450" fmla="*/ 674364 w 2663946"/>
                <a:gd name="connsiteY1450" fmla="*/ 137618 h 410520"/>
                <a:gd name="connsiteX1451" fmla="*/ 674364 w 2663946"/>
                <a:gd name="connsiteY1451" fmla="*/ 187340 h 410520"/>
                <a:gd name="connsiteX1452" fmla="*/ 667910 w 2663946"/>
                <a:gd name="connsiteY1452" fmla="*/ 193626 h 410520"/>
                <a:gd name="connsiteX1453" fmla="*/ 614523 w 2663946"/>
                <a:gd name="connsiteY1453" fmla="*/ 193626 h 410520"/>
                <a:gd name="connsiteX1454" fmla="*/ 608070 w 2663946"/>
                <a:gd name="connsiteY1454" fmla="*/ 187340 h 410520"/>
                <a:gd name="connsiteX1455" fmla="*/ 608070 w 2663946"/>
                <a:gd name="connsiteY1455" fmla="*/ 137618 h 410520"/>
                <a:gd name="connsiteX1456" fmla="*/ 614523 w 2663946"/>
                <a:gd name="connsiteY1456" fmla="*/ 131332 h 410520"/>
                <a:gd name="connsiteX1457" fmla="*/ 615358 w 2663946"/>
                <a:gd name="connsiteY1457" fmla="*/ 131332 h 410520"/>
                <a:gd name="connsiteX1458" fmla="*/ 615942 w 2663946"/>
                <a:gd name="connsiteY1458" fmla="*/ 131332 h 410520"/>
                <a:gd name="connsiteX1459" fmla="*/ 616422 w 2663946"/>
                <a:gd name="connsiteY1459" fmla="*/ 126574 h 410520"/>
                <a:gd name="connsiteX1460" fmla="*/ 641217 w 2663946"/>
                <a:gd name="connsiteY1460" fmla="*/ 106365 h 410520"/>
                <a:gd name="connsiteX1461" fmla="*/ 459266 w 2663946"/>
                <a:gd name="connsiteY1461" fmla="*/ 106365 h 410520"/>
                <a:gd name="connsiteX1462" fmla="*/ 484061 w 2663946"/>
                <a:gd name="connsiteY1462" fmla="*/ 126574 h 410520"/>
                <a:gd name="connsiteX1463" fmla="*/ 484541 w 2663946"/>
                <a:gd name="connsiteY1463" fmla="*/ 131332 h 410520"/>
                <a:gd name="connsiteX1464" fmla="*/ 485959 w 2663946"/>
                <a:gd name="connsiteY1464" fmla="*/ 131332 h 410520"/>
                <a:gd name="connsiteX1465" fmla="*/ 492413 w 2663946"/>
                <a:gd name="connsiteY1465" fmla="*/ 137618 h 410520"/>
                <a:gd name="connsiteX1466" fmla="*/ 492413 w 2663946"/>
                <a:gd name="connsiteY1466" fmla="*/ 187340 h 410520"/>
                <a:gd name="connsiteX1467" fmla="*/ 485959 w 2663946"/>
                <a:gd name="connsiteY1467" fmla="*/ 193626 h 410520"/>
                <a:gd name="connsiteX1468" fmla="*/ 432572 w 2663946"/>
                <a:gd name="connsiteY1468" fmla="*/ 193626 h 410520"/>
                <a:gd name="connsiteX1469" fmla="*/ 426119 w 2663946"/>
                <a:gd name="connsiteY1469" fmla="*/ 187340 h 410520"/>
                <a:gd name="connsiteX1470" fmla="*/ 426119 w 2663946"/>
                <a:gd name="connsiteY1470" fmla="*/ 137618 h 410520"/>
                <a:gd name="connsiteX1471" fmla="*/ 432572 w 2663946"/>
                <a:gd name="connsiteY1471" fmla="*/ 131332 h 410520"/>
                <a:gd name="connsiteX1472" fmla="*/ 433406 w 2663946"/>
                <a:gd name="connsiteY1472" fmla="*/ 131332 h 410520"/>
                <a:gd name="connsiteX1473" fmla="*/ 433991 w 2663946"/>
                <a:gd name="connsiteY1473" fmla="*/ 131332 h 410520"/>
                <a:gd name="connsiteX1474" fmla="*/ 434470 w 2663946"/>
                <a:gd name="connsiteY1474" fmla="*/ 126574 h 410520"/>
                <a:gd name="connsiteX1475" fmla="*/ 459266 w 2663946"/>
                <a:gd name="connsiteY1475" fmla="*/ 106365 h 410520"/>
                <a:gd name="connsiteX1476" fmla="*/ 17638 w 2663946"/>
                <a:gd name="connsiteY1476" fmla="*/ 15682 h 410520"/>
                <a:gd name="connsiteX1477" fmla="*/ 33591 w 2663946"/>
                <a:gd name="connsiteY1477" fmla="*/ 0 h 410520"/>
                <a:gd name="connsiteX1478" fmla="*/ 38187 w 2663946"/>
                <a:gd name="connsiteY1478" fmla="*/ 2434 h 410520"/>
                <a:gd name="connsiteX1479" fmla="*/ 40350 w 2663946"/>
                <a:gd name="connsiteY1479" fmla="*/ 8652 h 410520"/>
                <a:gd name="connsiteX1480" fmla="*/ 40350 w 2663946"/>
                <a:gd name="connsiteY1480" fmla="*/ 9193 h 410520"/>
                <a:gd name="connsiteX1481" fmla="*/ 40350 w 2663946"/>
                <a:gd name="connsiteY1481" fmla="*/ 62188 h 410520"/>
                <a:gd name="connsiteX1482" fmla="*/ 40891 w 2663946"/>
                <a:gd name="connsiteY1482" fmla="*/ 62728 h 410520"/>
                <a:gd name="connsiteX1483" fmla="*/ 48191 w 2663946"/>
                <a:gd name="connsiteY1483" fmla="*/ 62728 h 410520"/>
                <a:gd name="connsiteX1484" fmla="*/ 52247 w 2663946"/>
                <a:gd name="connsiteY1484" fmla="*/ 63810 h 410520"/>
                <a:gd name="connsiteX1485" fmla="*/ 56032 w 2663946"/>
                <a:gd name="connsiteY1485" fmla="*/ 70569 h 410520"/>
                <a:gd name="connsiteX1486" fmla="*/ 53328 w 2663946"/>
                <a:gd name="connsiteY1486" fmla="*/ 76247 h 410520"/>
                <a:gd name="connsiteX1487" fmla="*/ 49273 w 2663946"/>
                <a:gd name="connsiteY1487" fmla="*/ 78140 h 410520"/>
                <a:gd name="connsiteX1488" fmla="*/ 49002 w 2663946"/>
                <a:gd name="connsiteY1488" fmla="*/ 78140 h 410520"/>
                <a:gd name="connsiteX1489" fmla="*/ 48732 w 2663946"/>
                <a:gd name="connsiteY1489" fmla="*/ 78140 h 410520"/>
                <a:gd name="connsiteX1490" fmla="*/ 48191 w 2663946"/>
                <a:gd name="connsiteY1490" fmla="*/ 78140 h 410520"/>
                <a:gd name="connsiteX1491" fmla="*/ 16016 w 2663946"/>
                <a:gd name="connsiteY1491" fmla="*/ 78140 h 410520"/>
                <a:gd name="connsiteX1492" fmla="*/ 15475 w 2663946"/>
                <a:gd name="connsiteY1492" fmla="*/ 78140 h 410520"/>
                <a:gd name="connsiteX1493" fmla="*/ 14664 w 2663946"/>
                <a:gd name="connsiteY1493" fmla="*/ 78140 h 410520"/>
                <a:gd name="connsiteX1494" fmla="*/ 13853 w 2663946"/>
                <a:gd name="connsiteY1494" fmla="*/ 77870 h 410520"/>
                <a:gd name="connsiteX1495" fmla="*/ 10338 w 2663946"/>
                <a:gd name="connsiteY1495" fmla="*/ 75977 h 410520"/>
                <a:gd name="connsiteX1496" fmla="*/ 7905 w 2663946"/>
                <a:gd name="connsiteY1496" fmla="*/ 70299 h 410520"/>
                <a:gd name="connsiteX1497" fmla="*/ 10068 w 2663946"/>
                <a:gd name="connsiteY1497" fmla="*/ 65162 h 410520"/>
                <a:gd name="connsiteX1498" fmla="*/ 15746 w 2663946"/>
                <a:gd name="connsiteY1498" fmla="*/ 62728 h 410520"/>
                <a:gd name="connsiteX1499" fmla="*/ 23587 w 2663946"/>
                <a:gd name="connsiteY1499" fmla="*/ 62728 h 410520"/>
                <a:gd name="connsiteX1500" fmla="*/ 24128 w 2663946"/>
                <a:gd name="connsiteY1500" fmla="*/ 62188 h 410520"/>
                <a:gd name="connsiteX1501" fmla="*/ 24128 w 2663946"/>
                <a:gd name="connsiteY1501" fmla="*/ 16223 h 410520"/>
                <a:gd name="connsiteX1502" fmla="*/ 23587 w 2663946"/>
                <a:gd name="connsiteY1502" fmla="*/ 15682 h 410520"/>
                <a:gd name="connsiteX1503" fmla="*/ 17638 w 2663946"/>
                <a:gd name="connsiteY1503" fmla="*/ 15682 h 410520"/>
                <a:gd name="connsiteX0" fmla="*/ 2632966 w 2663946"/>
                <a:gd name="connsiteY0" fmla="*/ 349414 h 410520"/>
                <a:gd name="connsiteX1" fmla="*/ 2621414 w 2663946"/>
                <a:gd name="connsiteY1" fmla="*/ 351847 h 410520"/>
                <a:gd name="connsiteX2" fmla="*/ 2618218 w 2663946"/>
                <a:gd name="connsiteY2" fmla="*/ 355362 h 410520"/>
                <a:gd name="connsiteX3" fmla="*/ 2616006 w 2663946"/>
                <a:gd name="connsiteY3" fmla="*/ 359147 h 410520"/>
                <a:gd name="connsiteX4" fmla="*/ 2615023 w 2663946"/>
                <a:gd name="connsiteY4" fmla="*/ 361851 h 410520"/>
                <a:gd name="connsiteX5" fmla="*/ 2614039 w 2663946"/>
                <a:gd name="connsiteY5" fmla="*/ 365907 h 410520"/>
                <a:gd name="connsiteX6" fmla="*/ 2613056 w 2663946"/>
                <a:gd name="connsiteY6" fmla="*/ 372937 h 410520"/>
                <a:gd name="connsiteX7" fmla="*/ 2614039 w 2663946"/>
                <a:gd name="connsiteY7" fmla="*/ 380237 h 410520"/>
                <a:gd name="connsiteX8" fmla="*/ 2615269 w 2663946"/>
                <a:gd name="connsiteY8" fmla="*/ 384022 h 410520"/>
                <a:gd name="connsiteX9" fmla="*/ 2617481 w 2663946"/>
                <a:gd name="connsiteY9" fmla="*/ 388348 h 410520"/>
                <a:gd name="connsiteX10" fmla="*/ 2620922 w 2663946"/>
                <a:gd name="connsiteY10" fmla="*/ 392675 h 410520"/>
                <a:gd name="connsiteX11" fmla="*/ 2625346 w 2663946"/>
                <a:gd name="connsiteY11" fmla="*/ 395378 h 410520"/>
                <a:gd name="connsiteX12" fmla="*/ 2637637 w 2663946"/>
                <a:gd name="connsiteY12" fmla="*/ 392945 h 410520"/>
                <a:gd name="connsiteX13" fmla="*/ 2640832 w 2663946"/>
                <a:gd name="connsiteY13" fmla="*/ 389430 h 410520"/>
                <a:gd name="connsiteX14" fmla="*/ 2643290 w 2663946"/>
                <a:gd name="connsiteY14" fmla="*/ 385104 h 410520"/>
                <a:gd name="connsiteX15" fmla="*/ 2644273 w 2663946"/>
                <a:gd name="connsiteY15" fmla="*/ 382941 h 410520"/>
                <a:gd name="connsiteX16" fmla="*/ 2645502 w 2663946"/>
                <a:gd name="connsiteY16" fmla="*/ 378615 h 410520"/>
                <a:gd name="connsiteX17" fmla="*/ 2645011 w 2663946"/>
                <a:gd name="connsiteY17" fmla="*/ 364825 h 410520"/>
                <a:gd name="connsiteX18" fmla="*/ 2644027 w 2663946"/>
                <a:gd name="connsiteY18" fmla="*/ 361851 h 410520"/>
                <a:gd name="connsiteX19" fmla="*/ 2642799 w 2663946"/>
                <a:gd name="connsiteY19" fmla="*/ 358877 h 410520"/>
                <a:gd name="connsiteX20" fmla="*/ 2640586 w 2663946"/>
                <a:gd name="connsiteY20" fmla="*/ 355362 h 410520"/>
                <a:gd name="connsiteX21" fmla="*/ 2636899 w 2663946"/>
                <a:gd name="connsiteY21" fmla="*/ 351577 h 410520"/>
                <a:gd name="connsiteX22" fmla="*/ 2632966 w 2663946"/>
                <a:gd name="connsiteY22" fmla="*/ 349414 h 410520"/>
                <a:gd name="connsiteX23" fmla="*/ 2627559 w 2663946"/>
                <a:gd name="connsiteY23" fmla="*/ 333461 h 410520"/>
                <a:gd name="connsiteX24" fmla="*/ 2639849 w 2663946"/>
                <a:gd name="connsiteY24" fmla="*/ 335624 h 410520"/>
                <a:gd name="connsiteX25" fmla="*/ 2647223 w 2663946"/>
                <a:gd name="connsiteY25" fmla="*/ 340221 h 410520"/>
                <a:gd name="connsiteX26" fmla="*/ 2650664 w 2663946"/>
                <a:gd name="connsiteY26" fmla="*/ 343465 h 410520"/>
                <a:gd name="connsiteX27" fmla="*/ 2654106 w 2663946"/>
                <a:gd name="connsiteY27" fmla="*/ 347791 h 410520"/>
                <a:gd name="connsiteX28" fmla="*/ 2656072 w 2663946"/>
                <a:gd name="connsiteY28" fmla="*/ 351306 h 410520"/>
                <a:gd name="connsiteX29" fmla="*/ 2658284 w 2663946"/>
                <a:gd name="connsiteY29" fmla="*/ 356714 h 410520"/>
                <a:gd name="connsiteX30" fmla="*/ 2659267 w 2663946"/>
                <a:gd name="connsiteY30" fmla="*/ 360229 h 410520"/>
                <a:gd name="connsiteX31" fmla="*/ 2660251 w 2663946"/>
                <a:gd name="connsiteY31" fmla="*/ 365366 h 410520"/>
                <a:gd name="connsiteX32" fmla="*/ 2660005 w 2663946"/>
                <a:gd name="connsiteY32" fmla="*/ 379696 h 410520"/>
                <a:gd name="connsiteX33" fmla="*/ 2659022 w 2663946"/>
                <a:gd name="connsiteY33" fmla="*/ 384563 h 410520"/>
                <a:gd name="connsiteX34" fmla="*/ 2657792 w 2663946"/>
                <a:gd name="connsiteY34" fmla="*/ 388348 h 410520"/>
                <a:gd name="connsiteX35" fmla="*/ 2656809 w 2663946"/>
                <a:gd name="connsiteY35" fmla="*/ 390782 h 410520"/>
                <a:gd name="connsiteX36" fmla="*/ 2654597 w 2663946"/>
                <a:gd name="connsiteY36" fmla="*/ 395108 h 410520"/>
                <a:gd name="connsiteX37" fmla="*/ 2652385 w 2663946"/>
                <a:gd name="connsiteY37" fmla="*/ 398352 h 410520"/>
                <a:gd name="connsiteX38" fmla="*/ 2648944 w 2663946"/>
                <a:gd name="connsiteY38" fmla="*/ 402138 h 410520"/>
                <a:gd name="connsiteX39" fmla="*/ 2645748 w 2663946"/>
                <a:gd name="connsiteY39" fmla="*/ 404841 h 410520"/>
                <a:gd name="connsiteX40" fmla="*/ 2640095 w 2663946"/>
                <a:gd name="connsiteY40" fmla="*/ 408086 h 410520"/>
                <a:gd name="connsiteX41" fmla="*/ 2632229 w 2663946"/>
                <a:gd name="connsiteY41" fmla="*/ 410249 h 410520"/>
                <a:gd name="connsiteX42" fmla="*/ 2631000 w 2663946"/>
                <a:gd name="connsiteY42" fmla="*/ 410520 h 410520"/>
                <a:gd name="connsiteX43" fmla="*/ 2626821 w 2663946"/>
                <a:gd name="connsiteY43" fmla="*/ 410520 h 410520"/>
                <a:gd name="connsiteX44" fmla="*/ 2626576 w 2663946"/>
                <a:gd name="connsiteY44" fmla="*/ 410520 h 410520"/>
                <a:gd name="connsiteX45" fmla="*/ 2613548 w 2663946"/>
                <a:gd name="connsiteY45" fmla="*/ 405653 h 410520"/>
                <a:gd name="connsiteX46" fmla="*/ 2608878 w 2663946"/>
                <a:gd name="connsiteY46" fmla="*/ 401597 h 410520"/>
                <a:gd name="connsiteX47" fmla="*/ 2605682 w 2663946"/>
                <a:gd name="connsiteY47" fmla="*/ 397812 h 410520"/>
                <a:gd name="connsiteX48" fmla="*/ 2603470 w 2663946"/>
                <a:gd name="connsiteY48" fmla="*/ 394297 h 410520"/>
                <a:gd name="connsiteX49" fmla="*/ 2601258 w 2663946"/>
                <a:gd name="connsiteY49" fmla="*/ 389971 h 410520"/>
                <a:gd name="connsiteX50" fmla="*/ 2600029 w 2663946"/>
                <a:gd name="connsiteY50" fmla="*/ 386996 h 410520"/>
                <a:gd name="connsiteX51" fmla="*/ 2599046 w 2663946"/>
                <a:gd name="connsiteY51" fmla="*/ 383752 h 410520"/>
                <a:gd name="connsiteX52" fmla="*/ 2597816 w 2663946"/>
                <a:gd name="connsiteY52" fmla="*/ 378074 h 410520"/>
                <a:gd name="connsiteX53" fmla="*/ 2597571 w 2663946"/>
                <a:gd name="connsiteY53" fmla="*/ 375100 h 410520"/>
                <a:gd name="connsiteX54" fmla="*/ 2597816 w 2663946"/>
                <a:gd name="connsiteY54" fmla="*/ 375370 h 410520"/>
                <a:gd name="connsiteX55" fmla="*/ 2597816 w 2663946"/>
                <a:gd name="connsiteY55" fmla="*/ 369692 h 410520"/>
                <a:gd name="connsiteX56" fmla="*/ 2597816 w 2663946"/>
                <a:gd name="connsiteY56" fmla="*/ 369422 h 410520"/>
                <a:gd name="connsiteX57" fmla="*/ 2598308 w 2663946"/>
                <a:gd name="connsiteY57" fmla="*/ 364825 h 410520"/>
                <a:gd name="connsiteX58" fmla="*/ 2599537 w 2663946"/>
                <a:gd name="connsiteY58" fmla="*/ 359418 h 410520"/>
                <a:gd name="connsiteX59" fmla="*/ 2600520 w 2663946"/>
                <a:gd name="connsiteY59" fmla="*/ 356173 h 410520"/>
                <a:gd name="connsiteX60" fmla="*/ 2602732 w 2663946"/>
                <a:gd name="connsiteY60" fmla="*/ 351036 h 410520"/>
                <a:gd name="connsiteX61" fmla="*/ 2604945 w 2663946"/>
                <a:gd name="connsiteY61" fmla="*/ 347251 h 410520"/>
                <a:gd name="connsiteX62" fmla="*/ 2607157 w 2663946"/>
                <a:gd name="connsiteY62" fmla="*/ 344276 h 410520"/>
                <a:gd name="connsiteX63" fmla="*/ 2609369 w 2663946"/>
                <a:gd name="connsiteY63" fmla="*/ 341843 h 410520"/>
                <a:gd name="connsiteX64" fmla="*/ 2614039 w 2663946"/>
                <a:gd name="connsiteY64" fmla="*/ 338058 h 410520"/>
                <a:gd name="connsiteX65" fmla="*/ 2617972 w 2663946"/>
                <a:gd name="connsiteY65" fmla="*/ 335895 h 410520"/>
                <a:gd name="connsiteX66" fmla="*/ 2627559 w 2663946"/>
                <a:gd name="connsiteY66" fmla="*/ 333461 h 410520"/>
                <a:gd name="connsiteX67" fmla="*/ 2631061 w 2663946"/>
                <a:gd name="connsiteY67" fmla="*/ 269551 h 410520"/>
                <a:gd name="connsiteX68" fmla="*/ 2621591 w 2663946"/>
                <a:gd name="connsiteY68" fmla="*/ 278825 h 410520"/>
                <a:gd name="connsiteX69" fmla="*/ 2626545 w 2663946"/>
                <a:gd name="connsiteY69" fmla="*/ 286982 h 410520"/>
                <a:gd name="connsiteX70" fmla="*/ 2626545 w 2663946"/>
                <a:gd name="connsiteY70" fmla="*/ 295377 h 410520"/>
                <a:gd name="connsiteX71" fmla="*/ 2631061 w 2663946"/>
                <a:gd name="connsiteY71" fmla="*/ 299800 h 410520"/>
                <a:gd name="connsiteX72" fmla="*/ 2635578 w 2663946"/>
                <a:gd name="connsiteY72" fmla="*/ 295377 h 410520"/>
                <a:gd name="connsiteX73" fmla="*/ 2635578 w 2663946"/>
                <a:gd name="connsiteY73" fmla="*/ 286982 h 410520"/>
                <a:gd name="connsiteX74" fmla="*/ 2640532 w 2663946"/>
                <a:gd name="connsiteY74" fmla="*/ 278825 h 410520"/>
                <a:gd name="connsiteX75" fmla="*/ 2631061 w 2663946"/>
                <a:gd name="connsiteY75" fmla="*/ 269551 h 410520"/>
                <a:gd name="connsiteX76" fmla="*/ 2630799 w 2663946"/>
                <a:gd name="connsiteY76" fmla="*/ 230834 h 410520"/>
                <a:gd name="connsiteX77" fmla="*/ 2619139 w 2663946"/>
                <a:gd name="connsiteY77" fmla="*/ 238563 h 410520"/>
                <a:gd name="connsiteX78" fmla="*/ 2618214 w 2663946"/>
                <a:gd name="connsiteY78" fmla="*/ 243146 h 410520"/>
                <a:gd name="connsiteX79" fmla="*/ 2621454 w 2663946"/>
                <a:gd name="connsiteY79" fmla="*/ 243146 h 410520"/>
                <a:gd name="connsiteX80" fmla="*/ 2639871 w 2663946"/>
                <a:gd name="connsiteY80" fmla="*/ 243146 h 410520"/>
                <a:gd name="connsiteX81" fmla="*/ 2643385 w 2663946"/>
                <a:gd name="connsiteY81" fmla="*/ 243146 h 410520"/>
                <a:gd name="connsiteX82" fmla="*/ 2642460 w 2663946"/>
                <a:gd name="connsiteY82" fmla="*/ 238563 h 410520"/>
                <a:gd name="connsiteX83" fmla="*/ 2630799 w 2663946"/>
                <a:gd name="connsiteY83" fmla="*/ 230834 h 410520"/>
                <a:gd name="connsiteX84" fmla="*/ 2630799 w 2663946"/>
                <a:gd name="connsiteY84" fmla="*/ 218179 h 410520"/>
                <a:gd name="connsiteX85" fmla="*/ 2655595 w 2663946"/>
                <a:gd name="connsiteY85" fmla="*/ 238388 h 410520"/>
                <a:gd name="connsiteX86" fmla="*/ 2656074 w 2663946"/>
                <a:gd name="connsiteY86" fmla="*/ 243146 h 410520"/>
                <a:gd name="connsiteX87" fmla="*/ 2657493 w 2663946"/>
                <a:gd name="connsiteY87" fmla="*/ 243146 h 410520"/>
                <a:gd name="connsiteX88" fmla="*/ 2663946 w 2663946"/>
                <a:gd name="connsiteY88" fmla="*/ 249432 h 410520"/>
                <a:gd name="connsiteX89" fmla="*/ 2663946 w 2663946"/>
                <a:gd name="connsiteY89" fmla="*/ 299154 h 410520"/>
                <a:gd name="connsiteX90" fmla="*/ 2657493 w 2663946"/>
                <a:gd name="connsiteY90" fmla="*/ 305440 h 410520"/>
                <a:gd name="connsiteX91" fmla="*/ 2604106 w 2663946"/>
                <a:gd name="connsiteY91" fmla="*/ 305440 h 410520"/>
                <a:gd name="connsiteX92" fmla="*/ 2597652 w 2663946"/>
                <a:gd name="connsiteY92" fmla="*/ 299154 h 410520"/>
                <a:gd name="connsiteX93" fmla="*/ 2597652 w 2663946"/>
                <a:gd name="connsiteY93" fmla="*/ 249432 h 410520"/>
                <a:gd name="connsiteX94" fmla="*/ 2604106 w 2663946"/>
                <a:gd name="connsiteY94" fmla="*/ 243146 h 410520"/>
                <a:gd name="connsiteX95" fmla="*/ 2604940 w 2663946"/>
                <a:gd name="connsiteY95" fmla="*/ 243146 h 410520"/>
                <a:gd name="connsiteX96" fmla="*/ 2605524 w 2663946"/>
                <a:gd name="connsiteY96" fmla="*/ 243146 h 410520"/>
                <a:gd name="connsiteX97" fmla="*/ 2606004 w 2663946"/>
                <a:gd name="connsiteY97" fmla="*/ 238388 h 410520"/>
                <a:gd name="connsiteX98" fmla="*/ 2630799 w 2663946"/>
                <a:gd name="connsiteY98" fmla="*/ 218179 h 410520"/>
                <a:gd name="connsiteX99" fmla="*/ 33409 w 2663946"/>
                <a:gd name="connsiteY99" fmla="*/ 165325 h 410520"/>
                <a:gd name="connsiteX100" fmla="*/ 23938 w 2663946"/>
                <a:gd name="connsiteY100" fmla="*/ 174599 h 410520"/>
                <a:gd name="connsiteX101" fmla="*/ 28892 w 2663946"/>
                <a:gd name="connsiteY101" fmla="*/ 182756 h 410520"/>
                <a:gd name="connsiteX102" fmla="*/ 28892 w 2663946"/>
                <a:gd name="connsiteY102" fmla="*/ 191151 h 410520"/>
                <a:gd name="connsiteX103" fmla="*/ 33409 w 2663946"/>
                <a:gd name="connsiteY103" fmla="*/ 195574 h 410520"/>
                <a:gd name="connsiteX104" fmla="*/ 37926 w 2663946"/>
                <a:gd name="connsiteY104" fmla="*/ 191151 h 410520"/>
                <a:gd name="connsiteX105" fmla="*/ 37926 w 2663946"/>
                <a:gd name="connsiteY105" fmla="*/ 182756 h 410520"/>
                <a:gd name="connsiteX106" fmla="*/ 42880 w 2663946"/>
                <a:gd name="connsiteY106" fmla="*/ 174599 h 410520"/>
                <a:gd name="connsiteX107" fmla="*/ 33409 w 2663946"/>
                <a:gd name="connsiteY107" fmla="*/ 165325 h 410520"/>
                <a:gd name="connsiteX108" fmla="*/ 2538193 w 2663946"/>
                <a:gd name="connsiteY108" fmla="*/ 157737 h 410520"/>
                <a:gd name="connsiteX109" fmla="*/ 2528723 w 2663946"/>
                <a:gd name="connsiteY109" fmla="*/ 167011 h 410520"/>
                <a:gd name="connsiteX110" fmla="*/ 2533677 w 2663946"/>
                <a:gd name="connsiteY110" fmla="*/ 175168 h 410520"/>
                <a:gd name="connsiteX111" fmla="*/ 2533677 w 2663946"/>
                <a:gd name="connsiteY111" fmla="*/ 183563 h 410520"/>
                <a:gd name="connsiteX112" fmla="*/ 2538193 w 2663946"/>
                <a:gd name="connsiteY112" fmla="*/ 187986 h 410520"/>
                <a:gd name="connsiteX113" fmla="*/ 2542710 w 2663946"/>
                <a:gd name="connsiteY113" fmla="*/ 183563 h 410520"/>
                <a:gd name="connsiteX114" fmla="*/ 2542710 w 2663946"/>
                <a:gd name="connsiteY114" fmla="*/ 175168 h 410520"/>
                <a:gd name="connsiteX115" fmla="*/ 2547664 w 2663946"/>
                <a:gd name="connsiteY115" fmla="*/ 167011 h 410520"/>
                <a:gd name="connsiteX116" fmla="*/ 2538193 w 2663946"/>
                <a:gd name="connsiteY116" fmla="*/ 157737 h 410520"/>
                <a:gd name="connsiteX117" fmla="*/ 2113196 w 2663946"/>
                <a:gd name="connsiteY117" fmla="*/ 157737 h 410520"/>
                <a:gd name="connsiteX118" fmla="*/ 2103726 w 2663946"/>
                <a:gd name="connsiteY118" fmla="*/ 167011 h 410520"/>
                <a:gd name="connsiteX119" fmla="*/ 2108680 w 2663946"/>
                <a:gd name="connsiteY119" fmla="*/ 175168 h 410520"/>
                <a:gd name="connsiteX120" fmla="*/ 2108680 w 2663946"/>
                <a:gd name="connsiteY120" fmla="*/ 183563 h 410520"/>
                <a:gd name="connsiteX121" fmla="*/ 2113196 w 2663946"/>
                <a:gd name="connsiteY121" fmla="*/ 187986 h 410520"/>
                <a:gd name="connsiteX122" fmla="*/ 2117713 w 2663946"/>
                <a:gd name="connsiteY122" fmla="*/ 183563 h 410520"/>
                <a:gd name="connsiteX123" fmla="*/ 2117713 w 2663946"/>
                <a:gd name="connsiteY123" fmla="*/ 175168 h 410520"/>
                <a:gd name="connsiteX124" fmla="*/ 2122667 w 2663946"/>
                <a:gd name="connsiteY124" fmla="*/ 167011 h 410520"/>
                <a:gd name="connsiteX125" fmla="*/ 2113196 w 2663946"/>
                <a:gd name="connsiteY125" fmla="*/ 157737 h 410520"/>
                <a:gd name="connsiteX126" fmla="*/ 1855228 w 2663946"/>
                <a:gd name="connsiteY126" fmla="*/ 157737 h 410520"/>
                <a:gd name="connsiteX127" fmla="*/ 1845758 w 2663946"/>
                <a:gd name="connsiteY127" fmla="*/ 167011 h 410520"/>
                <a:gd name="connsiteX128" fmla="*/ 1850712 w 2663946"/>
                <a:gd name="connsiteY128" fmla="*/ 175168 h 410520"/>
                <a:gd name="connsiteX129" fmla="*/ 1850712 w 2663946"/>
                <a:gd name="connsiteY129" fmla="*/ 183563 h 410520"/>
                <a:gd name="connsiteX130" fmla="*/ 1855228 w 2663946"/>
                <a:gd name="connsiteY130" fmla="*/ 187986 h 410520"/>
                <a:gd name="connsiteX131" fmla="*/ 1859745 w 2663946"/>
                <a:gd name="connsiteY131" fmla="*/ 183563 h 410520"/>
                <a:gd name="connsiteX132" fmla="*/ 1859745 w 2663946"/>
                <a:gd name="connsiteY132" fmla="*/ 175168 h 410520"/>
                <a:gd name="connsiteX133" fmla="*/ 1864699 w 2663946"/>
                <a:gd name="connsiteY133" fmla="*/ 167011 h 410520"/>
                <a:gd name="connsiteX134" fmla="*/ 1855228 w 2663946"/>
                <a:gd name="connsiteY134" fmla="*/ 157737 h 410520"/>
                <a:gd name="connsiteX135" fmla="*/ 1764289 w 2663946"/>
                <a:gd name="connsiteY135" fmla="*/ 157737 h 410520"/>
                <a:gd name="connsiteX136" fmla="*/ 1754819 w 2663946"/>
                <a:gd name="connsiteY136" fmla="*/ 167011 h 410520"/>
                <a:gd name="connsiteX137" fmla="*/ 1759773 w 2663946"/>
                <a:gd name="connsiteY137" fmla="*/ 175168 h 410520"/>
                <a:gd name="connsiteX138" fmla="*/ 1759773 w 2663946"/>
                <a:gd name="connsiteY138" fmla="*/ 183563 h 410520"/>
                <a:gd name="connsiteX139" fmla="*/ 1764289 w 2663946"/>
                <a:gd name="connsiteY139" fmla="*/ 187986 h 410520"/>
                <a:gd name="connsiteX140" fmla="*/ 1768806 w 2663946"/>
                <a:gd name="connsiteY140" fmla="*/ 183563 h 410520"/>
                <a:gd name="connsiteX141" fmla="*/ 1768806 w 2663946"/>
                <a:gd name="connsiteY141" fmla="*/ 175168 h 410520"/>
                <a:gd name="connsiteX142" fmla="*/ 1773760 w 2663946"/>
                <a:gd name="connsiteY142" fmla="*/ 167011 h 410520"/>
                <a:gd name="connsiteX143" fmla="*/ 1764289 w 2663946"/>
                <a:gd name="connsiteY143" fmla="*/ 157737 h 410520"/>
                <a:gd name="connsiteX144" fmla="*/ 1506321 w 2663946"/>
                <a:gd name="connsiteY144" fmla="*/ 157737 h 410520"/>
                <a:gd name="connsiteX145" fmla="*/ 1496851 w 2663946"/>
                <a:gd name="connsiteY145" fmla="*/ 167011 h 410520"/>
                <a:gd name="connsiteX146" fmla="*/ 1501805 w 2663946"/>
                <a:gd name="connsiteY146" fmla="*/ 175168 h 410520"/>
                <a:gd name="connsiteX147" fmla="*/ 1501805 w 2663946"/>
                <a:gd name="connsiteY147" fmla="*/ 183563 h 410520"/>
                <a:gd name="connsiteX148" fmla="*/ 1506321 w 2663946"/>
                <a:gd name="connsiteY148" fmla="*/ 187986 h 410520"/>
                <a:gd name="connsiteX149" fmla="*/ 1510838 w 2663946"/>
                <a:gd name="connsiteY149" fmla="*/ 183563 h 410520"/>
                <a:gd name="connsiteX150" fmla="*/ 1510838 w 2663946"/>
                <a:gd name="connsiteY150" fmla="*/ 175168 h 410520"/>
                <a:gd name="connsiteX151" fmla="*/ 1515792 w 2663946"/>
                <a:gd name="connsiteY151" fmla="*/ 167011 h 410520"/>
                <a:gd name="connsiteX152" fmla="*/ 1506321 w 2663946"/>
                <a:gd name="connsiteY152" fmla="*/ 157737 h 410520"/>
                <a:gd name="connsiteX153" fmla="*/ 1415382 w 2663946"/>
                <a:gd name="connsiteY153" fmla="*/ 157737 h 410520"/>
                <a:gd name="connsiteX154" fmla="*/ 1405912 w 2663946"/>
                <a:gd name="connsiteY154" fmla="*/ 167011 h 410520"/>
                <a:gd name="connsiteX155" fmla="*/ 1410866 w 2663946"/>
                <a:gd name="connsiteY155" fmla="*/ 175168 h 410520"/>
                <a:gd name="connsiteX156" fmla="*/ 1410866 w 2663946"/>
                <a:gd name="connsiteY156" fmla="*/ 183563 h 410520"/>
                <a:gd name="connsiteX157" fmla="*/ 1415382 w 2663946"/>
                <a:gd name="connsiteY157" fmla="*/ 187986 h 410520"/>
                <a:gd name="connsiteX158" fmla="*/ 1419899 w 2663946"/>
                <a:gd name="connsiteY158" fmla="*/ 183563 h 410520"/>
                <a:gd name="connsiteX159" fmla="*/ 1419899 w 2663946"/>
                <a:gd name="connsiteY159" fmla="*/ 175168 h 410520"/>
                <a:gd name="connsiteX160" fmla="*/ 1424853 w 2663946"/>
                <a:gd name="connsiteY160" fmla="*/ 167011 h 410520"/>
                <a:gd name="connsiteX161" fmla="*/ 1415382 w 2663946"/>
                <a:gd name="connsiteY161" fmla="*/ 157737 h 410520"/>
                <a:gd name="connsiteX162" fmla="*/ 1157414 w 2663946"/>
                <a:gd name="connsiteY162" fmla="*/ 157737 h 410520"/>
                <a:gd name="connsiteX163" fmla="*/ 1147944 w 2663946"/>
                <a:gd name="connsiteY163" fmla="*/ 167011 h 410520"/>
                <a:gd name="connsiteX164" fmla="*/ 1152898 w 2663946"/>
                <a:gd name="connsiteY164" fmla="*/ 175168 h 410520"/>
                <a:gd name="connsiteX165" fmla="*/ 1152898 w 2663946"/>
                <a:gd name="connsiteY165" fmla="*/ 183563 h 410520"/>
                <a:gd name="connsiteX166" fmla="*/ 1157414 w 2663946"/>
                <a:gd name="connsiteY166" fmla="*/ 187986 h 410520"/>
                <a:gd name="connsiteX167" fmla="*/ 1161931 w 2663946"/>
                <a:gd name="connsiteY167" fmla="*/ 183563 h 410520"/>
                <a:gd name="connsiteX168" fmla="*/ 1161931 w 2663946"/>
                <a:gd name="connsiteY168" fmla="*/ 175168 h 410520"/>
                <a:gd name="connsiteX169" fmla="*/ 1166885 w 2663946"/>
                <a:gd name="connsiteY169" fmla="*/ 167011 h 410520"/>
                <a:gd name="connsiteX170" fmla="*/ 1157414 w 2663946"/>
                <a:gd name="connsiteY170" fmla="*/ 157737 h 410520"/>
                <a:gd name="connsiteX171" fmla="*/ 732418 w 2663946"/>
                <a:gd name="connsiteY171" fmla="*/ 157737 h 410520"/>
                <a:gd name="connsiteX172" fmla="*/ 722947 w 2663946"/>
                <a:gd name="connsiteY172" fmla="*/ 167011 h 410520"/>
                <a:gd name="connsiteX173" fmla="*/ 727901 w 2663946"/>
                <a:gd name="connsiteY173" fmla="*/ 175168 h 410520"/>
                <a:gd name="connsiteX174" fmla="*/ 727901 w 2663946"/>
                <a:gd name="connsiteY174" fmla="*/ 183563 h 410520"/>
                <a:gd name="connsiteX175" fmla="*/ 732418 w 2663946"/>
                <a:gd name="connsiteY175" fmla="*/ 187986 h 410520"/>
                <a:gd name="connsiteX176" fmla="*/ 736935 w 2663946"/>
                <a:gd name="connsiteY176" fmla="*/ 183563 h 410520"/>
                <a:gd name="connsiteX177" fmla="*/ 736935 w 2663946"/>
                <a:gd name="connsiteY177" fmla="*/ 175168 h 410520"/>
                <a:gd name="connsiteX178" fmla="*/ 741889 w 2663946"/>
                <a:gd name="connsiteY178" fmla="*/ 167011 h 410520"/>
                <a:gd name="connsiteX179" fmla="*/ 732418 w 2663946"/>
                <a:gd name="connsiteY179" fmla="*/ 157737 h 410520"/>
                <a:gd name="connsiteX180" fmla="*/ 641479 w 2663946"/>
                <a:gd name="connsiteY180" fmla="*/ 157737 h 410520"/>
                <a:gd name="connsiteX181" fmla="*/ 632008 w 2663946"/>
                <a:gd name="connsiteY181" fmla="*/ 167011 h 410520"/>
                <a:gd name="connsiteX182" fmla="*/ 636962 w 2663946"/>
                <a:gd name="connsiteY182" fmla="*/ 175168 h 410520"/>
                <a:gd name="connsiteX183" fmla="*/ 636962 w 2663946"/>
                <a:gd name="connsiteY183" fmla="*/ 183563 h 410520"/>
                <a:gd name="connsiteX184" fmla="*/ 641479 w 2663946"/>
                <a:gd name="connsiteY184" fmla="*/ 187986 h 410520"/>
                <a:gd name="connsiteX185" fmla="*/ 645996 w 2663946"/>
                <a:gd name="connsiteY185" fmla="*/ 183563 h 410520"/>
                <a:gd name="connsiteX186" fmla="*/ 645996 w 2663946"/>
                <a:gd name="connsiteY186" fmla="*/ 175168 h 410520"/>
                <a:gd name="connsiteX187" fmla="*/ 650950 w 2663946"/>
                <a:gd name="connsiteY187" fmla="*/ 167011 h 410520"/>
                <a:gd name="connsiteX188" fmla="*/ 641479 w 2663946"/>
                <a:gd name="connsiteY188" fmla="*/ 157737 h 410520"/>
                <a:gd name="connsiteX189" fmla="*/ 459528 w 2663946"/>
                <a:gd name="connsiteY189" fmla="*/ 157737 h 410520"/>
                <a:gd name="connsiteX190" fmla="*/ 450057 w 2663946"/>
                <a:gd name="connsiteY190" fmla="*/ 167011 h 410520"/>
                <a:gd name="connsiteX191" fmla="*/ 455011 w 2663946"/>
                <a:gd name="connsiteY191" fmla="*/ 175168 h 410520"/>
                <a:gd name="connsiteX192" fmla="*/ 455011 w 2663946"/>
                <a:gd name="connsiteY192" fmla="*/ 183563 h 410520"/>
                <a:gd name="connsiteX193" fmla="*/ 459528 w 2663946"/>
                <a:gd name="connsiteY193" fmla="*/ 187986 h 410520"/>
                <a:gd name="connsiteX194" fmla="*/ 464045 w 2663946"/>
                <a:gd name="connsiteY194" fmla="*/ 183563 h 410520"/>
                <a:gd name="connsiteX195" fmla="*/ 464045 w 2663946"/>
                <a:gd name="connsiteY195" fmla="*/ 175168 h 410520"/>
                <a:gd name="connsiteX196" fmla="*/ 468999 w 2663946"/>
                <a:gd name="connsiteY196" fmla="*/ 167011 h 410520"/>
                <a:gd name="connsiteX197" fmla="*/ 459528 w 2663946"/>
                <a:gd name="connsiteY197" fmla="*/ 157737 h 410520"/>
                <a:gd name="connsiteX198" fmla="*/ 2632966 w 2663946"/>
                <a:gd name="connsiteY198" fmla="*/ 130544 h 410520"/>
                <a:gd name="connsiteX199" fmla="*/ 2621414 w 2663946"/>
                <a:gd name="connsiteY199" fmla="*/ 132977 h 410520"/>
                <a:gd name="connsiteX200" fmla="*/ 2618218 w 2663946"/>
                <a:gd name="connsiteY200" fmla="*/ 136492 h 410520"/>
                <a:gd name="connsiteX201" fmla="*/ 2616006 w 2663946"/>
                <a:gd name="connsiteY201" fmla="*/ 140277 h 410520"/>
                <a:gd name="connsiteX202" fmla="*/ 2615023 w 2663946"/>
                <a:gd name="connsiteY202" fmla="*/ 142981 h 410520"/>
                <a:gd name="connsiteX203" fmla="*/ 2614039 w 2663946"/>
                <a:gd name="connsiteY203" fmla="*/ 147037 h 410520"/>
                <a:gd name="connsiteX204" fmla="*/ 2613056 w 2663946"/>
                <a:gd name="connsiteY204" fmla="*/ 154067 h 410520"/>
                <a:gd name="connsiteX205" fmla="*/ 2614039 w 2663946"/>
                <a:gd name="connsiteY205" fmla="*/ 161367 h 410520"/>
                <a:gd name="connsiteX206" fmla="*/ 2615269 w 2663946"/>
                <a:gd name="connsiteY206" fmla="*/ 165152 h 410520"/>
                <a:gd name="connsiteX207" fmla="*/ 2617481 w 2663946"/>
                <a:gd name="connsiteY207" fmla="*/ 169478 h 410520"/>
                <a:gd name="connsiteX208" fmla="*/ 2620922 w 2663946"/>
                <a:gd name="connsiteY208" fmla="*/ 173805 h 410520"/>
                <a:gd name="connsiteX209" fmla="*/ 2625346 w 2663946"/>
                <a:gd name="connsiteY209" fmla="*/ 176508 h 410520"/>
                <a:gd name="connsiteX210" fmla="*/ 2637637 w 2663946"/>
                <a:gd name="connsiteY210" fmla="*/ 174075 h 410520"/>
                <a:gd name="connsiteX211" fmla="*/ 2640832 w 2663946"/>
                <a:gd name="connsiteY211" fmla="*/ 170560 h 410520"/>
                <a:gd name="connsiteX212" fmla="*/ 2643290 w 2663946"/>
                <a:gd name="connsiteY212" fmla="*/ 166234 h 410520"/>
                <a:gd name="connsiteX213" fmla="*/ 2644273 w 2663946"/>
                <a:gd name="connsiteY213" fmla="*/ 164071 h 410520"/>
                <a:gd name="connsiteX214" fmla="*/ 2645502 w 2663946"/>
                <a:gd name="connsiteY214" fmla="*/ 159745 h 410520"/>
                <a:gd name="connsiteX215" fmla="*/ 2645011 w 2663946"/>
                <a:gd name="connsiteY215" fmla="*/ 145955 h 410520"/>
                <a:gd name="connsiteX216" fmla="*/ 2644027 w 2663946"/>
                <a:gd name="connsiteY216" fmla="*/ 142981 h 410520"/>
                <a:gd name="connsiteX217" fmla="*/ 2642799 w 2663946"/>
                <a:gd name="connsiteY217" fmla="*/ 140007 h 410520"/>
                <a:gd name="connsiteX218" fmla="*/ 2640586 w 2663946"/>
                <a:gd name="connsiteY218" fmla="*/ 136492 h 410520"/>
                <a:gd name="connsiteX219" fmla="*/ 2636899 w 2663946"/>
                <a:gd name="connsiteY219" fmla="*/ 132707 h 410520"/>
                <a:gd name="connsiteX220" fmla="*/ 2632966 w 2663946"/>
                <a:gd name="connsiteY220" fmla="*/ 130544 h 410520"/>
                <a:gd name="connsiteX221" fmla="*/ 2451011 w 2663946"/>
                <a:gd name="connsiteY221" fmla="*/ 130544 h 410520"/>
                <a:gd name="connsiteX222" fmla="*/ 2439459 w 2663946"/>
                <a:gd name="connsiteY222" fmla="*/ 132977 h 410520"/>
                <a:gd name="connsiteX223" fmla="*/ 2436263 w 2663946"/>
                <a:gd name="connsiteY223" fmla="*/ 136492 h 410520"/>
                <a:gd name="connsiteX224" fmla="*/ 2434051 w 2663946"/>
                <a:gd name="connsiteY224" fmla="*/ 140277 h 410520"/>
                <a:gd name="connsiteX225" fmla="*/ 2433068 w 2663946"/>
                <a:gd name="connsiteY225" fmla="*/ 142981 h 410520"/>
                <a:gd name="connsiteX226" fmla="*/ 2432084 w 2663946"/>
                <a:gd name="connsiteY226" fmla="*/ 147037 h 410520"/>
                <a:gd name="connsiteX227" fmla="*/ 2431101 w 2663946"/>
                <a:gd name="connsiteY227" fmla="*/ 154067 h 410520"/>
                <a:gd name="connsiteX228" fmla="*/ 2432084 w 2663946"/>
                <a:gd name="connsiteY228" fmla="*/ 161367 h 410520"/>
                <a:gd name="connsiteX229" fmla="*/ 2433314 w 2663946"/>
                <a:gd name="connsiteY229" fmla="*/ 165152 h 410520"/>
                <a:gd name="connsiteX230" fmla="*/ 2435526 w 2663946"/>
                <a:gd name="connsiteY230" fmla="*/ 169478 h 410520"/>
                <a:gd name="connsiteX231" fmla="*/ 2438967 w 2663946"/>
                <a:gd name="connsiteY231" fmla="*/ 173805 h 410520"/>
                <a:gd name="connsiteX232" fmla="*/ 2443391 w 2663946"/>
                <a:gd name="connsiteY232" fmla="*/ 176508 h 410520"/>
                <a:gd name="connsiteX233" fmla="*/ 2455682 w 2663946"/>
                <a:gd name="connsiteY233" fmla="*/ 174075 h 410520"/>
                <a:gd name="connsiteX234" fmla="*/ 2458877 w 2663946"/>
                <a:gd name="connsiteY234" fmla="*/ 170560 h 410520"/>
                <a:gd name="connsiteX235" fmla="*/ 2461335 w 2663946"/>
                <a:gd name="connsiteY235" fmla="*/ 166234 h 410520"/>
                <a:gd name="connsiteX236" fmla="*/ 2462318 w 2663946"/>
                <a:gd name="connsiteY236" fmla="*/ 164071 h 410520"/>
                <a:gd name="connsiteX237" fmla="*/ 2463547 w 2663946"/>
                <a:gd name="connsiteY237" fmla="*/ 159745 h 410520"/>
                <a:gd name="connsiteX238" fmla="*/ 2463056 w 2663946"/>
                <a:gd name="connsiteY238" fmla="*/ 145955 h 410520"/>
                <a:gd name="connsiteX239" fmla="*/ 2462072 w 2663946"/>
                <a:gd name="connsiteY239" fmla="*/ 142981 h 410520"/>
                <a:gd name="connsiteX240" fmla="*/ 2460844 w 2663946"/>
                <a:gd name="connsiteY240" fmla="*/ 140007 h 410520"/>
                <a:gd name="connsiteX241" fmla="*/ 2458631 w 2663946"/>
                <a:gd name="connsiteY241" fmla="*/ 136492 h 410520"/>
                <a:gd name="connsiteX242" fmla="*/ 2454944 w 2663946"/>
                <a:gd name="connsiteY242" fmla="*/ 132707 h 410520"/>
                <a:gd name="connsiteX243" fmla="*/ 2451011 w 2663946"/>
                <a:gd name="connsiteY243" fmla="*/ 130544 h 410520"/>
                <a:gd name="connsiteX244" fmla="*/ 2207965 w 2663946"/>
                <a:gd name="connsiteY244" fmla="*/ 130544 h 410520"/>
                <a:gd name="connsiteX245" fmla="*/ 2196413 w 2663946"/>
                <a:gd name="connsiteY245" fmla="*/ 132977 h 410520"/>
                <a:gd name="connsiteX246" fmla="*/ 2193217 w 2663946"/>
                <a:gd name="connsiteY246" fmla="*/ 136492 h 410520"/>
                <a:gd name="connsiteX247" fmla="*/ 2191005 w 2663946"/>
                <a:gd name="connsiteY247" fmla="*/ 140277 h 410520"/>
                <a:gd name="connsiteX248" fmla="*/ 2190022 w 2663946"/>
                <a:gd name="connsiteY248" fmla="*/ 142981 h 410520"/>
                <a:gd name="connsiteX249" fmla="*/ 2189038 w 2663946"/>
                <a:gd name="connsiteY249" fmla="*/ 147037 h 410520"/>
                <a:gd name="connsiteX250" fmla="*/ 2188055 w 2663946"/>
                <a:gd name="connsiteY250" fmla="*/ 154067 h 410520"/>
                <a:gd name="connsiteX251" fmla="*/ 2189038 w 2663946"/>
                <a:gd name="connsiteY251" fmla="*/ 161367 h 410520"/>
                <a:gd name="connsiteX252" fmla="*/ 2190268 w 2663946"/>
                <a:gd name="connsiteY252" fmla="*/ 165152 h 410520"/>
                <a:gd name="connsiteX253" fmla="*/ 2192480 w 2663946"/>
                <a:gd name="connsiteY253" fmla="*/ 169478 h 410520"/>
                <a:gd name="connsiteX254" fmla="*/ 2195921 w 2663946"/>
                <a:gd name="connsiteY254" fmla="*/ 173805 h 410520"/>
                <a:gd name="connsiteX255" fmla="*/ 2200345 w 2663946"/>
                <a:gd name="connsiteY255" fmla="*/ 176508 h 410520"/>
                <a:gd name="connsiteX256" fmla="*/ 2212636 w 2663946"/>
                <a:gd name="connsiteY256" fmla="*/ 174075 h 410520"/>
                <a:gd name="connsiteX257" fmla="*/ 2215831 w 2663946"/>
                <a:gd name="connsiteY257" fmla="*/ 170560 h 410520"/>
                <a:gd name="connsiteX258" fmla="*/ 2218289 w 2663946"/>
                <a:gd name="connsiteY258" fmla="*/ 166234 h 410520"/>
                <a:gd name="connsiteX259" fmla="*/ 2219272 w 2663946"/>
                <a:gd name="connsiteY259" fmla="*/ 164071 h 410520"/>
                <a:gd name="connsiteX260" fmla="*/ 2220501 w 2663946"/>
                <a:gd name="connsiteY260" fmla="*/ 159745 h 410520"/>
                <a:gd name="connsiteX261" fmla="*/ 2220010 w 2663946"/>
                <a:gd name="connsiteY261" fmla="*/ 145955 h 410520"/>
                <a:gd name="connsiteX262" fmla="*/ 2219026 w 2663946"/>
                <a:gd name="connsiteY262" fmla="*/ 142981 h 410520"/>
                <a:gd name="connsiteX263" fmla="*/ 2217798 w 2663946"/>
                <a:gd name="connsiteY263" fmla="*/ 140007 h 410520"/>
                <a:gd name="connsiteX264" fmla="*/ 2215585 w 2663946"/>
                <a:gd name="connsiteY264" fmla="*/ 136492 h 410520"/>
                <a:gd name="connsiteX265" fmla="*/ 2211898 w 2663946"/>
                <a:gd name="connsiteY265" fmla="*/ 132707 h 410520"/>
                <a:gd name="connsiteX266" fmla="*/ 2207965 w 2663946"/>
                <a:gd name="connsiteY266" fmla="*/ 130544 h 410520"/>
                <a:gd name="connsiteX267" fmla="*/ 2026014 w 2663946"/>
                <a:gd name="connsiteY267" fmla="*/ 130544 h 410520"/>
                <a:gd name="connsiteX268" fmla="*/ 2014462 w 2663946"/>
                <a:gd name="connsiteY268" fmla="*/ 132977 h 410520"/>
                <a:gd name="connsiteX269" fmla="*/ 2011266 w 2663946"/>
                <a:gd name="connsiteY269" fmla="*/ 136492 h 410520"/>
                <a:gd name="connsiteX270" fmla="*/ 2009054 w 2663946"/>
                <a:gd name="connsiteY270" fmla="*/ 140277 h 410520"/>
                <a:gd name="connsiteX271" fmla="*/ 2008071 w 2663946"/>
                <a:gd name="connsiteY271" fmla="*/ 142981 h 410520"/>
                <a:gd name="connsiteX272" fmla="*/ 2007087 w 2663946"/>
                <a:gd name="connsiteY272" fmla="*/ 147037 h 410520"/>
                <a:gd name="connsiteX273" fmla="*/ 2006104 w 2663946"/>
                <a:gd name="connsiteY273" fmla="*/ 154067 h 410520"/>
                <a:gd name="connsiteX274" fmla="*/ 2007087 w 2663946"/>
                <a:gd name="connsiteY274" fmla="*/ 161367 h 410520"/>
                <a:gd name="connsiteX275" fmla="*/ 2008317 w 2663946"/>
                <a:gd name="connsiteY275" fmla="*/ 165152 h 410520"/>
                <a:gd name="connsiteX276" fmla="*/ 2010529 w 2663946"/>
                <a:gd name="connsiteY276" fmla="*/ 169478 h 410520"/>
                <a:gd name="connsiteX277" fmla="*/ 2013970 w 2663946"/>
                <a:gd name="connsiteY277" fmla="*/ 173805 h 410520"/>
                <a:gd name="connsiteX278" fmla="*/ 2018394 w 2663946"/>
                <a:gd name="connsiteY278" fmla="*/ 176508 h 410520"/>
                <a:gd name="connsiteX279" fmla="*/ 2030685 w 2663946"/>
                <a:gd name="connsiteY279" fmla="*/ 174075 h 410520"/>
                <a:gd name="connsiteX280" fmla="*/ 2033880 w 2663946"/>
                <a:gd name="connsiteY280" fmla="*/ 170560 h 410520"/>
                <a:gd name="connsiteX281" fmla="*/ 2036338 w 2663946"/>
                <a:gd name="connsiteY281" fmla="*/ 166234 h 410520"/>
                <a:gd name="connsiteX282" fmla="*/ 2037321 w 2663946"/>
                <a:gd name="connsiteY282" fmla="*/ 164071 h 410520"/>
                <a:gd name="connsiteX283" fmla="*/ 2038550 w 2663946"/>
                <a:gd name="connsiteY283" fmla="*/ 159745 h 410520"/>
                <a:gd name="connsiteX284" fmla="*/ 2038059 w 2663946"/>
                <a:gd name="connsiteY284" fmla="*/ 145955 h 410520"/>
                <a:gd name="connsiteX285" fmla="*/ 2037075 w 2663946"/>
                <a:gd name="connsiteY285" fmla="*/ 142981 h 410520"/>
                <a:gd name="connsiteX286" fmla="*/ 2035847 w 2663946"/>
                <a:gd name="connsiteY286" fmla="*/ 140007 h 410520"/>
                <a:gd name="connsiteX287" fmla="*/ 2033634 w 2663946"/>
                <a:gd name="connsiteY287" fmla="*/ 136492 h 410520"/>
                <a:gd name="connsiteX288" fmla="*/ 2029947 w 2663946"/>
                <a:gd name="connsiteY288" fmla="*/ 132707 h 410520"/>
                <a:gd name="connsiteX289" fmla="*/ 2026014 w 2663946"/>
                <a:gd name="connsiteY289" fmla="*/ 130544 h 410520"/>
                <a:gd name="connsiteX290" fmla="*/ 1601090 w 2663946"/>
                <a:gd name="connsiteY290" fmla="*/ 130544 h 410520"/>
                <a:gd name="connsiteX291" fmla="*/ 1589537 w 2663946"/>
                <a:gd name="connsiteY291" fmla="*/ 132977 h 410520"/>
                <a:gd name="connsiteX292" fmla="*/ 1586342 w 2663946"/>
                <a:gd name="connsiteY292" fmla="*/ 136492 h 410520"/>
                <a:gd name="connsiteX293" fmla="*/ 1584130 w 2663946"/>
                <a:gd name="connsiteY293" fmla="*/ 140277 h 410520"/>
                <a:gd name="connsiteX294" fmla="*/ 1583147 w 2663946"/>
                <a:gd name="connsiteY294" fmla="*/ 142981 h 410520"/>
                <a:gd name="connsiteX295" fmla="*/ 1582163 w 2663946"/>
                <a:gd name="connsiteY295" fmla="*/ 147037 h 410520"/>
                <a:gd name="connsiteX296" fmla="*/ 1581180 w 2663946"/>
                <a:gd name="connsiteY296" fmla="*/ 154067 h 410520"/>
                <a:gd name="connsiteX297" fmla="*/ 1582163 w 2663946"/>
                <a:gd name="connsiteY297" fmla="*/ 161367 h 410520"/>
                <a:gd name="connsiteX298" fmla="*/ 1583393 w 2663946"/>
                <a:gd name="connsiteY298" fmla="*/ 165152 h 410520"/>
                <a:gd name="connsiteX299" fmla="*/ 1585605 w 2663946"/>
                <a:gd name="connsiteY299" fmla="*/ 169478 h 410520"/>
                <a:gd name="connsiteX300" fmla="*/ 1589046 w 2663946"/>
                <a:gd name="connsiteY300" fmla="*/ 173805 h 410520"/>
                <a:gd name="connsiteX301" fmla="*/ 1593470 w 2663946"/>
                <a:gd name="connsiteY301" fmla="*/ 176508 h 410520"/>
                <a:gd name="connsiteX302" fmla="*/ 1605761 w 2663946"/>
                <a:gd name="connsiteY302" fmla="*/ 174075 h 410520"/>
                <a:gd name="connsiteX303" fmla="*/ 1608956 w 2663946"/>
                <a:gd name="connsiteY303" fmla="*/ 170560 h 410520"/>
                <a:gd name="connsiteX304" fmla="*/ 1611414 w 2663946"/>
                <a:gd name="connsiteY304" fmla="*/ 166234 h 410520"/>
                <a:gd name="connsiteX305" fmla="*/ 1612397 w 2663946"/>
                <a:gd name="connsiteY305" fmla="*/ 164071 h 410520"/>
                <a:gd name="connsiteX306" fmla="*/ 1613626 w 2663946"/>
                <a:gd name="connsiteY306" fmla="*/ 159745 h 410520"/>
                <a:gd name="connsiteX307" fmla="*/ 1613135 w 2663946"/>
                <a:gd name="connsiteY307" fmla="*/ 145955 h 410520"/>
                <a:gd name="connsiteX308" fmla="*/ 1612151 w 2663946"/>
                <a:gd name="connsiteY308" fmla="*/ 142981 h 410520"/>
                <a:gd name="connsiteX309" fmla="*/ 1610923 w 2663946"/>
                <a:gd name="connsiteY309" fmla="*/ 140007 h 410520"/>
                <a:gd name="connsiteX310" fmla="*/ 1608710 w 2663946"/>
                <a:gd name="connsiteY310" fmla="*/ 136492 h 410520"/>
                <a:gd name="connsiteX311" fmla="*/ 1605023 w 2663946"/>
                <a:gd name="connsiteY311" fmla="*/ 132707 h 410520"/>
                <a:gd name="connsiteX312" fmla="*/ 1601090 w 2663946"/>
                <a:gd name="connsiteY312" fmla="*/ 130544 h 410520"/>
                <a:gd name="connsiteX313" fmla="*/ 1252183 w 2663946"/>
                <a:gd name="connsiteY313" fmla="*/ 130544 h 410520"/>
                <a:gd name="connsiteX314" fmla="*/ 1240630 w 2663946"/>
                <a:gd name="connsiteY314" fmla="*/ 132977 h 410520"/>
                <a:gd name="connsiteX315" fmla="*/ 1237435 w 2663946"/>
                <a:gd name="connsiteY315" fmla="*/ 136492 h 410520"/>
                <a:gd name="connsiteX316" fmla="*/ 1235223 w 2663946"/>
                <a:gd name="connsiteY316" fmla="*/ 140277 h 410520"/>
                <a:gd name="connsiteX317" fmla="*/ 1234240 w 2663946"/>
                <a:gd name="connsiteY317" fmla="*/ 142981 h 410520"/>
                <a:gd name="connsiteX318" fmla="*/ 1233256 w 2663946"/>
                <a:gd name="connsiteY318" fmla="*/ 147037 h 410520"/>
                <a:gd name="connsiteX319" fmla="*/ 1232273 w 2663946"/>
                <a:gd name="connsiteY319" fmla="*/ 154067 h 410520"/>
                <a:gd name="connsiteX320" fmla="*/ 1233256 w 2663946"/>
                <a:gd name="connsiteY320" fmla="*/ 161367 h 410520"/>
                <a:gd name="connsiteX321" fmla="*/ 1234486 w 2663946"/>
                <a:gd name="connsiteY321" fmla="*/ 165152 h 410520"/>
                <a:gd name="connsiteX322" fmla="*/ 1236698 w 2663946"/>
                <a:gd name="connsiteY322" fmla="*/ 169478 h 410520"/>
                <a:gd name="connsiteX323" fmla="*/ 1240139 w 2663946"/>
                <a:gd name="connsiteY323" fmla="*/ 173805 h 410520"/>
                <a:gd name="connsiteX324" fmla="*/ 1244563 w 2663946"/>
                <a:gd name="connsiteY324" fmla="*/ 176508 h 410520"/>
                <a:gd name="connsiteX325" fmla="*/ 1256854 w 2663946"/>
                <a:gd name="connsiteY325" fmla="*/ 174075 h 410520"/>
                <a:gd name="connsiteX326" fmla="*/ 1260049 w 2663946"/>
                <a:gd name="connsiteY326" fmla="*/ 170560 h 410520"/>
                <a:gd name="connsiteX327" fmla="*/ 1262507 w 2663946"/>
                <a:gd name="connsiteY327" fmla="*/ 166234 h 410520"/>
                <a:gd name="connsiteX328" fmla="*/ 1263490 w 2663946"/>
                <a:gd name="connsiteY328" fmla="*/ 164071 h 410520"/>
                <a:gd name="connsiteX329" fmla="*/ 1264719 w 2663946"/>
                <a:gd name="connsiteY329" fmla="*/ 159745 h 410520"/>
                <a:gd name="connsiteX330" fmla="*/ 1264228 w 2663946"/>
                <a:gd name="connsiteY330" fmla="*/ 145955 h 410520"/>
                <a:gd name="connsiteX331" fmla="*/ 1263244 w 2663946"/>
                <a:gd name="connsiteY331" fmla="*/ 142981 h 410520"/>
                <a:gd name="connsiteX332" fmla="*/ 1262016 w 2663946"/>
                <a:gd name="connsiteY332" fmla="*/ 140007 h 410520"/>
                <a:gd name="connsiteX333" fmla="*/ 1259803 w 2663946"/>
                <a:gd name="connsiteY333" fmla="*/ 136492 h 410520"/>
                <a:gd name="connsiteX334" fmla="*/ 1256116 w 2663946"/>
                <a:gd name="connsiteY334" fmla="*/ 132707 h 410520"/>
                <a:gd name="connsiteX335" fmla="*/ 1252183 w 2663946"/>
                <a:gd name="connsiteY335" fmla="*/ 130544 h 410520"/>
                <a:gd name="connsiteX336" fmla="*/ 1070232 w 2663946"/>
                <a:gd name="connsiteY336" fmla="*/ 130544 h 410520"/>
                <a:gd name="connsiteX337" fmla="*/ 1058679 w 2663946"/>
                <a:gd name="connsiteY337" fmla="*/ 132977 h 410520"/>
                <a:gd name="connsiteX338" fmla="*/ 1055484 w 2663946"/>
                <a:gd name="connsiteY338" fmla="*/ 136492 h 410520"/>
                <a:gd name="connsiteX339" fmla="*/ 1053272 w 2663946"/>
                <a:gd name="connsiteY339" fmla="*/ 140277 h 410520"/>
                <a:gd name="connsiteX340" fmla="*/ 1052289 w 2663946"/>
                <a:gd name="connsiteY340" fmla="*/ 142981 h 410520"/>
                <a:gd name="connsiteX341" fmla="*/ 1051305 w 2663946"/>
                <a:gd name="connsiteY341" fmla="*/ 147037 h 410520"/>
                <a:gd name="connsiteX342" fmla="*/ 1050322 w 2663946"/>
                <a:gd name="connsiteY342" fmla="*/ 154067 h 410520"/>
                <a:gd name="connsiteX343" fmla="*/ 1051305 w 2663946"/>
                <a:gd name="connsiteY343" fmla="*/ 161367 h 410520"/>
                <a:gd name="connsiteX344" fmla="*/ 1052535 w 2663946"/>
                <a:gd name="connsiteY344" fmla="*/ 165152 h 410520"/>
                <a:gd name="connsiteX345" fmla="*/ 1054747 w 2663946"/>
                <a:gd name="connsiteY345" fmla="*/ 169478 h 410520"/>
                <a:gd name="connsiteX346" fmla="*/ 1058188 w 2663946"/>
                <a:gd name="connsiteY346" fmla="*/ 173805 h 410520"/>
                <a:gd name="connsiteX347" fmla="*/ 1062612 w 2663946"/>
                <a:gd name="connsiteY347" fmla="*/ 176508 h 410520"/>
                <a:gd name="connsiteX348" fmla="*/ 1074903 w 2663946"/>
                <a:gd name="connsiteY348" fmla="*/ 174075 h 410520"/>
                <a:gd name="connsiteX349" fmla="*/ 1078098 w 2663946"/>
                <a:gd name="connsiteY349" fmla="*/ 170560 h 410520"/>
                <a:gd name="connsiteX350" fmla="*/ 1080556 w 2663946"/>
                <a:gd name="connsiteY350" fmla="*/ 166234 h 410520"/>
                <a:gd name="connsiteX351" fmla="*/ 1081539 w 2663946"/>
                <a:gd name="connsiteY351" fmla="*/ 164071 h 410520"/>
                <a:gd name="connsiteX352" fmla="*/ 1082768 w 2663946"/>
                <a:gd name="connsiteY352" fmla="*/ 159745 h 410520"/>
                <a:gd name="connsiteX353" fmla="*/ 1082277 w 2663946"/>
                <a:gd name="connsiteY353" fmla="*/ 145955 h 410520"/>
                <a:gd name="connsiteX354" fmla="*/ 1081293 w 2663946"/>
                <a:gd name="connsiteY354" fmla="*/ 142981 h 410520"/>
                <a:gd name="connsiteX355" fmla="*/ 1080065 w 2663946"/>
                <a:gd name="connsiteY355" fmla="*/ 140007 h 410520"/>
                <a:gd name="connsiteX356" fmla="*/ 1077852 w 2663946"/>
                <a:gd name="connsiteY356" fmla="*/ 136492 h 410520"/>
                <a:gd name="connsiteX357" fmla="*/ 1074165 w 2663946"/>
                <a:gd name="connsiteY357" fmla="*/ 132707 h 410520"/>
                <a:gd name="connsiteX358" fmla="*/ 1070232 w 2663946"/>
                <a:gd name="connsiteY358" fmla="*/ 130544 h 410520"/>
                <a:gd name="connsiteX359" fmla="*/ 903203 w 2663946"/>
                <a:gd name="connsiteY359" fmla="*/ 130544 h 410520"/>
                <a:gd name="connsiteX360" fmla="*/ 891650 w 2663946"/>
                <a:gd name="connsiteY360" fmla="*/ 132977 h 410520"/>
                <a:gd name="connsiteX361" fmla="*/ 888455 w 2663946"/>
                <a:gd name="connsiteY361" fmla="*/ 136492 h 410520"/>
                <a:gd name="connsiteX362" fmla="*/ 886243 w 2663946"/>
                <a:gd name="connsiteY362" fmla="*/ 140277 h 410520"/>
                <a:gd name="connsiteX363" fmla="*/ 885260 w 2663946"/>
                <a:gd name="connsiteY363" fmla="*/ 142981 h 410520"/>
                <a:gd name="connsiteX364" fmla="*/ 884276 w 2663946"/>
                <a:gd name="connsiteY364" fmla="*/ 147037 h 410520"/>
                <a:gd name="connsiteX365" fmla="*/ 883293 w 2663946"/>
                <a:gd name="connsiteY365" fmla="*/ 154067 h 410520"/>
                <a:gd name="connsiteX366" fmla="*/ 884276 w 2663946"/>
                <a:gd name="connsiteY366" fmla="*/ 161367 h 410520"/>
                <a:gd name="connsiteX367" fmla="*/ 885506 w 2663946"/>
                <a:gd name="connsiteY367" fmla="*/ 165152 h 410520"/>
                <a:gd name="connsiteX368" fmla="*/ 887718 w 2663946"/>
                <a:gd name="connsiteY368" fmla="*/ 169478 h 410520"/>
                <a:gd name="connsiteX369" fmla="*/ 891159 w 2663946"/>
                <a:gd name="connsiteY369" fmla="*/ 173805 h 410520"/>
                <a:gd name="connsiteX370" fmla="*/ 895583 w 2663946"/>
                <a:gd name="connsiteY370" fmla="*/ 176508 h 410520"/>
                <a:gd name="connsiteX371" fmla="*/ 907874 w 2663946"/>
                <a:gd name="connsiteY371" fmla="*/ 174075 h 410520"/>
                <a:gd name="connsiteX372" fmla="*/ 911069 w 2663946"/>
                <a:gd name="connsiteY372" fmla="*/ 170560 h 410520"/>
                <a:gd name="connsiteX373" fmla="*/ 913527 w 2663946"/>
                <a:gd name="connsiteY373" fmla="*/ 166234 h 410520"/>
                <a:gd name="connsiteX374" fmla="*/ 914510 w 2663946"/>
                <a:gd name="connsiteY374" fmla="*/ 164071 h 410520"/>
                <a:gd name="connsiteX375" fmla="*/ 915739 w 2663946"/>
                <a:gd name="connsiteY375" fmla="*/ 159745 h 410520"/>
                <a:gd name="connsiteX376" fmla="*/ 915248 w 2663946"/>
                <a:gd name="connsiteY376" fmla="*/ 145955 h 410520"/>
                <a:gd name="connsiteX377" fmla="*/ 914264 w 2663946"/>
                <a:gd name="connsiteY377" fmla="*/ 142981 h 410520"/>
                <a:gd name="connsiteX378" fmla="*/ 913036 w 2663946"/>
                <a:gd name="connsiteY378" fmla="*/ 140007 h 410520"/>
                <a:gd name="connsiteX379" fmla="*/ 910823 w 2663946"/>
                <a:gd name="connsiteY379" fmla="*/ 136492 h 410520"/>
                <a:gd name="connsiteX380" fmla="*/ 907136 w 2663946"/>
                <a:gd name="connsiteY380" fmla="*/ 132707 h 410520"/>
                <a:gd name="connsiteX381" fmla="*/ 903203 w 2663946"/>
                <a:gd name="connsiteY381" fmla="*/ 130544 h 410520"/>
                <a:gd name="connsiteX382" fmla="*/ 554297 w 2663946"/>
                <a:gd name="connsiteY382" fmla="*/ 130544 h 410520"/>
                <a:gd name="connsiteX383" fmla="*/ 542744 w 2663946"/>
                <a:gd name="connsiteY383" fmla="*/ 132977 h 410520"/>
                <a:gd name="connsiteX384" fmla="*/ 539549 w 2663946"/>
                <a:gd name="connsiteY384" fmla="*/ 136492 h 410520"/>
                <a:gd name="connsiteX385" fmla="*/ 537337 w 2663946"/>
                <a:gd name="connsiteY385" fmla="*/ 140277 h 410520"/>
                <a:gd name="connsiteX386" fmla="*/ 536353 w 2663946"/>
                <a:gd name="connsiteY386" fmla="*/ 142981 h 410520"/>
                <a:gd name="connsiteX387" fmla="*/ 535370 w 2663946"/>
                <a:gd name="connsiteY387" fmla="*/ 147037 h 410520"/>
                <a:gd name="connsiteX388" fmla="*/ 534387 w 2663946"/>
                <a:gd name="connsiteY388" fmla="*/ 154067 h 410520"/>
                <a:gd name="connsiteX389" fmla="*/ 535370 w 2663946"/>
                <a:gd name="connsiteY389" fmla="*/ 161367 h 410520"/>
                <a:gd name="connsiteX390" fmla="*/ 536599 w 2663946"/>
                <a:gd name="connsiteY390" fmla="*/ 165152 h 410520"/>
                <a:gd name="connsiteX391" fmla="*/ 538811 w 2663946"/>
                <a:gd name="connsiteY391" fmla="*/ 169478 h 410520"/>
                <a:gd name="connsiteX392" fmla="*/ 542253 w 2663946"/>
                <a:gd name="connsiteY392" fmla="*/ 173805 h 410520"/>
                <a:gd name="connsiteX393" fmla="*/ 546677 w 2663946"/>
                <a:gd name="connsiteY393" fmla="*/ 176508 h 410520"/>
                <a:gd name="connsiteX394" fmla="*/ 558967 w 2663946"/>
                <a:gd name="connsiteY394" fmla="*/ 174075 h 410520"/>
                <a:gd name="connsiteX395" fmla="*/ 562163 w 2663946"/>
                <a:gd name="connsiteY395" fmla="*/ 170560 h 410520"/>
                <a:gd name="connsiteX396" fmla="*/ 564621 w 2663946"/>
                <a:gd name="connsiteY396" fmla="*/ 166234 h 410520"/>
                <a:gd name="connsiteX397" fmla="*/ 565604 w 2663946"/>
                <a:gd name="connsiteY397" fmla="*/ 164071 h 410520"/>
                <a:gd name="connsiteX398" fmla="*/ 566833 w 2663946"/>
                <a:gd name="connsiteY398" fmla="*/ 159745 h 410520"/>
                <a:gd name="connsiteX399" fmla="*/ 566341 w 2663946"/>
                <a:gd name="connsiteY399" fmla="*/ 145955 h 410520"/>
                <a:gd name="connsiteX400" fmla="*/ 565358 w 2663946"/>
                <a:gd name="connsiteY400" fmla="*/ 142981 h 410520"/>
                <a:gd name="connsiteX401" fmla="*/ 564129 w 2663946"/>
                <a:gd name="connsiteY401" fmla="*/ 140007 h 410520"/>
                <a:gd name="connsiteX402" fmla="*/ 561917 w 2663946"/>
                <a:gd name="connsiteY402" fmla="*/ 136492 h 410520"/>
                <a:gd name="connsiteX403" fmla="*/ 558230 w 2663946"/>
                <a:gd name="connsiteY403" fmla="*/ 132707 h 410520"/>
                <a:gd name="connsiteX404" fmla="*/ 554297 w 2663946"/>
                <a:gd name="connsiteY404" fmla="*/ 130544 h 410520"/>
                <a:gd name="connsiteX405" fmla="*/ 372346 w 2663946"/>
                <a:gd name="connsiteY405" fmla="*/ 130544 h 410520"/>
                <a:gd name="connsiteX406" fmla="*/ 360793 w 2663946"/>
                <a:gd name="connsiteY406" fmla="*/ 132977 h 410520"/>
                <a:gd name="connsiteX407" fmla="*/ 357598 w 2663946"/>
                <a:gd name="connsiteY407" fmla="*/ 136492 h 410520"/>
                <a:gd name="connsiteX408" fmla="*/ 355385 w 2663946"/>
                <a:gd name="connsiteY408" fmla="*/ 140277 h 410520"/>
                <a:gd name="connsiteX409" fmla="*/ 354402 w 2663946"/>
                <a:gd name="connsiteY409" fmla="*/ 142981 h 410520"/>
                <a:gd name="connsiteX410" fmla="*/ 353419 w 2663946"/>
                <a:gd name="connsiteY410" fmla="*/ 147037 h 410520"/>
                <a:gd name="connsiteX411" fmla="*/ 352436 w 2663946"/>
                <a:gd name="connsiteY411" fmla="*/ 154067 h 410520"/>
                <a:gd name="connsiteX412" fmla="*/ 353419 w 2663946"/>
                <a:gd name="connsiteY412" fmla="*/ 161367 h 410520"/>
                <a:gd name="connsiteX413" fmla="*/ 354648 w 2663946"/>
                <a:gd name="connsiteY413" fmla="*/ 165152 h 410520"/>
                <a:gd name="connsiteX414" fmla="*/ 356860 w 2663946"/>
                <a:gd name="connsiteY414" fmla="*/ 169478 h 410520"/>
                <a:gd name="connsiteX415" fmla="*/ 360301 w 2663946"/>
                <a:gd name="connsiteY415" fmla="*/ 173805 h 410520"/>
                <a:gd name="connsiteX416" fmla="*/ 364726 w 2663946"/>
                <a:gd name="connsiteY416" fmla="*/ 176508 h 410520"/>
                <a:gd name="connsiteX417" fmla="*/ 377016 w 2663946"/>
                <a:gd name="connsiteY417" fmla="*/ 174075 h 410520"/>
                <a:gd name="connsiteX418" fmla="*/ 380212 w 2663946"/>
                <a:gd name="connsiteY418" fmla="*/ 170560 h 410520"/>
                <a:gd name="connsiteX419" fmla="*/ 382670 w 2663946"/>
                <a:gd name="connsiteY419" fmla="*/ 166234 h 410520"/>
                <a:gd name="connsiteX420" fmla="*/ 383653 w 2663946"/>
                <a:gd name="connsiteY420" fmla="*/ 164071 h 410520"/>
                <a:gd name="connsiteX421" fmla="*/ 384882 w 2663946"/>
                <a:gd name="connsiteY421" fmla="*/ 159745 h 410520"/>
                <a:gd name="connsiteX422" fmla="*/ 384390 w 2663946"/>
                <a:gd name="connsiteY422" fmla="*/ 145955 h 410520"/>
                <a:gd name="connsiteX423" fmla="*/ 383407 w 2663946"/>
                <a:gd name="connsiteY423" fmla="*/ 142981 h 410520"/>
                <a:gd name="connsiteX424" fmla="*/ 382178 w 2663946"/>
                <a:gd name="connsiteY424" fmla="*/ 140007 h 410520"/>
                <a:gd name="connsiteX425" fmla="*/ 379966 w 2663946"/>
                <a:gd name="connsiteY425" fmla="*/ 136492 h 410520"/>
                <a:gd name="connsiteX426" fmla="*/ 376279 w 2663946"/>
                <a:gd name="connsiteY426" fmla="*/ 132707 h 410520"/>
                <a:gd name="connsiteX427" fmla="*/ 372346 w 2663946"/>
                <a:gd name="connsiteY427" fmla="*/ 130544 h 410520"/>
                <a:gd name="connsiteX428" fmla="*/ 129300 w 2663946"/>
                <a:gd name="connsiteY428" fmla="*/ 130544 h 410520"/>
                <a:gd name="connsiteX429" fmla="*/ 117747 w 2663946"/>
                <a:gd name="connsiteY429" fmla="*/ 132977 h 410520"/>
                <a:gd name="connsiteX430" fmla="*/ 114552 w 2663946"/>
                <a:gd name="connsiteY430" fmla="*/ 136492 h 410520"/>
                <a:gd name="connsiteX431" fmla="*/ 112340 w 2663946"/>
                <a:gd name="connsiteY431" fmla="*/ 140277 h 410520"/>
                <a:gd name="connsiteX432" fmla="*/ 111356 w 2663946"/>
                <a:gd name="connsiteY432" fmla="*/ 142981 h 410520"/>
                <a:gd name="connsiteX433" fmla="*/ 110373 w 2663946"/>
                <a:gd name="connsiteY433" fmla="*/ 147037 h 410520"/>
                <a:gd name="connsiteX434" fmla="*/ 109390 w 2663946"/>
                <a:gd name="connsiteY434" fmla="*/ 154067 h 410520"/>
                <a:gd name="connsiteX435" fmla="*/ 110373 w 2663946"/>
                <a:gd name="connsiteY435" fmla="*/ 161367 h 410520"/>
                <a:gd name="connsiteX436" fmla="*/ 111602 w 2663946"/>
                <a:gd name="connsiteY436" fmla="*/ 165152 h 410520"/>
                <a:gd name="connsiteX437" fmla="*/ 113814 w 2663946"/>
                <a:gd name="connsiteY437" fmla="*/ 169478 h 410520"/>
                <a:gd name="connsiteX438" fmla="*/ 117256 w 2663946"/>
                <a:gd name="connsiteY438" fmla="*/ 173805 h 410520"/>
                <a:gd name="connsiteX439" fmla="*/ 121680 w 2663946"/>
                <a:gd name="connsiteY439" fmla="*/ 176508 h 410520"/>
                <a:gd name="connsiteX440" fmla="*/ 133970 w 2663946"/>
                <a:gd name="connsiteY440" fmla="*/ 174075 h 410520"/>
                <a:gd name="connsiteX441" fmla="*/ 137166 w 2663946"/>
                <a:gd name="connsiteY441" fmla="*/ 170560 h 410520"/>
                <a:gd name="connsiteX442" fmla="*/ 139624 w 2663946"/>
                <a:gd name="connsiteY442" fmla="*/ 166234 h 410520"/>
                <a:gd name="connsiteX443" fmla="*/ 140607 w 2663946"/>
                <a:gd name="connsiteY443" fmla="*/ 164071 h 410520"/>
                <a:gd name="connsiteX444" fmla="*/ 141836 w 2663946"/>
                <a:gd name="connsiteY444" fmla="*/ 159745 h 410520"/>
                <a:gd name="connsiteX445" fmla="*/ 141344 w 2663946"/>
                <a:gd name="connsiteY445" fmla="*/ 145955 h 410520"/>
                <a:gd name="connsiteX446" fmla="*/ 140361 w 2663946"/>
                <a:gd name="connsiteY446" fmla="*/ 142981 h 410520"/>
                <a:gd name="connsiteX447" fmla="*/ 139132 w 2663946"/>
                <a:gd name="connsiteY447" fmla="*/ 140007 h 410520"/>
                <a:gd name="connsiteX448" fmla="*/ 136920 w 2663946"/>
                <a:gd name="connsiteY448" fmla="*/ 136492 h 410520"/>
                <a:gd name="connsiteX449" fmla="*/ 133233 w 2663946"/>
                <a:gd name="connsiteY449" fmla="*/ 132707 h 410520"/>
                <a:gd name="connsiteX450" fmla="*/ 129300 w 2663946"/>
                <a:gd name="connsiteY450" fmla="*/ 130544 h 410520"/>
                <a:gd name="connsiteX451" fmla="*/ 33147 w 2663946"/>
                <a:gd name="connsiteY451" fmla="*/ 126608 h 410520"/>
                <a:gd name="connsiteX452" fmla="*/ 21486 w 2663946"/>
                <a:gd name="connsiteY452" fmla="*/ 134337 h 410520"/>
                <a:gd name="connsiteX453" fmla="*/ 20561 w 2663946"/>
                <a:gd name="connsiteY453" fmla="*/ 138920 h 410520"/>
                <a:gd name="connsiteX454" fmla="*/ 23801 w 2663946"/>
                <a:gd name="connsiteY454" fmla="*/ 138920 h 410520"/>
                <a:gd name="connsiteX455" fmla="*/ 42218 w 2663946"/>
                <a:gd name="connsiteY455" fmla="*/ 138920 h 410520"/>
                <a:gd name="connsiteX456" fmla="*/ 45732 w 2663946"/>
                <a:gd name="connsiteY456" fmla="*/ 138920 h 410520"/>
                <a:gd name="connsiteX457" fmla="*/ 44807 w 2663946"/>
                <a:gd name="connsiteY457" fmla="*/ 134337 h 410520"/>
                <a:gd name="connsiteX458" fmla="*/ 33147 w 2663946"/>
                <a:gd name="connsiteY458" fmla="*/ 126608 h 410520"/>
                <a:gd name="connsiteX459" fmla="*/ 2537931 w 2663946"/>
                <a:gd name="connsiteY459" fmla="*/ 119020 h 410520"/>
                <a:gd name="connsiteX460" fmla="*/ 2526271 w 2663946"/>
                <a:gd name="connsiteY460" fmla="*/ 126749 h 410520"/>
                <a:gd name="connsiteX461" fmla="*/ 2525346 w 2663946"/>
                <a:gd name="connsiteY461" fmla="*/ 131332 h 410520"/>
                <a:gd name="connsiteX462" fmla="*/ 2528586 w 2663946"/>
                <a:gd name="connsiteY462" fmla="*/ 131332 h 410520"/>
                <a:gd name="connsiteX463" fmla="*/ 2547003 w 2663946"/>
                <a:gd name="connsiteY463" fmla="*/ 131332 h 410520"/>
                <a:gd name="connsiteX464" fmla="*/ 2550517 w 2663946"/>
                <a:gd name="connsiteY464" fmla="*/ 131332 h 410520"/>
                <a:gd name="connsiteX465" fmla="*/ 2549592 w 2663946"/>
                <a:gd name="connsiteY465" fmla="*/ 126749 h 410520"/>
                <a:gd name="connsiteX466" fmla="*/ 2537931 w 2663946"/>
                <a:gd name="connsiteY466" fmla="*/ 119020 h 410520"/>
                <a:gd name="connsiteX467" fmla="*/ 2112934 w 2663946"/>
                <a:gd name="connsiteY467" fmla="*/ 119020 h 410520"/>
                <a:gd name="connsiteX468" fmla="*/ 2101274 w 2663946"/>
                <a:gd name="connsiteY468" fmla="*/ 126749 h 410520"/>
                <a:gd name="connsiteX469" fmla="*/ 2100349 w 2663946"/>
                <a:gd name="connsiteY469" fmla="*/ 131332 h 410520"/>
                <a:gd name="connsiteX470" fmla="*/ 2103589 w 2663946"/>
                <a:gd name="connsiteY470" fmla="*/ 131332 h 410520"/>
                <a:gd name="connsiteX471" fmla="*/ 2122006 w 2663946"/>
                <a:gd name="connsiteY471" fmla="*/ 131332 h 410520"/>
                <a:gd name="connsiteX472" fmla="*/ 2125520 w 2663946"/>
                <a:gd name="connsiteY472" fmla="*/ 131332 h 410520"/>
                <a:gd name="connsiteX473" fmla="*/ 2124595 w 2663946"/>
                <a:gd name="connsiteY473" fmla="*/ 126749 h 410520"/>
                <a:gd name="connsiteX474" fmla="*/ 2112934 w 2663946"/>
                <a:gd name="connsiteY474" fmla="*/ 119020 h 410520"/>
                <a:gd name="connsiteX475" fmla="*/ 1854966 w 2663946"/>
                <a:gd name="connsiteY475" fmla="*/ 119020 h 410520"/>
                <a:gd name="connsiteX476" fmla="*/ 1843306 w 2663946"/>
                <a:gd name="connsiteY476" fmla="*/ 126749 h 410520"/>
                <a:gd name="connsiteX477" fmla="*/ 1842381 w 2663946"/>
                <a:gd name="connsiteY477" fmla="*/ 131332 h 410520"/>
                <a:gd name="connsiteX478" fmla="*/ 1845621 w 2663946"/>
                <a:gd name="connsiteY478" fmla="*/ 131332 h 410520"/>
                <a:gd name="connsiteX479" fmla="*/ 1864038 w 2663946"/>
                <a:gd name="connsiteY479" fmla="*/ 131332 h 410520"/>
                <a:gd name="connsiteX480" fmla="*/ 1867552 w 2663946"/>
                <a:gd name="connsiteY480" fmla="*/ 131332 h 410520"/>
                <a:gd name="connsiteX481" fmla="*/ 1866627 w 2663946"/>
                <a:gd name="connsiteY481" fmla="*/ 126749 h 410520"/>
                <a:gd name="connsiteX482" fmla="*/ 1854966 w 2663946"/>
                <a:gd name="connsiteY482" fmla="*/ 119020 h 410520"/>
                <a:gd name="connsiteX483" fmla="*/ 1764027 w 2663946"/>
                <a:gd name="connsiteY483" fmla="*/ 119020 h 410520"/>
                <a:gd name="connsiteX484" fmla="*/ 1752367 w 2663946"/>
                <a:gd name="connsiteY484" fmla="*/ 126749 h 410520"/>
                <a:gd name="connsiteX485" fmla="*/ 1751442 w 2663946"/>
                <a:gd name="connsiteY485" fmla="*/ 131332 h 410520"/>
                <a:gd name="connsiteX486" fmla="*/ 1754682 w 2663946"/>
                <a:gd name="connsiteY486" fmla="*/ 131332 h 410520"/>
                <a:gd name="connsiteX487" fmla="*/ 1773099 w 2663946"/>
                <a:gd name="connsiteY487" fmla="*/ 131332 h 410520"/>
                <a:gd name="connsiteX488" fmla="*/ 1776613 w 2663946"/>
                <a:gd name="connsiteY488" fmla="*/ 131332 h 410520"/>
                <a:gd name="connsiteX489" fmla="*/ 1775687 w 2663946"/>
                <a:gd name="connsiteY489" fmla="*/ 126749 h 410520"/>
                <a:gd name="connsiteX490" fmla="*/ 1764027 w 2663946"/>
                <a:gd name="connsiteY490" fmla="*/ 119020 h 410520"/>
                <a:gd name="connsiteX491" fmla="*/ 1506059 w 2663946"/>
                <a:gd name="connsiteY491" fmla="*/ 119020 h 410520"/>
                <a:gd name="connsiteX492" fmla="*/ 1494399 w 2663946"/>
                <a:gd name="connsiteY492" fmla="*/ 126749 h 410520"/>
                <a:gd name="connsiteX493" fmla="*/ 1493474 w 2663946"/>
                <a:gd name="connsiteY493" fmla="*/ 131332 h 410520"/>
                <a:gd name="connsiteX494" fmla="*/ 1496714 w 2663946"/>
                <a:gd name="connsiteY494" fmla="*/ 131332 h 410520"/>
                <a:gd name="connsiteX495" fmla="*/ 1515131 w 2663946"/>
                <a:gd name="connsiteY495" fmla="*/ 131332 h 410520"/>
                <a:gd name="connsiteX496" fmla="*/ 1518645 w 2663946"/>
                <a:gd name="connsiteY496" fmla="*/ 131332 h 410520"/>
                <a:gd name="connsiteX497" fmla="*/ 1517719 w 2663946"/>
                <a:gd name="connsiteY497" fmla="*/ 126749 h 410520"/>
                <a:gd name="connsiteX498" fmla="*/ 1506059 w 2663946"/>
                <a:gd name="connsiteY498" fmla="*/ 119020 h 410520"/>
                <a:gd name="connsiteX499" fmla="*/ 1415120 w 2663946"/>
                <a:gd name="connsiteY499" fmla="*/ 119020 h 410520"/>
                <a:gd name="connsiteX500" fmla="*/ 1403460 w 2663946"/>
                <a:gd name="connsiteY500" fmla="*/ 126749 h 410520"/>
                <a:gd name="connsiteX501" fmla="*/ 1402535 w 2663946"/>
                <a:gd name="connsiteY501" fmla="*/ 131332 h 410520"/>
                <a:gd name="connsiteX502" fmla="*/ 1405775 w 2663946"/>
                <a:gd name="connsiteY502" fmla="*/ 131332 h 410520"/>
                <a:gd name="connsiteX503" fmla="*/ 1424192 w 2663946"/>
                <a:gd name="connsiteY503" fmla="*/ 131332 h 410520"/>
                <a:gd name="connsiteX504" fmla="*/ 1427706 w 2663946"/>
                <a:gd name="connsiteY504" fmla="*/ 131332 h 410520"/>
                <a:gd name="connsiteX505" fmla="*/ 1426780 w 2663946"/>
                <a:gd name="connsiteY505" fmla="*/ 126749 h 410520"/>
                <a:gd name="connsiteX506" fmla="*/ 1415120 w 2663946"/>
                <a:gd name="connsiteY506" fmla="*/ 119020 h 410520"/>
                <a:gd name="connsiteX507" fmla="*/ 1157152 w 2663946"/>
                <a:gd name="connsiteY507" fmla="*/ 119020 h 410520"/>
                <a:gd name="connsiteX508" fmla="*/ 1145492 w 2663946"/>
                <a:gd name="connsiteY508" fmla="*/ 126749 h 410520"/>
                <a:gd name="connsiteX509" fmla="*/ 1144567 w 2663946"/>
                <a:gd name="connsiteY509" fmla="*/ 131332 h 410520"/>
                <a:gd name="connsiteX510" fmla="*/ 1147807 w 2663946"/>
                <a:gd name="connsiteY510" fmla="*/ 131332 h 410520"/>
                <a:gd name="connsiteX511" fmla="*/ 1166224 w 2663946"/>
                <a:gd name="connsiteY511" fmla="*/ 131332 h 410520"/>
                <a:gd name="connsiteX512" fmla="*/ 1169738 w 2663946"/>
                <a:gd name="connsiteY512" fmla="*/ 131332 h 410520"/>
                <a:gd name="connsiteX513" fmla="*/ 1168812 w 2663946"/>
                <a:gd name="connsiteY513" fmla="*/ 126749 h 410520"/>
                <a:gd name="connsiteX514" fmla="*/ 1157152 w 2663946"/>
                <a:gd name="connsiteY514" fmla="*/ 119020 h 410520"/>
                <a:gd name="connsiteX515" fmla="*/ 732156 w 2663946"/>
                <a:gd name="connsiteY515" fmla="*/ 119020 h 410520"/>
                <a:gd name="connsiteX516" fmla="*/ 720495 w 2663946"/>
                <a:gd name="connsiteY516" fmla="*/ 126749 h 410520"/>
                <a:gd name="connsiteX517" fmla="*/ 719570 w 2663946"/>
                <a:gd name="connsiteY517" fmla="*/ 131332 h 410520"/>
                <a:gd name="connsiteX518" fmla="*/ 722810 w 2663946"/>
                <a:gd name="connsiteY518" fmla="*/ 131332 h 410520"/>
                <a:gd name="connsiteX519" fmla="*/ 741228 w 2663946"/>
                <a:gd name="connsiteY519" fmla="*/ 131332 h 410520"/>
                <a:gd name="connsiteX520" fmla="*/ 744742 w 2663946"/>
                <a:gd name="connsiteY520" fmla="*/ 131332 h 410520"/>
                <a:gd name="connsiteX521" fmla="*/ 743816 w 2663946"/>
                <a:gd name="connsiteY521" fmla="*/ 126749 h 410520"/>
                <a:gd name="connsiteX522" fmla="*/ 732156 w 2663946"/>
                <a:gd name="connsiteY522" fmla="*/ 119020 h 410520"/>
                <a:gd name="connsiteX523" fmla="*/ 641217 w 2663946"/>
                <a:gd name="connsiteY523" fmla="*/ 119020 h 410520"/>
                <a:gd name="connsiteX524" fmla="*/ 629556 w 2663946"/>
                <a:gd name="connsiteY524" fmla="*/ 126749 h 410520"/>
                <a:gd name="connsiteX525" fmla="*/ 628631 w 2663946"/>
                <a:gd name="connsiteY525" fmla="*/ 131332 h 410520"/>
                <a:gd name="connsiteX526" fmla="*/ 631871 w 2663946"/>
                <a:gd name="connsiteY526" fmla="*/ 131332 h 410520"/>
                <a:gd name="connsiteX527" fmla="*/ 650289 w 2663946"/>
                <a:gd name="connsiteY527" fmla="*/ 131332 h 410520"/>
                <a:gd name="connsiteX528" fmla="*/ 653802 w 2663946"/>
                <a:gd name="connsiteY528" fmla="*/ 131332 h 410520"/>
                <a:gd name="connsiteX529" fmla="*/ 652877 w 2663946"/>
                <a:gd name="connsiteY529" fmla="*/ 126749 h 410520"/>
                <a:gd name="connsiteX530" fmla="*/ 641217 w 2663946"/>
                <a:gd name="connsiteY530" fmla="*/ 119020 h 410520"/>
                <a:gd name="connsiteX531" fmla="*/ 459266 w 2663946"/>
                <a:gd name="connsiteY531" fmla="*/ 119020 h 410520"/>
                <a:gd name="connsiteX532" fmla="*/ 447605 w 2663946"/>
                <a:gd name="connsiteY532" fmla="*/ 126749 h 410520"/>
                <a:gd name="connsiteX533" fmla="*/ 446680 w 2663946"/>
                <a:gd name="connsiteY533" fmla="*/ 131332 h 410520"/>
                <a:gd name="connsiteX534" fmla="*/ 449920 w 2663946"/>
                <a:gd name="connsiteY534" fmla="*/ 131332 h 410520"/>
                <a:gd name="connsiteX535" fmla="*/ 468337 w 2663946"/>
                <a:gd name="connsiteY535" fmla="*/ 131332 h 410520"/>
                <a:gd name="connsiteX536" fmla="*/ 471851 w 2663946"/>
                <a:gd name="connsiteY536" fmla="*/ 131332 h 410520"/>
                <a:gd name="connsiteX537" fmla="*/ 470926 w 2663946"/>
                <a:gd name="connsiteY537" fmla="*/ 126749 h 410520"/>
                <a:gd name="connsiteX538" fmla="*/ 459266 w 2663946"/>
                <a:gd name="connsiteY538" fmla="*/ 119020 h 410520"/>
                <a:gd name="connsiteX539" fmla="*/ 2361413 w 2663946"/>
                <a:gd name="connsiteY539" fmla="*/ 114660 h 410520"/>
                <a:gd name="connsiteX540" fmla="*/ 2365469 w 2663946"/>
                <a:gd name="connsiteY540" fmla="*/ 114660 h 410520"/>
                <a:gd name="connsiteX541" fmla="*/ 2370065 w 2663946"/>
                <a:gd name="connsiteY541" fmla="*/ 117094 h 410520"/>
                <a:gd name="connsiteX542" fmla="*/ 2372229 w 2663946"/>
                <a:gd name="connsiteY542" fmla="*/ 123312 h 410520"/>
                <a:gd name="connsiteX543" fmla="*/ 2372229 w 2663946"/>
                <a:gd name="connsiteY543" fmla="*/ 123853 h 410520"/>
                <a:gd name="connsiteX544" fmla="*/ 2372229 w 2663946"/>
                <a:gd name="connsiteY544" fmla="*/ 176848 h 410520"/>
                <a:gd name="connsiteX545" fmla="*/ 2372769 w 2663946"/>
                <a:gd name="connsiteY545" fmla="*/ 177388 h 410520"/>
                <a:gd name="connsiteX546" fmla="*/ 2380069 w 2663946"/>
                <a:gd name="connsiteY546" fmla="*/ 177388 h 410520"/>
                <a:gd name="connsiteX547" fmla="*/ 2384125 w 2663946"/>
                <a:gd name="connsiteY547" fmla="*/ 178470 h 410520"/>
                <a:gd name="connsiteX548" fmla="*/ 2387910 w 2663946"/>
                <a:gd name="connsiteY548" fmla="*/ 185229 h 410520"/>
                <a:gd name="connsiteX549" fmla="*/ 2385207 w 2663946"/>
                <a:gd name="connsiteY549" fmla="*/ 190907 h 410520"/>
                <a:gd name="connsiteX550" fmla="*/ 2381151 w 2663946"/>
                <a:gd name="connsiteY550" fmla="*/ 192800 h 410520"/>
                <a:gd name="connsiteX551" fmla="*/ 2380881 w 2663946"/>
                <a:gd name="connsiteY551" fmla="*/ 192800 h 410520"/>
                <a:gd name="connsiteX552" fmla="*/ 2380610 w 2663946"/>
                <a:gd name="connsiteY552" fmla="*/ 192800 h 410520"/>
                <a:gd name="connsiteX553" fmla="*/ 2380069 w 2663946"/>
                <a:gd name="connsiteY553" fmla="*/ 192800 h 410520"/>
                <a:gd name="connsiteX554" fmla="*/ 2347894 w 2663946"/>
                <a:gd name="connsiteY554" fmla="*/ 192800 h 410520"/>
                <a:gd name="connsiteX555" fmla="*/ 2347354 w 2663946"/>
                <a:gd name="connsiteY555" fmla="*/ 192800 h 410520"/>
                <a:gd name="connsiteX556" fmla="*/ 2346542 w 2663946"/>
                <a:gd name="connsiteY556" fmla="*/ 192800 h 410520"/>
                <a:gd name="connsiteX557" fmla="*/ 2345731 w 2663946"/>
                <a:gd name="connsiteY557" fmla="*/ 192530 h 410520"/>
                <a:gd name="connsiteX558" fmla="*/ 2342216 w 2663946"/>
                <a:gd name="connsiteY558" fmla="*/ 190637 h 410520"/>
                <a:gd name="connsiteX559" fmla="*/ 2339783 w 2663946"/>
                <a:gd name="connsiteY559" fmla="*/ 184959 h 410520"/>
                <a:gd name="connsiteX560" fmla="*/ 2341946 w 2663946"/>
                <a:gd name="connsiteY560" fmla="*/ 179822 h 410520"/>
                <a:gd name="connsiteX561" fmla="*/ 2347624 w 2663946"/>
                <a:gd name="connsiteY561" fmla="*/ 177388 h 410520"/>
                <a:gd name="connsiteX562" fmla="*/ 2355465 w 2663946"/>
                <a:gd name="connsiteY562" fmla="*/ 177388 h 410520"/>
                <a:gd name="connsiteX563" fmla="*/ 2356006 w 2663946"/>
                <a:gd name="connsiteY563" fmla="*/ 176848 h 410520"/>
                <a:gd name="connsiteX564" fmla="*/ 2356006 w 2663946"/>
                <a:gd name="connsiteY564" fmla="*/ 130883 h 410520"/>
                <a:gd name="connsiteX565" fmla="*/ 2355465 w 2663946"/>
                <a:gd name="connsiteY565" fmla="*/ 130342 h 410520"/>
                <a:gd name="connsiteX566" fmla="*/ 2349517 w 2663946"/>
                <a:gd name="connsiteY566" fmla="*/ 130342 h 410520"/>
                <a:gd name="connsiteX567" fmla="*/ 2342216 w 2663946"/>
                <a:gd name="connsiteY567" fmla="*/ 125746 h 410520"/>
                <a:gd name="connsiteX568" fmla="*/ 2341946 w 2663946"/>
                <a:gd name="connsiteY568" fmla="*/ 120068 h 410520"/>
                <a:gd name="connsiteX569" fmla="*/ 2349246 w 2663946"/>
                <a:gd name="connsiteY569" fmla="*/ 114931 h 410520"/>
                <a:gd name="connsiteX570" fmla="*/ 2361413 w 2663946"/>
                <a:gd name="connsiteY570" fmla="*/ 114660 h 410520"/>
                <a:gd name="connsiteX571" fmla="*/ 2285396 w 2663946"/>
                <a:gd name="connsiteY571" fmla="*/ 114660 h 410520"/>
                <a:gd name="connsiteX572" fmla="*/ 2289452 w 2663946"/>
                <a:gd name="connsiteY572" fmla="*/ 114660 h 410520"/>
                <a:gd name="connsiteX573" fmla="*/ 2294048 w 2663946"/>
                <a:gd name="connsiteY573" fmla="*/ 117094 h 410520"/>
                <a:gd name="connsiteX574" fmla="*/ 2296212 w 2663946"/>
                <a:gd name="connsiteY574" fmla="*/ 123312 h 410520"/>
                <a:gd name="connsiteX575" fmla="*/ 2296212 w 2663946"/>
                <a:gd name="connsiteY575" fmla="*/ 123853 h 410520"/>
                <a:gd name="connsiteX576" fmla="*/ 2296212 w 2663946"/>
                <a:gd name="connsiteY576" fmla="*/ 176848 h 410520"/>
                <a:gd name="connsiteX577" fmla="*/ 2296752 w 2663946"/>
                <a:gd name="connsiteY577" fmla="*/ 177388 h 410520"/>
                <a:gd name="connsiteX578" fmla="*/ 2304052 w 2663946"/>
                <a:gd name="connsiteY578" fmla="*/ 177388 h 410520"/>
                <a:gd name="connsiteX579" fmla="*/ 2308108 w 2663946"/>
                <a:gd name="connsiteY579" fmla="*/ 178470 h 410520"/>
                <a:gd name="connsiteX580" fmla="*/ 2311893 w 2663946"/>
                <a:gd name="connsiteY580" fmla="*/ 185229 h 410520"/>
                <a:gd name="connsiteX581" fmla="*/ 2309190 w 2663946"/>
                <a:gd name="connsiteY581" fmla="*/ 190907 h 410520"/>
                <a:gd name="connsiteX582" fmla="*/ 2305134 w 2663946"/>
                <a:gd name="connsiteY582" fmla="*/ 192800 h 410520"/>
                <a:gd name="connsiteX583" fmla="*/ 2304864 w 2663946"/>
                <a:gd name="connsiteY583" fmla="*/ 192800 h 410520"/>
                <a:gd name="connsiteX584" fmla="*/ 2304593 w 2663946"/>
                <a:gd name="connsiteY584" fmla="*/ 192800 h 410520"/>
                <a:gd name="connsiteX585" fmla="*/ 2304052 w 2663946"/>
                <a:gd name="connsiteY585" fmla="*/ 192800 h 410520"/>
                <a:gd name="connsiteX586" fmla="*/ 2271877 w 2663946"/>
                <a:gd name="connsiteY586" fmla="*/ 192800 h 410520"/>
                <a:gd name="connsiteX587" fmla="*/ 2271337 w 2663946"/>
                <a:gd name="connsiteY587" fmla="*/ 192800 h 410520"/>
                <a:gd name="connsiteX588" fmla="*/ 2270525 w 2663946"/>
                <a:gd name="connsiteY588" fmla="*/ 192800 h 410520"/>
                <a:gd name="connsiteX589" fmla="*/ 2269714 w 2663946"/>
                <a:gd name="connsiteY589" fmla="*/ 192530 h 410520"/>
                <a:gd name="connsiteX590" fmla="*/ 2266199 w 2663946"/>
                <a:gd name="connsiteY590" fmla="*/ 190637 h 410520"/>
                <a:gd name="connsiteX591" fmla="*/ 2263766 w 2663946"/>
                <a:gd name="connsiteY591" fmla="*/ 184959 h 410520"/>
                <a:gd name="connsiteX592" fmla="*/ 2265929 w 2663946"/>
                <a:gd name="connsiteY592" fmla="*/ 179822 h 410520"/>
                <a:gd name="connsiteX593" fmla="*/ 2271607 w 2663946"/>
                <a:gd name="connsiteY593" fmla="*/ 177388 h 410520"/>
                <a:gd name="connsiteX594" fmla="*/ 2279448 w 2663946"/>
                <a:gd name="connsiteY594" fmla="*/ 177388 h 410520"/>
                <a:gd name="connsiteX595" fmla="*/ 2279989 w 2663946"/>
                <a:gd name="connsiteY595" fmla="*/ 176848 h 410520"/>
                <a:gd name="connsiteX596" fmla="*/ 2279989 w 2663946"/>
                <a:gd name="connsiteY596" fmla="*/ 130883 h 410520"/>
                <a:gd name="connsiteX597" fmla="*/ 2279448 w 2663946"/>
                <a:gd name="connsiteY597" fmla="*/ 130342 h 410520"/>
                <a:gd name="connsiteX598" fmla="*/ 2273500 w 2663946"/>
                <a:gd name="connsiteY598" fmla="*/ 130342 h 410520"/>
                <a:gd name="connsiteX599" fmla="*/ 2266199 w 2663946"/>
                <a:gd name="connsiteY599" fmla="*/ 125746 h 410520"/>
                <a:gd name="connsiteX600" fmla="*/ 2265929 w 2663946"/>
                <a:gd name="connsiteY600" fmla="*/ 120068 h 410520"/>
                <a:gd name="connsiteX601" fmla="*/ 2273229 w 2663946"/>
                <a:gd name="connsiteY601" fmla="*/ 114931 h 410520"/>
                <a:gd name="connsiteX602" fmla="*/ 2285396 w 2663946"/>
                <a:gd name="connsiteY602" fmla="*/ 114660 h 410520"/>
                <a:gd name="connsiteX603" fmla="*/ 1936416 w 2663946"/>
                <a:gd name="connsiteY603" fmla="*/ 114660 h 410520"/>
                <a:gd name="connsiteX604" fmla="*/ 1940472 w 2663946"/>
                <a:gd name="connsiteY604" fmla="*/ 114660 h 410520"/>
                <a:gd name="connsiteX605" fmla="*/ 1945068 w 2663946"/>
                <a:gd name="connsiteY605" fmla="*/ 117094 h 410520"/>
                <a:gd name="connsiteX606" fmla="*/ 1947232 w 2663946"/>
                <a:gd name="connsiteY606" fmla="*/ 123312 h 410520"/>
                <a:gd name="connsiteX607" fmla="*/ 1947232 w 2663946"/>
                <a:gd name="connsiteY607" fmla="*/ 123853 h 410520"/>
                <a:gd name="connsiteX608" fmla="*/ 1947232 w 2663946"/>
                <a:gd name="connsiteY608" fmla="*/ 176848 h 410520"/>
                <a:gd name="connsiteX609" fmla="*/ 1947772 w 2663946"/>
                <a:gd name="connsiteY609" fmla="*/ 177388 h 410520"/>
                <a:gd name="connsiteX610" fmla="*/ 1955072 w 2663946"/>
                <a:gd name="connsiteY610" fmla="*/ 177388 h 410520"/>
                <a:gd name="connsiteX611" fmla="*/ 1959128 w 2663946"/>
                <a:gd name="connsiteY611" fmla="*/ 178470 h 410520"/>
                <a:gd name="connsiteX612" fmla="*/ 1962913 w 2663946"/>
                <a:gd name="connsiteY612" fmla="*/ 185229 h 410520"/>
                <a:gd name="connsiteX613" fmla="*/ 1960210 w 2663946"/>
                <a:gd name="connsiteY613" fmla="*/ 190907 h 410520"/>
                <a:gd name="connsiteX614" fmla="*/ 1956154 w 2663946"/>
                <a:gd name="connsiteY614" fmla="*/ 192800 h 410520"/>
                <a:gd name="connsiteX615" fmla="*/ 1955884 w 2663946"/>
                <a:gd name="connsiteY615" fmla="*/ 192800 h 410520"/>
                <a:gd name="connsiteX616" fmla="*/ 1955613 w 2663946"/>
                <a:gd name="connsiteY616" fmla="*/ 192800 h 410520"/>
                <a:gd name="connsiteX617" fmla="*/ 1955072 w 2663946"/>
                <a:gd name="connsiteY617" fmla="*/ 192800 h 410520"/>
                <a:gd name="connsiteX618" fmla="*/ 1922897 w 2663946"/>
                <a:gd name="connsiteY618" fmla="*/ 192800 h 410520"/>
                <a:gd name="connsiteX619" fmla="*/ 1922357 w 2663946"/>
                <a:gd name="connsiteY619" fmla="*/ 192800 h 410520"/>
                <a:gd name="connsiteX620" fmla="*/ 1921545 w 2663946"/>
                <a:gd name="connsiteY620" fmla="*/ 192800 h 410520"/>
                <a:gd name="connsiteX621" fmla="*/ 1920734 w 2663946"/>
                <a:gd name="connsiteY621" fmla="*/ 192530 h 410520"/>
                <a:gd name="connsiteX622" fmla="*/ 1917219 w 2663946"/>
                <a:gd name="connsiteY622" fmla="*/ 190637 h 410520"/>
                <a:gd name="connsiteX623" fmla="*/ 1914786 w 2663946"/>
                <a:gd name="connsiteY623" fmla="*/ 184959 h 410520"/>
                <a:gd name="connsiteX624" fmla="*/ 1916949 w 2663946"/>
                <a:gd name="connsiteY624" fmla="*/ 179822 h 410520"/>
                <a:gd name="connsiteX625" fmla="*/ 1922627 w 2663946"/>
                <a:gd name="connsiteY625" fmla="*/ 177388 h 410520"/>
                <a:gd name="connsiteX626" fmla="*/ 1930468 w 2663946"/>
                <a:gd name="connsiteY626" fmla="*/ 177388 h 410520"/>
                <a:gd name="connsiteX627" fmla="*/ 1931009 w 2663946"/>
                <a:gd name="connsiteY627" fmla="*/ 176848 h 410520"/>
                <a:gd name="connsiteX628" fmla="*/ 1931009 w 2663946"/>
                <a:gd name="connsiteY628" fmla="*/ 130883 h 410520"/>
                <a:gd name="connsiteX629" fmla="*/ 1930468 w 2663946"/>
                <a:gd name="connsiteY629" fmla="*/ 130342 h 410520"/>
                <a:gd name="connsiteX630" fmla="*/ 1924520 w 2663946"/>
                <a:gd name="connsiteY630" fmla="*/ 130342 h 410520"/>
                <a:gd name="connsiteX631" fmla="*/ 1917219 w 2663946"/>
                <a:gd name="connsiteY631" fmla="*/ 125746 h 410520"/>
                <a:gd name="connsiteX632" fmla="*/ 1916949 w 2663946"/>
                <a:gd name="connsiteY632" fmla="*/ 120068 h 410520"/>
                <a:gd name="connsiteX633" fmla="*/ 1924249 w 2663946"/>
                <a:gd name="connsiteY633" fmla="*/ 114931 h 410520"/>
                <a:gd name="connsiteX634" fmla="*/ 1936416 w 2663946"/>
                <a:gd name="connsiteY634" fmla="*/ 114660 h 410520"/>
                <a:gd name="connsiteX635" fmla="*/ 1678521 w 2663946"/>
                <a:gd name="connsiteY635" fmla="*/ 114660 h 410520"/>
                <a:gd name="connsiteX636" fmla="*/ 1682577 w 2663946"/>
                <a:gd name="connsiteY636" fmla="*/ 114660 h 410520"/>
                <a:gd name="connsiteX637" fmla="*/ 1687173 w 2663946"/>
                <a:gd name="connsiteY637" fmla="*/ 117094 h 410520"/>
                <a:gd name="connsiteX638" fmla="*/ 1689336 w 2663946"/>
                <a:gd name="connsiteY638" fmla="*/ 123312 h 410520"/>
                <a:gd name="connsiteX639" fmla="*/ 1689336 w 2663946"/>
                <a:gd name="connsiteY639" fmla="*/ 123853 h 410520"/>
                <a:gd name="connsiteX640" fmla="*/ 1689336 w 2663946"/>
                <a:gd name="connsiteY640" fmla="*/ 176848 h 410520"/>
                <a:gd name="connsiteX641" fmla="*/ 1689877 w 2663946"/>
                <a:gd name="connsiteY641" fmla="*/ 177388 h 410520"/>
                <a:gd name="connsiteX642" fmla="*/ 1697177 w 2663946"/>
                <a:gd name="connsiteY642" fmla="*/ 177388 h 410520"/>
                <a:gd name="connsiteX643" fmla="*/ 1701233 w 2663946"/>
                <a:gd name="connsiteY643" fmla="*/ 178470 h 410520"/>
                <a:gd name="connsiteX644" fmla="*/ 1705018 w 2663946"/>
                <a:gd name="connsiteY644" fmla="*/ 185229 h 410520"/>
                <a:gd name="connsiteX645" fmla="*/ 1702315 w 2663946"/>
                <a:gd name="connsiteY645" fmla="*/ 190907 h 410520"/>
                <a:gd name="connsiteX646" fmla="*/ 1698259 w 2663946"/>
                <a:gd name="connsiteY646" fmla="*/ 192800 h 410520"/>
                <a:gd name="connsiteX647" fmla="*/ 1697989 w 2663946"/>
                <a:gd name="connsiteY647" fmla="*/ 192800 h 410520"/>
                <a:gd name="connsiteX648" fmla="*/ 1697718 w 2663946"/>
                <a:gd name="connsiteY648" fmla="*/ 192800 h 410520"/>
                <a:gd name="connsiteX649" fmla="*/ 1697177 w 2663946"/>
                <a:gd name="connsiteY649" fmla="*/ 192800 h 410520"/>
                <a:gd name="connsiteX650" fmla="*/ 1665002 w 2663946"/>
                <a:gd name="connsiteY650" fmla="*/ 192800 h 410520"/>
                <a:gd name="connsiteX651" fmla="*/ 1664462 w 2663946"/>
                <a:gd name="connsiteY651" fmla="*/ 192800 h 410520"/>
                <a:gd name="connsiteX652" fmla="*/ 1663650 w 2663946"/>
                <a:gd name="connsiteY652" fmla="*/ 192800 h 410520"/>
                <a:gd name="connsiteX653" fmla="*/ 1662839 w 2663946"/>
                <a:gd name="connsiteY653" fmla="*/ 192530 h 410520"/>
                <a:gd name="connsiteX654" fmla="*/ 1659324 w 2663946"/>
                <a:gd name="connsiteY654" fmla="*/ 190637 h 410520"/>
                <a:gd name="connsiteX655" fmla="*/ 1656891 w 2663946"/>
                <a:gd name="connsiteY655" fmla="*/ 184959 h 410520"/>
                <a:gd name="connsiteX656" fmla="*/ 1659054 w 2663946"/>
                <a:gd name="connsiteY656" fmla="*/ 179822 h 410520"/>
                <a:gd name="connsiteX657" fmla="*/ 1664732 w 2663946"/>
                <a:gd name="connsiteY657" fmla="*/ 177388 h 410520"/>
                <a:gd name="connsiteX658" fmla="*/ 1672573 w 2663946"/>
                <a:gd name="connsiteY658" fmla="*/ 177388 h 410520"/>
                <a:gd name="connsiteX659" fmla="*/ 1673114 w 2663946"/>
                <a:gd name="connsiteY659" fmla="*/ 176848 h 410520"/>
                <a:gd name="connsiteX660" fmla="*/ 1673114 w 2663946"/>
                <a:gd name="connsiteY660" fmla="*/ 130883 h 410520"/>
                <a:gd name="connsiteX661" fmla="*/ 1672573 w 2663946"/>
                <a:gd name="connsiteY661" fmla="*/ 130342 h 410520"/>
                <a:gd name="connsiteX662" fmla="*/ 1666625 w 2663946"/>
                <a:gd name="connsiteY662" fmla="*/ 130342 h 410520"/>
                <a:gd name="connsiteX663" fmla="*/ 1659324 w 2663946"/>
                <a:gd name="connsiteY663" fmla="*/ 125746 h 410520"/>
                <a:gd name="connsiteX664" fmla="*/ 1659054 w 2663946"/>
                <a:gd name="connsiteY664" fmla="*/ 120068 h 410520"/>
                <a:gd name="connsiteX665" fmla="*/ 1666354 w 2663946"/>
                <a:gd name="connsiteY665" fmla="*/ 114931 h 410520"/>
                <a:gd name="connsiteX666" fmla="*/ 1678521 w 2663946"/>
                <a:gd name="connsiteY666" fmla="*/ 114660 h 410520"/>
                <a:gd name="connsiteX667" fmla="*/ 1329614 w 2663946"/>
                <a:gd name="connsiteY667" fmla="*/ 114660 h 410520"/>
                <a:gd name="connsiteX668" fmla="*/ 1333670 w 2663946"/>
                <a:gd name="connsiteY668" fmla="*/ 114660 h 410520"/>
                <a:gd name="connsiteX669" fmla="*/ 1338266 w 2663946"/>
                <a:gd name="connsiteY669" fmla="*/ 117094 h 410520"/>
                <a:gd name="connsiteX670" fmla="*/ 1340429 w 2663946"/>
                <a:gd name="connsiteY670" fmla="*/ 123312 h 410520"/>
                <a:gd name="connsiteX671" fmla="*/ 1340429 w 2663946"/>
                <a:gd name="connsiteY671" fmla="*/ 123853 h 410520"/>
                <a:gd name="connsiteX672" fmla="*/ 1340429 w 2663946"/>
                <a:gd name="connsiteY672" fmla="*/ 176848 h 410520"/>
                <a:gd name="connsiteX673" fmla="*/ 1340970 w 2663946"/>
                <a:gd name="connsiteY673" fmla="*/ 177388 h 410520"/>
                <a:gd name="connsiteX674" fmla="*/ 1348270 w 2663946"/>
                <a:gd name="connsiteY674" fmla="*/ 177388 h 410520"/>
                <a:gd name="connsiteX675" fmla="*/ 1352326 w 2663946"/>
                <a:gd name="connsiteY675" fmla="*/ 178470 h 410520"/>
                <a:gd name="connsiteX676" fmla="*/ 1356111 w 2663946"/>
                <a:gd name="connsiteY676" fmla="*/ 185229 h 410520"/>
                <a:gd name="connsiteX677" fmla="*/ 1353408 w 2663946"/>
                <a:gd name="connsiteY677" fmla="*/ 190907 h 410520"/>
                <a:gd name="connsiteX678" fmla="*/ 1349352 w 2663946"/>
                <a:gd name="connsiteY678" fmla="*/ 192800 h 410520"/>
                <a:gd name="connsiteX679" fmla="*/ 1349082 w 2663946"/>
                <a:gd name="connsiteY679" fmla="*/ 192800 h 410520"/>
                <a:gd name="connsiteX680" fmla="*/ 1348811 w 2663946"/>
                <a:gd name="connsiteY680" fmla="*/ 192800 h 410520"/>
                <a:gd name="connsiteX681" fmla="*/ 1348270 w 2663946"/>
                <a:gd name="connsiteY681" fmla="*/ 192800 h 410520"/>
                <a:gd name="connsiteX682" fmla="*/ 1316095 w 2663946"/>
                <a:gd name="connsiteY682" fmla="*/ 192800 h 410520"/>
                <a:gd name="connsiteX683" fmla="*/ 1315555 w 2663946"/>
                <a:gd name="connsiteY683" fmla="*/ 192800 h 410520"/>
                <a:gd name="connsiteX684" fmla="*/ 1314743 w 2663946"/>
                <a:gd name="connsiteY684" fmla="*/ 192800 h 410520"/>
                <a:gd name="connsiteX685" fmla="*/ 1313932 w 2663946"/>
                <a:gd name="connsiteY685" fmla="*/ 192530 h 410520"/>
                <a:gd name="connsiteX686" fmla="*/ 1310417 w 2663946"/>
                <a:gd name="connsiteY686" fmla="*/ 190637 h 410520"/>
                <a:gd name="connsiteX687" fmla="*/ 1307984 w 2663946"/>
                <a:gd name="connsiteY687" fmla="*/ 184959 h 410520"/>
                <a:gd name="connsiteX688" fmla="*/ 1310147 w 2663946"/>
                <a:gd name="connsiteY688" fmla="*/ 179822 h 410520"/>
                <a:gd name="connsiteX689" fmla="*/ 1315825 w 2663946"/>
                <a:gd name="connsiteY689" fmla="*/ 177388 h 410520"/>
                <a:gd name="connsiteX690" fmla="*/ 1323666 w 2663946"/>
                <a:gd name="connsiteY690" fmla="*/ 177388 h 410520"/>
                <a:gd name="connsiteX691" fmla="*/ 1324207 w 2663946"/>
                <a:gd name="connsiteY691" fmla="*/ 176848 h 410520"/>
                <a:gd name="connsiteX692" fmla="*/ 1324207 w 2663946"/>
                <a:gd name="connsiteY692" fmla="*/ 130883 h 410520"/>
                <a:gd name="connsiteX693" fmla="*/ 1323666 w 2663946"/>
                <a:gd name="connsiteY693" fmla="*/ 130342 h 410520"/>
                <a:gd name="connsiteX694" fmla="*/ 1317718 w 2663946"/>
                <a:gd name="connsiteY694" fmla="*/ 130342 h 410520"/>
                <a:gd name="connsiteX695" fmla="*/ 1310417 w 2663946"/>
                <a:gd name="connsiteY695" fmla="*/ 125746 h 410520"/>
                <a:gd name="connsiteX696" fmla="*/ 1310147 w 2663946"/>
                <a:gd name="connsiteY696" fmla="*/ 120068 h 410520"/>
                <a:gd name="connsiteX697" fmla="*/ 1317447 w 2663946"/>
                <a:gd name="connsiteY697" fmla="*/ 114931 h 410520"/>
                <a:gd name="connsiteX698" fmla="*/ 1329614 w 2663946"/>
                <a:gd name="connsiteY698" fmla="*/ 114660 h 410520"/>
                <a:gd name="connsiteX699" fmla="*/ 980634 w 2663946"/>
                <a:gd name="connsiteY699" fmla="*/ 114660 h 410520"/>
                <a:gd name="connsiteX700" fmla="*/ 984690 w 2663946"/>
                <a:gd name="connsiteY700" fmla="*/ 114660 h 410520"/>
                <a:gd name="connsiteX701" fmla="*/ 989286 w 2663946"/>
                <a:gd name="connsiteY701" fmla="*/ 117094 h 410520"/>
                <a:gd name="connsiteX702" fmla="*/ 991449 w 2663946"/>
                <a:gd name="connsiteY702" fmla="*/ 123312 h 410520"/>
                <a:gd name="connsiteX703" fmla="*/ 991449 w 2663946"/>
                <a:gd name="connsiteY703" fmla="*/ 123853 h 410520"/>
                <a:gd name="connsiteX704" fmla="*/ 991449 w 2663946"/>
                <a:gd name="connsiteY704" fmla="*/ 176848 h 410520"/>
                <a:gd name="connsiteX705" fmla="*/ 991990 w 2663946"/>
                <a:gd name="connsiteY705" fmla="*/ 177388 h 410520"/>
                <a:gd name="connsiteX706" fmla="*/ 999290 w 2663946"/>
                <a:gd name="connsiteY706" fmla="*/ 177388 h 410520"/>
                <a:gd name="connsiteX707" fmla="*/ 1003346 w 2663946"/>
                <a:gd name="connsiteY707" fmla="*/ 178470 h 410520"/>
                <a:gd name="connsiteX708" fmla="*/ 1007131 w 2663946"/>
                <a:gd name="connsiteY708" fmla="*/ 185229 h 410520"/>
                <a:gd name="connsiteX709" fmla="*/ 1004428 w 2663946"/>
                <a:gd name="connsiteY709" fmla="*/ 190907 h 410520"/>
                <a:gd name="connsiteX710" fmla="*/ 1000372 w 2663946"/>
                <a:gd name="connsiteY710" fmla="*/ 192800 h 410520"/>
                <a:gd name="connsiteX711" fmla="*/ 1000102 w 2663946"/>
                <a:gd name="connsiteY711" fmla="*/ 192800 h 410520"/>
                <a:gd name="connsiteX712" fmla="*/ 999831 w 2663946"/>
                <a:gd name="connsiteY712" fmla="*/ 192800 h 410520"/>
                <a:gd name="connsiteX713" fmla="*/ 999290 w 2663946"/>
                <a:gd name="connsiteY713" fmla="*/ 192800 h 410520"/>
                <a:gd name="connsiteX714" fmla="*/ 967115 w 2663946"/>
                <a:gd name="connsiteY714" fmla="*/ 192800 h 410520"/>
                <a:gd name="connsiteX715" fmla="*/ 966575 w 2663946"/>
                <a:gd name="connsiteY715" fmla="*/ 192800 h 410520"/>
                <a:gd name="connsiteX716" fmla="*/ 965763 w 2663946"/>
                <a:gd name="connsiteY716" fmla="*/ 192800 h 410520"/>
                <a:gd name="connsiteX717" fmla="*/ 964952 w 2663946"/>
                <a:gd name="connsiteY717" fmla="*/ 192530 h 410520"/>
                <a:gd name="connsiteX718" fmla="*/ 961437 w 2663946"/>
                <a:gd name="connsiteY718" fmla="*/ 190637 h 410520"/>
                <a:gd name="connsiteX719" fmla="*/ 959004 w 2663946"/>
                <a:gd name="connsiteY719" fmla="*/ 184959 h 410520"/>
                <a:gd name="connsiteX720" fmla="*/ 961167 w 2663946"/>
                <a:gd name="connsiteY720" fmla="*/ 179822 h 410520"/>
                <a:gd name="connsiteX721" fmla="*/ 966845 w 2663946"/>
                <a:gd name="connsiteY721" fmla="*/ 177388 h 410520"/>
                <a:gd name="connsiteX722" fmla="*/ 974686 w 2663946"/>
                <a:gd name="connsiteY722" fmla="*/ 177388 h 410520"/>
                <a:gd name="connsiteX723" fmla="*/ 975227 w 2663946"/>
                <a:gd name="connsiteY723" fmla="*/ 176848 h 410520"/>
                <a:gd name="connsiteX724" fmla="*/ 975227 w 2663946"/>
                <a:gd name="connsiteY724" fmla="*/ 130883 h 410520"/>
                <a:gd name="connsiteX725" fmla="*/ 974686 w 2663946"/>
                <a:gd name="connsiteY725" fmla="*/ 130342 h 410520"/>
                <a:gd name="connsiteX726" fmla="*/ 968738 w 2663946"/>
                <a:gd name="connsiteY726" fmla="*/ 130342 h 410520"/>
                <a:gd name="connsiteX727" fmla="*/ 961437 w 2663946"/>
                <a:gd name="connsiteY727" fmla="*/ 125746 h 410520"/>
                <a:gd name="connsiteX728" fmla="*/ 961167 w 2663946"/>
                <a:gd name="connsiteY728" fmla="*/ 120068 h 410520"/>
                <a:gd name="connsiteX729" fmla="*/ 968467 w 2663946"/>
                <a:gd name="connsiteY729" fmla="*/ 114931 h 410520"/>
                <a:gd name="connsiteX730" fmla="*/ 980634 w 2663946"/>
                <a:gd name="connsiteY730" fmla="*/ 114660 h 410520"/>
                <a:gd name="connsiteX731" fmla="*/ 813605 w 2663946"/>
                <a:gd name="connsiteY731" fmla="*/ 114660 h 410520"/>
                <a:gd name="connsiteX732" fmla="*/ 817661 w 2663946"/>
                <a:gd name="connsiteY732" fmla="*/ 114660 h 410520"/>
                <a:gd name="connsiteX733" fmla="*/ 822257 w 2663946"/>
                <a:gd name="connsiteY733" fmla="*/ 117094 h 410520"/>
                <a:gd name="connsiteX734" fmla="*/ 824420 w 2663946"/>
                <a:gd name="connsiteY734" fmla="*/ 123312 h 410520"/>
                <a:gd name="connsiteX735" fmla="*/ 824420 w 2663946"/>
                <a:gd name="connsiteY735" fmla="*/ 123853 h 410520"/>
                <a:gd name="connsiteX736" fmla="*/ 824420 w 2663946"/>
                <a:gd name="connsiteY736" fmla="*/ 176848 h 410520"/>
                <a:gd name="connsiteX737" fmla="*/ 824961 w 2663946"/>
                <a:gd name="connsiteY737" fmla="*/ 177388 h 410520"/>
                <a:gd name="connsiteX738" fmla="*/ 832261 w 2663946"/>
                <a:gd name="connsiteY738" fmla="*/ 177388 h 410520"/>
                <a:gd name="connsiteX739" fmla="*/ 836317 w 2663946"/>
                <a:gd name="connsiteY739" fmla="*/ 178470 h 410520"/>
                <a:gd name="connsiteX740" fmla="*/ 840102 w 2663946"/>
                <a:gd name="connsiteY740" fmla="*/ 185229 h 410520"/>
                <a:gd name="connsiteX741" fmla="*/ 837399 w 2663946"/>
                <a:gd name="connsiteY741" fmla="*/ 190907 h 410520"/>
                <a:gd name="connsiteX742" fmla="*/ 833343 w 2663946"/>
                <a:gd name="connsiteY742" fmla="*/ 192800 h 410520"/>
                <a:gd name="connsiteX743" fmla="*/ 833073 w 2663946"/>
                <a:gd name="connsiteY743" fmla="*/ 192800 h 410520"/>
                <a:gd name="connsiteX744" fmla="*/ 832802 w 2663946"/>
                <a:gd name="connsiteY744" fmla="*/ 192800 h 410520"/>
                <a:gd name="connsiteX745" fmla="*/ 832261 w 2663946"/>
                <a:gd name="connsiteY745" fmla="*/ 192800 h 410520"/>
                <a:gd name="connsiteX746" fmla="*/ 800086 w 2663946"/>
                <a:gd name="connsiteY746" fmla="*/ 192800 h 410520"/>
                <a:gd name="connsiteX747" fmla="*/ 799546 w 2663946"/>
                <a:gd name="connsiteY747" fmla="*/ 192800 h 410520"/>
                <a:gd name="connsiteX748" fmla="*/ 798734 w 2663946"/>
                <a:gd name="connsiteY748" fmla="*/ 192800 h 410520"/>
                <a:gd name="connsiteX749" fmla="*/ 797923 w 2663946"/>
                <a:gd name="connsiteY749" fmla="*/ 192530 h 410520"/>
                <a:gd name="connsiteX750" fmla="*/ 794408 w 2663946"/>
                <a:gd name="connsiteY750" fmla="*/ 190637 h 410520"/>
                <a:gd name="connsiteX751" fmla="*/ 791975 w 2663946"/>
                <a:gd name="connsiteY751" fmla="*/ 184959 h 410520"/>
                <a:gd name="connsiteX752" fmla="*/ 794138 w 2663946"/>
                <a:gd name="connsiteY752" fmla="*/ 179822 h 410520"/>
                <a:gd name="connsiteX753" fmla="*/ 799816 w 2663946"/>
                <a:gd name="connsiteY753" fmla="*/ 177388 h 410520"/>
                <a:gd name="connsiteX754" fmla="*/ 807657 w 2663946"/>
                <a:gd name="connsiteY754" fmla="*/ 177388 h 410520"/>
                <a:gd name="connsiteX755" fmla="*/ 808198 w 2663946"/>
                <a:gd name="connsiteY755" fmla="*/ 176848 h 410520"/>
                <a:gd name="connsiteX756" fmla="*/ 808198 w 2663946"/>
                <a:gd name="connsiteY756" fmla="*/ 130883 h 410520"/>
                <a:gd name="connsiteX757" fmla="*/ 807657 w 2663946"/>
                <a:gd name="connsiteY757" fmla="*/ 130342 h 410520"/>
                <a:gd name="connsiteX758" fmla="*/ 801709 w 2663946"/>
                <a:gd name="connsiteY758" fmla="*/ 130342 h 410520"/>
                <a:gd name="connsiteX759" fmla="*/ 794408 w 2663946"/>
                <a:gd name="connsiteY759" fmla="*/ 125746 h 410520"/>
                <a:gd name="connsiteX760" fmla="*/ 794138 w 2663946"/>
                <a:gd name="connsiteY760" fmla="*/ 120068 h 410520"/>
                <a:gd name="connsiteX761" fmla="*/ 801438 w 2663946"/>
                <a:gd name="connsiteY761" fmla="*/ 114931 h 410520"/>
                <a:gd name="connsiteX762" fmla="*/ 813605 w 2663946"/>
                <a:gd name="connsiteY762" fmla="*/ 114660 h 410520"/>
                <a:gd name="connsiteX763" fmla="*/ 282748 w 2663946"/>
                <a:gd name="connsiteY763" fmla="*/ 114660 h 410520"/>
                <a:gd name="connsiteX764" fmla="*/ 286803 w 2663946"/>
                <a:gd name="connsiteY764" fmla="*/ 114660 h 410520"/>
                <a:gd name="connsiteX765" fmla="*/ 291400 w 2663946"/>
                <a:gd name="connsiteY765" fmla="*/ 117094 h 410520"/>
                <a:gd name="connsiteX766" fmla="*/ 293563 w 2663946"/>
                <a:gd name="connsiteY766" fmla="*/ 123312 h 410520"/>
                <a:gd name="connsiteX767" fmla="*/ 293563 w 2663946"/>
                <a:gd name="connsiteY767" fmla="*/ 123853 h 410520"/>
                <a:gd name="connsiteX768" fmla="*/ 293563 w 2663946"/>
                <a:gd name="connsiteY768" fmla="*/ 176848 h 410520"/>
                <a:gd name="connsiteX769" fmla="*/ 294104 w 2663946"/>
                <a:gd name="connsiteY769" fmla="*/ 177388 h 410520"/>
                <a:gd name="connsiteX770" fmla="*/ 301404 w 2663946"/>
                <a:gd name="connsiteY770" fmla="*/ 177388 h 410520"/>
                <a:gd name="connsiteX771" fmla="*/ 305460 w 2663946"/>
                <a:gd name="connsiteY771" fmla="*/ 178470 h 410520"/>
                <a:gd name="connsiteX772" fmla="*/ 309245 w 2663946"/>
                <a:gd name="connsiteY772" fmla="*/ 185229 h 410520"/>
                <a:gd name="connsiteX773" fmla="*/ 306541 w 2663946"/>
                <a:gd name="connsiteY773" fmla="*/ 190907 h 410520"/>
                <a:gd name="connsiteX774" fmla="*/ 302485 w 2663946"/>
                <a:gd name="connsiteY774" fmla="*/ 192800 h 410520"/>
                <a:gd name="connsiteX775" fmla="*/ 302215 w 2663946"/>
                <a:gd name="connsiteY775" fmla="*/ 192800 h 410520"/>
                <a:gd name="connsiteX776" fmla="*/ 301945 w 2663946"/>
                <a:gd name="connsiteY776" fmla="*/ 192800 h 410520"/>
                <a:gd name="connsiteX777" fmla="*/ 301404 w 2663946"/>
                <a:gd name="connsiteY777" fmla="*/ 192800 h 410520"/>
                <a:gd name="connsiteX778" fmla="*/ 269229 w 2663946"/>
                <a:gd name="connsiteY778" fmla="*/ 192800 h 410520"/>
                <a:gd name="connsiteX779" fmla="*/ 268688 w 2663946"/>
                <a:gd name="connsiteY779" fmla="*/ 192800 h 410520"/>
                <a:gd name="connsiteX780" fmla="*/ 267877 w 2663946"/>
                <a:gd name="connsiteY780" fmla="*/ 192800 h 410520"/>
                <a:gd name="connsiteX781" fmla="*/ 267066 w 2663946"/>
                <a:gd name="connsiteY781" fmla="*/ 192530 h 410520"/>
                <a:gd name="connsiteX782" fmla="*/ 263551 w 2663946"/>
                <a:gd name="connsiteY782" fmla="*/ 190637 h 410520"/>
                <a:gd name="connsiteX783" fmla="*/ 261117 w 2663946"/>
                <a:gd name="connsiteY783" fmla="*/ 184959 h 410520"/>
                <a:gd name="connsiteX784" fmla="*/ 263281 w 2663946"/>
                <a:gd name="connsiteY784" fmla="*/ 179822 h 410520"/>
                <a:gd name="connsiteX785" fmla="*/ 268958 w 2663946"/>
                <a:gd name="connsiteY785" fmla="*/ 177388 h 410520"/>
                <a:gd name="connsiteX786" fmla="*/ 276800 w 2663946"/>
                <a:gd name="connsiteY786" fmla="*/ 177388 h 410520"/>
                <a:gd name="connsiteX787" fmla="*/ 277340 w 2663946"/>
                <a:gd name="connsiteY787" fmla="*/ 176848 h 410520"/>
                <a:gd name="connsiteX788" fmla="*/ 277340 w 2663946"/>
                <a:gd name="connsiteY788" fmla="*/ 130883 h 410520"/>
                <a:gd name="connsiteX789" fmla="*/ 276800 w 2663946"/>
                <a:gd name="connsiteY789" fmla="*/ 130342 h 410520"/>
                <a:gd name="connsiteX790" fmla="*/ 270851 w 2663946"/>
                <a:gd name="connsiteY790" fmla="*/ 130342 h 410520"/>
                <a:gd name="connsiteX791" fmla="*/ 263551 w 2663946"/>
                <a:gd name="connsiteY791" fmla="*/ 125746 h 410520"/>
                <a:gd name="connsiteX792" fmla="*/ 263281 w 2663946"/>
                <a:gd name="connsiteY792" fmla="*/ 120068 h 410520"/>
                <a:gd name="connsiteX793" fmla="*/ 270581 w 2663946"/>
                <a:gd name="connsiteY793" fmla="*/ 114931 h 410520"/>
                <a:gd name="connsiteX794" fmla="*/ 282748 w 2663946"/>
                <a:gd name="connsiteY794" fmla="*/ 114660 h 410520"/>
                <a:gd name="connsiteX795" fmla="*/ 206731 w 2663946"/>
                <a:gd name="connsiteY795" fmla="*/ 114660 h 410520"/>
                <a:gd name="connsiteX796" fmla="*/ 210787 w 2663946"/>
                <a:gd name="connsiteY796" fmla="*/ 114660 h 410520"/>
                <a:gd name="connsiteX797" fmla="*/ 215383 w 2663946"/>
                <a:gd name="connsiteY797" fmla="*/ 117094 h 410520"/>
                <a:gd name="connsiteX798" fmla="*/ 217546 w 2663946"/>
                <a:gd name="connsiteY798" fmla="*/ 123312 h 410520"/>
                <a:gd name="connsiteX799" fmla="*/ 217546 w 2663946"/>
                <a:gd name="connsiteY799" fmla="*/ 123853 h 410520"/>
                <a:gd name="connsiteX800" fmla="*/ 217546 w 2663946"/>
                <a:gd name="connsiteY800" fmla="*/ 176848 h 410520"/>
                <a:gd name="connsiteX801" fmla="*/ 218087 w 2663946"/>
                <a:gd name="connsiteY801" fmla="*/ 177388 h 410520"/>
                <a:gd name="connsiteX802" fmla="*/ 225387 w 2663946"/>
                <a:gd name="connsiteY802" fmla="*/ 177388 h 410520"/>
                <a:gd name="connsiteX803" fmla="*/ 229443 w 2663946"/>
                <a:gd name="connsiteY803" fmla="*/ 178470 h 410520"/>
                <a:gd name="connsiteX804" fmla="*/ 233228 w 2663946"/>
                <a:gd name="connsiteY804" fmla="*/ 185229 h 410520"/>
                <a:gd name="connsiteX805" fmla="*/ 230524 w 2663946"/>
                <a:gd name="connsiteY805" fmla="*/ 190907 h 410520"/>
                <a:gd name="connsiteX806" fmla="*/ 226468 w 2663946"/>
                <a:gd name="connsiteY806" fmla="*/ 192800 h 410520"/>
                <a:gd name="connsiteX807" fmla="*/ 226198 w 2663946"/>
                <a:gd name="connsiteY807" fmla="*/ 192800 h 410520"/>
                <a:gd name="connsiteX808" fmla="*/ 225928 w 2663946"/>
                <a:gd name="connsiteY808" fmla="*/ 192800 h 410520"/>
                <a:gd name="connsiteX809" fmla="*/ 225387 w 2663946"/>
                <a:gd name="connsiteY809" fmla="*/ 192800 h 410520"/>
                <a:gd name="connsiteX810" fmla="*/ 193212 w 2663946"/>
                <a:gd name="connsiteY810" fmla="*/ 192800 h 410520"/>
                <a:gd name="connsiteX811" fmla="*/ 192671 w 2663946"/>
                <a:gd name="connsiteY811" fmla="*/ 192800 h 410520"/>
                <a:gd name="connsiteX812" fmla="*/ 191860 w 2663946"/>
                <a:gd name="connsiteY812" fmla="*/ 192800 h 410520"/>
                <a:gd name="connsiteX813" fmla="*/ 191049 w 2663946"/>
                <a:gd name="connsiteY813" fmla="*/ 192530 h 410520"/>
                <a:gd name="connsiteX814" fmla="*/ 187534 w 2663946"/>
                <a:gd name="connsiteY814" fmla="*/ 190637 h 410520"/>
                <a:gd name="connsiteX815" fmla="*/ 185101 w 2663946"/>
                <a:gd name="connsiteY815" fmla="*/ 184959 h 410520"/>
                <a:gd name="connsiteX816" fmla="*/ 187264 w 2663946"/>
                <a:gd name="connsiteY816" fmla="*/ 179822 h 410520"/>
                <a:gd name="connsiteX817" fmla="*/ 192942 w 2663946"/>
                <a:gd name="connsiteY817" fmla="*/ 177388 h 410520"/>
                <a:gd name="connsiteX818" fmla="*/ 200783 w 2663946"/>
                <a:gd name="connsiteY818" fmla="*/ 177388 h 410520"/>
                <a:gd name="connsiteX819" fmla="*/ 201323 w 2663946"/>
                <a:gd name="connsiteY819" fmla="*/ 176848 h 410520"/>
                <a:gd name="connsiteX820" fmla="*/ 201323 w 2663946"/>
                <a:gd name="connsiteY820" fmla="*/ 130883 h 410520"/>
                <a:gd name="connsiteX821" fmla="*/ 200783 w 2663946"/>
                <a:gd name="connsiteY821" fmla="*/ 130342 h 410520"/>
                <a:gd name="connsiteX822" fmla="*/ 194834 w 2663946"/>
                <a:gd name="connsiteY822" fmla="*/ 130342 h 410520"/>
                <a:gd name="connsiteX823" fmla="*/ 187534 w 2663946"/>
                <a:gd name="connsiteY823" fmla="*/ 125746 h 410520"/>
                <a:gd name="connsiteX824" fmla="*/ 187264 w 2663946"/>
                <a:gd name="connsiteY824" fmla="*/ 120068 h 410520"/>
                <a:gd name="connsiteX825" fmla="*/ 194564 w 2663946"/>
                <a:gd name="connsiteY825" fmla="*/ 114931 h 410520"/>
                <a:gd name="connsiteX826" fmla="*/ 206731 w 2663946"/>
                <a:gd name="connsiteY826" fmla="*/ 114660 h 410520"/>
                <a:gd name="connsiteX827" fmla="*/ 2627559 w 2663946"/>
                <a:gd name="connsiteY827" fmla="*/ 114591 h 410520"/>
                <a:gd name="connsiteX828" fmla="*/ 2639849 w 2663946"/>
                <a:gd name="connsiteY828" fmla="*/ 116754 h 410520"/>
                <a:gd name="connsiteX829" fmla="*/ 2647223 w 2663946"/>
                <a:gd name="connsiteY829" fmla="*/ 121351 h 410520"/>
                <a:gd name="connsiteX830" fmla="*/ 2650664 w 2663946"/>
                <a:gd name="connsiteY830" fmla="*/ 124595 h 410520"/>
                <a:gd name="connsiteX831" fmla="*/ 2654106 w 2663946"/>
                <a:gd name="connsiteY831" fmla="*/ 128921 h 410520"/>
                <a:gd name="connsiteX832" fmla="*/ 2656072 w 2663946"/>
                <a:gd name="connsiteY832" fmla="*/ 132436 h 410520"/>
                <a:gd name="connsiteX833" fmla="*/ 2658284 w 2663946"/>
                <a:gd name="connsiteY833" fmla="*/ 137844 h 410520"/>
                <a:gd name="connsiteX834" fmla="*/ 2659267 w 2663946"/>
                <a:gd name="connsiteY834" fmla="*/ 141359 h 410520"/>
                <a:gd name="connsiteX835" fmla="*/ 2660251 w 2663946"/>
                <a:gd name="connsiteY835" fmla="*/ 146496 h 410520"/>
                <a:gd name="connsiteX836" fmla="*/ 2660005 w 2663946"/>
                <a:gd name="connsiteY836" fmla="*/ 160826 h 410520"/>
                <a:gd name="connsiteX837" fmla="*/ 2659022 w 2663946"/>
                <a:gd name="connsiteY837" fmla="*/ 165693 h 410520"/>
                <a:gd name="connsiteX838" fmla="*/ 2657792 w 2663946"/>
                <a:gd name="connsiteY838" fmla="*/ 169478 h 410520"/>
                <a:gd name="connsiteX839" fmla="*/ 2656809 w 2663946"/>
                <a:gd name="connsiteY839" fmla="*/ 171912 h 410520"/>
                <a:gd name="connsiteX840" fmla="*/ 2654597 w 2663946"/>
                <a:gd name="connsiteY840" fmla="*/ 176238 h 410520"/>
                <a:gd name="connsiteX841" fmla="*/ 2652385 w 2663946"/>
                <a:gd name="connsiteY841" fmla="*/ 179482 h 410520"/>
                <a:gd name="connsiteX842" fmla="*/ 2648944 w 2663946"/>
                <a:gd name="connsiteY842" fmla="*/ 183268 h 410520"/>
                <a:gd name="connsiteX843" fmla="*/ 2645748 w 2663946"/>
                <a:gd name="connsiteY843" fmla="*/ 185971 h 410520"/>
                <a:gd name="connsiteX844" fmla="*/ 2640095 w 2663946"/>
                <a:gd name="connsiteY844" fmla="*/ 189216 h 410520"/>
                <a:gd name="connsiteX845" fmla="*/ 2632229 w 2663946"/>
                <a:gd name="connsiteY845" fmla="*/ 191379 h 410520"/>
                <a:gd name="connsiteX846" fmla="*/ 2631000 w 2663946"/>
                <a:gd name="connsiteY846" fmla="*/ 191650 h 410520"/>
                <a:gd name="connsiteX847" fmla="*/ 2626821 w 2663946"/>
                <a:gd name="connsiteY847" fmla="*/ 191650 h 410520"/>
                <a:gd name="connsiteX848" fmla="*/ 2626576 w 2663946"/>
                <a:gd name="connsiteY848" fmla="*/ 191650 h 410520"/>
                <a:gd name="connsiteX849" fmla="*/ 2613548 w 2663946"/>
                <a:gd name="connsiteY849" fmla="*/ 186783 h 410520"/>
                <a:gd name="connsiteX850" fmla="*/ 2608878 w 2663946"/>
                <a:gd name="connsiteY850" fmla="*/ 182727 h 410520"/>
                <a:gd name="connsiteX851" fmla="*/ 2605682 w 2663946"/>
                <a:gd name="connsiteY851" fmla="*/ 178942 h 410520"/>
                <a:gd name="connsiteX852" fmla="*/ 2603470 w 2663946"/>
                <a:gd name="connsiteY852" fmla="*/ 175427 h 410520"/>
                <a:gd name="connsiteX853" fmla="*/ 2601258 w 2663946"/>
                <a:gd name="connsiteY853" fmla="*/ 171101 h 410520"/>
                <a:gd name="connsiteX854" fmla="*/ 2600029 w 2663946"/>
                <a:gd name="connsiteY854" fmla="*/ 168126 h 410520"/>
                <a:gd name="connsiteX855" fmla="*/ 2599046 w 2663946"/>
                <a:gd name="connsiteY855" fmla="*/ 164882 h 410520"/>
                <a:gd name="connsiteX856" fmla="*/ 2597816 w 2663946"/>
                <a:gd name="connsiteY856" fmla="*/ 159204 h 410520"/>
                <a:gd name="connsiteX857" fmla="*/ 2597571 w 2663946"/>
                <a:gd name="connsiteY857" fmla="*/ 156230 h 410520"/>
                <a:gd name="connsiteX858" fmla="*/ 2597816 w 2663946"/>
                <a:gd name="connsiteY858" fmla="*/ 156500 h 410520"/>
                <a:gd name="connsiteX859" fmla="*/ 2597816 w 2663946"/>
                <a:gd name="connsiteY859" fmla="*/ 150822 h 410520"/>
                <a:gd name="connsiteX860" fmla="*/ 2597816 w 2663946"/>
                <a:gd name="connsiteY860" fmla="*/ 150552 h 410520"/>
                <a:gd name="connsiteX861" fmla="*/ 2598308 w 2663946"/>
                <a:gd name="connsiteY861" fmla="*/ 145955 h 410520"/>
                <a:gd name="connsiteX862" fmla="*/ 2599537 w 2663946"/>
                <a:gd name="connsiteY862" fmla="*/ 140548 h 410520"/>
                <a:gd name="connsiteX863" fmla="*/ 2600520 w 2663946"/>
                <a:gd name="connsiteY863" fmla="*/ 137303 h 410520"/>
                <a:gd name="connsiteX864" fmla="*/ 2602732 w 2663946"/>
                <a:gd name="connsiteY864" fmla="*/ 132166 h 410520"/>
                <a:gd name="connsiteX865" fmla="*/ 2604945 w 2663946"/>
                <a:gd name="connsiteY865" fmla="*/ 128381 h 410520"/>
                <a:gd name="connsiteX866" fmla="*/ 2607157 w 2663946"/>
                <a:gd name="connsiteY866" fmla="*/ 125406 h 410520"/>
                <a:gd name="connsiteX867" fmla="*/ 2609369 w 2663946"/>
                <a:gd name="connsiteY867" fmla="*/ 122973 h 410520"/>
                <a:gd name="connsiteX868" fmla="*/ 2614039 w 2663946"/>
                <a:gd name="connsiteY868" fmla="*/ 119188 h 410520"/>
                <a:gd name="connsiteX869" fmla="*/ 2617972 w 2663946"/>
                <a:gd name="connsiteY869" fmla="*/ 117025 h 410520"/>
                <a:gd name="connsiteX870" fmla="*/ 2627559 w 2663946"/>
                <a:gd name="connsiteY870" fmla="*/ 114591 h 410520"/>
                <a:gd name="connsiteX871" fmla="*/ 2445604 w 2663946"/>
                <a:gd name="connsiteY871" fmla="*/ 114591 h 410520"/>
                <a:gd name="connsiteX872" fmla="*/ 2457894 w 2663946"/>
                <a:gd name="connsiteY872" fmla="*/ 116754 h 410520"/>
                <a:gd name="connsiteX873" fmla="*/ 2465268 w 2663946"/>
                <a:gd name="connsiteY873" fmla="*/ 121351 h 410520"/>
                <a:gd name="connsiteX874" fmla="*/ 2468709 w 2663946"/>
                <a:gd name="connsiteY874" fmla="*/ 124595 h 410520"/>
                <a:gd name="connsiteX875" fmla="*/ 2472151 w 2663946"/>
                <a:gd name="connsiteY875" fmla="*/ 128921 h 410520"/>
                <a:gd name="connsiteX876" fmla="*/ 2474117 w 2663946"/>
                <a:gd name="connsiteY876" fmla="*/ 132436 h 410520"/>
                <a:gd name="connsiteX877" fmla="*/ 2476329 w 2663946"/>
                <a:gd name="connsiteY877" fmla="*/ 137844 h 410520"/>
                <a:gd name="connsiteX878" fmla="*/ 2477312 w 2663946"/>
                <a:gd name="connsiteY878" fmla="*/ 141359 h 410520"/>
                <a:gd name="connsiteX879" fmla="*/ 2478296 w 2663946"/>
                <a:gd name="connsiteY879" fmla="*/ 146496 h 410520"/>
                <a:gd name="connsiteX880" fmla="*/ 2478050 w 2663946"/>
                <a:gd name="connsiteY880" fmla="*/ 160826 h 410520"/>
                <a:gd name="connsiteX881" fmla="*/ 2477067 w 2663946"/>
                <a:gd name="connsiteY881" fmla="*/ 165693 h 410520"/>
                <a:gd name="connsiteX882" fmla="*/ 2475837 w 2663946"/>
                <a:gd name="connsiteY882" fmla="*/ 169478 h 410520"/>
                <a:gd name="connsiteX883" fmla="*/ 2474854 w 2663946"/>
                <a:gd name="connsiteY883" fmla="*/ 171912 h 410520"/>
                <a:gd name="connsiteX884" fmla="*/ 2472642 w 2663946"/>
                <a:gd name="connsiteY884" fmla="*/ 176238 h 410520"/>
                <a:gd name="connsiteX885" fmla="*/ 2470430 w 2663946"/>
                <a:gd name="connsiteY885" fmla="*/ 179482 h 410520"/>
                <a:gd name="connsiteX886" fmla="*/ 2466989 w 2663946"/>
                <a:gd name="connsiteY886" fmla="*/ 183268 h 410520"/>
                <a:gd name="connsiteX887" fmla="*/ 2463793 w 2663946"/>
                <a:gd name="connsiteY887" fmla="*/ 185971 h 410520"/>
                <a:gd name="connsiteX888" fmla="*/ 2458140 w 2663946"/>
                <a:gd name="connsiteY888" fmla="*/ 189216 h 410520"/>
                <a:gd name="connsiteX889" fmla="*/ 2450274 w 2663946"/>
                <a:gd name="connsiteY889" fmla="*/ 191379 h 410520"/>
                <a:gd name="connsiteX890" fmla="*/ 2449045 w 2663946"/>
                <a:gd name="connsiteY890" fmla="*/ 191650 h 410520"/>
                <a:gd name="connsiteX891" fmla="*/ 2444866 w 2663946"/>
                <a:gd name="connsiteY891" fmla="*/ 191650 h 410520"/>
                <a:gd name="connsiteX892" fmla="*/ 2444621 w 2663946"/>
                <a:gd name="connsiteY892" fmla="*/ 191650 h 410520"/>
                <a:gd name="connsiteX893" fmla="*/ 2431593 w 2663946"/>
                <a:gd name="connsiteY893" fmla="*/ 186783 h 410520"/>
                <a:gd name="connsiteX894" fmla="*/ 2426923 w 2663946"/>
                <a:gd name="connsiteY894" fmla="*/ 182727 h 410520"/>
                <a:gd name="connsiteX895" fmla="*/ 2423727 w 2663946"/>
                <a:gd name="connsiteY895" fmla="*/ 178942 h 410520"/>
                <a:gd name="connsiteX896" fmla="*/ 2421515 w 2663946"/>
                <a:gd name="connsiteY896" fmla="*/ 175427 h 410520"/>
                <a:gd name="connsiteX897" fmla="*/ 2419303 w 2663946"/>
                <a:gd name="connsiteY897" fmla="*/ 171101 h 410520"/>
                <a:gd name="connsiteX898" fmla="*/ 2418074 w 2663946"/>
                <a:gd name="connsiteY898" fmla="*/ 168126 h 410520"/>
                <a:gd name="connsiteX899" fmla="*/ 2417091 w 2663946"/>
                <a:gd name="connsiteY899" fmla="*/ 164882 h 410520"/>
                <a:gd name="connsiteX900" fmla="*/ 2415861 w 2663946"/>
                <a:gd name="connsiteY900" fmla="*/ 159204 h 410520"/>
                <a:gd name="connsiteX901" fmla="*/ 2415616 w 2663946"/>
                <a:gd name="connsiteY901" fmla="*/ 156230 h 410520"/>
                <a:gd name="connsiteX902" fmla="*/ 2415861 w 2663946"/>
                <a:gd name="connsiteY902" fmla="*/ 156500 h 410520"/>
                <a:gd name="connsiteX903" fmla="*/ 2415861 w 2663946"/>
                <a:gd name="connsiteY903" fmla="*/ 150822 h 410520"/>
                <a:gd name="connsiteX904" fmla="*/ 2415861 w 2663946"/>
                <a:gd name="connsiteY904" fmla="*/ 150552 h 410520"/>
                <a:gd name="connsiteX905" fmla="*/ 2416353 w 2663946"/>
                <a:gd name="connsiteY905" fmla="*/ 145955 h 410520"/>
                <a:gd name="connsiteX906" fmla="*/ 2417582 w 2663946"/>
                <a:gd name="connsiteY906" fmla="*/ 140548 h 410520"/>
                <a:gd name="connsiteX907" fmla="*/ 2418565 w 2663946"/>
                <a:gd name="connsiteY907" fmla="*/ 137303 h 410520"/>
                <a:gd name="connsiteX908" fmla="*/ 2420777 w 2663946"/>
                <a:gd name="connsiteY908" fmla="*/ 132166 h 410520"/>
                <a:gd name="connsiteX909" fmla="*/ 2422990 w 2663946"/>
                <a:gd name="connsiteY909" fmla="*/ 128381 h 410520"/>
                <a:gd name="connsiteX910" fmla="*/ 2425202 w 2663946"/>
                <a:gd name="connsiteY910" fmla="*/ 125406 h 410520"/>
                <a:gd name="connsiteX911" fmla="*/ 2427414 w 2663946"/>
                <a:gd name="connsiteY911" fmla="*/ 122973 h 410520"/>
                <a:gd name="connsiteX912" fmla="*/ 2432084 w 2663946"/>
                <a:gd name="connsiteY912" fmla="*/ 119188 h 410520"/>
                <a:gd name="connsiteX913" fmla="*/ 2436017 w 2663946"/>
                <a:gd name="connsiteY913" fmla="*/ 117025 h 410520"/>
                <a:gd name="connsiteX914" fmla="*/ 2445604 w 2663946"/>
                <a:gd name="connsiteY914" fmla="*/ 114591 h 410520"/>
                <a:gd name="connsiteX915" fmla="*/ 2202558 w 2663946"/>
                <a:gd name="connsiteY915" fmla="*/ 114591 h 410520"/>
                <a:gd name="connsiteX916" fmla="*/ 2214848 w 2663946"/>
                <a:gd name="connsiteY916" fmla="*/ 116754 h 410520"/>
                <a:gd name="connsiteX917" fmla="*/ 2222222 w 2663946"/>
                <a:gd name="connsiteY917" fmla="*/ 121351 h 410520"/>
                <a:gd name="connsiteX918" fmla="*/ 2225663 w 2663946"/>
                <a:gd name="connsiteY918" fmla="*/ 124595 h 410520"/>
                <a:gd name="connsiteX919" fmla="*/ 2229105 w 2663946"/>
                <a:gd name="connsiteY919" fmla="*/ 128921 h 410520"/>
                <a:gd name="connsiteX920" fmla="*/ 2231071 w 2663946"/>
                <a:gd name="connsiteY920" fmla="*/ 132436 h 410520"/>
                <a:gd name="connsiteX921" fmla="*/ 2233283 w 2663946"/>
                <a:gd name="connsiteY921" fmla="*/ 137844 h 410520"/>
                <a:gd name="connsiteX922" fmla="*/ 2234266 w 2663946"/>
                <a:gd name="connsiteY922" fmla="*/ 141359 h 410520"/>
                <a:gd name="connsiteX923" fmla="*/ 2235250 w 2663946"/>
                <a:gd name="connsiteY923" fmla="*/ 146496 h 410520"/>
                <a:gd name="connsiteX924" fmla="*/ 2235004 w 2663946"/>
                <a:gd name="connsiteY924" fmla="*/ 160826 h 410520"/>
                <a:gd name="connsiteX925" fmla="*/ 2234021 w 2663946"/>
                <a:gd name="connsiteY925" fmla="*/ 165693 h 410520"/>
                <a:gd name="connsiteX926" fmla="*/ 2232791 w 2663946"/>
                <a:gd name="connsiteY926" fmla="*/ 169478 h 410520"/>
                <a:gd name="connsiteX927" fmla="*/ 2231808 w 2663946"/>
                <a:gd name="connsiteY927" fmla="*/ 171912 h 410520"/>
                <a:gd name="connsiteX928" fmla="*/ 2229596 w 2663946"/>
                <a:gd name="connsiteY928" fmla="*/ 176238 h 410520"/>
                <a:gd name="connsiteX929" fmla="*/ 2227384 w 2663946"/>
                <a:gd name="connsiteY929" fmla="*/ 179482 h 410520"/>
                <a:gd name="connsiteX930" fmla="*/ 2223943 w 2663946"/>
                <a:gd name="connsiteY930" fmla="*/ 183268 h 410520"/>
                <a:gd name="connsiteX931" fmla="*/ 2220747 w 2663946"/>
                <a:gd name="connsiteY931" fmla="*/ 185971 h 410520"/>
                <a:gd name="connsiteX932" fmla="*/ 2215094 w 2663946"/>
                <a:gd name="connsiteY932" fmla="*/ 189216 h 410520"/>
                <a:gd name="connsiteX933" fmla="*/ 2207228 w 2663946"/>
                <a:gd name="connsiteY933" fmla="*/ 191379 h 410520"/>
                <a:gd name="connsiteX934" fmla="*/ 2205999 w 2663946"/>
                <a:gd name="connsiteY934" fmla="*/ 191650 h 410520"/>
                <a:gd name="connsiteX935" fmla="*/ 2201820 w 2663946"/>
                <a:gd name="connsiteY935" fmla="*/ 191650 h 410520"/>
                <a:gd name="connsiteX936" fmla="*/ 2201575 w 2663946"/>
                <a:gd name="connsiteY936" fmla="*/ 191650 h 410520"/>
                <a:gd name="connsiteX937" fmla="*/ 2188547 w 2663946"/>
                <a:gd name="connsiteY937" fmla="*/ 186783 h 410520"/>
                <a:gd name="connsiteX938" fmla="*/ 2183877 w 2663946"/>
                <a:gd name="connsiteY938" fmla="*/ 182727 h 410520"/>
                <a:gd name="connsiteX939" fmla="*/ 2180681 w 2663946"/>
                <a:gd name="connsiteY939" fmla="*/ 178942 h 410520"/>
                <a:gd name="connsiteX940" fmla="*/ 2178469 w 2663946"/>
                <a:gd name="connsiteY940" fmla="*/ 175427 h 410520"/>
                <a:gd name="connsiteX941" fmla="*/ 2176257 w 2663946"/>
                <a:gd name="connsiteY941" fmla="*/ 171101 h 410520"/>
                <a:gd name="connsiteX942" fmla="*/ 2175028 w 2663946"/>
                <a:gd name="connsiteY942" fmla="*/ 168126 h 410520"/>
                <a:gd name="connsiteX943" fmla="*/ 2174045 w 2663946"/>
                <a:gd name="connsiteY943" fmla="*/ 164882 h 410520"/>
                <a:gd name="connsiteX944" fmla="*/ 2172815 w 2663946"/>
                <a:gd name="connsiteY944" fmla="*/ 159204 h 410520"/>
                <a:gd name="connsiteX945" fmla="*/ 2172570 w 2663946"/>
                <a:gd name="connsiteY945" fmla="*/ 156230 h 410520"/>
                <a:gd name="connsiteX946" fmla="*/ 2172815 w 2663946"/>
                <a:gd name="connsiteY946" fmla="*/ 156500 h 410520"/>
                <a:gd name="connsiteX947" fmla="*/ 2172815 w 2663946"/>
                <a:gd name="connsiteY947" fmla="*/ 150822 h 410520"/>
                <a:gd name="connsiteX948" fmla="*/ 2172815 w 2663946"/>
                <a:gd name="connsiteY948" fmla="*/ 150552 h 410520"/>
                <a:gd name="connsiteX949" fmla="*/ 2173307 w 2663946"/>
                <a:gd name="connsiteY949" fmla="*/ 145955 h 410520"/>
                <a:gd name="connsiteX950" fmla="*/ 2174536 w 2663946"/>
                <a:gd name="connsiteY950" fmla="*/ 140548 h 410520"/>
                <a:gd name="connsiteX951" fmla="*/ 2175519 w 2663946"/>
                <a:gd name="connsiteY951" fmla="*/ 137303 h 410520"/>
                <a:gd name="connsiteX952" fmla="*/ 2177731 w 2663946"/>
                <a:gd name="connsiteY952" fmla="*/ 132166 h 410520"/>
                <a:gd name="connsiteX953" fmla="*/ 2179944 w 2663946"/>
                <a:gd name="connsiteY953" fmla="*/ 128381 h 410520"/>
                <a:gd name="connsiteX954" fmla="*/ 2182156 w 2663946"/>
                <a:gd name="connsiteY954" fmla="*/ 125406 h 410520"/>
                <a:gd name="connsiteX955" fmla="*/ 2184368 w 2663946"/>
                <a:gd name="connsiteY955" fmla="*/ 122973 h 410520"/>
                <a:gd name="connsiteX956" fmla="*/ 2189038 w 2663946"/>
                <a:gd name="connsiteY956" fmla="*/ 119188 h 410520"/>
                <a:gd name="connsiteX957" fmla="*/ 2192971 w 2663946"/>
                <a:gd name="connsiteY957" fmla="*/ 117025 h 410520"/>
                <a:gd name="connsiteX958" fmla="*/ 2202558 w 2663946"/>
                <a:gd name="connsiteY958" fmla="*/ 114591 h 410520"/>
                <a:gd name="connsiteX959" fmla="*/ 2020607 w 2663946"/>
                <a:gd name="connsiteY959" fmla="*/ 114591 h 410520"/>
                <a:gd name="connsiteX960" fmla="*/ 2032897 w 2663946"/>
                <a:gd name="connsiteY960" fmla="*/ 116754 h 410520"/>
                <a:gd name="connsiteX961" fmla="*/ 2040271 w 2663946"/>
                <a:gd name="connsiteY961" fmla="*/ 121351 h 410520"/>
                <a:gd name="connsiteX962" fmla="*/ 2043712 w 2663946"/>
                <a:gd name="connsiteY962" fmla="*/ 124595 h 410520"/>
                <a:gd name="connsiteX963" fmla="*/ 2047154 w 2663946"/>
                <a:gd name="connsiteY963" fmla="*/ 128921 h 410520"/>
                <a:gd name="connsiteX964" fmla="*/ 2049120 w 2663946"/>
                <a:gd name="connsiteY964" fmla="*/ 132436 h 410520"/>
                <a:gd name="connsiteX965" fmla="*/ 2051332 w 2663946"/>
                <a:gd name="connsiteY965" fmla="*/ 137844 h 410520"/>
                <a:gd name="connsiteX966" fmla="*/ 2052315 w 2663946"/>
                <a:gd name="connsiteY966" fmla="*/ 141359 h 410520"/>
                <a:gd name="connsiteX967" fmla="*/ 2053299 w 2663946"/>
                <a:gd name="connsiteY967" fmla="*/ 146496 h 410520"/>
                <a:gd name="connsiteX968" fmla="*/ 2053053 w 2663946"/>
                <a:gd name="connsiteY968" fmla="*/ 160826 h 410520"/>
                <a:gd name="connsiteX969" fmla="*/ 2052070 w 2663946"/>
                <a:gd name="connsiteY969" fmla="*/ 165693 h 410520"/>
                <a:gd name="connsiteX970" fmla="*/ 2050840 w 2663946"/>
                <a:gd name="connsiteY970" fmla="*/ 169478 h 410520"/>
                <a:gd name="connsiteX971" fmla="*/ 2049857 w 2663946"/>
                <a:gd name="connsiteY971" fmla="*/ 171912 h 410520"/>
                <a:gd name="connsiteX972" fmla="*/ 2047645 w 2663946"/>
                <a:gd name="connsiteY972" fmla="*/ 176238 h 410520"/>
                <a:gd name="connsiteX973" fmla="*/ 2045433 w 2663946"/>
                <a:gd name="connsiteY973" fmla="*/ 179482 h 410520"/>
                <a:gd name="connsiteX974" fmla="*/ 2041992 w 2663946"/>
                <a:gd name="connsiteY974" fmla="*/ 183268 h 410520"/>
                <a:gd name="connsiteX975" fmla="*/ 2038796 w 2663946"/>
                <a:gd name="connsiteY975" fmla="*/ 185971 h 410520"/>
                <a:gd name="connsiteX976" fmla="*/ 2033143 w 2663946"/>
                <a:gd name="connsiteY976" fmla="*/ 189216 h 410520"/>
                <a:gd name="connsiteX977" fmla="*/ 2025277 w 2663946"/>
                <a:gd name="connsiteY977" fmla="*/ 191379 h 410520"/>
                <a:gd name="connsiteX978" fmla="*/ 2024048 w 2663946"/>
                <a:gd name="connsiteY978" fmla="*/ 191650 h 410520"/>
                <a:gd name="connsiteX979" fmla="*/ 2019869 w 2663946"/>
                <a:gd name="connsiteY979" fmla="*/ 191650 h 410520"/>
                <a:gd name="connsiteX980" fmla="*/ 2019624 w 2663946"/>
                <a:gd name="connsiteY980" fmla="*/ 191650 h 410520"/>
                <a:gd name="connsiteX981" fmla="*/ 2006596 w 2663946"/>
                <a:gd name="connsiteY981" fmla="*/ 186783 h 410520"/>
                <a:gd name="connsiteX982" fmla="*/ 2001926 w 2663946"/>
                <a:gd name="connsiteY982" fmla="*/ 182727 h 410520"/>
                <a:gd name="connsiteX983" fmla="*/ 1998730 w 2663946"/>
                <a:gd name="connsiteY983" fmla="*/ 178942 h 410520"/>
                <a:gd name="connsiteX984" fmla="*/ 1996518 w 2663946"/>
                <a:gd name="connsiteY984" fmla="*/ 175427 h 410520"/>
                <a:gd name="connsiteX985" fmla="*/ 1994306 w 2663946"/>
                <a:gd name="connsiteY985" fmla="*/ 171101 h 410520"/>
                <a:gd name="connsiteX986" fmla="*/ 1993077 w 2663946"/>
                <a:gd name="connsiteY986" fmla="*/ 168126 h 410520"/>
                <a:gd name="connsiteX987" fmla="*/ 1992094 w 2663946"/>
                <a:gd name="connsiteY987" fmla="*/ 164882 h 410520"/>
                <a:gd name="connsiteX988" fmla="*/ 1990864 w 2663946"/>
                <a:gd name="connsiteY988" fmla="*/ 159204 h 410520"/>
                <a:gd name="connsiteX989" fmla="*/ 1990619 w 2663946"/>
                <a:gd name="connsiteY989" fmla="*/ 156230 h 410520"/>
                <a:gd name="connsiteX990" fmla="*/ 1990864 w 2663946"/>
                <a:gd name="connsiteY990" fmla="*/ 156500 h 410520"/>
                <a:gd name="connsiteX991" fmla="*/ 1990864 w 2663946"/>
                <a:gd name="connsiteY991" fmla="*/ 150822 h 410520"/>
                <a:gd name="connsiteX992" fmla="*/ 1990864 w 2663946"/>
                <a:gd name="connsiteY992" fmla="*/ 150552 h 410520"/>
                <a:gd name="connsiteX993" fmla="*/ 1991356 w 2663946"/>
                <a:gd name="connsiteY993" fmla="*/ 145955 h 410520"/>
                <a:gd name="connsiteX994" fmla="*/ 1992585 w 2663946"/>
                <a:gd name="connsiteY994" fmla="*/ 140548 h 410520"/>
                <a:gd name="connsiteX995" fmla="*/ 1993568 w 2663946"/>
                <a:gd name="connsiteY995" fmla="*/ 137303 h 410520"/>
                <a:gd name="connsiteX996" fmla="*/ 1995780 w 2663946"/>
                <a:gd name="connsiteY996" fmla="*/ 132166 h 410520"/>
                <a:gd name="connsiteX997" fmla="*/ 1997993 w 2663946"/>
                <a:gd name="connsiteY997" fmla="*/ 128381 h 410520"/>
                <a:gd name="connsiteX998" fmla="*/ 2000205 w 2663946"/>
                <a:gd name="connsiteY998" fmla="*/ 125406 h 410520"/>
                <a:gd name="connsiteX999" fmla="*/ 2002417 w 2663946"/>
                <a:gd name="connsiteY999" fmla="*/ 122973 h 410520"/>
                <a:gd name="connsiteX1000" fmla="*/ 2007087 w 2663946"/>
                <a:gd name="connsiteY1000" fmla="*/ 119188 h 410520"/>
                <a:gd name="connsiteX1001" fmla="*/ 2011020 w 2663946"/>
                <a:gd name="connsiteY1001" fmla="*/ 117025 h 410520"/>
                <a:gd name="connsiteX1002" fmla="*/ 2020607 w 2663946"/>
                <a:gd name="connsiteY1002" fmla="*/ 114591 h 410520"/>
                <a:gd name="connsiteX1003" fmla="*/ 1595683 w 2663946"/>
                <a:gd name="connsiteY1003" fmla="*/ 114591 h 410520"/>
                <a:gd name="connsiteX1004" fmla="*/ 1607973 w 2663946"/>
                <a:gd name="connsiteY1004" fmla="*/ 116754 h 410520"/>
                <a:gd name="connsiteX1005" fmla="*/ 1615347 w 2663946"/>
                <a:gd name="connsiteY1005" fmla="*/ 121351 h 410520"/>
                <a:gd name="connsiteX1006" fmla="*/ 1618788 w 2663946"/>
                <a:gd name="connsiteY1006" fmla="*/ 124595 h 410520"/>
                <a:gd name="connsiteX1007" fmla="*/ 1622230 w 2663946"/>
                <a:gd name="connsiteY1007" fmla="*/ 128921 h 410520"/>
                <a:gd name="connsiteX1008" fmla="*/ 1624196 w 2663946"/>
                <a:gd name="connsiteY1008" fmla="*/ 132436 h 410520"/>
                <a:gd name="connsiteX1009" fmla="*/ 1626408 w 2663946"/>
                <a:gd name="connsiteY1009" fmla="*/ 137844 h 410520"/>
                <a:gd name="connsiteX1010" fmla="*/ 1627391 w 2663946"/>
                <a:gd name="connsiteY1010" fmla="*/ 141359 h 410520"/>
                <a:gd name="connsiteX1011" fmla="*/ 1628374 w 2663946"/>
                <a:gd name="connsiteY1011" fmla="*/ 146496 h 410520"/>
                <a:gd name="connsiteX1012" fmla="*/ 1628129 w 2663946"/>
                <a:gd name="connsiteY1012" fmla="*/ 160826 h 410520"/>
                <a:gd name="connsiteX1013" fmla="*/ 1627146 w 2663946"/>
                <a:gd name="connsiteY1013" fmla="*/ 165693 h 410520"/>
                <a:gd name="connsiteX1014" fmla="*/ 1625916 w 2663946"/>
                <a:gd name="connsiteY1014" fmla="*/ 169478 h 410520"/>
                <a:gd name="connsiteX1015" fmla="*/ 1624933 w 2663946"/>
                <a:gd name="connsiteY1015" fmla="*/ 171912 h 410520"/>
                <a:gd name="connsiteX1016" fmla="*/ 1622721 w 2663946"/>
                <a:gd name="connsiteY1016" fmla="*/ 176238 h 410520"/>
                <a:gd name="connsiteX1017" fmla="*/ 1620509 w 2663946"/>
                <a:gd name="connsiteY1017" fmla="*/ 179482 h 410520"/>
                <a:gd name="connsiteX1018" fmla="*/ 1617068 w 2663946"/>
                <a:gd name="connsiteY1018" fmla="*/ 183268 h 410520"/>
                <a:gd name="connsiteX1019" fmla="*/ 1613872 w 2663946"/>
                <a:gd name="connsiteY1019" fmla="*/ 185971 h 410520"/>
                <a:gd name="connsiteX1020" fmla="*/ 1608219 w 2663946"/>
                <a:gd name="connsiteY1020" fmla="*/ 189216 h 410520"/>
                <a:gd name="connsiteX1021" fmla="*/ 1600353 w 2663946"/>
                <a:gd name="connsiteY1021" fmla="*/ 191379 h 410520"/>
                <a:gd name="connsiteX1022" fmla="*/ 1599124 w 2663946"/>
                <a:gd name="connsiteY1022" fmla="*/ 191650 h 410520"/>
                <a:gd name="connsiteX1023" fmla="*/ 1594945 w 2663946"/>
                <a:gd name="connsiteY1023" fmla="*/ 191650 h 410520"/>
                <a:gd name="connsiteX1024" fmla="*/ 1594699 w 2663946"/>
                <a:gd name="connsiteY1024" fmla="*/ 191650 h 410520"/>
                <a:gd name="connsiteX1025" fmla="*/ 1581672 w 2663946"/>
                <a:gd name="connsiteY1025" fmla="*/ 186783 h 410520"/>
                <a:gd name="connsiteX1026" fmla="*/ 1577002 w 2663946"/>
                <a:gd name="connsiteY1026" fmla="*/ 182727 h 410520"/>
                <a:gd name="connsiteX1027" fmla="*/ 1573806 w 2663946"/>
                <a:gd name="connsiteY1027" fmla="*/ 178942 h 410520"/>
                <a:gd name="connsiteX1028" fmla="*/ 1571594 w 2663946"/>
                <a:gd name="connsiteY1028" fmla="*/ 175427 h 410520"/>
                <a:gd name="connsiteX1029" fmla="*/ 1569382 w 2663946"/>
                <a:gd name="connsiteY1029" fmla="*/ 171101 h 410520"/>
                <a:gd name="connsiteX1030" fmla="*/ 1568153 w 2663946"/>
                <a:gd name="connsiteY1030" fmla="*/ 168126 h 410520"/>
                <a:gd name="connsiteX1031" fmla="*/ 1567169 w 2663946"/>
                <a:gd name="connsiteY1031" fmla="*/ 164882 h 410520"/>
                <a:gd name="connsiteX1032" fmla="*/ 1565940 w 2663946"/>
                <a:gd name="connsiteY1032" fmla="*/ 159204 h 410520"/>
                <a:gd name="connsiteX1033" fmla="*/ 1565695 w 2663946"/>
                <a:gd name="connsiteY1033" fmla="*/ 156230 h 410520"/>
                <a:gd name="connsiteX1034" fmla="*/ 1565940 w 2663946"/>
                <a:gd name="connsiteY1034" fmla="*/ 156500 h 410520"/>
                <a:gd name="connsiteX1035" fmla="*/ 1565940 w 2663946"/>
                <a:gd name="connsiteY1035" fmla="*/ 150822 h 410520"/>
                <a:gd name="connsiteX1036" fmla="*/ 1565940 w 2663946"/>
                <a:gd name="connsiteY1036" fmla="*/ 150552 h 410520"/>
                <a:gd name="connsiteX1037" fmla="*/ 1566432 w 2663946"/>
                <a:gd name="connsiteY1037" fmla="*/ 145955 h 410520"/>
                <a:gd name="connsiteX1038" fmla="*/ 1567661 w 2663946"/>
                <a:gd name="connsiteY1038" fmla="*/ 140548 h 410520"/>
                <a:gd name="connsiteX1039" fmla="*/ 1568644 w 2663946"/>
                <a:gd name="connsiteY1039" fmla="*/ 137303 h 410520"/>
                <a:gd name="connsiteX1040" fmla="*/ 1570856 w 2663946"/>
                <a:gd name="connsiteY1040" fmla="*/ 132166 h 410520"/>
                <a:gd name="connsiteX1041" fmla="*/ 1573069 w 2663946"/>
                <a:gd name="connsiteY1041" fmla="*/ 128381 h 410520"/>
                <a:gd name="connsiteX1042" fmla="*/ 1575281 w 2663946"/>
                <a:gd name="connsiteY1042" fmla="*/ 125406 h 410520"/>
                <a:gd name="connsiteX1043" fmla="*/ 1577493 w 2663946"/>
                <a:gd name="connsiteY1043" fmla="*/ 122973 h 410520"/>
                <a:gd name="connsiteX1044" fmla="*/ 1582163 w 2663946"/>
                <a:gd name="connsiteY1044" fmla="*/ 119188 h 410520"/>
                <a:gd name="connsiteX1045" fmla="*/ 1586096 w 2663946"/>
                <a:gd name="connsiteY1045" fmla="*/ 117025 h 410520"/>
                <a:gd name="connsiteX1046" fmla="*/ 1595683 w 2663946"/>
                <a:gd name="connsiteY1046" fmla="*/ 114591 h 410520"/>
                <a:gd name="connsiteX1047" fmla="*/ 1246776 w 2663946"/>
                <a:gd name="connsiteY1047" fmla="*/ 114591 h 410520"/>
                <a:gd name="connsiteX1048" fmla="*/ 1259066 w 2663946"/>
                <a:gd name="connsiteY1048" fmla="*/ 116754 h 410520"/>
                <a:gd name="connsiteX1049" fmla="*/ 1266440 w 2663946"/>
                <a:gd name="connsiteY1049" fmla="*/ 121351 h 410520"/>
                <a:gd name="connsiteX1050" fmla="*/ 1269881 w 2663946"/>
                <a:gd name="connsiteY1050" fmla="*/ 124595 h 410520"/>
                <a:gd name="connsiteX1051" fmla="*/ 1273323 w 2663946"/>
                <a:gd name="connsiteY1051" fmla="*/ 128921 h 410520"/>
                <a:gd name="connsiteX1052" fmla="*/ 1275289 w 2663946"/>
                <a:gd name="connsiteY1052" fmla="*/ 132436 h 410520"/>
                <a:gd name="connsiteX1053" fmla="*/ 1277501 w 2663946"/>
                <a:gd name="connsiteY1053" fmla="*/ 137844 h 410520"/>
                <a:gd name="connsiteX1054" fmla="*/ 1278484 w 2663946"/>
                <a:gd name="connsiteY1054" fmla="*/ 141359 h 410520"/>
                <a:gd name="connsiteX1055" fmla="*/ 1279467 w 2663946"/>
                <a:gd name="connsiteY1055" fmla="*/ 146496 h 410520"/>
                <a:gd name="connsiteX1056" fmla="*/ 1279222 w 2663946"/>
                <a:gd name="connsiteY1056" fmla="*/ 160826 h 410520"/>
                <a:gd name="connsiteX1057" fmla="*/ 1278239 w 2663946"/>
                <a:gd name="connsiteY1057" fmla="*/ 165693 h 410520"/>
                <a:gd name="connsiteX1058" fmla="*/ 1277009 w 2663946"/>
                <a:gd name="connsiteY1058" fmla="*/ 169478 h 410520"/>
                <a:gd name="connsiteX1059" fmla="*/ 1276026 w 2663946"/>
                <a:gd name="connsiteY1059" fmla="*/ 171912 h 410520"/>
                <a:gd name="connsiteX1060" fmla="*/ 1273814 w 2663946"/>
                <a:gd name="connsiteY1060" fmla="*/ 176238 h 410520"/>
                <a:gd name="connsiteX1061" fmla="*/ 1271602 w 2663946"/>
                <a:gd name="connsiteY1061" fmla="*/ 179482 h 410520"/>
                <a:gd name="connsiteX1062" fmla="*/ 1268161 w 2663946"/>
                <a:gd name="connsiteY1062" fmla="*/ 183268 h 410520"/>
                <a:gd name="connsiteX1063" fmla="*/ 1264965 w 2663946"/>
                <a:gd name="connsiteY1063" fmla="*/ 185971 h 410520"/>
                <a:gd name="connsiteX1064" fmla="*/ 1259312 w 2663946"/>
                <a:gd name="connsiteY1064" fmla="*/ 189216 h 410520"/>
                <a:gd name="connsiteX1065" fmla="*/ 1251446 w 2663946"/>
                <a:gd name="connsiteY1065" fmla="*/ 191379 h 410520"/>
                <a:gd name="connsiteX1066" fmla="*/ 1250217 w 2663946"/>
                <a:gd name="connsiteY1066" fmla="*/ 191650 h 410520"/>
                <a:gd name="connsiteX1067" fmla="*/ 1246038 w 2663946"/>
                <a:gd name="connsiteY1067" fmla="*/ 191650 h 410520"/>
                <a:gd name="connsiteX1068" fmla="*/ 1245792 w 2663946"/>
                <a:gd name="connsiteY1068" fmla="*/ 191650 h 410520"/>
                <a:gd name="connsiteX1069" fmla="*/ 1232765 w 2663946"/>
                <a:gd name="connsiteY1069" fmla="*/ 186783 h 410520"/>
                <a:gd name="connsiteX1070" fmla="*/ 1228095 w 2663946"/>
                <a:gd name="connsiteY1070" fmla="*/ 182727 h 410520"/>
                <a:gd name="connsiteX1071" fmla="*/ 1224899 w 2663946"/>
                <a:gd name="connsiteY1071" fmla="*/ 178942 h 410520"/>
                <a:gd name="connsiteX1072" fmla="*/ 1222687 w 2663946"/>
                <a:gd name="connsiteY1072" fmla="*/ 175427 h 410520"/>
                <a:gd name="connsiteX1073" fmla="*/ 1220475 w 2663946"/>
                <a:gd name="connsiteY1073" fmla="*/ 171101 h 410520"/>
                <a:gd name="connsiteX1074" fmla="*/ 1219246 w 2663946"/>
                <a:gd name="connsiteY1074" fmla="*/ 168126 h 410520"/>
                <a:gd name="connsiteX1075" fmla="*/ 1218262 w 2663946"/>
                <a:gd name="connsiteY1075" fmla="*/ 164882 h 410520"/>
                <a:gd name="connsiteX1076" fmla="*/ 1217033 w 2663946"/>
                <a:gd name="connsiteY1076" fmla="*/ 159204 h 410520"/>
                <a:gd name="connsiteX1077" fmla="*/ 1216788 w 2663946"/>
                <a:gd name="connsiteY1077" fmla="*/ 156230 h 410520"/>
                <a:gd name="connsiteX1078" fmla="*/ 1217033 w 2663946"/>
                <a:gd name="connsiteY1078" fmla="*/ 156500 h 410520"/>
                <a:gd name="connsiteX1079" fmla="*/ 1217033 w 2663946"/>
                <a:gd name="connsiteY1079" fmla="*/ 150822 h 410520"/>
                <a:gd name="connsiteX1080" fmla="*/ 1217033 w 2663946"/>
                <a:gd name="connsiteY1080" fmla="*/ 150552 h 410520"/>
                <a:gd name="connsiteX1081" fmla="*/ 1217525 w 2663946"/>
                <a:gd name="connsiteY1081" fmla="*/ 145955 h 410520"/>
                <a:gd name="connsiteX1082" fmla="*/ 1218754 w 2663946"/>
                <a:gd name="connsiteY1082" fmla="*/ 140548 h 410520"/>
                <a:gd name="connsiteX1083" fmla="*/ 1219737 w 2663946"/>
                <a:gd name="connsiteY1083" fmla="*/ 137303 h 410520"/>
                <a:gd name="connsiteX1084" fmla="*/ 1221949 w 2663946"/>
                <a:gd name="connsiteY1084" fmla="*/ 132166 h 410520"/>
                <a:gd name="connsiteX1085" fmla="*/ 1224162 w 2663946"/>
                <a:gd name="connsiteY1085" fmla="*/ 128381 h 410520"/>
                <a:gd name="connsiteX1086" fmla="*/ 1226374 w 2663946"/>
                <a:gd name="connsiteY1086" fmla="*/ 125406 h 410520"/>
                <a:gd name="connsiteX1087" fmla="*/ 1228586 w 2663946"/>
                <a:gd name="connsiteY1087" fmla="*/ 122973 h 410520"/>
                <a:gd name="connsiteX1088" fmla="*/ 1233256 w 2663946"/>
                <a:gd name="connsiteY1088" fmla="*/ 119188 h 410520"/>
                <a:gd name="connsiteX1089" fmla="*/ 1237189 w 2663946"/>
                <a:gd name="connsiteY1089" fmla="*/ 117025 h 410520"/>
                <a:gd name="connsiteX1090" fmla="*/ 1246776 w 2663946"/>
                <a:gd name="connsiteY1090" fmla="*/ 114591 h 410520"/>
                <a:gd name="connsiteX1091" fmla="*/ 1064825 w 2663946"/>
                <a:gd name="connsiteY1091" fmla="*/ 114591 h 410520"/>
                <a:gd name="connsiteX1092" fmla="*/ 1077115 w 2663946"/>
                <a:gd name="connsiteY1092" fmla="*/ 116754 h 410520"/>
                <a:gd name="connsiteX1093" fmla="*/ 1084489 w 2663946"/>
                <a:gd name="connsiteY1093" fmla="*/ 121351 h 410520"/>
                <a:gd name="connsiteX1094" fmla="*/ 1087930 w 2663946"/>
                <a:gd name="connsiteY1094" fmla="*/ 124595 h 410520"/>
                <a:gd name="connsiteX1095" fmla="*/ 1091372 w 2663946"/>
                <a:gd name="connsiteY1095" fmla="*/ 128921 h 410520"/>
                <a:gd name="connsiteX1096" fmla="*/ 1093338 w 2663946"/>
                <a:gd name="connsiteY1096" fmla="*/ 132436 h 410520"/>
                <a:gd name="connsiteX1097" fmla="*/ 1095550 w 2663946"/>
                <a:gd name="connsiteY1097" fmla="*/ 137844 h 410520"/>
                <a:gd name="connsiteX1098" fmla="*/ 1096533 w 2663946"/>
                <a:gd name="connsiteY1098" fmla="*/ 141359 h 410520"/>
                <a:gd name="connsiteX1099" fmla="*/ 1097516 w 2663946"/>
                <a:gd name="connsiteY1099" fmla="*/ 146496 h 410520"/>
                <a:gd name="connsiteX1100" fmla="*/ 1097271 w 2663946"/>
                <a:gd name="connsiteY1100" fmla="*/ 160826 h 410520"/>
                <a:gd name="connsiteX1101" fmla="*/ 1096288 w 2663946"/>
                <a:gd name="connsiteY1101" fmla="*/ 165693 h 410520"/>
                <a:gd name="connsiteX1102" fmla="*/ 1095058 w 2663946"/>
                <a:gd name="connsiteY1102" fmla="*/ 169478 h 410520"/>
                <a:gd name="connsiteX1103" fmla="*/ 1094075 w 2663946"/>
                <a:gd name="connsiteY1103" fmla="*/ 171912 h 410520"/>
                <a:gd name="connsiteX1104" fmla="*/ 1091863 w 2663946"/>
                <a:gd name="connsiteY1104" fmla="*/ 176238 h 410520"/>
                <a:gd name="connsiteX1105" fmla="*/ 1089651 w 2663946"/>
                <a:gd name="connsiteY1105" fmla="*/ 179482 h 410520"/>
                <a:gd name="connsiteX1106" fmla="*/ 1086210 w 2663946"/>
                <a:gd name="connsiteY1106" fmla="*/ 183268 h 410520"/>
                <a:gd name="connsiteX1107" fmla="*/ 1083014 w 2663946"/>
                <a:gd name="connsiteY1107" fmla="*/ 185971 h 410520"/>
                <a:gd name="connsiteX1108" fmla="*/ 1077361 w 2663946"/>
                <a:gd name="connsiteY1108" fmla="*/ 189216 h 410520"/>
                <a:gd name="connsiteX1109" fmla="*/ 1069495 w 2663946"/>
                <a:gd name="connsiteY1109" fmla="*/ 191379 h 410520"/>
                <a:gd name="connsiteX1110" fmla="*/ 1068266 w 2663946"/>
                <a:gd name="connsiteY1110" fmla="*/ 191650 h 410520"/>
                <a:gd name="connsiteX1111" fmla="*/ 1064087 w 2663946"/>
                <a:gd name="connsiteY1111" fmla="*/ 191650 h 410520"/>
                <a:gd name="connsiteX1112" fmla="*/ 1063841 w 2663946"/>
                <a:gd name="connsiteY1112" fmla="*/ 191650 h 410520"/>
                <a:gd name="connsiteX1113" fmla="*/ 1050814 w 2663946"/>
                <a:gd name="connsiteY1113" fmla="*/ 186783 h 410520"/>
                <a:gd name="connsiteX1114" fmla="*/ 1046144 w 2663946"/>
                <a:gd name="connsiteY1114" fmla="*/ 182727 h 410520"/>
                <a:gd name="connsiteX1115" fmla="*/ 1042948 w 2663946"/>
                <a:gd name="connsiteY1115" fmla="*/ 178942 h 410520"/>
                <a:gd name="connsiteX1116" fmla="*/ 1040736 w 2663946"/>
                <a:gd name="connsiteY1116" fmla="*/ 175427 h 410520"/>
                <a:gd name="connsiteX1117" fmla="*/ 1038524 w 2663946"/>
                <a:gd name="connsiteY1117" fmla="*/ 171101 h 410520"/>
                <a:gd name="connsiteX1118" fmla="*/ 1037295 w 2663946"/>
                <a:gd name="connsiteY1118" fmla="*/ 168126 h 410520"/>
                <a:gd name="connsiteX1119" fmla="*/ 1036311 w 2663946"/>
                <a:gd name="connsiteY1119" fmla="*/ 164882 h 410520"/>
                <a:gd name="connsiteX1120" fmla="*/ 1035082 w 2663946"/>
                <a:gd name="connsiteY1120" fmla="*/ 159204 h 410520"/>
                <a:gd name="connsiteX1121" fmla="*/ 1034837 w 2663946"/>
                <a:gd name="connsiteY1121" fmla="*/ 156230 h 410520"/>
                <a:gd name="connsiteX1122" fmla="*/ 1035082 w 2663946"/>
                <a:gd name="connsiteY1122" fmla="*/ 156500 h 410520"/>
                <a:gd name="connsiteX1123" fmla="*/ 1035082 w 2663946"/>
                <a:gd name="connsiteY1123" fmla="*/ 150822 h 410520"/>
                <a:gd name="connsiteX1124" fmla="*/ 1035082 w 2663946"/>
                <a:gd name="connsiteY1124" fmla="*/ 150552 h 410520"/>
                <a:gd name="connsiteX1125" fmla="*/ 1035574 w 2663946"/>
                <a:gd name="connsiteY1125" fmla="*/ 145955 h 410520"/>
                <a:gd name="connsiteX1126" fmla="*/ 1036803 w 2663946"/>
                <a:gd name="connsiteY1126" fmla="*/ 140548 h 410520"/>
                <a:gd name="connsiteX1127" fmla="*/ 1037786 w 2663946"/>
                <a:gd name="connsiteY1127" fmla="*/ 137303 h 410520"/>
                <a:gd name="connsiteX1128" fmla="*/ 1039998 w 2663946"/>
                <a:gd name="connsiteY1128" fmla="*/ 132166 h 410520"/>
                <a:gd name="connsiteX1129" fmla="*/ 1042211 w 2663946"/>
                <a:gd name="connsiteY1129" fmla="*/ 128381 h 410520"/>
                <a:gd name="connsiteX1130" fmla="*/ 1044423 w 2663946"/>
                <a:gd name="connsiteY1130" fmla="*/ 125406 h 410520"/>
                <a:gd name="connsiteX1131" fmla="*/ 1046635 w 2663946"/>
                <a:gd name="connsiteY1131" fmla="*/ 122973 h 410520"/>
                <a:gd name="connsiteX1132" fmla="*/ 1051305 w 2663946"/>
                <a:gd name="connsiteY1132" fmla="*/ 119188 h 410520"/>
                <a:gd name="connsiteX1133" fmla="*/ 1055238 w 2663946"/>
                <a:gd name="connsiteY1133" fmla="*/ 117025 h 410520"/>
                <a:gd name="connsiteX1134" fmla="*/ 1064825 w 2663946"/>
                <a:gd name="connsiteY1134" fmla="*/ 114591 h 410520"/>
                <a:gd name="connsiteX1135" fmla="*/ 897796 w 2663946"/>
                <a:gd name="connsiteY1135" fmla="*/ 114591 h 410520"/>
                <a:gd name="connsiteX1136" fmla="*/ 910086 w 2663946"/>
                <a:gd name="connsiteY1136" fmla="*/ 116754 h 410520"/>
                <a:gd name="connsiteX1137" fmla="*/ 917460 w 2663946"/>
                <a:gd name="connsiteY1137" fmla="*/ 121351 h 410520"/>
                <a:gd name="connsiteX1138" fmla="*/ 920901 w 2663946"/>
                <a:gd name="connsiteY1138" fmla="*/ 124595 h 410520"/>
                <a:gd name="connsiteX1139" fmla="*/ 924343 w 2663946"/>
                <a:gd name="connsiteY1139" fmla="*/ 128921 h 410520"/>
                <a:gd name="connsiteX1140" fmla="*/ 926309 w 2663946"/>
                <a:gd name="connsiteY1140" fmla="*/ 132436 h 410520"/>
                <a:gd name="connsiteX1141" fmla="*/ 928521 w 2663946"/>
                <a:gd name="connsiteY1141" fmla="*/ 137844 h 410520"/>
                <a:gd name="connsiteX1142" fmla="*/ 929504 w 2663946"/>
                <a:gd name="connsiteY1142" fmla="*/ 141359 h 410520"/>
                <a:gd name="connsiteX1143" fmla="*/ 930487 w 2663946"/>
                <a:gd name="connsiteY1143" fmla="*/ 146496 h 410520"/>
                <a:gd name="connsiteX1144" fmla="*/ 930242 w 2663946"/>
                <a:gd name="connsiteY1144" fmla="*/ 160826 h 410520"/>
                <a:gd name="connsiteX1145" fmla="*/ 929259 w 2663946"/>
                <a:gd name="connsiteY1145" fmla="*/ 165693 h 410520"/>
                <a:gd name="connsiteX1146" fmla="*/ 928029 w 2663946"/>
                <a:gd name="connsiteY1146" fmla="*/ 169478 h 410520"/>
                <a:gd name="connsiteX1147" fmla="*/ 927046 w 2663946"/>
                <a:gd name="connsiteY1147" fmla="*/ 171912 h 410520"/>
                <a:gd name="connsiteX1148" fmla="*/ 924834 w 2663946"/>
                <a:gd name="connsiteY1148" fmla="*/ 176238 h 410520"/>
                <a:gd name="connsiteX1149" fmla="*/ 922622 w 2663946"/>
                <a:gd name="connsiteY1149" fmla="*/ 179482 h 410520"/>
                <a:gd name="connsiteX1150" fmla="*/ 919181 w 2663946"/>
                <a:gd name="connsiteY1150" fmla="*/ 183268 h 410520"/>
                <a:gd name="connsiteX1151" fmla="*/ 915985 w 2663946"/>
                <a:gd name="connsiteY1151" fmla="*/ 185971 h 410520"/>
                <a:gd name="connsiteX1152" fmla="*/ 910332 w 2663946"/>
                <a:gd name="connsiteY1152" fmla="*/ 189216 h 410520"/>
                <a:gd name="connsiteX1153" fmla="*/ 902466 w 2663946"/>
                <a:gd name="connsiteY1153" fmla="*/ 191379 h 410520"/>
                <a:gd name="connsiteX1154" fmla="*/ 901237 w 2663946"/>
                <a:gd name="connsiteY1154" fmla="*/ 191650 h 410520"/>
                <a:gd name="connsiteX1155" fmla="*/ 897058 w 2663946"/>
                <a:gd name="connsiteY1155" fmla="*/ 191650 h 410520"/>
                <a:gd name="connsiteX1156" fmla="*/ 896812 w 2663946"/>
                <a:gd name="connsiteY1156" fmla="*/ 191650 h 410520"/>
                <a:gd name="connsiteX1157" fmla="*/ 883785 w 2663946"/>
                <a:gd name="connsiteY1157" fmla="*/ 186783 h 410520"/>
                <a:gd name="connsiteX1158" fmla="*/ 879115 w 2663946"/>
                <a:gd name="connsiteY1158" fmla="*/ 182727 h 410520"/>
                <a:gd name="connsiteX1159" fmla="*/ 875919 w 2663946"/>
                <a:gd name="connsiteY1159" fmla="*/ 178942 h 410520"/>
                <a:gd name="connsiteX1160" fmla="*/ 873707 w 2663946"/>
                <a:gd name="connsiteY1160" fmla="*/ 175427 h 410520"/>
                <a:gd name="connsiteX1161" fmla="*/ 871495 w 2663946"/>
                <a:gd name="connsiteY1161" fmla="*/ 171101 h 410520"/>
                <a:gd name="connsiteX1162" fmla="*/ 870266 w 2663946"/>
                <a:gd name="connsiteY1162" fmla="*/ 168126 h 410520"/>
                <a:gd name="connsiteX1163" fmla="*/ 869282 w 2663946"/>
                <a:gd name="connsiteY1163" fmla="*/ 164882 h 410520"/>
                <a:gd name="connsiteX1164" fmla="*/ 868053 w 2663946"/>
                <a:gd name="connsiteY1164" fmla="*/ 159204 h 410520"/>
                <a:gd name="connsiteX1165" fmla="*/ 867808 w 2663946"/>
                <a:gd name="connsiteY1165" fmla="*/ 156230 h 410520"/>
                <a:gd name="connsiteX1166" fmla="*/ 868053 w 2663946"/>
                <a:gd name="connsiteY1166" fmla="*/ 156500 h 410520"/>
                <a:gd name="connsiteX1167" fmla="*/ 868053 w 2663946"/>
                <a:gd name="connsiteY1167" fmla="*/ 150822 h 410520"/>
                <a:gd name="connsiteX1168" fmla="*/ 868053 w 2663946"/>
                <a:gd name="connsiteY1168" fmla="*/ 150552 h 410520"/>
                <a:gd name="connsiteX1169" fmla="*/ 868545 w 2663946"/>
                <a:gd name="connsiteY1169" fmla="*/ 145955 h 410520"/>
                <a:gd name="connsiteX1170" fmla="*/ 869774 w 2663946"/>
                <a:gd name="connsiteY1170" fmla="*/ 140548 h 410520"/>
                <a:gd name="connsiteX1171" fmla="*/ 870757 w 2663946"/>
                <a:gd name="connsiteY1171" fmla="*/ 137303 h 410520"/>
                <a:gd name="connsiteX1172" fmla="*/ 872969 w 2663946"/>
                <a:gd name="connsiteY1172" fmla="*/ 132166 h 410520"/>
                <a:gd name="connsiteX1173" fmla="*/ 875182 w 2663946"/>
                <a:gd name="connsiteY1173" fmla="*/ 128381 h 410520"/>
                <a:gd name="connsiteX1174" fmla="*/ 877394 w 2663946"/>
                <a:gd name="connsiteY1174" fmla="*/ 125406 h 410520"/>
                <a:gd name="connsiteX1175" fmla="*/ 879606 w 2663946"/>
                <a:gd name="connsiteY1175" fmla="*/ 122973 h 410520"/>
                <a:gd name="connsiteX1176" fmla="*/ 884276 w 2663946"/>
                <a:gd name="connsiteY1176" fmla="*/ 119188 h 410520"/>
                <a:gd name="connsiteX1177" fmla="*/ 888209 w 2663946"/>
                <a:gd name="connsiteY1177" fmla="*/ 117025 h 410520"/>
                <a:gd name="connsiteX1178" fmla="*/ 897796 w 2663946"/>
                <a:gd name="connsiteY1178" fmla="*/ 114591 h 410520"/>
                <a:gd name="connsiteX1179" fmla="*/ 548889 w 2663946"/>
                <a:gd name="connsiteY1179" fmla="*/ 114591 h 410520"/>
                <a:gd name="connsiteX1180" fmla="*/ 561180 w 2663946"/>
                <a:gd name="connsiteY1180" fmla="*/ 116754 h 410520"/>
                <a:gd name="connsiteX1181" fmla="*/ 568554 w 2663946"/>
                <a:gd name="connsiteY1181" fmla="*/ 121351 h 410520"/>
                <a:gd name="connsiteX1182" fmla="*/ 571995 w 2663946"/>
                <a:gd name="connsiteY1182" fmla="*/ 124595 h 410520"/>
                <a:gd name="connsiteX1183" fmla="*/ 575436 w 2663946"/>
                <a:gd name="connsiteY1183" fmla="*/ 128921 h 410520"/>
                <a:gd name="connsiteX1184" fmla="*/ 577403 w 2663946"/>
                <a:gd name="connsiteY1184" fmla="*/ 132436 h 410520"/>
                <a:gd name="connsiteX1185" fmla="*/ 579615 w 2663946"/>
                <a:gd name="connsiteY1185" fmla="*/ 137844 h 410520"/>
                <a:gd name="connsiteX1186" fmla="*/ 580598 w 2663946"/>
                <a:gd name="connsiteY1186" fmla="*/ 141359 h 410520"/>
                <a:gd name="connsiteX1187" fmla="*/ 581581 w 2663946"/>
                <a:gd name="connsiteY1187" fmla="*/ 146496 h 410520"/>
                <a:gd name="connsiteX1188" fmla="*/ 581336 w 2663946"/>
                <a:gd name="connsiteY1188" fmla="*/ 160826 h 410520"/>
                <a:gd name="connsiteX1189" fmla="*/ 580352 w 2663946"/>
                <a:gd name="connsiteY1189" fmla="*/ 165693 h 410520"/>
                <a:gd name="connsiteX1190" fmla="*/ 579123 w 2663946"/>
                <a:gd name="connsiteY1190" fmla="*/ 169478 h 410520"/>
                <a:gd name="connsiteX1191" fmla="*/ 578140 w 2663946"/>
                <a:gd name="connsiteY1191" fmla="*/ 171912 h 410520"/>
                <a:gd name="connsiteX1192" fmla="*/ 575928 w 2663946"/>
                <a:gd name="connsiteY1192" fmla="*/ 176238 h 410520"/>
                <a:gd name="connsiteX1193" fmla="*/ 573715 w 2663946"/>
                <a:gd name="connsiteY1193" fmla="*/ 179482 h 410520"/>
                <a:gd name="connsiteX1194" fmla="*/ 570274 w 2663946"/>
                <a:gd name="connsiteY1194" fmla="*/ 183268 h 410520"/>
                <a:gd name="connsiteX1195" fmla="*/ 567079 w 2663946"/>
                <a:gd name="connsiteY1195" fmla="*/ 185971 h 410520"/>
                <a:gd name="connsiteX1196" fmla="*/ 561425 w 2663946"/>
                <a:gd name="connsiteY1196" fmla="*/ 189216 h 410520"/>
                <a:gd name="connsiteX1197" fmla="*/ 553559 w 2663946"/>
                <a:gd name="connsiteY1197" fmla="*/ 191379 h 410520"/>
                <a:gd name="connsiteX1198" fmla="*/ 552331 w 2663946"/>
                <a:gd name="connsiteY1198" fmla="*/ 191650 h 410520"/>
                <a:gd name="connsiteX1199" fmla="*/ 548152 w 2663946"/>
                <a:gd name="connsiteY1199" fmla="*/ 191650 h 410520"/>
                <a:gd name="connsiteX1200" fmla="*/ 547906 w 2663946"/>
                <a:gd name="connsiteY1200" fmla="*/ 191650 h 410520"/>
                <a:gd name="connsiteX1201" fmla="*/ 534879 w 2663946"/>
                <a:gd name="connsiteY1201" fmla="*/ 186783 h 410520"/>
                <a:gd name="connsiteX1202" fmla="*/ 530208 w 2663946"/>
                <a:gd name="connsiteY1202" fmla="*/ 182727 h 410520"/>
                <a:gd name="connsiteX1203" fmla="*/ 527013 w 2663946"/>
                <a:gd name="connsiteY1203" fmla="*/ 178942 h 410520"/>
                <a:gd name="connsiteX1204" fmla="*/ 524801 w 2663946"/>
                <a:gd name="connsiteY1204" fmla="*/ 175427 h 410520"/>
                <a:gd name="connsiteX1205" fmla="*/ 522588 w 2663946"/>
                <a:gd name="connsiteY1205" fmla="*/ 171101 h 410520"/>
                <a:gd name="connsiteX1206" fmla="*/ 521359 w 2663946"/>
                <a:gd name="connsiteY1206" fmla="*/ 168126 h 410520"/>
                <a:gd name="connsiteX1207" fmla="*/ 520376 w 2663946"/>
                <a:gd name="connsiteY1207" fmla="*/ 164882 h 410520"/>
                <a:gd name="connsiteX1208" fmla="*/ 519147 w 2663946"/>
                <a:gd name="connsiteY1208" fmla="*/ 159204 h 410520"/>
                <a:gd name="connsiteX1209" fmla="*/ 518901 w 2663946"/>
                <a:gd name="connsiteY1209" fmla="*/ 156230 h 410520"/>
                <a:gd name="connsiteX1210" fmla="*/ 519147 w 2663946"/>
                <a:gd name="connsiteY1210" fmla="*/ 156500 h 410520"/>
                <a:gd name="connsiteX1211" fmla="*/ 519147 w 2663946"/>
                <a:gd name="connsiteY1211" fmla="*/ 150822 h 410520"/>
                <a:gd name="connsiteX1212" fmla="*/ 519147 w 2663946"/>
                <a:gd name="connsiteY1212" fmla="*/ 150552 h 410520"/>
                <a:gd name="connsiteX1213" fmla="*/ 519639 w 2663946"/>
                <a:gd name="connsiteY1213" fmla="*/ 145955 h 410520"/>
                <a:gd name="connsiteX1214" fmla="*/ 520868 w 2663946"/>
                <a:gd name="connsiteY1214" fmla="*/ 140548 h 410520"/>
                <a:gd name="connsiteX1215" fmla="*/ 521851 w 2663946"/>
                <a:gd name="connsiteY1215" fmla="*/ 137303 h 410520"/>
                <a:gd name="connsiteX1216" fmla="*/ 524063 w 2663946"/>
                <a:gd name="connsiteY1216" fmla="*/ 132166 h 410520"/>
                <a:gd name="connsiteX1217" fmla="*/ 526275 w 2663946"/>
                <a:gd name="connsiteY1217" fmla="*/ 128381 h 410520"/>
                <a:gd name="connsiteX1218" fmla="*/ 528488 w 2663946"/>
                <a:gd name="connsiteY1218" fmla="*/ 125406 h 410520"/>
                <a:gd name="connsiteX1219" fmla="*/ 530700 w 2663946"/>
                <a:gd name="connsiteY1219" fmla="*/ 122973 h 410520"/>
                <a:gd name="connsiteX1220" fmla="*/ 535370 w 2663946"/>
                <a:gd name="connsiteY1220" fmla="*/ 119188 h 410520"/>
                <a:gd name="connsiteX1221" fmla="*/ 539303 w 2663946"/>
                <a:gd name="connsiteY1221" fmla="*/ 117025 h 410520"/>
                <a:gd name="connsiteX1222" fmla="*/ 548889 w 2663946"/>
                <a:gd name="connsiteY1222" fmla="*/ 114591 h 410520"/>
                <a:gd name="connsiteX1223" fmla="*/ 366938 w 2663946"/>
                <a:gd name="connsiteY1223" fmla="*/ 114591 h 410520"/>
                <a:gd name="connsiteX1224" fmla="*/ 379228 w 2663946"/>
                <a:gd name="connsiteY1224" fmla="*/ 116754 h 410520"/>
                <a:gd name="connsiteX1225" fmla="*/ 386603 w 2663946"/>
                <a:gd name="connsiteY1225" fmla="*/ 121351 h 410520"/>
                <a:gd name="connsiteX1226" fmla="*/ 390044 w 2663946"/>
                <a:gd name="connsiteY1226" fmla="*/ 124595 h 410520"/>
                <a:gd name="connsiteX1227" fmla="*/ 393485 w 2663946"/>
                <a:gd name="connsiteY1227" fmla="*/ 128921 h 410520"/>
                <a:gd name="connsiteX1228" fmla="*/ 395452 w 2663946"/>
                <a:gd name="connsiteY1228" fmla="*/ 132436 h 410520"/>
                <a:gd name="connsiteX1229" fmla="*/ 397664 w 2663946"/>
                <a:gd name="connsiteY1229" fmla="*/ 137844 h 410520"/>
                <a:gd name="connsiteX1230" fmla="*/ 398647 w 2663946"/>
                <a:gd name="connsiteY1230" fmla="*/ 141359 h 410520"/>
                <a:gd name="connsiteX1231" fmla="*/ 399630 w 2663946"/>
                <a:gd name="connsiteY1231" fmla="*/ 146496 h 410520"/>
                <a:gd name="connsiteX1232" fmla="*/ 399384 w 2663946"/>
                <a:gd name="connsiteY1232" fmla="*/ 160826 h 410520"/>
                <a:gd name="connsiteX1233" fmla="*/ 398401 w 2663946"/>
                <a:gd name="connsiteY1233" fmla="*/ 165693 h 410520"/>
                <a:gd name="connsiteX1234" fmla="*/ 397172 w 2663946"/>
                <a:gd name="connsiteY1234" fmla="*/ 169478 h 410520"/>
                <a:gd name="connsiteX1235" fmla="*/ 396189 w 2663946"/>
                <a:gd name="connsiteY1235" fmla="*/ 171912 h 410520"/>
                <a:gd name="connsiteX1236" fmla="*/ 393977 w 2663946"/>
                <a:gd name="connsiteY1236" fmla="*/ 176238 h 410520"/>
                <a:gd name="connsiteX1237" fmla="*/ 391764 w 2663946"/>
                <a:gd name="connsiteY1237" fmla="*/ 179482 h 410520"/>
                <a:gd name="connsiteX1238" fmla="*/ 388323 w 2663946"/>
                <a:gd name="connsiteY1238" fmla="*/ 183268 h 410520"/>
                <a:gd name="connsiteX1239" fmla="*/ 385128 w 2663946"/>
                <a:gd name="connsiteY1239" fmla="*/ 185971 h 410520"/>
                <a:gd name="connsiteX1240" fmla="*/ 379474 w 2663946"/>
                <a:gd name="connsiteY1240" fmla="*/ 189216 h 410520"/>
                <a:gd name="connsiteX1241" fmla="*/ 371609 w 2663946"/>
                <a:gd name="connsiteY1241" fmla="*/ 191379 h 410520"/>
                <a:gd name="connsiteX1242" fmla="*/ 370380 w 2663946"/>
                <a:gd name="connsiteY1242" fmla="*/ 191650 h 410520"/>
                <a:gd name="connsiteX1243" fmla="*/ 366201 w 2663946"/>
                <a:gd name="connsiteY1243" fmla="*/ 191650 h 410520"/>
                <a:gd name="connsiteX1244" fmla="*/ 365955 w 2663946"/>
                <a:gd name="connsiteY1244" fmla="*/ 191650 h 410520"/>
                <a:gd name="connsiteX1245" fmla="*/ 352927 w 2663946"/>
                <a:gd name="connsiteY1245" fmla="*/ 186783 h 410520"/>
                <a:gd name="connsiteX1246" fmla="*/ 348257 w 2663946"/>
                <a:gd name="connsiteY1246" fmla="*/ 182727 h 410520"/>
                <a:gd name="connsiteX1247" fmla="*/ 345062 w 2663946"/>
                <a:gd name="connsiteY1247" fmla="*/ 178942 h 410520"/>
                <a:gd name="connsiteX1248" fmla="*/ 342850 w 2663946"/>
                <a:gd name="connsiteY1248" fmla="*/ 175427 h 410520"/>
                <a:gd name="connsiteX1249" fmla="*/ 340637 w 2663946"/>
                <a:gd name="connsiteY1249" fmla="*/ 171101 h 410520"/>
                <a:gd name="connsiteX1250" fmla="*/ 339408 w 2663946"/>
                <a:gd name="connsiteY1250" fmla="*/ 168126 h 410520"/>
                <a:gd name="connsiteX1251" fmla="*/ 338425 w 2663946"/>
                <a:gd name="connsiteY1251" fmla="*/ 164882 h 410520"/>
                <a:gd name="connsiteX1252" fmla="*/ 337196 w 2663946"/>
                <a:gd name="connsiteY1252" fmla="*/ 159204 h 410520"/>
                <a:gd name="connsiteX1253" fmla="*/ 336950 w 2663946"/>
                <a:gd name="connsiteY1253" fmla="*/ 156230 h 410520"/>
                <a:gd name="connsiteX1254" fmla="*/ 337196 w 2663946"/>
                <a:gd name="connsiteY1254" fmla="*/ 156500 h 410520"/>
                <a:gd name="connsiteX1255" fmla="*/ 337196 w 2663946"/>
                <a:gd name="connsiteY1255" fmla="*/ 150822 h 410520"/>
                <a:gd name="connsiteX1256" fmla="*/ 337196 w 2663946"/>
                <a:gd name="connsiteY1256" fmla="*/ 150552 h 410520"/>
                <a:gd name="connsiteX1257" fmla="*/ 337687 w 2663946"/>
                <a:gd name="connsiteY1257" fmla="*/ 145955 h 410520"/>
                <a:gd name="connsiteX1258" fmla="*/ 338917 w 2663946"/>
                <a:gd name="connsiteY1258" fmla="*/ 140548 h 410520"/>
                <a:gd name="connsiteX1259" fmla="*/ 339900 w 2663946"/>
                <a:gd name="connsiteY1259" fmla="*/ 137303 h 410520"/>
                <a:gd name="connsiteX1260" fmla="*/ 342112 w 2663946"/>
                <a:gd name="connsiteY1260" fmla="*/ 132166 h 410520"/>
                <a:gd name="connsiteX1261" fmla="*/ 344324 w 2663946"/>
                <a:gd name="connsiteY1261" fmla="*/ 128381 h 410520"/>
                <a:gd name="connsiteX1262" fmla="*/ 346536 w 2663946"/>
                <a:gd name="connsiteY1262" fmla="*/ 125406 h 410520"/>
                <a:gd name="connsiteX1263" fmla="*/ 348749 w 2663946"/>
                <a:gd name="connsiteY1263" fmla="*/ 122973 h 410520"/>
                <a:gd name="connsiteX1264" fmla="*/ 353419 w 2663946"/>
                <a:gd name="connsiteY1264" fmla="*/ 119188 h 410520"/>
                <a:gd name="connsiteX1265" fmla="*/ 357352 w 2663946"/>
                <a:gd name="connsiteY1265" fmla="*/ 117025 h 410520"/>
                <a:gd name="connsiteX1266" fmla="*/ 366938 w 2663946"/>
                <a:gd name="connsiteY1266" fmla="*/ 114591 h 410520"/>
                <a:gd name="connsiteX1267" fmla="*/ 123893 w 2663946"/>
                <a:gd name="connsiteY1267" fmla="*/ 114591 h 410520"/>
                <a:gd name="connsiteX1268" fmla="*/ 136183 w 2663946"/>
                <a:gd name="connsiteY1268" fmla="*/ 116754 h 410520"/>
                <a:gd name="connsiteX1269" fmla="*/ 143557 w 2663946"/>
                <a:gd name="connsiteY1269" fmla="*/ 121351 h 410520"/>
                <a:gd name="connsiteX1270" fmla="*/ 146998 w 2663946"/>
                <a:gd name="connsiteY1270" fmla="*/ 124595 h 410520"/>
                <a:gd name="connsiteX1271" fmla="*/ 150439 w 2663946"/>
                <a:gd name="connsiteY1271" fmla="*/ 128921 h 410520"/>
                <a:gd name="connsiteX1272" fmla="*/ 152406 w 2663946"/>
                <a:gd name="connsiteY1272" fmla="*/ 132436 h 410520"/>
                <a:gd name="connsiteX1273" fmla="*/ 154618 w 2663946"/>
                <a:gd name="connsiteY1273" fmla="*/ 137844 h 410520"/>
                <a:gd name="connsiteX1274" fmla="*/ 155601 w 2663946"/>
                <a:gd name="connsiteY1274" fmla="*/ 141359 h 410520"/>
                <a:gd name="connsiteX1275" fmla="*/ 156584 w 2663946"/>
                <a:gd name="connsiteY1275" fmla="*/ 146496 h 410520"/>
                <a:gd name="connsiteX1276" fmla="*/ 156339 w 2663946"/>
                <a:gd name="connsiteY1276" fmla="*/ 160826 h 410520"/>
                <a:gd name="connsiteX1277" fmla="*/ 155355 w 2663946"/>
                <a:gd name="connsiteY1277" fmla="*/ 165693 h 410520"/>
                <a:gd name="connsiteX1278" fmla="*/ 154126 w 2663946"/>
                <a:gd name="connsiteY1278" fmla="*/ 169478 h 410520"/>
                <a:gd name="connsiteX1279" fmla="*/ 153143 w 2663946"/>
                <a:gd name="connsiteY1279" fmla="*/ 171912 h 410520"/>
                <a:gd name="connsiteX1280" fmla="*/ 150931 w 2663946"/>
                <a:gd name="connsiteY1280" fmla="*/ 176238 h 410520"/>
                <a:gd name="connsiteX1281" fmla="*/ 148719 w 2663946"/>
                <a:gd name="connsiteY1281" fmla="*/ 179482 h 410520"/>
                <a:gd name="connsiteX1282" fmla="*/ 145277 w 2663946"/>
                <a:gd name="connsiteY1282" fmla="*/ 183268 h 410520"/>
                <a:gd name="connsiteX1283" fmla="*/ 142082 w 2663946"/>
                <a:gd name="connsiteY1283" fmla="*/ 185971 h 410520"/>
                <a:gd name="connsiteX1284" fmla="*/ 136428 w 2663946"/>
                <a:gd name="connsiteY1284" fmla="*/ 189216 h 410520"/>
                <a:gd name="connsiteX1285" fmla="*/ 128563 w 2663946"/>
                <a:gd name="connsiteY1285" fmla="*/ 191379 h 410520"/>
                <a:gd name="connsiteX1286" fmla="*/ 127334 w 2663946"/>
                <a:gd name="connsiteY1286" fmla="*/ 191650 h 410520"/>
                <a:gd name="connsiteX1287" fmla="*/ 123155 w 2663946"/>
                <a:gd name="connsiteY1287" fmla="*/ 191650 h 410520"/>
                <a:gd name="connsiteX1288" fmla="*/ 122909 w 2663946"/>
                <a:gd name="connsiteY1288" fmla="*/ 191650 h 410520"/>
                <a:gd name="connsiteX1289" fmla="*/ 109882 w 2663946"/>
                <a:gd name="connsiteY1289" fmla="*/ 186783 h 410520"/>
                <a:gd name="connsiteX1290" fmla="*/ 105211 w 2663946"/>
                <a:gd name="connsiteY1290" fmla="*/ 182727 h 410520"/>
                <a:gd name="connsiteX1291" fmla="*/ 102016 w 2663946"/>
                <a:gd name="connsiteY1291" fmla="*/ 178942 h 410520"/>
                <a:gd name="connsiteX1292" fmla="*/ 99804 w 2663946"/>
                <a:gd name="connsiteY1292" fmla="*/ 175427 h 410520"/>
                <a:gd name="connsiteX1293" fmla="*/ 97591 w 2663946"/>
                <a:gd name="connsiteY1293" fmla="*/ 171101 h 410520"/>
                <a:gd name="connsiteX1294" fmla="*/ 96362 w 2663946"/>
                <a:gd name="connsiteY1294" fmla="*/ 168126 h 410520"/>
                <a:gd name="connsiteX1295" fmla="*/ 95379 w 2663946"/>
                <a:gd name="connsiteY1295" fmla="*/ 164882 h 410520"/>
                <a:gd name="connsiteX1296" fmla="*/ 94150 w 2663946"/>
                <a:gd name="connsiteY1296" fmla="*/ 159204 h 410520"/>
                <a:gd name="connsiteX1297" fmla="*/ 93904 w 2663946"/>
                <a:gd name="connsiteY1297" fmla="*/ 156230 h 410520"/>
                <a:gd name="connsiteX1298" fmla="*/ 94150 w 2663946"/>
                <a:gd name="connsiteY1298" fmla="*/ 156500 h 410520"/>
                <a:gd name="connsiteX1299" fmla="*/ 94150 w 2663946"/>
                <a:gd name="connsiteY1299" fmla="*/ 150822 h 410520"/>
                <a:gd name="connsiteX1300" fmla="*/ 94150 w 2663946"/>
                <a:gd name="connsiteY1300" fmla="*/ 150552 h 410520"/>
                <a:gd name="connsiteX1301" fmla="*/ 94642 w 2663946"/>
                <a:gd name="connsiteY1301" fmla="*/ 145955 h 410520"/>
                <a:gd name="connsiteX1302" fmla="*/ 95871 w 2663946"/>
                <a:gd name="connsiteY1302" fmla="*/ 140548 h 410520"/>
                <a:gd name="connsiteX1303" fmla="*/ 96854 w 2663946"/>
                <a:gd name="connsiteY1303" fmla="*/ 137303 h 410520"/>
                <a:gd name="connsiteX1304" fmla="*/ 99066 w 2663946"/>
                <a:gd name="connsiteY1304" fmla="*/ 132166 h 410520"/>
                <a:gd name="connsiteX1305" fmla="*/ 101279 w 2663946"/>
                <a:gd name="connsiteY1305" fmla="*/ 128381 h 410520"/>
                <a:gd name="connsiteX1306" fmla="*/ 103491 w 2663946"/>
                <a:gd name="connsiteY1306" fmla="*/ 125406 h 410520"/>
                <a:gd name="connsiteX1307" fmla="*/ 105703 w 2663946"/>
                <a:gd name="connsiteY1307" fmla="*/ 122973 h 410520"/>
                <a:gd name="connsiteX1308" fmla="*/ 110373 w 2663946"/>
                <a:gd name="connsiteY1308" fmla="*/ 119188 h 410520"/>
                <a:gd name="connsiteX1309" fmla="*/ 114306 w 2663946"/>
                <a:gd name="connsiteY1309" fmla="*/ 117025 h 410520"/>
                <a:gd name="connsiteX1310" fmla="*/ 123893 w 2663946"/>
                <a:gd name="connsiteY1310" fmla="*/ 114591 h 410520"/>
                <a:gd name="connsiteX1311" fmla="*/ 33147 w 2663946"/>
                <a:gd name="connsiteY1311" fmla="*/ 113953 h 410520"/>
                <a:gd name="connsiteX1312" fmla="*/ 57942 w 2663946"/>
                <a:gd name="connsiteY1312" fmla="*/ 134162 h 410520"/>
                <a:gd name="connsiteX1313" fmla="*/ 58422 w 2663946"/>
                <a:gd name="connsiteY1313" fmla="*/ 138920 h 410520"/>
                <a:gd name="connsiteX1314" fmla="*/ 59840 w 2663946"/>
                <a:gd name="connsiteY1314" fmla="*/ 138920 h 410520"/>
                <a:gd name="connsiteX1315" fmla="*/ 66294 w 2663946"/>
                <a:gd name="connsiteY1315" fmla="*/ 145206 h 410520"/>
                <a:gd name="connsiteX1316" fmla="*/ 66294 w 2663946"/>
                <a:gd name="connsiteY1316" fmla="*/ 194928 h 410520"/>
                <a:gd name="connsiteX1317" fmla="*/ 59840 w 2663946"/>
                <a:gd name="connsiteY1317" fmla="*/ 201214 h 410520"/>
                <a:gd name="connsiteX1318" fmla="*/ 6453 w 2663946"/>
                <a:gd name="connsiteY1318" fmla="*/ 201214 h 410520"/>
                <a:gd name="connsiteX1319" fmla="*/ 0 w 2663946"/>
                <a:gd name="connsiteY1319" fmla="*/ 194928 h 410520"/>
                <a:gd name="connsiteX1320" fmla="*/ 0 w 2663946"/>
                <a:gd name="connsiteY1320" fmla="*/ 145206 h 410520"/>
                <a:gd name="connsiteX1321" fmla="*/ 6453 w 2663946"/>
                <a:gd name="connsiteY1321" fmla="*/ 138920 h 410520"/>
                <a:gd name="connsiteX1322" fmla="*/ 7288 w 2663946"/>
                <a:gd name="connsiteY1322" fmla="*/ 138920 h 410520"/>
                <a:gd name="connsiteX1323" fmla="*/ 7872 w 2663946"/>
                <a:gd name="connsiteY1323" fmla="*/ 138920 h 410520"/>
                <a:gd name="connsiteX1324" fmla="*/ 8351 w 2663946"/>
                <a:gd name="connsiteY1324" fmla="*/ 134162 h 410520"/>
                <a:gd name="connsiteX1325" fmla="*/ 33147 w 2663946"/>
                <a:gd name="connsiteY1325" fmla="*/ 113953 h 410520"/>
                <a:gd name="connsiteX1326" fmla="*/ 2537931 w 2663946"/>
                <a:gd name="connsiteY1326" fmla="*/ 106365 h 410520"/>
                <a:gd name="connsiteX1327" fmla="*/ 2562727 w 2663946"/>
                <a:gd name="connsiteY1327" fmla="*/ 126574 h 410520"/>
                <a:gd name="connsiteX1328" fmla="*/ 2563206 w 2663946"/>
                <a:gd name="connsiteY1328" fmla="*/ 131332 h 410520"/>
                <a:gd name="connsiteX1329" fmla="*/ 2564625 w 2663946"/>
                <a:gd name="connsiteY1329" fmla="*/ 131332 h 410520"/>
                <a:gd name="connsiteX1330" fmla="*/ 2571078 w 2663946"/>
                <a:gd name="connsiteY1330" fmla="*/ 137618 h 410520"/>
                <a:gd name="connsiteX1331" fmla="*/ 2571078 w 2663946"/>
                <a:gd name="connsiteY1331" fmla="*/ 187340 h 410520"/>
                <a:gd name="connsiteX1332" fmla="*/ 2564625 w 2663946"/>
                <a:gd name="connsiteY1332" fmla="*/ 193626 h 410520"/>
                <a:gd name="connsiteX1333" fmla="*/ 2511238 w 2663946"/>
                <a:gd name="connsiteY1333" fmla="*/ 193626 h 410520"/>
                <a:gd name="connsiteX1334" fmla="*/ 2504784 w 2663946"/>
                <a:gd name="connsiteY1334" fmla="*/ 187340 h 410520"/>
                <a:gd name="connsiteX1335" fmla="*/ 2504784 w 2663946"/>
                <a:gd name="connsiteY1335" fmla="*/ 137618 h 410520"/>
                <a:gd name="connsiteX1336" fmla="*/ 2511238 w 2663946"/>
                <a:gd name="connsiteY1336" fmla="*/ 131332 h 410520"/>
                <a:gd name="connsiteX1337" fmla="*/ 2512072 w 2663946"/>
                <a:gd name="connsiteY1337" fmla="*/ 131332 h 410520"/>
                <a:gd name="connsiteX1338" fmla="*/ 2512656 w 2663946"/>
                <a:gd name="connsiteY1338" fmla="*/ 131332 h 410520"/>
                <a:gd name="connsiteX1339" fmla="*/ 2513136 w 2663946"/>
                <a:gd name="connsiteY1339" fmla="*/ 126574 h 410520"/>
                <a:gd name="connsiteX1340" fmla="*/ 2537931 w 2663946"/>
                <a:gd name="connsiteY1340" fmla="*/ 106365 h 410520"/>
                <a:gd name="connsiteX1341" fmla="*/ 2112934 w 2663946"/>
                <a:gd name="connsiteY1341" fmla="*/ 106365 h 410520"/>
                <a:gd name="connsiteX1342" fmla="*/ 2137730 w 2663946"/>
                <a:gd name="connsiteY1342" fmla="*/ 126574 h 410520"/>
                <a:gd name="connsiteX1343" fmla="*/ 2138209 w 2663946"/>
                <a:gd name="connsiteY1343" fmla="*/ 131332 h 410520"/>
                <a:gd name="connsiteX1344" fmla="*/ 2139628 w 2663946"/>
                <a:gd name="connsiteY1344" fmla="*/ 131332 h 410520"/>
                <a:gd name="connsiteX1345" fmla="*/ 2146081 w 2663946"/>
                <a:gd name="connsiteY1345" fmla="*/ 137618 h 410520"/>
                <a:gd name="connsiteX1346" fmla="*/ 2146081 w 2663946"/>
                <a:gd name="connsiteY1346" fmla="*/ 187340 h 410520"/>
                <a:gd name="connsiteX1347" fmla="*/ 2139628 w 2663946"/>
                <a:gd name="connsiteY1347" fmla="*/ 193626 h 410520"/>
                <a:gd name="connsiteX1348" fmla="*/ 2086241 w 2663946"/>
                <a:gd name="connsiteY1348" fmla="*/ 193626 h 410520"/>
                <a:gd name="connsiteX1349" fmla="*/ 2079787 w 2663946"/>
                <a:gd name="connsiteY1349" fmla="*/ 187340 h 410520"/>
                <a:gd name="connsiteX1350" fmla="*/ 2079787 w 2663946"/>
                <a:gd name="connsiteY1350" fmla="*/ 137618 h 410520"/>
                <a:gd name="connsiteX1351" fmla="*/ 2086241 w 2663946"/>
                <a:gd name="connsiteY1351" fmla="*/ 131332 h 410520"/>
                <a:gd name="connsiteX1352" fmla="*/ 2087075 w 2663946"/>
                <a:gd name="connsiteY1352" fmla="*/ 131332 h 410520"/>
                <a:gd name="connsiteX1353" fmla="*/ 2087659 w 2663946"/>
                <a:gd name="connsiteY1353" fmla="*/ 131332 h 410520"/>
                <a:gd name="connsiteX1354" fmla="*/ 2088139 w 2663946"/>
                <a:gd name="connsiteY1354" fmla="*/ 126574 h 410520"/>
                <a:gd name="connsiteX1355" fmla="*/ 2112934 w 2663946"/>
                <a:gd name="connsiteY1355" fmla="*/ 106365 h 410520"/>
                <a:gd name="connsiteX1356" fmla="*/ 1854966 w 2663946"/>
                <a:gd name="connsiteY1356" fmla="*/ 106365 h 410520"/>
                <a:gd name="connsiteX1357" fmla="*/ 1879762 w 2663946"/>
                <a:gd name="connsiteY1357" fmla="*/ 126574 h 410520"/>
                <a:gd name="connsiteX1358" fmla="*/ 1880241 w 2663946"/>
                <a:gd name="connsiteY1358" fmla="*/ 131332 h 410520"/>
                <a:gd name="connsiteX1359" fmla="*/ 1881660 w 2663946"/>
                <a:gd name="connsiteY1359" fmla="*/ 131332 h 410520"/>
                <a:gd name="connsiteX1360" fmla="*/ 1888113 w 2663946"/>
                <a:gd name="connsiteY1360" fmla="*/ 137618 h 410520"/>
                <a:gd name="connsiteX1361" fmla="*/ 1888113 w 2663946"/>
                <a:gd name="connsiteY1361" fmla="*/ 187340 h 410520"/>
                <a:gd name="connsiteX1362" fmla="*/ 1881660 w 2663946"/>
                <a:gd name="connsiteY1362" fmla="*/ 193626 h 410520"/>
                <a:gd name="connsiteX1363" fmla="*/ 1828273 w 2663946"/>
                <a:gd name="connsiteY1363" fmla="*/ 193626 h 410520"/>
                <a:gd name="connsiteX1364" fmla="*/ 1821819 w 2663946"/>
                <a:gd name="connsiteY1364" fmla="*/ 187340 h 410520"/>
                <a:gd name="connsiteX1365" fmla="*/ 1821819 w 2663946"/>
                <a:gd name="connsiteY1365" fmla="*/ 137618 h 410520"/>
                <a:gd name="connsiteX1366" fmla="*/ 1828273 w 2663946"/>
                <a:gd name="connsiteY1366" fmla="*/ 131332 h 410520"/>
                <a:gd name="connsiteX1367" fmla="*/ 1829107 w 2663946"/>
                <a:gd name="connsiteY1367" fmla="*/ 131332 h 410520"/>
                <a:gd name="connsiteX1368" fmla="*/ 1829691 w 2663946"/>
                <a:gd name="connsiteY1368" fmla="*/ 131332 h 410520"/>
                <a:gd name="connsiteX1369" fmla="*/ 1830171 w 2663946"/>
                <a:gd name="connsiteY1369" fmla="*/ 126574 h 410520"/>
                <a:gd name="connsiteX1370" fmla="*/ 1854966 w 2663946"/>
                <a:gd name="connsiteY1370" fmla="*/ 106365 h 410520"/>
                <a:gd name="connsiteX1371" fmla="*/ 1764027 w 2663946"/>
                <a:gd name="connsiteY1371" fmla="*/ 106365 h 410520"/>
                <a:gd name="connsiteX1372" fmla="*/ 1788823 w 2663946"/>
                <a:gd name="connsiteY1372" fmla="*/ 126574 h 410520"/>
                <a:gd name="connsiteX1373" fmla="*/ 1789302 w 2663946"/>
                <a:gd name="connsiteY1373" fmla="*/ 131332 h 410520"/>
                <a:gd name="connsiteX1374" fmla="*/ 1790721 w 2663946"/>
                <a:gd name="connsiteY1374" fmla="*/ 131332 h 410520"/>
                <a:gd name="connsiteX1375" fmla="*/ 1797174 w 2663946"/>
                <a:gd name="connsiteY1375" fmla="*/ 137618 h 410520"/>
                <a:gd name="connsiteX1376" fmla="*/ 1797174 w 2663946"/>
                <a:gd name="connsiteY1376" fmla="*/ 187340 h 410520"/>
                <a:gd name="connsiteX1377" fmla="*/ 1790721 w 2663946"/>
                <a:gd name="connsiteY1377" fmla="*/ 193626 h 410520"/>
                <a:gd name="connsiteX1378" fmla="*/ 1737333 w 2663946"/>
                <a:gd name="connsiteY1378" fmla="*/ 193626 h 410520"/>
                <a:gd name="connsiteX1379" fmla="*/ 1730880 w 2663946"/>
                <a:gd name="connsiteY1379" fmla="*/ 187340 h 410520"/>
                <a:gd name="connsiteX1380" fmla="*/ 1730880 w 2663946"/>
                <a:gd name="connsiteY1380" fmla="*/ 137618 h 410520"/>
                <a:gd name="connsiteX1381" fmla="*/ 1737333 w 2663946"/>
                <a:gd name="connsiteY1381" fmla="*/ 131332 h 410520"/>
                <a:gd name="connsiteX1382" fmla="*/ 1738168 w 2663946"/>
                <a:gd name="connsiteY1382" fmla="*/ 131332 h 410520"/>
                <a:gd name="connsiteX1383" fmla="*/ 1738752 w 2663946"/>
                <a:gd name="connsiteY1383" fmla="*/ 131332 h 410520"/>
                <a:gd name="connsiteX1384" fmla="*/ 1739232 w 2663946"/>
                <a:gd name="connsiteY1384" fmla="*/ 126574 h 410520"/>
                <a:gd name="connsiteX1385" fmla="*/ 1764027 w 2663946"/>
                <a:gd name="connsiteY1385" fmla="*/ 106365 h 410520"/>
                <a:gd name="connsiteX1386" fmla="*/ 1506059 w 2663946"/>
                <a:gd name="connsiteY1386" fmla="*/ 106365 h 410520"/>
                <a:gd name="connsiteX1387" fmla="*/ 1530855 w 2663946"/>
                <a:gd name="connsiteY1387" fmla="*/ 126574 h 410520"/>
                <a:gd name="connsiteX1388" fmla="*/ 1531334 w 2663946"/>
                <a:gd name="connsiteY1388" fmla="*/ 131332 h 410520"/>
                <a:gd name="connsiteX1389" fmla="*/ 1532753 w 2663946"/>
                <a:gd name="connsiteY1389" fmla="*/ 131332 h 410520"/>
                <a:gd name="connsiteX1390" fmla="*/ 1539206 w 2663946"/>
                <a:gd name="connsiteY1390" fmla="*/ 137618 h 410520"/>
                <a:gd name="connsiteX1391" fmla="*/ 1539206 w 2663946"/>
                <a:gd name="connsiteY1391" fmla="*/ 187340 h 410520"/>
                <a:gd name="connsiteX1392" fmla="*/ 1532753 w 2663946"/>
                <a:gd name="connsiteY1392" fmla="*/ 193626 h 410520"/>
                <a:gd name="connsiteX1393" fmla="*/ 1479365 w 2663946"/>
                <a:gd name="connsiteY1393" fmla="*/ 193626 h 410520"/>
                <a:gd name="connsiteX1394" fmla="*/ 1472912 w 2663946"/>
                <a:gd name="connsiteY1394" fmla="*/ 187340 h 410520"/>
                <a:gd name="connsiteX1395" fmla="*/ 1472912 w 2663946"/>
                <a:gd name="connsiteY1395" fmla="*/ 137618 h 410520"/>
                <a:gd name="connsiteX1396" fmla="*/ 1479365 w 2663946"/>
                <a:gd name="connsiteY1396" fmla="*/ 131332 h 410520"/>
                <a:gd name="connsiteX1397" fmla="*/ 1480200 w 2663946"/>
                <a:gd name="connsiteY1397" fmla="*/ 131332 h 410520"/>
                <a:gd name="connsiteX1398" fmla="*/ 1480784 w 2663946"/>
                <a:gd name="connsiteY1398" fmla="*/ 131332 h 410520"/>
                <a:gd name="connsiteX1399" fmla="*/ 1481264 w 2663946"/>
                <a:gd name="connsiteY1399" fmla="*/ 126574 h 410520"/>
                <a:gd name="connsiteX1400" fmla="*/ 1506059 w 2663946"/>
                <a:gd name="connsiteY1400" fmla="*/ 106365 h 410520"/>
                <a:gd name="connsiteX1401" fmla="*/ 1415120 w 2663946"/>
                <a:gd name="connsiteY1401" fmla="*/ 106365 h 410520"/>
                <a:gd name="connsiteX1402" fmla="*/ 1439916 w 2663946"/>
                <a:gd name="connsiteY1402" fmla="*/ 126574 h 410520"/>
                <a:gd name="connsiteX1403" fmla="*/ 1440395 w 2663946"/>
                <a:gd name="connsiteY1403" fmla="*/ 131332 h 410520"/>
                <a:gd name="connsiteX1404" fmla="*/ 1441814 w 2663946"/>
                <a:gd name="connsiteY1404" fmla="*/ 131332 h 410520"/>
                <a:gd name="connsiteX1405" fmla="*/ 1448267 w 2663946"/>
                <a:gd name="connsiteY1405" fmla="*/ 137618 h 410520"/>
                <a:gd name="connsiteX1406" fmla="*/ 1448267 w 2663946"/>
                <a:gd name="connsiteY1406" fmla="*/ 187340 h 410520"/>
                <a:gd name="connsiteX1407" fmla="*/ 1441814 w 2663946"/>
                <a:gd name="connsiteY1407" fmla="*/ 193626 h 410520"/>
                <a:gd name="connsiteX1408" fmla="*/ 1388426 w 2663946"/>
                <a:gd name="connsiteY1408" fmla="*/ 193626 h 410520"/>
                <a:gd name="connsiteX1409" fmla="*/ 1381973 w 2663946"/>
                <a:gd name="connsiteY1409" fmla="*/ 187340 h 410520"/>
                <a:gd name="connsiteX1410" fmla="*/ 1381973 w 2663946"/>
                <a:gd name="connsiteY1410" fmla="*/ 137618 h 410520"/>
                <a:gd name="connsiteX1411" fmla="*/ 1388426 w 2663946"/>
                <a:gd name="connsiteY1411" fmla="*/ 131332 h 410520"/>
                <a:gd name="connsiteX1412" fmla="*/ 1389261 w 2663946"/>
                <a:gd name="connsiteY1412" fmla="*/ 131332 h 410520"/>
                <a:gd name="connsiteX1413" fmla="*/ 1389845 w 2663946"/>
                <a:gd name="connsiteY1413" fmla="*/ 131332 h 410520"/>
                <a:gd name="connsiteX1414" fmla="*/ 1390325 w 2663946"/>
                <a:gd name="connsiteY1414" fmla="*/ 126574 h 410520"/>
                <a:gd name="connsiteX1415" fmla="*/ 1415120 w 2663946"/>
                <a:gd name="connsiteY1415" fmla="*/ 106365 h 410520"/>
                <a:gd name="connsiteX1416" fmla="*/ 1157152 w 2663946"/>
                <a:gd name="connsiteY1416" fmla="*/ 106365 h 410520"/>
                <a:gd name="connsiteX1417" fmla="*/ 1181948 w 2663946"/>
                <a:gd name="connsiteY1417" fmla="*/ 126574 h 410520"/>
                <a:gd name="connsiteX1418" fmla="*/ 1182427 w 2663946"/>
                <a:gd name="connsiteY1418" fmla="*/ 131332 h 410520"/>
                <a:gd name="connsiteX1419" fmla="*/ 1183846 w 2663946"/>
                <a:gd name="connsiteY1419" fmla="*/ 131332 h 410520"/>
                <a:gd name="connsiteX1420" fmla="*/ 1190299 w 2663946"/>
                <a:gd name="connsiteY1420" fmla="*/ 137618 h 410520"/>
                <a:gd name="connsiteX1421" fmla="*/ 1190299 w 2663946"/>
                <a:gd name="connsiteY1421" fmla="*/ 187340 h 410520"/>
                <a:gd name="connsiteX1422" fmla="*/ 1183846 w 2663946"/>
                <a:gd name="connsiteY1422" fmla="*/ 193626 h 410520"/>
                <a:gd name="connsiteX1423" fmla="*/ 1130458 w 2663946"/>
                <a:gd name="connsiteY1423" fmla="*/ 193626 h 410520"/>
                <a:gd name="connsiteX1424" fmla="*/ 1124005 w 2663946"/>
                <a:gd name="connsiteY1424" fmla="*/ 187340 h 410520"/>
                <a:gd name="connsiteX1425" fmla="*/ 1124005 w 2663946"/>
                <a:gd name="connsiteY1425" fmla="*/ 137618 h 410520"/>
                <a:gd name="connsiteX1426" fmla="*/ 1130458 w 2663946"/>
                <a:gd name="connsiteY1426" fmla="*/ 131332 h 410520"/>
                <a:gd name="connsiteX1427" fmla="*/ 1131293 w 2663946"/>
                <a:gd name="connsiteY1427" fmla="*/ 131332 h 410520"/>
                <a:gd name="connsiteX1428" fmla="*/ 1131877 w 2663946"/>
                <a:gd name="connsiteY1428" fmla="*/ 131332 h 410520"/>
                <a:gd name="connsiteX1429" fmla="*/ 1132357 w 2663946"/>
                <a:gd name="connsiteY1429" fmla="*/ 126574 h 410520"/>
                <a:gd name="connsiteX1430" fmla="*/ 1157152 w 2663946"/>
                <a:gd name="connsiteY1430" fmla="*/ 106365 h 410520"/>
                <a:gd name="connsiteX1431" fmla="*/ 732156 w 2663946"/>
                <a:gd name="connsiteY1431" fmla="*/ 106365 h 410520"/>
                <a:gd name="connsiteX1432" fmla="*/ 756951 w 2663946"/>
                <a:gd name="connsiteY1432" fmla="*/ 126574 h 410520"/>
                <a:gd name="connsiteX1433" fmla="*/ 757431 w 2663946"/>
                <a:gd name="connsiteY1433" fmla="*/ 131332 h 410520"/>
                <a:gd name="connsiteX1434" fmla="*/ 758849 w 2663946"/>
                <a:gd name="connsiteY1434" fmla="*/ 131332 h 410520"/>
                <a:gd name="connsiteX1435" fmla="*/ 765303 w 2663946"/>
                <a:gd name="connsiteY1435" fmla="*/ 137618 h 410520"/>
                <a:gd name="connsiteX1436" fmla="*/ 765303 w 2663946"/>
                <a:gd name="connsiteY1436" fmla="*/ 187340 h 410520"/>
                <a:gd name="connsiteX1437" fmla="*/ 758849 w 2663946"/>
                <a:gd name="connsiteY1437" fmla="*/ 193626 h 410520"/>
                <a:gd name="connsiteX1438" fmla="*/ 705462 w 2663946"/>
                <a:gd name="connsiteY1438" fmla="*/ 193626 h 410520"/>
                <a:gd name="connsiteX1439" fmla="*/ 699009 w 2663946"/>
                <a:gd name="connsiteY1439" fmla="*/ 187340 h 410520"/>
                <a:gd name="connsiteX1440" fmla="*/ 699009 w 2663946"/>
                <a:gd name="connsiteY1440" fmla="*/ 137618 h 410520"/>
                <a:gd name="connsiteX1441" fmla="*/ 705462 w 2663946"/>
                <a:gd name="connsiteY1441" fmla="*/ 131332 h 410520"/>
                <a:gd name="connsiteX1442" fmla="*/ 706296 w 2663946"/>
                <a:gd name="connsiteY1442" fmla="*/ 131332 h 410520"/>
                <a:gd name="connsiteX1443" fmla="*/ 706881 w 2663946"/>
                <a:gd name="connsiteY1443" fmla="*/ 131332 h 410520"/>
                <a:gd name="connsiteX1444" fmla="*/ 707360 w 2663946"/>
                <a:gd name="connsiteY1444" fmla="*/ 126574 h 410520"/>
                <a:gd name="connsiteX1445" fmla="*/ 732156 w 2663946"/>
                <a:gd name="connsiteY1445" fmla="*/ 106365 h 410520"/>
                <a:gd name="connsiteX1446" fmla="*/ 641217 w 2663946"/>
                <a:gd name="connsiteY1446" fmla="*/ 106365 h 410520"/>
                <a:gd name="connsiteX1447" fmla="*/ 666012 w 2663946"/>
                <a:gd name="connsiteY1447" fmla="*/ 126574 h 410520"/>
                <a:gd name="connsiteX1448" fmla="*/ 666492 w 2663946"/>
                <a:gd name="connsiteY1448" fmla="*/ 131332 h 410520"/>
                <a:gd name="connsiteX1449" fmla="*/ 667910 w 2663946"/>
                <a:gd name="connsiteY1449" fmla="*/ 131332 h 410520"/>
                <a:gd name="connsiteX1450" fmla="*/ 674364 w 2663946"/>
                <a:gd name="connsiteY1450" fmla="*/ 137618 h 410520"/>
                <a:gd name="connsiteX1451" fmla="*/ 674364 w 2663946"/>
                <a:gd name="connsiteY1451" fmla="*/ 187340 h 410520"/>
                <a:gd name="connsiteX1452" fmla="*/ 667910 w 2663946"/>
                <a:gd name="connsiteY1452" fmla="*/ 193626 h 410520"/>
                <a:gd name="connsiteX1453" fmla="*/ 614523 w 2663946"/>
                <a:gd name="connsiteY1453" fmla="*/ 193626 h 410520"/>
                <a:gd name="connsiteX1454" fmla="*/ 608070 w 2663946"/>
                <a:gd name="connsiteY1454" fmla="*/ 187340 h 410520"/>
                <a:gd name="connsiteX1455" fmla="*/ 608070 w 2663946"/>
                <a:gd name="connsiteY1455" fmla="*/ 137618 h 410520"/>
                <a:gd name="connsiteX1456" fmla="*/ 614523 w 2663946"/>
                <a:gd name="connsiteY1456" fmla="*/ 131332 h 410520"/>
                <a:gd name="connsiteX1457" fmla="*/ 615358 w 2663946"/>
                <a:gd name="connsiteY1457" fmla="*/ 131332 h 410520"/>
                <a:gd name="connsiteX1458" fmla="*/ 615942 w 2663946"/>
                <a:gd name="connsiteY1458" fmla="*/ 131332 h 410520"/>
                <a:gd name="connsiteX1459" fmla="*/ 616422 w 2663946"/>
                <a:gd name="connsiteY1459" fmla="*/ 126574 h 410520"/>
                <a:gd name="connsiteX1460" fmla="*/ 641217 w 2663946"/>
                <a:gd name="connsiteY1460" fmla="*/ 106365 h 410520"/>
                <a:gd name="connsiteX1461" fmla="*/ 459266 w 2663946"/>
                <a:gd name="connsiteY1461" fmla="*/ 106365 h 410520"/>
                <a:gd name="connsiteX1462" fmla="*/ 484061 w 2663946"/>
                <a:gd name="connsiteY1462" fmla="*/ 126574 h 410520"/>
                <a:gd name="connsiteX1463" fmla="*/ 484541 w 2663946"/>
                <a:gd name="connsiteY1463" fmla="*/ 131332 h 410520"/>
                <a:gd name="connsiteX1464" fmla="*/ 485959 w 2663946"/>
                <a:gd name="connsiteY1464" fmla="*/ 131332 h 410520"/>
                <a:gd name="connsiteX1465" fmla="*/ 492413 w 2663946"/>
                <a:gd name="connsiteY1465" fmla="*/ 137618 h 410520"/>
                <a:gd name="connsiteX1466" fmla="*/ 492413 w 2663946"/>
                <a:gd name="connsiteY1466" fmla="*/ 187340 h 410520"/>
                <a:gd name="connsiteX1467" fmla="*/ 485959 w 2663946"/>
                <a:gd name="connsiteY1467" fmla="*/ 193626 h 410520"/>
                <a:gd name="connsiteX1468" fmla="*/ 432572 w 2663946"/>
                <a:gd name="connsiteY1468" fmla="*/ 193626 h 410520"/>
                <a:gd name="connsiteX1469" fmla="*/ 426119 w 2663946"/>
                <a:gd name="connsiteY1469" fmla="*/ 187340 h 410520"/>
                <a:gd name="connsiteX1470" fmla="*/ 426119 w 2663946"/>
                <a:gd name="connsiteY1470" fmla="*/ 137618 h 410520"/>
                <a:gd name="connsiteX1471" fmla="*/ 432572 w 2663946"/>
                <a:gd name="connsiteY1471" fmla="*/ 131332 h 410520"/>
                <a:gd name="connsiteX1472" fmla="*/ 433406 w 2663946"/>
                <a:gd name="connsiteY1472" fmla="*/ 131332 h 410520"/>
                <a:gd name="connsiteX1473" fmla="*/ 433991 w 2663946"/>
                <a:gd name="connsiteY1473" fmla="*/ 131332 h 410520"/>
                <a:gd name="connsiteX1474" fmla="*/ 434470 w 2663946"/>
                <a:gd name="connsiteY1474" fmla="*/ 126574 h 410520"/>
                <a:gd name="connsiteX1475" fmla="*/ 459266 w 2663946"/>
                <a:gd name="connsiteY1475" fmla="*/ 106365 h 410520"/>
                <a:gd name="connsiteX1476" fmla="*/ 23587 w 2663946"/>
                <a:gd name="connsiteY1476" fmla="*/ 15682 h 410520"/>
                <a:gd name="connsiteX1477" fmla="*/ 33591 w 2663946"/>
                <a:gd name="connsiteY1477" fmla="*/ 0 h 410520"/>
                <a:gd name="connsiteX1478" fmla="*/ 38187 w 2663946"/>
                <a:gd name="connsiteY1478" fmla="*/ 2434 h 410520"/>
                <a:gd name="connsiteX1479" fmla="*/ 40350 w 2663946"/>
                <a:gd name="connsiteY1479" fmla="*/ 8652 h 410520"/>
                <a:gd name="connsiteX1480" fmla="*/ 40350 w 2663946"/>
                <a:gd name="connsiteY1480" fmla="*/ 9193 h 410520"/>
                <a:gd name="connsiteX1481" fmla="*/ 40350 w 2663946"/>
                <a:gd name="connsiteY1481" fmla="*/ 62188 h 410520"/>
                <a:gd name="connsiteX1482" fmla="*/ 40891 w 2663946"/>
                <a:gd name="connsiteY1482" fmla="*/ 62728 h 410520"/>
                <a:gd name="connsiteX1483" fmla="*/ 48191 w 2663946"/>
                <a:gd name="connsiteY1483" fmla="*/ 62728 h 410520"/>
                <a:gd name="connsiteX1484" fmla="*/ 52247 w 2663946"/>
                <a:gd name="connsiteY1484" fmla="*/ 63810 h 410520"/>
                <a:gd name="connsiteX1485" fmla="*/ 56032 w 2663946"/>
                <a:gd name="connsiteY1485" fmla="*/ 70569 h 410520"/>
                <a:gd name="connsiteX1486" fmla="*/ 53328 w 2663946"/>
                <a:gd name="connsiteY1486" fmla="*/ 76247 h 410520"/>
                <a:gd name="connsiteX1487" fmla="*/ 49273 w 2663946"/>
                <a:gd name="connsiteY1487" fmla="*/ 78140 h 410520"/>
                <a:gd name="connsiteX1488" fmla="*/ 49002 w 2663946"/>
                <a:gd name="connsiteY1488" fmla="*/ 78140 h 410520"/>
                <a:gd name="connsiteX1489" fmla="*/ 48732 w 2663946"/>
                <a:gd name="connsiteY1489" fmla="*/ 78140 h 410520"/>
                <a:gd name="connsiteX1490" fmla="*/ 48191 w 2663946"/>
                <a:gd name="connsiteY1490" fmla="*/ 78140 h 410520"/>
                <a:gd name="connsiteX1491" fmla="*/ 16016 w 2663946"/>
                <a:gd name="connsiteY1491" fmla="*/ 78140 h 410520"/>
                <a:gd name="connsiteX1492" fmla="*/ 15475 w 2663946"/>
                <a:gd name="connsiteY1492" fmla="*/ 78140 h 410520"/>
                <a:gd name="connsiteX1493" fmla="*/ 14664 w 2663946"/>
                <a:gd name="connsiteY1493" fmla="*/ 78140 h 410520"/>
                <a:gd name="connsiteX1494" fmla="*/ 13853 w 2663946"/>
                <a:gd name="connsiteY1494" fmla="*/ 77870 h 410520"/>
                <a:gd name="connsiteX1495" fmla="*/ 10338 w 2663946"/>
                <a:gd name="connsiteY1495" fmla="*/ 75977 h 410520"/>
                <a:gd name="connsiteX1496" fmla="*/ 7905 w 2663946"/>
                <a:gd name="connsiteY1496" fmla="*/ 70299 h 410520"/>
                <a:gd name="connsiteX1497" fmla="*/ 10068 w 2663946"/>
                <a:gd name="connsiteY1497" fmla="*/ 65162 h 410520"/>
                <a:gd name="connsiteX1498" fmla="*/ 15746 w 2663946"/>
                <a:gd name="connsiteY1498" fmla="*/ 62728 h 410520"/>
                <a:gd name="connsiteX1499" fmla="*/ 23587 w 2663946"/>
                <a:gd name="connsiteY1499" fmla="*/ 62728 h 410520"/>
                <a:gd name="connsiteX1500" fmla="*/ 24128 w 2663946"/>
                <a:gd name="connsiteY1500" fmla="*/ 62188 h 410520"/>
                <a:gd name="connsiteX1501" fmla="*/ 24128 w 2663946"/>
                <a:gd name="connsiteY1501" fmla="*/ 16223 h 410520"/>
                <a:gd name="connsiteX1502" fmla="*/ 23587 w 2663946"/>
                <a:gd name="connsiteY1502" fmla="*/ 15682 h 410520"/>
                <a:gd name="connsiteX0" fmla="*/ 2632966 w 2663946"/>
                <a:gd name="connsiteY0" fmla="*/ 349414 h 410520"/>
                <a:gd name="connsiteX1" fmla="*/ 2621414 w 2663946"/>
                <a:gd name="connsiteY1" fmla="*/ 351847 h 410520"/>
                <a:gd name="connsiteX2" fmla="*/ 2618218 w 2663946"/>
                <a:gd name="connsiteY2" fmla="*/ 355362 h 410520"/>
                <a:gd name="connsiteX3" fmla="*/ 2616006 w 2663946"/>
                <a:gd name="connsiteY3" fmla="*/ 359147 h 410520"/>
                <a:gd name="connsiteX4" fmla="*/ 2615023 w 2663946"/>
                <a:gd name="connsiteY4" fmla="*/ 361851 h 410520"/>
                <a:gd name="connsiteX5" fmla="*/ 2614039 w 2663946"/>
                <a:gd name="connsiteY5" fmla="*/ 365907 h 410520"/>
                <a:gd name="connsiteX6" fmla="*/ 2613056 w 2663946"/>
                <a:gd name="connsiteY6" fmla="*/ 372937 h 410520"/>
                <a:gd name="connsiteX7" fmla="*/ 2614039 w 2663946"/>
                <a:gd name="connsiteY7" fmla="*/ 380237 h 410520"/>
                <a:gd name="connsiteX8" fmla="*/ 2615269 w 2663946"/>
                <a:gd name="connsiteY8" fmla="*/ 384022 h 410520"/>
                <a:gd name="connsiteX9" fmla="*/ 2617481 w 2663946"/>
                <a:gd name="connsiteY9" fmla="*/ 388348 h 410520"/>
                <a:gd name="connsiteX10" fmla="*/ 2620922 w 2663946"/>
                <a:gd name="connsiteY10" fmla="*/ 392675 h 410520"/>
                <a:gd name="connsiteX11" fmla="*/ 2625346 w 2663946"/>
                <a:gd name="connsiteY11" fmla="*/ 395378 h 410520"/>
                <a:gd name="connsiteX12" fmla="*/ 2637637 w 2663946"/>
                <a:gd name="connsiteY12" fmla="*/ 392945 h 410520"/>
                <a:gd name="connsiteX13" fmla="*/ 2640832 w 2663946"/>
                <a:gd name="connsiteY13" fmla="*/ 389430 h 410520"/>
                <a:gd name="connsiteX14" fmla="*/ 2643290 w 2663946"/>
                <a:gd name="connsiteY14" fmla="*/ 385104 h 410520"/>
                <a:gd name="connsiteX15" fmla="*/ 2644273 w 2663946"/>
                <a:gd name="connsiteY15" fmla="*/ 382941 h 410520"/>
                <a:gd name="connsiteX16" fmla="*/ 2645502 w 2663946"/>
                <a:gd name="connsiteY16" fmla="*/ 378615 h 410520"/>
                <a:gd name="connsiteX17" fmla="*/ 2645011 w 2663946"/>
                <a:gd name="connsiteY17" fmla="*/ 364825 h 410520"/>
                <a:gd name="connsiteX18" fmla="*/ 2644027 w 2663946"/>
                <a:gd name="connsiteY18" fmla="*/ 361851 h 410520"/>
                <a:gd name="connsiteX19" fmla="*/ 2642799 w 2663946"/>
                <a:gd name="connsiteY19" fmla="*/ 358877 h 410520"/>
                <a:gd name="connsiteX20" fmla="*/ 2640586 w 2663946"/>
                <a:gd name="connsiteY20" fmla="*/ 355362 h 410520"/>
                <a:gd name="connsiteX21" fmla="*/ 2636899 w 2663946"/>
                <a:gd name="connsiteY21" fmla="*/ 351577 h 410520"/>
                <a:gd name="connsiteX22" fmla="*/ 2632966 w 2663946"/>
                <a:gd name="connsiteY22" fmla="*/ 349414 h 410520"/>
                <a:gd name="connsiteX23" fmla="*/ 2627559 w 2663946"/>
                <a:gd name="connsiteY23" fmla="*/ 333461 h 410520"/>
                <a:gd name="connsiteX24" fmla="*/ 2639849 w 2663946"/>
                <a:gd name="connsiteY24" fmla="*/ 335624 h 410520"/>
                <a:gd name="connsiteX25" fmla="*/ 2647223 w 2663946"/>
                <a:gd name="connsiteY25" fmla="*/ 340221 h 410520"/>
                <a:gd name="connsiteX26" fmla="*/ 2650664 w 2663946"/>
                <a:gd name="connsiteY26" fmla="*/ 343465 h 410520"/>
                <a:gd name="connsiteX27" fmla="*/ 2654106 w 2663946"/>
                <a:gd name="connsiteY27" fmla="*/ 347791 h 410520"/>
                <a:gd name="connsiteX28" fmla="*/ 2656072 w 2663946"/>
                <a:gd name="connsiteY28" fmla="*/ 351306 h 410520"/>
                <a:gd name="connsiteX29" fmla="*/ 2658284 w 2663946"/>
                <a:gd name="connsiteY29" fmla="*/ 356714 h 410520"/>
                <a:gd name="connsiteX30" fmla="*/ 2659267 w 2663946"/>
                <a:gd name="connsiteY30" fmla="*/ 360229 h 410520"/>
                <a:gd name="connsiteX31" fmla="*/ 2660251 w 2663946"/>
                <a:gd name="connsiteY31" fmla="*/ 365366 h 410520"/>
                <a:gd name="connsiteX32" fmla="*/ 2660005 w 2663946"/>
                <a:gd name="connsiteY32" fmla="*/ 379696 h 410520"/>
                <a:gd name="connsiteX33" fmla="*/ 2659022 w 2663946"/>
                <a:gd name="connsiteY33" fmla="*/ 384563 h 410520"/>
                <a:gd name="connsiteX34" fmla="*/ 2657792 w 2663946"/>
                <a:gd name="connsiteY34" fmla="*/ 388348 h 410520"/>
                <a:gd name="connsiteX35" fmla="*/ 2656809 w 2663946"/>
                <a:gd name="connsiteY35" fmla="*/ 390782 h 410520"/>
                <a:gd name="connsiteX36" fmla="*/ 2654597 w 2663946"/>
                <a:gd name="connsiteY36" fmla="*/ 395108 h 410520"/>
                <a:gd name="connsiteX37" fmla="*/ 2652385 w 2663946"/>
                <a:gd name="connsiteY37" fmla="*/ 398352 h 410520"/>
                <a:gd name="connsiteX38" fmla="*/ 2648944 w 2663946"/>
                <a:gd name="connsiteY38" fmla="*/ 402138 h 410520"/>
                <a:gd name="connsiteX39" fmla="*/ 2645748 w 2663946"/>
                <a:gd name="connsiteY39" fmla="*/ 404841 h 410520"/>
                <a:gd name="connsiteX40" fmla="*/ 2640095 w 2663946"/>
                <a:gd name="connsiteY40" fmla="*/ 408086 h 410520"/>
                <a:gd name="connsiteX41" fmla="*/ 2632229 w 2663946"/>
                <a:gd name="connsiteY41" fmla="*/ 410249 h 410520"/>
                <a:gd name="connsiteX42" fmla="*/ 2631000 w 2663946"/>
                <a:gd name="connsiteY42" fmla="*/ 410520 h 410520"/>
                <a:gd name="connsiteX43" fmla="*/ 2626821 w 2663946"/>
                <a:gd name="connsiteY43" fmla="*/ 410520 h 410520"/>
                <a:gd name="connsiteX44" fmla="*/ 2626576 w 2663946"/>
                <a:gd name="connsiteY44" fmla="*/ 410520 h 410520"/>
                <a:gd name="connsiteX45" fmla="*/ 2613548 w 2663946"/>
                <a:gd name="connsiteY45" fmla="*/ 405653 h 410520"/>
                <a:gd name="connsiteX46" fmla="*/ 2608878 w 2663946"/>
                <a:gd name="connsiteY46" fmla="*/ 401597 h 410520"/>
                <a:gd name="connsiteX47" fmla="*/ 2605682 w 2663946"/>
                <a:gd name="connsiteY47" fmla="*/ 397812 h 410520"/>
                <a:gd name="connsiteX48" fmla="*/ 2603470 w 2663946"/>
                <a:gd name="connsiteY48" fmla="*/ 394297 h 410520"/>
                <a:gd name="connsiteX49" fmla="*/ 2601258 w 2663946"/>
                <a:gd name="connsiteY49" fmla="*/ 389971 h 410520"/>
                <a:gd name="connsiteX50" fmla="*/ 2600029 w 2663946"/>
                <a:gd name="connsiteY50" fmla="*/ 386996 h 410520"/>
                <a:gd name="connsiteX51" fmla="*/ 2599046 w 2663946"/>
                <a:gd name="connsiteY51" fmla="*/ 383752 h 410520"/>
                <a:gd name="connsiteX52" fmla="*/ 2597816 w 2663946"/>
                <a:gd name="connsiteY52" fmla="*/ 378074 h 410520"/>
                <a:gd name="connsiteX53" fmla="*/ 2597571 w 2663946"/>
                <a:gd name="connsiteY53" fmla="*/ 375100 h 410520"/>
                <a:gd name="connsiteX54" fmla="*/ 2597816 w 2663946"/>
                <a:gd name="connsiteY54" fmla="*/ 375370 h 410520"/>
                <a:gd name="connsiteX55" fmla="*/ 2597816 w 2663946"/>
                <a:gd name="connsiteY55" fmla="*/ 369692 h 410520"/>
                <a:gd name="connsiteX56" fmla="*/ 2597816 w 2663946"/>
                <a:gd name="connsiteY56" fmla="*/ 369422 h 410520"/>
                <a:gd name="connsiteX57" fmla="*/ 2598308 w 2663946"/>
                <a:gd name="connsiteY57" fmla="*/ 364825 h 410520"/>
                <a:gd name="connsiteX58" fmla="*/ 2599537 w 2663946"/>
                <a:gd name="connsiteY58" fmla="*/ 359418 h 410520"/>
                <a:gd name="connsiteX59" fmla="*/ 2600520 w 2663946"/>
                <a:gd name="connsiteY59" fmla="*/ 356173 h 410520"/>
                <a:gd name="connsiteX60" fmla="*/ 2602732 w 2663946"/>
                <a:gd name="connsiteY60" fmla="*/ 351036 h 410520"/>
                <a:gd name="connsiteX61" fmla="*/ 2604945 w 2663946"/>
                <a:gd name="connsiteY61" fmla="*/ 347251 h 410520"/>
                <a:gd name="connsiteX62" fmla="*/ 2607157 w 2663946"/>
                <a:gd name="connsiteY62" fmla="*/ 344276 h 410520"/>
                <a:gd name="connsiteX63" fmla="*/ 2609369 w 2663946"/>
                <a:gd name="connsiteY63" fmla="*/ 341843 h 410520"/>
                <a:gd name="connsiteX64" fmla="*/ 2614039 w 2663946"/>
                <a:gd name="connsiteY64" fmla="*/ 338058 h 410520"/>
                <a:gd name="connsiteX65" fmla="*/ 2617972 w 2663946"/>
                <a:gd name="connsiteY65" fmla="*/ 335895 h 410520"/>
                <a:gd name="connsiteX66" fmla="*/ 2627559 w 2663946"/>
                <a:gd name="connsiteY66" fmla="*/ 333461 h 410520"/>
                <a:gd name="connsiteX67" fmla="*/ 2631061 w 2663946"/>
                <a:gd name="connsiteY67" fmla="*/ 269551 h 410520"/>
                <a:gd name="connsiteX68" fmla="*/ 2621591 w 2663946"/>
                <a:gd name="connsiteY68" fmla="*/ 278825 h 410520"/>
                <a:gd name="connsiteX69" fmla="*/ 2626545 w 2663946"/>
                <a:gd name="connsiteY69" fmla="*/ 286982 h 410520"/>
                <a:gd name="connsiteX70" fmla="*/ 2626545 w 2663946"/>
                <a:gd name="connsiteY70" fmla="*/ 295377 h 410520"/>
                <a:gd name="connsiteX71" fmla="*/ 2631061 w 2663946"/>
                <a:gd name="connsiteY71" fmla="*/ 299800 h 410520"/>
                <a:gd name="connsiteX72" fmla="*/ 2635578 w 2663946"/>
                <a:gd name="connsiteY72" fmla="*/ 295377 h 410520"/>
                <a:gd name="connsiteX73" fmla="*/ 2635578 w 2663946"/>
                <a:gd name="connsiteY73" fmla="*/ 286982 h 410520"/>
                <a:gd name="connsiteX74" fmla="*/ 2640532 w 2663946"/>
                <a:gd name="connsiteY74" fmla="*/ 278825 h 410520"/>
                <a:gd name="connsiteX75" fmla="*/ 2631061 w 2663946"/>
                <a:gd name="connsiteY75" fmla="*/ 269551 h 410520"/>
                <a:gd name="connsiteX76" fmla="*/ 2630799 w 2663946"/>
                <a:gd name="connsiteY76" fmla="*/ 230834 h 410520"/>
                <a:gd name="connsiteX77" fmla="*/ 2619139 w 2663946"/>
                <a:gd name="connsiteY77" fmla="*/ 238563 h 410520"/>
                <a:gd name="connsiteX78" fmla="*/ 2618214 w 2663946"/>
                <a:gd name="connsiteY78" fmla="*/ 243146 h 410520"/>
                <a:gd name="connsiteX79" fmla="*/ 2621454 w 2663946"/>
                <a:gd name="connsiteY79" fmla="*/ 243146 h 410520"/>
                <a:gd name="connsiteX80" fmla="*/ 2639871 w 2663946"/>
                <a:gd name="connsiteY80" fmla="*/ 243146 h 410520"/>
                <a:gd name="connsiteX81" fmla="*/ 2643385 w 2663946"/>
                <a:gd name="connsiteY81" fmla="*/ 243146 h 410520"/>
                <a:gd name="connsiteX82" fmla="*/ 2642460 w 2663946"/>
                <a:gd name="connsiteY82" fmla="*/ 238563 h 410520"/>
                <a:gd name="connsiteX83" fmla="*/ 2630799 w 2663946"/>
                <a:gd name="connsiteY83" fmla="*/ 230834 h 410520"/>
                <a:gd name="connsiteX84" fmla="*/ 2630799 w 2663946"/>
                <a:gd name="connsiteY84" fmla="*/ 218179 h 410520"/>
                <a:gd name="connsiteX85" fmla="*/ 2655595 w 2663946"/>
                <a:gd name="connsiteY85" fmla="*/ 238388 h 410520"/>
                <a:gd name="connsiteX86" fmla="*/ 2656074 w 2663946"/>
                <a:gd name="connsiteY86" fmla="*/ 243146 h 410520"/>
                <a:gd name="connsiteX87" fmla="*/ 2657493 w 2663946"/>
                <a:gd name="connsiteY87" fmla="*/ 243146 h 410520"/>
                <a:gd name="connsiteX88" fmla="*/ 2663946 w 2663946"/>
                <a:gd name="connsiteY88" fmla="*/ 249432 h 410520"/>
                <a:gd name="connsiteX89" fmla="*/ 2663946 w 2663946"/>
                <a:gd name="connsiteY89" fmla="*/ 299154 h 410520"/>
                <a:gd name="connsiteX90" fmla="*/ 2657493 w 2663946"/>
                <a:gd name="connsiteY90" fmla="*/ 305440 h 410520"/>
                <a:gd name="connsiteX91" fmla="*/ 2604106 w 2663946"/>
                <a:gd name="connsiteY91" fmla="*/ 305440 h 410520"/>
                <a:gd name="connsiteX92" fmla="*/ 2597652 w 2663946"/>
                <a:gd name="connsiteY92" fmla="*/ 299154 h 410520"/>
                <a:gd name="connsiteX93" fmla="*/ 2597652 w 2663946"/>
                <a:gd name="connsiteY93" fmla="*/ 249432 h 410520"/>
                <a:gd name="connsiteX94" fmla="*/ 2604106 w 2663946"/>
                <a:gd name="connsiteY94" fmla="*/ 243146 h 410520"/>
                <a:gd name="connsiteX95" fmla="*/ 2604940 w 2663946"/>
                <a:gd name="connsiteY95" fmla="*/ 243146 h 410520"/>
                <a:gd name="connsiteX96" fmla="*/ 2605524 w 2663946"/>
                <a:gd name="connsiteY96" fmla="*/ 243146 h 410520"/>
                <a:gd name="connsiteX97" fmla="*/ 2606004 w 2663946"/>
                <a:gd name="connsiteY97" fmla="*/ 238388 h 410520"/>
                <a:gd name="connsiteX98" fmla="*/ 2630799 w 2663946"/>
                <a:gd name="connsiteY98" fmla="*/ 218179 h 410520"/>
                <a:gd name="connsiteX99" fmla="*/ 33409 w 2663946"/>
                <a:gd name="connsiteY99" fmla="*/ 165325 h 410520"/>
                <a:gd name="connsiteX100" fmla="*/ 23938 w 2663946"/>
                <a:gd name="connsiteY100" fmla="*/ 174599 h 410520"/>
                <a:gd name="connsiteX101" fmla="*/ 28892 w 2663946"/>
                <a:gd name="connsiteY101" fmla="*/ 182756 h 410520"/>
                <a:gd name="connsiteX102" fmla="*/ 28892 w 2663946"/>
                <a:gd name="connsiteY102" fmla="*/ 191151 h 410520"/>
                <a:gd name="connsiteX103" fmla="*/ 33409 w 2663946"/>
                <a:gd name="connsiteY103" fmla="*/ 195574 h 410520"/>
                <a:gd name="connsiteX104" fmla="*/ 37926 w 2663946"/>
                <a:gd name="connsiteY104" fmla="*/ 191151 h 410520"/>
                <a:gd name="connsiteX105" fmla="*/ 37926 w 2663946"/>
                <a:gd name="connsiteY105" fmla="*/ 182756 h 410520"/>
                <a:gd name="connsiteX106" fmla="*/ 42880 w 2663946"/>
                <a:gd name="connsiteY106" fmla="*/ 174599 h 410520"/>
                <a:gd name="connsiteX107" fmla="*/ 33409 w 2663946"/>
                <a:gd name="connsiteY107" fmla="*/ 165325 h 410520"/>
                <a:gd name="connsiteX108" fmla="*/ 2538193 w 2663946"/>
                <a:gd name="connsiteY108" fmla="*/ 157737 h 410520"/>
                <a:gd name="connsiteX109" fmla="*/ 2528723 w 2663946"/>
                <a:gd name="connsiteY109" fmla="*/ 167011 h 410520"/>
                <a:gd name="connsiteX110" fmla="*/ 2533677 w 2663946"/>
                <a:gd name="connsiteY110" fmla="*/ 175168 h 410520"/>
                <a:gd name="connsiteX111" fmla="*/ 2533677 w 2663946"/>
                <a:gd name="connsiteY111" fmla="*/ 183563 h 410520"/>
                <a:gd name="connsiteX112" fmla="*/ 2538193 w 2663946"/>
                <a:gd name="connsiteY112" fmla="*/ 187986 h 410520"/>
                <a:gd name="connsiteX113" fmla="*/ 2542710 w 2663946"/>
                <a:gd name="connsiteY113" fmla="*/ 183563 h 410520"/>
                <a:gd name="connsiteX114" fmla="*/ 2542710 w 2663946"/>
                <a:gd name="connsiteY114" fmla="*/ 175168 h 410520"/>
                <a:gd name="connsiteX115" fmla="*/ 2547664 w 2663946"/>
                <a:gd name="connsiteY115" fmla="*/ 167011 h 410520"/>
                <a:gd name="connsiteX116" fmla="*/ 2538193 w 2663946"/>
                <a:gd name="connsiteY116" fmla="*/ 157737 h 410520"/>
                <a:gd name="connsiteX117" fmla="*/ 2113196 w 2663946"/>
                <a:gd name="connsiteY117" fmla="*/ 157737 h 410520"/>
                <a:gd name="connsiteX118" fmla="*/ 2103726 w 2663946"/>
                <a:gd name="connsiteY118" fmla="*/ 167011 h 410520"/>
                <a:gd name="connsiteX119" fmla="*/ 2108680 w 2663946"/>
                <a:gd name="connsiteY119" fmla="*/ 175168 h 410520"/>
                <a:gd name="connsiteX120" fmla="*/ 2108680 w 2663946"/>
                <a:gd name="connsiteY120" fmla="*/ 183563 h 410520"/>
                <a:gd name="connsiteX121" fmla="*/ 2113196 w 2663946"/>
                <a:gd name="connsiteY121" fmla="*/ 187986 h 410520"/>
                <a:gd name="connsiteX122" fmla="*/ 2117713 w 2663946"/>
                <a:gd name="connsiteY122" fmla="*/ 183563 h 410520"/>
                <a:gd name="connsiteX123" fmla="*/ 2117713 w 2663946"/>
                <a:gd name="connsiteY123" fmla="*/ 175168 h 410520"/>
                <a:gd name="connsiteX124" fmla="*/ 2122667 w 2663946"/>
                <a:gd name="connsiteY124" fmla="*/ 167011 h 410520"/>
                <a:gd name="connsiteX125" fmla="*/ 2113196 w 2663946"/>
                <a:gd name="connsiteY125" fmla="*/ 157737 h 410520"/>
                <a:gd name="connsiteX126" fmla="*/ 1855228 w 2663946"/>
                <a:gd name="connsiteY126" fmla="*/ 157737 h 410520"/>
                <a:gd name="connsiteX127" fmla="*/ 1845758 w 2663946"/>
                <a:gd name="connsiteY127" fmla="*/ 167011 h 410520"/>
                <a:gd name="connsiteX128" fmla="*/ 1850712 w 2663946"/>
                <a:gd name="connsiteY128" fmla="*/ 175168 h 410520"/>
                <a:gd name="connsiteX129" fmla="*/ 1850712 w 2663946"/>
                <a:gd name="connsiteY129" fmla="*/ 183563 h 410520"/>
                <a:gd name="connsiteX130" fmla="*/ 1855228 w 2663946"/>
                <a:gd name="connsiteY130" fmla="*/ 187986 h 410520"/>
                <a:gd name="connsiteX131" fmla="*/ 1859745 w 2663946"/>
                <a:gd name="connsiteY131" fmla="*/ 183563 h 410520"/>
                <a:gd name="connsiteX132" fmla="*/ 1859745 w 2663946"/>
                <a:gd name="connsiteY132" fmla="*/ 175168 h 410520"/>
                <a:gd name="connsiteX133" fmla="*/ 1864699 w 2663946"/>
                <a:gd name="connsiteY133" fmla="*/ 167011 h 410520"/>
                <a:gd name="connsiteX134" fmla="*/ 1855228 w 2663946"/>
                <a:gd name="connsiteY134" fmla="*/ 157737 h 410520"/>
                <a:gd name="connsiteX135" fmla="*/ 1764289 w 2663946"/>
                <a:gd name="connsiteY135" fmla="*/ 157737 h 410520"/>
                <a:gd name="connsiteX136" fmla="*/ 1754819 w 2663946"/>
                <a:gd name="connsiteY136" fmla="*/ 167011 h 410520"/>
                <a:gd name="connsiteX137" fmla="*/ 1759773 w 2663946"/>
                <a:gd name="connsiteY137" fmla="*/ 175168 h 410520"/>
                <a:gd name="connsiteX138" fmla="*/ 1759773 w 2663946"/>
                <a:gd name="connsiteY138" fmla="*/ 183563 h 410520"/>
                <a:gd name="connsiteX139" fmla="*/ 1764289 w 2663946"/>
                <a:gd name="connsiteY139" fmla="*/ 187986 h 410520"/>
                <a:gd name="connsiteX140" fmla="*/ 1768806 w 2663946"/>
                <a:gd name="connsiteY140" fmla="*/ 183563 h 410520"/>
                <a:gd name="connsiteX141" fmla="*/ 1768806 w 2663946"/>
                <a:gd name="connsiteY141" fmla="*/ 175168 h 410520"/>
                <a:gd name="connsiteX142" fmla="*/ 1773760 w 2663946"/>
                <a:gd name="connsiteY142" fmla="*/ 167011 h 410520"/>
                <a:gd name="connsiteX143" fmla="*/ 1764289 w 2663946"/>
                <a:gd name="connsiteY143" fmla="*/ 157737 h 410520"/>
                <a:gd name="connsiteX144" fmla="*/ 1506321 w 2663946"/>
                <a:gd name="connsiteY144" fmla="*/ 157737 h 410520"/>
                <a:gd name="connsiteX145" fmla="*/ 1496851 w 2663946"/>
                <a:gd name="connsiteY145" fmla="*/ 167011 h 410520"/>
                <a:gd name="connsiteX146" fmla="*/ 1501805 w 2663946"/>
                <a:gd name="connsiteY146" fmla="*/ 175168 h 410520"/>
                <a:gd name="connsiteX147" fmla="*/ 1501805 w 2663946"/>
                <a:gd name="connsiteY147" fmla="*/ 183563 h 410520"/>
                <a:gd name="connsiteX148" fmla="*/ 1506321 w 2663946"/>
                <a:gd name="connsiteY148" fmla="*/ 187986 h 410520"/>
                <a:gd name="connsiteX149" fmla="*/ 1510838 w 2663946"/>
                <a:gd name="connsiteY149" fmla="*/ 183563 h 410520"/>
                <a:gd name="connsiteX150" fmla="*/ 1510838 w 2663946"/>
                <a:gd name="connsiteY150" fmla="*/ 175168 h 410520"/>
                <a:gd name="connsiteX151" fmla="*/ 1515792 w 2663946"/>
                <a:gd name="connsiteY151" fmla="*/ 167011 h 410520"/>
                <a:gd name="connsiteX152" fmla="*/ 1506321 w 2663946"/>
                <a:gd name="connsiteY152" fmla="*/ 157737 h 410520"/>
                <a:gd name="connsiteX153" fmla="*/ 1415382 w 2663946"/>
                <a:gd name="connsiteY153" fmla="*/ 157737 h 410520"/>
                <a:gd name="connsiteX154" fmla="*/ 1405912 w 2663946"/>
                <a:gd name="connsiteY154" fmla="*/ 167011 h 410520"/>
                <a:gd name="connsiteX155" fmla="*/ 1410866 w 2663946"/>
                <a:gd name="connsiteY155" fmla="*/ 175168 h 410520"/>
                <a:gd name="connsiteX156" fmla="*/ 1410866 w 2663946"/>
                <a:gd name="connsiteY156" fmla="*/ 183563 h 410520"/>
                <a:gd name="connsiteX157" fmla="*/ 1415382 w 2663946"/>
                <a:gd name="connsiteY157" fmla="*/ 187986 h 410520"/>
                <a:gd name="connsiteX158" fmla="*/ 1419899 w 2663946"/>
                <a:gd name="connsiteY158" fmla="*/ 183563 h 410520"/>
                <a:gd name="connsiteX159" fmla="*/ 1419899 w 2663946"/>
                <a:gd name="connsiteY159" fmla="*/ 175168 h 410520"/>
                <a:gd name="connsiteX160" fmla="*/ 1424853 w 2663946"/>
                <a:gd name="connsiteY160" fmla="*/ 167011 h 410520"/>
                <a:gd name="connsiteX161" fmla="*/ 1415382 w 2663946"/>
                <a:gd name="connsiteY161" fmla="*/ 157737 h 410520"/>
                <a:gd name="connsiteX162" fmla="*/ 1157414 w 2663946"/>
                <a:gd name="connsiteY162" fmla="*/ 157737 h 410520"/>
                <a:gd name="connsiteX163" fmla="*/ 1147944 w 2663946"/>
                <a:gd name="connsiteY163" fmla="*/ 167011 h 410520"/>
                <a:gd name="connsiteX164" fmla="*/ 1152898 w 2663946"/>
                <a:gd name="connsiteY164" fmla="*/ 175168 h 410520"/>
                <a:gd name="connsiteX165" fmla="*/ 1152898 w 2663946"/>
                <a:gd name="connsiteY165" fmla="*/ 183563 h 410520"/>
                <a:gd name="connsiteX166" fmla="*/ 1157414 w 2663946"/>
                <a:gd name="connsiteY166" fmla="*/ 187986 h 410520"/>
                <a:gd name="connsiteX167" fmla="*/ 1161931 w 2663946"/>
                <a:gd name="connsiteY167" fmla="*/ 183563 h 410520"/>
                <a:gd name="connsiteX168" fmla="*/ 1161931 w 2663946"/>
                <a:gd name="connsiteY168" fmla="*/ 175168 h 410520"/>
                <a:gd name="connsiteX169" fmla="*/ 1166885 w 2663946"/>
                <a:gd name="connsiteY169" fmla="*/ 167011 h 410520"/>
                <a:gd name="connsiteX170" fmla="*/ 1157414 w 2663946"/>
                <a:gd name="connsiteY170" fmla="*/ 157737 h 410520"/>
                <a:gd name="connsiteX171" fmla="*/ 732418 w 2663946"/>
                <a:gd name="connsiteY171" fmla="*/ 157737 h 410520"/>
                <a:gd name="connsiteX172" fmla="*/ 722947 w 2663946"/>
                <a:gd name="connsiteY172" fmla="*/ 167011 h 410520"/>
                <a:gd name="connsiteX173" fmla="*/ 727901 w 2663946"/>
                <a:gd name="connsiteY173" fmla="*/ 175168 h 410520"/>
                <a:gd name="connsiteX174" fmla="*/ 727901 w 2663946"/>
                <a:gd name="connsiteY174" fmla="*/ 183563 h 410520"/>
                <a:gd name="connsiteX175" fmla="*/ 732418 w 2663946"/>
                <a:gd name="connsiteY175" fmla="*/ 187986 h 410520"/>
                <a:gd name="connsiteX176" fmla="*/ 736935 w 2663946"/>
                <a:gd name="connsiteY176" fmla="*/ 183563 h 410520"/>
                <a:gd name="connsiteX177" fmla="*/ 736935 w 2663946"/>
                <a:gd name="connsiteY177" fmla="*/ 175168 h 410520"/>
                <a:gd name="connsiteX178" fmla="*/ 741889 w 2663946"/>
                <a:gd name="connsiteY178" fmla="*/ 167011 h 410520"/>
                <a:gd name="connsiteX179" fmla="*/ 732418 w 2663946"/>
                <a:gd name="connsiteY179" fmla="*/ 157737 h 410520"/>
                <a:gd name="connsiteX180" fmla="*/ 641479 w 2663946"/>
                <a:gd name="connsiteY180" fmla="*/ 157737 h 410520"/>
                <a:gd name="connsiteX181" fmla="*/ 632008 w 2663946"/>
                <a:gd name="connsiteY181" fmla="*/ 167011 h 410520"/>
                <a:gd name="connsiteX182" fmla="*/ 636962 w 2663946"/>
                <a:gd name="connsiteY182" fmla="*/ 175168 h 410520"/>
                <a:gd name="connsiteX183" fmla="*/ 636962 w 2663946"/>
                <a:gd name="connsiteY183" fmla="*/ 183563 h 410520"/>
                <a:gd name="connsiteX184" fmla="*/ 641479 w 2663946"/>
                <a:gd name="connsiteY184" fmla="*/ 187986 h 410520"/>
                <a:gd name="connsiteX185" fmla="*/ 645996 w 2663946"/>
                <a:gd name="connsiteY185" fmla="*/ 183563 h 410520"/>
                <a:gd name="connsiteX186" fmla="*/ 645996 w 2663946"/>
                <a:gd name="connsiteY186" fmla="*/ 175168 h 410520"/>
                <a:gd name="connsiteX187" fmla="*/ 650950 w 2663946"/>
                <a:gd name="connsiteY187" fmla="*/ 167011 h 410520"/>
                <a:gd name="connsiteX188" fmla="*/ 641479 w 2663946"/>
                <a:gd name="connsiteY188" fmla="*/ 157737 h 410520"/>
                <a:gd name="connsiteX189" fmla="*/ 459528 w 2663946"/>
                <a:gd name="connsiteY189" fmla="*/ 157737 h 410520"/>
                <a:gd name="connsiteX190" fmla="*/ 450057 w 2663946"/>
                <a:gd name="connsiteY190" fmla="*/ 167011 h 410520"/>
                <a:gd name="connsiteX191" fmla="*/ 455011 w 2663946"/>
                <a:gd name="connsiteY191" fmla="*/ 175168 h 410520"/>
                <a:gd name="connsiteX192" fmla="*/ 455011 w 2663946"/>
                <a:gd name="connsiteY192" fmla="*/ 183563 h 410520"/>
                <a:gd name="connsiteX193" fmla="*/ 459528 w 2663946"/>
                <a:gd name="connsiteY193" fmla="*/ 187986 h 410520"/>
                <a:gd name="connsiteX194" fmla="*/ 464045 w 2663946"/>
                <a:gd name="connsiteY194" fmla="*/ 183563 h 410520"/>
                <a:gd name="connsiteX195" fmla="*/ 464045 w 2663946"/>
                <a:gd name="connsiteY195" fmla="*/ 175168 h 410520"/>
                <a:gd name="connsiteX196" fmla="*/ 468999 w 2663946"/>
                <a:gd name="connsiteY196" fmla="*/ 167011 h 410520"/>
                <a:gd name="connsiteX197" fmla="*/ 459528 w 2663946"/>
                <a:gd name="connsiteY197" fmla="*/ 157737 h 410520"/>
                <a:gd name="connsiteX198" fmla="*/ 2632966 w 2663946"/>
                <a:gd name="connsiteY198" fmla="*/ 130544 h 410520"/>
                <a:gd name="connsiteX199" fmla="*/ 2621414 w 2663946"/>
                <a:gd name="connsiteY199" fmla="*/ 132977 h 410520"/>
                <a:gd name="connsiteX200" fmla="*/ 2618218 w 2663946"/>
                <a:gd name="connsiteY200" fmla="*/ 136492 h 410520"/>
                <a:gd name="connsiteX201" fmla="*/ 2616006 w 2663946"/>
                <a:gd name="connsiteY201" fmla="*/ 140277 h 410520"/>
                <a:gd name="connsiteX202" fmla="*/ 2615023 w 2663946"/>
                <a:gd name="connsiteY202" fmla="*/ 142981 h 410520"/>
                <a:gd name="connsiteX203" fmla="*/ 2614039 w 2663946"/>
                <a:gd name="connsiteY203" fmla="*/ 147037 h 410520"/>
                <a:gd name="connsiteX204" fmla="*/ 2613056 w 2663946"/>
                <a:gd name="connsiteY204" fmla="*/ 154067 h 410520"/>
                <a:gd name="connsiteX205" fmla="*/ 2614039 w 2663946"/>
                <a:gd name="connsiteY205" fmla="*/ 161367 h 410520"/>
                <a:gd name="connsiteX206" fmla="*/ 2615269 w 2663946"/>
                <a:gd name="connsiteY206" fmla="*/ 165152 h 410520"/>
                <a:gd name="connsiteX207" fmla="*/ 2617481 w 2663946"/>
                <a:gd name="connsiteY207" fmla="*/ 169478 h 410520"/>
                <a:gd name="connsiteX208" fmla="*/ 2620922 w 2663946"/>
                <a:gd name="connsiteY208" fmla="*/ 173805 h 410520"/>
                <a:gd name="connsiteX209" fmla="*/ 2625346 w 2663946"/>
                <a:gd name="connsiteY209" fmla="*/ 176508 h 410520"/>
                <a:gd name="connsiteX210" fmla="*/ 2637637 w 2663946"/>
                <a:gd name="connsiteY210" fmla="*/ 174075 h 410520"/>
                <a:gd name="connsiteX211" fmla="*/ 2640832 w 2663946"/>
                <a:gd name="connsiteY211" fmla="*/ 170560 h 410520"/>
                <a:gd name="connsiteX212" fmla="*/ 2643290 w 2663946"/>
                <a:gd name="connsiteY212" fmla="*/ 166234 h 410520"/>
                <a:gd name="connsiteX213" fmla="*/ 2644273 w 2663946"/>
                <a:gd name="connsiteY213" fmla="*/ 164071 h 410520"/>
                <a:gd name="connsiteX214" fmla="*/ 2645502 w 2663946"/>
                <a:gd name="connsiteY214" fmla="*/ 159745 h 410520"/>
                <a:gd name="connsiteX215" fmla="*/ 2645011 w 2663946"/>
                <a:gd name="connsiteY215" fmla="*/ 145955 h 410520"/>
                <a:gd name="connsiteX216" fmla="*/ 2644027 w 2663946"/>
                <a:gd name="connsiteY216" fmla="*/ 142981 h 410520"/>
                <a:gd name="connsiteX217" fmla="*/ 2642799 w 2663946"/>
                <a:gd name="connsiteY217" fmla="*/ 140007 h 410520"/>
                <a:gd name="connsiteX218" fmla="*/ 2640586 w 2663946"/>
                <a:gd name="connsiteY218" fmla="*/ 136492 h 410520"/>
                <a:gd name="connsiteX219" fmla="*/ 2636899 w 2663946"/>
                <a:gd name="connsiteY219" fmla="*/ 132707 h 410520"/>
                <a:gd name="connsiteX220" fmla="*/ 2632966 w 2663946"/>
                <a:gd name="connsiteY220" fmla="*/ 130544 h 410520"/>
                <a:gd name="connsiteX221" fmla="*/ 2451011 w 2663946"/>
                <a:gd name="connsiteY221" fmla="*/ 130544 h 410520"/>
                <a:gd name="connsiteX222" fmla="*/ 2439459 w 2663946"/>
                <a:gd name="connsiteY222" fmla="*/ 132977 h 410520"/>
                <a:gd name="connsiteX223" fmla="*/ 2436263 w 2663946"/>
                <a:gd name="connsiteY223" fmla="*/ 136492 h 410520"/>
                <a:gd name="connsiteX224" fmla="*/ 2434051 w 2663946"/>
                <a:gd name="connsiteY224" fmla="*/ 140277 h 410520"/>
                <a:gd name="connsiteX225" fmla="*/ 2433068 w 2663946"/>
                <a:gd name="connsiteY225" fmla="*/ 142981 h 410520"/>
                <a:gd name="connsiteX226" fmla="*/ 2432084 w 2663946"/>
                <a:gd name="connsiteY226" fmla="*/ 147037 h 410520"/>
                <a:gd name="connsiteX227" fmla="*/ 2431101 w 2663946"/>
                <a:gd name="connsiteY227" fmla="*/ 154067 h 410520"/>
                <a:gd name="connsiteX228" fmla="*/ 2432084 w 2663946"/>
                <a:gd name="connsiteY228" fmla="*/ 161367 h 410520"/>
                <a:gd name="connsiteX229" fmla="*/ 2433314 w 2663946"/>
                <a:gd name="connsiteY229" fmla="*/ 165152 h 410520"/>
                <a:gd name="connsiteX230" fmla="*/ 2435526 w 2663946"/>
                <a:gd name="connsiteY230" fmla="*/ 169478 h 410520"/>
                <a:gd name="connsiteX231" fmla="*/ 2438967 w 2663946"/>
                <a:gd name="connsiteY231" fmla="*/ 173805 h 410520"/>
                <a:gd name="connsiteX232" fmla="*/ 2443391 w 2663946"/>
                <a:gd name="connsiteY232" fmla="*/ 176508 h 410520"/>
                <a:gd name="connsiteX233" fmla="*/ 2455682 w 2663946"/>
                <a:gd name="connsiteY233" fmla="*/ 174075 h 410520"/>
                <a:gd name="connsiteX234" fmla="*/ 2458877 w 2663946"/>
                <a:gd name="connsiteY234" fmla="*/ 170560 h 410520"/>
                <a:gd name="connsiteX235" fmla="*/ 2461335 w 2663946"/>
                <a:gd name="connsiteY235" fmla="*/ 166234 h 410520"/>
                <a:gd name="connsiteX236" fmla="*/ 2462318 w 2663946"/>
                <a:gd name="connsiteY236" fmla="*/ 164071 h 410520"/>
                <a:gd name="connsiteX237" fmla="*/ 2463547 w 2663946"/>
                <a:gd name="connsiteY237" fmla="*/ 159745 h 410520"/>
                <a:gd name="connsiteX238" fmla="*/ 2463056 w 2663946"/>
                <a:gd name="connsiteY238" fmla="*/ 145955 h 410520"/>
                <a:gd name="connsiteX239" fmla="*/ 2462072 w 2663946"/>
                <a:gd name="connsiteY239" fmla="*/ 142981 h 410520"/>
                <a:gd name="connsiteX240" fmla="*/ 2460844 w 2663946"/>
                <a:gd name="connsiteY240" fmla="*/ 140007 h 410520"/>
                <a:gd name="connsiteX241" fmla="*/ 2458631 w 2663946"/>
                <a:gd name="connsiteY241" fmla="*/ 136492 h 410520"/>
                <a:gd name="connsiteX242" fmla="*/ 2454944 w 2663946"/>
                <a:gd name="connsiteY242" fmla="*/ 132707 h 410520"/>
                <a:gd name="connsiteX243" fmla="*/ 2451011 w 2663946"/>
                <a:gd name="connsiteY243" fmla="*/ 130544 h 410520"/>
                <a:gd name="connsiteX244" fmla="*/ 2207965 w 2663946"/>
                <a:gd name="connsiteY244" fmla="*/ 130544 h 410520"/>
                <a:gd name="connsiteX245" fmla="*/ 2196413 w 2663946"/>
                <a:gd name="connsiteY245" fmla="*/ 132977 h 410520"/>
                <a:gd name="connsiteX246" fmla="*/ 2193217 w 2663946"/>
                <a:gd name="connsiteY246" fmla="*/ 136492 h 410520"/>
                <a:gd name="connsiteX247" fmla="*/ 2191005 w 2663946"/>
                <a:gd name="connsiteY247" fmla="*/ 140277 h 410520"/>
                <a:gd name="connsiteX248" fmla="*/ 2190022 w 2663946"/>
                <a:gd name="connsiteY248" fmla="*/ 142981 h 410520"/>
                <a:gd name="connsiteX249" fmla="*/ 2189038 w 2663946"/>
                <a:gd name="connsiteY249" fmla="*/ 147037 h 410520"/>
                <a:gd name="connsiteX250" fmla="*/ 2188055 w 2663946"/>
                <a:gd name="connsiteY250" fmla="*/ 154067 h 410520"/>
                <a:gd name="connsiteX251" fmla="*/ 2189038 w 2663946"/>
                <a:gd name="connsiteY251" fmla="*/ 161367 h 410520"/>
                <a:gd name="connsiteX252" fmla="*/ 2190268 w 2663946"/>
                <a:gd name="connsiteY252" fmla="*/ 165152 h 410520"/>
                <a:gd name="connsiteX253" fmla="*/ 2192480 w 2663946"/>
                <a:gd name="connsiteY253" fmla="*/ 169478 h 410520"/>
                <a:gd name="connsiteX254" fmla="*/ 2195921 w 2663946"/>
                <a:gd name="connsiteY254" fmla="*/ 173805 h 410520"/>
                <a:gd name="connsiteX255" fmla="*/ 2200345 w 2663946"/>
                <a:gd name="connsiteY255" fmla="*/ 176508 h 410520"/>
                <a:gd name="connsiteX256" fmla="*/ 2212636 w 2663946"/>
                <a:gd name="connsiteY256" fmla="*/ 174075 h 410520"/>
                <a:gd name="connsiteX257" fmla="*/ 2215831 w 2663946"/>
                <a:gd name="connsiteY257" fmla="*/ 170560 h 410520"/>
                <a:gd name="connsiteX258" fmla="*/ 2218289 w 2663946"/>
                <a:gd name="connsiteY258" fmla="*/ 166234 h 410520"/>
                <a:gd name="connsiteX259" fmla="*/ 2219272 w 2663946"/>
                <a:gd name="connsiteY259" fmla="*/ 164071 h 410520"/>
                <a:gd name="connsiteX260" fmla="*/ 2220501 w 2663946"/>
                <a:gd name="connsiteY260" fmla="*/ 159745 h 410520"/>
                <a:gd name="connsiteX261" fmla="*/ 2220010 w 2663946"/>
                <a:gd name="connsiteY261" fmla="*/ 145955 h 410520"/>
                <a:gd name="connsiteX262" fmla="*/ 2219026 w 2663946"/>
                <a:gd name="connsiteY262" fmla="*/ 142981 h 410520"/>
                <a:gd name="connsiteX263" fmla="*/ 2217798 w 2663946"/>
                <a:gd name="connsiteY263" fmla="*/ 140007 h 410520"/>
                <a:gd name="connsiteX264" fmla="*/ 2215585 w 2663946"/>
                <a:gd name="connsiteY264" fmla="*/ 136492 h 410520"/>
                <a:gd name="connsiteX265" fmla="*/ 2211898 w 2663946"/>
                <a:gd name="connsiteY265" fmla="*/ 132707 h 410520"/>
                <a:gd name="connsiteX266" fmla="*/ 2207965 w 2663946"/>
                <a:gd name="connsiteY266" fmla="*/ 130544 h 410520"/>
                <a:gd name="connsiteX267" fmla="*/ 2026014 w 2663946"/>
                <a:gd name="connsiteY267" fmla="*/ 130544 h 410520"/>
                <a:gd name="connsiteX268" fmla="*/ 2014462 w 2663946"/>
                <a:gd name="connsiteY268" fmla="*/ 132977 h 410520"/>
                <a:gd name="connsiteX269" fmla="*/ 2011266 w 2663946"/>
                <a:gd name="connsiteY269" fmla="*/ 136492 h 410520"/>
                <a:gd name="connsiteX270" fmla="*/ 2009054 w 2663946"/>
                <a:gd name="connsiteY270" fmla="*/ 140277 h 410520"/>
                <a:gd name="connsiteX271" fmla="*/ 2008071 w 2663946"/>
                <a:gd name="connsiteY271" fmla="*/ 142981 h 410520"/>
                <a:gd name="connsiteX272" fmla="*/ 2007087 w 2663946"/>
                <a:gd name="connsiteY272" fmla="*/ 147037 h 410520"/>
                <a:gd name="connsiteX273" fmla="*/ 2006104 w 2663946"/>
                <a:gd name="connsiteY273" fmla="*/ 154067 h 410520"/>
                <a:gd name="connsiteX274" fmla="*/ 2007087 w 2663946"/>
                <a:gd name="connsiteY274" fmla="*/ 161367 h 410520"/>
                <a:gd name="connsiteX275" fmla="*/ 2008317 w 2663946"/>
                <a:gd name="connsiteY275" fmla="*/ 165152 h 410520"/>
                <a:gd name="connsiteX276" fmla="*/ 2010529 w 2663946"/>
                <a:gd name="connsiteY276" fmla="*/ 169478 h 410520"/>
                <a:gd name="connsiteX277" fmla="*/ 2013970 w 2663946"/>
                <a:gd name="connsiteY277" fmla="*/ 173805 h 410520"/>
                <a:gd name="connsiteX278" fmla="*/ 2018394 w 2663946"/>
                <a:gd name="connsiteY278" fmla="*/ 176508 h 410520"/>
                <a:gd name="connsiteX279" fmla="*/ 2030685 w 2663946"/>
                <a:gd name="connsiteY279" fmla="*/ 174075 h 410520"/>
                <a:gd name="connsiteX280" fmla="*/ 2033880 w 2663946"/>
                <a:gd name="connsiteY280" fmla="*/ 170560 h 410520"/>
                <a:gd name="connsiteX281" fmla="*/ 2036338 w 2663946"/>
                <a:gd name="connsiteY281" fmla="*/ 166234 h 410520"/>
                <a:gd name="connsiteX282" fmla="*/ 2037321 w 2663946"/>
                <a:gd name="connsiteY282" fmla="*/ 164071 h 410520"/>
                <a:gd name="connsiteX283" fmla="*/ 2038550 w 2663946"/>
                <a:gd name="connsiteY283" fmla="*/ 159745 h 410520"/>
                <a:gd name="connsiteX284" fmla="*/ 2038059 w 2663946"/>
                <a:gd name="connsiteY284" fmla="*/ 145955 h 410520"/>
                <a:gd name="connsiteX285" fmla="*/ 2037075 w 2663946"/>
                <a:gd name="connsiteY285" fmla="*/ 142981 h 410520"/>
                <a:gd name="connsiteX286" fmla="*/ 2035847 w 2663946"/>
                <a:gd name="connsiteY286" fmla="*/ 140007 h 410520"/>
                <a:gd name="connsiteX287" fmla="*/ 2033634 w 2663946"/>
                <a:gd name="connsiteY287" fmla="*/ 136492 h 410520"/>
                <a:gd name="connsiteX288" fmla="*/ 2029947 w 2663946"/>
                <a:gd name="connsiteY288" fmla="*/ 132707 h 410520"/>
                <a:gd name="connsiteX289" fmla="*/ 2026014 w 2663946"/>
                <a:gd name="connsiteY289" fmla="*/ 130544 h 410520"/>
                <a:gd name="connsiteX290" fmla="*/ 1601090 w 2663946"/>
                <a:gd name="connsiteY290" fmla="*/ 130544 h 410520"/>
                <a:gd name="connsiteX291" fmla="*/ 1589537 w 2663946"/>
                <a:gd name="connsiteY291" fmla="*/ 132977 h 410520"/>
                <a:gd name="connsiteX292" fmla="*/ 1586342 w 2663946"/>
                <a:gd name="connsiteY292" fmla="*/ 136492 h 410520"/>
                <a:gd name="connsiteX293" fmla="*/ 1584130 w 2663946"/>
                <a:gd name="connsiteY293" fmla="*/ 140277 h 410520"/>
                <a:gd name="connsiteX294" fmla="*/ 1583147 w 2663946"/>
                <a:gd name="connsiteY294" fmla="*/ 142981 h 410520"/>
                <a:gd name="connsiteX295" fmla="*/ 1582163 w 2663946"/>
                <a:gd name="connsiteY295" fmla="*/ 147037 h 410520"/>
                <a:gd name="connsiteX296" fmla="*/ 1581180 w 2663946"/>
                <a:gd name="connsiteY296" fmla="*/ 154067 h 410520"/>
                <a:gd name="connsiteX297" fmla="*/ 1582163 w 2663946"/>
                <a:gd name="connsiteY297" fmla="*/ 161367 h 410520"/>
                <a:gd name="connsiteX298" fmla="*/ 1583393 w 2663946"/>
                <a:gd name="connsiteY298" fmla="*/ 165152 h 410520"/>
                <a:gd name="connsiteX299" fmla="*/ 1585605 w 2663946"/>
                <a:gd name="connsiteY299" fmla="*/ 169478 h 410520"/>
                <a:gd name="connsiteX300" fmla="*/ 1589046 w 2663946"/>
                <a:gd name="connsiteY300" fmla="*/ 173805 h 410520"/>
                <a:gd name="connsiteX301" fmla="*/ 1593470 w 2663946"/>
                <a:gd name="connsiteY301" fmla="*/ 176508 h 410520"/>
                <a:gd name="connsiteX302" fmla="*/ 1605761 w 2663946"/>
                <a:gd name="connsiteY302" fmla="*/ 174075 h 410520"/>
                <a:gd name="connsiteX303" fmla="*/ 1608956 w 2663946"/>
                <a:gd name="connsiteY303" fmla="*/ 170560 h 410520"/>
                <a:gd name="connsiteX304" fmla="*/ 1611414 w 2663946"/>
                <a:gd name="connsiteY304" fmla="*/ 166234 h 410520"/>
                <a:gd name="connsiteX305" fmla="*/ 1612397 w 2663946"/>
                <a:gd name="connsiteY305" fmla="*/ 164071 h 410520"/>
                <a:gd name="connsiteX306" fmla="*/ 1613626 w 2663946"/>
                <a:gd name="connsiteY306" fmla="*/ 159745 h 410520"/>
                <a:gd name="connsiteX307" fmla="*/ 1613135 w 2663946"/>
                <a:gd name="connsiteY307" fmla="*/ 145955 h 410520"/>
                <a:gd name="connsiteX308" fmla="*/ 1612151 w 2663946"/>
                <a:gd name="connsiteY308" fmla="*/ 142981 h 410520"/>
                <a:gd name="connsiteX309" fmla="*/ 1610923 w 2663946"/>
                <a:gd name="connsiteY309" fmla="*/ 140007 h 410520"/>
                <a:gd name="connsiteX310" fmla="*/ 1608710 w 2663946"/>
                <a:gd name="connsiteY310" fmla="*/ 136492 h 410520"/>
                <a:gd name="connsiteX311" fmla="*/ 1605023 w 2663946"/>
                <a:gd name="connsiteY311" fmla="*/ 132707 h 410520"/>
                <a:gd name="connsiteX312" fmla="*/ 1601090 w 2663946"/>
                <a:gd name="connsiteY312" fmla="*/ 130544 h 410520"/>
                <a:gd name="connsiteX313" fmla="*/ 1252183 w 2663946"/>
                <a:gd name="connsiteY313" fmla="*/ 130544 h 410520"/>
                <a:gd name="connsiteX314" fmla="*/ 1240630 w 2663946"/>
                <a:gd name="connsiteY314" fmla="*/ 132977 h 410520"/>
                <a:gd name="connsiteX315" fmla="*/ 1237435 w 2663946"/>
                <a:gd name="connsiteY315" fmla="*/ 136492 h 410520"/>
                <a:gd name="connsiteX316" fmla="*/ 1235223 w 2663946"/>
                <a:gd name="connsiteY316" fmla="*/ 140277 h 410520"/>
                <a:gd name="connsiteX317" fmla="*/ 1234240 w 2663946"/>
                <a:gd name="connsiteY317" fmla="*/ 142981 h 410520"/>
                <a:gd name="connsiteX318" fmla="*/ 1233256 w 2663946"/>
                <a:gd name="connsiteY318" fmla="*/ 147037 h 410520"/>
                <a:gd name="connsiteX319" fmla="*/ 1232273 w 2663946"/>
                <a:gd name="connsiteY319" fmla="*/ 154067 h 410520"/>
                <a:gd name="connsiteX320" fmla="*/ 1233256 w 2663946"/>
                <a:gd name="connsiteY320" fmla="*/ 161367 h 410520"/>
                <a:gd name="connsiteX321" fmla="*/ 1234486 w 2663946"/>
                <a:gd name="connsiteY321" fmla="*/ 165152 h 410520"/>
                <a:gd name="connsiteX322" fmla="*/ 1236698 w 2663946"/>
                <a:gd name="connsiteY322" fmla="*/ 169478 h 410520"/>
                <a:gd name="connsiteX323" fmla="*/ 1240139 w 2663946"/>
                <a:gd name="connsiteY323" fmla="*/ 173805 h 410520"/>
                <a:gd name="connsiteX324" fmla="*/ 1244563 w 2663946"/>
                <a:gd name="connsiteY324" fmla="*/ 176508 h 410520"/>
                <a:gd name="connsiteX325" fmla="*/ 1256854 w 2663946"/>
                <a:gd name="connsiteY325" fmla="*/ 174075 h 410520"/>
                <a:gd name="connsiteX326" fmla="*/ 1260049 w 2663946"/>
                <a:gd name="connsiteY326" fmla="*/ 170560 h 410520"/>
                <a:gd name="connsiteX327" fmla="*/ 1262507 w 2663946"/>
                <a:gd name="connsiteY327" fmla="*/ 166234 h 410520"/>
                <a:gd name="connsiteX328" fmla="*/ 1263490 w 2663946"/>
                <a:gd name="connsiteY328" fmla="*/ 164071 h 410520"/>
                <a:gd name="connsiteX329" fmla="*/ 1264719 w 2663946"/>
                <a:gd name="connsiteY329" fmla="*/ 159745 h 410520"/>
                <a:gd name="connsiteX330" fmla="*/ 1264228 w 2663946"/>
                <a:gd name="connsiteY330" fmla="*/ 145955 h 410520"/>
                <a:gd name="connsiteX331" fmla="*/ 1263244 w 2663946"/>
                <a:gd name="connsiteY331" fmla="*/ 142981 h 410520"/>
                <a:gd name="connsiteX332" fmla="*/ 1262016 w 2663946"/>
                <a:gd name="connsiteY332" fmla="*/ 140007 h 410520"/>
                <a:gd name="connsiteX333" fmla="*/ 1259803 w 2663946"/>
                <a:gd name="connsiteY333" fmla="*/ 136492 h 410520"/>
                <a:gd name="connsiteX334" fmla="*/ 1256116 w 2663946"/>
                <a:gd name="connsiteY334" fmla="*/ 132707 h 410520"/>
                <a:gd name="connsiteX335" fmla="*/ 1252183 w 2663946"/>
                <a:gd name="connsiteY335" fmla="*/ 130544 h 410520"/>
                <a:gd name="connsiteX336" fmla="*/ 1070232 w 2663946"/>
                <a:gd name="connsiteY336" fmla="*/ 130544 h 410520"/>
                <a:gd name="connsiteX337" fmla="*/ 1058679 w 2663946"/>
                <a:gd name="connsiteY337" fmla="*/ 132977 h 410520"/>
                <a:gd name="connsiteX338" fmla="*/ 1055484 w 2663946"/>
                <a:gd name="connsiteY338" fmla="*/ 136492 h 410520"/>
                <a:gd name="connsiteX339" fmla="*/ 1053272 w 2663946"/>
                <a:gd name="connsiteY339" fmla="*/ 140277 h 410520"/>
                <a:gd name="connsiteX340" fmla="*/ 1052289 w 2663946"/>
                <a:gd name="connsiteY340" fmla="*/ 142981 h 410520"/>
                <a:gd name="connsiteX341" fmla="*/ 1051305 w 2663946"/>
                <a:gd name="connsiteY341" fmla="*/ 147037 h 410520"/>
                <a:gd name="connsiteX342" fmla="*/ 1050322 w 2663946"/>
                <a:gd name="connsiteY342" fmla="*/ 154067 h 410520"/>
                <a:gd name="connsiteX343" fmla="*/ 1051305 w 2663946"/>
                <a:gd name="connsiteY343" fmla="*/ 161367 h 410520"/>
                <a:gd name="connsiteX344" fmla="*/ 1052535 w 2663946"/>
                <a:gd name="connsiteY344" fmla="*/ 165152 h 410520"/>
                <a:gd name="connsiteX345" fmla="*/ 1054747 w 2663946"/>
                <a:gd name="connsiteY345" fmla="*/ 169478 h 410520"/>
                <a:gd name="connsiteX346" fmla="*/ 1058188 w 2663946"/>
                <a:gd name="connsiteY346" fmla="*/ 173805 h 410520"/>
                <a:gd name="connsiteX347" fmla="*/ 1062612 w 2663946"/>
                <a:gd name="connsiteY347" fmla="*/ 176508 h 410520"/>
                <a:gd name="connsiteX348" fmla="*/ 1074903 w 2663946"/>
                <a:gd name="connsiteY348" fmla="*/ 174075 h 410520"/>
                <a:gd name="connsiteX349" fmla="*/ 1078098 w 2663946"/>
                <a:gd name="connsiteY349" fmla="*/ 170560 h 410520"/>
                <a:gd name="connsiteX350" fmla="*/ 1080556 w 2663946"/>
                <a:gd name="connsiteY350" fmla="*/ 166234 h 410520"/>
                <a:gd name="connsiteX351" fmla="*/ 1081539 w 2663946"/>
                <a:gd name="connsiteY351" fmla="*/ 164071 h 410520"/>
                <a:gd name="connsiteX352" fmla="*/ 1082768 w 2663946"/>
                <a:gd name="connsiteY352" fmla="*/ 159745 h 410520"/>
                <a:gd name="connsiteX353" fmla="*/ 1082277 w 2663946"/>
                <a:gd name="connsiteY353" fmla="*/ 145955 h 410520"/>
                <a:gd name="connsiteX354" fmla="*/ 1081293 w 2663946"/>
                <a:gd name="connsiteY354" fmla="*/ 142981 h 410520"/>
                <a:gd name="connsiteX355" fmla="*/ 1080065 w 2663946"/>
                <a:gd name="connsiteY355" fmla="*/ 140007 h 410520"/>
                <a:gd name="connsiteX356" fmla="*/ 1077852 w 2663946"/>
                <a:gd name="connsiteY356" fmla="*/ 136492 h 410520"/>
                <a:gd name="connsiteX357" fmla="*/ 1074165 w 2663946"/>
                <a:gd name="connsiteY357" fmla="*/ 132707 h 410520"/>
                <a:gd name="connsiteX358" fmla="*/ 1070232 w 2663946"/>
                <a:gd name="connsiteY358" fmla="*/ 130544 h 410520"/>
                <a:gd name="connsiteX359" fmla="*/ 903203 w 2663946"/>
                <a:gd name="connsiteY359" fmla="*/ 130544 h 410520"/>
                <a:gd name="connsiteX360" fmla="*/ 891650 w 2663946"/>
                <a:gd name="connsiteY360" fmla="*/ 132977 h 410520"/>
                <a:gd name="connsiteX361" fmla="*/ 888455 w 2663946"/>
                <a:gd name="connsiteY361" fmla="*/ 136492 h 410520"/>
                <a:gd name="connsiteX362" fmla="*/ 886243 w 2663946"/>
                <a:gd name="connsiteY362" fmla="*/ 140277 h 410520"/>
                <a:gd name="connsiteX363" fmla="*/ 885260 w 2663946"/>
                <a:gd name="connsiteY363" fmla="*/ 142981 h 410520"/>
                <a:gd name="connsiteX364" fmla="*/ 884276 w 2663946"/>
                <a:gd name="connsiteY364" fmla="*/ 147037 h 410520"/>
                <a:gd name="connsiteX365" fmla="*/ 883293 w 2663946"/>
                <a:gd name="connsiteY365" fmla="*/ 154067 h 410520"/>
                <a:gd name="connsiteX366" fmla="*/ 884276 w 2663946"/>
                <a:gd name="connsiteY366" fmla="*/ 161367 h 410520"/>
                <a:gd name="connsiteX367" fmla="*/ 885506 w 2663946"/>
                <a:gd name="connsiteY367" fmla="*/ 165152 h 410520"/>
                <a:gd name="connsiteX368" fmla="*/ 887718 w 2663946"/>
                <a:gd name="connsiteY368" fmla="*/ 169478 h 410520"/>
                <a:gd name="connsiteX369" fmla="*/ 891159 w 2663946"/>
                <a:gd name="connsiteY369" fmla="*/ 173805 h 410520"/>
                <a:gd name="connsiteX370" fmla="*/ 895583 w 2663946"/>
                <a:gd name="connsiteY370" fmla="*/ 176508 h 410520"/>
                <a:gd name="connsiteX371" fmla="*/ 907874 w 2663946"/>
                <a:gd name="connsiteY371" fmla="*/ 174075 h 410520"/>
                <a:gd name="connsiteX372" fmla="*/ 911069 w 2663946"/>
                <a:gd name="connsiteY372" fmla="*/ 170560 h 410520"/>
                <a:gd name="connsiteX373" fmla="*/ 913527 w 2663946"/>
                <a:gd name="connsiteY373" fmla="*/ 166234 h 410520"/>
                <a:gd name="connsiteX374" fmla="*/ 914510 w 2663946"/>
                <a:gd name="connsiteY374" fmla="*/ 164071 h 410520"/>
                <a:gd name="connsiteX375" fmla="*/ 915739 w 2663946"/>
                <a:gd name="connsiteY375" fmla="*/ 159745 h 410520"/>
                <a:gd name="connsiteX376" fmla="*/ 915248 w 2663946"/>
                <a:gd name="connsiteY376" fmla="*/ 145955 h 410520"/>
                <a:gd name="connsiteX377" fmla="*/ 914264 w 2663946"/>
                <a:gd name="connsiteY377" fmla="*/ 142981 h 410520"/>
                <a:gd name="connsiteX378" fmla="*/ 913036 w 2663946"/>
                <a:gd name="connsiteY378" fmla="*/ 140007 h 410520"/>
                <a:gd name="connsiteX379" fmla="*/ 910823 w 2663946"/>
                <a:gd name="connsiteY379" fmla="*/ 136492 h 410520"/>
                <a:gd name="connsiteX380" fmla="*/ 907136 w 2663946"/>
                <a:gd name="connsiteY380" fmla="*/ 132707 h 410520"/>
                <a:gd name="connsiteX381" fmla="*/ 903203 w 2663946"/>
                <a:gd name="connsiteY381" fmla="*/ 130544 h 410520"/>
                <a:gd name="connsiteX382" fmla="*/ 554297 w 2663946"/>
                <a:gd name="connsiteY382" fmla="*/ 130544 h 410520"/>
                <a:gd name="connsiteX383" fmla="*/ 542744 w 2663946"/>
                <a:gd name="connsiteY383" fmla="*/ 132977 h 410520"/>
                <a:gd name="connsiteX384" fmla="*/ 539549 w 2663946"/>
                <a:gd name="connsiteY384" fmla="*/ 136492 h 410520"/>
                <a:gd name="connsiteX385" fmla="*/ 537337 w 2663946"/>
                <a:gd name="connsiteY385" fmla="*/ 140277 h 410520"/>
                <a:gd name="connsiteX386" fmla="*/ 536353 w 2663946"/>
                <a:gd name="connsiteY386" fmla="*/ 142981 h 410520"/>
                <a:gd name="connsiteX387" fmla="*/ 535370 w 2663946"/>
                <a:gd name="connsiteY387" fmla="*/ 147037 h 410520"/>
                <a:gd name="connsiteX388" fmla="*/ 534387 w 2663946"/>
                <a:gd name="connsiteY388" fmla="*/ 154067 h 410520"/>
                <a:gd name="connsiteX389" fmla="*/ 535370 w 2663946"/>
                <a:gd name="connsiteY389" fmla="*/ 161367 h 410520"/>
                <a:gd name="connsiteX390" fmla="*/ 536599 w 2663946"/>
                <a:gd name="connsiteY390" fmla="*/ 165152 h 410520"/>
                <a:gd name="connsiteX391" fmla="*/ 538811 w 2663946"/>
                <a:gd name="connsiteY391" fmla="*/ 169478 h 410520"/>
                <a:gd name="connsiteX392" fmla="*/ 542253 w 2663946"/>
                <a:gd name="connsiteY392" fmla="*/ 173805 h 410520"/>
                <a:gd name="connsiteX393" fmla="*/ 546677 w 2663946"/>
                <a:gd name="connsiteY393" fmla="*/ 176508 h 410520"/>
                <a:gd name="connsiteX394" fmla="*/ 558967 w 2663946"/>
                <a:gd name="connsiteY394" fmla="*/ 174075 h 410520"/>
                <a:gd name="connsiteX395" fmla="*/ 562163 w 2663946"/>
                <a:gd name="connsiteY395" fmla="*/ 170560 h 410520"/>
                <a:gd name="connsiteX396" fmla="*/ 564621 w 2663946"/>
                <a:gd name="connsiteY396" fmla="*/ 166234 h 410520"/>
                <a:gd name="connsiteX397" fmla="*/ 565604 w 2663946"/>
                <a:gd name="connsiteY397" fmla="*/ 164071 h 410520"/>
                <a:gd name="connsiteX398" fmla="*/ 566833 w 2663946"/>
                <a:gd name="connsiteY398" fmla="*/ 159745 h 410520"/>
                <a:gd name="connsiteX399" fmla="*/ 566341 w 2663946"/>
                <a:gd name="connsiteY399" fmla="*/ 145955 h 410520"/>
                <a:gd name="connsiteX400" fmla="*/ 565358 w 2663946"/>
                <a:gd name="connsiteY400" fmla="*/ 142981 h 410520"/>
                <a:gd name="connsiteX401" fmla="*/ 564129 w 2663946"/>
                <a:gd name="connsiteY401" fmla="*/ 140007 h 410520"/>
                <a:gd name="connsiteX402" fmla="*/ 561917 w 2663946"/>
                <a:gd name="connsiteY402" fmla="*/ 136492 h 410520"/>
                <a:gd name="connsiteX403" fmla="*/ 558230 w 2663946"/>
                <a:gd name="connsiteY403" fmla="*/ 132707 h 410520"/>
                <a:gd name="connsiteX404" fmla="*/ 554297 w 2663946"/>
                <a:gd name="connsiteY404" fmla="*/ 130544 h 410520"/>
                <a:gd name="connsiteX405" fmla="*/ 372346 w 2663946"/>
                <a:gd name="connsiteY405" fmla="*/ 130544 h 410520"/>
                <a:gd name="connsiteX406" fmla="*/ 360793 w 2663946"/>
                <a:gd name="connsiteY406" fmla="*/ 132977 h 410520"/>
                <a:gd name="connsiteX407" fmla="*/ 357598 w 2663946"/>
                <a:gd name="connsiteY407" fmla="*/ 136492 h 410520"/>
                <a:gd name="connsiteX408" fmla="*/ 355385 w 2663946"/>
                <a:gd name="connsiteY408" fmla="*/ 140277 h 410520"/>
                <a:gd name="connsiteX409" fmla="*/ 354402 w 2663946"/>
                <a:gd name="connsiteY409" fmla="*/ 142981 h 410520"/>
                <a:gd name="connsiteX410" fmla="*/ 353419 w 2663946"/>
                <a:gd name="connsiteY410" fmla="*/ 147037 h 410520"/>
                <a:gd name="connsiteX411" fmla="*/ 352436 w 2663946"/>
                <a:gd name="connsiteY411" fmla="*/ 154067 h 410520"/>
                <a:gd name="connsiteX412" fmla="*/ 353419 w 2663946"/>
                <a:gd name="connsiteY412" fmla="*/ 161367 h 410520"/>
                <a:gd name="connsiteX413" fmla="*/ 354648 w 2663946"/>
                <a:gd name="connsiteY413" fmla="*/ 165152 h 410520"/>
                <a:gd name="connsiteX414" fmla="*/ 356860 w 2663946"/>
                <a:gd name="connsiteY414" fmla="*/ 169478 h 410520"/>
                <a:gd name="connsiteX415" fmla="*/ 360301 w 2663946"/>
                <a:gd name="connsiteY415" fmla="*/ 173805 h 410520"/>
                <a:gd name="connsiteX416" fmla="*/ 364726 w 2663946"/>
                <a:gd name="connsiteY416" fmla="*/ 176508 h 410520"/>
                <a:gd name="connsiteX417" fmla="*/ 377016 w 2663946"/>
                <a:gd name="connsiteY417" fmla="*/ 174075 h 410520"/>
                <a:gd name="connsiteX418" fmla="*/ 380212 w 2663946"/>
                <a:gd name="connsiteY418" fmla="*/ 170560 h 410520"/>
                <a:gd name="connsiteX419" fmla="*/ 382670 w 2663946"/>
                <a:gd name="connsiteY419" fmla="*/ 166234 h 410520"/>
                <a:gd name="connsiteX420" fmla="*/ 383653 w 2663946"/>
                <a:gd name="connsiteY420" fmla="*/ 164071 h 410520"/>
                <a:gd name="connsiteX421" fmla="*/ 384882 w 2663946"/>
                <a:gd name="connsiteY421" fmla="*/ 159745 h 410520"/>
                <a:gd name="connsiteX422" fmla="*/ 384390 w 2663946"/>
                <a:gd name="connsiteY422" fmla="*/ 145955 h 410520"/>
                <a:gd name="connsiteX423" fmla="*/ 383407 w 2663946"/>
                <a:gd name="connsiteY423" fmla="*/ 142981 h 410520"/>
                <a:gd name="connsiteX424" fmla="*/ 382178 w 2663946"/>
                <a:gd name="connsiteY424" fmla="*/ 140007 h 410520"/>
                <a:gd name="connsiteX425" fmla="*/ 379966 w 2663946"/>
                <a:gd name="connsiteY425" fmla="*/ 136492 h 410520"/>
                <a:gd name="connsiteX426" fmla="*/ 376279 w 2663946"/>
                <a:gd name="connsiteY426" fmla="*/ 132707 h 410520"/>
                <a:gd name="connsiteX427" fmla="*/ 372346 w 2663946"/>
                <a:gd name="connsiteY427" fmla="*/ 130544 h 410520"/>
                <a:gd name="connsiteX428" fmla="*/ 129300 w 2663946"/>
                <a:gd name="connsiteY428" fmla="*/ 130544 h 410520"/>
                <a:gd name="connsiteX429" fmla="*/ 117747 w 2663946"/>
                <a:gd name="connsiteY429" fmla="*/ 132977 h 410520"/>
                <a:gd name="connsiteX430" fmla="*/ 114552 w 2663946"/>
                <a:gd name="connsiteY430" fmla="*/ 136492 h 410520"/>
                <a:gd name="connsiteX431" fmla="*/ 112340 w 2663946"/>
                <a:gd name="connsiteY431" fmla="*/ 140277 h 410520"/>
                <a:gd name="connsiteX432" fmla="*/ 111356 w 2663946"/>
                <a:gd name="connsiteY432" fmla="*/ 142981 h 410520"/>
                <a:gd name="connsiteX433" fmla="*/ 110373 w 2663946"/>
                <a:gd name="connsiteY433" fmla="*/ 147037 h 410520"/>
                <a:gd name="connsiteX434" fmla="*/ 109390 w 2663946"/>
                <a:gd name="connsiteY434" fmla="*/ 154067 h 410520"/>
                <a:gd name="connsiteX435" fmla="*/ 110373 w 2663946"/>
                <a:gd name="connsiteY435" fmla="*/ 161367 h 410520"/>
                <a:gd name="connsiteX436" fmla="*/ 111602 w 2663946"/>
                <a:gd name="connsiteY436" fmla="*/ 165152 h 410520"/>
                <a:gd name="connsiteX437" fmla="*/ 113814 w 2663946"/>
                <a:gd name="connsiteY437" fmla="*/ 169478 h 410520"/>
                <a:gd name="connsiteX438" fmla="*/ 117256 w 2663946"/>
                <a:gd name="connsiteY438" fmla="*/ 173805 h 410520"/>
                <a:gd name="connsiteX439" fmla="*/ 121680 w 2663946"/>
                <a:gd name="connsiteY439" fmla="*/ 176508 h 410520"/>
                <a:gd name="connsiteX440" fmla="*/ 133970 w 2663946"/>
                <a:gd name="connsiteY440" fmla="*/ 174075 h 410520"/>
                <a:gd name="connsiteX441" fmla="*/ 137166 w 2663946"/>
                <a:gd name="connsiteY441" fmla="*/ 170560 h 410520"/>
                <a:gd name="connsiteX442" fmla="*/ 139624 w 2663946"/>
                <a:gd name="connsiteY442" fmla="*/ 166234 h 410520"/>
                <a:gd name="connsiteX443" fmla="*/ 140607 w 2663946"/>
                <a:gd name="connsiteY443" fmla="*/ 164071 h 410520"/>
                <a:gd name="connsiteX444" fmla="*/ 141836 w 2663946"/>
                <a:gd name="connsiteY444" fmla="*/ 159745 h 410520"/>
                <a:gd name="connsiteX445" fmla="*/ 141344 w 2663946"/>
                <a:gd name="connsiteY445" fmla="*/ 145955 h 410520"/>
                <a:gd name="connsiteX446" fmla="*/ 140361 w 2663946"/>
                <a:gd name="connsiteY446" fmla="*/ 142981 h 410520"/>
                <a:gd name="connsiteX447" fmla="*/ 139132 w 2663946"/>
                <a:gd name="connsiteY447" fmla="*/ 140007 h 410520"/>
                <a:gd name="connsiteX448" fmla="*/ 136920 w 2663946"/>
                <a:gd name="connsiteY448" fmla="*/ 136492 h 410520"/>
                <a:gd name="connsiteX449" fmla="*/ 133233 w 2663946"/>
                <a:gd name="connsiteY449" fmla="*/ 132707 h 410520"/>
                <a:gd name="connsiteX450" fmla="*/ 129300 w 2663946"/>
                <a:gd name="connsiteY450" fmla="*/ 130544 h 410520"/>
                <a:gd name="connsiteX451" fmla="*/ 33147 w 2663946"/>
                <a:gd name="connsiteY451" fmla="*/ 126608 h 410520"/>
                <a:gd name="connsiteX452" fmla="*/ 21486 w 2663946"/>
                <a:gd name="connsiteY452" fmla="*/ 134337 h 410520"/>
                <a:gd name="connsiteX453" fmla="*/ 20561 w 2663946"/>
                <a:gd name="connsiteY453" fmla="*/ 138920 h 410520"/>
                <a:gd name="connsiteX454" fmla="*/ 23801 w 2663946"/>
                <a:gd name="connsiteY454" fmla="*/ 138920 h 410520"/>
                <a:gd name="connsiteX455" fmla="*/ 42218 w 2663946"/>
                <a:gd name="connsiteY455" fmla="*/ 138920 h 410520"/>
                <a:gd name="connsiteX456" fmla="*/ 45732 w 2663946"/>
                <a:gd name="connsiteY456" fmla="*/ 138920 h 410520"/>
                <a:gd name="connsiteX457" fmla="*/ 44807 w 2663946"/>
                <a:gd name="connsiteY457" fmla="*/ 134337 h 410520"/>
                <a:gd name="connsiteX458" fmla="*/ 33147 w 2663946"/>
                <a:gd name="connsiteY458" fmla="*/ 126608 h 410520"/>
                <a:gd name="connsiteX459" fmla="*/ 2537931 w 2663946"/>
                <a:gd name="connsiteY459" fmla="*/ 119020 h 410520"/>
                <a:gd name="connsiteX460" fmla="*/ 2526271 w 2663946"/>
                <a:gd name="connsiteY460" fmla="*/ 126749 h 410520"/>
                <a:gd name="connsiteX461" fmla="*/ 2525346 w 2663946"/>
                <a:gd name="connsiteY461" fmla="*/ 131332 h 410520"/>
                <a:gd name="connsiteX462" fmla="*/ 2528586 w 2663946"/>
                <a:gd name="connsiteY462" fmla="*/ 131332 h 410520"/>
                <a:gd name="connsiteX463" fmla="*/ 2547003 w 2663946"/>
                <a:gd name="connsiteY463" fmla="*/ 131332 h 410520"/>
                <a:gd name="connsiteX464" fmla="*/ 2550517 w 2663946"/>
                <a:gd name="connsiteY464" fmla="*/ 131332 h 410520"/>
                <a:gd name="connsiteX465" fmla="*/ 2549592 w 2663946"/>
                <a:gd name="connsiteY465" fmla="*/ 126749 h 410520"/>
                <a:gd name="connsiteX466" fmla="*/ 2537931 w 2663946"/>
                <a:gd name="connsiteY466" fmla="*/ 119020 h 410520"/>
                <a:gd name="connsiteX467" fmla="*/ 2112934 w 2663946"/>
                <a:gd name="connsiteY467" fmla="*/ 119020 h 410520"/>
                <a:gd name="connsiteX468" fmla="*/ 2101274 w 2663946"/>
                <a:gd name="connsiteY468" fmla="*/ 126749 h 410520"/>
                <a:gd name="connsiteX469" fmla="*/ 2100349 w 2663946"/>
                <a:gd name="connsiteY469" fmla="*/ 131332 h 410520"/>
                <a:gd name="connsiteX470" fmla="*/ 2103589 w 2663946"/>
                <a:gd name="connsiteY470" fmla="*/ 131332 h 410520"/>
                <a:gd name="connsiteX471" fmla="*/ 2122006 w 2663946"/>
                <a:gd name="connsiteY471" fmla="*/ 131332 h 410520"/>
                <a:gd name="connsiteX472" fmla="*/ 2125520 w 2663946"/>
                <a:gd name="connsiteY472" fmla="*/ 131332 h 410520"/>
                <a:gd name="connsiteX473" fmla="*/ 2124595 w 2663946"/>
                <a:gd name="connsiteY473" fmla="*/ 126749 h 410520"/>
                <a:gd name="connsiteX474" fmla="*/ 2112934 w 2663946"/>
                <a:gd name="connsiteY474" fmla="*/ 119020 h 410520"/>
                <a:gd name="connsiteX475" fmla="*/ 1854966 w 2663946"/>
                <a:gd name="connsiteY475" fmla="*/ 119020 h 410520"/>
                <a:gd name="connsiteX476" fmla="*/ 1843306 w 2663946"/>
                <a:gd name="connsiteY476" fmla="*/ 126749 h 410520"/>
                <a:gd name="connsiteX477" fmla="*/ 1842381 w 2663946"/>
                <a:gd name="connsiteY477" fmla="*/ 131332 h 410520"/>
                <a:gd name="connsiteX478" fmla="*/ 1845621 w 2663946"/>
                <a:gd name="connsiteY478" fmla="*/ 131332 h 410520"/>
                <a:gd name="connsiteX479" fmla="*/ 1864038 w 2663946"/>
                <a:gd name="connsiteY479" fmla="*/ 131332 h 410520"/>
                <a:gd name="connsiteX480" fmla="*/ 1867552 w 2663946"/>
                <a:gd name="connsiteY480" fmla="*/ 131332 h 410520"/>
                <a:gd name="connsiteX481" fmla="*/ 1866627 w 2663946"/>
                <a:gd name="connsiteY481" fmla="*/ 126749 h 410520"/>
                <a:gd name="connsiteX482" fmla="*/ 1854966 w 2663946"/>
                <a:gd name="connsiteY482" fmla="*/ 119020 h 410520"/>
                <a:gd name="connsiteX483" fmla="*/ 1764027 w 2663946"/>
                <a:gd name="connsiteY483" fmla="*/ 119020 h 410520"/>
                <a:gd name="connsiteX484" fmla="*/ 1752367 w 2663946"/>
                <a:gd name="connsiteY484" fmla="*/ 126749 h 410520"/>
                <a:gd name="connsiteX485" fmla="*/ 1751442 w 2663946"/>
                <a:gd name="connsiteY485" fmla="*/ 131332 h 410520"/>
                <a:gd name="connsiteX486" fmla="*/ 1754682 w 2663946"/>
                <a:gd name="connsiteY486" fmla="*/ 131332 h 410520"/>
                <a:gd name="connsiteX487" fmla="*/ 1773099 w 2663946"/>
                <a:gd name="connsiteY487" fmla="*/ 131332 h 410520"/>
                <a:gd name="connsiteX488" fmla="*/ 1776613 w 2663946"/>
                <a:gd name="connsiteY488" fmla="*/ 131332 h 410520"/>
                <a:gd name="connsiteX489" fmla="*/ 1775687 w 2663946"/>
                <a:gd name="connsiteY489" fmla="*/ 126749 h 410520"/>
                <a:gd name="connsiteX490" fmla="*/ 1764027 w 2663946"/>
                <a:gd name="connsiteY490" fmla="*/ 119020 h 410520"/>
                <a:gd name="connsiteX491" fmla="*/ 1506059 w 2663946"/>
                <a:gd name="connsiteY491" fmla="*/ 119020 h 410520"/>
                <a:gd name="connsiteX492" fmla="*/ 1494399 w 2663946"/>
                <a:gd name="connsiteY492" fmla="*/ 126749 h 410520"/>
                <a:gd name="connsiteX493" fmla="*/ 1493474 w 2663946"/>
                <a:gd name="connsiteY493" fmla="*/ 131332 h 410520"/>
                <a:gd name="connsiteX494" fmla="*/ 1496714 w 2663946"/>
                <a:gd name="connsiteY494" fmla="*/ 131332 h 410520"/>
                <a:gd name="connsiteX495" fmla="*/ 1515131 w 2663946"/>
                <a:gd name="connsiteY495" fmla="*/ 131332 h 410520"/>
                <a:gd name="connsiteX496" fmla="*/ 1518645 w 2663946"/>
                <a:gd name="connsiteY496" fmla="*/ 131332 h 410520"/>
                <a:gd name="connsiteX497" fmla="*/ 1517719 w 2663946"/>
                <a:gd name="connsiteY497" fmla="*/ 126749 h 410520"/>
                <a:gd name="connsiteX498" fmla="*/ 1506059 w 2663946"/>
                <a:gd name="connsiteY498" fmla="*/ 119020 h 410520"/>
                <a:gd name="connsiteX499" fmla="*/ 1415120 w 2663946"/>
                <a:gd name="connsiteY499" fmla="*/ 119020 h 410520"/>
                <a:gd name="connsiteX500" fmla="*/ 1403460 w 2663946"/>
                <a:gd name="connsiteY500" fmla="*/ 126749 h 410520"/>
                <a:gd name="connsiteX501" fmla="*/ 1402535 w 2663946"/>
                <a:gd name="connsiteY501" fmla="*/ 131332 h 410520"/>
                <a:gd name="connsiteX502" fmla="*/ 1405775 w 2663946"/>
                <a:gd name="connsiteY502" fmla="*/ 131332 h 410520"/>
                <a:gd name="connsiteX503" fmla="*/ 1424192 w 2663946"/>
                <a:gd name="connsiteY503" fmla="*/ 131332 h 410520"/>
                <a:gd name="connsiteX504" fmla="*/ 1427706 w 2663946"/>
                <a:gd name="connsiteY504" fmla="*/ 131332 h 410520"/>
                <a:gd name="connsiteX505" fmla="*/ 1426780 w 2663946"/>
                <a:gd name="connsiteY505" fmla="*/ 126749 h 410520"/>
                <a:gd name="connsiteX506" fmla="*/ 1415120 w 2663946"/>
                <a:gd name="connsiteY506" fmla="*/ 119020 h 410520"/>
                <a:gd name="connsiteX507" fmla="*/ 1157152 w 2663946"/>
                <a:gd name="connsiteY507" fmla="*/ 119020 h 410520"/>
                <a:gd name="connsiteX508" fmla="*/ 1145492 w 2663946"/>
                <a:gd name="connsiteY508" fmla="*/ 126749 h 410520"/>
                <a:gd name="connsiteX509" fmla="*/ 1144567 w 2663946"/>
                <a:gd name="connsiteY509" fmla="*/ 131332 h 410520"/>
                <a:gd name="connsiteX510" fmla="*/ 1147807 w 2663946"/>
                <a:gd name="connsiteY510" fmla="*/ 131332 h 410520"/>
                <a:gd name="connsiteX511" fmla="*/ 1166224 w 2663946"/>
                <a:gd name="connsiteY511" fmla="*/ 131332 h 410520"/>
                <a:gd name="connsiteX512" fmla="*/ 1169738 w 2663946"/>
                <a:gd name="connsiteY512" fmla="*/ 131332 h 410520"/>
                <a:gd name="connsiteX513" fmla="*/ 1168812 w 2663946"/>
                <a:gd name="connsiteY513" fmla="*/ 126749 h 410520"/>
                <a:gd name="connsiteX514" fmla="*/ 1157152 w 2663946"/>
                <a:gd name="connsiteY514" fmla="*/ 119020 h 410520"/>
                <a:gd name="connsiteX515" fmla="*/ 732156 w 2663946"/>
                <a:gd name="connsiteY515" fmla="*/ 119020 h 410520"/>
                <a:gd name="connsiteX516" fmla="*/ 720495 w 2663946"/>
                <a:gd name="connsiteY516" fmla="*/ 126749 h 410520"/>
                <a:gd name="connsiteX517" fmla="*/ 719570 w 2663946"/>
                <a:gd name="connsiteY517" fmla="*/ 131332 h 410520"/>
                <a:gd name="connsiteX518" fmla="*/ 722810 w 2663946"/>
                <a:gd name="connsiteY518" fmla="*/ 131332 h 410520"/>
                <a:gd name="connsiteX519" fmla="*/ 741228 w 2663946"/>
                <a:gd name="connsiteY519" fmla="*/ 131332 h 410520"/>
                <a:gd name="connsiteX520" fmla="*/ 744742 w 2663946"/>
                <a:gd name="connsiteY520" fmla="*/ 131332 h 410520"/>
                <a:gd name="connsiteX521" fmla="*/ 743816 w 2663946"/>
                <a:gd name="connsiteY521" fmla="*/ 126749 h 410520"/>
                <a:gd name="connsiteX522" fmla="*/ 732156 w 2663946"/>
                <a:gd name="connsiteY522" fmla="*/ 119020 h 410520"/>
                <a:gd name="connsiteX523" fmla="*/ 641217 w 2663946"/>
                <a:gd name="connsiteY523" fmla="*/ 119020 h 410520"/>
                <a:gd name="connsiteX524" fmla="*/ 629556 w 2663946"/>
                <a:gd name="connsiteY524" fmla="*/ 126749 h 410520"/>
                <a:gd name="connsiteX525" fmla="*/ 628631 w 2663946"/>
                <a:gd name="connsiteY525" fmla="*/ 131332 h 410520"/>
                <a:gd name="connsiteX526" fmla="*/ 631871 w 2663946"/>
                <a:gd name="connsiteY526" fmla="*/ 131332 h 410520"/>
                <a:gd name="connsiteX527" fmla="*/ 650289 w 2663946"/>
                <a:gd name="connsiteY527" fmla="*/ 131332 h 410520"/>
                <a:gd name="connsiteX528" fmla="*/ 653802 w 2663946"/>
                <a:gd name="connsiteY528" fmla="*/ 131332 h 410520"/>
                <a:gd name="connsiteX529" fmla="*/ 652877 w 2663946"/>
                <a:gd name="connsiteY529" fmla="*/ 126749 h 410520"/>
                <a:gd name="connsiteX530" fmla="*/ 641217 w 2663946"/>
                <a:gd name="connsiteY530" fmla="*/ 119020 h 410520"/>
                <a:gd name="connsiteX531" fmla="*/ 459266 w 2663946"/>
                <a:gd name="connsiteY531" fmla="*/ 119020 h 410520"/>
                <a:gd name="connsiteX532" fmla="*/ 447605 w 2663946"/>
                <a:gd name="connsiteY532" fmla="*/ 126749 h 410520"/>
                <a:gd name="connsiteX533" fmla="*/ 446680 w 2663946"/>
                <a:gd name="connsiteY533" fmla="*/ 131332 h 410520"/>
                <a:gd name="connsiteX534" fmla="*/ 449920 w 2663946"/>
                <a:gd name="connsiteY534" fmla="*/ 131332 h 410520"/>
                <a:gd name="connsiteX535" fmla="*/ 468337 w 2663946"/>
                <a:gd name="connsiteY535" fmla="*/ 131332 h 410520"/>
                <a:gd name="connsiteX536" fmla="*/ 471851 w 2663946"/>
                <a:gd name="connsiteY536" fmla="*/ 131332 h 410520"/>
                <a:gd name="connsiteX537" fmla="*/ 470926 w 2663946"/>
                <a:gd name="connsiteY537" fmla="*/ 126749 h 410520"/>
                <a:gd name="connsiteX538" fmla="*/ 459266 w 2663946"/>
                <a:gd name="connsiteY538" fmla="*/ 119020 h 410520"/>
                <a:gd name="connsiteX539" fmla="*/ 2361413 w 2663946"/>
                <a:gd name="connsiteY539" fmla="*/ 114660 h 410520"/>
                <a:gd name="connsiteX540" fmla="*/ 2365469 w 2663946"/>
                <a:gd name="connsiteY540" fmla="*/ 114660 h 410520"/>
                <a:gd name="connsiteX541" fmla="*/ 2370065 w 2663946"/>
                <a:gd name="connsiteY541" fmla="*/ 117094 h 410520"/>
                <a:gd name="connsiteX542" fmla="*/ 2372229 w 2663946"/>
                <a:gd name="connsiteY542" fmla="*/ 123312 h 410520"/>
                <a:gd name="connsiteX543" fmla="*/ 2372229 w 2663946"/>
                <a:gd name="connsiteY543" fmla="*/ 123853 h 410520"/>
                <a:gd name="connsiteX544" fmla="*/ 2372229 w 2663946"/>
                <a:gd name="connsiteY544" fmla="*/ 176848 h 410520"/>
                <a:gd name="connsiteX545" fmla="*/ 2372769 w 2663946"/>
                <a:gd name="connsiteY545" fmla="*/ 177388 h 410520"/>
                <a:gd name="connsiteX546" fmla="*/ 2380069 w 2663946"/>
                <a:gd name="connsiteY546" fmla="*/ 177388 h 410520"/>
                <a:gd name="connsiteX547" fmla="*/ 2384125 w 2663946"/>
                <a:gd name="connsiteY547" fmla="*/ 178470 h 410520"/>
                <a:gd name="connsiteX548" fmla="*/ 2387910 w 2663946"/>
                <a:gd name="connsiteY548" fmla="*/ 185229 h 410520"/>
                <a:gd name="connsiteX549" fmla="*/ 2385207 w 2663946"/>
                <a:gd name="connsiteY549" fmla="*/ 190907 h 410520"/>
                <a:gd name="connsiteX550" fmla="*/ 2381151 w 2663946"/>
                <a:gd name="connsiteY550" fmla="*/ 192800 h 410520"/>
                <a:gd name="connsiteX551" fmla="*/ 2380881 w 2663946"/>
                <a:gd name="connsiteY551" fmla="*/ 192800 h 410520"/>
                <a:gd name="connsiteX552" fmla="*/ 2380610 w 2663946"/>
                <a:gd name="connsiteY552" fmla="*/ 192800 h 410520"/>
                <a:gd name="connsiteX553" fmla="*/ 2380069 w 2663946"/>
                <a:gd name="connsiteY553" fmla="*/ 192800 h 410520"/>
                <a:gd name="connsiteX554" fmla="*/ 2347894 w 2663946"/>
                <a:gd name="connsiteY554" fmla="*/ 192800 h 410520"/>
                <a:gd name="connsiteX555" fmla="*/ 2347354 w 2663946"/>
                <a:gd name="connsiteY555" fmla="*/ 192800 h 410520"/>
                <a:gd name="connsiteX556" fmla="*/ 2346542 w 2663946"/>
                <a:gd name="connsiteY556" fmla="*/ 192800 h 410520"/>
                <a:gd name="connsiteX557" fmla="*/ 2345731 w 2663946"/>
                <a:gd name="connsiteY557" fmla="*/ 192530 h 410520"/>
                <a:gd name="connsiteX558" fmla="*/ 2342216 w 2663946"/>
                <a:gd name="connsiteY558" fmla="*/ 190637 h 410520"/>
                <a:gd name="connsiteX559" fmla="*/ 2339783 w 2663946"/>
                <a:gd name="connsiteY559" fmla="*/ 184959 h 410520"/>
                <a:gd name="connsiteX560" fmla="*/ 2341946 w 2663946"/>
                <a:gd name="connsiteY560" fmla="*/ 179822 h 410520"/>
                <a:gd name="connsiteX561" fmla="*/ 2347624 w 2663946"/>
                <a:gd name="connsiteY561" fmla="*/ 177388 h 410520"/>
                <a:gd name="connsiteX562" fmla="*/ 2355465 w 2663946"/>
                <a:gd name="connsiteY562" fmla="*/ 177388 h 410520"/>
                <a:gd name="connsiteX563" fmla="*/ 2356006 w 2663946"/>
                <a:gd name="connsiteY563" fmla="*/ 176848 h 410520"/>
                <a:gd name="connsiteX564" fmla="*/ 2356006 w 2663946"/>
                <a:gd name="connsiteY564" fmla="*/ 130883 h 410520"/>
                <a:gd name="connsiteX565" fmla="*/ 2355465 w 2663946"/>
                <a:gd name="connsiteY565" fmla="*/ 130342 h 410520"/>
                <a:gd name="connsiteX566" fmla="*/ 2349517 w 2663946"/>
                <a:gd name="connsiteY566" fmla="*/ 130342 h 410520"/>
                <a:gd name="connsiteX567" fmla="*/ 2342216 w 2663946"/>
                <a:gd name="connsiteY567" fmla="*/ 125746 h 410520"/>
                <a:gd name="connsiteX568" fmla="*/ 2341946 w 2663946"/>
                <a:gd name="connsiteY568" fmla="*/ 120068 h 410520"/>
                <a:gd name="connsiteX569" fmla="*/ 2349246 w 2663946"/>
                <a:gd name="connsiteY569" fmla="*/ 114931 h 410520"/>
                <a:gd name="connsiteX570" fmla="*/ 2361413 w 2663946"/>
                <a:gd name="connsiteY570" fmla="*/ 114660 h 410520"/>
                <a:gd name="connsiteX571" fmla="*/ 2285396 w 2663946"/>
                <a:gd name="connsiteY571" fmla="*/ 114660 h 410520"/>
                <a:gd name="connsiteX572" fmla="*/ 2289452 w 2663946"/>
                <a:gd name="connsiteY572" fmla="*/ 114660 h 410520"/>
                <a:gd name="connsiteX573" fmla="*/ 2294048 w 2663946"/>
                <a:gd name="connsiteY573" fmla="*/ 117094 h 410520"/>
                <a:gd name="connsiteX574" fmla="*/ 2296212 w 2663946"/>
                <a:gd name="connsiteY574" fmla="*/ 123312 h 410520"/>
                <a:gd name="connsiteX575" fmla="*/ 2296212 w 2663946"/>
                <a:gd name="connsiteY575" fmla="*/ 123853 h 410520"/>
                <a:gd name="connsiteX576" fmla="*/ 2296212 w 2663946"/>
                <a:gd name="connsiteY576" fmla="*/ 176848 h 410520"/>
                <a:gd name="connsiteX577" fmla="*/ 2296752 w 2663946"/>
                <a:gd name="connsiteY577" fmla="*/ 177388 h 410520"/>
                <a:gd name="connsiteX578" fmla="*/ 2304052 w 2663946"/>
                <a:gd name="connsiteY578" fmla="*/ 177388 h 410520"/>
                <a:gd name="connsiteX579" fmla="*/ 2308108 w 2663946"/>
                <a:gd name="connsiteY579" fmla="*/ 178470 h 410520"/>
                <a:gd name="connsiteX580" fmla="*/ 2311893 w 2663946"/>
                <a:gd name="connsiteY580" fmla="*/ 185229 h 410520"/>
                <a:gd name="connsiteX581" fmla="*/ 2309190 w 2663946"/>
                <a:gd name="connsiteY581" fmla="*/ 190907 h 410520"/>
                <a:gd name="connsiteX582" fmla="*/ 2305134 w 2663946"/>
                <a:gd name="connsiteY582" fmla="*/ 192800 h 410520"/>
                <a:gd name="connsiteX583" fmla="*/ 2304864 w 2663946"/>
                <a:gd name="connsiteY583" fmla="*/ 192800 h 410520"/>
                <a:gd name="connsiteX584" fmla="*/ 2304593 w 2663946"/>
                <a:gd name="connsiteY584" fmla="*/ 192800 h 410520"/>
                <a:gd name="connsiteX585" fmla="*/ 2304052 w 2663946"/>
                <a:gd name="connsiteY585" fmla="*/ 192800 h 410520"/>
                <a:gd name="connsiteX586" fmla="*/ 2271877 w 2663946"/>
                <a:gd name="connsiteY586" fmla="*/ 192800 h 410520"/>
                <a:gd name="connsiteX587" fmla="*/ 2271337 w 2663946"/>
                <a:gd name="connsiteY587" fmla="*/ 192800 h 410520"/>
                <a:gd name="connsiteX588" fmla="*/ 2270525 w 2663946"/>
                <a:gd name="connsiteY588" fmla="*/ 192800 h 410520"/>
                <a:gd name="connsiteX589" fmla="*/ 2269714 w 2663946"/>
                <a:gd name="connsiteY589" fmla="*/ 192530 h 410520"/>
                <a:gd name="connsiteX590" fmla="*/ 2266199 w 2663946"/>
                <a:gd name="connsiteY590" fmla="*/ 190637 h 410520"/>
                <a:gd name="connsiteX591" fmla="*/ 2263766 w 2663946"/>
                <a:gd name="connsiteY591" fmla="*/ 184959 h 410520"/>
                <a:gd name="connsiteX592" fmla="*/ 2265929 w 2663946"/>
                <a:gd name="connsiteY592" fmla="*/ 179822 h 410520"/>
                <a:gd name="connsiteX593" fmla="*/ 2271607 w 2663946"/>
                <a:gd name="connsiteY593" fmla="*/ 177388 h 410520"/>
                <a:gd name="connsiteX594" fmla="*/ 2279448 w 2663946"/>
                <a:gd name="connsiteY594" fmla="*/ 177388 h 410520"/>
                <a:gd name="connsiteX595" fmla="*/ 2279989 w 2663946"/>
                <a:gd name="connsiteY595" fmla="*/ 176848 h 410520"/>
                <a:gd name="connsiteX596" fmla="*/ 2279989 w 2663946"/>
                <a:gd name="connsiteY596" fmla="*/ 130883 h 410520"/>
                <a:gd name="connsiteX597" fmla="*/ 2279448 w 2663946"/>
                <a:gd name="connsiteY597" fmla="*/ 130342 h 410520"/>
                <a:gd name="connsiteX598" fmla="*/ 2273500 w 2663946"/>
                <a:gd name="connsiteY598" fmla="*/ 130342 h 410520"/>
                <a:gd name="connsiteX599" fmla="*/ 2266199 w 2663946"/>
                <a:gd name="connsiteY599" fmla="*/ 125746 h 410520"/>
                <a:gd name="connsiteX600" fmla="*/ 2265929 w 2663946"/>
                <a:gd name="connsiteY600" fmla="*/ 120068 h 410520"/>
                <a:gd name="connsiteX601" fmla="*/ 2273229 w 2663946"/>
                <a:gd name="connsiteY601" fmla="*/ 114931 h 410520"/>
                <a:gd name="connsiteX602" fmla="*/ 2285396 w 2663946"/>
                <a:gd name="connsiteY602" fmla="*/ 114660 h 410520"/>
                <a:gd name="connsiteX603" fmla="*/ 1936416 w 2663946"/>
                <a:gd name="connsiteY603" fmla="*/ 114660 h 410520"/>
                <a:gd name="connsiteX604" fmla="*/ 1940472 w 2663946"/>
                <a:gd name="connsiteY604" fmla="*/ 114660 h 410520"/>
                <a:gd name="connsiteX605" fmla="*/ 1945068 w 2663946"/>
                <a:gd name="connsiteY605" fmla="*/ 117094 h 410520"/>
                <a:gd name="connsiteX606" fmla="*/ 1947232 w 2663946"/>
                <a:gd name="connsiteY606" fmla="*/ 123312 h 410520"/>
                <a:gd name="connsiteX607" fmla="*/ 1947232 w 2663946"/>
                <a:gd name="connsiteY607" fmla="*/ 123853 h 410520"/>
                <a:gd name="connsiteX608" fmla="*/ 1947232 w 2663946"/>
                <a:gd name="connsiteY608" fmla="*/ 176848 h 410520"/>
                <a:gd name="connsiteX609" fmla="*/ 1947772 w 2663946"/>
                <a:gd name="connsiteY609" fmla="*/ 177388 h 410520"/>
                <a:gd name="connsiteX610" fmla="*/ 1955072 w 2663946"/>
                <a:gd name="connsiteY610" fmla="*/ 177388 h 410520"/>
                <a:gd name="connsiteX611" fmla="*/ 1959128 w 2663946"/>
                <a:gd name="connsiteY611" fmla="*/ 178470 h 410520"/>
                <a:gd name="connsiteX612" fmla="*/ 1962913 w 2663946"/>
                <a:gd name="connsiteY612" fmla="*/ 185229 h 410520"/>
                <a:gd name="connsiteX613" fmla="*/ 1960210 w 2663946"/>
                <a:gd name="connsiteY613" fmla="*/ 190907 h 410520"/>
                <a:gd name="connsiteX614" fmla="*/ 1956154 w 2663946"/>
                <a:gd name="connsiteY614" fmla="*/ 192800 h 410520"/>
                <a:gd name="connsiteX615" fmla="*/ 1955884 w 2663946"/>
                <a:gd name="connsiteY615" fmla="*/ 192800 h 410520"/>
                <a:gd name="connsiteX616" fmla="*/ 1955613 w 2663946"/>
                <a:gd name="connsiteY616" fmla="*/ 192800 h 410520"/>
                <a:gd name="connsiteX617" fmla="*/ 1955072 w 2663946"/>
                <a:gd name="connsiteY617" fmla="*/ 192800 h 410520"/>
                <a:gd name="connsiteX618" fmla="*/ 1922897 w 2663946"/>
                <a:gd name="connsiteY618" fmla="*/ 192800 h 410520"/>
                <a:gd name="connsiteX619" fmla="*/ 1922357 w 2663946"/>
                <a:gd name="connsiteY619" fmla="*/ 192800 h 410520"/>
                <a:gd name="connsiteX620" fmla="*/ 1921545 w 2663946"/>
                <a:gd name="connsiteY620" fmla="*/ 192800 h 410520"/>
                <a:gd name="connsiteX621" fmla="*/ 1920734 w 2663946"/>
                <a:gd name="connsiteY621" fmla="*/ 192530 h 410520"/>
                <a:gd name="connsiteX622" fmla="*/ 1917219 w 2663946"/>
                <a:gd name="connsiteY622" fmla="*/ 190637 h 410520"/>
                <a:gd name="connsiteX623" fmla="*/ 1914786 w 2663946"/>
                <a:gd name="connsiteY623" fmla="*/ 184959 h 410520"/>
                <a:gd name="connsiteX624" fmla="*/ 1916949 w 2663946"/>
                <a:gd name="connsiteY624" fmla="*/ 179822 h 410520"/>
                <a:gd name="connsiteX625" fmla="*/ 1922627 w 2663946"/>
                <a:gd name="connsiteY625" fmla="*/ 177388 h 410520"/>
                <a:gd name="connsiteX626" fmla="*/ 1930468 w 2663946"/>
                <a:gd name="connsiteY626" fmla="*/ 177388 h 410520"/>
                <a:gd name="connsiteX627" fmla="*/ 1931009 w 2663946"/>
                <a:gd name="connsiteY627" fmla="*/ 176848 h 410520"/>
                <a:gd name="connsiteX628" fmla="*/ 1931009 w 2663946"/>
                <a:gd name="connsiteY628" fmla="*/ 130883 h 410520"/>
                <a:gd name="connsiteX629" fmla="*/ 1930468 w 2663946"/>
                <a:gd name="connsiteY629" fmla="*/ 130342 h 410520"/>
                <a:gd name="connsiteX630" fmla="*/ 1924520 w 2663946"/>
                <a:gd name="connsiteY630" fmla="*/ 130342 h 410520"/>
                <a:gd name="connsiteX631" fmla="*/ 1917219 w 2663946"/>
                <a:gd name="connsiteY631" fmla="*/ 125746 h 410520"/>
                <a:gd name="connsiteX632" fmla="*/ 1916949 w 2663946"/>
                <a:gd name="connsiteY632" fmla="*/ 120068 h 410520"/>
                <a:gd name="connsiteX633" fmla="*/ 1924249 w 2663946"/>
                <a:gd name="connsiteY633" fmla="*/ 114931 h 410520"/>
                <a:gd name="connsiteX634" fmla="*/ 1936416 w 2663946"/>
                <a:gd name="connsiteY634" fmla="*/ 114660 h 410520"/>
                <a:gd name="connsiteX635" fmla="*/ 1678521 w 2663946"/>
                <a:gd name="connsiteY635" fmla="*/ 114660 h 410520"/>
                <a:gd name="connsiteX636" fmla="*/ 1682577 w 2663946"/>
                <a:gd name="connsiteY636" fmla="*/ 114660 h 410520"/>
                <a:gd name="connsiteX637" fmla="*/ 1687173 w 2663946"/>
                <a:gd name="connsiteY637" fmla="*/ 117094 h 410520"/>
                <a:gd name="connsiteX638" fmla="*/ 1689336 w 2663946"/>
                <a:gd name="connsiteY638" fmla="*/ 123312 h 410520"/>
                <a:gd name="connsiteX639" fmla="*/ 1689336 w 2663946"/>
                <a:gd name="connsiteY639" fmla="*/ 123853 h 410520"/>
                <a:gd name="connsiteX640" fmla="*/ 1689336 w 2663946"/>
                <a:gd name="connsiteY640" fmla="*/ 176848 h 410520"/>
                <a:gd name="connsiteX641" fmla="*/ 1689877 w 2663946"/>
                <a:gd name="connsiteY641" fmla="*/ 177388 h 410520"/>
                <a:gd name="connsiteX642" fmla="*/ 1697177 w 2663946"/>
                <a:gd name="connsiteY642" fmla="*/ 177388 h 410520"/>
                <a:gd name="connsiteX643" fmla="*/ 1701233 w 2663946"/>
                <a:gd name="connsiteY643" fmla="*/ 178470 h 410520"/>
                <a:gd name="connsiteX644" fmla="*/ 1705018 w 2663946"/>
                <a:gd name="connsiteY644" fmla="*/ 185229 h 410520"/>
                <a:gd name="connsiteX645" fmla="*/ 1702315 w 2663946"/>
                <a:gd name="connsiteY645" fmla="*/ 190907 h 410520"/>
                <a:gd name="connsiteX646" fmla="*/ 1698259 w 2663946"/>
                <a:gd name="connsiteY646" fmla="*/ 192800 h 410520"/>
                <a:gd name="connsiteX647" fmla="*/ 1697989 w 2663946"/>
                <a:gd name="connsiteY647" fmla="*/ 192800 h 410520"/>
                <a:gd name="connsiteX648" fmla="*/ 1697718 w 2663946"/>
                <a:gd name="connsiteY648" fmla="*/ 192800 h 410520"/>
                <a:gd name="connsiteX649" fmla="*/ 1697177 w 2663946"/>
                <a:gd name="connsiteY649" fmla="*/ 192800 h 410520"/>
                <a:gd name="connsiteX650" fmla="*/ 1665002 w 2663946"/>
                <a:gd name="connsiteY650" fmla="*/ 192800 h 410520"/>
                <a:gd name="connsiteX651" fmla="*/ 1664462 w 2663946"/>
                <a:gd name="connsiteY651" fmla="*/ 192800 h 410520"/>
                <a:gd name="connsiteX652" fmla="*/ 1663650 w 2663946"/>
                <a:gd name="connsiteY652" fmla="*/ 192800 h 410520"/>
                <a:gd name="connsiteX653" fmla="*/ 1662839 w 2663946"/>
                <a:gd name="connsiteY653" fmla="*/ 192530 h 410520"/>
                <a:gd name="connsiteX654" fmla="*/ 1659324 w 2663946"/>
                <a:gd name="connsiteY654" fmla="*/ 190637 h 410520"/>
                <a:gd name="connsiteX655" fmla="*/ 1656891 w 2663946"/>
                <a:gd name="connsiteY655" fmla="*/ 184959 h 410520"/>
                <a:gd name="connsiteX656" fmla="*/ 1659054 w 2663946"/>
                <a:gd name="connsiteY656" fmla="*/ 179822 h 410520"/>
                <a:gd name="connsiteX657" fmla="*/ 1664732 w 2663946"/>
                <a:gd name="connsiteY657" fmla="*/ 177388 h 410520"/>
                <a:gd name="connsiteX658" fmla="*/ 1672573 w 2663946"/>
                <a:gd name="connsiteY658" fmla="*/ 177388 h 410520"/>
                <a:gd name="connsiteX659" fmla="*/ 1673114 w 2663946"/>
                <a:gd name="connsiteY659" fmla="*/ 176848 h 410520"/>
                <a:gd name="connsiteX660" fmla="*/ 1673114 w 2663946"/>
                <a:gd name="connsiteY660" fmla="*/ 130883 h 410520"/>
                <a:gd name="connsiteX661" fmla="*/ 1672573 w 2663946"/>
                <a:gd name="connsiteY661" fmla="*/ 130342 h 410520"/>
                <a:gd name="connsiteX662" fmla="*/ 1666625 w 2663946"/>
                <a:gd name="connsiteY662" fmla="*/ 130342 h 410520"/>
                <a:gd name="connsiteX663" fmla="*/ 1659324 w 2663946"/>
                <a:gd name="connsiteY663" fmla="*/ 125746 h 410520"/>
                <a:gd name="connsiteX664" fmla="*/ 1659054 w 2663946"/>
                <a:gd name="connsiteY664" fmla="*/ 120068 h 410520"/>
                <a:gd name="connsiteX665" fmla="*/ 1666354 w 2663946"/>
                <a:gd name="connsiteY665" fmla="*/ 114931 h 410520"/>
                <a:gd name="connsiteX666" fmla="*/ 1678521 w 2663946"/>
                <a:gd name="connsiteY666" fmla="*/ 114660 h 410520"/>
                <a:gd name="connsiteX667" fmla="*/ 1329614 w 2663946"/>
                <a:gd name="connsiteY667" fmla="*/ 114660 h 410520"/>
                <a:gd name="connsiteX668" fmla="*/ 1333670 w 2663946"/>
                <a:gd name="connsiteY668" fmla="*/ 114660 h 410520"/>
                <a:gd name="connsiteX669" fmla="*/ 1338266 w 2663946"/>
                <a:gd name="connsiteY669" fmla="*/ 117094 h 410520"/>
                <a:gd name="connsiteX670" fmla="*/ 1340429 w 2663946"/>
                <a:gd name="connsiteY670" fmla="*/ 123312 h 410520"/>
                <a:gd name="connsiteX671" fmla="*/ 1340429 w 2663946"/>
                <a:gd name="connsiteY671" fmla="*/ 123853 h 410520"/>
                <a:gd name="connsiteX672" fmla="*/ 1340429 w 2663946"/>
                <a:gd name="connsiteY672" fmla="*/ 176848 h 410520"/>
                <a:gd name="connsiteX673" fmla="*/ 1340970 w 2663946"/>
                <a:gd name="connsiteY673" fmla="*/ 177388 h 410520"/>
                <a:gd name="connsiteX674" fmla="*/ 1348270 w 2663946"/>
                <a:gd name="connsiteY674" fmla="*/ 177388 h 410520"/>
                <a:gd name="connsiteX675" fmla="*/ 1352326 w 2663946"/>
                <a:gd name="connsiteY675" fmla="*/ 178470 h 410520"/>
                <a:gd name="connsiteX676" fmla="*/ 1356111 w 2663946"/>
                <a:gd name="connsiteY676" fmla="*/ 185229 h 410520"/>
                <a:gd name="connsiteX677" fmla="*/ 1353408 w 2663946"/>
                <a:gd name="connsiteY677" fmla="*/ 190907 h 410520"/>
                <a:gd name="connsiteX678" fmla="*/ 1349352 w 2663946"/>
                <a:gd name="connsiteY678" fmla="*/ 192800 h 410520"/>
                <a:gd name="connsiteX679" fmla="*/ 1349082 w 2663946"/>
                <a:gd name="connsiteY679" fmla="*/ 192800 h 410520"/>
                <a:gd name="connsiteX680" fmla="*/ 1348811 w 2663946"/>
                <a:gd name="connsiteY680" fmla="*/ 192800 h 410520"/>
                <a:gd name="connsiteX681" fmla="*/ 1348270 w 2663946"/>
                <a:gd name="connsiteY681" fmla="*/ 192800 h 410520"/>
                <a:gd name="connsiteX682" fmla="*/ 1316095 w 2663946"/>
                <a:gd name="connsiteY682" fmla="*/ 192800 h 410520"/>
                <a:gd name="connsiteX683" fmla="*/ 1315555 w 2663946"/>
                <a:gd name="connsiteY683" fmla="*/ 192800 h 410520"/>
                <a:gd name="connsiteX684" fmla="*/ 1314743 w 2663946"/>
                <a:gd name="connsiteY684" fmla="*/ 192800 h 410520"/>
                <a:gd name="connsiteX685" fmla="*/ 1313932 w 2663946"/>
                <a:gd name="connsiteY685" fmla="*/ 192530 h 410520"/>
                <a:gd name="connsiteX686" fmla="*/ 1310417 w 2663946"/>
                <a:gd name="connsiteY686" fmla="*/ 190637 h 410520"/>
                <a:gd name="connsiteX687" fmla="*/ 1307984 w 2663946"/>
                <a:gd name="connsiteY687" fmla="*/ 184959 h 410520"/>
                <a:gd name="connsiteX688" fmla="*/ 1310147 w 2663946"/>
                <a:gd name="connsiteY688" fmla="*/ 179822 h 410520"/>
                <a:gd name="connsiteX689" fmla="*/ 1315825 w 2663946"/>
                <a:gd name="connsiteY689" fmla="*/ 177388 h 410520"/>
                <a:gd name="connsiteX690" fmla="*/ 1323666 w 2663946"/>
                <a:gd name="connsiteY690" fmla="*/ 177388 h 410520"/>
                <a:gd name="connsiteX691" fmla="*/ 1324207 w 2663946"/>
                <a:gd name="connsiteY691" fmla="*/ 176848 h 410520"/>
                <a:gd name="connsiteX692" fmla="*/ 1324207 w 2663946"/>
                <a:gd name="connsiteY692" fmla="*/ 130883 h 410520"/>
                <a:gd name="connsiteX693" fmla="*/ 1323666 w 2663946"/>
                <a:gd name="connsiteY693" fmla="*/ 130342 h 410520"/>
                <a:gd name="connsiteX694" fmla="*/ 1317718 w 2663946"/>
                <a:gd name="connsiteY694" fmla="*/ 130342 h 410520"/>
                <a:gd name="connsiteX695" fmla="*/ 1310417 w 2663946"/>
                <a:gd name="connsiteY695" fmla="*/ 125746 h 410520"/>
                <a:gd name="connsiteX696" fmla="*/ 1310147 w 2663946"/>
                <a:gd name="connsiteY696" fmla="*/ 120068 h 410520"/>
                <a:gd name="connsiteX697" fmla="*/ 1317447 w 2663946"/>
                <a:gd name="connsiteY697" fmla="*/ 114931 h 410520"/>
                <a:gd name="connsiteX698" fmla="*/ 1329614 w 2663946"/>
                <a:gd name="connsiteY698" fmla="*/ 114660 h 410520"/>
                <a:gd name="connsiteX699" fmla="*/ 980634 w 2663946"/>
                <a:gd name="connsiteY699" fmla="*/ 114660 h 410520"/>
                <a:gd name="connsiteX700" fmla="*/ 984690 w 2663946"/>
                <a:gd name="connsiteY700" fmla="*/ 114660 h 410520"/>
                <a:gd name="connsiteX701" fmla="*/ 989286 w 2663946"/>
                <a:gd name="connsiteY701" fmla="*/ 117094 h 410520"/>
                <a:gd name="connsiteX702" fmla="*/ 991449 w 2663946"/>
                <a:gd name="connsiteY702" fmla="*/ 123312 h 410520"/>
                <a:gd name="connsiteX703" fmla="*/ 991449 w 2663946"/>
                <a:gd name="connsiteY703" fmla="*/ 123853 h 410520"/>
                <a:gd name="connsiteX704" fmla="*/ 991449 w 2663946"/>
                <a:gd name="connsiteY704" fmla="*/ 176848 h 410520"/>
                <a:gd name="connsiteX705" fmla="*/ 991990 w 2663946"/>
                <a:gd name="connsiteY705" fmla="*/ 177388 h 410520"/>
                <a:gd name="connsiteX706" fmla="*/ 999290 w 2663946"/>
                <a:gd name="connsiteY706" fmla="*/ 177388 h 410520"/>
                <a:gd name="connsiteX707" fmla="*/ 1003346 w 2663946"/>
                <a:gd name="connsiteY707" fmla="*/ 178470 h 410520"/>
                <a:gd name="connsiteX708" fmla="*/ 1007131 w 2663946"/>
                <a:gd name="connsiteY708" fmla="*/ 185229 h 410520"/>
                <a:gd name="connsiteX709" fmla="*/ 1004428 w 2663946"/>
                <a:gd name="connsiteY709" fmla="*/ 190907 h 410520"/>
                <a:gd name="connsiteX710" fmla="*/ 1000372 w 2663946"/>
                <a:gd name="connsiteY710" fmla="*/ 192800 h 410520"/>
                <a:gd name="connsiteX711" fmla="*/ 1000102 w 2663946"/>
                <a:gd name="connsiteY711" fmla="*/ 192800 h 410520"/>
                <a:gd name="connsiteX712" fmla="*/ 999831 w 2663946"/>
                <a:gd name="connsiteY712" fmla="*/ 192800 h 410520"/>
                <a:gd name="connsiteX713" fmla="*/ 999290 w 2663946"/>
                <a:gd name="connsiteY713" fmla="*/ 192800 h 410520"/>
                <a:gd name="connsiteX714" fmla="*/ 967115 w 2663946"/>
                <a:gd name="connsiteY714" fmla="*/ 192800 h 410520"/>
                <a:gd name="connsiteX715" fmla="*/ 966575 w 2663946"/>
                <a:gd name="connsiteY715" fmla="*/ 192800 h 410520"/>
                <a:gd name="connsiteX716" fmla="*/ 965763 w 2663946"/>
                <a:gd name="connsiteY716" fmla="*/ 192800 h 410520"/>
                <a:gd name="connsiteX717" fmla="*/ 964952 w 2663946"/>
                <a:gd name="connsiteY717" fmla="*/ 192530 h 410520"/>
                <a:gd name="connsiteX718" fmla="*/ 961437 w 2663946"/>
                <a:gd name="connsiteY718" fmla="*/ 190637 h 410520"/>
                <a:gd name="connsiteX719" fmla="*/ 959004 w 2663946"/>
                <a:gd name="connsiteY719" fmla="*/ 184959 h 410520"/>
                <a:gd name="connsiteX720" fmla="*/ 961167 w 2663946"/>
                <a:gd name="connsiteY720" fmla="*/ 179822 h 410520"/>
                <a:gd name="connsiteX721" fmla="*/ 966845 w 2663946"/>
                <a:gd name="connsiteY721" fmla="*/ 177388 h 410520"/>
                <a:gd name="connsiteX722" fmla="*/ 974686 w 2663946"/>
                <a:gd name="connsiteY722" fmla="*/ 177388 h 410520"/>
                <a:gd name="connsiteX723" fmla="*/ 975227 w 2663946"/>
                <a:gd name="connsiteY723" fmla="*/ 176848 h 410520"/>
                <a:gd name="connsiteX724" fmla="*/ 975227 w 2663946"/>
                <a:gd name="connsiteY724" fmla="*/ 130883 h 410520"/>
                <a:gd name="connsiteX725" fmla="*/ 974686 w 2663946"/>
                <a:gd name="connsiteY725" fmla="*/ 130342 h 410520"/>
                <a:gd name="connsiteX726" fmla="*/ 968738 w 2663946"/>
                <a:gd name="connsiteY726" fmla="*/ 130342 h 410520"/>
                <a:gd name="connsiteX727" fmla="*/ 961437 w 2663946"/>
                <a:gd name="connsiteY727" fmla="*/ 125746 h 410520"/>
                <a:gd name="connsiteX728" fmla="*/ 961167 w 2663946"/>
                <a:gd name="connsiteY728" fmla="*/ 120068 h 410520"/>
                <a:gd name="connsiteX729" fmla="*/ 968467 w 2663946"/>
                <a:gd name="connsiteY729" fmla="*/ 114931 h 410520"/>
                <a:gd name="connsiteX730" fmla="*/ 980634 w 2663946"/>
                <a:gd name="connsiteY730" fmla="*/ 114660 h 410520"/>
                <a:gd name="connsiteX731" fmla="*/ 813605 w 2663946"/>
                <a:gd name="connsiteY731" fmla="*/ 114660 h 410520"/>
                <a:gd name="connsiteX732" fmla="*/ 817661 w 2663946"/>
                <a:gd name="connsiteY732" fmla="*/ 114660 h 410520"/>
                <a:gd name="connsiteX733" fmla="*/ 822257 w 2663946"/>
                <a:gd name="connsiteY733" fmla="*/ 117094 h 410520"/>
                <a:gd name="connsiteX734" fmla="*/ 824420 w 2663946"/>
                <a:gd name="connsiteY734" fmla="*/ 123312 h 410520"/>
                <a:gd name="connsiteX735" fmla="*/ 824420 w 2663946"/>
                <a:gd name="connsiteY735" fmla="*/ 123853 h 410520"/>
                <a:gd name="connsiteX736" fmla="*/ 824420 w 2663946"/>
                <a:gd name="connsiteY736" fmla="*/ 176848 h 410520"/>
                <a:gd name="connsiteX737" fmla="*/ 824961 w 2663946"/>
                <a:gd name="connsiteY737" fmla="*/ 177388 h 410520"/>
                <a:gd name="connsiteX738" fmla="*/ 832261 w 2663946"/>
                <a:gd name="connsiteY738" fmla="*/ 177388 h 410520"/>
                <a:gd name="connsiteX739" fmla="*/ 836317 w 2663946"/>
                <a:gd name="connsiteY739" fmla="*/ 178470 h 410520"/>
                <a:gd name="connsiteX740" fmla="*/ 840102 w 2663946"/>
                <a:gd name="connsiteY740" fmla="*/ 185229 h 410520"/>
                <a:gd name="connsiteX741" fmla="*/ 837399 w 2663946"/>
                <a:gd name="connsiteY741" fmla="*/ 190907 h 410520"/>
                <a:gd name="connsiteX742" fmla="*/ 833343 w 2663946"/>
                <a:gd name="connsiteY742" fmla="*/ 192800 h 410520"/>
                <a:gd name="connsiteX743" fmla="*/ 833073 w 2663946"/>
                <a:gd name="connsiteY743" fmla="*/ 192800 h 410520"/>
                <a:gd name="connsiteX744" fmla="*/ 832802 w 2663946"/>
                <a:gd name="connsiteY744" fmla="*/ 192800 h 410520"/>
                <a:gd name="connsiteX745" fmla="*/ 832261 w 2663946"/>
                <a:gd name="connsiteY745" fmla="*/ 192800 h 410520"/>
                <a:gd name="connsiteX746" fmla="*/ 800086 w 2663946"/>
                <a:gd name="connsiteY746" fmla="*/ 192800 h 410520"/>
                <a:gd name="connsiteX747" fmla="*/ 799546 w 2663946"/>
                <a:gd name="connsiteY747" fmla="*/ 192800 h 410520"/>
                <a:gd name="connsiteX748" fmla="*/ 798734 w 2663946"/>
                <a:gd name="connsiteY748" fmla="*/ 192800 h 410520"/>
                <a:gd name="connsiteX749" fmla="*/ 797923 w 2663946"/>
                <a:gd name="connsiteY749" fmla="*/ 192530 h 410520"/>
                <a:gd name="connsiteX750" fmla="*/ 794408 w 2663946"/>
                <a:gd name="connsiteY750" fmla="*/ 190637 h 410520"/>
                <a:gd name="connsiteX751" fmla="*/ 791975 w 2663946"/>
                <a:gd name="connsiteY751" fmla="*/ 184959 h 410520"/>
                <a:gd name="connsiteX752" fmla="*/ 794138 w 2663946"/>
                <a:gd name="connsiteY752" fmla="*/ 179822 h 410520"/>
                <a:gd name="connsiteX753" fmla="*/ 799816 w 2663946"/>
                <a:gd name="connsiteY753" fmla="*/ 177388 h 410520"/>
                <a:gd name="connsiteX754" fmla="*/ 807657 w 2663946"/>
                <a:gd name="connsiteY754" fmla="*/ 177388 h 410520"/>
                <a:gd name="connsiteX755" fmla="*/ 808198 w 2663946"/>
                <a:gd name="connsiteY755" fmla="*/ 176848 h 410520"/>
                <a:gd name="connsiteX756" fmla="*/ 808198 w 2663946"/>
                <a:gd name="connsiteY756" fmla="*/ 130883 h 410520"/>
                <a:gd name="connsiteX757" fmla="*/ 807657 w 2663946"/>
                <a:gd name="connsiteY757" fmla="*/ 130342 h 410520"/>
                <a:gd name="connsiteX758" fmla="*/ 801709 w 2663946"/>
                <a:gd name="connsiteY758" fmla="*/ 130342 h 410520"/>
                <a:gd name="connsiteX759" fmla="*/ 794408 w 2663946"/>
                <a:gd name="connsiteY759" fmla="*/ 125746 h 410520"/>
                <a:gd name="connsiteX760" fmla="*/ 794138 w 2663946"/>
                <a:gd name="connsiteY760" fmla="*/ 120068 h 410520"/>
                <a:gd name="connsiteX761" fmla="*/ 801438 w 2663946"/>
                <a:gd name="connsiteY761" fmla="*/ 114931 h 410520"/>
                <a:gd name="connsiteX762" fmla="*/ 813605 w 2663946"/>
                <a:gd name="connsiteY762" fmla="*/ 114660 h 410520"/>
                <a:gd name="connsiteX763" fmla="*/ 282748 w 2663946"/>
                <a:gd name="connsiteY763" fmla="*/ 114660 h 410520"/>
                <a:gd name="connsiteX764" fmla="*/ 286803 w 2663946"/>
                <a:gd name="connsiteY764" fmla="*/ 114660 h 410520"/>
                <a:gd name="connsiteX765" fmla="*/ 291400 w 2663946"/>
                <a:gd name="connsiteY765" fmla="*/ 117094 h 410520"/>
                <a:gd name="connsiteX766" fmla="*/ 293563 w 2663946"/>
                <a:gd name="connsiteY766" fmla="*/ 123312 h 410520"/>
                <a:gd name="connsiteX767" fmla="*/ 293563 w 2663946"/>
                <a:gd name="connsiteY767" fmla="*/ 123853 h 410520"/>
                <a:gd name="connsiteX768" fmla="*/ 293563 w 2663946"/>
                <a:gd name="connsiteY768" fmla="*/ 176848 h 410520"/>
                <a:gd name="connsiteX769" fmla="*/ 294104 w 2663946"/>
                <a:gd name="connsiteY769" fmla="*/ 177388 h 410520"/>
                <a:gd name="connsiteX770" fmla="*/ 301404 w 2663946"/>
                <a:gd name="connsiteY770" fmla="*/ 177388 h 410520"/>
                <a:gd name="connsiteX771" fmla="*/ 305460 w 2663946"/>
                <a:gd name="connsiteY771" fmla="*/ 178470 h 410520"/>
                <a:gd name="connsiteX772" fmla="*/ 309245 w 2663946"/>
                <a:gd name="connsiteY772" fmla="*/ 185229 h 410520"/>
                <a:gd name="connsiteX773" fmla="*/ 306541 w 2663946"/>
                <a:gd name="connsiteY773" fmla="*/ 190907 h 410520"/>
                <a:gd name="connsiteX774" fmla="*/ 302485 w 2663946"/>
                <a:gd name="connsiteY774" fmla="*/ 192800 h 410520"/>
                <a:gd name="connsiteX775" fmla="*/ 302215 w 2663946"/>
                <a:gd name="connsiteY775" fmla="*/ 192800 h 410520"/>
                <a:gd name="connsiteX776" fmla="*/ 301945 w 2663946"/>
                <a:gd name="connsiteY776" fmla="*/ 192800 h 410520"/>
                <a:gd name="connsiteX777" fmla="*/ 301404 w 2663946"/>
                <a:gd name="connsiteY777" fmla="*/ 192800 h 410520"/>
                <a:gd name="connsiteX778" fmla="*/ 269229 w 2663946"/>
                <a:gd name="connsiteY778" fmla="*/ 192800 h 410520"/>
                <a:gd name="connsiteX779" fmla="*/ 268688 w 2663946"/>
                <a:gd name="connsiteY779" fmla="*/ 192800 h 410520"/>
                <a:gd name="connsiteX780" fmla="*/ 267877 w 2663946"/>
                <a:gd name="connsiteY780" fmla="*/ 192800 h 410520"/>
                <a:gd name="connsiteX781" fmla="*/ 267066 w 2663946"/>
                <a:gd name="connsiteY781" fmla="*/ 192530 h 410520"/>
                <a:gd name="connsiteX782" fmla="*/ 263551 w 2663946"/>
                <a:gd name="connsiteY782" fmla="*/ 190637 h 410520"/>
                <a:gd name="connsiteX783" fmla="*/ 261117 w 2663946"/>
                <a:gd name="connsiteY783" fmla="*/ 184959 h 410520"/>
                <a:gd name="connsiteX784" fmla="*/ 263281 w 2663946"/>
                <a:gd name="connsiteY784" fmla="*/ 179822 h 410520"/>
                <a:gd name="connsiteX785" fmla="*/ 268958 w 2663946"/>
                <a:gd name="connsiteY785" fmla="*/ 177388 h 410520"/>
                <a:gd name="connsiteX786" fmla="*/ 276800 w 2663946"/>
                <a:gd name="connsiteY786" fmla="*/ 177388 h 410520"/>
                <a:gd name="connsiteX787" fmla="*/ 277340 w 2663946"/>
                <a:gd name="connsiteY787" fmla="*/ 176848 h 410520"/>
                <a:gd name="connsiteX788" fmla="*/ 277340 w 2663946"/>
                <a:gd name="connsiteY788" fmla="*/ 130883 h 410520"/>
                <a:gd name="connsiteX789" fmla="*/ 276800 w 2663946"/>
                <a:gd name="connsiteY789" fmla="*/ 130342 h 410520"/>
                <a:gd name="connsiteX790" fmla="*/ 270851 w 2663946"/>
                <a:gd name="connsiteY790" fmla="*/ 130342 h 410520"/>
                <a:gd name="connsiteX791" fmla="*/ 263551 w 2663946"/>
                <a:gd name="connsiteY791" fmla="*/ 125746 h 410520"/>
                <a:gd name="connsiteX792" fmla="*/ 263281 w 2663946"/>
                <a:gd name="connsiteY792" fmla="*/ 120068 h 410520"/>
                <a:gd name="connsiteX793" fmla="*/ 270581 w 2663946"/>
                <a:gd name="connsiteY793" fmla="*/ 114931 h 410520"/>
                <a:gd name="connsiteX794" fmla="*/ 282748 w 2663946"/>
                <a:gd name="connsiteY794" fmla="*/ 114660 h 410520"/>
                <a:gd name="connsiteX795" fmla="*/ 206731 w 2663946"/>
                <a:gd name="connsiteY795" fmla="*/ 114660 h 410520"/>
                <a:gd name="connsiteX796" fmla="*/ 210787 w 2663946"/>
                <a:gd name="connsiteY796" fmla="*/ 114660 h 410520"/>
                <a:gd name="connsiteX797" fmla="*/ 215383 w 2663946"/>
                <a:gd name="connsiteY797" fmla="*/ 117094 h 410520"/>
                <a:gd name="connsiteX798" fmla="*/ 217546 w 2663946"/>
                <a:gd name="connsiteY798" fmla="*/ 123312 h 410520"/>
                <a:gd name="connsiteX799" fmla="*/ 217546 w 2663946"/>
                <a:gd name="connsiteY799" fmla="*/ 123853 h 410520"/>
                <a:gd name="connsiteX800" fmla="*/ 217546 w 2663946"/>
                <a:gd name="connsiteY800" fmla="*/ 176848 h 410520"/>
                <a:gd name="connsiteX801" fmla="*/ 218087 w 2663946"/>
                <a:gd name="connsiteY801" fmla="*/ 177388 h 410520"/>
                <a:gd name="connsiteX802" fmla="*/ 225387 w 2663946"/>
                <a:gd name="connsiteY802" fmla="*/ 177388 h 410520"/>
                <a:gd name="connsiteX803" fmla="*/ 229443 w 2663946"/>
                <a:gd name="connsiteY803" fmla="*/ 178470 h 410520"/>
                <a:gd name="connsiteX804" fmla="*/ 233228 w 2663946"/>
                <a:gd name="connsiteY804" fmla="*/ 185229 h 410520"/>
                <a:gd name="connsiteX805" fmla="*/ 230524 w 2663946"/>
                <a:gd name="connsiteY805" fmla="*/ 190907 h 410520"/>
                <a:gd name="connsiteX806" fmla="*/ 226468 w 2663946"/>
                <a:gd name="connsiteY806" fmla="*/ 192800 h 410520"/>
                <a:gd name="connsiteX807" fmla="*/ 226198 w 2663946"/>
                <a:gd name="connsiteY807" fmla="*/ 192800 h 410520"/>
                <a:gd name="connsiteX808" fmla="*/ 225928 w 2663946"/>
                <a:gd name="connsiteY808" fmla="*/ 192800 h 410520"/>
                <a:gd name="connsiteX809" fmla="*/ 225387 w 2663946"/>
                <a:gd name="connsiteY809" fmla="*/ 192800 h 410520"/>
                <a:gd name="connsiteX810" fmla="*/ 193212 w 2663946"/>
                <a:gd name="connsiteY810" fmla="*/ 192800 h 410520"/>
                <a:gd name="connsiteX811" fmla="*/ 192671 w 2663946"/>
                <a:gd name="connsiteY811" fmla="*/ 192800 h 410520"/>
                <a:gd name="connsiteX812" fmla="*/ 191860 w 2663946"/>
                <a:gd name="connsiteY812" fmla="*/ 192800 h 410520"/>
                <a:gd name="connsiteX813" fmla="*/ 191049 w 2663946"/>
                <a:gd name="connsiteY813" fmla="*/ 192530 h 410520"/>
                <a:gd name="connsiteX814" fmla="*/ 187534 w 2663946"/>
                <a:gd name="connsiteY814" fmla="*/ 190637 h 410520"/>
                <a:gd name="connsiteX815" fmla="*/ 185101 w 2663946"/>
                <a:gd name="connsiteY815" fmla="*/ 184959 h 410520"/>
                <a:gd name="connsiteX816" fmla="*/ 187264 w 2663946"/>
                <a:gd name="connsiteY816" fmla="*/ 179822 h 410520"/>
                <a:gd name="connsiteX817" fmla="*/ 192942 w 2663946"/>
                <a:gd name="connsiteY817" fmla="*/ 177388 h 410520"/>
                <a:gd name="connsiteX818" fmla="*/ 200783 w 2663946"/>
                <a:gd name="connsiteY818" fmla="*/ 177388 h 410520"/>
                <a:gd name="connsiteX819" fmla="*/ 201323 w 2663946"/>
                <a:gd name="connsiteY819" fmla="*/ 176848 h 410520"/>
                <a:gd name="connsiteX820" fmla="*/ 201323 w 2663946"/>
                <a:gd name="connsiteY820" fmla="*/ 130883 h 410520"/>
                <a:gd name="connsiteX821" fmla="*/ 200783 w 2663946"/>
                <a:gd name="connsiteY821" fmla="*/ 130342 h 410520"/>
                <a:gd name="connsiteX822" fmla="*/ 194834 w 2663946"/>
                <a:gd name="connsiteY822" fmla="*/ 130342 h 410520"/>
                <a:gd name="connsiteX823" fmla="*/ 187534 w 2663946"/>
                <a:gd name="connsiteY823" fmla="*/ 125746 h 410520"/>
                <a:gd name="connsiteX824" fmla="*/ 187264 w 2663946"/>
                <a:gd name="connsiteY824" fmla="*/ 120068 h 410520"/>
                <a:gd name="connsiteX825" fmla="*/ 194564 w 2663946"/>
                <a:gd name="connsiteY825" fmla="*/ 114931 h 410520"/>
                <a:gd name="connsiteX826" fmla="*/ 206731 w 2663946"/>
                <a:gd name="connsiteY826" fmla="*/ 114660 h 410520"/>
                <a:gd name="connsiteX827" fmla="*/ 2627559 w 2663946"/>
                <a:gd name="connsiteY827" fmla="*/ 114591 h 410520"/>
                <a:gd name="connsiteX828" fmla="*/ 2639849 w 2663946"/>
                <a:gd name="connsiteY828" fmla="*/ 116754 h 410520"/>
                <a:gd name="connsiteX829" fmla="*/ 2647223 w 2663946"/>
                <a:gd name="connsiteY829" fmla="*/ 121351 h 410520"/>
                <a:gd name="connsiteX830" fmla="*/ 2650664 w 2663946"/>
                <a:gd name="connsiteY830" fmla="*/ 124595 h 410520"/>
                <a:gd name="connsiteX831" fmla="*/ 2654106 w 2663946"/>
                <a:gd name="connsiteY831" fmla="*/ 128921 h 410520"/>
                <a:gd name="connsiteX832" fmla="*/ 2656072 w 2663946"/>
                <a:gd name="connsiteY832" fmla="*/ 132436 h 410520"/>
                <a:gd name="connsiteX833" fmla="*/ 2658284 w 2663946"/>
                <a:gd name="connsiteY833" fmla="*/ 137844 h 410520"/>
                <a:gd name="connsiteX834" fmla="*/ 2659267 w 2663946"/>
                <a:gd name="connsiteY834" fmla="*/ 141359 h 410520"/>
                <a:gd name="connsiteX835" fmla="*/ 2660251 w 2663946"/>
                <a:gd name="connsiteY835" fmla="*/ 146496 h 410520"/>
                <a:gd name="connsiteX836" fmla="*/ 2660005 w 2663946"/>
                <a:gd name="connsiteY836" fmla="*/ 160826 h 410520"/>
                <a:gd name="connsiteX837" fmla="*/ 2659022 w 2663946"/>
                <a:gd name="connsiteY837" fmla="*/ 165693 h 410520"/>
                <a:gd name="connsiteX838" fmla="*/ 2657792 w 2663946"/>
                <a:gd name="connsiteY838" fmla="*/ 169478 h 410520"/>
                <a:gd name="connsiteX839" fmla="*/ 2656809 w 2663946"/>
                <a:gd name="connsiteY839" fmla="*/ 171912 h 410520"/>
                <a:gd name="connsiteX840" fmla="*/ 2654597 w 2663946"/>
                <a:gd name="connsiteY840" fmla="*/ 176238 h 410520"/>
                <a:gd name="connsiteX841" fmla="*/ 2652385 w 2663946"/>
                <a:gd name="connsiteY841" fmla="*/ 179482 h 410520"/>
                <a:gd name="connsiteX842" fmla="*/ 2648944 w 2663946"/>
                <a:gd name="connsiteY842" fmla="*/ 183268 h 410520"/>
                <a:gd name="connsiteX843" fmla="*/ 2645748 w 2663946"/>
                <a:gd name="connsiteY843" fmla="*/ 185971 h 410520"/>
                <a:gd name="connsiteX844" fmla="*/ 2640095 w 2663946"/>
                <a:gd name="connsiteY844" fmla="*/ 189216 h 410520"/>
                <a:gd name="connsiteX845" fmla="*/ 2632229 w 2663946"/>
                <a:gd name="connsiteY845" fmla="*/ 191379 h 410520"/>
                <a:gd name="connsiteX846" fmla="*/ 2631000 w 2663946"/>
                <a:gd name="connsiteY846" fmla="*/ 191650 h 410520"/>
                <a:gd name="connsiteX847" fmla="*/ 2626821 w 2663946"/>
                <a:gd name="connsiteY847" fmla="*/ 191650 h 410520"/>
                <a:gd name="connsiteX848" fmla="*/ 2626576 w 2663946"/>
                <a:gd name="connsiteY848" fmla="*/ 191650 h 410520"/>
                <a:gd name="connsiteX849" fmla="*/ 2613548 w 2663946"/>
                <a:gd name="connsiteY849" fmla="*/ 186783 h 410520"/>
                <a:gd name="connsiteX850" fmla="*/ 2608878 w 2663946"/>
                <a:gd name="connsiteY850" fmla="*/ 182727 h 410520"/>
                <a:gd name="connsiteX851" fmla="*/ 2605682 w 2663946"/>
                <a:gd name="connsiteY851" fmla="*/ 178942 h 410520"/>
                <a:gd name="connsiteX852" fmla="*/ 2603470 w 2663946"/>
                <a:gd name="connsiteY852" fmla="*/ 175427 h 410520"/>
                <a:gd name="connsiteX853" fmla="*/ 2601258 w 2663946"/>
                <a:gd name="connsiteY853" fmla="*/ 171101 h 410520"/>
                <a:gd name="connsiteX854" fmla="*/ 2600029 w 2663946"/>
                <a:gd name="connsiteY854" fmla="*/ 168126 h 410520"/>
                <a:gd name="connsiteX855" fmla="*/ 2599046 w 2663946"/>
                <a:gd name="connsiteY855" fmla="*/ 164882 h 410520"/>
                <a:gd name="connsiteX856" fmla="*/ 2597816 w 2663946"/>
                <a:gd name="connsiteY856" fmla="*/ 159204 h 410520"/>
                <a:gd name="connsiteX857" fmla="*/ 2597571 w 2663946"/>
                <a:gd name="connsiteY857" fmla="*/ 156230 h 410520"/>
                <a:gd name="connsiteX858" fmla="*/ 2597816 w 2663946"/>
                <a:gd name="connsiteY858" fmla="*/ 156500 h 410520"/>
                <a:gd name="connsiteX859" fmla="*/ 2597816 w 2663946"/>
                <a:gd name="connsiteY859" fmla="*/ 150822 h 410520"/>
                <a:gd name="connsiteX860" fmla="*/ 2597816 w 2663946"/>
                <a:gd name="connsiteY860" fmla="*/ 150552 h 410520"/>
                <a:gd name="connsiteX861" fmla="*/ 2598308 w 2663946"/>
                <a:gd name="connsiteY861" fmla="*/ 145955 h 410520"/>
                <a:gd name="connsiteX862" fmla="*/ 2599537 w 2663946"/>
                <a:gd name="connsiteY862" fmla="*/ 140548 h 410520"/>
                <a:gd name="connsiteX863" fmla="*/ 2600520 w 2663946"/>
                <a:gd name="connsiteY863" fmla="*/ 137303 h 410520"/>
                <a:gd name="connsiteX864" fmla="*/ 2602732 w 2663946"/>
                <a:gd name="connsiteY864" fmla="*/ 132166 h 410520"/>
                <a:gd name="connsiteX865" fmla="*/ 2604945 w 2663946"/>
                <a:gd name="connsiteY865" fmla="*/ 128381 h 410520"/>
                <a:gd name="connsiteX866" fmla="*/ 2607157 w 2663946"/>
                <a:gd name="connsiteY866" fmla="*/ 125406 h 410520"/>
                <a:gd name="connsiteX867" fmla="*/ 2609369 w 2663946"/>
                <a:gd name="connsiteY867" fmla="*/ 122973 h 410520"/>
                <a:gd name="connsiteX868" fmla="*/ 2614039 w 2663946"/>
                <a:gd name="connsiteY868" fmla="*/ 119188 h 410520"/>
                <a:gd name="connsiteX869" fmla="*/ 2617972 w 2663946"/>
                <a:gd name="connsiteY869" fmla="*/ 117025 h 410520"/>
                <a:gd name="connsiteX870" fmla="*/ 2627559 w 2663946"/>
                <a:gd name="connsiteY870" fmla="*/ 114591 h 410520"/>
                <a:gd name="connsiteX871" fmla="*/ 2445604 w 2663946"/>
                <a:gd name="connsiteY871" fmla="*/ 114591 h 410520"/>
                <a:gd name="connsiteX872" fmla="*/ 2457894 w 2663946"/>
                <a:gd name="connsiteY872" fmla="*/ 116754 h 410520"/>
                <a:gd name="connsiteX873" fmla="*/ 2465268 w 2663946"/>
                <a:gd name="connsiteY873" fmla="*/ 121351 h 410520"/>
                <a:gd name="connsiteX874" fmla="*/ 2468709 w 2663946"/>
                <a:gd name="connsiteY874" fmla="*/ 124595 h 410520"/>
                <a:gd name="connsiteX875" fmla="*/ 2472151 w 2663946"/>
                <a:gd name="connsiteY875" fmla="*/ 128921 h 410520"/>
                <a:gd name="connsiteX876" fmla="*/ 2474117 w 2663946"/>
                <a:gd name="connsiteY876" fmla="*/ 132436 h 410520"/>
                <a:gd name="connsiteX877" fmla="*/ 2476329 w 2663946"/>
                <a:gd name="connsiteY877" fmla="*/ 137844 h 410520"/>
                <a:gd name="connsiteX878" fmla="*/ 2477312 w 2663946"/>
                <a:gd name="connsiteY878" fmla="*/ 141359 h 410520"/>
                <a:gd name="connsiteX879" fmla="*/ 2478296 w 2663946"/>
                <a:gd name="connsiteY879" fmla="*/ 146496 h 410520"/>
                <a:gd name="connsiteX880" fmla="*/ 2478050 w 2663946"/>
                <a:gd name="connsiteY880" fmla="*/ 160826 h 410520"/>
                <a:gd name="connsiteX881" fmla="*/ 2477067 w 2663946"/>
                <a:gd name="connsiteY881" fmla="*/ 165693 h 410520"/>
                <a:gd name="connsiteX882" fmla="*/ 2475837 w 2663946"/>
                <a:gd name="connsiteY882" fmla="*/ 169478 h 410520"/>
                <a:gd name="connsiteX883" fmla="*/ 2474854 w 2663946"/>
                <a:gd name="connsiteY883" fmla="*/ 171912 h 410520"/>
                <a:gd name="connsiteX884" fmla="*/ 2472642 w 2663946"/>
                <a:gd name="connsiteY884" fmla="*/ 176238 h 410520"/>
                <a:gd name="connsiteX885" fmla="*/ 2470430 w 2663946"/>
                <a:gd name="connsiteY885" fmla="*/ 179482 h 410520"/>
                <a:gd name="connsiteX886" fmla="*/ 2466989 w 2663946"/>
                <a:gd name="connsiteY886" fmla="*/ 183268 h 410520"/>
                <a:gd name="connsiteX887" fmla="*/ 2463793 w 2663946"/>
                <a:gd name="connsiteY887" fmla="*/ 185971 h 410520"/>
                <a:gd name="connsiteX888" fmla="*/ 2458140 w 2663946"/>
                <a:gd name="connsiteY888" fmla="*/ 189216 h 410520"/>
                <a:gd name="connsiteX889" fmla="*/ 2450274 w 2663946"/>
                <a:gd name="connsiteY889" fmla="*/ 191379 h 410520"/>
                <a:gd name="connsiteX890" fmla="*/ 2449045 w 2663946"/>
                <a:gd name="connsiteY890" fmla="*/ 191650 h 410520"/>
                <a:gd name="connsiteX891" fmla="*/ 2444866 w 2663946"/>
                <a:gd name="connsiteY891" fmla="*/ 191650 h 410520"/>
                <a:gd name="connsiteX892" fmla="*/ 2444621 w 2663946"/>
                <a:gd name="connsiteY892" fmla="*/ 191650 h 410520"/>
                <a:gd name="connsiteX893" fmla="*/ 2431593 w 2663946"/>
                <a:gd name="connsiteY893" fmla="*/ 186783 h 410520"/>
                <a:gd name="connsiteX894" fmla="*/ 2426923 w 2663946"/>
                <a:gd name="connsiteY894" fmla="*/ 182727 h 410520"/>
                <a:gd name="connsiteX895" fmla="*/ 2423727 w 2663946"/>
                <a:gd name="connsiteY895" fmla="*/ 178942 h 410520"/>
                <a:gd name="connsiteX896" fmla="*/ 2421515 w 2663946"/>
                <a:gd name="connsiteY896" fmla="*/ 175427 h 410520"/>
                <a:gd name="connsiteX897" fmla="*/ 2419303 w 2663946"/>
                <a:gd name="connsiteY897" fmla="*/ 171101 h 410520"/>
                <a:gd name="connsiteX898" fmla="*/ 2418074 w 2663946"/>
                <a:gd name="connsiteY898" fmla="*/ 168126 h 410520"/>
                <a:gd name="connsiteX899" fmla="*/ 2417091 w 2663946"/>
                <a:gd name="connsiteY899" fmla="*/ 164882 h 410520"/>
                <a:gd name="connsiteX900" fmla="*/ 2415861 w 2663946"/>
                <a:gd name="connsiteY900" fmla="*/ 159204 h 410520"/>
                <a:gd name="connsiteX901" fmla="*/ 2415616 w 2663946"/>
                <a:gd name="connsiteY901" fmla="*/ 156230 h 410520"/>
                <a:gd name="connsiteX902" fmla="*/ 2415861 w 2663946"/>
                <a:gd name="connsiteY902" fmla="*/ 156500 h 410520"/>
                <a:gd name="connsiteX903" fmla="*/ 2415861 w 2663946"/>
                <a:gd name="connsiteY903" fmla="*/ 150822 h 410520"/>
                <a:gd name="connsiteX904" fmla="*/ 2415861 w 2663946"/>
                <a:gd name="connsiteY904" fmla="*/ 150552 h 410520"/>
                <a:gd name="connsiteX905" fmla="*/ 2416353 w 2663946"/>
                <a:gd name="connsiteY905" fmla="*/ 145955 h 410520"/>
                <a:gd name="connsiteX906" fmla="*/ 2417582 w 2663946"/>
                <a:gd name="connsiteY906" fmla="*/ 140548 h 410520"/>
                <a:gd name="connsiteX907" fmla="*/ 2418565 w 2663946"/>
                <a:gd name="connsiteY907" fmla="*/ 137303 h 410520"/>
                <a:gd name="connsiteX908" fmla="*/ 2420777 w 2663946"/>
                <a:gd name="connsiteY908" fmla="*/ 132166 h 410520"/>
                <a:gd name="connsiteX909" fmla="*/ 2422990 w 2663946"/>
                <a:gd name="connsiteY909" fmla="*/ 128381 h 410520"/>
                <a:gd name="connsiteX910" fmla="*/ 2425202 w 2663946"/>
                <a:gd name="connsiteY910" fmla="*/ 125406 h 410520"/>
                <a:gd name="connsiteX911" fmla="*/ 2427414 w 2663946"/>
                <a:gd name="connsiteY911" fmla="*/ 122973 h 410520"/>
                <a:gd name="connsiteX912" fmla="*/ 2432084 w 2663946"/>
                <a:gd name="connsiteY912" fmla="*/ 119188 h 410520"/>
                <a:gd name="connsiteX913" fmla="*/ 2436017 w 2663946"/>
                <a:gd name="connsiteY913" fmla="*/ 117025 h 410520"/>
                <a:gd name="connsiteX914" fmla="*/ 2445604 w 2663946"/>
                <a:gd name="connsiteY914" fmla="*/ 114591 h 410520"/>
                <a:gd name="connsiteX915" fmla="*/ 2202558 w 2663946"/>
                <a:gd name="connsiteY915" fmla="*/ 114591 h 410520"/>
                <a:gd name="connsiteX916" fmla="*/ 2214848 w 2663946"/>
                <a:gd name="connsiteY916" fmla="*/ 116754 h 410520"/>
                <a:gd name="connsiteX917" fmla="*/ 2222222 w 2663946"/>
                <a:gd name="connsiteY917" fmla="*/ 121351 h 410520"/>
                <a:gd name="connsiteX918" fmla="*/ 2225663 w 2663946"/>
                <a:gd name="connsiteY918" fmla="*/ 124595 h 410520"/>
                <a:gd name="connsiteX919" fmla="*/ 2229105 w 2663946"/>
                <a:gd name="connsiteY919" fmla="*/ 128921 h 410520"/>
                <a:gd name="connsiteX920" fmla="*/ 2231071 w 2663946"/>
                <a:gd name="connsiteY920" fmla="*/ 132436 h 410520"/>
                <a:gd name="connsiteX921" fmla="*/ 2233283 w 2663946"/>
                <a:gd name="connsiteY921" fmla="*/ 137844 h 410520"/>
                <a:gd name="connsiteX922" fmla="*/ 2234266 w 2663946"/>
                <a:gd name="connsiteY922" fmla="*/ 141359 h 410520"/>
                <a:gd name="connsiteX923" fmla="*/ 2235250 w 2663946"/>
                <a:gd name="connsiteY923" fmla="*/ 146496 h 410520"/>
                <a:gd name="connsiteX924" fmla="*/ 2235004 w 2663946"/>
                <a:gd name="connsiteY924" fmla="*/ 160826 h 410520"/>
                <a:gd name="connsiteX925" fmla="*/ 2234021 w 2663946"/>
                <a:gd name="connsiteY925" fmla="*/ 165693 h 410520"/>
                <a:gd name="connsiteX926" fmla="*/ 2232791 w 2663946"/>
                <a:gd name="connsiteY926" fmla="*/ 169478 h 410520"/>
                <a:gd name="connsiteX927" fmla="*/ 2231808 w 2663946"/>
                <a:gd name="connsiteY927" fmla="*/ 171912 h 410520"/>
                <a:gd name="connsiteX928" fmla="*/ 2229596 w 2663946"/>
                <a:gd name="connsiteY928" fmla="*/ 176238 h 410520"/>
                <a:gd name="connsiteX929" fmla="*/ 2227384 w 2663946"/>
                <a:gd name="connsiteY929" fmla="*/ 179482 h 410520"/>
                <a:gd name="connsiteX930" fmla="*/ 2223943 w 2663946"/>
                <a:gd name="connsiteY930" fmla="*/ 183268 h 410520"/>
                <a:gd name="connsiteX931" fmla="*/ 2220747 w 2663946"/>
                <a:gd name="connsiteY931" fmla="*/ 185971 h 410520"/>
                <a:gd name="connsiteX932" fmla="*/ 2215094 w 2663946"/>
                <a:gd name="connsiteY932" fmla="*/ 189216 h 410520"/>
                <a:gd name="connsiteX933" fmla="*/ 2207228 w 2663946"/>
                <a:gd name="connsiteY933" fmla="*/ 191379 h 410520"/>
                <a:gd name="connsiteX934" fmla="*/ 2205999 w 2663946"/>
                <a:gd name="connsiteY934" fmla="*/ 191650 h 410520"/>
                <a:gd name="connsiteX935" fmla="*/ 2201820 w 2663946"/>
                <a:gd name="connsiteY935" fmla="*/ 191650 h 410520"/>
                <a:gd name="connsiteX936" fmla="*/ 2201575 w 2663946"/>
                <a:gd name="connsiteY936" fmla="*/ 191650 h 410520"/>
                <a:gd name="connsiteX937" fmla="*/ 2188547 w 2663946"/>
                <a:gd name="connsiteY937" fmla="*/ 186783 h 410520"/>
                <a:gd name="connsiteX938" fmla="*/ 2183877 w 2663946"/>
                <a:gd name="connsiteY938" fmla="*/ 182727 h 410520"/>
                <a:gd name="connsiteX939" fmla="*/ 2180681 w 2663946"/>
                <a:gd name="connsiteY939" fmla="*/ 178942 h 410520"/>
                <a:gd name="connsiteX940" fmla="*/ 2178469 w 2663946"/>
                <a:gd name="connsiteY940" fmla="*/ 175427 h 410520"/>
                <a:gd name="connsiteX941" fmla="*/ 2176257 w 2663946"/>
                <a:gd name="connsiteY941" fmla="*/ 171101 h 410520"/>
                <a:gd name="connsiteX942" fmla="*/ 2175028 w 2663946"/>
                <a:gd name="connsiteY942" fmla="*/ 168126 h 410520"/>
                <a:gd name="connsiteX943" fmla="*/ 2174045 w 2663946"/>
                <a:gd name="connsiteY943" fmla="*/ 164882 h 410520"/>
                <a:gd name="connsiteX944" fmla="*/ 2172815 w 2663946"/>
                <a:gd name="connsiteY944" fmla="*/ 159204 h 410520"/>
                <a:gd name="connsiteX945" fmla="*/ 2172570 w 2663946"/>
                <a:gd name="connsiteY945" fmla="*/ 156230 h 410520"/>
                <a:gd name="connsiteX946" fmla="*/ 2172815 w 2663946"/>
                <a:gd name="connsiteY946" fmla="*/ 156500 h 410520"/>
                <a:gd name="connsiteX947" fmla="*/ 2172815 w 2663946"/>
                <a:gd name="connsiteY947" fmla="*/ 150822 h 410520"/>
                <a:gd name="connsiteX948" fmla="*/ 2172815 w 2663946"/>
                <a:gd name="connsiteY948" fmla="*/ 150552 h 410520"/>
                <a:gd name="connsiteX949" fmla="*/ 2173307 w 2663946"/>
                <a:gd name="connsiteY949" fmla="*/ 145955 h 410520"/>
                <a:gd name="connsiteX950" fmla="*/ 2174536 w 2663946"/>
                <a:gd name="connsiteY950" fmla="*/ 140548 h 410520"/>
                <a:gd name="connsiteX951" fmla="*/ 2175519 w 2663946"/>
                <a:gd name="connsiteY951" fmla="*/ 137303 h 410520"/>
                <a:gd name="connsiteX952" fmla="*/ 2177731 w 2663946"/>
                <a:gd name="connsiteY952" fmla="*/ 132166 h 410520"/>
                <a:gd name="connsiteX953" fmla="*/ 2179944 w 2663946"/>
                <a:gd name="connsiteY953" fmla="*/ 128381 h 410520"/>
                <a:gd name="connsiteX954" fmla="*/ 2182156 w 2663946"/>
                <a:gd name="connsiteY954" fmla="*/ 125406 h 410520"/>
                <a:gd name="connsiteX955" fmla="*/ 2184368 w 2663946"/>
                <a:gd name="connsiteY955" fmla="*/ 122973 h 410520"/>
                <a:gd name="connsiteX956" fmla="*/ 2189038 w 2663946"/>
                <a:gd name="connsiteY956" fmla="*/ 119188 h 410520"/>
                <a:gd name="connsiteX957" fmla="*/ 2192971 w 2663946"/>
                <a:gd name="connsiteY957" fmla="*/ 117025 h 410520"/>
                <a:gd name="connsiteX958" fmla="*/ 2202558 w 2663946"/>
                <a:gd name="connsiteY958" fmla="*/ 114591 h 410520"/>
                <a:gd name="connsiteX959" fmla="*/ 2020607 w 2663946"/>
                <a:gd name="connsiteY959" fmla="*/ 114591 h 410520"/>
                <a:gd name="connsiteX960" fmla="*/ 2032897 w 2663946"/>
                <a:gd name="connsiteY960" fmla="*/ 116754 h 410520"/>
                <a:gd name="connsiteX961" fmla="*/ 2040271 w 2663946"/>
                <a:gd name="connsiteY961" fmla="*/ 121351 h 410520"/>
                <a:gd name="connsiteX962" fmla="*/ 2043712 w 2663946"/>
                <a:gd name="connsiteY962" fmla="*/ 124595 h 410520"/>
                <a:gd name="connsiteX963" fmla="*/ 2047154 w 2663946"/>
                <a:gd name="connsiteY963" fmla="*/ 128921 h 410520"/>
                <a:gd name="connsiteX964" fmla="*/ 2049120 w 2663946"/>
                <a:gd name="connsiteY964" fmla="*/ 132436 h 410520"/>
                <a:gd name="connsiteX965" fmla="*/ 2051332 w 2663946"/>
                <a:gd name="connsiteY965" fmla="*/ 137844 h 410520"/>
                <a:gd name="connsiteX966" fmla="*/ 2052315 w 2663946"/>
                <a:gd name="connsiteY966" fmla="*/ 141359 h 410520"/>
                <a:gd name="connsiteX967" fmla="*/ 2053299 w 2663946"/>
                <a:gd name="connsiteY967" fmla="*/ 146496 h 410520"/>
                <a:gd name="connsiteX968" fmla="*/ 2053053 w 2663946"/>
                <a:gd name="connsiteY968" fmla="*/ 160826 h 410520"/>
                <a:gd name="connsiteX969" fmla="*/ 2052070 w 2663946"/>
                <a:gd name="connsiteY969" fmla="*/ 165693 h 410520"/>
                <a:gd name="connsiteX970" fmla="*/ 2050840 w 2663946"/>
                <a:gd name="connsiteY970" fmla="*/ 169478 h 410520"/>
                <a:gd name="connsiteX971" fmla="*/ 2049857 w 2663946"/>
                <a:gd name="connsiteY971" fmla="*/ 171912 h 410520"/>
                <a:gd name="connsiteX972" fmla="*/ 2047645 w 2663946"/>
                <a:gd name="connsiteY972" fmla="*/ 176238 h 410520"/>
                <a:gd name="connsiteX973" fmla="*/ 2045433 w 2663946"/>
                <a:gd name="connsiteY973" fmla="*/ 179482 h 410520"/>
                <a:gd name="connsiteX974" fmla="*/ 2041992 w 2663946"/>
                <a:gd name="connsiteY974" fmla="*/ 183268 h 410520"/>
                <a:gd name="connsiteX975" fmla="*/ 2038796 w 2663946"/>
                <a:gd name="connsiteY975" fmla="*/ 185971 h 410520"/>
                <a:gd name="connsiteX976" fmla="*/ 2033143 w 2663946"/>
                <a:gd name="connsiteY976" fmla="*/ 189216 h 410520"/>
                <a:gd name="connsiteX977" fmla="*/ 2025277 w 2663946"/>
                <a:gd name="connsiteY977" fmla="*/ 191379 h 410520"/>
                <a:gd name="connsiteX978" fmla="*/ 2024048 w 2663946"/>
                <a:gd name="connsiteY978" fmla="*/ 191650 h 410520"/>
                <a:gd name="connsiteX979" fmla="*/ 2019869 w 2663946"/>
                <a:gd name="connsiteY979" fmla="*/ 191650 h 410520"/>
                <a:gd name="connsiteX980" fmla="*/ 2019624 w 2663946"/>
                <a:gd name="connsiteY980" fmla="*/ 191650 h 410520"/>
                <a:gd name="connsiteX981" fmla="*/ 2006596 w 2663946"/>
                <a:gd name="connsiteY981" fmla="*/ 186783 h 410520"/>
                <a:gd name="connsiteX982" fmla="*/ 2001926 w 2663946"/>
                <a:gd name="connsiteY982" fmla="*/ 182727 h 410520"/>
                <a:gd name="connsiteX983" fmla="*/ 1998730 w 2663946"/>
                <a:gd name="connsiteY983" fmla="*/ 178942 h 410520"/>
                <a:gd name="connsiteX984" fmla="*/ 1996518 w 2663946"/>
                <a:gd name="connsiteY984" fmla="*/ 175427 h 410520"/>
                <a:gd name="connsiteX985" fmla="*/ 1994306 w 2663946"/>
                <a:gd name="connsiteY985" fmla="*/ 171101 h 410520"/>
                <a:gd name="connsiteX986" fmla="*/ 1993077 w 2663946"/>
                <a:gd name="connsiteY986" fmla="*/ 168126 h 410520"/>
                <a:gd name="connsiteX987" fmla="*/ 1992094 w 2663946"/>
                <a:gd name="connsiteY987" fmla="*/ 164882 h 410520"/>
                <a:gd name="connsiteX988" fmla="*/ 1990864 w 2663946"/>
                <a:gd name="connsiteY988" fmla="*/ 159204 h 410520"/>
                <a:gd name="connsiteX989" fmla="*/ 1990619 w 2663946"/>
                <a:gd name="connsiteY989" fmla="*/ 156230 h 410520"/>
                <a:gd name="connsiteX990" fmla="*/ 1990864 w 2663946"/>
                <a:gd name="connsiteY990" fmla="*/ 156500 h 410520"/>
                <a:gd name="connsiteX991" fmla="*/ 1990864 w 2663946"/>
                <a:gd name="connsiteY991" fmla="*/ 150822 h 410520"/>
                <a:gd name="connsiteX992" fmla="*/ 1990864 w 2663946"/>
                <a:gd name="connsiteY992" fmla="*/ 150552 h 410520"/>
                <a:gd name="connsiteX993" fmla="*/ 1991356 w 2663946"/>
                <a:gd name="connsiteY993" fmla="*/ 145955 h 410520"/>
                <a:gd name="connsiteX994" fmla="*/ 1992585 w 2663946"/>
                <a:gd name="connsiteY994" fmla="*/ 140548 h 410520"/>
                <a:gd name="connsiteX995" fmla="*/ 1993568 w 2663946"/>
                <a:gd name="connsiteY995" fmla="*/ 137303 h 410520"/>
                <a:gd name="connsiteX996" fmla="*/ 1995780 w 2663946"/>
                <a:gd name="connsiteY996" fmla="*/ 132166 h 410520"/>
                <a:gd name="connsiteX997" fmla="*/ 1997993 w 2663946"/>
                <a:gd name="connsiteY997" fmla="*/ 128381 h 410520"/>
                <a:gd name="connsiteX998" fmla="*/ 2000205 w 2663946"/>
                <a:gd name="connsiteY998" fmla="*/ 125406 h 410520"/>
                <a:gd name="connsiteX999" fmla="*/ 2002417 w 2663946"/>
                <a:gd name="connsiteY999" fmla="*/ 122973 h 410520"/>
                <a:gd name="connsiteX1000" fmla="*/ 2007087 w 2663946"/>
                <a:gd name="connsiteY1000" fmla="*/ 119188 h 410520"/>
                <a:gd name="connsiteX1001" fmla="*/ 2011020 w 2663946"/>
                <a:gd name="connsiteY1001" fmla="*/ 117025 h 410520"/>
                <a:gd name="connsiteX1002" fmla="*/ 2020607 w 2663946"/>
                <a:gd name="connsiteY1002" fmla="*/ 114591 h 410520"/>
                <a:gd name="connsiteX1003" fmla="*/ 1595683 w 2663946"/>
                <a:gd name="connsiteY1003" fmla="*/ 114591 h 410520"/>
                <a:gd name="connsiteX1004" fmla="*/ 1607973 w 2663946"/>
                <a:gd name="connsiteY1004" fmla="*/ 116754 h 410520"/>
                <a:gd name="connsiteX1005" fmla="*/ 1615347 w 2663946"/>
                <a:gd name="connsiteY1005" fmla="*/ 121351 h 410520"/>
                <a:gd name="connsiteX1006" fmla="*/ 1618788 w 2663946"/>
                <a:gd name="connsiteY1006" fmla="*/ 124595 h 410520"/>
                <a:gd name="connsiteX1007" fmla="*/ 1622230 w 2663946"/>
                <a:gd name="connsiteY1007" fmla="*/ 128921 h 410520"/>
                <a:gd name="connsiteX1008" fmla="*/ 1624196 w 2663946"/>
                <a:gd name="connsiteY1008" fmla="*/ 132436 h 410520"/>
                <a:gd name="connsiteX1009" fmla="*/ 1626408 w 2663946"/>
                <a:gd name="connsiteY1009" fmla="*/ 137844 h 410520"/>
                <a:gd name="connsiteX1010" fmla="*/ 1627391 w 2663946"/>
                <a:gd name="connsiteY1010" fmla="*/ 141359 h 410520"/>
                <a:gd name="connsiteX1011" fmla="*/ 1628374 w 2663946"/>
                <a:gd name="connsiteY1011" fmla="*/ 146496 h 410520"/>
                <a:gd name="connsiteX1012" fmla="*/ 1628129 w 2663946"/>
                <a:gd name="connsiteY1012" fmla="*/ 160826 h 410520"/>
                <a:gd name="connsiteX1013" fmla="*/ 1627146 w 2663946"/>
                <a:gd name="connsiteY1013" fmla="*/ 165693 h 410520"/>
                <a:gd name="connsiteX1014" fmla="*/ 1625916 w 2663946"/>
                <a:gd name="connsiteY1014" fmla="*/ 169478 h 410520"/>
                <a:gd name="connsiteX1015" fmla="*/ 1624933 w 2663946"/>
                <a:gd name="connsiteY1015" fmla="*/ 171912 h 410520"/>
                <a:gd name="connsiteX1016" fmla="*/ 1622721 w 2663946"/>
                <a:gd name="connsiteY1016" fmla="*/ 176238 h 410520"/>
                <a:gd name="connsiteX1017" fmla="*/ 1620509 w 2663946"/>
                <a:gd name="connsiteY1017" fmla="*/ 179482 h 410520"/>
                <a:gd name="connsiteX1018" fmla="*/ 1617068 w 2663946"/>
                <a:gd name="connsiteY1018" fmla="*/ 183268 h 410520"/>
                <a:gd name="connsiteX1019" fmla="*/ 1613872 w 2663946"/>
                <a:gd name="connsiteY1019" fmla="*/ 185971 h 410520"/>
                <a:gd name="connsiteX1020" fmla="*/ 1608219 w 2663946"/>
                <a:gd name="connsiteY1020" fmla="*/ 189216 h 410520"/>
                <a:gd name="connsiteX1021" fmla="*/ 1600353 w 2663946"/>
                <a:gd name="connsiteY1021" fmla="*/ 191379 h 410520"/>
                <a:gd name="connsiteX1022" fmla="*/ 1599124 w 2663946"/>
                <a:gd name="connsiteY1022" fmla="*/ 191650 h 410520"/>
                <a:gd name="connsiteX1023" fmla="*/ 1594945 w 2663946"/>
                <a:gd name="connsiteY1023" fmla="*/ 191650 h 410520"/>
                <a:gd name="connsiteX1024" fmla="*/ 1594699 w 2663946"/>
                <a:gd name="connsiteY1024" fmla="*/ 191650 h 410520"/>
                <a:gd name="connsiteX1025" fmla="*/ 1581672 w 2663946"/>
                <a:gd name="connsiteY1025" fmla="*/ 186783 h 410520"/>
                <a:gd name="connsiteX1026" fmla="*/ 1577002 w 2663946"/>
                <a:gd name="connsiteY1026" fmla="*/ 182727 h 410520"/>
                <a:gd name="connsiteX1027" fmla="*/ 1573806 w 2663946"/>
                <a:gd name="connsiteY1027" fmla="*/ 178942 h 410520"/>
                <a:gd name="connsiteX1028" fmla="*/ 1571594 w 2663946"/>
                <a:gd name="connsiteY1028" fmla="*/ 175427 h 410520"/>
                <a:gd name="connsiteX1029" fmla="*/ 1569382 w 2663946"/>
                <a:gd name="connsiteY1029" fmla="*/ 171101 h 410520"/>
                <a:gd name="connsiteX1030" fmla="*/ 1568153 w 2663946"/>
                <a:gd name="connsiteY1030" fmla="*/ 168126 h 410520"/>
                <a:gd name="connsiteX1031" fmla="*/ 1567169 w 2663946"/>
                <a:gd name="connsiteY1031" fmla="*/ 164882 h 410520"/>
                <a:gd name="connsiteX1032" fmla="*/ 1565940 w 2663946"/>
                <a:gd name="connsiteY1032" fmla="*/ 159204 h 410520"/>
                <a:gd name="connsiteX1033" fmla="*/ 1565695 w 2663946"/>
                <a:gd name="connsiteY1033" fmla="*/ 156230 h 410520"/>
                <a:gd name="connsiteX1034" fmla="*/ 1565940 w 2663946"/>
                <a:gd name="connsiteY1034" fmla="*/ 156500 h 410520"/>
                <a:gd name="connsiteX1035" fmla="*/ 1565940 w 2663946"/>
                <a:gd name="connsiteY1035" fmla="*/ 150822 h 410520"/>
                <a:gd name="connsiteX1036" fmla="*/ 1565940 w 2663946"/>
                <a:gd name="connsiteY1036" fmla="*/ 150552 h 410520"/>
                <a:gd name="connsiteX1037" fmla="*/ 1566432 w 2663946"/>
                <a:gd name="connsiteY1037" fmla="*/ 145955 h 410520"/>
                <a:gd name="connsiteX1038" fmla="*/ 1567661 w 2663946"/>
                <a:gd name="connsiteY1038" fmla="*/ 140548 h 410520"/>
                <a:gd name="connsiteX1039" fmla="*/ 1568644 w 2663946"/>
                <a:gd name="connsiteY1039" fmla="*/ 137303 h 410520"/>
                <a:gd name="connsiteX1040" fmla="*/ 1570856 w 2663946"/>
                <a:gd name="connsiteY1040" fmla="*/ 132166 h 410520"/>
                <a:gd name="connsiteX1041" fmla="*/ 1573069 w 2663946"/>
                <a:gd name="connsiteY1041" fmla="*/ 128381 h 410520"/>
                <a:gd name="connsiteX1042" fmla="*/ 1575281 w 2663946"/>
                <a:gd name="connsiteY1042" fmla="*/ 125406 h 410520"/>
                <a:gd name="connsiteX1043" fmla="*/ 1577493 w 2663946"/>
                <a:gd name="connsiteY1043" fmla="*/ 122973 h 410520"/>
                <a:gd name="connsiteX1044" fmla="*/ 1582163 w 2663946"/>
                <a:gd name="connsiteY1044" fmla="*/ 119188 h 410520"/>
                <a:gd name="connsiteX1045" fmla="*/ 1586096 w 2663946"/>
                <a:gd name="connsiteY1045" fmla="*/ 117025 h 410520"/>
                <a:gd name="connsiteX1046" fmla="*/ 1595683 w 2663946"/>
                <a:gd name="connsiteY1046" fmla="*/ 114591 h 410520"/>
                <a:gd name="connsiteX1047" fmla="*/ 1246776 w 2663946"/>
                <a:gd name="connsiteY1047" fmla="*/ 114591 h 410520"/>
                <a:gd name="connsiteX1048" fmla="*/ 1259066 w 2663946"/>
                <a:gd name="connsiteY1048" fmla="*/ 116754 h 410520"/>
                <a:gd name="connsiteX1049" fmla="*/ 1266440 w 2663946"/>
                <a:gd name="connsiteY1049" fmla="*/ 121351 h 410520"/>
                <a:gd name="connsiteX1050" fmla="*/ 1269881 w 2663946"/>
                <a:gd name="connsiteY1050" fmla="*/ 124595 h 410520"/>
                <a:gd name="connsiteX1051" fmla="*/ 1273323 w 2663946"/>
                <a:gd name="connsiteY1051" fmla="*/ 128921 h 410520"/>
                <a:gd name="connsiteX1052" fmla="*/ 1275289 w 2663946"/>
                <a:gd name="connsiteY1052" fmla="*/ 132436 h 410520"/>
                <a:gd name="connsiteX1053" fmla="*/ 1277501 w 2663946"/>
                <a:gd name="connsiteY1053" fmla="*/ 137844 h 410520"/>
                <a:gd name="connsiteX1054" fmla="*/ 1278484 w 2663946"/>
                <a:gd name="connsiteY1054" fmla="*/ 141359 h 410520"/>
                <a:gd name="connsiteX1055" fmla="*/ 1279467 w 2663946"/>
                <a:gd name="connsiteY1055" fmla="*/ 146496 h 410520"/>
                <a:gd name="connsiteX1056" fmla="*/ 1279222 w 2663946"/>
                <a:gd name="connsiteY1056" fmla="*/ 160826 h 410520"/>
                <a:gd name="connsiteX1057" fmla="*/ 1278239 w 2663946"/>
                <a:gd name="connsiteY1057" fmla="*/ 165693 h 410520"/>
                <a:gd name="connsiteX1058" fmla="*/ 1277009 w 2663946"/>
                <a:gd name="connsiteY1058" fmla="*/ 169478 h 410520"/>
                <a:gd name="connsiteX1059" fmla="*/ 1276026 w 2663946"/>
                <a:gd name="connsiteY1059" fmla="*/ 171912 h 410520"/>
                <a:gd name="connsiteX1060" fmla="*/ 1273814 w 2663946"/>
                <a:gd name="connsiteY1060" fmla="*/ 176238 h 410520"/>
                <a:gd name="connsiteX1061" fmla="*/ 1271602 w 2663946"/>
                <a:gd name="connsiteY1061" fmla="*/ 179482 h 410520"/>
                <a:gd name="connsiteX1062" fmla="*/ 1268161 w 2663946"/>
                <a:gd name="connsiteY1062" fmla="*/ 183268 h 410520"/>
                <a:gd name="connsiteX1063" fmla="*/ 1264965 w 2663946"/>
                <a:gd name="connsiteY1063" fmla="*/ 185971 h 410520"/>
                <a:gd name="connsiteX1064" fmla="*/ 1259312 w 2663946"/>
                <a:gd name="connsiteY1064" fmla="*/ 189216 h 410520"/>
                <a:gd name="connsiteX1065" fmla="*/ 1251446 w 2663946"/>
                <a:gd name="connsiteY1065" fmla="*/ 191379 h 410520"/>
                <a:gd name="connsiteX1066" fmla="*/ 1250217 w 2663946"/>
                <a:gd name="connsiteY1066" fmla="*/ 191650 h 410520"/>
                <a:gd name="connsiteX1067" fmla="*/ 1246038 w 2663946"/>
                <a:gd name="connsiteY1067" fmla="*/ 191650 h 410520"/>
                <a:gd name="connsiteX1068" fmla="*/ 1245792 w 2663946"/>
                <a:gd name="connsiteY1068" fmla="*/ 191650 h 410520"/>
                <a:gd name="connsiteX1069" fmla="*/ 1232765 w 2663946"/>
                <a:gd name="connsiteY1069" fmla="*/ 186783 h 410520"/>
                <a:gd name="connsiteX1070" fmla="*/ 1228095 w 2663946"/>
                <a:gd name="connsiteY1070" fmla="*/ 182727 h 410520"/>
                <a:gd name="connsiteX1071" fmla="*/ 1224899 w 2663946"/>
                <a:gd name="connsiteY1071" fmla="*/ 178942 h 410520"/>
                <a:gd name="connsiteX1072" fmla="*/ 1222687 w 2663946"/>
                <a:gd name="connsiteY1072" fmla="*/ 175427 h 410520"/>
                <a:gd name="connsiteX1073" fmla="*/ 1220475 w 2663946"/>
                <a:gd name="connsiteY1073" fmla="*/ 171101 h 410520"/>
                <a:gd name="connsiteX1074" fmla="*/ 1219246 w 2663946"/>
                <a:gd name="connsiteY1074" fmla="*/ 168126 h 410520"/>
                <a:gd name="connsiteX1075" fmla="*/ 1218262 w 2663946"/>
                <a:gd name="connsiteY1075" fmla="*/ 164882 h 410520"/>
                <a:gd name="connsiteX1076" fmla="*/ 1217033 w 2663946"/>
                <a:gd name="connsiteY1076" fmla="*/ 159204 h 410520"/>
                <a:gd name="connsiteX1077" fmla="*/ 1216788 w 2663946"/>
                <a:gd name="connsiteY1077" fmla="*/ 156230 h 410520"/>
                <a:gd name="connsiteX1078" fmla="*/ 1217033 w 2663946"/>
                <a:gd name="connsiteY1078" fmla="*/ 156500 h 410520"/>
                <a:gd name="connsiteX1079" fmla="*/ 1217033 w 2663946"/>
                <a:gd name="connsiteY1079" fmla="*/ 150822 h 410520"/>
                <a:gd name="connsiteX1080" fmla="*/ 1217033 w 2663946"/>
                <a:gd name="connsiteY1080" fmla="*/ 150552 h 410520"/>
                <a:gd name="connsiteX1081" fmla="*/ 1217525 w 2663946"/>
                <a:gd name="connsiteY1081" fmla="*/ 145955 h 410520"/>
                <a:gd name="connsiteX1082" fmla="*/ 1218754 w 2663946"/>
                <a:gd name="connsiteY1082" fmla="*/ 140548 h 410520"/>
                <a:gd name="connsiteX1083" fmla="*/ 1219737 w 2663946"/>
                <a:gd name="connsiteY1083" fmla="*/ 137303 h 410520"/>
                <a:gd name="connsiteX1084" fmla="*/ 1221949 w 2663946"/>
                <a:gd name="connsiteY1084" fmla="*/ 132166 h 410520"/>
                <a:gd name="connsiteX1085" fmla="*/ 1224162 w 2663946"/>
                <a:gd name="connsiteY1085" fmla="*/ 128381 h 410520"/>
                <a:gd name="connsiteX1086" fmla="*/ 1226374 w 2663946"/>
                <a:gd name="connsiteY1086" fmla="*/ 125406 h 410520"/>
                <a:gd name="connsiteX1087" fmla="*/ 1228586 w 2663946"/>
                <a:gd name="connsiteY1087" fmla="*/ 122973 h 410520"/>
                <a:gd name="connsiteX1088" fmla="*/ 1233256 w 2663946"/>
                <a:gd name="connsiteY1088" fmla="*/ 119188 h 410520"/>
                <a:gd name="connsiteX1089" fmla="*/ 1237189 w 2663946"/>
                <a:gd name="connsiteY1089" fmla="*/ 117025 h 410520"/>
                <a:gd name="connsiteX1090" fmla="*/ 1246776 w 2663946"/>
                <a:gd name="connsiteY1090" fmla="*/ 114591 h 410520"/>
                <a:gd name="connsiteX1091" fmla="*/ 1064825 w 2663946"/>
                <a:gd name="connsiteY1091" fmla="*/ 114591 h 410520"/>
                <a:gd name="connsiteX1092" fmla="*/ 1077115 w 2663946"/>
                <a:gd name="connsiteY1092" fmla="*/ 116754 h 410520"/>
                <a:gd name="connsiteX1093" fmla="*/ 1084489 w 2663946"/>
                <a:gd name="connsiteY1093" fmla="*/ 121351 h 410520"/>
                <a:gd name="connsiteX1094" fmla="*/ 1087930 w 2663946"/>
                <a:gd name="connsiteY1094" fmla="*/ 124595 h 410520"/>
                <a:gd name="connsiteX1095" fmla="*/ 1091372 w 2663946"/>
                <a:gd name="connsiteY1095" fmla="*/ 128921 h 410520"/>
                <a:gd name="connsiteX1096" fmla="*/ 1093338 w 2663946"/>
                <a:gd name="connsiteY1096" fmla="*/ 132436 h 410520"/>
                <a:gd name="connsiteX1097" fmla="*/ 1095550 w 2663946"/>
                <a:gd name="connsiteY1097" fmla="*/ 137844 h 410520"/>
                <a:gd name="connsiteX1098" fmla="*/ 1096533 w 2663946"/>
                <a:gd name="connsiteY1098" fmla="*/ 141359 h 410520"/>
                <a:gd name="connsiteX1099" fmla="*/ 1097516 w 2663946"/>
                <a:gd name="connsiteY1099" fmla="*/ 146496 h 410520"/>
                <a:gd name="connsiteX1100" fmla="*/ 1097271 w 2663946"/>
                <a:gd name="connsiteY1100" fmla="*/ 160826 h 410520"/>
                <a:gd name="connsiteX1101" fmla="*/ 1096288 w 2663946"/>
                <a:gd name="connsiteY1101" fmla="*/ 165693 h 410520"/>
                <a:gd name="connsiteX1102" fmla="*/ 1095058 w 2663946"/>
                <a:gd name="connsiteY1102" fmla="*/ 169478 h 410520"/>
                <a:gd name="connsiteX1103" fmla="*/ 1094075 w 2663946"/>
                <a:gd name="connsiteY1103" fmla="*/ 171912 h 410520"/>
                <a:gd name="connsiteX1104" fmla="*/ 1091863 w 2663946"/>
                <a:gd name="connsiteY1104" fmla="*/ 176238 h 410520"/>
                <a:gd name="connsiteX1105" fmla="*/ 1089651 w 2663946"/>
                <a:gd name="connsiteY1105" fmla="*/ 179482 h 410520"/>
                <a:gd name="connsiteX1106" fmla="*/ 1086210 w 2663946"/>
                <a:gd name="connsiteY1106" fmla="*/ 183268 h 410520"/>
                <a:gd name="connsiteX1107" fmla="*/ 1083014 w 2663946"/>
                <a:gd name="connsiteY1107" fmla="*/ 185971 h 410520"/>
                <a:gd name="connsiteX1108" fmla="*/ 1077361 w 2663946"/>
                <a:gd name="connsiteY1108" fmla="*/ 189216 h 410520"/>
                <a:gd name="connsiteX1109" fmla="*/ 1069495 w 2663946"/>
                <a:gd name="connsiteY1109" fmla="*/ 191379 h 410520"/>
                <a:gd name="connsiteX1110" fmla="*/ 1068266 w 2663946"/>
                <a:gd name="connsiteY1110" fmla="*/ 191650 h 410520"/>
                <a:gd name="connsiteX1111" fmla="*/ 1064087 w 2663946"/>
                <a:gd name="connsiteY1111" fmla="*/ 191650 h 410520"/>
                <a:gd name="connsiteX1112" fmla="*/ 1063841 w 2663946"/>
                <a:gd name="connsiteY1112" fmla="*/ 191650 h 410520"/>
                <a:gd name="connsiteX1113" fmla="*/ 1050814 w 2663946"/>
                <a:gd name="connsiteY1113" fmla="*/ 186783 h 410520"/>
                <a:gd name="connsiteX1114" fmla="*/ 1046144 w 2663946"/>
                <a:gd name="connsiteY1114" fmla="*/ 182727 h 410520"/>
                <a:gd name="connsiteX1115" fmla="*/ 1042948 w 2663946"/>
                <a:gd name="connsiteY1115" fmla="*/ 178942 h 410520"/>
                <a:gd name="connsiteX1116" fmla="*/ 1040736 w 2663946"/>
                <a:gd name="connsiteY1116" fmla="*/ 175427 h 410520"/>
                <a:gd name="connsiteX1117" fmla="*/ 1038524 w 2663946"/>
                <a:gd name="connsiteY1117" fmla="*/ 171101 h 410520"/>
                <a:gd name="connsiteX1118" fmla="*/ 1037295 w 2663946"/>
                <a:gd name="connsiteY1118" fmla="*/ 168126 h 410520"/>
                <a:gd name="connsiteX1119" fmla="*/ 1036311 w 2663946"/>
                <a:gd name="connsiteY1119" fmla="*/ 164882 h 410520"/>
                <a:gd name="connsiteX1120" fmla="*/ 1035082 w 2663946"/>
                <a:gd name="connsiteY1120" fmla="*/ 159204 h 410520"/>
                <a:gd name="connsiteX1121" fmla="*/ 1034837 w 2663946"/>
                <a:gd name="connsiteY1121" fmla="*/ 156230 h 410520"/>
                <a:gd name="connsiteX1122" fmla="*/ 1035082 w 2663946"/>
                <a:gd name="connsiteY1122" fmla="*/ 156500 h 410520"/>
                <a:gd name="connsiteX1123" fmla="*/ 1035082 w 2663946"/>
                <a:gd name="connsiteY1123" fmla="*/ 150822 h 410520"/>
                <a:gd name="connsiteX1124" fmla="*/ 1035082 w 2663946"/>
                <a:gd name="connsiteY1124" fmla="*/ 150552 h 410520"/>
                <a:gd name="connsiteX1125" fmla="*/ 1035574 w 2663946"/>
                <a:gd name="connsiteY1125" fmla="*/ 145955 h 410520"/>
                <a:gd name="connsiteX1126" fmla="*/ 1036803 w 2663946"/>
                <a:gd name="connsiteY1126" fmla="*/ 140548 h 410520"/>
                <a:gd name="connsiteX1127" fmla="*/ 1037786 w 2663946"/>
                <a:gd name="connsiteY1127" fmla="*/ 137303 h 410520"/>
                <a:gd name="connsiteX1128" fmla="*/ 1039998 w 2663946"/>
                <a:gd name="connsiteY1128" fmla="*/ 132166 h 410520"/>
                <a:gd name="connsiteX1129" fmla="*/ 1042211 w 2663946"/>
                <a:gd name="connsiteY1129" fmla="*/ 128381 h 410520"/>
                <a:gd name="connsiteX1130" fmla="*/ 1044423 w 2663946"/>
                <a:gd name="connsiteY1130" fmla="*/ 125406 h 410520"/>
                <a:gd name="connsiteX1131" fmla="*/ 1046635 w 2663946"/>
                <a:gd name="connsiteY1131" fmla="*/ 122973 h 410520"/>
                <a:gd name="connsiteX1132" fmla="*/ 1051305 w 2663946"/>
                <a:gd name="connsiteY1132" fmla="*/ 119188 h 410520"/>
                <a:gd name="connsiteX1133" fmla="*/ 1055238 w 2663946"/>
                <a:gd name="connsiteY1133" fmla="*/ 117025 h 410520"/>
                <a:gd name="connsiteX1134" fmla="*/ 1064825 w 2663946"/>
                <a:gd name="connsiteY1134" fmla="*/ 114591 h 410520"/>
                <a:gd name="connsiteX1135" fmla="*/ 897796 w 2663946"/>
                <a:gd name="connsiteY1135" fmla="*/ 114591 h 410520"/>
                <a:gd name="connsiteX1136" fmla="*/ 910086 w 2663946"/>
                <a:gd name="connsiteY1136" fmla="*/ 116754 h 410520"/>
                <a:gd name="connsiteX1137" fmla="*/ 917460 w 2663946"/>
                <a:gd name="connsiteY1137" fmla="*/ 121351 h 410520"/>
                <a:gd name="connsiteX1138" fmla="*/ 920901 w 2663946"/>
                <a:gd name="connsiteY1138" fmla="*/ 124595 h 410520"/>
                <a:gd name="connsiteX1139" fmla="*/ 924343 w 2663946"/>
                <a:gd name="connsiteY1139" fmla="*/ 128921 h 410520"/>
                <a:gd name="connsiteX1140" fmla="*/ 926309 w 2663946"/>
                <a:gd name="connsiteY1140" fmla="*/ 132436 h 410520"/>
                <a:gd name="connsiteX1141" fmla="*/ 928521 w 2663946"/>
                <a:gd name="connsiteY1141" fmla="*/ 137844 h 410520"/>
                <a:gd name="connsiteX1142" fmla="*/ 929504 w 2663946"/>
                <a:gd name="connsiteY1142" fmla="*/ 141359 h 410520"/>
                <a:gd name="connsiteX1143" fmla="*/ 930487 w 2663946"/>
                <a:gd name="connsiteY1143" fmla="*/ 146496 h 410520"/>
                <a:gd name="connsiteX1144" fmla="*/ 930242 w 2663946"/>
                <a:gd name="connsiteY1144" fmla="*/ 160826 h 410520"/>
                <a:gd name="connsiteX1145" fmla="*/ 929259 w 2663946"/>
                <a:gd name="connsiteY1145" fmla="*/ 165693 h 410520"/>
                <a:gd name="connsiteX1146" fmla="*/ 928029 w 2663946"/>
                <a:gd name="connsiteY1146" fmla="*/ 169478 h 410520"/>
                <a:gd name="connsiteX1147" fmla="*/ 927046 w 2663946"/>
                <a:gd name="connsiteY1147" fmla="*/ 171912 h 410520"/>
                <a:gd name="connsiteX1148" fmla="*/ 924834 w 2663946"/>
                <a:gd name="connsiteY1148" fmla="*/ 176238 h 410520"/>
                <a:gd name="connsiteX1149" fmla="*/ 922622 w 2663946"/>
                <a:gd name="connsiteY1149" fmla="*/ 179482 h 410520"/>
                <a:gd name="connsiteX1150" fmla="*/ 919181 w 2663946"/>
                <a:gd name="connsiteY1150" fmla="*/ 183268 h 410520"/>
                <a:gd name="connsiteX1151" fmla="*/ 915985 w 2663946"/>
                <a:gd name="connsiteY1151" fmla="*/ 185971 h 410520"/>
                <a:gd name="connsiteX1152" fmla="*/ 910332 w 2663946"/>
                <a:gd name="connsiteY1152" fmla="*/ 189216 h 410520"/>
                <a:gd name="connsiteX1153" fmla="*/ 902466 w 2663946"/>
                <a:gd name="connsiteY1153" fmla="*/ 191379 h 410520"/>
                <a:gd name="connsiteX1154" fmla="*/ 901237 w 2663946"/>
                <a:gd name="connsiteY1154" fmla="*/ 191650 h 410520"/>
                <a:gd name="connsiteX1155" fmla="*/ 897058 w 2663946"/>
                <a:gd name="connsiteY1155" fmla="*/ 191650 h 410520"/>
                <a:gd name="connsiteX1156" fmla="*/ 896812 w 2663946"/>
                <a:gd name="connsiteY1156" fmla="*/ 191650 h 410520"/>
                <a:gd name="connsiteX1157" fmla="*/ 883785 w 2663946"/>
                <a:gd name="connsiteY1157" fmla="*/ 186783 h 410520"/>
                <a:gd name="connsiteX1158" fmla="*/ 879115 w 2663946"/>
                <a:gd name="connsiteY1158" fmla="*/ 182727 h 410520"/>
                <a:gd name="connsiteX1159" fmla="*/ 875919 w 2663946"/>
                <a:gd name="connsiteY1159" fmla="*/ 178942 h 410520"/>
                <a:gd name="connsiteX1160" fmla="*/ 873707 w 2663946"/>
                <a:gd name="connsiteY1160" fmla="*/ 175427 h 410520"/>
                <a:gd name="connsiteX1161" fmla="*/ 871495 w 2663946"/>
                <a:gd name="connsiteY1161" fmla="*/ 171101 h 410520"/>
                <a:gd name="connsiteX1162" fmla="*/ 870266 w 2663946"/>
                <a:gd name="connsiteY1162" fmla="*/ 168126 h 410520"/>
                <a:gd name="connsiteX1163" fmla="*/ 869282 w 2663946"/>
                <a:gd name="connsiteY1163" fmla="*/ 164882 h 410520"/>
                <a:gd name="connsiteX1164" fmla="*/ 868053 w 2663946"/>
                <a:gd name="connsiteY1164" fmla="*/ 159204 h 410520"/>
                <a:gd name="connsiteX1165" fmla="*/ 867808 w 2663946"/>
                <a:gd name="connsiteY1165" fmla="*/ 156230 h 410520"/>
                <a:gd name="connsiteX1166" fmla="*/ 868053 w 2663946"/>
                <a:gd name="connsiteY1166" fmla="*/ 156500 h 410520"/>
                <a:gd name="connsiteX1167" fmla="*/ 868053 w 2663946"/>
                <a:gd name="connsiteY1167" fmla="*/ 150822 h 410520"/>
                <a:gd name="connsiteX1168" fmla="*/ 868053 w 2663946"/>
                <a:gd name="connsiteY1168" fmla="*/ 150552 h 410520"/>
                <a:gd name="connsiteX1169" fmla="*/ 868545 w 2663946"/>
                <a:gd name="connsiteY1169" fmla="*/ 145955 h 410520"/>
                <a:gd name="connsiteX1170" fmla="*/ 869774 w 2663946"/>
                <a:gd name="connsiteY1170" fmla="*/ 140548 h 410520"/>
                <a:gd name="connsiteX1171" fmla="*/ 870757 w 2663946"/>
                <a:gd name="connsiteY1171" fmla="*/ 137303 h 410520"/>
                <a:gd name="connsiteX1172" fmla="*/ 872969 w 2663946"/>
                <a:gd name="connsiteY1172" fmla="*/ 132166 h 410520"/>
                <a:gd name="connsiteX1173" fmla="*/ 875182 w 2663946"/>
                <a:gd name="connsiteY1173" fmla="*/ 128381 h 410520"/>
                <a:gd name="connsiteX1174" fmla="*/ 877394 w 2663946"/>
                <a:gd name="connsiteY1174" fmla="*/ 125406 h 410520"/>
                <a:gd name="connsiteX1175" fmla="*/ 879606 w 2663946"/>
                <a:gd name="connsiteY1175" fmla="*/ 122973 h 410520"/>
                <a:gd name="connsiteX1176" fmla="*/ 884276 w 2663946"/>
                <a:gd name="connsiteY1176" fmla="*/ 119188 h 410520"/>
                <a:gd name="connsiteX1177" fmla="*/ 888209 w 2663946"/>
                <a:gd name="connsiteY1177" fmla="*/ 117025 h 410520"/>
                <a:gd name="connsiteX1178" fmla="*/ 897796 w 2663946"/>
                <a:gd name="connsiteY1178" fmla="*/ 114591 h 410520"/>
                <a:gd name="connsiteX1179" fmla="*/ 548889 w 2663946"/>
                <a:gd name="connsiteY1179" fmla="*/ 114591 h 410520"/>
                <a:gd name="connsiteX1180" fmla="*/ 561180 w 2663946"/>
                <a:gd name="connsiteY1180" fmla="*/ 116754 h 410520"/>
                <a:gd name="connsiteX1181" fmla="*/ 568554 w 2663946"/>
                <a:gd name="connsiteY1181" fmla="*/ 121351 h 410520"/>
                <a:gd name="connsiteX1182" fmla="*/ 571995 w 2663946"/>
                <a:gd name="connsiteY1182" fmla="*/ 124595 h 410520"/>
                <a:gd name="connsiteX1183" fmla="*/ 575436 w 2663946"/>
                <a:gd name="connsiteY1183" fmla="*/ 128921 h 410520"/>
                <a:gd name="connsiteX1184" fmla="*/ 577403 w 2663946"/>
                <a:gd name="connsiteY1184" fmla="*/ 132436 h 410520"/>
                <a:gd name="connsiteX1185" fmla="*/ 579615 w 2663946"/>
                <a:gd name="connsiteY1185" fmla="*/ 137844 h 410520"/>
                <a:gd name="connsiteX1186" fmla="*/ 580598 w 2663946"/>
                <a:gd name="connsiteY1186" fmla="*/ 141359 h 410520"/>
                <a:gd name="connsiteX1187" fmla="*/ 581581 w 2663946"/>
                <a:gd name="connsiteY1187" fmla="*/ 146496 h 410520"/>
                <a:gd name="connsiteX1188" fmla="*/ 581336 w 2663946"/>
                <a:gd name="connsiteY1188" fmla="*/ 160826 h 410520"/>
                <a:gd name="connsiteX1189" fmla="*/ 580352 w 2663946"/>
                <a:gd name="connsiteY1189" fmla="*/ 165693 h 410520"/>
                <a:gd name="connsiteX1190" fmla="*/ 579123 w 2663946"/>
                <a:gd name="connsiteY1190" fmla="*/ 169478 h 410520"/>
                <a:gd name="connsiteX1191" fmla="*/ 578140 w 2663946"/>
                <a:gd name="connsiteY1191" fmla="*/ 171912 h 410520"/>
                <a:gd name="connsiteX1192" fmla="*/ 575928 w 2663946"/>
                <a:gd name="connsiteY1192" fmla="*/ 176238 h 410520"/>
                <a:gd name="connsiteX1193" fmla="*/ 573715 w 2663946"/>
                <a:gd name="connsiteY1193" fmla="*/ 179482 h 410520"/>
                <a:gd name="connsiteX1194" fmla="*/ 570274 w 2663946"/>
                <a:gd name="connsiteY1194" fmla="*/ 183268 h 410520"/>
                <a:gd name="connsiteX1195" fmla="*/ 567079 w 2663946"/>
                <a:gd name="connsiteY1195" fmla="*/ 185971 h 410520"/>
                <a:gd name="connsiteX1196" fmla="*/ 561425 w 2663946"/>
                <a:gd name="connsiteY1196" fmla="*/ 189216 h 410520"/>
                <a:gd name="connsiteX1197" fmla="*/ 553559 w 2663946"/>
                <a:gd name="connsiteY1197" fmla="*/ 191379 h 410520"/>
                <a:gd name="connsiteX1198" fmla="*/ 552331 w 2663946"/>
                <a:gd name="connsiteY1198" fmla="*/ 191650 h 410520"/>
                <a:gd name="connsiteX1199" fmla="*/ 548152 w 2663946"/>
                <a:gd name="connsiteY1199" fmla="*/ 191650 h 410520"/>
                <a:gd name="connsiteX1200" fmla="*/ 547906 w 2663946"/>
                <a:gd name="connsiteY1200" fmla="*/ 191650 h 410520"/>
                <a:gd name="connsiteX1201" fmla="*/ 534879 w 2663946"/>
                <a:gd name="connsiteY1201" fmla="*/ 186783 h 410520"/>
                <a:gd name="connsiteX1202" fmla="*/ 530208 w 2663946"/>
                <a:gd name="connsiteY1202" fmla="*/ 182727 h 410520"/>
                <a:gd name="connsiteX1203" fmla="*/ 527013 w 2663946"/>
                <a:gd name="connsiteY1203" fmla="*/ 178942 h 410520"/>
                <a:gd name="connsiteX1204" fmla="*/ 524801 w 2663946"/>
                <a:gd name="connsiteY1204" fmla="*/ 175427 h 410520"/>
                <a:gd name="connsiteX1205" fmla="*/ 522588 w 2663946"/>
                <a:gd name="connsiteY1205" fmla="*/ 171101 h 410520"/>
                <a:gd name="connsiteX1206" fmla="*/ 521359 w 2663946"/>
                <a:gd name="connsiteY1206" fmla="*/ 168126 h 410520"/>
                <a:gd name="connsiteX1207" fmla="*/ 520376 w 2663946"/>
                <a:gd name="connsiteY1207" fmla="*/ 164882 h 410520"/>
                <a:gd name="connsiteX1208" fmla="*/ 519147 w 2663946"/>
                <a:gd name="connsiteY1208" fmla="*/ 159204 h 410520"/>
                <a:gd name="connsiteX1209" fmla="*/ 518901 w 2663946"/>
                <a:gd name="connsiteY1209" fmla="*/ 156230 h 410520"/>
                <a:gd name="connsiteX1210" fmla="*/ 519147 w 2663946"/>
                <a:gd name="connsiteY1210" fmla="*/ 156500 h 410520"/>
                <a:gd name="connsiteX1211" fmla="*/ 519147 w 2663946"/>
                <a:gd name="connsiteY1211" fmla="*/ 150822 h 410520"/>
                <a:gd name="connsiteX1212" fmla="*/ 519147 w 2663946"/>
                <a:gd name="connsiteY1212" fmla="*/ 150552 h 410520"/>
                <a:gd name="connsiteX1213" fmla="*/ 519639 w 2663946"/>
                <a:gd name="connsiteY1213" fmla="*/ 145955 h 410520"/>
                <a:gd name="connsiteX1214" fmla="*/ 520868 w 2663946"/>
                <a:gd name="connsiteY1214" fmla="*/ 140548 h 410520"/>
                <a:gd name="connsiteX1215" fmla="*/ 521851 w 2663946"/>
                <a:gd name="connsiteY1215" fmla="*/ 137303 h 410520"/>
                <a:gd name="connsiteX1216" fmla="*/ 524063 w 2663946"/>
                <a:gd name="connsiteY1216" fmla="*/ 132166 h 410520"/>
                <a:gd name="connsiteX1217" fmla="*/ 526275 w 2663946"/>
                <a:gd name="connsiteY1217" fmla="*/ 128381 h 410520"/>
                <a:gd name="connsiteX1218" fmla="*/ 528488 w 2663946"/>
                <a:gd name="connsiteY1218" fmla="*/ 125406 h 410520"/>
                <a:gd name="connsiteX1219" fmla="*/ 530700 w 2663946"/>
                <a:gd name="connsiteY1219" fmla="*/ 122973 h 410520"/>
                <a:gd name="connsiteX1220" fmla="*/ 535370 w 2663946"/>
                <a:gd name="connsiteY1220" fmla="*/ 119188 h 410520"/>
                <a:gd name="connsiteX1221" fmla="*/ 539303 w 2663946"/>
                <a:gd name="connsiteY1221" fmla="*/ 117025 h 410520"/>
                <a:gd name="connsiteX1222" fmla="*/ 548889 w 2663946"/>
                <a:gd name="connsiteY1222" fmla="*/ 114591 h 410520"/>
                <a:gd name="connsiteX1223" fmla="*/ 366938 w 2663946"/>
                <a:gd name="connsiteY1223" fmla="*/ 114591 h 410520"/>
                <a:gd name="connsiteX1224" fmla="*/ 379228 w 2663946"/>
                <a:gd name="connsiteY1224" fmla="*/ 116754 h 410520"/>
                <a:gd name="connsiteX1225" fmla="*/ 386603 w 2663946"/>
                <a:gd name="connsiteY1225" fmla="*/ 121351 h 410520"/>
                <a:gd name="connsiteX1226" fmla="*/ 390044 w 2663946"/>
                <a:gd name="connsiteY1226" fmla="*/ 124595 h 410520"/>
                <a:gd name="connsiteX1227" fmla="*/ 393485 w 2663946"/>
                <a:gd name="connsiteY1227" fmla="*/ 128921 h 410520"/>
                <a:gd name="connsiteX1228" fmla="*/ 395452 w 2663946"/>
                <a:gd name="connsiteY1228" fmla="*/ 132436 h 410520"/>
                <a:gd name="connsiteX1229" fmla="*/ 397664 w 2663946"/>
                <a:gd name="connsiteY1229" fmla="*/ 137844 h 410520"/>
                <a:gd name="connsiteX1230" fmla="*/ 398647 w 2663946"/>
                <a:gd name="connsiteY1230" fmla="*/ 141359 h 410520"/>
                <a:gd name="connsiteX1231" fmla="*/ 399630 w 2663946"/>
                <a:gd name="connsiteY1231" fmla="*/ 146496 h 410520"/>
                <a:gd name="connsiteX1232" fmla="*/ 399384 w 2663946"/>
                <a:gd name="connsiteY1232" fmla="*/ 160826 h 410520"/>
                <a:gd name="connsiteX1233" fmla="*/ 398401 w 2663946"/>
                <a:gd name="connsiteY1233" fmla="*/ 165693 h 410520"/>
                <a:gd name="connsiteX1234" fmla="*/ 397172 w 2663946"/>
                <a:gd name="connsiteY1234" fmla="*/ 169478 h 410520"/>
                <a:gd name="connsiteX1235" fmla="*/ 396189 w 2663946"/>
                <a:gd name="connsiteY1235" fmla="*/ 171912 h 410520"/>
                <a:gd name="connsiteX1236" fmla="*/ 393977 w 2663946"/>
                <a:gd name="connsiteY1236" fmla="*/ 176238 h 410520"/>
                <a:gd name="connsiteX1237" fmla="*/ 391764 w 2663946"/>
                <a:gd name="connsiteY1237" fmla="*/ 179482 h 410520"/>
                <a:gd name="connsiteX1238" fmla="*/ 388323 w 2663946"/>
                <a:gd name="connsiteY1238" fmla="*/ 183268 h 410520"/>
                <a:gd name="connsiteX1239" fmla="*/ 385128 w 2663946"/>
                <a:gd name="connsiteY1239" fmla="*/ 185971 h 410520"/>
                <a:gd name="connsiteX1240" fmla="*/ 379474 w 2663946"/>
                <a:gd name="connsiteY1240" fmla="*/ 189216 h 410520"/>
                <a:gd name="connsiteX1241" fmla="*/ 371609 w 2663946"/>
                <a:gd name="connsiteY1241" fmla="*/ 191379 h 410520"/>
                <a:gd name="connsiteX1242" fmla="*/ 370380 w 2663946"/>
                <a:gd name="connsiteY1242" fmla="*/ 191650 h 410520"/>
                <a:gd name="connsiteX1243" fmla="*/ 366201 w 2663946"/>
                <a:gd name="connsiteY1243" fmla="*/ 191650 h 410520"/>
                <a:gd name="connsiteX1244" fmla="*/ 365955 w 2663946"/>
                <a:gd name="connsiteY1244" fmla="*/ 191650 h 410520"/>
                <a:gd name="connsiteX1245" fmla="*/ 352927 w 2663946"/>
                <a:gd name="connsiteY1245" fmla="*/ 186783 h 410520"/>
                <a:gd name="connsiteX1246" fmla="*/ 348257 w 2663946"/>
                <a:gd name="connsiteY1246" fmla="*/ 182727 h 410520"/>
                <a:gd name="connsiteX1247" fmla="*/ 345062 w 2663946"/>
                <a:gd name="connsiteY1247" fmla="*/ 178942 h 410520"/>
                <a:gd name="connsiteX1248" fmla="*/ 342850 w 2663946"/>
                <a:gd name="connsiteY1248" fmla="*/ 175427 h 410520"/>
                <a:gd name="connsiteX1249" fmla="*/ 340637 w 2663946"/>
                <a:gd name="connsiteY1249" fmla="*/ 171101 h 410520"/>
                <a:gd name="connsiteX1250" fmla="*/ 339408 w 2663946"/>
                <a:gd name="connsiteY1250" fmla="*/ 168126 h 410520"/>
                <a:gd name="connsiteX1251" fmla="*/ 338425 w 2663946"/>
                <a:gd name="connsiteY1251" fmla="*/ 164882 h 410520"/>
                <a:gd name="connsiteX1252" fmla="*/ 337196 w 2663946"/>
                <a:gd name="connsiteY1252" fmla="*/ 159204 h 410520"/>
                <a:gd name="connsiteX1253" fmla="*/ 336950 w 2663946"/>
                <a:gd name="connsiteY1253" fmla="*/ 156230 h 410520"/>
                <a:gd name="connsiteX1254" fmla="*/ 337196 w 2663946"/>
                <a:gd name="connsiteY1254" fmla="*/ 156500 h 410520"/>
                <a:gd name="connsiteX1255" fmla="*/ 337196 w 2663946"/>
                <a:gd name="connsiteY1255" fmla="*/ 150822 h 410520"/>
                <a:gd name="connsiteX1256" fmla="*/ 337196 w 2663946"/>
                <a:gd name="connsiteY1256" fmla="*/ 150552 h 410520"/>
                <a:gd name="connsiteX1257" fmla="*/ 337687 w 2663946"/>
                <a:gd name="connsiteY1257" fmla="*/ 145955 h 410520"/>
                <a:gd name="connsiteX1258" fmla="*/ 338917 w 2663946"/>
                <a:gd name="connsiteY1258" fmla="*/ 140548 h 410520"/>
                <a:gd name="connsiteX1259" fmla="*/ 339900 w 2663946"/>
                <a:gd name="connsiteY1259" fmla="*/ 137303 h 410520"/>
                <a:gd name="connsiteX1260" fmla="*/ 342112 w 2663946"/>
                <a:gd name="connsiteY1260" fmla="*/ 132166 h 410520"/>
                <a:gd name="connsiteX1261" fmla="*/ 344324 w 2663946"/>
                <a:gd name="connsiteY1261" fmla="*/ 128381 h 410520"/>
                <a:gd name="connsiteX1262" fmla="*/ 346536 w 2663946"/>
                <a:gd name="connsiteY1262" fmla="*/ 125406 h 410520"/>
                <a:gd name="connsiteX1263" fmla="*/ 348749 w 2663946"/>
                <a:gd name="connsiteY1263" fmla="*/ 122973 h 410520"/>
                <a:gd name="connsiteX1264" fmla="*/ 353419 w 2663946"/>
                <a:gd name="connsiteY1264" fmla="*/ 119188 h 410520"/>
                <a:gd name="connsiteX1265" fmla="*/ 357352 w 2663946"/>
                <a:gd name="connsiteY1265" fmla="*/ 117025 h 410520"/>
                <a:gd name="connsiteX1266" fmla="*/ 366938 w 2663946"/>
                <a:gd name="connsiteY1266" fmla="*/ 114591 h 410520"/>
                <a:gd name="connsiteX1267" fmla="*/ 123893 w 2663946"/>
                <a:gd name="connsiteY1267" fmla="*/ 114591 h 410520"/>
                <a:gd name="connsiteX1268" fmla="*/ 136183 w 2663946"/>
                <a:gd name="connsiteY1268" fmla="*/ 116754 h 410520"/>
                <a:gd name="connsiteX1269" fmla="*/ 143557 w 2663946"/>
                <a:gd name="connsiteY1269" fmla="*/ 121351 h 410520"/>
                <a:gd name="connsiteX1270" fmla="*/ 146998 w 2663946"/>
                <a:gd name="connsiteY1270" fmla="*/ 124595 h 410520"/>
                <a:gd name="connsiteX1271" fmla="*/ 150439 w 2663946"/>
                <a:gd name="connsiteY1271" fmla="*/ 128921 h 410520"/>
                <a:gd name="connsiteX1272" fmla="*/ 152406 w 2663946"/>
                <a:gd name="connsiteY1272" fmla="*/ 132436 h 410520"/>
                <a:gd name="connsiteX1273" fmla="*/ 154618 w 2663946"/>
                <a:gd name="connsiteY1273" fmla="*/ 137844 h 410520"/>
                <a:gd name="connsiteX1274" fmla="*/ 155601 w 2663946"/>
                <a:gd name="connsiteY1274" fmla="*/ 141359 h 410520"/>
                <a:gd name="connsiteX1275" fmla="*/ 156584 w 2663946"/>
                <a:gd name="connsiteY1275" fmla="*/ 146496 h 410520"/>
                <a:gd name="connsiteX1276" fmla="*/ 156339 w 2663946"/>
                <a:gd name="connsiteY1276" fmla="*/ 160826 h 410520"/>
                <a:gd name="connsiteX1277" fmla="*/ 155355 w 2663946"/>
                <a:gd name="connsiteY1277" fmla="*/ 165693 h 410520"/>
                <a:gd name="connsiteX1278" fmla="*/ 154126 w 2663946"/>
                <a:gd name="connsiteY1278" fmla="*/ 169478 h 410520"/>
                <a:gd name="connsiteX1279" fmla="*/ 153143 w 2663946"/>
                <a:gd name="connsiteY1279" fmla="*/ 171912 h 410520"/>
                <a:gd name="connsiteX1280" fmla="*/ 150931 w 2663946"/>
                <a:gd name="connsiteY1280" fmla="*/ 176238 h 410520"/>
                <a:gd name="connsiteX1281" fmla="*/ 148719 w 2663946"/>
                <a:gd name="connsiteY1281" fmla="*/ 179482 h 410520"/>
                <a:gd name="connsiteX1282" fmla="*/ 145277 w 2663946"/>
                <a:gd name="connsiteY1282" fmla="*/ 183268 h 410520"/>
                <a:gd name="connsiteX1283" fmla="*/ 142082 w 2663946"/>
                <a:gd name="connsiteY1283" fmla="*/ 185971 h 410520"/>
                <a:gd name="connsiteX1284" fmla="*/ 136428 w 2663946"/>
                <a:gd name="connsiteY1284" fmla="*/ 189216 h 410520"/>
                <a:gd name="connsiteX1285" fmla="*/ 128563 w 2663946"/>
                <a:gd name="connsiteY1285" fmla="*/ 191379 h 410520"/>
                <a:gd name="connsiteX1286" fmla="*/ 127334 w 2663946"/>
                <a:gd name="connsiteY1286" fmla="*/ 191650 h 410520"/>
                <a:gd name="connsiteX1287" fmla="*/ 123155 w 2663946"/>
                <a:gd name="connsiteY1287" fmla="*/ 191650 h 410520"/>
                <a:gd name="connsiteX1288" fmla="*/ 122909 w 2663946"/>
                <a:gd name="connsiteY1288" fmla="*/ 191650 h 410520"/>
                <a:gd name="connsiteX1289" fmla="*/ 109882 w 2663946"/>
                <a:gd name="connsiteY1289" fmla="*/ 186783 h 410520"/>
                <a:gd name="connsiteX1290" fmla="*/ 105211 w 2663946"/>
                <a:gd name="connsiteY1290" fmla="*/ 182727 h 410520"/>
                <a:gd name="connsiteX1291" fmla="*/ 102016 w 2663946"/>
                <a:gd name="connsiteY1291" fmla="*/ 178942 h 410520"/>
                <a:gd name="connsiteX1292" fmla="*/ 99804 w 2663946"/>
                <a:gd name="connsiteY1292" fmla="*/ 175427 h 410520"/>
                <a:gd name="connsiteX1293" fmla="*/ 97591 w 2663946"/>
                <a:gd name="connsiteY1293" fmla="*/ 171101 h 410520"/>
                <a:gd name="connsiteX1294" fmla="*/ 96362 w 2663946"/>
                <a:gd name="connsiteY1294" fmla="*/ 168126 h 410520"/>
                <a:gd name="connsiteX1295" fmla="*/ 95379 w 2663946"/>
                <a:gd name="connsiteY1295" fmla="*/ 164882 h 410520"/>
                <a:gd name="connsiteX1296" fmla="*/ 94150 w 2663946"/>
                <a:gd name="connsiteY1296" fmla="*/ 159204 h 410520"/>
                <a:gd name="connsiteX1297" fmla="*/ 93904 w 2663946"/>
                <a:gd name="connsiteY1297" fmla="*/ 156230 h 410520"/>
                <a:gd name="connsiteX1298" fmla="*/ 94150 w 2663946"/>
                <a:gd name="connsiteY1298" fmla="*/ 156500 h 410520"/>
                <a:gd name="connsiteX1299" fmla="*/ 94150 w 2663946"/>
                <a:gd name="connsiteY1299" fmla="*/ 150822 h 410520"/>
                <a:gd name="connsiteX1300" fmla="*/ 94150 w 2663946"/>
                <a:gd name="connsiteY1300" fmla="*/ 150552 h 410520"/>
                <a:gd name="connsiteX1301" fmla="*/ 94642 w 2663946"/>
                <a:gd name="connsiteY1301" fmla="*/ 145955 h 410520"/>
                <a:gd name="connsiteX1302" fmla="*/ 95871 w 2663946"/>
                <a:gd name="connsiteY1302" fmla="*/ 140548 h 410520"/>
                <a:gd name="connsiteX1303" fmla="*/ 96854 w 2663946"/>
                <a:gd name="connsiteY1303" fmla="*/ 137303 h 410520"/>
                <a:gd name="connsiteX1304" fmla="*/ 99066 w 2663946"/>
                <a:gd name="connsiteY1304" fmla="*/ 132166 h 410520"/>
                <a:gd name="connsiteX1305" fmla="*/ 101279 w 2663946"/>
                <a:gd name="connsiteY1305" fmla="*/ 128381 h 410520"/>
                <a:gd name="connsiteX1306" fmla="*/ 103491 w 2663946"/>
                <a:gd name="connsiteY1306" fmla="*/ 125406 h 410520"/>
                <a:gd name="connsiteX1307" fmla="*/ 105703 w 2663946"/>
                <a:gd name="connsiteY1307" fmla="*/ 122973 h 410520"/>
                <a:gd name="connsiteX1308" fmla="*/ 110373 w 2663946"/>
                <a:gd name="connsiteY1308" fmla="*/ 119188 h 410520"/>
                <a:gd name="connsiteX1309" fmla="*/ 114306 w 2663946"/>
                <a:gd name="connsiteY1309" fmla="*/ 117025 h 410520"/>
                <a:gd name="connsiteX1310" fmla="*/ 123893 w 2663946"/>
                <a:gd name="connsiteY1310" fmla="*/ 114591 h 410520"/>
                <a:gd name="connsiteX1311" fmla="*/ 33147 w 2663946"/>
                <a:gd name="connsiteY1311" fmla="*/ 113953 h 410520"/>
                <a:gd name="connsiteX1312" fmla="*/ 57942 w 2663946"/>
                <a:gd name="connsiteY1312" fmla="*/ 134162 h 410520"/>
                <a:gd name="connsiteX1313" fmla="*/ 58422 w 2663946"/>
                <a:gd name="connsiteY1313" fmla="*/ 138920 h 410520"/>
                <a:gd name="connsiteX1314" fmla="*/ 59840 w 2663946"/>
                <a:gd name="connsiteY1314" fmla="*/ 138920 h 410520"/>
                <a:gd name="connsiteX1315" fmla="*/ 66294 w 2663946"/>
                <a:gd name="connsiteY1315" fmla="*/ 145206 h 410520"/>
                <a:gd name="connsiteX1316" fmla="*/ 66294 w 2663946"/>
                <a:gd name="connsiteY1316" fmla="*/ 194928 h 410520"/>
                <a:gd name="connsiteX1317" fmla="*/ 59840 w 2663946"/>
                <a:gd name="connsiteY1317" fmla="*/ 201214 h 410520"/>
                <a:gd name="connsiteX1318" fmla="*/ 6453 w 2663946"/>
                <a:gd name="connsiteY1318" fmla="*/ 201214 h 410520"/>
                <a:gd name="connsiteX1319" fmla="*/ 0 w 2663946"/>
                <a:gd name="connsiteY1319" fmla="*/ 194928 h 410520"/>
                <a:gd name="connsiteX1320" fmla="*/ 0 w 2663946"/>
                <a:gd name="connsiteY1320" fmla="*/ 145206 h 410520"/>
                <a:gd name="connsiteX1321" fmla="*/ 6453 w 2663946"/>
                <a:gd name="connsiteY1321" fmla="*/ 138920 h 410520"/>
                <a:gd name="connsiteX1322" fmla="*/ 7288 w 2663946"/>
                <a:gd name="connsiteY1322" fmla="*/ 138920 h 410520"/>
                <a:gd name="connsiteX1323" fmla="*/ 7872 w 2663946"/>
                <a:gd name="connsiteY1323" fmla="*/ 138920 h 410520"/>
                <a:gd name="connsiteX1324" fmla="*/ 8351 w 2663946"/>
                <a:gd name="connsiteY1324" fmla="*/ 134162 h 410520"/>
                <a:gd name="connsiteX1325" fmla="*/ 33147 w 2663946"/>
                <a:gd name="connsiteY1325" fmla="*/ 113953 h 410520"/>
                <a:gd name="connsiteX1326" fmla="*/ 2537931 w 2663946"/>
                <a:gd name="connsiteY1326" fmla="*/ 106365 h 410520"/>
                <a:gd name="connsiteX1327" fmla="*/ 2562727 w 2663946"/>
                <a:gd name="connsiteY1327" fmla="*/ 126574 h 410520"/>
                <a:gd name="connsiteX1328" fmla="*/ 2563206 w 2663946"/>
                <a:gd name="connsiteY1328" fmla="*/ 131332 h 410520"/>
                <a:gd name="connsiteX1329" fmla="*/ 2564625 w 2663946"/>
                <a:gd name="connsiteY1329" fmla="*/ 131332 h 410520"/>
                <a:gd name="connsiteX1330" fmla="*/ 2571078 w 2663946"/>
                <a:gd name="connsiteY1330" fmla="*/ 137618 h 410520"/>
                <a:gd name="connsiteX1331" fmla="*/ 2571078 w 2663946"/>
                <a:gd name="connsiteY1331" fmla="*/ 187340 h 410520"/>
                <a:gd name="connsiteX1332" fmla="*/ 2564625 w 2663946"/>
                <a:gd name="connsiteY1332" fmla="*/ 193626 h 410520"/>
                <a:gd name="connsiteX1333" fmla="*/ 2511238 w 2663946"/>
                <a:gd name="connsiteY1333" fmla="*/ 193626 h 410520"/>
                <a:gd name="connsiteX1334" fmla="*/ 2504784 w 2663946"/>
                <a:gd name="connsiteY1334" fmla="*/ 187340 h 410520"/>
                <a:gd name="connsiteX1335" fmla="*/ 2504784 w 2663946"/>
                <a:gd name="connsiteY1335" fmla="*/ 137618 h 410520"/>
                <a:gd name="connsiteX1336" fmla="*/ 2511238 w 2663946"/>
                <a:gd name="connsiteY1336" fmla="*/ 131332 h 410520"/>
                <a:gd name="connsiteX1337" fmla="*/ 2512072 w 2663946"/>
                <a:gd name="connsiteY1337" fmla="*/ 131332 h 410520"/>
                <a:gd name="connsiteX1338" fmla="*/ 2512656 w 2663946"/>
                <a:gd name="connsiteY1338" fmla="*/ 131332 h 410520"/>
                <a:gd name="connsiteX1339" fmla="*/ 2513136 w 2663946"/>
                <a:gd name="connsiteY1339" fmla="*/ 126574 h 410520"/>
                <a:gd name="connsiteX1340" fmla="*/ 2537931 w 2663946"/>
                <a:gd name="connsiteY1340" fmla="*/ 106365 h 410520"/>
                <a:gd name="connsiteX1341" fmla="*/ 2112934 w 2663946"/>
                <a:gd name="connsiteY1341" fmla="*/ 106365 h 410520"/>
                <a:gd name="connsiteX1342" fmla="*/ 2137730 w 2663946"/>
                <a:gd name="connsiteY1342" fmla="*/ 126574 h 410520"/>
                <a:gd name="connsiteX1343" fmla="*/ 2138209 w 2663946"/>
                <a:gd name="connsiteY1343" fmla="*/ 131332 h 410520"/>
                <a:gd name="connsiteX1344" fmla="*/ 2139628 w 2663946"/>
                <a:gd name="connsiteY1344" fmla="*/ 131332 h 410520"/>
                <a:gd name="connsiteX1345" fmla="*/ 2146081 w 2663946"/>
                <a:gd name="connsiteY1345" fmla="*/ 137618 h 410520"/>
                <a:gd name="connsiteX1346" fmla="*/ 2146081 w 2663946"/>
                <a:gd name="connsiteY1346" fmla="*/ 187340 h 410520"/>
                <a:gd name="connsiteX1347" fmla="*/ 2139628 w 2663946"/>
                <a:gd name="connsiteY1347" fmla="*/ 193626 h 410520"/>
                <a:gd name="connsiteX1348" fmla="*/ 2086241 w 2663946"/>
                <a:gd name="connsiteY1348" fmla="*/ 193626 h 410520"/>
                <a:gd name="connsiteX1349" fmla="*/ 2079787 w 2663946"/>
                <a:gd name="connsiteY1349" fmla="*/ 187340 h 410520"/>
                <a:gd name="connsiteX1350" fmla="*/ 2079787 w 2663946"/>
                <a:gd name="connsiteY1350" fmla="*/ 137618 h 410520"/>
                <a:gd name="connsiteX1351" fmla="*/ 2086241 w 2663946"/>
                <a:gd name="connsiteY1351" fmla="*/ 131332 h 410520"/>
                <a:gd name="connsiteX1352" fmla="*/ 2087075 w 2663946"/>
                <a:gd name="connsiteY1352" fmla="*/ 131332 h 410520"/>
                <a:gd name="connsiteX1353" fmla="*/ 2087659 w 2663946"/>
                <a:gd name="connsiteY1353" fmla="*/ 131332 h 410520"/>
                <a:gd name="connsiteX1354" fmla="*/ 2088139 w 2663946"/>
                <a:gd name="connsiteY1354" fmla="*/ 126574 h 410520"/>
                <a:gd name="connsiteX1355" fmla="*/ 2112934 w 2663946"/>
                <a:gd name="connsiteY1355" fmla="*/ 106365 h 410520"/>
                <a:gd name="connsiteX1356" fmla="*/ 1854966 w 2663946"/>
                <a:gd name="connsiteY1356" fmla="*/ 106365 h 410520"/>
                <a:gd name="connsiteX1357" fmla="*/ 1879762 w 2663946"/>
                <a:gd name="connsiteY1357" fmla="*/ 126574 h 410520"/>
                <a:gd name="connsiteX1358" fmla="*/ 1880241 w 2663946"/>
                <a:gd name="connsiteY1358" fmla="*/ 131332 h 410520"/>
                <a:gd name="connsiteX1359" fmla="*/ 1881660 w 2663946"/>
                <a:gd name="connsiteY1359" fmla="*/ 131332 h 410520"/>
                <a:gd name="connsiteX1360" fmla="*/ 1888113 w 2663946"/>
                <a:gd name="connsiteY1360" fmla="*/ 137618 h 410520"/>
                <a:gd name="connsiteX1361" fmla="*/ 1888113 w 2663946"/>
                <a:gd name="connsiteY1361" fmla="*/ 187340 h 410520"/>
                <a:gd name="connsiteX1362" fmla="*/ 1881660 w 2663946"/>
                <a:gd name="connsiteY1362" fmla="*/ 193626 h 410520"/>
                <a:gd name="connsiteX1363" fmla="*/ 1828273 w 2663946"/>
                <a:gd name="connsiteY1363" fmla="*/ 193626 h 410520"/>
                <a:gd name="connsiteX1364" fmla="*/ 1821819 w 2663946"/>
                <a:gd name="connsiteY1364" fmla="*/ 187340 h 410520"/>
                <a:gd name="connsiteX1365" fmla="*/ 1821819 w 2663946"/>
                <a:gd name="connsiteY1365" fmla="*/ 137618 h 410520"/>
                <a:gd name="connsiteX1366" fmla="*/ 1828273 w 2663946"/>
                <a:gd name="connsiteY1366" fmla="*/ 131332 h 410520"/>
                <a:gd name="connsiteX1367" fmla="*/ 1829107 w 2663946"/>
                <a:gd name="connsiteY1367" fmla="*/ 131332 h 410520"/>
                <a:gd name="connsiteX1368" fmla="*/ 1829691 w 2663946"/>
                <a:gd name="connsiteY1368" fmla="*/ 131332 h 410520"/>
                <a:gd name="connsiteX1369" fmla="*/ 1830171 w 2663946"/>
                <a:gd name="connsiteY1369" fmla="*/ 126574 h 410520"/>
                <a:gd name="connsiteX1370" fmla="*/ 1854966 w 2663946"/>
                <a:gd name="connsiteY1370" fmla="*/ 106365 h 410520"/>
                <a:gd name="connsiteX1371" fmla="*/ 1764027 w 2663946"/>
                <a:gd name="connsiteY1371" fmla="*/ 106365 h 410520"/>
                <a:gd name="connsiteX1372" fmla="*/ 1788823 w 2663946"/>
                <a:gd name="connsiteY1372" fmla="*/ 126574 h 410520"/>
                <a:gd name="connsiteX1373" fmla="*/ 1789302 w 2663946"/>
                <a:gd name="connsiteY1373" fmla="*/ 131332 h 410520"/>
                <a:gd name="connsiteX1374" fmla="*/ 1790721 w 2663946"/>
                <a:gd name="connsiteY1374" fmla="*/ 131332 h 410520"/>
                <a:gd name="connsiteX1375" fmla="*/ 1797174 w 2663946"/>
                <a:gd name="connsiteY1375" fmla="*/ 137618 h 410520"/>
                <a:gd name="connsiteX1376" fmla="*/ 1797174 w 2663946"/>
                <a:gd name="connsiteY1376" fmla="*/ 187340 h 410520"/>
                <a:gd name="connsiteX1377" fmla="*/ 1790721 w 2663946"/>
                <a:gd name="connsiteY1377" fmla="*/ 193626 h 410520"/>
                <a:gd name="connsiteX1378" fmla="*/ 1737333 w 2663946"/>
                <a:gd name="connsiteY1378" fmla="*/ 193626 h 410520"/>
                <a:gd name="connsiteX1379" fmla="*/ 1730880 w 2663946"/>
                <a:gd name="connsiteY1379" fmla="*/ 187340 h 410520"/>
                <a:gd name="connsiteX1380" fmla="*/ 1730880 w 2663946"/>
                <a:gd name="connsiteY1380" fmla="*/ 137618 h 410520"/>
                <a:gd name="connsiteX1381" fmla="*/ 1737333 w 2663946"/>
                <a:gd name="connsiteY1381" fmla="*/ 131332 h 410520"/>
                <a:gd name="connsiteX1382" fmla="*/ 1738168 w 2663946"/>
                <a:gd name="connsiteY1382" fmla="*/ 131332 h 410520"/>
                <a:gd name="connsiteX1383" fmla="*/ 1738752 w 2663946"/>
                <a:gd name="connsiteY1383" fmla="*/ 131332 h 410520"/>
                <a:gd name="connsiteX1384" fmla="*/ 1739232 w 2663946"/>
                <a:gd name="connsiteY1384" fmla="*/ 126574 h 410520"/>
                <a:gd name="connsiteX1385" fmla="*/ 1764027 w 2663946"/>
                <a:gd name="connsiteY1385" fmla="*/ 106365 h 410520"/>
                <a:gd name="connsiteX1386" fmla="*/ 1506059 w 2663946"/>
                <a:gd name="connsiteY1386" fmla="*/ 106365 h 410520"/>
                <a:gd name="connsiteX1387" fmla="*/ 1530855 w 2663946"/>
                <a:gd name="connsiteY1387" fmla="*/ 126574 h 410520"/>
                <a:gd name="connsiteX1388" fmla="*/ 1531334 w 2663946"/>
                <a:gd name="connsiteY1388" fmla="*/ 131332 h 410520"/>
                <a:gd name="connsiteX1389" fmla="*/ 1532753 w 2663946"/>
                <a:gd name="connsiteY1389" fmla="*/ 131332 h 410520"/>
                <a:gd name="connsiteX1390" fmla="*/ 1539206 w 2663946"/>
                <a:gd name="connsiteY1390" fmla="*/ 137618 h 410520"/>
                <a:gd name="connsiteX1391" fmla="*/ 1539206 w 2663946"/>
                <a:gd name="connsiteY1391" fmla="*/ 187340 h 410520"/>
                <a:gd name="connsiteX1392" fmla="*/ 1532753 w 2663946"/>
                <a:gd name="connsiteY1392" fmla="*/ 193626 h 410520"/>
                <a:gd name="connsiteX1393" fmla="*/ 1479365 w 2663946"/>
                <a:gd name="connsiteY1393" fmla="*/ 193626 h 410520"/>
                <a:gd name="connsiteX1394" fmla="*/ 1472912 w 2663946"/>
                <a:gd name="connsiteY1394" fmla="*/ 187340 h 410520"/>
                <a:gd name="connsiteX1395" fmla="*/ 1472912 w 2663946"/>
                <a:gd name="connsiteY1395" fmla="*/ 137618 h 410520"/>
                <a:gd name="connsiteX1396" fmla="*/ 1479365 w 2663946"/>
                <a:gd name="connsiteY1396" fmla="*/ 131332 h 410520"/>
                <a:gd name="connsiteX1397" fmla="*/ 1480200 w 2663946"/>
                <a:gd name="connsiteY1397" fmla="*/ 131332 h 410520"/>
                <a:gd name="connsiteX1398" fmla="*/ 1480784 w 2663946"/>
                <a:gd name="connsiteY1398" fmla="*/ 131332 h 410520"/>
                <a:gd name="connsiteX1399" fmla="*/ 1481264 w 2663946"/>
                <a:gd name="connsiteY1399" fmla="*/ 126574 h 410520"/>
                <a:gd name="connsiteX1400" fmla="*/ 1506059 w 2663946"/>
                <a:gd name="connsiteY1400" fmla="*/ 106365 h 410520"/>
                <a:gd name="connsiteX1401" fmla="*/ 1415120 w 2663946"/>
                <a:gd name="connsiteY1401" fmla="*/ 106365 h 410520"/>
                <a:gd name="connsiteX1402" fmla="*/ 1439916 w 2663946"/>
                <a:gd name="connsiteY1402" fmla="*/ 126574 h 410520"/>
                <a:gd name="connsiteX1403" fmla="*/ 1440395 w 2663946"/>
                <a:gd name="connsiteY1403" fmla="*/ 131332 h 410520"/>
                <a:gd name="connsiteX1404" fmla="*/ 1441814 w 2663946"/>
                <a:gd name="connsiteY1404" fmla="*/ 131332 h 410520"/>
                <a:gd name="connsiteX1405" fmla="*/ 1448267 w 2663946"/>
                <a:gd name="connsiteY1405" fmla="*/ 137618 h 410520"/>
                <a:gd name="connsiteX1406" fmla="*/ 1448267 w 2663946"/>
                <a:gd name="connsiteY1406" fmla="*/ 187340 h 410520"/>
                <a:gd name="connsiteX1407" fmla="*/ 1441814 w 2663946"/>
                <a:gd name="connsiteY1407" fmla="*/ 193626 h 410520"/>
                <a:gd name="connsiteX1408" fmla="*/ 1388426 w 2663946"/>
                <a:gd name="connsiteY1408" fmla="*/ 193626 h 410520"/>
                <a:gd name="connsiteX1409" fmla="*/ 1381973 w 2663946"/>
                <a:gd name="connsiteY1409" fmla="*/ 187340 h 410520"/>
                <a:gd name="connsiteX1410" fmla="*/ 1381973 w 2663946"/>
                <a:gd name="connsiteY1410" fmla="*/ 137618 h 410520"/>
                <a:gd name="connsiteX1411" fmla="*/ 1388426 w 2663946"/>
                <a:gd name="connsiteY1411" fmla="*/ 131332 h 410520"/>
                <a:gd name="connsiteX1412" fmla="*/ 1389261 w 2663946"/>
                <a:gd name="connsiteY1412" fmla="*/ 131332 h 410520"/>
                <a:gd name="connsiteX1413" fmla="*/ 1389845 w 2663946"/>
                <a:gd name="connsiteY1413" fmla="*/ 131332 h 410520"/>
                <a:gd name="connsiteX1414" fmla="*/ 1390325 w 2663946"/>
                <a:gd name="connsiteY1414" fmla="*/ 126574 h 410520"/>
                <a:gd name="connsiteX1415" fmla="*/ 1415120 w 2663946"/>
                <a:gd name="connsiteY1415" fmla="*/ 106365 h 410520"/>
                <a:gd name="connsiteX1416" fmla="*/ 1157152 w 2663946"/>
                <a:gd name="connsiteY1416" fmla="*/ 106365 h 410520"/>
                <a:gd name="connsiteX1417" fmla="*/ 1181948 w 2663946"/>
                <a:gd name="connsiteY1417" fmla="*/ 126574 h 410520"/>
                <a:gd name="connsiteX1418" fmla="*/ 1182427 w 2663946"/>
                <a:gd name="connsiteY1418" fmla="*/ 131332 h 410520"/>
                <a:gd name="connsiteX1419" fmla="*/ 1183846 w 2663946"/>
                <a:gd name="connsiteY1419" fmla="*/ 131332 h 410520"/>
                <a:gd name="connsiteX1420" fmla="*/ 1190299 w 2663946"/>
                <a:gd name="connsiteY1420" fmla="*/ 137618 h 410520"/>
                <a:gd name="connsiteX1421" fmla="*/ 1190299 w 2663946"/>
                <a:gd name="connsiteY1421" fmla="*/ 187340 h 410520"/>
                <a:gd name="connsiteX1422" fmla="*/ 1183846 w 2663946"/>
                <a:gd name="connsiteY1422" fmla="*/ 193626 h 410520"/>
                <a:gd name="connsiteX1423" fmla="*/ 1130458 w 2663946"/>
                <a:gd name="connsiteY1423" fmla="*/ 193626 h 410520"/>
                <a:gd name="connsiteX1424" fmla="*/ 1124005 w 2663946"/>
                <a:gd name="connsiteY1424" fmla="*/ 187340 h 410520"/>
                <a:gd name="connsiteX1425" fmla="*/ 1124005 w 2663946"/>
                <a:gd name="connsiteY1425" fmla="*/ 137618 h 410520"/>
                <a:gd name="connsiteX1426" fmla="*/ 1130458 w 2663946"/>
                <a:gd name="connsiteY1426" fmla="*/ 131332 h 410520"/>
                <a:gd name="connsiteX1427" fmla="*/ 1131293 w 2663946"/>
                <a:gd name="connsiteY1427" fmla="*/ 131332 h 410520"/>
                <a:gd name="connsiteX1428" fmla="*/ 1131877 w 2663946"/>
                <a:gd name="connsiteY1428" fmla="*/ 131332 h 410520"/>
                <a:gd name="connsiteX1429" fmla="*/ 1132357 w 2663946"/>
                <a:gd name="connsiteY1429" fmla="*/ 126574 h 410520"/>
                <a:gd name="connsiteX1430" fmla="*/ 1157152 w 2663946"/>
                <a:gd name="connsiteY1430" fmla="*/ 106365 h 410520"/>
                <a:gd name="connsiteX1431" fmla="*/ 732156 w 2663946"/>
                <a:gd name="connsiteY1431" fmla="*/ 106365 h 410520"/>
                <a:gd name="connsiteX1432" fmla="*/ 756951 w 2663946"/>
                <a:gd name="connsiteY1432" fmla="*/ 126574 h 410520"/>
                <a:gd name="connsiteX1433" fmla="*/ 757431 w 2663946"/>
                <a:gd name="connsiteY1433" fmla="*/ 131332 h 410520"/>
                <a:gd name="connsiteX1434" fmla="*/ 758849 w 2663946"/>
                <a:gd name="connsiteY1434" fmla="*/ 131332 h 410520"/>
                <a:gd name="connsiteX1435" fmla="*/ 765303 w 2663946"/>
                <a:gd name="connsiteY1435" fmla="*/ 137618 h 410520"/>
                <a:gd name="connsiteX1436" fmla="*/ 765303 w 2663946"/>
                <a:gd name="connsiteY1436" fmla="*/ 187340 h 410520"/>
                <a:gd name="connsiteX1437" fmla="*/ 758849 w 2663946"/>
                <a:gd name="connsiteY1437" fmla="*/ 193626 h 410520"/>
                <a:gd name="connsiteX1438" fmla="*/ 705462 w 2663946"/>
                <a:gd name="connsiteY1438" fmla="*/ 193626 h 410520"/>
                <a:gd name="connsiteX1439" fmla="*/ 699009 w 2663946"/>
                <a:gd name="connsiteY1439" fmla="*/ 187340 h 410520"/>
                <a:gd name="connsiteX1440" fmla="*/ 699009 w 2663946"/>
                <a:gd name="connsiteY1440" fmla="*/ 137618 h 410520"/>
                <a:gd name="connsiteX1441" fmla="*/ 705462 w 2663946"/>
                <a:gd name="connsiteY1441" fmla="*/ 131332 h 410520"/>
                <a:gd name="connsiteX1442" fmla="*/ 706296 w 2663946"/>
                <a:gd name="connsiteY1442" fmla="*/ 131332 h 410520"/>
                <a:gd name="connsiteX1443" fmla="*/ 706881 w 2663946"/>
                <a:gd name="connsiteY1443" fmla="*/ 131332 h 410520"/>
                <a:gd name="connsiteX1444" fmla="*/ 707360 w 2663946"/>
                <a:gd name="connsiteY1444" fmla="*/ 126574 h 410520"/>
                <a:gd name="connsiteX1445" fmla="*/ 732156 w 2663946"/>
                <a:gd name="connsiteY1445" fmla="*/ 106365 h 410520"/>
                <a:gd name="connsiteX1446" fmla="*/ 641217 w 2663946"/>
                <a:gd name="connsiteY1446" fmla="*/ 106365 h 410520"/>
                <a:gd name="connsiteX1447" fmla="*/ 666012 w 2663946"/>
                <a:gd name="connsiteY1447" fmla="*/ 126574 h 410520"/>
                <a:gd name="connsiteX1448" fmla="*/ 666492 w 2663946"/>
                <a:gd name="connsiteY1448" fmla="*/ 131332 h 410520"/>
                <a:gd name="connsiteX1449" fmla="*/ 667910 w 2663946"/>
                <a:gd name="connsiteY1449" fmla="*/ 131332 h 410520"/>
                <a:gd name="connsiteX1450" fmla="*/ 674364 w 2663946"/>
                <a:gd name="connsiteY1450" fmla="*/ 137618 h 410520"/>
                <a:gd name="connsiteX1451" fmla="*/ 674364 w 2663946"/>
                <a:gd name="connsiteY1451" fmla="*/ 187340 h 410520"/>
                <a:gd name="connsiteX1452" fmla="*/ 667910 w 2663946"/>
                <a:gd name="connsiteY1452" fmla="*/ 193626 h 410520"/>
                <a:gd name="connsiteX1453" fmla="*/ 614523 w 2663946"/>
                <a:gd name="connsiteY1453" fmla="*/ 193626 h 410520"/>
                <a:gd name="connsiteX1454" fmla="*/ 608070 w 2663946"/>
                <a:gd name="connsiteY1454" fmla="*/ 187340 h 410520"/>
                <a:gd name="connsiteX1455" fmla="*/ 608070 w 2663946"/>
                <a:gd name="connsiteY1455" fmla="*/ 137618 h 410520"/>
                <a:gd name="connsiteX1456" fmla="*/ 614523 w 2663946"/>
                <a:gd name="connsiteY1456" fmla="*/ 131332 h 410520"/>
                <a:gd name="connsiteX1457" fmla="*/ 615358 w 2663946"/>
                <a:gd name="connsiteY1457" fmla="*/ 131332 h 410520"/>
                <a:gd name="connsiteX1458" fmla="*/ 615942 w 2663946"/>
                <a:gd name="connsiteY1458" fmla="*/ 131332 h 410520"/>
                <a:gd name="connsiteX1459" fmla="*/ 616422 w 2663946"/>
                <a:gd name="connsiteY1459" fmla="*/ 126574 h 410520"/>
                <a:gd name="connsiteX1460" fmla="*/ 641217 w 2663946"/>
                <a:gd name="connsiteY1460" fmla="*/ 106365 h 410520"/>
                <a:gd name="connsiteX1461" fmla="*/ 459266 w 2663946"/>
                <a:gd name="connsiteY1461" fmla="*/ 106365 h 410520"/>
                <a:gd name="connsiteX1462" fmla="*/ 484061 w 2663946"/>
                <a:gd name="connsiteY1462" fmla="*/ 126574 h 410520"/>
                <a:gd name="connsiteX1463" fmla="*/ 484541 w 2663946"/>
                <a:gd name="connsiteY1463" fmla="*/ 131332 h 410520"/>
                <a:gd name="connsiteX1464" fmla="*/ 485959 w 2663946"/>
                <a:gd name="connsiteY1464" fmla="*/ 131332 h 410520"/>
                <a:gd name="connsiteX1465" fmla="*/ 492413 w 2663946"/>
                <a:gd name="connsiteY1465" fmla="*/ 137618 h 410520"/>
                <a:gd name="connsiteX1466" fmla="*/ 492413 w 2663946"/>
                <a:gd name="connsiteY1466" fmla="*/ 187340 h 410520"/>
                <a:gd name="connsiteX1467" fmla="*/ 485959 w 2663946"/>
                <a:gd name="connsiteY1467" fmla="*/ 193626 h 410520"/>
                <a:gd name="connsiteX1468" fmla="*/ 432572 w 2663946"/>
                <a:gd name="connsiteY1468" fmla="*/ 193626 h 410520"/>
                <a:gd name="connsiteX1469" fmla="*/ 426119 w 2663946"/>
                <a:gd name="connsiteY1469" fmla="*/ 187340 h 410520"/>
                <a:gd name="connsiteX1470" fmla="*/ 426119 w 2663946"/>
                <a:gd name="connsiteY1470" fmla="*/ 137618 h 410520"/>
                <a:gd name="connsiteX1471" fmla="*/ 432572 w 2663946"/>
                <a:gd name="connsiteY1471" fmla="*/ 131332 h 410520"/>
                <a:gd name="connsiteX1472" fmla="*/ 433406 w 2663946"/>
                <a:gd name="connsiteY1472" fmla="*/ 131332 h 410520"/>
                <a:gd name="connsiteX1473" fmla="*/ 433991 w 2663946"/>
                <a:gd name="connsiteY1473" fmla="*/ 131332 h 410520"/>
                <a:gd name="connsiteX1474" fmla="*/ 434470 w 2663946"/>
                <a:gd name="connsiteY1474" fmla="*/ 126574 h 410520"/>
                <a:gd name="connsiteX1475" fmla="*/ 459266 w 2663946"/>
                <a:gd name="connsiteY1475" fmla="*/ 106365 h 410520"/>
                <a:gd name="connsiteX1476" fmla="*/ 24128 w 2663946"/>
                <a:gd name="connsiteY1476" fmla="*/ 16223 h 410520"/>
                <a:gd name="connsiteX1477" fmla="*/ 33591 w 2663946"/>
                <a:gd name="connsiteY1477" fmla="*/ 0 h 410520"/>
                <a:gd name="connsiteX1478" fmla="*/ 38187 w 2663946"/>
                <a:gd name="connsiteY1478" fmla="*/ 2434 h 410520"/>
                <a:gd name="connsiteX1479" fmla="*/ 40350 w 2663946"/>
                <a:gd name="connsiteY1479" fmla="*/ 8652 h 410520"/>
                <a:gd name="connsiteX1480" fmla="*/ 40350 w 2663946"/>
                <a:gd name="connsiteY1480" fmla="*/ 9193 h 410520"/>
                <a:gd name="connsiteX1481" fmla="*/ 40350 w 2663946"/>
                <a:gd name="connsiteY1481" fmla="*/ 62188 h 410520"/>
                <a:gd name="connsiteX1482" fmla="*/ 40891 w 2663946"/>
                <a:gd name="connsiteY1482" fmla="*/ 62728 h 410520"/>
                <a:gd name="connsiteX1483" fmla="*/ 48191 w 2663946"/>
                <a:gd name="connsiteY1483" fmla="*/ 62728 h 410520"/>
                <a:gd name="connsiteX1484" fmla="*/ 52247 w 2663946"/>
                <a:gd name="connsiteY1484" fmla="*/ 63810 h 410520"/>
                <a:gd name="connsiteX1485" fmla="*/ 56032 w 2663946"/>
                <a:gd name="connsiteY1485" fmla="*/ 70569 h 410520"/>
                <a:gd name="connsiteX1486" fmla="*/ 53328 w 2663946"/>
                <a:gd name="connsiteY1486" fmla="*/ 76247 h 410520"/>
                <a:gd name="connsiteX1487" fmla="*/ 49273 w 2663946"/>
                <a:gd name="connsiteY1487" fmla="*/ 78140 h 410520"/>
                <a:gd name="connsiteX1488" fmla="*/ 49002 w 2663946"/>
                <a:gd name="connsiteY1488" fmla="*/ 78140 h 410520"/>
                <a:gd name="connsiteX1489" fmla="*/ 48732 w 2663946"/>
                <a:gd name="connsiteY1489" fmla="*/ 78140 h 410520"/>
                <a:gd name="connsiteX1490" fmla="*/ 48191 w 2663946"/>
                <a:gd name="connsiteY1490" fmla="*/ 78140 h 410520"/>
                <a:gd name="connsiteX1491" fmla="*/ 16016 w 2663946"/>
                <a:gd name="connsiteY1491" fmla="*/ 78140 h 410520"/>
                <a:gd name="connsiteX1492" fmla="*/ 15475 w 2663946"/>
                <a:gd name="connsiteY1492" fmla="*/ 78140 h 410520"/>
                <a:gd name="connsiteX1493" fmla="*/ 14664 w 2663946"/>
                <a:gd name="connsiteY1493" fmla="*/ 78140 h 410520"/>
                <a:gd name="connsiteX1494" fmla="*/ 13853 w 2663946"/>
                <a:gd name="connsiteY1494" fmla="*/ 77870 h 410520"/>
                <a:gd name="connsiteX1495" fmla="*/ 10338 w 2663946"/>
                <a:gd name="connsiteY1495" fmla="*/ 75977 h 410520"/>
                <a:gd name="connsiteX1496" fmla="*/ 7905 w 2663946"/>
                <a:gd name="connsiteY1496" fmla="*/ 70299 h 410520"/>
                <a:gd name="connsiteX1497" fmla="*/ 10068 w 2663946"/>
                <a:gd name="connsiteY1497" fmla="*/ 65162 h 410520"/>
                <a:gd name="connsiteX1498" fmla="*/ 15746 w 2663946"/>
                <a:gd name="connsiteY1498" fmla="*/ 62728 h 410520"/>
                <a:gd name="connsiteX1499" fmla="*/ 23587 w 2663946"/>
                <a:gd name="connsiteY1499" fmla="*/ 62728 h 410520"/>
                <a:gd name="connsiteX1500" fmla="*/ 24128 w 2663946"/>
                <a:gd name="connsiteY1500" fmla="*/ 62188 h 410520"/>
                <a:gd name="connsiteX1501" fmla="*/ 24128 w 2663946"/>
                <a:gd name="connsiteY1501" fmla="*/ 16223 h 410520"/>
                <a:gd name="connsiteX0" fmla="*/ 2632966 w 2663946"/>
                <a:gd name="connsiteY0" fmla="*/ 349414 h 410520"/>
                <a:gd name="connsiteX1" fmla="*/ 2621414 w 2663946"/>
                <a:gd name="connsiteY1" fmla="*/ 351847 h 410520"/>
                <a:gd name="connsiteX2" fmla="*/ 2618218 w 2663946"/>
                <a:gd name="connsiteY2" fmla="*/ 355362 h 410520"/>
                <a:gd name="connsiteX3" fmla="*/ 2616006 w 2663946"/>
                <a:gd name="connsiteY3" fmla="*/ 359147 h 410520"/>
                <a:gd name="connsiteX4" fmla="*/ 2615023 w 2663946"/>
                <a:gd name="connsiteY4" fmla="*/ 361851 h 410520"/>
                <a:gd name="connsiteX5" fmla="*/ 2614039 w 2663946"/>
                <a:gd name="connsiteY5" fmla="*/ 365907 h 410520"/>
                <a:gd name="connsiteX6" fmla="*/ 2613056 w 2663946"/>
                <a:gd name="connsiteY6" fmla="*/ 372937 h 410520"/>
                <a:gd name="connsiteX7" fmla="*/ 2614039 w 2663946"/>
                <a:gd name="connsiteY7" fmla="*/ 380237 h 410520"/>
                <a:gd name="connsiteX8" fmla="*/ 2615269 w 2663946"/>
                <a:gd name="connsiteY8" fmla="*/ 384022 h 410520"/>
                <a:gd name="connsiteX9" fmla="*/ 2617481 w 2663946"/>
                <a:gd name="connsiteY9" fmla="*/ 388348 h 410520"/>
                <a:gd name="connsiteX10" fmla="*/ 2620922 w 2663946"/>
                <a:gd name="connsiteY10" fmla="*/ 392675 h 410520"/>
                <a:gd name="connsiteX11" fmla="*/ 2625346 w 2663946"/>
                <a:gd name="connsiteY11" fmla="*/ 395378 h 410520"/>
                <a:gd name="connsiteX12" fmla="*/ 2637637 w 2663946"/>
                <a:gd name="connsiteY12" fmla="*/ 392945 h 410520"/>
                <a:gd name="connsiteX13" fmla="*/ 2640832 w 2663946"/>
                <a:gd name="connsiteY13" fmla="*/ 389430 h 410520"/>
                <a:gd name="connsiteX14" fmla="*/ 2643290 w 2663946"/>
                <a:gd name="connsiteY14" fmla="*/ 385104 h 410520"/>
                <a:gd name="connsiteX15" fmla="*/ 2644273 w 2663946"/>
                <a:gd name="connsiteY15" fmla="*/ 382941 h 410520"/>
                <a:gd name="connsiteX16" fmla="*/ 2645502 w 2663946"/>
                <a:gd name="connsiteY16" fmla="*/ 378615 h 410520"/>
                <a:gd name="connsiteX17" fmla="*/ 2645011 w 2663946"/>
                <a:gd name="connsiteY17" fmla="*/ 364825 h 410520"/>
                <a:gd name="connsiteX18" fmla="*/ 2644027 w 2663946"/>
                <a:gd name="connsiteY18" fmla="*/ 361851 h 410520"/>
                <a:gd name="connsiteX19" fmla="*/ 2642799 w 2663946"/>
                <a:gd name="connsiteY19" fmla="*/ 358877 h 410520"/>
                <a:gd name="connsiteX20" fmla="*/ 2640586 w 2663946"/>
                <a:gd name="connsiteY20" fmla="*/ 355362 h 410520"/>
                <a:gd name="connsiteX21" fmla="*/ 2636899 w 2663946"/>
                <a:gd name="connsiteY21" fmla="*/ 351577 h 410520"/>
                <a:gd name="connsiteX22" fmla="*/ 2632966 w 2663946"/>
                <a:gd name="connsiteY22" fmla="*/ 349414 h 410520"/>
                <a:gd name="connsiteX23" fmla="*/ 2627559 w 2663946"/>
                <a:gd name="connsiteY23" fmla="*/ 333461 h 410520"/>
                <a:gd name="connsiteX24" fmla="*/ 2639849 w 2663946"/>
                <a:gd name="connsiteY24" fmla="*/ 335624 h 410520"/>
                <a:gd name="connsiteX25" fmla="*/ 2647223 w 2663946"/>
                <a:gd name="connsiteY25" fmla="*/ 340221 h 410520"/>
                <a:gd name="connsiteX26" fmla="*/ 2650664 w 2663946"/>
                <a:gd name="connsiteY26" fmla="*/ 343465 h 410520"/>
                <a:gd name="connsiteX27" fmla="*/ 2654106 w 2663946"/>
                <a:gd name="connsiteY27" fmla="*/ 347791 h 410520"/>
                <a:gd name="connsiteX28" fmla="*/ 2656072 w 2663946"/>
                <a:gd name="connsiteY28" fmla="*/ 351306 h 410520"/>
                <a:gd name="connsiteX29" fmla="*/ 2658284 w 2663946"/>
                <a:gd name="connsiteY29" fmla="*/ 356714 h 410520"/>
                <a:gd name="connsiteX30" fmla="*/ 2659267 w 2663946"/>
                <a:gd name="connsiteY30" fmla="*/ 360229 h 410520"/>
                <a:gd name="connsiteX31" fmla="*/ 2660251 w 2663946"/>
                <a:gd name="connsiteY31" fmla="*/ 365366 h 410520"/>
                <a:gd name="connsiteX32" fmla="*/ 2660005 w 2663946"/>
                <a:gd name="connsiteY32" fmla="*/ 379696 h 410520"/>
                <a:gd name="connsiteX33" fmla="*/ 2659022 w 2663946"/>
                <a:gd name="connsiteY33" fmla="*/ 384563 h 410520"/>
                <a:gd name="connsiteX34" fmla="*/ 2657792 w 2663946"/>
                <a:gd name="connsiteY34" fmla="*/ 388348 h 410520"/>
                <a:gd name="connsiteX35" fmla="*/ 2656809 w 2663946"/>
                <a:gd name="connsiteY35" fmla="*/ 390782 h 410520"/>
                <a:gd name="connsiteX36" fmla="*/ 2654597 w 2663946"/>
                <a:gd name="connsiteY36" fmla="*/ 395108 h 410520"/>
                <a:gd name="connsiteX37" fmla="*/ 2652385 w 2663946"/>
                <a:gd name="connsiteY37" fmla="*/ 398352 h 410520"/>
                <a:gd name="connsiteX38" fmla="*/ 2648944 w 2663946"/>
                <a:gd name="connsiteY38" fmla="*/ 402138 h 410520"/>
                <a:gd name="connsiteX39" fmla="*/ 2645748 w 2663946"/>
                <a:gd name="connsiteY39" fmla="*/ 404841 h 410520"/>
                <a:gd name="connsiteX40" fmla="*/ 2640095 w 2663946"/>
                <a:gd name="connsiteY40" fmla="*/ 408086 h 410520"/>
                <a:gd name="connsiteX41" fmla="*/ 2632229 w 2663946"/>
                <a:gd name="connsiteY41" fmla="*/ 410249 h 410520"/>
                <a:gd name="connsiteX42" fmla="*/ 2631000 w 2663946"/>
                <a:gd name="connsiteY42" fmla="*/ 410520 h 410520"/>
                <a:gd name="connsiteX43" fmla="*/ 2626821 w 2663946"/>
                <a:gd name="connsiteY43" fmla="*/ 410520 h 410520"/>
                <a:gd name="connsiteX44" fmla="*/ 2626576 w 2663946"/>
                <a:gd name="connsiteY44" fmla="*/ 410520 h 410520"/>
                <a:gd name="connsiteX45" fmla="*/ 2613548 w 2663946"/>
                <a:gd name="connsiteY45" fmla="*/ 405653 h 410520"/>
                <a:gd name="connsiteX46" fmla="*/ 2608878 w 2663946"/>
                <a:gd name="connsiteY46" fmla="*/ 401597 h 410520"/>
                <a:gd name="connsiteX47" fmla="*/ 2605682 w 2663946"/>
                <a:gd name="connsiteY47" fmla="*/ 397812 h 410520"/>
                <a:gd name="connsiteX48" fmla="*/ 2603470 w 2663946"/>
                <a:gd name="connsiteY48" fmla="*/ 394297 h 410520"/>
                <a:gd name="connsiteX49" fmla="*/ 2601258 w 2663946"/>
                <a:gd name="connsiteY49" fmla="*/ 389971 h 410520"/>
                <a:gd name="connsiteX50" fmla="*/ 2600029 w 2663946"/>
                <a:gd name="connsiteY50" fmla="*/ 386996 h 410520"/>
                <a:gd name="connsiteX51" fmla="*/ 2599046 w 2663946"/>
                <a:gd name="connsiteY51" fmla="*/ 383752 h 410520"/>
                <a:gd name="connsiteX52" fmla="*/ 2597816 w 2663946"/>
                <a:gd name="connsiteY52" fmla="*/ 378074 h 410520"/>
                <a:gd name="connsiteX53" fmla="*/ 2597571 w 2663946"/>
                <a:gd name="connsiteY53" fmla="*/ 375100 h 410520"/>
                <a:gd name="connsiteX54" fmla="*/ 2597816 w 2663946"/>
                <a:gd name="connsiteY54" fmla="*/ 375370 h 410520"/>
                <a:gd name="connsiteX55" fmla="*/ 2597816 w 2663946"/>
                <a:gd name="connsiteY55" fmla="*/ 369692 h 410520"/>
                <a:gd name="connsiteX56" fmla="*/ 2597816 w 2663946"/>
                <a:gd name="connsiteY56" fmla="*/ 369422 h 410520"/>
                <a:gd name="connsiteX57" fmla="*/ 2598308 w 2663946"/>
                <a:gd name="connsiteY57" fmla="*/ 364825 h 410520"/>
                <a:gd name="connsiteX58" fmla="*/ 2599537 w 2663946"/>
                <a:gd name="connsiteY58" fmla="*/ 359418 h 410520"/>
                <a:gd name="connsiteX59" fmla="*/ 2600520 w 2663946"/>
                <a:gd name="connsiteY59" fmla="*/ 356173 h 410520"/>
                <a:gd name="connsiteX60" fmla="*/ 2602732 w 2663946"/>
                <a:gd name="connsiteY60" fmla="*/ 351036 h 410520"/>
                <a:gd name="connsiteX61" fmla="*/ 2604945 w 2663946"/>
                <a:gd name="connsiteY61" fmla="*/ 347251 h 410520"/>
                <a:gd name="connsiteX62" fmla="*/ 2607157 w 2663946"/>
                <a:gd name="connsiteY62" fmla="*/ 344276 h 410520"/>
                <a:gd name="connsiteX63" fmla="*/ 2609369 w 2663946"/>
                <a:gd name="connsiteY63" fmla="*/ 341843 h 410520"/>
                <a:gd name="connsiteX64" fmla="*/ 2614039 w 2663946"/>
                <a:gd name="connsiteY64" fmla="*/ 338058 h 410520"/>
                <a:gd name="connsiteX65" fmla="*/ 2617972 w 2663946"/>
                <a:gd name="connsiteY65" fmla="*/ 335895 h 410520"/>
                <a:gd name="connsiteX66" fmla="*/ 2627559 w 2663946"/>
                <a:gd name="connsiteY66" fmla="*/ 333461 h 410520"/>
                <a:gd name="connsiteX67" fmla="*/ 2631061 w 2663946"/>
                <a:gd name="connsiteY67" fmla="*/ 269551 h 410520"/>
                <a:gd name="connsiteX68" fmla="*/ 2621591 w 2663946"/>
                <a:gd name="connsiteY68" fmla="*/ 278825 h 410520"/>
                <a:gd name="connsiteX69" fmla="*/ 2626545 w 2663946"/>
                <a:gd name="connsiteY69" fmla="*/ 286982 h 410520"/>
                <a:gd name="connsiteX70" fmla="*/ 2626545 w 2663946"/>
                <a:gd name="connsiteY70" fmla="*/ 295377 h 410520"/>
                <a:gd name="connsiteX71" fmla="*/ 2631061 w 2663946"/>
                <a:gd name="connsiteY71" fmla="*/ 299800 h 410520"/>
                <a:gd name="connsiteX72" fmla="*/ 2635578 w 2663946"/>
                <a:gd name="connsiteY72" fmla="*/ 295377 h 410520"/>
                <a:gd name="connsiteX73" fmla="*/ 2635578 w 2663946"/>
                <a:gd name="connsiteY73" fmla="*/ 286982 h 410520"/>
                <a:gd name="connsiteX74" fmla="*/ 2640532 w 2663946"/>
                <a:gd name="connsiteY74" fmla="*/ 278825 h 410520"/>
                <a:gd name="connsiteX75" fmla="*/ 2631061 w 2663946"/>
                <a:gd name="connsiteY75" fmla="*/ 269551 h 410520"/>
                <a:gd name="connsiteX76" fmla="*/ 2630799 w 2663946"/>
                <a:gd name="connsiteY76" fmla="*/ 230834 h 410520"/>
                <a:gd name="connsiteX77" fmla="*/ 2619139 w 2663946"/>
                <a:gd name="connsiteY77" fmla="*/ 238563 h 410520"/>
                <a:gd name="connsiteX78" fmla="*/ 2618214 w 2663946"/>
                <a:gd name="connsiteY78" fmla="*/ 243146 h 410520"/>
                <a:gd name="connsiteX79" fmla="*/ 2621454 w 2663946"/>
                <a:gd name="connsiteY79" fmla="*/ 243146 h 410520"/>
                <a:gd name="connsiteX80" fmla="*/ 2639871 w 2663946"/>
                <a:gd name="connsiteY80" fmla="*/ 243146 h 410520"/>
                <a:gd name="connsiteX81" fmla="*/ 2643385 w 2663946"/>
                <a:gd name="connsiteY81" fmla="*/ 243146 h 410520"/>
                <a:gd name="connsiteX82" fmla="*/ 2642460 w 2663946"/>
                <a:gd name="connsiteY82" fmla="*/ 238563 h 410520"/>
                <a:gd name="connsiteX83" fmla="*/ 2630799 w 2663946"/>
                <a:gd name="connsiteY83" fmla="*/ 230834 h 410520"/>
                <a:gd name="connsiteX84" fmla="*/ 2630799 w 2663946"/>
                <a:gd name="connsiteY84" fmla="*/ 218179 h 410520"/>
                <a:gd name="connsiteX85" fmla="*/ 2655595 w 2663946"/>
                <a:gd name="connsiteY85" fmla="*/ 238388 h 410520"/>
                <a:gd name="connsiteX86" fmla="*/ 2656074 w 2663946"/>
                <a:gd name="connsiteY86" fmla="*/ 243146 h 410520"/>
                <a:gd name="connsiteX87" fmla="*/ 2657493 w 2663946"/>
                <a:gd name="connsiteY87" fmla="*/ 243146 h 410520"/>
                <a:gd name="connsiteX88" fmla="*/ 2663946 w 2663946"/>
                <a:gd name="connsiteY88" fmla="*/ 249432 h 410520"/>
                <a:gd name="connsiteX89" fmla="*/ 2663946 w 2663946"/>
                <a:gd name="connsiteY89" fmla="*/ 299154 h 410520"/>
                <a:gd name="connsiteX90" fmla="*/ 2657493 w 2663946"/>
                <a:gd name="connsiteY90" fmla="*/ 305440 h 410520"/>
                <a:gd name="connsiteX91" fmla="*/ 2604106 w 2663946"/>
                <a:gd name="connsiteY91" fmla="*/ 305440 h 410520"/>
                <a:gd name="connsiteX92" fmla="*/ 2597652 w 2663946"/>
                <a:gd name="connsiteY92" fmla="*/ 299154 h 410520"/>
                <a:gd name="connsiteX93" fmla="*/ 2597652 w 2663946"/>
                <a:gd name="connsiteY93" fmla="*/ 249432 h 410520"/>
                <a:gd name="connsiteX94" fmla="*/ 2604106 w 2663946"/>
                <a:gd name="connsiteY94" fmla="*/ 243146 h 410520"/>
                <a:gd name="connsiteX95" fmla="*/ 2604940 w 2663946"/>
                <a:gd name="connsiteY95" fmla="*/ 243146 h 410520"/>
                <a:gd name="connsiteX96" fmla="*/ 2605524 w 2663946"/>
                <a:gd name="connsiteY96" fmla="*/ 243146 h 410520"/>
                <a:gd name="connsiteX97" fmla="*/ 2606004 w 2663946"/>
                <a:gd name="connsiteY97" fmla="*/ 238388 h 410520"/>
                <a:gd name="connsiteX98" fmla="*/ 2630799 w 2663946"/>
                <a:gd name="connsiteY98" fmla="*/ 218179 h 410520"/>
                <a:gd name="connsiteX99" fmla="*/ 33409 w 2663946"/>
                <a:gd name="connsiteY99" fmla="*/ 165325 h 410520"/>
                <a:gd name="connsiteX100" fmla="*/ 23938 w 2663946"/>
                <a:gd name="connsiteY100" fmla="*/ 174599 h 410520"/>
                <a:gd name="connsiteX101" fmla="*/ 28892 w 2663946"/>
                <a:gd name="connsiteY101" fmla="*/ 182756 h 410520"/>
                <a:gd name="connsiteX102" fmla="*/ 28892 w 2663946"/>
                <a:gd name="connsiteY102" fmla="*/ 191151 h 410520"/>
                <a:gd name="connsiteX103" fmla="*/ 33409 w 2663946"/>
                <a:gd name="connsiteY103" fmla="*/ 195574 h 410520"/>
                <a:gd name="connsiteX104" fmla="*/ 37926 w 2663946"/>
                <a:gd name="connsiteY104" fmla="*/ 191151 h 410520"/>
                <a:gd name="connsiteX105" fmla="*/ 37926 w 2663946"/>
                <a:gd name="connsiteY105" fmla="*/ 182756 h 410520"/>
                <a:gd name="connsiteX106" fmla="*/ 42880 w 2663946"/>
                <a:gd name="connsiteY106" fmla="*/ 174599 h 410520"/>
                <a:gd name="connsiteX107" fmla="*/ 33409 w 2663946"/>
                <a:gd name="connsiteY107" fmla="*/ 165325 h 410520"/>
                <a:gd name="connsiteX108" fmla="*/ 2538193 w 2663946"/>
                <a:gd name="connsiteY108" fmla="*/ 157737 h 410520"/>
                <a:gd name="connsiteX109" fmla="*/ 2528723 w 2663946"/>
                <a:gd name="connsiteY109" fmla="*/ 167011 h 410520"/>
                <a:gd name="connsiteX110" fmla="*/ 2533677 w 2663946"/>
                <a:gd name="connsiteY110" fmla="*/ 175168 h 410520"/>
                <a:gd name="connsiteX111" fmla="*/ 2533677 w 2663946"/>
                <a:gd name="connsiteY111" fmla="*/ 183563 h 410520"/>
                <a:gd name="connsiteX112" fmla="*/ 2538193 w 2663946"/>
                <a:gd name="connsiteY112" fmla="*/ 187986 h 410520"/>
                <a:gd name="connsiteX113" fmla="*/ 2542710 w 2663946"/>
                <a:gd name="connsiteY113" fmla="*/ 183563 h 410520"/>
                <a:gd name="connsiteX114" fmla="*/ 2542710 w 2663946"/>
                <a:gd name="connsiteY114" fmla="*/ 175168 h 410520"/>
                <a:gd name="connsiteX115" fmla="*/ 2547664 w 2663946"/>
                <a:gd name="connsiteY115" fmla="*/ 167011 h 410520"/>
                <a:gd name="connsiteX116" fmla="*/ 2538193 w 2663946"/>
                <a:gd name="connsiteY116" fmla="*/ 157737 h 410520"/>
                <a:gd name="connsiteX117" fmla="*/ 2113196 w 2663946"/>
                <a:gd name="connsiteY117" fmla="*/ 157737 h 410520"/>
                <a:gd name="connsiteX118" fmla="*/ 2103726 w 2663946"/>
                <a:gd name="connsiteY118" fmla="*/ 167011 h 410520"/>
                <a:gd name="connsiteX119" fmla="*/ 2108680 w 2663946"/>
                <a:gd name="connsiteY119" fmla="*/ 175168 h 410520"/>
                <a:gd name="connsiteX120" fmla="*/ 2108680 w 2663946"/>
                <a:gd name="connsiteY120" fmla="*/ 183563 h 410520"/>
                <a:gd name="connsiteX121" fmla="*/ 2113196 w 2663946"/>
                <a:gd name="connsiteY121" fmla="*/ 187986 h 410520"/>
                <a:gd name="connsiteX122" fmla="*/ 2117713 w 2663946"/>
                <a:gd name="connsiteY122" fmla="*/ 183563 h 410520"/>
                <a:gd name="connsiteX123" fmla="*/ 2117713 w 2663946"/>
                <a:gd name="connsiteY123" fmla="*/ 175168 h 410520"/>
                <a:gd name="connsiteX124" fmla="*/ 2122667 w 2663946"/>
                <a:gd name="connsiteY124" fmla="*/ 167011 h 410520"/>
                <a:gd name="connsiteX125" fmla="*/ 2113196 w 2663946"/>
                <a:gd name="connsiteY125" fmla="*/ 157737 h 410520"/>
                <a:gd name="connsiteX126" fmla="*/ 1855228 w 2663946"/>
                <a:gd name="connsiteY126" fmla="*/ 157737 h 410520"/>
                <a:gd name="connsiteX127" fmla="*/ 1845758 w 2663946"/>
                <a:gd name="connsiteY127" fmla="*/ 167011 h 410520"/>
                <a:gd name="connsiteX128" fmla="*/ 1850712 w 2663946"/>
                <a:gd name="connsiteY128" fmla="*/ 175168 h 410520"/>
                <a:gd name="connsiteX129" fmla="*/ 1850712 w 2663946"/>
                <a:gd name="connsiteY129" fmla="*/ 183563 h 410520"/>
                <a:gd name="connsiteX130" fmla="*/ 1855228 w 2663946"/>
                <a:gd name="connsiteY130" fmla="*/ 187986 h 410520"/>
                <a:gd name="connsiteX131" fmla="*/ 1859745 w 2663946"/>
                <a:gd name="connsiteY131" fmla="*/ 183563 h 410520"/>
                <a:gd name="connsiteX132" fmla="*/ 1859745 w 2663946"/>
                <a:gd name="connsiteY132" fmla="*/ 175168 h 410520"/>
                <a:gd name="connsiteX133" fmla="*/ 1864699 w 2663946"/>
                <a:gd name="connsiteY133" fmla="*/ 167011 h 410520"/>
                <a:gd name="connsiteX134" fmla="*/ 1855228 w 2663946"/>
                <a:gd name="connsiteY134" fmla="*/ 157737 h 410520"/>
                <a:gd name="connsiteX135" fmla="*/ 1764289 w 2663946"/>
                <a:gd name="connsiteY135" fmla="*/ 157737 h 410520"/>
                <a:gd name="connsiteX136" fmla="*/ 1754819 w 2663946"/>
                <a:gd name="connsiteY136" fmla="*/ 167011 h 410520"/>
                <a:gd name="connsiteX137" fmla="*/ 1759773 w 2663946"/>
                <a:gd name="connsiteY137" fmla="*/ 175168 h 410520"/>
                <a:gd name="connsiteX138" fmla="*/ 1759773 w 2663946"/>
                <a:gd name="connsiteY138" fmla="*/ 183563 h 410520"/>
                <a:gd name="connsiteX139" fmla="*/ 1764289 w 2663946"/>
                <a:gd name="connsiteY139" fmla="*/ 187986 h 410520"/>
                <a:gd name="connsiteX140" fmla="*/ 1768806 w 2663946"/>
                <a:gd name="connsiteY140" fmla="*/ 183563 h 410520"/>
                <a:gd name="connsiteX141" fmla="*/ 1768806 w 2663946"/>
                <a:gd name="connsiteY141" fmla="*/ 175168 h 410520"/>
                <a:gd name="connsiteX142" fmla="*/ 1773760 w 2663946"/>
                <a:gd name="connsiteY142" fmla="*/ 167011 h 410520"/>
                <a:gd name="connsiteX143" fmla="*/ 1764289 w 2663946"/>
                <a:gd name="connsiteY143" fmla="*/ 157737 h 410520"/>
                <a:gd name="connsiteX144" fmla="*/ 1506321 w 2663946"/>
                <a:gd name="connsiteY144" fmla="*/ 157737 h 410520"/>
                <a:gd name="connsiteX145" fmla="*/ 1496851 w 2663946"/>
                <a:gd name="connsiteY145" fmla="*/ 167011 h 410520"/>
                <a:gd name="connsiteX146" fmla="*/ 1501805 w 2663946"/>
                <a:gd name="connsiteY146" fmla="*/ 175168 h 410520"/>
                <a:gd name="connsiteX147" fmla="*/ 1501805 w 2663946"/>
                <a:gd name="connsiteY147" fmla="*/ 183563 h 410520"/>
                <a:gd name="connsiteX148" fmla="*/ 1506321 w 2663946"/>
                <a:gd name="connsiteY148" fmla="*/ 187986 h 410520"/>
                <a:gd name="connsiteX149" fmla="*/ 1510838 w 2663946"/>
                <a:gd name="connsiteY149" fmla="*/ 183563 h 410520"/>
                <a:gd name="connsiteX150" fmla="*/ 1510838 w 2663946"/>
                <a:gd name="connsiteY150" fmla="*/ 175168 h 410520"/>
                <a:gd name="connsiteX151" fmla="*/ 1515792 w 2663946"/>
                <a:gd name="connsiteY151" fmla="*/ 167011 h 410520"/>
                <a:gd name="connsiteX152" fmla="*/ 1506321 w 2663946"/>
                <a:gd name="connsiteY152" fmla="*/ 157737 h 410520"/>
                <a:gd name="connsiteX153" fmla="*/ 1415382 w 2663946"/>
                <a:gd name="connsiteY153" fmla="*/ 157737 h 410520"/>
                <a:gd name="connsiteX154" fmla="*/ 1405912 w 2663946"/>
                <a:gd name="connsiteY154" fmla="*/ 167011 h 410520"/>
                <a:gd name="connsiteX155" fmla="*/ 1410866 w 2663946"/>
                <a:gd name="connsiteY155" fmla="*/ 175168 h 410520"/>
                <a:gd name="connsiteX156" fmla="*/ 1410866 w 2663946"/>
                <a:gd name="connsiteY156" fmla="*/ 183563 h 410520"/>
                <a:gd name="connsiteX157" fmla="*/ 1415382 w 2663946"/>
                <a:gd name="connsiteY157" fmla="*/ 187986 h 410520"/>
                <a:gd name="connsiteX158" fmla="*/ 1419899 w 2663946"/>
                <a:gd name="connsiteY158" fmla="*/ 183563 h 410520"/>
                <a:gd name="connsiteX159" fmla="*/ 1419899 w 2663946"/>
                <a:gd name="connsiteY159" fmla="*/ 175168 h 410520"/>
                <a:gd name="connsiteX160" fmla="*/ 1424853 w 2663946"/>
                <a:gd name="connsiteY160" fmla="*/ 167011 h 410520"/>
                <a:gd name="connsiteX161" fmla="*/ 1415382 w 2663946"/>
                <a:gd name="connsiteY161" fmla="*/ 157737 h 410520"/>
                <a:gd name="connsiteX162" fmla="*/ 1157414 w 2663946"/>
                <a:gd name="connsiteY162" fmla="*/ 157737 h 410520"/>
                <a:gd name="connsiteX163" fmla="*/ 1147944 w 2663946"/>
                <a:gd name="connsiteY163" fmla="*/ 167011 h 410520"/>
                <a:gd name="connsiteX164" fmla="*/ 1152898 w 2663946"/>
                <a:gd name="connsiteY164" fmla="*/ 175168 h 410520"/>
                <a:gd name="connsiteX165" fmla="*/ 1152898 w 2663946"/>
                <a:gd name="connsiteY165" fmla="*/ 183563 h 410520"/>
                <a:gd name="connsiteX166" fmla="*/ 1157414 w 2663946"/>
                <a:gd name="connsiteY166" fmla="*/ 187986 h 410520"/>
                <a:gd name="connsiteX167" fmla="*/ 1161931 w 2663946"/>
                <a:gd name="connsiteY167" fmla="*/ 183563 h 410520"/>
                <a:gd name="connsiteX168" fmla="*/ 1161931 w 2663946"/>
                <a:gd name="connsiteY168" fmla="*/ 175168 h 410520"/>
                <a:gd name="connsiteX169" fmla="*/ 1166885 w 2663946"/>
                <a:gd name="connsiteY169" fmla="*/ 167011 h 410520"/>
                <a:gd name="connsiteX170" fmla="*/ 1157414 w 2663946"/>
                <a:gd name="connsiteY170" fmla="*/ 157737 h 410520"/>
                <a:gd name="connsiteX171" fmla="*/ 732418 w 2663946"/>
                <a:gd name="connsiteY171" fmla="*/ 157737 h 410520"/>
                <a:gd name="connsiteX172" fmla="*/ 722947 w 2663946"/>
                <a:gd name="connsiteY172" fmla="*/ 167011 h 410520"/>
                <a:gd name="connsiteX173" fmla="*/ 727901 w 2663946"/>
                <a:gd name="connsiteY173" fmla="*/ 175168 h 410520"/>
                <a:gd name="connsiteX174" fmla="*/ 727901 w 2663946"/>
                <a:gd name="connsiteY174" fmla="*/ 183563 h 410520"/>
                <a:gd name="connsiteX175" fmla="*/ 732418 w 2663946"/>
                <a:gd name="connsiteY175" fmla="*/ 187986 h 410520"/>
                <a:gd name="connsiteX176" fmla="*/ 736935 w 2663946"/>
                <a:gd name="connsiteY176" fmla="*/ 183563 h 410520"/>
                <a:gd name="connsiteX177" fmla="*/ 736935 w 2663946"/>
                <a:gd name="connsiteY177" fmla="*/ 175168 h 410520"/>
                <a:gd name="connsiteX178" fmla="*/ 741889 w 2663946"/>
                <a:gd name="connsiteY178" fmla="*/ 167011 h 410520"/>
                <a:gd name="connsiteX179" fmla="*/ 732418 w 2663946"/>
                <a:gd name="connsiteY179" fmla="*/ 157737 h 410520"/>
                <a:gd name="connsiteX180" fmla="*/ 641479 w 2663946"/>
                <a:gd name="connsiteY180" fmla="*/ 157737 h 410520"/>
                <a:gd name="connsiteX181" fmla="*/ 632008 w 2663946"/>
                <a:gd name="connsiteY181" fmla="*/ 167011 h 410520"/>
                <a:gd name="connsiteX182" fmla="*/ 636962 w 2663946"/>
                <a:gd name="connsiteY182" fmla="*/ 175168 h 410520"/>
                <a:gd name="connsiteX183" fmla="*/ 636962 w 2663946"/>
                <a:gd name="connsiteY183" fmla="*/ 183563 h 410520"/>
                <a:gd name="connsiteX184" fmla="*/ 641479 w 2663946"/>
                <a:gd name="connsiteY184" fmla="*/ 187986 h 410520"/>
                <a:gd name="connsiteX185" fmla="*/ 645996 w 2663946"/>
                <a:gd name="connsiteY185" fmla="*/ 183563 h 410520"/>
                <a:gd name="connsiteX186" fmla="*/ 645996 w 2663946"/>
                <a:gd name="connsiteY186" fmla="*/ 175168 h 410520"/>
                <a:gd name="connsiteX187" fmla="*/ 650950 w 2663946"/>
                <a:gd name="connsiteY187" fmla="*/ 167011 h 410520"/>
                <a:gd name="connsiteX188" fmla="*/ 641479 w 2663946"/>
                <a:gd name="connsiteY188" fmla="*/ 157737 h 410520"/>
                <a:gd name="connsiteX189" fmla="*/ 459528 w 2663946"/>
                <a:gd name="connsiteY189" fmla="*/ 157737 h 410520"/>
                <a:gd name="connsiteX190" fmla="*/ 450057 w 2663946"/>
                <a:gd name="connsiteY190" fmla="*/ 167011 h 410520"/>
                <a:gd name="connsiteX191" fmla="*/ 455011 w 2663946"/>
                <a:gd name="connsiteY191" fmla="*/ 175168 h 410520"/>
                <a:gd name="connsiteX192" fmla="*/ 455011 w 2663946"/>
                <a:gd name="connsiteY192" fmla="*/ 183563 h 410520"/>
                <a:gd name="connsiteX193" fmla="*/ 459528 w 2663946"/>
                <a:gd name="connsiteY193" fmla="*/ 187986 h 410520"/>
                <a:gd name="connsiteX194" fmla="*/ 464045 w 2663946"/>
                <a:gd name="connsiteY194" fmla="*/ 183563 h 410520"/>
                <a:gd name="connsiteX195" fmla="*/ 464045 w 2663946"/>
                <a:gd name="connsiteY195" fmla="*/ 175168 h 410520"/>
                <a:gd name="connsiteX196" fmla="*/ 468999 w 2663946"/>
                <a:gd name="connsiteY196" fmla="*/ 167011 h 410520"/>
                <a:gd name="connsiteX197" fmla="*/ 459528 w 2663946"/>
                <a:gd name="connsiteY197" fmla="*/ 157737 h 410520"/>
                <a:gd name="connsiteX198" fmla="*/ 2632966 w 2663946"/>
                <a:gd name="connsiteY198" fmla="*/ 130544 h 410520"/>
                <a:gd name="connsiteX199" fmla="*/ 2621414 w 2663946"/>
                <a:gd name="connsiteY199" fmla="*/ 132977 h 410520"/>
                <a:gd name="connsiteX200" fmla="*/ 2618218 w 2663946"/>
                <a:gd name="connsiteY200" fmla="*/ 136492 h 410520"/>
                <a:gd name="connsiteX201" fmla="*/ 2616006 w 2663946"/>
                <a:gd name="connsiteY201" fmla="*/ 140277 h 410520"/>
                <a:gd name="connsiteX202" fmla="*/ 2615023 w 2663946"/>
                <a:gd name="connsiteY202" fmla="*/ 142981 h 410520"/>
                <a:gd name="connsiteX203" fmla="*/ 2614039 w 2663946"/>
                <a:gd name="connsiteY203" fmla="*/ 147037 h 410520"/>
                <a:gd name="connsiteX204" fmla="*/ 2613056 w 2663946"/>
                <a:gd name="connsiteY204" fmla="*/ 154067 h 410520"/>
                <a:gd name="connsiteX205" fmla="*/ 2614039 w 2663946"/>
                <a:gd name="connsiteY205" fmla="*/ 161367 h 410520"/>
                <a:gd name="connsiteX206" fmla="*/ 2615269 w 2663946"/>
                <a:gd name="connsiteY206" fmla="*/ 165152 h 410520"/>
                <a:gd name="connsiteX207" fmla="*/ 2617481 w 2663946"/>
                <a:gd name="connsiteY207" fmla="*/ 169478 h 410520"/>
                <a:gd name="connsiteX208" fmla="*/ 2620922 w 2663946"/>
                <a:gd name="connsiteY208" fmla="*/ 173805 h 410520"/>
                <a:gd name="connsiteX209" fmla="*/ 2625346 w 2663946"/>
                <a:gd name="connsiteY209" fmla="*/ 176508 h 410520"/>
                <a:gd name="connsiteX210" fmla="*/ 2637637 w 2663946"/>
                <a:gd name="connsiteY210" fmla="*/ 174075 h 410520"/>
                <a:gd name="connsiteX211" fmla="*/ 2640832 w 2663946"/>
                <a:gd name="connsiteY211" fmla="*/ 170560 h 410520"/>
                <a:gd name="connsiteX212" fmla="*/ 2643290 w 2663946"/>
                <a:gd name="connsiteY212" fmla="*/ 166234 h 410520"/>
                <a:gd name="connsiteX213" fmla="*/ 2644273 w 2663946"/>
                <a:gd name="connsiteY213" fmla="*/ 164071 h 410520"/>
                <a:gd name="connsiteX214" fmla="*/ 2645502 w 2663946"/>
                <a:gd name="connsiteY214" fmla="*/ 159745 h 410520"/>
                <a:gd name="connsiteX215" fmla="*/ 2645011 w 2663946"/>
                <a:gd name="connsiteY215" fmla="*/ 145955 h 410520"/>
                <a:gd name="connsiteX216" fmla="*/ 2644027 w 2663946"/>
                <a:gd name="connsiteY216" fmla="*/ 142981 h 410520"/>
                <a:gd name="connsiteX217" fmla="*/ 2642799 w 2663946"/>
                <a:gd name="connsiteY217" fmla="*/ 140007 h 410520"/>
                <a:gd name="connsiteX218" fmla="*/ 2640586 w 2663946"/>
                <a:gd name="connsiteY218" fmla="*/ 136492 h 410520"/>
                <a:gd name="connsiteX219" fmla="*/ 2636899 w 2663946"/>
                <a:gd name="connsiteY219" fmla="*/ 132707 h 410520"/>
                <a:gd name="connsiteX220" fmla="*/ 2632966 w 2663946"/>
                <a:gd name="connsiteY220" fmla="*/ 130544 h 410520"/>
                <a:gd name="connsiteX221" fmla="*/ 2451011 w 2663946"/>
                <a:gd name="connsiteY221" fmla="*/ 130544 h 410520"/>
                <a:gd name="connsiteX222" fmla="*/ 2439459 w 2663946"/>
                <a:gd name="connsiteY222" fmla="*/ 132977 h 410520"/>
                <a:gd name="connsiteX223" fmla="*/ 2436263 w 2663946"/>
                <a:gd name="connsiteY223" fmla="*/ 136492 h 410520"/>
                <a:gd name="connsiteX224" fmla="*/ 2434051 w 2663946"/>
                <a:gd name="connsiteY224" fmla="*/ 140277 h 410520"/>
                <a:gd name="connsiteX225" fmla="*/ 2433068 w 2663946"/>
                <a:gd name="connsiteY225" fmla="*/ 142981 h 410520"/>
                <a:gd name="connsiteX226" fmla="*/ 2432084 w 2663946"/>
                <a:gd name="connsiteY226" fmla="*/ 147037 h 410520"/>
                <a:gd name="connsiteX227" fmla="*/ 2431101 w 2663946"/>
                <a:gd name="connsiteY227" fmla="*/ 154067 h 410520"/>
                <a:gd name="connsiteX228" fmla="*/ 2432084 w 2663946"/>
                <a:gd name="connsiteY228" fmla="*/ 161367 h 410520"/>
                <a:gd name="connsiteX229" fmla="*/ 2433314 w 2663946"/>
                <a:gd name="connsiteY229" fmla="*/ 165152 h 410520"/>
                <a:gd name="connsiteX230" fmla="*/ 2435526 w 2663946"/>
                <a:gd name="connsiteY230" fmla="*/ 169478 h 410520"/>
                <a:gd name="connsiteX231" fmla="*/ 2438967 w 2663946"/>
                <a:gd name="connsiteY231" fmla="*/ 173805 h 410520"/>
                <a:gd name="connsiteX232" fmla="*/ 2443391 w 2663946"/>
                <a:gd name="connsiteY232" fmla="*/ 176508 h 410520"/>
                <a:gd name="connsiteX233" fmla="*/ 2455682 w 2663946"/>
                <a:gd name="connsiteY233" fmla="*/ 174075 h 410520"/>
                <a:gd name="connsiteX234" fmla="*/ 2458877 w 2663946"/>
                <a:gd name="connsiteY234" fmla="*/ 170560 h 410520"/>
                <a:gd name="connsiteX235" fmla="*/ 2461335 w 2663946"/>
                <a:gd name="connsiteY235" fmla="*/ 166234 h 410520"/>
                <a:gd name="connsiteX236" fmla="*/ 2462318 w 2663946"/>
                <a:gd name="connsiteY236" fmla="*/ 164071 h 410520"/>
                <a:gd name="connsiteX237" fmla="*/ 2463547 w 2663946"/>
                <a:gd name="connsiteY237" fmla="*/ 159745 h 410520"/>
                <a:gd name="connsiteX238" fmla="*/ 2463056 w 2663946"/>
                <a:gd name="connsiteY238" fmla="*/ 145955 h 410520"/>
                <a:gd name="connsiteX239" fmla="*/ 2462072 w 2663946"/>
                <a:gd name="connsiteY239" fmla="*/ 142981 h 410520"/>
                <a:gd name="connsiteX240" fmla="*/ 2460844 w 2663946"/>
                <a:gd name="connsiteY240" fmla="*/ 140007 h 410520"/>
                <a:gd name="connsiteX241" fmla="*/ 2458631 w 2663946"/>
                <a:gd name="connsiteY241" fmla="*/ 136492 h 410520"/>
                <a:gd name="connsiteX242" fmla="*/ 2454944 w 2663946"/>
                <a:gd name="connsiteY242" fmla="*/ 132707 h 410520"/>
                <a:gd name="connsiteX243" fmla="*/ 2451011 w 2663946"/>
                <a:gd name="connsiteY243" fmla="*/ 130544 h 410520"/>
                <a:gd name="connsiteX244" fmla="*/ 2207965 w 2663946"/>
                <a:gd name="connsiteY244" fmla="*/ 130544 h 410520"/>
                <a:gd name="connsiteX245" fmla="*/ 2196413 w 2663946"/>
                <a:gd name="connsiteY245" fmla="*/ 132977 h 410520"/>
                <a:gd name="connsiteX246" fmla="*/ 2193217 w 2663946"/>
                <a:gd name="connsiteY246" fmla="*/ 136492 h 410520"/>
                <a:gd name="connsiteX247" fmla="*/ 2191005 w 2663946"/>
                <a:gd name="connsiteY247" fmla="*/ 140277 h 410520"/>
                <a:gd name="connsiteX248" fmla="*/ 2190022 w 2663946"/>
                <a:gd name="connsiteY248" fmla="*/ 142981 h 410520"/>
                <a:gd name="connsiteX249" fmla="*/ 2189038 w 2663946"/>
                <a:gd name="connsiteY249" fmla="*/ 147037 h 410520"/>
                <a:gd name="connsiteX250" fmla="*/ 2188055 w 2663946"/>
                <a:gd name="connsiteY250" fmla="*/ 154067 h 410520"/>
                <a:gd name="connsiteX251" fmla="*/ 2189038 w 2663946"/>
                <a:gd name="connsiteY251" fmla="*/ 161367 h 410520"/>
                <a:gd name="connsiteX252" fmla="*/ 2190268 w 2663946"/>
                <a:gd name="connsiteY252" fmla="*/ 165152 h 410520"/>
                <a:gd name="connsiteX253" fmla="*/ 2192480 w 2663946"/>
                <a:gd name="connsiteY253" fmla="*/ 169478 h 410520"/>
                <a:gd name="connsiteX254" fmla="*/ 2195921 w 2663946"/>
                <a:gd name="connsiteY254" fmla="*/ 173805 h 410520"/>
                <a:gd name="connsiteX255" fmla="*/ 2200345 w 2663946"/>
                <a:gd name="connsiteY255" fmla="*/ 176508 h 410520"/>
                <a:gd name="connsiteX256" fmla="*/ 2212636 w 2663946"/>
                <a:gd name="connsiteY256" fmla="*/ 174075 h 410520"/>
                <a:gd name="connsiteX257" fmla="*/ 2215831 w 2663946"/>
                <a:gd name="connsiteY257" fmla="*/ 170560 h 410520"/>
                <a:gd name="connsiteX258" fmla="*/ 2218289 w 2663946"/>
                <a:gd name="connsiteY258" fmla="*/ 166234 h 410520"/>
                <a:gd name="connsiteX259" fmla="*/ 2219272 w 2663946"/>
                <a:gd name="connsiteY259" fmla="*/ 164071 h 410520"/>
                <a:gd name="connsiteX260" fmla="*/ 2220501 w 2663946"/>
                <a:gd name="connsiteY260" fmla="*/ 159745 h 410520"/>
                <a:gd name="connsiteX261" fmla="*/ 2220010 w 2663946"/>
                <a:gd name="connsiteY261" fmla="*/ 145955 h 410520"/>
                <a:gd name="connsiteX262" fmla="*/ 2219026 w 2663946"/>
                <a:gd name="connsiteY262" fmla="*/ 142981 h 410520"/>
                <a:gd name="connsiteX263" fmla="*/ 2217798 w 2663946"/>
                <a:gd name="connsiteY263" fmla="*/ 140007 h 410520"/>
                <a:gd name="connsiteX264" fmla="*/ 2215585 w 2663946"/>
                <a:gd name="connsiteY264" fmla="*/ 136492 h 410520"/>
                <a:gd name="connsiteX265" fmla="*/ 2211898 w 2663946"/>
                <a:gd name="connsiteY265" fmla="*/ 132707 h 410520"/>
                <a:gd name="connsiteX266" fmla="*/ 2207965 w 2663946"/>
                <a:gd name="connsiteY266" fmla="*/ 130544 h 410520"/>
                <a:gd name="connsiteX267" fmla="*/ 2026014 w 2663946"/>
                <a:gd name="connsiteY267" fmla="*/ 130544 h 410520"/>
                <a:gd name="connsiteX268" fmla="*/ 2014462 w 2663946"/>
                <a:gd name="connsiteY268" fmla="*/ 132977 h 410520"/>
                <a:gd name="connsiteX269" fmla="*/ 2011266 w 2663946"/>
                <a:gd name="connsiteY269" fmla="*/ 136492 h 410520"/>
                <a:gd name="connsiteX270" fmla="*/ 2009054 w 2663946"/>
                <a:gd name="connsiteY270" fmla="*/ 140277 h 410520"/>
                <a:gd name="connsiteX271" fmla="*/ 2008071 w 2663946"/>
                <a:gd name="connsiteY271" fmla="*/ 142981 h 410520"/>
                <a:gd name="connsiteX272" fmla="*/ 2007087 w 2663946"/>
                <a:gd name="connsiteY272" fmla="*/ 147037 h 410520"/>
                <a:gd name="connsiteX273" fmla="*/ 2006104 w 2663946"/>
                <a:gd name="connsiteY273" fmla="*/ 154067 h 410520"/>
                <a:gd name="connsiteX274" fmla="*/ 2007087 w 2663946"/>
                <a:gd name="connsiteY274" fmla="*/ 161367 h 410520"/>
                <a:gd name="connsiteX275" fmla="*/ 2008317 w 2663946"/>
                <a:gd name="connsiteY275" fmla="*/ 165152 h 410520"/>
                <a:gd name="connsiteX276" fmla="*/ 2010529 w 2663946"/>
                <a:gd name="connsiteY276" fmla="*/ 169478 h 410520"/>
                <a:gd name="connsiteX277" fmla="*/ 2013970 w 2663946"/>
                <a:gd name="connsiteY277" fmla="*/ 173805 h 410520"/>
                <a:gd name="connsiteX278" fmla="*/ 2018394 w 2663946"/>
                <a:gd name="connsiteY278" fmla="*/ 176508 h 410520"/>
                <a:gd name="connsiteX279" fmla="*/ 2030685 w 2663946"/>
                <a:gd name="connsiteY279" fmla="*/ 174075 h 410520"/>
                <a:gd name="connsiteX280" fmla="*/ 2033880 w 2663946"/>
                <a:gd name="connsiteY280" fmla="*/ 170560 h 410520"/>
                <a:gd name="connsiteX281" fmla="*/ 2036338 w 2663946"/>
                <a:gd name="connsiteY281" fmla="*/ 166234 h 410520"/>
                <a:gd name="connsiteX282" fmla="*/ 2037321 w 2663946"/>
                <a:gd name="connsiteY282" fmla="*/ 164071 h 410520"/>
                <a:gd name="connsiteX283" fmla="*/ 2038550 w 2663946"/>
                <a:gd name="connsiteY283" fmla="*/ 159745 h 410520"/>
                <a:gd name="connsiteX284" fmla="*/ 2038059 w 2663946"/>
                <a:gd name="connsiteY284" fmla="*/ 145955 h 410520"/>
                <a:gd name="connsiteX285" fmla="*/ 2037075 w 2663946"/>
                <a:gd name="connsiteY285" fmla="*/ 142981 h 410520"/>
                <a:gd name="connsiteX286" fmla="*/ 2035847 w 2663946"/>
                <a:gd name="connsiteY286" fmla="*/ 140007 h 410520"/>
                <a:gd name="connsiteX287" fmla="*/ 2033634 w 2663946"/>
                <a:gd name="connsiteY287" fmla="*/ 136492 h 410520"/>
                <a:gd name="connsiteX288" fmla="*/ 2029947 w 2663946"/>
                <a:gd name="connsiteY288" fmla="*/ 132707 h 410520"/>
                <a:gd name="connsiteX289" fmla="*/ 2026014 w 2663946"/>
                <a:gd name="connsiteY289" fmla="*/ 130544 h 410520"/>
                <a:gd name="connsiteX290" fmla="*/ 1601090 w 2663946"/>
                <a:gd name="connsiteY290" fmla="*/ 130544 h 410520"/>
                <a:gd name="connsiteX291" fmla="*/ 1589537 w 2663946"/>
                <a:gd name="connsiteY291" fmla="*/ 132977 h 410520"/>
                <a:gd name="connsiteX292" fmla="*/ 1586342 w 2663946"/>
                <a:gd name="connsiteY292" fmla="*/ 136492 h 410520"/>
                <a:gd name="connsiteX293" fmla="*/ 1584130 w 2663946"/>
                <a:gd name="connsiteY293" fmla="*/ 140277 h 410520"/>
                <a:gd name="connsiteX294" fmla="*/ 1583147 w 2663946"/>
                <a:gd name="connsiteY294" fmla="*/ 142981 h 410520"/>
                <a:gd name="connsiteX295" fmla="*/ 1582163 w 2663946"/>
                <a:gd name="connsiteY295" fmla="*/ 147037 h 410520"/>
                <a:gd name="connsiteX296" fmla="*/ 1581180 w 2663946"/>
                <a:gd name="connsiteY296" fmla="*/ 154067 h 410520"/>
                <a:gd name="connsiteX297" fmla="*/ 1582163 w 2663946"/>
                <a:gd name="connsiteY297" fmla="*/ 161367 h 410520"/>
                <a:gd name="connsiteX298" fmla="*/ 1583393 w 2663946"/>
                <a:gd name="connsiteY298" fmla="*/ 165152 h 410520"/>
                <a:gd name="connsiteX299" fmla="*/ 1585605 w 2663946"/>
                <a:gd name="connsiteY299" fmla="*/ 169478 h 410520"/>
                <a:gd name="connsiteX300" fmla="*/ 1589046 w 2663946"/>
                <a:gd name="connsiteY300" fmla="*/ 173805 h 410520"/>
                <a:gd name="connsiteX301" fmla="*/ 1593470 w 2663946"/>
                <a:gd name="connsiteY301" fmla="*/ 176508 h 410520"/>
                <a:gd name="connsiteX302" fmla="*/ 1605761 w 2663946"/>
                <a:gd name="connsiteY302" fmla="*/ 174075 h 410520"/>
                <a:gd name="connsiteX303" fmla="*/ 1608956 w 2663946"/>
                <a:gd name="connsiteY303" fmla="*/ 170560 h 410520"/>
                <a:gd name="connsiteX304" fmla="*/ 1611414 w 2663946"/>
                <a:gd name="connsiteY304" fmla="*/ 166234 h 410520"/>
                <a:gd name="connsiteX305" fmla="*/ 1612397 w 2663946"/>
                <a:gd name="connsiteY305" fmla="*/ 164071 h 410520"/>
                <a:gd name="connsiteX306" fmla="*/ 1613626 w 2663946"/>
                <a:gd name="connsiteY306" fmla="*/ 159745 h 410520"/>
                <a:gd name="connsiteX307" fmla="*/ 1613135 w 2663946"/>
                <a:gd name="connsiteY307" fmla="*/ 145955 h 410520"/>
                <a:gd name="connsiteX308" fmla="*/ 1612151 w 2663946"/>
                <a:gd name="connsiteY308" fmla="*/ 142981 h 410520"/>
                <a:gd name="connsiteX309" fmla="*/ 1610923 w 2663946"/>
                <a:gd name="connsiteY309" fmla="*/ 140007 h 410520"/>
                <a:gd name="connsiteX310" fmla="*/ 1608710 w 2663946"/>
                <a:gd name="connsiteY310" fmla="*/ 136492 h 410520"/>
                <a:gd name="connsiteX311" fmla="*/ 1605023 w 2663946"/>
                <a:gd name="connsiteY311" fmla="*/ 132707 h 410520"/>
                <a:gd name="connsiteX312" fmla="*/ 1601090 w 2663946"/>
                <a:gd name="connsiteY312" fmla="*/ 130544 h 410520"/>
                <a:gd name="connsiteX313" fmla="*/ 1252183 w 2663946"/>
                <a:gd name="connsiteY313" fmla="*/ 130544 h 410520"/>
                <a:gd name="connsiteX314" fmla="*/ 1240630 w 2663946"/>
                <a:gd name="connsiteY314" fmla="*/ 132977 h 410520"/>
                <a:gd name="connsiteX315" fmla="*/ 1237435 w 2663946"/>
                <a:gd name="connsiteY315" fmla="*/ 136492 h 410520"/>
                <a:gd name="connsiteX316" fmla="*/ 1235223 w 2663946"/>
                <a:gd name="connsiteY316" fmla="*/ 140277 h 410520"/>
                <a:gd name="connsiteX317" fmla="*/ 1234240 w 2663946"/>
                <a:gd name="connsiteY317" fmla="*/ 142981 h 410520"/>
                <a:gd name="connsiteX318" fmla="*/ 1233256 w 2663946"/>
                <a:gd name="connsiteY318" fmla="*/ 147037 h 410520"/>
                <a:gd name="connsiteX319" fmla="*/ 1232273 w 2663946"/>
                <a:gd name="connsiteY319" fmla="*/ 154067 h 410520"/>
                <a:gd name="connsiteX320" fmla="*/ 1233256 w 2663946"/>
                <a:gd name="connsiteY320" fmla="*/ 161367 h 410520"/>
                <a:gd name="connsiteX321" fmla="*/ 1234486 w 2663946"/>
                <a:gd name="connsiteY321" fmla="*/ 165152 h 410520"/>
                <a:gd name="connsiteX322" fmla="*/ 1236698 w 2663946"/>
                <a:gd name="connsiteY322" fmla="*/ 169478 h 410520"/>
                <a:gd name="connsiteX323" fmla="*/ 1240139 w 2663946"/>
                <a:gd name="connsiteY323" fmla="*/ 173805 h 410520"/>
                <a:gd name="connsiteX324" fmla="*/ 1244563 w 2663946"/>
                <a:gd name="connsiteY324" fmla="*/ 176508 h 410520"/>
                <a:gd name="connsiteX325" fmla="*/ 1256854 w 2663946"/>
                <a:gd name="connsiteY325" fmla="*/ 174075 h 410520"/>
                <a:gd name="connsiteX326" fmla="*/ 1260049 w 2663946"/>
                <a:gd name="connsiteY326" fmla="*/ 170560 h 410520"/>
                <a:gd name="connsiteX327" fmla="*/ 1262507 w 2663946"/>
                <a:gd name="connsiteY327" fmla="*/ 166234 h 410520"/>
                <a:gd name="connsiteX328" fmla="*/ 1263490 w 2663946"/>
                <a:gd name="connsiteY328" fmla="*/ 164071 h 410520"/>
                <a:gd name="connsiteX329" fmla="*/ 1264719 w 2663946"/>
                <a:gd name="connsiteY329" fmla="*/ 159745 h 410520"/>
                <a:gd name="connsiteX330" fmla="*/ 1264228 w 2663946"/>
                <a:gd name="connsiteY330" fmla="*/ 145955 h 410520"/>
                <a:gd name="connsiteX331" fmla="*/ 1263244 w 2663946"/>
                <a:gd name="connsiteY331" fmla="*/ 142981 h 410520"/>
                <a:gd name="connsiteX332" fmla="*/ 1262016 w 2663946"/>
                <a:gd name="connsiteY332" fmla="*/ 140007 h 410520"/>
                <a:gd name="connsiteX333" fmla="*/ 1259803 w 2663946"/>
                <a:gd name="connsiteY333" fmla="*/ 136492 h 410520"/>
                <a:gd name="connsiteX334" fmla="*/ 1256116 w 2663946"/>
                <a:gd name="connsiteY334" fmla="*/ 132707 h 410520"/>
                <a:gd name="connsiteX335" fmla="*/ 1252183 w 2663946"/>
                <a:gd name="connsiteY335" fmla="*/ 130544 h 410520"/>
                <a:gd name="connsiteX336" fmla="*/ 1070232 w 2663946"/>
                <a:gd name="connsiteY336" fmla="*/ 130544 h 410520"/>
                <a:gd name="connsiteX337" fmla="*/ 1058679 w 2663946"/>
                <a:gd name="connsiteY337" fmla="*/ 132977 h 410520"/>
                <a:gd name="connsiteX338" fmla="*/ 1055484 w 2663946"/>
                <a:gd name="connsiteY338" fmla="*/ 136492 h 410520"/>
                <a:gd name="connsiteX339" fmla="*/ 1053272 w 2663946"/>
                <a:gd name="connsiteY339" fmla="*/ 140277 h 410520"/>
                <a:gd name="connsiteX340" fmla="*/ 1052289 w 2663946"/>
                <a:gd name="connsiteY340" fmla="*/ 142981 h 410520"/>
                <a:gd name="connsiteX341" fmla="*/ 1051305 w 2663946"/>
                <a:gd name="connsiteY341" fmla="*/ 147037 h 410520"/>
                <a:gd name="connsiteX342" fmla="*/ 1050322 w 2663946"/>
                <a:gd name="connsiteY342" fmla="*/ 154067 h 410520"/>
                <a:gd name="connsiteX343" fmla="*/ 1051305 w 2663946"/>
                <a:gd name="connsiteY343" fmla="*/ 161367 h 410520"/>
                <a:gd name="connsiteX344" fmla="*/ 1052535 w 2663946"/>
                <a:gd name="connsiteY344" fmla="*/ 165152 h 410520"/>
                <a:gd name="connsiteX345" fmla="*/ 1054747 w 2663946"/>
                <a:gd name="connsiteY345" fmla="*/ 169478 h 410520"/>
                <a:gd name="connsiteX346" fmla="*/ 1058188 w 2663946"/>
                <a:gd name="connsiteY346" fmla="*/ 173805 h 410520"/>
                <a:gd name="connsiteX347" fmla="*/ 1062612 w 2663946"/>
                <a:gd name="connsiteY347" fmla="*/ 176508 h 410520"/>
                <a:gd name="connsiteX348" fmla="*/ 1074903 w 2663946"/>
                <a:gd name="connsiteY348" fmla="*/ 174075 h 410520"/>
                <a:gd name="connsiteX349" fmla="*/ 1078098 w 2663946"/>
                <a:gd name="connsiteY349" fmla="*/ 170560 h 410520"/>
                <a:gd name="connsiteX350" fmla="*/ 1080556 w 2663946"/>
                <a:gd name="connsiteY350" fmla="*/ 166234 h 410520"/>
                <a:gd name="connsiteX351" fmla="*/ 1081539 w 2663946"/>
                <a:gd name="connsiteY351" fmla="*/ 164071 h 410520"/>
                <a:gd name="connsiteX352" fmla="*/ 1082768 w 2663946"/>
                <a:gd name="connsiteY352" fmla="*/ 159745 h 410520"/>
                <a:gd name="connsiteX353" fmla="*/ 1082277 w 2663946"/>
                <a:gd name="connsiteY353" fmla="*/ 145955 h 410520"/>
                <a:gd name="connsiteX354" fmla="*/ 1081293 w 2663946"/>
                <a:gd name="connsiteY354" fmla="*/ 142981 h 410520"/>
                <a:gd name="connsiteX355" fmla="*/ 1080065 w 2663946"/>
                <a:gd name="connsiteY355" fmla="*/ 140007 h 410520"/>
                <a:gd name="connsiteX356" fmla="*/ 1077852 w 2663946"/>
                <a:gd name="connsiteY356" fmla="*/ 136492 h 410520"/>
                <a:gd name="connsiteX357" fmla="*/ 1074165 w 2663946"/>
                <a:gd name="connsiteY357" fmla="*/ 132707 h 410520"/>
                <a:gd name="connsiteX358" fmla="*/ 1070232 w 2663946"/>
                <a:gd name="connsiteY358" fmla="*/ 130544 h 410520"/>
                <a:gd name="connsiteX359" fmla="*/ 903203 w 2663946"/>
                <a:gd name="connsiteY359" fmla="*/ 130544 h 410520"/>
                <a:gd name="connsiteX360" fmla="*/ 891650 w 2663946"/>
                <a:gd name="connsiteY360" fmla="*/ 132977 h 410520"/>
                <a:gd name="connsiteX361" fmla="*/ 888455 w 2663946"/>
                <a:gd name="connsiteY361" fmla="*/ 136492 h 410520"/>
                <a:gd name="connsiteX362" fmla="*/ 886243 w 2663946"/>
                <a:gd name="connsiteY362" fmla="*/ 140277 h 410520"/>
                <a:gd name="connsiteX363" fmla="*/ 885260 w 2663946"/>
                <a:gd name="connsiteY363" fmla="*/ 142981 h 410520"/>
                <a:gd name="connsiteX364" fmla="*/ 884276 w 2663946"/>
                <a:gd name="connsiteY364" fmla="*/ 147037 h 410520"/>
                <a:gd name="connsiteX365" fmla="*/ 883293 w 2663946"/>
                <a:gd name="connsiteY365" fmla="*/ 154067 h 410520"/>
                <a:gd name="connsiteX366" fmla="*/ 884276 w 2663946"/>
                <a:gd name="connsiteY366" fmla="*/ 161367 h 410520"/>
                <a:gd name="connsiteX367" fmla="*/ 885506 w 2663946"/>
                <a:gd name="connsiteY367" fmla="*/ 165152 h 410520"/>
                <a:gd name="connsiteX368" fmla="*/ 887718 w 2663946"/>
                <a:gd name="connsiteY368" fmla="*/ 169478 h 410520"/>
                <a:gd name="connsiteX369" fmla="*/ 891159 w 2663946"/>
                <a:gd name="connsiteY369" fmla="*/ 173805 h 410520"/>
                <a:gd name="connsiteX370" fmla="*/ 895583 w 2663946"/>
                <a:gd name="connsiteY370" fmla="*/ 176508 h 410520"/>
                <a:gd name="connsiteX371" fmla="*/ 907874 w 2663946"/>
                <a:gd name="connsiteY371" fmla="*/ 174075 h 410520"/>
                <a:gd name="connsiteX372" fmla="*/ 911069 w 2663946"/>
                <a:gd name="connsiteY372" fmla="*/ 170560 h 410520"/>
                <a:gd name="connsiteX373" fmla="*/ 913527 w 2663946"/>
                <a:gd name="connsiteY373" fmla="*/ 166234 h 410520"/>
                <a:gd name="connsiteX374" fmla="*/ 914510 w 2663946"/>
                <a:gd name="connsiteY374" fmla="*/ 164071 h 410520"/>
                <a:gd name="connsiteX375" fmla="*/ 915739 w 2663946"/>
                <a:gd name="connsiteY375" fmla="*/ 159745 h 410520"/>
                <a:gd name="connsiteX376" fmla="*/ 915248 w 2663946"/>
                <a:gd name="connsiteY376" fmla="*/ 145955 h 410520"/>
                <a:gd name="connsiteX377" fmla="*/ 914264 w 2663946"/>
                <a:gd name="connsiteY377" fmla="*/ 142981 h 410520"/>
                <a:gd name="connsiteX378" fmla="*/ 913036 w 2663946"/>
                <a:gd name="connsiteY378" fmla="*/ 140007 h 410520"/>
                <a:gd name="connsiteX379" fmla="*/ 910823 w 2663946"/>
                <a:gd name="connsiteY379" fmla="*/ 136492 h 410520"/>
                <a:gd name="connsiteX380" fmla="*/ 907136 w 2663946"/>
                <a:gd name="connsiteY380" fmla="*/ 132707 h 410520"/>
                <a:gd name="connsiteX381" fmla="*/ 903203 w 2663946"/>
                <a:gd name="connsiteY381" fmla="*/ 130544 h 410520"/>
                <a:gd name="connsiteX382" fmla="*/ 554297 w 2663946"/>
                <a:gd name="connsiteY382" fmla="*/ 130544 h 410520"/>
                <a:gd name="connsiteX383" fmla="*/ 542744 w 2663946"/>
                <a:gd name="connsiteY383" fmla="*/ 132977 h 410520"/>
                <a:gd name="connsiteX384" fmla="*/ 539549 w 2663946"/>
                <a:gd name="connsiteY384" fmla="*/ 136492 h 410520"/>
                <a:gd name="connsiteX385" fmla="*/ 537337 w 2663946"/>
                <a:gd name="connsiteY385" fmla="*/ 140277 h 410520"/>
                <a:gd name="connsiteX386" fmla="*/ 536353 w 2663946"/>
                <a:gd name="connsiteY386" fmla="*/ 142981 h 410520"/>
                <a:gd name="connsiteX387" fmla="*/ 535370 w 2663946"/>
                <a:gd name="connsiteY387" fmla="*/ 147037 h 410520"/>
                <a:gd name="connsiteX388" fmla="*/ 534387 w 2663946"/>
                <a:gd name="connsiteY388" fmla="*/ 154067 h 410520"/>
                <a:gd name="connsiteX389" fmla="*/ 535370 w 2663946"/>
                <a:gd name="connsiteY389" fmla="*/ 161367 h 410520"/>
                <a:gd name="connsiteX390" fmla="*/ 536599 w 2663946"/>
                <a:gd name="connsiteY390" fmla="*/ 165152 h 410520"/>
                <a:gd name="connsiteX391" fmla="*/ 538811 w 2663946"/>
                <a:gd name="connsiteY391" fmla="*/ 169478 h 410520"/>
                <a:gd name="connsiteX392" fmla="*/ 542253 w 2663946"/>
                <a:gd name="connsiteY392" fmla="*/ 173805 h 410520"/>
                <a:gd name="connsiteX393" fmla="*/ 546677 w 2663946"/>
                <a:gd name="connsiteY393" fmla="*/ 176508 h 410520"/>
                <a:gd name="connsiteX394" fmla="*/ 558967 w 2663946"/>
                <a:gd name="connsiteY394" fmla="*/ 174075 h 410520"/>
                <a:gd name="connsiteX395" fmla="*/ 562163 w 2663946"/>
                <a:gd name="connsiteY395" fmla="*/ 170560 h 410520"/>
                <a:gd name="connsiteX396" fmla="*/ 564621 w 2663946"/>
                <a:gd name="connsiteY396" fmla="*/ 166234 h 410520"/>
                <a:gd name="connsiteX397" fmla="*/ 565604 w 2663946"/>
                <a:gd name="connsiteY397" fmla="*/ 164071 h 410520"/>
                <a:gd name="connsiteX398" fmla="*/ 566833 w 2663946"/>
                <a:gd name="connsiteY398" fmla="*/ 159745 h 410520"/>
                <a:gd name="connsiteX399" fmla="*/ 566341 w 2663946"/>
                <a:gd name="connsiteY399" fmla="*/ 145955 h 410520"/>
                <a:gd name="connsiteX400" fmla="*/ 565358 w 2663946"/>
                <a:gd name="connsiteY400" fmla="*/ 142981 h 410520"/>
                <a:gd name="connsiteX401" fmla="*/ 564129 w 2663946"/>
                <a:gd name="connsiteY401" fmla="*/ 140007 h 410520"/>
                <a:gd name="connsiteX402" fmla="*/ 561917 w 2663946"/>
                <a:gd name="connsiteY402" fmla="*/ 136492 h 410520"/>
                <a:gd name="connsiteX403" fmla="*/ 558230 w 2663946"/>
                <a:gd name="connsiteY403" fmla="*/ 132707 h 410520"/>
                <a:gd name="connsiteX404" fmla="*/ 554297 w 2663946"/>
                <a:gd name="connsiteY404" fmla="*/ 130544 h 410520"/>
                <a:gd name="connsiteX405" fmla="*/ 372346 w 2663946"/>
                <a:gd name="connsiteY405" fmla="*/ 130544 h 410520"/>
                <a:gd name="connsiteX406" fmla="*/ 360793 w 2663946"/>
                <a:gd name="connsiteY406" fmla="*/ 132977 h 410520"/>
                <a:gd name="connsiteX407" fmla="*/ 357598 w 2663946"/>
                <a:gd name="connsiteY407" fmla="*/ 136492 h 410520"/>
                <a:gd name="connsiteX408" fmla="*/ 355385 w 2663946"/>
                <a:gd name="connsiteY408" fmla="*/ 140277 h 410520"/>
                <a:gd name="connsiteX409" fmla="*/ 354402 w 2663946"/>
                <a:gd name="connsiteY409" fmla="*/ 142981 h 410520"/>
                <a:gd name="connsiteX410" fmla="*/ 353419 w 2663946"/>
                <a:gd name="connsiteY410" fmla="*/ 147037 h 410520"/>
                <a:gd name="connsiteX411" fmla="*/ 352436 w 2663946"/>
                <a:gd name="connsiteY411" fmla="*/ 154067 h 410520"/>
                <a:gd name="connsiteX412" fmla="*/ 353419 w 2663946"/>
                <a:gd name="connsiteY412" fmla="*/ 161367 h 410520"/>
                <a:gd name="connsiteX413" fmla="*/ 354648 w 2663946"/>
                <a:gd name="connsiteY413" fmla="*/ 165152 h 410520"/>
                <a:gd name="connsiteX414" fmla="*/ 356860 w 2663946"/>
                <a:gd name="connsiteY414" fmla="*/ 169478 h 410520"/>
                <a:gd name="connsiteX415" fmla="*/ 360301 w 2663946"/>
                <a:gd name="connsiteY415" fmla="*/ 173805 h 410520"/>
                <a:gd name="connsiteX416" fmla="*/ 364726 w 2663946"/>
                <a:gd name="connsiteY416" fmla="*/ 176508 h 410520"/>
                <a:gd name="connsiteX417" fmla="*/ 377016 w 2663946"/>
                <a:gd name="connsiteY417" fmla="*/ 174075 h 410520"/>
                <a:gd name="connsiteX418" fmla="*/ 380212 w 2663946"/>
                <a:gd name="connsiteY418" fmla="*/ 170560 h 410520"/>
                <a:gd name="connsiteX419" fmla="*/ 382670 w 2663946"/>
                <a:gd name="connsiteY419" fmla="*/ 166234 h 410520"/>
                <a:gd name="connsiteX420" fmla="*/ 383653 w 2663946"/>
                <a:gd name="connsiteY420" fmla="*/ 164071 h 410520"/>
                <a:gd name="connsiteX421" fmla="*/ 384882 w 2663946"/>
                <a:gd name="connsiteY421" fmla="*/ 159745 h 410520"/>
                <a:gd name="connsiteX422" fmla="*/ 384390 w 2663946"/>
                <a:gd name="connsiteY422" fmla="*/ 145955 h 410520"/>
                <a:gd name="connsiteX423" fmla="*/ 383407 w 2663946"/>
                <a:gd name="connsiteY423" fmla="*/ 142981 h 410520"/>
                <a:gd name="connsiteX424" fmla="*/ 382178 w 2663946"/>
                <a:gd name="connsiteY424" fmla="*/ 140007 h 410520"/>
                <a:gd name="connsiteX425" fmla="*/ 379966 w 2663946"/>
                <a:gd name="connsiteY425" fmla="*/ 136492 h 410520"/>
                <a:gd name="connsiteX426" fmla="*/ 376279 w 2663946"/>
                <a:gd name="connsiteY426" fmla="*/ 132707 h 410520"/>
                <a:gd name="connsiteX427" fmla="*/ 372346 w 2663946"/>
                <a:gd name="connsiteY427" fmla="*/ 130544 h 410520"/>
                <a:gd name="connsiteX428" fmla="*/ 129300 w 2663946"/>
                <a:gd name="connsiteY428" fmla="*/ 130544 h 410520"/>
                <a:gd name="connsiteX429" fmla="*/ 117747 w 2663946"/>
                <a:gd name="connsiteY429" fmla="*/ 132977 h 410520"/>
                <a:gd name="connsiteX430" fmla="*/ 114552 w 2663946"/>
                <a:gd name="connsiteY430" fmla="*/ 136492 h 410520"/>
                <a:gd name="connsiteX431" fmla="*/ 112340 w 2663946"/>
                <a:gd name="connsiteY431" fmla="*/ 140277 h 410520"/>
                <a:gd name="connsiteX432" fmla="*/ 111356 w 2663946"/>
                <a:gd name="connsiteY432" fmla="*/ 142981 h 410520"/>
                <a:gd name="connsiteX433" fmla="*/ 110373 w 2663946"/>
                <a:gd name="connsiteY433" fmla="*/ 147037 h 410520"/>
                <a:gd name="connsiteX434" fmla="*/ 109390 w 2663946"/>
                <a:gd name="connsiteY434" fmla="*/ 154067 h 410520"/>
                <a:gd name="connsiteX435" fmla="*/ 110373 w 2663946"/>
                <a:gd name="connsiteY435" fmla="*/ 161367 h 410520"/>
                <a:gd name="connsiteX436" fmla="*/ 111602 w 2663946"/>
                <a:gd name="connsiteY436" fmla="*/ 165152 h 410520"/>
                <a:gd name="connsiteX437" fmla="*/ 113814 w 2663946"/>
                <a:gd name="connsiteY437" fmla="*/ 169478 h 410520"/>
                <a:gd name="connsiteX438" fmla="*/ 117256 w 2663946"/>
                <a:gd name="connsiteY438" fmla="*/ 173805 h 410520"/>
                <a:gd name="connsiteX439" fmla="*/ 121680 w 2663946"/>
                <a:gd name="connsiteY439" fmla="*/ 176508 h 410520"/>
                <a:gd name="connsiteX440" fmla="*/ 133970 w 2663946"/>
                <a:gd name="connsiteY440" fmla="*/ 174075 h 410520"/>
                <a:gd name="connsiteX441" fmla="*/ 137166 w 2663946"/>
                <a:gd name="connsiteY441" fmla="*/ 170560 h 410520"/>
                <a:gd name="connsiteX442" fmla="*/ 139624 w 2663946"/>
                <a:gd name="connsiteY442" fmla="*/ 166234 h 410520"/>
                <a:gd name="connsiteX443" fmla="*/ 140607 w 2663946"/>
                <a:gd name="connsiteY443" fmla="*/ 164071 h 410520"/>
                <a:gd name="connsiteX444" fmla="*/ 141836 w 2663946"/>
                <a:gd name="connsiteY444" fmla="*/ 159745 h 410520"/>
                <a:gd name="connsiteX445" fmla="*/ 141344 w 2663946"/>
                <a:gd name="connsiteY445" fmla="*/ 145955 h 410520"/>
                <a:gd name="connsiteX446" fmla="*/ 140361 w 2663946"/>
                <a:gd name="connsiteY446" fmla="*/ 142981 h 410520"/>
                <a:gd name="connsiteX447" fmla="*/ 139132 w 2663946"/>
                <a:gd name="connsiteY447" fmla="*/ 140007 h 410520"/>
                <a:gd name="connsiteX448" fmla="*/ 136920 w 2663946"/>
                <a:gd name="connsiteY448" fmla="*/ 136492 h 410520"/>
                <a:gd name="connsiteX449" fmla="*/ 133233 w 2663946"/>
                <a:gd name="connsiteY449" fmla="*/ 132707 h 410520"/>
                <a:gd name="connsiteX450" fmla="*/ 129300 w 2663946"/>
                <a:gd name="connsiteY450" fmla="*/ 130544 h 410520"/>
                <a:gd name="connsiteX451" fmla="*/ 33147 w 2663946"/>
                <a:gd name="connsiteY451" fmla="*/ 126608 h 410520"/>
                <a:gd name="connsiteX452" fmla="*/ 21486 w 2663946"/>
                <a:gd name="connsiteY452" fmla="*/ 134337 h 410520"/>
                <a:gd name="connsiteX453" fmla="*/ 20561 w 2663946"/>
                <a:gd name="connsiteY453" fmla="*/ 138920 h 410520"/>
                <a:gd name="connsiteX454" fmla="*/ 23801 w 2663946"/>
                <a:gd name="connsiteY454" fmla="*/ 138920 h 410520"/>
                <a:gd name="connsiteX455" fmla="*/ 42218 w 2663946"/>
                <a:gd name="connsiteY455" fmla="*/ 138920 h 410520"/>
                <a:gd name="connsiteX456" fmla="*/ 45732 w 2663946"/>
                <a:gd name="connsiteY456" fmla="*/ 138920 h 410520"/>
                <a:gd name="connsiteX457" fmla="*/ 44807 w 2663946"/>
                <a:gd name="connsiteY457" fmla="*/ 134337 h 410520"/>
                <a:gd name="connsiteX458" fmla="*/ 33147 w 2663946"/>
                <a:gd name="connsiteY458" fmla="*/ 126608 h 410520"/>
                <a:gd name="connsiteX459" fmla="*/ 2537931 w 2663946"/>
                <a:gd name="connsiteY459" fmla="*/ 119020 h 410520"/>
                <a:gd name="connsiteX460" fmla="*/ 2526271 w 2663946"/>
                <a:gd name="connsiteY460" fmla="*/ 126749 h 410520"/>
                <a:gd name="connsiteX461" fmla="*/ 2525346 w 2663946"/>
                <a:gd name="connsiteY461" fmla="*/ 131332 h 410520"/>
                <a:gd name="connsiteX462" fmla="*/ 2528586 w 2663946"/>
                <a:gd name="connsiteY462" fmla="*/ 131332 h 410520"/>
                <a:gd name="connsiteX463" fmla="*/ 2547003 w 2663946"/>
                <a:gd name="connsiteY463" fmla="*/ 131332 h 410520"/>
                <a:gd name="connsiteX464" fmla="*/ 2550517 w 2663946"/>
                <a:gd name="connsiteY464" fmla="*/ 131332 h 410520"/>
                <a:gd name="connsiteX465" fmla="*/ 2549592 w 2663946"/>
                <a:gd name="connsiteY465" fmla="*/ 126749 h 410520"/>
                <a:gd name="connsiteX466" fmla="*/ 2537931 w 2663946"/>
                <a:gd name="connsiteY466" fmla="*/ 119020 h 410520"/>
                <a:gd name="connsiteX467" fmla="*/ 2112934 w 2663946"/>
                <a:gd name="connsiteY467" fmla="*/ 119020 h 410520"/>
                <a:gd name="connsiteX468" fmla="*/ 2101274 w 2663946"/>
                <a:gd name="connsiteY468" fmla="*/ 126749 h 410520"/>
                <a:gd name="connsiteX469" fmla="*/ 2100349 w 2663946"/>
                <a:gd name="connsiteY469" fmla="*/ 131332 h 410520"/>
                <a:gd name="connsiteX470" fmla="*/ 2103589 w 2663946"/>
                <a:gd name="connsiteY470" fmla="*/ 131332 h 410520"/>
                <a:gd name="connsiteX471" fmla="*/ 2122006 w 2663946"/>
                <a:gd name="connsiteY471" fmla="*/ 131332 h 410520"/>
                <a:gd name="connsiteX472" fmla="*/ 2125520 w 2663946"/>
                <a:gd name="connsiteY472" fmla="*/ 131332 h 410520"/>
                <a:gd name="connsiteX473" fmla="*/ 2124595 w 2663946"/>
                <a:gd name="connsiteY473" fmla="*/ 126749 h 410520"/>
                <a:gd name="connsiteX474" fmla="*/ 2112934 w 2663946"/>
                <a:gd name="connsiteY474" fmla="*/ 119020 h 410520"/>
                <a:gd name="connsiteX475" fmla="*/ 1854966 w 2663946"/>
                <a:gd name="connsiteY475" fmla="*/ 119020 h 410520"/>
                <a:gd name="connsiteX476" fmla="*/ 1843306 w 2663946"/>
                <a:gd name="connsiteY476" fmla="*/ 126749 h 410520"/>
                <a:gd name="connsiteX477" fmla="*/ 1842381 w 2663946"/>
                <a:gd name="connsiteY477" fmla="*/ 131332 h 410520"/>
                <a:gd name="connsiteX478" fmla="*/ 1845621 w 2663946"/>
                <a:gd name="connsiteY478" fmla="*/ 131332 h 410520"/>
                <a:gd name="connsiteX479" fmla="*/ 1864038 w 2663946"/>
                <a:gd name="connsiteY479" fmla="*/ 131332 h 410520"/>
                <a:gd name="connsiteX480" fmla="*/ 1867552 w 2663946"/>
                <a:gd name="connsiteY480" fmla="*/ 131332 h 410520"/>
                <a:gd name="connsiteX481" fmla="*/ 1866627 w 2663946"/>
                <a:gd name="connsiteY481" fmla="*/ 126749 h 410520"/>
                <a:gd name="connsiteX482" fmla="*/ 1854966 w 2663946"/>
                <a:gd name="connsiteY482" fmla="*/ 119020 h 410520"/>
                <a:gd name="connsiteX483" fmla="*/ 1764027 w 2663946"/>
                <a:gd name="connsiteY483" fmla="*/ 119020 h 410520"/>
                <a:gd name="connsiteX484" fmla="*/ 1752367 w 2663946"/>
                <a:gd name="connsiteY484" fmla="*/ 126749 h 410520"/>
                <a:gd name="connsiteX485" fmla="*/ 1751442 w 2663946"/>
                <a:gd name="connsiteY485" fmla="*/ 131332 h 410520"/>
                <a:gd name="connsiteX486" fmla="*/ 1754682 w 2663946"/>
                <a:gd name="connsiteY486" fmla="*/ 131332 h 410520"/>
                <a:gd name="connsiteX487" fmla="*/ 1773099 w 2663946"/>
                <a:gd name="connsiteY487" fmla="*/ 131332 h 410520"/>
                <a:gd name="connsiteX488" fmla="*/ 1776613 w 2663946"/>
                <a:gd name="connsiteY488" fmla="*/ 131332 h 410520"/>
                <a:gd name="connsiteX489" fmla="*/ 1775687 w 2663946"/>
                <a:gd name="connsiteY489" fmla="*/ 126749 h 410520"/>
                <a:gd name="connsiteX490" fmla="*/ 1764027 w 2663946"/>
                <a:gd name="connsiteY490" fmla="*/ 119020 h 410520"/>
                <a:gd name="connsiteX491" fmla="*/ 1506059 w 2663946"/>
                <a:gd name="connsiteY491" fmla="*/ 119020 h 410520"/>
                <a:gd name="connsiteX492" fmla="*/ 1494399 w 2663946"/>
                <a:gd name="connsiteY492" fmla="*/ 126749 h 410520"/>
                <a:gd name="connsiteX493" fmla="*/ 1493474 w 2663946"/>
                <a:gd name="connsiteY493" fmla="*/ 131332 h 410520"/>
                <a:gd name="connsiteX494" fmla="*/ 1496714 w 2663946"/>
                <a:gd name="connsiteY494" fmla="*/ 131332 h 410520"/>
                <a:gd name="connsiteX495" fmla="*/ 1515131 w 2663946"/>
                <a:gd name="connsiteY495" fmla="*/ 131332 h 410520"/>
                <a:gd name="connsiteX496" fmla="*/ 1518645 w 2663946"/>
                <a:gd name="connsiteY496" fmla="*/ 131332 h 410520"/>
                <a:gd name="connsiteX497" fmla="*/ 1517719 w 2663946"/>
                <a:gd name="connsiteY497" fmla="*/ 126749 h 410520"/>
                <a:gd name="connsiteX498" fmla="*/ 1506059 w 2663946"/>
                <a:gd name="connsiteY498" fmla="*/ 119020 h 410520"/>
                <a:gd name="connsiteX499" fmla="*/ 1415120 w 2663946"/>
                <a:gd name="connsiteY499" fmla="*/ 119020 h 410520"/>
                <a:gd name="connsiteX500" fmla="*/ 1403460 w 2663946"/>
                <a:gd name="connsiteY500" fmla="*/ 126749 h 410520"/>
                <a:gd name="connsiteX501" fmla="*/ 1402535 w 2663946"/>
                <a:gd name="connsiteY501" fmla="*/ 131332 h 410520"/>
                <a:gd name="connsiteX502" fmla="*/ 1405775 w 2663946"/>
                <a:gd name="connsiteY502" fmla="*/ 131332 h 410520"/>
                <a:gd name="connsiteX503" fmla="*/ 1424192 w 2663946"/>
                <a:gd name="connsiteY503" fmla="*/ 131332 h 410520"/>
                <a:gd name="connsiteX504" fmla="*/ 1427706 w 2663946"/>
                <a:gd name="connsiteY504" fmla="*/ 131332 h 410520"/>
                <a:gd name="connsiteX505" fmla="*/ 1426780 w 2663946"/>
                <a:gd name="connsiteY505" fmla="*/ 126749 h 410520"/>
                <a:gd name="connsiteX506" fmla="*/ 1415120 w 2663946"/>
                <a:gd name="connsiteY506" fmla="*/ 119020 h 410520"/>
                <a:gd name="connsiteX507" fmla="*/ 1157152 w 2663946"/>
                <a:gd name="connsiteY507" fmla="*/ 119020 h 410520"/>
                <a:gd name="connsiteX508" fmla="*/ 1145492 w 2663946"/>
                <a:gd name="connsiteY508" fmla="*/ 126749 h 410520"/>
                <a:gd name="connsiteX509" fmla="*/ 1144567 w 2663946"/>
                <a:gd name="connsiteY509" fmla="*/ 131332 h 410520"/>
                <a:gd name="connsiteX510" fmla="*/ 1147807 w 2663946"/>
                <a:gd name="connsiteY510" fmla="*/ 131332 h 410520"/>
                <a:gd name="connsiteX511" fmla="*/ 1166224 w 2663946"/>
                <a:gd name="connsiteY511" fmla="*/ 131332 h 410520"/>
                <a:gd name="connsiteX512" fmla="*/ 1169738 w 2663946"/>
                <a:gd name="connsiteY512" fmla="*/ 131332 h 410520"/>
                <a:gd name="connsiteX513" fmla="*/ 1168812 w 2663946"/>
                <a:gd name="connsiteY513" fmla="*/ 126749 h 410520"/>
                <a:gd name="connsiteX514" fmla="*/ 1157152 w 2663946"/>
                <a:gd name="connsiteY514" fmla="*/ 119020 h 410520"/>
                <a:gd name="connsiteX515" fmla="*/ 732156 w 2663946"/>
                <a:gd name="connsiteY515" fmla="*/ 119020 h 410520"/>
                <a:gd name="connsiteX516" fmla="*/ 720495 w 2663946"/>
                <a:gd name="connsiteY516" fmla="*/ 126749 h 410520"/>
                <a:gd name="connsiteX517" fmla="*/ 719570 w 2663946"/>
                <a:gd name="connsiteY517" fmla="*/ 131332 h 410520"/>
                <a:gd name="connsiteX518" fmla="*/ 722810 w 2663946"/>
                <a:gd name="connsiteY518" fmla="*/ 131332 h 410520"/>
                <a:gd name="connsiteX519" fmla="*/ 741228 w 2663946"/>
                <a:gd name="connsiteY519" fmla="*/ 131332 h 410520"/>
                <a:gd name="connsiteX520" fmla="*/ 744742 w 2663946"/>
                <a:gd name="connsiteY520" fmla="*/ 131332 h 410520"/>
                <a:gd name="connsiteX521" fmla="*/ 743816 w 2663946"/>
                <a:gd name="connsiteY521" fmla="*/ 126749 h 410520"/>
                <a:gd name="connsiteX522" fmla="*/ 732156 w 2663946"/>
                <a:gd name="connsiteY522" fmla="*/ 119020 h 410520"/>
                <a:gd name="connsiteX523" fmla="*/ 641217 w 2663946"/>
                <a:gd name="connsiteY523" fmla="*/ 119020 h 410520"/>
                <a:gd name="connsiteX524" fmla="*/ 629556 w 2663946"/>
                <a:gd name="connsiteY524" fmla="*/ 126749 h 410520"/>
                <a:gd name="connsiteX525" fmla="*/ 628631 w 2663946"/>
                <a:gd name="connsiteY525" fmla="*/ 131332 h 410520"/>
                <a:gd name="connsiteX526" fmla="*/ 631871 w 2663946"/>
                <a:gd name="connsiteY526" fmla="*/ 131332 h 410520"/>
                <a:gd name="connsiteX527" fmla="*/ 650289 w 2663946"/>
                <a:gd name="connsiteY527" fmla="*/ 131332 h 410520"/>
                <a:gd name="connsiteX528" fmla="*/ 653802 w 2663946"/>
                <a:gd name="connsiteY528" fmla="*/ 131332 h 410520"/>
                <a:gd name="connsiteX529" fmla="*/ 652877 w 2663946"/>
                <a:gd name="connsiteY529" fmla="*/ 126749 h 410520"/>
                <a:gd name="connsiteX530" fmla="*/ 641217 w 2663946"/>
                <a:gd name="connsiteY530" fmla="*/ 119020 h 410520"/>
                <a:gd name="connsiteX531" fmla="*/ 459266 w 2663946"/>
                <a:gd name="connsiteY531" fmla="*/ 119020 h 410520"/>
                <a:gd name="connsiteX532" fmla="*/ 447605 w 2663946"/>
                <a:gd name="connsiteY532" fmla="*/ 126749 h 410520"/>
                <a:gd name="connsiteX533" fmla="*/ 446680 w 2663946"/>
                <a:gd name="connsiteY533" fmla="*/ 131332 h 410520"/>
                <a:gd name="connsiteX534" fmla="*/ 449920 w 2663946"/>
                <a:gd name="connsiteY534" fmla="*/ 131332 h 410520"/>
                <a:gd name="connsiteX535" fmla="*/ 468337 w 2663946"/>
                <a:gd name="connsiteY535" fmla="*/ 131332 h 410520"/>
                <a:gd name="connsiteX536" fmla="*/ 471851 w 2663946"/>
                <a:gd name="connsiteY536" fmla="*/ 131332 h 410520"/>
                <a:gd name="connsiteX537" fmla="*/ 470926 w 2663946"/>
                <a:gd name="connsiteY537" fmla="*/ 126749 h 410520"/>
                <a:gd name="connsiteX538" fmla="*/ 459266 w 2663946"/>
                <a:gd name="connsiteY538" fmla="*/ 119020 h 410520"/>
                <a:gd name="connsiteX539" fmla="*/ 2361413 w 2663946"/>
                <a:gd name="connsiteY539" fmla="*/ 114660 h 410520"/>
                <a:gd name="connsiteX540" fmla="*/ 2365469 w 2663946"/>
                <a:gd name="connsiteY540" fmla="*/ 114660 h 410520"/>
                <a:gd name="connsiteX541" fmla="*/ 2370065 w 2663946"/>
                <a:gd name="connsiteY541" fmla="*/ 117094 h 410520"/>
                <a:gd name="connsiteX542" fmla="*/ 2372229 w 2663946"/>
                <a:gd name="connsiteY542" fmla="*/ 123312 h 410520"/>
                <a:gd name="connsiteX543" fmla="*/ 2372229 w 2663946"/>
                <a:gd name="connsiteY543" fmla="*/ 123853 h 410520"/>
                <a:gd name="connsiteX544" fmla="*/ 2372229 w 2663946"/>
                <a:gd name="connsiteY544" fmla="*/ 176848 h 410520"/>
                <a:gd name="connsiteX545" fmla="*/ 2372769 w 2663946"/>
                <a:gd name="connsiteY545" fmla="*/ 177388 h 410520"/>
                <a:gd name="connsiteX546" fmla="*/ 2380069 w 2663946"/>
                <a:gd name="connsiteY546" fmla="*/ 177388 h 410520"/>
                <a:gd name="connsiteX547" fmla="*/ 2384125 w 2663946"/>
                <a:gd name="connsiteY547" fmla="*/ 178470 h 410520"/>
                <a:gd name="connsiteX548" fmla="*/ 2387910 w 2663946"/>
                <a:gd name="connsiteY548" fmla="*/ 185229 h 410520"/>
                <a:gd name="connsiteX549" fmla="*/ 2385207 w 2663946"/>
                <a:gd name="connsiteY549" fmla="*/ 190907 h 410520"/>
                <a:gd name="connsiteX550" fmla="*/ 2381151 w 2663946"/>
                <a:gd name="connsiteY550" fmla="*/ 192800 h 410520"/>
                <a:gd name="connsiteX551" fmla="*/ 2380881 w 2663946"/>
                <a:gd name="connsiteY551" fmla="*/ 192800 h 410520"/>
                <a:gd name="connsiteX552" fmla="*/ 2380610 w 2663946"/>
                <a:gd name="connsiteY552" fmla="*/ 192800 h 410520"/>
                <a:gd name="connsiteX553" fmla="*/ 2380069 w 2663946"/>
                <a:gd name="connsiteY553" fmla="*/ 192800 h 410520"/>
                <a:gd name="connsiteX554" fmla="*/ 2347894 w 2663946"/>
                <a:gd name="connsiteY554" fmla="*/ 192800 h 410520"/>
                <a:gd name="connsiteX555" fmla="*/ 2347354 w 2663946"/>
                <a:gd name="connsiteY555" fmla="*/ 192800 h 410520"/>
                <a:gd name="connsiteX556" fmla="*/ 2346542 w 2663946"/>
                <a:gd name="connsiteY556" fmla="*/ 192800 h 410520"/>
                <a:gd name="connsiteX557" fmla="*/ 2345731 w 2663946"/>
                <a:gd name="connsiteY557" fmla="*/ 192530 h 410520"/>
                <a:gd name="connsiteX558" fmla="*/ 2342216 w 2663946"/>
                <a:gd name="connsiteY558" fmla="*/ 190637 h 410520"/>
                <a:gd name="connsiteX559" fmla="*/ 2339783 w 2663946"/>
                <a:gd name="connsiteY559" fmla="*/ 184959 h 410520"/>
                <a:gd name="connsiteX560" fmla="*/ 2341946 w 2663946"/>
                <a:gd name="connsiteY560" fmla="*/ 179822 h 410520"/>
                <a:gd name="connsiteX561" fmla="*/ 2347624 w 2663946"/>
                <a:gd name="connsiteY561" fmla="*/ 177388 h 410520"/>
                <a:gd name="connsiteX562" fmla="*/ 2355465 w 2663946"/>
                <a:gd name="connsiteY562" fmla="*/ 177388 h 410520"/>
                <a:gd name="connsiteX563" fmla="*/ 2356006 w 2663946"/>
                <a:gd name="connsiteY563" fmla="*/ 176848 h 410520"/>
                <a:gd name="connsiteX564" fmla="*/ 2356006 w 2663946"/>
                <a:gd name="connsiteY564" fmla="*/ 130883 h 410520"/>
                <a:gd name="connsiteX565" fmla="*/ 2355465 w 2663946"/>
                <a:gd name="connsiteY565" fmla="*/ 130342 h 410520"/>
                <a:gd name="connsiteX566" fmla="*/ 2349517 w 2663946"/>
                <a:gd name="connsiteY566" fmla="*/ 130342 h 410520"/>
                <a:gd name="connsiteX567" fmla="*/ 2342216 w 2663946"/>
                <a:gd name="connsiteY567" fmla="*/ 125746 h 410520"/>
                <a:gd name="connsiteX568" fmla="*/ 2341946 w 2663946"/>
                <a:gd name="connsiteY568" fmla="*/ 120068 h 410520"/>
                <a:gd name="connsiteX569" fmla="*/ 2349246 w 2663946"/>
                <a:gd name="connsiteY569" fmla="*/ 114931 h 410520"/>
                <a:gd name="connsiteX570" fmla="*/ 2361413 w 2663946"/>
                <a:gd name="connsiteY570" fmla="*/ 114660 h 410520"/>
                <a:gd name="connsiteX571" fmla="*/ 2285396 w 2663946"/>
                <a:gd name="connsiteY571" fmla="*/ 114660 h 410520"/>
                <a:gd name="connsiteX572" fmla="*/ 2289452 w 2663946"/>
                <a:gd name="connsiteY572" fmla="*/ 114660 h 410520"/>
                <a:gd name="connsiteX573" fmla="*/ 2294048 w 2663946"/>
                <a:gd name="connsiteY573" fmla="*/ 117094 h 410520"/>
                <a:gd name="connsiteX574" fmla="*/ 2296212 w 2663946"/>
                <a:gd name="connsiteY574" fmla="*/ 123312 h 410520"/>
                <a:gd name="connsiteX575" fmla="*/ 2296212 w 2663946"/>
                <a:gd name="connsiteY575" fmla="*/ 123853 h 410520"/>
                <a:gd name="connsiteX576" fmla="*/ 2296212 w 2663946"/>
                <a:gd name="connsiteY576" fmla="*/ 176848 h 410520"/>
                <a:gd name="connsiteX577" fmla="*/ 2296752 w 2663946"/>
                <a:gd name="connsiteY577" fmla="*/ 177388 h 410520"/>
                <a:gd name="connsiteX578" fmla="*/ 2304052 w 2663946"/>
                <a:gd name="connsiteY578" fmla="*/ 177388 h 410520"/>
                <a:gd name="connsiteX579" fmla="*/ 2308108 w 2663946"/>
                <a:gd name="connsiteY579" fmla="*/ 178470 h 410520"/>
                <a:gd name="connsiteX580" fmla="*/ 2311893 w 2663946"/>
                <a:gd name="connsiteY580" fmla="*/ 185229 h 410520"/>
                <a:gd name="connsiteX581" fmla="*/ 2309190 w 2663946"/>
                <a:gd name="connsiteY581" fmla="*/ 190907 h 410520"/>
                <a:gd name="connsiteX582" fmla="*/ 2305134 w 2663946"/>
                <a:gd name="connsiteY582" fmla="*/ 192800 h 410520"/>
                <a:gd name="connsiteX583" fmla="*/ 2304864 w 2663946"/>
                <a:gd name="connsiteY583" fmla="*/ 192800 h 410520"/>
                <a:gd name="connsiteX584" fmla="*/ 2304593 w 2663946"/>
                <a:gd name="connsiteY584" fmla="*/ 192800 h 410520"/>
                <a:gd name="connsiteX585" fmla="*/ 2304052 w 2663946"/>
                <a:gd name="connsiteY585" fmla="*/ 192800 h 410520"/>
                <a:gd name="connsiteX586" fmla="*/ 2271877 w 2663946"/>
                <a:gd name="connsiteY586" fmla="*/ 192800 h 410520"/>
                <a:gd name="connsiteX587" fmla="*/ 2271337 w 2663946"/>
                <a:gd name="connsiteY587" fmla="*/ 192800 h 410520"/>
                <a:gd name="connsiteX588" fmla="*/ 2270525 w 2663946"/>
                <a:gd name="connsiteY588" fmla="*/ 192800 h 410520"/>
                <a:gd name="connsiteX589" fmla="*/ 2269714 w 2663946"/>
                <a:gd name="connsiteY589" fmla="*/ 192530 h 410520"/>
                <a:gd name="connsiteX590" fmla="*/ 2266199 w 2663946"/>
                <a:gd name="connsiteY590" fmla="*/ 190637 h 410520"/>
                <a:gd name="connsiteX591" fmla="*/ 2263766 w 2663946"/>
                <a:gd name="connsiteY591" fmla="*/ 184959 h 410520"/>
                <a:gd name="connsiteX592" fmla="*/ 2265929 w 2663946"/>
                <a:gd name="connsiteY592" fmla="*/ 179822 h 410520"/>
                <a:gd name="connsiteX593" fmla="*/ 2271607 w 2663946"/>
                <a:gd name="connsiteY593" fmla="*/ 177388 h 410520"/>
                <a:gd name="connsiteX594" fmla="*/ 2279448 w 2663946"/>
                <a:gd name="connsiteY594" fmla="*/ 177388 h 410520"/>
                <a:gd name="connsiteX595" fmla="*/ 2279989 w 2663946"/>
                <a:gd name="connsiteY595" fmla="*/ 176848 h 410520"/>
                <a:gd name="connsiteX596" fmla="*/ 2279989 w 2663946"/>
                <a:gd name="connsiteY596" fmla="*/ 130883 h 410520"/>
                <a:gd name="connsiteX597" fmla="*/ 2279448 w 2663946"/>
                <a:gd name="connsiteY597" fmla="*/ 130342 h 410520"/>
                <a:gd name="connsiteX598" fmla="*/ 2273500 w 2663946"/>
                <a:gd name="connsiteY598" fmla="*/ 130342 h 410520"/>
                <a:gd name="connsiteX599" fmla="*/ 2266199 w 2663946"/>
                <a:gd name="connsiteY599" fmla="*/ 125746 h 410520"/>
                <a:gd name="connsiteX600" fmla="*/ 2265929 w 2663946"/>
                <a:gd name="connsiteY600" fmla="*/ 120068 h 410520"/>
                <a:gd name="connsiteX601" fmla="*/ 2273229 w 2663946"/>
                <a:gd name="connsiteY601" fmla="*/ 114931 h 410520"/>
                <a:gd name="connsiteX602" fmla="*/ 2285396 w 2663946"/>
                <a:gd name="connsiteY602" fmla="*/ 114660 h 410520"/>
                <a:gd name="connsiteX603" fmla="*/ 1936416 w 2663946"/>
                <a:gd name="connsiteY603" fmla="*/ 114660 h 410520"/>
                <a:gd name="connsiteX604" fmla="*/ 1940472 w 2663946"/>
                <a:gd name="connsiteY604" fmla="*/ 114660 h 410520"/>
                <a:gd name="connsiteX605" fmla="*/ 1945068 w 2663946"/>
                <a:gd name="connsiteY605" fmla="*/ 117094 h 410520"/>
                <a:gd name="connsiteX606" fmla="*/ 1947232 w 2663946"/>
                <a:gd name="connsiteY606" fmla="*/ 123312 h 410520"/>
                <a:gd name="connsiteX607" fmla="*/ 1947232 w 2663946"/>
                <a:gd name="connsiteY607" fmla="*/ 123853 h 410520"/>
                <a:gd name="connsiteX608" fmla="*/ 1947232 w 2663946"/>
                <a:gd name="connsiteY608" fmla="*/ 176848 h 410520"/>
                <a:gd name="connsiteX609" fmla="*/ 1947772 w 2663946"/>
                <a:gd name="connsiteY609" fmla="*/ 177388 h 410520"/>
                <a:gd name="connsiteX610" fmla="*/ 1955072 w 2663946"/>
                <a:gd name="connsiteY610" fmla="*/ 177388 h 410520"/>
                <a:gd name="connsiteX611" fmla="*/ 1959128 w 2663946"/>
                <a:gd name="connsiteY611" fmla="*/ 178470 h 410520"/>
                <a:gd name="connsiteX612" fmla="*/ 1962913 w 2663946"/>
                <a:gd name="connsiteY612" fmla="*/ 185229 h 410520"/>
                <a:gd name="connsiteX613" fmla="*/ 1960210 w 2663946"/>
                <a:gd name="connsiteY613" fmla="*/ 190907 h 410520"/>
                <a:gd name="connsiteX614" fmla="*/ 1956154 w 2663946"/>
                <a:gd name="connsiteY614" fmla="*/ 192800 h 410520"/>
                <a:gd name="connsiteX615" fmla="*/ 1955884 w 2663946"/>
                <a:gd name="connsiteY615" fmla="*/ 192800 h 410520"/>
                <a:gd name="connsiteX616" fmla="*/ 1955613 w 2663946"/>
                <a:gd name="connsiteY616" fmla="*/ 192800 h 410520"/>
                <a:gd name="connsiteX617" fmla="*/ 1955072 w 2663946"/>
                <a:gd name="connsiteY617" fmla="*/ 192800 h 410520"/>
                <a:gd name="connsiteX618" fmla="*/ 1922897 w 2663946"/>
                <a:gd name="connsiteY618" fmla="*/ 192800 h 410520"/>
                <a:gd name="connsiteX619" fmla="*/ 1922357 w 2663946"/>
                <a:gd name="connsiteY619" fmla="*/ 192800 h 410520"/>
                <a:gd name="connsiteX620" fmla="*/ 1921545 w 2663946"/>
                <a:gd name="connsiteY620" fmla="*/ 192800 h 410520"/>
                <a:gd name="connsiteX621" fmla="*/ 1920734 w 2663946"/>
                <a:gd name="connsiteY621" fmla="*/ 192530 h 410520"/>
                <a:gd name="connsiteX622" fmla="*/ 1917219 w 2663946"/>
                <a:gd name="connsiteY622" fmla="*/ 190637 h 410520"/>
                <a:gd name="connsiteX623" fmla="*/ 1914786 w 2663946"/>
                <a:gd name="connsiteY623" fmla="*/ 184959 h 410520"/>
                <a:gd name="connsiteX624" fmla="*/ 1916949 w 2663946"/>
                <a:gd name="connsiteY624" fmla="*/ 179822 h 410520"/>
                <a:gd name="connsiteX625" fmla="*/ 1922627 w 2663946"/>
                <a:gd name="connsiteY625" fmla="*/ 177388 h 410520"/>
                <a:gd name="connsiteX626" fmla="*/ 1930468 w 2663946"/>
                <a:gd name="connsiteY626" fmla="*/ 177388 h 410520"/>
                <a:gd name="connsiteX627" fmla="*/ 1931009 w 2663946"/>
                <a:gd name="connsiteY627" fmla="*/ 176848 h 410520"/>
                <a:gd name="connsiteX628" fmla="*/ 1931009 w 2663946"/>
                <a:gd name="connsiteY628" fmla="*/ 130883 h 410520"/>
                <a:gd name="connsiteX629" fmla="*/ 1930468 w 2663946"/>
                <a:gd name="connsiteY629" fmla="*/ 130342 h 410520"/>
                <a:gd name="connsiteX630" fmla="*/ 1924520 w 2663946"/>
                <a:gd name="connsiteY630" fmla="*/ 130342 h 410520"/>
                <a:gd name="connsiteX631" fmla="*/ 1917219 w 2663946"/>
                <a:gd name="connsiteY631" fmla="*/ 125746 h 410520"/>
                <a:gd name="connsiteX632" fmla="*/ 1916949 w 2663946"/>
                <a:gd name="connsiteY632" fmla="*/ 120068 h 410520"/>
                <a:gd name="connsiteX633" fmla="*/ 1924249 w 2663946"/>
                <a:gd name="connsiteY633" fmla="*/ 114931 h 410520"/>
                <a:gd name="connsiteX634" fmla="*/ 1936416 w 2663946"/>
                <a:gd name="connsiteY634" fmla="*/ 114660 h 410520"/>
                <a:gd name="connsiteX635" fmla="*/ 1678521 w 2663946"/>
                <a:gd name="connsiteY635" fmla="*/ 114660 h 410520"/>
                <a:gd name="connsiteX636" fmla="*/ 1682577 w 2663946"/>
                <a:gd name="connsiteY636" fmla="*/ 114660 h 410520"/>
                <a:gd name="connsiteX637" fmla="*/ 1687173 w 2663946"/>
                <a:gd name="connsiteY637" fmla="*/ 117094 h 410520"/>
                <a:gd name="connsiteX638" fmla="*/ 1689336 w 2663946"/>
                <a:gd name="connsiteY638" fmla="*/ 123312 h 410520"/>
                <a:gd name="connsiteX639" fmla="*/ 1689336 w 2663946"/>
                <a:gd name="connsiteY639" fmla="*/ 123853 h 410520"/>
                <a:gd name="connsiteX640" fmla="*/ 1689336 w 2663946"/>
                <a:gd name="connsiteY640" fmla="*/ 176848 h 410520"/>
                <a:gd name="connsiteX641" fmla="*/ 1689877 w 2663946"/>
                <a:gd name="connsiteY641" fmla="*/ 177388 h 410520"/>
                <a:gd name="connsiteX642" fmla="*/ 1697177 w 2663946"/>
                <a:gd name="connsiteY642" fmla="*/ 177388 h 410520"/>
                <a:gd name="connsiteX643" fmla="*/ 1701233 w 2663946"/>
                <a:gd name="connsiteY643" fmla="*/ 178470 h 410520"/>
                <a:gd name="connsiteX644" fmla="*/ 1705018 w 2663946"/>
                <a:gd name="connsiteY644" fmla="*/ 185229 h 410520"/>
                <a:gd name="connsiteX645" fmla="*/ 1702315 w 2663946"/>
                <a:gd name="connsiteY645" fmla="*/ 190907 h 410520"/>
                <a:gd name="connsiteX646" fmla="*/ 1698259 w 2663946"/>
                <a:gd name="connsiteY646" fmla="*/ 192800 h 410520"/>
                <a:gd name="connsiteX647" fmla="*/ 1697989 w 2663946"/>
                <a:gd name="connsiteY647" fmla="*/ 192800 h 410520"/>
                <a:gd name="connsiteX648" fmla="*/ 1697718 w 2663946"/>
                <a:gd name="connsiteY648" fmla="*/ 192800 h 410520"/>
                <a:gd name="connsiteX649" fmla="*/ 1697177 w 2663946"/>
                <a:gd name="connsiteY649" fmla="*/ 192800 h 410520"/>
                <a:gd name="connsiteX650" fmla="*/ 1665002 w 2663946"/>
                <a:gd name="connsiteY650" fmla="*/ 192800 h 410520"/>
                <a:gd name="connsiteX651" fmla="*/ 1664462 w 2663946"/>
                <a:gd name="connsiteY651" fmla="*/ 192800 h 410520"/>
                <a:gd name="connsiteX652" fmla="*/ 1663650 w 2663946"/>
                <a:gd name="connsiteY652" fmla="*/ 192800 h 410520"/>
                <a:gd name="connsiteX653" fmla="*/ 1662839 w 2663946"/>
                <a:gd name="connsiteY653" fmla="*/ 192530 h 410520"/>
                <a:gd name="connsiteX654" fmla="*/ 1659324 w 2663946"/>
                <a:gd name="connsiteY654" fmla="*/ 190637 h 410520"/>
                <a:gd name="connsiteX655" fmla="*/ 1656891 w 2663946"/>
                <a:gd name="connsiteY655" fmla="*/ 184959 h 410520"/>
                <a:gd name="connsiteX656" fmla="*/ 1659054 w 2663946"/>
                <a:gd name="connsiteY656" fmla="*/ 179822 h 410520"/>
                <a:gd name="connsiteX657" fmla="*/ 1664732 w 2663946"/>
                <a:gd name="connsiteY657" fmla="*/ 177388 h 410520"/>
                <a:gd name="connsiteX658" fmla="*/ 1672573 w 2663946"/>
                <a:gd name="connsiteY658" fmla="*/ 177388 h 410520"/>
                <a:gd name="connsiteX659" fmla="*/ 1673114 w 2663946"/>
                <a:gd name="connsiteY659" fmla="*/ 176848 h 410520"/>
                <a:gd name="connsiteX660" fmla="*/ 1673114 w 2663946"/>
                <a:gd name="connsiteY660" fmla="*/ 130883 h 410520"/>
                <a:gd name="connsiteX661" fmla="*/ 1672573 w 2663946"/>
                <a:gd name="connsiteY661" fmla="*/ 130342 h 410520"/>
                <a:gd name="connsiteX662" fmla="*/ 1666625 w 2663946"/>
                <a:gd name="connsiteY662" fmla="*/ 130342 h 410520"/>
                <a:gd name="connsiteX663" fmla="*/ 1659324 w 2663946"/>
                <a:gd name="connsiteY663" fmla="*/ 125746 h 410520"/>
                <a:gd name="connsiteX664" fmla="*/ 1659054 w 2663946"/>
                <a:gd name="connsiteY664" fmla="*/ 120068 h 410520"/>
                <a:gd name="connsiteX665" fmla="*/ 1666354 w 2663946"/>
                <a:gd name="connsiteY665" fmla="*/ 114931 h 410520"/>
                <a:gd name="connsiteX666" fmla="*/ 1678521 w 2663946"/>
                <a:gd name="connsiteY666" fmla="*/ 114660 h 410520"/>
                <a:gd name="connsiteX667" fmla="*/ 1329614 w 2663946"/>
                <a:gd name="connsiteY667" fmla="*/ 114660 h 410520"/>
                <a:gd name="connsiteX668" fmla="*/ 1333670 w 2663946"/>
                <a:gd name="connsiteY668" fmla="*/ 114660 h 410520"/>
                <a:gd name="connsiteX669" fmla="*/ 1338266 w 2663946"/>
                <a:gd name="connsiteY669" fmla="*/ 117094 h 410520"/>
                <a:gd name="connsiteX670" fmla="*/ 1340429 w 2663946"/>
                <a:gd name="connsiteY670" fmla="*/ 123312 h 410520"/>
                <a:gd name="connsiteX671" fmla="*/ 1340429 w 2663946"/>
                <a:gd name="connsiteY671" fmla="*/ 123853 h 410520"/>
                <a:gd name="connsiteX672" fmla="*/ 1340429 w 2663946"/>
                <a:gd name="connsiteY672" fmla="*/ 176848 h 410520"/>
                <a:gd name="connsiteX673" fmla="*/ 1340970 w 2663946"/>
                <a:gd name="connsiteY673" fmla="*/ 177388 h 410520"/>
                <a:gd name="connsiteX674" fmla="*/ 1348270 w 2663946"/>
                <a:gd name="connsiteY674" fmla="*/ 177388 h 410520"/>
                <a:gd name="connsiteX675" fmla="*/ 1352326 w 2663946"/>
                <a:gd name="connsiteY675" fmla="*/ 178470 h 410520"/>
                <a:gd name="connsiteX676" fmla="*/ 1356111 w 2663946"/>
                <a:gd name="connsiteY676" fmla="*/ 185229 h 410520"/>
                <a:gd name="connsiteX677" fmla="*/ 1353408 w 2663946"/>
                <a:gd name="connsiteY677" fmla="*/ 190907 h 410520"/>
                <a:gd name="connsiteX678" fmla="*/ 1349352 w 2663946"/>
                <a:gd name="connsiteY678" fmla="*/ 192800 h 410520"/>
                <a:gd name="connsiteX679" fmla="*/ 1349082 w 2663946"/>
                <a:gd name="connsiteY679" fmla="*/ 192800 h 410520"/>
                <a:gd name="connsiteX680" fmla="*/ 1348811 w 2663946"/>
                <a:gd name="connsiteY680" fmla="*/ 192800 h 410520"/>
                <a:gd name="connsiteX681" fmla="*/ 1348270 w 2663946"/>
                <a:gd name="connsiteY681" fmla="*/ 192800 h 410520"/>
                <a:gd name="connsiteX682" fmla="*/ 1316095 w 2663946"/>
                <a:gd name="connsiteY682" fmla="*/ 192800 h 410520"/>
                <a:gd name="connsiteX683" fmla="*/ 1315555 w 2663946"/>
                <a:gd name="connsiteY683" fmla="*/ 192800 h 410520"/>
                <a:gd name="connsiteX684" fmla="*/ 1314743 w 2663946"/>
                <a:gd name="connsiteY684" fmla="*/ 192800 h 410520"/>
                <a:gd name="connsiteX685" fmla="*/ 1313932 w 2663946"/>
                <a:gd name="connsiteY685" fmla="*/ 192530 h 410520"/>
                <a:gd name="connsiteX686" fmla="*/ 1310417 w 2663946"/>
                <a:gd name="connsiteY686" fmla="*/ 190637 h 410520"/>
                <a:gd name="connsiteX687" fmla="*/ 1307984 w 2663946"/>
                <a:gd name="connsiteY687" fmla="*/ 184959 h 410520"/>
                <a:gd name="connsiteX688" fmla="*/ 1310147 w 2663946"/>
                <a:gd name="connsiteY688" fmla="*/ 179822 h 410520"/>
                <a:gd name="connsiteX689" fmla="*/ 1315825 w 2663946"/>
                <a:gd name="connsiteY689" fmla="*/ 177388 h 410520"/>
                <a:gd name="connsiteX690" fmla="*/ 1323666 w 2663946"/>
                <a:gd name="connsiteY690" fmla="*/ 177388 h 410520"/>
                <a:gd name="connsiteX691" fmla="*/ 1324207 w 2663946"/>
                <a:gd name="connsiteY691" fmla="*/ 176848 h 410520"/>
                <a:gd name="connsiteX692" fmla="*/ 1324207 w 2663946"/>
                <a:gd name="connsiteY692" fmla="*/ 130883 h 410520"/>
                <a:gd name="connsiteX693" fmla="*/ 1323666 w 2663946"/>
                <a:gd name="connsiteY693" fmla="*/ 130342 h 410520"/>
                <a:gd name="connsiteX694" fmla="*/ 1317718 w 2663946"/>
                <a:gd name="connsiteY694" fmla="*/ 130342 h 410520"/>
                <a:gd name="connsiteX695" fmla="*/ 1310417 w 2663946"/>
                <a:gd name="connsiteY695" fmla="*/ 125746 h 410520"/>
                <a:gd name="connsiteX696" fmla="*/ 1310147 w 2663946"/>
                <a:gd name="connsiteY696" fmla="*/ 120068 h 410520"/>
                <a:gd name="connsiteX697" fmla="*/ 1317447 w 2663946"/>
                <a:gd name="connsiteY697" fmla="*/ 114931 h 410520"/>
                <a:gd name="connsiteX698" fmla="*/ 1329614 w 2663946"/>
                <a:gd name="connsiteY698" fmla="*/ 114660 h 410520"/>
                <a:gd name="connsiteX699" fmla="*/ 980634 w 2663946"/>
                <a:gd name="connsiteY699" fmla="*/ 114660 h 410520"/>
                <a:gd name="connsiteX700" fmla="*/ 984690 w 2663946"/>
                <a:gd name="connsiteY700" fmla="*/ 114660 h 410520"/>
                <a:gd name="connsiteX701" fmla="*/ 989286 w 2663946"/>
                <a:gd name="connsiteY701" fmla="*/ 117094 h 410520"/>
                <a:gd name="connsiteX702" fmla="*/ 991449 w 2663946"/>
                <a:gd name="connsiteY702" fmla="*/ 123312 h 410520"/>
                <a:gd name="connsiteX703" fmla="*/ 991449 w 2663946"/>
                <a:gd name="connsiteY703" fmla="*/ 123853 h 410520"/>
                <a:gd name="connsiteX704" fmla="*/ 991449 w 2663946"/>
                <a:gd name="connsiteY704" fmla="*/ 176848 h 410520"/>
                <a:gd name="connsiteX705" fmla="*/ 991990 w 2663946"/>
                <a:gd name="connsiteY705" fmla="*/ 177388 h 410520"/>
                <a:gd name="connsiteX706" fmla="*/ 999290 w 2663946"/>
                <a:gd name="connsiteY706" fmla="*/ 177388 h 410520"/>
                <a:gd name="connsiteX707" fmla="*/ 1003346 w 2663946"/>
                <a:gd name="connsiteY707" fmla="*/ 178470 h 410520"/>
                <a:gd name="connsiteX708" fmla="*/ 1007131 w 2663946"/>
                <a:gd name="connsiteY708" fmla="*/ 185229 h 410520"/>
                <a:gd name="connsiteX709" fmla="*/ 1004428 w 2663946"/>
                <a:gd name="connsiteY709" fmla="*/ 190907 h 410520"/>
                <a:gd name="connsiteX710" fmla="*/ 1000372 w 2663946"/>
                <a:gd name="connsiteY710" fmla="*/ 192800 h 410520"/>
                <a:gd name="connsiteX711" fmla="*/ 1000102 w 2663946"/>
                <a:gd name="connsiteY711" fmla="*/ 192800 h 410520"/>
                <a:gd name="connsiteX712" fmla="*/ 999831 w 2663946"/>
                <a:gd name="connsiteY712" fmla="*/ 192800 h 410520"/>
                <a:gd name="connsiteX713" fmla="*/ 999290 w 2663946"/>
                <a:gd name="connsiteY713" fmla="*/ 192800 h 410520"/>
                <a:gd name="connsiteX714" fmla="*/ 967115 w 2663946"/>
                <a:gd name="connsiteY714" fmla="*/ 192800 h 410520"/>
                <a:gd name="connsiteX715" fmla="*/ 966575 w 2663946"/>
                <a:gd name="connsiteY715" fmla="*/ 192800 h 410520"/>
                <a:gd name="connsiteX716" fmla="*/ 965763 w 2663946"/>
                <a:gd name="connsiteY716" fmla="*/ 192800 h 410520"/>
                <a:gd name="connsiteX717" fmla="*/ 964952 w 2663946"/>
                <a:gd name="connsiteY717" fmla="*/ 192530 h 410520"/>
                <a:gd name="connsiteX718" fmla="*/ 961437 w 2663946"/>
                <a:gd name="connsiteY718" fmla="*/ 190637 h 410520"/>
                <a:gd name="connsiteX719" fmla="*/ 959004 w 2663946"/>
                <a:gd name="connsiteY719" fmla="*/ 184959 h 410520"/>
                <a:gd name="connsiteX720" fmla="*/ 961167 w 2663946"/>
                <a:gd name="connsiteY720" fmla="*/ 179822 h 410520"/>
                <a:gd name="connsiteX721" fmla="*/ 966845 w 2663946"/>
                <a:gd name="connsiteY721" fmla="*/ 177388 h 410520"/>
                <a:gd name="connsiteX722" fmla="*/ 974686 w 2663946"/>
                <a:gd name="connsiteY722" fmla="*/ 177388 h 410520"/>
                <a:gd name="connsiteX723" fmla="*/ 975227 w 2663946"/>
                <a:gd name="connsiteY723" fmla="*/ 176848 h 410520"/>
                <a:gd name="connsiteX724" fmla="*/ 975227 w 2663946"/>
                <a:gd name="connsiteY724" fmla="*/ 130883 h 410520"/>
                <a:gd name="connsiteX725" fmla="*/ 974686 w 2663946"/>
                <a:gd name="connsiteY725" fmla="*/ 130342 h 410520"/>
                <a:gd name="connsiteX726" fmla="*/ 968738 w 2663946"/>
                <a:gd name="connsiteY726" fmla="*/ 130342 h 410520"/>
                <a:gd name="connsiteX727" fmla="*/ 961437 w 2663946"/>
                <a:gd name="connsiteY727" fmla="*/ 125746 h 410520"/>
                <a:gd name="connsiteX728" fmla="*/ 961167 w 2663946"/>
                <a:gd name="connsiteY728" fmla="*/ 120068 h 410520"/>
                <a:gd name="connsiteX729" fmla="*/ 968467 w 2663946"/>
                <a:gd name="connsiteY729" fmla="*/ 114931 h 410520"/>
                <a:gd name="connsiteX730" fmla="*/ 980634 w 2663946"/>
                <a:gd name="connsiteY730" fmla="*/ 114660 h 410520"/>
                <a:gd name="connsiteX731" fmla="*/ 813605 w 2663946"/>
                <a:gd name="connsiteY731" fmla="*/ 114660 h 410520"/>
                <a:gd name="connsiteX732" fmla="*/ 817661 w 2663946"/>
                <a:gd name="connsiteY732" fmla="*/ 114660 h 410520"/>
                <a:gd name="connsiteX733" fmla="*/ 822257 w 2663946"/>
                <a:gd name="connsiteY733" fmla="*/ 117094 h 410520"/>
                <a:gd name="connsiteX734" fmla="*/ 824420 w 2663946"/>
                <a:gd name="connsiteY734" fmla="*/ 123312 h 410520"/>
                <a:gd name="connsiteX735" fmla="*/ 824420 w 2663946"/>
                <a:gd name="connsiteY735" fmla="*/ 123853 h 410520"/>
                <a:gd name="connsiteX736" fmla="*/ 824420 w 2663946"/>
                <a:gd name="connsiteY736" fmla="*/ 176848 h 410520"/>
                <a:gd name="connsiteX737" fmla="*/ 824961 w 2663946"/>
                <a:gd name="connsiteY737" fmla="*/ 177388 h 410520"/>
                <a:gd name="connsiteX738" fmla="*/ 832261 w 2663946"/>
                <a:gd name="connsiteY738" fmla="*/ 177388 h 410520"/>
                <a:gd name="connsiteX739" fmla="*/ 836317 w 2663946"/>
                <a:gd name="connsiteY739" fmla="*/ 178470 h 410520"/>
                <a:gd name="connsiteX740" fmla="*/ 840102 w 2663946"/>
                <a:gd name="connsiteY740" fmla="*/ 185229 h 410520"/>
                <a:gd name="connsiteX741" fmla="*/ 837399 w 2663946"/>
                <a:gd name="connsiteY741" fmla="*/ 190907 h 410520"/>
                <a:gd name="connsiteX742" fmla="*/ 833343 w 2663946"/>
                <a:gd name="connsiteY742" fmla="*/ 192800 h 410520"/>
                <a:gd name="connsiteX743" fmla="*/ 833073 w 2663946"/>
                <a:gd name="connsiteY743" fmla="*/ 192800 h 410520"/>
                <a:gd name="connsiteX744" fmla="*/ 832802 w 2663946"/>
                <a:gd name="connsiteY744" fmla="*/ 192800 h 410520"/>
                <a:gd name="connsiteX745" fmla="*/ 832261 w 2663946"/>
                <a:gd name="connsiteY745" fmla="*/ 192800 h 410520"/>
                <a:gd name="connsiteX746" fmla="*/ 800086 w 2663946"/>
                <a:gd name="connsiteY746" fmla="*/ 192800 h 410520"/>
                <a:gd name="connsiteX747" fmla="*/ 799546 w 2663946"/>
                <a:gd name="connsiteY747" fmla="*/ 192800 h 410520"/>
                <a:gd name="connsiteX748" fmla="*/ 798734 w 2663946"/>
                <a:gd name="connsiteY748" fmla="*/ 192800 h 410520"/>
                <a:gd name="connsiteX749" fmla="*/ 797923 w 2663946"/>
                <a:gd name="connsiteY749" fmla="*/ 192530 h 410520"/>
                <a:gd name="connsiteX750" fmla="*/ 794408 w 2663946"/>
                <a:gd name="connsiteY750" fmla="*/ 190637 h 410520"/>
                <a:gd name="connsiteX751" fmla="*/ 791975 w 2663946"/>
                <a:gd name="connsiteY751" fmla="*/ 184959 h 410520"/>
                <a:gd name="connsiteX752" fmla="*/ 794138 w 2663946"/>
                <a:gd name="connsiteY752" fmla="*/ 179822 h 410520"/>
                <a:gd name="connsiteX753" fmla="*/ 799816 w 2663946"/>
                <a:gd name="connsiteY753" fmla="*/ 177388 h 410520"/>
                <a:gd name="connsiteX754" fmla="*/ 807657 w 2663946"/>
                <a:gd name="connsiteY754" fmla="*/ 177388 h 410520"/>
                <a:gd name="connsiteX755" fmla="*/ 808198 w 2663946"/>
                <a:gd name="connsiteY755" fmla="*/ 176848 h 410520"/>
                <a:gd name="connsiteX756" fmla="*/ 808198 w 2663946"/>
                <a:gd name="connsiteY756" fmla="*/ 130883 h 410520"/>
                <a:gd name="connsiteX757" fmla="*/ 807657 w 2663946"/>
                <a:gd name="connsiteY757" fmla="*/ 130342 h 410520"/>
                <a:gd name="connsiteX758" fmla="*/ 801709 w 2663946"/>
                <a:gd name="connsiteY758" fmla="*/ 130342 h 410520"/>
                <a:gd name="connsiteX759" fmla="*/ 794408 w 2663946"/>
                <a:gd name="connsiteY759" fmla="*/ 125746 h 410520"/>
                <a:gd name="connsiteX760" fmla="*/ 794138 w 2663946"/>
                <a:gd name="connsiteY760" fmla="*/ 120068 h 410520"/>
                <a:gd name="connsiteX761" fmla="*/ 801438 w 2663946"/>
                <a:gd name="connsiteY761" fmla="*/ 114931 h 410520"/>
                <a:gd name="connsiteX762" fmla="*/ 813605 w 2663946"/>
                <a:gd name="connsiteY762" fmla="*/ 114660 h 410520"/>
                <a:gd name="connsiteX763" fmla="*/ 282748 w 2663946"/>
                <a:gd name="connsiteY763" fmla="*/ 114660 h 410520"/>
                <a:gd name="connsiteX764" fmla="*/ 286803 w 2663946"/>
                <a:gd name="connsiteY764" fmla="*/ 114660 h 410520"/>
                <a:gd name="connsiteX765" fmla="*/ 291400 w 2663946"/>
                <a:gd name="connsiteY765" fmla="*/ 117094 h 410520"/>
                <a:gd name="connsiteX766" fmla="*/ 293563 w 2663946"/>
                <a:gd name="connsiteY766" fmla="*/ 123312 h 410520"/>
                <a:gd name="connsiteX767" fmla="*/ 293563 w 2663946"/>
                <a:gd name="connsiteY767" fmla="*/ 123853 h 410520"/>
                <a:gd name="connsiteX768" fmla="*/ 293563 w 2663946"/>
                <a:gd name="connsiteY768" fmla="*/ 176848 h 410520"/>
                <a:gd name="connsiteX769" fmla="*/ 294104 w 2663946"/>
                <a:gd name="connsiteY769" fmla="*/ 177388 h 410520"/>
                <a:gd name="connsiteX770" fmla="*/ 301404 w 2663946"/>
                <a:gd name="connsiteY770" fmla="*/ 177388 h 410520"/>
                <a:gd name="connsiteX771" fmla="*/ 305460 w 2663946"/>
                <a:gd name="connsiteY771" fmla="*/ 178470 h 410520"/>
                <a:gd name="connsiteX772" fmla="*/ 309245 w 2663946"/>
                <a:gd name="connsiteY772" fmla="*/ 185229 h 410520"/>
                <a:gd name="connsiteX773" fmla="*/ 306541 w 2663946"/>
                <a:gd name="connsiteY773" fmla="*/ 190907 h 410520"/>
                <a:gd name="connsiteX774" fmla="*/ 302485 w 2663946"/>
                <a:gd name="connsiteY774" fmla="*/ 192800 h 410520"/>
                <a:gd name="connsiteX775" fmla="*/ 302215 w 2663946"/>
                <a:gd name="connsiteY775" fmla="*/ 192800 h 410520"/>
                <a:gd name="connsiteX776" fmla="*/ 301945 w 2663946"/>
                <a:gd name="connsiteY776" fmla="*/ 192800 h 410520"/>
                <a:gd name="connsiteX777" fmla="*/ 301404 w 2663946"/>
                <a:gd name="connsiteY777" fmla="*/ 192800 h 410520"/>
                <a:gd name="connsiteX778" fmla="*/ 269229 w 2663946"/>
                <a:gd name="connsiteY778" fmla="*/ 192800 h 410520"/>
                <a:gd name="connsiteX779" fmla="*/ 268688 w 2663946"/>
                <a:gd name="connsiteY779" fmla="*/ 192800 h 410520"/>
                <a:gd name="connsiteX780" fmla="*/ 267877 w 2663946"/>
                <a:gd name="connsiteY780" fmla="*/ 192800 h 410520"/>
                <a:gd name="connsiteX781" fmla="*/ 267066 w 2663946"/>
                <a:gd name="connsiteY781" fmla="*/ 192530 h 410520"/>
                <a:gd name="connsiteX782" fmla="*/ 263551 w 2663946"/>
                <a:gd name="connsiteY782" fmla="*/ 190637 h 410520"/>
                <a:gd name="connsiteX783" fmla="*/ 261117 w 2663946"/>
                <a:gd name="connsiteY783" fmla="*/ 184959 h 410520"/>
                <a:gd name="connsiteX784" fmla="*/ 263281 w 2663946"/>
                <a:gd name="connsiteY784" fmla="*/ 179822 h 410520"/>
                <a:gd name="connsiteX785" fmla="*/ 268958 w 2663946"/>
                <a:gd name="connsiteY785" fmla="*/ 177388 h 410520"/>
                <a:gd name="connsiteX786" fmla="*/ 276800 w 2663946"/>
                <a:gd name="connsiteY786" fmla="*/ 177388 h 410520"/>
                <a:gd name="connsiteX787" fmla="*/ 277340 w 2663946"/>
                <a:gd name="connsiteY787" fmla="*/ 176848 h 410520"/>
                <a:gd name="connsiteX788" fmla="*/ 277340 w 2663946"/>
                <a:gd name="connsiteY788" fmla="*/ 130883 h 410520"/>
                <a:gd name="connsiteX789" fmla="*/ 276800 w 2663946"/>
                <a:gd name="connsiteY789" fmla="*/ 130342 h 410520"/>
                <a:gd name="connsiteX790" fmla="*/ 270851 w 2663946"/>
                <a:gd name="connsiteY790" fmla="*/ 130342 h 410520"/>
                <a:gd name="connsiteX791" fmla="*/ 263551 w 2663946"/>
                <a:gd name="connsiteY791" fmla="*/ 125746 h 410520"/>
                <a:gd name="connsiteX792" fmla="*/ 263281 w 2663946"/>
                <a:gd name="connsiteY792" fmla="*/ 120068 h 410520"/>
                <a:gd name="connsiteX793" fmla="*/ 270581 w 2663946"/>
                <a:gd name="connsiteY793" fmla="*/ 114931 h 410520"/>
                <a:gd name="connsiteX794" fmla="*/ 282748 w 2663946"/>
                <a:gd name="connsiteY794" fmla="*/ 114660 h 410520"/>
                <a:gd name="connsiteX795" fmla="*/ 206731 w 2663946"/>
                <a:gd name="connsiteY795" fmla="*/ 114660 h 410520"/>
                <a:gd name="connsiteX796" fmla="*/ 210787 w 2663946"/>
                <a:gd name="connsiteY796" fmla="*/ 114660 h 410520"/>
                <a:gd name="connsiteX797" fmla="*/ 215383 w 2663946"/>
                <a:gd name="connsiteY797" fmla="*/ 117094 h 410520"/>
                <a:gd name="connsiteX798" fmla="*/ 217546 w 2663946"/>
                <a:gd name="connsiteY798" fmla="*/ 123312 h 410520"/>
                <a:gd name="connsiteX799" fmla="*/ 217546 w 2663946"/>
                <a:gd name="connsiteY799" fmla="*/ 123853 h 410520"/>
                <a:gd name="connsiteX800" fmla="*/ 217546 w 2663946"/>
                <a:gd name="connsiteY800" fmla="*/ 176848 h 410520"/>
                <a:gd name="connsiteX801" fmla="*/ 218087 w 2663946"/>
                <a:gd name="connsiteY801" fmla="*/ 177388 h 410520"/>
                <a:gd name="connsiteX802" fmla="*/ 225387 w 2663946"/>
                <a:gd name="connsiteY802" fmla="*/ 177388 h 410520"/>
                <a:gd name="connsiteX803" fmla="*/ 229443 w 2663946"/>
                <a:gd name="connsiteY803" fmla="*/ 178470 h 410520"/>
                <a:gd name="connsiteX804" fmla="*/ 233228 w 2663946"/>
                <a:gd name="connsiteY804" fmla="*/ 185229 h 410520"/>
                <a:gd name="connsiteX805" fmla="*/ 230524 w 2663946"/>
                <a:gd name="connsiteY805" fmla="*/ 190907 h 410520"/>
                <a:gd name="connsiteX806" fmla="*/ 226468 w 2663946"/>
                <a:gd name="connsiteY806" fmla="*/ 192800 h 410520"/>
                <a:gd name="connsiteX807" fmla="*/ 226198 w 2663946"/>
                <a:gd name="connsiteY807" fmla="*/ 192800 h 410520"/>
                <a:gd name="connsiteX808" fmla="*/ 225928 w 2663946"/>
                <a:gd name="connsiteY808" fmla="*/ 192800 h 410520"/>
                <a:gd name="connsiteX809" fmla="*/ 225387 w 2663946"/>
                <a:gd name="connsiteY809" fmla="*/ 192800 h 410520"/>
                <a:gd name="connsiteX810" fmla="*/ 193212 w 2663946"/>
                <a:gd name="connsiteY810" fmla="*/ 192800 h 410520"/>
                <a:gd name="connsiteX811" fmla="*/ 192671 w 2663946"/>
                <a:gd name="connsiteY811" fmla="*/ 192800 h 410520"/>
                <a:gd name="connsiteX812" fmla="*/ 191860 w 2663946"/>
                <a:gd name="connsiteY812" fmla="*/ 192800 h 410520"/>
                <a:gd name="connsiteX813" fmla="*/ 191049 w 2663946"/>
                <a:gd name="connsiteY813" fmla="*/ 192530 h 410520"/>
                <a:gd name="connsiteX814" fmla="*/ 187534 w 2663946"/>
                <a:gd name="connsiteY814" fmla="*/ 190637 h 410520"/>
                <a:gd name="connsiteX815" fmla="*/ 185101 w 2663946"/>
                <a:gd name="connsiteY815" fmla="*/ 184959 h 410520"/>
                <a:gd name="connsiteX816" fmla="*/ 187264 w 2663946"/>
                <a:gd name="connsiteY816" fmla="*/ 179822 h 410520"/>
                <a:gd name="connsiteX817" fmla="*/ 192942 w 2663946"/>
                <a:gd name="connsiteY817" fmla="*/ 177388 h 410520"/>
                <a:gd name="connsiteX818" fmla="*/ 200783 w 2663946"/>
                <a:gd name="connsiteY818" fmla="*/ 177388 h 410520"/>
                <a:gd name="connsiteX819" fmla="*/ 201323 w 2663946"/>
                <a:gd name="connsiteY819" fmla="*/ 176848 h 410520"/>
                <a:gd name="connsiteX820" fmla="*/ 201323 w 2663946"/>
                <a:gd name="connsiteY820" fmla="*/ 130883 h 410520"/>
                <a:gd name="connsiteX821" fmla="*/ 200783 w 2663946"/>
                <a:gd name="connsiteY821" fmla="*/ 130342 h 410520"/>
                <a:gd name="connsiteX822" fmla="*/ 194834 w 2663946"/>
                <a:gd name="connsiteY822" fmla="*/ 130342 h 410520"/>
                <a:gd name="connsiteX823" fmla="*/ 187534 w 2663946"/>
                <a:gd name="connsiteY823" fmla="*/ 125746 h 410520"/>
                <a:gd name="connsiteX824" fmla="*/ 187264 w 2663946"/>
                <a:gd name="connsiteY824" fmla="*/ 120068 h 410520"/>
                <a:gd name="connsiteX825" fmla="*/ 194564 w 2663946"/>
                <a:gd name="connsiteY825" fmla="*/ 114931 h 410520"/>
                <a:gd name="connsiteX826" fmla="*/ 206731 w 2663946"/>
                <a:gd name="connsiteY826" fmla="*/ 114660 h 410520"/>
                <a:gd name="connsiteX827" fmla="*/ 2627559 w 2663946"/>
                <a:gd name="connsiteY827" fmla="*/ 114591 h 410520"/>
                <a:gd name="connsiteX828" fmla="*/ 2639849 w 2663946"/>
                <a:gd name="connsiteY828" fmla="*/ 116754 h 410520"/>
                <a:gd name="connsiteX829" fmla="*/ 2647223 w 2663946"/>
                <a:gd name="connsiteY829" fmla="*/ 121351 h 410520"/>
                <a:gd name="connsiteX830" fmla="*/ 2650664 w 2663946"/>
                <a:gd name="connsiteY830" fmla="*/ 124595 h 410520"/>
                <a:gd name="connsiteX831" fmla="*/ 2654106 w 2663946"/>
                <a:gd name="connsiteY831" fmla="*/ 128921 h 410520"/>
                <a:gd name="connsiteX832" fmla="*/ 2656072 w 2663946"/>
                <a:gd name="connsiteY832" fmla="*/ 132436 h 410520"/>
                <a:gd name="connsiteX833" fmla="*/ 2658284 w 2663946"/>
                <a:gd name="connsiteY833" fmla="*/ 137844 h 410520"/>
                <a:gd name="connsiteX834" fmla="*/ 2659267 w 2663946"/>
                <a:gd name="connsiteY834" fmla="*/ 141359 h 410520"/>
                <a:gd name="connsiteX835" fmla="*/ 2660251 w 2663946"/>
                <a:gd name="connsiteY835" fmla="*/ 146496 h 410520"/>
                <a:gd name="connsiteX836" fmla="*/ 2660005 w 2663946"/>
                <a:gd name="connsiteY836" fmla="*/ 160826 h 410520"/>
                <a:gd name="connsiteX837" fmla="*/ 2659022 w 2663946"/>
                <a:gd name="connsiteY837" fmla="*/ 165693 h 410520"/>
                <a:gd name="connsiteX838" fmla="*/ 2657792 w 2663946"/>
                <a:gd name="connsiteY838" fmla="*/ 169478 h 410520"/>
                <a:gd name="connsiteX839" fmla="*/ 2656809 w 2663946"/>
                <a:gd name="connsiteY839" fmla="*/ 171912 h 410520"/>
                <a:gd name="connsiteX840" fmla="*/ 2654597 w 2663946"/>
                <a:gd name="connsiteY840" fmla="*/ 176238 h 410520"/>
                <a:gd name="connsiteX841" fmla="*/ 2652385 w 2663946"/>
                <a:gd name="connsiteY841" fmla="*/ 179482 h 410520"/>
                <a:gd name="connsiteX842" fmla="*/ 2648944 w 2663946"/>
                <a:gd name="connsiteY842" fmla="*/ 183268 h 410520"/>
                <a:gd name="connsiteX843" fmla="*/ 2645748 w 2663946"/>
                <a:gd name="connsiteY843" fmla="*/ 185971 h 410520"/>
                <a:gd name="connsiteX844" fmla="*/ 2640095 w 2663946"/>
                <a:gd name="connsiteY844" fmla="*/ 189216 h 410520"/>
                <a:gd name="connsiteX845" fmla="*/ 2632229 w 2663946"/>
                <a:gd name="connsiteY845" fmla="*/ 191379 h 410520"/>
                <a:gd name="connsiteX846" fmla="*/ 2631000 w 2663946"/>
                <a:gd name="connsiteY846" fmla="*/ 191650 h 410520"/>
                <a:gd name="connsiteX847" fmla="*/ 2626821 w 2663946"/>
                <a:gd name="connsiteY847" fmla="*/ 191650 h 410520"/>
                <a:gd name="connsiteX848" fmla="*/ 2626576 w 2663946"/>
                <a:gd name="connsiteY848" fmla="*/ 191650 h 410520"/>
                <a:gd name="connsiteX849" fmla="*/ 2613548 w 2663946"/>
                <a:gd name="connsiteY849" fmla="*/ 186783 h 410520"/>
                <a:gd name="connsiteX850" fmla="*/ 2608878 w 2663946"/>
                <a:gd name="connsiteY850" fmla="*/ 182727 h 410520"/>
                <a:gd name="connsiteX851" fmla="*/ 2605682 w 2663946"/>
                <a:gd name="connsiteY851" fmla="*/ 178942 h 410520"/>
                <a:gd name="connsiteX852" fmla="*/ 2603470 w 2663946"/>
                <a:gd name="connsiteY852" fmla="*/ 175427 h 410520"/>
                <a:gd name="connsiteX853" fmla="*/ 2601258 w 2663946"/>
                <a:gd name="connsiteY853" fmla="*/ 171101 h 410520"/>
                <a:gd name="connsiteX854" fmla="*/ 2600029 w 2663946"/>
                <a:gd name="connsiteY854" fmla="*/ 168126 h 410520"/>
                <a:gd name="connsiteX855" fmla="*/ 2599046 w 2663946"/>
                <a:gd name="connsiteY855" fmla="*/ 164882 h 410520"/>
                <a:gd name="connsiteX856" fmla="*/ 2597816 w 2663946"/>
                <a:gd name="connsiteY856" fmla="*/ 159204 h 410520"/>
                <a:gd name="connsiteX857" fmla="*/ 2597571 w 2663946"/>
                <a:gd name="connsiteY857" fmla="*/ 156230 h 410520"/>
                <a:gd name="connsiteX858" fmla="*/ 2597816 w 2663946"/>
                <a:gd name="connsiteY858" fmla="*/ 156500 h 410520"/>
                <a:gd name="connsiteX859" fmla="*/ 2597816 w 2663946"/>
                <a:gd name="connsiteY859" fmla="*/ 150822 h 410520"/>
                <a:gd name="connsiteX860" fmla="*/ 2597816 w 2663946"/>
                <a:gd name="connsiteY860" fmla="*/ 150552 h 410520"/>
                <a:gd name="connsiteX861" fmla="*/ 2598308 w 2663946"/>
                <a:gd name="connsiteY861" fmla="*/ 145955 h 410520"/>
                <a:gd name="connsiteX862" fmla="*/ 2599537 w 2663946"/>
                <a:gd name="connsiteY862" fmla="*/ 140548 h 410520"/>
                <a:gd name="connsiteX863" fmla="*/ 2600520 w 2663946"/>
                <a:gd name="connsiteY863" fmla="*/ 137303 h 410520"/>
                <a:gd name="connsiteX864" fmla="*/ 2602732 w 2663946"/>
                <a:gd name="connsiteY864" fmla="*/ 132166 h 410520"/>
                <a:gd name="connsiteX865" fmla="*/ 2604945 w 2663946"/>
                <a:gd name="connsiteY865" fmla="*/ 128381 h 410520"/>
                <a:gd name="connsiteX866" fmla="*/ 2607157 w 2663946"/>
                <a:gd name="connsiteY866" fmla="*/ 125406 h 410520"/>
                <a:gd name="connsiteX867" fmla="*/ 2609369 w 2663946"/>
                <a:gd name="connsiteY867" fmla="*/ 122973 h 410520"/>
                <a:gd name="connsiteX868" fmla="*/ 2614039 w 2663946"/>
                <a:gd name="connsiteY868" fmla="*/ 119188 h 410520"/>
                <a:gd name="connsiteX869" fmla="*/ 2617972 w 2663946"/>
                <a:gd name="connsiteY869" fmla="*/ 117025 h 410520"/>
                <a:gd name="connsiteX870" fmla="*/ 2627559 w 2663946"/>
                <a:gd name="connsiteY870" fmla="*/ 114591 h 410520"/>
                <a:gd name="connsiteX871" fmla="*/ 2445604 w 2663946"/>
                <a:gd name="connsiteY871" fmla="*/ 114591 h 410520"/>
                <a:gd name="connsiteX872" fmla="*/ 2457894 w 2663946"/>
                <a:gd name="connsiteY872" fmla="*/ 116754 h 410520"/>
                <a:gd name="connsiteX873" fmla="*/ 2465268 w 2663946"/>
                <a:gd name="connsiteY873" fmla="*/ 121351 h 410520"/>
                <a:gd name="connsiteX874" fmla="*/ 2468709 w 2663946"/>
                <a:gd name="connsiteY874" fmla="*/ 124595 h 410520"/>
                <a:gd name="connsiteX875" fmla="*/ 2472151 w 2663946"/>
                <a:gd name="connsiteY875" fmla="*/ 128921 h 410520"/>
                <a:gd name="connsiteX876" fmla="*/ 2474117 w 2663946"/>
                <a:gd name="connsiteY876" fmla="*/ 132436 h 410520"/>
                <a:gd name="connsiteX877" fmla="*/ 2476329 w 2663946"/>
                <a:gd name="connsiteY877" fmla="*/ 137844 h 410520"/>
                <a:gd name="connsiteX878" fmla="*/ 2477312 w 2663946"/>
                <a:gd name="connsiteY878" fmla="*/ 141359 h 410520"/>
                <a:gd name="connsiteX879" fmla="*/ 2478296 w 2663946"/>
                <a:gd name="connsiteY879" fmla="*/ 146496 h 410520"/>
                <a:gd name="connsiteX880" fmla="*/ 2478050 w 2663946"/>
                <a:gd name="connsiteY880" fmla="*/ 160826 h 410520"/>
                <a:gd name="connsiteX881" fmla="*/ 2477067 w 2663946"/>
                <a:gd name="connsiteY881" fmla="*/ 165693 h 410520"/>
                <a:gd name="connsiteX882" fmla="*/ 2475837 w 2663946"/>
                <a:gd name="connsiteY882" fmla="*/ 169478 h 410520"/>
                <a:gd name="connsiteX883" fmla="*/ 2474854 w 2663946"/>
                <a:gd name="connsiteY883" fmla="*/ 171912 h 410520"/>
                <a:gd name="connsiteX884" fmla="*/ 2472642 w 2663946"/>
                <a:gd name="connsiteY884" fmla="*/ 176238 h 410520"/>
                <a:gd name="connsiteX885" fmla="*/ 2470430 w 2663946"/>
                <a:gd name="connsiteY885" fmla="*/ 179482 h 410520"/>
                <a:gd name="connsiteX886" fmla="*/ 2466989 w 2663946"/>
                <a:gd name="connsiteY886" fmla="*/ 183268 h 410520"/>
                <a:gd name="connsiteX887" fmla="*/ 2463793 w 2663946"/>
                <a:gd name="connsiteY887" fmla="*/ 185971 h 410520"/>
                <a:gd name="connsiteX888" fmla="*/ 2458140 w 2663946"/>
                <a:gd name="connsiteY888" fmla="*/ 189216 h 410520"/>
                <a:gd name="connsiteX889" fmla="*/ 2450274 w 2663946"/>
                <a:gd name="connsiteY889" fmla="*/ 191379 h 410520"/>
                <a:gd name="connsiteX890" fmla="*/ 2449045 w 2663946"/>
                <a:gd name="connsiteY890" fmla="*/ 191650 h 410520"/>
                <a:gd name="connsiteX891" fmla="*/ 2444866 w 2663946"/>
                <a:gd name="connsiteY891" fmla="*/ 191650 h 410520"/>
                <a:gd name="connsiteX892" fmla="*/ 2444621 w 2663946"/>
                <a:gd name="connsiteY892" fmla="*/ 191650 h 410520"/>
                <a:gd name="connsiteX893" fmla="*/ 2431593 w 2663946"/>
                <a:gd name="connsiteY893" fmla="*/ 186783 h 410520"/>
                <a:gd name="connsiteX894" fmla="*/ 2426923 w 2663946"/>
                <a:gd name="connsiteY894" fmla="*/ 182727 h 410520"/>
                <a:gd name="connsiteX895" fmla="*/ 2423727 w 2663946"/>
                <a:gd name="connsiteY895" fmla="*/ 178942 h 410520"/>
                <a:gd name="connsiteX896" fmla="*/ 2421515 w 2663946"/>
                <a:gd name="connsiteY896" fmla="*/ 175427 h 410520"/>
                <a:gd name="connsiteX897" fmla="*/ 2419303 w 2663946"/>
                <a:gd name="connsiteY897" fmla="*/ 171101 h 410520"/>
                <a:gd name="connsiteX898" fmla="*/ 2418074 w 2663946"/>
                <a:gd name="connsiteY898" fmla="*/ 168126 h 410520"/>
                <a:gd name="connsiteX899" fmla="*/ 2417091 w 2663946"/>
                <a:gd name="connsiteY899" fmla="*/ 164882 h 410520"/>
                <a:gd name="connsiteX900" fmla="*/ 2415861 w 2663946"/>
                <a:gd name="connsiteY900" fmla="*/ 159204 h 410520"/>
                <a:gd name="connsiteX901" fmla="*/ 2415616 w 2663946"/>
                <a:gd name="connsiteY901" fmla="*/ 156230 h 410520"/>
                <a:gd name="connsiteX902" fmla="*/ 2415861 w 2663946"/>
                <a:gd name="connsiteY902" fmla="*/ 156500 h 410520"/>
                <a:gd name="connsiteX903" fmla="*/ 2415861 w 2663946"/>
                <a:gd name="connsiteY903" fmla="*/ 150822 h 410520"/>
                <a:gd name="connsiteX904" fmla="*/ 2415861 w 2663946"/>
                <a:gd name="connsiteY904" fmla="*/ 150552 h 410520"/>
                <a:gd name="connsiteX905" fmla="*/ 2416353 w 2663946"/>
                <a:gd name="connsiteY905" fmla="*/ 145955 h 410520"/>
                <a:gd name="connsiteX906" fmla="*/ 2417582 w 2663946"/>
                <a:gd name="connsiteY906" fmla="*/ 140548 h 410520"/>
                <a:gd name="connsiteX907" fmla="*/ 2418565 w 2663946"/>
                <a:gd name="connsiteY907" fmla="*/ 137303 h 410520"/>
                <a:gd name="connsiteX908" fmla="*/ 2420777 w 2663946"/>
                <a:gd name="connsiteY908" fmla="*/ 132166 h 410520"/>
                <a:gd name="connsiteX909" fmla="*/ 2422990 w 2663946"/>
                <a:gd name="connsiteY909" fmla="*/ 128381 h 410520"/>
                <a:gd name="connsiteX910" fmla="*/ 2425202 w 2663946"/>
                <a:gd name="connsiteY910" fmla="*/ 125406 h 410520"/>
                <a:gd name="connsiteX911" fmla="*/ 2427414 w 2663946"/>
                <a:gd name="connsiteY911" fmla="*/ 122973 h 410520"/>
                <a:gd name="connsiteX912" fmla="*/ 2432084 w 2663946"/>
                <a:gd name="connsiteY912" fmla="*/ 119188 h 410520"/>
                <a:gd name="connsiteX913" fmla="*/ 2436017 w 2663946"/>
                <a:gd name="connsiteY913" fmla="*/ 117025 h 410520"/>
                <a:gd name="connsiteX914" fmla="*/ 2445604 w 2663946"/>
                <a:gd name="connsiteY914" fmla="*/ 114591 h 410520"/>
                <a:gd name="connsiteX915" fmla="*/ 2202558 w 2663946"/>
                <a:gd name="connsiteY915" fmla="*/ 114591 h 410520"/>
                <a:gd name="connsiteX916" fmla="*/ 2214848 w 2663946"/>
                <a:gd name="connsiteY916" fmla="*/ 116754 h 410520"/>
                <a:gd name="connsiteX917" fmla="*/ 2222222 w 2663946"/>
                <a:gd name="connsiteY917" fmla="*/ 121351 h 410520"/>
                <a:gd name="connsiteX918" fmla="*/ 2225663 w 2663946"/>
                <a:gd name="connsiteY918" fmla="*/ 124595 h 410520"/>
                <a:gd name="connsiteX919" fmla="*/ 2229105 w 2663946"/>
                <a:gd name="connsiteY919" fmla="*/ 128921 h 410520"/>
                <a:gd name="connsiteX920" fmla="*/ 2231071 w 2663946"/>
                <a:gd name="connsiteY920" fmla="*/ 132436 h 410520"/>
                <a:gd name="connsiteX921" fmla="*/ 2233283 w 2663946"/>
                <a:gd name="connsiteY921" fmla="*/ 137844 h 410520"/>
                <a:gd name="connsiteX922" fmla="*/ 2234266 w 2663946"/>
                <a:gd name="connsiteY922" fmla="*/ 141359 h 410520"/>
                <a:gd name="connsiteX923" fmla="*/ 2235250 w 2663946"/>
                <a:gd name="connsiteY923" fmla="*/ 146496 h 410520"/>
                <a:gd name="connsiteX924" fmla="*/ 2235004 w 2663946"/>
                <a:gd name="connsiteY924" fmla="*/ 160826 h 410520"/>
                <a:gd name="connsiteX925" fmla="*/ 2234021 w 2663946"/>
                <a:gd name="connsiteY925" fmla="*/ 165693 h 410520"/>
                <a:gd name="connsiteX926" fmla="*/ 2232791 w 2663946"/>
                <a:gd name="connsiteY926" fmla="*/ 169478 h 410520"/>
                <a:gd name="connsiteX927" fmla="*/ 2231808 w 2663946"/>
                <a:gd name="connsiteY927" fmla="*/ 171912 h 410520"/>
                <a:gd name="connsiteX928" fmla="*/ 2229596 w 2663946"/>
                <a:gd name="connsiteY928" fmla="*/ 176238 h 410520"/>
                <a:gd name="connsiteX929" fmla="*/ 2227384 w 2663946"/>
                <a:gd name="connsiteY929" fmla="*/ 179482 h 410520"/>
                <a:gd name="connsiteX930" fmla="*/ 2223943 w 2663946"/>
                <a:gd name="connsiteY930" fmla="*/ 183268 h 410520"/>
                <a:gd name="connsiteX931" fmla="*/ 2220747 w 2663946"/>
                <a:gd name="connsiteY931" fmla="*/ 185971 h 410520"/>
                <a:gd name="connsiteX932" fmla="*/ 2215094 w 2663946"/>
                <a:gd name="connsiteY932" fmla="*/ 189216 h 410520"/>
                <a:gd name="connsiteX933" fmla="*/ 2207228 w 2663946"/>
                <a:gd name="connsiteY933" fmla="*/ 191379 h 410520"/>
                <a:gd name="connsiteX934" fmla="*/ 2205999 w 2663946"/>
                <a:gd name="connsiteY934" fmla="*/ 191650 h 410520"/>
                <a:gd name="connsiteX935" fmla="*/ 2201820 w 2663946"/>
                <a:gd name="connsiteY935" fmla="*/ 191650 h 410520"/>
                <a:gd name="connsiteX936" fmla="*/ 2201575 w 2663946"/>
                <a:gd name="connsiteY936" fmla="*/ 191650 h 410520"/>
                <a:gd name="connsiteX937" fmla="*/ 2188547 w 2663946"/>
                <a:gd name="connsiteY937" fmla="*/ 186783 h 410520"/>
                <a:gd name="connsiteX938" fmla="*/ 2183877 w 2663946"/>
                <a:gd name="connsiteY938" fmla="*/ 182727 h 410520"/>
                <a:gd name="connsiteX939" fmla="*/ 2180681 w 2663946"/>
                <a:gd name="connsiteY939" fmla="*/ 178942 h 410520"/>
                <a:gd name="connsiteX940" fmla="*/ 2178469 w 2663946"/>
                <a:gd name="connsiteY940" fmla="*/ 175427 h 410520"/>
                <a:gd name="connsiteX941" fmla="*/ 2176257 w 2663946"/>
                <a:gd name="connsiteY941" fmla="*/ 171101 h 410520"/>
                <a:gd name="connsiteX942" fmla="*/ 2175028 w 2663946"/>
                <a:gd name="connsiteY942" fmla="*/ 168126 h 410520"/>
                <a:gd name="connsiteX943" fmla="*/ 2174045 w 2663946"/>
                <a:gd name="connsiteY943" fmla="*/ 164882 h 410520"/>
                <a:gd name="connsiteX944" fmla="*/ 2172815 w 2663946"/>
                <a:gd name="connsiteY944" fmla="*/ 159204 h 410520"/>
                <a:gd name="connsiteX945" fmla="*/ 2172570 w 2663946"/>
                <a:gd name="connsiteY945" fmla="*/ 156230 h 410520"/>
                <a:gd name="connsiteX946" fmla="*/ 2172815 w 2663946"/>
                <a:gd name="connsiteY946" fmla="*/ 156500 h 410520"/>
                <a:gd name="connsiteX947" fmla="*/ 2172815 w 2663946"/>
                <a:gd name="connsiteY947" fmla="*/ 150822 h 410520"/>
                <a:gd name="connsiteX948" fmla="*/ 2172815 w 2663946"/>
                <a:gd name="connsiteY948" fmla="*/ 150552 h 410520"/>
                <a:gd name="connsiteX949" fmla="*/ 2173307 w 2663946"/>
                <a:gd name="connsiteY949" fmla="*/ 145955 h 410520"/>
                <a:gd name="connsiteX950" fmla="*/ 2174536 w 2663946"/>
                <a:gd name="connsiteY950" fmla="*/ 140548 h 410520"/>
                <a:gd name="connsiteX951" fmla="*/ 2175519 w 2663946"/>
                <a:gd name="connsiteY951" fmla="*/ 137303 h 410520"/>
                <a:gd name="connsiteX952" fmla="*/ 2177731 w 2663946"/>
                <a:gd name="connsiteY952" fmla="*/ 132166 h 410520"/>
                <a:gd name="connsiteX953" fmla="*/ 2179944 w 2663946"/>
                <a:gd name="connsiteY953" fmla="*/ 128381 h 410520"/>
                <a:gd name="connsiteX954" fmla="*/ 2182156 w 2663946"/>
                <a:gd name="connsiteY954" fmla="*/ 125406 h 410520"/>
                <a:gd name="connsiteX955" fmla="*/ 2184368 w 2663946"/>
                <a:gd name="connsiteY955" fmla="*/ 122973 h 410520"/>
                <a:gd name="connsiteX956" fmla="*/ 2189038 w 2663946"/>
                <a:gd name="connsiteY956" fmla="*/ 119188 h 410520"/>
                <a:gd name="connsiteX957" fmla="*/ 2192971 w 2663946"/>
                <a:gd name="connsiteY957" fmla="*/ 117025 h 410520"/>
                <a:gd name="connsiteX958" fmla="*/ 2202558 w 2663946"/>
                <a:gd name="connsiteY958" fmla="*/ 114591 h 410520"/>
                <a:gd name="connsiteX959" fmla="*/ 2020607 w 2663946"/>
                <a:gd name="connsiteY959" fmla="*/ 114591 h 410520"/>
                <a:gd name="connsiteX960" fmla="*/ 2032897 w 2663946"/>
                <a:gd name="connsiteY960" fmla="*/ 116754 h 410520"/>
                <a:gd name="connsiteX961" fmla="*/ 2040271 w 2663946"/>
                <a:gd name="connsiteY961" fmla="*/ 121351 h 410520"/>
                <a:gd name="connsiteX962" fmla="*/ 2043712 w 2663946"/>
                <a:gd name="connsiteY962" fmla="*/ 124595 h 410520"/>
                <a:gd name="connsiteX963" fmla="*/ 2047154 w 2663946"/>
                <a:gd name="connsiteY963" fmla="*/ 128921 h 410520"/>
                <a:gd name="connsiteX964" fmla="*/ 2049120 w 2663946"/>
                <a:gd name="connsiteY964" fmla="*/ 132436 h 410520"/>
                <a:gd name="connsiteX965" fmla="*/ 2051332 w 2663946"/>
                <a:gd name="connsiteY965" fmla="*/ 137844 h 410520"/>
                <a:gd name="connsiteX966" fmla="*/ 2052315 w 2663946"/>
                <a:gd name="connsiteY966" fmla="*/ 141359 h 410520"/>
                <a:gd name="connsiteX967" fmla="*/ 2053299 w 2663946"/>
                <a:gd name="connsiteY967" fmla="*/ 146496 h 410520"/>
                <a:gd name="connsiteX968" fmla="*/ 2053053 w 2663946"/>
                <a:gd name="connsiteY968" fmla="*/ 160826 h 410520"/>
                <a:gd name="connsiteX969" fmla="*/ 2052070 w 2663946"/>
                <a:gd name="connsiteY969" fmla="*/ 165693 h 410520"/>
                <a:gd name="connsiteX970" fmla="*/ 2050840 w 2663946"/>
                <a:gd name="connsiteY970" fmla="*/ 169478 h 410520"/>
                <a:gd name="connsiteX971" fmla="*/ 2049857 w 2663946"/>
                <a:gd name="connsiteY971" fmla="*/ 171912 h 410520"/>
                <a:gd name="connsiteX972" fmla="*/ 2047645 w 2663946"/>
                <a:gd name="connsiteY972" fmla="*/ 176238 h 410520"/>
                <a:gd name="connsiteX973" fmla="*/ 2045433 w 2663946"/>
                <a:gd name="connsiteY973" fmla="*/ 179482 h 410520"/>
                <a:gd name="connsiteX974" fmla="*/ 2041992 w 2663946"/>
                <a:gd name="connsiteY974" fmla="*/ 183268 h 410520"/>
                <a:gd name="connsiteX975" fmla="*/ 2038796 w 2663946"/>
                <a:gd name="connsiteY975" fmla="*/ 185971 h 410520"/>
                <a:gd name="connsiteX976" fmla="*/ 2033143 w 2663946"/>
                <a:gd name="connsiteY976" fmla="*/ 189216 h 410520"/>
                <a:gd name="connsiteX977" fmla="*/ 2025277 w 2663946"/>
                <a:gd name="connsiteY977" fmla="*/ 191379 h 410520"/>
                <a:gd name="connsiteX978" fmla="*/ 2024048 w 2663946"/>
                <a:gd name="connsiteY978" fmla="*/ 191650 h 410520"/>
                <a:gd name="connsiteX979" fmla="*/ 2019869 w 2663946"/>
                <a:gd name="connsiteY979" fmla="*/ 191650 h 410520"/>
                <a:gd name="connsiteX980" fmla="*/ 2019624 w 2663946"/>
                <a:gd name="connsiteY980" fmla="*/ 191650 h 410520"/>
                <a:gd name="connsiteX981" fmla="*/ 2006596 w 2663946"/>
                <a:gd name="connsiteY981" fmla="*/ 186783 h 410520"/>
                <a:gd name="connsiteX982" fmla="*/ 2001926 w 2663946"/>
                <a:gd name="connsiteY982" fmla="*/ 182727 h 410520"/>
                <a:gd name="connsiteX983" fmla="*/ 1998730 w 2663946"/>
                <a:gd name="connsiteY983" fmla="*/ 178942 h 410520"/>
                <a:gd name="connsiteX984" fmla="*/ 1996518 w 2663946"/>
                <a:gd name="connsiteY984" fmla="*/ 175427 h 410520"/>
                <a:gd name="connsiteX985" fmla="*/ 1994306 w 2663946"/>
                <a:gd name="connsiteY985" fmla="*/ 171101 h 410520"/>
                <a:gd name="connsiteX986" fmla="*/ 1993077 w 2663946"/>
                <a:gd name="connsiteY986" fmla="*/ 168126 h 410520"/>
                <a:gd name="connsiteX987" fmla="*/ 1992094 w 2663946"/>
                <a:gd name="connsiteY987" fmla="*/ 164882 h 410520"/>
                <a:gd name="connsiteX988" fmla="*/ 1990864 w 2663946"/>
                <a:gd name="connsiteY988" fmla="*/ 159204 h 410520"/>
                <a:gd name="connsiteX989" fmla="*/ 1990619 w 2663946"/>
                <a:gd name="connsiteY989" fmla="*/ 156230 h 410520"/>
                <a:gd name="connsiteX990" fmla="*/ 1990864 w 2663946"/>
                <a:gd name="connsiteY990" fmla="*/ 156500 h 410520"/>
                <a:gd name="connsiteX991" fmla="*/ 1990864 w 2663946"/>
                <a:gd name="connsiteY991" fmla="*/ 150822 h 410520"/>
                <a:gd name="connsiteX992" fmla="*/ 1990864 w 2663946"/>
                <a:gd name="connsiteY992" fmla="*/ 150552 h 410520"/>
                <a:gd name="connsiteX993" fmla="*/ 1991356 w 2663946"/>
                <a:gd name="connsiteY993" fmla="*/ 145955 h 410520"/>
                <a:gd name="connsiteX994" fmla="*/ 1992585 w 2663946"/>
                <a:gd name="connsiteY994" fmla="*/ 140548 h 410520"/>
                <a:gd name="connsiteX995" fmla="*/ 1993568 w 2663946"/>
                <a:gd name="connsiteY995" fmla="*/ 137303 h 410520"/>
                <a:gd name="connsiteX996" fmla="*/ 1995780 w 2663946"/>
                <a:gd name="connsiteY996" fmla="*/ 132166 h 410520"/>
                <a:gd name="connsiteX997" fmla="*/ 1997993 w 2663946"/>
                <a:gd name="connsiteY997" fmla="*/ 128381 h 410520"/>
                <a:gd name="connsiteX998" fmla="*/ 2000205 w 2663946"/>
                <a:gd name="connsiteY998" fmla="*/ 125406 h 410520"/>
                <a:gd name="connsiteX999" fmla="*/ 2002417 w 2663946"/>
                <a:gd name="connsiteY999" fmla="*/ 122973 h 410520"/>
                <a:gd name="connsiteX1000" fmla="*/ 2007087 w 2663946"/>
                <a:gd name="connsiteY1000" fmla="*/ 119188 h 410520"/>
                <a:gd name="connsiteX1001" fmla="*/ 2011020 w 2663946"/>
                <a:gd name="connsiteY1001" fmla="*/ 117025 h 410520"/>
                <a:gd name="connsiteX1002" fmla="*/ 2020607 w 2663946"/>
                <a:gd name="connsiteY1002" fmla="*/ 114591 h 410520"/>
                <a:gd name="connsiteX1003" fmla="*/ 1595683 w 2663946"/>
                <a:gd name="connsiteY1003" fmla="*/ 114591 h 410520"/>
                <a:gd name="connsiteX1004" fmla="*/ 1607973 w 2663946"/>
                <a:gd name="connsiteY1004" fmla="*/ 116754 h 410520"/>
                <a:gd name="connsiteX1005" fmla="*/ 1615347 w 2663946"/>
                <a:gd name="connsiteY1005" fmla="*/ 121351 h 410520"/>
                <a:gd name="connsiteX1006" fmla="*/ 1618788 w 2663946"/>
                <a:gd name="connsiteY1006" fmla="*/ 124595 h 410520"/>
                <a:gd name="connsiteX1007" fmla="*/ 1622230 w 2663946"/>
                <a:gd name="connsiteY1007" fmla="*/ 128921 h 410520"/>
                <a:gd name="connsiteX1008" fmla="*/ 1624196 w 2663946"/>
                <a:gd name="connsiteY1008" fmla="*/ 132436 h 410520"/>
                <a:gd name="connsiteX1009" fmla="*/ 1626408 w 2663946"/>
                <a:gd name="connsiteY1009" fmla="*/ 137844 h 410520"/>
                <a:gd name="connsiteX1010" fmla="*/ 1627391 w 2663946"/>
                <a:gd name="connsiteY1010" fmla="*/ 141359 h 410520"/>
                <a:gd name="connsiteX1011" fmla="*/ 1628374 w 2663946"/>
                <a:gd name="connsiteY1011" fmla="*/ 146496 h 410520"/>
                <a:gd name="connsiteX1012" fmla="*/ 1628129 w 2663946"/>
                <a:gd name="connsiteY1012" fmla="*/ 160826 h 410520"/>
                <a:gd name="connsiteX1013" fmla="*/ 1627146 w 2663946"/>
                <a:gd name="connsiteY1013" fmla="*/ 165693 h 410520"/>
                <a:gd name="connsiteX1014" fmla="*/ 1625916 w 2663946"/>
                <a:gd name="connsiteY1014" fmla="*/ 169478 h 410520"/>
                <a:gd name="connsiteX1015" fmla="*/ 1624933 w 2663946"/>
                <a:gd name="connsiteY1015" fmla="*/ 171912 h 410520"/>
                <a:gd name="connsiteX1016" fmla="*/ 1622721 w 2663946"/>
                <a:gd name="connsiteY1016" fmla="*/ 176238 h 410520"/>
                <a:gd name="connsiteX1017" fmla="*/ 1620509 w 2663946"/>
                <a:gd name="connsiteY1017" fmla="*/ 179482 h 410520"/>
                <a:gd name="connsiteX1018" fmla="*/ 1617068 w 2663946"/>
                <a:gd name="connsiteY1018" fmla="*/ 183268 h 410520"/>
                <a:gd name="connsiteX1019" fmla="*/ 1613872 w 2663946"/>
                <a:gd name="connsiteY1019" fmla="*/ 185971 h 410520"/>
                <a:gd name="connsiteX1020" fmla="*/ 1608219 w 2663946"/>
                <a:gd name="connsiteY1020" fmla="*/ 189216 h 410520"/>
                <a:gd name="connsiteX1021" fmla="*/ 1600353 w 2663946"/>
                <a:gd name="connsiteY1021" fmla="*/ 191379 h 410520"/>
                <a:gd name="connsiteX1022" fmla="*/ 1599124 w 2663946"/>
                <a:gd name="connsiteY1022" fmla="*/ 191650 h 410520"/>
                <a:gd name="connsiteX1023" fmla="*/ 1594945 w 2663946"/>
                <a:gd name="connsiteY1023" fmla="*/ 191650 h 410520"/>
                <a:gd name="connsiteX1024" fmla="*/ 1594699 w 2663946"/>
                <a:gd name="connsiteY1024" fmla="*/ 191650 h 410520"/>
                <a:gd name="connsiteX1025" fmla="*/ 1581672 w 2663946"/>
                <a:gd name="connsiteY1025" fmla="*/ 186783 h 410520"/>
                <a:gd name="connsiteX1026" fmla="*/ 1577002 w 2663946"/>
                <a:gd name="connsiteY1026" fmla="*/ 182727 h 410520"/>
                <a:gd name="connsiteX1027" fmla="*/ 1573806 w 2663946"/>
                <a:gd name="connsiteY1027" fmla="*/ 178942 h 410520"/>
                <a:gd name="connsiteX1028" fmla="*/ 1571594 w 2663946"/>
                <a:gd name="connsiteY1028" fmla="*/ 175427 h 410520"/>
                <a:gd name="connsiteX1029" fmla="*/ 1569382 w 2663946"/>
                <a:gd name="connsiteY1029" fmla="*/ 171101 h 410520"/>
                <a:gd name="connsiteX1030" fmla="*/ 1568153 w 2663946"/>
                <a:gd name="connsiteY1030" fmla="*/ 168126 h 410520"/>
                <a:gd name="connsiteX1031" fmla="*/ 1567169 w 2663946"/>
                <a:gd name="connsiteY1031" fmla="*/ 164882 h 410520"/>
                <a:gd name="connsiteX1032" fmla="*/ 1565940 w 2663946"/>
                <a:gd name="connsiteY1032" fmla="*/ 159204 h 410520"/>
                <a:gd name="connsiteX1033" fmla="*/ 1565695 w 2663946"/>
                <a:gd name="connsiteY1033" fmla="*/ 156230 h 410520"/>
                <a:gd name="connsiteX1034" fmla="*/ 1565940 w 2663946"/>
                <a:gd name="connsiteY1034" fmla="*/ 156500 h 410520"/>
                <a:gd name="connsiteX1035" fmla="*/ 1565940 w 2663946"/>
                <a:gd name="connsiteY1035" fmla="*/ 150822 h 410520"/>
                <a:gd name="connsiteX1036" fmla="*/ 1565940 w 2663946"/>
                <a:gd name="connsiteY1036" fmla="*/ 150552 h 410520"/>
                <a:gd name="connsiteX1037" fmla="*/ 1566432 w 2663946"/>
                <a:gd name="connsiteY1037" fmla="*/ 145955 h 410520"/>
                <a:gd name="connsiteX1038" fmla="*/ 1567661 w 2663946"/>
                <a:gd name="connsiteY1038" fmla="*/ 140548 h 410520"/>
                <a:gd name="connsiteX1039" fmla="*/ 1568644 w 2663946"/>
                <a:gd name="connsiteY1039" fmla="*/ 137303 h 410520"/>
                <a:gd name="connsiteX1040" fmla="*/ 1570856 w 2663946"/>
                <a:gd name="connsiteY1040" fmla="*/ 132166 h 410520"/>
                <a:gd name="connsiteX1041" fmla="*/ 1573069 w 2663946"/>
                <a:gd name="connsiteY1041" fmla="*/ 128381 h 410520"/>
                <a:gd name="connsiteX1042" fmla="*/ 1575281 w 2663946"/>
                <a:gd name="connsiteY1042" fmla="*/ 125406 h 410520"/>
                <a:gd name="connsiteX1043" fmla="*/ 1577493 w 2663946"/>
                <a:gd name="connsiteY1043" fmla="*/ 122973 h 410520"/>
                <a:gd name="connsiteX1044" fmla="*/ 1582163 w 2663946"/>
                <a:gd name="connsiteY1044" fmla="*/ 119188 h 410520"/>
                <a:gd name="connsiteX1045" fmla="*/ 1586096 w 2663946"/>
                <a:gd name="connsiteY1045" fmla="*/ 117025 h 410520"/>
                <a:gd name="connsiteX1046" fmla="*/ 1595683 w 2663946"/>
                <a:gd name="connsiteY1046" fmla="*/ 114591 h 410520"/>
                <a:gd name="connsiteX1047" fmla="*/ 1246776 w 2663946"/>
                <a:gd name="connsiteY1047" fmla="*/ 114591 h 410520"/>
                <a:gd name="connsiteX1048" fmla="*/ 1259066 w 2663946"/>
                <a:gd name="connsiteY1048" fmla="*/ 116754 h 410520"/>
                <a:gd name="connsiteX1049" fmla="*/ 1266440 w 2663946"/>
                <a:gd name="connsiteY1049" fmla="*/ 121351 h 410520"/>
                <a:gd name="connsiteX1050" fmla="*/ 1269881 w 2663946"/>
                <a:gd name="connsiteY1050" fmla="*/ 124595 h 410520"/>
                <a:gd name="connsiteX1051" fmla="*/ 1273323 w 2663946"/>
                <a:gd name="connsiteY1051" fmla="*/ 128921 h 410520"/>
                <a:gd name="connsiteX1052" fmla="*/ 1275289 w 2663946"/>
                <a:gd name="connsiteY1052" fmla="*/ 132436 h 410520"/>
                <a:gd name="connsiteX1053" fmla="*/ 1277501 w 2663946"/>
                <a:gd name="connsiteY1053" fmla="*/ 137844 h 410520"/>
                <a:gd name="connsiteX1054" fmla="*/ 1278484 w 2663946"/>
                <a:gd name="connsiteY1054" fmla="*/ 141359 h 410520"/>
                <a:gd name="connsiteX1055" fmla="*/ 1279467 w 2663946"/>
                <a:gd name="connsiteY1055" fmla="*/ 146496 h 410520"/>
                <a:gd name="connsiteX1056" fmla="*/ 1279222 w 2663946"/>
                <a:gd name="connsiteY1056" fmla="*/ 160826 h 410520"/>
                <a:gd name="connsiteX1057" fmla="*/ 1278239 w 2663946"/>
                <a:gd name="connsiteY1057" fmla="*/ 165693 h 410520"/>
                <a:gd name="connsiteX1058" fmla="*/ 1277009 w 2663946"/>
                <a:gd name="connsiteY1058" fmla="*/ 169478 h 410520"/>
                <a:gd name="connsiteX1059" fmla="*/ 1276026 w 2663946"/>
                <a:gd name="connsiteY1059" fmla="*/ 171912 h 410520"/>
                <a:gd name="connsiteX1060" fmla="*/ 1273814 w 2663946"/>
                <a:gd name="connsiteY1060" fmla="*/ 176238 h 410520"/>
                <a:gd name="connsiteX1061" fmla="*/ 1271602 w 2663946"/>
                <a:gd name="connsiteY1061" fmla="*/ 179482 h 410520"/>
                <a:gd name="connsiteX1062" fmla="*/ 1268161 w 2663946"/>
                <a:gd name="connsiteY1062" fmla="*/ 183268 h 410520"/>
                <a:gd name="connsiteX1063" fmla="*/ 1264965 w 2663946"/>
                <a:gd name="connsiteY1063" fmla="*/ 185971 h 410520"/>
                <a:gd name="connsiteX1064" fmla="*/ 1259312 w 2663946"/>
                <a:gd name="connsiteY1064" fmla="*/ 189216 h 410520"/>
                <a:gd name="connsiteX1065" fmla="*/ 1251446 w 2663946"/>
                <a:gd name="connsiteY1065" fmla="*/ 191379 h 410520"/>
                <a:gd name="connsiteX1066" fmla="*/ 1250217 w 2663946"/>
                <a:gd name="connsiteY1066" fmla="*/ 191650 h 410520"/>
                <a:gd name="connsiteX1067" fmla="*/ 1246038 w 2663946"/>
                <a:gd name="connsiteY1067" fmla="*/ 191650 h 410520"/>
                <a:gd name="connsiteX1068" fmla="*/ 1245792 w 2663946"/>
                <a:gd name="connsiteY1068" fmla="*/ 191650 h 410520"/>
                <a:gd name="connsiteX1069" fmla="*/ 1232765 w 2663946"/>
                <a:gd name="connsiteY1069" fmla="*/ 186783 h 410520"/>
                <a:gd name="connsiteX1070" fmla="*/ 1228095 w 2663946"/>
                <a:gd name="connsiteY1070" fmla="*/ 182727 h 410520"/>
                <a:gd name="connsiteX1071" fmla="*/ 1224899 w 2663946"/>
                <a:gd name="connsiteY1071" fmla="*/ 178942 h 410520"/>
                <a:gd name="connsiteX1072" fmla="*/ 1222687 w 2663946"/>
                <a:gd name="connsiteY1072" fmla="*/ 175427 h 410520"/>
                <a:gd name="connsiteX1073" fmla="*/ 1220475 w 2663946"/>
                <a:gd name="connsiteY1073" fmla="*/ 171101 h 410520"/>
                <a:gd name="connsiteX1074" fmla="*/ 1219246 w 2663946"/>
                <a:gd name="connsiteY1074" fmla="*/ 168126 h 410520"/>
                <a:gd name="connsiteX1075" fmla="*/ 1218262 w 2663946"/>
                <a:gd name="connsiteY1075" fmla="*/ 164882 h 410520"/>
                <a:gd name="connsiteX1076" fmla="*/ 1217033 w 2663946"/>
                <a:gd name="connsiteY1076" fmla="*/ 159204 h 410520"/>
                <a:gd name="connsiteX1077" fmla="*/ 1216788 w 2663946"/>
                <a:gd name="connsiteY1077" fmla="*/ 156230 h 410520"/>
                <a:gd name="connsiteX1078" fmla="*/ 1217033 w 2663946"/>
                <a:gd name="connsiteY1078" fmla="*/ 156500 h 410520"/>
                <a:gd name="connsiteX1079" fmla="*/ 1217033 w 2663946"/>
                <a:gd name="connsiteY1079" fmla="*/ 150822 h 410520"/>
                <a:gd name="connsiteX1080" fmla="*/ 1217033 w 2663946"/>
                <a:gd name="connsiteY1080" fmla="*/ 150552 h 410520"/>
                <a:gd name="connsiteX1081" fmla="*/ 1217525 w 2663946"/>
                <a:gd name="connsiteY1081" fmla="*/ 145955 h 410520"/>
                <a:gd name="connsiteX1082" fmla="*/ 1218754 w 2663946"/>
                <a:gd name="connsiteY1082" fmla="*/ 140548 h 410520"/>
                <a:gd name="connsiteX1083" fmla="*/ 1219737 w 2663946"/>
                <a:gd name="connsiteY1083" fmla="*/ 137303 h 410520"/>
                <a:gd name="connsiteX1084" fmla="*/ 1221949 w 2663946"/>
                <a:gd name="connsiteY1084" fmla="*/ 132166 h 410520"/>
                <a:gd name="connsiteX1085" fmla="*/ 1224162 w 2663946"/>
                <a:gd name="connsiteY1085" fmla="*/ 128381 h 410520"/>
                <a:gd name="connsiteX1086" fmla="*/ 1226374 w 2663946"/>
                <a:gd name="connsiteY1086" fmla="*/ 125406 h 410520"/>
                <a:gd name="connsiteX1087" fmla="*/ 1228586 w 2663946"/>
                <a:gd name="connsiteY1087" fmla="*/ 122973 h 410520"/>
                <a:gd name="connsiteX1088" fmla="*/ 1233256 w 2663946"/>
                <a:gd name="connsiteY1088" fmla="*/ 119188 h 410520"/>
                <a:gd name="connsiteX1089" fmla="*/ 1237189 w 2663946"/>
                <a:gd name="connsiteY1089" fmla="*/ 117025 h 410520"/>
                <a:gd name="connsiteX1090" fmla="*/ 1246776 w 2663946"/>
                <a:gd name="connsiteY1090" fmla="*/ 114591 h 410520"/>
                <a:gd name="connsiteX1091" fmla="*/ 1064825 w 2663946"/>
                <a:gd name="connsiteY1091" fmla="*/ 114591 h 410520"/>
                <a:gd name="connsiteX1092" fmla="*/ 1077115 w 2663946"/>
                <a:gd name="connsiteY1092" fmla="*/ 116754 h 410520"/>
                <a:gd name="connsiteX1093" fmla="*/ 1084489 w 2663946"/>
                <a:gd name="connsiteY1093" fmla="*/ 121351 h 410520"/>
                <a:gd name="connsiteX1094" fmla="*/ 1087930 w 2663946"/>
                <a:gd name="connsiteY1094" fmla="*/ 124595 h 410520"/>
                <a:gd name="connsiteX1095" fmla="*/ 1091372 w 2663946"/>
                <a:gd name="connsiteY1095" fmla="*/ 128921 h 410520"/>
                <a:gd name="connsiteX1096" fmla="*/ 1093338 w 2663946"/>
                <a:gd name="connsiteY1096" fmla="*/ 132436 h 410520"/>
                <a:gd name="connsiteX1097" fmla="*/ 1095550 w 2663946"/>
                <a:gd name="connsiteY1097" fmla="*/ 137844 h 410520"/>
                <a:gd name="connsiteX1098" fmla="*/ 1096533 w 2663946"/>
                <a:gd name="connsiteY1098" fmla="*/ 141359 h 410520"/>
                <a:gd name="connsiteX1099" fmla="*/ 1097516 w 2663946"/>
                <a:gd name="connsiteY1099" fmla="*/ 146496 h 410520"/>
                <a:gd name="connsiteX1100" fmla="*/ 1097271 w 2663946"/>
                <a:gd name="connsiteY1100" fmla="*/ 160826 h 410520"/>
                <a:gd name="connsiteX1101" fmla="*/ 1096288 w 2663946"/>
                <a:gd name="connsiteY1101" fmla="*/ 165693 h 410520"/>
                <a:gd name="connsiteX1102" fmla="*/ 1095058 w 2663946"/>
                <a:gd name="connsiteY1102" fmla="*/ 169478 h 410520"/>
                <a:gd name="connsiteX1103" fmla="*/ 1094075 w 2663946"/>
                <a:gd name="connsiteY1103" fmla="*/ 171912 h 410520"/>
                <a:gd name="connsiteX1104" fmla="*/ 1091863 w 2663946"/>
                <a:gd name="connsiteY1104" fmla="*/ 176238 h 410520"/>
                <a:gd name="connsiteX1105" fmla="*/ 1089651 w 2663946"/>
                <a:gd name="connsiteY1105" fmla="*/ 179482 h 410520"/>
                <a:gd name="connsiteX1106" fmla="*/ 1086210 w 2663946"/>
                <a:gd name="connsiteY1106" fmla="*/ 183268 h 410520"/>
                <a:gd name="connsiteX1107" fmla="*/ 1083014 w 2663946"/>
                <a:gd name="connsiteY1107" fmla="*/ 185971 h 410520"/>
                <a:gd name="connsiteX1108" fmla="*/ 1077361 w 2663946"/>
                <a:gd name="connsiteY1108" fmla="*/ 189216 h 410520"/>
                <a:gd name="connsiteX1109" fmla="*/ 1069495 w 2663946"/>
                <a:gd name="connsiteY1109" fmla="*/ 191379 h 410520"/>
                <a:gd name="connsiteX1110" fmla="*/ 1068266 w 2663946"/>
                <a:gd name="connsiteY1110" fmla="*/ 191650 h 410520"/>
                <a:gd name="connsiteX1111" fmla="*/ 1064087 w 2663946"/>
                <a:gd name="connsiteY1111" fmla="*/ 191650 h 410520"/>
                <a:gd name="connsiteX1112" fmla="*/ 1063841 w 2663946"/>
                <a:gd name="connsiteY1112" fmla="*/ 191650 h 410520"/>
                <a:gd name="connsiteX1113" fmla="*/ 1050814 w 2663946"/>
                <a:gd name="connsiteY1113" fmla="*/ 186783 h 410520"/>
                <a:gd name="connsiteX1114" fmla="*/ 1046144 w 2663946"/>
                <a:gd name="connsiteY1114" fmla="*/ 182727 h 410520"/>
                <a:gd name="connsiteX1115" fmla="*/ 1042948 w 2663946"/>
                <a:gd name="connsiteY1115" fmla="*/ 178942 h 410520"/>
                <a:gd name="connsiteX1116" fmla="*/ 1040736 w 2663946"/>
                <a:gd name="connsiteY1116" fmla="*/ 175427 h 410520"/>
                <a:gd name="connsiteX1117" fmla="*/ 1038524 w 2663946"/>
                <a:gd name="connsiteY1117" fmla="*/ 171101 h 410520"/>
                <a:gd name="connsiteX1118" fmla="*/ 1037295 w 2663946"/>
                <a:gd name="connsiteY1118" fmla="*/ 168126 h 410520"/>
                <a:gd name="connsiteX1119" fmla="*/ 1036311 w 2663946"/>
                <a:gd name="connsiteY1119" fmla="*/ 164882 h 410520"/>
                <a:gd name="connsiteX1120" fmla="*/ 1035082 w 2663946"/>
                <a:gd name="connsiteY1120" fmla="*/ 159204 h 410520"/>
                <a:gd name="connsiteX1121" fmla="*/ 1034837 w 2663946"/>
                <a:gd name="connsiteY1121" fmla="*/ 156230 h 410520"/>
                <a:gd name="connsiteX1122" fmla="*/ 1035082 w 2663946"/>
                <a:gd name="connsiteY1122" fmla="*/ 156500 h 410520"/>
                <a:gd name="connsiteX1123" fmla="*/ 1035082 w 2663946"/>
                <a:gd name="connsiteY1123" fmla="*/ 150822 h 410520"/>
                <a:gd name="connsiteX1124" fmla="*/ 1035082 w 2663946"/>
                <a:gd name="connsiteY1124" fmla="*/ 150552 h 410520"/>
                <a:gd name="connsiteX1125" fmla="*/ 1035574 w 2663946"/>
                <a:gd name="connsiteY1125" fmla="*/ 145955 h 410520"/>
                <a:gd name="connsiteX1126" fmla="*/ 1036803 w 2663946"/>
                <a:gd name="connsiteY1126" fmla="*/ 140548 h 410520"/>
                <a:gd name="connsiteX1127" fmla="*/ 1037786 w 2663946"/>
                <a:gd name="connsiteY1127" fmla="*/ 137303 h 410520"/>
                <a:gd name="connsiteX1128" fmla="*/ 1039998 w 2663946"/>
                <a:gd name="connsiteY1128" fmla="*/ 132166 h 410520"/>
                <a:gd name="connsiteX1129" fmla="*/ 1042211 w 2663946"/>
                <a:gd name="connsiteY1129" fmla="*/ 128381 h 410520"/>
                <a:gd name="connsiteX1130" fmla="*/ 1044423 w 2663946"/>
                <a:gd name="connsiteY1130" fmla="*/ 125406 h 410520"/>
                <a:gd name="connsiteX1131" fmla="*/ 1046635 w 2663946"/>
                <a:gd name="connsiteY1131" fmla="*/ 122973 h 410520"/>
                <a:gd name="connsiteX1132" fmla="*/ 1051305 w 2663946"/>
                <a:gd name="connsiteY1132" fmla="*/ 119188 h 410520"/>
                <a:gd name="connsiteX1133" fmla="*/ 1055238 w 2663946"/>
                <a:gd name="connsiteY1133" fmla="*/ 117025 h 410520"/>
                <a:gd name="connsiteX1134" fmla="*/ 1064825 w 2663946"/>
                <a:gd name="connsiteY1134" fmla="*/ 114591 h 410520"/>
                <a:gd name="connsiteX1135" fmla="*/ 897796 w 2663946"/>
                <a:gd name="connsiteY1135" fmla="*/ 114591 h 410520"/>
                <a:gd name="connsiteX1136" fmla="*/ 910086 w 2663946"/>
                <a:gd name="connsiteY1136" fmla="*/ 116754 h 410520"/>
                <a:gd name="connsiteX1137" fmla="*/ 917460 w 2663946"/>
                <a:gd name="connsiteY1137" fmla="*/ 121351 h 410520"/>
                <a:gd name="connsiteX1138" fmla="*/ 920901 w 2663946"/>
                <a:gd name="connsiteY1138" fmla="*/ 124595 h 410520"/>
                <a:gd name="connsiteX1139" fmla="*/ 924343 w 2663946"/>
                <a:gd name="connsiteY1139" fmla="*/ 128921 h 410520"/>
                <a:gd name="connsiteX1140" fmla="*/ 926309 w 2663946"/>
                <a:gd name="connsiteY1140" fmla="*/ 132436 h 410520"/>
                <a:gd name="connsiteX1141" fmla="*/ 928521 w 2663946"/>
                <a:gd name="connsiteY1141" fmla="*/ 137844 h 410520"/>
                <a:gd name="connsiteX1142" fmla="*/ 929504 w 2663946"/>
                <a:gd name="connsiteY1142" fmla="*/ 141359 h 410520"/>
                <a:gd name="connsiteX1143" fmla="*/ 930487 w 2663946"/>
                <a:gd name="connsiteY1143" fmla="*/ 146496 h 410520"/>
                <a:gd name="connsiteX1144" fmla="*/ 930242 w 2663946"/>
                <a:gd name="connsiteY1144" fmla="*/ 160826 h 410520"/>
                <a:gd name="connsiteX1145" fmla="*/ 929259 w 2663946"/>
                <a:gd name="connsiteY1145" fmla="*/ 165693 h 410520"/>
                <a:gd name="connsiteX1146" fmla="*/ 928029 w 2663946"/>
                <a:gd name="connsiteY1146" fmla="*/ 169478 h 410520"/>
                <a:gd name="connsiteX1147" fmla="*/ 927046 w 2663946"/>
                <a:gd name="connsiteY1147" fmla="*/ 171912 h 410520"/>
                <a:gd name="connsiteX1148" fmla="*/ 924834 w 2663946"/>
                <a:gd name="connsiteY1148" fmla="*/ 176238 h 410520"/>
                <a:gd name="connsiteX1149" fmla="*/ 922622 w 2663946"/>
                <a:gd name="connsiteY1149" fmla="*/ 179482 h 410520"/>
                <a:gd name="connsiteX1150" fmla="*/ 919181 w 2663946"/>
                <a:gd name="connsiteY1150" fmla="*/ 183268 h 410520"/>
                <a:gd name="connsiteX1151" fmla="*/ 915985 w 2663946"/>
                <a:gd name="connsiteY1151" fmla="*/ 185971 h 410520"/>
                <a:gd name="connsiteX1152" fmla="*/ 910332 w 2663946"/>
                <a:gd name="connsiteY1152" fmla="*/ 189216 h 410520"/>
                <a:gd name="connsiteX1153" fmla="*/ 902466 w 2663946"/>
                <a:gd name="connsiteY1153" fmla="*/ 191379 h 410520"/>
                <a:gd name="connsiteX1154" fmla="*/ 901237 w 2663946"/>
                <a:gd name="connsiteY1154" fmla="*/ 191650 h 410520"/>
                <a:gd name="connsiteX1155" fmla="*/ 897058 w 2663946"/>
                <a:gd name="connsiteY1155" fmla="*/ 191650 h 410520"/>
                <a:gd name="connsiteX1156" fmla="*/ 896812 w 2663946"/>
                <a:gd name="connsiteY1156" fmla="*/ 191650 h 410520"/>
                <a:gd name="connsiteX1157" fmla="*/ 883785 w 2663946"/>
                <a:gd name="connsiteY1157" fmla="*/ 186783 h 410520"/>
                <a:gd name="connsiteX1158" fmla="*/ 879115 w 2663946"/>
                <a:gd name="connsiteY1158" fmla="*/ 182727 h 410520"/>
                <a:gd name="connsiteX1159" fmla="*/ 875919 w 2663946"/>
                <a:gd name="connsiteY1159" fmla="*/ 178942 h 410520"/>
                <a:gd name="connsiteX1160" fmla="*/ 873707 w 2663946"/>
                <a:gd name="connsiteY1160" fmla="*/ 175427 h 410520"/>
                <a:gd name="connsiteX1161" fmla="*/ 871495 w 2663946"/>
                <a:gd name="connsiteY1161" fmla="*/ 171101 h 410520"/>
                <a:gd name="connsiteX1162" fmla="*/ 870266 w 2663946"/>
                <a:gd name="connsiteY1162" fmla="*/ 168126 h 410520"/>
                <a:gd name="connsiteX1163" fmla="*/ 869282 w 2663946"/>
                <a:gd name="connsiteY1163" fmla="*/ 164882 h 410520"/>
                <a:gd name="connsiteX1164" fmla="*/ 868053 w 2663946"/>
                <a:gd name="connsiteY1164" fmla="*/ 159204 h 410520"/>
                <a:gd name="connsiteX1165" fmla="*/ 867808 w 2663946"/>
                <a:gd name="connsiteY1165" fmla="*/ 156230 h 410520"/>
                <a:gd name="connsiteX1166" fmla="*/ 868053 w 2663946"/>
                <a:gd name="connsiteY1166" fmla="*/ 156500 h 410520"/>
                <a:gd name="connsiteX1167" fmla="*/ 868053 w 2663946"/>
                <a:gd name="connsiteY1167" fmla="*/ 150822 h 410520"/>
                <a:gd name="connsiteX1168" fmla="*/ 868053 w 2663946"/>
                <a:gd name="connsiteY1168" fmla="*/ 150552 h 410520"/>
                <a:gd name="connsiteX1169" fmla="*/ 868545 w 2663946"/>
                <a:gd name="connsiteY1169" fmla="*/ 145955 h 410520"/>
                <a:gd name="connsiteX1170" fmla="*/ 869774 w 2663946"/>
                <a:gd name="connsiteY1170" fmla="*/ 140548 h 410520"/>
                <a:gd name="connsiteX1171" fmla="*/ 870757 w 2663946"/>
                <a:gd name="connsiteY1171" fmla="*/ 137303 h 410520"/>
                <a:gd name="connsiteX1172" fmla="*/ 872969 w 2663946"/>
                <a:gd name="connsiteY1172" fmla="*/ 132166 h 410520"/>
                <a:gd name="connsiteX1173" fmla="*/ 875182 w 2663946"/>
                <a:gd name="connsiteY1173" fmla="*/ 128381 h 410520"/>
                <a:gd name="connsiteX1174" fmla="*/ 877394 w 2663946"/>
                <a:gd name="connsiteY1174" fmla="*/ 125406 h 410520"/>
                <a:gd name="connsiteX1175" fmla="*/ 879606 w 2663946"/>
                <a:gd name="connsiteY1175" fmla="*/ 122973 h 410520"/>
                <a:gd name="connsiteX1176" fmla="*/ 884276 w 2663946"/>
                <a:gd name="connsiteY1176" fmla="*/ 119188 h 410520"/>
                <a:gd name="connsiteX1177" fmla="*/ 888209 w 2663946"/>
                <a:gd name="connsiteY1177" fmla="*/ 117025 h 410520"/>
                <a:gd name="connsiteX1178" fmla="*/ 897796 w 2663946"/>
                <a:gd name="connsiteY1178" fmla="*/ 114591 h 410520"/>
                <a:gd name="connsiteX1179" fmla="*/ 548889 w 2663946"/>
                <a:gd name="connsiteY1179" fmla="*/ 114591 h 410520"/>
                <a:gd name="connsiteX1180" fmla="*/ 561180 w 2663946"/>
                <a:gd name="connsiteY1180" fmla="*/ 116754 h 410520"/>
                <a:gd name="connsiteX1181" fmla="*/ 568554 w 2663946"/>
                <a:gd name="connsiteY1181" fmla="*/ 121351 h 410520"/>
                <a:gd name="connsiteX1182" fmla="*/ 571995 w 2663946"/>
                <a:gd name="connsiteY1182" fmla="*/ 124595 h 410520"/>
                <a:gd name="connsiteX1183" fmla="*/ 575436 w 2663946"/>
                <a:gd name="connsiteY1183" fmla="*/ 128921 h 410520"/>
                <a:gd name="connsiteX1184" fmla="*/ 577403 w 2663946"/>
                <a:gd name="connsiteY1184" fmla="*/ 132436 h 410520"/>
                <a:gd name="connsiteX1185" fmla="*/ 579615 w 2663946"/>
                <a:gd name="connsiteY1185" fmla="*/ 137844 h 410520"/>
                <a:gd name="connsiteX1186" fmla="*/ 580598 w 2663946"/>
                <a:gd name="connsiteY1186" fmla="*/ 141359 h 410520"/>
                <a:gd name="connsiteX1187" fmla="*/ 581581 w 2663946"/>
                <a:gd name="connsiteY1187" fmla="*/ 146496 h 410520"/>
                <a:gd name="connsiteX1188" fmla="*/ 581336 w 2663946"/>
                <a:gd name="connsiteY1188" fmla="*/ 160826 h 410520"/>
                <a:gd name="connsiteX1189" fmla="*/ 580352 w 2663946"/>
                <a:gd name="connsiteY1189" fmla="*/ 165693 h 410520"/>
                <a:gd name="connsiteX1190" fmla="*/ 579123 w 2663946"/>
                <a:gd name="connsiteY1190" fmla="*/ 169478 h 410520"/>
                <a:gd name="connsiteX1191" fmla="*/ 578140 w 2663946"/>
                <a:gd name="connsiteY1191" fmla="*/ 171912 h 410520"/>
                <a:gd name="connsiteX1192" fmla="*/ 575928 w 2663946"/>
                <a:gd name="connsiteY1192" fmla="*/ 176238 h 410520"/>
                <a:gd name="connsiteX1193" fmla="*/ 573715 w 2663946"/>
                <a:gd name="connsiteY1193" fmla="*/ 179482 h 410520"/>
                <a:gd name="connsiteX1194" fmla="*/ 570274 w 2663946"/>
                <a:gd name="connsiteY1194" fmla="*/ 183268 h 410520"/>
                <a:gd name="connsiteX1195" fmla="*/ 567079 w 2663946"/>
                <a:gd name="connsiteY1195" fmla="*/ 185971 h 410520"/>
                <a:gd name="connsiteX1196" fmla="*/ 561425 w 2663946"/>
                <a:gd name="connsiteY1196" fmla="*/ 189216 h 410520"/>
                <a:gd name="connsiteX1197" fmla="*/ 553559 w 2663946"/>
                <a:gd name="connsiteY1197" fmla="*/ 191379 h 410520"/>
                <a:gd name="connsiteX1198" fmla="*/ 552331 w 2663946"/>
                <a:gd name="connsiteY1198" fmla="*/ 191650 h 410520"/>
                <a:gd name="connsiteX1199" fmla="*/ 548152 w 2663946"/>
                <a:gd name="connsiteY1199" fmla="*/ 191650 h 410520"/>
                <a:gd name="connsiteX1200" fmla="*/ 547906 w 2663946"/>
                <a:gd name="connsiteY1200" fmla="*/ 191650 h 410520"/>
                <a:gd name="connsiteX1201" fmla="*/ 534879 w 2663946"/>
                <a:gd name="connsiteY1201" fmla="*/ 186783 h 410520"/>
                <a:gd name="connsiteX1202" fmla="*/ 530208 w 2663946"/>
                <a:gd name="connsiteY1202" fmla="*/ 182727 h 410520"/>
                <a:gd name="connsiteX1203" fmla="*/ 527013 w 2663946"/>
                <a:gd name="connsiteY1203" fmla="*/ 178942 h 410520"/>
                <a:gd name="connsiteX1204" fmla="*/ 524801 w 2663946"/>
                <a:gd name="connsiteY1204" fmla="*/ 175427 h 410520"/>
                <a:gd name="connsiteX1205" fmla="*/ 522588 w 2663946"/>
                <a:gd name="connsiteY1205" fmla="*/ 171101 h 410520"/>
                <a:gd name="connsiteX1206" fmla="*/ 521359 w 2663946"/>
                <a:gd name="connsiteY1206" fmla="*/ 168126 h 410520"/>
                <a:gd name="connsiteX1207" fmla="*/ 520376 w 2663946"/>
                <a:gd name="connsiteY1207" fmla="*/ 164882 h 410520"/>
                <a:gd name="connsiteX1208" fmla="*/ 519147 w 2663946"/>
                <a:gd name="connsiteY1208" fmla="*/ 159204 h 410520"/>
                <a:gd name="connsiteX1209" fmla="*/ 518901 w 2663946"/>
                <a:gd name="connsiteY1209" fmla="*/ 156230 h 410520"/>
                <a:gd name="connsiteX1210" fmla="*/ 519147 w 2663946"/>
                <a:gd name="connsiteY1210" fmla="*/ 156500 h 410520"/>
                <a:gd name="connsiteX1211" fmla="*/ 519147 w 2663946"/>
                <a:gd name="connsiteY1211" fmla="*/ 150822 h 410520"/>
                <a:gd name="connsiteX1212" fmla="*/ 519147 w 2663946"/>
                <a:gd name="connsiteY1212" fmla="*/ 150552 h 410520"/>
                <a:gd name="connsiteX1213" fmla="*/ 519639 w 2663946"/>
                <a:gd name="connsiteY1213" fmla="*/ 145955 h 410520"/>
                <a:gd name="connsiteX1214" fmla="*/ 520868 w 2663946"/>
                <a:gd name="connsiteY1214" fmla="*/ 140548 h 410520"/>
                <a:gd name="connsiteX1215" fmla="*/ 521851 w 2663946"/>
                <a:gd name="connsiteY1215" fmla="*/ 137303 h 410520"/>
                <a:gd name="connsiteX1216" fmla="*/ 524063 w 2663946"/>
                <a:gd name="connsiteY1216" fmla="*/ 132166 h 410520"/>
                <a:gd name="connsiteX1217" fmla="*/ 526275 w 2663946"/>
                <a:gd name="connsiteY1217" fmla="*/ 128381 h 410520"/>
                <a:gd name="connsiteX1218" fmla="*/ 528488 w 2663946"/>
                <a:gd name="connsiteY1218" fmla="*/ 125406 h 410520"/>
                <a:gd name="connsiteX1219" fmla="*/ 530700 w 2663946"/>
                <a:gd name="connsiteY1219" fmla="*/ 122973 h 410520"/>
                <a:gd name="connsiteX1220" fmla="*/ 535370 w 2663946"/>
                <a:gd name="connsiteY1220" fmla="*/ 119188 h 410520"/>
                <a:gd name="connsiteX1221" fmla="*/ 539303 w 2663946"/>
                <a:gd name="connsiteY1221" fmla="*/ 117025 h 410520"/>
                <a:gd name="connsiteX1222" fmla="*/ 548889 w 2663946"/>
                <a:gd name="connsiteY1222" fmla="*/ 114591 h 410520"/>
                <a:gd name="connsiteX1223" fmla="*/ 366938 w 2663946"/>
                <a:gd name="connsiteY1223" fmla="*/ 114591 h 410520"/>
                <a:gd name="connsiteX1224" fmla="*/ 379228 w 2663946"/>
                <a:gd name="connsiteY1224" fmla="*/ 116754 h 410520"/>
                <a:gd name="connsiteX1225" fmla="*/ 386603 w 2663946"/>
                <a:gd name="connsiteY1225" fmla="*/ 121351 h 410520"/>
                <a:gd name="connsiteX1226" fmla="*/ 390044 w 2663946"/>
                <a:gd name="connsiteY1226" fmla="*/ 124595 h 410520"/>
                <a:gd name="connsiteX1227" fmla="*/ 393485 w 2663946"/>
                <a:gd name="connsiteY1227" fmla="*/ 128921 h 410520"/>
                <a:gd name="connsiteX1228" fmla="*/ 395452 w 2663946"/>
                <a:gd name="connsiteY1228" fmla="*/ 132436 h 410520"/>
                <a:gd name="connsiteX1229" fmla="*/ 397664 w 2663946"/>
                <a:gd name="connsiteY1229" fmla="*/ 137844 h 410520"/>
                <a:gd name="connsiteX1230" fmla="*/ 398647 w 2663946"/>
                <a:gd name="connsiteY1230" fmla="*/ 141359 h 410520"/>
                <a:gd name="connsiteX1231" fmla="*/ 399630 w 2663946"/>
                <a:gd name="connsiteY1231" fmla="*/ 146496 h 410520"/>
                <a:gd name="connsiteX1232" fmla="*/ 399384 w 2663946"/>
                <a:gd name="connsiteY1232" fmla="*/ 160826 h 410520"/>
                <a:gd name="connsiteX1233" fmla="*/ 398401 w 2663946"/>
                <a:gd name="connsiteY1233" fmla="*/ 165693 h 410520"/>
                <a:gd name="connsiteX1234" fmla="*/ 397172 w 2663946"/>
                <a:gd name="connsiteY1234" fmla="*/ 169478 h 410520"/>
                <a:gd name="connsiteX1235" fmla="*/ 396189 w 2663946"/>
                <a:gd name="connsiteY1235" fmla="*/ 171912 h 410520"/>
                <a:gd name="connsiteX1236" fmla="*/ 393977 w 2663946"/>
                <a:gd name="connsiteY1236" fmla="*/ 176238 h 410520"/>
                <a:gd name="connsiteX1237" fmla="*/ 391764 w 2663946"/>
                <a:gd name="connsiteY1237" fmla="*/ 179482 h 410520"/>
                <a:gd name="connsiteX1238" fmla="*/ 388323 w 2663946"/>
                <a:gd name="connsiteY1238" fmla="*/ 183268 h 410520"/>
                <a:gd name="connsiteX1239" fmla="*/ 385128 w 2663946"/>
                <a:gd name="connsiteY1239" fmla="*/ 185971 h 410520"/>
                <a:gd name="connsiteX1240" fmla="*/ 379474 w 2663946"/>
                <a:gd name="connsiteY1240" fmla="*/ 189216 h 410520"/>
                <a:gd name="connsiteX1241" fmla="*/ 371609 w 2663946"/>
                <a:gd name="connsiteY1241" fmla="*/ 191379 h 410520"/>
                <a:gd name="connsiteX1242" fmla="*/ 370380 w 2663946"/>
                <a:gd name="connsiteY1242" fmla="*/ 191650 h 410520"/>
                <a:gd name="connsiteX1243" fmla="*/ 366201 w 2663946"/>
                <a:gd name="connsiteY1243" fmla="*/ 191650 h 410520"/>
                <a:gd name="connsiteX1244" fmla="*/ 365955 w 2663946"/>
                <a:gd name="connsiteY1244" fmla="*/ 191650 h 410520"/>
                <a:gd name="connsiteX1245" fmla="*/ 352927 w 2663946"/>
                <a:gd name="connsiteY1245" fmla="*/ 186783 h 410520"/>
                <a:gd name="connsiteX1246" fmla="*/ 348257 w 2663946"/>
                <a:gd name="connsiteY1246" fmla="*/ 182727 h 410520"/>
                <a:gd name="connsiteX1247" fmla="*/ 345062 w 2663946"/>
                <a:gd name="connsiteY1247" fmla="*/ 178942 h 410520"/>
                <a:gd name="connsiteX1248" fmla="*/ 342850 w 2663946"/>
                <a:gd name="connsiteY1248" fmla="*/ 175427 h 410520"/>
                <a:gd name="connsiteX1249" fmla="*/ 340637 w 2663946"/>
                <a:gd name="connsiteY1249" fmla="*/ 171101 h 410520"/>
                <a:gd name="connsiteX1250" fmla="*/ 339408 w 2663946"/>
                <a:gd name="connsiteY1250" fmla="*/ 168126 h 410520"/>
                <a:gd name="connsiteX1251" fmla="*/ 338425 w 2663946"/>
                <a:gd name="connsiteY1251" fmla="*/ 164882 h 410520"/>
                <a:gd name="connsiteX1252" fmla="*/ 337196 w 2663946"/>
                <a:gd name="connsiteY1252" fmla="*/ 159204 h 410520"/>
                <a:gd name="connsiteX1253" fmla="*/ 336950 w 2663946"/>
                <a:gd name="connsiteY1253" fmla="*/ 156230 h 410520"/>
                <a:gd name="connsiteX1254" fmla="*/ 337196 w 2663946"/>
                <a:gd name="connsiteY1254" fmla="*/ 156500 h 410520"/>
                <a:gd name="connsiteX1255" fmla="*/ 337196 w 2663946"/>
                <a:gd name="connsiteY1255" fmla="*/ 150822 h 410520"/>
                <a:gd name="connsiteX1256" fmla="*/ 337196 w 2663946"/>
                <a:gd name="connsiteY1256" fmla="*/ 150552 h 410520"/>
                <a:gd name="connsiteX1257" fmla="*/ 337687 w 2663946"/>
                <a:gd name="connsiteY1257" fmla="*/ 145955 h 410520"/>
                <a:gd name="connsiteX1258" fmla="*/ 338917 w 2663946"/>
                <a:gd name="connsiteY1258" fmla="*/ 140548 h 410520"/>
                <a:gd name="connsiteX1259" fmla="*/ 339900 w 2663946"/>
                <a:gd name="connsiteY1259" fmla="*/ 137303 h 410520"/>
                <a:gd name="connsiteX1260" fmla="*/ 342112 w 2663946"/>
                <a:gd name="connsiteY1260" fmla="*/ 132166 h 410520"/>
                <a:gd name="connsiteX1261" fmla="*/ 344324 w 2663946"/>
                <a:gd name="connsiteY1261" fmla="*/ 128381 h 410520"/>
                <a:gd name="connsiteX1262" fmla="*/ 346536 w 2663946"/>
                <a:gd name="connsiteY1262" fmla="*/ 125406 h 410520"/>
                <a:gd name="connsiteX1263" fmla="*/ 348749 w 2663946"/>
                <a:gd name="connsiteY1263" fmla="*/ 122973 h 410520"/>
                <a:gd name="connsiteX1264" fmla="*/ 353419 w 2663946"/>
                <a:gd name="connsiteY1264" fmla="*/ 119188 h 410520"/>
                <a:gd name="connsiteX1265" fmla="*/ 357352 w 2663946"/>
                <a:gd name="connsiteY1265" fmla="*/ 117025 h 410520"/>
                <a:gd name="connsiteX1266" fmla="*/ 366938 w 2663946"/>
                <a:gd name="connsiteY1266" fmla="*/ 114591 h 410520"/>
                <a:gd name="connsiteX1267" fmla="*/ 123893 w 2663946"/>
                <a:gd name="connsiteY1267" fmla="*/ 114591 h 410520"/>
                <a:gd name="connsiteX1268" fmla="*/ 136183 w 2663946"/>
                <a:gd name="connsiteY1268" fmla="*/ 116754 h 410520"/>
                <a:gd name="connsiteX1269" fmla="*/ 143557 w 2663946"/>
                <a:gd name="connsiteY1269" fmla="*/ 121351 h 410520"/>
                <a:gd name="connsiteX1270" fmla="*/ 146998 w 2663946"/>
                <a:gd name="connsiteY1270" fmla="*/ 124595 h 410520"/>
                <a:gd name="connsiteX1271" fmla="*/ 150439 w 2663946"/>
                <a:gd name="connsiteY1271" fmla="*/ 128921 h 410520"/>
                <a:gd name="connsiteX1272" fmla="*/ 152406 w 2663946"/>
                <a:gd name="connsiteY1272" fmla="*/ 132436 h 410520"/>
                <a:gd name="connsiteX1273" fmla="*/ 154618 w 2663946"/>
                <a:gd name="connsiteY1273" fmla="*/ 137844 h 410520"/>
                <a:gd name="connsiteX1274" fmla="*/ 155601 w 2663946"/>
                <a:gd name="connsiteY1274" fmla="*/ 141359 h 410520"/>
                <a:gd name="connsiteX1275" fmla="*/ 156584 w 2663946"/>
                <a:gd name="connsiteY1275" fmla="*/ 146496 h 410520"/>
                <a:gd name="connsiteX1276" fmla="*/ 156339 w 2663946"/>
                <a:gd name="connsiteY1276" fmla="*/ 160826 h 410520"/>
                <a:gd name="connsiteX1277" fmla="*/ 155355 w 2663946"/>
                <a:gd name="connsiteY1277" fmla="*/ 165693 h 410520"/>
                <a:gd name="connsiteX1278" fmla="*/ 154126 w 2663946"/>
                <a:gd name="connsiteY1278" fmla="*/ 169478 h 410520"/>
                <a:gd name="connsiteX1279" fmla="*/ 153143 w 2663946"/>
                <a:gd name="connsiteY1279" fmla="*/ 171912 h 410520"/>
                <a:gd name="connsiteX1280" fmla="*/ 150931 w 2663946"/>
                <a:gd name="connsiteY1280" fmla="*/ 176238 h 410520"/>
                <a:gd name="connsiteX1281" fmla="*/ 148719 w 2663946"/>
                <a:gd name="connsiteY1281" fmla="*/ 179482 h 410520"/>
                <a:gd name="connsiteX1282" fmla="*/ 145277 w 2663946"/>
                <a:gd name="connsiteY1282" fmla="*/ 183268 h 410520"/>
                <a:gd name="connsiteX1283" fmla="*/ 142082 w 2663946"/>
                <a:gd name="connsiteY1283" fmla="*/ 185971 h 410520"/>
                <a:gd name="connsiteX1284" fmla="*/ 136428 w 2663946"/>
                <a:gd name="connsiteY1284" fmla="*/ 189216 h 410520"/>
                <a:gd name="connsiteX1285" fmla="*/ 128563 w 2663946"/>
                <a:gd name="connsiteY1285" fmla="*/ 191379 h 410520"/>
                <a:gd name="connsiteX1286" fmla="*/ 127334 w 2663946"/>
                <a:gd name="connsiteY1286" fmla="*/ 191650 h 410520"/>
                <a:gd name="connsiteX1287" fmla="*/ 123155 w 2663946"/>
                <a:gd name="connsiteY1287" fmla="*/ 191650 h 410520"/>
                <a:gd name="connsiteX1288" fmla="*/ 122909 w 2663946"/>
                <a:gd name="connsiteY1288" fmla="*/ 191650 h 410520"/>
                <a:gd name="connsiteX1289" fmla="*/ 109882 w 2663946"/>
                <a:gd name="connsiteY1289" fmla="*/ 186783 h 410520"/>
                <a:gd name="connsiteX1290" fmla="*/ 105211 w 2663946"/>
                <a:gd name="connsiteY1290" fmla="*/ 182727 h 410520"/>
                <a:gd name="connsiteX1291" fmla="*/ 102016 w 2663946"/>
                <a:gd name="connsiteY1291" fmla="*/ 178942 h 410520"/>
                <a:gd name="connsiteX1292" fmla="*/ 99804 w 2663946"/>
                <a:gd name="connsiteY1292" fmla="*/ 175427 h 410520"/>
                <a:gd name="connsiteX1293" fmla="*/ 97591 w 2663946"/>
                <a:gd name="connsiteY1293" fmla="*/ 171101 h 410520"/>
                <a:gd name="connsiteX1294" fmla="*/ 96362 w 2663946"/>
                <a:gd name="connsiteY1294" fmla="*/ 168126 h 410520"/>
                <a:gd name="connsiteX1295" fmla="*/ 95379 w 2663946"/>
                <a:gd name="connsiteY1295" fmla="*/ 164882 h 410520"/>
                <a:gd name="connsiteX1296" fmla="*/ 94150 w 2663946"/>
                <a:gd name="connsiteY1296" fmla="*/ 159204 h 410520"/>
                <a:gd name="connsiteX1297" fmla="*/ 93904 w 2663946"/>
                <a:gd name="connsiteY1297" fmla="*/ 156230 h 410520"/>
                <a:gd name="connsiteX1298" fmla="*/ 94150 w 2663946"/>
                <a:gd name="connsiteY1298" fmla="*/ 156500 h 410520"/>
                <a:gd name="connsiteX1299" fmla="*/ 94150 w 2663946"/>
                <a:gd name="connsiteY1299" fmla="*/ 150822 h 410520"/>
                <a:gd name="connsiteX1300" fmla="*/ 94150 w 2663946"/>
                <a:gd name="connsiteY1300" fmla="*/ 150552 h 410520"/>
                <a:gd name="connsiteX1301" fmla="*/ 94642 w 2663946"/>
                <a:gd name="connsiteY1301" fmla="*/ 145955 h 410520"/>
                <a:gd name="connsiteX1302" fmla="*/ 95871 w 2663946"/>
                <a:gd name="connsiteY1302" fmla="*/ 140548 h 410520"/>
                <a:gd name="connsiteX1303" fmla="*/ 96854 w 2663946"/>
                <a:gd name="connsiteY1303" fmla="*/ 137303 h 410520"/>
                <a:gd name="connsiteX1304" fmla="*/ 99066 w 2663946"/>
                <a:gd name="connsiteY1304" fmla="*/ 132166 h 410520"/>
                <a:gd name="connsiteX1305" fmla="*/ 101279 w 2663946"/>
                <a:gd name="connsiteY1305" fmla="*/ 128381 h 410520"/>
                <a:gd name="connsiteX1306" fmla="*/ 103491 w 2663946"/>
                <a:gd name="connsiteY1306" fmla="*/ 125406 h 410520"/>
                <a:gd name="connsiteX1307" fmla="*/ 105703 w 2663946"/>
                <a:gd name="connsiteY1307" fmla="*/ 122973 h 410520"/>
                <a:gd name="connsiteX1308" fmla="*/ 110373 w 2663946"/>
                <a:gd name="connsiteY1308" fmla="*/ 119188 h 410520"/>
                <a:gd name="connsiteX1309" fmla="*/ 114306 w 2663946"/>
                <a:gd name="connsiteY1309" fmla="*/ 117025 h 410520"/>
                <a:gd name="connsiteX1310" fmla="*/ 123893 w 2663946"/>
                <a:gd name="connsiteY1310" fmla="*/ 114591 h 410520"/>
                <a:gd name="connsiteX1311" fmla="*/ 33147 w 2663946"/>
                <a:gd name="connsiteY1311" fmla="*/ 113953 h 410520"/>
                <a:gd name="connsiteX1312" fmla="*/ 57942 w 2663946"/>
                <a:gd name="connsiteY1312" fmla="*/ 134162 h 410520"/>
                <a:gd name="connsiteX1313" fmla="*/ 58422 w 2663946"/>
                <a:gd name="connsiteY1313" fmla="*/ 138920 h 410520"/>
                <a:gd name="connsiteX1314" fmla="*/ 59840 w 2663946"/>
                <a:gd name="connsiteY1314" fmla="*/ 138920 h 410520"/>
                <a:gd name="connsiteX1315" fmla="*/ 66294 w 2663946"/>
                <a:gd name="connsiteY1315" fmla="*/ 145206 h 410520"/>
                <a:gd name="connsiteX1316" fmla="*/ 66294 w 2663946"/>
                <a:gd name="connsiteY1316" fmla="*/ 194928 h 410520"/>
                <a:gd name="connsiteX1317" fmla="*/ 59840 w 2663946"/>
                <a:gd name="connsiteY1317" fmla="*/ 201214 h 410520"/>
                <a:gd name="connsiteX1318" fmla="*/ 6453 w 2663946"/>
                <a:gd name="connsiteY1318" fmla="*/ 201214 h 410520"/>
                <a:gd name="connsiteX1319" fmla="*/ 0 w 2663946"/>
                <a:gd name="connsiteY1319" fmla="*/ 194928 h 410520"/>
                <a:gd name="connsiteX1320" fmla="*/ 0 w 2663946"/>
                <a:gd name="connsiteY1320" fmla="*/ 145206 h 410520"/>
                <a:gd name="connsiteX1321" fmla="*/ 6453 w 2663946"/>
                <a:gd name="connsiteY1321" fmla="*/ 138920 h 410520"/>
                <a:gd name="connsiteX1322" fmla="*/ 7288 w 2663946"/>
                <a:gd name="connsiteY1322" fmla="*/ 138920 h 410520"/>
                <a:gd name="connsiteX1323" fmla="*/ 7872 w 2663946"/>
                <a:gd name="connsiteY1323" fmla="*/ 138920 h 410520"/>
                <a:gd name="connsiteX1324" fmla="*/ 8351 w 2663946"/>
                <a:gd name="connsiteY1324" fmla="*/ 134162 h 410520"/>
                <a:gd name="connsiteX1325" fmla="*/ 33147 w 2663946"/>
                <a:gd name="connsiteY1325" fmla="*/ 113953 h 410520"/>
                <a:gd name="connsiteX1326" fmla="*/ 2537931 w 2663946"/>
                <a:gd name="connsiteY1326" fmla="*/ 106365 h 410520"/>
                <a:gd name="connsiteX1327" fmla="*/ 2562727 w 2663946"/>
                <a:gd name="connsiteY1327" fmla="*/ 126574 h 410520"/>
                <a:gd name="connsiteX1328" fmla="*/ 2563206 w 2663946"/>
                <a:gd name="connsiteY1328" fmla="*/ 131332 h 410520"/>
                <a:gd name="connsiteX1329" fmla="*/ 2564625 w 2663946"/>
                <a:gd name="connsiteY1329" fmla="*/ 131332 h 410520"/>
                <a:gd name="connsiteX1330" fmla="*/ 2571078 w 2663946"/>
                <a:gd name="connsiteY1330" fmla="*/ 137618 h 410520"/>
                <a:gd name="connsiteX1331" fmla="*/ 2571078 w 2663946"/>
                <a:gd name="connsiteY1331" fmla="*/ 187340 h 410520"/>
                <a:gd name="connsiteX1332" fmla="*/ 2564625 w 2663946"/>
                <a:gd name="connsiteY1332" fmla="*/ 193626 h 410520"/>
                <a:gd name="connsiteX1333" fmla="*/ 2511238 w 2663946"/>
                <a:gd name="connsiteY1333" fmla="*/ 193626 h 410520"/>
                <a:gd name="connsiteX1334" fmla="*/ 2504784 w 2663946"/>
                <a:gd name="connsiteY1334" fmla="*/ 187340 h 410520"/>
                <a:gd name="connsiteX1335" fmla="*/ 2504784 w 2663946"/>
                <a:gd name="connsiteY1335" fmla="*/ 137618 h 410520"/>
                <a:gd name="connsiteX1336" fmla="*/ 2511238 w 2663946"/>
                <a:gd name="connsiteY1336" fmla="*/ 131332 h 410520"/>
                <a:gd name="connsiteX1337" fmla="*/ 2512072 w 2663946"/>
                <a:gd name="connsiteY1337" fmla="*/ 131332 h 410520"/>
                <a:gd name="connsiteX1338" fmla="*/ 2512656 w 2663946"/>
                <a:gd name="connsiteY1338" fmla="*/ 131332 h 410520"/>
                <a:gd name="connsiteX1339" fmla="*/ 2513136 w 2663946"/>
                <a:gd name="connsiteY1339" fmla="*/ 126574 h 410520"/>
                <a:gd name="connsiteX1340" fmla="*/ 2537931 w 2663946"/>
                <a:gd name="connsiteY1340" fmla="*/ 106365 h 410520"/>
                <a:gd name="connsiteX1341" fmla="*/ 2112934 w 2663946"/>
                <a:gd name="connsiteY1341" fmla="*/ 106365 h 410520"/>
                <a:gd name="connsiteX1342" fmla="*/ 2137730 w 2663946"/>
                <a:gd name="connsiteY1342" fmla="*/ 126574 h 410520"/>
                <a:gd name="connsiteX1343" fmla="*/ 2138209 w 2663946"/>
                <a:gd name="connsiteY1343" fmla="*/ 131332 h 410520"/>
                <a:gd name="connsiteX1344" fmla="*/ 2139628 w 2663946"/>
                <a:gd name="connsiteY1344" fmla="*/ 131332 h 410520"/>
                <a:gd name="connsiteX1345" fmla="*/ 2146081 w 2663946"/>
                <a:gd name="connsiteY1345" fmla="*/ 137618 h 410520"/>
                <a:gd name="connsiteX1346" fmla="*/ 2146081 w 2663946"/>
                <a:gd name="connsiteY1346" fmla="*/ 187340 h 410520"/>
                <a:gd name="connsiteX1347" fmla="*/ 2139628 w 2663946"/>
                <a:gd name="connsiteY1347" fmla="*/ 193626 h 410520"/>
                <a:gd name="connsiteX1348" fmla="*/ 2086241 w 2663946"/>
                <a:gd name="connsiteY1348" fmla="*/ 193626 h 410520"/>
                <a:gd name="connsiteX1349" fmla="*/ 2079787 w 2663946"/>
                <a:gd name="connsiteY1349" fmla="*/ 187340 h 410520"/>
                <a:gd name="connsiteX1350" fmla="*/ 2079787 w 2663946"/>
                <a:gd name="connsiteY1350" fmla="*/ 137618 h 410520"/>
                <a:gd name="connsiteX1351" fmla="*/ 2086241 w 2663946"/>
                <a:gd name="connsiteY1351" fmla="*/ 131332 h 410520"/>
                <a:gd name="connsiteX1352" fmla="*/ 2087075 w 2663946"/>
                <a:gd name="connsiteY1352" fmla="*/ 131332 h 410520"/>
                <a:gd name="connsiteX1353" fmla="*/ 2087659 w 2663946"/>
                <a:gd name="connsiteY1353" fmla="*/ 131332 h 410520"/>
                <a:gd name="connsiteX1354" fmla="*/ 2088139 w 2663946"/>
                <a:gd name="connsiteY1354" fmla="*/ 126574 h 410520"/>
                <a:gd name="connsiteX1355" fmla="*/ 2112934 w 2663946"/>
                <a:gd name="connsiteY1355" fmla="*/ 106365 h 410520"/>
                <a:gd name="connsiteX1356" fmla="*/ 1854966 w 2663946"/>
                <a:gd name="connsiteY1356" fmla="*/ 106365 h 410520"/>
                <a:gd name="connsiteX1357" fmla="*/ 1879762 w 2663946"/>
                <a:gd name="connsiteY1357" fmla="*/ 126574 h 410520"/>
                <a:gd name="connsiteX1358" fmla="*/ 1880241 w 2663946"/>
                <a:gd name="connsiteY1358" fmla="*/ 131332 h 410520"/>
                <a:gd name="connsiteX1359" fmla="*/ 1881660 w 2663946"/>
                <a:gd name="connsiteY1359" fmla="*/ 131332 h 410520"/>
                <a:gd name="connsiteX1360" fmla="*/ 1888113 w 2663946"/>
                <a:gd name="connsiteY1360" fmla="*/ 137618 h 410520"/>
                <a:gd name="connsiteX1361" fmla="*/ 1888113 w 2663946"/>
                <a:gd name="connsiteY1361" fmla="*/ 187340 h 410520"/>
                <a:gd name="connsiteX1362" fmla="*/ 1881660 w 2663946"/>
                <a:gd name="connsiteY1362" fmla="*/ 193626 h 410520"/>
                <a:gd name="connsiteX1363" fmla="*/ 1828273 w 2663946"/>
                <a:gd name="connsiteY1363" fmla="*/ 193626 h 410520"/>
                <a:gd name="connsiteX1364" fmla="*/ 1821819 w 2663946"/>
                <a:gd name="connsiteY1364" fmla="*/ 187340 h 410520"/>
                <a:gd name="connsiteX1365" fmla="*/ 1821819 w 2663946"/>
                <a:gd name="connsiteY1365" fmla="*/ 137618 h 410520"/>
                <a:gd name="connsiteX1366" fmla="*/ 1828273 w 2663946"/>
                <a:gd name="connsiteY1366" fmla="*/ 131332 h 410520"/>
                <a:gd name="connsiteX1367" fmla="*/ 1829107 w 2663946"/>
                <a:gd name="connsiteY1367" fmla="*/ 131332 h 410520"/>
                <a:gd name="connsiteX1368" fmla="*/ 1829691 w 2663946"/>
                <a:gd name="connsiteY1368" fmla="*/ 131332 h 410520"/>
                <a:gd name="connsiteX1369" fmla="*/ 1830171 w 2663946"/>
                <a:gd name="connsiteY1369" fmla="*/ 126574 h 410520"/>
                <a:gd name="connsiteX1370" fmla="*/ 1854966 w 2663946"/>
                <a:gd name="connsiteY1370" fmla="*/ 106365 h 410520"/>
                <a:gd name="connsiteX1371" fmla="*/ 1764027 w 2663946"/>
                <a:gd name="connsiteY1371" fmla="*/ 106365 h 410520"/>
                <a:gd name="connsiteX1372" fmla="*/ 1788823 w 2663946"/>
                <a:gd name="connsiteY1372" fmla="*/ 126574 h 410520"/>
                <a:gd name="connsiteX1373" fmla="*/ 1789302 w 2663946"/>
                <a:gd name="connsiteY1373" fmla="*/ 131332 h 410520"/>
                <a:gd name="connsiteX1374" fmla="*/ 1790721 w 2663946"/>
                <a:gd name="connsiteY1374" fmla="*/ 131332 h 410520"/>
                <a:gd name="connsiteX1375" fmla="*/ 1797174 w 2663946"/>
                <a:gd name="connsiteY1375" fmla="*/ 137618 h 410520"/>
                <a:gd name="connsiteX1376" fmla="*/ 1797174 w 2663946"/>
                <a:gd name="connsiteY1376" fmla="*/ 187340 h 410520"/>
                <a:gd name="connsiteX1377" fmla="*/ 1790721 w 2663946"/>
                <a:gd name="connsiteY1377" fmla="*/ 193626 h 410520"/>
                <a:gd name="connsiteX1378" fmla="*/ 1737333 w 2663946"/>
                <a:gd name="connsiteY1378" fmla="*/ 193626 h 410520"/>
                <a:gd name="connsiteX1379" fmla="*/ 1730880 w 2663946"/>
                <a:gd name="connsiteY1379" fmla="*/ 187340 h 410520"/>
                <a:gd name="connsiteX1380" fmla="*/ 1730880 w 2663946"/>
                <a:gd name="connsiteY1380" fmla="*/ 137618 h 410520"/>
                <a:gd name="connsiteX1381" fmla="*/ 1737333 w 2663946"/>
                <a:gd name="connsiteY1381" fmla="*/ 131332 h 410520"/>
                <a:gd name="connsiteX1382" fmla="*/ 1738168 w 2663946"/>
                <a:gd name="connsiteY1382" fmla="*/ 131332 h 410520"/>
                <a:gd name="connsiteX1383" fmla="*/ 1738752 w 2663946"/>
                <a:gd name="connsiteY1383" fmla="*/ 131332 h 410520"/>
                <a:gd name="connsiteX1384" fmla="*/ 1739232 w 2663946"/>
                <a:gd name="connsiteY1384" fmla="*/ 126574 h 410520"/>
                <a:gd name="connsiteX1385" fmla="*/ 1764027 w 2663946"/>
                <a:gd name="connsiteY1385" fmla="*/ 106365 h 410520"/>
                <a:gd name="connsiteX1386" fmla="*/ 1506059 w 2663946"/>
                <a:gd name="connsiteY1386" fmla="*/ 106365 h 410520"/>
                <a:gd name="connsiteX1387" fmla="*/ 1530855 w 2663946"/>
                <a:gd name="connsiteY1387" fmla="*/ 126574 h 410520"/>
                <a:gd name="connsiteX1388" fmla="*/ 1531334 w 2663946"/>
                <a:gd name="connsiteY1388" fmla="*/ 131332 h 410520"/>
                <a:gd name="connsiteX1389" fmla="*/ 1532753 w 2663946"/>
                <a:gd name="connsiteY1389" fmla="*/ 131332 h 410520"/>
                <a:gd name="connsiteX1390" fmla="*/ 1539206 w 2663946"/>
                <a:gd name="connsiteY1390" fmla="*/ 137618 h 410520"/>
                <a:gd name="connsiteX1391" fmla="*/ 1539206 w 2663946"/>
                <a:gd name="connsiteY1391" fmla="*/ 187340 h 410520"/>
                <a:gd name="connsiteX1392" fmla="*/ 1532753 w 2663946"/>
                <a:gd name="connsiteY1392" fmla="*/ 193626 h 410520"/>
                <a:gd name="connsiteX1393" fmla="*/ 1479365 w 2663946"/>
                <a:gd name="connsiteY1393" fmla="*/ 193626 h 410520"/>
                <a:gd name="connsiteX1394" fmla="*/ 1472912 w 2663946"/>
                <a:gd name="connsiteY1394" fmla="*/ 187340 h 410520"/>
                <a:gd name="connsiteX1395" fmla="*/ 1472912 w 2663946"/>
                <a:gd name="connsiteY1395" fmla="*/ 137618 h 410520"/>
                <a:gd name="connsiteX1396" fmla="*/ 1479365 w 2663946"/>
                <a:gd name="connsiteY1396" fmla="*/ 131332 h 410520"/>
                <a:gd name="connsiteX1397" fmla="*/ 1480200 w 2663946"/>
                <a:gd name="connsiteY1397" fmla="*/ 131332 h 410520"/>
                <a:gd name="connsiteX1398" fmla="*/ 1480784 w 2663946"/>
                <a:gd name="connsiteY1398" fmla="*/ 131332 h 410520"/>
                <a:gd name="connsiteX1399" fmla="*/ 1481264 w 2663946"/>
                <a:gd name="connsiteY1399" fmla="*/ 126574 h 410520"/>
                <a:gd name="connsiteX1400" fmla="*/ 1506059 w 2663946"/>
                <a:gd name="connsiteY1400" fmla="*/ 106365 h 410520"/>
                <a:gd name="connsiteX1401" fmla="*/ 1415120 w 2663946"/>
                <a:gd name="connsiteY1401" fmla="*/ 106365 h 410520"/>
                <a:gd name="connsiteX1402" fmla="*/ 1439916 w 2663946"/>
                <a:gd name="connsiteY1402" fmla="*/ 126574 h 410520"/>
                <a:gd name="connsiteX1403" fmla="*/ 1440395 w 2663946"/>
                <a:gd name="connsiteY1403" fmla="*/ 131332 h 410520"/>
                <a:gd name="connsiteX1404" fmla="*/ 1441814 w 2663946"/>
                <a:gd name="connsiteY1404" fmla="*/ 131332 h 410520"/>
                <a:gd name="connsiteX1405" fmla="*/ 1448267 w 2663946"/>
                <a:gd name="connsiteY1405" fmla="*/ 137618 h 410520"/>
                <a:gd name="connsiteX1406" fmla="*/ 1448267 w 2663946"/>
                <a:gd name="connsiteY1406" fmla="*/ 187340 h 410520"/>
                <a:gd name="connsiteX1407" fmla="*/ 1441814 w 2663946"/>
                <a:gd name="connsiteY1407" fmla="*/ 193626 h 410520"/>
                <a:gd name="connsiteX1408" fmla="*/ 1388426 w 2663946"/>
                <a:gd name="connsiteY1408" fmla="*/ 193626 h 410520"/>
                <a:gd name="connsiteX1409" fmla="*/ 1381973 w 2663946"/>
                <a:gd name="connsiteY1409" fmla="*/ 187340 h 410520"/>
                <a:gd name="connsiteX1410" fmla="*/ 1381973 w 2663946"/>
                <a:gd name="connsiteY1410" fmla="*/ 137618 h 410520"/>
                <a:gd name="connsiteX1411" fmla="*/ 1388426 w 2663946"/>
                <a:gd name="connsiteY1411" fmla="*/ 131332 h 410520"/>
                <a:gd name="connsiteX1412" fmla="*/ 1389261 w 2663946"/>
                <a:gd name="connsiteY1412" fmla="*/ 131332 h 410520"/>
                <a:gd name="connsiteX1413" fmla="*/ 1389845 w 2663946"/>
                <a:gd name="connsiteY1413" fmla="*/ 131332 h 410520"/>
                <a:gd name="connsiteX1414" fmla="*/ 1390325 w 2663946"/>
                <a:gd name="connsiteY1414" fmla="*/ 126574 h 410520"/>
                <a:gd name="connsiteX1415" fmla="*/ 1415120 w 2663946"/>
                <a:gd name="connsiteY1415" fmla="*/ 106365 h 410520"/>
                <a:gd name="connsiteX1416" fmla="*/ 1157152 w 2663946"/>
                <a:gd name="connsiteY1416" fmla="*/ 106365 h 410520"/>
                <a:gd name="connsiteX1417" fmla="*/ 1181948 w 2663946"/>
                <a:gd name="connsiteY1417" fmla="*/ 126574 h 410520"/>
                <a:gd name="connsiteX1418" fmla="*/ 1182427 w 2663946"/>
                <a:gd name="connsiteY1418" fmla="*/ 131332 h 410520"/>
                <a:gd name="connsiteX1419" fmla="*/ 1183846 w 2663946"/>
                <a:gd name="connsiteY1419" fmla="*/ 131332 h 410520"/>
                <a:gd name="connsiteX1420" fmla="*/ 1190299 w 2663946"/>
                <a:gd name="connsiteY1420" fmla="*/ 137618 h 410520"/>
                <a:gd name="connsiteX1421" fmla="*/ 1190299 w 2663946"/>
                <a:gd name="connsiteY1421" fmla="*/ 187340 h 410520"/>
                <a:gd name="connsiteX1422" fmla="*/ 1183846 w 2663946"/>
                <a:gd name="connsiteY1422" fmla="*/ 193626 h 410520"/>
                <a:gd name="connsiteX1423" fmla="*/ 1130458 w 2663946"/>
                <a:gd name="connsiteY1423" fmla="*/ 193626 h 410520"/>
                <a:gd name="connsiteX1424" fmla="*/ 1124005 w 2663946"/>
                <a:gd name="connsiteY1424" fmla="*/ 187340 h 410520"/>
                <a:gd name="connsiteX1425" fmla="*/ 1124005 w 2663946"/>
                <a:gd name="connsiteY1425" fmla="*/ 137618 h 410520"/>
                <a:gd name="connsiteX1426" fmla="*/ 1130458 w 2663946"/>
                <a:gd name="connsiteY1426" fmla="*/ 131332 h 410520"/>
                <a:gd name="connsiteX1427" fmla="*/ 1131293 w 2663946"/>
                <a:gd name="connsiteY1427" fmla="*/ 131332 h 410520"/>
                <a:gd name="connsiteX1428" fmla="*/ 1131877 w 2663946"/>
                <a:gd name="connsiteY1428" fmla="*/ 131332 h 410520"/>
                <a:gd name="connsiteX1429" fmla="*/ 1132357 w 2663946"/>
                <a:gd name="connsiteY1429" fmla="*/ 126574 h 410520"/>
                <a:gd name="connsiteX1430" fmla="*/ 1157152 w 2663946"/>
                <a:gd name="connsiteY1430" fmla="*/ 106365 h 410520"/>
                <a:gd name="connsiteX1431" fmla="*/ 732156 w 2663946"/>
                <a:gd name="connsiteY1431" fmla="*/ 106365 h 410520"/>
                <a:gd name="connsiteX1432" fmla="*/ 756951 w 2663946"/>
                <a:gd name="connsiteY1432" fmla="*/ 126574 h 410520"/>
                <a:gd name="connsiteX1433" fmla="*/ 757431 w 2663946"/>
                <a:gd name="connsiteY1433" fmla="*/ 131332 h 410520"/>
                <a:gd name="connsiteX1434" fmla="*/ 758849 w 2663946"/>
                <a:gd name="connsiteY1434" fmla="*/ 131332 h 410520"/>
                <a:gd name="connsiteX1435" fmla="*/ 765303 w 2663946"/>
                <a:gd name="connsiteY1435" fmla="*/ 137618 h 410520"/>
                <a:gd name="connsiteX1436" fmla="*/ 765303 w 2663946"/>
                <a:gd name="connsiteY1436" fmla="*/ 187340 h 410520"/>
                <a:gd name="connsiteX1437" fmla="*/ 758849 w 2663946"/>
                <a:gd name="connsiteY1437" fmla="*/ 193626 h 410520"/>
                <a:gd name="connsiteX1438" fmla="*/ 705462 w 2663946"/>
                <a:gd name="connsiteY1438" fmla="*/ 193626 h 410520"/>
                <a:gd name="connsiteX1439" fmla="*/ 699009 w 2663946"/>
                <a:gd name="connsiteY1439" fmla="*/ 187340 h 410520"/>
                <a:gd name="connsiteX1440" fmla="*/ 699009 w 2663946"/>
                <a:gd name="connsiteY1440" fmla="*/ 137618 h 410520"/>
                <a:gd name="connsiteX1441" fmla="*/ 705462 w 2663946"/>
                <a:gd name="connsiteY1441" fmla="*/ 131332 h 410520"/>
                <a:gd name="connsiteX1442" fmla="*/ 706296 w 2663946"/>
                <a:gd name="connsiteY1442" fmla="*/ 131332 h 410520"/>
                <a:gd name="connsiteX1443" fmla="*/ 706881 w 2663946"/>
                <a:gd name="connsiteY1443" fmla="*/ 131332 h 410520"/>
                <a:gd name="connsiteX1444" fmla="*/ 707360 w 2663946"/>
                <a:gd name="connsiteY1444" fmla="*/ 126574 h 410520"/>
                <a:gd name="connsiteX1445" fmla="*/ 732156 w 2663946"/>
                <a:gd name="connsiteY1445" fmla="*/ 106365 h 410520"/>
                <a:gd name="connsiteX1446" fmla="*/ 641217 w 2663946"/>
                <a:gd name="connsiteY1446" fmla="*/ 106365 h 410520"/>
                <a:gd name="connsiteX1447" fmla="*/ 666012 w 2663946"/>
                <a:gd name="connsiteY1447" fmla="*/ 126574 h 410520"/>
                <a:gd name="connsiteX1448" fmla="*/ 666492 w 2663946"/>
                <a:gd name="connsiteY1448" fmla="*/ 131332 h 410520"/>
                <a:gd name="connsiteX1449" fmla="*/ 667910 w 2663946"/>
                <a:gd name="connsiteY1449" fmla="*/ 131332 h 410520"/>
                <a:gd name="connsiteX1450" fmla="*/ 674364 w 2663946"/>
                <a:gd name="connsiteY1450" fmla="*/ 137618 h 410520"/>
                <a:gd name="connsiteX1451" fmla="*/ 674364 w 2663946"/>
                <a:gd name="connsiteY1451" fmla="*/ 187340 h 410520"/>
                <a:gd name="connsiteX1452" fmla="*/ 667910 w 2663946"/>
                <a:gd name="connsiteY1452" fmla="*/ 193626 h 410520"/>
                <a:gd name="connsiteX1453" fmla="*/ 614523 w 2663946"/>
                <a:gd name="connsiteY1453" fmla="*/ 193626 h 410520"/>
                <a:gd name="connsiteX1454" fmla="*/ 608070 w 2663946"/>
                <a:gd name="connsiteY1454" fmla="*/ 187340 h 410520"/>
                <a:gd name="connsiteX1455" fmla="*/ 608070 w 2663946"/>
                <a:gd name="connsiteY1455" fmla="*/ 137618 h 410520"/>
                <a:gd name="connsiteX1456" fmla="*/ 614523 w 2663946"/>
                <a:gd name="connsiteY1456" fmla="*/ 131332 h 410520"/>
                <a:gd name="connsiteX1457" fmla="*/ 615358 w 2663946"/>
                <a:gd name="connsiteY1457" fmla="*/ 131332 h 410520"/>
                <a:gd name="connsiteX1458" fmla="*/ 615942 w 2663946"/>
                <a:gd name="connsiteY1458" fmla="*/ 131332 h 410520"/>
                <a:gd name="connsiteX1459" fmla="*/ 616422 w 2663946"/>
                <a:gd name="connsiteY1459" fmla="*/ 126574 h 410520"/>
                <a:gd name="connsiteX1460" fmla="*/ 641217 w 2663946"/>
                <a:gd name="connsiteY1460" fmla="*/ 106365 h 410520"/>
                <a:gd name="connsiteX1461" fmla="*/ 459266 w 2663946"/>
                <a:gd name="connsiteY1461" fmla="*/ 106365 h 410520"/>
                <a:gd name="connsiteX1462" fmla="*/ 484061 w 2663946"/>
                <a:gd name="connsiteY1462" fmla="*/ 126574 h 410520"/>
                <a:gd name="connsiteX1463" fmla="*/ 484541 w 2663946"/>
                <a:gd name="connsiteY1463" fmla="*/ 131332 h 410520"/>
                <a:gd name="connsiteX1464" fmla="*/ 485959 w 2663946"/>
                <a:gd name="connsiteY1464" fmla="*/ 131332 h 410520"/>
                <a:gd name="connsiteX1465" fmla="*/ 492413 w 2663946"/>
                <a:gd name="connsiteY1465" fmla="*/ 137618 h 410520"/>
                <a:gd name="connsiteX1466" fmla="*/ 492413 w 2663946"/>
                <a:gd name="connsiteY1466" fmla="*/ 187340 h 410520"/>
                <a:gd name="connsiteX1467" fmla="*/ 485959 w 2663946"/>
                <a:gd name="connsiteY1467" fmla="*/ 193626 h 410520"/>
                <a:gd name="connsiteX1468" fmla="*/ 432572 w 2663946"/>
                <a:gd name="connsiteY1468" fmla="*/ 193626 h 410520"/>
                <a:gd name="connsiteX1469" fmla="*/ 426119 w 2663946"/>
                <a:gd name="connsiteY1469" fmla="*/ 187340 h 410520"/>
                <a:gd name="connsiteX1470" fmla="*/ 426119 w 2663946"/>
                <a:gd name="connsiteY1470" fmla="*/ 137618 h 410520"/>
                <a:gd name="connsiteX1471" fmla="*/ 432572 w 2663946"/>
                <a:gd name="connsiteY1471" fmla="*/ 131332 h 410520"/>
                <a:gd name="connsiteX1472" fmla="*/ 433406 w 2663946"/>
                <a:gd name="connsiteY1472" fmla="*/ 131332 h 410520"/>
                <a:gd name="connsiteX1473" fmla="*/ 433991 w 2663946"/>
                <a:gd name="connsiteY1473" fmla="*/ 131332 h 410520"/>
                <a:gd name="connsiteX1474" fmla="*/ 434470 w 2663946"/>
                <a:gd name="connsiteY1474" fmla="*/ 126574 h 410520"/>
                <a:gd name="connsiteX1475" fmla="*/ 459266 w 2663946"/>
                <a:gd name="connsiteY1475" fmla="*/ 106365 h 410520"/>
                <a:gd name="connsiteX1476" fmla="*/ 24128 w 2663946"/>
                <a:gd name="connsiteY1476" fmla="*/ 62188 h 410520"/>
                <a:gd name="connsiteX1477" fmla="*/ 33591 w 2663946"/>
                <a:gd name="connsiteY1477" fmla="*/ 0 h 410520"/>
                <a:gd name="connsiteX1478" fmla="*/ 38187 w 2663946"/>
                <a:gd name="connsiteY1478" fmla="*/ 2434 h 410520"/>
                <a:gd name="connsiteX1479" fmla="*/ 40350 w 2663946"/>
                <a:gd name="connsiteY1479" fmla="*/ 8652 h 410520"/>
                <a:gd name="connsiteX1480" fmla="*/ 40350 w 2663946"/>
                <a:gd name="connsiteY1480" fmla="*/ 9193 h 410520"/>
                <a:gd name="connsiteX1481" fmla="*/ 40350 w 2663946"/>
                <a:gd name="connsiteY1481" fmla="*/ 62188 h 410520"/>
                <a:gd name="connsiteX1482" fmla="*/ 40891 w 2663946"/>
                <a:gd name="connsiteY1482" fmla="*/ 62728 h 410520"/>
                <a:gd name="connsiteX1483" fmla="*/ 48191 w 2663946"/>
                <a:gd name="connsiteY1483" fmla="*/ 62728 h 410520"/>
                <a:gd name="connsiteX1484" fmla="*/ 52247 w 2663946"/>
                <a:gd name="connsiteY1484" fmla="*/ 63810 h 410520"/>
                <a:gd name="connsiteX1485" fmla="*/ 56032 w 2663946"/>
                <a:gd name="connsiteY1485" fmla="*/ 70569 h 410520"/>
                <a:gd name="connsiteX1486" fmla="*/ 53328 w 2663946"/>
                <a:gd name="connsiteY1486" fmla="*/ 76247 h 410520"/>
                <a:gd name="connsiteX1487" fmla="*/ 49273 w 2663946"/>
                <a:gd name="connsiteY1487" fmla="*/ 78140 h 410520"/>
                <a:gd name="connsiteX1488" fmla="*/ 49002 w 2663946"/>
                <a:gd name="connsiteY1488" fmla="*/ 78140 h 410520"/>
                <a:gd name="connsiteX1489" fmla="*/ 48732 w 2663946"/>
                <a:gd name="connsiteY1489" fmla="*/ 78140 h 410520"/>
                <a:gd name="connsiteX1490" fmla="*/ 48191 w 2663946"/>
                <a:gd name="connsiteY1490" fmla="*/ 78140 h 410520"/>
                <a:gd name="connsiteX1491" fmla="*/ 16016 w 2663946"/>
                <a:gd name="connsiteY1491" fmla="*/ 78140 h 410520"/>
                <a:gd name="connsiteX1492" fmla="*/ 15475 w 2663946"/>
                <a:gd name="connsiteY1492" fmla="*/ 78140 h 410520"/>
                <a:gd name="connsiteX1493" fmla="*/ 14664 w 2663946"/>
                <a:gd name="connsiteY1493" fmla="*/ 78140 h 410520"/>
                <a:gd name="connsiteX1494" fmla="*/ 13853 w 2663946"/>
                <a:gd name="connsiteY1494" fmla="*/ 77870 h 410520"/>
                <a:gd name="connsiteX1495" fmla="*/ 10338 w 2663946"/>
                <a:gd name="connsiteY1495" fmla="*/ 75977 h 410520"/>
                <a:gd name="connsiteX1496" fmla="*/ 7905 w 2663946"/>
                <a:gd name="connsiteY1496" fmla="*/ 70299 h 410520"/>
                <a:gd name="connsiteX1497" fmla="*/ 10068 w 2663946"/>
                <a:gd name="connsiteY1497" fmla="*/ 65162 h 410520"/>
                <a:gd name="connsiteX1498" fmla="*/ 15746 w 2663946"/>
                <a:gd name="connsiteY1498" fmla="*/ 62728 h 410520"/>
                <a:gd name="connsiteX1499" fmla="*/ 23587 w 2663946"/>
                <a:gd name="connsiteY1499" fmla="*/ 62728 h 410520"/>
                <a:gd name="connsiteX1500" fmla="*/ 24128 w 2663946"/>
                <a:gd name="connsiteY1500" fmla="*/ 62188 h 410520"/>
                <a:gd name="connsiteX0" fmla="*/ 2632966 w 2663946"/>
                <a:gd name="connsiteY0" fmla="*/ 349414 h 410520"/>
                <a:gd name="connsiteX1" fmla="*/ 2621414 w 2663946"/>
                <a:gd name="connsiteY1" fmla="*/ 351847 h 410520"/>
                <a:gd name="connsiteX2" fmla="*/ 2618218 w 2663946"/>
                <a:gd name="connsiteY2" fmla="*/ 355362 h 410520"/>
                <a:gd name="connsiteX3" fmla="*/ 2616006 w 2663946"/>
                <a:gd name="connsiteY3" fmla="*/ 359147 h 410520"/>
                <a:gd name="connsiteX4" fmla="*/ 2615023 w 2663946"/>
                <a:gd name="connsiteY4" fmla="*/ 361851 h 410520"/>
                <a:gd name="connsiteX5" fmla="*/ 2614039 w 2663946"/>
                <a:gd name="connsiteY5" fmla="*/ 365907 h 410520"/>
                <a:gd name="connsiteX6" fmla="*/ 2613056 w 2663946"/>
                <a:gd name="connsiteY6" fmla="*/ 372937 h 410520"/>
                <a:gd name="connsiteX7" fmla="*/ 2614039 w 2663946"/>
                <a:gd name="connsiteY7" fmla="*/ 380237 h 410520"/>
                <a:gd name="connsiteX8" fmla="*/ 2615269 w 2663946"/>
                <a:gd name="connsiteY8" fmla="*/ 384022 h 410520"/>
                <a:gd name="connsiteX9" fmla="*/ 2617481 w 2663946"/>
                <a:gd name="connsiteY9" fmla="*/ 388348 h 410520"/>
                <a:gd name="connsiteX10" fmla="*/ 2620922 w 2663946"/>
                <a:gd name="connsiteY10" fmla="*/ 392675 h 410520"/>
                <a:gd name="connsiteX11" fmla="*/ 2625346 w 2663946"/>
                <a:gd name="connsiteY11" fmla="*/ 395378 h 410520"/>
                <a:gd name="connsiteX12" fmla="*/ 2637637 w 2663946"/>
                <a:gd name="connsiteY12" fmla="*/ 392945 h 410520"/>
                <a:gd name="connsiteX13" fmla="*/ 2640832 w 2663946"/>
                <a:gd name="connsiteY13" fmla="*/ 389430 h 410520"/>
                <a:gd name="connsiteX14" fmla="*/ 2643290 w 2663946"/>
                <a:gd name="connsiteY14" fmla="*/ 385104 h 410520"/>
                <a:gd name="connsiteX15" fmla="*/ 2644273 w 2663946"/>
                <a:gd name="connsiteY15" fmla="*/ 382941 h 410520"/>
                <a:gd name="connsiteX16" fmla="*/ 2645502 w 2663946"/>
                <a:gd name="connsiteY16" fmla="*/ 378615 h 410520"/>
                <a:gd name="connsiteX17" fmla="*/ 2645011 w 2663946"/>
                <a:gd name="connsiteY17" fmla="*/ 364825 h 410520"/>
                <a:gd name="connsiteX18" fmla="*/ 2644027 w 2663946"/>
                <a:gd name="connsiteY18" fmla="*/ 361851 h 410520"/>
                <a:gd name="connsiteX19" fmla="*/ 2642799 w 2663946"/>
                <a:gd name="connsiteY19" fmla="*/ 358877 h 410520"/>
                <a:gd name="connsiteX20" fmla="*/ 2640586 w 2663946"/>
                <a:gd name="connsiteY20" fmla="*/ 355362 h 410520"/>
                <a:gd name="connsiteX21" fmla="*/ 2636899 w 2663946"/>
                <a:gd name="connsiteY21" fmla="*/ 351577 h 410520"/>
                <a:gd name="connsiteX22" fmla="*/ 2632966 w 2663946"/>
                <a:gd name="connsiteY22" fmla="*/ 349414 h 410520"/>
                <a:gd name="connsiteX23" fmla="*/ 2627559 w 2663946"/>
                <a:gd name="connsiteY23" fmla="*/ 333461 h 410520"/>
                <a:gd name="connsiteX24" fmla="*/ 2639849 w 2663946"/>
                <a:gd name="connsiteY24" fmla="*/ 335624 h 410520"/>
                <a:gd name="connsiteX25" fmla="*/ 2647223 w 2663946"/>
                <a:gd name="connsiteY25" fmla="*/ 340221 h 410520"/>
                <a:gd name="connsiteX26" fmla="*/ 2650664 w 2663946"/>
                <a:gd name="connsiteY26" fmla="*/ 343465 h 410520"/>
                <a:gd name="connsiteX27" fmla="*/ 2654106 w 2663946"/>
                <a:gd name="connsiteY27" fmla="*/ 347791 h 410520"/>
                <a:gd name="connsiteX28" fmla="*/ 2656072 w 2663946"/>
                <a:gd name="connsiteY28" fmla="*/ 351306 h 410520"/>
                <a:gd name="connsiteX29" fmla="*/ 2658284 w 2663946"/>
                <a:gd name="connsiteY29" fmla="*/ 356714 h 410520"/>
                <a:gd name="connsiteX30" fmla="*/ 2659267 w 2663946"/>
                <a:gd name="connsiteY30" fmla="*/ 360229 h 410520"/>
                <a:gd name="connsiteX31" fmla="*/ 2660251 w 2663946"/>
                <a:gd name="connsiteY31" fmla="*/ 365366 h 410520"/>
                <a:gd name="connsiteX32" fmla="*/ 2660005 w 2663946"/>
                <a:gd name="connsiteY32" fmla="*/ 379696 h 410520"/>
                <a:gd name="connsiteX33" fmla="*/ 2659022 w 2663946"/>
                <a:gd name="connsiteY33" fmla="*/ 384563 h 410520"/>
                <a:gd name="connsiteX34" fmla="*/ 2657792 w 2663946"/>
                <a:gd name="connsiteY34" fmla="*/ 388348 h 410520"/>
                <a:gd name="connsiteX35" fmla="*/ 2656809 w 2663946"/>
                <a:gd name="connsiteY35" fmla="*/ 390782 h 410520"/>
                <a:gd name="connsiteX36" fmla="*/ 2654597 w 2663946"/>
                <a:gd name="connsiteY36" fmla="*/ 395108 h 410520"/>
                <a:gd name="connsiteX37" fmla="*/ 2652385 w 2663946"/>
                <a:gd name="connsiteY37" fmla="*/ 398352 h 410520"/>
                <a:gd name="connsiteX38" fmla="*/ 2648944 w 2663946"/>
                <a:gd name="connsiteY38" fmla="*/ 402138 h 410520"/>
                <a:gd name="connsiteX39" fmla="*/ 2645748 w 2663946"/>
                <a:gd name="connsiteY39" fmla="*/ 404841 h 410520"/>
                <a:gd name="connsiteX40" fmla="*/ 2640095 w 2663946"/>
                <a:gd name="connsiteY40" fmla="*/ 408086 h 410520"/>
                <a:gd name="connsiteX41" fmla="*/ 2632229 w 2663946"/>
                <a:gd name="connsiteY41" fmla="*/ 410249 h 410520"/>
                <a:gd name="connsiteX42" fmla="*/ 2631000 w 2663946"/>
                <a:gd name="connsiteY42" fmla="*/ 410520 h 410520"/>
                <a:gd name="connsiteX43" fmla="*/ 2626821 w 2663946"/>
                <a:gd name="connsiteY43" fmla="*/ 410520 h 410520"/>
                <a:gd name="connsiteX44" fmla="*/ 2626576 w 2663946"/>
                <a:gd name="connsiteY44" fmla="*/ 410520 h 410520"/>
                <a:gd name="connsiteX45" fmla="*/ 2613548 w 2663946"/>
                <a:gd name="connsiteY45" fmla="*/ 405653 h 410520"/>
                <a:gd name="connsiteX46" fmla="*/ 2608878 w 2663946"/>
                <a:gd name="connsiteY46" fmla="*/ 401597 h 410520"/>
                <a:gd name="connsiteX47" fmla="*/ 2605682 w 2663946"/>
                <a:gd name="connsiteY47" fmla="*/ 397812 h 410520"/>
                <a:gd name="connsiteX48" fmla="*/ 2603470 w 2663946"/>
                <a:gd name="connsiteY48" fmla="*/ 394297 h 410520"/>
                <a:gd name="connsiteX49" fmla="*/ 2601258 w 2663946"/>
                <a:gd name="connsiteY49" fmla="*/ 389971 h 410520"/>
                <a:gd name="connsiteX50" fmla="*/ 2600029 w 2663946"/>
                <a:gd name="connsiteY50" fmla="*/ 386996 h 410520"/>
                <a:gd name="connsiteX51" fmla="*/ 2599046 w 2663946"/>
                <a:gd name="connsiteY51" fmla="*/ 383752 h 410520"/>
                <a:gd name="connsiteX52" fmla="*/ 2597816 w 2663946"/>
                <a:gd name="connsiteY52" fmla="*/ 378074 h 410520"/>
                <a:gd name="connsiteX53" fmla="*/ 2597571 w 2663946"/>
                <a:gd name="connsiteY53" fmla="*/ 375100 h 410520"/>
                <a:gd name="connsiteX54" fmla="*/ 2597816 w 2663946"/>
                <a:gd name="connsiteY54" fmla="*/ 375370 h 410520"/>
                <a:gd name="connsiteX55" fmla="*/ 2597816 w 2663946"/>
                <a:gd name="connsiteY55" fmla="*/ 369692 h 410520"/>
                <a:gd name="connsiteX56" fmla="*/ 2597816 w 2663946"/>
                <a:gd name="connsiteY56" fmla="*/ 369422 h 410520"/>
                <a:gd name="connsiteX57" fmla="*/ 2598308 w 2663946"/>
                <a:gd name="connsiteY57" fmla="*/ 364825 h 410520"/>
                <a:gd name="connsiteX58" fmla="*/ 2599537 w 2663946"/>
                <a:gd name="connsiteY58" fmla="*/ 359418 h 410520"/>
                <a:gd name="connsiteX59" fmla="*/ 2600520 w 2663946"/>
                <a:gd name="connsiteY59" fmla="*/ 356173 h 410520"/>
                <a:gd name="connsiteX60" fmla="*/ 2602732 w 2663946"/>
                <a:gd name="connsiteY60" fmla="*/ 351036 h 410520"/>
                <a:gd name="connsiteX61" fmla="*/ 2604945 w 2663946"/>
                <a:gd name="connsiteY61" fmla="*/ 347251 h 410520"/>
                <a:gd name="connsiteX62" fmla="*/ 2607157 w 2663946"/>
                <a:gd name="connsiteY62" fmla="*/ 344276 h 410520"/>
                <a:gd name="connsiteX63" fmla="*/ 2609369 w 2663946"/>
                <a:gd name="connsiteY63" fmla="*/ 341843 h 410520"/>
                <a:gd name="connsiteX64" fmla="*/ 2614039 w 2663946"/>
                <a:gd name="connsiteY64" fmla="*/ 338058 h 410520"/>
                <a:gd name="connsiteX65" fmla="*/ 2617972 w 2663946"/>
                <a:gd name="connsiteY65" fmla="*/ 335895 h 410520"/>
                <a:gd name="connsiteX66" fmla="*/ 2627559 w 2663946"/>
                <a:gd name="connsiteY66" fmla="*/ 333461 h 410520"/>
                <a:gd name="connsiteX67" fmla="*/ 2631061 w 2663946"/>
                <a:gd name="connsiteY67" fmla="*/ 269551 h 410520"/>
                <a:gd name="connsiteX68" fmla="*/ 2621591 w 2663946"/>
                <a:gd name="connsiteY68" fmla="*/ 278825 h 410520"/>
                <a:gd name="connsiteX69" fmla="*/ 2626545 w 2663946"/>
                <a:gd name="connsiteY69" fmla="*/ 286982 h 410520"/>
                <a:gd name="connsiteX70" fmla="*/ 2626545 w 2663946"/>
                <a:gd name="connsiteY70" fmla="*/ 295377 h 410520"/>
                <a:gd name="connsiteX71" fmla="*/ 2631061 w 2663946"/>
                <a:gd name="connsiteY71" fmla="*/ 299800 h 410520"/>
                <a:gd name="connsiteX72" fmla="*/ 2635578 w 2663946"/>
                <a:gd name="connsiteY72" fmla="*/ 295377 h 410520"/>
                <a:gd name="connsiteX73" fmla="*/ 2635578 w 2663946"/>
                <a:gd name="connsiteY73" fmla="*/ 286982 h 410520"/>
                <a:gd name="connsiteX74" fmla="*/ 2640532 w 2663946"/>
                <a:gd name="connsiteY74" fmla="*/ 278825 h 410520"/>
                <a:gd name="connsiteX75" fmla="*/ 2631061 w 2663946"/>
                <a:gd name="connsiteY75" fmla="*/ 269551 h 410520"/>
                <a:gd name="connsiteX76" fmla="*/ 2630799 w 2663946"/>
                <a:gd name="connsiteY76" fmla="*/ 230834 h 410520"/>
                <a:gd name="connsiteX77" fmla="*/ 2619139 w 2663946"/>
                <a:gd name="connsiteY77" fmla="*/ 238563 h 410520"/>
                <a:gd name="connsiteX78" fmla="*/ 2618214 w 2663946"/>
                <a:gd name="connsiteY78" fmla="*/ 243146 h 410520"/>
                <a:gd name="connsiteX79" fmla="*/ 2621454 w 2663946"/>
                <a:gd name="connsiteY79" fmla="*/ 243146 h 410520"/>
                <a:gd name="connsiteX80" fmla="*/ 2639871 w 2663946"/>
                <a:gd name="connsiteY80" fmla="*/ 243146 h 410520"/>
                <a:gd name="connsiteX81" fmla="*/ 2643385 w 2663946"/>
                <a:gd name="connsiteY81" fmla="*/ 243146 h 410520"/>
                <a:gd name="connsiteX82" fmla="*/ 2642460 w 2663946"/>
                <a:gd name="connsiteY82" fmla="*/ 238563 h 410520"/>
                <a:gd name="connsiteX83" fmla="*/ 2630799 w 2663946"/>
                <a:gd name="connsiteY83" fmla="*/ 230834 h 410520"/>
                <a:gd name="connsiteX84" fmla="*/ 2630799 w 2663946"/>
                <a:gd name="connsiteY84" fmla="*/ 218179 h 410520"/>
                <a:gd name="connsiteX85" fmla="*/ 2655595 w 2663946"/>
                <a:gd name="connsiteY85" fmla="*/ 238388 h 410520"/>
                <a:gd name="connsiteX86" fmla="*/ 2656074 w 2663946"/>
                <a:gd name="connsiteY86" fmla="*/ 243146 h 410520"/>
                <a:gd name="connsiteX87" fmla="*/ 2657493 w 2663946"/>
                <a:gd name="connsiteY87" fmla="*/ 243146 h 410520"/>
                <a:gd name="connsiteX88" fmla="*/ 2663946 w 2663946"/>
                <a:gd name="connsiteY88" fmla="*/ 249432 h 410520"/>
                <a:gd name="connsiteX89" fmla="*/ 2663946 w 2663946"/>
                <a:gd name="connsiteY89" fmla="*/ 299154 h 410520"/>
                <a:gd name="connsiteX90" fmla="*/ 2657493 w 2663946"/>
                <a:gd name="connsiteY90" fmla="*/ 305440 h 410520"/>
                <a:gd name="connsiteX91" fmla="*/ 2604106 w 2663946"/>
                <a:gd name="connsiteY91" fmla="*/ 305440 h 410520"/>
                <a:gd name="connsiteX92" fmla="*/ 2597652 w 2663946"/>
                <a:gd name="connsiteY92" fmla="*/ 299154 h 410520"/>
                <a:gd name="connsiteX93" fmla="*/ 2597652 w 2663946"/>
                <a:gd name="connsiteY93" fmla="*/ 249432 h 410520"/>
                <a:gd name="connsiteX94" fmla="*/ 2604106 w 2663946"/>
                <a:gd name="connsiteY94" fmla="*/ 243146 h 410520"/>
                <a:gd name="connsiteX95" fmla="*/ 2604940 w 2663946"/>
                <a:gd name="connsiteY95" fmla="*/ 243146 h 410520"/>
                <a:gd name="connsiteX96" fmla="*/ 2605524 w 2663946"/>
                <a:gd name="connsiteY96" fmla="*/ 243146 h 410520"/>
                <a:gd name="connsiteX97" fmla="*/ 2606004 w 2663946"/>
                <a:gd name="connsiteY97" fmla="*/ 238388 h 410520"/>
                <a:gd name="connsiteX98" fmla="*/ 2630799 w 2663946"/>
                <a:gd name="connsiteY98" fmla="*/ 218179 h 410520"/>
                <a:gd name="connsiteX99" fmla="*/ 33409 w 2663946"/>
                <a:gd name="connsiteY99" fmla="*/ 165325 h 410520"/>
                <a:gd name="connsiteX100" fmla="*/ 23938 w 2663946"/>
                <a:gd name="connsiteY100" fmla="*/ 174599 h 410520"/>
                <a:gd name="connsiteX101" fmla="*/ 28892 w 2663946"/>
                <a:gd name="connsiteY101" fmla="*/ 182756 h 410520"/>
                <a:gd name="connsiteX102" fmla="*/ 28892 w 2663946"/>
                <a:gd name="connsiteY102" fmla="*/ 191151 h 410520"/>
                <a:gd name="connsiteX103" fmla="*/ 33409 w 2663946"/>
                <a:gd name="connsiteY103" fmla="*/ 195574 h 410520"/>
                <a:gd name="connsiteX104" fmla="*/ 37926 w 2663946"/>
                <a:gd name="connsiteY104" fmla="*/ 191151 h 410520"/>
                <a:gd name="connsiteX105" fmla="*/ 37926 w 2663946"/>
                <a:gd name="connsiteY105" fmla="*/ 182756 h 410520"/>
                <a:gd name="connsiteX106" fmla="*/ 42880 w 2663946"/>
                <a:gd name="connsiteY106" fmla="*/ 174599 h 410520"/>
                <a:gd name="connsiteX107" fmla="*/ 33409 w 2663946"/>
                <a:gd name="connsiteY107" fmla="*/ 165325 h 410520"/>
                <a:gd name="connsiteX108" fmla="*/ 2538193 w 2663946"/>
                <a:gd name="connsiteY108" fmla="*/ 157737 h 410520"/>
                <a:gd name="connsiteX109" fmla="*/ 2528723 w 2663946"/>
                <a:gd name="connsiteY109" fmla="*/ 167011 h 410520"/>
                <a:gd name="connsiteX110" fmla="*/ 2533677 w 2663946"/>
                <a:gd name="connsiteY110" fmla="*/ 175168 h 410520"/>
                <a:gd name="connsiteX111" fmla="*/ 2533677 w 2663946"/>
                <a:gd name="connsiteY111" fmla="*/ 183563 h 410520"/>
                <a:gd name="connsiteX112" fmla="*/ 2538193 w 2663946"/>
                <a:gd name="connsiteY112" fmla="*/ 187986 h 410520"/>
                <a:gd name="connsiteX113" fmla="*/ 2542710 w 2663946"/>
                <a:gd name="connsiteY113" fmla="*/ 183563 h 410520"/>
                <a:gd name="connsiteX114" fmla="*/ 2542710 w 2663946"/>
                <a:gd name="connsiteY114" fmla="*/ 175168 h 410520"/>
                <a:gd name="connsiteX115" fmla="*/ 2547664 w 2663946"/>
                <a:gd name="connsiteY115" fmla="*/ 167011 h 410520"/>
                <a:gd name="connsiteX116" fmla="*/ 2538193 w 2663946"/>
                <a:gd name="connsiteY116" fmla="*/ 157737 h 410520"/>
                <a:gd name="connsiteX117" fmla="*/ 2113196 w 2663946"/>
                <a:gd name="connsiteY117" fmla="*/ 157737 h 410520"/>
                <a:gd name="connsiteX118" fmla="*/ 2103726 w 2663946"/>
                <a:gd name="connsiteY118" fmla="*/ 167011 h 410520"/>
                <a:gd name="connsiteX119" fmla="*/ 2108680 w 2663946"/>
                <a:gd name="connsiteY119" fmla="*/ 175168 h 410520"/>
                <a:gd name="connsiteX120" fmla="*/ 2108680 w 2663946"/>
                <a:gd name="connsiteY120" fmla="*/ 183563 h 410520"/>
                <a:gd name="connsiteX121" fmla="*/ 2113196 w 2663946"/>
                <a:gd name="connsiteY121" fmla="*/ 187986 h 410520"/>
                <a:gd name="connsiteX122" fmla="*/ 2117713 w 2663946"/>
                <a:gd name="connsiteY122" fmla="*/ 183563 h 410520"/>
                <a:gd name="connsiteX123" fmla="*/ 2117713 w 2663946"/>
                <a:gd name="connsiteY123" fmla="*/ 175168 h 410520"/>
                <a:gd name="connsiteX124" fmla="*/ 2122667 w 2663946"/>
                <a:gd name="connsiteY124" fmla="*/ 167011 h 410520"/>
                <a:gd name="connsiteX125" fmla="*/ 2113196 w 2663946"/>
                <a:gd name="connsiteY125" fmla="*/ 157737 h 410520"/>
                <a:gd name="connsiteX126" fmla="*/ 1855228 w 2663946"/>
                <a:gd name="connsiteY126" fmla="*/ 157737 h 410520"/>
                <a:gd name="connsiteX127" fmla="*/ 1845758 w 2663946"/>
                <a:gd name="connsiteY127" fmla="*/ 167011 h 410520"/>
                <a:gd name="connsiteX128" fmla="*/ 1850712 w 2663946"/>
                <a:gd name="connsiteY128" fmla="*/ 175168 h 410520"/>
                <a:gd name="connsiteX129" fmla="*/ 1850712 w 2663946"/>
                <a:gd name="connsiteY129" fmla="*/ 183563 h 410520"/>
                <a:gd name="connsiteX130" fmla="*/ 1855228 w 2663946"/>
                <a:gd name="connsiteY130" fmla="*/ 187986 h 410520"/>
                <a:gd name="connsiteX131" fmla="*/ 1859745 w 2663946"/>
                <a:gd name="connsiteY131" fmla="*/ 183563 h 410520"/>
                <a:gd name="connsiteX132" fmla="*/ 1859745 w 2663946"/>
                <a:gd name="connsiteY132" fmla="*/ 175168 h 410520"/>
                <a:gd name="connsiteX133" fmla="*/ 1864699 w 2663946"/>
                <a:gd name="connsiteY133" fmla="*/ 167011 h 410520"/>
                <a:gd name="connsiteX134" fmla="*/ 1855228 w 2663946"/>
                <a:gd name="connsiteY134" fmla="*/ 157737 h 410520"/>
                <a:gd name="connsiteX135" fmla="*/ 1764289 w 2663946"/>
                <a:gd name="connsiteY135" fmla="*/ 157737 h 410520"/>
                <a:gd name="connsiteX136" fmla="*/ 1754819 w 2663946"/>
                <a:gd name="connsiteY136" fmla="*/ 167011 h 410520"/>
                <a:gd name="connsiteX137" fmla="*/ 1759773 w 2663946"/>
                <a:gd name="connsiteY137" fmla="*/ 175168 h 410520"/>
                <a:gd name="connsiteX138" fmla="*/ 1759773 w 2663946"/>
                <a:gd name="connsiteY138" fmla="*/ 183563 h 410520"/>
                <a:gd name="connsiteX139" fmla="*/ 1764289 w 2663946"/>
                <a:gd name="connsiteY139" fmla="*/ 187986 h 410520"/>
                <a:gd name="connsiteX140" fmla="*/ 1768806 w 2663946"/>
                <a:gd name="connsiteY140" fmla="*/ 183563 h 410520"/>
                <a:gd name="connsiteX141" fmla="*/ 1768806 w 2663946"/>
                <a:gd name="connsiteY141" fmla="*/ 175168 h 410520"/>
                <a:gd name="connsiteX142" fmla="*/ 1773760 w 2663946"/>
                <a:gd name="connsiteY142" fmla="*/ 167011 h 410520"/>
                <a:gd name="connsiteX143" fmla="*/ 1764289 w 2663946"/>
                <a:gd name="connsiteY143" fmla="*/ 157737 h 410520"/>
                <a:gd name="connsiteX144" fmla="*/ 1506321 w 2663946"/>
                <a:gd name="connsiteY144" fmla="*/ 157737 h 410520"/>
                <a:gd name="connsiteX145" fmla="*/ 1496851 w 2663946"/>
                <a:gd name="connsiteY145" fmla="*/ 167011 h 410520"/>
                <a:gd name="connsiteX146" fmla="*/ 1501805 w 2663946"/>
                <a:gd name="connsiteY146" fmla="*/ 175168 h 410520"/>
                <a:gd name="connsiteX147" fmla="*/ 1501805 w 2663946"/>
                <a:gd name="connsiteY147" fmla="*/ 183563 h 410520"/>
                <a:gd name="connsiteX148" fmla="*/ 1506321 w 2663946"/>
                <a:gd name="connsiteY148" fmla="*/ 187986 h 410520"/>
                <a:gd name="connsiteX149" fmla="*/ 1510838 w 2663946"/>
                <a:gd name="connsiteY149" fmla="*/ 183563 h 410520"/>
                <a:gd name="connsiteX150" fmla="*/ 1510838 w 2663946"/>
                <a:gd name="connsiteY150" fmla="*/ 175168 h 410520"/>
                <a:gd name="connsiteX151" fmla="*/ 1515792 w 2663946"/>
                <a:gd name="connsiteY151" fmla="*/ 167011 h 410520"/>
                <a:gd name="connsiteX152" fmla="*/ 1506321 w 2663946"/>
                <a:gd name="connsiteY152" fmla="*/ 157737 h 410520"/>
                <a:gd name="connsiteX153" fmla="*/ 1415382 w 2663946"/>
                <a:gd name="connsiteY153" fmla="*/ 157737 h 410520"/>
                <a:gd name="connsiteX154" fmla="*/ 1405912 w 2663946"/>
                <a:gd name="connsiteY154" fmla="*/ 167011 h 410520"/>
                <a:gd name="connsiteX155" fmla="*/ 1410866 w 2663946"/>
                <a:gd name="connsiteY155" fmla="*/ 175168 h 410520"/>
                <a:gd name="connsiteX156" fmla="*/ 1410866 w 2663946"/>
                <a:gd name="connsiteY156" fmla="*/ 183563 h 410520"/>
                <a:gd name="connsiteX157" fmla="*/ 1415382 w 2663946"/>
                <a:gd name="connsiteY157" fmla="*/ 187986 h 410520"/>
                <a:gd name="connsiteX158" fmla="*/ 1419899 w 2663946"/>
                <a:gd name="connsiteY158" fmla="*/ 183563 h 410520"/>
                <a:gd name="connsiteX159" fmla="*/ 1419899 w 2663946"/>
                <a:gd name="connsiteY159" fmla="*/ 175168 h 410520"/>
                <a:gd name="connsiteX160" fmla="*/ 1424853 w 2663946"/>
                <a:gd name="connsiteY160" fmla="*/ 167011 h 410520"/>
                <a:gd name="connsiteX161" fmla="*/ 1415382 w 2663946"/>
                <a:gd name="connsiteY161" fmla="*/ 157737 h 410520"/>
                <a:gd name="connsiteX162" fmla="*/ 1157414 w 2663946"/>
                <a:gd name="connsiteY162" fmla="*/ 157737 h 410520"/>
                <a:gd name="connsiteX163" fmla="*/ 1147944 w 2663946"/>
                <a:gd name="connsiteY163" fmla="*/ 167011 h 410520"/>
                <a:gd name="connsiteX164" fmla="*/ 1152898 w 2663946"/>
                <a:gd name="connsiteY164" fmla="*/ 175168 h 410520"/>
                <a:gd name="connsiteX165" fmla="*/ 1152898 w 2663946"/>
                <a:gd name="connsiteY165" fmla="*/ 183563 h 410520"/>
                <a:gd name="connsiteX166" fmla="*/ 1157414 w 2663946"/>
                <a:gd name="connsiteY166" fmla="*/ 187986 h 410520"/>
                <a:gd name="connsiteX167" fmla="*/ 1161931 w 2663946"/>
                <a:gd name="connsiteY167" fmla="*/ 183563 h 410520"/>
                <a:gd name="connsiteX168" fmla="*/ 1161931 w 2663946"/>
                <a:gd name="connsiteY168" fmla="*/ 175168 h 410520"/>
                <a:gd name="connsiteX169" fmla="*/ 1166885 w 2663946"/>
                <a:gd name="connsiteY169" fmla="*/ 167011 h 410520"/>
                <a:gd name="connsiteX170" fmla="*/ 1157414 w 2663946"/>
                <a:gd name="connsiteY170" fmla="*/ 157737 h 410520"/>
                <a:gd name="connsiteX171" fmla="*/ 732418 w 2663946"/>
                <a:gd name="connsiteY171" fmla="*/ 157737 h 410520"/>
                <a:gd name="connsiteX172" fmla="*/ 722947 w 2663946"/>
                <a:gd name="connsiteY172" fmla="*/ 167011 h 410520"/>
                <a:gd name="connsiteX173" fmla="*/ 727901 w 2663946"/>
                <a:gd name="connsiteY173" fmla="*/ 175168 h 410520"/>
                <a:gd name="connsiteX174" fmla="*/ 727901 w 2663946"/>
                <a:gd name="connsiteY174" fmla="*/ 183563 h 410520"/>
                <a:gd name="connsiteX175" fmla="*/ 732418 w 2663946"/>
                <a:gd name="connsiteY175" fmla="*/ 187986 h 410520"/>
                <a:gd name="connsiteX176" fmla="*/ 736935 w 2663946"/>
                <a:gd name="connsiteY176" fmla="*/ 183563 h 410520"/>
                <a:gd name="connsiteX177" fmla="*/ 736935 w 2663946"/>
                <a:gd name="connsiteY177" fmla="*/ 175168 h 410520"/>
                <a:gd name="connsiteX178" fmla="*/ 741889 w 2663946"/>
                <a:gd name="connsiteY178" fmla="*/ 167011 h 410520"/>
                <a:gd name="connsiteX179" fmla="*/ 732418 w 2663946"/>
                <a:gd name="connsiteY179" fmla="*/ 157737 h 410520"/>
                <a:gd name="connsiteX180" fmla="*/ 641479 w 2663946"/>
                <a:gd name="connsiteY180" fmla="*/ 157737 h 410520"/>
                <a:gd name="connsiteX181" fmla="*/ 632008 w 2663946"/>
                <a:gd name="connsiteY181" fmla="*/ 167011 h 410520"/>
                <a:gd name="connsiteX182" fmla="*/ 636962 w 2663946"/>
                <a:gd name="connsiteY182" fmla="*/ 175168 h 410520"/>
                <a:gd name="connsiteX183" fmla="*/ 636962 w 2663946"/>
                <a:gd name="connsiteY183" fmla="*/ 183563 h 410520"/>
                <a:gd name="connsiteX184" fmla="*/ 641479 w 2663946"/>
                <a:gd name="connsiteY184" fmla="*/ 187986 h 410520"/>
                <a:gd name="connsiteX185" fmla="*/ 645996 w 2663946"/>
                <a:gd name="connsiteY185" fmla="*/ 183563 h 410520"/>
                <a:gd name="connsiteX186" fmla="*/ 645996 w 2663946"/>
                <a:gd name="connsiteY186" fmla="*/ 175168 h 410520"/>
                <a:gd name="connsiteX187" fmla="*/ 650950 w 2663946"/>
                <a:gd name="connsiteY187" fmla="*/ 167011 h 410520"/>
                <a:gd name="connsiteX188" fmla="*/ 641479 w 2663946"/>
                <a:gd name="connsiteY188" fmla="*/ 157737 h 410520"/>
                <a:gd name="connsiteX189" fmla="*/ 459528 w 2663946"/>
                <a:gd name="connsiteY189" fmla="*/ 157737 h 410520"/>
                <a:gd name="connsiteX190" fmla="*/ 450057 w 2663946"/>
                <a:gd name="connsiteY190" fmla="*/ 167011 h 410520"/>
                <a:gd name="connsiteX191" fmla="*/ 455011 w 2663946"/>
                <a:gd name="connsiteY191" fmla="*/ 175168 h 410520"/>
                <a:gd name="connsiteX192" fmla="*/ 455011 w 2663946"/>
                <a:gd name="connsiteY192" fmla="*/ 183563 h 410520"/>
                <a:gd name="connsiteX193" fmla="*/ 459528 w 2663946"/>
                <a:gd name="connsiteY193" fmla="*/ 187986 h 410520"/>
                <a:gd name="connsiteX194" fmla="*/ 464045 w 2663946"/>
                <a:gd name="connsiteY194" fmla="*/ 183563 h 410520"/>
                <a:gd name="connsiteX195" fmla="*/ 464045 w 2663946"/>
                <a:gd name="connsiteY195" fmla="*/ 175168 h 410520"/>
                <a:gd name="connsiteX196" fmla="*/ 468999 w 2663946"/>
                <a:gd name="connsiteY196" fmla="*/ 167011 h 410520"/>
                <a:gd name="connsiteX197" fmla="*/ 459528 w 2663946"/>
                <a:gd name="connsiteY197" fmla="*/ 157737 h 410520"/>
                <a:gd name="connsiteX198" fmla="*/ 2632966 w 2663946"/>
                <a:gd name="connsiteY198" fmla="*/ 130544 h 410520"/>
                <a:gd name="connsiteX199" fmla="*/ 2621414 w 2663946"/>
                <a:gd name="connsiteY199" fmla="*/ 132977 h 410520"/>
                <a:gd name="connsiteX200" fmla="*/ 2618218 w 2663946"/>
                <a:gd name="connsiteY200" fmla="*/ 136492 h 410520"/>
                <a:gd name="connsiteX201" fmla="*/ 2616006 w 2663946"/>
                <a:gd name="connsiteY201" fmla="*/ 140277 h 410520"/>
                <a:gd name="connsiteX202" fmla="*/ 2615023 w 2663946"/>
                <a:gd name="connsiteY202" fmla="*/ 142981 h 410520"/>
                <a:gd name="connsiteX203" fmla="*/ 2614039 w 2663946"/>
                <a:gd name="connsiteY203" fmla="*/ 147037 h 410520"/>
                <a:gd name="connsiteX204" fmla="*/ 2613056 w 2663946"/>
                <a:gd name="connsiteY204" fmla="*/ 154067 h 410520"/>
                <a:gd name="connsiteX205" fmla="*/ 2614039 w 2663946"/>
                <a:gd name="connsiteY205" fmla="*/ 161367 h 410520"/>
                <a:gd name="connsiteX206" fmla="*/ 2615269 w 2663946"/>
                <a:gd name="connsiteY206" fmla="*/ 165152 h 410520"/>
                <a:gd name="connsiteX207" fmla="*/ 2617481 w 2663946"/>
                <a:gd name="connsiteY207" fmla="*/ 169478 h 410520"/>
                <a:gd name="connsiteX208" fmla="*/ 2620922 w 2663946"/>
                <a:gd name="connsiteY208" fmla="*/ 173805 h 410520"/>
                <a:gd name="connsiteX209" fmla="*/ 2625346 w 2663946"/>
                <a:gd name="connsiteY209" fmla="*/ 176508 h 410520"/>
                <a:gd name="connsiteX210" fmla="*/ 2637637 w 2663946"/>
                <a:gd name="connsiteY210" fmla="*/ 174075 h 410520"/>
                <a:gd name="connsiteX211" fmla="*/ 2640832 w 2663946"/>
                <a:gd name="connsiteY211" fmla="*/ 170560 h 410520"/>
                <a:gd name="connsiteX212" fmla="*/ 2643290 w 2663946"/>
                <a:gd name="connsiteY212" fmla="*/ 166234 h 410520"/>
                <a:gd name="connsiteX213" fmla="*/ 2644273 w 2663946"/>
                <a:gd name="connsiteY213" fmla="*/ 164071 h 410520"/>
                <a:gd name="connsiteX214" fmla="*/ 2645502 w 2663946"/>
                <a:gd name="connsiteY214" fmla="*/ 159745 h 410520"/>
                <a:gd name="connsiteX215" fmla="*/ 2645011 w 2663946"/>
                <a:gd name="connsiteY215" fmla="*/ 145955 h 410520"/>
                <a:gd name="connsiteX216" fmla="*/ 2644027 w 2663946"/>
                <a:gd name="connsiteY216" fmla="*/ 142981 h 410520"/>
                <a:gd name="connsiteX217" fmla="*/ 2642799 w 2663946"/>
                <a:gd name="connsiteY217" fmla="*/ 140007 h 410520"/>
                <a:gd name="connsiteX218" fmla="*/ 2640586 w 2663946"/>
                <a:gd name="connsiteY218" fmla="*/ 136492 h 410520"/>
                <a:gd name="connsiteX219" fmla="*/ 2636899 w 2663946"/>
                <a:gd name="connsiteY219" fmla="*/ 132707 h 410520"/>
                <a:gd name="connsiteX220" fmla="*/ 2632966 w 2663946"/>
                <a:gd name="connsiteY220" fmla="*/ 130544 h 410520"/>
                <a:gd name="connsiteX221" fmla="*/ 2451011 w 2663946"/>
                <a:gd name="connsiteY221" fmla="*/ 130544 h 410520"/>
                <a:gd name="connsiteX222" fmla="*/ 2439459 w 2663946"/>
                <a:gd name="connsiteY222" fmla="*/ 132977 h 410520"/>
                <a:gd name="connsiteX223" fmla="*/ 2436263 w 2663946"/>
                <a:gd name="connsiteY223" fmla="*/ 136492 h 410520"/>
                <a:gd name="connsiteX224" fmla="*/ 2434051 w 2663946"/>
                <a:gd name="connsiteY224" fmla="*/ 140277 h 410520"/>
                <a:gd name="connsiteX225" fmla="*/ 2433068 w 2663946"/>
                <a:gd name="connsiteY225" fmla="*/ 142981 h 410520"/>
                <a:gd name="connsiteX226" fmla="*/ 2432084 w 2663946"/>
                <a:gd name="connsiteY226" fmla="*/ 147037 h 410520"/>
                <a:gd name="connsiteX227" fmla="*/ 2431101 w 2663946"/>
                <a:gd name="connsiteY227" fmla="*/ 154067 h 410520"/>
                <a:gd name="connsiteX228" fmla="*/ 2432084 w 2663946"/>
                <a:gd name="connsiteY228" fmla="*/ 161367 h 410520"/>
                <a:gd name="connsiteX229" fmla="*/ 2433314 w 2663946"/>
                <a:gd name="connsiteY229" fmla="*/ 165152 h 410520"/>
                <a:gd name="connsiteX230" fmla="*/ 2435526 w 2663946"/>
                <a:gd name="connsiteY230" fmla="*/ 169478 h 410520"/>
                <a:gd name="connsiteX231" fmla="*/ 2438967 w 2663946"/>
                <a:gd name="connsiteY231" fmla="*/ 173805 h 410520"/>
                <a:gd name="connsiteX232" fmla="*/ 2443391 w 2663946"/>
                <a:gd name="connsiteY232" fmla="*/ 176508 h 410520"/>
                <a:gd name="connsiteX233" fmla="*/ 2455682 w 2663946"/>
                <a:gd name="connsiteY233" fmla="*/ 174075 h 410520"/>
                <a:gd name="connsiteX234" fmla="*/ 2458877 w 2663946"/>
                <a:gd name="connsiteY234" fmla="*/ 170560 h 410520"/>
                <a:gd name="connsiteX235" fmla="*/ 2461335 w 2663946"/>
                <a:gd name="connsiteY235" fmla="*/ 166234 h 410520"/>
                <a:gd name="connsiteX236" fmla="*/ 2462318 w 2663946"/>
                <a:gd name="connsiteY236" fmla="*/ 164071 h 410520"/>
                <a:gd name="connsiteX237" fmla="*/ 2463547 w 2663946"/>
                <a:gd name="connsiteY237" fmla="*/ 159745 h 410520"/>
                <a:gd name="connsiteX238" fmla="*/ 2463056 w 2663946"/>
                <a:gd name="connsiteY238" fmla="*/ 145955 h 410520"/>
                <a:gd name="connsiteX239" fmla="*/ 2462072 w 2663946"/>
                <a:gd name="connsiteY239" fmla="*/ 142981 h 410520"/>
                <a:gd name="connsiteX240" fmla="*/ 2460844 w 2663946"/>
                <a:gd name="connsiteY240" fmla="*/ 140007 h 410520"/>
                <a:gd name="connsiteX241" fmla="*/ 2458631 w 2663946"/>
                <a:gd name="connsiteY241" fmla="*/ 136492 h 410520"/>
                <a:gd name="connsiteX242" fmla="*/ 2454944 w 2663946"/>
                <a:gd name="connsiteY242" fmla="*/ 132707 h 410520"/>
                <a:gd name="connsiteX243" fmla="*/ 2451011 w 2663946"/>
                <a:gd name="connsiteY243" fmla="*/ 130544 h 410520"/>
                <a:gd name="connsiteX244" fmla="*/ 2207965 w 2663946"/>
                <a:gd name="connsiteY244" fmla="*/ 130544 h 410520"/>
                <a:gd name="connsiteX245" fmla="*/ 2196413 w 2663946"/>
                <a:gd name="connsiteY245" fmla="*/ 132977 h 410520"/>
                <a:gd name="connsiteX246" fmla="*/ 2193217 w 2663946"/>
                <a:gd name="connsiteY246" fmla="*/ 136492 h 410520"/>
                <a:gd name="connsiteX247" fmla="*/ 2191005 w 2663946"/>
                <a:gd name="connsiteY247" fmla="*/ 140277 h 410520"/>
                <a:gd name="connsiteX248" fmla="*/ 2190022 w 2663946"/>
                <a:gd name="connsiteY248" fmla="*/ 142981 h 410520"/>
                <a:gd name="connsiteX249" fmla="*/ 2189038 w 2663946"/>
                <a:gd name="connsiteY249" fmla="*/ 147037 h 410520"/>
                <a:gd name="connsiteX250" fmla="*/ 2188055 w 2663946"/>
                <a:gd name="connsiteY250" fmla="*/ 154067 h 410520"/>
                <a:gd name="connsiteX251" fmla="*/ 2189038 w 2663946"/>
                <a:gd name="connsiteY251" fmla="*/ 161367 h 410520"/>
                <a:gd name="connsiteX252" fmla="*/ 2190268 w 2663946"/>
                <a:gd name="connsiteY252" fmla="*/ 165152 h 410520"/>
                <a:gd name="connsiteX253" fmla="*/ 2192480 w 2663946"/>
                <a:gd name="connsiteY253" fmla="*/ 169478 h 410520"/>
                <a:gd name="connsiteX254" fmla="*/ 2195921 w 2663946"/>
                <a:gd name="connsiteY254" fmla="*/ 173805 h 410520"/>
                <a:gd name="connsiteX255" fmla="*/ 2200345 w 2663946"/>
                <a:gd name="connsiteY255" fmla="*/ 176508 h 410520"/>
                <a:gd name="connsiteX256" fmla="*/ 2212636 w 2663946"/>
                <a:gd name="connsiteY256" fmla="*/ 174075 h 410520"/>
                <a:gd name="connsiteX257" fmla="*/ 2215831 w 2663946"/>
                <a:gd name="connsiteY257" fmla="*/ 170560 h 410520"/>
                <a:gd name="connsiteX258" fmla="*/ 2218289 w 2663946"/>
                <a:gd name="connsiteY258" fmla="*/ 166234 h 410520"/>
                <a:gd name="connsiteX259" fmla="*/ 2219272 w 2663946"/>
                <a:gd name="connsiteY259" fmla="*/ 164071 h 410520"/>
                <a:gd name="connsiteX260" fmla="*/ 2220501 w 2663946"/>
                <a:gd name="connsiteY260" fmla="*/ 159745 h 410520"/>
                <a:gd name="connsiteX261" fmla="*/ 2220010 w 2663946"/>
                <a:gd name="connsiteY261" fmla="*/ 145955 h 410520"/>
                <a:gd name="connsiteX262" fmla="*/ 2219026 w 2663946"/>
                <a:gd name="connsiteY262" fmla="*/ 142981 h 410520"/>
                <a:gd name="connsiteX263" fmla="*/ 2217798 w 2663946"/>
                <a:gd name="connsiteY263" fmla="*/ 140007 h 410520"/>
                <a:gd name="connsiteX264" fmla="*/ 2215585 w 2663946"/>
                <a:gd name="connsiteY264" fmla="*/ 136492 h 410520"/>
                <a:gd name="connsiteX265" fmla="*/ 2211898 w 2663946"/>
                <a:gd name="connsiteY265" fmla="*/ 132707 h 410520"/>
                <a:gd name="connsiteX266" fmla="*/ 2207965 w 2663946"/>
                <a:gd name="connsiteY266" fmla="*/ 130544 h 410520"/>
                <a:gd name="connsiteX267" fmla="*/ 2026014 w 2663946"/>
                <a:gd name="connsiteY267" fmla="*/ 130544 h 410520"/>
                <a:gd name="connsiteX268" fmla="*/ 2014462 w 2663946"/>
                <a:gd name="connsiteY268" fmla="*/ 132977 h 410520"/>
                <a:gd name="connsiteX269" fmla="*/ 2011266 w 2663946"/>
                <a:gd name="connsiteY269" fmla="*/ 136492 h 410520"/>
                <a:gd name="connsiteX270" fmla="*/ 2009054 w 2663946"/>
                <a:gd name="connsiteY270" fmla="*/ 140277 h 410520"/>
                <a:gd name="connsiteX271" fmla="*/ 2008071 w 2663946"/>
                <a:gd name="connsiteY271" fmla="*/ 142981 h 410520"/>
                <a:gd name="connsiteX272" fmla="*/ 2007087 w 2663946"/>
                <a:gd name="connsiteY272" fmla="*/ 147037 h 410520"/>
                <a:gd name="connsiteX273" fmla="*/ 2006104 w 2663946"/>
                <a:gd name="connsiteY273" fmla="*/ 154067 h 410520"/>
                <a:gd name="connsiteX274" fmla="*/ 2007087 w 2663946"/>
                <a:gd name="connsiteY274" fmla="*/ 161367 h 410520"/>
                <a:gd name="connsiteX275" fmla="*/ 2008317 w 2663946"/>
                <a:gd name="connsiteY275" fmla="*/ 165152 h 410520"/>
                <a:gd name="connsiteX276" fmla="*/ 2010529 w 2663946"/>
                <a:gd name="connsiteY276" fmla="*/ 169478 h 410520"/>
                <a:gd name="connsiteX277" fmla="*/ 2013970 w 2663946"/>
                <a:gd name="connsiteY277" fmla="*/ 173805 h 410520"/>
                <a:gd name="connsiteX278" fmla="*/ 2018394 w 2663946"/>
                <a:gd name="connsiteY278" fmla="*/ 176508 h 410520"/>
                <a:gd name="connsiteX279" fmla="*/ 2030685 w 2663946"/>
                <a:gd name="connsiteY279" fmla="*/ 174075 h 410520"/>
                <a:gd name="connsiteX280" fmla="*/ 2033880 w 2663946"/>
                <a:gd name="connsiteY280" fmla="*/ 170560 h 410520"/>
                <a:gd name="connsiteX281" fmla="*/ 2036338 w 2663946"/>
                <a:gd name="connsiteY281" fmla="*/ 166234 h 410520"/>
                <a:gd name="connsiteX282" fmla="*/ 2037321 w 2663946"/>
                <a:gd name="connsiteY282" fmla="*/ 164071 h 410520"/>
                <a:gd name="connsiteX283" fmla="*/ 2038550 w 2663946"/>
                <a:gd name="connsiteY283" fmla="*/ 159745 h 410520"/>
                <a:gd name="connsiteX284" fmla="*/ 2038059 w 2663946"/>
                <a:gd name="connsiteY284" fmla="*/ 145955 h 410520"/>
                <a:gd name="connsiteX285" fmla="*/ 2037075 w 2663946"/>
                <a:gd name="connsiteY285" fmla="*/ 142981 h 410520"/>
                <a:gd name="connsiteX286" fmla="*/ 2035847 w 2663946"/>
                <a:gd name="connsiteY286" fmla="*/ 140007 h 410520"/>
                <a:gd name="connsiteX287" fmla="*/ 2033634 w 2663946"/>
                <a:gd name="connsiteY287" fmla="*/ 136492 h 410520"/>
                <a:gd name="connsiteX288" fmla="*/ 2029947 w 2663946"/>
                <a:gd name="connsiteY288" fmla="*/ 132707 h 410520"/>
                <a:gd name="connsiteX289" fmla="*/ 2026014 w 2663946"/>
                <a:gd name="connsiteY289" fmla="*/ 130544 h 410520"/>
                <a:gd name="connsiteX290" fmla="*/ 1601090 w 2663946"/>
                <a:gd name="connsiteY290" fmla="*/ 130544 h 410520"/>
                <a:gd name="connsiteX291" fmla="*/ 1589537 w 2663946"/>
                <a:gd name="connsiteY291" fmla="*/ 132977 h 410520"/>
                <a:gd name="connsiteX292" fmla="*/ 1586342 w 2663946"/>
                <a:gd name="connsiteY292" fmla="*/ 136492 h 410520"/>
                <a:gd name="connsiteX293" fmla="*/ 1584130 w 2663946"/>
                <a:gd name="connsiteY293" fmla="*/ 140277 h 410520"/>
                <a:gd name="connsiteX294" fmla="*/ 1583147 w 2663946"/>
                <a:gd name="connsiteY294" fmla="*/ 142981 h 410520"/>
                <a:gd name="connsiteX295" fmla="*/ 1582163 w 2663946"/>
                <a:gd name="connsiteY295" fmla="*/ 147037 h 410520"/>
                <a:gd name="connsiteX296" fmla="*/ 1581180 w 2663946"/>
                <a:gd name="connsiteY296" fmla="*/ 154067 h 410520"/>
                <a:gd name="connsiteX297" fmla="*/ 1582163 w 2663946"/>
                <a:gd name="connsiteY297" fmla="*/ 161367 h 410520"/>
                <a:gd name="connsiteX298" fmla="*/ 1583393 w 2663946"/>
                <a:gd name="connsiteY298" fmla="*/ 165152 h 410520"/>
                <a:gd name="connsiteX299" fmla="*/ 1585605 w 2663946"/>
                <a:gd name="connsiteY299" fmla="*/ 169478 h 410520"/>
                <a:gd name="connsiteX300" fmla="*/ 1589046 w 2663946"/>
                <a:gd name="connsiteY300" fmla="*/ 173805 h 410520"/>
                <a:gd name="connsiteX301" fmla="*/ 1593470 w 2663946"/>
                <a:gd name="connsiteY301" fmla="*/ 176508 h 410520"/>
                <a:gd name="connsiteX302" fmla="*/ 1605761 w 2663946"/>
                <a:gd name="connsiteY302" fmla="*/ 174075 h 410520"/>
                <a:gd name="connsiteX303" fmla="*/ 1608956 w 2663946"/>
                <a:gd name="connsiteY303" fmla="*/ 170560 h 410520"/>
                <a:gd name="connsiteX304" fmla="*/ 1611414 w 2663946"/>
                <a:gd name="connsiteY304" fmla="*/ 166234 h 410520"/>
                <a:gd name="connsiteX305" fmla="*/ 1612397 w 2663946"/>
                <a:gd name="connsiteY305" fmla="*/ 164071 h 410520"/>
                <a:gd name="connsiteX306" fmla="*/ 1613626 w 2663946"/>
                <a:gd name="connsiteY306" fmla="*/ 159745 h 410520"/>
                <a:gd name="connsiteX307" fmla="*/ 1613135 w 2663946"/>
                <a:gd name="connsiteY307" fmla="*/ 145955 h 410520"/>
                <a:gd name="connsiteX308" fmla="*/ 1612151 w 2663946"/>
                <a:gd name="connsiteY308" fmla="*/ 142981 h 410520"/>
                <a:gd name="connsiteX309" fmla="*/ 1610923 w 2663946"/>
                <a:gd name="connsiteY309" fmla="*/ 140007 h 410520"/>
                <a:gd name="connsiteX310" fmla="*/ 1608710 w 2663946"/>
                <a:gd name="connsiteY310" fmla="*/ 136492 h 410520"/>
                <a:gd name="connsiteX311" fmla="*/ 1605023 w 2663946"/>
                <a:gd name="connsiteY311" fmla="*/ 132707 h 410520"/>
                <a:gd name="connsiteX312" fmla="*/ 1601090 w 2663946"/>
                <a:gd name="connsiteY312" fmla="*/ 130544 h 410520"/>
                <a:gd name="connsiteX313" fmla="*/ 1252183 w 2663946"/>
                <a:gd name="connsiteY313" fmla="*/ 130544 h 410520"/>
                <a:gd name="connsiteX314" fmla="*/ 1240630 w 2663946"/>
                <a:gd name="connsiteY314" fmla="*/ 132977 h 410520"/>
                <a:gd name="connsiteX315" fmla="*/ 1237435 w 2663946"/>
                <a:gd name="connsiteY315" fmla="*/ 136492 h 410520"/>
                <a:gd name="connsiteX316" fmla="*/ 1235223 w 2663946"/>
                <a:gd name="connsiteY316" fmla="*/ 140277 h 410520"/>
                <a:gd name="connsiteX317" fmla="*/ 1234240 w 2663946"/>
                <a:gd name="connsiteY317" fmla="*/ 142981 h 410520"/>
                <a:gd name="connsiteX318" fmla="*/ 1233256 w 2663946"/>
                <a:gd name="connsiteY318" fmla="*/ 147037 h 410520"/>
                <a:gd name="connsiteX319" fmla="*/ 1232273 w 2663946"/>
                <a:gd name="connsiteY319" fmla="*/ 154067 h 410520"/>
                <a:gd name="connsiteX320" fmla="*/ 1233256 w 2663946"/>
                <a:gd name="connsiteY320" fmla="*/ 161367 h 410520"/>
                <a:gd name="connsiteX321" fmla="*/ 1234486 w 2663946"/>
                <a:gd name="connsiteY321" fmla="*/ 165152 h 410520"/>
                <a:gd name="connsiteX322" fmla="*/ 1236698 w 2663946"/>
                <a:gd name="connsiteY322" fmla="*/ 169478 h 410520"/>
                <a:gd name="connsiteX323" fmla="*/ 1240139 w 2663946"/>
                <a:gd name="connsiteY323" fmla="*/ 173805 h 410520"/>
                <a:gd name="connsiteX324" fmla="*/ 1244563 w 2663946"/>
                <a:gd name="connsiteY324" fmla="*/ 176508 h 410520"/>
                <a:gd name="connsiteX325" fmla="*/ 1256854 w 2663946"/>
                <a:gd name="connsiteY325" fmla="*/ 174075 h 410520"/>
                <a:gd name="connsiteX326" fmla="*/ 1260049 w 2663946"/>
                <a:gd name="connsiteY326" fmla="*/ 170560 h 410520"/>
                <a:gd name="connsiteX327" fmla="*/ 1262507 w 2663946"/>
                <a:gd name="connsiteY327" fmla="*/ 166234 h 410520"/>
                <a:gd name="connsiteX328" fmla="*/ 1263490 w 2663946"/>
                <a:gd name="connsiteY328" fmla="*/ 164071 h 410520"/>
                <a:gd name="connsiteX329" fmla="*/ 1264719 w 2663946"/>
                <a:gd name="connsiteY329" fmla="*/ 159745 h 410520"/>
                <a:gd name="connsiteX330" fmla="*/ 1264228 w 2663946"/>
                <a:gd name="connsiteY330" fmla="*/ 145955 h 410520"/>
                <a:gd name="connsiteX331" fmla="*/ 1263244 w 2663946"/>
                <a:gd name="connsiteY331" fmla="*/ 142981 h 410520"/>
                <a:gd name="connsiteX332" fmla="*/ 1262016 w 2663946"/>
                <a:gd name="connsiteY332" fmla="*/ 140007 h 410520"/>
                <a:gd name="connsiteX333" fmla="*/ 1259803 w 2663946"/>
                <a:gd name="connsiteY333" fmla="*/ 136492 h 410520"/>
                <a:gd name="connsiteX334" fmla="*/ 1256116 w 2663946"/>
                <a:gd name="connsiteY334" fmla="*/ 132707 h 410520"/>
                <a:gd name="connsiteX335" fmla="*/ 1252183 w 2663946"/>
                <a:gd name="connsiteY335" fmla="*/ 130544 h 410520"/>
                <a:gd name="connsiteX336" fmla="*/ 1070232 w 2663946"/>
                <a:gd name="connsiteY336" fmla="*/ 130544 h 410520"/>
                <a:gd name="connsiteX337" fmla="*/ 1058679 w 2663946"/>
                <a:gd name="connsiteY337" fmla="*/ 132977 h 410520"/>
                <a:gd name="connsiteX338" fmla="*/ 1055484 w 2663946"/>
                <a:gd name="connsiteY338" fmla="*/ 136492 h 410520"/>
                <a:gd name="connsiteX339" fmla="*/ 1053272 w 2663946"/>
                <a:gd name="connsiteY339" fmla="*/ 140277 h 410520"/>
                <a:gd name="connsiteX340" fmla="*/ 1052289 w 2663946"/>
                <a:gd name="connsiteY340" fmla="*/ 142981 h 410520"/>
                <a:gd name="connsiteX341" fmla="*/ 1051305 w 2663946"/>
                <a:gd name="connsiteY341" fmla="*/ 147037 h 410520"/>
                <a:gd name="connsiteX342" fmla="*/ 1050322 w 2663946"/>
                <a:gd name="connsiteY342" fmla="*/ 154067 h 410520"/>
                <a:gd name="connsiteX343" fmla="*/ 1051305 w 2663946"/>
                <a:gd name="connsiteY343" fmla="*/ 161367 h 410520"/>
                <a:gd name="connsiteX344" fmla="*/ 1052535 w 2663946"/>
                <a:gd name="connsiteY344" fmla="*/ 165152 h 410520"/>
                <a:gd name="connsiteX345" fmla="*/ 1054747 w 2663946"/>
                <a:gd name="connsiteY345" fmla="*/ 169478 h 410520"/>
                <a:gd name="connsiteX346" fmla="*/ 1058188 w 2663946"/>
                <a:gd name="connsiteY346" fmla="*/ 173805 h 410520"/>
                <a:gd name="connsiteX347" fmla="*/ 1062612 w 2663946"/>
                <a:gd name="connsiteY347" fmla="*/ 176508 h 410520"/>
                <a:gd name="connsiteX348" fmla="*/ 1074903 w 2663946"/>
                <a:gd name="connsiteY348" fmla="*/ 174075 h 410520"/>
                <a:gd name="connsiteX349" fmla="*/ 1078098 w 2663946"/>
                <a:gd name="connsiteY349" fmla="*/ 170560 h 410520"/>
                <a:gd name="connsiteX350" fmla="*/ 1080556 w 2663946"/>
                <a:gd name="connsiteY350" fmla="*/ 166234 h 410520"/>
                <a:gd name="connsiteX351" fmla="*/ 1081539 w 2663946"/>
                <a:gd name="connsiteY351" fmla="*/ 164071 h 410520"/>
                <a:gd name="connsiteX352" fmla="*/ 1082768 w 2663946"/>
                <a:gd name="connsiteY352" fmla="*/ 159745 h 410520"/>
                <a:gd name="connsiteX353" fmla="*/ 1082277 w 2663946"/>
                <a:gd name="connsiteY353" fmla="*/ 145955 h 410520"/>
                <a:gd name="connsiteX354" fmla="*/ 1081293 w 2663946"/>
                <a:gd name="connsiteY354" fmla="*/ 142981 h 410520"/>
                <a:gd name="connsiteX355" fmla="*/ 1080065 w 2663946"/>
                <a:gd name="connsiteY355" fmla="*/ 140007 h 410520"/>
                <a:gd name="connsiteX356" fmla="*/ 1077852 w 2663946"/>
                <a:gd name="connsiteY356" fmla="*/ 136492 h 410520"/>
                <a:gd name="connsiteX357" fmla="*/ 1074165 w 2663946"/>
                <a:gd name="connsiteY357" fmla="*/ 132707 h 410520"/>
                <a:gd name="connsiteX358" fmla="*/ 1070232 w 2663946"/>
                <a:gd name="connsiteY358" fmla="*/ 130544 h 410520"/>
                <a:gd name="connsiteX359" fmla="*/ 903203 w 2663946"/>
                <a:gd name="connsiteY359" fmla="*/ 130544 h 410520"/>
                <a:gd name="connsiteX360" fmla="*/ 891650 w 2663946"/>
                <a:gd name="connsiteY360" fmla="*/ 132977 h 410520"/>
                <a:gd name="connsiteX361" fmla="*/ 888455 w 2663946"/>
                <a:gd name="connsiteY361" fmla="*/ 136492 h 410520"/>
                <a:gd name="connsiteX362" fmla="*/ 886243 w 2663946"/>
                <a:gd name="connsiteY362" fmla="*/ 140277 h 410520"/>
                <a:gd name="connsiteX363" fmla="*/ 885260 w 2663946"/>
                <a:gd name="connsiteY363" fmla="*/ 142981 h 410520"/>
                <a:gd name="connsiteX364" fmla="*/ 884276 w 2663946"/>
                <a:gd name="connsiteY364" fmla="*/ 147037 h 410520"/>
                <a:gd name="connsiteX365" fmla="*/ 883293 w 2663946"/>
                <a:gd name="connsiteY365" fmla="*/ 154067 h 410520"/>
                <a:gd name="connsiteX366" fmla="*/ 884276 w 2663946"/>
                <a:gd name="connsiteY366" fmla="*/ 161367 h 410520"/>
                <a:gd name="connsiteX367" fmla="*/ 885506 w 2663946"/>
                <a:gd name="connsiteY367" fmla="*/ 165152 h 410520"/>
                <a:gd name="connsiteX368" fmla="*/ 887718 w 2663946"/>
                <a:gd name="connsiteY368" fmla="*/ 169478 h 410520"/>
                <a:gd name="connsiteX369" fmla="*/ 891159 w 2663946"/>
                <a:gd name="connsiteY369" fmla="*/ 173805 h 410520"/>
                <a:gd name="connsiteX370" fmla="*/ 895583 w 2663946"/>
                <a:gd name="connsiteY370" fmla="*/ 176508 h 410520"/>
                <a:gd name="connsiteX371" fmla="*/ 907874 w 2663946"/>
                <a:gd name="connsiteY371" fmla="*/ 174075 h 410520"/>
                <a:gd name="connsiteX372" fmla="*/ 911069 w 2663946"/>
                <a:gd name="connsiteY372" fmla="*/ 170560 h 410520"/>
                <a:gd name="connsiteX373" fmla="*/ 913527 w 2663946"/>
                <a:gd name="connsiteY373" fmla="*/ 166234 h 410520"/>
                <a:gd name="connsiteX374" fmla="*/ 914510 w 2663946"/>
                <a:gd name="connsiteY374" fmla="*/ 164071 h 410520"/>
                <a:gd name="connsiteX375" fmla="*/ 915739 w 2663946"/>
                <a:gd name="connsiteY375" fmla="*/ 159745 h 410520"/>
                <a:gd name="connsiteX376" fmla="*/ 915248 w 2663946"/>
                <a:gd name="connsiteY376" fmla="*/ 145955 h 410520"/>
                <a:gd name="connsiteX377" fmla="*/ 914264 w 2663946"/>
                <a:gd name="connsiteY377" fmla="*/ 142981 h 410520"/>
                <a:gd name="connsiteX378" fmla="*/ 913036 w 2663946"/>
                <a:gd name="connsiteY378" fmla="*/ 140007 h 410520"/>
                <a:gd name="connsiteX379" fmla="*/ 910823 w 2663946"/>
                <a:gd name="connsiteY379" fmla="*/ 136492 h 410520"/>
                <a:gd name="connsiteX380" fmla="*/ 907136 w 2663946"/>
                <a:gd name="connsiteY380" fmla="*/ 132707 h 410520"/>
                <a:gd name="connsiteX381" fmla="*/ 903203 w 2663946"/>
                <a:gd name="connsiteY381" fmla="*/ 130544 h 410520"/>
                <a:gd name="connsiteX382" fmla="*/ 554297 w 2663946"/>
                <a:gd name="connsiteY382" fmla="*/ 130544 h 410520"/>
                <a:gd name="connsiteX383" fmla="*/ 542744 w 2663946"/>
                <a:gd name="connsiteY383" fmla="*/ 132977 h 410520"/>
                <a:gd name="connsiteX384" fmla="*/ 539549 w 2663946"/>
                <a:gd name="connsiteY384" fmla="*/ 136492 h 410520"/>
                <a:gd name="connsiteX385" fmla="*/ 537337 w 2663946"/>
                <a:gd name="connsiteY385" fmla="*/ 140277 h 410520"/>
                <a:gd name="connsiteX386" fmla="*/ 536353 w 2663946"/>
                <a:gd name="connsiteY386" fmla="*/ 142981 h 410520"/>
                <a:gd name="connsiteX387" fmla="*/ 535370 w 2663946"/>
                <a:gd name="connsiteY387" fmla="*/ 147037 h 410520"/>
                <a:gd name="connsiteX388" fmla="*/ 534387 w 2663946"/>
                <a:gd name="connsiteY388" fmla="*/ 154067 h 410520"/>
                <a:gd name="connsiteX389" fmla="*/ 535370 w 2663946"/>
                <a:gd name="connsiteY389" fmla="*/ 161367 h 410520"/>
                <a:gd name="connsiteX390" fmla="*/ 536599 w 2663946"/>
                <a:gd name="connsiteY390" fmla="*/ 165152 h 410520"/>
                <a:gd name="connsiteX391" fmla="*/ 538811 w 2663946"/>
                <a:gd name="connsiteY391" fmla="*/ 169478 h 410520"/>
                <a:gd name="connsiteX392" fmla="*/ 542253 w 2663946"/>
                <a:gd name="connsiteY392" fmla="*/ 173805 h 410520"/>
                <a:gd name="connsiteX393" fmla="*/ 546677 w 2663946"/>
                <a:gd name="connsiteY393" fmla="*/ 176508 h 410520"/>
                <a:gd name="connsiteX394" fmla="*/ 558967 w 2663946"/>
                <a:gd name="connsiteY394" fmla="*/ 174075 h 410520"/>
                <a:gd name="connsiteX395" fmla="*/ 562163 w 2663946"/>
                <a:gd name="connsiteY395" fmla="*/ 170560 h 410520"/>
                <a:gd name="connsiteX396" fmla="*/ 564621 w 2663946"/>
                <a:gd name="connsiteY396" fmla="*/ 166234 h 410520"/>
                <a:gd name="connsiteX397" fmla="*/ 565604 w 2663946"/>
                <a:gd name="connsiteY397" fmla="*/ 164071 h 410520"/>
                <a:gd name="connsiteX398" fmla="*/ 566833 w 2663946"/>
                <a:gd name="connsiteY398" fmla="*/ 159745 h 410520"/>
                <a:gd name="connsiteX399" fmla="*/ 566341 w 2663946"/>
                <a:gd name="connsiteY399" fmla="*/ 145955 h 410520"/>
                <a:gd name="connsiteX400" fmla="*/ 565358 w 2663946"/>
                <a:gd name="connsiteY400" fmla="*/ 142981 h 410520"/>
                <a:gd name="connsiteX401" fmla="*/ 564129 w 2663946"/>
                <a:gd name="connsiteY401" fmla="*/ 140007 h 410520"/>
                <a:gd name="connsiteX402" fmla="*/ 561917 w 2663946"/>
                <a:gd name="connsiteY402" fmla="*/ 136492 h 410520"/>
                <a:gd name="connsiteX403" fmla="*/ 558230 w 2663946"/>
                <a:gd name="connsiteY403" fmla="*/ 132707 h 410520"/>
                <a:gd name="connsiteX404" fmla="*/ 554297 w 2663946"/>
                <a:gd name="connsiteY404" fmla="*/ 130544 h 410520"/>
                <a:gd name="connsiteX405" fmla="*/ 372346 w 2663946"/>
                <a:gd name="connsiteY405" fmla="*/ 130544 h 410520"/>
                <a:gd name="connsiteX406" fmla="*/ 360793 w 2663946"/>
                <a:gd name="connsiteY406" fmla="*/ 132977 h 410520"/>
                <a:gd name="connsiteX407" fmla="*/ 357598 w 2663946"/>
                <a:gd name="connsiteY407" fmla="*/ 136492 h 410520"/>
                <a:gd name="connsiteX408" fmla="*/ 355385 w 2663946"/>
                <a:gd name="connsiteY408" fmla="*/ 140277 h 410520"/>
                <a:gd name="connsiteX409" fmla="*/ 354402 w 2663946"/>
                <a:gd name="connsiteY409" fmla="*/ 142981 h 410520"/>
                <a:gd name="connsiteX410" fmla="*/ 353419 w 2663946"/>
                <a:gd name="connsiteY410" fmla="*/ 147037 h 410520"/>
                <a:gd name="connsiteX411" fmla="*/ 352436 w 2663946"/>
                <a:gd name="connsiteY411" fmla="*/ 154067 h 410520"/>
                <a:gd name="connsiteX412" fmla="*/ 353419 w 2663946"/>
                <a:gd name="connsiteY412" fmla="*/ 161367 h 410520"/>
                <a:gd name="connsiteX413" fmla="*/ 354648 w 2663946"/>
                <a:gd name="connsiteY413" fmla="*/ 165152 h 410520"/>
                <a:gd name="connsiteX414" fmla="*/ 356860 w 2663946"/>
                <a:gd name="connsiteY414" fmla="*/ 169478 h 410520"/>
                <a:gd name="connsiteX415" fmla="*/ 360301 w 2663946"/>
                <a:gd name="connsiteY415" fmla="*/ 173805 h 410520"/>
                <a:gd name="connsiteX416" fmla="*/ 364726 w 2663946"/>
                <a:gd name="connsiteY416" fmla="*/ 176508 h 410520"/>
                <a:gd name="connsiteX417" fmla="*/ 377016 w 2663946"/>
                <a:gd name="connsiteY417" fmla="*/ 174075 h 410520"/>
                <a:gd name="connsiteX418" fmla="*/ 380212 w 2663946"/>
                <a:gd name="connsiteY418" fmla="*/ 170560 h 410520"/>
                <a:gd name="connsiteX419" fmla="*/ 382670 w 2663946"/>
                <a:gd name="connsiteY419" fmla="*/ 166234 h 410520"/>
                <a:gd name="connsiteX420" fmla="*/ 383653 w 2663946"/>
                <a:gd name="connsiteY420" fmla="*/ 164071 h 410520"/>
                <a:gd name="connsiteX421" fmla="*/ 384882 w 2663946"/>
                <a:gd name="connsiteY421" fmla="*/ 159745 h 410520"/>
                <a:gd name="connsiteX422" fmla="*/ 384390 w 2663946"/>
                <a:gd name="connsiteY422" fmla="*/ 145955 h 410520"/>
                <a:gd name="connsiteX423" fmla="*/ 383407 w 2663946"/>
                <a:gd name="connsiteY423" fmla="*/ 142981 h 410520"/>
                <a:gd name="connsiteX424" fmla="*/ 382178 w 2663946"/>
                <a:gd name="connsiteY424" fmla="*/ 140007 h 410520"/>
                <a:gd name="connsiteX425" fmla="*/ 379966 w 2663946"/>
                <a:gd name="connsiteY425" fmla="*/ 136492 h 410520"/>
                <a:gd name="connsiteX426" fmla="*/ 376279 w 2663946"/>
                <a:gd name="connsiteY426" fmla="*/ 132707 h 410520"/>
                <a:gd name="connsiteX427" fmla="*/ 372346 w 2663946"/>
                <a:gd name="connsiteY427" fmla="*/ 130544 h 410520"/>
                <a:gd name="connsiteX428" fmla="*/ 129300 w 2663946"/>
                <a:gd name="connsiteY428" fmla="*/ 130544 h 410520"/>
                <a:gd name="connsiteX429" fmla="*/ 117747 w 2663946"/>
                <a:gd name="connsiteY429" fmla="*/ 132977 h 410520"/>
                <a:gd name="connsiteX430" fmla="*/ 114552 w 2663946"/>
                <a:gd name="connsiteY430" fmla="*/ 136492 h 410520"/>
                <a:gd name="connsiteX431" fmla="*/ 112340 w 2663946"/>
                <a:gd name="connsiteY431" fmla="*/ 140277 h 410520"/>
                <a:gd name="connsiteX432" fmla="*/ 111356 w 2663946"/>
                <a:gd name="connsiteY432" fmla="*/ 142981 h 410520"/>
                <a:gd name="connsiteX433" fmla="*/ 110373 w 2663946"/>
                <a:gd name="connsiteY433" fmla="*/ 147037 h 410520"/>
                <a:gd name="connsiteX434" fmla="*/ 109390 w 2663946"/>
                <a:gd name="connsiteY434" fmla="*/ 154067 h 410520"/>
                <a:gd name="connsiteX435" fmla="*/ 110373 w 2663946"/>
                <a:gd name="connsiteY435" fmla="*/ 161367 h 410520"/>
                <a:gd name="connsiteX436" fmla="*/ 111602 w 2663946"/>
                <a:gd name="connsiteY436" fmla="*/ 165152 h 410520"/>
                <a:gd name="connsiteX437" fmla="*/ 113814 w 2663946"/>
                <a:gd name="connsiteY437" fmla="*/ 169478 h 410520"/>
                <a:gd name="connsiteX438" fmla="*/ 117256 w 2663946"/>
                <a:gd name="connsiteY438" fmla="*/ 173805 h 410520"/>
                <a:gd name="connsiteX439" fmla="*/ 121680 w 2663946"/>
                <a:gd name="connsiteY439" fmla="*/ 176508 h 410520"/>
                <a:gd name="connsiteX440" fmla="*/ 133970 w 2663946"/>
                <a:gd name="connsiteY440" fmla="*/ 174075 h 410520"/>
                <a:gd name="connsiteX441" fmla="*/ 137166 w 2663946"/>
                <a:gd name="connsiteY441" fmla="*/ 170560 h 410520"/>
                <a:gd name="connsiteX442" fmla="*/ 139624 w 2663946"/>
                <a:gd name="connsiteY442" fmla="*/ 166234 h 410520"/>
                <a:gd name="connsiteX443" fmla="*/ 140607 w 2663946"/>
                <a:gd name="connsiteY443" fmla="*/ 164071 h 410520"/>
                <a:gd name="connsiteX444" fmla="*/ 141836 w 2663946"/>
                <a:gd name="connsiteY444" fmla="*/ 159745 h 410520"/>
                <a:gd name="connsiteX445" fmla="*/ 141344 w 2663946"/>
                <a:gd name="connsiteY445" fmla="*/ 145955 h 410520"/>
                <a:gd name="connsiteX446" fmla="*/ 140361 w 2663946"/>
                <a:gd name="connsiteY446" fmla="*/ 142981 h 410520"/>
                <a:gd name="connsiteX447" fmla="*/ 139132 w 2663946"/>
                <a:gd name="connsiteY447" fmla="*/ 140007 h 410520"/>
                <a:gd name="connsiteX448" fmla="*/ 136920 w 2663946"/>
                <a:gd name="connsiteY448" fmla="*/ 136492 h 410520"/>
                <a:gd name="connsiteX449" fmla="*/ 133233 w 2663946"/>
                <a:gd name="connsiteY449" fmla="*/ 132707 h 410520"/>
                <a:gd name="connsiteX450" fmla="*/ 129300 w 2663946"/>
                <a:gd name="connsiteY450" fmla="*/ 130544 h 410520"/>
                <a:gd name="connsiteX451" fmla="*/ 33147 w 2663946"/>
                <a:gd name="connsiteY451" fmla="*/ 126608 h 410520"/>
                <a:gd name="connsiteX452" fmla="*/ 21486 w 2663946"/>
                <a:gd name="connsiteY452" fmla="*/ 134337 h 410520"/>
                <a:gd name="connsiteX453" fmla="*/ 20561 w 2663946"/>
                <a:gd name="connsiteY453" fmla="*/ 138920 h 410520"/>
                <a:gd name="connsiteX454" fmla="*/ 23801 w 2663946"/>
                <a:gd name="connsiteY454" fmla="*/ 138920 h 410520"/>
                <a:gd name="connsiteX455" fmla="*/ 42218 w 2663946"/>
                <a:gd name="connsiteY455" fmla="*/ 138920 h 410520"/>
                <a:gd name="connsiteX456" fmla="*/ 45732 w 2663946"/>
                <a:gd name="connsiteY456" fmla="*/ 138920 h 410520"/>
                <a:gd name="connsiteX457" fmla="*/ 44807 w 2663946"/>
                <a:gd name="connsiteY457" fmla="*/ 134337 h 410520"/>
                <a:gd name="connsiteX458" fmla="*/ 33147 w 2663946"/>
                <a:gd name="connsiteY458" fmla="*/ 126608 h 410520"/>
                <a:gd name="connsiteX459" fmla="*/ 2537931 w 2663946"/>
                <a:gd name="connsiteY459" fmla="*/ 119020 h 410520"/>
                <a:gd name="connsiteX460" fmla="*/ 2526271 w 2663946"/>
                <a:gd name="connsiteY460" fmla="*/ 126749 h 410520"/>
                <a:gd name="connsiteX461" fmla="*/ 2525346 w 2663946"/>
                <a:gd name="connsiteY461" fmla="*/ 131332 h 410520"/>
                <a:gd name="connsiteX462" fmla="*/ 2528586 w 2663946"/>
                <a:gd name="connsiteY462" fmla="*/ 131332 h 410520"/>
                <a:gd name="connsiteX463" fmla="*/ 2547003 w 2663946"/>
                <a:gd name="connsiteY463" fmla="*/ 131332 h 410520"/>
                <a:gd name="connsiteX464" fmla="*/ 2550517 w 2663946"/>
                <a:gd name="connsiteY464" fmla="*/ 131332 h 410520"/>
                <a:gd name="connsiteX465" fmla="*/ 2549592 w 2663946"/>
                <a:gd name="connsiteY465" fmla="*/ 126749 h 410520"/>
                <a:gd name="connsiteX466" fmla="*/ 2537931 w 2663946"/>
                <a:gd name="connsiteY466" fmla="*/ 119020 h 410520"/>
                <a:gd name="connsiteX467" fmla="*/ 2112934 w 2663946"/>
                <a:gd name="connsiteY467" fmla="*/ 119020 h 410520"/>
                <a:gd name="connsiteX468" fmla="*/ 2101274 w 2663946"/>
                <a:gd name="connsiteY468" fmla="*/ 126749 h 410520"/>
                <a:gd name="connsiteX469" fmla="*/ 2100349 w 2663946"/>
                <a:gd name="connsiteY469" fmla="*/ 131332 h 410520"/>
                <a:gd name="connsiteX470" fmla="*/ 2103589 w 2663946"/>
                <a:gd name="connsiteY470" fmla="*/ 131332 h 410520"/>
                <a:gd name="connsiteX471" fmla="*/ 2122006 w 2663946"/>
                <a:gd name="connsiteY471" fmla="*/ 131332 h 410520"/>
                <a:gd name="connsiteX472" fmla="*/ 2125520 w 2663946"/>
                <a:gd name="connsiteY472" fmla="*/ 131332 h 410520"/>
                <a:gd name="connsiteX473" fmla="*/ 2124595 w 2663946"/>
                <a:gd name="connsiteY473" fmla="*/ 126749 h 410520"/>
                <a:gd name="connsiteX474" fmla="*/ 2112934 w 2663946"/>
                <a:gd name="connsiteY474" fmla="*/ 119020 h 410520"/>
                <a:gd name="connsiteX475" fmla="*/ 1854966 w 2663946"/>
                <a:gd name="connsiteY475" fmla="*/ 119020 h 410520"/>
                <a:gd name="connsiteX476" fmla="*/ 1843306 w 2663946"/>
                <a:gd name="connsiteY476" fmla="*/ 126749 h 410520"/>
                <a:gd name="connsiteX477" fmla="*/ 1842381 w 2663946"/>
                <a:gd name="connsiteY477" fmla="*/ 131332 h 410520"/>
                <a:gd name="connsiteX478" fmla="*/ 1845621 w 2663946"/>
                <a:gd name="connsiteY478" fmla="*/ 131332 h 410520"/>
                <a:gd name="connsiteX479" fmla="*/ 1864038 w 2663946"/>
                <a:gd name="connsiteY479" fmla="*/ 131332 h 410520"/>
                <a:gd name="connsiteX480" fmla="*/ 1867552 w 2663946"/>
                <a:gd name="connsiteY480" fmla="*/ 131332 h 410520"/>
                <a:gd name="connsiteX481" fmla="*/ 1866627 w 2663946"/>
                <a:gd name="connsiteY481" fmla="*/ 126749 h 410520"/>
                <a:gd name="connsiteX482" fmla="*/ 1854966 w 2663946"/>
                <a:gd name="connsiteY482" fmla="*/ 119020 h 410520"/>
                <a:gd name="connsiteX483" fmla="*/ 1764027 w 2663946"/>
                <a:gd name="connsiteY483" fmla="*/ 119020 h 410520"/>
                <a:gd name="connsiteX484" fmla="*/ 1752367 w 2663946"/>
                <a:gd name="connsiteY484" fmla="*/ 126749 h 410520"/>
                <a:gd name="connsiteX485" fmla="*/ 1751442 w 2663946"/>
                <a:gd name="connsiteY485" fmla="*/ 131332 h 410520"/>
                <a:gd name="connsiteX486" fmla="*/ 1754682 w 2663946"/>
                <a:gd name="connsiteY486" fmla="*/ 131332 h 410520"/>
                <a:gd name="connsiteX487" fmla="*/ 1773099 w 2663946"/>
                <a:gd name="connsiteY487" fmla="*/ 131332 h 410520"/>
                <a:gd name="connsiteX488" fmla="*/ 1776613 w 2663946"/>
                <a:gd name="connsiteY488" fmla="*/ 131332 h 410520"/>
                <a:gd name="connsiteX489" fmla="*/ 1775687 w 2663946"/>
                <a:gd name="connsiteY489" fmla="*/ 126749 h 410520"/>
                <a:gd name="connsiteX490" fmla="*/ 1764027 w 2663946"/>
                <a:gd name="connsiteY490" fmla="*/ 119020 h 410520"/>
                <a:gd name="connsiteX491" fmla="*/ 1506059 w 2663946"/>
                <a:gd name="connsiteY491" fmla="*/ 119020 h 410520"/>
                <a:gd name="connsiteX492" fmla="*/ 1494399 w 2663946"/>
                <a:gd name="connsiteY492" fmla="*/ 126749 h 410520"/>
                <a:gd name="connsiteX493" fmla="*/ 1493474 w 2663946"/>
                <a:gd name="connsiteY493" fmla="*/ 131332 h 410520"/>
                <a:gd name="connsiteX494" fmla="*/ 1496714 w 2663946"/>
                <a:gd name="connsiteY494" fmla="*/ 131332 h 410520"/>
                <a:gd name="connsiteX495" fmla="*/ 1515131 w 2663946"/>
                <a:gd name="connsiteY495" fmla="*/ 131332 h 410520"/>
                <a:gd name="connsiteX496" fmla="*/ 1518645 w 2663946"/>
                <a:gd name="connsiteY496" fmla="*/ 131332 h 410520"/>
                <a:gd name="connsiteX497" fmla="*/ 1517719 w 2663946"/>
                <a:gd name="connsiteY497" fmla="*/ 126749 h 410520"/>
                <a:gd name="connsiteX498" fmla="*/ 1506059 w 2663946"/>
                <a:gd name="connsiteY498" fmla="*/ 119020 h 410520"/>
                <a:gd name="connsiteX499" fmla="*/ 1415120 w 2663946"/>
                <a:gd name="connsiteY499" fmla="*/ 119020 h 410520"/>
                <a:gd name="connsiteX500" fmla="*/ 1403460 w 2663946"/>
                <a:gd name="connsiteY500" fmla="*/ 126749 h 410520"/>
                <a:gd name="connsiteX501" fmla="*/ 1402535 w 2663946"/>
                <a:gd name="connsiteY501" fmla="*/ 131332 h 410520"/>
                <a:gd name="connsiteX502" fmla="*/ 1405775 w 2663946"/>
                <a:gd name="connsiteY502" fmla="*/ 131332 h 410520"/>
                <a:gd name="connsiteX503" fmla="*/ 1424192 w 2663946"/>
                <a:gd name="connsiteY503" fmla="*/ 131332 h 410520"/>
                <a:gd name="connsiteX504" fmla="*/ 1427706 w 2663946"/>
                <a:gd name="connsiteY504" fmla="*/ 131332 h 410520"/>
                <a:gd name="connsiteX505" fmla="*/ 1426780 w 2663946"/>
                <a:gd name="connsiteY505" fmla="*/ 126749 h 410520"/>
                <a:gd name="connsiteX506" fmla="*/ 1415120 w 2663946"/>
                <a:gd name="connsiteY506" fmla="*/ 119020 h 410520"/>
                <a:gd name="connsiteX507" fmla="*/ 1157152 w 2663946"/>
                <a:gd name="connsiteY507" fmla="*/ 119020 h 410520"/>
                <a:gd name="connsiteX508" fmla="*/ 1145492 w 2663946"/>
                <a:gd name="connsiteY508" fmla="*/ 126749 h 410520"/>
                <a:gd name="connsiteX509" fmla="*/ 1144567 w 2663946"/>
                <a:gd name="connsiteY509" fmla="*/ 131332 h 410520"/>
                <a:gd name="connsiteX510" fmla="*/ 1147807 w 2663946"/>
                <a:gd name="connsiteY510" fmla="*/ 131332 h 410520"/>
                <a:gd name="connsiteX511" fmla="*/ 1166224 w 2663946"/>
                <a:gd name="connsiteY511" fmla="*/ 131332 h 410520"/>
                <a:gd name="connsiteX512" fmla="*/ 1169738 w 2663946"/>
                <a:gd name="connsiteY512" fmla="*/ 131332 h 410520"/>
                <a:gd name="connsiteX513" fmla="*/ 1168812 w 2663946"/>
                <a:gd name="connsiteY513" fmla="*/ 126749 h 410520"/>
                <a:gd name="connsiteX514" fmla="*/ 1157152 w 2663946"/>
                <a:gd name="connsiteY514" fmla="*/ 119020 h 410520"/>
                <a:gd name="connsiteX515" fmla="*/ 732156 w 2663946"/>
                <a:gd name="connsiteY515" fmla="*/ 119020 h 410520"/>
                <a:gd name="connsiteX516" fmla="*/ 720495 w 2663946"/>
                <a:gd name="connsiteY516" fmla="*/ 126749 h 410520"/>
                <a:gd name="connsiteX517" fmla="*/ 719570 w 2663946"/>
                <a:gd name="connsiteY517" fmla="*/ 131332 h 410520"/>
                <a:gd name="connsiteX518" fmla="*/ 722810 w 2663946"/>
                <a:gd name="connsiteY518" fmla="*/ 131332 h 410520"/>
                <a:gd name="connsiteX519" fmla="*/ 741228 w 2663946"/>
                <a:gd name="connsiteY519" fmla="*/ 131332 h 410520"/>
                <a:gd name="connsiteX520" fmla="*/ 744742 w 2663946"/>
                <a:gd name="connsiteY520" fmla="*/ 131332 h 410520"/>
                <a:gd name="connsiteX521" fmla="*/ 743816 w 2663946"/>
                <a:gd name="connsiteY521" fmla="*/ 126749 h 410520"/>
                <a:gd name="connsiteX522" fmla="*/ 732156 w 2663946"/>
                <a:gd name="connsiteY522" fmla="*/ 119020 h 410520"/>
                <a:gd name="connsiteX523" fmla="*/ 641217 w 2663946"/>
                <a:gd name="connsiteY523" fmla="*/ 119020 h 410520"/>
                <a:gd name="connsiteX524" fmla="*/ 629556 w 2663946"/>
                <a:gd name="connsiteY524" fmla="*/ 126749 h 410520"/>
                <a:gd name="connsiteX525" fmla="*/ 628631 w 2663946"/>
                <a:gd name="connsiteY525" fmla="*/ 131332 h 410520"/>
                <a:gd name="connsiteX526" fmla="*/ 631871 w 2663946"/>
                <a:gd name="connsiteY526" fmla="*/ 131332 h 410520"/>
                <a:gd name="connsiteX527" fmla="*/ 650289 w 2663946"/>
                <a:gd name="connsiteY527" fmla="*/ 131332 h 410520"/>
                <a:gd name="connsiteX528" fmla="*/ 653802 w 2663946"/>
                <a:gd name="connsiteY528" fmla="*/ 131332 h 410520"/>
                <a:gd name="connsiteX529" fmla="*/ 652877 w 2663946"/>
                <a:gd name="connsiteY529" fmla="*/ 126749 h 410520"/>
                <a:gd name="connsiteX530" fmla="*/ 641217 w 2663946"/>
                <a:gd name="connsiteY530" fmla="*/ 119020 h 410520"/>
                <a:gd name="connsiteX531" fmla="*/ 459266 w 2663946"/>
                <a:gd name="connsiteY531" fmla="*/ 119020 h 410520"/>
                <a:gd name="connsiteX532" fmla="*/ 447605 w 2663946"/>
                <a:gd name="connsiteY532" fmla="*/ 126749 h 410520"/>
                <a:gd name="connsiteX533" fmla="*/ 446680 w 2663946"/>
                <a:gd name="connsiteY533" fmla="*/ 131332 h 410520"/>
                <a:gd name="connsiteX534" fmla="*/ 449920 w 2663946"/>
                <a:gd name="connsiteY534" fmla="*/ 131332 h 410520"/>
                <a:gd name="connsiteX535" fmla="*/ 468337 w 2663946"/>
                <a:gd name="connsiteY535" fmla="*/ 131332 h 410520"/>
                <a:gd name="connsiteX536" fmla="*/ 471851 w 2663946"/>
                <a:gd name="connsiteY536" fmla="*/ 131332 h 410520"/>
                <a:gd name="connsiteX537" fmla="*/ 470926 w 2663946"/>
                <a:gd name="connsiteY537" fmla="*/ 126749 h 410520"/>
                <a:gd name="connsiteX538" fmla="*/ 459266 w 2663946"/>
                <a:gd name="connsiteY538" fmla="*/ 119020 h 410520"/>
                <a:gd name="connsiteX539" fmla="*/ 2361413 w 2663946"/>
                <a:gd name="connsiteY539" fmla="*/ 114660 h 410520"/>
                <a:gd name="connsiteX540" fmla="*/ 2365469 w 2663946"/>
                <a:gd name="connsiteY540" fmla="*/ 114660 h 410520"/>
                <a:gd name="connsiteX541" fmla="*/ 2370065 w 2663946"/>
                <a:gd name="connsiteY541" fmla="*/ 117094 h 410520"/>
                <a:gd name="connsiteX542" fmla="*/ 2372229 w 2663946"/>
                <a:gd name="connsiteY542" fmla="*/ 123312 h 410520"/>
                <a:gd name="connsiteX543" fmla="*/ 2372229 w 2663946"/>
                <a:gd name="connsiteY543" fmla="*/ 123853 h 410520"/>
                <a:gd name="connsiteX544" fmla="*/ 2372229 w 2663946"/>
                <a:gd name="connsiteY544" fmla="*/ 176848 h 410520"/>
                <a:gd name="connsiteX545" fmla="*/ 2372769 w 2663946"/>
                <a:gd name="connsiteY545" fmla="*/ 177388 h 410520"/>
                <a:gd name="connsiteX546" fmla="*/ 2380069 w 2663946"/>
                <a:gd name="connsiteY546" fmla="*/ 177388 h 410520"/>
                <a:gd name="connsiteX547" fmla="*/ 2384125 w 2663946"/>
                <a:gd name="connsiteY547" fmla="*/ 178470 h 410520"/>
                <a:gd name="connsiteX548" fmla="*/ 2387910 w 2663946"/>
                <a:gd name="connsiteY548" fmla="*/ 185229 h 410520"/>
                <a:gd name="connsiteX549" fmla="*/ 2385207 w 2663946"/>
                <a:gd name="connsiteY549" fmla="*/ 190907 h 410520"/>
                <a:gd name="connsiteX550" fmla="*/ 2381151 w 2663946"/>
                <a:gd name="connsiteY550" fmla="*/ 192800 h 410520"/>
                <a:gd name="connsiteX551" fmla="*/ 2380881 w 2663946"/>
                <a:gd name="connsiteY551" fmla="*/ 192800 h 410520"/>
                <a:gd name="connsiteX552" fmla="*/ 2380610 w 2663946"/>
                <a:gd name="connsiteY552" fmla="*/ 192800 h 410520"/>
                <a:gd name="connsiteX553" fmla="*/ 2380069 w 2663946"/>
                <a:gd name="connsiteY553" fmla="*/ 192800 h 410520"/>
                <a:gd name="connsiteX554" fmla="*/ 2347894 w 2663946"/>
                <a:gd name="connsiteY554" fmla="*/ 192800 h 410520"/>
                <a:gd name="connsiteX555" fmla="*/ 2347354 w 2663946"/>
                <a:gd name="connsiteY555" fmla="*/ 192800 h 410520"/>
                <a:gd name="connsiteX556" fmla="*/ 2346542 w 2663946"/>
                <a:gd name="connsiteY556" fmla="*/ 192800 h 410520"/>
                <a:gd name="connsiteX557" fmla="*/ 2345731 w 2663946"/>
                <a:gd name="connsiteY557" fmla="*/ 192530 h 410520"/>
                <a:gd name="connsiteX558" fmla="*/ 2342216 w 2663946"/>
                <a:gd name="connsiteY558" fmla="*/ 190637 h 410520"/>
                <a:gd name="connsiteX559" fmla="*/ 2339783 w 2663946"/>
                <a:gd name="connsiteY559" fmla="*/ 184959 h 410520"/>
                <a:gd name="connsiteX560" fmla="*/ 2341946 w 2663946"/>
                <a:gd name="connsiteY560" fmla="*/ 179822 h 410520"/>
                <a:gd name="connsiteX561" fmla="*/ 2347624 w 2663946"/>
                <a:gd name="connsiteY561" fmla="*/ 177388 h 410520"/>
                <a:gd name="connsiteX562" fmla="*/ 2355465 w 2663946"/>
                <a:gd name="connsiteY562" fmla="*/ 177388 h 410520"/>
                <a:gd name="connsiteX563" fmla="*/ 2356006 w 2663946"/>
                <a:gd name="connsiteY563" fmla="*/ 176848 h 410520"/>
                <a:gd name="connsiteX564" fmla="*/ 2356006 w 2663946"/>
                <a:gd name="connsiteY564" fmla="*/ 130883 h 410520"/>
                <a:gd name="connsiteX565" fmla="*/ 2355465 w 2663946"/>
                <a:gd name="connsiteY565" fmla="*/ 130342 h 410520"/>
                <a:gd name="connsiteX566" fmla="*/ 2349517 w 2663946"/>
                <a:gd name="connsiteY566" fmla="*/ 130342 h 410520"/>
                <a:gd name="connsiteX567" fmla="*/ 2342216 w 2663946"/>
                <a:gd name="connsiteY567" fmla="*/ 125746 h 410520"/>
                <a:gd name="connsiteX568" fmla="*/ 2341946 w 2663946"/>
                <a:gd name="connsiteY568" fmla="*/ 120068 h 410520"/>
                <a:gd name="connsiteX569" fmla="*/ 2349246 w 2663946"/>
                <a:gd name="connsiteY569" fmla="*/ 114931 h 410520"/>
                <a:gd name="connsiteX570" fmla="*/ 2361413 w 2663946"/>
                <a:gd name="connsiteY570" fmla="*/ 114660 h 410520"/>
                <a:gd name="connsiteX571" fmla="*/ 2285396 w 2663946"/>
                <a:gd name="connsiteY571" fmla="*/ 114660 h 410520"/>
                <a:gd name="connsiteX572" fmla="*/ 2289452 w 2663946"/>
                <a:gd name="connsiteY572" fmla="*/ 114660 h 410520"/>
                <a:gd name="connsiteX573" fmla="*/ 2294048 w 2663946"/>
                <a:gd name="connsiteY573" fmla="*/ 117094 h 410520"/>
                <a:gd name="connsiteX574" fmla="*/ 2296212 w 2663946"/>
                <a:gd name="connsiteY574" fmla="*/ 123312 h 410520"/>
                <a:gd name="connsiteX575" fmla="*/ 2296212 w 2663946"/>
                <a:gd name="connsiteY575" fmla="*/ 123853 h 410520"/>
                <a:gd name="connsiteX576" fmla="*/ 2296212 w 2663946"/>
                <a:gd name="connsiteY576" fmla="*/ 176848 h 410520"/>
                <a:gd name="connsiteX577" fmla="*/ 2296752 w 2663946"/>
                <a:gd name="connsiteY577" fmla="*/ 177388 h 410520"/>
                <a:gd name="connsiteX578" fmla="*/ 2304052 w 2663946"/>
                <a:gd name="connsiteY578" fmla="*/ 177388 h 410520"/>
                <a:gd name="connsiteX579" fmla="*/ 2308108 w 2663946"/>
                <a:gd name="connsiteY579" fmla="*/ 178470 h 410520"/>
                <a:gd name="connsiteX580" fmla="*/ 2311893 w 2663946"/>
                <a:gd name="connsiteY580" fmla="*/ 185229 h 410520"/>
                <a:gd name="connsiteX581" fmla="*/ 2309190 w 2663946"/>
                <a:gd name="connsiteY581" fmla="*/ 190907 h 410520"/>
                <a:gd name="connsiteX582" fmla="*/ 2305134 w 2663946"/>
                <a:gd name="connsiteY582" fmla="*/ 192800 h 410520"/>
                <a:gd name="connsiteX583" fmla="*/ 2304864 w 2663946"/>
                <a:gd name="connsiteY583" fmla="*/ 192800 h 410520"/>
                <a:gd name="connsiteX584" fmla="*/ 2304593 w 2663946"/>
                <a:gd name="connsiteY584" fmla="*/ 192800 h 410520"/>
                <a:gd name="connsiteX585" fmla="*/ 2304052 w 2663946"/>
                <a:gd name="connsiteY585" fmla="*/ 192800 h 410520"/>
                <a:gd name="connsiteX586" fmla="*/ 2271877 w 2663946"/>
                <a:gd name="connsiteY586" fmla="*/ 192800 h 410520"/>
                <a:gd name="connsiteX587" fmla="*/ 2271337 w 2663946"/>
                <a:gd name="connsiteY587" fmla="*/ 192800 h 410520"/>
                <a:gd name="connsiteX588" fmla="*/ 2270525 w 2663946"/>
                <a:gd name="connsiteY588" fmla="*/ 192800 h 410520"/>
                <a:gd name="connsiteX589" fmla="*/ 2269714 w 2663946"/>
                <a:gd name="connsiteY589" fmla="*/ 192530 h 410520"/>
                <a:gd name="connsiteX590" fmla="*/ 2266199 w 2663946"/>
                <a:gd name="connsiteY590" fmla="*/ 190637 h 410520"/>
                <a:gd name="connsiteX591" fmla="*/ 2263766 w 2663946"/>
                <a:gd name="connsiteY591" fmla="*/ 184959 h 410520"/>
                <a:gd name="connsiteX592" fmla="*/ 2265929 w 2663946"/>
                <a:gd name="connsiteY592" fmla="*/ 179822 h 410520"/>
                <a:gd name="connsiteX593" fmla="*/ 2271607 w 2663946"/>
                <a:gd name="connsiteY593" fmla="*/ 177388 h 410520"/>
                <a:gd name="connsiteX594" fmla="*/ 2279448 w 2663946"/>
                <a:gd name="connsiteY594" fmla="*/ 177388 h 410520"/>
                <a:gd name="connsiteX595" fmla="*/ 2279989 w 2663946"/>
                <a:gd name="connsiteY595" fmla="*/ 176848 h 410520"/>
                <a:gd name="connsiteX596" fmla="*/ 2279989 w 2663946"/>
                <a:gd name="connsiteY596" fmla="*/ 130883 h 410520"/>
                <a:gd name="connsiteX597" fmla="*/ 2279448 w 2663946"/>
                <a:gd name="connsiteY597" fmla="*/ 130342 h 410520"/>
                <a:gd name="connsiteX598" fmla="*/ 2273500 w 2663946"/>
                <a:gd name="connsiteY598" fmla="*/ 130342 h 410520"/>
                <a:gd name="connsiteX599" fmla="*/ 2266199 w 2663946"/>
                <a:gd name="connsiteY599" fmla="*/ 125746 h 410520"/>
                <a:gd name="connsiteX600" fmla="*/ 2265929 w 2663946"/>
                <a:gd name="connsiteY600" fmla="*/ 120068 h 410520"/>
                <a:gd name="connsiteX601" fmla="*/ 2273229 w 2663946"/>
                <a:gd name="connsiteY601" fmla="*/ 114931 h 410520"/>
                <a:gd name="connsiteX602" fmla="*/ 2285396 w 2663946"/>
                <a:gd name="connsiteY602" fmla="*/ 114660 h 410520"/>
                <a:gd name="connsiteX603" fmla="*/ 1936416 w 2663946"/>
                <a:gd name="connsiteY603" fmla="*/ 114660 h 410520"/>
                <a:gd name="connsiteX604" fmla="*/ 1940472 w 2663946"/>
                <a:gd name="connsiteY604" fmla="*/ 114660 h 410520"/>
                <a:gd name="connsiteX605" fmla="*/ 1945068 w 2663946"/>
                <a:gd name="connsiteY605" fmla="*/ 117094 h 410520"/>
                <a:gd name="connsiteX606" fmla="*/ 1947232 w 2663946"/>
                <a:gd name="connsiteY606" fmla="*/ 123312 h 410520"/>
                <a:gd name="connsiteX607" fmla="*/ 1947232 w 2663946"/>
                <a:gd name="connsiteY607" fmla="*/ 123853 h 410520"/>
                <a:gd name="connsiteX608" fmla="*/ 1947232 w 2663946"/>
                <a:gd name="connsiteY608" fmla="*/ 176848 h 410520"/>
                <a:gd name="connsiteX609" fmla="*/ 1947772 w 2663946"/>
                <a:gd name="connsiteY609" fmla="*/ 177388 h 410520"/>
                <a:gd name="connsiteX610" fmla="*/ 1955072 w 2663946"/>
                <a:gd name="connsiteY610" fmla="*/ 177388 h 410520"/>
                <a:gd name="connsiteX611" fmla="*/ 1959128 w 2663946"/>
                <a:gd name="connsiteY611" fmla="*/ 178470 h 410520"/>
                <a:gd name="connsiteX612" fmla="*/ 1962913 w 2663946"/>
                <a:gd name="connsiteY612" fmla="*/ 185229 h 410520"/>
                <a:gd name="connsiteX613" fmla="*/ 1960210 w 2663946"/>
                <a:gd name="connsiteY613" fmla="*/ 190907 h 410520"/>
                <a:gd name="connsiteX614" fmla="*/ 1956154 w 2663946"/>
                <a:gd name="connsiteY614" fmla="*/ 192800 h 410520"/>
                <a:gd name="connsiteX615" fmla="*/ 1955884 w 2663946"/>
                <a:gd name="connsiteY615" fmla="*/ 192800 h 410520"/>
                <a:gd name="connsiteX616" fmla="*/ 1955613 w 2663946"/>
                <a:gd name="connsiteY616" fmla="*/ 192800 h 410520"/>
                <a:gd name="connsiteX617" fmla="*/ 1955072 w 2663946"/>
                <a:gd name="connsiteY617" fmla="*/ 192800 h 410520"/>
                <a:gd name="connsiteX618" fmla="*/ 1922897 w 2663946"/>
                <a:gd name="connsiteY618" fmla="*/ 192800 h 410520"/>
                <a:gd name="connsiteX619" fmla="*/ 1922357 w 2663946"/>
                <a:gd name="connsiteY619" fmla="*/ 192800 h 410520"/>
                <a:gd name="connsiteX620" fmla="*/ 1921545 w 2663946"/>
                <a:gd name="connsiteY620" fmla="*/ 192800 h 410520"/>
                <a:gd name="connsiteX621" fmla="*/ 1920734 w 2663946"/>
                <a:gd name="connsiteY621" fmla="*/ 192530 h 410520"/>
                <a:gd name="connsiteX622" fmla="*/ 1917219 w 2663946"/>
                <a:gd name="connsiteY622" fmla="*/ 190637 h 410520"/>
                <a:gd name="connsiteX623" fmla="*/ 1914786 w 2663946"/>
                <a:gd name="connsiteY623" fmla="*/ 184959 h 410520"/>
                <a:gd name="connsiteX624" fmla="*/ 1916949 w 2663946"/>
                <a:gd name="connsiteY624" fmla="*/ 179822 h 410520"/>
                <a:gd name="connsiteX625" fmla="*/ 1922627 w 2663946"/>
                <a:gd name="connsiteY625" fmla="*/ 177388 h 410520"/>
                <a:gd name="connsiteX626" fmla="*/ 1930468 w 2663946"/>
                <a:gd name="connsiteY626" fmla="*/ 177388 h 410520"/>
                <a:gd name="connsiteX627" fmla="*/ 1931009 w 2663946"/>
                <a:gd name="connsiteY627" fmla="*/ 176848 h 410520"/>
                <a:gd name="connsiteX628" fmla="*/ 1931009 w 2663946"/>
                <a:gd name="connsiteY628" fmla="*/ 130883 h 410520"/>
                <a:gd name="connsiteX629" fmla="*/ 1930468 w 2663946"/>
                <a:gd name="connsiteY629" fmla="*/ 130342 h 410520"/>
                <a:gd name="connsiteX630" fmla="*/ 1924520 w 2663946"/>
                <a:gd name="connsiteY630" fmla="*/ 130342 h 410520"/>
                <a:gd name="connsiteX631" fmla="*/ 1917219 w 2663946"/>
                <a:gd name="connsiteY631" fmla="*/ 125746 h 410520"/>
                <a:gd name="connsiteX632" fmla="*/ 1916949 w 2663946"/>
                <a:gd name="connsiteY632" fmla="*/ 120068 h 410520"/>
                <a:gd name="connsiteX633" fmla="*/ 1924249 w 2663946"/>
                <a:gd name="connsiteY633" fmla="*/ 114931 h 410520"/>
                <a:gd name="connsiteX634" fmla="*/ 1936416 w 2663946"/>
                <a:gd name="connsiteY634" fmla="*/ 114660 h 410520"/>
                <a:gd name="connsiteX635" fmla="*/ 1678521 w 2663946"/>
                <a:gd name="connsiteY635" fmla="*/ 114660 h 410520"/>
                <a:gd name="connsiteX636" fmla="*/ 1682577 w 2663946"/>
                <a:gd name="connsiteY636" fmla="*/ 114660 h 410520"/>
                <a:gd name="connsiteX637" fmla="*/ 1687173 w 2663946"/>
                <a:gd name="connsiteY637" fmla="*/ 117094 h 410520"/>
                <a:gd name="connsiteX638" fmla="*/ 1689336 w 2663946"/>
                <a:gd name="connsiteY638" fmla="*/ 123312 h 410520"/>
                <a:gd name="connsiteX639" fmla="*/ 1689336 w 2663946"/>
                <a:gd name="connsiteY639" fmla="*/ 123853 h 410520"/>
                <a:gd name="connsiteX640" fmla="*/ 1689336 w 2663946"/>
                <a:gd name="connsiteY640" fmla="*/ 176848 h 410520"/>
                <a:gd name="connsiteX641" fmla="*/ 1689877 w 2663946"/>
                <a:gd name="connsiteY641" fmla="*/ 177388 h 410520"/>
                <a:gd name="connsiteX642" fmla="*/ 1697177 w 2663946"/>
                <a:gd name="connsiteY642" fmla="*/ 177388 h 410520"/>
                <a:gd name="connsiteX643" fmla="*/ 1701233 w 2663946"/>
                <a:gd name="connsiteY643" fmla="*/ 178470 h 410520"/>
                <a:gd name="connsiteX644" fmla="*/ 1705018 w 2663946"/>
                <a:gd name="connsiteY644" fmla="*/ 185229 h 410520"/>
                <a:gd name="connsiteX645" fmla="*/ 1702315 w 2663946"/>
                <a:gd name="connsiteY645" fmla="*/ 190907 h 410520"/>
                <a:gd name="connsiteX646" fmla="*/ 1698259 w 2663946"/>
                <a:gd name="connsiteY646" fmla="*/ 192800 h 410520"/>
                <a:gd name="connsiteX647" fmla="*/ 1697989 w 2663946"/>
                <a:gd name="connsiteY647" fmla="*/ 192800 h 410520"/>
                <a:gd name="connsiteX648" fmla="*/ 1697718 w 2663946"/>
                <a:gd name="connsiteY648" fmla="*/ 192800 h 410520"/>
                <a:gd name="connsiteX649" fmla="*/ 1697177 w 2663946"/>
                <a:gd name="connsiteY649" fmla="*/ 192800 h 410520"/>
                <a:gd name="connsiteX650" fmla="*/ 1665002 w 2663946"/>
                <a:gd name="connsiteY650" fmla="*/ 192800 h 410520"/>
                <a:gd name="connsiteX651" fmla="*/ 1664462 w 2663946"/>
                <a:gd name="connsiteY651" fmla="*/ 192800 h 410520"/>
                <a:gd name="connsiteX652" fmla="*/ 1663650 w 2663946"/>
                <a:gd name="connsiteY652" fmla="*/ 192800 h 410520"/>
                <a:gd name="connsiteX653" fmla="*/ 1662839 w 2663946"/>
                <a:gd name="connsiteY653" fmla="*/ 192530 h 410520"/>
                <a:gd name="connsiteX654" fmla="*/ 1659324 w 2663946"/>
                <a:gd name="connsiteY654" fmla="*/ 190637 h 410520"/>
                <a:gd name="connsiteX655" fmla="*/ 1656891 w 2663946"/>
                <a:gd name="connsiteY655" fmla="*/ 184959 h 410520"/>
                <a:gd name="connsiteX656" fmla="*/ 1659054 w 2663946"/>
                <a:gd name="connsiteY656" fmla="*/ 179822 h 410520"/>
                <a:gd name="connsiteX657" fmla="*/ 1664732 w 2663946"/>
                <a:gd name="connsiteY657" fmla="*/ 177388 h 410520"/>
                <a:gd name="connsiteX658" fmla="*/ 1672573 w 2663946"/>
                <a:gd name="connsiteY658" fmla="*/ 177388 h 410520"/>
                <a:gd name="connsiteX659" fmla="*/ 1673114 w 2663946"/>
                <a:gd name="connsiteY659" fmla="*/ 176848 h 410520"/>
                <a:gd name="connsiteX660" fmla="*/ 1673114 w 2663946"/>
                <a:gd name="connsiteY660" fmla="*/ 130883 h 410520"/>
                <a:gd name="connsiteX661" fmla="*/ 1672573 w 2663946"/>
                <a:gd name="connsiteY661" fmla="*/ 130342 h 410520"/>
                <a:gd name="connsiteX662" fmla="*/ 1666625 w 2663946"/>
                <a:gd name="connsiteY662" fmla="*/ 130342 h 410520"/>
                <a:gd name="connsiteX663" fmla="*/ 1659324 w 2663946"/>
                <a:gd name="connsiteY663" fmla="*/ 125746 h 410520"/>
                <a:gd name="connsiteX664" fmla="*/ 1659054 w 2663946"/>
                <a:gd name="connsiteY664" fmla="*/ 120068 h 410520"/>
                <a:gd name="connsiteX665" fmla="*/ 1666354 w 2663946"/>
                <a:gd name="connsiteY665" fmla="*/ 114931 h 410520"/>
                <a:gd name="connsiteX666" fmla="*/ 1678521 w 2663946"/>
                <a:gd name="connsiteY666" fmla="*/ 114660 h 410520"/>
                <a:gd name="connsiteX667" fmla="*/ 1329614 w 2663946"/>
                <a:gd name="connsiteY667" fmla="*/ 114660 h 410520"/>
                <a:gd name="connsiteX668" fmla="*/ 1333670 w 2663946"/>
                <a:gd name="connsiteY668" fmla="*/ 114660 h 410520"/>
                <a:gd name="connsiteX669" fmla="*/ 1338266 w 2663946"/>
                <a:gd name="connsiteY669" fmla="*/ 117094 h 410520"/>
                <a:gd name="connsiteX670" fmla="*/ 1340429 w 2663946"/>
                <a:gd name="connsiteY670" fmla="*/ 123312 h 410520"/>
                <a:gd name="connsiteX671" fmla="*/ 1340429 w 2663946"/>
                <a:gd name="connsiteY671" fmla="*/ 123853 h 410520"/>
                <a:gd name="connsiteX672" fmla="*/ 1340429 w 2663946"/>
                <a:gd name="connsiteY672" fmla="*/ 176848 h 410520"/>
                <a:gd name="connsiteX673" fmla="*/ 1340970 w 2663946"/>
                <a:gd name="connsiteY673" fmla="*/ 177388 h 410520"/>
                <a:gd name="connsiteX674" fmla="*/ 1348270 w 2663946"/>
                <a:gd name="connsiteY674" fmla="*/ 177388 h 410520"/>
                <a:gd name="connsiteX675" fmla="*/ 1352326 w 2663946"/>
                <a:gd name="connsiteY675" fmla="*/ 178470 h 410520"/>
                <a:gd name="connsiteX676" fmla="*/ 1356111 w 2663946"/>
                <a:gd name="connsiteY676" fmla="*/ 185229 h 410520"/>
                <a:gd name="connsiteX677" fmla="*/ 1353408 w 2663946"/>
                <a:gd name="connsiteY677" fmla="*/ 190907 h 410520"/>
                <a:gd name="connsiteX678" fmla="*/ 1349352 w 2663946"/>
                <a:gd name="connsiteY678" fmla="*/ 192800 h 410520"/>
                <a:gd name="connsiteX679" fmla="*/ 1349082 w 2663946"/>
                <a:gd name="connsiteY679" fmla="*/ 192800 h 410520"/>
                <a:gd name="connsiteX680" fmla="*/ 1348811 w 2663946"/>
                <a:gd name="connsiteY680" fmla="*/ 192800 h 410520"/>
                <a:gd name="connsiteX681" fmla="*/ 1348270 w 2663946"/>
                <a:gd name="connsiteY681" fmla="*/ 192800 h 410520"/>
                <a:gd name="connsiteX682" fmla="*/ 1316095 w 2663946"/>
                <a:gd name="connsiteY682" fmla="*/ 192800 h 410520"/>
                <a:gd name="connsiteX683" fmla="*/ 1315555 w 2663946"/>
                <a:gd name="connsiteY683" fmla="*/ 192800 h 410520"/>
                <a:gd name="connsiteX684" fmla="*/ 1314743 w 2663946"/>
                <a:gd name="connsiteY684" fmla="*/ 192800 h 410520"/>
                <a:gd name="connsiteX685" fmla="*/ 1313932 w 2663946"/>
                <a:gd name="connsiteY685" fmla="*/ 192530 h 410520"/>
                <a:gd name="connsiteX686" fmla="*/ 1310417 w 2663946"/>
                <a:gd name="connsiteY686" fmla="*/ 190637 h 410520"/>
                <a:gd name="connsiteX687" fmla="*/ 1307984 w 2663946"/>
                <a:gd name="connsiteY687" fmla="*/ 184959 h 410520"/>
                <a:gd name="connsiteX688" fmla="*/ 1310147 w 2663946"/>
                <a:gd name="connsiteY688" fmla="*/ 179822 h 410520"/>
                <a:gd name="connsiteX689" fmla="*/ 1315825 w 2663946"/>
                <a:gd name="connsiteY689" fmla="*/ 177388 h 410520"/>
                <a:gd name="connsiteX690" fmla="*/ 1323666 w 2663946"/>
                <a:gd name="connsiteY690" fmla="*/ 177388 h 410520"/>
                <a:gd name="connsiteX691" fmla="*/ 1324207 w 2663946"/>
                <a:gd name="connsiteY691" fmla="*/ 176848 h 410520"/>
                <a:gd name="connsiteX692" fmla="*/ 1324207 w 2663946"/>
                <a:gd name="connsiteY692" fmla="*/ 130883 h 410520"/>
                <a:gd name="connsiteX693" fmla="*/ 1323666 w 2663946"/>
                <a:gd name="connsiteY693" fmla="*/ 130342 h 410520"/>
                <a:gd name="connsiteX694" fmla="*/ 1317718 w 2663946"/>
                <a:gd name="connsiteY694" fmla="*/ 130342 h 410520"/>
                <a:gd name="connsiteX695" fmla="*/ 1310417 w 2663946"/>
                <a:gd name="connsiteY695" fmla="*/ 125746 h 410520"/>
                <a:gd name="connsiteX696" fmla="*/ 1310147 w 2663946"/>
                <a:gd name="connsiteY696" fmla="*/ 120068 h 410520"/>
                <a:gd name="connsiteX697" fmla="*/ 1317447 w 2663946"/>
                <a:gd name="connsiteY697" fmla="*/ 114931 h 410520"/>
                <a:gd name="connsiteX698" fmla="*/ 1329614 w 2663946"/>
                <a:gd name="connsiteY698" fmla="*/ 114660 h 410520"/>
                <a:gd name="connsiteX699" fmla="*/ 980634 w 2663946"/>
                <a:gd name="connsiteY699" fmla="*/ 114660 h 410520"/>
                <a:gd name="connsiteX700" fmla="*/ 984690 w 2663946"/>
                <a:gd name="connsiteY700" fmla="*/ 114660 h 410520"/>
                <a:gd name="connsiteX701" fmla="*/ 989286 w 2663946"/>
                <a:gd name="connsiteY701" fmla="*/ 117094 h 410520"/>
                <a:gd name="connsiteX702" fmla="*/ 991449 w 2663946"/>
                <a:gd name="connsiteY702" fmla="*/ 123312 h 410520"/>
                <a:gd name="connsiteX703" fmla="*/ 991449 w 2663946"/>
                <a:gd name="connsiteY703" fmla="*/ 123853 h 410520"/>
                <a:gd name="connsiteX704" fmla="*/ 991449 w 2663946"/>
                <a:gd name="connsiteY704" fmla="*/ 176848 h 410520"/>
                <a:gd name="connsiteX705" fmla="*/ 991990 w 2663946"/>
                <a:gd name="connsiteY705" fmla="*/ 177388 h 410520"/>
                <a:gd name="connsiteX706" fmla="*/ 999290 w 2663946"/>
                <a:gd name="connsiteY706" fmla="*/ 177388 h 410520"/>
                <a:gd name="connsiteX707" fmla="*/ 1003346 w 2663946"/>
                <a:gd name="connsiteY707" fmla="*/ 178470 h 410520"/>
                <a:gd name="connsiteX708" fmla="*/ 1007131 w 2663946"/>
                <a:gd name="connsiteY708" fmla="*/ 185229 h 410520"/>
                <a:gd name="connsiteX709" fmla="*/ 1004428 w 2663946"/>
                <a:gd name="connsiteY709" fmla="*/ 190907 h 410520"/>
                <a:gd name="connsiteX710" fmla="*/ 1000372 w 2663946"/>
                <a:gd name="connsiteY710" fmla="*/ 192800 h 410520"/>
                <a:gd name="connsiteX711" fmla="*/ 1000102 w 2663946"/>
                <a:gd name="connsiteY711" fmla="*/ 192800 h 410520"/>
                <a:gd name="connsiteX712" fmla="*/ 999831 w 2663946"/>
                <a:gd name="connsiteY712" fmla="*/ 192800 h 410520"/>
                <a:gd name="connsiteX713" fmla="*/ 999290 w 2663946"/>
                <a:gd name="connsiteY713" fmla="*/ 192800 h 410520"/>
                <a:gd name="connsiteX714" fmla="*/ 967115 w 2663946"/>
                <a:gd name="connsiteY714" fmla="*/ 192800 h 410520"/>
                <a:gd name="connsiteX715" fmla="*/ 966575 w 2663946"/>
                <a:gd name="connsiteY715" fmla="*/ 192800 h 410520"/>
                <a:gd name="connsiteX716" fmla="*/ 965763 w 2663946"/>
                <a:gd name="connsiteY716" fmla="*/ 192800 h 410520"/>
                <a:gd name="connsiteX717" fmla="*/ 964952 w 2663946"/>
                <a:gd name="connsiteY717" fmla="*/ 192530 h 410520"/>
                <a:gd name="connsiteX718" fmla="*/ 961437 w 2663946"/>
                <a:gd name="connsiteY718" fmla="*/ 190637 h 410520"/>
                <a:gd name="connsiteX719" fmla="*/ 959004 w 2663946"/>
                <a:gd name="connsiteY719" fmla="*/ 184959 h 410520"/>
                <a:gd name="connsiteX720" fmla="*/ 961167 w 2663946"/>
                <a:gd name="connsiteY720" fmla="*/ 179822 h 410520"/>
                <a:gd name="connsiteX721" fmla="*/ 966845 w 2663946"/>
                <a:gd name="connsiteY721" fmla="*/ 177388 h 410520"/>
                <a:gd name="connsiteX722" fmla="*/ 974686 w 2663946"/>
                <a:gd name="connsiteY722" fmla="*/ 177388 h 410520"/>
                <a:gd name="connsiteX723" fmla="*/ 975227 w 2663946"/>
                <a:gd name="connsiteY723" fmla="*/ 176848 h 410520"/>
                <a:gd name="connsiteX724" fmla="*/ 975227 w 2663946"/>
                <a:gd name="connsiteY724" fmla="*/ 130883 h 410520"/>
                <a:gd name="connsiteX725" fmla="*/ 974686 w 2663946"/>
                <a:gd name="connsiteY725" fmla="*/ 130342 h 410520"/>
                <a:gd name="connsiteX726" fmla="*/ 968738 w 2663946"/>
                <a:gd name="connsiteY726" fmla="*/ 130342 h 410520"/>
                <a:gd name="connsiteX727" fmla="*/ 961437 w 2663946"/>
                <a:gd name="connsiteY727" fmla="*/ 125746 h 410520"/>
                <a:gd name="connsiteX728" fmla="*/ 961167 w 2663946"/>
                <a:gd name="connsiteY728" fmla="*/ 120068 h 410520"/>
                <a:gd name="connsiteX729" fmla="*/ 968467 w 2663946"/>
                <a:gd name="connsiteY729" fmla="*/ 114931 h 410520"/>
                <a:gd name="connsiteX730" fmla="*/ 980634 w 2663946"/>
                <a:gd name="connsiteY730" fmla="*/ 114660 h 410520"/>
                <a:gd name="connsiteX731" fmla="*/ 813605 w 2663946"/>
                <a:gd name="connsiteY731" fmla="*/ 114660 h 410520"/>
                <a:gd name="connsiteX732" fmla="*/ 817661 w 2663946"/>
                <a:gd name="connsiteY732" fmla="*/ 114660 h 410520"/>
                <a:gd name="connsiteX733" fmla="*/ 822257 w 2663946"/>
                <a:gd name="connsiteY733" fmla="*/ 117094 h 410520"/>
                <a:gd name="connsiteX734" fmla="*/ 824420 w 2663946"/>
                <a:gd name="connsiteY734" fmla="*/ 123312 h 410520"/>
                <a:gd name="connsiteX735" fmla="*/ 824420 w 2663946"/>
                <a:gd name="connsiteY735" fmla="*/ 123853 h 410520"/>
                <a:gd name="connsiteX736" fmla="*/ 824420 w 2663946"/>
                <a:gd name="connsiteY736" fmla="*/ 176848 h 410520"/>
                <a:gd name="connsiteX737" fmla="*/ 824961 w 2663946"/>
                <a:gd name="connsiteY737" fmla="*/ 177388 h 410520"/>
                <a:gd name="connsiteX738" fmla="*/ 832261 w 2663946"/>
                <a:gd name="connsiteY738" fmla="*/ 177388 h 410520"/>
                <a:gd name="connsiteX739" fmla="*/ 836317 w 2663946"/>
                <a:gd name="connsiteY739" fmla="*/ 178470 h 410520"/>
                <a:gd name="connsiteX740" fmla="*/ 840102 w 2663946"/>
                <a:gd name="connsiteY740" fmla="*/ 185229 h 410520"/>
                <a:gd name="connsiteX741" fmla="*/ 837399 w 2663946"/>
                <a:gd name="connsiteY741" fmla="*/ 190907 h 410520"/>
                <a:gd name="connsiteX742" fmla="*/ 833343 w 2663946"/>
                <a:gd name="connsiteY742" fmla="*/ 192800 h 410520"/>
                <a:gd name="connsiteX743" fmla="*/ 833073 w 2663946"/>
                <a:gd name="connsiteY743" fmla="*/ 192800 h 410520"/>
                <a:gd name="connsiteX744" fmla="*/ 832802 w 2663946"/>
                <a:gd name="connsiteY744" fmla="*/ 192800 h 410520"/>
                <a:gd name="connsiteX745" fmla="*/ 832261 w 2663946"/>
                <a:gd name="connsiteY745" fmla="*/ 192800 h 410520"/>
                <a:gd name="connsiteX746" fmla="*/ 800086 w 2663946"/>
                <a:gd name="connsiteY746" fmla="*/ 192800 h 410520"/>
                <a:gd name="connsiteX747" fmla="*/ 799546 w 2663946"/>
                <a:gd name="connsiteY747" fmla="*/ 192800 h 410520"/>
                <a:gd name="connsiteX748" fmla="*/ 798734 w 2663946"/>
                <a:gd name="connsiteY748" fmla="*/ 192800 h 410520"/>
                <a:gd name="connsiteX749" fmla="*/ 797923 w 2663946"/>
                <a:gd name="connsiteY749" fmla="*/ 192530 h 410520"/>
                <a:gd name="connsiteX750" fmla="*/ 794408 w 2663946"/>
                <a:gd name="connsiteY750" fmla="*/ 190637 h 410520"/>
                <a:gd name="connsiteX751" fmla="*/ 791975 w 2663946"/>
                <a:gd name="connsiteY751" fmla="*/ 184959 h 410520"/>
                <a:gd name="connsiteX752" fmla="*/ 794138 w 2663946"/>
                <a:gd name="connsiteY752" fmla="*/ 179822 h 410520"/>
                <a:gd name="connsiteX753" fmla="*/ 799816 w 2663946"/>
                <a:gd name="connsiteY753" fmla="*/ 177388 h 410520"/>
                <a:gd name="connsiteX754" fmla="*/ 807657 w 2663946"/>
                <a:gd name="connsiteY754" fmla="*/ 177388 h 410520"/>
                <a:gd name="connsiteX755" fmla="*/ 808198 w 2663946"/>
                <a:gd name="connsiteY755" fmla="*/ 176848 h 410520"/>
                <a:gd name="connsiteX756" fmla="*/ 808198 w 2663946"/>
                <a:gd name="connsiteY756" fmla="*/ 130883 h 410520"/>
                <a:gd name="connsiteX757" fmla="*/ 807657 w 2663946"/>
                <a:gd name="connsiteY757" fmla="*/ 130342 h 410520"/>
                <a:gd name="connsiteX758" fmla="*/ 801709 w 2663946"/>
                <a:gd name="connsiteY758" fmla="*/ 130342 h 410520"/>
                <a:gd name="connsiteX759" fmla="*/ 794408 w 2663946"/>
                <a:gd name="connsiteY759" fmla="*/ 125746 h 410520"/>
                <a:gd name="connsiteX760" fmla="*/ 794138 w 2663946"/>
                <a:gd name="connsiteY760" fmla="*/ 120068 h 410520"/>
                <a:gd name="connsiteX761" fmla="*/ 801438 w 2663946"/>
                <a:gd name="connsiteY761" fmla="*/ 114931 h 410520"/>
                <a:gd name="connsiteX762" fmla="*/ 813605 w 2663946"/>
                <a:gd name="connsiteY762" fmla="*/ 114660 h 410520"/>
                <a:gd name="connsiteX763" fmla="*/ 282748 w 2663946"/>
                <a:gd name="connsiteY763" fmla="*/ 114660 h 410520"/>
                <a:gd name="connsiteX764" fmla="*/ 286803 w 2663946"/>
                <a:gd name="connsiteY764" fmla="*/ 114660 h 410520"/>
                <a:gd name="connsiteX765" fmla="*/ 291400 w 2663946"/>
                <a:gd name="connsiteY765" fmla="*/ 117094 h 410520"/>
                <a:gd name="connsiteX766" fmla="*/ 293563 w 2663946"/>
                <a:gd name="connsiteY766" fmla="*/ 123312 h 410520"/>
                <a:gd name="connsiteX767" fmla="*/ 293563 w 2663946"/>
                <a:gd name="connsiteY767" fmla="*/ 123853 h 410520"/>
                <a:gd name="connsiteX768" fmla="*/ 293563 w 2663946"/>
                <a:gd name="connsiteY768" fmla="*/ 176848 h 410520"/>
                <a:gd name="connsiteX769" fmla="*/ 294104 w 2663946"/>
                <a:gd name="connsiteY769" fmla="*/ 177388 h 410520"/>
                <a:gd name="connsiteX770" fmla="*/ 301404 w 2663946"/>
                <a:gd name="connsiteY770" fmla="*/ 177388 h 410520"/>
                <a:gd name="connsiteX771" fmla="*/ 305460 w 2663946"/>
                <a:gd name="connsiteY771" fmla="*/ 178470 h 410520"/>
                <a:gd name="connsiteX772" fmla="*/ 309245 w 2663946"/>
                <a:gd name="connsiteY772" fmla="*/ 185229 h 410520"/>
                <a:gd name="connsiteX773" fmla="*/ 306541 w 2663946"/>
                <a:gd name="connsiteY773" fmla="*/ 190907 h 410520"/>
                <a:gd name="connsiteX774" fmla="*/ 302485 w 2663946"/>
                <a:gd name="connsiteY774" fmla="*/ 192800 h 410520"/>
                <a:gd name="connsiteX775" fmla="*/ 302215 w 2663946"/>
                <a:gd name="connsiteY775" fmla="*/ 192800 h 410520"/>
                <a:gd name="connsiteX776" fmla="*/ 301945 w 2663946"/>
                <a:gd name="connsiteY776" fmla="*/ 192800 h 410520"/>
                <a:gd name="connsiteX777" fmla="*/ 301404 w 2663946"/>
                <a:gd name="connsiteY777" fmla="*/ 192800 h 410520"/>
                <a:gd name="connsiteX778" fmla="*/ 269229 w 2663946"/>
                <a:gd name="connsiteY778" fmla="*/ 192800 h 410520"/>
                <a:gd name="connsiteX779" fmla="*/ 268688 w 2663946"/>
                <a:gd name="connsiteY779" fmla="*/ 192800 h 410520"/>
                <a:gd name="connsiteX780" fmla="*/ 267877 w 2663946"/>
                <a:gd name="connsiteY780" fmla="*/ 192800 h 410520"/>
                <a:gd name="connsiteX781" fmla="*/ 267066 w 2663946"/>
                <a:gd name="connsiteY781" fmla="*/ 192530 h 410520"/>
                <a:gd name="connsiteX782" fmla="*/ 263551 w 2663946"/>
                <a:gd name="connsiteY782" fmla="*/ 190637 h 410520"/>
                <a:gd name="connsiteX783" fmla="*/ 261117 w 2663946"/>
                <a:gd name="connsiteY783" fmla="*/ 184959 h 410520"/>
                <a:gd name="connsiteX784" fmla="*/ 263281 w 2663946"/>
                <a:gd name="connsiteY784" fmla="*/ 179822 h 410520"/>
                <a:gd name="connsiteX785" fmla="*/ 268958 w 2663946"/>
                <a:gd name="connsiteY785" fmla="*/ 177388 h 410520"/>
                <a:gd name="connsiteX786" fmla="*/ 276800 w 2663946"/>
                <a:gd name="connsiteY786" fmla="*/ 177388 h 410520"/>
                <a:gd name="connsiteX787" fmla="*/ 277340 w 2663946"/>
                <a:gd name="connsiteY787" fmla="*/ 176848 h 410520"/>
                <a:gd name="connsiteX788" fmla="*/ 277340 w 2663946"/>
                <a:gd name="connsiteY788" fmla="*/ 130883 h 410520"/>
                <a:gd name="connsiteX789" fmla="*/ 276800 w 2663946"/>
                <a:gd name="connsiteY789" fmla="*/ 130342 h 410520"/>
                <a:gd name="connsiteX790" fmla="*/ 270851 w 2663946"/>
                <a:gd name="connsiteY790" fmla="*/ 130342 h 410520"/>
                <a:gd name="connsiteX791" fmla="*/ 263551 w 2663946"/>
                <a:gd name="connsiteY791" fmla="*/ 125746 h 410520"/>
                <a:gd name="connsiteX792" fmla="*/ 263281 w 2663946"/>
                <a:gd name="connsiteY792" fmla="*/ 120068 h 410520"/>
                <a:gd name="connsiteX793" fmla="*/ 270581 w 2663946"/>
                <a:gd name="connsiteY793" fmla="*/ 114931 h 410520"/>
                <a:gd name="connsiteX794" fmla="*/ 282748 w 2663946"/>
                <a:gd name="connsiteY794" fmla="*/ 114660 h 410520"/>
                <a:gd name="connsiteX795" fmla="*/ 206731 w 2663946"/>
                <a:gd name="connsiteY795" fmla="*/ 114660 h 410520"/>
                <a:gd name="connsiteX796" fmla="*/ 210787 w 2663946"/>
                <a:gd name="connsiteY796" fmla="*/ 114660 h 410520"/>
                <a:gd name="connsiteX797" fmla="*/ 215383 w 2663946"/>
                <a:gd name="connsiteY797" fmla="*/ 117094 h 410520"/>
                <a:gd name="connsiteX798" fmla="*/ 217546 w 2663946"/>
                <a:gd name="connsiteY798" fmla="*/ 123312 h 410520"/>
                <a:gd name="connsiteX799" fmla="*/ 217546 w 2663946"/>
                <a:gd name="connsiteY799" fmla="*/ 123853 h 410520"/>
                <a:gd name="connsiteX800" fmla="*/ 217546 w 2663946"/>
                <a:gd name="connsiteY800" fmla="*/ 176848 h 410520"/>
                <a:gd name="connsiteX801" fmla="*/ 218087 w 2663946"/>
                <a:gd name="connsiteY801" fmla="*/ 177388 h 410520"/>
                <a:gd name="connsiteX802" fmla="*/ 225387 w 2663946"/>
                <a:gd name="connsiteY802" fmla="*/ 177388 h 410520"/>
                <a:gd name="connsiteX803" fmla="*/ 229443 w 2663946"/>
                <a:gd name="connsiteY803" fmla="*/ 178470 h 410520"/>
                <a:gd name="connsiteX804" fmla="*/ 233228 w 2663946"/>
                <a:gd name="connsiteY804" fmla="*/ 185229 h 410520"/>
                <a:gd name="connsiteX805" fmla="*/ 230524 w 2663946"/>
                <a:gd name="connsiteY805" fmla="*/ 190907 h 410520"/>
                <a:gd name="connsiteX806" fmla="*/ 226468 w 2663946"/>
                <a:gd name="connsiteY806" fmla="*/ 192800 h 410520"/>
                <a:gd name="connsiteX807" fmla="*/ 226198 w 2663946"/>
                <a:gd name="connsiteY807" fmla="*/ 192800 h 410520"/>
                <a:gd name="connsiteX808" fmla="*/ 225928 w 2663946"/>
                <a:gd name="connsiteY808" fmla="*/ 192800 h 410520"/>
                <a:gd name="connsiteX809" fmla="*/ 225387 w 2663946"/>
                <a:gd name="connsiteY809" fmla="*/ 192800 h 410520"/>
                <a:gd name="connsiteX810" fmla="*/ 193212 w 2663946"/>
                <a:gd name="connsiteY810" fmla="*/ 192800 h 410520"/>
                <a:gd name="connsiteX811" fmla="*/ 192671 w 2663946"/>
                <a:gd name="connsiteY811" fmla="*/ 192800 h 410520"/>
                <a:gd name="connsiteX812" fmla="*/ 191860 w 2663946"/>
                <a:gd name="connsiteY812" fmla="*/ 192800 h 410520"/>
                <a:gd name="connsiteX813" fmla="*/ 191049 w 2663946"/>
                <a:gd name="connsiteY813" fmla="*/ 192530 h 410520"/>
                <a:gd name="connsiteX814" fmla="*/ 187534 w 2663946"/>
                <a:gd name="connsiteY814" fmla="*/ 190637 h 410520"/>
                <a:gd name="connsiteX815" fmla="*/ 185101 w 2663946"/>
                <a:gd name="connsiteY815" fmla="*/ 184959 h 410520"/>
                <a:gd name="connsiteX816" fmla="*/ 187264 w 2663946"/>
                <a:gd name="connsiteY816" fmla="*/ 179822 h 410520"/>
                <a:gd name="connsiteX817" fmla="*/ 192942 w 2663946"/>
                <a:gd name="connsiteY817" fmla="*/ 177388 h 410520"/>
                <a:gd name="connsiteX818" fmla="*/ 200783 w 2663946"/>
                <a:gd name="connsiteY818" fmla="*/ 177388 h 410520"/>
                <a:gd name="connsiteX819" fmla="*/ 201323 w 2663946"/>
                <a:gd name="connsiteY819" fmla="*/ 176848 h 410520"/>
                <a:gd name="connsiteX820" fmla="*/ 201323 w 2663946"/>
                <a:gd name="connsiteY820" fmla="*/ 130883 h 410520"/>
                <a:gd name="connsiteX821" fmla="*/ 200783 w 2663946"/>
                <a:gd name="connsiteY821" fmla="*/ 130342 h 410520"/>
                <a:gd name="connsiteX822" fmla="*/ 194834 w 2663946"/>
                <a:gd name="connsiteY822" fmla="*/ 130342 h 410520"/>
                <a:gd name="connsiteX823" fmla="*/ 187534 w 2663946"/>
                <a:gd name="connsiteY823" fmla="*/ 125746 h 410520"/>
                <a:gd name="connsiteX824" fmla="*/ 187264 w 2663946"/>
                <a:gd name="connsiteY824" fmla="*/ 120068 h 410520"/>
                <a:gd name="connsiteX825" fmla="*/ 194564 w 2663946"/>
                <a:gd name="connsiteY825" fmla="*/ 114931 h 410520"/>
                <a:gd name="connsiteX826" fmla="*/ 206731 w 2663946"/>
                <a:gd name="connsiteY826" fmla="*/ 114660 h 410520"/>
                <a:gd name="connsiteX827" fmla="*/ 2627559 w 2663946"/>
                <a:gd name="connsiteY827" fmla="*/ 114591 h 410520"/>
                <a:gd name="connsiteX828" fmla="*/ 2639849 w 2663946"/>
                <a:gd name="connsiteY828" fmla="*/ 116754 h 410520"/>
                <a:gd name="connsiteX829" fmla="*/ 2647223 w 2663946"/>
                <a:gd name="connsiteY829" fmla="*/ 121351 h 410520"/>
                <a:gd name="connsiteX830" fmla="*/ 2650664 w 2663946"/>
                <a:gd name="connsiteY830" fmla="*/ 124595 h 410520"/>
                <a:gd name="connsiteX831" fmla="*/ 2654106 w 2663946"/>
                <a:gd name="connsiteY831" fmla="*/ 128921 h 410520"/>
                <a:gd name="connsiteX832" fmla="*/ 2656072 w 2663946"/>
                <a:gd name="connsiteY832" fmla="*/ 132436 h 410520"/>
                <a:gd name="connsiteX833" fmla="*/ 2658284 w 2663946"/>
                <a:gd name="connsiteY833" fmla="*/ 137844 h 410520"/>
                <a:gd name="connsiteX834" fmla="*/ 2659267 w 2663946"/>
                <a:gd name="connsiteY834" fmla="*/ 141359 h 410520"/>
                <a:gd name="connsiteX835" fmla="*/ 2660251 w 2663946"/>
                <a:gd name="connsiteY835" fmla="*/ 146496 h 410520"/>
                <a:gd name="connsiteX836" fmla="*/ 2660005 w 2663946"/>
                <a:gd name="connsiteY836" fmla="*/ 160826 h 410520"/>
                <a:gd name="connsiteX837" fmla="*/ 2659022 w 2663946"/>
                <a:gd name="connsiteY837" fmla="*/ 165693 h 410520"/>
                <a:gd name="connsiteX838" fmla="*/ 2657792 w 2663946"/>
                <a:gd name="connsiteY838" fmla="*/ 169478 h 410520"/>
                <a:gd name="connsiteX839" fmla="*/ 2656809 w 2663946"/>
                <a:gd name="connsiteY839" fmla="*/ 171912 h 410520"/>
                <a:gd name="connsiteX840" fmla="*/ 2654597 w 2663946"/>
                <a:gd name="connsiteY840" fmla="*/ 176238 h 410520"/>
                <a:gd name="connsiteX841" fmla="*/ 2652385 w 2663946"/>
                <a:gd name="connsiteY841" fmla="*/ 179482 h 410520"/>
                <a:gd name="connsiteX842" fmla="*/ 2648944 w 2663946"/>
                <a:gd name="connsiteY842" fmla="*/ 183268 h 410520"/>
                <a:gd name="connsiteX843" fmla="*/ 2645748 w 2663946"/>
                <a:gd name="connsiteY843" fmla="*/ 185971 h 410520"/>
                <a:gd name="connsiteX844" fmla="*/ 2640095 w 2663946"/>
                <a:gd name="connsiteY844" fmla="*/ 189216 h 410520"/>
                <a:gd name="connsiteX845" fmla="*/ 2632229 w 2663946"/>
                <a:gd name="connsiteY845" fmla="*/ 191379 h 410520"/>
                <a:gd name="connsiteX846" fmla="*/ 2631000 w 2663946"/>
                <a:gd name="connsiteY846" fmla="*/ 191650 h 410520"/>
                <a:gd name="connsiteX847" fmla="*/ 2626821 w 2663946"/>
                <a:gd name="connsiteY847" fmla="*/ 191650 h 410520"/>
                <a:gd name="connsiteX848" fmla="*/ 2626576 w 2663946"/>
                <a:gd name="connsiteY848" fmla="*/ 191650 h 410520"/>
                <a:gd name="connsiteX849" fmla="*/ 2613548 w 2663946"/>
                <a:gd name="connsiteY849" fmla="*/ 186783 h 410520"/>
                <a:gd name="connsiteX850" fmla="*/ 2608878 w 2663946"/>
                <a:gd name="connsiteY850" fmla="*/ 182727 h 410520"/>
                <a:gd name="connsiteX851" fmla="*/ 2605682 w 2663946"/>
                <a:gd name="connsiteY851" fmla="*/ 178942 h 410520"/>
                <a:gd name="connsiteX852" fmla="*/ 2603470 w 2663946"/>
                <a:gd name="connsiteY852" fmla="*/ 175427 h 410520"/>
                <a:gd name="connsiteX853" fmla="*/ 2601258 w 2663946"/>
                <a:gd name="connsiteY853" fmla="*/ 171101 h 410520"/>
                <a:gd name="connsiteX854" fmla="*/ 2600029 w 2663946"/>
                <a:gd name="connsiteY854" fmla="*/ 168126 h 410520"/>
                <a:gd name="connsiteX855" fmla="*/ 2599046 w 2663946"/>
                <a:gd name="connsiteY855" fmla="*/ 164882 h 410520"/>
                <a:gd name="connsiteX856" fmla="*/ 2597816 w 2663946"/>
                <a:gd name="connsiteY856" fmla="*/ 159204 h 410520"/>
                <a:gd name="connsiteX857" fmla="*/ 2597571 w 2663946"/>
                <a:gd name="connsiteY857" fmla="*/ 156230 h 410520"/>
                <a:gd name="connsiteX858" fmla="*/ 2597816 w 2663946"/>
                <a:gd name="connsiteY858" fmla="*/ 156500 h 410520"/>
                <a:gd name="connsiteX859" fmla="*/ 2597816 w 2663946"/>
                <a:gd name="connsiteY859" fmla="*/ 150822 h 410520"/>
                <a:gd name="connsiteX860" fmla="*/ 2597816 w 2663946"/>
                <a:gd name="connsiteY860" fmla="*/ 150552 h 410520"/>
                <a:gd name="connsiteX861" fmla="*/ 2598308 w 2663946"/>
                <a:gd name="connsiteY861" fmla="*/ 145955 h 410520"/>
                <a:gd name="connsiteX862" fmla="*/ 2599537 w 2663946"/>
                <a:gd name="connsiteY862" fmla="*/ 140548 h 410520"/>
                <a:gd name="connsiteX863" fmla="*/ 2600520 w 2663946"/>
                <a:gd name="connsiteY863" fmla="*/ 137303 h 410520"/>
                <a:gd name="connsiteX864" fmla="*/ 2602732 w 2663946"/>
                <a:gd name="connsiteY864" fmla="*/ 132166 h 410520"/>
                <a:gd name="connsiteX865" fmla="*/ 2604945 w 2663946"/>
                <a:gd name="connsiteY865" fmla="*/ 128381 h 410520"/>
                <a:gd name="connsiteX866" fmla="*/ 2607157 w 2663946"/>
                <a:gd name="connsiteY866" fmla="*/ 125406 h 410520"/>
                <a:gd name="connsiteX867" fmla="*/ 2609369 w 2663946"/>
                <a:gd name="connsiteY867" fmla="*/ 122973 h 410520"/>
                <a:gd name="connsiteX868" fmla="*/ 2614039 w 2663946"/>
                <a:gd name="connsiteY868" fmla="*/ 119188 h 410520"/>
                <a:gd name="connsiteX869" fmla="*/ 2617972 w 2663946"/>
                <a:gd name="connsiteY869" fmla="*/ 117025 h 410520"/>
                <a:gd name="connsiteX870" fmla="*/ 2627559 w 2663946"/>
                <a:gd name="connsiteY870" fmla="*/ 114591 h 410520"/>
                <a:gd name="connsiteX871" fmla="*/ 2445604 w 2663946"/>
                <a:gd name="connsiteY871" fmla="*/ 114591 h 410520"/>
                <a:gd name="connsiteX872" fmla="*/ 2457894 w 2663946"/>
                <a:gd name="connsiteY872" fmla="*/ 116754 h 410520"/>
                <a:gd name="connsiteX873" fmla="*/ 2465268 w 2663946"/>
                <a:gd name="connsiteY873" fmla="*/ 121351 h 410520"/>
                <a:gd name="connsiteX874" fmla="*/ 2468709 w 2663946"/>
                <a:gd name="connsiteY874" fmla="*/ 124595 h 410520"/>
                <a:gd name="connsiteX875" fmla="*/ 2472151 w 2663946"/>
                <a:gd name="connsiteY875" fmla="*/ 128921 h 410520"/>
                <a:gd name="connsiteX876" fmla="*/ 2474117 w 2663946"/>
                <a:gd name="connsiteY876" fmla="*/ 132436 h 410520"/>
                <a:gd name="connsiteX877" fmla="*/ 2476329 w 2663946"/>
                <a:gd name="connsiteY877" fmla="*/ 137844 h 410520"/>
                <a:gd name="connsiteX878" fmla="*/ 2477312 w 2663946"/>
                <a:gd name="connsiteY878" fmla="*/ 141359 h 410520"/>
                <a:gd name="connsiteX879" fmla="*/ 2478296 w 2663946"/>
                <a:gd name="connsiteY879" fmla="*/ 146496 h 410520"/>
                <a:gd name="connsiteX880" fmla="*/ 2478050 w 2663946"/>
                <a:gd name="connsiteY880" fmla="*/ 160826 h 410520"/>
                <a:gd name="connsiteX881" fmla="*/ 2477067 w 2663946"/>
                <a:gd name="connsiteY881" fmla="*/ 165693 h 410520"/>
                <a:gd name="connsiteX882" fmla="*/ 2475837 w 2663946"/>
                <a:gd name="connsiteY882" fmla="*/ 169478 h 410520"/>
                <a:gd name="connsiteX883" fmla="*/ 2474854 w 2663946"/>
                <a:gd name="connsiteY883" fmla="*/ 171912 h 410520"/>
                <a:gd name="connsiteX884" fmla="*/ 2472642 w 2663946"/>
                <a:gd name="connsiteY884" fmla="*/ 176238 h 410520"/>
                <a:gd name="connsiteX885" fmla="*/ 2470430 w 2663946"/>
                <a:gd name="connsiteY885" fmla="*/ 179482 h 410520"/>
                <a:gd name="connsiteX886" fmla="*/ 2466989 w 2663946"/>
                <a:gd name="connsiteY886" fmla="*/ 183268 h 410520"/>
                <a:gd name="connsiteX887" fmla="*/ 2463793 w 2663946"/>
                <a:gd name="connsiteY887" fmla="*/ 185971 h 410520"/>
                <a:gd name="connsiteX888" fmla="*/ 2458140 w 2663946"/>
                <a:gd name="connsiteY888" fmla="*/ 189216 h 410520"/>
                <a:gd name="connsiteX889" fmla="*/ 2450274 w 2663946"/>
                <a:gd name="connsiteY889" fmla="*/ 191379 h 410520"/>
                <a:gd name="connsiteX890" fmla="*/ 2449045 w 2663946"/>
                <a:gd name="connsiteY890" fmla="*/ 191650 h 410520"/>
                <a:gd name="connsiteX891" fmla="*/ 2444866 w 2663946"/>
                <a:gd name="connsiteY891" fmla="*/ 191650 h 410520"/>
                <a:gd name="connsiteX892" fmla="*/ 2444621 w 2663946"/>
                <a:gd name="connsiteY892" fmla="*/ 191650 h 410520"/>
                <a:gd name="connsiteX893" fmla="*/ 2431593 w 2663946"/>
                <a:gd name="connsiteY893" fmla="*/ 186783 h 410520"/>
                <a:gd name="connsiteX894" fmla="*/ 2426923 w 2663946"/>
                <a:gd name="connsiteY894" fmla="*/ 182727 h 410520"/>
                <a:gd name="connsiteX895" fmla="*/ 2423727 w 2663946"/>
                <a:gd name="connsiteY895" fmla="*/ 178942 h 410520"/>
                <a:gd name="connsiteX896" fmla="*/ 2421515 w 2663946"/>
                <a:gd name="connsiteY896" fmla="*/ 175427 h 410520"/>
                <a:gd name="connsiteX897" fmla="*/ 2419303 w 2663946"/>
                <a:gd name="connsiteY897" fmla="*/ 171101 h 410520"/>
                <a:gd name="connsiteX898" fmla="*/ 2418074 w 2663946"/>
                <a:gd name="connsiteY898" fmla="*/ 168126 h 410520"/>
                <a:gd name="connsiteX899" fmla="*/ 2417091 w 2663946"/>
                <a:gd name="connsiteY899" fmla="*/ 164882 h 410520"/>
                <a:gd name="connsiteX900" fmla="*/ 2415861 w 2663946"/>
                <a:gd name="connsiteY900" fmla="*/ 159204 h 410520"/>
                <a:gd name="connsiteX901" fmla="*/ 2415616 w 2663946"/>
                <a:gd name="connsiteY901" fmla="*/ 156230 h 410520"/>
                <a:gd name="connsiteX902" fmla="*/ 2415861 w 2663946"/>
                <a:gd name="connsiteY902" fmla="*/ 156500 h 410520"/>
                <a:gd name="connsiteX903" fmla="*/ 2415861 w 2663946"/>
                <a:gd name="connsiteY903" fmla="*/ 150822 h 410520"/>
                <a:gd name="connsiteX904" fmla="*/ 2415861 w 2663946"/>
                <a:gd name="connsiteY904" fmla="*/ 150552 h 410520"/>
                <a:gd name="connsiteX905" fmla="*/ 2416353 w 2663946"/>
                <a:gd name="connsiteY905" fmla="*/ 145955 h 410520"/>
                <a:gd name="connsiteX906" fmla="*/ 2417582 w 2663946"/>
                <a:gd name="connsiteY906" fmla="*/ 140548 h 410520"/>
                <a:gd name="connsiteX907" fmla="*/ 2418565 w 2663946"/>
                <a:gd name="connsiteY907" fmla="*/ 137303 h 410520"/>
                <a:gd name="connsiteX908" fmla="*/ 2420777 w 2663946"/>
                <a:gd name="connsiteY908" fmla="*/ 132166 h 410520"/>
                <a:gd name="connsiteX909" fmla="*/ 2422990 w 2663946"/>
                <a:gd name="connsiteY909" fmla="*/ 128381 h 410520"/>
                <a:gd name="connsiteX910" fmla="*/ 2425202 w 2663946"/>
                <a:gd name="connsiteY910" fmla="*/ 125406 h 410520"/>
                <a:gd name="connsiteX911" fmla="*/ 2427414 w 2663946"/>
                <a:gd name="connsiteY911" fmla="*/ 122973 h 410520"/>
                <a:gd name="connsiteX912" fmla="*/ 2432084 w 2663946"/>
                <a:gd name="connsiteY912" fmla="*/ 119188 h 410520"/>
                <a:gd name="connsiteX913" fmla="*/ 2436017 w 2663946"/>
                <a:gd name="connsiteY913" fmla="*/ 117025 h 410520"/>
                <a:gd name="connsiteX914" fmla="*/ 2445604 w 2663946"/>
                <a:gd name="connsiteY914" fmla="*/ 114591 h 410520"/>
                <a:gd name="connsiteX915" fmla="*/ 2202558 w 2663946"/>
                <a:gd name="connsiteY915" fmla="*/ 114591 h 410520"/>
                <a:gd name="connsiteX916" fmla="*/ 2214848 w 2663946"/>
                <a:gd name="connsiteY916" fmla="*/ 116754 h 410520"/>
                <a:gd name="connsiteX917" fmla="*/ 2222222 w 2663946"/>
                <a:gd name="connsiteY917" fmla="*/ 121351 h 410520"/>
                <a:gd name="connsiteX918" fmla="*/ 2225663 w 2663946"/>
                <a:gd name="connsiteY918" fmla="*/ 124595 h 410520"/>
                <a:gd name="connsiteX919" fmla="*/ 2229105 w 2663946"/>
                <a:gd name="connsiteY919" fmla="*/ 128921 h 410520"/>
                <a:gd name="connsiteX920" fmla="*/ 2231071 w 2663946"/>
                <a:gd name="connsiteY920" fmla="*/ 132436 h 410520"/>
                <a:gd name="connsiteX921" fmla="*/ 2233283 w 2663946"/>
                <a:gd name="connsiteY921" fmla="*/ 137844 h 410520"/>
                <a:gd name="connsiteX922" fmla="*/ 2234266 w 2663946"/>
                <a:gd name="connsiteY922" fmla="*/ 141359 h 410520"/>
                <a:gd name="connsiteX923" fmla="*/ 2235250 w 2663946"/>
                <a:gd name="connsiteY923" fmla="*/ 146496 h 410520"/>
                <a:gd name="connsiteX924" fmla="*/ 2235004 w 2663946"/>
                <a:gd name="connsiteY924" fmla="*/ 160826 h 410520"/>
                <a:gd name="connsiteX925" fmla="*/ 2234021 w 2663946"/>
                <a:gd name="connsiteY925" fmla="*/ 165693 h 410520"/>
                <a:gd name="connsiteX926" fmla="*/ 2232791 w 2663946"/>
                <a:gd name="connsiteY926" fmla="*/ 169478 h 410520"/>
                <a:gd name="connsiteX927" fmla="*/ 2231808 w 2663946"/>
                <a:gd name="connsiteY927" fmla="*/ 171912 h 410520"/>
                <a:gd name="connsiteX928" fmla="*/ 2229596 w 2663946"/>
                <a:gd name="connsiteY928" fmla="*/ 176238 h 410520"/>
                <a:gd name="connsiteX929" fmla="*/ 2227384 w 2663946"/>
                <a:gd name="connsiteY929" fmla="*/ 179482 h 410520"/>
                <a:gd name="connsiteX930" fmla="*/ 2223943 w 2663946"/>
                <a:gd name="connsiteY930" fmla="*/ 183268 h 410520"/>
                <a:gd name="connsiteX931" fmla="*/ 2220747 w 2663946"/>
                <a:gd name="connsiteY931" fmla="*/ 185971 h 410520"/>
                <a:gd name="connsiteX932" fmla="*/ 2215094 w 2663946"/>
                <a:gd name="connsiteY932" fmla="*/ 189216 h 410520"/>
                <a:gd name="connsiteX933" fmla="*/ 2207228 w 2663946"/>
                <a:gd name="connsiteY933" fmla="*/ 191379 h 410520"/>
                <a:gd name="connsiteX934" fmla="*/ 2205999 w 2663946"/>
                <a:gd name="connsiteY934" fmla="*/ 191650 h 410520"/>
                <a:gd name="connsiteX935" fmla="*/ 2201820 w 2663946"/>
                <a:gd name="connsiteY935" fmla="*/ 191650 h 410520"/>
                <a:gd name="connsiteX936" fmla="*/ 2201575 w 2663946"/>
                <a:gd name="connsiteY936" fmla="*/ 191650 h 410520"/>
                <a:gd name="connsiteX937" fmla="*/ 2188547 w 2663946"/>
                <a:gd name="connsiteY937" fmla="*/ 186783 h 410520"/>
                <a:gd name="connsiteX938" fmla="*/ 2183877 w 2663946"/>
                <a:gd name="connsiteY938" fmla="*/ 182727 h 410520"/>
                <a:gd name="connsiteX939" fmla="*/ 2180681 w 2663946"/>
                <a:gd name="connsiteY939" fmla="*/ 178942 h 410520"/>
                <a:gd name="connsiteX940" fmla="*/ 2178469 w 2663946"/>
                <a:gd name="connsiteY940" fmla="*/ 175427 h 410520"/>
                <a:gd name="connsiteX941" fmla="*/ 2176257 w 2663946"/>
                <a:gd name="connsiteY941" fmla="*/ 171101 h 410520"/>
                <a:gd name="connsiteX942" fmla="*/ 2175028 w 2663946"/>
                <a:gd name="connsiteY942" fmla="*/ 168126 h 410520"/>
                <a:gd name="connsiteX943" fmla="*/ 2174045 w 2663946"/>
                <a:gd name="connsiteY943" fmla="*/ 164882 h 410520"/>
                <a:gd name="connsiteX944" fmla="*/ 2172815 w 2663946"/>
                <a:gd name="connsiteY944" fmla="*/ 159204 h 410520"/>
                <a:gd name="connsiteX945" fmla="*/ 2172570 w 2663946"/>
                <a:gd name="connsiteY945" fmla="*/ 156230 h 410520"/>
                <a:gd name="connsiteX946" fmla="*/ 2172815 w 2663946"/>
                <a:gd name="connsiteY946" fmla="*/ 156500 h 410520"/>
                <a:gd name="connsiteX947" fmla="*/ 2172815 w 2663946"/>
                <a:gd name="connsiteY947" fmla="*/ 150822 h 410520"/>
                <a:gd name="connsiteX948" fmla="*/ 2172815 w 2663946"/>
                <a:gd name="connsiteY948" fmla="*/ 150552 h 410520"/>
                <a:gd name="connsiteX949" fmla="*/ 2173307 w 2663946"/>
                <a:gd name="connsiteY949" fmla="*/ 145955 h 410520"/>
                <a:gd name="connsiteX950" fmla="*/ 2174536 w 2663946"/>
                <a:gd name="connsiteY950" fmla="*/ 140548 h 410520"/>
                <a:gd name="connsiteX951" fmla="*/ 2175519 w 2663946"/>
                <a:gd name="connsiteY951" fmla="*/ 137303 h 410520"/>
                <a:gd name="connsiteX952" fmla="*/ 2177731 w 2663946"/>
                <a:gd name="connsiteY952" fmla="*/ 132166 h 410520"/>
                <a:gd name="connsiteX953" fmla="*/ 2179944 w 2663946"/>
                <a:gd name="connsiteY953" fmla="*/ 128381 h 410520"/>
                <a:gd name="connsiteX954" fmla="*/ 2182156 w 2663946"/>
                <a:gd name="connsiteY954" fmla="*/ 125406 h 410520"/>
                <a:gd name="connsiteX955" fmla="*/ 2184368 w 2663946"/>
                <a:gd name="connsiteY955" fmla="*/ 122973 h 410520"/>
                <a:gd name="connsiteX956" fmla="*/ 2189038 w 2663946"/>
                <a:gd name="connsiteY956" fmla="*/ 119188 h 410520"/>
                <a:gd name="connsiteX957" fmla="*/ 2192971 w 2663946"/>
                <a:gd name="connsiteY957" fmla="*/ 117025 h 410520"/>
                <a:gd name="connsiteX958" fmla="*/ 2202558 w 2663946"/>
                <a:gd name="connsiteY958" fmla="*/ 114591 h 410520"/>
                <a:gd name="connsiteX959" fmla="*/ 2020607 w 2663946"/>
                <a:gd name="connsiteY959" fmla="*/ 114591 h 410520"/>
                <a:gd name="connsiteX960" fmla="*/ 2032897 w 2663946"/>
                <a:gd name="connsiteY960" fmla="*/ 116754 h 410520"/>
                <a:gd name="connsiteX961" fmla="*/ 2040271 w 2663946"/>
                <a:gd name="connsiteY961" fmla="*/ 121351 h 410520"/>
                <a:gd name="connsiteX962" fmla="*/ 2043712 w 2663946"/>
                <a:gd name="connsiteY962" fmla="*/ 124595 h 410520"/>
                <a:gd name="connsiteX963" fmla="*/ 2047154 w 2663946"/>
                <a:gd name="connsiteY963" fmla="*/ 128921 h 410520"/>
                <a:gd name="connsiteX964" fmla="*/ 2049120 w 2663946"/>
                <a:gd name="connsiteY964" fmla="*/ 132436 h 410520"/>
                <a:gd name="connsiteX965" fmla="*/ 2051332 w 2663946"/>
                <a:gd name="connsiteY965" fmla="*/ 137844 h 410520"/>
                <a:gd name="connsiteX966" fmla="*/ 2052315 w 2663946"/>
                <a:gd name="connsiteY966" fmla="*/ 141359 h 410520"/>
                <a:gd name="connsiteX967" fmla="*/ 2053299 w 2663946"/>
                <a:gd name="connsiteY967" fmla="*/ 146496 h 410520"/>
                <a:gd name="connsiteX968" fmla="*/ 2053053 w 2663946"/>
                <a:gd name="connsiteY968" fmla="*/ 160826 h 410520"/>
                <a:gd name="connsiteX969" fmla="*/ 2052070 w 2663946"/>
                <a:gd name="connsiteY969" fmla="*/ 165693 h 410520"/>
                <a:gd name="connsiteX970" fmla="*/ 2050840 w 2663946"/>
                <a:gd name="connsiteY970" fmla="*/ 169478 h 410520"/>
                <a:gd name="connsiteX971" fmla="*/ 2049857 w 2663946"/>
                <a:gd name="connsiteY971" fmla="*/ 171912 h 410520"/>
                <a:gd name="connsiteX972" fmla="*/ 2047645 w 2663946"/>
                <a:gd name="connsiteY972" fmla="*/ 176238 h 410520"/>
                <a:gd name="connsiteX973" fmla="*/ 2045433 w 2663946"/>
                <a:gd name="connsiteY973" fmla="*/ 179482 h 410520"/>
                <a:gd name="connsiteX974" fmla="*/ 2041992 w 2663946"/>
                <a:gd name="connsiteY974" fmla="*/ 183268 h 410520"/>
                <a:gd name="connsiteX975" fmla="*/ 2038796 w 2663946"/>
                <a:gd name="connsiteY975" fmla="*/ 185971 h 410520"/>
                <a:gd name="connsiteX976" fmla="*/ 2033143 w 2663946"/>
                <a:gd name="connsiteY976" fmla="*/ 189216 h 410520"/>
                <a:gd name="connsiteX977" fmla="*/ 2025277 w 2663946"/>
                <a:gd name="connsiteY977" fmla="*/ 191379 h 410520"/>
                <a:gd name="connsiteX978" fmla="*/ 2024048 w 2663946"/>
                <a:gd name="connsiteY978" fmla="*/ 191650 h 410520"/>
                <a:gd name="connsiteX979" fmla="*/ 2019869 w 2663946"/>
                <a:gd name="connsiteY979" fmla="*/ 191650 h 410520"/>
                <a:gd name="connsiteX980" fmla="*/ 2019624 w 2663946"/>
                <a:gd name="connsiteY980" fmla="*/ 191650 h 410520"/>
                <a:gd name="connsiteX981" fmla="*/ 2006596 w 2663946"/>
                <a:gd name="connsiteY981" fmla="*/ 186783 h 410520"/>
                <a:gd name="connsiteX982" fmla="*/ 2001926 w 2663946"/>
                <a:gd name="connsiteY982" fmla="*/ 182727 h 410520"/>
                <a:gd name="connsiteX983" fmla="*/ 1998730 w 2663946"/>
                <a:gd name="connsiteY983" fmla="*/ 178942 h 410520"/>
                <a:gd name="connsiteX984" fmla="*/ 1996518 w 2663946"/>
                <a:gd name="connsiteY984" fmla="*/ 175427 h 410520"/>
                <a:gd name="connsiteX985" fmla="*/ 1994306 w 2663946"/>
                <a:gd name="connsiteY985" fmla="*/ 171101 h 410520"/>
                <a:gd name="connsiteX986" fmla="*/ 1993077 w 2663946"/>
                <a:gd name="connsiteY986" fmla="*/ 168126 h 410520"/>
                <a:gd name="connsiteX987" fmla="*/ 1992094 w 2663946"/>
                <a:gd name="connsiteY987" fmla="*/ 164882 h 410520"/>
                <a:gd name="connsiteX988" fmla="*/ 1990864 w 2663946"/>
                <a:gd name="connsiteY988" fmla="*/ 159204 h 410520"/>
                <a:gd name="connsiteX989" fmla="*/ 1990619 w 2663946"/>
                <a:gd name="connsiteY989" fmla="*/ 156230 h 410520"/>
                <a:gd name="connsiteX990" fmla="*/ 1990864 w 2663946"/>
                <a:gd name="connsiteY990" fmla="*/ 156500 h 410520"/>
                <a:gd name="connsiteX991" fmla="*/ 1990864 w 2663946"/>
                <a:gd name="connsiteY991" fmla="*/ 150822 h 410520"/>
                <a:gd name="connsiteX992" fmla="*/ 1990864 w 2663946"/>
                <a:gd name="connsiteY992" fmla="*/ 150552 h 410520"/>
                <a:gd name="connsiteX993" fmla="*/ 1991356 w 2663946"/>
                <a:gd name="connsiteY993" fmla="*/ 145955 h 410520"/>
                <a:gd name="connsiteX994" fmla="*/ 1992585 w 2663946"/>
                <a:gd name="connsiteY994" fmla="*/ 140548 h 410520"/>
                <a:gd name="connsiteX995" fmla="*/ 1993568 w 2663946"/>
                <a:gd name="connsiteY995" fmla="*/ 137303 h 410520"/>
                <a:gd name="connsiteX996" fmla="*/ 1995780 w 2663946"/>
                <a:gd name="connsiteY996" fmla="*/ 132166 h 410520"/>
                <a:gd name="connsiteX997" fmla="*/ 1997993 w 2663946"/>
                <a:gd name="connsiteY997" fmla="*/ 128381 h 410520"/>
                <a:gd name="connsiteX998" fmla="*/ 2000205 w 2663946"/>
                <a:gd name="connsiteY998" fmla="*/ 125406 h 410520"/>
                <a:gd name="connsiteX999" fmla="*/ 2002417 w 2663946"/>
                <a:gd name="connsiteY999" fmla="*/ 122973 h 410520"/>
                <a:gd name="connsiteX1000" fmla="*/ 2007087 w 2663946"/>
                <a:gd name="connsiteY1000" fmla="*/ 119188 h 410520"/>
                <a:gd name="connsiteX1001" fmla="*/ 2011020 w 2663946"/>
                <a:gd name="connsiteY1001" fmla="*/ 117025 h 410520"/>
                <a:gd name="connsiteX1002" fmla="*/ 2020607 w 2663946"/>
                <a:gd name="connsiteY1002" fmla="*/ 114591 h 410520"/>
                <a:gd name="connsiteX1003" fmla="*/ 1595683 w 2663946"/>
                <a:gd name="connsiteY1003" fmla="*/ 114591 h 410520"/>
                <a:gd name="connsiteX1004" fmla="*/ 1607973 w 2663946"/>
                <a:gd name="connsiteY1004" fmla="*/ 116754 h 410520"/>
                <a:gd name="connsiteX1005" fmla="*/ 1615347 w 2663946"/>
                <a:gd name="connsiteY1005" fmla="*/ 121351 h 410520"/>
                <a:gd name="connsiteX1006" fmla="*/ 1618788 w 2663946"/>
                <a:gd name="connsiteY1006" fmla="*/ 124595 h 410520"/>
                <a:gd name="connsiteX1007" fmla="*/ 1622230 w 2663946"/>
                <a:gd name="connsiteY1007" fmla="*/ 128921 h 410520"/>
                <a:gd name="connsiteX1008" fmla="*/ 1624196 w 2663946"/>
                <a:gd name="connsiteY1008" fmla="*/ 132436 h 410520"/>
                <a:gd name="connsiteX1009" fmla="*/ 1626408 w 2663946"/>
                <a:gd name="connsiteY1009" fmla="*/ 137844 h 410520"/>
                <a:gd name="connsiteX1010" fmla="*/ 1627391 w 2663946"/>
                <a:gd name="connsiteY1010" fmla="*/ 141359 h 410520"/>
                <a:gd name="connsiteX1011" fmla="*/ 1628374 w 2663946"/>
                <a:gd name="connsiteY1011" fmla="*/ 146496 h 410520"/>
                <a:gd name="connsiteX1012" fmla="*/ 1628129 w 2663946"/>
                <a:gd name="connsiteY1012" fmla="*/ 160826 h 410520"/>
                <a:gd name="connsiteX1013" fmla="*/ 1627146 w 2663946"/>
                <a:gd name="connsiteY1013" fmla="*/ 165693 h 410520"/>
                <a:gd name="connsiteX1014" fmla="*/ 1625916 w 2663946"/>
                <a:gd name="connsiteY1014" fmla="*/ 169478 h 410520"/>
                <a:gd name="connsiteX1015" fmla="*/ 1624933 w 2663946"/>
                <a:gd name="connsiteY1015" fmla="*/ 171912 h 410520"/>
                <a:gd name="connsiteX1016" fmla="*/ 1622721 w 2663946"/>
                <a:gd name="connsiteY1016" fmla="*/ 176238 h 410520"/>
                <a:gd name="connsiteX1017" fmla="*/ 1620509 w 2663946"/>
                <a:gd name="connsiteY1017" fmla="*/ 179482 h 410520"/>
                <a:gd name="connsiteX1018" fmla="*/ 1617068 w 2663946"/>
                <a:gd name="connsiteY1018" fmla="*/ 183268 h 410520"/>
                <a:gd name="connsiteX1019" fmla="*/ 1613872 w 2663946"/>
                <a:gd name="connsiteY1019" fmla="*/ 185971 h 410520"/>
                <a:gd name="connsiteX1020" fmla="*/ 1608219 w 2663946"/>
                <a:gd name="connsiteY1020" fmla="*/ 189216 h 410520"/>
                <a:gd name="connsiteX1021" fmla="*/ 1600353 w 2663946"/>
                <a:gd name="connsiteY1021" fmla="*/ 191379 h 410520"/>
                <a:gd name="connsiteX1022" fmla="*/ 1599124 w 2663946"/>
                <a:gd name="connsiteY1022" fmla="*/ 191650 h 410520"/>
                <a:gd name="connsiteX1023" fmla="*/ 1594945 w 2663946"/>
                <a:gd name="connsiteY1023" fmla="*/ 191650 h 410520"/>
                <a:gd name="connsiteX1024" fmla="*/ 1594699 w 2663946"/>
                <a:gd name="connsiteY1024" fmla="*/ 191650 h 410520"/>
                <a:gd name="connsiteX1025" fmla="*/ 1581672 w 2663946"/>
                <a:gd name="connsiteY1025" fmla="*/ 186783 h 410520"/>
                <a:gd name="connsiteX1026" fmla="*/ 1577002 w 2663946"/>
                <a:gd name="connsiteY1026" fmla="*/ 182727 h 410520"/>
                <a:gd name="connsiteX1027" fmla="*/ 1573806 w 2663946"/>
                <a:gd name="connsiteY1027" fmla="*/ 178942 h 410520"/>
                <a:gd name="connsiteX1028" fmla="*/ 1571594 w 2663946"/>
                <a:gd name="connsiteY1028" fmla="*/ 175427 h 410520"/>
                <a:gd name="connsiteX1029" fmla="*/ 1569382 w 2663946"/>
                <a:gd name="connsiteY1029" fmla="*/ 171101 h 410520"/>
                <a:gd name="connsiteX1030" fmla="*/ 1568153 w 2663946"/>
                <a:gd name="connsiteY1030" fmla="*/ 168126 h 410520"/>
                <a:gd name="connsiteX1031" fmla="*/ 1567169 w 2663946"/>
                <a:gd name="connsiteY1031" fmla="*/ 164882 h 410520"/>
                <a:gd name="connsiteX1032" fmla="*/ 1565940 w 2663946"/>
                <a:gd name="connsiteY1032" fmla="*/ 159204 h 410520"/>
                <a:gd name="connsiteX1033" fmla="*/ 1565695 w 2663946"/>
                <a:gd name="connsiteY1033" fmla="*/ 156230 h 410520"/>
                <a:gd name="connsiteX1034" fmla="*/ 1565940 w 2663946"/>
                <a:gd name="connsiteY1034" fmla="*/ 156500 h 410520"/>
                <a:gd name="connsiteX1035" fmla="*/ 1565940 w 2663946"/>
                <a:gd name="connsiteY1035" fmla="*/ 150822 h 410520"/>
                <a:gd name="connsiteX1036" fmla="*/ 1565940 w 2663946"/>
                <a:gd name="connsiteY1036" fmla="*/ 150552 h 410520"/>
                <a:gd name="connsiteX1037" fmla="*/ 1566432 w 2663946"/>
                <a:gd name="connsiteY1037" fmla="*/ 145955 h 410520"/>
                <a:gd name="connsiteX1038" fmla="*/ 1567661 w 2663946"/>
                <a:gd name="connsiteY1038" fmla="*/ 140548 h 410520"/>
                <a:gd name="connsiteX1039" fmla="*/ 1568644 w 2663946"/>
                <a:gd name="connsiteY1039" fmla="*/ 137303 h 410520"/>
                <a:gd name="connsiteX1040" fmla="*/ 1570856 w 2663946"/>
                <a:gd name="connsiteY1040" fmla="*/ 132166 h 410520"/>
                <a:gd name="connsiteX1041" fmla="*/ 1573069 w 2663946"/>
                <a:gd name="connsiteY1041" fmla="*/ 128381 h 410520"/>
                <a:gd name="connsiteX1042" fmla="*/ 1575281 w 2663946"/>
                <a:gd name="connsiteY1042" fmla="*/ 125406 h 410520"/>
                <a:gd name="connsiteX1043" fmla="*/ 1577493 w 2663946"/>
                <a:gd name="connsiteY1043" fmla="*/ 122973 h 410520"/>
                <a:gd name="connsiteX1044" fmla="*/ 1582163 w 2663946"/>
                <a:gd name="connsiteY1044" fmla="*/ 119188 h 410520"/>
                <a:gd name="connsiteX1045" fmla="*/ 1586096 w 2663946"/>
                <a:gd name="connsiteY1045" fmla="*/ 117025 h 410520"/>
                <a:gd name="connsiteX1046" fmla="*/ 1595683 w 2663946"/>
                <a:gd name="connsiteY1046" fmla="*/ 114591 h 410520"/>
                <a:gd name="connsiteX1047" fmla="*/ 1246776 w 2663946"/>
                <a:gd name="connsiteY1047" fmla="*/ 114591 h 410520"/>
                <a:gd name="connsiteX1048" fmla="*/ 1259066 w 2663946"/>
                <a:gd name="connsiteY1048" fmla="*/ 116754 h 410520"/>
                <a:gd name="connsiteX1049" fmla="*/ 1266440 w 2663946"/>
                <a:gd name="connsiteY1049" fmla="*/ 121351 h 410520"/>
                <a:gd name="connsiteX1050" fmla="*/ 1269881 w 2663946"/>
                <a:gd name="connsiteY1050" fmla="*/ 124595 h 410520"/>
                <a:gd name="connsiteX1051" fmla="*/ 1273323 w 2663946"/>
                <a:gd name="connsiteY1051" fmla="*/ 128921 h 410520"/>
                <a:gd name="connsiteX1052" fmla="*/ 1275289 w 2663946"/>
                <a:gd name="connsiteY1052" fmla="*/ 132436 h 410520"/>
                <a:gd name="connsiteX1053" fmla="*/ 1277501 w 2663946"/>
                <a:gd name="connsiteY1053" fmla="*/ 137844 h 410520"/>
                <a:gd name="connsiteX1054" fmla="*/ 1278484 w 2663946"/>
                <a:gd name="connsiteY1054" fmla="*/ 141359 h 410520"/>
                <a:gd name="connsiteX1055" fmla="*/ 1279467 w 2663946"/>
                <a:gd name="connsiteY1055" fmla="*/ 146496 h 410520"/>
                <a:gd name="connsiteX1056" fmla="*/ 1279222 w 2663946"/>
                <a:gd name="connsiteY1056" fmla="*/ 160826 h 410520"/>
                <a:gd name="connsiteX1057" fmla="*/ 1278239 w 2663946"/>
                <a:gd name="connsiteY1057" fmla="*/ 165693 h 410520"/>
                <a:gd name="connsiteX1058" fmla="*/ 1277009 w 2663946"/>
                <a:gd name="connsiteY1058" fmla="*/ 169478 h 410520"/>
                <a:gd name="connsiteX1059" fmla="*/ 1276026 w 2663946"/>
                <a:gd name="connsiteY1059" fmla="*/ 171912 h 410520"/>
                <a:gd name="connsiteX1060" fmla="*/ 1273814 w 2663946"/>
                <a:gd name="connsiteY1060" fmla="*/ 176238 h 410520"/>
                <a:gd name="connsiteX1061" fmla="*/ 1271602 w 2663946"/>
                <a:gd name="connsiteY1061" fmla="*/ 179482 h 410520"/>
                <a:gd name="connsiteX1062" fmla="*/ 1268161 w 2663946"/>
                <a:gd name="connsiteY1062" fmla="*/ 183268 h 410520"/>
                <a:gd name="connsiteX1063" fmla="*/ 1264965 w 2663946"/>
                <a:gd name="connsiteY1063" fmla="*/ 185971 h 410520"/>
                <a:gd name="connsiteX1064" fmla="*/ 1259312 w 2663946"/>
                <a:gd name="connsiteY1064" fmla="*/ 189216 h 410520"/>
                <a:gd name="connsiteX1065" fmla="*/ 1251446 w 2663946"/>
                <a:gd name="connsiteY1065" fmla="*/ 191379 h 410520"/>
                <a:gd name="connsiteX1066" fmla="*/ 1250217 w 2663946"/>
                <a:gd name="connsiteY1066" fmla="*/ 191650 h 410520"/>
                <a:gd name="connsiteX1067" fmla="*/ 1246038 w 2663946"/>
                <a:gd name="connsiteY1067" fmla="*/ 191650 h 410520"/>
                <a:gd name="connsiteX1068" fmla="*/ 1245792 w 2663946"/>
                <a:gd name="connsiteY1068" fmla="*/ 191650 h 410520"/>
                <a:gd name="connsiteX1069" fmla="*/ 1232765 w 2663946"/>
                <a:gd name="connsiteY1069" fmla="*/ 186783 h 410520"/>
                <a:gd name="connsiteX1070" fmla="*/ 1228095 w 2663946"/>
                <a:gd name="connsiteY1070" fmla="*/ 182727 h 410520"/>
                <a:gd name="connsiteX1071" fmla="*/ 1224899 w 2663946"/>
                <a:gd name="connsiteY1071" fmla="*/ 178942 h 410520"/>
                <a:gd name="connsiteX1072" fmla="*/ 1222687 w 2663946"/>
                <a:gd name="connsiteY1072" fmla="*/ 175427 h 410520"/>
                <a:gd name="connsiteX1073" fmla="*/ 1220475 w 2663946"/>
                <a:gd name="connsiteY1073" fmla="*/ 171101 h 410520"/>
                <a:gd name="connsiteX1074" fmla="*/ 1219246 w 2663946"/>
                <a:gd name="connsiteY1074" fmla="*/ 168126 h 410520"/>
                <a:gd name="connsiteX1075" fmla="*/ 1218262 w 2663946"/>
                <a:gd name="connsiteY1075" fmla="*/ 164882 h 410520"/>
                <a:gd name="connsiteX1076" fmla="*/ 1217033 w 2663946"/>
                <a:gd name="connsiteY1076" fmla="*/ 159204 h 410520"/>
                <a:gd name="connsiteX1077" fmla="*/ 1216788 w 2663946"/>
                <a:gd name="connsiteY1077" fmla="*/ 156230 h 410520"/>
                <a:gd name="connsiteX1078" fmla="*/ 1217033 w 2663946"/>
                <a:gd name="connsiteY1078" fmla="*/ 156500 h 410520"/>
                <a:gd name="connsiteX1079" fmla="*/ 1217033 w 2663946"/>
                <a:gd name="connsiteY1079" fmla="*/ 150822 h 410520"/>
                <a:gd name="connsiteX1080" fmla="*/ 1217033 w 2663946"/>
                <a:gd name="connsiteY1080" fmla="*/ 150552 h 410520"/>
                <a:gd name="connsiteX1081" fmla="*/ 1217525 w 2663946"/>
                <a:gd name="connsiteY1081" fmla="*/ 145955 h 410520"/>
                <a:gd name="connsiteX1082" fmla="*/ 1218754 w 2663946"/>
                <a:gd name="connsiteY1082" fmla="*/ 140548 h 410520"/>
                <a:gd name="connsiteX1083" fmla="*/ 1219737 w 2663946"/>
                <a:gd name="connsiteY1083" fmla="*/ 137303 h 410520"/>
                <a:gd name="connsiteX1084" fmla="*/ 1221949 w 2663946"/>
                <a:gd name="connsiteY1084" fmla="*/ 132166 h 410520"/>
                <a:gd name="connsiteX1085" fmla="*/ 1224162 w 2663946"/>
                <a:gd name="connsiteY1085" fmla="*/ 128381 h 410520"/>
                <a:gd name="connsiteX1086" fmla="*/ 1226374 w 2663946"/>
                <a:gd name="connsiteY1086" fmla="*/ 125406 h 410520"/>
                <a:gd name="connsiteX1087" fmla="*/ 1228586 w 2663946"/>
                <a:gd name="connsiteY1087" fmla="*/ 122973 h 410520"/>
                <a:gd name="connsiteX1088" fmla="*/ 1233256 w 2663946"/>
                <a:gd name="connsiteY1088" fmla="*/ 119188 h 410520"/>
                <a:gd name="connsiteX1089" fmla="*/ 1237189 w 2663946"/>
                <a:gd name="connsiteY1089" fmla="*/ 117025 h 410520"/>
                <a:gd name="connsiteX1090" fmla="*/ 1246776 w 2663946"/>
                <a:gd name="connsiteY1090" fmla="*/ 114591 h 410520"/>
                <a:gd name="connsiteX1091" fmla="*/ 1064825 w 2663946"/>
                <a:gd name="connsiteY1091" fmla="*/ 114591 h 410520"/>
                <a:gd name="connsiteX1092" fmla="*/ 1077115 w 2663946"/>
                <a:gd name="connsiteY1092" fmla="*/ 116754 h 410520"/>
                <a:gd name="connsiteX1093" fmla="*/ 1084489 w 2663946"/>
                <a:gd name="connsiteY1093" fmla="*/ 121351 h 410520"/>
                <a:gd name="connsiteX1094" fmla="*/ 1087930 w 2663946"/>
                <a:gd name="connsiteY1094" fmla="*/ 124595 h 410520"/>
                <a:gd name="connsiteX1095" fmla="*/ 1091372 w 2663946"/>
                <a:gd name="connsiteY1095" fmla="*/ 128921 h 410520"/>
                <a:gd name="connsiteX1096" fmla="*/ 1093338 w 2663946"/>
                <a:gd name="connsiteY1096" fmla="*/ 132436 h 410520"/>
                <a:gd name="connsiteX1097" fmla="*/ 1095550 w 2663946"/>
                <a:gd name="connsiteY1097" fmla="*/ 137844 h 410520"/>
                <a:gd name="connsiteX1098" fmla="*/ 1096533 w 2663946"/>
                <a:gd name="connsiteY1098" fmla="*/ 141359 h 410520"/>
                <a:gd name="connsiteX1099" fmla="*/ 1097516 w 2663946"/>
                <a:gd name="connsiteY1099" fmla="*/ 146496 h 410520"/>
                <a:gd name="connsiteX1100" fmla="*/ 1097271 w 2663946"/>
                <a:gd name="connsiteY1100" fmla="*/ 160826 h 410520"/>
                <a:gd name="connsiteX1101" fmla="*/ 1096288 w 2663946"/>
                <a:gd name="connsiteY1101" fmla="*/ 165693 h 410520"/>
                <a:gd name="connsiteX1102" fmla="*/ 1095058 w 2663946"/>
                <a:gd name="connsiteY1102" fmla="*/ 169478 h 410520"/>
                <a:gd name="connsiteX1103" fmla="*/ 1094075 w 2663946"/>
                <a:gd name="connsiteY1103" fmla="*/ 171912 h 410520"/>
                <a:gd name="connsiteX1104" fmla="*/ 1091863 w 2663946"/>
                <a:gd name="connsiteY1104" fmla="*/ 176238 h 410520"/>
                <a:gd name="connsiteX1105" fmla="*/ 1089651 w 2663946"/>
                <a:gd name="connsiteY1105" fmla="*/ 179482 h 410520"/>
                <a:gd name="connsiteX1106" fmla="*/ 1086210 w 2663946"/>
                <a:gd name="connsiteY1106" fmla="*/ 183268 h 410520"/>
                <a:gd name="connsiteX1107" fmla="*/ 1083014 w 2663946"/>
                <a:gd name="connsiteY1107" fmla="*/ 185971 h 410520"/>
                <a:gd name="connsiteX1108" fmla="*/ 1077361 w 2663946"/>
                <a:gd name="connsiteY1108" fmla="*/ 189216 h 410520"/>
                <a:gd name="connsiteX1109" fmla="*/ 1069495 w 2663946"/>
                <a:gd name="connsiteY1109" fmla="*/ 191379 h 410520"/>
                <a:gd name="connsiteX1110" fmla="*/ 1068266 w 2663946"/>
                <a:gd name="connsiteY1110" fmla="*/ 191650 h 410520"/>
                <a:gd name="connsiteX1111" fmla="*/ 1064087 w 2663946"/>
                <a:gd name="connsiteY1111" fmla="*/ 191650 h 410520"/>
                <a:gd name="connsiteX1112" fmla="*/ 1063841 w 2663946"/>
                <a:gd name="connsiteY1112" fmla="*/ 191650 h 410520"/>
                <a:gd name="connsiteX1113" fmla="*/ 1050814 w 2663946"/>
                <a:gd name="connsiteY1113" fmla="*/ 186783 h 410520"/>
                <a:gd name="connsiteX1114" fmla="*/ 1046144 w 2663946"/>
                <a:gd name="connsiteY1114" fmla="*/ 182727 h 410520"/>
                <a:gd name="connsiteX1115" fmla="*/ 1042948 w 2663946"/>
                <a:gd name="connsiteY1115" fmla="*/ 178942 h 410520"/>
                <a:gd name="connsiteX1116" fmla="*/ 1040736 w 2663946"/>
                <a:gd name="connsiteY1116" fmla="*/ 175427 h 410520"/>
                <a:gd name="connsiteX1117" fmla="*/ 1038524 w 2663946"/>
                <a:gd name="connsiteY1117" fmla="*/ 171101 h 410520"/>
                <a:gd name="connsiteX1118" fmla="*/ 1037295 w 2663946"/>
                <a:gd name="connsiteY1118" fmla="*/ 168126 h 410520"/>
                <a:gd name="connsiteX1119" fmla="*/ 1036311 w 2663946"/>
                <a:gd name="connsiteY1119" fmla="*/ 164882 h 410520"/>
                <a:gd name="connsiteX1120" fmla="*/ 1035082 w 2663946"/>
                <a:gd name="connsiteY1120" fmla="*/ 159204 h 410520"/>
                <a:gd name="connsiteX1121" fmla="*/ 1034837 w 2663946"/>
                <a:gd name="connsiteY1121" fmla="*/ 156230 h 410520"/>
                <a:gd name="connsiteX1122" fmla="*/ 1035082 w 2663946"/>
                <a:gd name="connsiteY1122" fmla="*/ 156500 h 410520"/>
                <a:gd name="connsiteX1123" fmla="*/ 1035082 w 2663946"/>
                <a:gd name="connsiteY1123" fmla="*/ 150822 h 410520"/>
                <a:gd name="connsiteX1124" fmla="*/ 1035082 w 2663946"/>
                <a:gd name="connsiteY1124" fmla="*/ 150552 h 410520"/>
                <a:gd name="connsiteX1125" fmla="*/ 1035574 w 2663946"/>
                <a:gd name="connsiteY1125" fmla="*/ 145955 h 410520"/>
                <a:gd name="connsiteX1126" fmla="*/ 1036803 w 2663946"/>
                <a:gd name="connsiteY1126" fmla="*/ 140548 h 410520"/>
                <a:gd name="connsiteX1127" fmla="*/ 1037786 w 2663946"/>
                <a:gd name="connsiteY1127" fmla="*/ 137303 h 410520"/>
                <a:gd name="connsiteX1128" fmla="*/ 1039998 w 2663946"/>
                <a:gd name="connsiteY1128" fmla="*/ 132166 h 410520"/>
                <a:gd name="connsiteX1129" fmla="*/ 1042211 w 2663946"/>
                <a:gd name="connsiteY1129" fmla="*/ 128381 h 410520"/>
                <a:gd name="connsiteX1130" fmla="*/ 1044423 w 2663946"/>
                <a:gd name="connsiteY1130" fmla="*/ 125406 h 410520"/>
                <a:gd name="connsiteX1131" fmla="*/ 1046635 w 2663946"/>
                <a:gd name="connsiteY1131" fmla="*/ 122973 h 410520"/>
                <a:gd name="connsiteX1132" fmla="*/ 1051305 w 2663946"/>
                <a:gd name="connsiteY1132" fmla="*/ 119188 h 410520"/>
                <a:gd name="connsiteX1133" fmla="*/ 1055238 w 2663946"/>
                <a:gd name="connsiteY1133" fmla="*/ 117025 h 410520"/>
                <a:gd name="connsiteX1134" fmla="*/ 1064825 w 2663946"/>
                <a:gd name="connsiteY1134" fmla="*/ 114591 h 410520"/>
                <a:gd name="connsiteX1135" fmla="*/ 897796 w 2663946"/>
                <a:gd name="connsiteY1135" fmla="*/ 114591 h 410520"/>
                <a:gd name="connsiteX1136" fmla="*/ 910086 w 2663946"/>
                <a:gd name="connsiteY1136" fmla="*/ 116754 h 410520"/>
                <a:gd name="connsiteX1137" fmla="*/ 917460 w 2663946"/>
                <a:gd name="connsiteY1137" fmla="*/ 121351 h 410520"/>
                <a:gd name="connsiteX1138" fmla="*/ 920901 w 2663946"/>
                <a:gd name="connsiteY1138" fmla="*/ 124595 h 410520"/>
                <a:gd name="connsiteX1139" fmla="*/ 924343 w 2663946"/>
                <a:gd name="connsiteY1139" fmla="*/ 128921 h 410520"/>
                <a:gd name="connsiteX1140" fmla="*/ 926309 w 2663946"/>
                <a:gd name="connsiteY1140" fmla="*/ 132436 h 410520"/>
                <a:gd name="connsiteX1141" fmla="*/ 928521 w 2663946"/>
                <a:gd name="connsiteY1141" fmla="*/ 137844 h 410520"/>
                <a:gd name="connsiteX1142" fmla="*/ 929504 w 2663946"/>
                <a:gd name="connsiteY1142" fmla="*/ 141359 h 410520"/>
                <a:gd name="connsiteX1143" fmla="*/ 930487 w 2663946"/>
                <a:gd name="connsiteY1143" fmla="*/ 146496 h 410520"/>
                <a:gd name="connsiteX1144" fmla="*/ 930242 w 2663946"/>
                <a:gd name="connsiteY1144" fmla="*/ 160826 h 410520"/>
                <a:gd name="connsiteX1145" fmla="*/ 929259 w 2663946"/>
                <a:gd name="connsiteY1145" fmla="*/ 165693 h 410520"/>
                <a:gd name="connsiteX1146" fmla="*/ 928029 w 2663946"/>
                <a:gd name="connsiteY1146" fmla="*/ 169478 h 410520"/>
                <a:gd name="connsiteX1147" fmla="*/ 927046 w 2663946"/>
                <a:gd name="connsiteY1147" fmla="*/ 171912 h 410520"/>
                <a:gd name="connsiteX1148" fmla="*/ 924834 w 2663946"/>
                <a:gd name="connsiteY1148" fmla="*/ 176238 h 410520"/>
                <a:gd name="connsiteX1149" fmla="*/ 922622 w 2663946"/>
                <a:gd name="connsiteY1149" fmla="*/ 179482 h 410520"/>
                <a:gd name="connsiteX1150" fmla="*/ 919181 w 2663946"/>
                <a:gd name="connsiteY1150" fmla="*/ 183268 h 410520"/>
                <a:gd name="connsiteX1151" fmla="*/ 915985 w 2663946"/>
                <a:gd name="connsiteY1151" fmla="*/ 185971 h 410520"/>
                <a:gd name="connsiteX1152" fmla="*/ 910332 w 2663946"/>
                <a:gd name="connsiteY1152" fmla="*/ 189216 h 410520"/>
                <a:gd name="connsiteX1153" fmla="*/ 902466 w 2663946"/>
                <a:gd name="connsiteY1153" fmla="*/ 191379 h 410520"/>
                <a:gd name="connsiteX1154" fmla="*/ 901237 w 2663946"/>
                <a:gd name="connsiteY1154" fmla="*/ 191650 h 410520"/>
                <a:gd name="connsiteX1155" fmla="*/ 897058 w 2663946"/>
                <a:gd name="connsiteY1155" fmla="*/ 191650 h 410520"/>
                <a:gd name="connsiteX1156" fmla="*/ 896812 w 2663946"/>
                <a:gd name="connsiteY1156" fmla="*/ 191650 h 410520"/>
                <a:gd name="connsiteX1157" fmla="*/ 883785 w 2663946"/>
                <a:gd name="connsiteY1157" fmla="*/ 186783 h 410520"/>
                <a:gd name="connsiteX1158" fmla="*/ 879115 w 2663946"/>
                <a:gd name="connsiteY1158" fmla="*/ 182727 h 410520"/>
                <a:gd name="connsiteX1159" fmla="*/ 875919 w 2663946"/>
                <a:gd name="connsiteY1159" fmla="*/ 178942 h 410520"/>
                <a:gd name="connsiteX1160" fmla="*/ 873707 w 2663946"/>
                <a:gd name="connsiteY1160" fmla="*/ 175427 h 410520"/>
                <a:gd name="connsiteX1161" fmla="*/ 871495 w 2663946"/>
                <a:gd name="connsiteY1161" fmla="*/ 171101 h 410520"/>
                <a:gd name="connsiteX1162" fmla="*/ 870266 w 2663946"/>
                <a:gd name="connsiteY1162" fmla="*/ 168126 h 410520"/>
                <a:gd name="connsiteX1163" fmla="*/ 869282 w 2663946"/>
                <a:gd name="connsiteY1163" fmla="*/ 164882 h 410520"/>
                <a:gd name="connsiteX1164" fmla="*/ 868053 w 2663946"/>
                <a:gd name="connsiteY1164" fmla="*/ 159204 h 410520"/>
                <a:gd name="connsiteX1165" fmla="*/ 867808 w 2663946"/>
                <a:gd name="connsiteY1165" fmla="*/ 156230 h 410520"/>
                <a:gd name="connsiteX1166" fmla="*/ 868053 w 2663946"/>
                <a:gd name="connsiteY1166" fmla="*/ 156500 h 410520"/>
                <a:gd name="connsiteX1167" fmla="*/ 868053 w 2663946"/>
                <a:gd name="connsiteY1167" fmla="*/ 150822 h 410520"/>
                <a:gd name="connsiteX1168" fmla="*/ 868053 w 2663946"/>
                <a:gd name="connsiteY1168" fmla="*/ 150552 h 410520"/>
                <a:gd name="connsiteX1169" fmla="*/ 868545 w 2663946"/>
                <a:gd name="connsiteY1169" fmla="*/ 145955 h 410520"/>
                <a:gd name="connsiteX1170" fmla="*/ 869774 w 2663946"/>
                <a:gd name="connsiteY1170" fmla="*/ 140548 h 410520"/>
                <a:gd name="connsiteX1171" fmla="*/ 870757 w 2663946"/>
                <a:gd name="connsiteY1171" fmla="*/ 137303 h 410520"/>
                <a:gd name="connsiteX1172" fmla="*/ 872969 w 2663946"/>
                <a:gd name="connsiteY1172" fmla="*/ 132166 h 410520"/>
                <a:gd name="connsiteX1173" fmla="*/ 875182 w 2663946"/>
                <a:gd name="connsiteY1173" fmla="*/ 128381 h 410520"/>
                <a:gd name="connsiteX1174" fmla="*/ 877394 w 2663946"/>
                <a:gd name="connsiteY1174" fmla="*/ 125406 h 410520"/>
                <a:gd name="connsiteX1175" fmla="*/ 879606 w 2663946"/>
                <a:gd name="connsiteY1175" fmla="*/ 122973 h 410520"/>
                <a:gd name="connsiteX1176" fmla="*/ 884276 w 2663946"/>
                <a:gd name="connsiteY1176" fmla="*/ 119188 h 410520"/>
                <a:gd name="connsiteX1177" fmla="*/ 888209 w 2663946"/>
                <a:gd name="connsiteY1177" fmla="*/ 117025 h 410520"/>
                <a:gd name="connsiteX1178" fmla="*/ 897796 w 2663946"/>
                <a:gd name="connsiteY1178" fmla="*/ 114591 h 410520"/>
                <a:gd name="connsiteX1179" fmla="*/ 548889 w 2663946"/>
                <a:gd name="connsiteY1179" fmla="*/ 114591 h 410520"/>
                <a:gd name="connsiteX1180" fmla="*/ 561180 w 2663946"/>
                <a:gd name="connsiteY1180" fmla="*/ 116754 h 410520"/>
                <a:gd name="connsiteX1181" fmla="*/ 568554 w 2663946"/>
                <a:gd name="connsiteY1181" fmla="*/ 121351 h 410520"/>
                <a:gd name="connsiteX1182" fmla="*/ 571995 w 2663946"/>
                <a:gd name="connsiteY1182" fmla="*/ 124595 h 410520"/>
                <a:gd name="connsiteX1183" fmla="*/ 575436 w 2663946"/>
                <a:gd name="connsiteY1183" fmla="*/ 128921 h 410520"/>
                <a:gd name="connsiteX1184" fmla="*/ 577403 w 2663946"/>
                <a:gd name="connsiteY1184" fmla="*/ 132436 h 410520"/>
                <a:gd name="connsiteX1185" fmla="*/ 579615 w 2663946"/>
                <a:gd name="connsiteY1185" fmla="*/ 137844 h 410520"/>
                <a:gd name="connsiteX1186" fmla="*/ 580598 w 2663946"/>
                <a:gd name="connsiteY1186" fmla="*/ 141359 h 410520"/>
                <a:gd name="connsiteX1187" fmla="*/ 581581 w 2663946"/>
                <a:gd name="connsiteY1187" fmla="*/ 146496 h 410520"/>
                <a:gd name="connsiteX1188" fmla="*/ 581336 w 2663946"/>
                <a:gd name="connsiteY1188" fmla="*/ 160826 h 410520"/>
                <a:gd name="connsiteX1189" fmla="*/ 580352 w 2663946"/>
                <a:gd name="connsiteY1189" fmla="*/ 165693 h 410520"/>
                <a:gd name="connsiteX1190" fmla="*/ 579123 w 2663946"/>
                <a:gd name="connsiteY1190" fmla="*/ 169478 h 410520"/>
                <a:gd name="connsiteX1191" fmla="*/ 578140 w 2663946"/>
                <a:gd name="connsiteY1191" fmla="*/ 171912 h 410520"/>
                <a:gd name="connsiteX1192" fmla="*/ 575928 w 2663946"/>
                <a:gd name="connsiteY1192" fmla="*/ 176238 h 410520"/>
                <a:gd name="connsiteX1193" fmla="*/ 573715 w 2663946"/>
                <a:gd name="connsiteY1193" fmla="*/ 179482 h 410520"/>
                <a:gd name="connsiteX1194" fmla="*/ 570274 w 2663946"/>
                <a:gd name="connsiteY1194" fmla="*/ 183268 h 410520"/>
                <a:gd name="connsiteX1195" fmla="*/ 567079 w 2663946"/>
                <a:gd name="connsiteY1195" fmla="*/ 185971 h 410520"/>
                <a:gd name="connsiteX1196" fmla="*/ 561425 w 2663946"/>
                <a:gd name="connsiteY1196" fmla="*/ 189216 h 410520"/>
                <a:gd name="connsiteX1197" fmla="*/ 553559 w 2663946"/>
                <a:gd name="connsiteY1197" fmla="*/ 191379 h 410520"/>
                <a:gd name="connsiteX1198" fmla="*/ 552331 w 2663946"/>
                <a:gd name="connsiteY1198" fmla="*/ 191650 h 410520"/>
                <a:gd name="connsiteX1199" fmla="*/ 548152 w 2663946"/>
                <a:gd name="connsiteY1199" fmla="*/ 191650 h 410520"/>
                <a:gd name="connsiteX1200" fmla="*/ 547906 w 2663946"/>
                <a:gd name="connsiteY1200" fmla="*/ 191650 h 410520"/>
                <a:gd name="connsiteX1201" fmla="*/ 534879 w 2663946"/>
                <a:gd name="connsiteY1201" fmla="*/ 186783 h 410520"/>
                <a:gd name="connsiteX1202" fmla="*/ 530208 w 2663946"/>
                <a:gd name="connsiteY1202" fmla="*/ 182727 h 410520"/>
                <a:gd name="connsiteX1203" fmla="*/ 527013 w 2663946"/>
                <a:gd name="connsiteY1203" fmla="*/ 178942 h 410520"/>
                <a:gd name="connsiteX1204" fmla="*/ 524801 w 2663946"/>
                <a:gd name="connsiteY1204" fmla="*/ 175427 h 410520"/>
                <a:gd name="connsiteX1205" fmla="*/ 522588 w 2663946"/>
                <a:gd name="connsiteY1205" fmla="*/ 171101 h 410520"/>
                <a:gd name="connsiteX1206" fmla="*/ 521359 w 2663946"/>
                <a:gd name="connsiteY1206" fmla="*/ 168126 h 410520"/>
                <a:gd name="connsiteX1207" fmla="*/ 520376 w 2663946"/>
                <a:gd name="connsiteY1207" fmla="*/ 164882 h 410520"/>
                <a:gd name="connsiteX1208" fmla="*/ 519147 w 2663946"/>
                <a:gd name="connsiteY1208" fmla="*/ 159204 h 410520"/>
                <a:gd name="connsiteX1209" fmla="*/ 518901 w 2663946"/>
                <a:gd name="connsiteY1209" fmla="*/ 156230 h 410520"/>
                <a:gd name="connsiteX1210" fmla="*/ 519147 w 2663946"/>
                <a:gd name="connsiteY1210" fmla="*/ 156500 h 410520"/>
                <a:gd name="connsiteX1211" fmla="*/ 519147 w 2663946"/>
                <a:gd name="connsiteY1211" fmla="*/ 150822 h 410520"/>
                <a:gd name="connsiteX1212" fmla="*/ 519147 w 2663946"/>
                <a:gd name="connsiteY1212" fmla="*/ 150552 h 410520"/>
                <a:gd name="connsiteX1213" fmla="*/ 519639 w 2663946"/>
                <a:gd name="connsiteY1213" fmla="*/ 145955 h 410520"/>
                <a:gd name="connsiteX1214" fmla="*/ 520868 w 2663946"/>
                <a:gd name="connsiteY1214" fmla="*/ 140548 h 410520"/>
                <a:gd name="connsiteX1215" fmla="*/ 521851 w 2663946"/>
                <a:gd name="connsiteY1215" fmla="*/ 137303 h 410520"/>
                <a:gd name="connsiteX1216" fmla="*/ 524063 w 2663946"/>
                <a:gd name="connsiteY1216" fmla="*/ 132166 h 410520"/>
                <a:gd name="connsiteX1217" fmla="*/ 526275 w 2663946"/>
                <a:gd name="connsiteY1217" fmla="*/ 128381 h 410520"/>
                <a:gd name="connsiteX1218" fmla="*/ 528488 w 2663946"/>
                <a:gd name="connsiteY1218" fmla="*/ 125406 h 410520"/>
                <a:gd name="connsiteX1219" fmla="*/ 530700 w 2663946"/>
                <a:gd name="connsiteY1219" fmla="*/ 122973 h 410520"/>
                <a:gd name="connsiteX1220" fmla="*/ 535370 w 2663946"/>
                <a:gd name="connsiteY1220" fmla="*/ 119188 h 410520"/>
                <a:gd name="connsiteX1221" fmla="*/ 539303 w 2663946"/>
                <a:gd name="connsiteY1221" fmla="*/ 117025 h 410520"/>
                <a:gd name="connsiteX1222" fmla="*/ 548889 w 2663946"/>
                <a:gd name="connsiteY1222" fmla="*/ 114591 h 410520"/>
                <a:gd name="connsiteX1223" fmla="*/ 366938 w 2663946"/>
                <a:gd name="connsiteY1223" fmla="*/ 114591 h 410520"/>
                <a:gd name="connsiteX1224" fmla="*/ 379228 w 2663946"/>
                <a:gd name="connsiteY1224" fmla="*/ 116754 h 410520"/>
                <a:gd name="connsiteX1225" fmla="*/ 386603 w 2663946"/>
                <a:gd name="connsiteY1225" fmla="*/ 121351 h 410520"/>
                <a:gd name="connsiteX1226" fmla="*/ 390044 w 2663946"/>
                <a:gd name="connsiteY1226" fmla="*/ 124595 h 410520"/>
                <a:gd name="connsiteX1227" fmla="*/ 393485 w 2663946"/>
                <a:gd name="connsiteY1227" fmla="*/ 128921 h 410520"/>
                <a:gd name="connsiteX1228" fmla="*/ 395452 w 2663946"/>
                <a:gd name="connsiteY1228" fmla="*/ 132436 h 410520"/>
                <a:gd name="connsiteX1229" fmla="*/ 397664 w 2663946"/>
                <a:gd name="connsiteY1229" fmla="*/ 137844 h 410520"/>
                <a:gd name="connsiteX1230" fmla="*/ 398647 w 2663946"/>
                <a:gd name="connsiteY1230" fmla="*/ 141359 h 410520"/>
                <a:gd name="connsiteX1231" fmla="*/ 399630 w 2663946"/>
                <a:gd name="connsiteY1231" fmla="*/ 146496 h 410520"/>
                <a:gd name="connsiteX1232" fmla="*/ 399384 w 2663946"/>
                <a:gd name="connsiteY1232" fmla="*/ 160826 h 410520"/>
                <a:gd name="connsiteX1233" fmla="*/ 398401 w 2663946"/>
                <a:gd name="connsiteY1233" fmla="*/ 165693 h 410520"/>
                <a:gd name="connsiteX1234" fmla="*/ 397172 w 2663946"/>
                <a:gd name="connsiteY1234" fmla="*/ 169478 h 410520"/>
                <a:gd name="connsiteX1235" fmla="*/ 396189 w 2663946"/>
                <a:gd name="connsiteY1235" fmla="*/ 171912 h 410520"/>
                <a:gd name="connsiteX1236" fmla="*/ 393977 w 2663946"/>
                <a:gd name="connsiteY1236" fmla="*/ 176238 h 410520"/>
                <a:gd name="connsiteX1237" fmla="*/ 391764 w 2663946"/>
                <a:gd name="connsiteY1237" fmla="*/ 179482 h 410520"/>
                <a:gd name="connsiteX1238" fmla="*/ 388323 w 2663946"/>
                <a:gd name="connsiteY1238" fmla="*/ 183268 h 410520"/>
                <a:gd name="connsiteX1239" fmla="*/ 385128 w 2663946"/>
                <a:gd name="connsiteY1239" fmla="*/ 185971 h 410520"/>
                <a:gd name="connsiteX1240" fmla="*/ 379474 w 2663946"/>
                <a:gd name="connsiteY1240" fmla="*/ 189216 h 410520"/>
                <a:gd name="connsiteX1241" fmla="*/ 371609 w 2663946"/>
                <a:gd name="connsiteY1241" fmla="*/ 191379 h 410520"/>
                <a:gd name="connsiteX1242" fmla="*/ 370380 w 2663946"/>
                <a:gd name="connsiteY1242" fmla="*/ 191650 h 410520"/>
                <a:gd name="connsiteX1243" fmla="*/ 366201 w 2663946"/>
                <a:gd name="connsiteY1243" fmla="*/ 191650 h 410520"/>
                <a:gd name="connsiteX1244" fmla="*/ 365955 w 2663946"/>
                <a:gd name="connsiteY1244" fmla="*/ 191650 h 410520"/>
                <a:gd name="connsiteX1245" fmla="*/ 352927 w 2663946"/>
                <a:gd name="connsiteY1245" fmla="*/ 186783 h 410520"/>
                <a:gd name="connsiteX1246" fmla="*/ 348257 w 2663946"/>
                <a:gd name="connsiteY1246" fmla="*/ 182727 h 410520"/>
                <a:gd name="connsiteX1247" fmla="*/ 345062 w 2663946"/>
                <a:gd name="connsiteY1247" fmla="*/ 178942 h 410520"/>
                <a:gd name="connsiteX1248" fmla="*/ 342850 w 2663946"/>
                <a:gd name="connsiteY1248" fmla="*/ 175427 h 410520"/>
                <a:gd name="connsiteX1249" fmla="*/ 340637 w 2663946"/>
                <a:gd name="connsiteY1249" fmla="*/ 171101 h 410520"/>
                <a:gd name="connsiteX1250" fmla="*/ 339408 w 2663946"/>
                <a:gd name="connsiteY1250" fmla="*/ 168126 h 410520"/>
                <a:gd name="connsiteX1251" fmla="*/ 338425 w 2663946"/>
                <a:gd name="connsiteY1251" fmla="*/ 164882 h 410520"/>
                <a:gd name="connsiteX1252" fmla="*/ 337196 w 2663946"/>
                <a:gd name="connsiteY1252" fmla="*/ 159204 h 410520"/>
                <a:gd name="connsiteX1253" fmla="*/ 336950 w 2663946"/>
                <a:gd name="connsiteY1253" fmla="*/ 156230 h 410520"/>
                <a:gd name="connsiteX1254" fmla="*/ 337196 w 2663946"/>
                <a:gd name="connsiteY1254" fmla="*/ 156500 h 410520"/>
                <a:gd name="connsiteX1255" fmla="*/ 337196 w 2663946"/>
                <a:gd name="connsiteY1255" fmla="*/ 150822 h 410520"/>
                <a:gd name="connsiteX1256" fmla="*/ 337196 w 2663946"/>
                <a:gd name="connsiteY1256" fmla="*/ 150552 h 410520"/>
                <a:gd name="connsiteX1257" fmla="*/ 337687 w 2663946"/>
                <a:gd name="connsiteY1257" fmla="*/ 145955 h 410520"/>
                <a:gd name="connsiteX1258" fmla="*/ 338917 w 2663946"/>
                <a:gd name="connsiteY1258" fmla="*/ 140548 h 410520"/>
                <a:gd name="connsiteX1259" fmla="*/ 339900 w 2663946"/>
                <a:gd name="connsiteY1259" fmla="*/ 137303 h 410520"/>
                <a:gd name="connsiteX1260" fmla="*/ 342112 w 2663946"/>
                <a:gd name="connsiteY1260" fmla="*/ 132166 h 410520"/>
                <a:gd name="connsiteX1261" fmla="*/ 344324 w 2663946"/>
                <a:gd name="connsiteY1261" fmla="*/ 128381 h 410520"/>
                <a:gd name="connsiteX1262" fmla="*/ 346536 w 2663946"/>
                <a:gd name="connsiteY1262" fmla="*/ 125406 h 410520"/>
                <a:gd name="connsiteX1263" fmla="*/ 348749 w 2663946"/>
                <a:gd name="connsiteY1263" fmla="*/ 122973 h 410520"/>
                <a:gd name="connsiteX1264" fmla="*/ 353419 w 2663946"/>
                <a:gd name="connsiteY1264" fmla="*/ 119188 h 410520"/>
                <a:gd name="connsiteX1265" fmla="*/ 357352 w 2663946"/>
                <a:gd name="connsiteY1265" fmla="*/ 117025 h 410520"/>
                <a:gd name="connsiteX1266" fmla="*/ 366938 w 2663946"/>
                <a:gd name="connsiteY1266" fmla="*/ 114591 h 410520"/>
                <a:gd name="connsiteX1267" fmla="*/ 123893 w 2663946"/>
                <a:gd name="connsiteY1267" fmla="*/ 114591 h 410520"/>
                <a:gd name="connsiteX1268" fmla="*/ 136183 w 2663946"/>
                <a:gd name="connsiteY1268" fmla="*/ 116754 h 410520"/>
                <a:gd name="connsiteX1269" fmla="*/ 143557 w 2663946"/>
                <a:gd name="connsiteY1269" fmla="*/ 121351 h 410520"/>
                <a:gd name="connsiteX1270" fmla="*/ 146998 w 2663946"/>
                <a:gd name="connsiteY1270" fmla="*/ 124595 h 410520"/>
                <a:gd name="connsiteX1271" fmla="*/ 150439 w 2663946"/>
                <a:gd name="connsiteY1271" fmla="*/ 128921 h 410520"/>
                <a:gd name="connsiteX1272" fmla="*/ 152406 w 2663946"/>
                <a:gd name="connsiteY1272" fmla="*/ 132436 h 410520"/>
                <a:gd name="connsiteX1273" fmla="*/ 154618 w 2663946"/>
                <a:gd name="connsiteY1273" fmla="*/ 137844 h 410520"/>
                <a:gd name="connsiteX1274" fmla="*/ 155601 w 2663946"/>
                <a:gd name="connsiteY1274" fmla="*/ 141359 h 410520"/>
                <a:gd name="connsiteX1275" fmla="*/ 156584 w 2663946"/>
                <a:gd name="connsiteY1275" fmla="*/ 146496 h 410520"/>
                <a:gd name="connsiteX1276" fmla="*/ 156339 w 2663946"/>
                <a:gd name="connsiteY1276" fmla="*/ 160826 h 410520"/>
                <a:gd name="connsiteX1277" fmla="*/ 155355 w 2663946"/>
                <a:gd name="connsiteY1277" fmla="*/ 165693 h 410520"/>
                <a:gd name="connsiteX1278" fmla="*/ 154126 w 2663946"/>
                <a:gd name="connsiteY1278" fmla="*/ 169478 h 410520"/>
                <a:gd name="connsiteX1279" fmla="*/ 153143 w 2663946"/>
                <a:gd name="connsiteY1279" fmla="*/ 171912 h 410520"/>
                <a:gd name="connsiteX1280" fmla="*/ 150931 w 2663946"/>
                <a:gd name="connsiteY1280" fmla="*/ 176238 h 410520"/>
                <a:gd name="connsiteX1281" fmla="*/ 148719 w 2663946"/>
                <a:gd name="connsiteY1281" fmla="*/ 179482 h 410520"/>
                <a:gd name="connsiteX1282" fmla="*/ 145277 w 2663946"/>
                <a:gd name="connsiteY1282" fmla="*/ 183268 h 410520"/>
                <a:gd name="connsiteX1283" fmla="*/ 142082 w 2663946"/>
                <a:gd name="connsiteY1283" fmla="*/ 185971 h 410520"/>
                <a:gd name="connsiteX1284" fmla="*/ 136428 w 2663946"/>
                <a:gd name="connsiteY1284" fmla="*/ 189216 h 410520"/>
                <a:gd name="connsiteX1285" fmla="*/ 128563 w 2663946"/>
                <a:gd name="connsiteY1285" fmla="*/ 191379 h 410520"/>
                <a:gd name="connsiteX1286" fmla="*/ 127334 w 2663946"/>
                <a:gd name="connsiteY1286" fmla="*/ 191650 h 410520"/>
                <a:gd name="connsiteX1287" fmla="*/ 123155 w 2663946"/>
                <a:gd name="connsiteY1287" fmla="*/ 191650 h 410520"/>
                <a:gd name="connsiteX1288" fmla="*/ 122909 w 2663946"/>
                <a:gd name="connsiteY1288" fmla="*/ 191650 h 410520"/>
                <a:gd name="connsiteX1289" fmla="*/ 109882 w 2663946"/>
                <a:gd name="connsiteY1289" fmla="*/ 186783 h 410520"/>
                <a:gd name="connsiteX1290" fmla="*/ 105211 w 2663946"/>
                <a:gd name="connsiteY1290" fmla="*/ 182727 h 410520"/>
                <a:gd name="connsiteX1291" fmla="*/ 102016 w 2663946"/>
                <a:gd name="connsiteY1291" fmla="*/ 178942 h 410520"/>
                <a:gd name="connsiteX1292" fmla="*/ 99804 w 2663946"/>
                <a:gd name="connsiteY1292" fmla="*/ 175427 h 410520"/>
                <a:gd name="connsiteX1293" fmla="*/ 97591 w 2663946"/>
                <a:gd name="connsiteY1293" fmla="*/ 171101 h 410520"/>
                <a:gd name="connsiteX1294" fmla="*/ 96362 w 2663946"/>
                <a:gd name="connsiteY1294" fmla="*/ 168126 h 410520"/>
                <a:gd name="connsiteX1295" fmla="*/ 95379 w 2663946"/>
                <a:gd name="connsiteY1295" fmla="*/ 164882 h 410520"/>
                <a:gd name="connsiteX1296" fmla="*/ 94150 w 2663946"/>
                <a:gd name="connsiteY1296" fmla="*/ 159204 h 410520"/>
                <a:gd name="connsiteX1297" fmla="*/ 93904 w 2663946"/>
                <a:gd name="connsiteY1297" fmla="*/ 156230 h 410520"/>
                <a:gd name="connsiteX1298" fmla="*/ 94150 w 2663946"/>
                <a:gd name="connsiteY1298" fmla="*/ 156500 h 410520"/>
                <a:gd name="connsiteX1299" fmla="*/ 94150 w 2663946"/>
                <a:gd name="connsiteY1299" fmla="*/ 150822 h 410520"/>
                <a:gd name="connsiteX1300" fmla="*/ 94150 w 2663946"/>
                <a:gd name="connsiteY1300" fmla="*/ 150552 h 410520"/>
                <a:gd name="connsiteX1301" fmla="*/ 94642 w 2663946"/>
                <a:gd name="connsiteY1301" fmla="*/ 145955 h 410520"/>
                <a:gd name="connsiteX1302" fmla="*/ 95871 w 2663946"/>
                <a:gd name="connsiteY1302" fmla="*/ 140548 h 410520"/>
                <a:gd name="connsiteX1303" fmla="*/ 96854 w 2663946"/>
                <a:gd name="connsiteY1303" fmla="*/ 137303 h 410520"/>
                <a:gd name="connsiteX1304" fmla="*/ 99066 w 2663946"/>
                <a:gd name="connsiteY1304" fmla="*/ 132166 h 410520"/>
                <a:gd name="connsiteX1305" fmla="*/ 101279 w 2663946"/>
                <a:gd name="connsiteY1305" fmla="*/ 128381 h 410520"/>
                <a:gd name="connsiteX1306" fmla="*/ 103491 w 2663946"/>
                <a:gd name="connsiteY1306" fmla="*/ 125406 h 410520"/>
                <a:gd name="connsiteX1307" fmla="*/ 105703 w 2663946"/>
                <a:gd name="connsiteY1307" fmla="*/ 122973 h 410520"/>
                <a:gd name="connsiteX1308" fmla="*/ 110373 w 2663946"/>
                <a:gd name="connsiteY1308" fmla="*/ 119188 h 410520"/>
                <a:gd name="connsiteX1309" fmla="*/ 114306 w 2663946"/>
                <a:gd name="connsiteY1309" fmla="*/ 117025 h 410520"/>
                <a:gd name="connsiteX1310" fmla="*/ 123893 w 2663946"/>
                <a:gd name="connsiteY1310" fmla="*/ 114591 h 410520"/>
                <a:gd name="connsiteX1311" fmla="*/ 33147 w 2663946"/>
                <a:gd name="connsiteY1311" fmla="*/ 113953 h 410520"/>
                <a:gd name="connsiteX1312" fmla="*/ 57942 w 2663946"/>
                <a:gd name="connsiteY1312" fmla="*/ 134162 h 410520"/>
                <a:gd name="connsiteX1313" fmla="*/ 58422 w 2663946"/>
                <a:gd name="connsiteY1313" fmla="*/ 138920 h 410520"/>
                <a:gd name="connsiteX1314" fmla="*/ 59840 w 2663946"/>
                <a:gd name="connsiteY1314" fmla="*/ 138920 h 410520"/>
                <a:gd name="connsiteX1315" fmla="*/ 66294 w 2663946"/>
                <a:gd name="connsiteY1315" fmla="*/ 145206 h 410520"/>
                <a:gd name="connsiteX1316" fmla="*/ 66294 w 2663946"/>
                <a:gd name="connsiteY1316" fmla="*/ 194928 h 410520"/>
                <a:gd name="connsiteX1317" fmla="*/ 59840 w 2663946"/>
                <a:gd name="connsiteY1317" fmla="*/ 201214 h 410520"/>
                <a:gd name="connsiteX1318" fmla="*/ 6453 w 2663946"/>
                <a:gd name="connsiteY1318" fmla="*/ 201214 h 410520"/>
                <a:gd name="connsiteX1319" fmla="*/ 0 w 2663946"/>
                <a:gd name="connsiteY1319" fmla="*/ 194928 h 410520"/>
                <a:gd name="connsiteX1320" fmla="*/ 0 w 2663946"/>
                <a:gd name="connsiteY1320" fmla="*/ 145206 h 410520"/>
                <a:gd name="connsiteX1321" fmla="*/ 6453 w 2663946"/>
                <a:gd name="connsiteY1321" fmla="*/ 138920 h 410520"/>
                <a:gd name="connsiteX1322" fmla="*/ 7288 w 2663946"/>
                <a:gd name="connsiteY1322" fmla="*/ 138920 h 410520"/>
                <a:gd name="connsiteX1323" fmla="*/ 7872 w 2663946"/>
                <a:gd name="connsiteY1323" fmla="*/ 138920 h 410520"/>
                <a:gd name="connsiteX1324" fmla="*/ 8351 w 2663946"/>
                <a:gd name="connsiteY1324" fmla="*/ 134162 h 410520"/>
                <a:gd name="connsiteX1325" fmla="*/ 33147 w 2663946"/>
                <a:gd name="connsiteY1325" fmla="*/ 113953 h 410520"/>
                <a:gd name="connsiteX1326" fmla="*/ 2537931 w 2663946"/>
                <a:gd name="connsiteY1326" fmla="*/ 106365 h 410520"/>
                <a:gd name="connsiteX1327" fmla="*/ 2562727 w 2663946"/>
                <a:gd name="connsiteY1327" fmla="*/ 126574 h 410520"/>
                <a:gd name="connsiteX1328" fmla="*/ 2563206 w 2663946"/>
                <a:gd name="connsiteY1328" fmla="*/ 131332 h 410520"/>
                <a:gd name="connsiteX1329" fmla="*/ 2564625 w 2663946"/>
                <a:gd name="connsiteY1329" fmla="*/ 131332 h 410520"/>
                <a:gd name="connsiteX1330" fmla="*/ 2571078 w 2663946"/>
                <a:gd name="connsiteY1330" fmla="*/ 137618 h 410520"/>
                <a:gd name="connsiteX1331" fmla="*/ 2571078 w 2663946"/>
                <a:gd name="connsiteY1331" fmla="*/ 187340 h 410520"/>
                <a:gd name="connsiteX1332" fmla="*/ 2564625 w 2663946"/>
                <a:gd name="connsiteY1332" fmla="*/ 193626 h 410520"/>
                <a:gd name="connsiteX1333" fmla="*/ 2511238 w 2663946"/>
                <a:gd name="connsiteY1333" fmla="*/ 193626 h 410520"/>
                <a:gd name="connsiteX1334" fmla="*/ 2504784 w 2663946"/>
                <a:gd name="connsiteY1334" fmla="*/ 187340 h 410520"/>
                <a:gd name="connsiteX1335" fmla="*/ 2504784 w 2663946"/>
                <a:gd name="connsiteY1335" fmla="*/ 137618 h 410520"/>
                <a:gd name="connsiteX1336" fmla="*/ 2511238 w 2663946"/>
                <a:gd name="connsiteY1336" fmla="*/ 131332 h 410520"/>
                <a:gd name="connsiteX1337" fmla="*/ 2512072 w 2663946"/>
                <a:gd name="connsiteY1337" fmla="*/ 131332 h 410520"/>
                <a:gd name="connsiteX1338" fmla="*/ 2512656 w 2663946"/>
                <a:gd name="connsiteY1338" fmla="*/ 131332 h 410520"/>
                <a:gd name="connsiteX1339" fmla="*/ 2513136 w 2663946"/>
                <a:gd name="connsiteY1339" fmla="*/ 126574 h 410520"/>
                <a:gd name="connsiteX1340" fmla="*/ 2537931 w 2663946"/>
                <a:gd name="connsiteY1340" fmla="*/ 106365 h 410520"/>
                <a:gd name="connsiteX1341" fmla="*/ 2112934 w 2663946"/>
                <a:gd name="connsiteY1341" fmla="*/ 106365 h 410520"/>
                <a:gd name="connsiteX1342" fmla="*/ 2137730 w 2663946"/>
                <a:gd name="connsiteY1342" fmla="*/ 126574 h 410520"/>
                <a:gd name="connsiteX1343" fmla="*/ 2138209 w 2663946"/>
                <a:gd name="connsiteY1343" fmla="*/ 131332 h 410520"/>
                <a:gd name="connsiteX1344" fmla="*/ 2139628 w 2663946"/>
                <a:gd name="connsiteY1344" fmla="*/ 131332 h 410520"/>
                <a:gd name="connsiteX1345" fmla="*/ 2146081 w 2663946"/>
                <a:gd name="connsiteY1345" fmla="*/ 137618 h 410520"/>
                <a:gd name="connsiteX1346" fmla="*/ 2146081 w 2663946"/>
                <a:gd name="connsiteY1346" fmla="*/ 187340 h 410520"/>
                <a:gd name="connsiteX1347" fmla="*/ 2139628 w 2663946"/>
                <a:gd name="connsiteY1347" fmla="*/ 193626 h 410520"/>
                <a:gd name="connsiteX1348" fmla="*/ 2086241 w 2663946"/>
                <a:gd name="connsiteY1348" fmla="*/ 193626 h 410520"/>
                <a:gd name="connsiteX1349" fmla="*/ 2079787 w 2663946"/>
                <a:gd name="connsiteY1349" fmla="*/ 187340 h 410520"/>
                <a:gd name="connsiteX1350" fmla="*/ 2079787 w 2663946"/>
                <a:gd name="connsiteY1350" fmla="*/ 137618 h 410520"/>
                <a:gd name="connsiteX1351" fmla="*/ 2086241 w 2663946"/>
                <a:gd name="connsiteY1351" fmla="*/ 131332 h 410520"/>
                <a:gd name="connsiteX1352" fmla="*/ 2087075 w 2663946"/>
                <a:gd name="connsiteY1352" fmla="*/ 131332 h 410520"/>
                <a:gd name="connsiteX1353" fmla="*/ 2087659 w 2663946"/>
                <a:gd name="connsiteY1353" fmla="*/ 131332 h 410520"/>
                <a:gd name="connsiteX1354" fmla="*/ 2088139 w 2663946"/>
                <a:gd name="connsiteY1354" fmla="*/ 126574 h 410520"/>
                <a:gd name="connsiteX1355" fmla="*/ 2112934 w 2663946"/>
                <a:gd name="connsiteY1355" fmla="*/ 106365 h 410520"/>
                <a:gd name="connsiteX1356" fmla="*/ 1854966 w 2663946"/>
                <a:gd name="connsiteY1356" fmla="*/ 106365 h 410520"/>
                <a:gd name="connsiteX1357" fmla="*/ 1879762 w 2663946"/>
                <a:gd name="connsiteY1357" fmla="*/ 126574 h 410520"/>
                <a:gd name="connsiteX1358" fmla="*/ 1880241 w 2663946"/>
                <a:gd name="connsiteY1358" fmla="*/ 131332 h 410520"/>
                <a:gd name="connsiteX1359" fmla="*/ 1881660 w 2663946"/>
                <a:gd name="connsiteY1359" fmla="*/ 131332 h 410520"/>
                <a:gd name="connsiteX1360" fmla="*/ 1888113 w 2663946"/>
                <a:gd name="connsiteY1360" fmla="*/ 137618 h 410520"/>
                <a:gd name="connsiteX1361" fmla="*/ 1888113 w 2663946"/>
                <a:gd name="connsiteY1361" fmla="*/ 187340 h 410520"/>
                <a:gd name="connsiteX1362" fmla="*/ 1881660 w 2663946"/>
                <a:gd name="connsiteY1362" fmla="*/ 193626 h 410520"/>
                <a:gd name="connsiteX1363" fmla="*/ 1828273 w 2663946"/>
                <a:gd name="connsiteY1363" fmla="*/ 193626 h 410520"/>
                <a:gd name="connsiteX1364" fmla="*/ 1821819 w 2663946"/>
                <a:gd name="connsiteY1364" fmla="*/ 187340 h 410520"/>
                <a:gd name="connsiteX1365" fmla="*/ 1821819 w 2663946"/>
                <a:gd name="connsiteY1365" fmla="*/ 137618 h 410520"/>
                <a:gd name="connsiteX1366" fmla="*/ 1828273 w 2663946"/>
                <a:gd name="connsiteY1366" fmla="*/ 131332 h 410520"/>
                <a:gd name="connsiteX1367" fmla="*/ 1829107 w 2663946"/>
                <a:gd name="connsiteY1367" fmla="*/ 131332 h 410520"/>
                <a:gd name="connsiteX1368" fmla="*/ 1829691 w 2663946"/>
                <a:gd name="connsiteY1368" fmla="*/ 131332 h 410520"/>
                <a:gd name="connsiteX1369" fmla="*/ 1830171 w 2663946"/>
                <a:gd name="connsiteY1369" fmla="*/ 126574 h 410520"/>
                <a:gd name="connsiteX1370" fmla="*/ 1854966 w 2663946"/>
                <a:gd name="connsiteY1370" fmla="*/ 106365 h 410520"/>
                <a:gd name="connsiteX1371" fmla="*/ 1764027 w 2663946"/>
                <a:gd name="connsiteY1371" fmla="*/ 106365 h 410520"/>
                <a:gd name="connsiteX1372" fmla="*/ 1788823 w 2663946"/>
                <a:gd name="connsiteY1372" fmla="*/ 126574 h 410520"/>
                <a:gd name="connsiteX1373" fmla="*/ 1789302 w 2663946"/>
                <a:gd name="connsiteY1373" fmla="*/ 131332 h 410520"/>
                <a:gd name="connsiteX1374" fmla="*/ 1790721 w 2663946"/>
                <a:gd name="connsiteY1374" fmla="*/ 131332 h 410520"/>
                <a:gd name="connsiteX1375" fmla="*/ 1797174 w 2663946"/>
                <a:gd name="connsiteY1375" fmla="*/ 137618 h 410520"/>
                <a:gd name="connsiteX1376" fmla="*/ 1797174 w 2663946"/>
                <a:gd name="connsiteY1376" fmla="*/ 187340 h 410520"/>
                <a:gd name="connsiteX1377" fmla="*/ 1790721 w 2663946"/>
                <a:gd name="connsiteY1377" fmla="*/ 193626 h 410520"/>
                <a:gd name="connsiteX1378" fmla="*/ 1737333 w 2663946"/>
                <a:gd name="connsiteY1378" fmla="*/ 193626 h 410520"/>
                <a:gd name="connsiteX1379" fmla="*/ 1730880 w 2663946"/>
                <a:gd name="connsiteY1379" fmla="*/ 187340 h 410520"/>
                <a:gd name="connsiteX1380" fmla="*/ 1730880 w 2663946"/>
                <a:gd name="connsiteY1380" fmla="*/ 137618 h 410520"/>
                <a:gd name="connsiteX1381" fmla="*/ 1737333 w 2663946"/>
                <a:gd name="connsiteY1381" fmla="*/ 131332 h 410520"/>
                <a:gd name="connsiteX1382" fmla="*/ 1738168 w 2663946"/>
                <a:gd name="connsiteY1382" fmla="*/ 131332 h 410520"/>
                <a:gd name="connsiteX1383" fmla="*/ 1738752 w 2663946"/>
                <a:gd name="connsiteY1383" fmla="*/ 131332 h 410520"/>
                <a:gd name="connsiteX1384" fmla="*/ 1739232 w 2663946"/>
                <a:gd name="connsiteY1384" fmla="*/ 126574 h 410520"/>
                <a:gd name="connsiteX1385" fmla="*/ 1764027 w 2663946"/>
                <a:gd name="connsiteY1385" fmla="*/ 106365 h 410520"/>
                <a:gd name="connsiteX1386" fmla="*/ 1506059 w 2663946"/>
                <a:gd name="connsiteY1386" fmla="*/ 106365 h 410520"/>
                <a:gd name="connsiteX1387" fmla="*/ 1530855 w 2663946"/>
                <a:gd name="connsiteY1387" fmla="*/ 126574 h 410520"/>
                <a:gd name="connsiteX1388" fmla="*/ 1531334 w 2663946"/>
                <a:gd name="connsiteY1388" fmla="*/ 131332 h 410520"/>
                <a:gd name="connsiteX1389" fmla="*/ 1532753 w 2663946"/>
                <a:gd name="connsiteY1389" fmla="*/ 131332 h 410520"/>
                <a:gd name="connsiteX1390" fmla="*/ 1539206 w 2663946"/>
                <a:gd name="connsiteY1390" fmla="*/ 137618 h 410520"/>
                <a:gd name="connsiteX1391" fmla="*/ 1539206 w 2663946"/>
                <a:gd name="connsiteY1391" fmla="*/ 187340 h 410520"/>
                <a:gd name="connsiteX1392" fmla="*/ 1532753 w 2663946"/>
                <a:gd name="connsiteY1392" fmla="*/ 193626 h 410520"/>
                <a:gd name="connsiteX1393" fmla="*/ 1479365 w 2663946"/>
                <a:gd name="connsiteY1393" fmla="*/ 193626 h 410520"/>
                <a:gd name="connsiteX1394" fmla="*/ 1472912 w 2663946"/>
                <a:gd name="connsiteY1394" fmla="*/ 187340 h 410520"/>
                <a:gd name="connsiteX1395" fmla="*/ 1472912 w 2663946"/>
                <a:gd name="connsiteY1395" fmla="*/ 137618 h 410520"/>
                <a:gd name="connsiteX1396" fmla="*/ 1479365 w 2663946"/>
                <a:gd name="connsiteY1396" fmla="*/ 131332 h 410520"/>
                <a:gd name="connsiteX1397" fmla="*/ 1480200 w 2663946"/>
                <a:gd name="connsiteY1397" fmla="*/ 131332 h 410520"/>
                <a:gd name="connsiteX1398" fmla="*/ 1480784 w 2663946"/>
                <a:gd name="connsiteY1398" fmla="*/ 131332 h 410520"/>
                <a:gd name="connsiteX1399" fmla="*/ 1481264 w 2663946"/>
                <a:gd name="connsiteY1399" fmla="*/ 126574 h 410520"/>
                <a:gd name="connsiteX1400" fmla="*/ 1506059 w 2663946"/>
                <a:gd name="connsiteY1400" fmla="*/ 106365 h 410520"/>
                <a:gd name="connsiteX1401" fmla="*/ 1415120 w 2663946"/>
                <a:gd name="connsiteY1401" fmla="*/ 106365 h 410520"/>
                <a:gd name="connsiteX1402" fmla="*/ 1439916 w 2663946"/>
                <a:gd name="connsiteY1402" fmla="*/ 126574 h 410520"/>
                <a:gd name="connsiteX1403" fmla="*/ 1440395 w 2663946"/>
                <a:gd name="connsiteY1403" fmla="*/ 131332 h 410520"/>
                <a:gd name="connsiteX1404" fmla="*/ 1441814 w 2663946"/>
                <a:gd name="connsiteY1404" fmla="*/ 131332 h 410520"/>
                <a:gd name="connsiteX1405" fmla="*/ 1448267 w 2663946"/>
                <a:gd name="connsiteY1405" fmla="*/ 137618 h 410520"/>
                <a:gd name="connsiteX1406" fmla="*/ 1448267 w 2663946"/>
                <a:gd name="connsiteY1406" fmla="*/ 187340 h 410520"/>
                <a:gd name="connsiteX1407" fmla="*/ 1441814 w 2663946"/>
                <a:gd name="connsiteY1407" fmla="*/ 193626 h 410520"/>
                <a:gd name="connsiteX1408" fmla="*/ 1388426 w 2663946"/>
                <a:gd name="connsiteY1408" fmla="*/ 193626 h 410520"/>
                <a:gd name="connsiteX1409" fmla="*/ 1381973 w 2663946"/>
                <a:gd name="connsiteY1409" fmla="*/ 187340 h 410520"/>
                <a:gd name="connsiteX1410" fmla="*/ 1381973 w 2663946"/>
                <a:gd name="connsiteY1410" fmla="*/ 137618 h 410520"/>
                <a:gd name="connsiteX1411" fmla="*/ 1388426 w 2663946"/>
                <a:gd name="connsiteY1411" fmla="*/ 131332 h 410520"/>
                <a:gd name="connsiteX1412" fmla="*/ 1389261 w 2663946"/>
                <a:gd name="connsiteY1412" fmla="*/ 131332 h 410520"/>
                <a:gd name="connsiteX1413" fmla="*/ 1389845 w 2663946"/>
                <a:gd name="connsiteY1413" fmla="*/ 131332 h 410520"/>
                <a:gd name="connsiteX1414" fmla="*/ 1390325 w 2663946"/>
                <a:gd name="connsiteY1414" fmla="*/ 126574 h 410520"/>
                <a:gd name="connsiteX1415" fmla="*/ 1415120 w 2663946"/>
                <a:gd name="connsiteY1415" fmla="*/ 106365 h 410520"/>
                <a:gd name="connsiteX1416" fmla="*/ 1157152 w 2663946"/>
                <a:gd name="connsiteY1416" fmla="*/ 106365 h 410520"/>
                <a:gd name="connsiteX1417" fmla="*/ 1181948 w 2663946"/>
                <a:gd name="connsiteY1417" fmla="*/ 126574 h 410520"/>
                <a:gd name="connsiteX1418" fmla="*/ 1182427 w 2663946"/>
                <a:gd name="connsiteY1418" fmla="*/ 131332 h 410520"/>
                <a:gd name="connsiteX1419" fmla="*/ 1183846 w 2663946"/>
                <a:gd name="connsiteY1419" fmla="*/ 131332 h 410520"/>
                <a:gd name="connsiteX1420" fmla="*/ 1190299 w 2663946"/>
                <a:gd name="connsiteY1420" fmla="*/ 137618 h 410520"/>
                <a:gd name="connsiteX1421" fmla="*/ 1190299 w 2663946"/>
                <a:gd name="connsiteY1421" fmla="*/ 187340 h 410520"/>
                <a:gd name="connsiteX1422" fmla="*/ 1183846 w 2663946"/>
                <a:gd name="connsiteY1422" fmla="*/ 193626 h 410520"/>
                <a:gd name="connsiteX1423" fmla="*/ 1130458 w 2663946"/>
                <a:gd name="connsiteY1423" fmla="*/ 193626 h 410520"/>
                <a:gd name="connsiteX1424" fmla="*/ 1124005 w 2663946"/>
                <a:gd name="connsiteY1424" fmla="*/ 187340 h 410520"/>
                <a:gd name="connsiteX1425" fmla="*/ 1124005 w 2663946"/>
                <a:gd name="connsiteY1425" fmla="*/ 137618 h 410520"/>
                <a:gd name="connsiteX1426" fmla="*/ 1130458 w 2663946"/>
                <a:gd name="connsiteY1426" fmla="*/ 131332 h 410520"/>
                <a:gd name="connsiteX1427" fmla="*/ 1131293 w 2663946"/>
                <a:gd name="connsiteY1427" fmla="*/ 131332 h 410520"/>
                <a:gd name="connsiteX1428" fmla="*/ 1131877 w 2663946"/>
                <a:gd name="connsiteY1428" fmla="*/ 131332 h 410520"/>
                <a:gd name="connsiteX1429" fmla="*/ 1132357 w 2663946"/>
                <a:gd name="connsiteY1429" fmla="*/ 126574 h 410520"/>
                <a:gd name="connsiteX1430" fmla="*/ 1157152 w 2663946"/>
                <a:gd name="connsiteY1430" fmla="*/ 106365 h 410520"/>
                <a:gd name="connsiteX1431" fmla="*/ 732156 w 2663946"/>
                <a:gd name="connsiteY1431" fmla="*/ 106365 h 410520"/>
                <a:gd name="connsiteX1432" fmla="*/ 756951 w 2663946"/>
                <a:gd name="connsiteY1432" fmla="*/ 126574 h 410520"/>
                <a:gd name="connsiteX1433" fmla="*/ 757431 w 2663946"/>
                <a:gd name="connsiteY1433" fmla="*/ 131332 h 410520"/>
                <a:gd name="connsiteX1434" fmla="*/ 758849 w 2663946"/>
                <a:gd name="connsiteY1434" fmla="*/ 131332 h 410520"/>
                <a:gd name="connsiteX1435" fmla="*/ 765303 w 2663946"/>
                <a:gd name="connsiteY1435" fmla="*/ 137618 h 410520"/>
                <a:gd name="connsiteX1436" fmla="*/ 765303 w 2663946"/>
                <a:gd name="connsiteY1436" fmla="*/ 187340 h 410520"/>
                <a:gd name="connsiteX1437" fmla="*/ 758849 w 2663946"/>
                <a:gd name="connsiteY1437" fmla="*/ 193626 h 410520"/>
                <a:gd name="connsiteX1438" fmla="*/ 705462 w 2663946"/>
                <a:gd name="connsiteY1438" fmla="*/ 193626 h 410520"/>
                <a:gd name="connsiteX1439" fmla="*/ 699009 w 2663946"/>
                <a:gd name="connsiteY1439" fmla="*/ 187340 h 410520"/>
                <a:gd name="connsiteX1440" fmla="*/ 699009 w 2663946"/>
                <a:gd name="connsiteY1440" fmla="*/ 137618 h 410520"/>
                <a:gd name="connsiteX1441" fmla="*/ 705462 w 2663946"/>
                <a:gd name="connsiteY1441" fmla="*/ 131332 h 410520"/>
                <a:gd name="connsiteX1442" fmla="*/ 706296 w 2663946"/>
                <a:gd name="connsiteY1442" fmla="*/ 131332 h 410520"/>
                <a:gd name="connsiteX1443" fmla="*/ 706881 w 2663946"/>
                <a:gd name="connsiteY1443" fmla="*/ 131332 h 410520"/>
                <a:gd name="connsiteX1444" fmla="*/ 707360 w 2663946"/>
                <a:gd name="connsiteY1444" fmla="*/ 126574 h 410520"/>
                <a:gd name="connsiteX1445" fmla="*/ 732156 w 2663946"/>
                <a:gd name="connsiteY1445" fmla="*/ 106365 h 410520"/>
                <a:gd name="connsiteX1446" fmla="*/ 641217 w 2663946"/>
                <a:gd name="connsiteY1446" fmla="*/ 106365 h 410520"/>
                <a:gd name="connsiteX1447" fmla="*/ 666012 w 2663946"/>
                <a:gd name="connsiteY1447" fmla="*/ 126574 h 410520"/>
                <a:gd name="connsiteX1448" fmla="*/ 666492 w 2663946"/>
                <a:gd name="connsiteY1448" fmla="*/ 131332 h 410520"/>
                <a:gd name="connsiteX1449" fmla="*/ 667910 w 2663946"/>
                <a:gd name="connsiteY1449" fmla="*/ 131332 h 410520"/>
                <a:gd name="connsiteX1450" fmla="*/ 674364 w 2663946"/>
                <a:gd name="connsiteY1450" fmla="*/ 137618 h 410520"/>
                <a:gd name="connsiteX1451" fmla="*/ 674364 w 2663946"/>
                <a:gd name="connsiteY1451" fmla="*/ 187340 h 410520"/>
                <a:gd name="connsiteX1452" fmla="*/ 667910 w 2663946"/>
                <a:gd name="connsiteY1452" fmla="*/ 193626 h 410520"/>
                <a:gd name="connsiteX1453" fmla="*/ 614523 w 2663946"/>
                <a:gd name="connsiteY1453" fmla="*/ 193626 h 410520"/>
                <a:gd name="connsiteX1454" fmla="*/ 608070 w 2663946"/>
                <a:gd name="connsiteY1454" fmla="*/ 187340 h 410520"/>
                <a:gd name="connsiteX1455" fmla="*/ 608070 w 2663946"/>
                <a:gd name="connsiteY1455" fmla="*/ 137618 h 410520"/>
                <a:gd name="connsiteX1456" fmla="*/ 614523 w 2663946"/>
                <a:gd name="connsiteY1456" fmla="*/ 131332 h 410520"/>
                <a:gd name="connsiteX1457" fmla="*/ 615358 w 2663946"/>
                <a:gd name="connsiteY1457" fmla="*/ 131332 h 410520"/>
                <a:gd name="connsiteX1458" fmla="*/ 615942 w 2663946"/>
                <a:gd name="connsiteY1458" fmla="*/ 131332 h 410520"/>
                <a:gd name="connsiteX1459" fmla="*/ 616422 w 2663946"/>
                <a:gd name="connsiteY1459" fmla="*/ 126574 h 410520"/>
                <a:gd name="connsiteX1460" fmla="*/ 641217 w 2663946"/>
                <a:gd name="connsiteY1460" fmla="*/ 106365 h 410520"/>
                <a:gd name="connsiteX1461" fmla="*/ 459266 w 2663946"/>
                <a:gd name="connsiteY1461" fmla="*/ 106365 h 410520"/>
                <a:gd name="connsiteX1462" fmla="*/ 484061 w 2663946"/>
                <a:gd name="connsiteY1462" fmla="*/ 126574 h 410520"/>
                <a:gd name="connsiteX1463" fmla="*/ 484541 w 2663946"/>
                <a:gd name="connsiteY1463" fmla="*/ 131332 h 410520"/>
                <a:gd name="connsiteX1464" fmla="*/ 485959 w 2663946"/>
                <a:gd name="connsiteY1464" fmla="*/ 131332 h 410520"/>
                <a:gd name="connsiteX1465" fmla="*/ 492413 w 2663946"/>
                <a:gd name="connsiteY1465" fmla="*/ 137618 h 410520"/>
                <a:gd name="connsiteX1466" fmla="*/ 492413 w 2663946"/>
                <a:gd name="connsiteY1466" fmla="*/ 187340 h 410520"/>
                <a:gd name="connsiteX1467" fmla="*/ 485959 w 2663946"/>
                <a:gd name="connsiteY1467" fmla="*/ 193626 h 410520"/>
                <a:gd name="connsiteX1468" fmla="*/ 432572 w 2663946"/>
                <a:gd name="connsiteY1468" fmla="*/ 193626 h 410520"/>
                <a:gd name="connsiteX1469" fmla="*/ 426119 w 2663946"/>
                <a:gd name="connsiteY1469" fmla="*/ 187340 h 410520"/>
                <a:gd name="connsiteX1470" fmla="*/ 426119 w 2663946"/>
                <a:gd name="connsiteY1470" fmla="*/ 137618 h 410520"/>
                <a:gd name="connsiteX1471" fmla="*/ 432572 w 2663946"/>
                <a:gd name="connsiteY1471" fmla="*/ 131332 h 410520"/>
                <a:gd name="connsiteX1472" fmla="*/ 433406 w 2663946"/>
                <a:gd name="connsiteY1472" fmla="*/ 131332 h 410520"/>
                <a:gd name="connsiteX1473" fmla="*/ 433991 w 2663946"/>
                <a:gd name="connsiteY1473" fmla="*/ 131332 h 410520"/>
                <a:gd name="connsiteX1474" fmla="*/ 434470 w 2663946"/>
                <a:gd name="connsiteY1474" fmla="*/ 126574 h 410520"/>
                <a:gd name="connsiteX1475" fmla="*/ 459266 w 2663946"/>
                <a:gd name="connsiteY1475" fmla="*/ 106365 h 410520"/>
                <a:gd name="connsiteX1476" fmla="*/ 24128 w 2663946"/>
                <a:gd name="connsiteY1476" fmla="*/ 62188 h 410520"/>
                <a:gd name="connsiteX1477" fmla="*/ 33591 w 2663946"/>
                <a:gd name="connsiteY1477" fmla="*/ 0 h 410520"/>
                <a:gd name="connsiteX1478" fmla="*/ 38187 w 2663946"/>
                <a:gd name="connsiteY1478" fmla="*/ 2434 h 410520"/>
                <a:gd name="connsiteX1479" fmla="*/ 40350 w 2663946"/>
                <a:gd name="connsiteY1479" fmla="*/ 8652 h 410520"/>
                <a:gd name="connsiteX1480" fmla="*/ 40350 w 2663946"/>
                <a:gd name="connsiteY1480" fmla="*/ 62188 h 410520"/>
                <a:gd name="connsiteX1481" fmla="*/ 40891 w 2663946"/>
                <a:gd name="connsiteY1481" fmla="*/ 62728 h 410520"/>
                <a:gd name="connsiteX1482" fmla="*/ 48191 w 2663946"/>
                <a:gd name="connsiteY1482" fmla="*/ 62728 h 410520"/>
                <a:gd name="connsiteX1483" fmla="*/ 52247 w 2663946"/>
                <a:gd name="connsiteY1483" fmla="*/ 63810 h 410520"/>
                <a:gd name="connsiteX1484" fmla="*/ 56032 w 2663946"/>
                <a:gd name="connsiteY1484" fmla="*/ 70569 h 410520"/>
                <a:gd name="connsiteX1485" fmla="*/ 53328 w 2663946"/>
                <a:gd name="connsiteY1485" fmla="*/ 76247 h 410520"/>
                <a:gd name="connsiteX1486" fmla="*/ 49273 w 2663946"/>
                <a:gd name="connsiteY1486" fmla="*/ 78140 h 410520"/>
                <a:gd name="connsiteX1487" fmla="*/ 49002 w 2663946"/>
                <a:gd name="connsiteY1487" fmla="*/ 78140 h 410520"/>
                <a:gd name="connsiteX1488" fmla="*/ 48732 w 2663946"/>
                <a:gd name="connsiteY1488" fmla="*/ 78140 h 410520"/>
                <a:gd name="connsiteX1489" fmla="*/ 48191 w 2663946"/>
                <a:gd name="connsiteY1489" fmla="*/ 78140 h 410520"/>
                <a:gd name="connsiteX1490" fmla="*/ 16016 w 2663946"/>
                <a:gd name="connsiteY1490" fmla="*/ 78140 h 410520"/>
                <a:gd name="connsiteX1491" fmla="*/ 15475 w 2663946"/>
                <a:gd name="connsiteY1491" fmla="*/ 78140 h 410520"/>
                <a:gd name="connsiteX1492" fmla="*/ 14664 w 2663946"/>
                <a:gd name="connsiteY1492" fmla="*/ 78140 h 410520"/>
                <a:gd name="connsiteX1493" fmla="*/ 13853 w 2663946"/>
                <a:gd name="connsiteY1493" fmla="*/ 77870 h 410520"/>
                <a:gd name="connsiteX1494" fmla="*/ 10338 w 2663946"/>
                <a:gd name="connsiteY1494" fmla="*/ 75977 h 410520"/>
                <a:gd name="connsiteX1495" fmla="*/ 7905 w 2663946"/>
                <a:gd name="connsiteY1495" fmla="*/ 70299 h 410520"/>
                <a:gd name="connsiteX1496" fmla="*/ 10068 w 2663946"/>
                <a:gd name="connsiteY1496" fmla="*/ 65162 h 410520"/>
                <a:gd name="connsiteX1497" fmla="*/ 15746 w 2663946"/>
                <a:gd name="connsiteY1497" fmla="*/ 62728 h 410520"/>
                <a:gd name="connsiteX1498" fmla="*/ 23587 w 2663946"/>
                <a:gd name="connsiteY1498" fmla="*/ 62728 h 410520"/>
                <a:gd name="connsiteX1499" fmla="*/ 24128 w 2663946"/>
                <a:gd name="connsiteY1499" fmla="*/ 62188 h 410520"/>
                <a:gd name="connsiteX0" fmla="*/ 2632966 w 2663946"/>
                <a:gd name="connsiteY0" fmla="*/ 349414 h 410520"/>
                <a:gd name="connsiteX1" fmla="*/ 2621414 w 2663946"/>
                <a:gd name="connsiteY1" fmla="*/ 351847 h 410520"/>
                <a:gd name="connsiteX2" fmla="*/ 2618218 w 2663946"/>
                <a:gd name="connsiteY2" fmla="*/ 355362 h 410520"/>
                <a:gd name="connsiteX3" fmla="*/ 2616006 w 2663946"/>
                <a:gd name="connsiteY3" fmla="*/ 359147 h 410520"/>
                <a:gd name="connsiteX4" fmla="*/ 2615023 w 2663946"/>
                <a:gd name="connsiteY4" fmla="*/ 361851 h 410520"/>
                <a:gd name="connsiteX5" fmla="*/ 2614039 w 2663946"/>
                <a:gd name="connsiteY5" fmla="*/ 365907 h 410520"/>
                <a:gd name="connsiteX6" fmla="*/ 2613056 w 2663946"/>
                <a:gd name="connsiteY6" fmla="*/ 372937 h 410520"/>
                <a:gd name="connsiteX7" fmla="*/ 2614039 w 2663946"/>
                <a:gd name="connsiteY7" fmla="*/ 380237 h 410520"/>
                <a:gd name="connsiteX8" fmla="*/ 2615269 w 2663946"/>
                <a:gd name="connsiteY8" fmla="*/ 384022 h 410520"/>
                <a:gd name="connsiteX9" fmla="*/ 2617481 w 2663946"/>
                <a:gd name="connsiteY9" fmla="*/ 388348 h 410520"/>
                <a:gd name="connsiteX10" fmla="*/ 2620922 w 2663946"/>
                <a:gd name="connsiteY10" fmla="*/ 392675 h 410520"/>
                <a:gd name="connsiteX11" fmla="*/ 2625346 w 2663946"/>
                <a:gd name="connsiteY11" fmla="*/ 395378 h 410520"/>
                <a:gd name="connsiteX12" fmla="*/ 2637637 w 2663946"/>
                <a:gd name="connsiteY12" fmla="*/ 392945 h 410520"/>
                <a:gd name="connsiteX13" fmla="*/ 2640832 w 2663946"/>
                <a:gd name="connsiteY13" fmla="*/ 389430 h 410520"/>
                <a:gd name="connsiteX14" fmla="*/ 2643290 w 2663946"/>
                <a:gd name="connsiteY14" fmla="*/ 385104 h 410520"/>
                <a:gd name="connsiteX15" fmla="*/ 2644273 w 2663946"/>
                <a:gd name="connsiteY15" fmla="*/ 382941 h 410520"/>
                <a:gd name="connsiteX16" fmla="*/ 2645502 w 2663946"/>
                <a:gd name="connsiteY16" fmla="*/ 378615 h 410520"/>
                <a:gd name="connsiteX17" fmla="*/ 2645011 w 2663946"/>
                <a:gd name="connsiteY17" fmla="*/ 364825 h 410520"/>
                <a:gd name="connsiteX18" fmla="*/ 2644027 w 2663946"/>
                <a:gd name="connsiteY18" fmla="*/ 361851 h 410520"/>
                <a:gd name="connsiteX19" fmla="*/ 2642799 w 2663946"/>
                <a:gd name="connsiteY19" fmla="*/ 358877 h 410520"/>
                <a:gd name="connsiteX20" fmla="*/ 2640586 w 2663946"/>
                <a:gd name="connsiteY20" fmla="*/ 355362 h 410520"/>
                <a:gd name="connsiteX21" fmla="*/ 2636899 w 2663946"/>
                <a:gd name="connsiteY21" fmla="*/ 351577 h 410520"/>
                <a:gd name="connsiteX22" fmla="*/ 2632966 w 2663946"/>
                <a:gd name="connsiteY22" fmla="*/ 349414 h 410520"/>
                <a:gd name="connsiteX23" fmla="*/ 2627559 w 2663946"/>
                <a:gd name="connsiteY23" fmla="*/ 333461 h 410520"/>
                <a:gd name="connsiteX24" fmla="*/ 2639849 w 2663946"/>
                <a:gd name="connsiteY24" fmla="*/ 335624 h 410520"/>
                <a:gd name="connsiteX25" fmla="*/ 2647223 w 2663946"/>
                <a:gd name="connsiteY25" fmla="*/ 340221 h 410520"/>
                <a:gd name="connsiteX26" fmla="*/ 2650664 w 2663946"/>
                <a:gd name="connsiteY26" fmla="*/ 343465 h 410520"/>
                <a:gd name="connsiteX27" fmla="*/ 2654106 w 2663946"/>
                <a:gd name="connsiteY27" fmla="*/ 347791 h 410520"/>
                <a:gd name="connsiteX28" fmla="*/ 2656072 w 2663946"/>
                <a:gd name="connsiteY28" fmla="*/ 351306 h 410520"/>
                <a:gd name="connsiteX29" fmla="*/ 2658284 w 2663946"/>
                <a:gd name="connsiteY29" fmla="*/ 356714 h 410520"/>
                <a:gd name="connsiteX30" fmla="*/ 2659267 w 2663946"/>
                <a:gd name="connsiteY30" fmla="*/ 360229 h 410520"/>
                <a:gd name="connsiteX31" fmla="*/ 2660251 w 2663946"/>
                <a:gd name="connsiteY31" fmla="*/ 365366 h 410520"/>
                <a:gd name="connsiteX32" fmla="*/ 2660005 w 2663946"/>
                <a:gd name="connsiteY32" fmla="*/ 379696 h 410520"/>
                <a:gd name="connsiteX33" fmla="*/ 2659022 w 2663946"/>
                <a:gd name="connsiteY33" fmla="*/ 384563 h 410520"/>
                <a:gd name="connsiteX34" fmla="*/ 2657792 w 2663946"/>
                <a:gd name="connsiteY34" fmla="*/ 388348 h 410520"/>
                <a:gd name="connsiteX35" fmla="*/ 2656809 w 2663946"/>
                <a:gd name="connsiteY35" fmla="*/ 390782 h 410520"/>
                <a:gd name="connsiteX36" fmla="*/ 2654597 w 2663946"/>
                <a:gd name="connsiteY36" fmla="*/ 395108 h 410520"/>
                <a:gd name="connsiteX37" fmla="*/ 2652385 w 2663946"/>
                <a:gd name="connsiteY37" fmla="*/ 398352 h 410520"/>
                <a:gd name="connsiteX38" fmla="*/ 2648944 w 2663946"/>
                <a:gd name="connsiteY38" fmla="*/ 402138 h 410520"/>
                <a:gd name="connsiteX39" fmla="*/ 2645748 w 2663946"/>
                <a:gd name="connsiteY39" fmla="*/ 404841 h 410520"/>
                <a:gd name="connsiteX40" fmla="*/ 2640095 w 2663946"/>
                <a:gd name="connsiteY40" fmla="*/ 408086 h 410520"/>
                <a:gd name="connsiteX41" fmla="*/ 2632229 w 2663946"/>
                <a:gd name="connsiteY41" fmla="*/ 410249 h 410520"/>
                <a:gd name="connsiteX42" fmla="*/ 2631000 w 2663946"/>
                <a:gd name="connsiteY42" fmla="*/ 410520 h 410520"/>
                <a:gd name="connsiteX43" fmla="*/ 2626821 w 2663946"/>
                <a:gd name="connsiteY43" fmla="*/ 410520 h 410520"/>
                <a:gd name="connsiteX44" fmla="*/ 2626576 w 2663946"/>
                <a:gd name="connsiteY44" fmla="*/ 410520 h 410520"/>
                <a:gd name="connsiteX45" fmla="*/ 2613548 w 2663946"/>
                <a:gd name="connsiteY45" fmla="*/ 405653 h 410520"/>
                <a:gd name="connsiteX46" fmla="*/ 2608878 w 2663946"/>
                <a:gd name="connsiteY46" fmla="*/ 401597 h 410520"/>
                <a:gd name="connsiteX47" fmla="*/ 2605682 w 2663946"/>
                <a:gd name="connsiteY47" fmla="*/ 397812 h 410520"/>
                <a:gd name="connsiteX48" fmla="*/ 2603470 w 2663946"/>
                <a:gd name="connsiteY48" fmla="*/ 394297 h 410520"/>
                <a:gd name="connsiteX49" fmla="*/ 2601258 w 2663946"/>
                <a:gd name="connsiteY49" fmla="*/ 389971 h 410520"/>
                <a:gd name="connsiteX50" fmla="*/ 2600029 w 2663946"/>
                <a:gd name="connsiteY50" fmla="*/ 386996 h 410520"/>
                <a:gd name="connsiteX51" fmla="*/ 2599046 w 2663946"/>
                <a:gd name="connsiteY51" fmla="*/ 383752 h 410520"/>
                <a:gd name="connsiteX52" fmla="*/ 2597816 w 2663946"/>
                <a:gd name="connsiteY52" fmla="*/ 378074 h 410520"/>
                <a:gd name="connsiteX53" fmla="*/ 2597571 w 2663946"/>
                <a:gd name="connsiteY53" fmla="*/ 375100 h 410520"/>
                <a:gd name="connsiteX54" fmla="*/ 2597816 w 2663946"/>
                <a:gd name="connsiteY54" fmla="*/ 375370 h 410520"/>
                <a:gd name="connsiteX55" fmla="*/ 2597816 w 2663946"/>
                <a:gd name="connsiteY55" fmla="*/ 369692 h 410520"/>
                <a:gd name="connsiteX56" fmla="*/ 2597816 w 2663946"/>
                <a:gd name="connsiteY56" fmla="*/ 369422 h 410520"/>
                <a:gd name="connsiteX57" fmla="*/ 2598308 w 2663946"/>
                <a:gd name="connsiteY57" fmla="*/ 364825 h 410520"/>
                <a:gd name="connsiteX58" fmla="*/ 2599537 w 2663946"/>
                <a:gd name="connsiteY58" fmla="*/ 359418 h 410520"/>
                <a:gd name="connsiteX59" fmla="*/ 2600520 w 2663946"/>
                <a:gd name="connsiteY59" fmla="*/ 356173 h 410520"/>
                <a:gd name="connsiteX60" fmla="*/ 2602732 w 2663946"/>
                <a:gd name="connsiteY60" fmla="*/ 351036 h 410520"/>
                <a:gd name="connsiteX61" fmla="*/ 2604945 w 2663946"/>
                <a:gd name="connsiteY61" fmla="*/ 347251 h 410520"/>
                <a:gd name="connsiteX62" fmla="*/ 2607157 w 2663946"/>
                <a:gd name="connsiteY62" fmla="*/ 344276 h 410520"/>
                <a:gd name="connsiteX63" fmla="*/ 2609369 w 2663946"/>
                <a:gd name="connsiteY63" fmla="*/ 341843 h 410520"/>
                <a:gd name="connsiteX64" fmla="*/ 2614039 w 2663946"/>
                <a:gd name="connsiteY64" fmla="*/ 338058 h 410520"/>
                <a:gd name="connsiteX65" fmla="*/ 2617972 w 2663946"/>
                <a:gd name="connsiteY65" fmla="*/ 335895 h 410520"/>
                <a:gd name="connsiteX66" fmla="*/ 2627559 w 2663946"/>
                <a:gd name="connsiteY66" fmla="*/ 333461 h 410520"/>
                <a:gd name="connsiteX67" fmla="*/ 2631061 w 2663946"/>
                <a:gd name="connsiteY67" fmla="*/ 269551 h 410520"/>
                <a:gd name="connsiteX68" fmla="*/ 2621591 w 2663946"/>
                <a:gd name="connsiteY68" fmla="*/ 278825 h 410520"/>
                <a:gd name="connsiteX69" fmla="*/ 2626545 w 2663946"/>
                <a:gd name="connsiteY69" fmla="*/ 286982 h 410520"/>
                <a:gd name="connsiteX70" fmla="*/ 2626545 w 2663946"/>
                <a:gd name="connsiteY70" fmla="*/ 295377 h 410520"/>
                <a:gd name="connsiteX71" fmla="*/ 2631061 w 2663946"/>
                <a:gd name="connsiteY71" fmla="*/ 299800 h 410520"/>
                <a:gd name="connsiteX72" fmla="*/ 2635578 w 2663946"/>
                <a:gd name="connsiteY72" fmla="*/ 295377 h 410520"/>
                <a:gd name="connsiteX73" fmla="*/ 2635578 w 2663946"/>
                <a:gd name="connsiteY73" fmla="*/ 286982 h 410520"/>
                <a:gd name="connsiteX74" fmla="*/ 2640532 w 2663946"/>
                <a:gd name="connsiteY74" fmla="*/ 278825 h 410520"/>
                <a:gd name="connsiteX75" fmla="*/ 2631061 w 2663946"/>
                <a:gd name="connsiteY75" fmla="*/ 269551 h 410520"/>
                <a:gd name="connsiteX76" fmla="*/ 2630799 w 2663946"/>
                <a:gd name="connsiteY76" fmla="*/ 230834 h 410520"/>
                <a:gd name="connsiteX77" fmla="*/ 2619139 w 2663946"/>
                <a:gd name="connsiteY77" fmla="*/ 238563 h 410520"/>
                <a:gd name="connsiteX78" fmla="*/ 2618214 w 2663946"/>
                <a:gd name="connsiteY78" fmla="*/ 243146 h 410520"/>
                <a:gd name="connsiteX79" fmla="*/ 2621454 w 2663946"/>
                <a:gd name="connsiteY79" fmla="*/ 243146 h 410520"/>
                <a:gd name="connsiteX80" fmla="*/ 2639871 w 2663946"/>
                <a:gd name="connsiteY80" fmla="*/ 243146 h 410520"/>
                <a:gd name="connsiteX81" fmla="*/ 2643385 w 2663946"/>
                <a:gd name="connsiteY81" fmla="*/ 243146 h 410520"/>
                <a:gd name="connsiteX82" fmla="*/ 2642460 w 2663946"/>
                <a:gd name="connsiteY82" fmla="*/ 238563 h 410520"/>
                <a:gd name="connsiteX83" fmla="*/ 2630799 w 2663946"/>
                <a:gd name="connsiteY83" fmla="*/ 230834 h 410520"/>
                <a:gd name="connsiteX84" fmla="*/ 2630799 w 2663946"/>
                <a:gd name="connsiteY84" fmla="*/ 218179 h 410520"/>
                <a:gd name="connsiteX85" fmla="*/ 2655595 w 2663946"/>
                <a:gd name="connsiteY85" fmla="*/ 238388 h 410520"/>
                <a:gd name="connsiteX86" fmla="*/ 2656074 w 2663946"/>
                <a:gd name="connsiteY86" fmla="*/ 243146 h 410520"/>
                <a:gd name="connsiteX87" fmla="*/ 2657493 w 2663946"/>
                <a:gd name="connsiteY87" fmla="*/ 243146 h 410520"/>
                <a:gd name="connsiteX88" fmla="*/ 2663946 w 2663946"/>
                <a:gd name="connsiteY88" fmla="*/ 249432 h 410520"/>
                <a:gd name="connsiteX89" fmla="*/ 2663946 w 2663946"/>
                <a:gd name="connsiteY89" fmla="*/ 299154 h 410520"/>
                <a:gd name="connsiteX90" fmla="*/ 2657493 w 2663946"/>
                <a:gd name="connsiteY90" fmla="*/ 305440 h 410520"/>
                <a:gd name="connsiteX91" fmla="*/ 2604106 w 2663946"/>
                <a:gd name="connsiteY91" fmla="*/ 305440 h 410520"/>
                <a:gd name="connsiteX92" fmla="*/ 2597652 w 2663946"/>
                <a:gd name="connsiteY92" fmla="*/ 299154 h 410520"/>
                <a:gd name="connsiteX93" fmla="*/ 2597652 w 2663946"/>
                <a:gd name="connsiteY93" fmla="*/ 249432 h 410520"/>
                <a:gd name="connsiteX94" fmla="*/ 2604106 w 2663946"/>
                <a:gd name="connsiteY94" fmla="*/ 243146 h 410520"/>
                <a:gd name="connsiteX95" fmla="*/ 2604940 w 2663946"/>
                <a:gd name="connsiteY95" fmla="*/ 243146 h 410520"/>
                <a:gd name="connsiteX96" fmla="*/ 2605524 w 2663946"/>
                <a:gd name="connsiteY96" fmla="*/ 243146 h 410520"/>
                <a:gd name="connsiteX97" fmla="*/ 2606004 w 2663946"/>
                <a:gd name="connsiteY97" fmla="*/ 238388 h 410520"/>
                <a:gd name="connsiteX98" fmla="*/ 2630799 w 2663946"/>
                <a:gd name="connsiteY98" fmla="*/ 218179 h 410520"/>
                <a:gd name="connsiteX99" fmla="*/ 33409 w 2663946"/>
                <a:gd name="connsiteY99" fmla="*/ 165325 h 410520"/>
                <a:gd name="connsiteX100" fmla="*/ 23938 w 2663946"/>
                <a:gd name="connsiteY100" fmla="*/ 174599 h 410520"/>
                <a:gd name="connsiteX101" fmla="*/ 28892 w 2663946"/>
                <a:gd name="connsiteY101" fmla="*/ 182756 h 410520"/>
                <a:gd name="connsiteX102" fmla="*/ 28892 w 2663946"/>
                <a:gd name="connsiteY102" fmla="*/ 191151 h 410520"/>
                <a:gd name="connsiteX103" fmla="*/ 33409 w 2663946"/>
                <a:gd name="connsiteY103" fmla="*/ 195574 h 410520"/>
                <a:gd name="connsiteX104" fmla="*/ 37926 w 2663946"/>
                <a:gd name="connsiteY104" fmla="*/ 191151 h 410520"/>
                <a:gd name="connsiteX105" fmla="*/ 37926 w 2663946"/>
                <a:gd name="connsiteY105" fmla="*/ 182756 h 410520"/>
                <a:gd name="connsiteX106" fmla="*/ 42880 w 2663946"/>
                <a:gd name="connsiteY106" fmla="*/ 174599 h 410520"/>
                <a:gd name="connsiteX107" fmla="*/ 33409 w 2663946"/>
                <a:gd name="connsiteY107" fmla="*/ 165325 h 410520"/>
                <a:gd name="connsiteX108" fmla="*/ 2538193 w 2663946"/>
                <a:gd name="connsiteY108" fmla="*/ 157737 h 410520"/>
                <a:gd name="connsiteX109" fmla="*/ 2528723 w 2663946"/>
                <a:gd name="connsiteY109" fmla="*/ 167011 h 410520"/>
                <a:gd name="connsiteX110" fmla="*/ 2533677 w 2663946"/>
                <a:gd name="connsiteY110" fmla="*/ 175168 h 410520"/>
                <a:gd name="connsiteX111" fmla="*/ 2533677 w 2663946"/>
                <a:gd name="connsiteY111" fmla="*/ 183563 h 410520"/>
                <a:gd name="connsiteX112" fmla="*/ 2538193 w 2663946"/>
                <a:gd name="connsiteY112" fmla="*/ 187986 h 410520"/>
                <a:gd name="connsiteX113" fmla="*/ 2542710 w 2663946"/>
                <a:gd name="connsiteY113" fmla="*/ 183563 h 410520"/>
                <a:gd name="connsiteX114" fmla="*/ 2542710 w 2663946"/>
                <a:gd name="connsiteY114" fmla="*/ 175168 h 410520"/>
                <a:gd name="connsiteX115" fmla="*/ 2547664 w 2663946"/>
                <a:gd name="connsiteY115" fmla="*/ 167011 h 410520"/>
                <a:gd name="connsiteX116" fmla="*/ 2538193 w 2663946"/>
                <a:gd name="connsiteY116" fmla="*/ 157737 h 410520"/>
                <a:gd name="connsiteX117" fmla="*/ 2113196 w 2663946"/>
                <a:gd name="connsiteY117" fmla="*/ 157737 h 410520"/>
                <a:gd name="connsiteX118" fmla="*/ 2103726 w 2663946"/>
                <a:gd name="connsiteY118" fmla="*/ 167011 h 410520"/>
                <a:gd name="connsiteX119" fmla="*/ 2108680 w 2663946"/>
                <a:gd name="connsiteY119" fmla="*/ 175168 h 410520"/>
                <a:gd name="connsiteX120" fmla="*/ 2108680 w 2663946"/>
                <a:gd name="connsiteY120" fmla="*/ 183563 h 410520"/>
                <a:gd name="connsiteX121" fmla="*/ 2113196 w 2663946"/>
                <a:gd name="connsiteY121" fmla="*/ 187986 h 410520"/>
                <a:gd name="connsiteX122" fmla="*/ 2117713 w 2663946"/>
                <a:gd name="connsiteY122" fmla="*/ 183563 h 410520"/>
                <a:gd name="connsiteX123" fmla="*/ 2117713 w 2663946"/>
                <a:gd name="connsiteY123" fmla="*/ 175168 h 410520"/>
                <a:gd name="connsiteX124" fmla="*/ 2122667 w 2663946"/>
                <a:gd name="connsiteY124" fmla="*/ 167011 h 410520"/>
                <a:gd name="connsiteX125" fmla="*/ 2113196 w 2663946"/>
                <a:gd name="connsiteY125" fmla="*/ 157737 h 410520"/>
                <a:gd name="connsiteX126" fmla="*/ 1855228 w 2663946"/>
                <a:gd name="connsiteY126" fmla="*/ 157737 h 410520"/>
                <a:gd name="connsiteX127" fmla="*/ 1845758 w 2663946"/>
                <a:gd name="connsiteY127" fmla="*/ 167011 h 410520"/>
                <a:gd name="connsiteX128" fmla="*/ 1850712 w 2663946"/>
                <a:gd name="connsiteY128" fmla="*/ 175168 h 410520"/>
                <a:gd name="connsiteX129" fmla="*/ 1850712 w 2663946"/>
                <a:gd name="connsiteY129" fmla="*/ 183563 h 410520"/>
                <a:gd name="connsiteX130" fmla="*/ 1855228 w 2663946"/>
                <a:gd name="connsiteY130" fmla="*/ 187986 h 410520"/>
                <a:gd name="connsiteX131" fmla="*/ 1859745 w 2663946"/>
                <a:gd name="connsiteY131" fmla="*/ 183563 h 410520"/>
                <a:gd name="connsiteX132" fmla="*/ 1859745 w 2663946"/>
                <a:gd name="connsiteY132" fmla="*/ 175168 h 410520"/>
                <a:gd name="connsiteX133" fmla="*/ 1864699 w 2663946"/>
                <a:gd name="connsiteY133" fmla="*/ 167011 h 410520"/>
                <a:gd name="connsiteX134" fmla="*/ 1855228 w 2663946"/>
                <a:gd name="connsiteY134" fmla="*/ 157737 h 410520"/>
                <a:gd name="connsiteX135" fmla="*/ 1764289 w 2663946"/>
                <a:gd name="connsiteY135" fmla="*/ 157737 h 410520"/>
                <a:gd name="connsiteX136" fmla="*/ 1754819 w 2663946"/>
                <a:gd name="connsiteY136" fmla="*/ 167011 h 410520"/>
                <a:gd name="connsiteX137" fmla="*/ 1759773 w 2663946"/>
                <a:gd name="connsiteY137" fmla="*/ 175168 h 410520"/>
                <a:gd name="connsiteX138" fmla="*/ 1759773 w 2663946"/>
                <a:gd name="connsiteY138" fmla="*/ 183563 h 410520"/>
                <a:gd name="connsiteX139" fmla="*/ 1764289 w 2663946"/>
                <a:gd name="connsiteY139" fmla="*/ 187986 h 410520"/>
                <a:gd name="connsiteX140" fmla="*/ 1768806 w 2663946"/>
                <a:gd name="connsiteY140" fmla="*/ 183563 h 410520"/>
                <a:gd name="connsiteX141" fmla="*/ 1768806 w 2663946"/>
                <a:gd name="connsiteY141" fmla="*/ 175168 h 410520"/>
                <a:gd name="connsiteX142" fmla="*/ 1773760 w 2663946"/>
                <a:gd name="connsiteY142" fmla="*/ 167011 h 410520"/>
                <a:gd name="connsiteX143" fmla="*/ 1764289 w 2663946"/>
                <a:gd name="connsiteY143" fmla="*/ 157737 h 410520"/>
                <a:gd name="connsiteX144" fmla="*/ 1506321 w 2663946"/>
                <a:gd name="connsiteY144" fmla="*/ 157737 h 410520"/>
                <a:gd name="connsiteX145" fmla="*/ 1496851 w 2663946"/>
                <a:gd name="connsiteY145" fmla="*/ 167011 h 410520"/>
                <a:gd name="connsiteX146" fmla="*/ 1501805 w 2663946"/>
                <a:gd name="connsiteY146" fmla="*/ 175168 h 410520"/>
                <a:gd name="connsiteX147" fmla="*/ 1501805 w 2663946"/>
                <a:gd name="connsiteY147" fmla="*/ 183563 h 410520"/>
                <a:gd name="connsiteX148" fmla="*/ 1506321 w 2663946"/>
                <a:gd name="connsiteY148" fmla="*/ 187986 h 410520"/>
                <a:gd name="connsiteX149" fmla="*/ 1510838 w 2663946"/>
                <a:gd name="connsiteY149" fmla="*/ 183563 h 410520"/>
                <a:gd name="connsiteX150" fmla="*/ 1510838 w 2663946"/>
                <a:gd name="connsiteY150" fmla="*/ 175168 h 410520"/>
                <a:gd name="connsiteX151" fmla="*/ 1515792 w 2663946"/>
                <a:gd name="connsiteY151" fmla="*/ 167011 h 410520"/>
                <a:gd name="connsiteX152" fmla="*/ 1506321 w 2663946"/>
                <a:gd name="connsiteY152" fmla="*/ 157737 h 410520"/>
                <a:gd name="connsiteX153" fmla="*/ 1415382 w 2663946"/>
                <a:gd name="connsiteY153" fmla="*/ 157737 h 410520"/>
                <a:gd name="connsiteX154" fmla="*/ 1405912 w 2663946"/>
                <a:gd name="connsiteY154" fmla="*/ 167011 h 410520"/>
                <a:gd name="connsiteX155" fmla="*/ 1410866 w 2663946"/>
                <a:gd name="connsiteY155" fmla="*/ 175168 h 410520"/>
                <a:gd name="connsiteX156" fmla="*/ 1410866 w 2663946"/>
                <a:gd name="connsiteY156" fmla="*/ 183563 h 410520"/>
                <a:gd name="connsiteX157" fmla="*/ 1415382 w 2663946"/>
                <a:gd name="connsiteY157" fmla="*/ 187986 h 410520"/>
                <a:gd name="connsiteX158" fmla="*/ 1419899 w 2663946"/>
                <a:gd name="connsiteY158" fmla="*/ 183563 h 410520"/>
                <a:gd name="connsiteX159" fmla="*/ 1419899 w 2663946"/>
                <a:gd name="connsiteY159" fmla="*/ 175168 h 410520"/>
                <a:gd name="connsiteX160" fmla="*/ 1424853 w 2663946"/>
                <a:gd name="connsiteY160" fmla="*/ 167011 h 410520"/>
                <a:gd name="connsiteX161" fmla="*/ 1415382 w 2663946"/>
                <a:gd name="connsiteY161" fmla="*/ 157737 h 410520"/>
                <a:gd name="connsiteX162" fmla="*/ 1157414 w 2663946"/>
                <a:gd name="connsiteY162" fmla="*/ 157737 h 410520"/>
                <a:gd name="connsiteX163" fmla="*/ 1147944 w 2663946"/>
                <a:gd name="connsiteY163" fmla="*/ 167011 h 410520"/>
                <a:gd name="connsiteX164" fmla="*/ 1152898 w 2663946"/>
                <a:gd name="connsiteY164" fmla="*/ 175168 h 410520"/>
                <a:gd name="connsiteX165" fmla="*/ 1152898 w 2663946"/>
                <a:gd name="connsiteY165" fmla="*/ 183563 h 410520"/>
                <a:gd name="connsiteX166" fmla="*/ 1157414 w 2663946"/>
                <a:gd name="connsiteY166" fmla="*/ 187986 h 410520"/>
                <a:gd name="connsiteX167" fmla="*/ 1161931 w 2663946"/>
                <a:gd name="connsiteY167" fmla="*/ 183563 h 410520"/>
                <a:gd name="connsiteX168" fmla="*/ 1161931 w 2663946"/>
                <a:gd name="connsiteY168" fmla="*/ 175168 h 410520"/>
                <a:gd name="connsiteX169" fmla="*/ 1166885 w 2663946"/>
                <a:gd name="connsiteY169" fmla="*/ 167011 h 410520"/>
                <a:gd name="connsiteX170" fmla="*/ 1157414 w 2663946"/>
                <a:gd name="connsiteY170" fmla="*/ 157737 h 410520"/>
                <a:gd name="connsiteX171" fmla="*/ 732418 w 2663946"/>
                <a:gd name="connsiteY171" fmla="*/ 157737 h 410520"/>
                <a:gd name="connsiteX172" fmla="*/ 722947 w 2663946"/>
                <a:gd name="connsiteY172" fmla="*/ 167011 h 410520"/>
                <a:gd name="connsiteX173" fmla="*/ 727901 w 2663946"/>
                <a:gd name="connsiteY173" fmla="*/ 175168 h 410520"/>
                <a:gd name="connsiteX174" fmla="*/ 727901 w 2663946"/>
                <a:gd name="connsiteY174" fmla="*/ 183563 h 410520"/>
                <a:gd name="connsiteX175" fmla="*/ 732418 w 2663946"/>
                <a:gd name="connsiteY175" fmla="*/ 187986 h 410520"/>
                <a:gd name="connsiteX176" fmla="*/ 736935 w 2663946"/>
                <a:gd name="connsiteY176" fmla="*/ 183563 h 410520"/>
                <a:gd name="connsiteX177" fmla="*/ 736935 w 2663946"/>
                <a:gd name="connsiteY177" fmla="*/ 175168 h 410520"/>
                <a:gd name="connsiteX178" fmla="*/ 741889 w 2663946"/>
                <a:gd name="connsiteY178" fmla="*/ 167011 h 410520"/>
                <a:gd name="connsiteX179" fmla="*/ 732418 w 2663946"/>
                <a:gd name="connsiteY179" fmla="*/ 157737 h 410520"/>
                <a:gd name="connsiteX180" fmla="*/ 641479 w 2663946"/>
                <a:gd name="connsiteY180" fmla="*/ 157737 h 410520"/>
                <a:gd name="connsiteX181" fmla="*/ 632008 w 2663946"/>
                <a:gd name="connsiteY181" fmla="*/ 167011 h 410520"/>
                <a:gd name="connsiteX182" fmla="*/ 636962 w 2663946"/>
                <a:gd name="connsiteY182" fmla="*/ 175168 h 410520"/>
                <a:gd name="connsiteX183" fmla="*/ 636962 w 2663946"/>
                <a:gd name="connsiteY183" fmla="*/ 183563 h 410520"/>
                <a:gd name="connsiteX184" fmla="*/ 641479 w 2663946"/>
                <a:gd name="connsiteY184" fmla="*/ 187986 h 410520"/>
                <a:gd name="connsiteX185" fmla="*/ 645996 w 2663946"/>
                <a:gd name="connsiteY185" fmla="*/ 183563 h 410520"/>
                <a:gd name="connsiteX186" fmla="*/ 645996 w 2663946"/>
                <a:gd name="connsiteY186" fmla="*/ 175168 h 410520"/>
                <a:gd name="connsiteX187" fmla="*/ 650950 w 2663946"/>
                <a:gd name="connsiteY187" fmla="*/ 167011 h 410520"/>
                <a:gd name="connsiteX188" fmla="*/ 641479 w 2663946"/>
                <a:gd name="connsiteY188" fmla="*/ 157737 h 410520"/>
                <a:gd name="connsiteX189" fmla="*/ 459528 w 2663946"/>
                <a:gd name="connsiteY189" fmla="*/ 157737 h 410520"/>
                <a:gd name="connsiteX190" fmla="*/ 450057 w 2663946"/>
                <a:gd name="connsiteY190" fmla="*/ 167011 h 410520"/>
                <a:gd name="connsiteX191" fmla="*/ 455011 w 2663946"/>
                <a:gd name="connsiteY191" fmla="*/ 175168 h 410520"/>
                <a:gd name="connsiteX192" fmla="*/ 455011 w 2663946"/>
                <a:gd name="connsiteY192" fmla="*/ 183563 h 410520"/>
                <a:gd name="connsiteX193" fmla="*/ 459528 w 2663946"/>
                <a:gd name="connsiteY193" fmla="*/ 187986 h 410520"/>
                <a:gd name="connsiteX194" fmla="*/ 464045 w 2663946"/>
                <a:gd name="connsiteY194" fmla="*/ 183563 h 410520"/>
                <a:gd name="connsiteX195" fmla="*/ 464045 w 2663946"/>
                <a:gd name="connsiteY195" fmla="*/ 175168 h 410520"/>
                <a:gd name="connsiteX196" fmla="*/ 468999 w 2663946"/>
                <a:gd name="connsiteY196" fmla="*/ 167011 h 410520"/>
                <a:gd name="connsiteX197" fmla="*/ 459528 w 2663946"/>
                <a:gd name="connsiteY197" fmla="*/ 157737 h 410520"/>
                <a:gd name="connsiteX198" fmla="*/ 2632966 w 2663946"/>
                <a:gd name="connsiteY198" fmla="*/ 130544 h 410520"/>
                <a:gd name="connsiteX199" fmla="*/ 2621414 w 2663946"/>
                <a:gd name="connsiteY199" fmla="*/ 132977 h 410520"/>
                <a:gd name="connsiteX200" fmla="*/ 2618218 w 2663946"/>
                <a:gd name="connsiteY200" fmla="*/ 136492 h 410520"/>
                <a:gd name="connsiteX201" fmla="*/ 2616006 w 2663946"/>
                <a:gd name="connsiteY201" fmla="*/ 140277 h 410520"/>
                <a:gd name="connsiteX202" fmla="*/ 2615023 w 2663946"/>
                <a:gd name="connsiteY202" fmla="*/ 142981 h 410520"/>
                <a:gd name="connsiteX203" fmla="*/ 2614039 w 2663946"/>
                <a:gd name="connsiteY203" fmla="*/ 147037 h 410520"/>
                <a:gd name="connsiteX204" fmla="*/ 2613056 w 2663946"/>
                <a:gd name="connsiteY204" fmla="*/ 154067 h 410520"/>
                <a:gd name="connsiteX205" fmla="*/ 2614039 w 2663946"/>
                <a:gd name="connsiteY205" fmla="*/ 161367 h 410520"/>
                <a:gd name="connsiteX206" fmla="*/ 2615269 w 2663946"/>
                <a:gd name="connsiteY206" fmla="*/ 165152 h 410520"/>
                <a:gd name="connsiteX207" fmla="*/ 2617481 w 2663946"/>
                <a:gd name="connsiteY207" fmla="*/ 169478 h 410520"/>
                <a:gd name="connsiteX208" fmla="*/ 2620922 w 2663946"/>
                <a:gd name="connsiteY208" fmla="*/ 173805 h 410520"/>
                <a:gd name="connsiteX209" fmla="*/ 2625346 w 2663946"/>
                <a:gd name="connsiteY209" fmla="*/ 176508 h 410520"/>
                <a:gd name="connsiteX210" fmla="*/ 2637637 w 2663946"/>
                <a:gd name="connsiteY210" fmla="*/ 174075 h 410520"/>
                <a:gd name="connsiteX211" fmla="*/ 2640832 w 2663946"/>
                <a:gd name="connsiteY211" fmla="*/ 170560 h 410520"/>
                <a:gd name="connsiteX212" fmla="*/ 2643290 w 2663946"/>
                <a:gd name="connsiteY212" fmla="*/ 166234 h 410520"/>
                <a:gd name="connsiteX213" fmla="*/ 2644273 w 2663946"/>
                <a:gd name="connsiteY213" fmla="*/ 164071 h 410520"/>
                <a:gd name="connsiteX214" fmla="*/ 2645502 w 2663946"/>
                <a:gd name="connsiteY214" fmla="*/ 159745 h 410520"/>
                <a:gd name="connsiteX215" fmla="*/ 2645011 w 2663946"/>
                <a:gd name="connsiteY215" fmla="*/ 145955 h 410520"/>
                <a:gd name="connsiteX216" fmla="*/ 2644027 w 2663946"/>
                <a:gd name="connsiteY216" fmla="*/ 142981 h 410520"/>
                <a:gd name="connsiteX217" fmla="*/ 2642799 w 2663946"/>
                <a:gd name="connsiteY217" fmla="*/ 140007 h 410520"/>
                <a:gd name="connsiteX218" fmla="*/ 2640586 w 2663946"/>
                <a:gd name="connsiteY218" fmla="*/ 136492 h 410520"/>
                <a:gd name="connsiteX219" fmla="*/ 2636899 w 2663946"/>
                <a:gd name="connsiteY219" fmla="*/ 132707 h 410520"/>
                <a:gd name="connsiteX220" fmla="*/ 2632966 w 2663946"/>
                <a:gd name="connsiteY220" fmla="*/ 130544 h 410520"/>
                <a:gd name="connsiteX221" fmla="*/ 2451011 w 2663946"/>
                <a:gd name="connsiteY221" fmla="*/ 130544 h 410520"/>
                <a:gd name="connsiteX222" fmla="*/ 2439459 w 2663946"/>
                <a:gd name="connsiteY222" fmla="*/ 132977 h 410520"/>
                <a:gd name="connsiteX223" fmla="*/ 2436263 w 2663946"/>
                <a:gd name="connsiteY223" fmla="*/ 136492 h 410520"/>
                <a:gd name="connsiteX224" fmla="*/ 2434051 w 2663946"/>
                <a:gd name="connsiteY224" fmla="*/ 140277 h 410520"/>
                <a:gd name="connsiteX225" fmla="*/ 2433068 w 2663946"/>
                <a:gd name="connsiteY225" fmla="*/ 142981 h 410520"/>
                <a:gd name="connsiteX226" fmla="*/ 2432084 w 2663946"/>
                <a:gd name="connsiteY226" fmla="*/ 147037 h 410520"/>
                <a:gd name="connsiteX227" fmla="*/ 2431101 w 2663946"/>
                <a:gd name="connsiteY227" fmla="*/ 154067 h 410520"/>
                <a:gd name="connsiteX228" fmla="*/ 2432084 w 2663946"/>
                <a:gd name="connsiteY228" fmla="*/ 161367 h 410520"/>
                <a:gd name="connsiteX229" fmla="*/ 2433314 w 2663946"/>
                <a:gd name="connsiteY229" fmla="*/ 165152 h 410520"/>
                <a:gd name="connsiteX230" fmla="*/ 2435526 w 2663946"/>
                <a:gd name="connsiteY230" fmla="*/ 169478 h 410520"/>
                <a:gd name="connsiteX231" fmla="*/ 2438967 w 2663946"/>
                <a:gd name="connsiteY231" fmla="*/ 173805 h 410520"/>
                <a:gd name="connsiteX232" fmla="*/ 2443391 w 2663946"/>
                <a:gd name="connsiteY232" fmla="*/ 176508 h 410520"/>
                <a:gd name="connsiteX233" fmla="*/ 2455682 w 2663946"/>
                <a:gd name="connsiteY233" fmla="*/ 174075 h 410520"/>
                <a:gd name="connsiteX234" fmla="*/ 2458877 w 2663946"/>
                <a:gd name="connsiteY234" fmla="*/ 170560 h 410520"/>
                <a:gd name="connsiteX235" fmla="*/ 2461335 w 2663946"/>
                <a:gd name="connsiteY235" fmla="*/ 166234 h 410520"/>
                <a:gd name="connsiteX236" fmla="*/ 2462318 w 2663946"/>
                <a:gd name="connsiteY236" fmla="*/ 164071 h 410520"/>
                <a:gd name="connsiteX237" fmla="*/ 2463547 w 2663946"/>
                <a:gd name="connsiteY237" fmla="*/ 159745 h 410520"/>
                <a:gd name="connsiteX238" fmla="*/ 2463056 w 2663946"/>
                <a:gd name="connsiteY238" fmla="*/ 145955 h 410520"/>
                <a:gd name="connsiteX239" fmla="*/ 2462072 w 2663946"/>
                <a:gd name="connsiteY239" fmla="*/ 142981 h 410520"/>
                <a:gd name="connsiteX240" fmla="*/ 2460844 w 2663946"/>
                <a:gd name="connsiteY240" fmla="*/ 140007 h 410520"/>
                <a:gd name="connsiteX241" fmla="*/ 2458631 w 2663946"/>
                <a:gd name="connsiteY241" fmla="*/ 136492 h 410520"/>
                <a:gd name="connsiteX242" fmla="*/ 2454944 w 2663946"/>
                <a:gd name="connsiteY242" fmla="*/ 132707 h 410520"/>
                <a:gd name="connsiteX243" fmla="*/ 2451011 w 2663946"/>
                <a:gd name="connsiteY243" fmla="*/ 130544 h 410520"/>
                <a:gd name="connsiteX244" fmla="*/ 2207965 w 2663946"/>
                <a:gd name="connsiteY244" fmla="*/ 130544 h 410520"/>
                <a:gd name="connsiteX245" fmla="*/ 2196413 w 2663946"/>
                <a:gd name="connsiteY245" fmla="*/ 132977 h 410520"/>
                <a:gd name="connsiteX246" fmla="*/ 2193217 w 2663946"/>
                <a:gd name="connsiteY246" fmla="*/ 136492 h 410520"/>
                <a:gd name="connsiteX247" fmla="*/ 2191005 w 2663946"/>
                <a:gd name="connsiteY247" fmla="*/ 140277 h 410520"/>
                <a:gd name="connsiteX248" fmla="*/ 2190022 w 2663946"/>
                <a:gd name="connsiteY248" fmla="*/ 142981 h 410520"/>
                <a:gd name="connsiteX249" fmla="*/ 2189038 w 2663946"/>
                <a:gd name="connsiteY249" fmla="*/ 147037 h 410520"/>
                <a:gd name="connsiteX250" fmla="*/ 2188055 w 2663946"/>
                <a:gd name="connsiteY250" fmla="*/ 154067 h 410520"/>
                <a:gd name="connsiteX251" fmla="*/ 2189038 w 2663946"/>
                <a:gd name="connsiteY251" fmla="*/ 161367 h 410520"/>
                <a:gd name="connsiteX252" fmla="*/ 2190268 w 2663946"/>
                <a:gd name="connsiteY252" fmla="*/ 165152 h 410520"/>
                <a:gd name="connsiteX253" fmla="*/ 2192480 w 2663946"/>
                <a:gd name="connsiteY253" fmla="*/ 169478 h 410520"/>
                <a:gd name="connsiteX254" fmla="*/ 2195921 w 2663946"/>
                <a:gd name="connsiteY254" fmla="*/ 173805 h 410520"/>
                <a:gd name="connsiteX255" fmla="*/ 2200345 w 2663946"/>
                <a:gd name="connsiteY255" fmla="*/ 176508 h 410520"/>
                <a:gd name="connsiteX256" fmla="*/ 2212636 w 2663946"/>
                <a:gd name="connsiteY256" fmla="*/ 174075 h 410520"/>
                <a:gd name="connsiteX257" fmla="*/ 2215831 w 2663946"/>
                <a:gd name="connsiteY257" fmla="*/ 170560 h 410520"/>
                <a:gd name="connsiteX258" fmla="*/ 2218289 w 2663946"/>
                <a:gd name="connsiteY258" fmla="*/ 166234 h 410520"/>
                <a:gd name="connsiteX259" fmla="*/ 2219272 w 2663946"/>
                <a:gd name="connsiteY259" fmla="*/ 164071 h 410520"/>
                <a:gd name="connsiteX260" fmla="*/ 2220501 w 2663946"/>
                <a:gd name="connsiteY260" fmla="*/ 159745 h 410520"/>
                <a:gd name="connsiteX261" fmla="*/ 2220010 w 2663946"/>
                <a:gd name="connsiteY261" fmla="*/ 145955 h 410520"/>
                <a:gd name="connsiteX262" fmla="*/ 2219026 w 2663946"/>
                <a:gd name="connsiteY262" fmla="*/ 142981 h 410520"/>
                <a:gd name="connsiteX263" fmla="*/ 2217798 w 2663946"/>
                <a:gd name="connsiteY263" fmla="*/ 140007 h 410520"/>
                <a:gd name="connsiteX264" fmla="*/ 2215585 w 2663946"/>
                <a:gd name="connsiteY264" fmla="*/ 136492 h 410520"/>
                <a:gd name="connsiteX265" fmla="*/ 2211898 w 2663946"/>
                <a:gd name="connsiteY265" fmla="*/ 132707 h 410520"/>
                <a:gd name="connsiteX266" fmla="*/ 2207965 w 2663946"/>
                <a:gd name="connsiteY266" fmla="*/ 130544 h 410520"/>
                <a:gd name="connsiteX267" fmla="*/ 2026014 w 2663946"/>
                <a:gd name="connsiteY267" fmla="*/ 130544 h 410520"/>
                <a:gd name="connsiteX268" fmla="*/ 2014462 w 2663946"/>
                <a:gd name="connsiteY268" fmla="*/ 132977 h 410520"/>
                <a:gd name="connsiteX269" fmla="*/ 2011266 w 2663946"/>
                <a:gd name="connsiteY269" fmla="*/ 136492 h 410520"/>
                <a:gd name="connsiteX270" fmla="*/ 2009054 w 2663946"/>
                <a:gd name="connsiteY270" fmla="*/ 140277 h 410520"/>
                <a:gd name="connsiteX271" fmla="*/ 2008071 w 2663946"/>
                <a:gd name="connsiteY271" fmla="*/ 142981 h 410520"/>
                <a:gd name="connsiteX272" fmla="*/ 2007087 w 2663946"/>
                <a:gd name="connsiteY272" fmla="*/ 147037 h 410520"/>
                <a:gd name="connsiteX273" fmla="*/ 2006104 w 2663946"/>
                <a:gd name="connsiteY273" fmla="*/ 154067 h 410520"/>
                <a:gd name="connsiteX274" fmla="*/ 2007087 w 2663946"/>
                <a:gd name="connsiteY274" fmla="*/ 161367 h 410520"/>
                <a:gd name="connsiteX275" fmla="*/ 2008317 w 2663946"/>
                <a:gd name="connsiteY275" fmla="*/ 165152 h 410520"/>
                <a:gd name="connsiteX276" fmla="*/ 2010529 w 2663946"/>
                <a:gd name="connsiteY276" fmla="*/ 169478 h 410520"/>
                <a:gd name="connsiteX277" fmla="*/ 2013970 w 2663946"/>
                <a:gd name="connsiteY277" fmla="*/ 173805 h 410520"/>
                <a:gd name="connsiteX278" fmla="*/ 2018394 w 2663946"/>
                <a:gd name="connsiteY278" fmla="*/ 176508 h 410520"/>
                <a:gd name="connsiteX279" fmla="*/ 2030685 w 2663946"/>
                <a:gd name="connsiteY279" fmla="*/ 174075 h 410520"/>
                <a:gd name="connsiteX280" fmla="*/ 2033880 w 2663946"/>
                <a:gd name="connsiteY280" fmla="*/ 170560 h 410520"/>
                <a:gd name="connsiteX281" fmla="*/ 2036338 w 2663946"/>
                <a:gd name="connsiteY281" fmla="*/ 166234 h 410520"/>
                <a:gd name="connsiteX282" fmla="*/ 2037321 w 2663946"/>
                <a:gd name="connsiteY282" fmla="*/ 164071 h 410520"/>
                <a:gd name="connsiteX283" fmla="*/ 2038550 w 2663946"/>
                <a:gd name="connsiteY283" fmla="*/ 159745 h 410520"/>
                <a:gd name="connsiteX284" fmla="*/ 2038059 w 2663946"/>
                <a:gd name="connsiteY284" fmla="*/ 145955 h 410520"/>
                <a:gd name="connsiteX285" fmla="*/ 2037075 w 2663946"/>
                <a:gd name="connsiteY285" fmla="*/ 142981 h 410520"/>
                <a:gd name="connsiteX286" fmla="*/ 2035847 w 2663946"/>
                <a:gd name="connsiteY286" fmla="*/ 140007 h 410520"/>
                <a:gd name="connsiteX287" fmla="*/ 2033634 w 2663946"/>
                <a:gd name="connsiteY287" fmla="*/ 136492 h 410520"/>
                <a:gd name="connsiteX288" fmla="*/ 2029947 w 2663946"/>
                <a:gd name="connsiteY288" fmla="*/ 132707 h 410520"/>
                <a:gd name="connsiteX289" fmla="*/ 2026014 w 2663946"/>
                <a:gd name="connsiteY289" fmla="*/ 130544 h 410520"/>
                <a:gd name="connsiteX290" fmla="*/ 1601090 w 2663946"/>
                <a:gd name="connsiteY290" fmla="*/ 130544 h 410520"/>
                <a:gd name="connsiteX291" fmla="*/ 1589537 w 2663946"/>
                <a:gd name="connsiteY291" fmla="*/ 132977 h 410520"/>
                <a:gd name="connsiteX292" fmla="*/ 1586342 w 2663946"/>
                <a:gd name="connsiteY292" fmla="*/ 136492 h 410520"/>
                <a:gd name="connsiteX293" fmla="*/ 1584130 w 2663946"/>
                <a:gd name="connsiteY293" fmla="*/ 140277 h 410520"/>
                <a:gd name="connsiteX294" fmla="*/ 1583147 w 2663946"/>
                <a:gd name="connsiteY294" fmla="*/ 142981 h 410520"/>
                <a:gd name="connsiteX295" fmla="*/ 1582163 w 2663946"/>
                <a:gd name="connsiteY295" fmla="*/ 147037 h 410520"/>
                <a:gd name="connsiteX296" fmla="*/ 1581180 w 2663946"/>
                <a:gd name="connsiteY296" fmla="*/ 154067 h 410520"/>
                <a:gd name="connsiteX297" fmla="*/ 1582163 w 2663946"/>
                <a:gd name="connsiteY297" fmla="*/ 161367 h 410520"/>
                <a:gd name="connsiteX298" fmla="*/ 1583393 w 2663946"/>
                <a:gd name="connsiteY298" fmla="*/ 165152 h 410520"/>
                <a:gd name="connsiteX299" fmla="*/ 1585605 w 2663946"/>
                <a:gd name="connsiteY299" fmla="*/ 169478 h 410520"/>
                <a:gd name="connsiteX300" fmla="*/ 1589046 w 2663946"/>
                <a:gd name="connsiteY300" fmla="*/ 173805 h 410520"/>
                <a:gd name="connsiteX301" fmla="*/ 1593470 w 2663946"/>
                <a:gd name="connsiteY301" fmla="*/ 176508 h 410520"/>
                <a:gd name="connsiteX302" fmla="*/ 1605761 w 2663946"/>
                <a:gd name="connsiteY302" fmla="*/ 174075 h 410520"/>
                <a:gd name="connsiteX303" fmla="*/ 1608956 w 2663946"/>
                <a:gd name="connsiteY303" fmla="*/ 170560 h 410520"/>
                <a:gd name="connsiteX304" fmla="*/ 1611414 w 2663946"/>
                <a:gd name="connsiteY304" fmla="*/ 166234 h 410520"/>
                <a:gd name="connsiteX305" fmla="*/ 1612397 w 2663946"/>
                <a:gd name="connsiteY305" fmla="*/ 164071 h 410520"/>
                <a:gd name="connsiteX306" fmla="*/ 1613626 w 2663946"/>
                <a:gd name="connsiteY306" fmla="*/ 159745 h 410520"/>
                <a:gd name="connsiteX307" fmla="*/ 1613135 w 2663946"/>
                <a:gd name="connsiteY307" fmla="*/ 145955 h 410520"/>
                <a:gd name="connsiteX308" fmla="*/ 1612151 w 2663946"/>
                <a:gd name="connsiteY308" fmla="*/ 142981 h 410520"/>
                <a:gd name="connsiteX309" fmla="*/ 1610923 w 2663946"/>
                <a:gd name="connsiteY309" fmla="*/ 140007 h 410520"/>
                <a:gd name="connsiteX310" fmla="*/ 1608710 w 2663946"/>
                <a:gd name="connsiteY310" fmla="*/ 136492 h 410520"/>
                <a:gd name="connsiteX311" fmla="*/ 1605023 w 2663946"/>
                <a:gd name="connsiteY311" fmla="*/ 132707 h 410520"/>
                <a:gd name="connsiteX312" fmla="*/ 1601090 w 2663946"/>
                <a:gd name="connsiteY312" fmla="*/ 130544 h 410520"/>
                <a:gd name="connsiteX313" fmla="*/ 1252183 w 2663946"/>
                <a:gd name="connsiteY313" fmla="*/ 130544 h 410520"/>
                <a:gd name="connsiteX314" fmla="*/ 1240630 w 2663946"/>
                <a:gd name="connsiteY314" fmla="*/ 132977 h 410520"/>
                <a:gd name="connsiteX315" fmla="*/ 1237435 w 2663946"/>
                <a:gd name="connsiteY315" fmla="*/ 136492 h 410520"/>
                <a:gd name="connsiteX316" fmla="*/ 1235223 w 2663946"/>
                <a:gd name="connsiteY316" fmla="*/ 140277 h 410520"/>
                <a:gd name="connsiteX317" fmla="*/ 1234240 w 2663946"/>
                <a:gd name="connsiteY317" fmla="*/ 142981 h 410520"/>
                <a:gd name="connsiteX318" fmla="*/ 1233256 w 2663946"/>
                <a:gd name="connsiteY318" fmla="*/ 147037 h 410520"/>
                <a:gd name="connsiteX319" fmla="*/ 1232273 w 2663946"/>
                <a:gd name="connsiteY319" fmla="*/ 154067 h 410520"/>
                <a:gd name="connsiteX320" fmla="*/ 1233256 w 2663946"/>
                <a:gd name="connsiteY320" fmla="*/ 161367 h 410520"/>
                <a:gd name="connsiteX321" fmla="*/ 1234486 w 2663946"/>
                <a:gd name="connsiteY321" fmla="*/ 165152 h 410520"/>
                <a:gd name="connsiteX322" fmla="*/ 1236698 w 2663946"/>
                <a:gd name="connsiteY322" fmla="*/ 169478 h 410520"/>
                <a:gd name="connsiteX323" fmla="*/ 1240139 w 2663946"/>
                <a:gd name="connsiteY323" fmla="*/ 173805 h 410520"/>
                <a:gd name="connsiteX324" fmla="*/ 1244563 w 2663946"/>
                <a:gd name="connsiteY324" fmla="*/ 176508 h 410520"/>
                <a:gd name="connsiteX325" fmla="*/ 1256854 w 2663946"/>
                <a:gd name="connsiteY325" fmla="*/ 174075 h 410520"/>
                <a:gd name="connsiteX326" fmla="*/ 1260049 w 2663946"/>
                <a:gd name="connsiteY326" fmla="*/ 170560 h 410520"/>
                <a:gd name="connsiteX327" fmla="*/ 1262507 w 2663946"/>
                <a:gd name="connsiteY327" fmla="*/ 166234 h 410520"/>
                <a:gd name="connsiteX328" fmla="*/ 1263490 w 2663946"/>
                <a:gd name="connsiteY328" fmla="*/ 164071 h 410520"/>
                <a:gd name="connsiteX329" fmla="*/ 1264719 w 2663946"/>
                <a:gd name="connsiteY329" fmla="*/ 159745 h 410520"/>
                <a:gd name="connsiteX330" fmla="*/ 1264228 w 2663946"/>
                <a:gd name="connsiteY330" fmla="*/ 145955 h 410520"/>
                <a:gd name="connsiteX331" fmla="*/ 1263244 w 2663946"/>
                <a:gd name="connsiteY331" fmla="*/ 142981 h 410520"/>
                <a:gd name="connsiteX332" fmla="*/ 1262016 w 2663946"/>
                <a:gd name="connsiteY332" fmla="*/ 140007 h 410520"/>
                <a:gd name="connsiteX333" fmla="*/ 1259803 w 2663946"/>
                <a:gd name="connsiteY333" fmla="*/ 136492 h 410520"/>
                <a:gd name="connsiteX334" fmla="*/ 1256116 w 2663946"/>
                <a:gd name="connsiteY334" fmla="*/ 132707 h 410520"/>
                <a:gd name="connsiteX335" fmla="*/ 1252183 w 2663946"/>
                <a:gd name="connsiteY335" fmla="*/ 130544 h 410520"/>
                <a:gd name="connsiteX336" fmla="*/ 1070232 w 2663946"/>
                <a:gd name="connsiteY336" fmla="*/ 130544 h 410520"/>
                <a:gd name="connsiteX337" fmla="*/ 1058679 w 2663946"/>
                <a:gd name="connsiteY337" fmla="*/ 132977 h 410520"/>
                <a:gd name="connsiteX338" fmla="*/ 1055484 w 2663946"/>
                <a:gd name="connsiteY338" fmla="*/ 136492 h 410520"/>
                <a:gd name="connsiteX339" fmla="*/ 1053272 w 2663946"/>
                <a:gd name="connsiteY339" fmla="*/ 140277 h 410520"/>
                <a:gd name="connsiteX340" fmla="*/ 1052289 w 2663946"/>
                <a:gd name="connsiteY340" fmla="*/ 142981 h 410520"/>
                <a:gd name="connsiteX341" fmla="*/ 1051305 w 2663946"/>
                <a:gd name="connsiteY341" fmla="*/ 147037 h 410520"/>
                <a:gd name="connsiteX342" fmla="*/ 1050322 w 2663946"/>
                <a:gd name="connsiteY342" fmla="*/ 154067 h 410520"/>
                <a:gd name="connsiteX343" fmla="*/ 1051305 w 2663946"/>
                <a:gd name="connsiteY343" fmla="*/ 161367 h 410520"/>
                <a:gd name="connsiteX344" fmla="*/ 1052535 w 2663946"/>
                <a:gd name="connsiteY344" fmla="*/ 165152 h 410520"/>
                <a:gd name="connsiteX345" fmla="*/ 1054747 w 2663946"/>
                <a:gd name="connsiteY345" fmla="*/ 169478 h 410520"/>
                <a:gd name="connsiteX346" fmla="*/ 1058188 w 2663946"/>
                <a:gd name="connsiteY346" fmla="*/ 173805 h 410520"/>
                <a:gd name="connsiteX347" fmla="*/ 1062612 w 2663946"/>
                <a:gd name="connsiteY347" fmla="*/ 176508 h 410520"/>
                <a:gd name="connsiteX348" fmla="*/ 1074903 w 2663946"/>
                <a:gd name="connsiteY348" fmla="*/ 174075 h 410520"/>
                <a:gd name="connsiteX349" fmla="*/ 1078098 w 2663946"/>
                <a:gd name="connsiteY349" fmla="*/ 170560 h 410520"/>
                <a:gd name="connsiteX350" fmla="*/ 1080556 w 2663946"/>
                <a:gd name="connsiteY350" fmla="*/ 166234 h 410520"/>
                <a:gd name="connsiteX351" fmla="*/ 1081539 w 2663946"/>
                <a:gd name="connsiteY351" fmla="*/ 164071 h 410520"/>
                <a:gd name="connsiteX352" fmla="*/ 1082768 w 2663946"/>
                <a:gd name="connsiteY352" fmla="*/ 159745 h 410520"/>
                <a:gd name="connsiteX353" fmla="*/ 1082277 w 2663946"/>
                <a:gd name="connsiteY353" fmla="*/ 145955 h 410520"/>
                <a:gd name="connsiteX354" fmla="*/ 1081293 w 2663946"/>
                <a:gd name="connsiteY354" fmla="*/ 142981 h 410520"/>
                <a:gd name="connsiteX355" fmla="*/ 1080065 w 2663946"/>
                <a:gd name="connsiteY355" fmla="*/ 140007 h 410520"/>
                <a:gd name="connsiteX356" fmla="*/ 1077852 w 2663946"/>
                <a:gd name="connsiteY356" fmla="*/ 136492 h 410520"/>
                <a:gd name="connsiteX357" fmla="*/ 1074165 w 2663946"/>
                <a:gd name="connsiteY357" fmla="*/ 132707 h 410520"/>
                <a:gd name="connsiteX358" fmla="*/ 1070232 w 2663946"/>
                <a:gd name="connsiteY358" fmla="*/ 130544 h 410520"/>
                <a:gd name="connsiteX359" fmla="*/ 903203 w 2663946"/>
                <a:gd name="connsiteY359" fmla="*/ 130544 h 410520"/>
                <a:gd name="connsiteX360" fmla="*/ 891650 w 2663946"/>
                <a:gd name="connsiteY360" fmla="*/ 132977 h 410520"/>
                <a:gd name="connsiteX361" fmla="*/ 888455 w 2663946"/>
                <a:gd name="connsiteY361" fmla="*/ 136492 h 410520"/>
                <a:gd name="connsiteX362" fmla="*/ 886243 w 2663946"/>
                <a:gd name="connsiteY362" fmla="*/ 140277 h 410520"/>
                <a:gd name="connsiteX363" fmla="*/ 885260 w 2663946"/>
                <a:gd name="connsiteY363" fmla="*/ 142981 h 410520"/>
                <a:gd name="connsiteX364" fmla="*/ 884276 w 2663946"/>
                <a:gd name="connsiteY364" fmla="*/ 147037 h 410520"/>
                <a:gd name="connsiteX365" fmla="*/ 883293 w 2663946"/>
                <a:gd name="connsiteY365" fmla="*/ 154067 h 410520"/>
                <a:gd name="connsiteX366" fmla="*/ 884276 w 2663946"/>
                <a:gd name="connsiteY366" fmla="*/ 161367 h 410520"/>
                <a:gd name="connsiteX367" fmla="*/ 885506 w 2663946"/>
                <a:gd name="connsiteY367" fmla="*/ 165152 h 410520"/>
                <a:gd name="connsiteX368" fmla="*/ 887718 w 2663946"/>
                <a:gd name="connsiteY368" fmla="*/ 169478 h 410520"/>
                <a:gd name="connsiteX369" fmla="*/ 891159 w 2663946"/>
                <a:gd name="connsiteY369" fmla="*/ 173805 h 410520"/>
                <a:gd name="connsiteX370" fmla="*/ 895583 w 2663946"/>
                <a:gd name="connsiteY370" fmla="*/ 176508 h 410520"/>
                <a:gd name="connsiteX371" fmla="*/ 907874 w 2663946"/>
                <a:gd name="connsiteY371" fmla="*/ 174075 h 410520"/>
                <a:gd name="connsiteX372" fmla="*/ 911069 w 2663946"/>
                <a:gd name="connsiteY372" fmla="*/ 170560 h 410520"/>
                <a:gd name="connsiteX373" fmla="*/ 913527 w 2663946"/>
                <a:gd name="connsiteY373" fmla="*/ 166234 h 410520"/>
                <a:gd name="connsiteX374" fmla="*/ 914510 w 2663946"/>
                <a:gd name="connsiteY374" fmla="*/ 164071 h 410520"/>
                <a:gd name="connsiteX375" fmla="*/ 915739 w 2663946"/>
                <a:gd name="connsiteY375" fmla="*/ 159745 h 410520"/>
                <a:gd name="connsiteX376" fmla="*/ 915248 w 2663946"/>
                <a:gd name="connsiteY376" fmla="*/ 145955 h 410520"/>
                <a:gd name="connsiteX377" fmla="*/ 914264 w 2663946"/>
                <a:gd name="connsiteY377" fmla="*/ 142981 h 410520"/>
                <a:gd name="connsiteX378" fmla="*/ 913036 w 2663946"/>
                <a:gd name="connsiteY378" fmla="*/ 140007 h 410520"/>
                <a:gd name="connsiteX379" fmla="*/ 910823 w 2663946"/>
                <a:gd name="connsiteY379" fmla="*/ 136492 h 410520"/>
                <a:gd name="connsiteX380" fmla="*/ 907136 w 2663946"/>
                <a:gd name="connsiteY380" fmla="*/ 132707 h 410520"/>
                <a:gd name="connsiteX381" fmla="*/ 903203 w 2663946"/>
                <a:gd name="connsiteY381" fmla="*/ 130544 h 410520"/>
                <a:gd name="connsiteX382" fmla="*/ 554297 w 2663946"/>
                <a:gd name="connsiteY382" fmla="*/ 130544 h 410520"/>
                <a:gd name="connsiteX383" fmla="*/ 542744 w 2663946"/>
                <a:gd name="connsiteY383" fmla="*/ 132977 h 410520"/>
                <a:gd name="connsiteX384" fmla="*/ 539549 w 2663946"/>
                <a:gd name="connsiteY384" fmla="*/ 136492 h 410520"/>
                <a:gd name="connsiteX385" fmla="*/ 537337 w 2663946"/>
                <a:gd name="connsiteY385" fmla="*/ 140277 h 410520"/>
                <a:gd name="connsiteX386" fmla="*/ 536353 w 2663946"/>
                <a:gd name="connsiteY386" fmla="*/ 142981 h 410520"/>
                <a:gd name="connsiteX387" fmla="*/ 535370 w 2663946"/>
                <a:gd name="connsiteY387" fmla="*/ 147037 h 410520"/>
                <a:gd name="connsiteX388" fmla="*/ 534387 w 2663946"/>
                <a:gd name="connsiteY388" fmla="*/ 154067 h 410520"/>
                <a:gd name="connsiteX389" fmla="*/ 535370 w 2663946"/>
                <a:gd name="connsiteY389" fmla="*/ 161367 h 410520"/>
                <a:gd name="connsiteX390" fmla="*/ 536599 w 2663946"/>
                <a:gd name="connsiteY390" fmla="*/ 165152 h 410520"/>
                <a:gd name="connsiteX391" fmla="*/ 538811 w 2663946"/>
                <a:gd name="connsiteY391" fmla="*/ 169478 h 410520"/>
                <a:gd name="connsiteX392" fmla="*/ 542253 w 2663946"/>
                <a:gd name="connsiteY392" fmla="*/ 173805 h 410520"/>
                <a:gd name="connsiteX393" fmla="*/ 546677 w 2663946"/>
                <a:gd name="connsiteY393" fmla="*/ 176508 h 410520"/>
                <a:gd name="connsiteX394" fmla="*/ 558967 w 2663946"/>
                <a:gd name="connsiteY394" fmla="*/ 174075 h 410520"/>
                <a:gd name="connsiteX395" fmla="*/ 562163 w 2663946"/>
                <a:gd name="connsiteY395" fmla="*/ 170560 h 410520"/>
                <a:gd name="connsiteX396" fmla="*/ 564621 w 2663946"/>
                <a:gd name="connsiteY396" fmla="*/ 166234 h 410520"/>
                <a:gd name="connsiteX397" fmla="*/ 565604 w 2663946"/>
                <a:gd name="connsiteY397" fmla="*/ 164071 h 410520"/>
                <a:gd name="connsiteX398" fmla="*/ 566833 w 2663946"/>
                <a:gd name="connsiteY398" fmla="*/ 159745 h 410520"/>
                <a:gd name="connsiteX399" fmla="*/ 566341 w 2663946"/>
                <a:gd name="connsiteY399" fmla="*/ 145955 h 410520"/>
                <a:gd name="connsiteX400" fmla="*/ 565358 w 2663946"/>
                <a:gd name="connsiteY400" fmla="*/ 142981 h 410520"/>
                <a:gd name="connsiteX401" fmla="*/ 564129 w 2663946"/>
                <a:gd name="connsiteY401" fmla="*/ 140007 h 410520"/>
                <a:gd name="connsiteX402" fmla="*/ 561917 w 2663946"/>
                <a:gd name="connsiteY402" fmla="*/ 136492 h 410520"/>
                <a:gd name="connsiteX403" fmla="*/ 558230 w 2663946"/>
                <a:gd name="connsiteY403" fmla="*/ 132707 h 410520"/>
                <a:gd name="connsiteX404" fmla="*/ 554297 w 2663946"/>
                <a:gd name="connsiteY404" fmla="*/ 130544 h 410520"/>
                <a:gd name="connsiteX405" fmla="*/ 372346 w 2663946"/>
                <a:gd name="connsiteY405" fmla="*/ 130544 h 410520"/>
                <a:gd name="connsiteX406" fmla="*/ 360793 w 2663946"/>
                <a:gd name="connsiteY406" fmla="*/ 132977 h 410520"/>
                <a:gd name="connsiteX407" fmla="*/ 357598 w 2663946"/>
                <a:gd name="connsiteY407" fmla="*/ 136492 h 410520"/>
                <a:gd name="connsiteX408" fmla="*/ 355385 w 2663946"/>
                <a:gd name="connsiteY408" fmla="*/ 140277 h 410520"/>
                <a:gd name="connsiteX409" fmla="*/ 354402 w 2663946"/>
                <a:gd name="connsiteY409" fmla="*/ 142981 h 410520"/>
                <a:gd name="connsiteX410" fmla="*/ 353419 w 2663946"/>
                <a:gd name="connsiteY410" fmla="*/ 147037 h 410520"/>
                <a:gd name="connsiteX411" fmla="*/ 352436 w 2663946"/>
                <a:gd name="connsiteY411" fmla="*/ 154067 h 410520"/>
                <a:gd name="connsiteX412" fmla="*/ 353419 w 2663946"/>
                <a:gd name="connsiteY412" fmla="*/ 161367 h 410520"/>
                <a:gd name="connsiteX413" fmla="*/ 354648 w 2663946"/>
                <a:gd name="connsiteY413" fmla="*/ 165152 h 410520"/>
                <a:gd name="connsiteX414" fmla="*/ 356860 w 2663946"/>
                <a:gd name="connsiteY414" fmla="*/ 169478 h 410520"/>
                <a:gd name="connsiteX415" fmla="*/ 360301 w 2663946"/>
                <a:gd name="connsiteY415" fmla="*/ 173805 h 410520"/>
                <a:gd name="connsiteX416" fmla="*/ 364726 w 2663946"/>
                <a:gd name="connsiteY416" fmla="*/ 176508 h 410520"/>
                <a:gd name="connsiteX417" fmla="*/ 377016 w 2663946"/>
                <a:gd name="connsiteY417" fmla="*/ 174075 h 410520"/>
                <a:gd name="connsiteX418" fmla="*/ 380212 w 2663946"/>
                <a:gd name="connsiteY418" fmla="*/ 170560 h 410520"/>
                <a:gd name="connsiteX419" fmla="*/ 382670 w 2663946"/>
                <a:gd name="connsiteY419" fmla="*/ 166234 h 410520"/>
                <a:gd name="connsiteX420" fmla="*/ 383653 w 2663946"/>
                <a:gd name="connsiteY420" fmla="*/ 164071 h 410520"/>
                <a:gd name="connsiteX421" fmla="*/ 384882 w 2663946"/>
                <a:gd name="connsiteY421" fmla="*/ 159745 h 410520"/>
                <a:gd name="connsiteX422" fmla="*/ 384390 w 2663946"/>
                <a:gd name="connsiteY422" fmla="*/ 145955 h 410520"/>
                <a:gd name="connsiteX423" fmla="*/ 383407 w 2663946"/>
                <a:gd name="connsiteY423" fmla="*/ 142981 h 410520"/>
                <a:gd name="connsiteX424" fmla="*/ 382178 w 2663946"/>
                <a:gd name="connsiteY424" fmla="*/ 140007 h 410520"/>
                <a:gd name="connsiteX425" fmla="*/ 379966 w 2663946"/>
                <a:gd name="connsiteY425" fmla="*/ 136492 h 410520"/>
                <a:gd name="connsiteX426" fmla="*/ 376279 w 2663946"/>
                <a:gd name="connsiteY426" fmla="*/ 132707 h 410520"/>
                <a:gd name="connsiteX427" fmla="*/ 372346 w 2663946"/>
                <a:gd name="connsiteY427" fmla="*/ 130544 h 410520"/>
                <a:gd name="connsiteX428" fmla="*/ 129300 w 2663946"/>
                <a:gd name="connsiteY428" fmla="*/ 130544 h 410520"/>
                <a:gd name="connsiteX429" fmla="*/ 117747 w 2663946"/>
                <a:gd name="connsiteY429" fmla="*/ 132977 h 410520"/>
                <a:gd name="connsiteX430" fmla="*/ 114552 w 2663946"/>
                <a:gd name="connsiteY430" fmla="*/ 136492 h 410520"/>
                <a:gd name="connsiteX431" fmla="*/ 112340 w 2663946"/>
                <a:gd name="connsiteY431" fmla="*/ 140277 h 410520"/>
                <a:gd name="connsiteX432" fmla="*/ 111356 w 2663946"/>
                <a:gd name="connsiteY432" fmla="*/ 142981 h 410520"/>
                <a:gd name="connsiteX433" fmla="*/ 110373 w 2663946"/>
                <a:gd name="connsiteY433" fmla="*/ 147037 h 410520"/>
                <a:gd name="connsiteX434" fmla="*/ 109390 w 2663946"/>
                <a:gd name="connsiteY434" fmla="*/ 154067 h 410520"/>
                <a:gd name="connsiteX435" fmla="*/ 110373 w 2663946"/>
                <a:gd name="connsiteY435" fmla="*/ 161367 h 410520"/>
                <a:gd name="connsiteX436" fmla="*/ 111602 w 2663946"/>
                <a:gd name="connsiteY436" fmla="*/ 165152 h 410520"/>
                <a:gd name="connsiteX437" fmla="*/ 113814 w 2663946"/>
                <a:gd name="connsiteY437" fmla="*/ 169478 h 410520"/>
                <a:gd name="connsiteX438" fmla="*/ 117256 w 2663946"/>
                <a:gd name="connsiteY438" fmla="*/ 173805 h 410520"/>
                <a:gd name="connsiteX439" fmla="*/ 121680 w 2663946"/>
                <a:gd name="connsiteY439" fmla="*/ 176508 h 410520"/>
                <a:gd name="connsiteX440" fmla="*/ 133970 w 2663946"/>
                <a:gd name="connsiteY440" fmla="*/ 174075 h 410520"/>
                <a:gd name="connsiteX441" fmla="*/ 137166 w 2663946"/>
                <a:gd name="connsiteY441" fmla="*/ 170560 h 410520"/>
                <a:gd name="connsiteX442" fmla="*/ 139624 w 2663946"/>
                <a:gd name="connsiteY442" fmla="*/ 166234 h 410520"/>
                <a:gd name="connsiteX443" fmla="*/ 140607 w 2663946"/>
                <a:gd name="connsiteY443" fmla="*/ 164071 h 410520"/>
                <a:gd name="connsiteX444" fmla="*/ 141836 w 2663946"/>
                <a:gd name="connsiteY444" fmla="*/ 159745 h 410520"/>
                <a:gd name="connsiteX445" fmla="*/ 141344 w 2663946"/>
                <a:gd name="connsiteY445" fmla="*/ 145955 h 410520"/>
                <a:gd name="connsiteX446" fmla="*/ 140361 w 2663946"/>
                <a:gd name="connsiteY446" fmla="*/ 142981 h 410520"/>
                <a:gd name="connsiteX447" fmla="*/ 139132 w 2663946"/>
                <a:gd name="connsiteY447" fmla="*/ 140007 h 410520"/>
                <a:gd name="connsiteX448" fmla="*/ 136920 w 2663946"/>
                <a:gd name="connsiteY448" fmla="*/ 136492 h 410520"/>
                <a:gd name="connsiteX449" fmla="*/ 133233 w 2663946"/>
                <a:gd name="connsiteY449" fmla="*/ 132707 h 410520"/>
                <a:gd name="connsiteX450" fmla="*/ 129300 w 2663946"/>
                <a:gd name="connsiteY450" fmla="*/ 130544 h 410520"/>
                <a:gd name="connsiteX451" fmla="*/ 33147 w 2663946"/>
                <a:gd name="connsiteY451" fmla="*/ 126608 h 410520"/>
                <a:gd name="connsiteX452" fmla="*/ 21486 w 2663946"/>
                <a:gd name="connsiteY452" fmla="*/ 134337 h 410520"/>
                <a:gd name="connsiteX453" fmla="*/ 20561 w 2663946"/>
                <a:gd name="connsiteY453" fmla="*/ 138920 h 410520"/>
                <a:gd name="connsiteX454" fmla="*/ 23801 w 2663946"/>
                <a:gd name="connsiteY454" fmla="*/ 138920 h 410520"/>
                <a:gd name="connsiteX455" fmla="*/ 42218 w 2663946"/>
                <a:gd name="connsiteY455" fmla="*/ 138920 h 410520"/>
                <a:gd name="connsiteX456" fmla="*/ 45732 w 2663946"/>
                <a:gd name="connsiteY456" fmla="*/ 138920 h 410520"/>
                <a:gd name="connsiteX457" fmla="*/ 44807 w 2663946"/>
                <a:gd name="connsiteY457" fmla="*/ 134337 h 410520"/>
                <a:gd name="connsiteX458" fmla="*/ 33147 w 2663946"/>
                <a:gd name="connsiteY458" fmla="*/ 126608 h 410520"/>
                <a:gd name="connsiteX459" fmla="*/ 2537931 w 2663946"/>
                <a:gd name="connsiteY459" fmla="*/ 119020 h 410520"/>
                <a:gd name="connsiteX460" fmla="*/ 2526271 w 2663946"/>
                <a:gd name="connsiteY460" fmla="*/ 126749 h 410520"/>
                <a:gd name="connsiteX461" fmla="*/ 2525346 w 2663946"/>
                <a:gd name="connsiteY461" fmla="*/ 131332 h 410520"/>
                <a:gd name="connsiteX462" fmla="*/ 2528586 w 2663946"/>
                <a:gd name="connsiteY462" fmla="*/ 131332 h 410520"/>
                <a:gd name="connsiteX463" fmla="*/ 2547003 w 2663946"/>
                <a:gd name="connsiteY463" fmla="*/ 131332 h 410520"/>
                <a:gd name="connsiteX464" fmla="*/ 2550517 w 2663946"/>
                <a:gd name="connsiteY464" fmla="*/ 131332 h 410520"/>
                <a:gd name="connsiteX465" fmla="*/ 2549592 w 2663946"/>
                <a:gd name="connsiteY465" fmla="*/ 126749 h 410520"/>
                <a:gd name="connsiteX466" fmla="*/ 2537931 w 2663946"/>
                <a:gd name="connsiteY466" fmla="*/ 119020 h 410520"/>
                <a:gd name="connsiteX467" fmla="*/ 2112934 w 2663946"/>
                <a:gd name="connsiteY467" fmla="*/ 119020 h 410520"/>
                <a:gd name="connsiteX468" fmla="*/ 2101274 w 2663946"/>
                <a:gd name="connsiteY468" fmla="*/ 126749 h 410520"/>
                <a:gd name="connsiteX469" fmla="*/ 2100349 w 2663946"/>
                <a:gd name="connsiteY469" fmla="*/ 131332 h 410520"/>
                <a:gd name="connsiteX470" fmla="*/ 2103589 w 2663946"/>
                <a:gd name="connsiteY470" fmla="*/ 131332 h 410520"/>
                <a:gd name="connsiteX471" fmla="*/ 2122006 w 2663946"/>
                <a:gd name="connsiteY471" fmla="*/ 131332 h 410520"/>
                <a:gd name="connsiteX472" fmla="*/ 2125520 w 2663946"/>
                <a:gd name="connsiteY472" fmla="*/ 131332 h 410520"/>
                <a:gd name="connsiteX473" fmla="*/ 2124595 w 2663946"/>
                <a:gd name="connsiteY473" fmla="*/ 126749 h 410520"/>
                <a:gd name="connsiteX474" fmla="*/ 2112934 w 2663946"/>
                <a:gd name="connsiteY474" fmla="*/ 119020 h 410520"/>
                <a:gd name="connsiteX475" fmla="*/ 1854966 w 2663946"/>
                <a:gd name="connsiteY475" fmla="*/ 119020 h 410520"/>
                <a:gd name="connsiteX476" fmla="*/ 1843306 w 2663946"/>
                <a:gd name="connsiteY476" fmla="*/ 126749 h 410520"/>
                <a:gd name="connsiteX477" fmla="*/ 1842381 w 2663946"/>
                <a:gd name="connsiteY477" fmla="*/ 131332 h 410520"/>
                <a:gd name="connsiteX478" fmla="*/ 1845621 w 2663946"/>
                <a:gd name="connsiteY478" fmla="*/ 131332 h 410520"/>
                <a:gd name="connsiteX479" fmla="*/ 1864038 w 2663946"/>
                <a:gd name="connsiteY479" fmla="*/ 131332 h 410520"/>
                <a:gd name="connsiteX480" fmla="*/ 1867552 w 2663946"/>
                <a:gd name="connsiteY480" fmla="*/ 131332 h 410520"/>
                <a:gd name="connsiteX481" fmla="*/ 1866627 w 2663946"/>
                <a:gd name="connsiteY481" fmla="*/ 126749 h 410520"/>
                <a:gd name="connsiteX482" fmla="*/ 1854966 w 2663946"/>
                <a:gd name="connsiteY482" fmla="*/ 119020 h 410520"/>
                <a:gd name="connsiteX483" fmla="*/ 1764027 w 2663946"/>
                <a:gd name="connsiteY483" fmla="*/ 119020 h 410520"/>
                <a:gd name="connsiteX484" fmla="*/ 1752367 w 2663946"/>
                <a:gd name="connsiteY484" fmla="*/ 126749 h 410520"/>
                <a:gd name="connsiteX485" fmla="*/ 1751442 w 2663946"/>
                <a:gd name="connsiteY485" fmla="*/ 131332 h 410520"/>
                <a:gd name="connsiteX486" fmla="*/ 1754682 w 2663946"/>
                <a:gd name="connsiteY486" fmla="*/ 131332 h 410520"/>
                <a:gd name="connsiteX487" fmla="*/ 1773099 w 2663946"/>
                <a:gd name="connsiteY487" fmla="*/ 131332 h 410520"/>
                <a:gd name="connsiteX488" fmla="*/ 1776613 w 2663946"/>
                <a:gd name="connsiteY488" fmla="*/ 131332 h 410520"/>
                <a:gd name="connsiteX489" fmla="*/ 1775687 w 2663946"/>
                <a:gd name="connsiteY489" fmla="*/ 126749 h 410520"/>
                <a:gd name="connsiteX490" fmla="*/ 1764027 w 2663946"/>
                <a:gd name="connsiteY490" fmla="*/ 119020 h 410520"/>
                <a:gd name="connsiteX491" fmla="*/ 1506059 w 2663946"/>
                <a:gd name="connsiteY491" fmla="*/ 119020 h 410520"/>
                <a:gd name="connsiteX492" fmla="*/ 1494399 w 2663946"/>
                <a:gd name="connsiteY492" fmla="*/ 126749 h 410520"/>
                <a:gd name="connsiteX493" fmla="*/ 1493474 w 2663946"/>
                <a:gd name="connsiteY493" fmla="*/ 131332 h 410520"/>
                <a:gd name="connsiteX494" fmla="*/ 1496714 w 2663946"/>
                <a:gd name="connsiteY494" fmla="*/ 131332 h 410520"/>
                <a:gd name="connsiteX495" fmla="*/ 1515131 w 2663946"/>
                <a:gd name="connsiteY495" fmla="*/ 131332 h 410520"/>
                <a:gd name="connsiteX496" fmla="*/ 1518645 w 2663946"/>
                <a:gd name="connsiteY496" fmla="*/ 131332 h 410520"/>
                <a:gd name="connsiteX497" fmla="*/ 1517719 w 2663946"/>
                <a:gd name="connsiteY497" fmla="*/ 126749 h 410520"/>
                <a:gd name="connsiteX498" fmla="*/ 1506059 w 2663946"/>
                <a:gd name="connsiteY498" fmla="*/ 119020 h 410520"/>
                <a:gd name="connsiteX499" fmla="*/ 1415120 w 2663946"/>
                <a:gd name="connsiteY499" fmla="*/ 119020 h 410520"/>
                <a:gd name="connsiteX500" fmla="*/ 1403460 w 2663946"/>
                <a:gd name="connsiteY500" fmla="*/ 126749 h 410520"/>
                <a:gd name="connsiteX501" fmla="*/ 1402535 w 2663946"/>
                <a:gd name="connsiteY501" fmla="*/ 131332 h 410520"/>
                <a:gd name="connsiteX502" fmla="*/ 1405775 w 2663946"/>
                <a:gd name="connsiteY502" fmla="*/ 131332 h 410520"/>
                <a:gd name="connsiteX503" fmla="*/ 1424192 w 2663946"/>
                <a:gd name="connsiteY503" fmla="*/ 131332 h 410520"/>
                <a:gd name="connsiteX504" fmla="*/ 1427706 w 2663946"/>
                <a:gd name="connsiteY504" fmla="*/ 131332 h 410520"/>
                <a:gd name="connsiteX505" fmla="*/ 1426780 w 2663946"/>
                <a:gd name="connsiteY505" fmla="*/ 126749 h 410520"/>
                <a:gd name="connsiteX506" fmla="*/ 1415120 w 2663946"/>
                <a:gd name="connsiteY506" fmla="*/ 119020 h 410520"/>
                <a:gd name="connsiteX507" fmla="*/ 1157152 w 2663946"/>
                <a:gd name="connsiteY507" fmla="*/ 119020 h 410520"/>
                <a:gd name="connsiteX508" fmla="*/ 1145492 w 2663946"/>
                <a:gd name="connsiteY508" fmla="*/ 126749 h 410520"/>
                <a:gd name="connsiteX509" fmla="*/ 1144567 w 2663946"/>
                <a:gd name="connsiteY509" fmla="*/ 131332 h 410520"/>
                <a:gd name="connsiteX510" fmla="*/ 1147807 w 2663946"/>
                <a:gd name="connsiteY510" fmla="*/ 131332 h 410520"/>
                <a:gd name="connsiteX511" fmla="*/ 1166224 w 2663946"/>
                <a:gd name="connsiteY511" fmla="*/ 131332 h 410520"/>
                <a:gd name="connsiteX512" fmla="*/ 1169738 w 2663946"/>
                <a:gd name="connsiteY512" fmla="*/ 131332 h 410520"/>
                <a:gd name="connsiteX513" fmla="*/ 1168812 w 2663946"/>
                <a:gd name="connsiteY513" fmla="*/ 126749 h 410520"/>
                <a:gd name="connsiteX514" fmla="*/ 1157152 w 2663946"/>
                <a:gd name="connsiteY514" fmla="*/ 119020 h 410520"/>
                <a:gd name="connsiteX515" fmla="*/ 732156 w 2663946"/>
                <a:gd name="connsiteY515" fmla="*/ 119020 h 410520"/>
                <a:gd name="connsiteX516" fmla="*/ 720495 w 2663946"/>
                <a:gd name="connsiteY516" fmla="*/ 126749 h 410520"/>
                <a:gd name="connsiteX517" fmla="*/ 719570 w 2663946"/>
                <a:gd name="connsiteY517" fmla="*/ 131332 h 410520"/>
                <a:gd name="connsiteX518" fmla="*/ 722810 w 2663946"/>
                <a:gd name="connsiteY518" fmla="*/ 131332 h 410520"/>
                <a:gd name="connsiteX519" fmla="*/ 741228 w 2663946"/>
                <a:gd name="connsiteY519" fmla="*/ 131332 h 410520"/>
                <a:gd name="connsiteX520" fmla="*/ 744742 w 2663946"/>
                <a:gd name="connsiteY520" fmla="*/ 131332 h 410520"/>
                <a:gd name="connsiteX521" fmla="*/ 743816 w 2663946"/>
                <a:gd name="connsiteY521" fmla="*/ 126749 h 410520"/>
                <a:gd name="connsiteX522" fmla="*/ 732156 w 2663946"/>
                <a:gd name="connsiteY522" fmla="*/ 119020 h 410520"/>
                <a:gd name="connsiteX523" fmla="*/ 641217 w 2663946"/>
                <a:gd name="connsiteY523" fmla="*/ 119020 h 410520"/>
                <a:gd name="connsiteX524" fmla="*/ 629556 w 2663946"/>
                <a:gd name="connsiteY524" fmla="*/ 126749 h 410520"/>
                <a:gd name="connsiteX525" fmla="*/ 628631 w 2663946"/>
                <a:gd name="connsiteY525" fmla="*/ 131332 h 410520"/>
                <a:gd name="connsiteX526" fmla="*/ 631871 w 2663946"/>
                <a:gd name="connsiteY526" fmla="*/ 131332 h 410520"/>
                <a:gd name="connsiteX527" fmla="*/ 650289 w 2663946"/>
                <a:gd name="connsiteY527" fmla="*/ 131332 h 410520"/>
                <a:gd name="connsiteX528" fmla="*/ 653802 w 2663946"/>
                <a:gd name="connsiteY528" fmla="*/ 131332 h 410520"/>
                <a:gd name="connsiteX529" fmla="*/ 652877 w 2663946"/>
                <a:gd name="connsiteY529" fmla="*/ 126749 h 410520"/>
                <a:gd name="connsiteX530" fmla="*/ 641217 w 2663946"/>
                <a:gd name="connsiteY530" fmla="*/ 119020 h 410520"/>
                <a:gd name="connsiteX531" fmla="*/ 459266 w 2663946"/>
                <a:gd name="connsiteY531" fmla="*/ 119020 h 410520"/>
                <a:gd name="connsiteX532" fmla="*/ 447605 w 2663946"/>
                <a:gd name="connsiteY532" fmla="*/ 126749 h 410520"/>
                <a:gd name="connsiteX533" fmla="*/ 446680 w 2663946"/>
                <a:gd name="connsiteY533" fmla="*/ 131332 h 410520"/>
                <a:gd name="connsiteX534" fmla="*/ 449920 w 2663946"/>
                <a:gd name="connsiteY534" fmla="*/ 131332 h 410520"/>
                <a:gd name="connsiteX535" fmla="*/ 468337 w 2663946"/>
                <a:gd name="connsiteY535" fmla="*/ 131332 h 410520"/>
                <a:gd name="connsiteX536" fmla="*/ 471851 w 2663946"/>
                <a:gd name="connsiteY536" fmla="*/ 131332 h 410520"/>
                <a:gd name="connsiteX537" fmla="*/ 470926 w 2663946"/>
                <a:gd name="connsiteY537" fmla="*/ 126749 h 410520"/>
                <a:gd name="connsiteX538" fmla="*/ 459266 w 2663946"/>
                <a:gd name="connsiteY538" fmla="*/ 119020 h 410520"/>
                <a:gd name="connsiteX539" fmla="*/ 2361413 w 2663946"/>
                <a:gd name="connsiteY539" fmla="*/ 114660 h 410520"/>
                <a:gd name="connsiteX540" fmla="*/ 2365469 w 2663946"/>
                <a:gd name="connsiteY540" fmla="*/ 114660 h 410520"/>
                <a:gd name="connsiteX541" fmla="*/ 2370065 w 2663946"/>
                <a:gd name="connsiteY541" fmla="*/ 117094 h 410520"/>
                <a:gd name="connsiteX542" fmla="*/ 2372229 w 2663946"/>
                <a:gd name="connsiteY542" fmla="*/ 123312 h 410520"/>
                <a:gd name="connsiteX543" fmla="*/ 2372229 w 2663946"/>
                <a:gd name="connsiteY543" fmla="*/ 123853 h 410520"/>
                <a:gd name="connsiteX544" fmla="*/ 2372229 w 2663946"/>
                <a:gd name="connsiteY544" fmla="*/ 176848 h 410520"/>
                <a:gd name="connsiteX545" fmla="*/ 2372769 w 2663946"/>
                <a:gd name="connsiteY545" fmla="*/ 177388 h 410520"/>
                <a:gd name="connsiteX546" fmla="*/ 2380069 w 2663946"/>
                <a:gd name="connsiteY546" fmla="*/ 177388 h 410520"/>
                <a:gd name="connsiteX547" fmla="*/ 2384125 w 2663946"/>
                <a:gd name="connsiteY547" fmla="*/ 178470 h 410520"/>
                <a:gd name="connsiteX548" fmla="*/ 2387910 w 2663946"/>
                <a:gd name="connsiteY548" fmla="*/ 185229 h 410520"/>
                <a:gd name="connsiteX549" fmla="*/ 2385207 w 2663946"/>
                <a:gd name="connsiteY549" fmla="*/ 190907 h 410520"/>
                <a:gd name="connsiteX550" fmla="*/ 2381151 w 2663946"/>
                <a:gd name="connsiteY550" fmla="*/ 192800 h 410520"/>
                <a:gd name="connsiteX551" fmla="*/ 2380881 w 2663946"/>
                <a:gd name="connsiteY551" fmla="*/ 192800 h 410520"/>
                <a:gd name="connsiteX552" fmla="*/ 2380610 w 2663946"/>
                <a:gd name="connsiteY552" fmla="*/ 192800 h 410520"/>
                <a:gd name="connsiteX553" fmla="*/ 2380069 w 2663946"/>
                <a:gd name="connsiteY553" fmla="*/ 192800 h 410520"/>
                <a:gd name="connsiteX554" fmla="*/ 2347894 w 2663946"/>
                <a:gd name="connsiteY554" fmla="*/ 192800 h 410520"/>
                <a:gd name="connsiteX555" fmla="*/ 2347354 w 2663946"/>
                <a:gd name="connsiteY555" fmla="*/ 192800 h 410520"/>
                <a:gd name="connsiteX556" fmla="*/ 2346542 w 2663946"/>
                <a:gd name="connsiteY556" fmla="*/ 192800 h 410520"/>
                <a:gd name="connsiteX557" fmla="*/ 2345731 w 2663946"/>
                <a:gd name="connsiteY557" fmla="*/ 192530 h 410520"/>
                <a:gd name="connsiteX558" fmla="*/ 2342216 w 2663946"/>
                <a:gd name="connsiteY558" fmla="*/ 190637 h 410520"/>
                <a:gd name="connsiteX559" fmla="*/ 2339783 w 2663946"/>
                <a:gd name="connsiteY559" fmla="*/ 184959 h 410520"/>
                <a:gd name="connsiteX560" fmla="*/ 2341946 w 2663946"/>
                <a:gd name="connsiteY560" fmla="*/ 179822 h 410520"/>
                <a:gd name="connsiteX561" fmla="*/ 2347624 w 2663946"/>
                <a:gd name="connsiteY561" fmla="*/ 177388 h 410520"/>
                <a:gd name="connsiteX562" fmla="*/ 2355465 w 2663946"/>
                <a:gd name="connsiteY562" fmla="*/ 177388 h 410520"/>
                <a:gd name="connsiteX563" fmla="*/ 2356006 w 2663946"/>
                <a:gd name="connsiteY563" fmla="*/ 176848 h 410520"/>
                <a:gd name="connsiteX564" fmla="*/ 2356006 w 2663946"/>
                <a:gd name="connsiteY564" fmla="*/ 130883 h 410520"/>
                <a:gd name="connsiteX565" fmla="*/ 2355465 w 2663946"/>
                <a:gd name="connsiteY565" fmla="*/ 130342 h 410520"/>
                <a:gd name="connsiteX566" fmla="*/ 2349517 w 2663946"/>
                <a:gd name="connsiteY566" fmla="*/ 130342 h 410520"/>
                <a:gd name="connsiteX567" fmla="*/ 2342216 w 2663946"/>
                <a:gd name="connsiteY567" fmla="*/ 125746 h 410520"/>
                <a:gd name="connsiteX568" fmla="*/ 2341946 w 2663946"/>
                <a:gd name="connsiteY568" fmla="*/ 120068 h 410520"/>
                <a:gd name="connsiteX569" fmla="*/ 2349246 w 2663946"/>
                <a:gd name="connsiteY569" fmla="*/ 114931 h 410520"/>
                <a:gd name="connsiteX570" fmla="*/ 2361413 w 2663946"/>
                <a:gd name="connsiteY570" fmla="*/ 114660 h 410520"/>
                <a:gd name="connsiteX571" fmla="*/ 2285396 w 2663946"/>
                <a:gd name="connsiteY571" fmla="*/ 114660 h 410520"/>
                <a:gd name="connsiteX572" fmla="*/ 2289452 w 2663946"/>
                <a:gd name="connsiteY572" fmla="*/ 114660 h 410520"/>
                <a:gd name="connsiteX573" fmla="*/ 2294048 w 2663946"/>
                <a:gd name="connsiteY573" fmla="*/ 117094 h 410520"/>
                <a:gd name="connsiteX574" fmla="*/ 2296212 w 2663946"/>
                <a:gd name="connsiteY574" fmla="*/ 123312 h 410520"/>
                <a:gd name="connsiteX575" fmla="*/ 2296212 w 2663946"/>
                <a:gd name="connsiteY575" fmla="*/ 123853 h 410520"/>
                <a:gd name="connsiteX576" fmla="*/ 2296212 w 2663946"/>
                <a:gd name="connsiteY576" fmla="*/ 176848 h 410520"/>
                <a:gd name="connsiteX577" fmla="*/ 2296752 w 2663946"/>
                <a:gd name="connsiteY577" fmla="*/ 177388 h 410520"/>
                <a:gd name="connsiteX578" fmla="*/ 2304052 w 2663946"/>
                <a:gd name="connsiteY578" fmla="*/ 177388 h 410520"/>
                <a:gd name="connsiteX579" fmla="*/ 2308108 w 2663946"/>
                <a:gd name="connsiteY579" fmla="*/ 178470 h 410520"/>
                <a:gd name="connsiteX580" fmla="*/ 2311893 w 2663946"/>
                <a:gd name="connsiteY580" fmla="*/ 185229 h 410520"/>
                <a:gd name="connsiteX581" fmla="*/ 2309190 w 2663946"/>
                <a:gd name="connsiteY581" fmla="*/ 190907 h 410520"/>
                <a:gd name="connsiteX582" fmla="*/ 2305134 w 2663946"/>
                <a:gd name="connsiteY582" fmla="*/ 192800 h 410520"/>
                <a:gd name="connsiteX583" fmla="*/ 2304864 w 2663946"/>
                <a:gd name="connsiteY583" fmla="*/ 192800 h 410520"/>
                <a:gd name="connsiteX584" fmla="*/ 2304593 w 2663946"/>
                <a:gd name="connsiteY584" fmla="*/ 192800 h 410520"/>
                <a:gd name="connsiteX585" fmla="*/ 2304052 w 2663946"/>
                <a:gd name="connsiteY585" fmla="*/ 192800 h 410520"/>
                <a:gd name="connsiteX586" fmla="*/ 2271877 w 2663946"/>
                <a:gd name="connsiteY586" fmla="*/ 192800 h 410520"/>
                <a:gd name="connsiteX587" fmla="*/ 2271337 w 2663946"/>
                <a:gd name="connsiteY587" fmla="*/ 192800 h 410520"/>
                <a:gd name="connsiteX588" fmla="*/ 2270525 w 2663946"/>
                <a:gd name="connsiteY588" fmla="*/ 192800 h 410520"/>
                <a:gd name="connsiteX589" fmla="*/ 2269714 w 2663946"/>
                <a:gd name="connsiteY589" fmla="*/ 192530 h 410520"/>
                <a:gd name="connsiteX590" fmla="*/ 2266199 w 2663946"/>
                <a:gd name="connsiteY590" fmla="*/ 190637 h 410520"/>
                <a:gd name="connsiteX591" fmla="*/ 2263766 w 2663946"/>
                <a:gd name="connsiteY591" fmla="*/ 184959 h 410520"/>
                <a:gd name="connsiteX592" fmla="*/ 2265929 w 2663946"/>
                <a:gd name="connsiteY592" fmla="*/ 179822 h 410520"/>
                <a:gd name="connsiteX593" fmla="*/ 2271607 w 2663946"/>
                <a:gd name="connsiteY593" fmla="*/ 177388 h 410520"/>
                <a:gd name="connsiteX594" fmla="*/ 2279448 w 2663946"/>
                <a:gd name="connsiteY594" fmla="*/ 177388 h 410520"/>
                <a:gd name="connsiteX595" fmla="*/ 2279989 w 2663946"/>
                <a:gd name="connsiteY595" fmla="*/ 176848 h 410520"/>
                <a:gd name="connsiteX596" fmla="*/ 2279989 w 2663946"/>
                <a:gd name="connsiteY596" fmla="*/ 130883 h 410520"/>
                <a:gd name="connsiteX597" fmla="*/ 2279448 w 2663946"/>
                <a:gd name="connsiteY597" fmla="*/ 130342 h 410520"/>
                <a:gd name="connsiteX598" fmla="*/ 2273500 w 2663946"/>
                <a:gd name="connsiteY598" fmla="*/ 130342 h 410520"/>
                <a:gd name="connsiteX599" fmla="*/ 2266199 w 2663946"/>
                <a:gd name="connsiteY599" fmla="*/ 125746 h 410520"/>
                <a:gd name="connsiteX600" fmla="*/ 2265929 w 2663946"/>
                <a:gd name="connsiteY600" fmla="*/ 120068 h 410520"/>
                <a:gd name="connsiteX601" fmla="*/ 2273229 w 2663946"/>
                <a:gd name="connsiteY601" fmla="*/ 114931 h 410520"/>
                <a:gd name="connsiteX602" fmla="*/ 2285396 w 2663946"/>
                <a:gd name="connsiteY602" fmla="*/ 114660 h 410520"/>
                <a:gd name="connsiteX603" fmla="*/ 1936416 w 2663946"/>
                <a:gd name="connsiteY603" fmla="*/ 114660 h 410520"/>
                <a:gd name="connsiteX604" fmla="*/ 1940472 w 2663946"/>
                <a:gd name="connsiteY604" fmla="*/ 114660 h 410520"/>
                <a:gd name="connsiteX605" fmla="*/ 1945068 w 2663946"/>
                <a:gd name="connsiteY605" fmla="*/ 117094 h 410520"/>
                <a:gd name="connsiteX606" fmla="*/ 1947232 w 2663946"/>
                <a:gd name="connsiteY606" fmla="*/ 123312 h 410520"/>
                <a:gd name="connsiteX607" fmla="*/ 1947232 w 2663946"/>
                <a:gd name="connsiteY607" fmla="*/ 123853 h 410520"/>
                <a:gd name="connsiteX608" fmla="*/ 1947232 w 2663946"/>
                <a:gd name="connsiteY608" fmla="*/ 176848 h 410520"/>
                <a:gd name="connsiteX609" fmla="*/ 1947772 w 2663946"/>
                <a:gd name="connsiteY609" fmla="*/ 177388 h 410520"/>
                <a:gd name="connsiteX610" fmla="*/ 1955072 w 2663946"/>
                <a:gd name="connsiteY610" fmla="*/ 177388 h 410520"/>
                <a:gd name="connsiteX611" fmla="*/ 1959128 w 2663946"/>
                <a:gd name="connsiteY611" fmla="*/ 178470 h 410520"/>
                <a:gd name="connsiteX612" fmla="*/ 1962913 w 2663946"/>
                <a:gd name="connsiteY612" fmla="*/ 185229 h 410520"/>
                <a:gd name="connsiteX613" fmla="*/ 1960210 w 2663946"/>
                <a:gd name="connsiteY613" fmla="*/ 190907 h 410520"/>
                <a:gd name="connsiteX614" fmla="*/ 1956154 w 2663946"/>
                <a:gd name="connsiteY614" fmla="*/ 192800 h 410520"/>
                <a:gd name="connsiteX615" fmla="*/ 1955884 w 2663946"/>
                <a:gd name="connsiteY615" fmla="*/ 192800 h 410520"/>
                <a:gd name="connsiteX616" fmla="*/ 1955613 w 2663946"/>
                <a:gd name="connsiteY616" fmla="*/ 192800 h 410520"/>
                <a:gd name="connsiteX617" fmla="*/ 1955072 w 2663946"/>
                <a:gd name="connsiteY617" fmla="*/ 192800 h 410520"/>
                <a:gd name="connsiteX618" fmla="*/ 1922897 w 2663946"/>
                <a:gd name="connsiteY618" fmla="*/ 192800 h 410520"/>
                <a:gd name="connsiteX619" fmla="*/ 1922357 w 2663946"/>
                <a:gd name="connsiteY619" fmla="*/ 192800 h 410520"/>
                <a:gd name="connsiteX620" fmla="*/ 1921545 w 2663946"/>
                <a:gd name="connsiteY620" fmla="*/ 192800 h 410520"/>
                <a:gd name="connsiteX621" fmla="*/ 1920734 w 2663946"/>
                <a:gd name="connsiteY621" fmla="*/ 192530 h 410520"/>
                <a:gd name="connsiteX622" fmla="*/ 1917219 w 2663946"/>
                <a:gd name="connsiteY622" fmla="*/ 190637 h 410520"/>
                <a:gd name="connsiteX623" fmla="*/ 1914786 w 2663946"/>
                <a:gd name="connsiteY623" fmla="*/ 184959 h 410520"/>
                <a:gd name="connsiteX624" fmla="*/ 1916949 w 2663946"/>
                <a:gd name="connsiteY624" fmla="*/ 179822 h 410520"/>
                <a:gd name="connsiteX625" fmla="*/ 1922627 w 2663946"/>
                <a:gd name="connsiteY625" fmla="*/ 177388 h 410520"/>
                <a:gd name="connsiteX626" fmla="*/ 1930468 w 2663946"/>
                <a:gd name="connsiteY626" fmla="*/ 177388 h 410520"/>
                <a:gd name="connsiteX627" fmla="*/ 1931009 w 2663946"/>
                <a:gd name="connsiteY627" fmla="*/ 176848 h 410520"/>
                <a:gd name="connsiteX628" fmla="*/ 1931009 w 2663946"/>
                <a:gd name="connsiteY628" fmla="*/ 130883 h 410520"/>
                <a:gd name="connsiteX629" fmla="*/ 1930468 w 2663946"/>
                <a:gd name="connsiteY629" fmla="*/ 130342 h 410520"/>
                <a:gd name="connsiteX630" fmla="*/ 1924520 w 2663946"/>
                <a:gd name="connsiteY630" fmla="*/ 130342 h 410520"/>
                <a:gd name="connsiteX631" fmla="*/ 1917219 w 2663946"/>
                <a:gd name="connsiteY631" fmla="*/ 125746 h 410520"/>
                <a:gd name="connsiteX632" fmla="*/ 1916949 w 2663946"/>
                <a:gd name="connsiteY632" fmla="*/ 120068 h 410520"/>
                <a:gd name="connsiteX633" fmla="*/ 1924249 w 2663946"/>
                <a:gd name="connsiteY633" fmla="*/ 114931 h 410520"/>
                <a:gd name="connsiteX634" fmla="*/ 1936416 w 2663946"/>
                <a:gd name="connsiteY634" fmla="*/ 114660 h 410520"/>
                <a:gd name="connsiteX635" fmla="*/ 1678521 w 2663946"/>
                <a:gd name="connsiteY635" fmla="*/ 114660 h 410520"/>
                <a:gd name="connsiteX636" fmla="*/ 1682577 w 2663946"/>
                <a:gd name="connsiteY636" fmla="*/ 114660 h 410520"/>
                <a:gd name="connsiteX637" fmla="*/ 1687173 w 2663946"/>
                <a:gd name="connsiteY637" fmla="*/ 117094 h 410520"/>
                <a:gd name="connsiteX638" fmla="*/ 1689336 w 2663946"/>
                <a:gd name="connsiteY638" fmla="*/ 123312 h 410520"/>
                <a:gd name="connsiteX639" fmla="*/ 1689336 w 2663946"/>
                <a:gd name="connsiteY639" fmla="*/ 123853 h 410520"/>
                <a:gd name="connsiteX640" fmla="*/ 1689336 w 2663946"/>
                <a:gd name="connsiteY640" fmla="*/ 176848 h 410520"/>
                <a:gd name="connsiteX641" fmla="*/ 1689877 w 2663946"/>
                <a:gd name="connsiteY641" fmla="*/ 177388 h 410520"/>
                <a:gd name="connsiteX642" fmla="*/ 1697177 w 2663946"/>
                <a:gd name="connsiteY642" fmla="*/ 177388 h 410520"/>
                <a:gd name="connsiteX643" fmla="*/ 1701233 w 2663946"/>
                <a:gd name="connsiteY643" fmla="*/ 178470 h 410520"/>
                <a:gd name="connsiteX644" fmla="*/ 1705018 w 2663946"/>
                <a:gd name="connsiteY644" fmla="*/ 185229 h 410520"/>
                <a:gd name="connsiteX645" fmla="*/ 1702315 w 2663946"/>
                <a:gd name="connsiteY645" fmla="*/ 190907 h 410520"/>
                <a:gd name="connsiteX646" fmla="*/ 1698259 w 2663946"/>
                <a:gd name="connsiteY646" fmla="*/ 192800 h 410520"/>
                <a:gd name="connsiteX647" fmla="*/ 1697989 w 2663946"/>
                <a:gd name="connsiteY647" fmla="*/ 192800 h 410520"/>
                <a:gd name="connsiteX648" fmla="*/ 1697718 w 2663946"/>
                <a:gd name="connsiteY648" fmla="*/ 192800 h 410520"/>
                <a:gd name="connsiteX649" fmla="*/ 1697177 w 2663946"/>
                <a:gd name="connsiteY649" fmla="*/ 192800 h 410520"/>
                <a:gd name="connsiteX650" fmla="*/ 1665002 w 2663946"/>
                <a:gd name="connsiteY650" fmla="*/ 192800 h 410520"/>
                <a:gd name="connsiteX651" fmla="*/ 1664462 w 2663946"/>
                <a:gd name="connsiteY651" fmla="*/ 192800 h 410520"/>
                <a:gd name="connsiteX652" fmla="*/ 1663650 w 2663946"/>
                <a:gd name="connsiteY652" fmla="*/ 192800 h 410520"/>
                <a:gd name="connsiteX653" fmla="*/ 1662839 w 2663946"/>
                <a:gd name="connsiteY653" fmla="*/ 192530 h 410520"/>
                <a:gd name="connsiteX654" fmla="*/ 1659324 w 2663946"/>
                <a:gd name="connsiteY654" fmla="*/ 190637 h 410520"/>
                <a:gd name="connsiteX655" fmla="*/ 1656891 w 2663946"/>
                <a:gd name="connsiteY655" fmla="*/ 184959 h 410520"/>
                <a:gd name="connsiteX656" fmla="*/ 1659054 w 2663946"/>
                <a:gd name="connsiteY656" fmla="*/ 179822 h 410520"/>
                <a:gd name="connsiteX657" fmla="*/ 1664732 w 2663946"/>
                <a:gd name="connsiteY657" fmla="*/ 177388 h 410520"/>
                <a:gd name="connsiteX658" fmla="*/ 1672573 w 2663946"/>
                <a:gd name="connsiteY658" fmla="*/ 177388 h 410520"/>
                <a:gd name="connsiteX659" fmla="*/ 1673114 w 2663946"/>
                <a:gd name="connsiteY659" fmla="*/ 176848 h 410520"/>
                <a:gd name="connsiteX660" fmla="*/ 1673114 w 2663946"/>
                <a:gd name="connsiteY660" fmla="*/ 130883 h 410520"/>
                <a:gd name="connsiteX661" fmla="*/ 1672573 w 2663946"/>
                <a:gd name="connsiteY661" fmla="*/ 130342 h 410520"/>
                <a:gd name="connsiteX662" fmla="*/ 1666625 w 2663946"/>
                <a:gd name="connsiteY662" fmla="*/ 130342 h 410520"/>
                <a:gd name="connsiteX663" fmla="*/ 1659324 w 2663946"/>
                <a:gd name="connsiteY663" fmla="*/ 125746 h 410520"/>
                <a:gd name="connsiteX664" fmla="*/ 1659054 w 2663946"/>
                <a:gd name="connsiteY664" fmla="*/ 120068 h 410520"/>
                <a:gd name="connsiteX665" fmla="*/ 1666354 w 2663946"/>
                <a:gd name="connsiteY665" fmla="*/ 114931 h 410520"/>
                <a:gd name="connsiteX666" fmla="*/ 1678521 w 2663946"/>
                <a:gd name="connsiteY666" fmla="*/ 114660 h 410520"/>
                <a:gd name="connsiteX667" fmla="*/ 1329614 w 2663946"/>
                <a:gd name="connsiteY667" fmla="*/ 114660 h 410520"/>
                <a:gd name="connsiteX668" fmla="*/ 1333670 w 2663946"/>
                <a:gd name="connsiteY668" fmla="*/ 114660 h 410520"/>
                <a:gd name="connsiteX669" fmla="*/ 1338266 w 2663946"/>
                <a:gd name="connsiteY669" fmla="*/ 117094 h 410520"/>
                <a:gd name="connsiteX670" fmla="*/ 1340429 w 2663946"/>
                <a:gd name="connsiteY670" fmla="*/ 123312 h 410520"/>
                <a:gd name="connsiteX671" fmla="*/ 1340429 w 2663946"/>
                <a:gd name="connsiteY671" fmla="*/ 123853 h 410520"/>
                <a:gd name="connsiteX672" fmla="*/ 1340429 w 2663946"/>
                <a:gd name="connsiteY672" fmla="*/ 176848 h 410520"/>
                <a:gd name="connsiteX673" fmla="*/ 1340970 w 2663946"/>
                <a:gd name="connsiteY673" fmla="*/ 177388 h 410520"/>
                <a:gd name="connsiteX674" fmla="*/ 1348270 w 2663946"/>
                <a:gd name="connsiteY674" fmla="*/ 177388 h 410520"/>
                <a:gd name="connsiteX675" fmla="*/ 1352326 w 2663946"/>
                <a:gd name="connsiteY675" fmla="*/ 178470 h 410520"/>
                <a:gd name="connsiteX676" fmla="*/ 1356111 w 2663946"/>
                <a:gd name="connsiteY676" fmla="*/ 185229 h 410520"/>
                <a:gd name="connsiteX677" fmla="*/ 1353408 w 2663946"/>
                <a:gd name="connsiteY677" fmla="*/ 190907 h 410520"/>
                <a:gd name="connsiteX678" fmla="*/ 1349352 w 2663946"/>
                <a:gd name="connsiteY678" fmla="*/ 192800 h 410520"/>
                <a:gd name="connsiteX679" fmla="*/ 1349082 w 2663946"/>
                <a:gd name="connsiteY679" fmla="*/ 192800 h 410520"/>
                <a:gd name="connsiteX680" fmla="*/ 1348811 w 2663946"/>
                <a:gd name="connsiteY680" fmla="*/ 192800 h 410520"/>
                <a:gd name="connsiteX681" fmla="*/ 1348270 w 2663946"/>
                <a:gd name="connsiteY681" fmla="*/ 192800 h 410520"/>
                <a:gd name="connsiteX682" fmla="*/ 1316095 w 2663946"/>
                <a:gd name="connsiteY682" fmla="*/ 192800 h 410520"/>
                <a:gd name="connsiteX683" fmla="*/ 1315555 w 2663946"/>
                <a:gd name="connsiteY683" fmla="*/ 192800 h 410520"/>
                <a:gd name="connsiteX684" fmla="*/ 1314743 w 2663946"/>
                <a:gd name="connsiteY684" fmla="*/ 192800 h 410520"/>
                <a:gd name="connsiteX685" fmla="*/ 1313932 w 2663946"/>
                <a:gd name="connsiteY685" fmla="*/ 192530 h 410520"/>
                <a:gd name="connsiteX686" fmla="*/ 1310417 w 2663946"/>
                <a:gd name="connsiteY686" fmla="*/ 190637 h 410520"/>
                <a:gd name="connsiteX687" fmla="*/ 1307984 w 2663946"/>
                <a:gd name="connsiteY687" fmla="*/ 184959 h 410520"/>
                <a:gd name="connsiteX688" fmla="*/ 1310147 w 2663946"/>
                <a:gd name="connsiteY688" fmla="*/ 179822 h 410520"/>
                <a:gd name="connsiteX689" fmla="*/ 1315825 w 2663946"/>
                <a:gd name="connsiteY689" fmla="*/ 177388 h 410520"/>
                <a:gd name="connsiteX690" fmla="*/ 1323666 w 2663946"/>
                <a:gd name="connsiteY690" fmla="*/ 177388 h 410520"/>
                <a:gd name="connsiteX691" fmla="*/ 1324207 w 2663946"/>
                <a:gd name="connsiteY691" fmla="*/ 176848 h 410520"/>
                <a:gd name="connsiteX692" fmla="*/ 1324207 w 2663946"/>
                <a:gd name="connsiteY692" fmla="*/ 130883 h 410520"/>
                <a:gd name="connsiteX693" fmla="*/ 1323666 w 2663946"/>
                <a:gd name="connsiteY693" fmla="*/ 130342 h 410520"/>
                <a:gd name="connsiteX694" fmla="*/ 1317718 w 2663946"/>
                <a:gd name="connsiteY694" fmla="*/ 130342 h 410520"/>
                <a:gd name="connsiteX695" fmla="*/ 1310417 w 2663946"/>
                <a:gd name="connsiteY695" fmla="*/ 125746 h 410520"/>
                <a:gd name="connsiteX696" fmla="*/ 1310147 w 2663946"/>
                <a:gd name="connsiteY696" fmla="*/ 120068 h 410520"/>
                <a:gd name="connsiteX697" fmla="*/ 1317447 w 2663946"/>
                <a:gd name="connsiteY697" fmla="*/ 114931 h 410520"/>
                <a:gd name="connsiteX698" fmla="*/ 1329614 w 2663946"/>
                <a:gd name="connsiteY698" fmla="*/ 114660 h 410520"/>
                <a:gd name="connsiteX699" fmla="*/ 980634 w 2663946"/>
                <a:gd name="connsiteY699" fmla="*/ 114660 h 410520"/>
                <a:gd name="connsiteX700" fmla="*/ 984690 w 2663946"/>
                <a:gd name="connsiteY700" fmla="*/ 114660 h 410520"/>
                <a:gd name="connsiteX701" fmla="*/ 989286 w 2663946"/>
                <a:gd name="connsiteY701" fmla="*/ 117094 h 410520"/>
                <a:gd name="connsiteX702" fmla="*/ 991449 w 2663946"/>
                <a:gd name="connsiteY702" fmla="*/ 123312 h 410520"/>
                <a:gd name="connsiteX703" fmla="*/ 991449 w 2663946"/>
                <a:gd name="connsiteY703" fmla="*/ 123853 h 410520"/>
                <a:gd name="connsiteX704" fmla="*/ 991449 w 2663946"/>
                <a:gd name="connsiteY704" fmla="*/ 176848 h 410520"/>
                <a:gd name="connsiteX705" fmla="*/ 991990 w 2663946"/>
                <a:gd name="connsiteY705" fmla="*/ 177388 h 410520"/>
                <a:gd name="connsiteX706" fmla="*/ 999290 w 2663946"/>
                <a:gd name="connsiteY706" fmla="*/ 177388 h 410520"/>
                <a:gd name="connsiteX707" fmla="*/ 1003346 w 2663946"/>
                <a:gd name="connsiteY707" fmla="*/ 178470 h 410520"/>
                <a:gd name="connsiteX708" fmla="*/ 1007131 w 2663946"/>
                <a:gd name="connsiteY708" fmla="*/ 185229 h 410520"/>
                <a:gd name="connsiteX709" fmla="*/ 1004428 w 2663946"/>
                <a:gd name="connsiteY709" fmla="*/ 190907 h 410520"/>
                <a:gd name="connsiteX710" fmla="*/ 1000372 w 2663946"/>
                <a:gd name="connsiteY710" fmla="*/ 192800 h 410520"/>
                <a:gd name="connsiteX711" fmla="*/ 1000102 w 2663946"/>
                <a:gd name="connsiteY711" fmla="*/ 192800 h 410520"/>
                <a:gd name="connsiteX712" fmla="*/ 999831 w 2663946"/>
                <a:gd name="connsiteY712" fmla="*/ 192800 h 410520"/>
                <a:gd name="connsiteX713" fmla="*/ 999290 w 2663946"/>
                <a:gd name="connsiteY713" fmla="*/ 192800 h 410520"/>
                <a:gd name="connsiteX714" fmla="*/ 967115 w 2663946"/>
                <a:gd name="connsiteY714" fmla="*/ 192800 h 410520"/>
                <a:gd name="connsiteX715" fmla="*/ 966575 w 2663946"/>
                <a:gd name="connsiteY715" fmla="*/ 192800 h 410520"/>
                <a:gd name="connsiteX716" fmla="*/ 965763 w 2663946"/>
                <a:gd name="connsiteY716" fmla="*/ 192800 h 410520"/>
                <a:gd name="connsiteX717" fmla="*/ 964952 w 2663946"/>
                <a:gd name="connsiteY717" fmla="*/ 192530 h 410520"/>
                <a:gd name="connsiteX718" fmla="*/ 961437 w 2663946"/>
                <a:gd name="connsiteY718" fmla="*/ 190637 h 410520"/>
                <a:gd name="connsiteX719" fmla="*/ 959004 w 2663946"/>
                <a:gd name="connsiteY719" fmla="*/ 184959 h 410520"/>
                <a:gd name="connsiteX720" fmla="*/ 961167 w 2663946"/>
                <a:gd name="connsiteY720" fmla="*/ 179822 h 410520"/>
                <a:gd name="connsiteX721" fmla="*/ 966845 w 2663946"/>
                <a:gd name="connsiteY721" fmla="*/ 177388 h 410520"/>
                <a:gd name="connsiteX722" fmla="*/ 974686 w 2663946"/>
                <a:gd name="connsiteY722" fmla="*/ 177388 h 410520"/>
                <a:gd name="connsiteX723" fmla="*/ 975227 w 2663946"/>
                <a:gd name="connsiteY723" fmla="*/ 176848 h 410520"/>
                <a:gd name="connsiteX724" fmla="*/ 975227 w 2663946"/>
                <a:gd name="connsiteY724" fmla="*/ 130883 h 410520"/>
                <a:gd name="connsiteX725" fmla="*/ 974686 w 2663946"/>
                <a:gd name="connsiteY725" fmla="*/ 130342 h 410520"/>
                <a:gd name="connsiteX726" fmla="*/ 968738 w 2663946"/>
                <a:gd name="connsiteY726" fmla="*/ 130342 h 410520"/>
                <a:gd name="connsiteX727" fmla="*/ 961437 w 2663946"/>
                <a:gd name="connsiteY727" fmla="*/ 125746 h 410520"/>
                <a:gd name="connsiteX728" fmla="*/ 961167 w 2663946"/>
                <a:gd name="connsiteY728" fmla="*/ 120068 h 410520"/>
                <a:gd name="connsiteX729" fmla="*/ 968467 w 2663946"/>
                <a:gd name="connsiteY729" fmla="*/ 114931 h 410520"/>
                <a:gd name="connsiteX730" fmla="*/ 980634 w 2663946"/>
                <a:gd name="connsiteY730" fmla="*/ 114660 h 410520"/>
                <a:gd name="connsiteX731" fmla="*/ 813605 w 2663946"/>
                <a:gd name="connsiteY731" fmla="*/ 114660 h 410520"/>
                <a:gd name="connsiteX732" fmla="*/ 817661 w 2663946"/>
                <a:gd name="connsiteY732" fmla="*/ 114660 h 410520"/>
                <a:gd name="connsiteX733" fmla="*/ 822257 w 2663946"/>
                <a:gd name="connsiteY733" fmla="*/ 117094 h 410520"/>
                <a:gd name="connsiteX734" fmla="*/ 824420 w 2663946"/>
                <a:gd name="connsiteY734" fmla="*/ 123312 h 410520"/>
                <a:gd name="connsiteX735" fmla="*/ 824420 w 2663946"/>
                <a:gd name="connsiteY735" fmla="*/ 123853 h 410520"/>
                <a:gd name="connsiteX736" fmla="*/ 824420 w 2663946"/>
                <a:gd name="connsiteY736" fmla="*/ 176848 h 410520"/>
                <a:gd name="connsiteX737" fmla="*/ 824961 w 2663946"/>
                <a:gd name="connsiteY737" fmla="*/ 177388 h 410520"/>
                <a:gd name="connsiteX738" fmla="*/ 832261 w 2663946"/>
                <a:gd name="connsiteY738" fmla="*/ 177388 h 410520"/>
                <a:gd name="connsiteX739" fmla="*/ 836317 w 2663946"/>
                <a:gd name="connsiteY739" fmla="*/ 178470 h 410520"/>
                <a:gd name="connsiteX740" fmla="*/ 840102 w 2663946"/>
                <a:gd name="connsiteY740" fmla="*/ 185229 h 410520"/>
                <a:gd name="connsiteX741" fmla="*/ 837399 w 2663946"/>
                <a:gd name="connsiteY741" fmla="*/ 190907 h 410520"/>
                <a:gd name="connsiteX742" fmla="*/ 833343 w 2663946"/>
                <a:gd name="connsiteY742" fmla="*/ 192800 h 410520"/>
                <a:gd name="connsiteX743" fmla="*/ 833073 w 2663946"/>
                <a:gd name="connsiteY743" fmla="*/ 192800 h 410520"/>
                <a:gd name="connsiteX744" fmla="*/ 832802 w 2663946"/>
                <a:gd name="connsiteY744" fmla="*/ 192800 h 410520"/>
                <a:gd name="connsiteX745" fmla="*/ 832261 w 2663946"/>
                <a:gd name="connsiteY745" fmla="*/ 192800 h 410520"/>
                <a:gd name="connsiteX746" fmla="*/ 800086 w 2663946"/>
                <a:gd name="connsiteY746" fmla="*/ 192800 h 410520"/>
                <a:gd name="connsiteX747" fmla="*/ 799546 w 2663946"/>
                <a:gd name="connsiteY747" fmla="*/ 192800 h 410520"/>
                <a:gd name="connsiteX748" fmla="*/ 798734 w 2663946"/>
                <a:gd name="connsiteY748" fmla="*/ 192800 h 410520"/>
                <a:gd name="connsiteX749" fmla="*/ 797923 w 2663946"/>
                <a:gd name="connsiteY749" fmla="*/ 192530 h 410520"/>
                <a:gd name="connsiteX750" fmla="*/ 794408 w 2663946"/>
                <a:gd name="connsiteY750" fmla="*/ 190637 h 410520"/>
                <a:gd name="connsiteX751" fmla="*/ 791975 w 2663946"/>
                <a:gd name="connsiteY751" fmla="*/ 184959 h 410520"/>
                <a:gd name="connsiteX752" fmla="*/ 794138 w 2663946"/>
                <a:gd name="connsiteY752" fmla="*/ 179822 h 410520"/>
                <a:gd name="connsiteX753" fmla="*/ 799816 w 2663946"/>
                <a:gd name="connsiteY753" fmla="*/ 177388 h 410520"/>
                <a:gd name="connsiteX754" fmla="*/ 807657 w 2663946"/>
                <a:gd name="connsiteY754" fmla="*/ 177388 h 410520"/>
                <a:gd name="connsiteX755" fmla="*/ 808198 w 2663946"/>
                <a:gd name="connsiteY755" fmla="*/ 176848 h 410520"/>
                <a:gd name="connsiteX756" fmla="*/ 808198 w 2663946"/>
                <a:gd name="connsiteY756" fmla="*/ 130883 h 410520"/>
                <a:gd name="connsiteX757" fmla="*/ 807657 w 2663946"/>
                <a:gd name="connsiteY757" fmla="*/ 130342 h 410520"/>
                <a:gd name="connsiteX758" fmla="*/ 801709 w 2663946"/>
                <a:gd name="connsiteY758" fmla="*/ 130342 h 410520"/>
                <a:gd name="connsiteX759" fmla="*/ 794408 w 2663946"/>
                <a:gd name="connsiteY759" fmla="*/ 125746 h 410520"/>
                <a:gd name="connsiteX760" fmla="*/ 794138 w 2663946"/>
                <a:gd name="connsiteY760" fmla="*/ 120068 h 410520"/>
                <a:gd name="connsiteX761" fmla="*/ 801438 w 2663946"/>
                <a:gd name="connsiteY761" fmla="*/ 114931 h 410520"/>
                <a:gd name="connsiteX762" fmla="*/ 813605 w 2663946"/>
                <a:gd name="connsiteY762" fmla="*/ 114660 h 410520"/>
                <a:gd name="connsiteX763" fmla="*/ 282748 w 2663946"/>
                <a:gd name="connsiteY763" fmla="*/ 114660 h 410520"/>
                <a:gd name="connsiteX764" fmla="*/ 286803 w 2663946"/>
                <a:gd name="connsiteY764" fmla="*/ 114660 h 410520"/>
                <a:gd name="connsiteX765" fmla="*/ 291400 w 2663946"/>
                <a:gd name="connsiteY765" fmla="*/ 117094 h 410520"/>
                <a:gd name="connsiteX766" fmla="*/ 293563 w 2663946"/>
                <a:gd name="connsiteY766" fmla="*/ 123312 h 410520"/>
                <a:gd name="connsiteX767" fmla="*/ 293563 w 2663946"/>
                <a:gd name="connsiteY767" fmla="*/ 123853 h 410520"/>
                <a:gd name="connsiteX768" fmla="*/ 293563 w 2663946"/>
                <a:gd name="connsiteY768" fmla="*/ 176848 h 410520"/>
                <a:gd name="connsiteX769" fmla="*/ 294104 w 2663946"/>
                <a:gd name="connsiteY769" fmla="*/ 177388 h 410520"/>
                <a:gd name="connsiteX770" fmla="*/ 301404 w 2663946"/>
                <a:gd name="connsiteY770" fmla="*/ 177388 h 410520"/>
                <a:gd name="connsiteX771" fmla="*/ 305460 w 2663946"/>
                <a:gd name="connsiteY771" fmla="*/ 178470 h 410520"/>
                <a:gd name="connsiteX772" fmla="*/ 309245 w 2663946"/>
                <a:gd name="connsiteY772" fmla="*/ 185229 h 410520"/>
                <a:gd name="connsiteX773" fmla="*/ 306541 w 2663946"/>
                <a:gd name="connsiteY773" fmla="*/ 190907 h 410520"/>
                <a:gd name="connsiteX774" fmla="*/ 302485 w 2663946"/>
                <a:gd name="connsiteY774" fmla="*/ 192800 h 410520"/>
                <a:gd name="connsiteX775" fmla="*/ 302215 w 2663946"/>
                <a:gd name="connsiteY775" fmla="*/ 192800 h 410520"/>
                <a:gd name="connsiteX776" fmla="*/ 301945 w 2663946"/>
                <a:gd name="connsiteY776" fmla="*/ 192800 h 410520"/>
                <a:gd name="connsiteX777" fmla="*/ 301404 w 2663946"/>
                <a:gd name="connsiteY777" fmla="*/ 192800 h 410520"/>
                <a:gd name="connsiteX778" fmla="*/ 269229 w 2663946"/>
                <a:gd name="connsiteY778" fmla="*/ 192800 h 410520"/>
                <a:gd name="connsiteX779" fmla="*/ 268688 w 2663946"/>
                <a:gd name="connsiteY779" fmla="*/ 192800 h 410520"/>
                <a:gd name="connsiteX780" fmla="*/ 267877 w 2663946"/>
                <a:gd name="connsiteY780" fmla="*/ 192800 h 410520"/>
                <a:gd name="connsiteX781" fmla="*/ 267066 w 2663946"/>
                <a:gd name="connsiteY781" fmla="*/ 192530 h 410520"/>
                <a:gd name="connsiteX782" fmla="*/ 263551 w 2663946"/>
                <a:gd name="connsiteY782" fmla="*/ 190637 h 410520"/>
                <a:gd name="connsiteX783" fmla="*/ 261117 w 2663946"/>
                <a:gd name="connsiteY783" fmla="*/ 184959 h 410520"/>
                <a:gd name="connsiteX784" fmla="*/ 263281 w 2663946"/>
                <a:gd name="connsiteY784" fmla="*/ 179822 h 410520"/>
                <a:gd name="connsiteX785" fmla="*/ 268958 w 2663946"/>
                <a:gd name="connsiteY785" fmla="*/ 177388 h 410520"/>
                <a:gd name="connsiteX786" fmla="*/ 276800 w 2663946"/>
                <a:gd name="connsiteY786" fmla="*/ 177388 h 410520"/>
                <a:gd name="connsiteX787" fmla="*/ 277340 w 2663946"/>
                <a:gd name="connsiteY787" fmla="*/ 176848 h 410520"/>
                <a:gd name="connsiteX788" fmla="*/ 277340 w 2663946"/>
                <a:gd name="connsiteY788" fmla="*/ 130883 h 410520"/>
                <a:gd name="connsiteX789" fmla="*/ 276800 w 2663946"/>
                <a:gd name="connsiteY789" fmla="*/ 130342 h 410520"/>
                <a:gd name="connsiteX790" fmla="*/ 270851 w 2663946"/>
                <a:gd name="connsiteY790" fmla="*/ 130342 h 410520"/>
                <a:gd name="connsiteX791" fmla="*/ 263551 w 2663946"/>
                <a:gd name="connsiteY791" fmla="*/ 125746 h 410520"/>
                <a:gd name="connsiteX792" fmla="*/ 263281 w 2663946"/>
                <a:gd name="connsiteY792" fmla="*/ 120068 h 410520"/>
                <a:gd name="connsiteX793" fmla="*/ 270581 w 2663946"/>
                <a:gd name="connsiteY793" fmla="*/ 114931 h 410520"/>
                <a:gd name="connsiteX794" fmla="*/ 282748 w 2663946"/>
                <a:gd name="connsiteY794" fmla="*/ 114660 h 410520"/>
                <a:gd name="connsiteX795" fmla="*/ 206731 w 2663946"/>
                <a:gd name="connsiteY795" fmla="*/ 114660 h 410520"/>
                <a:gd name="connsiteX796" fmla="*/ 210787 w 2663946"/>
                <a:gd name="connsiteY796" fmla="*/ 114660 h 410520"/>
                <a:gd name="connsiteX797" fmla="*/ 215383 w 2663946"/>
                <a:gd name="connsiteY797" fmla="*/ 117094 h 410520"/>
                <a:gd name="connsiteX798" fmla="*/ 217546 w 2663946"/>
                <a:gd name="connsiteY798" fmla="*/ 123312 h 410520"/>
                <a:gd name="connsiteX799" fmla="*/ 217546 w 2663946"/>
                <a:gd name="connsiteY799" fmla="*/ 123853 h 410520"/>
                <a:gd name="connsiteX800" fmla="*/ 217546 w 2663946"/>
                <a:gd name="connsiteY800" fmla="*/ 176848 h 410520"/>
                <a:gd name="connsiteX801" fmla="*/ 218087 w 2663946"/>
                <a:gd name="connsiteY801" fmla="*/ 177388 h 410520"/>
                <a:gd name="connsiteX802" fmla="*/ 225387 w 2663946"/>
                <a:gd name="connsiteY802" fmla="*/ 177388 h 410520"/>
                <a:gd name="connsiteX803" fmla="*/ 229443 w 2663946"/>
                <a:gd name="connsiteY803" fmla="*/ 178470 h 410520"/>
                <a:gd name="connsiteX804" fmla="*/ 233228 w 2663946"/>
                <a:gd name="connsiteY804" fmla="*/ 185229 h 410520"/>
                <a:gd name="connsiteX805" fmla="*/ 230524 w 2663946"/>
                <a:gd name="connsiteY805" fmla="*/ 190907 h 410520"/>
                <a:gd name="connsiteX806" fmla="*/ 226468 w 2663946"/>
                <a:gd name="connsiteY806" fmla="*/ 192800 h 410520"/>
                <a:gd name="connsiteX807" fmla="*/ 226198 w 2663946"/>
                <a:gd name="connsiteY807" fmla="*/ 192800 h 410520"/>
                <a:gd name="connsiteX808" fmla="*/ 225928 w 2663946"/>
                <a:gd name="connsiteY808" fmla="*/ 192800 h 410520"/>
                <a:gd name="connsiteX809" fmla="*/ 225387 w 2663946"/>
                <a:gd name="connsiteY809" fmla="*/ 192800 h 410520"/>
                <a:gd name="connsiteX810" fmla="*/ 193212 w 2663946"/>
                <a:gd name="connsiteY810" fmla="*/ 192800 h 410520"/>
                <a:gd name="connsiteX811" fmla="*/ 192671 w 2663946"/>
                <a:gd name="connsiteY811" fmla="*/ 192800 h 410520"/>
                <a:gd name="connsiteX812" fmla="*/ 191860 w 2663946"/>
                <a:gd name="connsiteY812" fmla="*/ 192800 h 410520"/>
                <a:gd name="connsiteX813" fmla="*/ 191049 w 2663946"/>
                <a:gd name="connsiteY813" fmla="*/ 192530 h 410520"/>
                <a:gd name="connsiteX814" fmla="*/ 187534 w 2663946"/>
                <a:gd name="connsiteY814" fmla="*/ 190637 h 410520"/>
                <a:gd name="connsiteX815" fmla="*/ 185101 w 2663946"/>
                <a:gd name="connsiteY815" fmla="*/ 184959 h 410520"/>
                <a:gd name="connsiteX816" fmla="*/ 187264 w 2663946"/>
                <a:gd name="connsiteY816" fmla="*/ 179822 h 410520"/>
                <a:gd name="connsiteX817" fmla="*/ 192942 w 2663946"/>
                <a:gd name="connsiteY817" fmla="*/ 177388 h 410520"/>
                <a:gd name="connsiteX818" fmla="*/ 200783 w 2663946"/>
                <a:gd name="connsiteY818" fmla="*/ 177388 h 410520"/>
                <a:gd name="connsiteX819" fmla="*/ 201323 w 2663946"/>
                <a:gd name="connsiteY819" fmla="*/ 176848 h 410520"/>
                <a:gd name="connsiteX820" fmla="*/ 201323 w 2663946"/>
                <a:gd name="connsiteY820" fmla="*/ 130883 h 410520"/>
                <a:gd name="connsiteX821" fmla="*/ 200783 w 2663946"/>
                <a:gd name="connsiteY821" fmla="*/ 130342 h 410520"/>
                <a:gd name="connsiteX822" fmla="*/ 194834 w 2663946"/>
                <a:gd name="connsiteY822" fmla="*/ 130342 h 410520"/>
                <a:gd name="connsiteX823" fmla="*/ 187534 w 2663946"/>
                <a:gd name="connsiteY823" fmla="*/ 125746 h 410520"/>
                <a:gd name="connsiteX824" fmla="*/ 187264 w 2663946"/>
                <a:gd name="connsiteY824" fmla="*/ 120068 h 410520"/>
                <a:gd name="connsiteX825" fmla="*/ 194564 w 2663946"/>
                <a:gd name="connsiteY825" fmla="*/ 114931 h 410520"/>
                <a:gd name="connsiteX826" fmla="*/ 206731 w 2663946"/>
                <a:gd name="connsiteY826" fmla="*/ 114660 h 410520"/>
                <a:gd name="connsiteX827" fmla="*/ 2627559 w 2663946"/>
                <a:gd name="connsiteY827" fmla="*/ 114591 h 410520"/>
                <a:gd name="connsiteX828" fmla="*/ 2639849 w 2663946"/>
                <a:gd name="connsiteY828" fmla="*/ 116754 h 410520"/>
                <a:gd name="connsiteX829" fmla="*/ 2647223 w 2663946"/>
                <a:gd name="connsiteY829" fmla="*/ 121351 h 410520"/>
                <a:gd name="connsiteX830" fmla="*/ 2650664 w 2663946"/>
                <a:gd name="connsiteY830" fmla="*/ 124595 h 410520"/>
                <a:gd name="connsiteX831" fmla="*/ 2654106 w 2663946"/>
                <a:gd name="connsiteY831" fmla="*/ 128921 h 410520"/>
                <a:gd name="connsiteX832" fmla="*/ 2656072 w 2663946"/>
                <a:gd name="connsiteY832" fmla="*/ 132436 h 410520"/>
                <a:gd name="connsiteX833" fmla="*/ 2658284 w 2663946"/>
                <a:gd name="connsiteY833" fmla="*/ 137844 h 410520"/>
                <a:gd name="connsiteX834" fmla="*/ 2659267 w 2663946"/>
                <a:gd name="connsiteY834" fmla="*/ 141359 h 410520"/>
                <a:gd name="connsiteX835" fmla="*/ 2660251 w 2663946"/>
                <a:gd name="connsiteY835" fmla="*/ 146496 h 410520"/>
                <a:gd name="connsiteX836" fmla="*/ 2660005 w 2663946"/>
                <a:gd name="connsiteY836" fmla="*/ 160826 h 410520"/>
                <a:gd name="connsiteX837" fmla="*/ 2659022 w 2663946"/>
                <a:gd name="connsiteY837" fmla="*/ 165693 h 410520"/>
                <a:gd name="connsiteX838" fmla="*/ 2657792 w 2663946"/>
                <a:gd name="connsiteY838" fmla="*/ 169478 h 410520"/>
                <a:gd name="connsiteX839" fmla="*/ 2656809 w 2663946"/>
                <a:gd name="connsiteY839" fmla="*/ 171912 h 410520"/>
                <a:gd name="connsiteX840" fmla="*/ 2654597 w 2663946"/>
                <a:gd name="connsiteY840" fmla="*/ 176238 h 410520"/>
                <a:gd name="connsiteX841" fmla="*/ 2652385 w 2663946"/>
                <a:gd name="connsiteY841" fmla="*/ 179482 h 410520"/>
                <a:gd name="connsiteX842" fmla="*/ 2648944 w 2663946"/>
                <a:gd name="connsiteY842" fmla="*/ 183268 h 410520"/>
                <a:gd name="connsiteX843" fmla="*/ 2645748 w 2663946"/>
                <a:gd name="connsiteY843" fmla="*/ 185971 h 410520"/>
                <a:gd name="connsiteX844" fmla="*/ 2640095 w 2663946"/>
                <a:gd name="connsiteY844" fmla="*/ 189216 h 410520"/>
                <a:gd name="connsiteX845" fmla="*/ 2632229 w 2663946"/>
                <a:gd name="connsiteY845" fmla="*/ 191379 h 410520"/>
                <a:gd name="connsiteX846" fmla="*/ 2631000 w 2663946"/>
                <a:gd name="connsiteY846" fmla="*/ 191650 h 410520"/>
                <a:gd name="connsiteX847" fmla="*/ 2626821 w 2663946"/>
                <a:gd name="connsiteY847" fmla="*/ 191650 h 410520"/>
                <a:gd name="connsiteX848" fmla="*/ 2626576 w 2663946"/>
                <a:gd name="connsiteY848" fmla="*/ 191650 h 410520"/>
                <a:gd name="connsiteX849" fmla="*/ 2613548 w 2663946"/>
                <a:gd name="connsiteY849" fmla="*/ 186783 h 410520"/>
                <a:gd name="connsiteX850" fmla="*/ 2608878 w 2663946"/>
                <a:gd name="connsiteY850" fmla="*/ 182727 h 410520"/>
                <a:gd name="connsiteX851" fmla="*/ 2605682 w 2663946"/>
                <a:gd name="connsiteY851" fmla="*/ 178942 h 410520"/>
                <a:gd name="connsiteX852" fmla="*/ 2603470 w 2663946"/>
                <a:gd name="connsiteY852" fmla="*/ 175427 h 410520"/>
                <a:gd name="connsiteX853" fmla="*/ 2601258 w 2663946"/>
                <a:gd name="connsiteY853" fmla="*/ 171101 h 410520"/>
                <a:gd name="connsiteX854" fmla="*/ 2600029 w 2663946"/>
                <a:gd name="connsiteY854" fmla="*/ 168126 h 410520"/>
                <a:gd name="connsiteX855" fmla="*/ 2599046 w 2663946"/>
                <a:gd name="connsiteY855" fmla="*/ 164882 h 410520"/>
                <a:gd name="connsiteX856" fmla="*/ 2597816 w 2663946"/>
                <a:gd name="connsiteY856" fmla="*/ 159204 h 410520"/>
                <a:gd name="connsiteX857" fmla="*/ 2597571 w 2663946"/>
                <a:gd name="connsiteY857" fmla="*/ 156230 h 410520"/>
                <a:gd name="connsiteX858" fmla="*/ 2597816 w 2663946"/>
                <a:gd name="connsiteY858" fmla="*/ 156500 h 410520"/>
                <a:gd name="connsiteX859" fmla="*/ 2597816 w 2663946"/>
                <a:gd name="connsiteY859" fmla="*/ 150822 h 410520"/>
                <a:gd name="connsiteX860" fmla="*/ 2597816 w 2663946"/>
                <a:gd name="connsiteY860" fmla="*/ 150552 h 410520"/>
                <a:gd name="connsiteX861" fmla="*/ 2598308 w 2663946"/>
                <a:gd name="connsiteY861" fmla="*/ 145955 h 410520"/>
                <a:gd name="connsiteX862" fmla="*/ 2599537 w 2663946"/>
                <a:gd name="connsiteY862" fmla="*/ 140548 h 410520"/>
                <a:gd name="connsiteX863" fmla="*/ 2600520 w 2663946"/>
                <a:gd name="connsiteY863" fmla="*/ 137303 h 410520"/>
                <a:gd name="connsiteX864" fmla="*/ 2602732 w 2663946"/>
                <a:gd name="connsiteY864" fmla="*/ 132166 h 410520"/>
                <a:gd name="connsiteX865" fmla="*/ 2604945 w 2663946"/>
                <a:gd name="connsiteY865" fmla="*/ 128381 h 410520"/>
                <a:gd name="connsiteX866" fmla="*/ 2607157 w 2663946"/>
                <a:gd name="connsiteY866" fmla="*/ 125406 h 410520"/>
                <a:gd name="connsiteX867" fmla="*/ 2609369 w 2663946"/>
                <a:gd name="connsiteY867" fmla="*/ 122973 h 410520"/>
                <a:gd name="connsiteX868" fmla="*/ 2614039 w 2663946"/>
                <a:gd name="connsiteY868" fmla="*/ 119188 h 410520"/>
                <a:gd name="connsiteX869" fmla="*/ 2617972 w 2663946"/>
                <a:gd name="connsiteY869" fmla="*/ 117025 h 410520"/>
                <a:gd name="connsiteX870" fmla="*/ 2627559 w 2663946"/>
                <a:gd name="connsiteY870" fmla="*/ 114591 h 410520"/>
                <a:gd name="connsiteX871" fmla="*/ 2445604 w 2663946"/>
                <a:gd name="connsiteY871" fmla="*/ 114591 h 410520"/>
                <a:gd name="connsiteX872" fmla="*/ 2457894 w 2663946"/>
                <a:gd name="connsiteY872" fmla="*/ 116754 h 410520"/>
                <a:gd name="connsiteX873" fmla="*/ 2465268 w 2663946"/>
                <a:gd name="connsiteY873" fmla="*/ 121351 h 410520"/>
                <a:gd name="connsiteX874" fmla="*/ 2468709 w 2663946"/>
                <a:gd name="connsiteY874" fmla="*/ 124595 h 410520"/>
                <a:gd name="connsiteX875" fmla="*/ 2472151 w 2663946"/>
                <a:gd name="connsiteY875" fmla="*/ 128921 h 410520"/>
                <a:gd name="connsiteX876" fmla="*/ 2474117 w 2663946"/>
                <a:gd name="connsiteY876" fmla="*/ 132436 h 410520"/>
                <a:gd name="connsiteX877" fmla="*/ 2476329 w 2663946"/>
                <a:gd name="connsiteY877" fmla="*/ 137844 h 410520"/>
                <a:gd name="connsiteX878" fmla="*/ 2477312 w 2663946"/>
                <a:gd name="connsiteY878" fmla="*/ 141359 h 410520"/>
                <a:gd name="connsiteX879" fmla="*/ 2478296 w 2663946"/>
                <a:gd name="connsiteY879" fmla="*/ 146496 h 410520"/>
                <a:gd name="connsiteX880" fmla="*/ 2478050 w 2663946"/>
                <a:gd name="connsiteY880" fmla="*/ 160826 h 410520"/>
                <a:gd name="connsiteX881" fmla="*/ 2477067 w 2663946"/>
                <a:gd name="connsiteY881" fmla="*/ 165693 h 410520"/>
                <a:gd name="connsiteX882" fmla="*/ 2475837 w 2663946"/>
                <a:gd name="connsiteY882" fmla="*/ 169478 h 410520"/>
                <a:gd name="connsiteX883" fmla="*/ 2474854 w 2663946"/>
                <a:gd name="connsiteY883" fmla="*/ 171912 h 410520"/>
                <a:gd name="connsiteX884" fmla="*/ 2472642 w 2663946"/>
                <a:gd name="connsiteY884" fmla="*/ 176238 h 410520"/>
                <a:gd name="connsiteX885" fmla="*/ 2470430 w 2663946"/>
                <a:gd name="connsiteY885" fmla="*/ 179482 h 410520"/>
                <a:gd name="connsiteX886" fmla="*/ 2466989 w 2663946"/>
                <a:gd name="connsiteY886" fmla="*/ 183268 h 410520"/>
                <a:gd name="connsiteX887" fmla="*/ 2463793 w 2663946"/>
                <a:gd name="connsiteY887" fmla="*/ 185971 h 410520"/>
                <a:gd name="connsiteX888" fmla="*/ 2458140 w 2663946"/>
                <a:gd name="connsiteY888" fmla="*/ 189216 h 410520"/>
                <a:gd name="connsiteX889" fmla="*/ 2450274 w 2663946"/>
                <a:gd name="connsiteY889" fmla="*/ 191379 h 410520"/>
                <a:gd name="connsiteX890" fmla="*/ 2449045 w 2663946"/>
                <a:gd name="connsiteY890" fmla="*/ 191650 h 410520"/>
                <a:gd name="connsiteX891" fmla="*/ 2444866 w 2663946"/>
                <a:gd name="connsiteY891" fmla="*/ 191650 h 410520"/>
                <a:gd name="connsiteX892" fmla="*/ 2444621 w 2663946"/>
                <a:gd name="connsiteY892" fmla="*/ 191650 h 410520"/>
                <a:gd name="connsiteX893" fmla="*/ 2431593 w 2663946"/>
                <a:gd name="connsiteY893" fmla="*/ 186783 h 410520"/>
                <a:gd name="connsiteX894" fmla="*/ 2426923 w 2663946"/>
                <a:gd name="connsiteY894" fmla="*/ 182727 h 410520"/>
                <a:gd name="connsiteX895" fmla="*/ 2423727 w 2663946"/>
                <a:gd name="connsiteY895" fmla="*/ 178942 h 410520"/>
                <a:gd name="connsiteX896" fmla="*/ 2421515 w 2663946"/>
                <a:gd name="connsiteY896" fmla="*/ 175427 h 410520"/>
                <a:gd name="connsiteX897" fmla="*/ 2419303 w 2663946"/>
                <a:gd name="connsiteY897" fmla="*/ 171101 h 410520"/>
                <a:gd name="connsiteX898" fmla="*/ 2418074 w 2663946"/>
                <a:gd name="connsiteY898" fmla="*/ 168126 h 410520"/>
                <a:gd name="connsiteX899" fmla="*/ 2417091 w 2663946"/>
                <a:gd name="connsiteY899" fmla="*/ 164882 h 410520"/>
                <a:gd name="connsiteX900" fmla="*/ 2415861 w 2663946"/>
                <a:gd name="connsiteY900" fmla="*/ 159204 h 410520"/>
                <a:gd name="connsiteX901" fmla="*/ 2415616 w 2663946"/>
                <a:gd name="connsiteY901" fmla="*/ 156230 h 410520"/>
                <a:gd name="connsiteX902" fmla="*/ 2415861 w 2663946"/>
                <a:gd name="connsiteY902" fmla="*/ 156500 h 410520"/>
                <a:gd name="connsiteX903" fmla="*/ 2415861 w 2663946"/>
                <a:gd name="connsiteY903" fmla="*/ 150822 h 410520"/>
                <a:gd name="connsiteX904" fmla="*/ 2415861 w 2663946"/>
                <a:gd name="connsiteY904" fmla="*/ 150552 h 410520"/>
                <a:gd name="connsiteX905" fmla="*/ 2416353 w 2663946"/>
                <a:gd name="connsiteY905" fmla="*/ 145955 h 410520"/>
                <a:gd name="connsiteX906" fmla="*/ 2417582 w 2663946"/>
                <a:gd name="connsiteY906" fmla="*/ 140548 h 410520"/>
                <a:gd name="connsiteX907" fmla="*/ 2418565 w 2663946"/>
                <a:gd name="connsiteY907" fmla="*/ 137303 h 410520"/>
                <a:gd name="connsiteX908" fmla="*/ 2420777 w 2663946"/>
                <a:gd name="connsiteY908" fmla="*/ 132166 h 410520"/>
                <a:gd name="connsiteX909" fmla="*/ 2422990 w 2663946"/>
                <a:gd name="connsiteY909" fmla="*/ 128381 h 410520"/>
                <a:gd name="connsiteX910" fmla="*/ 2425202 w 2663946"/>
                <a:gd name="connsiteY910" fmla="*/ 125406 h 410520"/>
                <a:gd name="connsiteX911" fmla="*/ 2427414 w 2663946"/>
                <a:gd name="connsiteY911" fmla="*/ 122973 h 410520"/>
                <a:gd name="connsiteX912" fmla="*/ 2432084 w 2663946"/>
                <a:gd name="connsiteY912" fmla="*/ 119188 h 410520"/>
                <a:gd name="connsiteX913" fmla="*/ 2436017 w 2663946"/>
                <a:gd name="connsiteY913" fmla="*/ 117025 h 410520"/>
                <a:gd name="connsiteX914" fmla="*/ 2445604 w 2663946"/>
                <a:gd name="connsiteY914" fmla="*/ 114591 h 410520"/>
                <a:gd name="connsiteX915" fmla="*/ 2202558 w 2663946"/>
                <a:gd name="connsiteY915" fmla="*/ 114591 h 410520"/>
                <a:gd name="connsiteX916" fmla="*/ 2214848 w 2663946"/>
                <a:gd name="connsiteY916" fmla="*/ 116754 h 410520"/>
                <a:gd name="connsiteX917" fmla="*/ 2222222 w 2663946"/>
                <a:gd name="connsiteY917" fmla="*/ 121351 h 410520"/>
                <a:gd name="connsiteX918" fmla="*/ 2225663 w 2663946"/>
                <a:gd name="connsiteY918" fmla="*/ 124595 h 410520"/>
                <a:gd name="connsiteX919" fmla="*/ 2229105 w 2663946"/>
                <a:gd name="connsiteY919" fmla="*/ 128921 h 410520"/>
                <a:gd name="connsiteX920" fmla="*/ 2231071 w 2663946"/>
                <a:gd name="connsiteY920" fmla="*/ 132436 h 410520"/>
                <a:gd name="connsiteX921" fmla="*/ 2233283 w 2663946"/>
                <a:gd name="connsiteY921" fmla="*/ 137844 h 410520"/>
                <a:gd name="connsiteX922" fmla="*/ 2234266 w 2663946"/>
                <a:gd name="connsiteY922" fmla="*/ 141359 h 410520"/>
                <a:gd name="connsiteX923" fmla="*/ 2235250 w 2663946"/>
                <a:gd name="connsiteY923" fmla="*/ 146496 h 410520"/>
                <a:gd name="connsiteX924" fmla="*/ 2235004 w 2663946"/>
                <a:gd name="connsiteY924" fmla="*/ 160826 h 410520"/>
                <a:gd name="connsiteX925" fmla="*/ 2234021 w 2663946"/>
                <a:gd name="connsiteY925" fmla="*/ 165693 h 410520"/>
                <a:gd name="connsiteX926" fmla="*/ 2232791 w 2663946"/>
                <a:gd name="connsiteY926" fmla="*/ 169478 h 410520"/>
                <a:gd name="connsiteX927" fmla="*/ 2231808 w 2663946"/>
                <a:gd name="connsiteY927" fmla="*/ 171912 h 410520"/>
                <a:gd name="connsiteX928" fmla="*/ 2229596 w 2663946"/>
                <a:gd name="connsiteY928" fmla="*/ 176238 h 410520"/>
                <a:gd name="connsiteX929" fmla="*/ 2227384 w 2663946"/>
                <a:gd name="connsiteY929" fmla="*/ 179482 h 410520"/>
                <a:gd name="connsiteX930" fmla="*/ 2223943 w 2663946"/>
                <a:gd name="connsiteY930" fmla="*/ 183268 h 410520"/>
                <a:gd name="connsiteX931" fmla="*/ 2220747 w 2663946"/>
                <a:gd name="connsiteY931" fmla="*/ 185971 h 410520"/>
                <a:gd name="connsiteX932" fmla="*/ 2215094 w 2663946"/>
                <a:gd name="connsiteY932" fmla="*/ 189216 h 410520"/>
                <a:gd name="connsiteX933" fmla="*/ 2207228 w 2663946"/>
                <a:gd name="connsiteY933" fmla="*/ 191379 h 410520"/>
                <a:gd name="connsiteX934" fmla="*/ 2205999 w 2663946"/>
                <a:gd name="connsiteY934" fmla="*/ 191650 h 410520"/>
                <a:gd name="connsiteX935" fmla="*/ 2201820 w 2663946"/>
                <a:gd name="connsiteY935" fmla="*/ 191650 h 410520"/>
                <a:gd name="connsiteX936" fmla="*/ 2201575 w 2663946"/>
                <a:gd name="connsiteY936" fmla="*/ 191650 h 410520"/>
                <a:gd name="connsiteX937" fmla="*/ 2188547 w 2663946"/>
                <a:gd name="connsiteY937" fmla="*/ 186783 h 410520"/>
                <a:gd name="connsiteX938" fmla="*/ 2183877 w 2663946"/>
                <a:gd name="connsiteY938" fmla="*/ 182727 h 410520"/>
                <a:gd name="connsiteX939" fmla="*/ 2180681 w 2663946"/>
                <a:gd name="connsiteY939" fmla="*/ 178942 h 410520"/>
                <a:gd name="connsiteX940" fmla="*/ 2178469 w 2663946"/>
                <a:gd name="connsiteY940" fmla="*/ 175427 h 410520"/>
                <a:gd name="connsiteX941" fmla="*/ 2176257 w 2663946"/>
                <a:gd name="connsiteY941" fmla="*/ 171101 h 410520"/>
                <a:gd name="connsiteX942" fmla="*/ 2175028 w 2663946"/>
                <a:gd name="connsiteY942" fmla="*/ 168126 h 410520"/>
                <a:gd name="connsiteX943" fmla="*/ 2174045 w 2663946"/>
                <a:gd name="connsiteY943" fmla="*/ 164882 h 410520"/>
                <a:gd name="connsiteX944" fmla="*/ 2172815 w 2663946"/>
                <a:gd name="connsiteY944" fmla="*/ 159204 h 410520"/>
                <a:gd name="connsiteX945" fmla="*/ 2172570 w 2663946"/>
                <a:gd name="connsiteY945" fmla="*/ 156230 h 410520"/>
                <a:gd name="connsiteX946" fmla="*/ 2172815 w 2663946"/>
                <a:gd name="connsiteY946" fmla="*/ 156500 h 410520"/>
                <a:gd name="connsiteX947" fmla="*/ 2172815 w 2663946"/>
                <a:gd name="connsiteY947" fmla="*/ 150822 h 410520"/>
                <a:gd name="connsiteX948" fmla="*/ 2172815 w 2663946"/>
                <a:gd name="connsiteY948" fmla="*/ 150552 h 410520"/>
                <a:gd name="connsiteX949" fmla="*/ 2173307 w 2663946"/>
                <a:gd name="connsiteY949" fmla="*/ 145955 h 410520"/>
                <a:gd name="connsiteX950" fmla="*/ 2174536 w 2663946"/>
                <a:gd name="connsiteY950" fmla="*/ 140548 h 410520"/>
                <a:gd name="connsiteX951" fmla="*/ 2175519 w 2663946"/>
                <a:gd name="connsiteY951" fmla="*/ 137303 h 410520"/>
                <a:gd name="connsiteX952" fmla="*/ 2177731 w 2663946"/>
                <a:gd name="connsiteY952" fmla="*/ 132166 h 410520"/>
                <a:gd name="connsiteX953" fmla="*/ 2179944 w 2663946"/>
                <a:gd name="connsiteY953" fmla="*/ 128381 h 410520"/>
                <a:gd name="connsiteX954" fmla="*/ 2182156 w 2663946"/>
                <a:gd name="connsiteY954" fmla="*/ 125406 h 410520"/>
                <a:gd name="connsiteX955" fmla="*/ 2184368 w 2663946"/>
                <a:gd name="connsiteY955" fmla="*/ 122973 h 410520"/>
                <a:gd name="connsiteX956" fmla="*/ 2189038 w 2663946"/>
                <a:gd name="connsiteY956" fmla="*/ 119188 h 410520"/>
                <a:gd name="connsiteX957" fmla="*/ 2192971 w 2663946"/>
                <a:gd name="connsiteY957" fmla="*/ 117025 h 410520"/>
                <a:gd name="connsiteX958" fmla="*/ 2202558 w 2663946"/>
                <a:gd name="connsiteY958" fmla="*/ 114591 h 410520"/>
                <a:gd name="connsiteX959" fmla="*/ 2020607 w 2663946"/>
                <a:gd name="connsiteY959" fmla="*/ 114591 h 410520"/>
                <a:gd name="connsiteX960" fmla="*/ 2032897 w 2663946"/>
                <a:gd name="connsiteY960" fmla="*/ 116754 h 410520"/>
                <a:gd name="connsiteX961" fmla="*/ 2040271 w 2663946"/>
                <a:gd name="connsiteY961" fmla="*/ 121351 h 410520"/>
                <a:gd name="connsiteX962" fmla="*/ 2043712 w 2663946"/>
                <a:gd name="connsiteY962" fmla="*/ 124595 h 410520"/>
                <a:gd name="connsiteX963" fmla="*/ 2047154 w 2663946"/>
                <a:gd name="connsiteY963" fmla="*/ 128921 h 410520"/>
                <a:gd name="connsiteX964" fmla="*/ 2049120 w 2663946"/>
                <a:gd name="connsiteY964" fmla="*/ 132436 h 410520"/>
                <a:gd name="connsiteX965" fmla="*/ 2051332 w 2663946"/>
                <a:gd name="connsiteY965" fmla="*/ 137844 h 410520"/>
                <a:gd name="connsiteX966" fmla="*/ 2052315 w 2663946"/>
                <a:gd name="connsiteY966" fmla="*/ 141359 h 410520"/>
                <a:gd name="connsiteX967" fmla="*/ 2053299 w 2663946"/>
                <a:gd name="connsiteY967" fmla="*/ 146496 h 410520"/>
                <a:gd name="connsiteX968" fmla="*/ 2053053 w 2663946"/>
                <a:gd name="connsiteY968" fmla="*/ 160826 h 410520"/>
                <a:gd name="connsiteX969" fmla="*/ 2052070 w 2663946"/>
                <a:gd name="connsiteY969" fmla="*/ 165693 h 410520"/>
                <a:gd name="connsiteX970" fmla="*/ 2050840 w 2663946"/>
                <a:gd name="connsiteY970" fmla="*/ 169478 h 410520"/>
                <a:gd name="connsiteX971" fmla="*/ 2049857 w 2663946"/>
                <a:gd name="connsiteY971" fmla="*/ 171912 h 410520"/>
                <a:gd name="connsiteX972" fmla="*/ 2047645 w 2663946"/>
                <a:gd name="connsiteY972" fmla="*/ 176238 h 410520"/>
                <a:gd name="connsiteX973" fmla="*/ 2045433 w 2663946"/>
                <a:gd name="connsiteY973" fmla="*/ 179482 h 410520"/>
                <a:gd name="connsiteX974" fmla="*/ 2041992 w 2663946"/>
                <a:gd name="connsiteY974" fmla="*/ 183268 h 410520"/>
                <a:gd name="connsiteX975" fmla="*/ 2038796 w 2663946"/>
                <a:gd name="connsiteY975" fmla="*/ 185971 h 410520"/>
                <a:gd name="connsiteX976" fmla="*/ 2033143 w 2663946"/>
                <a:gd name="connsiteY976" fmla="*/ 189216 h 410520"/>
                <a:gd name="connsiteX977" fmla="*/ 2025277 w 2663946"/>
                <a:gd name="connsiteY977" fmla="*/ 191379 h 410520"/>
                <a:gd name="connsiteX978" fmla="*/ 2024048 w 2663946"/>
                <a:gd name="connsiteY978" fmla="*/ 191650 h 410520"/>
                <a:gd name="connsiteX979" fmla="*/ 2019869 w 2663946"/>
                <a:gd name="connsiteY979" fmla="*/ 191650 h 410520"/>
                <a:gd name="connsiteX980" fmla="*/ 2019624 w 2663946"/>
                <a:gd name="connsiteY980" fmla="*/ 191650 h 410520"/>
                <a:gd name="connsiteX981" fmla="*/ 2006596 w 2663946"/>
                <a:gd name="connsiteY981" fmla="*/ 186783 h 410520"/>
                <a:gd name="connsiteX982" fmla="*/ 2001926 w 2663946"/>
                <a:gd name="connsiteY982" fmla="*/ 182727 h 410520"/>
                <a:gd name="connsiteX983" fmla="*/ 1998730 w 2663946"/>
                <a:gd name="connsiteY983" fmla="*/ 178942 h 410520"/>
                <a:gd name="connsiteX984" fmla="*/ 1996518 w 2663946"/>
                <a:gd name="connsiteY984" fmla="*/ 175427 h 410520"/>
                <a:gd name="connsiteX985" fmla="*/ 1994306 w 2663946"/>
                <a:gd name="connsiteY985" fmla="*/ 171101 h 410520"/>
                <a:gd name="connsiteX986" fmla="*/ 1993077 w 2663946"/>
                <a:gd name="connsiteY986" fmla="*/ 168126 h 410520"/>
                <a:gd name="connsiteX987" fmla="*/ 1992094 w 2663946"/>
                <a:gd name="connsiteY987" fmla="*/ 164882 h 410520"/>
                <a:gd name="connsiteX988" fmla="*/ 1990864 w 2663946"/>
                <a:gd name="connsiteY988" fmla="*/ 159204 h 410520"/>
                <a:gd name="connsiteX989" fmla="*/ 1990619 w 2663946"/>
                <a:gd name="connsiteY989" fmla="*/ 156230 h 410520"/>
                <a:gd name="connsiteX990" fmla="*/ 1990864 w 2663946"/>
                <a:gd name="connsiteY990" fmla="*/ 156500 h 410520"/>
                <a:gd name="connsiteX991" fmla="*/ 1990864 w 2663946"/>
                <a:gd name="connsiteY991" fmla="*/ 150822 h 410520"/>
                <a:gd name="connsiteX992" fmla="*/ 1990864 w 2663946"/>
                <a:gd name="connsiteY992" fmla="*/ 150552 h 410520"/>
                <a:gd name="connsiteX993" fmla="*/ 1991356 w 2663946"/>
                <a:gd name="connsiteY993" fmla="*/ 145955 h 410520"/>
                <a:gd name="connsiteX994" fmla="*/ 1992585 w 2663946"/>
                <a:gd name="connsiteY994" fmla="*/ 140548 h 410520"/>
                <a:gd name="connsiteX995" fmla="*/ 1993568 w 2663946"/>
                <a:gd name="connsiteY995" fmla="*/ 137303 h 410520"/>
                <a:gd name="connsiteX996" fmla="*/ 1995780 w 2663946"/>
                <a:gd name="connsiteY996" fmla="*/ 132166 h 410520"/>
                <a:gd name="connsiteX997" fmla="*/ 1997993 w 2663946"/>
                <a:gd name="connsiteY997" fmla="*/ 128381 h 410520"/>
                <a:gd name="connsiteX998" fmla="*/ 2000205 w 2663946"/>
                <a:gd name="connsiteY998" fmla="*/ 125406 h 410520"/>
                <a:gd name="connsiteX999" fmla="*/ 2002417 w 2663946"/>
                <a:gd name="connsiteY999" fmla="*/ 122973 h 410520"/>
                <a:gd name="connsiteX1000" fmla="*/ 2007087 w 2663946"/>
                <a:gd name="connsiteY1000" fmla="*/ 119188 h 410520"/>
                <a:gd name="connsiteX1001" fmla="*/ 2011020 w 2663946"/>
                <a:gd name="connsiteY1001" fmla="*/ 117025 h 410520"/>
                <a:gd name="connsiteX1002" fmla="*/ 2020607 w 2663946"/>
                <a:gd name="connsiteY1002" fmla="*/ 114591 h 410520"/>
                <a:gd name="connsiteX1003" fmla="*/ 1595683 w 2663946"/>
                <a:gd name="connsiteY1003" fmla="*/ 114591 h 410520"/>
                <a:gd name="connsiteX1004" fmla="*/ 1607973 w 2663946"/>
                <a:gd name="connsiteY1004" fmla="*/ 116754 h 410520"/>
                <a:gd name="connsiteX1005" fmla="*/ 1615347 w 2663946"/>
                <a:gd name="connsiteY1005" fmla="*/ 121351 h 410520"/>
                <a:gd name="connsiteX1006" fmla="*/ 1618788 w 2663946"/>
                <a:gd name="connsiteY1006" fmla="*/ 124595 h 410520"/>
                <a:gd name="connsiteX1007" fmla="*/ 1622230 w 2663946"/>
                <a:gd name="connsiteY1007" fmla="*/ 128921 h 410520"/>
                <a:gd name="connsiteX1008" fmla="*/ 1624196 w 2663946"/>
                <a:gd name="connsiteY1008" fmla="*/ 132436 h 410520"/>
                <a:gd name="connsiteX1009" fmla="*/ 1626408 w 2663946"/>
                <a:gd name="connsiteY1009" fmla="*/ 137844 h 410520"/>
                <a:gd name="connsiteX1010" fmla="*/ 1627391 w 2663946"/>
                <a:gd name="connsiteY1010" fmla="*/ 141359 h 410520"/>
                <a:gd name="connsiteX1011" fmla="*/ 1628374 w 2663946"/>
                <a:gd name="connsiteY1011" fmla="*/ 146496 h 410520"/>
                <a:gd name="connsiteX1012" fmla="*/ 1628129 w 2663946"/>
                <a:gd name="connsiteY1012" fmla="*/ 160826 h 410520"/>
                <a:gd name="connsiteX1013" fmla="*/ 1627146 w 2663946"/>
                <a:gd name="connsiteY1013" fmla="*/ 165693 h 410520"/>
                <a:gd name="connsiteX1014" fmla="*/ 1625916 w 2663946"/>
                <a:gd name="connsiteY1014" fmla="*/ 169478 h 410520"/>
                <a:gd name="connsiteX1015" fmla="*/ 1624933 w 2663946"/>
                <a:gd name="connsiteY1015" fmla="*/ 171912 h 410520"/>
                <a:gd name="connsiteX1016" fmla="*/ 1622721 w 2663946"/>
                <a:gd name="connsiteY1016" fmla="*/ 176238 h 410520"/>
                <a:gd name="connsiteX1017" fmla="*/ 1620509 w 2663946"/>
                <a:gd name="connsiteY1017" fmla="*/ 179482 h 410520"/>
                <a:gd name="connsiteX1018" fmla="*/ 1617068 w 2663946"/>
                <a:gd name="connsiteY1018" fmla="*/ 183268 h 410520"/>
                <a:gd name="connsiteX1019" fmla="*/ 1613872 w 2663946"/>
                <a:gd name="connsiteY1019" fmla="*/ 185971 h 410520"/>
                <a:gd name="connsiteX1020" fmla="*/ 1608219 w 2663946"/>
                <a:gd name="connsiteY1020" fmla="*/ 189216 h 410520"/>
                <a:gd name="connsiteX1021" fmla="*/ 1600353 w 2663946"/>
                <a:gd name="connsiteY1021" fmla="*/ 191379 h 410520"/>
                <a:gd name="connsiteX1022" fmla="*/ 1599124 w 2663946"/>
                <a:gd name="connsiteY1022" fmla="*/ 191650 h 410520"/>
                <a:gd name="connsiteX1023" fmla="*/ 1594945 w 2663946"/>
                <a:gd name="connsiteY1023" fmla="*/ 191650 h 410520"/>
                <a:gd name="connsiteX1024" fmla="*/ 1594699 w 2663946"/>
                <a:gd name="connsiteY1024" fmla="*/ 191650 h 410520"/>
                <a:gd name="connsiteX1025" fmla="*/ 1581672 w 2663946"/>
                <a:gd name="connsiteY1025" fmla="*/ 186783 h 410520"/>
                <a:gd name="connsiteX1026" fmla="*/ 1577002 w 2663946"/>
                <a:gd name="connsiteY1026" fmla="*/ 182727 h 410520"/>
                <a:gd name="connsiteX1027" fmla="*/ 1573806 w 2663946"/>
                <a:gd name="connsiteY1027" fmla="*/ 178942 h 410520"/>
                <a:gd name="connsiteX1028" fmla="*/ 1571594 w 2663946"/>
                <a:gd name="connsiteY1028" fmla="*/ 175427 h 410520"/>
                <a:gd name="connsiteX1029" fmla="*/ 1569382 w 2663946"/>
                <a:gd name="connsiteY1029" fmla="*/ 171101 h 410520"/>
                <a:gd name="connsiteX1030" fmla="*/ 1568153 w 2663946"/>
                <a:gd name="connsiteY1030" fmla="*/ 168126 h 410520"/>
                <a:gd name="connsiteX1031" fmla="*/ 1567169 w 2663946"/>
                <a:gd name="connsiteY1031" fmla="*/ 164882 h 410520"/>
                <a:gd name="connsiteX1032" fmla="*/ 1565940 w 2663946"/>
                <a:gd name="connsiteY1032" fmla="*/ 159204 h 410520"/>
                <a:gd name="connsiteX1033" fmla="*/ 1565695 w 2663946"/>
                <a:gd name="connsiteY1033" fmla="*/ 156230 h 410520"/>
                <a:gd name="connsiteX1034" fmla="*/ 1565940 w 2663946"/>
                <a:gd name="connsiteY1034" fmla="*/ 156500 h 410520"/>
                <a:gd name="connsiteX1035" fmla="*/ 1565940 w 2663946"/>
                <a:gd name="connsiteY1035" fmla="*/ 150822 h 410520"/>
                <a:gd name="connsiteX1036" fmla="*/ 1565940 w 2663946"/>
                <a:gd name="connsiteY1036" fmla="*/ 150552 h 410520"/>
                <a:gd name="connsiteX1037" fmla="*/ 1566432 w 2663946"/>
                <a:gd name="connsiteY1037" fmla="*/ 145955 h 410520"/>
                <a:gd name="connsiteX1038" fmla="*/ 1567661 w 2663946"/>
                <a:gd name="connsiteY1038" fmla="*/ 140548 h 410520"/>
                <a:gd name="connsiteX1039" fmla="*/ 1568644 w 2663946"/>
                <a:gd name="connsiteY1039" fmla="*/ 137303 h 410520"/>
                <a:gd name="connsiteX1040" fmla="*/ 1570856 w 2663946"/>
                <a:gd name="connsiteY1040" fmla="*/ 132166 h 410520"/>
                <a:gd name="connsiteX1041" fmla="*/ 1573069 w 2663946"/>
                <a:gd name="connsiteY1041" fmla="*/ 128381 h 410520"/>
                <a:gd name="connsiteX1042" fmla="*/ 1575281 w 2663946"/>
                <a:gd name="connsiteY1042" fmla="*/ 125406 h 410520"/>
                <a:gd name="connsiteX1043" fmla="*/ 1577493 w 2663946"/>
                <a:gd name="connsiteY1043" fmla="*/ 122973 h 410520"/>
                <a:gd name="connsiteX1044" fmla="*/ 1582163 w 2663946"/>
                <a:gd name="connsiteY1044" fmla="*/ 119188 h 410520"/>
                <a:gd name="connsiteX1045" fmla="*/ 1586096 w 2663946"/>
                <a:gd name="connsiteY1045" fmla="*/ 117025 h 410520"/>
                <a:gd name="connsiteX1046" fmla="*/ 1595683 w 2663946"/>
                <a:gd name="connsiteY1046" fmla="*/ 114591 h 410520"/>
                <a:gd name="connsiteX1047" fmla="*/ 1246776 w 2663946"/>
                <a:gd name="connsiteY1047" fmla="*/ 114591 h 410520"/>
                <a:gd name="connsiteX1048" fmla="*/ 1259066 w 2663946"/>
                <a:gd name="connsiteY1048" fmla="*/ 116754 h 410520"/>
                <a:gd name="connsiteX1049" fmla="*/ 1266440 w 2663946"/>
                <a:gd name="connsiteY1049" fmla="*/ 121351 h 410520"/>
                <a:gd name="connsiteX1050" fmla="*/ 1269881 w 2663946"/>
                <a:gd name="connsiteY1050" fmla="*/ 124595 h 410520"/>
                <a:gd name="connsiteX1051" fmla="*/ 1273323 w 2663946"/>
                <a:gd name="connsiteY1051" fmla="*/ 128921 h 410520"/>
                <a:gd name="connsiteX1052" fmla="*/ 1275289 w 2663946"/>
                <a:gd name="connsiteY1052" fmla="*/ 132436 h 410520"/>
                <a:gd name="connsiteX1053" fmla="*/ 1277501 w 2663946"/>
                <a:gd name="connsiteY1053" fmla="*/ 137844 h 410520"/>
                <a:gd name="connsiteX1054" fmla="*/ 1278484 w 2663946"/>
                <a:gd name="connsiteY1054" fmla="*/ 141359 h 410520"/>
                <a:gd name="connsiteX1055" fmla="*/ 1279467 w 2663946"/>
                <a:gd name="connsiteY1055" fmla="*/ 146496 h 410520"/>
                <a:gd name="connsiteX1056" fmla="*/ 1279222 w 2663946"/>
                <a:gd name="connsiteY1056" fmla="*/ 160826 h 410520"/>
                <a:gd name="connsiteX1057" fmla="*/ 1278239 w 2663946"/>
                <a:gd name="connsiteY1057" fmla="*/ 165693 h 410520"/>
                <a:gd name="connsiteX1058" fmla="*/ 1277009 w 2663946"/>
                <a:gd name="connsiteY1058" fmla="*/ 169478 h 410520"/>
                <a:gd name="connsiteX1059" fmla="*/ 1276026 w 2663946"/>
                <a:gd name="connsiteY1059" fmla="*/ 171912 h 410520"/>
                <a:gd name="connsiteX1060" fmla="*/ 1273814 w 2663946"/>
                <a:gd name="connsiteY1060" fmla="*/ 176238 h 410520"/>
                <a:gd name="connsiteX1061" fmla="*/ 1271602 w 2663946"/>
                <a:gd name="connsiteY1061" fmla="*/ 179482 h 410520"/>
                <a:gd name="connsiteX1062" fmla="*/ 1268161 w 2663946"/>
                <a:gd name="connsiteY1062" fmla="*/ 183268 h 410520"/>
                <a:gd name="connsiteX1063" fmla="*/ 1264965 w 2663946"/>
                <a:gd name="connsiteY1063" fmla="*/ 185971 h 410520"/>
                <a:gd name="connsiteX1064" fmla="*/ 1259312 w 2663946"/>
                <a:gd name="connsiteY1064" fmla="*/ 189216 h 410520"/>
                <a:gd name="connsiteX1065" fmla="*/ 1251446 w 2663946"/>
                <a:gd name="connsiteY1065" fmla="*/ 191379 h 410520"/>
                <a:gd name="connsiteX1066" fmla="*/ 1250217 w 2663946"/>
                <a:gd name="connsiteY1066" fmla="*/ 191650 h 410520"/>
                <a:gd name="connsiteX1067" fmla="*/ 1246038 w 2663946"/>
                <a:gd name="connsiteY1067" fmla="*/ 191650 h 410520"/>
                <a:gd name="connsiteX1068" fmla="*/ 1245792 w 2663946"/>
                <a:gd name="connsiteY1068" fmla="*/ 191650 h 410520"/>
                <a:gd name="connsiteX1069" fmla="*/ 1232765 w 2663946"/>
                <a:gd name="connsiteY1069" fmla="*/ 186783 h 410520"/>
                <a:gd name="connsiteX1070" fmla="*/ 1228095 w 2663946"/>
                <a:gd name="connsiteY1070" fmla="*/ 182727 h 410520"/>
                <a:gd name="connsiteX1071" fmla="*/ 1224899 w 2663946"/>
                <a:gd name="connsiteY1071" fmla="*/ 178942 h 410520"/>
                <a:gd name="connsiteX1072" fmla="*/ 1222687 w 2663946"/>
                <a:gd name="connsiteY1072" fmla="*/ 175427 h 410520"/>
                <a:gd name="connsiteX1073" fmla="*/ 1220475 w 2663946"/>
                <a:gd name="connsiteY1073" fmla="*/ 171101 h 410520"/>
                <a:gd name="connsiteX1074" fmla="*/ 1219246 w 2663946"/>
                <a:gd name="connsiteY1074" fmla="*/ 168126 h 410520"/>
                <a:gd name="connsiteX1075" fmla="*/ 1218262 w 2663946"/>
                <a:gd name="connsiteY1075" fmla="*/ 164882 h 410520"/>
                <a:gd name="connsiteX1076" fmla="*/ 1217033 w 2663946"/>
                <a:gd name="connsiteY1076" fmla="*/ 159204 h 410520"/>
                <a:gd name="connsiteX1077" fmla="*/ 1216788 w 2663946"/>
                <a:gd name="connsiteY1077" fmla="*/ 156230 h 410520"/>
                <a:gd name="connsiteX1078" fmla="*/ 1217033 w 2663946"/>
                <a:gd name="connsiteY1078" fmla="*/ 156500 h 410520"/>
                <a:gd name="connsiteX1079" fmla="*/ 1217033 w 2663946"/>
                <a:gd name="connsiteY1079" fmla="*/ 150822 h 410520"/>
                <a:gd name="connsiteX1080" fmla="*/ 1217033 w 2663946"/>
                <a:gd name="connsiteY1080" fmla="*/ 150552 h 410520"/>
                <a:gd name="connsiteX1081" fmla="*/ 1217525 w 2663946"/>
                <a:gd name="connsiteY1081" fmla="*/ 145955 h 410520"/>
                <a:gd name="connsiteX1082" fmla="*/ 1218754 w 2663946"/>
                <a:gd name="connsiteY1082" fmla="*/ 140548 h 410520"/>
                <a:gd name="connsiteX1083" fmla="*/ 1219737 w 2663946"/>
                <a:gd name="connsiteY1083" fmla="*/ 137303 h 410520"/>
                <a:gd name="connsiteX1084" fmla="*/ 1221949 w 2663946"/>
                <a:gd name="connsiteY1084" fmla="*/ 132166 h 410520"/>
                <a:gd name="connsiteX1085" fmla="*/ 1224162 w 2663946"/>
                <a:gd name="connsiteY1085" fmla="*/ 128381 h 410520"/>
                <a:gd name="connsiteX1086" fmla="*/ 1226374 w 2663946"/>
                <a:gd name="connsiteY1086" fmla="*/ 125406 h 410520"/>
                <a:gd name="connsiteX1087" fmla="*/ 1228586 w 2663946"/>
                <a:gd name="connsiteY1087" fmla="*/ 122973 h 410520"/>
                <a:gd name="connsiteX1088" fmla="*/ 1233256 w 2663946"/>
                <a:gd name="connsiteY1088" fmla="*/ 119188 h 410520"/>
                <a:gd name="connsiteX1089" fmla="*/ 1237189 w 2663946"/>
                <a:gd name="connsiteY1089" fmla="*/ 117025 h 410520"/>
                <a:gd name="connsiteX1090" fmla="*/ 1246776 w 2663946"/>
                <a:gd name="connsiteY1090" fmla="*/ 114591 h 410520"/>
                <a:gd name="connsiteX1091" fmla="*/ 1064825 w 2663946"/>
                <a:gd name="connsiteY1091" fmla="*/ 114591 h 410520"/>
                <a:gd name="connsiteX1092" fmla="*/ 1077115 w 2663946"/>
                <a:gd name="connsiteY1092" fmla="*/ 116754 h 410520"/>
                <a:gd name="connsiteX1093" fmla="*/ 1084489 w 2663946"/>
                <a:gd name="connsiteY1093" fmla="*/ 121351 h 410520"/>
                <a:gd name="connsiteX1094" fmla="*/ 1087930 w 2663946"/>
                <a:gd name="connsiteY1094" fmla="*/ 124595 h 410520"/>
                <a:gd name="connsiteX1095" fmla="*/ 1091372 w 2663946"/>
                <a:gd name="connsiteY1095" fmla="*/ 128921 h 410520"/>
                <a:gd name="connsiteX1096" fmla="*/ 1093338 w 2663946"/>
                <a:gd name="connsiteY1096" fmla="*/ 132436 h 410520"/>
                <a:gd name="connsiteX1097" fmla="*/ 1095550 w 2663946"/>
                <a:gd name="connsiteY1097" fmla="*/ 137844 h 410520"/>
                <a:gd name="connsiteX1098" fmla="*/ 1096533 w 2663946"/>
                <a:gd name="connsiteY1098" fmla="*/ 141359 h 410520"/>
                <a:gd name="connsiteX1099" fmla="*/ 1097516 w 2663946"/>
                <a:gd name="connsiteY1099" fmla="*/ 146496 h 410520"/>
                <a:gd name="connsiteX1100" fmla="*/ 1097271 w 2663946"/>
                <a:gd name="connsiteY1100" fmla="*/ 160826 h 410520"/>
                <a:gd name="connsiteX1101" fmla="*/ 1096288 w 2663946"/>
                <a:gd name="connsiteY1101" fmla="*/ 165693 h 410520"/>
                <a:gd name="connsiteX1102" fmla="*/ 1095058 w 2663946"/>
                <a:gd name="connsiteY1102" fmla="*/ 169478 h 410520"/>
                <a:gd name="connsiteX1103" fmla="*/ 1094075 w 2663946"/>
                <a:gd name="connsiteY1103" fmla="*/ 171912 h 410520"/>
                <a:gd name="connsiteX1104" fmla="*/ 1091863 w 2663946"/>
                <a:gd name="connsiteY1104" fmla="*/ 176238 h 410520"/>
                <a:gd name="connsiteX1105" fmla="*/ 1089651 w 2663946"/>
                <a:gd name="connsiteY1105" fmla="*/ 179482 h 410520"/>
                <a:gd name="connsiteX1106" fmla="*/ 1086210 w 2663946"/>
                <a:gd name="connsiteY1106" fmla="*/ 183268 h 410520"/>
                <a:gd name="connsiteX1107" fmla="*/ 1083014 w 2663946"/>
                <a:gd name="connsiteY1107" fmla="*/ 185971 h 410520"/>
                <a:gd name="connsiteX1108" fmla="*/ 1077361 w 2663946"/>
                <a:gd name="connsiteY1108" fmla="*/ 189216 h 410520"/>
                <a:gd name="connsiteX1109" fmla="*/ 1069495 w 2663946"/>
                <a:gd name="connsiteY1109" fmla="*/ 191379 h 410520"/>
                <a:gd name="connsiteX1110" fmla="*/ 1068266 w 2663946"/>
                <a:gd name="connsiteY1110" fmla="*/ 191650 h 410520"/>
                <a:gd name="connsiteX1111" fmla="*/ 1064087 w 2663946"/>
                <a:gd name="connsiteY1111" fmla="*/ 191650 h 410520"/>
                <a:gd name="connsiteX1112" fmla="*/ 1063841 w 2663946"/>
                <a:gd name="connsiteY1112" fmla="*/ 191650 h 410520"/>
                <a:gd name="connsiteX1113" fmla="*/ 1050814 w 2663946"/>
                <a:gd name="connsiteY1113" fmla="*/ 186783 h 410520"/>
                <a:gd name="connsiteX1114" fmla="*/ 1046144 w 2663946"/>
                <a:gd name="connsiteY1114" fmla="*/ 182727 h 410520"/>
                <a:gd name="connsiteX1115" fmla="*/ 1042948 w 2663946"/>
                <a:gd name="connsiteY1115" fmla="*/ 178942 h 410520"/>
                <a:gd name="connsiteX1116" fmla="*/ 1040736 w 2663946"/>
                <a:gd name="connsiteY1116" fmla="*/ 175427 h 410520"/>
                <a:gd name="connsiteX1117" fmla="*/ 1038524 w 2663946"/>
                <a:gd name="connsiteY1117" fmla="*/ 171101 h 410520"/>
                <a:gd name="connsiteX1118" fmla="*/ 1037295 w 2663946"/>
                <a:gd name="connsiteY1118" fmla="*/ 168126 h 410520"/>
                <a:gd name="connsiteX1119" fmla="*/ 1036311 w 2663946"/>
                <a:gd name="connsiteY1119" fmla="*/ 164882 h 410520"/>
                <a:gd name="connsiteX1120" fmla="*/ 1035082 w 2663946"/>
                <a:gd name="connsiteY1120" fmla="*/ 159204 h 410520"/>
                <a:gd name="connsiteX1121" fmla="*/ 1034837 w 2663946"/>
                <a:gd name="connsiteY1121" fmla="*/ 156230 h 410520"/>
                <a:gd name="connsiteX1122" fmla="*/ 1035082 w 2663946"/>
                <a:gd name="connsiteY1122" fmla="*/ 156500 h 410520"/>
                <a:gd name="connsiteX1123" fmla="*/ 1035082 w 2663946"/>
                <a:gd name="connsiteY1123" fmla="*/ 150822 h 410520"/>
                <a:gd name="connsiteX1124" fmla="*/ 1035082 w 2663946"/>
                <a:gd name="connsiteY1124" fmla="*/ 150552 h 410520"/>
                <a:gd name="connsiteX1125" fmla="*/ 1035574 w 2663946"/>
                <a:gd name="connsiteY1125" fmla="*/ 145955 h 410520"/>
                <a:gd name="connsiteX1126" fmla="*/ 1036803 w 2663946"/>
                <a:gd name="connsiteY1126" fmla="*/ 140548 h 410520"/>
                <a:gd name="connsiteX1127" fmla="*/ 1037786 w 2663946"/>
                <a:gd name="connsiteY1127" fmla="*/ 137303 h 410520"/>
                <a:gd name="connsiteX1128" fmla="*/ 1039998 w 2663946"/>
                <a:gd name="connsiteY1128" fmla="*/ 132166 h 410520"/>
                <a:gd name="connsiteX1129" fmla="*/ 1042211 w 2663946"/>
                <a:gd name="connsiteY1129" fmla="*/ 128381 h 410520"/>
                <a:gd name="connsiteX1130" fmla="*/ 1044423 w 2663946"/>
                <a:gd name="connsiteY1130" fmla="*/ 125406 h 410520"/>
                <a:gd name="connsiteX1131" fmla="*/ 1046635 w 2663946"/>
                <a:gd name="connsiteY1131" fmla="*/ 122973 h 410520"/>
                <a:gd name="connsiteX1132" fmla="*/ 1051305 w 2663946"/>
                <a:gd name="connsiteY1132" fmla="*/ 119188 h 410520"/>
                <a:gd name="connsiteX1133" fmla="*/ 1055238 w 2663946"/>
                <a:gd name="connsiteY1133" fmla="*/ 117025 h 410520"/>
                <a:gd name="connsiteX1134" fmla="*/ 1064825 w 2663946"/>
                <a:gd name="connsiteY1134" fmla="*/ 114591 h 410520"/>
                <a:gd name="connsiteX1135" fmla="*/ 897796 w 2663946"/>
                <a:gd name="connsiteY1135" fmla="*/ 114591 h 410520"/>
                <a:gd name="connsiteX1136" fmla="*/ 910086 w 2663946"/>
                <a:gd name="connsiteY1136" fmla="*/ 116754 h 410520"/>
                <a:gd name="connsiteX1137" fmla="*/ 917460 w 2663946"/>
                <a:gd name="connsiteY1137" fmla="*/ 121351 h 410520"/>
                <a:gd name="connsiteX1138" fmla="*/ 920901 w 2663946"/>
                <a:gd name="connsiteY1138" fmla="*/ 124595 h 410520"/>
                <a:gd name="connsiteX1139" fmla="*/ 924343 w 2663946"/>
                <a:gd name="connsiteY1139" fmla="*/ 128921 h 410520"/>
                <a:gd name="connsiteX1140" fmla="*/ 926309 w 2663946"/>
                <a:gd name="connsiteY1140" fmla="*/ 132436 h 410520"/>
                <a:gd name="connsiteX1141" fmla="*/ 928521 w 2663946"/>
                <a:gd name="connsiteY1141" fmla="*/ 137844 h 410520"/>
                <a:gd name="connsiteX1142" fmla="*/ 929504 w 2663946"/>
                <a:gd name="connsiteY1142" fmla="*/ 141359 h 410520"/>
                <a:gd name="connsiteX1143" fmla="*/ 930487 w 2663946"/>
                <a:gd name="connsiteY1143" fmla="*/ 146496 h 410520"/>
                <a:gd name="connsiteX1144" fmla="*/ 930242 w 2663946"/>
                <a:gd name="connsiteY1144" fmla="*/ 160826 h 410520"/>
                <a:gd name="connsiteX1145" fmla="*/ 929259 w 2663946"/>
                <a:gd name="connsiteY1145" fmla="*/ 165693 h 410520"/>
                <a:gd name="connsiteX1146" fmla="*/ 928029 w 2663946"/>
                <a:gd name="connsiteY1146" fmla="*/ 169478 h 410520"/>
                <a:gd name="connsiteX1147" fmla="*/ 927046 w 2663946"/>
                <a:gd name="connsiteY1147" fmla="*/ 171912 h 410520"/>
                <a:gd name="connsiteX1148" fmla="*/ 924834 w 2663946"/>
                <a:gd name="connsiteY1148" fmla="*/ 176238 h 410520"/>
                <a:gd name="connsiteX1149" fmla="*/ 922622 w 2663946"/>
                <a:gd name="connsiteY1149" fmla="*/ 179482 h 410520"/>
                <a:gd name="connsiteX1150" fmla="*/ 919181 w 2663946"/>
                <a:gd name="connsiteY1150" fmla="*/ 183268 h 410520"/>
                <a:gd name="connsiteX1151" fmla="*/ 915985 w 2663946"/>
                <a:gd name="connsiteY1151" fmla="*/ 185971 h 410520"/>
                <a:gd name="connsiteX1152" fmla="*/ 910332 w 2663946"/>
                <a:gd name="connsiteY1152" fmla="*/ 189216 h 410520"/>
                <a:gd name="connsiteX1153" fmla="*/ 902466 w 2663946"/>
                <a:gd name="connsiteY1153" fmla="*/ 191379 h 410520"/>
                <a:gd name="connsiteX1154" fmla="*/ 901237 w 2663946"/>
                <a:gd name="connsiteY1154" fmla="*/ 191650 h 410520"/>
                <a:gd name="connsiteX1155" fmla="*/ 897058 w 2663946"/>
                <a:gd name="connsiteY1155" fmla="*/ 191650 h 410520"/>
                <a:gd name="connsiteX1156" fmla="*/ 896812 w 2663946"/>
                <a:gd name="connsiteY1156" fmla="*/ 191650 h 410520"/>
                <a:gd name="connsiteX1157" fmla="*/ 883785 w 2663946"/>
                <a:gd name="connsiteY1157" fmla="*/ 186783 h 410520"/>
                <a:gd name="connsiteX1158" fmla="*/ 879115 w 2663946"/>
                <a:gd name="connsiteY1158" fmla="*/ 182727 h 410520"/>
                <a:gd name="connsiteX1159" fmla="*/ 875919 w 2663946"/>
                <a:gd name="connsiteY1159" fmla="*/ 178942 h 410520"/>
                <a:gd name="connsiteX1160" fmla="*/ 873707 w 2663946"/>
                <a:gd name="connsiteY1160" fmla="*/ 175427 h 410520"/>
                <a:gd name="connsiteX1161" fmla="*/ 871495 w 2663946"/>
                <a:gd name="connsiteY1161" fmla="*/ 171101 h 410520"/>
                <a:gd name="connsiteX1162" fmla="*/ 870266 w 2663946"/>
                <a:gd name="connsiteY1162" fmla="*/ 168126 h 410520"/>
                <a:gd name="connsiteX1163" fmla="*/ 869282 w 2663946"/>
                <a:gd name="connsiteY1163" fmla="*/ 164882 h 410520"/>
                <a:gd name="connsiteX1164" fmla="*/ 868053 w 2663946"/>
                <a:gd name="connsiteY1164" fmla="*/ 159204 h 410520"/>
                <a:gd name="connsiteX1165" fmla="*/ 867808 w 2663946"/>
                <a:gd name="connsiteY1165" fmla="*/ 156230 h 410520"/>
                <a:gd name="connsiteX1166" fmla="*/ 868053 w 2663946"/>
                <a:gd name="connsiteY1166" fmla="*/ 156500 h 410520"/>
                <a:gd name="connsiteX1167" fmla="*/ 868053 w 2663946"/>
                <a:gd name="connsiteY1167" fmla="*/ 150822 h 410520"/>
                <a:gd name="connsiteX1168" fmla="*/ 868053 w 2663946"/>
                <a:gd name="connsiteY1168" fmla="*/ 150552 h 410520"/>
                <a:gd name="connsiteX1169" fmla="*/ 868545 w 2663946"/>
                <a:gd name="connsiteY1169" fmla="*/ 145955 h 410520"/>
                <a:gd name="connsiteX1170" fmla="*/ 869774 w 2663946"/>
                <a:gd name="connsiteY1170" fmla="*/ 140548 h 410520"/>
                <a:gd name="connsiteX1171" fmla="*/ 870757 w 2663946"/>
                <a:gd name="connsiteY1171" fmla="*/ 137303 h 410520"/>
                <a:gd name="connsiteX1172" fmla="*/ 872969 w 2663946"/>
                <a:gd name="connsiteY1172" fmla="*/ 132166 h 410520"/>
                <a:gd name="connsiteX1173" fmla="*/ 875182 w 2663946"/>
                <a:gd name="connsiteY1173" fmla="*/ 128381 h 410520"/>
                <a:gd name="connsiteX1174" fmla="*/ 877394 w 2663946"/>
                <a:gd name="connsiteY1174" fmla="*/ 125406 h 410520"/>
                <a:gd name="connsiteX1175" fmla="*/ 879606 w 2663946"/>
                <a:gd name="connsiteY1175" fmla="*/ 122973 h 410520"/>
                <a:gd name="connsiteX1176" fmla="*/ 884276 w 2663946"/>
                <a:gd name="connsiteY1176" fmla="*/ 119188 h 410520"/>
                <a:gd name="connsiteX1177" fmla="*/ 888209 w 2663946"/>
                <a:gd name="connsiteY1177" fmla="*/ 117025 h 410520"/>
                <a:gd name="connsiteX1178" fmla="*/ 897796 w 2663946"/>
                <a:gd name="connsiteY1178" fmla="*/ 114591 h 410520"/>
                <a:gd name="connsiteX1179" fmla="*/ 548889 w 2663946"/>
                <a:gd name="connsiteY1179" fmla="*/ 114591 h 410520"/>
                <a:gd name="connsiteX1180" fmla="*/ 561180 w 2663946"/>
                <a:gd name="connsiteY1180" fmla="*/ 116754 h 410520"/>
                <a:gd name="connsiteX1181" fmla="*/ 568554 w 2663946"/>
                <a:gd name="connsiteY1181" fmla="*/ 121351 h 410520"/>
                <a:gd name="connsiteX1182" fmla="*/ 571995 w 2663946"/>
                <a:gd name="connsiteY1182" fmla="*/ 124595 h 410520"/>
                <a:gd name="connsiteX1183" fmla="*/ 575436 w 2663946"/>
                <a:gd name="connsiteY1183" fmla="*/ 128921 h 410520"/>
                <a:gd name="connsiteX1184" fmla="*/ 577403 w 2663946"/>
                <a:gd name="connsiteY1184" fmla="*/ 132436 h 410520"/>
                <a:gd name="connsiteX1185" fmla="*/ 579615 w 2663946"/>
                <a:gd name="connsiteY1185" fmla="*/ 137844 h 410520"/>
                <a:gd name="connsiteX1186" fmla="*/ 580598 w 2663946"/>
                <a:gd name="connsiteY1186" fmla="*/ 141359 h 410520"/>
                <a:gd name="connsiteX1187" fmla="*/ 581581 w 2663946"/>
                <a:gd name="connsiteY1187" fmla="*/ 146496 h 410520"/>
                <a:gd name="connsiteX1188" fmla="*/ 581336 w 2663946"/>
                <a:gd name="connsiteY1188" fmla="*/ 160826 h 410520"/>
                <a:gd name="connsiteX1189" fmla="*/ 580352 w 2663946"/>
                <a:gd name="connsiteY1189" fmla="*/ 165693 h 410520"/>
                <a:gd name="connsiteX1190" fmla="*/ 579123 w 2663946"/>
                <a:gd name="connsiteY1190" fmla="*/ 169478 h 410520"/>
                <a:gd name="connsiteX1191" fmla="*/ 578140 w 2663946"/>
                <a:gd name="connsiteY1191" fmla="*/ 171912 h 410520"/>
                <a:gd name="connsiteX1192" fmla="*/ 575928 w 2663946"/>
                <a:gd name="connsiteY1192" fmla="*/ 176238 h 410520"/>
                <a:gd name="connsiteX1193" fmla="*/ 573715 w 2663946"/>
                <a:gd name="connsiteY1193" fmla="*/ 179482 h 410520"/>
                <a:gd name="connsiteX1194" fmla="*/ 570274 w 2663946"/>
                <a:gd name="connsiteY1194" fmla="*/ 183268 h 410520"/>
                <a:gd name="connsiteX1195" fmla="*/ 567079 w 2663946"/>
                <a:gd name="connsiteY1195" fmla="*/ 185971 h 410520"/>
                <a:gd name="connsiteX1196" fmla="*/ 561425 w 2663946"/>
                <a:gd name="connsiteY1196" fmla="*/ 189216 h 410520"/>
                <a:gd name="connsiteX1197" fmla="*/ 553559 w 2663946"/>
                <a:gd name="connsiteY1197" fmla="*/ 191379 h 410520"/>
                <a:gd name="connsiteX1198" fmla="*/ 552331 w 2663946"/>
                <a:gd name="connsiteY1198" fmla="*/ 191650 h 410520"/>
                <a:gd name="connsiteX1199" fmla="*/ 548152 w 2663946"/>
                <a:gd name="connsiteY1199" fmla="*/ 191650 h 410520"/>
                <a:gd name="connsiteX1200" fmla="*/ 547906 w 2663946"/>
                <a:gd name="connsiteY1200" fmla="*/ 191650 h 410520"/>
                <a:gd name="connsiteX1201" fmla="*/ 534879 w 2663946"/>
                <a:gd name="connsiteY1201" fmla="*/ 186783 h 410520"/>
                <a:gd name="connsiteX1202" fmla="*/ 530208 w 2663946"/>
                <a:gd name="connsiteY1202" fmla="*/ 182727 h 410520"/>
                <a:gd name="connsiteX1203" fmla="*/ 527013 w 2663946"/>
                <a:gd name="connsiteY1203" fmla="*/ 178942 h 410520"/>
                <a:gd name="connsiteX1204" fmla="*/ 524801 w 2663946"/>
                <a:gd name="connsiteY1204" fmla="*/ 175427 h 410520"/>
                <a:gd name="connsiteX1205" fmla="*/ 522588 w 2663946"/>
                <a:gd name="connsiteY1205" fmla="*/ 171101 h 410520"/>
                <a:gd name="connsiteX1206" fmla="*/ 521359 w 2663946"/>
                <a:gd name="connsiteY1206" fmla="*/ 168126 h 410520"/>
                <a:gd name="connsiteX1207" fmla="*/ 520376 w 2663946"/>
                <a:gd name="connsiteY1207" fmla="*/ 164882 h 410520"/>
                <a:gd name="connsiteX1208" fmla="*/ 519147 w 2663946"/>
                <a:gd name="connsiteY1208" fmla="*/ 159204 h 410520"/>
                <a:gd name="connsiteX1209" fmla="*/ 518901 w 2663946"/>
                <a:gd name="connsiteY1209" fmla="*/ 156230 h 410520"/>
                <a:gd name="connsiteX1210" fmla="*/ 519147 w 2663946"/>
                <a:gd name="connsiteY1210" fmla="*/ 156500 h 410520"/>
                <a:gd name="connsiteX1211" fmla="*/ 519147 w 2663946"/>
                <a:gd name="connsiteY1211" fmla="*/ 150822 h 410520"/>
                <a:gd name="connsiteX1212" fmla="*/ 519147 w 2663946"/>
                <a:gd name="connsiteY1212" fmla="*/ 150552 h 410520"/>
                <a:gd name="connsiteX1213" fmla="*/ 519639 w 2663946"/>
                <a:gd name="connsiteY1213" fmla="*/ 145955 h 410520"/>
                <a:gd name="connsiteX1214" fmla="*/ 520868 w 2663946"/>
                <a:gd name="connsiteY1214" fmla="*/ 140548 h 410520"/>
                <a:gd name="connsiteX1215" fmla="*/ 521851 w 2663946"/>
                <a:gd name="connsiteY1215" fmla="*/ 137303 h 410520"/>
                <a:gd name="connsiteX1216" fmla="*/ 524063 w 2663946"/>
                <a:gd name="connsiteY1216" fmla="*/ 132166 h 410520"/>
                <a:gd name="connsiteX1217" fmla="*/ 526275 w 2663946"/>
                <a:gd name="connsiteY1217" fmla="*/ 128381 h 410520"/>
                <a:gd name="connsiteX1218" fmla="*/ 528488 w 2663946"/>
                <a:gd name="connsiteY1218" fmla="*/ 125406 h 410520"/>
                <a:gd name="connsiteX1219" fmla="*/ 530700 w 2663946"/>
                <a:gd name="connsiteY1219" fmla="*/ 122973 h 410520"/>
                <a:gd name="connsiteX1220" fmla="*/ 535370 w 2663946"/>
                <a:gd name="connsiteY1220" fmla="*/ 119188 h 410520"/>
                <a:gd name="connsiteX1221" fmla="*/ 539303 w 2663946"/>
                <a:gd name="connsiteY1221" fmla="*/ 117025 h 410520"/>
                <a:gd name="connsiteX1222" fmla="*/ 548889 w 2663946"/>
                <a:gd name="connsiteY1222" fmla="*/ 114591 h 410520"/>
                <a:gd name="connsiteX1223" fmla="*/ 366938 w 2663946"/>
                <a:gd name="connsiteY1223" fmla="*/ 114591 h 410520"/>
                <a:gd name="connsiteX1224" fmla="*/ 379228 w 2663946"/>
                <a:gd name="connsiteY1224" fmla="*/ 116754 h 410520"/>
                <a:gd name="connsiteX1225" fmla="*/ 386603 w 2663946"/>
                <a:gd name="connsiteY1225" fmla="*/ 121351 h 410520"/>
                <a:gd name="connsiteX1226" fmla="*/ 390044 w 2663946"/>
                <a:gd name="connsiteY1226" fmla="*/ 124595 h 410520"/>
                <a:gd name="connsiteX1227" fmla="*/ 393485 w 2663946"/>
                <a:gd name="connsiteY1227" fmla="*/ 128921 h 410520"/>
                <a:gd name="connsiteX1228" fmla="*/ 395452 w 2663946"/>
                <a:gd name="connsiteY1228" fmla="*/ 132436 h 410520"/>
                <a:gd name="connsiteX1229" fmla="*/ 397664 w 2663946"/>
                <a:gd name="connsiteY1229" fmla="*/ 137844 h 410520"/>
                <a:gd name="connsiteX1230" fmla="*/ 398647 w 2663946"/>
                <a:gd name="connsiteY1230" fmla="*/ 141359 h 410520"/>
                <a:gd name="connsiteX1231" fmla="*/ 399630 w 2663946"/>
                <a:gd name="connsiteY1231" fmla="*/ 146496 h 410520"/>
                <a:gd name="connsiteX1232" fmla="*/ 399384 w 2663946"/>
                <a:gd name="connsiteY1232" fmla="*/ 160826 h 410520"/>
                <a:gd name="connsiteX1233" fmla="*/ 398401 w 2663946"/>
                <a:gd name="connsiteY1233" fmla="*/ 165693 h 410520"/>
                <a:gd name="connsiteX1234" fmla="*/ 397172 w 2663946"/>
                <a:gd name="connsiteY1234" fmla="*/ 169478 h 410520"/>
                <a:gd name="connsiteX1235" fmla="*/ 396189 w 2663946"/>
                <a:gd name="connsiteY1235" fmla="*/ 171912 h 410520"/>
                <a:gd name="connsiteX1236" fmla="*/ 393977 w 2663946"/>
                <a:gd name="connsiteY1236" fmla="*/ 176238 h 410520"/>
                <a:gd name="connsiteX1237" fmla="*/ 391764 w 2663946"/>
                <a:gd name="connsiteY1237" fmla="*/ 179482 h 410520"/>
                <a:gd name="connsiteX1238" fmla="*/ 388323 w 2663946"/>
                <a:gd name="connsiteY1238" fmla="*/ 183268 h 410520"/>
                <a:gd name="connsiteX1239" fmla="*/ 385128 w 2663946"/>
                <a:gd name="connsiteY1239" fmla="*/ 185971 h 410520"/>
                <a:gd name="connsiteX1240" fmla="*/ 379474 w 2663946"/>
                <a:gd name="connsiteY1240" fmla="*/ 189216 h 410520"/>
                <a:gd name="connsiteX1241" fmla="*/ 371609 w 2663946"/>
                <a:gd name="connsiteY1241" fmla="*/ 191379 h 410520"/>
                <a:gd name="connsiteX1242" fmla="*/ 370380 w 2663946"/>
                <a:gd name="connsiteY1242" fmla="*/ 191650 h 410520"/>
                <a:gd name="connsiteX1243" fmla="*/ 366201 w 2663946"/>
                <a:gd name="connsiteY1243" fmla="*/ 191650 h 410520"/>
                <a:gd name="connsiteX1244" fmla="*/ 365955 w 2663946"/>
                <a:gd name="connsiteY1244" fmla="*/ 191650 h 410520"/>
                <a:gd name="connsiteX1245" fmla="*/ 352927 w 2663946"/>
                <a:gd name="connsiteY1245" fmla="*/ 186783 h 410520"/>
                <a:gd name="connsiteX1246" fmla="*/ 348257 w 2663946"/>
                <a:gd name="connsiteY1246" fmla="*/ 182727 h 410520"/>
                <a:gd name="connsiteX1247" fmla="*/ 345062 w 2663946"/>
                <a:gd name="connsiteY1247" fmla="*/ 178942 h 410520"/>
                <a:gd name="connsiteX1248" fmla="*/ 342850 w 2663946"/>
                <a:gd name="connsiteY1248" fmla="*/ 175427 h 410520"/>
                <a:gd name="connsiteX1249" fmla="*/ 340637 w 2663946"/>
                <a:gd name="connsiteY1249" fmla="*/ 171101 h 410520"/>
                <a:gd name="connsiteX1250" fmla="*/ 339408 w 2663946"/>
                <a:gd name="connsiteY1250" fmla="*/ 168126 h 410520"/>
                <a:gd name="connsiteX1251" fmla="*/ 338425 w 2663946"/>
                <a:gd name="connsiteY1251" fmla="*/ 164882 h 410520"/>
                <a:gd name="connsiteX1252" fmla="*/ 337196 w 2663946"/>
                <a:gd name="connsiteY1252" fmla="*/ 159204 h 410520"/>
                <a:gd name="connsiteX1253" fmla="*/ 336950 w 2663946"/>
                <a:gd name="connsiteY1253" fmla="*/ 156230 h 410520"/>
                <a:gd name="connsiteX1254" fmla="*/ 337196 w 2663946"/>
                <a:gd name="connsiteY1254" fmla="*/ 156500 h 410520"/>
                <a:gd name="connsiteX1255" fmla="*/ 337196 w 2663946"/>
                <a:gd name="connsiteY1255" fmla="*/ 150822 h 410520"/>
                <a:gd name="connsiteX1256" fmla="*/ 337196 w 2663946"/>
                <a:gd name="connsiteY1256" fmla="*/ 150552 h 410520"/>
                <a:gd name="connsiteX1257" fmla="*/ 337687 w 2663946"/>
                <a:gd name="connsiteY1257" fmla="*/ 145955 h 410520"/>
                <a:gd name="connsiteX1258" fmla="*/ 338917 w 2663946"/>
                <a:gd name="connsiteY1258" fmla="*/ 140548 h 410520"/>
                <a:gd name="connsiteX1259" fmla="*/ 339900 w 2663946"/>
                <a:gd name="connsiteY1259" fmla="*/ 137303 h 410520"/>
                <a:gd name="connsiteX1260" fmla="*/ 342112 w 2663946"/>
                <a:gd name="connsiteY1260" fmla="*/ 132166 h 410520"/>
                <a:gd name="connsiteX1261" fmla="*/ 344324 w 2663946"/>
                <a:gd name="connsiteY1261" fmla="*/ 128381 h 410520"/>
                <a:gd name="connsiteX1262" fmla="*/ 346536 w 2663946"/>
                <a:gd name="connsiteY1262" fmla="*/ 125406 h 410520"/>
                <a:gd name="connsiteX1263" fmla="*/ 348749 w 2663946"/>
                <a:gd name="connsiteY1263" fmla="*/ 122973 h 410520"/>
                <a:gd name="connsiteX1264" fmla="*/ 353419 w 2663946"/>
                <a:gd name="connsiteY1264" fmla="*/ 119188 h 410520"/>
                <a:gd name="connsiteX1265" fmla="*/ 357352 w 2663946"/>
                <a:gd name="connsiteY1265" fmla="*/ 117025 h 410520"/>
                <a:gd name="connsiteX1266" fmla="*/ 366938 w 2663946"/>
                <a:gd name="connsiteY1266" fmla="*/ 114591 h 410520"/>
                <a:gd name="connsiteX1267" fmla="*/ 123893 w 2663946"/>
                <a:gd name="connsiteY1267" fmla="*/ 114591 h 410520"/>
                <a:gd name="connsiteX1268" fmla="*/ 136183 w 2663946"/>
                <a:gd name="connsiteY1268" fmla="*/ 116754 h 410520"/>
                <a:gd name="connsiteX1269" fmla="*/ 143557 w 2663946"/>
                <a:gd name="connsiteY1269" fmla="*/ 121351 h 410520"/>
                <a:gd name="connsiteX1270" fmla="*/ 146998 w 2663946"/>
                <a:gd name="connsiteY1270" fmla="*/ 124595 h 410520"/>
                <a:gd name="connsiteX1271" fmla="*/ 150439 w 2663946"/>
                <a:gd name="connsiteY1271" fmla="*/ 128921 h 410520"/>
                <a:gd name="connsiteX1272" fmla="*/ 152406 w 2663946"/>
                <a:gd name="connsiteY1272" fmla="*/ 132436 h 410520"/>
                <a:gd name="connsiteX1273" fmla="*/ 154618 w 2663946"/>
                <a:gd name="connsiteY1273" fmla="*/ 137844 h 410520"/>
                <a:gd name="connsiteX1274" fmla="*/ 155601 w 2663946"/>
                <a:gd name="connsiteY1274" fmla="*/ 141359 h 410520"/>
                <a:gd name="connsiteX1275" fmla="*/ 156584 w 2663946"/>
                <a:gd name="connsiteY1275" fmla="*/ 146496 h 410520"/>
                <a:gd name="connsiteX1276" fmla="*/ 156339 w 2663946"/>
                <a:gd name="connsiteY1276" fmla="*/ 160826 h 410520"/>
                <a:gd name="connsiteX1277" fmla="*/ 155355 w 2663946"/>
                <a:gd name="connsiteY1277" fmla="*/ 165693 h 410520"/>
                <a:gd name="connsiteX1278" fmla="*/ 154126 w 2663946"/>
                <a:gd name="connsiteY1278" fmla="*/ 169478 h 410520"/>
                <a:gd name="connsiteX1279" fmla="*/ 153143 w 2663946"/>
                <a:gd name="connsiteY1279" fmla="*/ 171912 h 410520"/>
                <a:gd name="connsiteX1280" fmla="*/ 150931 w 2663946"/>
                <a:gd name="connsiteY1280" fmla="*/ 176238 h 410520"/>
                <a:gd name="connsiteX1281" fmla="*/ 148719 w 2663946"/>
                <a:gd name="connsiteY1281" fmla="*/ 179482 h 410520"/>
                <a:gd name="connsiteX1282" fmla="*/ 145277 w 2663946"/>
                <a:gd name="connsiteY1282" fmla="*/ 183268 h 410520"/>
                <a:gd name="connsiteX1283" fmla="*/ 142082 w 2663946"/>
                <a:gd name="connsiteY1283" fmla="*/ 185971 h 410520"/>
                <a:gd name="connsiteX1284" fmla="*/ 136428 w 2663946"/>
                <a:gd name="connsiteY1284" fmla="*/ 189216 h 410520"/>
                <a:gd name="connsiteX1285" fmla="*/ 128563 w 2663946"/>
                <a:gd name="connsiteY1285" fmla="*/ 191379 h 410520"/>
                <a:gd name="connsiteX1286" fmla="*/ 127334 w 2663946"/>
                <a:gd name="connsiteY1286" fmla="*/ 191650 h 410520"/>
                <a:gd name="connsiteX1287" fmla="*/ 123155 w 2663946"/>
                <a:gd name="connsiteY1287" fmla="*/ 191650 h 410520"/>
                <a:gd name="connsiteX1288" fmla="*/ 122909 w 2663946"/>
                <a:gd name="connsiteY1288" fmla="*/ 191650 h 410520"/>
                <a:gd name="connsiteX1289" fmla="*/ 109882 w 2663946"/>
                <a:gd name="connsiteY1289" fmla="*/ 186783 h 410520"/>
                <a:gd name="connsiteX1290" fmla="*/ 105211 w 2663946"/>
                <a:gd name="connsiteY1290" fmla="*/ 182727 h 410520"/>
                <a:gd name="connsiteX1291" fmla="*/ 102016 w 2663946"/>
                <a:gd name="connsiteY1291" fmla="*/ 178942 h 410520"/>
                <a:gd name="connsiteX1292" fmla="*/ 99804 w 2663946"/>
                <a:gd name="connsiteY1292" fmla="*/ 175427 h 410520"/>
                <a:gd name="connsiteX1293" fmla="*/ 97591 w 2663946"/>
                <a:gd name="connsiteY1293" fmla="*/ 171101 h 410520"/>
                <a:gd name="connsiteX1294" fmla="*/ 96362 w 2663946"/>
                <a:gd name="connsiteY1294" fmla="*/ 168126 h 410520"/>
                <a:gd name="connsiteX1295" fmla="*/ 95379 w 2663946"/>
                <a:gd name="connsiteY1295" fmla="*/ 164882 h 410520"/>
                <a:gd name="connsiteX1296" fmla="*/ 94150 w 2663946"/>
                <a:gd name="connsiteY1296" fmla="*/ 159204 h 410520"/>
                <a:gd name="connsiteX1297" fmla="*/ 93904 w 2663946"/>
                <a:gd name="connsiteY1297" fmla="*/ 156230 h 410520"/>
                <a:gd name="connsiteX1298" fmla="*/ 94150 w 2663946"/>
                <a:gd name="connsiteY1298" fmla="*/ 156500 h 410520"/>
                <a:gd name="connsiteX1299" fmla="*/ 94150 w 2663946"/>
                <a:gd name="connsiteY1299" fmla="*/ 150822 h 410520"/>
                <a:gd name="connsiteX1300" fmla="*/ 94150 w 2663946"/>
                <a:gd name="connsiteY1300" fmla="*/ 150552 h 410520"/>
                <a:gd name="connsiteX1301" fmla="*/ 94642 w 2663946"/>
                <a:gd name="connsiteY1301" fmla="*/ 145955 h 410520"/>
                <a:gd name="connsiteX1302" fmla="*/ 95871 w 2663946"/>
                <a:gd name="connsiteY1302" fmla="*/ 140548 h 410520"/>
                <a:gd name="connsiteX1303" fmla="*/ 96854 w 2663946"/>
                <a:gd name="connsiteY1303" fmla="*/ 137303 h 410520"/>
                <a:gd name="connsiteX1304" fmla="*/ 99066 w 2663946"/>
                <a:gd name="connsiteY1304" fmla="*/ 132166 h 410520"/>
                <a:gd name="connsiteX1305" fmla="*/ 101279 w 2663946"/>
                <a:gd name="connsiteY1305" fmla="*/ 128381 h 410520"/>
                <a:gd name="connsiteX1306" fmla="*/ 103491 w 2663946"/>
                <a:gd name="connsiteY1306" fmla="*/ 125406 h 410520"/>
                <a:gd name="connsiteX1307" fmla="*/ 105703 w 2663946"/>
                <a:gd name="connsiteY1307" fmla="*/ 122973 h 410520"/>
                <a:gd name="connsiteX1308" fmla="*/ 110373 w 2663946"/>
                <a:gd name="connsiteY1308" fmla="*/ 119188 h 410520"/>
                <a:gd name="connsiteX1309" fmla="*/ 114306 w 2663946"/>
                <a:gd name="connsiteY1309" fmla="*/ 117025 h 410520"/>
                <a:gd name="connsiteX1310" fmla="*/ 123893 w 2663946"/>
                <a:gd name="connsiteY1310" fmla="*/ 114591 h 410520"/>
                <a:gd name="connsiteX1311" fmla="*/ 33147 w 2663946"/>
                <a:gd name="connsiteY1311" fmla="*/ 113953 h 410520"/>
                <a:gd name="connsiteX1312" fmla="*/ 57942 w 2663946"/>
                <a:gd name="connsiteY1312" fmla="*/ 134162 h 410520"/>
                <a:gd name="connsiteX1313" fmla="*/ 58422 w 2663946"/>
                <a:gd name="connsiteY1313" fmla="*/ 138920 h 410520"/>
                <a:gd name="connsiteX1314" fmla="*/ 59840 w 2663946"/>
                <a:gd name="connsiteY1314" fmla="*/ 138920 h 410520"/>
                <a:gd name="connsiteX1315" fmla="*/ 66294 w 2663946"/>
                <a:gd name="connsiteY1315" fmla="*/ 145206 h 410520"/>
                <a:gd name="connsiteX1316" fmla="*/ 66294 w 2663946"/>
                <a:gd name="connsiteY1316" fmla="*/ 194928 h 410520"/>
                <a:gd name="connsiteX1317" fmla="*/ 59840 w 2663946"/>
                <a:gd name="connsiteY1317" fmla="*/ 201214 h 410520"/>
                <a:gd name="connsiteX1318" fmla="*/ 6453 w 2663946"/>
                <a:gd name="connsiteY1318" fmla="*/ 201214 h 410520"/>
                <a:gd name="connsiteX1319" fmla="*/ 0 w 2663946"/>
                <a:gd name="connsiteY1319" fmla="*/ 194928 h 410520"/>
                <a:gd name="connsiteX1320" fmla="*/ 0 w 2663946"/>
                <a:gd name="connsiteY1320" fmla="*/ 145206 h 410520"/>
                <a:gd name="connsiteX1321" fmla="*/ 6453 w 2663946"/>
                <a:gd name="connsiteY1321" fmla="*/ 138920 h 410520"/>
                <a:gd name="connsiteX1322" fmla="*/ 7288 w 2663946"/>
                <a:gd name="connsiteY1322" fmla="*/ 138920 h 410520"/>
                <a:gd name="connsiteX1323" fmla="*/ 7872 w 2663946"/>
                <a:gd name="connsiteY1323" fmla="*/ 138920 h 410520"/>
                <a:gd name="connsiteX1324" fmla="*/ 8351 w 2663946"/>
                <a:gd name="connsiteY1324" fmla="*/ 134162 h 410520"/>
                <a:gd name="connsiteX1325" fmla="*/ 33147 w 2663946"/>
                <a:gd name="connsiteY1325" fmla="*/ 113953 h 410520"/>
                <a:gd name="connsiteX1326" fmla="*/ 2537931 w 2663946"/>
                <a:gd name="connsiteY1326" fmla="*/ 106365 h 410520"/>
                <a:gd name="connsiteX1327" fmla="*/ 2562727 w 2663946"/>
                <a:gd name="connsiteY1327" fmla="*/ 126574 h 410520"/>
                <a:gd name="connsiteX1328" fmla="*/ 2563206 w 2663946"/>
                <a:gd name="connsiteY1328" fmla="*/ 131332 h 410520"/>
                <a:gd name="connsiteX1329" fmla="*/ 2564625 w 2663946"/>
                <a:gd name="connsiteY1329" fmla="*/ 131332 h 410520"/>
                <a:gd name="connsiteX1330" fmla="*/ 2571078 w 2663946"/>
                <a:gd name="connsiteY1330" fmla="*/ 137618 h 410520"/>
                <a:gd name="connsiteX1331" fmla="*/ 2571078 w 2663946"/>
                <a:gd name="connsiteY1331" fmla="*/ 187340 h 410520"/>
                <a:gd name="connsiteX1332" fmla="*/ 2564625 w 2663946"/>
                <a:gd name="connsiteY1332" fmla="*/ 193626 h 410520"/>
                <a:gd name="connsiteX1333" fmla="*/ 2511238 w 2663946"/>
                <a:gd name="connsiteY1333" fmla="*/ 193626 h 410520"/>
                <a:gd name="connsiteX1334" fmla="*/ 2504784 w 2663946"/>
                <a:gd name="connsiteY1334" fmla="*/ 187340 h 410520"/>
                <a:gd name="connsiteX1335" fmla="*/ 2504784 w 2663946"/>
                <a:gd name="connsiteY1335" fmla="*/ 137618 h 410520"/>
                <a:gd name="connsiteX1336" fmla="*/ 2511238 w 2663946"/>
                <a:gd name="connsiteY1336" fmla="*/ 131332 h 410520"/>
                <a:gd name="connsiteX1337" fmla="*/ 2512072 w 2663946"/>
                <a:gd name="connsiteY1337" fmla="*/ 131332 h 410520"/>
                <a:gd name="connsiteX1338" fmla="*/ 2512656 w 2663946"/>
                <a:gd name="connsiteY1338" fmla="*/ 131332 h 410520"/>
                <a:gd name="connsiteX1339" fmla="*/ 2513136 w 2663946"/>
                <a:gd name="connsiteY1339" fmla="*/ 126574 h 410520"/>
                <a:gd name="connsiteX1340" fmla="*/ 2537931 w 2663946"/>
                <a:gd name="connsiteY1340" fmla="*/ 106365 h 410520"/>
                <a:gd name="connsiteX1341" fmla="*/ 2112934 w 2663946"/>
                <a:gd name="connsiteY1341" fmla="*/ 106365 h 410520"/>
                <a:gd name="connsiteX1342" fmla="*/ 2137730 w 2663946"/>
                <a:gd name="connsiteY1342" fmla="*/ 126574 h 410520"/>
                <a:gd name="connsiteX1343" fmla="*/ 2138209 w 2663946"/>
                <a:gd name="connsiteY1343" fmla="*/ 131332 h 410520"/>
                <a:gd name="connsiteX1344" fmla="*/ 2139628 w 2663946"/>
                <a:gd name="connsiteY1344" fmla="*/ 131332 h 410520"/>
                <a:gd name="connsiteX1345" fmla="*/ 2146081 w 2663946"/>
                <a:gd name="connsiteY1345" fmla="*/ 137618 h 410520"/>
                <a:gd name="connsiteX1346" fmla="*/ 2146081 w 2663946"/>
                <a:gd name="connsiteY1346" fmla="*/ 187340 h 410520"/>
                <a:gd name="connsiteX1347" fmla="*/ 2139628 w 2663946"/>
                <a:gd name="connsiteY1347" fmla="*/ 193626 h 410520"/>
                <a:gd name="connsiteX1348" fmla="*/ 2086241 w 2663946"/>
                <a:gd name="connsiteY1348" fmla="*/ 193626 h 410520"/>
                <a:gd name="connsiteX1349" fmla="*/ 2079787 w 2663946"/>
                <a:gd name="connsiteY1349" fmla="*/ 187340 h 410520"/>
                <a:gd name="connsiteX1350" fmla="*/ 2079787 w 2663946"/>
                <a:gd name="connsiteY1350" fmla="*/ 137618 h 410520"/>
                <a:gd name="connsiteX1351" fmla="*/ 2086241 w 2663946"/>
                <a:gd name="connsiteY1351" fmla="*/ 131332 h 410520"/>
                <a:gd name="connsiteX1352" fmla="*/ 2087075 w 2663946"/>
                <a:gd name="connsiteY1352" fmla="*/ 131332 h 410520"/>
                <a:gd name="connsiteX1353" fmla="*/ 2087659 w 2663946"/>
                <a:gd name="connsiteY1353" fmla="*/ 131332 h 410520"/>
                <a:gd name="connsiteX1354" fmla="*/ 2088139 w 2663946"/>
                <a:gd name="connsiteY1354" fmla="*/ 126574 h 410520"/>
                <a:gd name="connsiteX1355" fmla="*/ 2112934 w 2663946"/>
                <a:gd name="connsiteY1355" fmla="*/ 106365 h 410520"/>
                <a:gd name="connsiteX1356" fmla="*/ 1854966 w 2663946"/>
                <a:gd name="connsiteY1356" fmla="*/ 106365 h 410520"/>
                <a:gd name="connsiteX1357" fmla="*/ 1879762 w 2663946"/>
                <a:gd name="connsiteY1357" fmla="*/ 126574 h 410520"/>
                <a:gd name="connsiteX1358" fmla="*/ 1880241 w 2663946"/>
                <a:gd name="connsiteY1358" fmla="*/ 131332 h 410520"/>
                <a:gd name="connsiteX1359" fmla="*/ 1881660 w 2663946"/>
                <a:gd name="connsiteY1359" fmla="*/ 131332 h 410520"/>
                <a:gd name="connsiteX1360" fmla="*/ 1888113 w 2663946"/>
                <a:gd name="connsiteY1360" fmla="*/ 137618 h 410520"/>
                <a:gd name="connsiteX1361" fmla="*/ 1888113 w 2663946"/>
                <a:gd name="connsiteY1361" fmla="*/ 187340 h 410520"/>
                <a:gd name="connsiteX1362" fmla="*/ 1881660 w 2663946"/>
                <a:gd name="connsiteY1362" fmla="*/ 193626 h 410520"/>
                <a:gd name="connsiteX1363" fmla="*/ 1828273 w 2663946"/>
                <a:gd name="connsiteY1363" fmla="*/ 193626 h 410520"/>
                <a:gd name="connsiteX1364" fmla="*/ 1821819 w 2663946"/>
                <a:gd name="connsiteY1364" fmla="*/ 187340 h 410520"/>
                <a:gd name="connsiteX1365" fmla="*/ 1821819 w 2663946"/>
                <a:gd name="connsiteY1365" fmla="*/ 137618 h 410520"/>
                <a:gd name="connsiteX1366" fmla="*/ 1828273 w 2663946"/>
                <a:gd name="connsiteY1366" fmla="*/ 131332 h 410520"/>
                <a:gd name="connsiteX1367" fmla="*/ 1829107 w 2663946"/>
                <a:gd name="connsiteY1367" fmla="*/ 131332 h 410520"/>
                <a:gd name="connsiteX1368" fmla="*/ 1829691 w 2663946"/>
                <a:gd name="connsiteY1368" fmla="*/ 131332 h 410520"/>
                <a:gd name="connsiteX1369" fmla="*/ 1830171 w 2663946"/>
                <a:gd name="connsiteY1369" fmla="*/ 126574 h 410520"/>
                <a:gd name="connsiteX1370" fmla="*/ 1854966 w 2663946"/>
                <a:gd name="connsiteY1370" fmla="*/ 106365 h 410520"/>
                <a:gd name="connsiteX1371" fmla="*/ 1764027 w 2663946"/>
                <a:gd name="connsiteY1371" fmla="*/ 106365 h 410520"/>
                <a:gd name="connsiteX1372" fmla="*/ 1788823 w 2663946"/>
                <a:gd name="connsiteY1372" fmla="*/ 126574 h 410520"/>
                <a:gd name="connsiteX1373" fmla="*/ 1789302 w 2663946"/>
                <a:gd name="connsiteY1373" fmla="*/ 131332 h 410520"/>
                <a:gd name="connsiteX1374" fmla="*/ 1790721 w 2663946"/>
                <a:gd name="connsiteY1374" fmla="*/ 131332 h 410520"/>
                <a:gd name="connsiteX1375" fmla="*/ 1797174 w 2663946"/>
                <a:gd name="connsiteY1375" fmla="*/ 137618 h 410520"/>
                <a:gd name="connsiteX1376" fmla="*/ 1797174 w 2663946"/>
                <a:gd name="connsiteY1376" fmla="*/ 187340 h 410520"/>
                <a:gd name="connsiteX1377" fmla="*/ 1790721 w 2663946"/>
                <a:gd name="connsiteY1377" fmla="*/ 193626 h 410520"/>
                <a:gd name="connsiteX1378" fmla="*/ 1737333 w 2663946"/>
                <a:gd name="connsiteY1378" fmla="*/ 193626 h 410520"/>
                <a:gd name="connsiteX1379" fmla="*/ 1730880 w 2663946"/>
                <a:gd name="connsiteY1379" fmla="*/ 187340 h 410520"/>
                <a:gd name="connsiteX1380" fmla="*/ 1730880 w 2663946"/>
                <a:gd name="connsiteY1380" fmla="*/ 137618 h 410520"/>
                <a:gd name="connsiteX1381" fmla="*/ 1737333 w 2663946"/>
                <a:gd name="connsiteY1381" fmla="*/ 131332 h 410520"/>
                <a:gd name="connsiteX1382" fmla="*/ 1738168 w 2663946"/>
                <a:gd name="connsiteY1382" fmla="*/ 131332 h 410520"/>
                <a:gd name="connsiteX1383" fmla="*/ 1738752 w 2663946"/>
                <a:gd name="connsiteY1383" fmla="*/ 131332 h 410520"/>
                <a:gd name="connsiteX1384" fmla="*/ 1739232 w 2663946"/>
                <a:gd name="connsiteY1384" fmla="*/ 126574 h 410520"/>
                <a:gd name="connsiteX1385" fmla="*/ 1764027 w 2663946"/>
                <a:gd name="connsiteY1385" fmla="*/ 106365 h 410520"/>
                <a:gd name="connsiteX1386" fmla="*/ 1506059 w 2663946"/>
                <a:gd name="connsiteY1386" fmla="*/ 106365 h 410520"/>
                <a:gd name="connsiteX1387" fmla="*/ 1530855 w 2663946"/>
                <a:gd name="connsiteY1387" fmla="*/ 126574 h 410520"/>
                <a:gd name="connsiteX1388" fmla="*/ 1531334 w 2663946"/>
                <a:gd name="connsiteY1388" fmla="*/ 131332 h 410520"/>
                <a:gd name="connsiteX1389" fmla="*/ 1532753 w 2663946"/>
                <a:gd name="connsiteY1389" fmla="*/ 131332 h 410520"/>
                <a:gd name="connsiteX1390" fmla="*/ 1539206 w 2663946"/>
                <a:gd name="connsiteY1390" fmla="*/ 137618 h 410520"/>
                <a:gd name="connsiteX1391" fmla="*/ 1539206 w 2663946"/>
                <a:gd name="connsiteY1391" fmla="*/ 187340 h 410520"/>
                <a:gd name="connsiteX1392" fmla="*/ 1532753 w 2663946"/>
                <a:gd name="connsiteY1392" fmla="*/ 193626 h 410520"/>
                <a:gd name="connsiteX1393" fmla="*/ 1479365 w 2663946"/>
                <a:gd name="connsiteY1393" fmla="*/ 193626 h 410520"/>
                <a:gd name="connsiteX1394" fmla="*/ 1472912 w 2663946"/>
                <a:gd name="connsiteY1394" fmla="*/ 187340 h 410520"/>
                <a:gd name="connsiteX1395" fmla="*/ 1472912 w 2663946"/>
                <a:gd name="connsiteY1395" fmla="*/ 137618 h 410520"/>
                <a:gd name="connsiteX1396" fmla="*/ 1479365 w 2663946"/>
                <a:gd name="connsiteY1396" fmla="*/ 131332 h 410520"/>
                <a:gd name="connsiteX1397" fmla="*/ 1480200 w 2663946"/>
                <a:gd name="connsiteY1397" fmla="*/ 131332 h 410520"/>
                <a:gd name="connsiteX1398" fmla="*/ 1480784 w 2663946"/>
                <a:gd name="connsiteY1398" fmla="*/ 131332 h 410520"/>
                <a:gd name="connsiteX1399" fmla="*/ 1481264 w 2663946"/>
                <a:gd name="connsiteY1399" fmla="*/ 126574 h 410520"/>
                <a:gd name="connsiteX1400" fmla="*/ 1506059 w 2663946"/>
                <a:gd name="connsiteY1400" fmla="*/ 106365 h 410520"/>
                <a:gd name="connsiteX1401" fmla="*/ 1415120 w 2663946"/>
                <a:gd name="connsiteY1401" fmla="*/ 106365 h 410520"/>
                <a:gd name="connsiteX1402" fmla="*/ 1439916 w 2663946"/>
                <a:gd name="connsiteY1402" fmla="*/ 126574 h 410520"/>
                <a:gd name="connsiteX1403" fmla="*/ 1440395 w 2663946"/>
                <a:gd name="connsiteY1403" fmla="*/ 131332 h 410520"/>
                <a:gd name="connsiteX1404" fmla="*/ 1441814 w 2663946"/>
                <a:gd name="connsiteY1404" fmla="*/ 131332 h 410520"/>
                <a:gd name="connsiteX1405" fmla="*/ 1448267 w 2663946"/>
                <a:gd name="connsiteY1405" fmla="*/ 137618 h 410520"/>
                <a:gd name="connsiteX1406" fmla="*/ 1448267 w 2663946"/>
                <a:gd name="connsiteY1406" fmla="*/ 187340 h 410520"/>
                <a:gd name="connsiteX1407" fmla="*/ 1441814 w 2663946"/>
                <a:gd name="connsiteY1407" fmla="*/ 193626 h 410520"/>
                <a:gd name="connsiteX1408" fmla="*/ 1388426 w 2663946"/>
                <a:gd name="connsiteY1408" fmla="*/ 193626 h 410520"/>
                <a:gd name="connsiteX1409" fmla="*/ 1381973 w 2663946"/>
                <a:gd name="connsiteY1409" fmla="*/ 187340 h 410520"/>
                <a:gd name="connsiteX1410" fmla="*/ 1381973 w 2663946"/>
                <a:gd name="connsiteY1410" fmla="*/ 137618 h 410520"/>
                <a:gd name="connsiteX1411" fmla="*/ 1388426 w 2663946"/>
                <a:gd name="connsiteY1411" fmla="*/ 131332 h 410520"/>
                <a:gd name="connsiteX1412" fmla="*/ 1389261 w 2663946"/>
                <a:gd name="connsiteY1412" fmla="*/ 131332 h 410520"/>
                <a:gd name="connsiteX1413" fmla="*/ 1389845 w 2663946"/>
                <a:gd name="connsiteY1413" fmla="*/ 131332 h 410520"/>
                <a:gd name="connsiteX1414" fmla="*/ 1390325 w 2663946"/>
                <a:gd name="connsiteY1414" fmla="*/ 126574 h 410520"/>
                <a:gd name="connsiteX1415" fmla="*/ 1415120 w 2663946"/>
                <a:gd name="connsiteY1415" fmla="*/ 106365 h 410520"/>
                <a:gd name="connsiteX1416" fmla="*/ 1157152 w 2663946"/>
                <a:gd name="connsiteY1416" fmla="*/ 106365 h 410520"/>
                <a:gd name="connsiteX1417" fmla="*/ 1181948 w 2663946"/>
                <a:gd name="connsiteY1417" fmla="*/ 126574 h 410520"/>
                <a:gd name="connsiteX1418" fmla="*/ 1182427 w 2663946"/>
                <a:gd name="connsiteY1418" fmla="*/ 131332 h 410520"/>
                <a:gd name="connsiteX1419" fmla="*/ 1183846 w 2663946"/>
                <a:gd name="connsiteY1419" fmla="*/ 131332 h 410520"/>
                <a:gd name="connsiteX1420" fmla="*/ 1190299 w 2663946"/>
                <a:gd name="connsiteY1420" fmla="*/ 137618 h 410520"/>
                <a:gd name="connsiteX1421" fmla="*/ 1190299 w 2663946"/>
                <a:gd name="connsiteY1421" fmla="*/ 187340 h 410520"/>
                <a:gd name="connsiteX1422" fmla="*/ 1183846 w 2663946"/>
                <a:gd name="connsiteY1422" fmla="*/ 193626 h 410520"/>
                <a:gd name="connsiteX1423" fmla="*/ 1130458 w 2663946"/>
                <a:gd name="connsiteY1423" fmla="*/ 193626 h 410520"/>
                <a:gd name="connsiteX1424" fmla="*/ 1124005 w 2663946"/>
                <a:gd name="connsiteY1424" fmla="*/ 187340 h 410520"/>
                <a:gd name="connsiteX1425" fmla="*/ 1124005 w 2663946"/>
                <a:gd name="connsiteY1425" fmla="*/ 137618 h 410520"/>
                <a:gd name="connsiteX1426" fmla="*/ 1130458 w 2663946"/>
                <a:gd name="connsiteY1426" fmla="*/ 131332 h 410520"/>
                <a:gd name="connsiteX1427" fmla="*/ 1131293 w 2663946"/>
                <a:gd name="connsiteY1427" fmla="*/ 131332 h 410520"/>
                <a:gd name="connsiteX1428" fmla="*/ 1131877 w 2663946"/>
                <a:gd name="connsiteY1428" fmla="*/ 131332 h 410520"/>
                <a:gd name="connsiteX1429" fmla="*/ 1132357 w 2663946"/>
                <a:gd name="connsiteY1429" fmla="*/ 126574 h 410520"/>
                <a:gd name="connsiteX1430" fmla="*/ 1157152 w 2663946"/>
                <a:gd name="connsiteY1430" fmla="*/ 106365 h 410520"/>
                <a:gd name="connsiteX1431" fmla="*/ 732156 w 2663946"/>
                <a:gd name="connsiteY1431" fmla="*/ 106365 h 410520"/>
                <a:gd name="connsiteX1432" fmla="*/ 756951 w 2663946"/>
                <a:gd name="connsiteY1432" fmla="*/ 126574 h 410520"/>
                <a:gd name="connsiteX1433" fmla="*/ 757431 w 2663946"/>
                <a:gd name="connsiteY1433" fmla="*/ 131332 h 410520"/>
                <a:gd name="connsiteX1434" fmla="*/ 758849 w 2663946"/>
                <a:gd name="connsiteY1434" fmla="*/ 131332 h 410520"/>
                <a:gd name="connsiteX1435" fmla="*/ 765303 w 2663946"/>
                <a:gd name="connsiteY1435" fmla="*/ 137618 h 410520"/>
                <a:gd name="connsiteX1436" fmla="*/ 765303 w 2663946"/>
                <a:gd name="connsiteY1436" fmla="*/ 187340 h 410520"/>
                <a:gd name="connsiteX1437" fmla="*/ 758849 w 2663946"/>
                <a:gd name="connsiteY1437" fmla="*/ 193626 h 410520"/>
                <a:gd name="connsiteX1438" fmla="*/ 705462 w 2663946"/>
                <a:gd name="connsiteY1438" fmla="*/ 193626 h 410520"/>
                <a:gd name="connsiteX1439" fmla="*/ 699009 w 2663946"/>
                <a:gd name="connsiteY1439" fmla="*/ 187340 h 410520"/>
                <a:gd name="connsiteX1440" fmla="*/ 699009 w 2663946"/>
                <a:gd name="connsiteY1440" fmla="*/ 137618 h 410520"/>
                <a:gd name="connsiteX1441" fmla="*/ 705462 w 2663946"/>
                <a:gd name="connsiteY1441" fmla="*/ 131332 h 410520"/>
                <a:gd name="connsiteX1442" fmla="*/ 706296 w 2663946"/>
                <a:gd name="connsiteY1442" fmla="*/ 131332 h 410520"/>
                <a:gd name="connsiteX1443" fmla="*/ 706881 w 2663946"/>
                <a:gd name="connsiteY1443" fmla="*/ 131332 h 410520"/>
                <a:gd name="connsiteX1444" fmla="*/ 707360 w 2663946"/>
                <a:gd name="connsiteY1444" fmla="*/ 126574 h 410520"/>
                <a:gd name="connsiteX1445" fmla="*/ 732156 w 2663946"/>
                <a:gd name="connsiteY1445" fmla="*/ 106365 h 410520"/>
                <a:gd name="connsiteX1446" fmla="*/ 641217 w 2663946"/>
                <a:gd name="connsiteY1446" fmla="*/ 106365 h 410520"/>
                <a:gd name="connsiteX1447" fmla="*/ 666012 w 2663946"/>
                <a:gd name="connsiteY1447" fmla="*/ 126574 h 410520"/>
                <a:gd name="connsiteX1448" fmla="*/ 666492 w 2663946"/>
                <a:gd name="connsiteY1448" fmla="*/ 131332 h 410520"/>
                <a:gd name="connsiteX1449" fmla="*/ 667910 w 2663946"/>
                <a:gd name="connsiteY1449" fmla="*/ 131332 h 410520"/>
                <a:gd name="connsiteX1450" fmla="*/ 674364 w 2663946"/>
                <a:gd name="connsiteY1450" fmla="*/ 137618 h 410520"/>
                <a:gd name="connsiteX1451" fmla="*/ 674364 w 2663946"/>
                <a:gd name="connsiteY1451" fmla="*/ 187340 h 410520"/>
                <a:gd name="connsiteX1452" fmla="*/ 667910 w 2663946"/>
                <a:gd name="connsiteY1452" fmla="*/ 193626 h 410520"/>
                <a:gd name="connsiteX1453" fmla="*/ 614523 w 2663946"/>
                <a:gd name="connsiteY1453" fmla="*/ 193626 h 410520"/>
                <a:gd name="connsiteX1454" fmla="*/ 608070 w 2663946"/>
                <a:gd name="connsiteY1454" fmla="*/ 187340 h 410520"/>
                <a:gd name="connsiteX1455" fmla="*/ 608070 w 2663946"/>
                <a:gd name="connsiteY1455" fmla="*/ 137618 h 410520"/>
                <a:gd name="connsiteX1456" fmla="*/ 614523 w 2663946"/>
                <a:gd name="connsiteY1456" fmla="*/ 131332 h 410520"/>
                <a:gd name="connsiteX1457" fmla="*/ 615358 w 2663946"/>
                <a:gd name="connsiteY1457" fmla="*/ 131332 h 410520"/>
                <a:gd name="connsiteX1458" fmla="*/ 615942 w 2663946"/>
                <a:gd name="connsiteY1458" fmla="*/ 131332 h 410520"/>
                <a:gd name="connsiteX1459" fmla="*/ 616422 w 2663946"/>
                <a:gd name="connsiteY1459" fmla="*/ 126574 h 410520"/>
                <a:gd name="connsiteX1460" fmla="*/ 641217 w 2663946"/>
                <a:gd name="connsiteY1460" fmla="*/ 106365 h 410520"/>
                <a:gd name="connsiteX1461" fmla="*/ 459266 w 2663946"/>
                <a:gd name="connsiteY1461" fmla="*/ 106365 h 410520"/>
                <a:gd name="connsiteX1462" fmla="*/ 484061 w 2663946"/>
                <a:gd name="connsiteY1462" fmla="*/ 126574 h 410520"/>
                <a:gd name="connsiteX1463" fmla="*/ 484541 w 2663946"/>
                <a:gd name="connsiteY1463" fmla="*/ 131332 h 410520"/>
                <a:gd name="connsiteX1464" fmla="*/ 485959 w 2663946"/>
                <a:gd name="connsiteY1464" fmla="*/ 131332 h 410520"/>
                <a:gd name="connsiteX1465" fmla="*/ 492413 w 2663946"/>
                <a:gd name="connsiteY1465" fmla="*/ 137618 h 410520"/>
                <a:gd name="connsiteX1466" fmla="*/ 492413 w 2663946"/>
                <a:gd name="connsiteY1466" fmla="*/ 187340 h 410520"/>
                <a:gd name="connsiteX1467" fmla="*/ 485959 w 2663946"/>
                <a:gd name="connsiteY1467" fmla="*/ 193626 h 410520"/>
                <a:gd name="connsiteX1468" fmla="*/ 432572 w 2663946"/>
                <a:gd name="connsiteY1468" fmla="*/ 193626 h 410520"/>
                <a:gd name="connsiteX1469" fmla="*/ 426119 w 2663946"/>
                <a:gd name="connsiteY1469" fmla="*/ 187340 h 410520"/>
                <a:gd name="connsiteX1470" fmla="*/ 426119 w 2663946"/>
                <a:gd name="connsiteY1470" fmla="*/ 137618 h 410520"/>
                <a:gd name="connsiteX1471" fmla="*/ 432572 w 2663946"/>
                <a:gd name="connsiteY1471" fmla="*/ 131332 h 410520"/>
                <a:gd name="connsiteX1472" fmla="*/ 433406 w 2663946"/>
                <a:gd name="connsiteY1472" fmla="*/ 131332 h 410520"/>
                <a:gd name="connsiteX1473" fmla="*/ 433991 w 2663946"/>
                <a:gd name="connsiteY1473" fmla="*/ 131332 h 410520"/>
                <a:gd name="connsiteX1474" fmla="*/ 434470 w 2663946"/>
                <a:gd name="connsiteY1474" fmla="*/ 126574 h 410520"/>
                <a:gd name="connsiteX1475" fmla="*/ 459266 w 2663946"/>
                <a:gd name="connsiteY1475" fmla="*/ 106365 h 410520"/>
                <a:gd name="connsiteX1476" fmla="*/ 24128 w 2663946"/>
                <a:gd name="connsiteY1476" fmla="*/ 62188 h 410520"/>
                <a:gd name="connsiteX1477" fmla="*/ 33591 w 2663946"/>
                <a:gd name="connsiteY1477" fmla="*/ 0 h 410520"/>
                <a:gd name="connsiteX1478" fmla="*/ 38187 w 2663946"/>
                <a:gd name="connsiteY1478" fmla="*/ 2434 h 410520"/>
                <a:gd name="connsiteX1479" fmla="*/ 40350 w 2663946"/>
                <a:gd name="connsiteY1479" fmla="*/ 62188 h 410520"/>
                <a:gd name="connsiteX1480" fmla="*/ 40891 w 2663946"/>
                <a:gd name="connsiteY1480" fmla="*/ 62728 h 410520"/>
                <a:gd name="connsiteX1481" fmla="*/ 48191 w 2663946"/>
                <a:gd name="connsiteY1481" fmla="*/ 62728 h 410520"/>
                <a:gd name="connsiteX1482" fmla="*/ 52247 w 2663946"/>
                <a:gd name="connsiteY1482" fmla="*/ 63810 h 410520"/>
                <a:gd name="connsiteX1483" fmla="*/ 56032 w 2663946"/>
                <a:gd name="connsiteY1483" fmla="*/ 70569 h 410520"/>
                <a:gd name="connsiteX1484" fmla="*/ 53328 w 2663946"/>
                <a:gd name="connsiteY1484" fmla="*/ 76247 h 410520"/>
                <a:gd name="connsiteX1485" fmla="*/ 49273 w 2663946"/>
                <a:gd name="connsiteY1485" fmla="*/ 78140 h 410520"/>
                <a:gd name="connsiteX1486" fmla="*/ 49002 w 2663946"/>
                <a:gd name="connsiteY1486" fmla="*/ 78140 h 410520"/>
                <a:gd name="connsiteX1487" fmla="*/ 48732 w 2663946"/>
                <a:gd name="connsiteY1487" fmla="*/ 78140 h 410520"/>
                <a:gd name="connsiteX1488" fmla="*/ 48191 w 2663946"/>
                <a:gd name="connsiteY1488" fmla="*/ 78140 h 410520"/>
                <a:gd name="connsiteX1489" fmla="*/ 16016 w 2663946"/>
                <a:gd name="connsiteY1489" fmla="*/ 78140 h 410520"/>
                <a:gd name="connsiteX1490" fmla="*/ 15475 w 2663946"/>
                <a:gd name="connsiteY1490" fmla="*/ 78140 h 410520"/>
                <a:gd name="connsiteX1491" fmla="*/ 14664 w 2663946"/>
                <a:gd name="connsiteY1491" fmla="*/ 78140 h 410520"/>
                <a:gd name="connsiteX1492" fmla="*/ 13853 w 2663946"/>
                <a:gd name="connsiteY1492" fmla="*/ 77870 h 410520"/>
                <a:gd name="connsiteX1493" fmla="*/ 10338 w 2663946"/>
                <a:gd name="connsiteY1493" fmla="*/ 75977 h 410520"/>
                <a:gd name="connsiteX1494" fmla="*/ 7905 w 2663946"/>
                <a:gd name="connsiteY1494" fmla="*/ 70299 h 410520"/>
                <a:gd name="connsiteX1495" fmla="*/ 10068 w 2663946"/>
                <a:gd name="connsiteY1495" fmla="*/ 65162 h 410520"/>
                <a:gd name="connsiteX1496" fmla="*/ 15746 w 2663946"/>
                <a:gd name="connsiteY1496" fmla="*/ 62728 h 410520"/>
                <a:gd name="connsiteX1497" fmla="*/ 23587 w 2663946"/>
                <a:gd name="connsiteY1497" fmla="*/ 62728 h 410520"/>
                <a:gd name="connsiteX1498" fmla="*/ 24128 w 2663946"/>
                <a:gd name="connsiteY1498" fmla="*/ 62188 h 410520"/>
                <a:gd name="connsiteX0" fmla="*/ 2632966 w 2663946"/>
                <a:gd name="connsiteY0" fmla="*/ 349414 h 410520"/>
                <a:gd name="connsiteX1" fmla="*/ 2621414 w 2663946"/>
                <a:gd name="connsiteY1" fmla="*/ 351847 h 410520"/>
                <a:gd name="connsiteX2" fmla="*/ 2618218 w 2663946"/>
                <a:gd name="connsiteY2" fmla="*/ 355362 h 410520"/>
                <a:gd name="connsiteX3" fmla="*/ 2616006 w 2663946"/>
                <a:gd name="connsiteY3" fmla="*/ 359147 h 410520"/>
                <a:gd name="connsiteX4" fmla="*/ 2615023 w 2663946"/>
                <a:gd name="connsiteY4" fmla="*/ 361851 h 410520"/>
                <a:gd name="connsiteX5" fmla="*/ 2614039 w 2663946"/>
                <a:gd name="connsiteY5" fmla="*/ 365907 h 410520"/>
                <a:gd name="connsiteX6" fmla="*/ 2613056 w 2663946"/>
                <a:gd name="connsiteY6" fmla="*/ 372937 h 410520"/>
                <a:gd name="connsiteX7" fmla="*/ 2614039 w 2663946"/>
                <a:gd name="connsiteY7" fmla="*/ 380237 h 410520"/>
                <a:gd name="connsiteX8" fmla="*/ 2615269 w 2663946"/>
                <a:gd name="connsiteY8" fmla="*/ 384022 h 410520"/>
                <a:gd name="connsiteX9" fmla="*/ 2617481 w 2663946"/>
                <a:gd name="connsiteY9" fmla="*/ 388348 h 410520"/>
                <a:gd name="connsiteX10" fmla="*/ 2620922 w 2663946"/>
                <a:gd name="connsiteY10" fmla="*/ 392675 h 410520"/>
                <a:gd name="connsiteX11" fmla="*/ 2625346 w 2663946"/>
                <a:gd name="connsiteY11" fmla="*/ 395378 h 410520"/>
                <a:gd name="connsiteX12" fmla="*/ 2637637 w 2663946"/>
                <a:gd name="connsiteY12" fmla="*/ 392945 h 410520"/>
                <a:gd name="connsiteX13" fmla="*/ 2640832 w 2663946"/>
                <a:gd name="connsiteY13" fmla="*/ 389430 h 410520"/>
                <a:gd name="connsiteX14" fmla="*/ 2643290 w 2663946"/>
                <a:gd name="connsiteY14" fmla="*/ 385104 h 410520"/>
                <a:gd name="connsiteX15" fmla="*/ 2644273 w 2663946"/>
                <a:gd name="connsiteY15" fmla="*/ 382941 h 410520"/>
                <a:gd name="connsiteX16" fmla="*/ 2645502 w 2663946"/>
                <a:gd name="connsiteY16" fmla="*/ 378615 h 410520"/>
                <a:gd name="connsiteX17" fmla="*/ 2645011 w 2663946"/>
                <a:gd name="connsiteY17" fmla="*/ 364825 h 410520"/>
                <a:gd name="connsiteX18" fmla="*/ 2644027 w 2663946"/>
                <a:gd name="connsiteY18" fmla="*/ 361851 h 410520"/>
                <a:gd name="connsiteX19" fmla="*/ 2642799 w 2663946"/>
                <a:gd name="connsiteY19" fmla="*/ 358877 h 410520"/>
                <a:gd name="connsiteX20" fmla="*/ 2640586 w 2663946"/>
                <a:gd name="connsiteY20" fmla="*/ 355362 h 410520"/>
                <a:gd name="connsiteX21" fmla="*/ 2636899 w 2663946"/>
                <a:gd name="connsiteY21" fmla="*/ 351577 h 410520"/>
                <a:gd name="connsiteX22" fmla="*/ 2632966 w 2663946"/>
                <a:gd name="connsiteY22" fmla="*/ 349414 h 410520"/>
                <a:gd name="connsiteX23" fmla="*/ 2627559 w 2663946"/>
                <a:gd name="connsiteY23" fmla="*/ 333461 h 410520"/>
                <a:gd name="connsiteX24" fmla="*/ 2639849 w 2663946"/>
                <a:gd name="connsiteY24" fmla="*/ 335624 h 410520"/>
                <a:gd name="connsiteX25" fmla="*/ 2647223 w 2663946"/>
                <a:gd name="connsiteY25" fmla="*/ 340221 h 410520"/>
                <a:gd name="connsiteX26" fmla="*/ 2650664 w 2663946"/>
                <a:gd name="connsiteY26" fmla="*/ 343465 h 410520"/>
                <a:gd name="connsiteX27" fmla="*/ 2654106 w 2663946"/>
                <a:gd name="connsiteY27" fmla="*/ 347791 h 410520"/>
                <a:gd name="connsiteX28" fmla="*/ 2656072 w 2663946"/>
                <a:gd name="connsiteY28" fmla="*/ 351306 h 410520"/>
                <a:gd name="connsiteX29" fmla="*/ 2658284 w 2663946"/>
                <a:gd name="connsiteY29" fmla="*/ 356714 h 410520"/>
                <a:gd name="connsiteX30" fmla="*/ 2659267 w 2663946"/>
                <a:gd name="connsiteY30" fmla="*/ 360229 h 410520"/>
                <a:gd name="connsiteX31" fmla="*/ 2660251 w 2663946"/>
                <a:gd name="connsiteY31" fmla="*/ 365366 h 410520"/>
                <a:gd name="connsiteX32" fmla="*/ 2660005 w 2663946"/>
                <a:gd name="connsiteY32" fmla="*/ 379696 h 410520"/>
                <a:gd name="connsiteX33" fmla="*/ 2659022 w 2663946"/>
                <a:gd name="connsiteY33" fmla="*/ 384563 h 410520"/>
                <a:gd name="connsiteX34" fmla="*/ 2657792 w 2663946"/>
                <a:gd name="connsiteY34" fmla="*/ 388348 h 410520"/>
                <a:gd name="connsiteX35" fmla="*/ 2656809 w 2663946"/>
                <a:gd name="connsiteY35" fmla="*/ 390782 h 410520"/>
                <a:gd name="connsiteX36" fmla="*/ 2654597 w 2663946"/>
                <a:gd name="connsiteY36" fmla="*/ 395108 h 410520"/>
                <a:gd name="connsiteX37" fmla="*/ 2652385 w 2663946"/>
                <a:gd name="connsiteY37" fmla="*/ 398352 h 410520"/>
                <a:gd name="connsiteX38" fmla="*/ 2648944 w 2663946"/>
                <a:gd name="connsiteY38" fmla="*/ 402138 h 410520"/>
                <a:gd name="connsiteX39" fmla="*/ 2645748 w 2663946"/>
                <a:gd name="connsiteY39" fmla="*/ 404841 h 410520"/>
                <a:gd name="connsiteX40" fmla="*/ 2640095 w 2663946"/>
                <a:gd name="connsiteY40" fmla="*/ 408086 h 410520"/>
                <a:gd name="connsiteX41" fmla="*/ 2632229 w 2663946"/>
                <a:gd name="connsiteY41" fmla="*/ 410249 h 410520"/>
                <a:gd name="connsiteX42" fmla="*/ 2631000 w 2663946"/>
                <a:gd name="connsiteY42" fmla="*/ 410520 h 410520"/>
                <a:gd name="connsiteX43" fmla="*/ 2626821 w 2663946"/>
                <a:gd name="connsiteY43" fmla="*/ 410520 h 410520"/>
                <a:gd name="connsiteX44" fmla="*/ 2626576 w 2663946"/>
                <a:gd name="connsiteY44" fmla="*/ 410520 h 410520"/>
                <a:gd name="connsiteX45" fmla="*/ 2613548 w 2663946"/>
                <a:gd name="connsiteY45" fmla="*/ 405653 h 410520"/>
                <a:gd name="connsiteX46" fmla="*/ 2608878 w 2663946"/>
                <a:gd name="connsiteY46" fmla="*/ 401597 h 410520"/>
                <a:gd name="connsiteX47" fmla="*/ 2605682 w 2663946"/>
                <a:gd name="connsiteY47" fmla="*/ 397812 h 410520"/>
                <a:gd name="connsiteX48" fmla="*/ 2603470 w 2663946"/>
                <a:gd name="connsiteY48" fmla="*/ 394297 h 410520"/>
                <a:gd name="connsiteX49" fmla="*/ 2601258 w 2663946"/>
                <a:gd name="connsiteY49" fmla="*/ 389971 h 410520"/>
                <a:gd name="connsiteX50" fmla="*/ 2600029 w 2663946"/>
                <a:gd name="connsiteY50" fmla="*/ 386996 h 410520"/>
                <a:gd name="connsiteX51" fmla="*/ 2599046 w 2663946"/>
                <a:gd name="connsiteY51" fmla="*/ 383752 h 410520"/>
                <a:gd name="connsiteX52" fmla="*/ 2597816 w 2663946"/>
                <a:gd name="connsiteY52" fmla="*/ 378074 h 410520"/>
                <a:gd name="connsiteX53" fmla="*/ 2597571 w 2663946"/>
                <a:gd name="connsiteY53" fmla="*/ 375100 h 410520"/>
                <a:gd name="connsiteX54" fmla="*/ 2597816 w 2663946"/>
                <a:gd name="connsiteY54" fmla="*/ 375370 h 410520"/>
                <a:gd name="connsiteX55" fmla="*/ 2597816 w 2663946"/>
                <a:gd name="connsiteY55" fmla="*/ 369692 h 410520"/>
                <a:gd name="connsiteX56" fmla="*/ 2597816 w 2663946"/>
                <a:gd name="connsiteY56" fmla="*/ 369422 h 410520"/>
                <a:gd name="connsiteX57" fmla="*/ 2598308 w 2663946"/>
                <a:gd name="connsiteY57" fmla="*/ 364825 h 410520"/>
                <a:gd name="connsiteX58" fmla="*/ 2599537 w 2663946"/>
                <a:gd name="connsiteY58" fmla="*/ 359418 h 410520"/>
                <a:gd name="connsiteX59" fmla="*/ 2600520 w 2663946"/>
                <a:gd name="connsiteY59" fmla="*/ 356173 h 410520"/>
                <a:gd name="connsiteX60" fmla="*/ 2602732 w 2663946"/>
                <a:gd name="connsiteY60" fmla="*/ 351036 h 410520"/>
                <a:gd name="connsiteX61" fmla="*/ 2604945 w 2663946"/>
                <a:gd name="connsiteY61" fmla="*/ 347251 h 410520"/>
                <a:gd name="connsiteX62" fmla="*/ 2607157 w 2663946"/>
                <a:gd name="connsiteY62" fmla="*/ 344276 h 410520"/>
                <a:gd name="connsiteX63" fmla="*/ 2609369 w 2663946"/>
                <a:gd name="connsiteY63" fmla="*/ 341843 h 410520"/>
                <a:gd name="connsiteX64" fmla="*/ 2614039 w 2663946"/>
                <a:gd name="connsiteY64" fmla="*/ 338058 h 410520"/>
                <a:gd name="connsiteX65" fmla="*/ 2617972 w 2663946"/>
                <a:gd name="connsiteY65" fmla="*/ 335895 h 410520"/>
                <a:gd name="connsiteX66" fmla="*/ 2627559 w 2663946"/>
                <a:gd name="connsiteY66" fmla="*/ 333461 h 410520"/>
                <a:gd name="connsiteX67" fmla="*/ 2631061 w 2663946"/>
                <a:gd name="connsiteY67" fmla="*/ 269551 h 410520"/>
                <a:gd name="connsiteX68" fmla="*/ 2621591 w 2663946"/>
                <a:gd name="connsiteY68" fmla="*/ 278825 h 410520"/>
                <a:gd name="connsiteX69" fmla="*/ 2626545 w 2663946"/>
                <a:gd name="connsiteY69" fmla="*/ 286982 h 410520"/>
                <a:gd name="connsiteX70" fmla="*/ 2626545 w 2663946"/>
                <a:gd name="connsiteY70" fmla="*/ 295377 h 410520"/>
                <a:gd name="connsiteX71" fmla="*/ 2631061 w 2663946"/>
                <a:gd name="connsiteY71" fmla="*/ 299800 h 410520"/>
                <a:gd name="connsiteX72" fmla="*/ 2635578 w 2663946"/>
                <a:gd name="connsiteY72" fmla="*/ 295377 h 410520"/>
                <a:gd name="connsiteX73" fmla="*/ 2635578 w 2663946"/>
                <a:gd name="connsiteY73" fmla="*/ 286982 h 410520"/>
                <a:gd name="connsiteX74" fmla="*/ 2640532 w 2663946"/>
                <a:gd name="connsiteY74" fmla="*/ 278825 h 410520"/>
                <a:gd name="connsiteX75" fmla="*/ 2631061 w 2663946"/>
                <a:gd name="connsiteY75" fmla="*/ 269551 h 410520"/>
                <a:gd name="connsiteX76" fmla="*/ 2630799 w 2663946"/>
                <a:gd name="connsiteY76" fmla="*/ 230834 h 410520"/>
                <a:gd name="connsiteX77" fmla="*/ 2619139 w 2663946"/>
                <a:gd name="connsiteY77" fmla="*/ 238563 h 410520"/>
                <a:gd name="connsiteX78" fmla="*/ 2618214 w 2663946"/>
                <a:gd name="connsiteY78" fmla="*/ 243146 h 410520"/>
                <a:gd name="connsiteX79" fmla="*/ 2621454 w 2663946"/>
                <a:gd name="connsiteY79" fmla="*/ 243146 h 410520"/>
                <a:gd name="connsiteX80" fmla="*/ 2639871 w 2663946"/>
                <a:gd name="connsiteY80" fmla="*/ 243146 h 410520"/>
                <a:gd name="connsiteX81" fmla="*/ 2643385 w 2663946"/>
                <a:gd name="connsiteY81" fmla="*/ 243146 h 410520"/>
                <a:gd name="connsiteX82" fmla="*/ 2642460 w 2663946"/>
                <a:gd name="connsiteY82" fmla="*/ 238563 h 410520"/>
                <a:gd name="connsiteX83" fmla="*/ 2630799 w 2663946"/>
                <a:gd name="connsiteY83" fmla="*/ 230834 h 410520"/>
                <a:gd name="connsiteX84" fmla="*/ 2630799 w 2663946"/>
                <a:gd name="connsiteY84" fmla="*/ 218179 h 410520"/>
                <a:gd name="connsiteX85" fmla="*/ 2655595 w 2663946"/>
                <a:gd name="connsiteY85" fmla="*/ 238388 h 410520"/>
                <a:gd name="connsiteX86" fmla="*/ 2656074 w 2663946"/>
                <a:gd name="connsiteY86" fmla="*/ 243146 h 410520"/>
                <a:gd name="connsiteX87" fmla="*/ 2657493 w 2663946"/>
                <a:gd name="connsiteY87" fmla="*/ 243146 h 410520"/>
                <a:gd name="connsiteX88" fmla="*/ 2663946 w 2663946"/>
                <a:gd name="connsiteY88" fmla="*/ 249432 h 410520"/>
                <a:gd name="connsiteX89" fmla="*/ 2663946 w 2663946"/>
                <a:gd name="connsiteY89" fmla="*/ 299154 h 410520"/>
                <a:gd name="connsiteX90" fmla="*/ 2657493 w 2663946"/>
                <a:gd name="connsiteY90" fmla="*/ 305440 h 410520"/>
                <a:gd name="connsiteX91" fmla="*/ 2604106 w 2663946"/>
                <a:gd name="connsiteY91" fmla="*/ 305440 h 410520"/>
                <a:gd name="connsiteX92" fmla="*/ 2597652 w 2663946"/>
                <a:gd name="connsiteY92" fmla="*/ 299154 h 410520"/>
                <a:gd name="connsiteX93" fmla="*/ 2597652 w 2663946"/>
                <a:gd name="connsiteY93" fmla="*/ 249432 h 410520"/>
                <a:gd name="connsiteX94" fmla="*/ 2604106 w 2663946"/>
                <a:gd name="connsiteY94" fmla="*/ 243146 h 410520"/>
                <a:gd name="connsiteX95" fmla="*/ 2604940 w 2663946"/>
                <a:gd name="connsiteY95" fmla="*/ 243146 h 410520"/>
                <a:gd name="connsiteX96" fmla="*/ 2605524 w 2663946"/>
                <a:gd name="connsiteY96" fmla="*/ 243146 h 410520"/>
                <a:gd name="connsiteX97" fmla="*/ 2606004 w 2663946"/>
                <a:gd name="connsiteY97" fmla="*/ 238388 h 410520"/>
                <a:gd name="connsiteX98" fmla="*/ 2630799 w 2663946"/>
                <a:gd name="connsiteY98" fmla="*/ 218179 h 410520"/>
                <a:gd name="connsiteX99" fmla="*/ 33409 w 2663946"/>
                <a:gd name="connsiteY99" fmla="*/ 165325 h 410520"/>
                <a:gd name="connsiteX100" fmla="*/ 23938 w 2663946"/>
                <a:gd name="connsiteY100" fmla="*/ 174599 h 410520"/>
                <a:gd name="connsiteX101" fmla="*/ 28892 w 2663946"/>
                <a:gd name="connsiteY101" fmla="*/ 182756 h 410520"/>
                <a:gd name="connsiteX102" fmla="*/ 28892 w 2663946"/>
                <a:gd name="connsiteY102" fmla="*/ 191151 h 410520"/>
                <a:gd name="connsiteX103" fmla="*/ 33409 w 2663946"/>
                <a:gd name="connsiteY103" fmla="*/ 195574 h 410520"/>
                <a:gd name="connsiteX104" fmla="*/ 37926 w 2663946"/>
                <a:gd name="connsiteY104" fmla="*/ 191151 h 410520"/>
                <a:gd name="connsiteX105" fmla="*/ 37926 w 2663946"/>
                <a:gd name="connsiteY105" fmla="*/ 182756 h 410520"/>
                <a:gd name="connsiteX106" fmla="*/ 42880 w 2663946"/>
                <a:gd name="connsiteY106" fmla="*/ 174599 h 410520"/>
                <a:gd name="connsiteX107" fmla="*/ 33409 w 2663946"/>
                <a:gd name="connsiteY107" fmla="*/ 165325 h 410520"/>
                <a:gd name="connsiteX108" fmla="*/ 2538193 w 2663946"/>
                <a:gd name="connsiteY108" fmla="*/ 157737 h 410520"/>
                <a:gd name="connsiteX109" fmla="*/ 2528723 w 2663946"/>
                <a:gd name="connsiteY109" fmla="*/ 167011 h 410520"/>
                <a:gd name="connsiteX110" fmla="*/ 2533677 w 2663946"/>
                <a:gd name="connsiteY110" fmla="*/ 175168 h 410520"/>
                <a:gd name="connsiteX111" fmla="*/ 2533677 w 2663946"/>
                <a:gd name="connsiteY111" fmla="*/ 183563 h 410520"/>
                <a:gd name="connsiteX112" fmla="*/ 2538193 w 2663946"/>
                <a:gd name="connsiteY112" fmla="*/ 187986 h 410520"/>
                <a:gd name="connsiteX113" fmla="*/ 2542710 w 2663946"/>
                <a:gd name="connsiteY113" fmla="*/ 183563 h 410520"/>
                <a:gd name="connsiteX114" fmla="*/ 2542710 w 2663946"/>
                <a:gd name="connsiteY114" fmla="*/ 175168 h 410520"/>
                <a:gd name="connsiteX115" fmla="*/ 2547664 w 2663946"/>
                <a:gd name="connsiteY115" fmla="*/ 167011 h 410520"/>
                <a:gd name="connsiteX116" fmla="*/ 2538193 w 2663946"/>
                <a:gd name="connsiteY116" fmla="*/ 157737 h 410520"/>
                <a:gd name="connsiteX117" fmla="*/ 2113196 w 2663946"/>
                <a:gd name="connsiteY117" fmla="*/ 157737 h 410520"/>
                <a:gd name="connsiteX118" fmla="*/ 2103726 w 2663946"/>
                <a:gd name="connsiteY118" fmla="*/ 167011 h 410520"/>
                <a:gd name="connsiteX119" fmla="*/ 2108680 w 2663946"/>
                <a:gd name="connsiteY119" fmla="*/ 175168 h 410520"/>
                <a:gd name="connsiteX120" fmla="*/ 2108680 w 2663946"/>
                <a:gd name="connsiteY120" fmla="*/ 183563 h 410520"/>
                <a:gd name="connsiteX121" fmla="*/ 2113196 w 2663946"/>
                <a:gd name="connsiteY121" fmla="*/ 187986 h 410520"/>
                <a:gd name="connsiteX122" fmla="*/ 2117713 w 2663946"/>
                <a:gd name="connsiteY122" fmla="*/ 183563 h 410520"/>
                <a:gd name="connsiteX123" fmla="*/ 2117713 w 2663946"/>
                <a:gd name="connsiteY123" fmla="*/ 175168 h 410520"/>
                <a:gd name="connsiteX124" fmla="*/ 2122667 w 2663946"/>
                <a:gd name="connsiteY124" fmla="*/ 167011 h 410520"/>
                <a:gd name="connsiteX125" fmla="*/ 2113196 w 2663946"/>
                <a:gd name="connsiteY125" fmla="*/ 157737 h 410520"/>
                <a:gd name="connsiteX126" fmla="*/ 1855228 w 2663946"/>
                <a:gd name="connsiteY126" fmla="*/ 157737 h 410520"/>
                <a:gd name="connsiteX127" fmla="*/ 1845758 w 2663946"/>
                <a:gd name="connsiteY127" fmla="*/ 167011 h 410520"/>
                <a:gd name="connsiteX128" fmla="*/ 1850712 w 2663946"/>
                <a:gd name="connsiteY128" fmla="*/ 175168 h 410520"/>
                <a:gd name="connsiteX129" fmla="*/ 1850712 w 2663946"/>
                <a:gd name="connsiteY129" fmla="*/ 183563 h 410520"/>
                <a:gd name="connsiteX130" fmla="*/ 1855228 w 2663946"/>
                <a:gd name="connsiteY130" fmla="*/ 187986 h 410520"/>
                <a:gd name="connsiteX131" fmla="*/ 1859745 w 2663946"/>
                <a:gd name="connsiteY131" fmla="*/ 183563 h 410520"/>
                <a:gd name="connsiteX132" fmla="*/ 1859745 w 2663946"/>
                <a:gd name="connsiteY132" fmla="*/ 175168 h 410520"/>
                <a:gd name="connsiteX133" fmla="*/ 1864699 w 2663946"/>
                <a:gd name="connsiteY133" fmla="*/ 167011 h 410520"/>
                <a:gd name="connsiteX134" fmla="*/ 1855228 w 2663946"/>
                <a:gd name="connsiteY134" fmla="*/ 157737 h 410520"/>
                <a:gd name="connsiteX135" fmla="*/ 1764289 w 2663946"/>
                <a:gd name="connsiteY135" fmla="*/ 157737 h 410520"/>
                <a:gd name="connsiteX136" fmla="*/ 1754819 w 2663946"/>
                <a:gd name="connsiteY136" fmla="*/ 167011 h 410520"/>
                <a:gd name="connsiteX137" fmla="*/ 1759773 w 2663946"/>
                <a:gd name="connsiteY137" fmla="*/ 175168 h 410520"/>
                <a:gd name="connsiteX138" fmla="*/ 1759773 w 2663946"/>
                <a:gd name="connsiteY138" fmla="*/ 183563 h 410520"/>
                <a:gd name="connsiteX139" fmla="*/ 1764289 w 2663946"/>
                <a:gd name="connsiteY139" fmla="*/ 187986 h 410520"/>
                <a:gd name="connsiteX140" fmla="*/ 1768806 w 2663946"/>
                <a:gd name="connsiteY140" fmla="*/ 183563 h 410520"/>
                <a:gd name="connsiteX141" fmla="*/ 1768806 w 2663946"/>
                <a:gd name="connsiteY141" fmla="*/ 175168 h 410520"/>
                <a:gd name="connsiteX142" fmla="*/ 1773760 w 2663946"/>
                <a:gd name="connsiteY142" fmla="*/ 167011 h 410520"/>
                <a:gd name="connsiteX143" fmla="*/ 1764289 w 2663946"/>
                <a:gd name="connsiteY143" fmla="*/ 157737 h 410520"/>
                <a:gd name="connsiteX144" fmla="*/ 1506321 w 2663946"/>
                <a:gd name="connsiteY144" fmla="*/ 157737 h 410520"/>
                <a:gd name="connsiteX145" fmla="*/ 1496851 w 2663946"/>
                <a:gd name="connsiteY145" fmla="*/ 167011 h 410520"/>
                <a:gd name="connsiteX146" fmla="*/ 1501805 w 2663946"/>
                <a:gd name="connsiteY146" fmla="*/ 175168 h 410520"/>
                <a:gd name="connsiteX147" fmla="*/ 1501805 w 2663946"/>
                <a:gd name="connsiteY147" fmla="*/ 183563 h 410520"/>
                <a:gd name="connsiteX148" fmla="*/ 1506321 w 2663946"/>
                <a:gd name="connsiteY148" fmla="*/ 187986 h 410520"/>
                <a:gd name="connsiteX149" fmla="*/ 1510838 w 2663946"/>
                <a:gd name="connsiteY149" fmla="*/ 183563 h 410520"/>
                <a:gd name="connsiteX150" fmla="*/ 1510838 w 2663946"/>
                <a:gd name="connsiteY150" fmla="*/ 175168 h 410520"/>
                <a:gd name="connsiteX151" fmla="*/ 1515792 w 2663946"/>
                <a:gd name="connsiteY151" fmla="*/ 167011 h 410520"/>
                <a:gd name="connsiteX152" fmla="*/ 1506321 w 2663946"/>
                <a:gd name="connsiteY152" fmla="*/ 157737 h 410520"/>
                <a:gd name="connsiteX153" fmla="*/ 1415382 w 2663946"/>
                <a:gd name="connsiteY153" fmla="*/ 157737 h 410520"/>
                <a:gd name="connsiteX154" fmla="*/ 1405912 w 2663946"/>
                <a:gd name="connsiteY154" fmla="*/ 167011 h 410520"/>
                <a:gd name="connsiteX155" fmla="*/ 1410866 w 2663946"/>
                <a:gd name="connsiteY155" fmla="*/ 175168 h 410520"/>
                <a:gd name="connsiteX156" fmla="*/ 1410866 w 2663946"/>
                <a:gd name="connsiteY156" fmla="*/ 183563 h 410520"/>
                <a:gd name="connsiteX157" fmla="*/ 1415382 w 2663946"/>
                <a:gd name="connsiteY157" fmla="*/ 187986 h 410520"/>
                <a:gd name="connsiteX158" fmla="*/ 1419899 w 2663946"/>
                <a:gd name="connsiteY158" fmla="*/ 183563 h 410520"/>
                <a:gd name="connsiteX159" fmla="*/ 1419899 w 2663946"/>
                <a:gd name="connsiteY159" fmla="*/ 175168 h 410520"/>
                <a:gd name="connsiteX160" fmla="*/ 1424853 w 2663946"/>
                <a:gd name="connsiteY160" fmla="*/ 167011 h 410520"/>
                <a:gd name="connsiteX161" fmla="*/ 1415382 w 2663946"/>
                <a:gd name="connsiteY161" fmla="*/ 157737 h 410520"/>
                <a:gd name="connsiteX162" fmla="*/ 1157414 w 2663946"/>
                <a:gd name="connsiteY162" fmla="*/ 157737 h 410520"/>
                <a:gd name="connsiteX163" fmla="*/ 1147944 w 2663946"/>
                <a:gd name="connsiteY163" fmla="*/ 167011 h 410520"/>
                <a:gd name="connsiteX164" fmla="*/ 1152898 w 2663946"/>
                <a:gd name="connsiteY164" fmla="*/ 175168 h 410520"/>
                <a:gd name="connsiteX165" fmla="*/ 1152898 w 2663946"/>
                <a:gd name="connsiteY165" fmla="*/ 183563 h 410520"/>
                <a:gd name="connsiteX166" fmla="*/ 1157414 w 2663946"/>
                <a:gd name="connsiteY166" fmla="*/ 187986 h 410520"/>
                <a:gd name="connsiteX167" fmla="*/ 1161931 w 2663946"/>
                <a:gd name="connsiteY167" fmla="*/ 183563 h 410520"/>
                <a:gd name="connsiteX168" fmla="*/ 1161931 w 2663946"/>
                <a:gd name="connsiteY168" fmla="*/ 175168 h 410520"/>
                <a:gd name="connsiteX169" fmla="*/ 1166885 w 2663946"/>
                <a:gd name="connsiteY169" fmla="*/ 167011 h 410520"/>
                <a:gd name="connsiteX170" fmla="*/ 1157414 w 2663946"/>
                <a:gd name="connsiteY170" fmla="*/ 157737 h 410520"/>
                <a:gd name="connsiteX171" fmla="*/ 732418 w 2663946"/>
                <a:gd name="connsiteY171" fmla="*/ 157737 h 410520"/>
                <a:gd name="connsiteX172" fmla="*/ 722947 w 2663946"/>
                <a:gd name="connsiteY172" fmla="*/ 167011 h 410520"/>
                <a:gd name="connsiteX173" fmla="*/ 727901 w 2663946"/>
                <a:gd name="connsiteY173" fmla="*/ 175168 h 410520"/>
                <a:gd name="connsiteX174" fmla="*/ 727901 w 2663946"/>
                <a:gd name="connsiteY174" fmla="*/ 183563 h 410520"/>
                <a:gd name="connsiteX175" fmla="*/ 732418 w 2663946"/>
                <a:gd name="connsiteY175" fmla="*/ 187986 h 410520"/>
                <a:gd name="connsiteX176" fmla="*/ 736935 w 2663946"/>
                <a:gd name="connsiteY176" fmla="*/ 183563 h 410520"/>
                <a:gd name="connsiteX177" fmla="*/ 736935 w 2663946"/>
                <a:gd name="connsiteY177" fmla="*/ 175168 h 410520"/>
                <a:gd name="connsiteX178" fmla="*/ 741889 w 2663946"/>
                <a:gd name="connsiteY178" fmla="*/ 167011 h 410520"/>
                <a:gd name="connsiteX179" fmla="*/ 732418 w 2663946"/>
                <a:gd name="connsiteY179" fmla="*/ 157737 h 410520"/>
                <a:gd name="connsiteX180" fmla="*/ 641479 w 2663946"/>
                <a:gd name="connsiteY180" fmla="*/ 157737 h 410520"/>
                <a:gd name="connsiteX181" fmla="*/ 632008 w 2663946"/>
                <a:gd name="connsiteY181" fmla="*/ 167011 h 410520"/>
                <a:gd name="connsiteX182" fmla="*/ 636962 w 2663946"/>
                <a:gd name="connsiteY182" fmla="*/ 175168 h 410520"/>
                <a:gd name="connsiteX183" fmla="*/ 636962 w 2663946"/>
                <a:gd name="connsiteY183" fmla="*/ 183563 h 410520"/>
                <a:gd name="connsiteX184" fmla="*/ 641479 w 2663946"/>
                <a:gd name="connsiteY184" fmla="*/ 187986 h 410520"/>
                <a:gd name="connsiteX185" fmla="*/ 645996 w 2663946"/>
                <a:gd name="connsiteY185" fmla="*/ 183563 h 410520"/>
                <a:gd name="connsiteX186" fmla="*/ 645996 w 2663946"/>
                <a:gd name="connsiteY186" fmla="*/ 175168 h 410520"/>
                <a:gd name="connsiteX187" fmla="*/ 650950 w 2663946"/>
                <a:gd name="connsiteY187" fmla="*/ 167011 h 410520"/>
                <a:gd name="connsiteX188" fmla="*/ 641479 w 2663946"/>
                <a:gd name="connsiteY188" fmla="*/ 157737 h 410520"/>
                <a:gd name="connsiteX189" fmla="*/ 459528 w 2663946"/>
                <a:gd name="connsiteY189" fmla="*/ 157737 h 410520"/>
                <a:gd name="connsiteX190" fmla="*/ 450057 w 2663946"/>
                <a:gd name="connsiteY190" fmla="*/ 167011 h 410520"/>
                <a:gd name="connsiteX191" fmla="*/ 455011 w 2663946"/>
                <a:gd name="connsiteY191" fmla="*/ 175168 h 410520"/>
                <a:gd name="connsiteX192" fmla="*/ 455011 w 2663946"/>
                <a:gd name="connsiteY192" fmla="*/ 183563 h 410520"/>
                <a:gd name="connsiteX193" fmla="*/ 459528 w 2663946"/>
                <a:gd name="connsiteY193" fmla="*/ 187986 h 410520"/>
                <a:gd name="connsiteX194" fmla="*/ 464045 w 2663946"/>
                <a:gd name="connsiteY194" fmla="*/ 183563 h 410520"/>
                <a:gd name="connsiteX195" fmla="*/ 464045 w 2663946"/>
                <a:gd name="connsiteY195" fmla="*/ 175168 h 410520"/>
                <a:gd name="connsiteX196" fmla="*/ 468999 w 2663946"/>
                <a:gd name="connsiteY196" fmla="*/ 167011 h 410520"/>
                <a:gd name="connsiteX197" fmla="*/ 459528 w 2663946"/>
                <a:gd name="connsiteY197" fmla="*/ 157737 h 410520"/>
                <a:gd name="connsiteX198" fmla="*/ 2632966 w 2663946"/>
                <a:gd name="connsiteY198" fmla="*/ 130544 h 410520"/>
                <a:gd name="connsiteX199" fmla="*/ 2621414 w 2663946"/>
                <a:gd name="connsiteY199" fmla="*/ 132977 h 410520"/>
                <a:gd name="connsiteX200" fmla="*/ 2618218 w 2663946"/>
                <a:gd name="connsiteY200" fmla="*/ 136492 h 410520"/>
                <a:gd name="connsiteX201" fmla="*/ 2616006 w 2663946"/>
                <a:gd name="connsiteY201" fmla="*/ 140277 h 410520"/>
                <a:gd name="connsiteX202" fmla="*/ 2615023 w 2663946"/>
                <a:gd name="connsiteY202" fmla="*/ 142981 h 410520"/>
                <a:gd name="connsiteX203" fmla="*/ 2614039 w 2663946"/>
                <a:gd name="connsiteY203" fmla="*/ 147037 h 410520"/>
                <a:gd name="connsiteX204" fmla="*/ 2613056 w 2663946"/>
                <a:gd name="connsiteY204" fmla="*/ 154067 h 410520"/>
                <a:gd name="connsiteX205" fmla="*/ 2614039 w 2663946"/>
                <a:gd name="connsiteY205" fmla="*/ 161367 h 410520"/>
                <a:gd name="connsiteX206" fmla="*/ 2615269 w 2663946"/>
                <a:gd name="connsiteY206" fmla="*/ 165152 h 410520"/>
                <a:gd name="connsiteX207" fmla="*/ 2617481 w 2663946"/>
                <a:gd name="connsiteY207" fmla="*/ 169478 h 410520"/>
                <a:gd name="connsiteX208" fmla="*/ 2620922 w 2663946"/>
                <a:gd name="connsiteY208" fmla="*/ 173805 h 410520"/>
                <a:gd name="connsiteX209" fmla="*/ 2625346 w 2663946"/>
                <a:gd name="connsiteY209" fmla="*/ 176508 h 410520"/>
                <a:gd name="connsiteX210" fmla="*/ 2637637 w 2663946"/>
                <a:gd name="connsiteY210" fmla="*/ 174075 h 410520"/>
                <a:gd name="connsiteX211" fmla="*/ 2640832 w 2663946"/>
                <a:gd name="connsiteY211" fmla="*/ 170560 h 410520"/>
                <a:gd name="connsiteX212" fmla="*/ 2643290 w 2663946"/>
                <a:gd name="connsiteY212" fmla="*/ 166234 h 410520"/>
                <a:gd name="connsiteX213" fmla="*/ 2644273 w 2663946"/>
                <a:gd name="connsiteY213" fmla="*/ 164071 h 410520"/>
                <a:gd name="connsiteX214" fmla="*/ 2645502 w 2663946"/>
                <a:gd name="connsiteY214" fmla="*/ 159745 h 410520"/>
                <a:gd name="connsiteX215" fmla="*/ 2645011 w 2663946"/>
                <a:gd name="connsiteY215" fmla="*/ 145955 h 410520"/>
                <a:gd name="connsiteX216" fmla="*/ 2644027 w 2663946"/>
                <a:gd name="connsiteY216" fmla="*/ 142981 h 410520"/>
                <a:gd name="connsiteX217" fmla="*/ 2642799 w 2663946"/>
                <a:gd name="connsiteY217" fmla="*/ 140007 h 410520"/>
                <a:gd name="connsiteX218" fmla="*/ 2640586 w 2663946"/>
                <a:gd name="connsiteY218" fmla="*/ 136492 h 410520"/>
                <a:gd name="connsiteX219" fmla="*/ 2636899 w 2663946"/>
                <a:gd name="connsiteY219" fmla="*/ 132707 h 410520"/>
                <a:gd name="connsiteX220" fmla="*/ 2632966 w 2663946"/>
                <a:gd name="connsiteY220" fmla="*/ 130544 h 410520"/>
                <a:gd name="connsiteX221" fmla="*/ 2451011 w 2663946"/>
                <a:gd name="connsiteY221" fmla="*/ 130544 h 410520"/>
                <a:gd name="connsiteX222" fmla="*/ 2439459 w 2663946"/>
                <a:gd name="connsiteY222" fmla="*/ 132977 h 410520"/>
                <a:gd name="connsiteX223" fmla="*/ 2436263 w 2663946"/>
                <a:gd name="connsiteY223" fmla="*/ 136492 h 410520"/>
                <a:gd name="connsiteX224" fmla="*/ 2434051 w 2663946"/>
                <a:gd name="connsiteY224" fmla="*/ 140277 h 410520"/>
                <a:gd name="connsiteX225" fmla="*/ 2433068 w 2663946"/>
                <a:gd name="connsiteY225" fmla="*/ 142981 h 410520"/>
                <a:gd name="connsiteX226" fmla="*/ 2432084 w 2663946"/>
                <a:gd name="connsiteY226" fmla="*/ 147037 h 410520"/>
                <a:gd name="connsiteX227" fmla="*/ 2431101 w 2663946"/>
                <a:gd name="connsiteY227" fmla="*/ 154067 h 410520"/>
                <a:gd name="connsiteX228" fmla="*/ 2432084 w 2663946"/>
                <a:gd name="connsiteY228" fmla="*/ 161367 h 410520"/>
                <a:gd name="connsiteX229" fmla="*/ 2433314 w 2663946"/>
                <a:gd name="connsiteY229" fmla="*/ 165152 h 410520"/>
                <a:gd name="connsiteX230" fmla="*/ 2435526 w 2663946"/>
                <a:gd name="connsiteY230" fmla="*/ 169478 h 410520"/>
                <a:gd name="connsiteX231" fmla="*/ 2438967 w 2663946"/>
                <a:gd name="connsiteY231" fmla="*/ 173805 h 410520"/>
                <a:gd name="connsiteX232" fmla="*/ 2443391 w 2663946"/>
                <a:gd name="connsiteY232" fmla="*/ 176508 h 410520"/>
                <a:gd name="connsiteX233" fmla="*/ 2455682 w 2663946"/>
                <a:gd name="connsiteY233" fmla="*/ 174075 h 410520"/>
                <a:gd name="connsiteX234" fmla="*/ 2458877 w 2663946"/>
                <a:gd name="connsiteY234" fmla="*/ 170560 h 410520"/>
                <a:gd name="connsiteX235" fmla="*/ 2461335 w 2663946"/>
                <a:gd name="connsiteY235" fmla="*/ 166234 h 410520"/>
                <a:gd name="connsiteX236" fmla="*/ 2462318 w 2663946"/>
                <a:gd name="connsiteY236" fmla="*/ 164071 h 410520"/>
                <a:gd name="connsiteX237" fmla="*/ 2463547 w 2663946"/>
                <a:gd name="connsiteY237" fmla="*/ 159745 h 410520"/>
                <a:gd name="connsiteX238" fmla="*/ 2463056 w 2663946"/>
                <a:gd name="connsiteY238" fmla="*/ 145955 h 410520"/>
                <a:gd name="connsiteX239" fmla="*/ 2462072 w 2663946"/>
                <a:gd name="connsiteY239" fmla="*/ 142981 h 410520"/>
                <a:gd name="connsiteX240" fmla="*/ 2460844 w 2663946"/>
                <a:gd name="connsiteY240" fmla="*/ 140007 h 410520"/>
                <a:gd name="connsiteX241" fmla="*/ 2458631 w 2663946"/>
                <a:gd name="connsiteY241" fmla="*/ 136492 h 410520"/>
                <a:gd name="connsiteX242" fmla="*/ 2454944 w 2663946"/>
                <a:gd name="connsiteY242" fmla="*/ 132707 h 410520"/>
                <a:gd name="connsiteX243" fmla="*/ 2451011 w 2663946"/>
                <a:gd name="connsiteY243" fmla="*/ 130544 h 410520"/>
                <a:gd name="connsiteX244" fmla="*/ 2207965 w 2663946"/>
                <a:gd name="connsiteY244" fmla="*/ 130544 h 410520"/>
                <a:gd name="connsiteX245" fmla="*/ 2196413 w 2663946"/>
                <a:gd name="connsiteY245" fmla="*/ 132977 h 410520"/>
                <a:gd name="connsiteX246" fmla="*/ 2193217 w 2663946"/>
                <a:gd name="connsiteY246" fmla="*/ 136492 h 410520"/>
                <a:gd name="connsiteX247" fmla="*/ 2191005 w 2663946"/>
                <a:gd name="connsiteY247" fmla="*/ 140277 h 410520"/>
                <a:gd name="connsiteX248" fmla="*/ 2190022 w 2663946"/>
                <a:gd name="connsiteY248" fmla="*/ 142981 h 410520"/>
                <a:gd name="connsiteX249" fmla="*/ 2189038 w 2663946"/>
                <a:gd name="connsiteY249" fmla="*/ 147037 h 410520"/>
                <a:gd name="connsiteX250" fmla="*/ 2188055 w 2663946"/>
                <a:gd name="connsiteY250" fmla="*/ 154067 h 410520"/>
                <a:gd name="connsiteX251" fmla="*/ 2189038 w 2663946"/>
                <a:gd name="connsiteY251" fmla="*/ 161367 h 410520"/>
                <a:gd name="connsiteX252" fmla="*/ 2190268 w 2663946"/>
                <a:gd name="connsiteY252" fmla="*/ 165152 h 410520"/>
                <a:gd name="connsiteX253" fmla="*/ 2192480 w 2663946"/>
                <a:gd name="connsiteY253" fmla="*/ 169478 h 410520"/>
                <a:gd name="connsiteX254" fmla="*/ 2195921 w 2663946"/>
                <a:gd name="connsiteY254" fmla="*/ 173805 h 410520"/>
                <a:gd name="connsiteX255" fmla="*/ 2200345 w 2663946"/>
                <a:gd name="connsiteY255" fmla="*/ 176508 h 410520"/>
                <a:gd name="connsiteX256" fmla="*/ 2212636 w 2663946"/>
                <a:gd name="connsiteY256" fmla="*/ 174075 h 410520"/>
                <a:gd name="connsiteX257" fmla="*/ 2215831 w 2663946"/>
                <a:gd name="connsiteY257" fmla="*/ 170560 h 410520"/>
                <a:gd name="connsiteX258" fmla="*/ 2218289 w 2663946"/>
                <a:gd name="connsiteY258" fmla="*/ 166234 h 410520"/>
                <a:gd name="connsiteX259" fmla="*/ 2219272 w 2663946"/>
                <a:gd name="connsiteY259" fmla="*/ 164071 h 410520"/>
                <a:gd name="connsiteX260" fmla="*/ 2220501 w 2663946"/>
                <a:gd name="connsiteY260" fmla="*/ 159745 h 410520"/>
                <a:gd name="connsiteX261" fmla="*/ 2220010 w 2663946"/>
                <a:gd name="connsiteY261" fmla="*/ 145955 h 410520"/>
                <a:gd name="connsiteX262" fmla="*/ 2219026 w 2663946"/>
                <a:gd name="connsiteY262" fmla="*/ 142981 h 410520"/>
                <a:gd name="connsiteX263" fmla="*/ 2217798 w 2663946"/>
                <a:gd name="connsiteY263" fmla="*/ 140007 h 410520"/>
                <a:gd name="connsiteX264" fmla="*/ 2215585 w 2663946"/>
                <a:gd name="connsiteY264" fmla="*/ 136492 h 410520"/>
                <a:gd name="connsiteX265" fmla="*/ 2211898 w 2663946"/>
                <a:gd name="connsiteY265" fmla="*/ 132707 h 410520"/>
                <a:gd name="connsiteX266" fmla="*/ 2207965 w 2663946"/>
                <a:gd name="connsiteY266" fmla="*/ 130544 h 410520"/>
                <a:gd name="connsiteX267" fmla="*/ 2026014 w 2663946"/>
                <a:gd name="connsiteY267" fmla="*/ 130544 h 410520"/>
                <a:gd name="connsiteX268" fmla="*/ 2014462 w 2663946"/>
                <a:gd name="connsiteY268" fmla="*/ 132977 h 410520"/>
                <a:gd name="connsiteX269" fmla="*/ 2011266 w 2663946"/>
                <a:gd name="connsiteY269" fmla="*/ 136492 h 410520"/>
                <a:gd name="connsiteX270" fmla="*/ 2009054 w 2663946"/>
                <a:gd name="connsiteY270" fmla="*/ 140277 h 410520"/>
                <a:gd name="connsiteX271" fmla="*/ 2008071 w 2663946"/>
                <a:gd name="connsiteY271" fmla="*/ 142981 h 410520"/>
                <a:gd name="connsiteX272" fmla="*/ 2007087 w 2663946"/>
                <a:gd name="connsiteY272" fmla="*/ 147037 h 410520"/>
                <a:gd name="connsiteX273" fmla="*/ 2006104 w 2663946"/>
                <a:gd name="connsiteY273" fmla="*/ 154067 h 410520"/>
                <a:gd name="connsiteX274" fmla="*/ 2007087 w 2663946"/>
                <a:gd name="connsiteY274" fmla="*/ 161367 h 410520"/>
                <a:gd name="connsiteX275" fmla="*/ 2008317 w 2663946"/>
                <a:gd name="connsiteY275" fmla="*/ 165152 h 410520"/>
                <a:gd name="connsiteX276" fmla="*/ 2010529 w 2663946"/>
                <a:gd name="connsiteY276" fmla="*/ 169478 h 410520"/>
                <a:gd name="connsiteX277" fmla="*/ 2013970 w 2663946"/>
                <a:gd name="connsiteY277" fmla="*/ 173805 h 410520"/>
                <a:gd name="connsiteX278" fmla="*/ 2018394 w 2663946"/>
                <a:gd name="connsiteY278" fmla="*/ 176508 h 410520"/>
                <a:gd name="connsiteX279" fmla="*/ 2030685 w 2663946"/>
                <a:gd name="connsiteY279" fmla="*/ 174075 h 410520"/>
                <a:gd name="connsiteX280" fmla="*/ 2033880 w 2663946"/>
                <a:gd name="connsiteY280" fmla="*/ 170560 h 410520"/>
                <a:gd name="connsiteX281" fmla="*/ 2036338 w 2663946"/>
                <a:gd name="connsiteY281" fmla="*/ 166234 h 410520"/>
                <a:gd name="connsiteX282" fmla="*/ 2037321 w 2663946"/>
                <a:gd name="connsiteY282" fmla="*/ 164071 h 410520"/>
                <a:gd name="connsiteX283" fmla="*/ 2038550 w 2663946"/>
                <a:gd name="connsiteY283" fmla="*/ 159745 h 410520"/>
                <a:gd name="connsiteX284" fmla="*/ 2038059 w 2663946"/>
                <a:gd name="connsiteY284" fmla="*/ 145955 h 410520"/>
                <a:gd name="connsiteX285" fmla="*/ 2037075 w 2663946"/>
                <a:gd name="connsiteY285" fmla="*/ 142981 h 410520"/>
                <a:gd name="connsiteX286" fmla="*/ 2035847 w 2663946"/>
                <a:gd name="connsiteY286" fmla="*/ 140007 h 410520"/>
                <a:gd name="connsiteX287" fmla="*/ 2033634 w 2663946"/>
                <a:gd name="connsiteY287" fmla="*/ 136492 h 410520"/>
                <a:gd name="connsiteX288" fmla="*/ 2029947 w 2663946"/>
                <a:gd name="connsiteY288" fmla="*/ 132707 h 410520"/>
                <a:gd name="connsiteX289" fmla="*/ 2026014 w 2663946"/>
                <a:gd name="connsiteY289" fmla="*/ 130544 h 410520"/>
                <a:gd name="connsiteX290" fmla="*/ 1601090 w 2663946"/>
                <a:gd name="connsiteY290" fmla="*/ 130544 h 410520"/>
                <a:gd name="connsiteX291" fmla="*/ 1589537 w 2663946"/>
                <a:gd name="connsiteY291" fmla="*/ 132977 h 410520"/>
                <a:gd name="connsiteX292" fmla="*/ 1586342 w 2663946"/>
                <a:gd name="connsiteY292" fmla="*/ 136492 h 410520"/>
                <a:gd name="connsiteX293" fmla="*/ 1584130 w 2663946"/>
                <a:gd name="connsiteY293" fmla="*/ 140277 h 410520"/>
                <a:gd name="connsiteX294" fmla="*/ 1583147 w 2663946"/>
                <a:gd name="connsiteY294" fmla="*/ 142981 h 410520"/>
                <a:gd name="connsiteX295" fmla="*/ 1582163 w 2663946"/>
                <a:gd name="connsiteY295" fmla="*/ 147037 h 410520"/>
                <a:gd name="connsiteX296" fmla="*/ 1581180 w 2663946"/>
                <a:gd name="connsiteY296" fmla="*/ 154067 h 410520"/>
                <a:gd name="connsiteX297" fmla="*/ 1582163 w 2663946"/>
                <a:gd name="connsiteY297" fmla="*/ 161367 h 410520"/>
                <a:gd name="connsiteX298" fmla="*/ 1583393 w 2663946"/>
                <a:gd name="connsiteY298" fmla="*/ 165152 h 410520"/>
                <a:gd name="connsiteX299" fmla="*/ 1585605 w 2663946"/>
                <a:gd name="connsiteY299" fmla="*/ 169478 h 410520"/>
                <a:gd name="connsiteX300" fmla="*/ 1589046 w 2663946"/>
                <a:gd name="connsiteY300" fmla="*/ 173805 h 410520"/>
                <a:gd name="connsiteX301" fmla="*/ 1593470 w 2663946"/>
                <a:gd name="connsiteY301" fmla="*/ 176508 h 410520"/>
                <a:gd name="connsiteX302" fmla="*/ 1605761 w 2663946"/>
                <a:gd name="connsiteY302" fmla="*/ 174075 h 410520"/>
                <a:gd name="connsiteX303" fmla="*/ 1608956 w 2663946"/>
                <a:gd name="connsiteY303" fmla="*/ 170560 h 410520"/>
                <a:gd name="connsiteX304" fmla="*/ 1611414 w 2663946"/>
                <a:gd name="connsiteY304" fmla="*/ 166234 h 410520"/>
                <a:gd name="connsiteX305" fmla="*/ 1612397 w 2663946"/>
                <a:gd name="connsiteY305" fmla="*/ 164071 h 410520"/>
                <a:gd name="connsiteX306" fmla="*/ 1613626 w 2663946"/>
                <a:gd name="connsiteY306" fmla="*/ 159745 h 410520"/>
                <a:gd name="connsiteX307" fmla="*/ 1613135 w 2663946"/>
                <a:gd name="connsiteY307" fmla="*/ 145955 h 410520"/>
                <a:gd name="connsiteX308" fmla="*/ 1612151 w 2663946"/>
                <a:gd name="connsiteY308" fmla="*/ 142981 h 410520"/>
                <a:gd name="connsiteX309" fmla="*/ 1610923 w 2663946"/>
                <a:gd name="connsiteY309" fmla="*/ 140007 h 410520"/>
                <a:gd name="connsiteX310" fmla="*/ 1608710 w 2663946"/>
                <a:gd name="connsiteY310" fmla="*/ 136492 h 410520"/>
                <a:gd name="connsiteX311" fmla="*/ 1605023 w 2663946"/>
                <a:gd name="connsiteY311" fmla="*/ 132707 h 410520"/>
                <a:gd name="connsiteX312" fmla="*/ 1601090 w 2663946"/>
                <a:gd name="connsiteY312" fmla="*/ 130544 h 410520"/>
                <a:gd name="connsiteX313" fmla="*/ 1252183 w 2663946"/>
                <a:gd name="connsiteY313" fmla="*/ 130544 h 410520"/>
                <a:gd name="connsiteX314" fmla="*/ 1240630 w 2663946"/>
                <a:gd name="connsiteY314" fmla="*/ 132977 h 410520"/>
                <a:gd name="connsiteX315" fmla="*/ 1237435 w 2663946"/>
                <a:gd name="connsiteY315" fmla="*/ 136492 h 410520"/>
                <a:gd name="connsiteX316" fmla="*/ 1235223 w 2663946"/>
                <a:gd name="connsiteY316" fmla="*/ 140277 h 410520"/>
                <a:gd name="connsiteX317" fmla="*/ 1234240 w 2663946"/>
                <a:gd name="connsiteY317" fmla="*/ 142981 h 410520"/>
                <a:gd name="connsiteX318" fmla="*/ 1233256 w 2663946"/>
                <a:gd name="connsiteY318" fmla="*/ 147037 h 410520"/>
                <a:gd name="connsiteX319" fmla="*/ 1232273 w 2663946"/>
                <a:gd name="connsiteY319" fmla="*/ 154067 h 410520"/>
                <a:gd name="connsiteX320" fmla="*/ 1233256 w 2663946"/>
                <a:gd name="connsiteY320" fmla="*/ 161367 h 410520"/>
                <a:gd name="connsiteX321" fmla="*/ 1234486 w 2663946"/>
                <a:gd name="connsiteY321" fmla="*/ 165152 h 410520"/>
                <a:gd name="connsiteX322" fmla="*/ 1236698 w 2663946"/>
                <a:gd name="connsiteY322" fmla="*/ 169478 h 410520"/>
                <a:gd name="connsiteX323" fmla="*/ 1240139 w 2663946"/>
                <a:gd name="connsiteY323" fmla="*/ 173805 h 410520"/>
                <a:gd name="connsiteX324" fmla="*/ 1244563 w 2663946"/>
                <a:gd name="connsiteY324" fmla="*/ 176508 h 410520"/>
                <a:gd name="connsiteX325" fmla="*/ 1256854 w 2663946"/>
                <a:gd name="connsiteY325" fmla="*/ 174075 h 410520"/>
                <a:gd name="connsiteX326" fmla="*/ 1260049 w 2663946"/>
                <a:gd name="connsiteY326" fmla="*/ 170560 h 410520"/>
                <a:gd name="connsiteX327" fmla="*/ 1262507 w 2663946"/>
                <a:gd name="connsiteY327" fmla="*/ 166234 h 410520"/>
                <a:gd name="connsiteX328" fmla="*/ 1263490 w 2663946"/>
                <a:gd name="connsiteY328" fmla="*/ 164071 h 410520"/>
                <a:gd name="connsiteX329" fmla="*/ 1264719 w 2663946"/>
                <a:gd name="connsiteY329" fmla="*/ 159745 h 410520"/>
                <a:gd name="connsiteX330" fmla="*/ 1264228 w 2663946"/>
                <a:gd name="connsiteY330" fmla="*/ 145955 h 410520"/>
                <a:gd name="connsiteX331" fmla="*/ 1263244 w 2663946"/>
                <a:gd name="connsiteY331" fmla="*/ 142981 h 410520"/>
                <a:gd name="connsiteX332" fmla="*/ 1262016 w 2663946"/>
                <a:gd name="connsiteY332" fmla="*/ 140007 h 410520"/>
                <a:gd name="connsiteX333" fmla="*/ 1259803 w 2663946"/>
                <a:gd name="connsiteY333" fmla="*/ 136492 h 410520"/>
                <a:gd name="connsiteX334" fmla="*/ 1256116 w 2663946"/>
                <a:gd name="connsiteY334" fmla="*/ 132707 h 410520"/>
                <a:gd name="connsiteX335" fmla="*/ 1252183 w 2663946"/>
                <a:gd name="connsiteY335" fmla="*/ 130544 h 410520"/>
                <a:gd name="connsiteX336" fmla="*/ 1070232 w 2663946"/>
                <a:gd name="connsiteY336" fmla="*/ 130544 h 410520"/>
                <a:gd name="connsiteX337" fmla="*/ 1058679 w 2663946"/>
                <a:gd name="connsiteY337" fmla="*/ 132977 h 410520"/>
                <a:gd name="connsiteX338" fmla="*/ 1055484 w 2663946"/>
                <a:gd name="connsiteY338" fmla="*/ 136492 h 410520"/>
                <a:gd name="connsiteX339" fmla="*/ 1053272 w 2663946"/>
                <a:gd name="connsiteY339" fmla="*/ 140277 h 410520"/>
                <a:gd name="connsiteX340" fmla="*/ 1052289 w 2663946"/>
                <a:gd name="connsiteY340" fmla="*/ 142981 h 410520"/>
                <a:gd name="connsiteX341" fmla="*/ 1051305 w 2663946"/>
                <a:gd name="connsiteY341" fmla="*/ 147037 h 410520"/>
                <a:gd name="connsiteX342" fmla="*/ 1050322 w 2663946"/>
                <a:gd name="connsiteY342" fmla="*/ 154067 h 410520"/>
                <a:gd name="connsiteX343" fmla="*/ 1051305 w 2663946"/>
                <a:gd name="connsiteY343" fmla="*/ 161367 h 410520"/>
                <a:gd name="connsiteX344" fmla="*/ 1052535 w 2663946"/>
                <a:gd name="connsiteY344" fmla="*/ 165152 h 410520"/>
                <a:gd name="connsiteX345" fmla="*/ 1054747 w 2663946"/>
                <a:gd name="connsiteY345" fmla="*/ 169478 h 410520"/>
                <a:gd name="connsiteX346" fmla="*/ 1058188 w 2663946"/>
                <a:gd name="connsiteY346" fmla="*/ 173805 h 410520"/>
                <a:gd name="connsiteX347" fmla="*/ 1062612 w 2663946"/>
                <a:gd name="connsiteY347" fmla="*/ 176508 h 410520"/>
                <a:gd name="connsiteX348" fmla="*/ 1074903 w 2663946"/>
                <a:gd name="connsiteY348" fmla="*/ 174075 h 410520"/>
                <a:gd name="connsiteX349" fmla="*/ 1078098 w 2663946"/>
                <a:gd name="connsiteY349" fmla="*/ 170560 h 410520"/>
                <a:gd name="connsiteX350" fmla="*/ 1080556 w 2663946"/>
                <a:gd name="connsiteY350" fmla="*/ 166234 h 410520"/>
                <a:gd name="connsiteX351" fmla="*/ 1081539 w 2663946"/>
                <a:gd name="connsiteY351" fmla="*/ 164071 h 410520"/>
                <a:gd name="connsiteX352" fmla="*/ 1082768 w 2663946"/>
                <a:gd name="connsiteY352" fmla="*/ 159745 h 410520"/>
                <a:gd name="connsiteX353" fmla="*/ 1082277 w 2663946"/>
                <a:gd name="connsiteY353" fmla="*/ 145955 h 410520"/>
                <a:gd name="connsiteX354" fmla="*/ 1081293 w 2663946"/>
                <a:gd name="connsiteY354" fmla="*/ 142981 h 410520"/>
                <a:gd name="connsiteX355" fmla="*/ 1080065 w 2663946"/>
                <a:gd name="connsiteY355" fmla="*/ 140007 h 410520"/>
                <a:gd name="connsiteX356" fmla="*/ 1077852 w 2663946"/>
                <a:gd name="connsiteY356" fmla="*/ 136492 h 410520"/>
                <a:gd name="connsiteX357" fmla="*/ 1074165 w 2663946"/>
                <a:gd name="connsiteY357" fmla="*/ 132707 h 410520"/>
                <a:gd name="connsiteX358" fmla="*/ 1070232 w 2663946"/>
                <a:gd name="connsiteY358" fmla="*/ 130544 h 410520"/>
                <a:gd name="connsiteX359" fmla="*/ 903203 w 2663946"/>
                <a:gd name="connsiteY359" fmla="*/ 130544 h 410520"/>
                <a:gd name="connsiteX360" fmla="*/ 891650 w 2663946"/>
                <a:gd name="connsiteY360" fmla="*/ 132977 h 410520"/>
                <a:gd name="connsiteX361" fmla="*/ 888455 w 2663946"/>
                <a:gd name="connsiteY361" fmla="*/ 136492 h 410520"/>
                <a:gd name="connsiteX362" fmla="*/ 886243 w 2663946"/>
                <a:gd name="connsiteY362" fmla="*/ 140277 h 410520"/>
                <a:gd name="connsiteX363" fmla="*/ 885260 w 2663946"/>
                <a:gd name="connsiteY363" fmla="*/ 142981 h 410520"/>
                <a:gd name="connsiteX364" fmla="*/ 884276 w 2663946"/>
                <a:gd name="connsiteY364" fmla="*/ 147037 h 410520"/>
                <a:gd name="connsiteX365" fmla="*/ 883293 w 2663946"/>
                <a:gd name="connsiteY365" fmla="*/ 154067 h 410520"/>
                <a:gd name="connsiteX366" fmla="*/ 884276 w 2663946"/>
                <a:gd name="connsiteY366" fmla="*/ 161367 h 410520"/>
                <a:gd name="connsiteX367" fmla="*/ 885506 w 2663946"/>
                <a:gd name="connsiteY367" fmla="*/ 165152 h 410520"/>
                <a:gd name="connsiteX368" fmla="*/ 887718 w 2663946"/>
                <a:gd name="connsiteY368" fmla="*/ 169478 h 410520"/>
                <a:gd name="connsiteX369" fmla="*/ 891159 w 2663946"/>
                <a:gd name="connsiteY369" fmla="*/ 173805 h 410520"/>
                <a:gd name="connsiteX370" fmla="*/ 895583 w 2663946"/>
                <a:gd name="connsiteY370" fmla="*/ 176508 h 410520"/>
                <a:gd name="connsiteX371" fmla="*/ 907874 w 2663946"/>
                <a:gd name="connsiteY371" fmla="*/ 174075 h 410520"/>
                <a:gd name="connsiteX372" fmla="*/ 911069 w 2663946"/>
                <a:gd name="connsiteY372" fmla="*/ 170560 h 410520"/>
                <a:gd name="connsiteX373" fmla="*/ 913527 w 2663946"/>
                <a:gd name="connsiteY373" fmla="*/ 166234 h 410520"/>
                <a:gd name="connsiteX374" fmla="*/ 914510 w 2663946"/>
                <a:gd name="connsiteY374" fmla="*/ 164071 h 410520"/>
                <a:gd name="connsiteX375" fmla="*/ 915739 w 2663946"/>
                <a:gd name="connsiteY375" fmla="*/ 159745 h 410520"/>
                <a:gd name="connsiteX376" fmla="*/ 915248 w 2663946"/>
                <a:gd name="connsiteY376" fmla="*/ 145955 h 410520"/>
                <a:gd name="connsiteX377" fmla="*/ 914264 w 2663946"/>
                <a:gd name="connsiteY377" fmla="*/ 142981 h 410520"/>
                <a:gd name="connsiteX378" fmla="*/ 913036 w 2663946"/>
                <a:gd name="connsiteY378" fmla="*/ 140007 h 410520"/>
                <a:gd name="connsiteX379" fmla="*/ 910823 w 2663946"/>
                <a:gd name="connsiteY379" fmla="*/ 136492 h 410520"/>
                <a:gd name="connsiteX380" fmla="*/ 907136 w 2663946"/>
                <a:gd name="connsiteY380" fmla="*/ 132707 h 410520"/>
                <a:gd name="connsiteX381" fmla="*/ 903203 w 2663946"/>
                <a:gd name="connsiteY381" fmla="*/ 130544 h 410520"/>
                <a:gd name="connsiteX382" fmla="*/ 554297 w 2663946"/>
                <a:gd name="connsiteY382" fmla="*/ 130544 h 410520"/>
                <a:gd name="connsiteX383" fmla="*/ 542744 w 2663946"/>
                <a:gd name="connsiteY383" fmla="*/ 132977 h 410520"/>
                <a:gd name="connsiteX384" fmla="*/ 539549 w 2663946"/>
                <a:gd name="connsiteY384" fmla="*/ 136492 h 410520"/>
                <a:gd name="connsiteX385" fmla="*/ 537337 w 2663946"/>
                <a:gd name="connsiteY385" fmla="*/ 140277 h 410520"/>
                <a:gd name="connsiteX386" fmla="*/ 536353 w 2663946"/>
                <a:gd name="connsiteY386" fmla="*/ 142981 h 410520"/>
                <a:gd name="connsiteX387" fmla="*/ 535370 w 2663946"/>
                <a:gd name="connsiteY387" fmla="*/ 147037 h 410520"/>
                <a:gd name="connsiteX388" fmla="*/ 534387 w 2663946"/>
                <a:gd name="connsiteY388" fmla="*/ 154067 h 410520"/>
                <a:gd name="connsiteX389" fmla="*/ 535370 w 2663946"/>
                <a:gd name="connsiteY389" fmla="*/ 161367 h 410520"/>
                <a:gd name="connsiteX390" fmla="*/ 536599 w 2663946"/>
                <a:gd name="connsiteY390" fmla="*/ 165152 h 410520"/>
                <a:gd name="connsiteX391" fmla="*/ 538811 w 2663946"/>
                <a:gd name="connsiteY391" fmla="*/ 169478 h 410520"/>
                <a:gd name="connsiteX392" fmla="*/ 542253 w 2663946"/>
                <a:gd name="connsiteY392" fmla="*/ 173805 h 410520"/>
                <a:gd name="connsiteX393" fmla="*/ 546677 w 2663946"/>
                <a:gd name="connsiteY393" fmla="*/ 176508 h 410520"/>
                <a:gd name="connsiteX394" fmla="*/ 558967 w 2663946"/>
                <a:gd name="connsiteY394" fmla="*/ 174075 h 410520"/>
                <a:gd name="connsiteX395" fmla="*/ 562163 w 2663946"/>
                <a:gd name="connsiteY395" fmla="*/ 170560 h 410520"/>
                <a:gd name="connsiteX396" fmla="*/ 564621 w 2663946"/>
                <a:gd name="connsiteY396" fmla="*/ 166234 h 410520"/>
                <a:gd name="connsiteX397" fmla="*/ 565604 w 2663946"/>
                <a:gd name="connsiteY397" fmla="*/ 164071 h 410520"/>
                <a:gd name="connsiteX398" fmla="*/ 566833 w 2663946"/>
                <a:gd name="connsiteY398" fmla="*/ 159745 h 410520"/>
                <a:gd name="connsiteX399" fmla="*/ 566341 w 2663946"/>
                <a:gd name="connsiteY399" fmla="*/ 145955 h 410520"/>
                <a:gd name="connsiteX400" fmla="*/ 565358 w 2663946"/>
                <a:gd name="connsiteY400" fmla="*/ 142981 h 410520"/>
                <a:gd name="connsiteX401" fmla="*/ 564129 w 2663946"/>
                <a:gd name="connsiteY401" fmla="*/ 140007 h 410520"/>
                <a:gd name="connsiteX402" fmla="*/ 561917 w 2663946"/>
                <a:gd name="connsiteY402" fmla="*/ 136492 h 410520"/>
                <a:gd name="connsiteX403" fmla="*/ 558230 w 2663946"/>
                <a:gd name="connsiteY403" fmla="*/ 132707 h 410520"/>
                <a:gd name="connsiteX404" fmla="*/ 554297 w 2663946"/>
                <a:gd name="connsiteY404" fmla="*/ 130544 h 410520"/>
                <a:gd name="connsiteX405" fmla="*/ 372346 w 2663946"/>
                <a:gd name="connsiteY405" fmla="*/ 130544 h 410520"/>
                <a:gd name="connsiteX406" fmla="*/ 360793 w 2663946"/>
                <a:gd name="connsiteY406" fmla="*/ 132977 h 410520"/>
                <a:gd name="connsiteX407" fmla="*/ 357598 w 2663946"/>
                <a:gd name="connsiteY407" fmla="*/ 136492 h 410520"/>
                <a:gd name="connsiteX408" fmla="*/ 355385 w 2663946"/>
                <a:gd name="connsiteY408" fmla="*/ 140277 h 410520"/>
                <a:gd name="connsiteX409" fmla="*/ 354402 w 2663946"/>
                <a:gd name="connsiteY409" fmla="*/ 142981 h 410520"/>
                <a:gd name="connsiteX410" fmla="*/ 353419 w 2663946"/>
                <a:gd name="connsiteY410" fmla="*/ 147037 h 410520"/>
                <a:gd name="connsiteX411" fmla="*/ 352436 w 2663946"/>
                <a:gd name="connsiteY411" fmla="*/ 154067 h 410520"/>
                <a:gd name="connsiteX412" fmla="*/ 353419 w 2663946"/>
                <a:gd name="connsiteY412" fmla="*/ 161367 h 410520"/>
                <a:gd name="connsiteX413" fmla="*/ 354648 w 2663946"/>
                <a:gd name="connsiteY413" fmla="*/ 165152 h 410520"/>
                <a:gd name="connsiteX414" fmla="*/ 356860 w 2663946"/>
                <a:gd name="connsiteY414" fmla="*/ 169478 h 410520"/>
                <a:gd name="connsiteX415" fmla="*/ 360301 w 2663946"/>
                <a:gd name="connsiteY415" fmla="*/ 173805 h 410520"/>
                <a:gd name="connsiteX416" fmla="*/ 364726 w 2663946"/>
                <a:gd name="connsiteY416" fmla="*/ 176508 h 410520"/>
                <a:gd name="connsiteX417" fmla="*/ 377016 w 2663946"/>
                <a:gd name="connsiteY417" fmla="*/ 174075 h 410520"/>
                <a:gd name="connsiteX418" fmla="*/ 380212 w 2663946"/>
                <a:gd name="connsiteY418" fmla="*/ 170560 h 410520"/>
                <a:gd name="connsiteX419" fmla="*/ 382670 w 2663946"/>
                <a:gd name="connsiteY419" fmla="*/ 166234 h 410520"/>
                <a:gd name="connsiteX420" fmla="*/ 383653 w 2663946"/>
                <a:gd name="connsiteY420" fmla="*/ 164071 h 410520"/>
                <a:gd name="connsiteX421" fmla="*/ 384882 w 2663946"/>
                <a:gd name="connsiteY421" fmla="*/ 159745 h 410520"/>
                <a:gd name="connsiteX422" fmla="*/ 384390 w 2663946"/>
                <a:gd name="connsiteY422" fmla="*/ 145955 h 410520"/>
                <a:gd name="connsiteX423" fmla="*/ 383407 w 2663946"/>
                <a:gd name="connsiteY423" fmla="*/ 142981 h 410520"/>
                <a:gd name="connsiteX424" fmla="*/ 382178 w 2663946"/>
                <a:gd name="connsiteY424" fmla="*/ 140007 h 410520"/>
                <a:gd name="connsiteX425" fmla="*/ 379966 w 2663946"/>
                <a:gd name="connsiteY425" fmla="*/ 136492 h 410520"/>
                <a:gd name="connsiteX426" fmla="*/ 376279 w 2663946"/>
                <a:gd name="connsiteY426" fmla="*/ 132707 h 410520"/>
                <a:gd name="connsiteX427" fmla="*/ 372346 w 2663946"/>
                <a:gd name="connsiteY427" fmla="*/ 130544 h 410520"/>
                <a:gd name="connsiteX428" fmla="*/ 129300 w 2663946"/>
                <a:gd name="connsiteY428" fmla="*/ 130544 h 410520"/>
                <a:gd name="connsiteX429" fmla="*/ 117747 w 2663946"/>
                <a:gd name="connsiteY429" fmla="*/ 132977 h 410520"/>
                <a:gd name="connsiteX430" fmla="*/ 114552 w 2663946"/>
                <a:gd name="connsiteY430" fmla="*/ 136492 h 410520"/>
                <a:gd name="connsiteX431" fmla="*/ 112340 w 2663946"/>
                <a:gd name="connsiteY431" fmla="*/ 140277 h 410520"/>
                <a:gd name="connsiteX432" fmla="*/ 111356 w 2663946"/>
                <a:gd name="connsiteY432" fmla="*/ 142981 h 410520"/>
                <a:gd name="connsiteX433" fmla="*/ 110373 w 2663946"/>
                <a:gd name="connsiteY433" fmla="*/ 147037 h 410520"/>
                <a:gd name="connsiteX434" fmla="*/ 109390 w 2663946"/>
                <a:gd name="connsiteY434" fmla="*/ 154067 h 410520"/>
                <a:gd name="connsiteX435" fmla="*/ 110373 w 2663946"/>
                <a:gd name="connsiteY435" fmla="*/ 161367 h 410520"/>
                <a:gd name="connsiteX436" fmla="*/ 111602 w 2663946"/>
                <a:gd name="connsiteY436" fmla="*/ 165152 h 410520"/>
                <a:gd name="connsiteX437" fmla="*/ 113814 w 2663946"/>
                <a:gd name="connsiteY437" fmla="*/ 169478 h 410520"/>
                <a:gd name="connsiteX438" fmla="*/ 117256 w 2663946"/>
                <a:gd name="connsiteY438" fmla="*/ 173805 h 410520"/>
                <a:gd name="connsiteX439" fmla="*/ 121680 w 2663946"/>
                <a:gd name="connsiteY439" fmla="*/ 176508 h 410520"/>
                <a:gd name="connsiteX440" fmla="*/ 133970 w 2663946"/>
                <a:gd name="connsiteY440" fmla="*/ 174075 h 410520"/>
                <a:gd name="connsiteX441" fmla="*/ 137166 w 2663946"/>
                <a:gd name="connsiteY441" fmla="*/ 170560 h 410520"/>
                <a:gd name="connsiteX442" fmla="*/ 139624 w 2663946"/>
                <a:gd name="connsiteY442" fmla="*/ 166234 h 410520"/>
                <a:gd name="connsiteX443" fmla="*/ 140607 w 2663946"/>
                <a:gd name="connsiteY443" fmla="*/ 164071 h 410520"/>
                <a:gd name="connsiteX444" fmla="*/ 141836 w 2663946"/>
                <a:gd name="connsiteY444" fmla="*/ 159745 h 410520"/>
                <a:gd name="connsiteX445" fmla="*/ 141344 w 2663946"/>
                <a:gd name="connsiteY445" fmla="*/ 145955 h 410520"/>
                <a:gd name="connsiteX446" fmla="*/ 140361 w 2663946"/>
                <a:gd name="connsiteY446" fmla="*/ 142981 h 410520"/>
                <a:gd name="connsiteX447" fmla="*/ 139132 w 2663946"/>
                <a:gd name="connsiteY447" fmla="*/ 140007 h 410520"/>
                <a:gd name="connsiteX448" fmla="*/ 136920 w 2663946"/>
                <a:gd name="connsiteY448" fmla="*/ 136492 h 410520"/>
                <a:gd name="connsiteX449" fmla="*/ 133233 w 2663946"/>
                <a:gd name="connsiteY449" fmla="*/ 132707 h 410520"/>
                <a:gd name="connsiteX450" fmla="*/ 129300 w 2663946"/>
                <a:gd name="connsiteY450" fmla="*/ 130544 h 410520"/>
                <a:gd name="connsiteX451" fmla="*/ 33147 w 2663946"/>
                <a:gd name="connsiteY451" fmla="*/ 126608 h 410520"/>
                <a:gd name="connsiteX452" fmla="*/ 21486 w 2663946"/>
                <a:gd name="connsiteY452" fmla="*/ 134337 h 410520"/>
                <a:gd name="connsiteX453" fmla="*/ 20561 w 2663946"/>
                <a:gd name="connsiteY453" fmla="*/ 138920 h 410520"/>
                <a:gd name="connsiteX454" fmla="*/ 23801 w 2663946"/>
                <a:gd name="connsiteY454" fmla="*/ 138920 h 410520"/>
                <a:gd name="connsiteX455" fmla="*/ 42218 w 2663946"/>
                <a:gd name="connsiteY455" fmla="*/ 138920 h 410520"/>
                <a:gd name="connsiteX456" fmla="*/ 45732 w 2663946"/>
                <a:gd name="connsiteY456" fmla="*/ 138920 h 410520"/>
                <a:gd name="connsiteX457" fmla="*/ 44807 w 2663946"/>
                <a:gd name="connsiteY457" fmla="*/ 134337 h 410520"/>
                <a:gd name="connsiteX458" fmla="*/ 33147 w 2663946"/>
                <a:gd name="connsiteY458" fmla="*/ 126608 h 410520"/>
                <a:gd name="connsiteX459" fmla="*/ 2537931 w 2663946"/>
                <a:gd name="connsiteY459" fmla="*/ 119020 h 410520"/>
                <a:gd name="connsiteX460" fmla="*/ 2526271 w 2663946"/>
                <a:gd name="connsiteY460" fmla="*/ 126749 h 410520"/>
                <a:gd name="connsiteX461" fmla="*/ 2525346 w 2663946"/>
                <a:gd name="connsiteY461" fmla="*/ 131332 h 410520"/>
                <a:gd name="connsiteX462" fmla="*/ 2528586 w 2663946"/>
                <a:gd name="connsiteY462" fmla="*/ 131332 h 410520"/>
                <a:gd name="connsiteX463" fmla="*/ 2547003 w 2663946"/>
                <a:gd name="connsiteY463" fmla="*/ 131332 h 410520"/>
                <a:gd name="connsiteX464" fmla="*/ 2550517 w 2663946"/>
                <a:gd name="connsiteY464" fmla="*/ 131332 h 410520"/>
                <a:gd name="connsiteX465" fmla="*/ 2549592 w 2663946"/>
                <a:gd name="connsiteY465" fmla="*/ 126749 h 410520"/>
                <a:gd name="connsiteX466" fmla="*/ 2537931 w 2663946"/>
                <a:gd name="connsiteY466" fmla="*/ 119020 h 410520"/>
                <a:gd name="connsiteX467" fmla="*/ 2112934 w 2663946"/>
                <a:gd name="connsiteY467" fmla="*/ 119020 h 410520"/>
                <a:gd name="connsiteX468" fmla="*/ 2101274 w 2663946"/>
                <a:gd name="connsiteY468" fmla="*/ 126749 h 410520"/>
                <a:gd name="connsiteX469" fmla="*/ 2100349 w 2663946"/>
                <a:gd name="connsiteY469" fmla="*/ 131332 h 410520"/>
                <a:gd name="connsiteX470" fmla="*/ 2103589 w 2663946"/>
                <a:gd name="connsiteY470" fmla="*/ 131332 h 410520"/>
                <a:gd name="connsiteX471" fmla="*/ 2122006 w 2663946"/>
                <a:gd name="connsiteY471" fmla="*/ 131332 h 410520"/>
                <a:gd name="connsiteX472" fmla="*/ 2125520 w 2663946"/>
                <a:gd name="connsiteY472" fmla="*/ 131332 h 410520"/>
                <a:gd name="connsiteX473" fmla="*/ 2124595 w 2663946"/>
                <a:gd name="connsiteY473" fmla="*/ 126749 h 410520"/>
                <a:gd name="connsiteX474" fmla="*/ 2112934 w 2663946"/>
                <a:gd name="connsiteY474" fmla="*/ 119020 h 410520"/>
                <a:gd name="connsiteX475" fmla="*/ 1854966 w 2663946"/>
                <a:gd name="connsiteY475" fmla="*/ 119020 h 410520"/>
                <a:gd name="connsiteX476" fmla="*/ 1843306 w 2663946"/>
                <a:gd name="connsiteY476" fmla="*/ 126749 h 410520"/>
                <a:gd name="connsiteX477" fmla="*/ 1842381 w 2663946"/>
                <a:gd name="connsiteY477" fmla="*/ 131332 h 410520"/>
                <a:gd name="connsiteX478" fmla="*/ 1845621 w 2663946"/>
                <a:gd name="connsiteY478" fmla="*/ 131332 h 410520"/>
                <a:gd name="connsiteX479" fmla="*/ 1864038 w 2663946"/>
                <a:gd name="connsiteY479" fmla="*/ 131332 h 410520"/>
                <a:gd name="connsiteX480" fmla="*/ 1867552 w 2663946"/>
                <a:gd name="connsiteY480" fmla="*/ 131332 h 410520"/>
                <a:gd name="connsiteX481" fmla="*/ 1866627 w 2663946"/>
                <a:gd name="connsiteY481" fmla="*/ 126749 h 410520"/>
                <a:gd name="connsiteX482" fmla="*/ 1854966 w 2663946"/>
                <a:gd name="connsiteY482" fmla="*/ 119020 h 410520"/>
                <a:gd name="connsiteX483" fmla="*/ 1764027 w 2663946"/>
                <a:gd name="connsiteY483" fmla="*/ 119020 h 410520"/>
                <a:gd name="connsiteX484" fmla="*/ 1752367 w 2663946"/>
                <a:gd name="connsiteY484" fmla="*/ 126749 h 410520"/>
                <a:gd name="connsiteX485" fmla="*/ 1751442 w 2663946"/>
                <a:gd name="connsiteY485" fmla="*/ 131332 h 410520"/>
                <a:gd name="connsiteX486" fmla="*/ 1754682 w 2663946"/>
                <a:gd name="connsiteY486" fmla="*/ 131332 h 410520"/>
                <a:gd name="connsiteX487" fmla="*/ 1773099 w 2663946"/>
                <a:gd name="connsiteY487" fmla="*/ 131332 h 410520"/>
                <a:gd name="connsiteX488" fmla="*/ 1776613 w 2663946"/>
                <a:gd name="connsiteY488" fmla="*/ 131332 h 410520"/>
                <a:gd name="connsiteX489" fmla="*/ 1775687 w 2663946"/>
                <a:gd name="connsiteY489" fmla="*/ 126749 h 410520"/>
                <a:gd name="connsiteX490" fmla="*/ 1764027 w 2663946"/>
                <a:gd name="connsiteY490" fmla="*/ 119020 h 410520"/>
                <a:gd name="connsiteX491" fmla="*/ 1506059 w 2663946"/>
                <a:gd name="connsiteY491" fmla="*/ 119020 h 410520"/>
                <a:gd name="connsiteX492" fmla="*/ 1494399 w 2663946"/>
                <a:gd name="connsiteY492" fmla="*/ 126749 h 410520"/>
                <a:gd name="connsiteX493" fmla="*/ 1493474 w 2663946"/>
                <a:gd name="connsiteY493" fmla="*/ 131332 h 410520"/>
                <a:gd name="connsiteX494" fmla="*/ 1496714 w 2663946"/>
                <a:gd name="connsiteY494" fmla="*/ 131332 h 410520"/>
                <a:gd name="connsiteX495" fmla="*/ 1515131 w 2663946"/>
                <a:gd name="connsiteY495" fmla="*/ 131332 h 410520"/>
                <a:gd name="connsiteX496" fmla="*/ 1518645 w 2663946"/>
                <a:gd name="connsiteY496" fmla="*/ 131332 h 410520"/>
                <a:gd name="connsiteX497" fmla="*/ 1517719 w 2663946"/>
                <a:gd name="connsiteY497" fmla="*/ 126749 h 410520"/>
                <a:gd name="connsiteX498" fmla="*/ 1506059 w 2663946"/>
                <a:gd name="connsiteY498" fmla="*/ 119020 h 410520"/>
                <a:gd name="connsiteX499" fmla="*/ 1415120 w 2663946"/>
                <a:gd name="connsiteY499" fmla="*/ 119020 h 410520"/>
                <a:gd name="connsiteX500" fmla="*/ 1403460 w 2663946"/>
                <a:gd name="connsiteY500" fmla="*/ 126749 h 410520"/>
                <a:gd name="connsiteX501" fmla="*/ 1402535 w 2663946"/>
                <a:gd name="connsiteY501" fmla="*/ 131332 h 410520"/>
                <a:gd name="connsiteX502" fmla="*/ 1405775 w 2663946"/>
                <a:gd name="connsiteY502" fmla="*/ 131332 h 410520"/>
                <a:gd name="connsiteX503" fmla="*/ 1424192 w 2663946"/>
                <a:gd name="connsiteY503" fmla="*/ 131332 h 410520"/>
                <a:gd name="connsiteX504" fmla="*/ 1427706 w 2663946"/>
                <a:gd name="connsiteY504" fmla="*/ 131332 h 410520"/>
                <a:gd name="connsiteX505" fmla="*/ 1426780 w 2663946"/>
                <a:gd name="connsiteY505" fmla="*/ 126749 h 410520"/>
                <a:gd name="connsiteX506" fmla="*/ 1415120 w 2663946"/>
                <a:gd name="connsiteY506" fmla="*/ 119020 h 410520"/>
                <a:gd name="connsiteX507" fmla="*/ 1157152 w 2663946"/>
                <a:gd name="connsiteY507" fmla="*/ 119020 h 410520"/>
                <a:gd name="connsiteX508" fmla="*/ 1145492 w 2663946"/>
                <a:gd name="connsiteY508" fmla="*/ 126749 h 410520"/>
                <a:gd name="connsiteX509" fmla="*/ 1144567 w 2663946"/>
                <a:gd name="connsiteY509" fmla="*/ 131332 h 410520"/>
                <a:gd name="connsiteX510" fmla="*/ 1147807 w 2663946"/>
                <a:gd name="connsiteY510" fmla="*/ 131332 h 410520"/>
                <a:gd name="connsiteX511" fmla="*/ 1166224 w 2663946"/>
                <a:gd name="connsiteY511" fmla="*/ 131332 h 410520"/>
                <a:gd name="connsiteX512" fmla="*/ 1169738 w 2663946"/>
                <a:gd name="connsiteY512" fmla="*/ 131332 h 410520"/>
                <a:gd name="connsiteX513" fmla="*/ 1168812 w 2663946"/>
                <a:gd name="connsiteY513" fmla="*/ 126749 h 410520"/>
                <a:gd name="connsiteX514" fmla="*/ 1157152 w 2663946"/>
                <a:gd name="connsiteY514" fmla="*/ 119020 h 410520"/>
                <a:gd name="connsiteX515" fmla="*/ 732156 w 2663946"/>
                <a:gd name="connsiteY515" fmla="*/ 119020 h 410520"/>
                <a:gd name="connsiteX516" fmla="*/ 720495 w 2663946"/>
                <a:gd name="connsiteY516" fmla="*/ 126749 h 410520"/>
                <a:gd name="connsiteX517" fmla="*/ 719570 w 2663946"/>
                <a:gd name="connsiteY517" fmla="*/ 131332 h 410520"/>
                <a:gd name="connsiteX518" fmla="*/ 722810 w 2663946"/>
                <a:gd name="connsiteY518" fmla="*/ 131332 h 410520"/>
                <a:gd name="connsiteX519" fmla="*/ 741228 w 2663946"/>
                <a:gd name="connsiteY519" fmla="*/ 131332 h 410520"/>
                <a:gd name="connsiteX520" fmla="*/ 744742 w 2663946"/>
                <a:gd name="connsiteY520" fmla="*/ 131332 h 410520"/>
                <a:gd name="connsiteX521" fmla="*/ 743816 w 2663946"/>
                <a:gd name="connsiteY521" fmla="*/ 126749 h 410520"/>
                <a:gd name="connsiteX522" fmla="*/ 732156 w 2663946"/>
                <a:gd name="connsiteY522" fmla="*/ 119020 h 410520"/>
                <a:gd name="connsiteX523" fmla="*/ 641217 w 2663946"/>
                <a:gd name="connsiteY523" fmla="*/ 119020 h 410520"/>
                <a:gd name="connsiteX524" fmla="*/ 629556 w 2663946"/>
                <a:gd name="connsiteY524" fmla="*/ 126749 h 410520"/>
                <a:gd name="connsiteX525" fmla="*/ 628631 w 2663946"/>
                <a:gd name="connsiteY525" fmla="*/ 131332 h 410520"/>
                <a:gd name="connsiteX526" fmla="*/ 631871 w 2663946"/>
                <a:gd name="connsiteY526" fmla="*/ 131332 h 410520"/>
                <a:gd name="connsiteX527" fmla="*/ 650289 w 2663946"/>
                <a:gd name="connsiteY527" fmla="*/ 131332 h 410520"/>
                <a:gd name="connsiteX528" fmla="*/ 653802 w 2663946"/>
                <a:gd name="connsiteY528" fmla="*/ 131332 h 410520"/>
                <a:gd name="connsiteX529" fmla="*/ 652877 w 2663946"/>
                <a:gd name="connsiteY529" fmla="*/ 126749 h 410520"/>
                <a:gd name="connsiteX530" fmla="*/ 641217 w 2663946"/>
                <a:gd name="connsiteY530" fmla="*/ 119020 h 410520"/>
                <a:gd name="connsiteX531" fmla="*/ 459266 w 2663946"/>
                <a:gd name="connsiteY531" fmla="*/ 119020 h 410520"/>
                <a:gd name="connsiteX532" fmla="*/ 447605 w 2663946"/>
                <a:gd name="connsiteY532" fmla="*/ 126749 h 410520"/>
                <a:gd name="connsiteX533" fmla="*/ 446680 w 2663946"/>
                <a:gd name="connsiteY533" fmla="*/ 131332 h 410520"/>
                <a:gd name="connsiteX534" fmla="*/ 449920 w 2663946"/>
                <a:gd name="connsiteY534" fmla="*/ 131332 h 410520"/>
                <a:gd name="connsiteX535" fmla="*/ 468337 w 2663946"/>
                <a:gd name="connsiteY535" fmla="*/ 131332 h 410520"/>
                <a:gd name="connsiteX536" fmla="*/ 471851 w 2663946"/>
                <a:gd name="connsiteY536" fmla="*/ 131332 h 410520"/>
                <a:gd name="connsiteX537" fmla="*/ 470926 w 2663946"/>
                <a:gd name="connsiteY537" fmla="*/ 126749 h 410520"/>
                <a:gd name="connsiteX538" fmla="*/ 459266 w 2663946"/>
                <a:gd name="connsiteY538" fmla="*/ 119020 h 410520"/>
                <a:gd name="connsiteX539" fmla="*/ 2361413 w 2663946"/>
                <a:gd name="connsiteY539" fmla="*/ 114660 h 410520"/>
                <a:gd name="connsiteX540" fmla="*/ 2365469 w 2663946"/>
                <a:gd name="connsiteY540" fmla="*/ 114660 h 410520"/>
                <a:gd name="connsiteX541" fmla="*/ 2370065 w 2663946"/>
                <a:gd name="connsiteY541" fmla="*/ 117094 h 410520"/>
                <a:gd name="connsiteX542" fmla="*/ 2372229 w 2663946"/>
                <a:gd name="connsiteY542" fmla="*/ 123312 h 410520"/>
                <a:gd name="connsiteX543" fmla="*/ 2372229 w 2663946"/>
                <a:gd name="connsiteY543" fmla="*/ 123853 h 410520"/>
                <a:gd name="connsiteX544" fmla="*/ 2372229 w 2663946"/>
                <a:gd name="connsiteY544" fmla="*/ 176848 h 410520"/>
                <a:gd name="connsiteX545" fmla="*/ 2372769 w 2663946"/>
                <a:gd name="connsiteY545" fmla="*/ 177388 h 410520"/>
                <a:gd name="connsiteX546" fmla="*/ 2380069 w 2663946"/>
                <a:gd name="connsiteY546" fmla="*/ 177388 h 410520"/>
                <a:gd name="connsiteX547" fmla="*/ 2384125 w 2663946"/>
                <a:gd name="connsiteY547" fmla="*/ 178470 h 410520"/>
                <a:gd name="connsiteX548" fmla="*/ 2387910 w 2663946"/>
                <a:gd name="connsiteY548" fmla="*/ 185229 h 410520"/>
                <a:gd name="connsiteX549" fmla="*/ 2385207 w 2663946"/>
                <a:gd name="connsiteY549" fmla="*/ 190907 h 410520"/>
                <a:gd name="connsiteX550" fmla="*/ 2381151 w 2663946"/>
                <a:gd name="connsiteY550" fmla="*/ 192800 h 410520"/>
                <a:gd name="connsiteX551" fmla="*/ 2380881 w 2663946"/>
                <a:gd name="connsiteY551" fmla="*/ 192800 h 410520"/>
                <a:gd name="connsiteX552" fmla="*/ 2380610 w 2663946"/>
                <a:gd name="connsiteY552" fmla="*/ 192800 h 410520"/>
                <a:gd name="connsiteX553" fmla="*/ 2380069 w 2663946"/>
                <a:gd name="connsiteY553" fmla="*/ 192800 h 410520"/>
                <a:gd name="connsiteX554" fmla="*/ 2347894 w 2663946"/>
                <a:gd name="connsiteY554" fmla="*/ 192800 h 410520"/>
                <a:gd name="connsiteX555" fmla="*/ 2347354 w 2663946"/>
                <a:gd name="connsiteY555" fmla="*/ 192800 h 410520"/>
                <a:gd name="connsiteX556" fmla="*/ 2346542 w 2663946"/>
                <a:gd name="connsiteY556" fmla="*/ 192800 h 410520"/>
                <a:gd name="connsiteX557" fmla="*/ 2345731 w 2663946"/>
                <a:gd name="connsiteY557" fmla="*/ 192530 h 410520"/>
                <a:gd name="connsiteX558" fmla="*/ 2342216 w 2663946"/>
                <a:gd name="connsiteY558" fmla="*/ 190637 h 410520"/>
                <a:gd name="connsiteX559" fmla="*/ 2339783 w 2663946"/>
                <a:gd name="connsiteY559" fmla="*/ 184959 h 410520"/>
                <a:gd name="connsiteX560" fmla="*/ 2341946 w 2663946"/>
                <a:gd name="connsiteY560" fmla="*/ 179822 h 410520"/>
                <a:gd name="connsiteX561" fmla="*/ 2347624 w 2663946"/>
                <a:gd name="connsiteY561" fmla="*/ 177388 h 410520"/>
                <a:gd name="connsiteX562" fmla="*/ 2355465 w 2663946"/>
                <a:gd name="connsiteY562" fmla="*/ 177388 h 410520"/>
                <a:gd name="connsiteX563" fmla="*/ 2356006 w 2663946"/>
                <a:gd name="connsiteY563" fmla="*/ 176848 h 410520"/>
                <a:gd name="connsiteX564" fmla="*/ 2356006 w 2663946"/>
                <a:gd name="connsiteY564" fmla="*/ 130883 h 410520"/>
                <a:gd name="connsiteX565" fmla="*/ 2355465 w 2663946"/>
                <a:gd name="connsiteY565" fmla="*/ 130342 h 410520"/>
                <a:gd name="connsiteX566" fmla="*/ 2349517 w 2663946"/>
                <a:gd name="connsiteY566" fmla="*/ 130342 h 410520"/>
                <a:gd name="connsiteX567" fmla="*/ 2342216 w 2663946"/>
                <a:gd name="connsiteY567" fmla="*/ 125746 h 410520"/>
                <a:gd name="connsiteX568" fmla="*/ 2341946 w 2663946"/>
                <a:gd name="connsiteY568" fmla="*/ 120068 h 410520"/>
                <a:gd name="connsiteX569" fmla="*/ 2349246 w 2663946"/>
                <a:gd name="connsiteY569" fmla="*/ 114931 h 410520"/>
                <a:gd name="connsiteX570" fmla="*/ 2361413 w 2663946"/>
                <a:gd name="connsiteY570" fmla="*/ 114660 h 410520"/>
                <a:gd name="connsiteX571" fmla="*/ 2285396 w 2663946"/>
                <a:gd name="connsiteY571" fmla="*/ 114660 h 410520"/>
                <a:gd name="connsiteX572" fmla="*/ 2289452 w 2663946"/>
                <a:gd name="connsiteY572" fmla="*/ 114660 h 410520"/>
                <a:gd name="connsiteX573" fmla="*/ 2294048 w 2663946"/>
                <a:gd name="connsiteY573" fmla="*/ 117094 h 410520"/>
                <a:gd name="connsiteX574" fmla="*/ 2296212 w 2663946"/>
                <a:gd name="connsiteY574" fmla="*/ 123312 h 410520"/>
                <a:gd name="connsiteX575" fmla="*/ 2296212 w 2663946"/>
                <a:gd name="connsiteY575" fmla="*/ 123853 h 410520"/>
                <a:gd name="connsiteX576" fmla="*/ 2296212 w 2663946"/>
                <a:gd name="connsiteY576" fmla="*/ 176848 h 410520"/>
                <a:gd name="connsiteX577" fmla="*/ 2296752 w 2663946"/>
                <a:gd name="connsiteY577" fmla="*/ 177388 h 410520"/>
                <a:gd name="connsiteX578" fmla="*/ 2304052 w 2663946"/>
                <a:gd name="connsiteY578" fmla="*/ 177388 h 410520"/>
                <a:gd name="connsiteX579" fmla="*/ 2308108 w 2663946"/>
                <a:gd name="connsiteY579" fmla="*/ 178470 h 410520"/>
                <a:gd name="connsiteX580" fmla="*/ 2311893 w 2663946"/>
                <a:gd name="connsiteY580" fmla="*/ 185229 h 410520"/>
                <a:gd name="connsiteX581" fmla="*/ 2309190 w 2663946"/>
                <a:gd name="connsiteY581" fmla="*/ 190907 h 410520"/>
                <a:gd name="connsiteX582" fmla="*/ 2305134 w 2663946"/>
                <a:gd name="connsiteY582" fmla="*/ 192800 h 410520"/>
                <a:gd name="connsiteX583" fmla="*/ 2304864 w 2663946"/>
                <a:gd name="connsiteY583" fmla="*/ 192800 h 410520"/>
                <a:gd name="connsiteX584" fmla="*/ 2304593 w 2663946"/>
                <a:gd name="connsiteY584" fmla="*/ 192800 h 410520"/>
                <a:gd name="connsiteX585" fmla="*/ 2304052 w 2663946"/>
                <a:gd name="connsiteY585" fmla="*/ 192800 h 410520"/>
                <a:gd name="connsiteX586" fmla="*/ 2271877 w 2663946"/>
                <a:gd name="connsiteY586" fmla="*/ 192800 h 410520"/>
                <a:gd name="connsiteX587" fmla="*/ 2271337 w 2663946"/>
                <a:gd name="connsiteY587" fmla="*/ 192800 h 410520"/>
                <a:gd name="connsiteX588" fmla="*/ 2270525 w 2663946"/>
                <a:gd name="connsiteY588" fmla="*/ 192800 h 410520"/>
                <a:gd name="connsiteX589" fmla="*/ 2269714 w 2663946"/>
                <a:gd name="connsiteY589" fmla="*/ 192530 h 410520"/>
                <a:gd name="connsiteX590" fmla="*/ 2266199 w 2663946"/>
                <a:gd name="connsiteY590" fmla="*/ 190637 h 410520"/>
                <a:gd name="connsiteX591" fmla="*/ 2263766 w 2663946"/>
                <a:gd name="connsiteY591" fmla="*/ 184959 h 410520"/>
                <a:gd name="connsiteX592" fmla="*/ 2265929 w 2663946"/>
                <a:gd name="connsiteY592" fmla="*/ 179822 h 410520"/>
                <a:gd name="connsiteX593" fmla="*/ 2271607 w 2663946"/>
                <a:gd name="connsiteY593" fmla="*/ 177388 h 410520"/>
                <a:gd name="connsiteX594" fmla="*/ 2279448 w 2663946"/>
                <a:gd name="connsiteY594" fmla="*/ 177388 h 410520"/>
                <a:gd name="connsiteX595" fmla="*/ 2279989 w 2663946"/>
                <a:gd name="connsiteY595" fmla="*/ 176848 h 410520"/>
                <a:gd name="connsiteX596" fmla="*/ 2279989 w 2663946"/>
                <a:gd name="connsiteY596" fmla="*/ 130883 h 410520"/>
                <a:gd name="connsiteX597" fmla="*/ 2279448 w 2663946"/>
                <a:gd name="connsiteY597" fmla="*/ 130342 h 410520"/>
                <a:gd name="connsiteX598" fmla="*/ 2273500 w 2663946"/>
                <a:gd name="connsiteY598" fmla="*/ 130342 h 410520"/>
                <a:gd name="connsiteX599" fmla="*/ 2266199 w 2663946"/>
                <a:gd name="connsiteY599" fmla="*/ 125746 h 410520"/>
                <a:gd name="connsiteX600" fmla="*/ 2265929 w 2663946"/>
                <a:gd name="connsiteY600" fmla="*/ 120068 h 410520"/>
                <a:gd name="connsiteX601" fmla="*/ 2273229 w 2663946"/>
                <a:gd name="connsiteY601" fmla="*/ 114931 h 410520"/>
                <a:gd name="connsiteX602" fmla="*/ 2285396 w 2663946"/>
                <a:gd name="connsiteY602" fmla="*/ 114660 h 410520"/>
                <a:gd name="connsiteX603" fmla="*/ 1936416 w 2663946"/>
                <a:gd name="connsiteY603" fmla="*/ 114660 h 410520"/>
                <a:gd name="connsiteX604" fmla="*/ 1940472 w 2663946"/>
                <a:gd name="connsiteY604" fmla="*/ 114660 h 410520"/>
                <a:gd name="connsiteX605" fmla="*/ 1945068 w 2663946"/>
                <a:gd name="connsiteY605" fmla="*/ 117094 h 410520"/>
                <a:gd name="connsiteX606" fmla="*/ 1947232 w 2663946"/>
                <a:gd name="connsiteY606" fmla="*/ 123312 h 410520"/>
                <a:gd name="connsiteX607" fmla="*/ 1947232 w 2663946"/>
                <a:gd name="connsiteY607" fmla="*/ 123853 h 410520"/>
                <a:gd name="connsiteX608" fmla="*/ 1947232 w 2663946"/>
                <a:gd name="connsiteY608" fmla="*/ 176848 h 410520"/>
                <a:gd name="connsiteX609" fmla="*/ 1947772 w 2663946"/>
                <a:gd name="connsiteY609" fmla="*/ 177388 h 410520"/>
                <a:gd name="connsiteX610" fmla="*/ 1955072 w 2663946"/>
                <a:gd name="connsiteY610" fmla="*/ 177388 h 410520"/>
                <a:gd name="connsiteX611" fmla="*/ 1959128 w 2663946"/>
                <a:gd name="connsiteY611" fmla="*/ 178470 h 410520"/>
                <a:gd name="connsiteX612" fmla="*/ 1962913 w 2663946"/>
                <a:gd name="connsiteY612" fmla="*/ 185229 h 410520"/>
                <a:gd name="connsiteX613" fmla="*/ 1960210 w 2663946"/>
                <a:gd name="connsiteY613" fmla="*/ 190907 h 410520"/>
                <a:gd name="connsiteX614" fmla="*/ 1956154 w 2663946"/>
                <a:gd name="connsiteY614" fmla="*/ 192800 h 410520"/>
                <a:gd name="connsiteX615" fmla="*/ 1955884 w 2663946"/>
                <a:gd name="connsiteY615" fmla="*/ 192800 h 410520"/>
                <a:gd name="connsiteX616" fmla="*/ 1955613 w 2663946"/>
                <a:gd name="connsiteY616" fmla="*/ 192800 h 410520"/>
                <a:gd name="connsiteX617" fmla="*/ 1955072 w 2663946"/>
                <a:gd name="connsiteY617" fmla="*/ 192800 h 410520"/>
                <a:gd name="connsiteX618" fmla="*/ 1922897 w 2663946"/>
                <a:gd name="connsiteY618" fmla="*/ 192800 h 410520"/>
                <a:gd name="connsiteX619" fmla="*/ 1922357 w 2663946"/>
                <a:gd name="connsiteY619" fmla="*/ 192800 h 410520"/>
                <a:gd name="connsiteX620" fmla="*/ 1921545 w 2663946"/>
                <a:gd name="connsiteY620" fmla="*/ 192800 h 410520"/>
                <a:gd name="connsiteX621" fmla="*/ 1920734 w 2663946"/>
                <a:gd name="connsiteY621" fmla="*/ 192530 h 410520"/>
                <a:gd name="connsiteX622" fmla="*/ 1917219 w 2663946"/>
                <a:gd name="connsiteY622" fmla="*/ 190637 h 410520"/>
                <a:gd name="connsiteX623" fmla="*/ 1914786 w 2663946"/>
                <a:gd name="connsiteY623" fmla="*/ 184959 h 410520"/>
                <a:gd name="connsiteX624" fmla="*/ 1916949 w 2663946"/>
                <a:gd name="connsiteY624" fmla="*/ 179822 h 410520"/>
                <a:gd name="connsiteX625" fmla="*/ 1922627 w 2663946"/>
                <a:gd name="connsiteY625" fmla="*/ 177388 h 410520"/>
                <a:gd name="connsiteX626" fmla="*/ 1930468 w 2663946"/>
                <a:gd name="connsiteY626" fmla="*/ 177388 h 410520"/>
                <a:gd name="connsiteX627" fmla="*/ 1931009 w 2663946"/>
                <a:gd name="connsiteY627" fmla="*/ 176848 h 410520"/>
                <a:gd name="connsiteX628" fmla="*/ 1931009 w 2663946"/>
                <a:gd name="connsiteY628" fmla="*/ 130883 h 410520"/>
                <a:gd name="connsiteX629" fmla="*/ 1930468 w 2663946"/>
                <a:gd name="connsiteY629" fmla="*/ 130342 h 410520"/>
                <a:gd name="connsiteX630" fmla="*/ 1924520 w 2663946"/>
                <a:gd name="connsiteY630" fmla="*/ 130342 h 410520"/>
                <a:gd name="connsiteX631" fmla="*/ 1917219 w 2663946"/>
                <a:gd name="connsiteY631" fmla="*/ 125746 h 410520"/>
                <a:gd name="connsiteX632" fmla="*/ 1916949 w 2663946"/>
                <a:gd name="connsiteY632" fmla="*/ 120068 h 410520"/>
                <a:gd name="connsiteX633" fmla="*/ 1924249 w 2663946"/>
                <a:gd name="connsiteY633" fmla="*/ 114931 h 410520"/>
                <a:gd name="connsiteX634" fmla="*/ 1936416 w 2663946"/>
                <a:gd name="connsiteY634" fmla="*/ 114660 h 410520"/>
                <a:gd name="connsiteX635" fmla="*/ 1678521 w 2663946"/>
                <a:gd name="connsiteY635" fmla="*/ 114660 h 410520"/>
                <a:gd name="connsiteX636" fmla="*/ 1682577 w 2663946"/>
                <a:gd name="connsiteY636" fmla="*/ 114660 h 410520"/>
                <a:gd name="connsiteX637" fmla="*/ 1687173 w 2663946"/>
                <a:gd name="connsiteY637" fmla="*/ 117094 h 410520"/>
                <a:gd name="connsiteX638" fmla="*/ 1689336 w 2663946"/>
                <a:gd name="connsiteY638" fmla="*/ 123312 h 410520"/>
                <a:gd name="connsiteX639" fmla="*/ 1689336 w 2663946"/>
                <a:gd name="connsiteY639" fmla="*/ 123853 h 410520"/>
                <a:gd name="connsiteX640" fmla="*/ 1689336 w 2663946"/>
                <a:gd name="connsiteY640" fmla="*/ 176848 h 410520"/>
                <a:gd name="connsiteX641" fmla="*/ 1689877 w 2663946"/>
                <a:gd name="connsiteY641" fmla="*/ 177388 h 410520"/>
                <a:gd name="connsiteX642" fmla="*/ 1697177 w 2663946"/>
                <a:gd name="connsiteY642" fmla="*/ 177388 h 410520"/>
                <a:gd name="connsiteX643" fmla="*/ 1701233 w 2663946"/>
                <a:gd name="connsiteY643" fmla="*/ 178470 h 410520"/>
                <a:gd name="connsiteX644" fmla="*/ 1705018 w 2663946"/>
                <a:gd name="connsiteY644" fmla="*/ 185229 h 410520"/>
                <a:gd name="connsiteX645" fmla="*/ 1702315 w 2663946"/>
                <a:gd name="connsiteY645" fmla="*/ 190907 h 410520"/>
                <a:gd name="connsiteX646" fmla="*/ 1698259 w 2663946"/>
                <a:gd name="connsiteY646" fmla="*/ 192800 h 410520"/>
                <a:gd name="connsiteX647" fmla="*/ 1697989 w 2663946"/>
                <a:gd name="connsiteY647" fmla="*/ 192800 h 410520"/>
                <a:gd name="connsiteX648" fmla="*/ 1697718 w 2663946"/>
                <a:gd name="connsiteY648" fmla="*/ 192800 h 410520"/>
                <a:gd name="connsiteX649" fmla="*/ 1697177 w 2663946"/>
                <a:gd name="connsiteY649" fmla="*/ 192800 h 410520"/>
                <a:gd name="connsiteX650" fmla="*/ 1665002 w 2663946"/>
                <a:gd name="connsiteY650" fmla="*/ 192800 h 410520"/>
                <a:gd name="connsiteX651" fmla="*/ 1664462 w 2663946"/>
                <a:gd name="connsiteY651" fmla="*/ 192800 h 410520"/>
                <a:gd name="connsiteX652" fmla="*/ 1663650 w 2663946"/>
                <a:gd name="connsiteY652" fmla="*/ 192800 h 410520"/>
                <a:gd name="connsiteX653" fmla="*/ 1662839 w 2663946"/>
                <a:gd name="connsiteY653" fmla="*/ 192530 h 410520"/>
                <a:gd name="connsiteX654" fmla="*/ 1659324 w 2663946"/>
                <a:gd name="connsiteY654" fmla="*/ 190637 h 410520"/>
                <a:gd name="connsiteX655" fmla="*/ 1656891 w 2663946"/>
                <a:gd name="connsiteY655" fmla="*/ 184959 h 410520"/>
                <a:gd name="connsiteX656" fmla="*/ 1659054 w 2663946"/>
                <a:gd name="connsiteY656" fmla="*/ 179822 h 410520"/>
                <a:gd name="connsiteX657" fmla="*/ 1664732 w 2663946"/>
                <a:gd name="connsiteY657" fmla="*/ 177388 h 410520"/>
                <a:gd name="connsiteX658" fmla="*/ 1672573 w 2663946"/>
                <a:gd name="connsiteY658" fmla="*/ 177388 h 410520"/>
                <a:gd name="connsiteX659" fmla="*/ 1673114 w 2663946"/>
                <a:gd name="connsiteY659" fmla="*/ 176848 h 410520"/>
                <a:gd name="connsiteX660" fmla="*/ 1673114 w 2663946"/>
                <a:gd name="connsiteY660" fmla="*/ 130883 h 410520"/>
                <a:gd name="connsiteX661" fmla="*/ 1672573 w 2663946"/>
                <a:gd name="connsiteY661" fmla="*/ 130342 h 410520"/>
                <a:gd name="connsiteX662" fmla="*/ 1666625 w 2663946"/>
                <a:gd name="connsiteY662" fmla="*/ 130342 h 410520"/>
                <a:gd name="connsiteX663" fmla="*/ 1659324 w 2663946"/>
                <a:gd name="connsiteY663" fmla="*/ 125746 h 410520"/>
                <a:gd name="connsiteX664" fmla="*/ 1659054 w 2663946"/>
                <a:gd name="connsiteY664" fmla="*/ 120068 h 410520"/>
                <a:gd name="connsiteX665" fmla="*/ 1666354 w 2663946"/>
                <a:gd name="connsiteY665" fmla="*/ 114931 h 410520"/>
                <a:gd name="connsiteX666" fmla="*/ 1678521 w 2663946"/>
                <a:gd name="connsiteY666" fmla="*/ 114660 h 410520"/>
                <a:gd name="connsiteX667" fmla="*/ 1329614 w 2663946"/>
                <a:gd name="connsiteY667" fmla="*/ 114660 h 410520"/>
                <a:gd name="connsiteX668" fmla="*/ 1333670 w 2663946"/>
                <a:gd name="connsiteY668" fmla="*/ 114660 h 410520"/>
                <a:gd name="connsiteX669" fmla="*/ 1338266 w 2663946"/>
                <a:gd name="connsiteY669" fmla="*/ 117094 h 410520"/>
                <a:gd name="connsiteX670" fmla="*/ 1340429 w 2663946"/>
                <a:gd name="connsiteY670" fmla="*/ 123312 h 410520"/>
                <a:gd name="connsiteX671" fmla="*/ 1340429 w 2663946"/>
                <a:gd name="connsiteY671" fmla="*/ 123853 h 410520"/>
                <a:gd name="connsiteX672" fmla="*/ 1340429 w 2663946"/>
                <a:gd name="connsiteY672" fmla="*/ 176848 h 410520"/>
                <a:gd name="connsiteX673" fmla="*/ 1340970 w 2663946"/>
                <a:gd name="connsiteY673" fmla="*/ 177388 h 410520"/>
                <a:gd name="connsiteX674" fmla="*/ 1348270 w 2663946"/>
                <a:gd name="connsiteY674" fmla="*/ 177388 h 410520"/>
                <a:gd name="connsiteX675" fmla="*/ 1352326 w 2663946"/>
                <a:gd name="connsiteY675" fmla="*/ 178470 h 410520"/>
                <a:gd name="connsiteX676" fmla="*/ 1356111 w 2663946"/>
                <a:gd name="connsiteY676" fmla="*/ 185229 h 410520"/>
                <a:gd name="connsiteX677" fmla="*/ 1353408 w 2663946"/>
                <a:gd name="connsiteY677" fmla="*/ 190907 h 410520"/>
                <a:gd name="connsiteX678" fmla="*/ 1349352 w 2663946"/>
                <a:gd name="connsiteY678" fmla="*/ 192800 h 410520"/>
                <a:gd name="connsiteX679" fmla="*/ 1349082 w 2663946"/>
                <a:gd name="connsiteY679" fmla="*/ 192800 h 410520"/>
                <a:gd name="connsiteX680" fmla="*/ 1348811 w 2663946"/>
                <a:gd name="connsiteY680" fmla="*/ 192800 h 410520"/>
                <a:gd name="connsiteX681" fmla="*/ 1348270 w 2663946"/>
                <a:gd name="connsiteY681" fmla="*/ 192800 h 410520"/>
                <a:gd name="connsiteX682" fmla="*/ 1316095 w 2663946"/>
                <a:gd name="connsiteY682" fmla="*/ 192800 h 410520"/>
                <a:gd name="connsiteX683" fmla="*/ 1315555 w 2663946"/>
                <a:gd name="connsiteY683" fmla="*/ 192800 h 410520"/>
                <a:gd name="connsiteX684" fmla="*/ 1314743 w 2663946"/>
                <a:gd name="connsiteY684" fmla="*/ 192800 h 410520"/>
                <a:gd name="connsiteX685" fmla="*/ 1313932 w 2663946"/>
                <a:gd name="connsiteY685" fmla="*/ 192530 h 410520"/>
                <a:gd name="connsiteX686" fmla="*/ 1310417 w 2663946"/>
                <a:gd name="connsiteY686" fmla="*/ 190637 h 410520"/>
                <a:gd name="connsiteX687" fmla="*/ 1307984 w 2663946"/>
                <a:gd name="connsiteY687" fmla="*/ 184959 h 410520"/>
                <a:gd name="connsiteX688" fmla="*/ 1310147 w 2663946"/>
                <a:gd name="connsiteY688" fmla="*/ 179822 h 410520"/>
                <a:gd name="connsiteX689" fmla="*/ 1315825 w 2663946"/>
                <a:gd name="connsiteY689" fmla="*/ 177388 h 410520"/>
                <a:gd name="connsiteX690" fmla="*/ 1323666 w 2663946"/>
                <a:gd name="connsiteY690" fmla="*/ 177388 h 410520"/>
                <a:gd name="connsiteX691" fmla="*/ 1324207 w 2663946"/>
                <a:gd name="connsiteY691" fmla="*/ 176848 h 410520"/>
                <a:gd name="connsiteX692" fmla="*/ 1324207 w 2663946"/>
                <a:gd name="connsiteY692" fmla="*/ 130883 h 410520"/>
                <a:gd name="connsiteX693" fmla="*/ 1323666 w 2663946"/>
                <a:gd name="connsiteY693" fmla="*/ 130342 h 410520"/>
                <a:gd name="connsiteX694" fmla="*/ 1317718 w 2663946"/>
                <a:gd name="connsiteY694" fmla="*/ 130342 h 410520"/>
                <a:gd name="connsiteX695" fmla="*/ 1310417 w 2663946"/>
                <a:gd name="connsiteY695" fmla="*/ 125746 h 410520"/>
                <a:gd name="connsiteX696" fmla="*/ 1310147 w 2663946"/>
                <a:gd name="connsiteY696" fmla="*/ 120068 h 410520"/>
                <a:gd name="connsiteX697" fmla="*/ 1317447 w 2663946"/>
                <a:gd name="connsiteY697" fmla="*/ 114931 h 410520"/>
                <a:gd name="connsiteX698" fmla="*/ 1329614 w 2663946"/>
                <a:gd name="connsiteY698" fmla="*/ 114660 h 410520"/>
                <a:gd name="connsiteX699" fmla="*/ 980634 w 2663946"/>
                <a:gd name="connsiteY699" fmla="*/ 114660 h 410520"/>
                <a:gd name="connsiteX700" fmla="*/ 984690 w 2663946"/>
                <a:gd name="connsiteY700" fmla="*/ 114660 h 410520"/>
                <a:gd name="connsiteX701" fmla="*/ 989286 w 2663946"/>
                <a:gd name="connsiteY701" fmla="*/ 117094 h 410520"/>
                <a:gd name="connsiteX702" fmla="*/ 991449 w 2663946"/>
                <a:gd name="connsiteY702" fmla="*/ 123312 h 410520"/>
                <a:gd name="connsiteX703" fmla="*/ 991449 w 2663946"/>
                <a:gd name="connsiteY703" fmla="*/ 123853 h 410520"/>
                <a:gd name="connsiteX704" fmla="*/ 991449 w 2663946"/>
                <a:gd name="connsiteY704" fmla="*/ 176848 h 410520"/>
                <a:gd name="connsiteX705" fmla="*/ 991990 w 2663946"/>
                <a:gd name="connsiteY705" fmla="*/ 177388 h 410520"/>
                <a:gd name="connsiteX706" fmla="*/ 999290 w 2663946"/>
                <a:gd name="connsiteY706" fmla="*/ 177388 h 410520"/>
                <a:gd name="connsiteX707" fmla="*/ 1003346 w 2663946"/>
                <a:gd name="connsiteY707" fmla="*/ 178470 h 410520"/>
                <a:gd name="connsiteX708" fmla="*/ 1007131 w 2663946"/>
                <a:gd name="connsiteY708" fmla="*/ 185229 h 410520"/>
                <a:gd name="connsiteX709" fmla="*/ 1004428 w 2663946"/>
                <a:gd name="connsiteY709" fmla="*/ 190907 h 410520"/>
                <a:gd name="connsiteX710" fmla="*/ 1000372 w 2663946"/>
                <a:gd name="connsiteY710" fmla="*/ 192800 h 410520"/>
                <a:gd name="connsiteX711" fmla="*/ 1000102 w 2663946"/>
                <a:gd name="connsiteY711" fmla="*/ 192800 h 410520"/>
                <a:gd name="connsiteX712" fmla="*/ 999831 w 2663946"/>
                <a:gd name="connsiteY712" fmla="*/ 192800 h 410520"/>
                <a:gd name="connsiteX713" fmla="*/ 999290 w 2663946"/>
                <a:gd name="connsiteY713" fmla="*/ 192800 h 410520"/>
                <a:gd name="connsiteX714" fmla="*/ 967115 w 2663946"/>
                <a:gd name="connsiteY714" fmla="*/ 192800 h 410520"/>
                <a:gd name="connsiteX715" fmla="*/ 966575 w 2663946"/>
                <a:gd name="connsiteY715" fmla="*/ 192800 h 410520"/>
                <a:gd name="connsiteX716" fmla="*/ 965763 w 2663946"/>
                <a:gd name="connsiteY716" fmla="*/ 192800 h 410520"/>
                <a:gd name="connsiteX717" fmla="*/ 964952 w 2663946"/>
                <a:gd name="connsiteY717" fmla="*/ 192530 h 410520"/>
                <a:gd name="connsiteX718" fmla="*/ 961437 w 2663946"/>
                <a:gd name="connsiteY718" fmla="*/ 190637 h 410520"/>
                <a:gd name="connsiteX719" fmla="*/ 959004 w 2663946"/>
                <a:gd name="connsiteY719" fmla="*/ 184959 h 410520"/>
                <a:gd name="connsiteX720" fmla="*/ 961167 w 2663946"/>
                <a:gd name="connsiteY720" fmla="*/ 179822 h 410520"/>
                <a:gd name="connsiteX721" fmla="*/ 966845 w 2663946"/>
                <a:gd name="connsiteY721" fmla="*/ 177388 h 410520"/>
                <a:gd name="connsiteX722" fmla="*/ 974686 w 2663946"/>
                <a:gd name="connsiteY722" fmla="*/ 177388 h 410520"/>
                <a:gd name="connsiteX723" fmla="*/ 975227 w 2663946"/>
                <a:gd name="connsiteY723" fmla="*/ 176848 h 410520"/>
                <a:gd name="connsiteX724" fmla="*/ 975227 w 2663946"/>
                <a:gd name="connsiteY724" fmla="*/ 130883 h 410520"/>
                <a:gd name="connsiteX725" fmla="*/ 974686 w 2663946"/>
                <a:gd name="connsiteY725" fmla="*/ 130342 h 410520"/>
                <a:gd name="connsiteX726" fmla="*/ 968738 w 2663946"/>
                <a:gd name="connsiteY726" fmla="*/ 130342 h 410520"/>
                <a:gd name="connsiteX727" fmla="*/ 961437 w 2663946"/>
                <a:gd name="connsiteY727" fmla="*/ 125746 h 410520"/>
                <a:gd name="connsiteX728" fmla="*/ 961167 w 2663946"/>
                <a:gd name="connsiteY728" fmla="*/ 120068 h 410520"/>
                <a:gd name="connsiteX729" fmla="*/ 968467 w 2663946"/>
                <a:gd name="connsiteY729" fmla="*/ 114931 h 410520"/>
                <a:gd name="connsiteX730" fmla="*/ 980634 w 2663946"/>
                <a:gd name="connsiteY730" fmla="*/ 114660 h 410520"/>
                <a:gd name="connsiteX731" fmla="*/ 813605 w 2663946"/>
                <a:gd name="connsiteY731" fmla="*/ 114660 h 410520"/>
                <a:gd name="connsiteX732" fmla="*/ 817661 w 2663946"/>
                <a:gd name="connsiteY732" fmla="*/ 114660 h 410520"/>
                <a:gd name="connsiteX733" fmla="*/ 822257 w 2663946"/>
                <a:gd name="connsiteY733" fmla="*/ 117094 h 410520"/>
                <a:gd name="connsiteX734" fmla="*/ 824420 w 2663946"/>
                <a:gd name="connsiteY734" fmla="*/ 123312 h 410520"/>
                <a:gd name="connsiteX735" fmla="*/ 824420 w 2663946"/>
                <a:gd name="connsiteY735" fmla="*/ 123853 h 410520"/>
                <a:gd name="connsiteX736" fmla="*/ 824420 w 2663946"/>
                <a:gd name="connsiteY736" fmla="*/ 176848 h 410520"/>
                <a:gd name="connsiteX737" fmla="*/ 824961 w 2663946"/>
                <a:gd name="connsiteY737" fmla="*/ 177388 h 410520"/>
                <a:gd name="connsiteX738" fmla="*/ 832261 w 2663946"/>
                <a:gd name="connsiteY738" fmla="*/ 177388 h 410520"/>
                <a:gd name="connsiteX739" fmla="*/ 836317 w 2663946"/>
                <a:gd name="connsiteY739" fmla="*/ 178470 h 410520"/>
                <a:gd name="connsiteX740" fmla="*/ 840102 w 2663946"/>
                <a:gd name="connsiteY740" fmla="*/ 185229 h 410520"/>
                <a:gd name="connsiteX741" fmla="*/ 837399 w 2663946"/>
                <a:gd name="connsiteY741" fmla="*/ 190907 h 410520"/>
                <a:gd name="connsiteX742" fmla="*/ 833343 w 2663946"/>
                <a:gd name="connsiteY742" fmla="*/ 192800 h 410520"/>
                <a:gd name="connsiteX743" fmla="*/ 833073 w 2663946"/>
                <a:gd name="connsiteY743" fmla="*/ 192800 h 410520"/>
                <a:gd name="connsiteX744" fmla="*/ 832802 w 2663946"/>
                <a:gd name="connsiteY744" fmla="*/ 192800 h 410520"/>
                <a:gd name="connsiteX745" fmla="*/ 832261 w 2663946"/>
                <a:gd name="connsiteY745" fmla="*/ 192800 h 410520"/>
                <a:gd name="connsiteX746" fmla="*/ 800086 w 2663946"/>
                <a:gd name="connsiteY746" fmla="*/ 192800 h 410520"/>
                <a:gd name="connsiteX747" fmla="*/ 799546 w 2663946"/>
                <a:gd name="connsiteY747" fmla="*/ 192800 h 410520"/>
                <a:gd name="connsiteX748" fmla="*/ 798734 w 2663946"/>
                <a:gd name="connsiteY748" fmla="*/ 192800 h 410520"/>
                <a:gd name="connsiteX749" fmla="*/ 797923 w 2663946"/>
                <a:gd name="connsiteY749" fmla="*/ 192530 h 410520"/>
                <a:gd name="connsiteX750" fmla="*/ 794408 w 2663946"/>
                <a:gd name="connsiteY750" fmla="*/ 190637 h 410520"/>
                <a:gd name="connsiteX751" fmla="*/ 791975 w 2663946"/>
                <a:gd name="connsiteY751" fmla="*/ 184959 h 410520"/>
                <a:gd name="connsiteX752" fmla="*/ 794138 w 2663946"/>
                <a:gd name="connsiteY752" fmla="*/ 179822 h 410520"/>
                <a:gd name="connsiteX753" fmla="*/ 799816 w 2663946"/>
                <a:gd name="connsiteY753" fmla="*/ 177388 h 410520"/>
                <a:gd name="connsiteX754" fmla="*/ 807657 w 2663946"/>
                <a:gd name="connsiteY754" fmla="*/ 177388 h 410520"/>
                <a:gd name="connsiteX755" fmla="*/ 808198 w 2663946"/>
                <a:gd name="connsiteY755" fmla="*/ 176848 h 410520"/>
                <a:gd name="connsiteX756" fmla="*/ 808198 w 2663946"/>
                <a:gd name="connsiteY756" fmla="*/ 130883 h 410520"/>
                <a:gd name="connsiteX757" fmla="*/ 807657 w 2663946"/>
                <a:gd name="connsiteY757" fmla="*/ 130342 h 410520"/>
                <a:gd name="connsiteX758" fmla="*/ 801709 w 2663946"/>
                <a:gd name="connsiteY758" fmla="*/ 130342 h 410520"/>
                <a:gd name="connsiteX759" fmla="*/ 794408 w 2663946"/>
                <a:gd name="connsiteY759" fmla="*/ 125746 h 410520"/>
                <a:gd name="connsiteX760" fmla="*/ 794138 w 2663946"/>
                <a:gd name="connsiteY760" fmla="*/ 120068 h 410520"/>
                <a:gd name="connsiteX761" fmla="*/ 801438 w 2663946"/>
                <a:gd name="connsiteY761" fmla="*/ 114931 h 410520"/>
                <a:gd name="connsiteX762" fmla="*/ 813605 w 2663946"/>
                <a:gd name="connsiteY762" fmla="*/ 114660 h 410520"/>
                <a:gd name="connsiteX763" fmla="*/ 282748 w 2663946"/>
                <a:gd name="connsiteY763" fmla="*/ 114660 h 410520"/>
                <a:gd name="connsiteX764" fmla="*/ 286803 w 2663946"/>
                <a:gd name="connsiteY764" fmla="*/ 114660 h 410520"/>
                <a:gd name="connsiteX765" fmla="*/ 291400 w 2663946"/>
                <a:gd name="connsiteY765" fmla="*/ 117094 h 410520"/>
                <a:gd name="connsiteX766" fmla="*/ 293563 w 2663946"/>
                <a:gd name="connsiteY766" fmla="*/ 123312 h 410520"/>
                <a:gd name="connsiteX767" fmla="*/ 293563 w 2663946"/>
                <a:gd name="connsiteY767" fmla="*/ 123853 h 410520"/>
                <a:gd name="connsiteX768" fmla="*/ 293563 w 2663946"/>
                <a:gd name="connsiteY768" fmla="*/ 176848 h 410520"/>
                <a:gd name="connsiteX769" fmla="*/ 294104 w 2663946"/>
                <a:gd name="connsiteY769" fmla="*/ 177388 h 410520"/>
                <a:gd name="connsiteX770" fmla="*/ 301404 w 2663946"/>
                <a:gd name="connsiteY770" fmla="*/ 177388 h 410520"/>
                <a:gd name="connsiteX771" fmla="*/ 305460 w 2663946"/>
                <a:gd name="connsiteY771" fmla="*/ 178470 h 410520"/>
                <a:gd name="connsiteX772" fmla="*/ 309245 w 2663946"/>
                <a:gd name="connsiteY772" fmla="*/ 185229 h 410520"/>
                <a:gd name="connsiteX773" fmla="*/ 306541 w 2663946"/>
                <a:gd name="connsiteY773" fmla="*/ 190907 h 410520"/>
                <a:gd name="connsiteX774" fmla="*/ 302485 w 2663946"/>
                <a:gd name="connsiteY774" fmla="*/ 192800 h 410520"/>
                <a:gd name="connsiteX775" fmla="*/ 302215 w 2663946"/>
                <a:gd name="connsiteY775" fmla="*/ 192800 h 410520"/>
                <a:gd name="connsiteX776" fmla="*/ 301945 w 2663946"/>
                <a:gd name="connsiteY776" fmla="*/ 192800 h 410520"/>
                <a:gd name="connsiteX777" fmla="*/ 301404 w 2663946"/>
                <a:gd name="connsiteY777" fmla="*/ 192800 h 410520"/>
                <a:gd name="connsiteX778" fmla="*/ 269229 w 2663946"/>
                <a:gd name="connsiteY778" fmla="*/ 192800 h 410520"/>
                <a:gd name="connsiteX779" fmla="*/ 268688 w 2663946"/>
                <a:gd name="connsiteY779" fmla="*/ 192800 h 410520"/>
                <a:gd name="connsiteX780" fmla="*/ 267877 w 2663946"/>
                <a:gd name="connsiteY780" fmla="*/ 192800 h 410520"/>
                <a:gd name="connsiteX781" fmla="*/ 267066 w 2663946"/>
                <a:gd name="connsiteY781" fmla="*/ 192530 h 410520"/>
                <a:gd name="connsiteX782" fmla="*/ 263551 w 2663946"/>
                <a:gd name="connsiteY782" fmla="*/ 190637 h 410520"/>
                <a:gd name="connsiteX783" fmla="*/ 261117 w 2663946"/>
                <a:gd name="connsiteY783" fmla="*/ 184959 h 410520"/>
                <a:gd name="connsiteX784" fmla="*/ 263281 w 2663946"/>
                <a:gd name="connsiteY784" fmla="*/ 179822 h 410520"/>
                <a:gd name="connsiteX785" fmla="*/ 268958 w 2663946"/>
                <a:gd name="connsiteY785" fmla="*/ 177388 h 410520"/>
                <a:gd name="connsiteX786" fmla="*/ 276800 w 2663946"/>
                <a:gd name="connsiteY786" fmla="*/ 177388 h 410520"/>
                <a:gd name="connsiteX787" fmla="*/ 277340 w 2663946"/>
                <a:gd name="connsiteY787" fmla="*/ 176848 h 410520"/>
                <a:gd name="connsiteX788" fmla="*/ 277340 w 2663946"/>
                <a:gd name="connsiteY788" fmla="*/ 130883 h 410520"/>
                <a:gd name="connsiteX789" fmla="*/ 276800 w 2663946"/>
                <a:gd name="connsiteY789" fmla="*/ 130342 h 410520"/>
                <a:gd name="connsiteX790" fmla="*/ 270851 w 2663946"/>
                <a:gd name="connsiteY790" fmla="*/ 130342 h 410520"/>
                <a:gd name="connsiteX791" fmla="*/ 263551 w 2663946"/>
                <a:gd name="connsiteY791" fmla="*/ 125746 h 410520"/>
                <a:gd name="connsiteX792" fmla="*/ 263281 w 2663946"/>
                <a:gd name="connsiteY792" fmla="*/ 120068 h 410520"/>
                <a:gd name="connsiteX793" fmla="*/ 270581 w 2663946"/>
                <a:gd name="connsiteY793" fmla="*/ 114931 h 410520"/>
                <a:gd name="connsiteX794" fmla="*/ 282748 w 2663946"/>
                <a:gd name="connsiteY794" fmla="*/ 114660 h 410520"/>
                <a:gd name="connsiteX795" fmla="*/ 206731 w 2663946"/>
                <a:gd name="connsiteY795" fmla="*/ 114660 h 410520"/>
                <a:gd name="connsiteX796" fmla="*/ 210787 w 2663946"/>
                <a:gd name="connsiteY796" fmla="*/ 114660 h 410520"/>
                <a:gd name="connsiteX797" fmla="*/ 215383 w 2663946"/>
                <a:gd name="connsiteY797" fmla="*/ 117094 h 410520"/>
                <a:gd name="connsiteX798" fmla="*/ 217546 w 2663946"/>
                <a:gd name="connsiteY798" fmla="*/ 123312 h 410520"/>
                <a:gd name="connsiteX799" fmla="*/ 217546 w 2663946"/>
                <a:gd name="connsiteY799" fmla="*/ 123853 h 410520"/>
                <a:gd name="connsiteX800" fmla="*/ 217546 w 2663946"/>
                <a:gd name="connsiteY800" fmla="*/ 176848 h 410520"/>
                <a:gd name="connsiteX801" fmla="*/ 218087 w 2663946"/>
                <a:gd name="connsiteY801" fmla="*/ 177388 h 410520"/>
                <a:gd name="connsiteX802" fmla="*/ 225387 w 2663946"/>
                <a:gd name="connsiteY802" fmla="*/ 177388 h 410520"/>
                <a:gd name="connsiteX803" fmla="*/ 229443 w 2663946"/>
                <a:gd name="connsiteY803" fmla="*/ 178470 h 410520"/>
                <a:gd name="connsiteX804" fmla="*/ 233228 w 2663946"/>
                <a:gd name="connsiteY804" fmla="*/ 185229 h 410520"/>
                <a:gd name="connsiteX805" fmla="*/ 230524 w 2663946"/>
                <a:gd name="connsiteY805" fmla="*/ 190907 h 410520"/>
                <a:gd name="connsiteX806" fmla="*/ 226468 w 2663946"/>
                <a:gd name="connsiteY806" fmla="*/ 192800 h 410520"/>
                <a:gd name="connsiteX807" fmla="*/ 226198 w 2663946"/>
                <a:gd name="connsiteY807" fmla="*/ 192800 h 410520"/>
                <a:gd name="connsiteX808" fmla="*/ 225928 w 2663946"/>
                <a:gd name="connsiteY808" fmla="*/ 192800 h 410520"/>
                <a:gd name="connsiteX809" fmla="*/ 225387 w 2663946"/>
                <a:gd name="connsiteY809" fmla="*/ 192800 h 410520"/>
                <a:gd name="connsiteX810" fmla="*/ 193212 w 2663946"/>
                <a:gd name="connsiteY810" fmla="*/ 192800 h 410520"/>
                <a:gd name="connsiteX811" fmla="*/ 192671 w 2663946"/>
                <a:gd name="connsiteY811" fmla="*/ 192800 h 410520"/>
                <a:gd name="connsiteX812" fmla="*/ 191860 w 2663946"/>
                <a:gd name="connsiteY812" fmla="*/ 192800 h 410520"/>
                <a:gd name="connsiteX813" fmla="*/ 191049 w 2663946"/>
                <a:gd name="connsiteY813" fmla="*/ 192530 h 410520"/>
                <a:gd name="connsiteX814" fmla="*/ 187534 w 2663946"/>
                <a:gd name="connsiteY814" fmla="*/ 190637 h 410520"/>
                <a:gd name="connsiteX815" fmla="*/ 185101 w 2663946"/>
                <a:gd name="connsiteY815" fmla="*/ 184959 h 410520"/>
                <a:gd name="connsiteX816" fmla="*/ 187264 w 2663946"/>
                <a:gd name="connsiteY816" fmla="*/ 179822 h 410520"/>
                <a:gd name="connsiteX817" fmla="*/ 192942 w 2663946"/>
                <a:gd name="connsiteY817" fmla="*/ 177388 h 410520"/>
                <a:gd name="connsiteX818" fmla="*/ 200783 w 2663946"/>
                <a:gd name="connsiteY818" fmla="*/ 177388 h 410520"/>
                <a:gd name="connsiteX819" fmla="*/ 201323 w 2663946"/>
                <a:gd name="connsiteY819" fmla="*/ 176848 h 410520"/>
                <a:gd name="connsiteX820" fmla="*/ 201323 w 2663946"/>
                <a:gd name="connsiteY820" fmla="*/ 130883 h 410520"/>
                <a:gd name="connsiteX821" fmla="*/ 200783 w 2663946"/>
                <a:gd name="connsiteY821" fmla="*/ 130342 h 410520"/>
                <a:gd name="connsiteX822" fmla="*/ 194834 w 2663946"/>
                <a:gd name="connsiteY822" fmla="*/ 130342 h 410520"/>
                <a:gd name="connsiteX823" fmla="*/ 187534 w 2663946"/>
                <a:gd name="connsiteY823" fmla="*/ 125746 h 410520"/>
                <a:gd name="connsiteX824" fmla="*/ 187264 w 2663946"/>
                <a:gd name="connsiteY824" fmla="*/ 120068 h 410520"/>
                <a:gd name="connsiteX825" fmla="*/ 194564 w 2663946"/>
                <a:gd name="connsiteY825" fmla="*/ 114931 h 410520"/>
                <a:gd name="connsiteX826" fmla="*/ 206731 w 2663946"/>
                <a:gd name="connsiteY826" fmla="*/ 114660 h 410520"/>
                <a:gd name="connsiteX827" fmla="*/ 2627559 w 2663946"/>
                <a:gd name="connsiteY827" fmla="*/ 114591 h 410520"/>
                <a:gd name="connsiteX828" fmla="*/ 2639849 w 2663946"/>
                <a:gd name="connsiteY828" fmla="*/ 116754 h 410520"/>
                <a:gd name="connsiteX829" fmla="*/ 2647223 w 2663946"/>
                <a:gd name="connsiteY829" fmla="*/ 121351 h 410520"/>
                <a:gd name="connsiteX830" fmla="*/ 2650664 w 2663946"/>
                <a:gd name="connsiteY830" fmla="*/ 124595 h 410520"/>
                <a:gd name="connsiteX831" fmla="*/ 2654106 w 2663946"/>
                <a:gd name="connsiteY831" fmla="*/ 128921 h 410520"/>
                <a:gd name="connsiteX832" fmla="*/ 2656072 w 2663946"/>
                <a:gd name="connsiteY832" fmla="*/ 132436 h 410520"/>
                <a:gd name="connsiteX833" fmla="*/ 2658284 w 2663946"/>
                <a:gd name="connsiteY833" fmla="*/ 137844 h 410520"/>
                <a:gd name="connsiteX834" fmla="*/ 2659267 w 2663946"/>
                <a:gd name="connsiteY834" fmla="*/ 141359 h 410520"/>
                <a:gd name="connsiteX835" fmla="*/ 2660251 w 2663946"/>
                <a:gd name="connsiteY835" fmla="*/ 146496 h 410520"/>
                <a:gd name="connsiteX836" fmla="*/ 2660005 w 2663946"/>
                <a:gd name="connsiteY836" fmla="*/ 160826 h 410520"/>
                <a:gd name="connsiteX837" fmla="*/ 2659022 w 2663946"/>
                <a:gd name="connsiteY837" fmla="*/ 165693 h 410520"/>
                <a:gd name="connsiteX838" fmla="*/ 2657792 w 2663946"/>
                <a:gd name="connsiteY838" fmla="*/ 169478 h 410520"/>
                <a:gd name="connsiteX839" fmla="*/ 2656809 w 2663946"/>
                <a:gd name="connsiteY839" fmla="*/ 171912 h 410520"/>
                <a:gd name="connsiteX840" fmla="*/ 2654597 w 2663946"/>
                <a:gd name="connsiteY840" fmla="*/ 176238 h 410520"/>
                <a:gd name="connsiteX841" fmla="*/ 2652385 w 2663946"/>
                <a:gd name="connsiteY841" fmla="*/ 179482 h 410520"/>
                <a:gd name="connsiteX842" fmla="*/ 2648944 w 2663946"/>
                <a:gd name="connsiteY842" fmla="*/ 183268 h 410520"/>
                <a:gd name="connsiteX843" fmla="*/ 2645748 w 2663946"/>
                <a:gd name="connsiteY843" fmla="*/ 185971 h 410520"/>
                <a:gd name="connsiteX844" fmla="*/ 2640095 w 2663946"/>
                <a:gd name="connsiteY844" fmla="*/ 189216 h 410520"/>
                <a:gd name="connsiteX845" fmla="*/ 2632229 w 2663946"/>
                <a:gd name="connsiteY845" fmla="*/ 191379 h 410520"/>
                <a:gd name="connsiteX846" fmla="*/ 2631000 w 2663946"/>
                <a:gd name="connsiteY846" fmla="*/ 191650 h 410520"/>
                <a:gd name="connsiteX847" fmla="*/ 2626821 w 2663946"/>
                <a:gd name="connsiteY847" fmla="*/ 191650 h 410520"/>
                <a:gd name="connsiteX848" fmla="*/ 2626576 w 2663946"/>
                <a:gd name="connsiteY848" fmla="*/ 191650 h 410520"/>
                <a:gd name="connsiteX849" fmla="*/ 2613548 w 2663946"/>
                <a:gd name="connsiteY849" fmla="*/ 186783 h 410520"/>
                <a:gd name="connsiteX850" fmla="*/ 2608878 w 2663946"/>
                <a:gd name="connsiteY850" fmla="*/ 182727 h 410520"/>
                <a:gd name="connsiteX851" fmla="*/ 2605682 w 2663946"/>
                <a:gd name="connsiteY851" fmla="*/ 178942 h 410520"/>
                <a:gd name="connsiteX852" fmla="*/ 2603470 w 2663946"/>
                <a:gd name="connsiteY852" fmla="*/ 175427 h 410520"/>
                <a:gd name="connsiteX853" fmla="*/ 2601258 w 2663946"/>
                <a:gd name="connsiteY853" fmla="*/ 171101 h 410520"/>
                <a:gd name="connsiteX854" fmla="*/ 2600029 w 2663946"/>
                <a:gd name="connsiteY854" fmla="*/ 168126 h 410520"/>
                <a:gd name="connsiteX855" fmla="*/ 2599046 w 2663946"/>
                <a:gd name="connsiteY855" fmla="*/ 164882 h 410520"/>
                <a:gd name="connsiteX856" fmla="*/ 2597816 w 2663946"/>
                <a:gd name="connsiteY856" fmla="*/ 159204 h 410520"/>
                <a:gd name="connsiteX857" fmla="*/ 2597571 w 2663946"/>
                <a:gd name="connsiteY857" fmla="*/ 156230 h 410520"/>
                <a:gd name="connsiteX858" fmla="*/ 2597816 w 2663946"/>
                <a:gd name="connsiteY858" fmla="*/ 156500 h 410520"/>
                <a:gd name="connsiteX859" fmla="*/ 2597816 w 2663946"/>
                <a:gd name="connsiteY859" fmla="*/ 150822 h 410520"/>
                <a:gd name="connsiteX860" fmla="*/ 2597816 w 2663946"/>
                <a:gd name="connsiteY860" fmla="*/ 150552 h 410520"/>
                <a:gd name="connsiteX861" fmla="*/ 2598308 w 2663946"/>
                <a:gd name="connsiteY861" fmla="*/ 145955 h 410520"/>
                <a:gd name="connsiteX862" fmla="*/ 2599537 w 2663946"/>
                <a:gd name="connsiteY862" fmla="*/ 140548 h 410520"/>
                <a:gd name="connsiteX863" fmla="*/ 2600520 w 2663946"/>
                <a:gd name="connsiteY863" fmla="*/ 137303 h 410520"/>
                <a:gd name="connsiteX864" fmla="*/ 2602732 w 2663946"/>
                <a:gd name="connsiteY864" fmla="*/ 132166 h 410520"/>
                <a:gd name="connsiteX865" fmla="*/ 2604945 w 2663946"/>
                <a:gd name="connsiteY865" fmla="*/ 128381 h 410520"/>
                <a:gd name="connsiteX866" fmla="*/ 2607157 w 2663946"/>
                <a:gd name="connsiteY866" fmla="*/ 125406 h 410520"/>
                <a:gd name="connsiteX867" fmla="*/ 2609369 w 2663946"/>
                <a:gd name="connsiteY867" fmla="*/ 122973 h 410520"/>
                <a:gd name="connsiteX868" fmla="*/ 2614039 w 2663946"/>
                <a:gd name="connsiteY868" fmla="*/ 119188 h 410520"/>
                <a:gd name="connsiteX869" fmla="*/ 2617972 w 2663946"/>
                <a:gd name="connsiteY869" fmla="*/ 117025 h 410520"/>
                <a:gd name="connsiteX870" fmla="*/ 2627559 w 2663946"/>
                <a:gd name="connsiteY870" fmla="*/ 114591 h 410520"/>
                <a:gd name="connsiteX871" fmla="*/ 2445604 w 2663946"/>
                <a:gd name="connsiteY871" fmla="*/ 114591 h 410520"/>
                <a:gd name="connsiteX872" fmla="*/ 2457894 w 2663946"/>
                <a:gd name="connsiteY872" fmla="*/ 116754 h 410520"/>
                <a:gd name="connsiteX873" fmla="*/ 2465268 w 2663946"/>
                <a:gd name="connsiteY873" fmla="*/ 121351 h 410520"/>
                <a:gd name="connsiteX874" fmla="*/ 2468709 w 2663946"/>
                <a:gd name="connsiteY874" fmla="*/ 124595 h 410520"/>
                <a:gd name="connsiteX875" fmla="*/ 2472151 w 2663946"/>
                <a:gd name="connsiteY875" fmla="*/ 128921 h 410520"/>
                <a:gd name="connsiteX876" fmla="*/ 2474117 w 2663946"/>
                <a:gd name="connsiteY876" fmla="*/ 132436 h 410520"/>
                <a:gd name="connsiteX877" fmla="*/ 2476329 w 2663946"/>
                <a:gd name="connsiteY877" fmla="*/ 137844 h 410520"/>
                <a:gd name="connsiteX878" fmla="*/ 2477312 w 2663946"/>
                <a:gd name="connsiteY878" fmla="*/ 141359 h 410520"/>
                <a:gd name="connsiteX879" fmla="*/ 2478296 w 2663946"/>
                <a:gd name="connsiteY879" fmla="*/ 146496 h 410520"/>
                <a:gd name="connsiteX880" fmla="*/ 2478050 w 2663946"/>
                <a:gd name="connsiteY880" fmla="*/ 160826 h 410520"/>
                <a:gd name="connsiteX881" fmla="*/ 2477067 w 2663946"/>
                <a:gd name="connsiteY881" fmla="*/ 165693 h 410520"/>
                <a:gd name="connsiteX882" fmla="*/ 2475837 w 2663946"/>
                <a:gd name="connsiteY882" fmla="*/ 169478 h 410520"/>
                <a:gd name="connsiteX883" fmla="*/ 2474854 w 2663946"/>
                <a:gd name="connsiteY883" fmla="*/ 171912 h 410520"/>
                <a:gd name="connsiteX884" fmla="*/ 2472642 w 2663946"/>
                <a:gd name="connsiteY884" fmla="*/ 176238 h 410520"/>
                <a:gd name="connsiteX885" fmla="*/ 2470430 w 2663946"/>
                <a:gd name="connsiteY885" fmla="*/ 179482 h 410520"/>
                <a:gd name="connsiteX886" fmla="*/ 2466989 w 2663946"/>
                <a:gd name="connsiteY886" fmla="*/ 183268 h 410520"/>
                <a:gd name="connsiteX887" fmla="*/ 2463793 w 2663946"/>
                <a:gd name="connsiteY887" fmla="*/ 185971 h 410520"/>
                <a:gd name="connsiteX888" fmla="*/ 2458140 w 2663946"/>
                <a:gd name="connsiteY888" fmla="*/ 189216 h 410520"/>
                <a:gd name="connsiteX889" fmla="*/ 2450274 w 2663946"/>
                <a:gd name="connsiteY889" fmla="*/ 191379 h 410520"/>
                <a:gd name="connsiteX890" fmla="*/ 2449045 w 2663946"/>
                <a:gd name="connsiteY890" fmla="*/ 191650 h 410520"/>
                <a:gd name="connsiteX891" fmla="*/ 2444866 w 2663946"/>
                <a:gd name="connsiteY891" fmla="*/ 191650 h 410520"/>
                <a:gd name="connsiteX892" fmla="*/ 2444621 w 2663946"/>
                <a:gd name="connsiteY892" fmla="*/ 191650 h 410520"/>
                <a:gd name="connsiteX893" fmla="*/ 2431593 w 2663946"/>
                <a:gd name="connsiteY893" fmla="*/ 186783 h 410520"/>
                <a:gd name="connsiteX894" fmla="*/ 2426923 w 2663946"/>
                <a:gd name="connsiteY894" fmla="*/ 182727 h 410520"/>
                <a:gd name="connsiteX895" fmla="*/ 2423727 w 2663946"/>
                <a:gd name="connsiteY895" fmla="*/ 178942 h 410520"/>
                <a:gd name="connsiteX896" fmla="*/ 2421515 w 2663946"/>
                <a:gd name="connsiteY896" fmla="*/ 175427 h 410520"/>
                <a:gd name="connsiteX897" fmla="*/ 2419303 w 2663946"/>
                <a:gd name="connsiteY897" fmla="*/ 171101 h 410520"/>
                <a:gd name="connsiteX898" fmla="*/ 2418074 w 2663946"/>
                <a:gd name="connsiteY898" fmla="*/ 168126 h 410520"/>
                <a:gd name="connsiteX899" fmla="*/ 2417091 w 2663946"/>
                <a:gd name="connsiteY899" fmla="*/ 164882 h 410520"/>
                <a:gd name="connsiteX900" fmla="*/ 2415861 w 2663946"/>
                <a:gd name="connsiteY900" fmla="*/ 159204 h 410520"/>
                <a:gd name="connsiteX901" fmla="*/ 2415616 w 2663946"/>
                <a:gd name="connsiteY901" fmla="*/ 156230 h 410520"/>
                <a:gd name="connsiteX902" fmla="*/ 2415861 w 2663946"/>
                <a:gd name="connsiteY902" fmla="*/ 156500 h 410520"/>
                <a:gd name="connsiteX903" fmla="*/ 2415861 w 2663946"/>
                <a:gd name="connsiteY903" fmla="*/ 150822 h 410520"/>
                <a:gd name="connsiteX904" fmla="*/ 2415861 w 2663946"/>
                <a:gd name="connsiteY904" fmla="*/ 150552 h 410520"/>
                <a:gd name="connsiteX905" fmla="*/ 2416353 w 2663946"/>
                <a:gd name="connsiteY905" fmla="*/ 145955 h 410520"/>
                <a:gd name="connsiteX906" fmla="*/ 2417582 w 2663946"/>
                <a:gd name="connsiteY906" fmla="*/ 140548 h 410520"/>
                <a:gd name="connsiteX907" fmla="*/ 2418565 w 2663946"/>
                <a:gd name="connsiteY907" fmla="*/ 137303 h 410520"/>
                <a:gd name="connsiteX908" fmla="*/ 2420777 w 2663946"/>
                <a:gd name="connsiteY908" fmla="*/ 132166 h 410520"/>
                <a:gd name="connsiteX909" fmla="*/ 2422990 w 2663946"/>
                <a:gd name="connsiteY909" fmla="*/ 128381 h 410520"/>
                <a:gd name="connsiteX910" fmla="*/ 2425202 w 2663946"/>
                <a:gd name="connsiteY910" fmla="*/ 125406 h 410520"/>
                <a:gd name="connsiteX911" fmla="*/ 2427414 w 2663946"/>
                <a:gd name="connsiteY911" fmla="*/ 122973 h 410520"/>
                <a:gd name="connsiteX912" fmla="*/ 2432084 w 2663946"/>
                <a:gd name="connsiteY912" fmla="*/ 119188 h 410520"/>
                <a:gd name="connsiteX913" fmla="*/ 2436017 w 2663946"/>
                <a:gd name="connsiteY913" fmla="*/ 117025 h 410520"/>
                <a:gd name="connsiteX914" fmla="*/ 2445604 w 2663946"/>
                <a:gd name="connsiteY914" fmla="*/ 114591 h 410520"/>
                <a:gd name="connsiteX915" fmla="*/ 2202558 w 2663946"/>
                <a:gd name="connsiteY915" fmla="*/ 114591 h 410520"/>
                <a:gd name="connsiteX916" fmla="*/ 2214848 w 2663946"/>
                <a:gd name="connsiteY916" fmla="*/ 116754 h 410520"/>
                <a:gd name="connsiteX917" fmla="*/ 2222222 w 2663946"/>
                <a:gd name="connsiteY917" fmla="*/ 121351 h 410520"/>
                <a:gd name="connsiteX918" fmla="*/ 2225663 w 2663946"/>
                <a:gd name="connsiteY918" fmla="*/ 124595 h 410520"/>
                <a:gd name="connsiteX919" fmla="*/ 2229105 w 2663946"/>
                <a:gd name="connsiteY919" fmla="*/ 128921 h 410520"/>
                <a:gd name="connsiteX920" fmla="*/ 2231071 w 2663946"/>
                <a:gd name="connsiteY920" fmla="*/ 132436 h 410520"/>
                <a:gd name="connsiteX921" fmla="*/ 2233283 w 2663946"/>
                <a:gd name="connsiteY921" fmla="*/ 137844 h 410520"/>
                <a:gd name="connsiteX922" fmla="*/ 2234266 w 2663946"/>
                <a:gd name="connsiteY922" fmla="*/ 141359 h 410520"/>
                <a:gd name="connsiteX923" fmla="*/ 2235250 w 2663946"/>
                <a:gd name="connsiteY923" fmla="*/ 146496 h 410520"/>
                <a:gd name="connsiteX924" fmla="*/ 2235004 w 2663946"/>
                <a:gd name="connsiteY924" fmla="*/ 160826 h 410520"/>
                <a:gd name="connsiteX925" fmla="*/ 2234021 w 2663946"/>
                <a:gd name="connsiteY925" fmla="*/ 165693 h 410520"/>
                <a:gd name="connsiteX926" fmla="*/ 2232791 w 2663946"/>
                <a:gd name="connsiteY926" fmla="*/ 169478 h 410520"/>
                <a:gd name="connsiteX927" fmla="*/ 2231808 w 2663946"/>
                <a:gd name="connsiteY927" fmla="*/ 171912 h 410520"/>
                <a:gd name="connsiteX928" fmla="*/ 2229596 w 2663946"/>
                <a:gd name="connsiteY928" fmla="*/ 176238 h 410520"/>
                <a:gd name="connsiteX929" fmla="*/ 2227384 w 2663946"/>
                <a:gd name="connsiteY929" fmla="*/ 179482 h 410520"/>
                <a:gd name="connsiteX930" fmla="*/ 2223943 w 2663946"/>
                <a:gd name="connsiteY930" fmla="*/ 183268 h 410520"/>
                <a:gd name="connsiteX931" fmla="*/ 2220747 w 2663946"/>
                <a:gd name="connsiteY931" fmla="*/ 185971 h 410520"/>
                <a:gd name="connsiteX932" fmla="*/ 2215094 w 2663946"/>
                <a:gd name="connsiteY932" fmla="*/ 189216 h 410520"/>
                <a:gd name="connsiteX933" fmla="*/ 2207228 w 2663946"/>
                <a:gd name="connsiteY933" fmla="*/ 191379 h 410520"/>
                <a:gd name="connsiteX934" fmla="*/ 2205999 w 2663946"/>
                <a:gd name="connsiteY934" fmla="*/ 191650 h 410520"/>
                <a:gd name="connsiteX935" fmla="*/ 2201820 w 2663946"/>
                <a:gd name="connsiteY935" fmla="*/ 191650 h 410520"/>
                <a:gd name="connsiteX936" fmla="*/ 2201575 w 2663946"/>
                <a:gd name="connsiteY936" fmla="*/ 191650 h 410520"/>
                <a:gd name="connsiteX937" fmla="*/ 2188547 w 2663946"/>
                <a:gd name="connsiteY937" fmla="*/ 186783 h 410520"/>
                <a:gd name="connsiteX938" fmla="*/ 2183877 w 2663946"/>
                <a:gd name="connsiteY938" fmla="*/ 182727 h 410520"/>
                <a:gd name="connsiteX939" fmla="*/ 2180681 w 2663946"/>
                <a:gd name="connsiteY939" fmla="*/ 178942 h 410520"/>
                <a:gd name="connsiteX940" fmla="*/ 2178469 w 2663946"/>
                <a:gd name="connsiteY940" fmla="*/ 175427 h 410520"/>
                <a:gd name="connsiteX941" fmla="*/ 2176257 w 2663946"/>
                <a:gd name="connsiteY941" fmla="*/ 171101 h 410520"/>
                <a:gd name="connsiteX942" fmla="*/ 2175028 w 2663946"/>
                <a:gd name="connsiteY942" fmla="*/ 168126 h 410520"/>
                <a:gd name="connsiteX943" fmla="*/ 2174045 w 2663946"/>
                <a:gd name="connsiteY943" fmla="*/ 164882 h 410520"/>
                <a:gd name="connsiteX944" fmla="*/ 2172815 w 2663946"/>
                <a:gd name="connsiteY944" fmla="*/ 159204 h 410520"/>
                <a:gd name="connsiteX945" fmla="*/ 2172570 w 2663946"/>
                <a:gd name="connsiteY945" fmla="*/ 156230 h 410520"/>
                <a:gd name="connsiteX946" fmla="*/ 2172815 w 2663946"/>
                <a:gd name="connsiteY946" fmla="*/ 156500 h 410520"/>
                <a:gd name="connsiteX947" fmla="*/ 2172815 w 2663946"/>
                <a:gd name="connsiteY947" fmla="*/ 150822 h 410520"/>
                <a:gd name="connsiteX948" fmla="*/ 2172815 w 2663946"/>
                <a:gd name="connsiteY948" fmla="*/ 150552 h 410520"/>
                <a:gd name="connsiteX949" fmla="*/ 2173307 w 2663946"/>
                <a:gd name="connsiteY949" fmla="*/ 145955 h 410520"/>
                <a:gd name="connsiteX950" fmla="*/ 2174536 w 2663946"/>
                <a:gd name="connsiteY950" fmla="*/ 140548 h 410520"/>
                <a:gd name="connsiteX951" fmla="*/ 2175519 w 2663946"/>
                <a:gd name="connsiteY951" fmla="*/ 137303 h 410520"/>
                <a:gd name="connsiteX952" fmla="*/ 2177731 w 2663946"/>
                <a:gd name="connsiteY952" fmla="*/ 132166 h 410520"/>
                <a:gd name="connsiteX953" fmla="*/ 2179944 w 2663946"/>
                <a:gd name="connsiteY953" fmla="*/ 128381 h 410520"/>
                <a:gd name="connsiteX954" fmla="*/ 2182156 w 2663946"/>
                <a:gd name="connsiteY954" fmla="*/ 125406 h 410520"/>
                <a:gd name="connsiteX955" fmla="*/ 2184368 w 2663946"/>
                <a:gd name="connsiteY955" fmla="*/ 122973 h 410520"/>
                <a:gd name="connsiteX956" fmla="*/ 2189038 w 2663946"/>
                <a:gd name="connsiteY956" fmla="*/ 119188 h 410520"/>
                <a:gd name="connsiteX957" fmla="*/ 2192971 w 2663946"/>
                <a:gd name="connsiteY957" fmla="*/ 117025 h 410520"/>
                <a:gd name="connsiteX958" fmla="*/ 2202558 w 2663946"/>
                <a:gd name="connsiteY958" fmla="*/ 114591 h 410520"/>
                <a:gd name="connsiteX959" fmla="*/ 2020607 w 2663946"/>
                <a:gd name="connsiteY959" fmla="*/ 114591 h 410520"/>
                <a:gd name="connsiteX960" fmla="*/ 2032897 w 2663946"/>
                <a:gd name="connsiteY960" fmla="*/ 116754 h 410520"/>
                <a:gd name="connsiteX961" fmla="*/ 2040271 w 2663946"/>
                <a:gd name="connsiteY961" fmla="*/ 121351 h 410520"/>
                <a:gd name="connsiteX962" fmla="*/ 2043712 w 2663946"/>
                <a:gd name="connsiteY962" fmla="*/ 124595 h 410520"/>
                <a:gd name="connsiteX963" fmla="*/ 2047154 w 2663946"/>
                <a:gd name="connsiteY963" fmla="*/ 128921 h 410520"/>
                <a:gd name="connsiteX964" fmla="*/ 2049120 w 2663946"/>
                <a:gd name="connsiteY964" fmla="*/ 132436 h 410520"/>
                <a:gd name="connsiteX965" fmla="*/ 2051332 w 2663946"/>
                <a:gd name="connsiteY965" fmla="*/ 137844 h 410520"/>
                <a:gd name="connsiteX966" fmla="*/ 2052315 w 2663946"/>
                <a:gd name="connsiteY966" fmla="*/ 141359 h 410520"/>
                <a:gd name="connsiteX967" fmla="*/ 2053299 w 2663946"/>
                <a:gd name="connsiteY967" fmla="*/ 146496 h 410520"/>
                <a:gd name="connsiteX968" fmla="*/ 2053053 w 2663946"/>
                <a:gd name="connsiteY968" fmla="*/ 160826 h 410520"/>
                <a:gd name="connsiteX969" fmla="*/ 2052070 w 2663946"/>
                <a:gd name="connsiteY969" fmla="*/ 165693 h 410520"/>
                <a:gd name="connsiteX970" fmla="*/ 2050840 w 2663946"/>
                <a:gd name="connsiteY970" fmla="*/ 169478 h 410520"/>
                <a:gd name="connsiteX971" fmla="*/ 2049857 w 2663946"/>
                <a:gd name="connsiteY971" fmla="*/ 171912 h 410520"/>
                <a:gd name="connsiteX972" fmla="*/ 2047645 w 2663946"/>
                <a:gd name="connsiteY972" fmla="*/ 176238 h 410520"/>
                <a:gd name="connsiteX973" fmla="*/ 2045433 w 2663946"/>
                <a:gd name="connsiteY973" fmla="*/ 179482 h 410520"/>
                <a:gd name="connsiteX974" fmla="*/ 2041992 w 2663946"/>
                <a:gd name="connsiteY974" fmla="*/ 183268 h 410520"/>
                <a:gd name="connsiteX975" fmla="*/ 2038796 w 2663946"/>
                <a:gd name="connsiteY975" fmla="*/ 185971 h 410520"/>
                <a:gd name="connsiteX976" fmla="*/ 2033143 w 2663946"/>
                <a:gd name="connsiteY976" fmla="*/ 189216 h 410520"/>
                <a:gd name="connsiteX977" fmla="*/ 2025277 w 2663946"/>
                <a:gd name="connsiteY977" fmla="*/ 191379 h 410520"/>
                <a:gd name="connsiteX978" fmla="*/ 2024048 w 2663946"/>
                <a:gd name="connsiteY978" fmla="*/ 191650 h 410520"/>
                <a:gd name="connsiteX979" fmla="*/ 2019869 w 2663946"/>
                <a:gd name="connsiteY979" fmla="*/ 191650 h 410520"/>
                <a:gd name="connsiteX980" fmla="*/ 2019624 w 2663946"/>
                <a:gd name="connsiteY980" fmla="*/ 191650 h 410520"/>
                <a:gd name="connsiteX981" fmla="*/ 2006596 w 2663946"/>
                <a:gd name="connsiteY981" fmla="*/ 186783 h 410520"/>
                <a:gd name="connsiteX982" fmla="*/ 2001926 w 2663946"/>
                <a:gd name="connsiteY982" fmla="*/ 182727 h 410520"/>
                <a:gd name="connsiteX983" fmla="*/ 1998730 w 2663946"/>
                <a:gd name="connsiteY983" fmla="*/ 178942 h 410520"/>
                <a:gd name="connsiteX984" fmla="*/ 1996518 w 2663946"/>
                <a:gd name="connsiteY984" fmla="*/ 175427 h 410520"/>
                <a:gd name="connsiteX985" fmla="*/ 1994306 w 2663946"/>
                <a:gd name="connsiteY985" fmla="*/ 171101 h 410520"/>
                <a:gd name="connsiteX986" fmla="*/ 1993077 w 2663946"/>
                <a:gd name="connsiteY986" fmla="*/ 168126 h 410520"/>
                <a:gd name="connsiteX987" fmla="*/ 1992094 w 2663946"/>
                <a:gd name="connsiteY987" fmla="*/ 164882 h 410520"/>
                <a:gd name="connsiteX988" fmla="*/ 1990864 w 2663946"/>
                <a:gd name="connsiteY988" fmla="*/ 159204 h 410520"/>
                <a:gd name="connsiteX989" fmla="*/ 1990619 w 2663946"/>
                <a:gd name="connsiteY989" fmla="*/ 156230 h 410520"/>
                <a:gd name="connsiteX990" fmla="*/ 1990864 w 2663946"/>
                <a:gd name="connsiteY990" fmla="*/ 156500 h 410520"/>
                <a:gd name="connsiteX991" fmla="*/ 1990864 w 2663946"/>
                <a:gd name="connsiteY991" fmla="*/ 150822 h 410520"/>
                <a:gd name="connsiteX992" fmla="*/ 1990864 w 2663946"/>
                <a:gd name="connsiteY992" fmla="*/ 150552 h 410520"/>
                <a:gd name="connsiteX993" fmla="*/ 1991356 w 2663946"/>
                <a:gd name="connsiteY993" fmla="*/ 145955 h 410520"/>
                <a:gd name="connsiteX994" fmla="*/ 1992585 w 2663946"/>
                <a:gd name="connsiteY994" fmla="*/ 140548 h 410520"/>
                <a:gd name="connsiteX995" fmla="*/ 1993568 w 2663946"/>
                <a:gd name="connsiteY995" fmla="*/ 137303 h 410520"/>
                <a:gd name="connsiteX996" fmla="*/ 1995780 w 2663946"/>
                <a:gd name="connsiteY996" fmla="*/ 132166 h 410520"/>
                <a:gd name="connsiteX997" fmla="*/ 1997993 w 2663946"/>
                <a:gd name="connsiteY997" fmla="*/ 128381 h 410520"/>
                <a:gd name="connsiteX998" fmla="*/ 2000205 w 2663946"/>
                <a:gd name="connsiteY998" fmla="*/ 125406 h 410520"/>
                <a:gd name="connsiteX999" fmla="*/ 2002417 w 2663946"/>
                <a:gd name="connsiteY999" fmla="*/ 122973 h 410520"/>
                <a:gd name="connsiteX1000" fmla="*/ 2007087 w 2663946"/>
                <a:gd name="connsiteY1000" fmla="*/ 119188 h 410520"/>
                <a:gd name="connsiteX1001" fmla="*/ 2011020 w 2663946"/>
                <a:gd name="connsiteY1001" fmla="*/ 117025 h 410520"/>
                <a:gd name="connsiteX1002" fmla="*/ 2020607 w 2663946"/>
                <a:gd name="connsiteY1002" fmla="*/ 114591 h 410520"/>
                <a:gd name="connsiteX1003" fmla="*/ 1595683 w 2663946"/>
                <a:gd name="connsiteY1003" fmla="*/ 114591 h 410520"/>
                <a:gd name="connsiteX1004" fmla="*/ 1607973 w 2663946"/>
                <a:gd name="connsiteY1004" fmla="*/ 116754 h 410520"/>
                <a:gd name="connsiteX1005" fmla="*/ 1615347 w 2663946"/>
                <a:gd name="connsiteY1005" fmla="*/ 121351 h 410520"/>
                <a:gd name="connsiteX1006" fmla="*/ 1618788 w 2663946"/>
                <a:gd name="connsiteY1006" fmla="*/ 124595 h 410520"/>
                <a:gd name="connsiteX1007" fmla="*/ 1622230 w 2663946"/>
                <a:gd name="connsiteY1007" fmla="*/ 128921 h 410520"/>
                <a:gd name="connsiteX1008" fmla="*/ 1624196 w 2663946"/>
                <a:gd name="connsiteY1008" fmla="*/ 132436 h 410520"/>
                <a:gd name="connsiteX1009" fmla="*/ 1626408 w 2663946"/>
                <a:gd name="connsiteY1009" fmla="*/ 137844 h 410520"/>
                <a:gd name="connsiteX1010" fmla="*/ 1627391 w 2663946"/>
                <a:gd name="connsiteY1010" fmla="*/ 141359 h 410520"/>
                <a:gd name="connsiteX1011" fmla="*/ 1628374 w 2663946"/>
                <a:gd name="connsiteY1011" fmla="*/ 146496 h 410520"/>
                <a:gd name="connsiteX1012" fmla="*/ 1628129 w 2663946"/>
                <a:gd name="connsiteY1012" fmla="*/ 160826 h 410520"/>
                <a:gd name="connsiteX1013" fmla="*/ 1627146 w 2663946"/>
                <a:gd name="connsiteY1013" fmla="*/ 165693 h 410520"/>
                <a:gd name="connsiteX1014" fmla="*/ 1625916 w 2663946"/>
                <a:gd name="connsiteY1014" fmla="*/ 169478 h 410520"/>
                <a:gd name="connsiteX1015" fmla="*/ 1624933 w 2663946"/>
                <a:gd name="connsiteY1015" fmla="*/ 171912 h 410520"/>
                <a:gd name="connsiteX1016" fmla="*/ 1622721 w 2663946"/>
                <a:gd name="connsiteY1016" fmla="*/ 176238 h 410520"/>
                <a:gd name="connsiteX1017" fmla="*/ 1620509 w 2663946"/>
                <a:gd name="connsiteY1017" fmla="*/ 179482 h 410520"/>
                <a:gd name="connsiteX1018" fmla="*/ 1617068 w 2663946"/>
                <a:gd name="connsiteY1018" fmla="*/ 183268 h 410520"/>
                <a:gd name="connsiteX1019" fmla="*/ 1613872 w 2663946"/>
                <a:gd name="connsiteY1019" fmla="*/ 185971 h 410520"/>
                <a:gd name="connsiteX1020" fmla="*/ 1608219 w 2663946"/>
                <a:gd name="connsiteY1020" fmla="*/ 189216 h 410520"/>
                <a:gd name="connsiteX1021" fmla="*/ 1600353 w 2663946"/>
                <a:gd name="connsiteY1021" fmla="*/ 191379 h 410520"/>
                <a:gd name="connsiteX1022" fmla="*/ 1599124 w 2663946"/>
                <a:gd name="connsiteY1022" fmla="*/ 191650 h 410520"/>
                <a:gd name="connsiteX1023" fmla="*/ 1594945 w 2663946"/>
                <a:gd name="connsiteY1023" fmla="*/ 191650 h 410520"/>
                <a:gd name="connsiteX1024" fmla="*/ 1594699 w 2663946"/>
                <a:gd name="connsiteY1024" fmla="*/ 191650 h 410520"/>
                <a:gd name="connsiteX1025" fmla="*/ 1581672 w 2663946"/>
                <a:gd name="connsiteY1025" fmla="*/ 186783 h 410520"/>
                <a:gd name="connsiteX1026" fmla="*/ 1577002 w 2663946"/>
                <a:gd name="connsiteY1026" fmla="*/ 182727 h 410520"/>
                <a:gd name="connsiteX1027" fmla="*/ 1573806 w 2663946"/>
                <a:gd name="connsiteY1027" fmla="*/ 178942 h 410520"/>
                <a:gd name="connsiteX1028" fmla="*/ 1571594 w 2663946"/>
                <a:gd name="connsiteY1028" fmla="*/ 175427 h 410520"/>
                <a:gd name="connsiteX1029" fmla="*/ 1569382 w 2663946"/>
                <a:gd name="connsiteY1029" fmla="*/ 171101 h 410520"/>
                <a:gd name="connsiteX1030" fmla="*/ 1568153 w 2663946"/>
                <a:gd name="connsiteY1030" fmla="*/ 168126 h 410520"/>
                <a:gd name="connsiteX1031" fmla="*/ 1567169 w 2663946"/>
                <a:gd name="connsiteY1031" fmla="*/ 164882 h 410520"/>
                <a:gd name="connsiteX1032" fmla="*/ 1565940 w 2663946"/>
                <a:gd name="connsiteY1032" fmla="*/ 159204 h 410520"/>
                <a:gd name="connsiteX1033" fmla="*/ 1565695 w 2663946"/>
                <a:gd name="connsiteY1033" fmla="*/ 156230 h 410520"/>
                <a:gd name="connsiteX1034" fmla="*/ 1565940 w 2663946"/>
                <a:gd name="connsiteY1034" fmla="*/ 156500 h 410520"/>
                <a:gd name="connsiteX1035" fmla="*/ 1565940 w 2663946"/>
                <a:gd name="connsiteY1035" fmla="*/ 150822 h 410520"/>
                <a:gd name="connsiteX1036" fmla="*/ 1565940 w 2663946"/>
                <a:gd name="connsiteY1036" fmla="*/ 150552 h 410520"/>
                <a:gd name="connsiteX1037" fmla="*/ 1566432 w 2663946"/>
                <a:gd name="connsiteY1037" fmla="*/ 145955 h 410520"/>
                <a:gd name="connsiteX1038" fmla="*/ 1567661 w 2663946"/>
                <a:gd name="connsiteY1038" fmla="*/ 140548 h 410520"/>
                <a:gd name="connsiteX1039" fmla="*/ 1568644 w 2663946"/>
                <a:gd name="connsiteY1039" fmla="*/ 137303 h 410520"/>
                <a:gd name="connsiteX1040" fmla="*/ 1570856 w 2663946"/>
                <a:gd name="connsiteY1040" fmla="*/ 132166 h 410520"/>
                <a:gd name="connsiteX1041" fmla="*/ 1573069 w 2663946"/>
                <a:gd name="connsiteY1041" fmla="*/ 128381 h 410520"/>
                <a:gd name="connsiteX1042" fmla="*/ 1575281 w 2663946"/>
                <a:gd name="connsiteY1042" fmla="*/ 125406 h 410520"/>
                <a:gd name="connsiteX1043" fmla="*/ 1577493 w 2663946"/>
                <a:gd name="connsiteY1043" fmla="*/ 122973 h 410520"/>
                <a:gd name="connsiteX1044" fmla="*/ 1582163 w 2663946"/>
                <a:gd name="connsiteY1044" fmla="*/ 119188 h 410520"/>
                <a:gd name="connsiteX1045" fmla="*/ 1586096 w 2663946"/>
                <a:gd name="connsiteY1045" fmla="*/ 117025 h 410520"/>
                <a:gd name="connsiteX1046" fmla="*/ 1595683 w 2663946"/>
                <a:gd name="connsiteY1046" fmla="*/ 114591 h 410520"/>
                <a:gd name="connsiteX1047" fmla="*/ 1246776 w 2663946"/>
                <a:gd name="connsiteY1047" fmla="*/ 114591 h 410520"/>
                <a:gd name="connsiteX1048" fmla="*/ 1259066 w 2663946"/>
                <a:gd name="connsiteY1048" fmla="*/ 116754 h 410520"/>
                <a:gd name="connsiteX1049" fmla="*/ 1266440 w 2663946"/>
                <a:gd name="connsiteY1049" fmla="*/ 121351 h 410520"/>
                <a:gd name="connsiteX1050" fmla="*/ 1269881 w 2663946"/>
                <a:gd name="connsiteY1050" fmla="*/ 124595 h 410520"/>
                <a:gd name="connsiteX1051" fmla="*/ 1273323 w 2663946"/>
                <a:gd name="connsiteY1051" fmla="*/ 128921 h 410520"/>
                <a:gd name="connsiteX1052" fmla="*/ 1275289 w 2663946"/>
                <a:gd name="connsiteY1052" fmla="*/ 132436 h 410520"/>
                <a:gd name="connsiteX1053" fmla="*/ 1277501 w 2663946"/>
                <a:gd name="connsiteY1053" fmla="*/ 137844 h 410520"/>
                <a:gd name="connsiteX1054" fmla="*/ 1278484 w 2663946"/>
                <a:gd name="connsiteY1054" fmla="*/ 141359 h 410520"/>
                <a:gd name="connsiteX1055" fmla="*/ 1279467 w 2663946"/>
                <a:gd name="connsiteY1055" fmla="*/ 146496 h 410520"/>
                <a:gd name="connsiteX1056" fmla="*/ 1279222 w 2663946"/>
                <a:gd name="connsiteY1056" fmla="*/ 160826 h 410520"/>
                <a:gd name="connsiteX1057" fmla="*/ 1278239 w 2663946"/>
                <a:gd name="connsiteY1057" fmla="*/ 165693 h 410520"/>
                <a:gd name="connsiteX1058" fmla="*/ 1277009 w 2663946"/>
                <a:gd name="connsiteY1058" fmla="*/ 169478 h 410520"/>
                <a:gd name="connsiteX1059" fmla="*/ 1276026 w 2663946"/>
                <a:gd name="connsiteY1059" fmla="*/ 171912 h 410520"/>
                <a:gd name="connsiteX1060" fmla="*/ 1273814 w 2663946"/>
                <a:gd name="connsiteY1060" fmla="*/ 176238 h 410520"/>
                <a:gd name="connsiteX1061" fmla="*/ 1271602 w 2663946"/>
                <a:gd name="connsiteY1061" fmla="*/ 179482 h 410520"/>
                <a:gd name="connsiteX1062" fmla="*/ 1268161 w 2663946"/>
                <a:gd name="connsiteY1062" fmla="*/ 183268 h 410520"/>
                <a:gd name="connsiteX1063" fmla="*/ 1264965 w 2663946"/>
                <a:gd name="connsiteY1063" fmla="*/ 185971 h 410520"/>
                <a:gd name="connsiteX1064" fmla="*/ 1259312 w 2663946"/>
                <a:gd name="connsiteY1064" fmla="*/ 189216 h 410520"/>
                <a:gd name="connsiteX1065" fmla="*/ 1251446 w 2663946"/>
                <a:gd name="connsiteY1065" fmla="*/ 191379 h 410520"/>
                <a:gd name="connsiteX1066" fmla="*/ 1250217 w 2663946"/>
                <a:gd name="connsiteY1066" fmla="*/ 191650 h 410520"/>
                <a:gd name="connsiteX1067" fmla="*/ 1246038 w 2663946"/>
                <a:gd name="connsiteY1067" fmla="*/ 191650 h 410520"/>
                <a:gd name="connsiteX1068" fmla="*/ 1245792 w 2663946"/>
                <a:gd name="connsiteY1068" fmla="*/ 191650 h 410520"/>
                <a:gd name="connsiteX1069" fmla="*/ 1232765 w 2663946"/>
                <a:gd name="connsiteY1069" fmla="*/ 186783 h 410520"/>
                <a:gd name="connsiteX1070" fmla="*/ 1228095 w 2663946"/>
                <a:gd name="connsiteY1070" fmla="*/ 182727 h 410520"/>
                <a:gd name="connsiteX1071" fmla="*/ 1224899 w 2663946"/>
                <a:gd name="connsiteY1071" fmla="*/ 178942 h 410520"/>
                <a:gd name="connsiteX1072" fmla="*/ 1222687 w 2663946"/>
                <a:gd name="connsiteY1072" fmla="*/ 175427 h 410520"/>
                <a:gd name="connsiteX1073" fmla="*/ 1220475 w 2663946"/>
                <a:gd name="connsiteY1073" fmla="*/ 171101 h 410520"/>
                <a:gd name="connsiteX1074" fmla="*/ 1219246 w 2663946"/>
                <a:gd name="connsiteY1074" fmla="*/ 168126 h 410520"/>
                <a:gd name="connsiteX1075" fmla="*/ 1218262 w 2663946"/>
                <a:gd name="connsiteY1075" fmla="*/ 164882 h 410520"/>
                <a:gd name="connsiteX1076" fmla="*/ 1217033 w 2663946"/>
                <a:gd name="connsiteY1076" fmla="*/ 159204 h 410520"/>
                <a:gd name="connsiteX1077" fmla="*/ 1216788 w 2663946"/>
                <a:gd name="connsiteY1077" fmla="*/ 156230 h 410520"/>
                <a:gd name="connsiteX1078" fmla="*/ 1217033 w 2663946"/>
                <a:gd name="connsiteY1078" fmla="*/ 156500 h 410520"/>
                <a:gd name="connsiteX1079" fmla="*/ 1217033 w 2663946"/>
                <a:gd name="connsiteY1079" fmla="*/ 150822 h 410520"/>
                <a:gd name="connsiteX1080" fmla="*/ 1217033 w 2663946"/>
                <a:gd name="connsiteY1080" fmla="*/ 150552 h 410520"/>
                <a:gd name="connsiteX1081" fmla="*/ 1217525 w 2663946"/>
                <a:gd name="connsiteY1081" fmla="*/ 145955 h 410520"/>
                <a:gd name="connsiteX1082" fmla="*/ 1218754 w 2663946"/>
                <a:gd name="connsiteY1082" fmla="*/ 140548 h 410520"/>
                <a:gd name="connsiteX1083" fmla="*/ 1219737 w 2663946"/>
                <a:gd name="connsiteY1083" fmla="*/ 137303 h 410520"/>
                <a:gd name="connsiteX1084" fmla="*/ 1221949 w 2663946"/>
                <a:gd name="connsiteY1084" fmla="*/ 132166 h 410520"/>
                <a:gd name="connsiteX1085" fmla="*/ 1224162 w 2663946"/>
                <a:gd name="connsiteY1085" fmla="*/ 128381 h 410520"/>
                <a:gd name="connsiteX1086" fmla="*/ 1226374 w 2663946"/>
                <a:gd name="connsiteY1086" fmla="*/ 125406 h 410520"/>
                <a:gd name="connsiteX1087" fmla="*/ 1228586 w 2663946"/>
                <a:gd name="connsiteY1087" fmla="*/ 122973 h 410520"/>
                <a:gd name="connsiteX1088" fmla="*/ 1233256 w 2663946"/>
                <a:gd name="connsiteY1088" fmla="*/ 119188 h 410520"/>
                <a:gd name="connsiteX1089" fmla="*/ 1237189 w 2663946"/>
                <a:gd name="connsiteY1089" fmla="*/ 117025 h 410520"/>
                <a:gd name="connsiteX1090" fmla="*/ 1246776 w 2663946"/>
                <a:gd name="connsiteY1090" fmla="*/ 114591 h 410520"/>
                <a:gd name="connsiteX1091" fmla="*/ 1064825 w 2663946"/>
                <a:gd name="connsiteY1091" fmla="*/ 114591 h 410520"/>
                <a:gd name="connsiteX1092" fmla="*/ 1077115 w 2663946"/>
                <a:gd name="connsiteY1092" fmla="*/ 116754 h 410520"/>
                <a:gd name="connsiteX1093" fmla="*/ 1084489 w 2663946"/>
                <a:gd name="connsiteY1093" fmla="*/ 121351 h 410520"/>
                <a:gd name="connsiteX1094" fmla="*/ 1087930 w 2663946"/>
                <a:gd name="connsiteY1094" fmla="*/ 124595 h 410520"/>
                <a:gd name="connsiteX1095" fmla="*/ 1091372 w 2663946"/>
                <a:gd name="connsiteY1095" fmla="*/ 128921 h 410520"/>
                <a:gd name="connsiteX1096" fmla="*/ 1093338 w 2663946"/>
                <a:gd name="connsiteY1096" fmla="*/ 132436 h 410520"/>
                <a:gd name="connsiteX1097" fmla="*/ 1095550 w 2663946"/>
                <a:gd name="connsiteY1097" fmla="*/ 137844 h 410520"/>
                <a:gd name="connsiteX1098" fmla="*/ 1096533 w 2663946"/>
                <a:gd name="connsiteY1098" fmla="*/ 141359 h 410520"/>
                <a:gd name="connsiteX1099" fmla="*/ 1097516 w 2663946"/>
                <a:gd name="connsiteY1099" fmla="*/ 146496 h 410520"/>
                <a:gd name="connsiteX1100" fmla="*/ 1097271 w 2663946"/>
                <a:gd name="connsiteY1100" fmla="*/ 160826 h 410520"/>
                <a:gd name="connsiteX1101" fmla="*/ 1096288 w 2663946"/>
                <a:gd name="connsiteY1101" fmla="*/ 165693 h 410520"/>
                <a:gd name="connsiteX1102" fmla="*/ 1095058 w 2663946"/>
                <a:gd name="connsiteY1102" fmla="*/ 169478 h 410520"/>
                <a:gd name="connsiteX1103" fmla="*/ 1094075 w 2663946"/>
                <a:gd name="connsiteY1103" fmla="*/ 171912 h 410520"/>
                <a:gd name="connsiteX1104" fmla="*/ 1091863 w 2663946"/>
                <a:gd name="connsiteY1104" fmla="*/ 176238 h 410520"/>
                <a:gd name="connsiteX1105" fmla="*/ 1089651 w 2663946"/>
                <a:gd name="connsiteY1105" fmla="*/ 179482 h 410520"/>
                <a:gd name="connsiteX1106" fmla="*/ 1086210 w 2663946"/>
                <a:gd name="connsiteY1106" fmla="*/ 183268 h 410520"/>
                <a:gd name="connsiteX1107" fmla="*/ 1083014 w 2663946"/>
                <a:gd name="connsiteY1107" fmla="*/ 185971 h 410520"/>
                <a:gd name="connsiteX1108" fmla="*/ 1077361 w 2663946"/>
                <a:gd name="connsiteY1108" fmla="*/ 189216 h 410520"/>
                <a:gd name="connsiteX1109" fmla="*/ 1069495 w 2663946"/>
                <a:gd name="connsiteY1109" fmla="*/ 191379 h 410520"/>
                <a:gd name="connsiteX1110" fmla="*/ 1068266 w 2663946"/>
                <a:gd name="connsiteY1110" fmla="*/ 191650 h 410520"/>
                <a:gd name="connsiteX1111" fmla="*/ 1064087 w 2663946"/>
                <a:gd name="connsiteY1111" fmla="*/ 191650 h 410520"/>
                <a:gd name="connsiteX1112" fmla="*/ 1063841 w 2663946"/>
                <a:gd name="connsiteY1112" fmla="*/ 191650 h 410520"/>
                <a:gd name="connsiteX1113" fmla="*/ 1050814 w 2663946"/>
                <a:gd name="connsiteY1113" fmla="*/ 186783 h 410520"/>
                <a:gd name="connsiteX1114" fmla="*/ 1046144 w 2663946"/>
                <a:gd name="connsiteY1114" fmla="*/ 182727 h 410520"/>
                <a:gd name="connsiteX1115" fmla="*/ 1042948 w 2663946"/>
                <a:gd name="connsiteY1115" fmla="*/ 178942 h 410520"/>
                <a:gd name="connsiteX1116" fmla="*/ 1040736 w 2663946"/>
                <a:gd name="connsiteY1116" fmla="*/ 175427 h 410520"/>
                <a:gd name="connsiteX1117" fmla="*/ 1038524 w 2663946"/>
                <a:gd name="connsiteY1117" fmla="*/ 171101 h 410520"/>
                <a:gd name="connsiteX1118" fmla="*/ 1037295 w 2663946"/>
                <a:gd name="connsiteY1118" fmla="*/ 168126 h 410520"/>
                <a:gd name="connsiteX1119" fmla="*/ 1036311 w 2663946"/>
                <a:gd name="connsiteY1119" fmla="*/ 164882 h 410520"/>
                <a:gd name="connsiteX1120" fmla="*/ 1035082 w 2663946"/>
                <a:gd name="connsiteY1120" fmla="*/ 159204 h 410520"/>
                <a:gd name="connsiteX1121" fmla="*/ 1034837 w 2663946"/>
                <a:gd name="connsiteY1121" fmla="*/ 156230 h 410520"/>
                <a:gd name="connsiteX1122" fmla="*/ 1035082 w 2663946"/>
                <a:gd name="connsiteY1122" fmla="*/ 156500 h 410520"/>
                <a:gd name="connsiteX1123" fmla="*/ 1035082 w 2663946"/>
                <a:gd name="connsiteY1123" fmla="*/ 150822 h 410520"/>
                <a:gd name="connsiteX1124" fmla="*/ 1035082 w 2663946"/>
                <a:gd name="connsiteY1124" fmla="*/ 150552 h 410520"/>
                <a:gd name="connsiteX1125" fmla="*/ 1035574 w 2663946"/>
                <a:gd name="connsiteY1125" fmla="*/ 145955 h 410520"/>
                <a:gd name="connsiteX1126" fmla="*/ 1036803 w 2663946"/>
                <a:gd name="connsiteY1126" fmla="*/ 140548 h 410520"/>
                <a:gd name="connsiteX1127" fmla="*/ 1037786 w 2663946"/>
                <a:gd name="connsiteY1127" fmla="*/ 137303 h 410520"/>
                <a:gd name="connsiteX1128" fmla="*/ 1039998 w 2663946"/>
                <a:gd name="connsiteY1128" fmla="*/ 132166 h 410520"/>
                <a:gd name="connsiteX1129" fmla="*/ 1042211 w 2663946"/>
                <a:gd name="connsiteY1129" fmla="*/ 128381 h 410520"/>
                <a:gd name="connsiteX1130" fmla="*/ 1044423 w 2663946"/>
                <a:gd name="connsiteY1130" fmla="*/ 125406 h 410520"/>
                <a:gd name="connsiteX1131" fmla="*/ 1046635 w 2663946"/>
                <a:gd name="connsiteY1131" fmla="*/ 122973 h 410520"/>
                <a:gd name="connsiteX1132" fmla="*/ 1051305 w 2663946"/>
                <a:gd name="connsiteY1132" fmla="*/ 119188 h 410520"/>
                <a:gd name="connsiteX1133" fmla="*/ 1055238 w 2663946"/>
                <a:gd name="connsiteY1133" fmla="*/ 117025 h 410520"/>
                <a:gd name="connsiteX1134" fmla="*/ 1064825 w 2663946"/>
                <a:gd name="connsiteY1134" fmla="*/ 114591 h 410520"/>
                <a:gd name="connsiteX1135" fmla="*/ 897796 w 2663946"/>
                <a:gd name="connsiteY1135" fmla="*/ 114591 h 410520"/>
                <a:gd name="connsiteX1136" fmla="*/ 910086 w 2663946"/>
                <a:gd name="connsiteY1136" fmla="*/ 116754 h 410520"/>
                <a:gd name="connsiteX1137" fmla="*/ 917460 w 2663946"/>
                <a:gd name="connsiteY1137" fmla="*/ 121351 h 410520"/>
                <a:gd name="connsiteX1138" fmla="*/ 920901 w 2663946"/>
                <a:gd name="connsiteY1138" fmla="*/ 124595 h 410520"/>
                <a:gd name="connsiteX1139" fmla="*/ 924343 w 2663946"/>
                <a:gd name="connsiteY1139" fmla="*/ 128921 h 410520"/>
                <a:gd name="connsiteX1140" fmla="*/ 926309 w 2663946"/>
                <a:gd name="connsiteY1140" fmla="*/ 132436 h 410520"/>
                <a:gd name="connsiteX1141" fmla="*/ 928521 w 2663946"/>
                <a:gd name="connsiteY1141" fmla="*/ 137844 h 410520"/>
                <a:gd name="connsiteX1142" fmla="*/ 929504 w 2663946"/>
                <a:gd name="connsiteY1142" fmla="*/ 141359 h 410520"/>
                <a:gd name="connsiteX1143" fmla="*/ 930487 w 2663946"/>
                <a:gd name="connsiteY1143" fmla="*/ 146496 h 410520"/>
                <a:gd name="connsiteX1144" fmla="*/ 930242 w 2663946"/>
                <a:gd name="connsiteY1144" fmla="*/ 160826 h 410520"/>
                <a:gd name="connsiteX1145" fmla="*/ 929259 w 2663946"/>
                <a:gd name="connsiteY1145" fmla="*/ 165693 h 410520"/>
                <a:gd name="connsiteX1146" fmla="*/ 928029 w 2663946"/>
                <a:gd name="connsiteY1146" fmla="*/ 169478 h 410520"/>
                <a:gd name="connsiteX1147" fmla="*/ 927046 w 2663946"/>
                <a:gd name="connsiteY1147" fmla="*/ 171912 h 410520"/>
                <a:gd name="connsiteX1148" fmla="*/ 924834 w 2663946"/>
                <a:gd name="connsiteY1148" fmla="*/ 176238 h 410520"/>
                <a:gd name="connsiteX1149" fmla="*/ 922622 w 2663946"/>
                <a:gd name="connsiteY1149" fmla="*/ 179482 h 410520"/>
                <a:gd name="connsiteX1150" fmla="*/ 919181 w 2663946"/>
                <a:gd name="connsiteY1150" fmla="*/ 183268 h 410520"/>
                <a:gd name="connsiteX1151" fmla="*/ 915985 w 2663946"/>
                <a:gd name="connsiteY1151" fmla="*/ 185971 h 410520"/>
                <a:gd name="connsiteX1152" fmla="*/ 910332 w 2663946"/>
                <a:gd name="connsiteY1152" fmla="*/ 189216 h 410520"/>
                <a:gd name="connsiteX1153" fmla="*/ 902466 w 2663946"/>
                <a:gd name="connsiteY1153" fmla="*/ 191379 h 410520"/>
                <a:gd name="connsiteX1154" fmla="*/ 901237 w 2663946"/>
                <a:gd name="connsiteY1154" fmla="*/ 191650 h 410520"/>
                <a:gd name="connsiteX1155" fmla="*/ 897058 w 2663946"/>
                <a:gd name="connsiteY1155" fmla="*/ 191650 h 410520"/>
                <a:gd name="connsiteX1156" fmla="*/ 896812 w 2663946"/>
                <a:gd name="connsiteY1156" fmla="*/ 191650 h 410520"/>
                <a:gd name="connsiteX1157" fmla="*/ 883785 w 2663946"/>
                <a:gd name="connsiteY1157" fmla="*/ 186783 h 410520"/>
                <a:gd name="connsiteX1158" fmla="*/ 879115 w 2663946"/>
                <a:gd name="connsiteY1158" fmla="*/ 182727 h 410520"/>
                <a:gd name="connsiteX1159" fmla="*/ 875919 w 2663946"/>
                <a:gd name="connsiteY1159" fmla="*/ 178942 h 410520"/>
                <a:gd name="connsiteX1160" fmla="*/ 873707 w 2663946"/>
                <a:gd name="connsiteY1160" fmla="*/ 175427 h 410520"/>
                <a:gd name="connsiteX1161" fmla="*/ 871495 w 2663946"/>
                <a:gd name="connsiteY1161" fmla="*/ 171101 h 410520"/>
                <a:gd name="connsiteX1162" fmla="*/ 870266 w 2663946"/>
                <a:gd name="connsiteY1162" fmla="*/ 168126 h 410520"/>
                <a:gd name="connsiteX1163" fmla="*/ 869282 w 2663946"/>
                <a:gd name="connsiteY1163" fmla="*/ 164882 h 410520"/>
                <a:gd name="connsiteX1164" fmla="*/ 868053 w 2663946"/>
                <a:gd name="connsiteY1164" fmla="*/ 159204 h 410520"/>
                <a:gd name="connsiteX1165" fmla="*/ 867808 w 2663946"/>
                <a:gd name="connsiteY1165" fmla="*/ 156230 h 410520"/>
                <a:gd name="connsiteX1166" fmla="*/ 868053 w 2663946"/>
                <a:gd name="connsiteY1166" fmla="*/ 156500 h 410520"/>
                <a:gd name="connsiteX1167" fmla="*/ 868053 w 2663946"/>
                <a:gd name="connsiteY1167" fmla="*/ 150822 h 410520"/>
                <a:gd name="connsiteX1168" fmla="*/ 868053 w 2663946"/>
                <a:gd name="connsiteY1168" fmla="*/ 150552 h 410520"/>
                <a:gd name="connsiteX1169" fmla="*/ 868545 w 2663946"/>
                <a:gd name="connsiteY1169" fmla="*/ 145955 h 410520"/>
                <a:gd name="connsiteX1170" fmla="*/ 869774 w 2663946"/>
                <a:gd name="connsiteY1170" fmla="*/ 140548 h 410520"/>
                <a:gd name="connsiteX1171" fmla="*/ 870757 w 2663946"/>
                <a:gd name="connsiteY1171" fmla="*/ 137303 h 410520"/>
                <a:gd name="connsiteX1172" fmla="*/ 872969 w 2663946"/>
                <a:gd name="connsiteY1172" fmla="*/ 132166 h 410520"/>
                <a:gd name="connsiteX1173" fmla="*/ 875182 w 2663946"/>
                <a:gd name="connsiteY1173" fmla="*/ 128381 h 410520"/>
                <a:gd name="connsiteX1174" fmla="*/ 877394 w 2663946"/>
                <a:gd name="connsiteY1174" fmla="*/ 125406 h 410520"/>
                <a:gd name="connsiteX1175" fmla="*/ 879606 w 2663946"/>
                <a:gd name="connsiteY1175" fmla="*/ 122973 h 410520"/>
                <a:gd name="connsiteX1176" fmla="*/ 884276 w 2663946"/>
                <a:gd name="connsiteY1176" fmla="*/ 119188 h 410520"/>
                <a:gd name="connsiteX1177" fmla="*/ 888209 w 2663946"/>
                <a:gd name="connsiteY1177" fmla="*/ 117025 h 410520"/>
                <a:gd name="connsiteX1178" fmla="*/ 897796 w 2663946"/>
                <a:gd name="connsiteY1178" fmla="*/ 114591 h 410520"/>
                <a:gd name="connsiteX1179" fmla="*/ 548889 w 2663946"/>
                <a:gd name="connsiteY1179" fmla="*/ 114591 h 410520"/>
                <a:gd name="connsiteX1180" fmla="*/ 561180 w 2663946"/>
                <a:gd name="connsiteY1180" fmla="*/ 116754 h 410520"/>
                <a:gd name="connsiteX1181" fmla="*/ 568554 w 2663946"/>
                <a:gd name="connsiteY1181" fmla="*/ 121351 h 410520"/>
                <a:gd name="connsiteX1182" fmla="*/ 571995 w 2663946"/>
                <a:gd name="connsiteY1182" fmla="*/ 124595 h 410520"/>
                <a:gd name="connsiteX1183" fmla="*/ 575436 w 2663946"/>
                <a:gd name="connsiteY1183" fmla="*/ 128921 h 410520"/>
                <a:gd name="connsiteX1184" fmla="*/ 577403 w 2663946"/>
                <a:gd name="connsiteY1184" fmla="*/ 132436 h 410520"/>
                <a:gd name="connsiteX1185" fmla="*/ 579615 w 2663946"/>
                <a:gd name="connsiteY1185" fmla="*/ 137844 h 410520"/>
                <a:gd name="connsiteX1186" fmla="*/ 580598 w 2663946"/>
                <a:gd name="connsiteY1186" fmla="*/ 141359 h 410520"/>
                <a:gd name="connsiteX1187" fmla="*/ 581581 w 2663946"/>
                <a:gd name="connsiteY1187" fmla="*/ 146496 h 410520"/>
                <a:gd name="connsiteX1188" fmla="*/ 581336 w 2663946"/>
                <a:gd name="connsiteY1188" fmla="*/ 160826 h 410520"/>
                <a:gd name="connsiteX1189" fmla="*/ 580352 w 2663946"/>
                <a:gd name="connsiteY1189" fmla="*/ 165693 h 410520"/>
                <a:gd name="connsiteX1190" fmla="*/ 579123 w 2663946"/>
                <a:gd name="connsiteY1190" fmla="*/ 169478 h 410520"/>
                <a:gd name="connsiteX1191" fmla="*/ 578140 w 2663946"/>
                <a:gd name="connsiteY1191" fmla="*/ 171912 h 410520"/>
                <a:gd name="connsiteX1192" fmla="*/ 575928 w 2663946"/>
                <a:gd name="connsiteY1192" fmla="*/ 176238 h 410520"/>
                <a:gd name="connsiteX1193" fmla="*/ 573715 w 2663946"/>
                <a:gd name="connsiteY1193" fmla="*/ 179482 h 410520"/>
                <a:gd name="connsiteX1194" fmla="*/ 570274 w 2663946"/>
                <a:gd name="connsiteY1194" fmla="*/ 183268 h 410520"/>
                <a:gd name="connsiteX1195" fmla="*/ 567079 w 2663946"/>
                <a:gd name="connsiteY1195" fmla="*/ 185971 h 410520"/>
                <a:gd name="connsiteX1196" fmla="*/ 561425 w 2663946"/>
                <a:gd name="connsiteY1196" fmla="*/ 189216 h 410520"/>
                <a:gd name="connsiteX1197" fmla="*/ 553559 w 2663946"/>
                <a:gd name="connsiteY1197" fmla="*/ 191379 h 410520"/>
                <a:gd name="connsiteX1198" fmla="*/ 552331 w 2663946"/>
                <a:gd name="connsiteY1198" fmla="*/ 191650 h 410520"/>
                <a:gd name="connsiteX1199" fmla="*/ 548152 w 2663946"/>
                <a:gd name="connsiteY1199" fmla="*/ 191650 h 410520"/>
                <a:gd name="connsiteX1200" fmla="*/ 547906 w 2663946"/>
                <a:gd name="connsiteY1200" fmla="*/ 191650 h 410520"/>
                <a:gd name="connsiteX1201" fmla="*/ 534879 w 2663946"/>
                <a:gd name="connsiteY1201" fmla="*/ 186783 h 410520"/>
                <a:gd name="connsiteX1202" fmla="*/ 530208 w 2663946"/>
                <a:gd name="connsiteY1202" fmla="*/ 182727 h 410520"/>
                <a:gd name="connsiteX1203" fmla="*/ 527013 w 2663946"/>
                <a:gd name="connsiteY1203" fmla="*/ 178942 h 410520"/>
                <a:gd name="connsiteX1204" fmla="*/ 524801 w 2663946"/>
                <a:gd name="connsiteY1204" fmla="*/ 175427 h 410520"/>
                <a:gd name="connsiteX1205" fmla="*/ 522588 w 2663946"/>
                <a:gd name="connsiteY1205" fmla="*/ 171101 h 410520"/>
                <a:gd name="connsiteX1206" fmla="*/ 521359 w 2663946"/>
                <a:gd name="connsiteY1206" fmla="*/ 168126 h 410520"/>
                <a:gd name="connsiteX1207" fmla="*/ 520376 w 2663946"/>
                <a:gd name="connsiteY1207" fmla="*/ 164882 h 410520"/>
                <a:gd name="connsiteX1208" fmla="*/ 519147 w 2663946"/>
                <a:gd name="connsiteY1208" fmla="*/ 159204 h 410520"/>
                <a:gd name="connsiteX1209" fmla="*/ 518901 w 2663946"/>
                <a:gd name="connsiteY1209" fmla="*/ 156230 h 410520"/>
                <a:gd name="connsiteX1210" fmla="*/ 519147 w 2663946"/>
                <a:gd name="connsiteY1210" fmla="*/ 156500 h 410520"/>
                <a:gd name="connsiteX1211" fmla="*/ 519147 w 2663946"/>
                <a:gd name="connsiteY1211" fmla="*/ 150822 h 410520"/>
                <a:gd name="connsiteX1212" fmla="*/ 519147 w 2663946"/>
                <a:gd name="connsiteY1212" fmla="*/ 150552 h 410520"/>
                <a:gd name="connsiteX1213" fmla="*/ 519639 w 2663946"/>
                <a:gd name="connsiteY1213" fmla="*/ 145955 h 410520"/>
                <a:gd name="connsiteX1214" fmla="*/ 520868 w 2663946"/>
                <a:gd name="connsiteY1214" fmla="*/ 140548 h 410520"/>
                <a:gd name="connsiteX1215" fmla="*/ 521851 w 2663946"/>
                <a:gd name="connsiteY1215" fmla="*/ 137303 h 410520"/>
                <a:gd name="connsiteX1216" fmla="*/ 524063 w 2663946"/>
                <a:gd name="connsiteY1216" fmla="*/ 132166 h 410520"/>
                <a:gd name="connsiteX1217" fmla="*/ 526275 w 2663946"/>
                <a:gd name="connsiteY1217" fmla="*/ 128381 h 410520"/>
                <a:gd name="connsiteX1218" fmla="*/ 528488 w 2663946"/>
                <a:gd name="connsiteY1218" fmla="*/ 125406 h 410520"/>
                <a:gd name="connsiteX1219" fmla="*/ 530700 w 2663946"/>
                <a:gd name="connsiteY1219" fmla="*/ 122973 h 410520"/>
                <a:gd name="connsiteX1220" fmla="*/ 535370 w 2663946"/>
                <a:gd name="connsiteY1220" fmla="*/ 119188 h 410520"/>
                <a:gd name="connsiteX1221" fmla="*/ 539303 w 2663946"/>
                <a:gd name="connsiteY1221" fmla="*/ 117025 h 410520"/>
                <a:gd name="connsiteX1222" fmla="*/ 548889 w 2663946"/>
                <a:gd name="connsiteY1222" fmla="*/ 114591 h 410520"/>
                <a:gd name="connsiteX1223" fmla="*/ 366938 w 2663946"/>
                <a:gd name="connsiteY1223" fmla="*/ 114591 h 410520"/>
                <a:gd name="connsiteX1224" fmla="*/ 379228 w 2663946"/>
                <a:gd name="connsiteY1224" fmla="*/ 116754 h 410520"/>
                <a:gd name="connsiteX1225" fmla="*/ 386603 w 2663946"/>
                <a:gd name="connsiteY1225" fmla="*/ 121351 h 410520"/>
                <a:gd name="connsiteX1226" fmla="*/ 390044 w 2663946"/>
                <a:gd name="connsiteY1226" fmla="*/ 124595 h 410520"/>
                <a:gd name="connsiteX1227" fmla="*/ 393485 w 2663946"/>
                <a:gd name="connsiteY1227" fmla="*/ 128921 h 410520"/>
                <a:gd name="connsiteX1228" fmla="*/ 395452 w 2663946"/>
                <a:gd name="connsiteY1228" fmla="*/ 132436 h 410520"/>
                <a:gd name="connsiteX1229" fmla="*/ 397664 w 2663946"/>
                <a:gd name="connsiteY1229" fmla="*/ 137844 h 410520"/>
                <a:gd name="connsiteX1230" fmla="*/ 398647 w 2663946"/>
                <a:gd name="connsiteY1230" fmla="*/ 141359 h 410520"/>
                <a:gd name="connsiteX1231" fmla="*/ 399630 w 2663946"/>
                <a:gd name="connsiteY1231" fmla="*/ 146496 h 410520"/>
                <a:gd name="connsiteX1232" fmla="*/ 399384 w 2663946"/>
                <a:gd name="connsiteY1232" fmla="*/ 160826 h 410520"/>
                <a:gd name="connsiteX1233" fmla="*/ 398401 w 2663946"/>
                <a:gd name="connsiteY1233" fmla="*/ 165693 h 410520"/>
                <a:gd name="connsiteX1234" fmla="*/ 397172 w 2663946"/>
                <a:gd name="connsiteY1234" fmla="*/ 169478 h 410520"/>
                <a:gd name="connsiteX1235" fmla="*/ 396189 w 2663946"/>
                <a:gd name="connsiteY1235" fmla="*/ 171912 h 410520"/>
                <a:gd name="connsiteX1236" fmla="*/ 393977 w 2663946"/>
                <a:gd name="connsiteY1236" fmla="*/ 176238 h 410520"/>
                <a:gd name="connsiteX1237" fmla="*/ 391764 w 2663946"/>
                <a:gd name="connsiteY1237" fmla="*/ 179482 h 410520"/>
                <a:gd name="connsiteX1238" fmla="*/ 388323 w 2663946"/>
                <a:gd name="connsiteY1238" fmla="*/ 183268 h 410520"/>
                <a:gd name="connsiteX1239" fmla="*/ 385128 w 2663946"/>
                <a:gd name="connsiteY1239" fmla="*/ 185971 h 410520"/>
                <a:gd name="connsiteX1240" fmla="*/ 379474 w 2663946"/>
                <a:gd name="connsiteY1240" fmla="*/ 189216 h 410520"/>
                <a:gd name="connsiteX1241" fmla="*/ 371609 w 2663946"/>
                <a:gd name="connsiteY1241" fmla="*/ 191379 h 410520"/>
                <a:gd name="connsiteX1242" fmla="*/ 370380 w 2663946"/>
                <a:gd name="connsiteY1242" fmla="*/ 191650 h 410520"/>
                <a:gd name="connsiteX1243" fmla="*/ 366201 w 2663946"/>
                <a:gd name="connsiteY1243" fmla="*/ 191650 h 410520"/>
                <a:gd name="connsiteX1244" fmla="*/ 365955 w 2663946"/>
                <a:gd name="connsiteY1244" fmla="*/ 191650 h 410520"/>
                <a:gd name="connsiteX1245" fmla="*/ 352927 w 2663946"/>
                <a:gd name="connsiteY1245" fmla="*/ 186783 h 410520"/>
                <a:gd name="connsiteX1246" fmla="*/ 348257 w 2663946"/>
                <a:gd name="connsiteY1246" fmla="*/ 182727 h 410520"/>
                <a:gd name="connsiteX1247" fmla="*/ 345062 w 2663946"/>
                <a:gd name="connsiteY1247" fmla="*/ 178942 h 410520"/>
                <a:gd name="connsiteX1248" fmla="*/ 342850 w 2663946"/>
                <a:gd name="connsiteY1248" fmla="*/ 175427 h 410520"/>
                <a:gd name="connsiteX1249" fmla="*/ 340637 w 2663946"/>
                <a:gd name="connsiteY1249" fmla="*/ 171101 h 410520"/>
                <a:gd name="connsiteX1250" fmla="*/ 339408 w 2663946"/>
                <a:gd name="connsiteY1250" fmla="*/ 168126 h 410520"/>
                <a:gd name="connsiteX1251" fmla="*/ 338425 w 2663946"/>
                <a:gd name="connsiteY1251" fmla="*/ 164882 h 410520"/>
                <a:gd name="connsiteX1252" fmla="*/ 337196 w 2663946"/>
                <a:gd name="connsiteY1252" fmla="*/ 159204 h 410520"/>
                <a:gd name="connsiteX1253" fmla="*/ 336950 w 2663946"/>
                <a:gd name="connsiteY1253" fmla="*/ 156230 h 410520"/>
                <a:gd name="connsiteX1254" fmla="*/ 337196 w 2663946"/>
                <a:gd name="connsiteY1254" fmla="*/ 156500 h 410520"/>
                <a:gd name="connsiteX1255" fmla="*/ 337196 w 2663946"/>
                <a:gd name="connsiteY1255" fmla="*/ 150822 h 410520"/>
                <a:gd name="connsiteX1256" fmla="*/ 337196 w 2663946"/>
                <a:gd name="connsiteY1256" fmla="*/ 150552 h 410520"/>
                <a:gd name="connsiteX1257" fmla="*/ 337687 w 2663946"/>
                <a:gd name="connsiteY1257" fmla="*/ 145955 h 410520"/>
                <a:gd name="connsiteX1258" fmla="*/ 338917 w 2663946"/>
                <a:gd name="connsiteY1258" fmla="*/ 140548 h 410520"/>
                <a:gd name="connsiteX1259" fmla="*/ 339900 w 2663946"/>
                <a:gd name="connsiteY1259" fmla="*/ 137303 h 410520"/>
                <a:gd name="connsiteX1260" fmla="*/ 342112 w 2663946"/>
                <a:gd name="connsiteY1260" fmla="*/ 132166 h 410520"/>
                <a:gd name="connsiteX1261" fmla="*/ 344324 w 2663946"/>
                <a:gd name="connsiteY1261" fmla="*/ 128381 h 410520"/>
                <a:gd name="connsiteX1262" fmla="*/ 346536 w 2663946"/>
                <a:gd name="connsiteY1262" fmla="*/ 125406 h 410520"/>
                <a:gd name="connsiteX1263" fmla="*/ 348749 w 2663946"/>
                <a:gd name="connsiteY1263" fmla="*/ 122973 h 410520"/>
                <a:gd name="connsiteX1264" fmla="*/ 353419 w 2663946"/>
                <a:gd name="connsiteY1264" fmla="*/ 119188 h 410520"/>
                <a:gd name="connsiteX1265" fmla="*/ 357352 w 2663946"/>
                <a:gd name="connsiteY1265" fmla="*/ 117025 h 410520"/>
                <a:gd name="connsiteX1266" fmla="*/ 366938 w 2663946"/>
                <a:gd name="connsiteY1266" fmla="*/ 114591 h 410520"/>
                <a:gd name="connsiteX1267" fmla="*/ 123893 w 2663946"/>
                <a:gd name="connsiteY1267" fmla="*/ 114591 h 410520"/>
                <a:gd name="connsiteX1268" fmla="*/ 136183 w 2663946"/>
                <a:gd name="connsiteY1268" fmla="*/ 116754 h 410520"/>
                <a:gd name="connsiteX1269" fmla="*/ 143557 w 2663946"/>
                <a:gd name="connsiteY1269" fmla="*/ 121351 h 410520"/>
                <a:gd name="connsiteX1270" fmla="*/ 146998 w 2663946"/>
                <a:gd name="connsiteY1270" fmla="*/ 124595 h 410520"/>
                <a:gd name="connsiteX1271" fmla="*/ 150439 w 2663946"/>
                <a:gd name="connsiteY1271" fmla="*/ 128921 h 410520"/>
                <a:gd name="connsiteX1272" fmla="*/ 152406 w 2663946"/>
                <a:gd name="connsiteY1272" fmla="*/ 132436 h 410520"/>
                <a:gd name="connsiteX1273" fmla="*/ 154618 w 2663946"/>
                <a:gd name="connsiteY1273" fmla="*/ 137844 h 410520"/>
                <a:gd name="connsiteX1274" fmla="*/ 155601 w 2663946"/>
                <a:gd name="connsiteY1274" fmla="*/ 141359 h 410520"/>
                <a:gd name="connsiteX1275" fmla="*/ 156584 w 2663946"/>
                <a:gd name="connsiteY1275" fmla="*/ 146496 h 410520"/>
                <a:gd name="connsiteX1276" fmla="*/ 156339 w 2663946"/>
                <a:gd name="connsiteY1276" fmla="*/ 160826 h 410520"/>
                <a:gd name="connsiteX1277" fmla="*/ 155355 w 2663946"/>
                <a:gd name="connsiteY1277" fmla="*/ 165693 h 410520"/>
                <a:gd name="connsiteX1278" fmla="*/ 154126 w 2663946"/>
                <a:gd name="connsiteY1278" fmla="*/ 169478 h 410520"/>
                <a:gd name="connsiteX1279" fmla="*/ 153143 w 2663946"/>
                <a:gd name="connsiteY1279" fmla="*/ 171912 h 410520"/>
                <a:gd name="connsiteX1280" fmla="*/ 150931 w 2663946"/>
                <a:gd name="connsiteY1280" fmla="*/ 176238 h 410520"/>
                <a:gd name="connsiteX1281" fmla="*/ 148719 w 2663946"/>
                <a:gd name="connsiteY1281" fmla="*/ 179482 h 410520"/>
                <a:gd name="connsiteX1282" fmla="*/ 145277 w 2663946"/>
                <a:gd name="connsiteY1282" fmla="*/ 183268 h 410520"/>
                <a:gd name="connsiteX1283" fmla="*/ 142082 w 2663946"/>
                <a:gd name="connsiteY1283" fmla="*/ 185971 h 410520"/>
                <a:gd name="connsiteX1284" fmla="*/ 136428 w 2663946"/>
                <a:gd name="connsiteY1284" fmla="*/ 189216 h 410520"/>
                <a:gd name="connsiteX1285" fmla="*/ 128563 w 2663946"/>
                <a:gd name="connsiteY1285" fmla="*/ 191379 h 410520"/>
                <a:gd name="connsiteX1286" fmla="*/ 127334 w 2663946"/>
                <a:gd name="connsiteY1286" fmla="*/ 191650 h 410520"/>
                <a:gd name="connsiteX1287" fmla="*/ 123155 w 2663946"/>
                <a:gd name="connsiteY1287" fmla="*/ 191650 h 410520"/>
                <a:gd name="connsiteX1288" fmla="*/ 122909 w 2663946"/>
                <a:gd name="connsiteY1288" fmla="*/ 191650 h 410520"/>
                <a:gd name="connsiteX1289" fmla="*/ 109882 w 2663946"/>
                <a:gd name="connsiteY1289" fmla="*/ 186783 h 410520"/>
                <a:gd name="connsiteX1290" fmla="*/ 105211 w 2663946"/>
                <a:gd name="connsiteY1290" fmla="*/ 182727 h 410520"/>
                <a:gd name="connsiteX1291" fmla="*/ 102016 w 2663946"/>
                <a:gd name="connsiteY1291" fmla="*/ 178942 h 410520"/>
                <a:gd name="connsiteX1292" fmla="*/ 99804 w 2663946"/>
                <a:gd name="connsiteY1292" fmla="*/ 175427 h 410520"/>
                <a:gd name="connsiteX1293" fmla="*/ 97591 w 2663946"/>
                <a:gd name="connsiteY1293" fmla="*/ 171101 h 410520"/>
                <a:gd name="connsiteX1294" fmla="*/ 96362 w 2663946"/>
                <a:gd name="connsiteY1294" fmla="*/ 168126 h 410520"/>
                <a:gd name="connsiteX1295" fmla="*/ 95379 w 2663946"/>
                <a:gd name="connsiteY1295" fmla="*/ 164882 h 410520"/>
                <a:gd name="connsiteX1296" fmla="*/ 94150 w 2663946"/>
                <a:gd name="connsiteY1296" fmla="*/ 159204 h 410520"/>
                <a:gd name="connsiteX1297" fmla="*/ 93904 w 2663946"/>
                <a:gd name="connsiteY1297" fmla="*/ 156230 h 410520"/>
                <a:gd name="connsiteX1298" fmla="*/ 94150 w 2663946"/>
                <a:gd name="connsiteY1298" fmla="*/ 156500 h 410520"/>
                <a:gd name="connsiteX1299" fmla="*/ 94150 w 2663946"/>
                <a:gd name="connsiteY1299" fmla="*/ 150822 h 410520"/>
                <a:gd name="connsiteX1300" fmla="*/ 94150 w 2663946"/>
                <a:gd name="connsiteY1300" fmla="*/ 150552 h 410520"/>
                <a:gd name="connsiteX1301" fmla="*/ 94642 w 2663946"/>
                <a:gd name="connsiteY1301" fmla="*/ 145955 h 410520"/>
                <a:gd name="connsiteX1302" fmla="*/ 95871 w 2663946"/>
                <a:gd name="connsiteY1302" fmla="*/ 140548 h 410520"/>
                <a:gd name="connsiteX1303" fmla="*/ 96854 w 2663946"/>
                <a:gd name="connsiteY1303" fmla="*/ 137303 h 410520"/>
                <a:gd name="connsiteX1304" fmla="*/ 99066 w 2663946"/>
                <a:gd name="connsiteY1304" fmla="*/ 132166 h 410520"/>
                <a:gd name="connsiteX1305" fmla="*/ 101279 w 2663946"/>
                <a:gd name="connsiteY1305" fmla="*/ 128381 h 410520"/>
                <a:gd name="connsiteX1306" fmla="*/ 103491 w 2663946"/>
                <a:gd name="connsiteY1306" fmla="*/ 125406 h 410520"/>
                <a:gd name="connsiteX1307" fmla="*/ 105703 w 2663946"/>
                <a:gd name="connsiteY1307" fmla="*/ 122973 h 410520"/>
                <a:gd name="connsiteX1308" fmla="*/ 110373 w 2663946"/>
                <a:gd name="connsiteY1308" fmla="*/ 119188 h 410520"/>
                <a:gd name="connsiteX1309" fmla="*/ 114306 w 2663946"/>
                <a:gd name="connsiteY1309" fmla="*/ 117025 h 410520"/>
                <a:gd name="connsiteX1310" fmla="*/ 123893 w 2663946"/>
                <a:gd name="connsiteY1310" fmla="*/ 114591 h 410520"/>
                <a:gd name="connsiteX1311" fmla="*/ 33147 w 2663946"/>
                <a:gd name="connsiteY1311" fmla="*/ 113953 h 410520"/>
                <a:gd name="connsiteX1312" fmla="*/ 57942 w 2663946"/>
                <a:gd name="connsiteY1312" fmla="*/ 134162 h 410520"/>
                <a:gd name="connsiteX1313" fmla="*/ 58422 w 2663946"/>
                <a:gd name="connsiteY1313" fmla="*/ 138920 h 410520"/>
                <a:gd name="connsiteX1314" fmla="*/ 59840 w 2663946"/>
                <a:gd name="connsiteY1314" fmla="*/ 138920 h 410520"/>
                <a:gd name="connsiteX1315" fmla="*/ 66294 w 2663946"/>
                <a:gd name="connsiteY1315" fmla="*/ 145206 h 410520"/>
                <a:gd name="connsiteX1316" fmla="*/ 66294 w 2663946"/>
                <a:gd name="connsiteY1316" fmla="*/ 194928 h 410520"/>
                <a:gd name="connsiteX1317" fmla="*/ 59840 w 2663946"/>
                <a:gd name="connsiteY1317" fmla="*/ 201214 h 410520"/>
                <a:gd name="connsiteX1318" fmla="*/ 6453 w 2663946"/>
                <a:gd name="connsiteY1318" fmla="*/ 201214 h 410520"/>
                <a:gd name="connsiteX1319" fmla="*/ 0 w 2663946"/>
                <a:gd name="connsiteY1319" fmla="*/ 194928 h 410520"/>
                <a:gd name="connsiteX1320" fmla="*/ 0 w 2663946"/>
                <a:gd name="connsiteY1320" fmla="*/ 145206 h 410520"/>
                <a:gd name="connsiteX1321" fmla="*/ 6453 w 2663946"/>
                <a:gd name="connsiteY1321" fmla="*/ 138920 h 410520"/>
                <a:gd name="connsiteX1322" fmla="*/ 7288 w 2663946"/>
                <a:gd name="connsiteY1322" fmla="*/ 138920 h 410520"/>
                <a:gd name="connsiteX1323" fmla="*/ 7872 w 2663946"/>
                <a:gd name="connsiteY1323" fmla="*/ 138920 h 410520"/>
                <a:gd name="connsiteX1324" fmla="*/ 8351 w 2663946"/>
                <a:gd name="connsiteY1324" fmla="*/ 134162 h 410520"/>
                <a:gd name="connsiteX1325" fmla="*/ 33147 w 2663946"/>
                <a:gd name="connsiteY1325" fmla="*/ 113953 h 410520"/>
                <a:gd name="connsiteX1326" fmla="*/ 2537931 w 2663946"/>
                <a:gd name="connsiteY1326" fmla="*/ 106365 h 410520"/>
                <a:gd name="connsiteX1327" fmla="*/ 2562727 w 2663946"/>
                <a:gd name="connsiteY1327" fmla="*/ 126574 h 410520"/>
                <a:gd name="connsiteX1328" fmla="*/ 2563206 w 2663946"/>
                <a:gd name="connsiteY1328" fmla="*/ 131332 h 410520"/>
                <a:gd name="connsiteX1329" fmla="*/ 2564625 w 2663946"/>
                <a:gd name="connsiteY1329" fmla="*/ 131332 h 410520"/>
                <a:gd name="connsiteX1330" fmla="*/ 2571078 w 2663946"/>
                <a:gd name="connsiteY1330" fmla="*/ 137618 h 410520"/>
                <a:gd name="connsiteX1331" fmla="*/ 2571078 w 2663946"/>
                <a:gd name="connsiteY1331" fmla="*/ 187340 h 410520"/>
                <a:gd name="connsiteX1332" fmla="*/ 2564625 w 2663946"/>
                <a:gd name="connsiteY1332" fmla="*/ 193626 h 410520"/>
                <a:gd name="connsiteX1333" fmla="*/ 2511238 w 2663946"/>
                <a:gd name="connsiteY1333" fmla="*/ 193626 h 410520"/>
                <a:gd name="connsiteX1334" fmla="*/ 2504784 w 2663946"/>
                <a:gd name="connsiteY1334" fmla="*/ 187340 h 410520"/>
                <a:gd name="connsiteX1335" fmla="*/ 2504784 w 2663946"/>
                <a:gd name="connsiteY1335" fmla="*/ 137618 h 410520"/>
                <a:gd name="connsiteX1336" fmla="*/ 2511238 w 2663946"/>
                <a:gd name="connsiteY1336" fmla="*/ 131332 h 410520"/>
                <a:gd name="connsiteX1337" fmla="*/ 2512072 w 2663946"/>
                <a:gd name="connsiteY1337" fmla="*/ 131332 h 410520"/>
                <a:gd name="connsiteX1338" fmla="*/ 2512656 w 2663946"/>
                <a:gd name="connsiteY1338" fmla="*/ 131332 h 410520"/>
                <a:gd name="connsiteX1339" fmla="*/ 2513136 w 2663946"/>
                <a:gd name="connsiteY1339" fmla="*/ 126574 h 410520"/>
                <a:gd name="connsiteX1340" fmla="*/ 2537931 w 2663946"/>
                <a:gd name="connsiteY1340" fmla="*/ 106365 h 410520"/>
                <a:gd name="connsiteX1341" fmla="*/ 2112934 w 2663946"/>
                <a:gd name="connsiteY1341" fmla="*/ 106365 h 410520"/>
                <a:gd name="connsiteX1342" fmla="*/ 2137730 w 2663946"/>
                <a:gd name="connsiteY1342" fmla="*/ 126574 h 410520"/>
                <a:gd name="connsiteX1343" fmla="*/ 2138209 w 2663946"/>
                <a:gd name="connsiteY1343" fmla="*/ 131332 h 410520"/>
                <a:gd name="connsiteX1344" fmla="*/ 2139628 w 2663946"/>
                <a:gd name="connsiteY1344" fmla="*/ 131332 h 410520"/>
                <a:gd name="connsiteX1345" fmla="*/ 2146081 w 2663946"/>
                <a:gd name="connsiteY1345" fmla="*/ 137618 h 410520"/>
                <a:gd name="connsiteX1346" fmla="*/ 2146081 w 2663946"/>
                <a:gd name="connsiteY1346" fmla="*/ 187340 h 410520"/>
                <a:gd name="connsiteX1347" fmla="*/ 2139628 w 2663946"/>
                <a:gd name="connsiteY1347" fmla="*/ 193626 h 410520"/>
                <a:gd name="connsiteX1348" fmla="*/ 2086241 w 2663946"/>
                <a:gd name="connsiteY1348" fmla="*/ 193626 h 410520"/>
                <a:gd name="connsiteX1349" fmla="*/ 2079787 w 2663946"/>
                <a:gd name="connsiteY1349" fmla="*/ 187340 h 410520"/>
                <a:gd name="connsiteX1350" fmla="*/ 2079787 w 2663946"/>
                <a:gd name="connsiteY1350" fmla="*/ 137618 h 410520"/>
                <a:gd name="connsiteX1351" fmla="*/ 2086241 w 2663946"/>
                <a:gd name="connsiteY1351" fmla="*/ 131332 h 410520"/>
                <a:gd name="connsiteX1352" fmla="*/ 2087075 w 2663946"/>
                <a:gd name="connsiteY1352" fmla="*/ 131332 h 410520"/>
                <a:gd name="connsiteX1353" fmla="*/ 2087659 w 2663946"/>
                <a:gd name="connsiteY1353" fmla="*/ 131332 h 410520"/>
                <a:gd name="connsiteX1354" fmla="*/ 2088139 w 2663946"/>
                <a:gd name="connsiteY1354" fmla="*/ 126574 h 410520"/>
                <a:gd name="connsiteX1355" fmla="*/ 2112934 w 2663946"/>
                <a:gd name="connsiteY1355" fmla="*/ 106365 h 410520"/>
                <a:gd name="connsiteX1356" fmla="*/ 1854966 w 2663946"/>
                <a:gd name="connsiteY1356" fmla="*/ 106365 h 410520"/>
                <a:gd name="connsiteX1357" fmla="*/ 1879762 w 2663946"/>
                <a:gd name="connsiteY1357" fmla="*/ 126574 h 410520"/>
                <a:gd name="connsiteX1358" fmla="*/ 1880241 w 2663946"/>
                <a:gd name="connsiteY1358" fmla="*/ 131332 h 410520"/>
                <a:gd name="connsiteX1359" fmla="*/ 1881660 w 2663946"/>
                <a:gd name="connsiteY1359" fmla="*/ 131332 h 410520"/>
                <a:gd name="connsiteX1360" fmla="*/ 1888113 w 2663946"/>
                <a:gd name="connsiteY1360" fmla="*/ 137618 h 410520"/>
                <a:gd name="connsiteX1361" fmla="*/ 1888113 w 2663946"/>
                <a:gd name="connsiteY1361" fmla="*/ 187340 h 410520"/>
                <a:gd name="connsiteX1362" fmla="*/ 1881660 w 2663946"/>
                <a:gd name="connsiteY1362" fmla="*/ 193626 h 410520"/>
                <a:gd name="connsiteX1363" fmla="*/ 1828273 w 2663946"/>
                <a:gd name="connsiteY1363" fmla="*/ 193626 h 410520"/>
                <a:gd name="connsiteX1364" fmla="*/ 1821819 w 2663946"/>
                <a:gd name="connsiteY1364" fmla="*/ 187340 h 410520"/>
                <a:gd name="connsiteX1365" fmla="*/ 1821819 w 2663946"/>
                <a:gd name="connsiteY1365" fmla="*/ 137618 h 410520"/>
                <a:gd name="connsiteX1366" fmla="*/ 1828273 w 2663946"/>
                <a:gd name="connsiteY1366" fmla="*/ 131332 h 410520"/>
                <a:gd name="connsiteX1367" fmla="*/ 1829107 w 2663946"/>
                <a:gd name="connsiteY1367" fmla="*/ 131332 h 410520"/>
                <a:gd name="connsiteX1368" fmla="*/ 1829691 w 2663946"/>
                <a:gd name="connsiteY1368" fmla="*/ 131332 h 410520"/>
                <a:gd name="connsiteX1369" fmla="*/ 1830171 w 2663946"/>
                <a:gd name="connsiteY1369" fmla="*/ 126574 h 410520"/>
                <a:gd name="connsiteX1370" fmla="*/ 1854966 w 2663946"/>
                <a:gd name="connsiteY1370" fmla="*/ 106365 h 410520"/>
                <a:gd name="connsiteX1371" fmla="*/ 1764027 w 2663946"/>
                <a:gd name="connsiteY1371" fmla="*/ 106365 h 410520"/>
                <a:gd name="connsiteX1372" fmla="*/ 1788823 w 2663946"/>
                <a:gd name="connsiteY1372" fmla="*/ 126574 h 410520"/>
                <a:gd name="connsiteX1373" fmla="*/ 1789302 w 2663946"/>
                <a:gd name="connsiteY1373" fmla="*/ 131332 h 410520"/>
                <a:gd name="connsiteX1374" fmla="*/ 1790721 w 2663946"/>
                <a:gd name="connsiteY1374" fmla="*/ 131332 h 410520"/>
                <a:gd name="connsiteX1375" fmla="*/ 1797174 w 2663946"/>
                <a:gd name="connsiteY1375" fmla="*/ 137618 h 410520"/>
                <a:gd name="connsiteX1376" fmla="*/ 1797174 w 2663946"/>
                <a:gd name="connsiteY1376" fmla="*/ 187340 h 410520"/>
                <a:gd name="connsiteX1377" fmla="*/ 1790721 w 2663946"/>
                <a:gd name="connsiteY1377" fmla="*/ 193626 h 410520"/>
                <a:gd name="connsiteX1378" fmla="*/ 1737333 w 2663946"/>
                <a:gd name="connsiteY1378" fmla="*/ 193626 h 410520"/>
                <a:gd name="connsiteX1379" fmla="*/ 1730880 w 2663946"/>
                <a:gd name="connsiteY1379" fmla="*/ 187340 h 410520"/>
                <a:gd name="connsiteX1380" fmla="*/ 1730880 w 2663946"/>
                <a:gd name="connsiteY1380" fmla="*/ 137618 h 410520"/>
                <a:gd name="connsiteX1381" fmla="*/ 1737333 w 2663946"/>
                <a:gd name="connsiteY1381" fmla="*/ 131332 h 410520"/>
                <a:gd name="connsiteX1382" fmla="*/ 1738168 w 2663946"/>
                <a:gd name="connsiteY1382" fmla="*/ 131332 h 410520"/>
                <a:gd name="connsiteX1383" fmla="*/ 1738752 w 2663946"/>
                <a:gd name="connsiteY1383" fmla="*/ 131332 h 410520"/>
                <a:gd name="connsiteX1384" fmla="*/ 1739232 w 2663946"/>
                <a:gd name="connsiteY1384" fmla="*/ 126574 h 410520"/>
                <a:gd name="connsiteX1385" fmla="*/ 1764027 w 2663946"/>
                <a:gd name="connsiteY1385" fmla="*/ 106365 h 410520"/>
                <a:gd name="connsiteX1386" fmla="*/ 1506059 w 2663946"/>
                <a:gd name="connsiteY1386" fmla="*/ 106365 h 410520"/>
                <a:gd name="connsiteX1387" fmla="*/ 1530855 w 2663946"/>
                <a:gd name="connsiteY1387" fmla="*/ 126574 h 410520"/>
                <a:gd name="connsiteX1388" fmla="*/ 1531334 w 2663946"/>
                <a:gd name="connsiteY1388" fmla="*/ 131332 h 410520"/>
                <a:gd name="connsiteX1389" fmla="*/ 1532753 w 2663946"/>
                <a:gd name="connsiteY1389" fmla="*/ 131332 h 410520"/>
                <a:gd name="connsiteX1390" fmla="*/ 1539206 w 2663946"/>
                <a:gd name="connsiteY1390" fmla="*/ 137618 h 410520"/>
                <a:gd name="connsiteX1391" fmla="*/ 1539206 w 2663946"/>
                <a:gd name="connsiteY1391" fmla="*/ 187340 h 410520"/>
                <a:gd name="connsiteX1392" fmla="*/ 1532753 w 2663946"/>
                <a:gd name="connsiteY1392" fmla="*/ 193626 h 410520"/>
                <a:gd name="connsiteX1393" fmla="*/ 1479365 w 2663946"/>
                <a:gd name="connsiteY1393" fmla="*/ 193626 h 410520"/>
                <a:gd name="connsiteX1394" fmla="*/ 1472912 w 2663946"/>
                <a:gd name="connsiteY1394" fmla="*/ 187340 h 410520"/>
                <a:gd name="connsiteX1395" fmla="*/ 1472912 w 2663946"/>
                <a:gd name="connsiteY1395" fmla="*/ 137618 h 410520"/>
                <a:gd name="connsiteX1396" fmla="*/ 1479365 w 2663946"/>
                <a:gd name="connsiteY1396" fmla="*/ 131332 h 410520"/>
                <a:gd name="connsiteX1397" fmla="*/ 1480200 w 2663946"/>
                <a:gd name="connsiteY1397" fmla="*/ 131332 h 410520"/>
                <a:gd name="connsiteX1398" fmla="*/ 1480784 w 2663946"/>
                <a:gd name="connsiteY1398" fmla="*/ 131332 h 410520"/>
                <a:gd name="connsiteX1399" fmla="*/ 1481264 w 2663946"/>
                <a:gd name="connsiteY1399" fmla="*/ 126574 h 410520"/>
                <a:gd name="connsiteX1400" fmla="*/ 1506059 w 2663946"/>
                <a:gd name="connsiteY1400" fmla="*/ 106365 h 410520"/>
                <a:gd name="connsiteX1401" fmla="*/ 1415120 w 2663946"/>
                <a:gd name="connsiteY1401" fmla="*/ 106365 h 410520"/>
                <a:gd name="connsiteX1402" fmla="*/ 1439916 w 2663946"/>
                <a:gd name="connsiteY1402" fmla="*/ 126574 h 410520"/>
                <a:gd name="connsiteX1403" fmla="*/ 1440395 w 2663946"/>
                <a:gd name="connsiteY1403" fmla="*/ 131332 h 410520"/>
                <a:gd name="connsiteX1404" fmla="*/ 1441814 w 2663946"/>
                <a:gd name="connsiteY1404" fmla="*/ 131332 h 410520"/>
                <a:gd name="connsiteX1405" fmla="*/ 1448267 w 2663946"/>
                <a:gd name="connsiteY1405" fmla="*/ 137618 h 410520"/>
                <a:gd name="connsiteX1406" fmla="*/ 1448267 w 2663946"/>
                <a:gd name="connsiteY1406" fmla="*/ 187340 h 410520"/>
                <a:gd name="connsiteX1407" fmla="*/ 1441814 w 2663946"/>
                <a:gd name="connsiteY1407" fmla="*/ 193626 h 410520"/>
                <a:gd name="connsiteX1408" fmla="*/ 1388426 w 2663946"/>
                <a:gd name="connsiteY1408" fmla="*/ 193626 h 410520"/>
                <a:gd name="connsiteX1409" fmla="*/ 1381973 w 2663946"/>
                <a:gd name="connsiteY1409" fmla="*/ 187340 h 410520"/>
                <a:gd name="connsiteX1410" fmla="*/ 1381973 w 2663946"/>
                <a:gd name="connsiteY1410" fmla="*/ 137618 h 410520"/>
                <a:gd name="connsiteX1411" fmla="*/ 1388426 w 2663946"/>
                <a:gd name="connsiteY1411" fmla="*/ 131332 h 410520"/>
                <a:gd name="connsiteX1412" fmla="*/ 1389261 w 2663946"/>
                <a:gd name="connsiteY1412" fmla="*/ 131332 h 410520"/>
                <a:gd name="connsiteX1413" fmla="*/ 1389845 w 2663946"/>
                <a:gd name="connsiteY1413" fmla="*/ 131332 h 410520"/>
                <a:gd name="connsiteX1414" fmla="*/ 1390325 w 2663946"/>
                <a:gd name="connsiteY1414" fmla="*/ 126574 h 410520"/>
                <a:gd name="connsiteX1415" fmla="*/ 1415120 w 2663946"/>
                <a:gd name="connsiteY1415" fmla="*/ 106365 h 410520"/>
                <a:gd name="connsiteX1416" fmla="*/ 1157152 w 2663946"/>
                <a:gd name="connsiteY1416" fmla="*/ 106365 h 410520"/>
                <a:gd name="connsiteX1417" fmla="*/ 1181948 w 2663946"/>
                <a:gd name="connsiteY1417" fmla="*/ 126574 h 410520"/>
                <a:gd name="connsiteX1418" fmla="*/ 1182427 w 2663946"/>
                <a:gd name="connsiteY1418" fmla="*/ 131332 h 410520"/>
                <a:gd name="connsiteX1419" fmla="*/ 1183846 w 2663946"/>
                <a:gd name="connsiteY1419" fmla="*/ 131332 h 410520"/>
                <a:gd name="connsiteX1420" fmla="*/ 1190299 w 2663946"/>
                <a:gd name="connsiteY1420" fmla="*/ 137618 h 410520"/>
                <a:gd name="connsiteX1421" fmla="*/ 1190299 w 2663946"/>
                <a:gd name="connsiteY1421" fmla="*/ 187340 h 410520"/>
                <a:gd name="connsiteX1422" fmla="*/ 1183846 w 2663946"/>
                <a:gd name="connsiteY1422" fmla="*/ 193626 h 410520"/>
                <a:gd name="connsiteX1423" fmla="*/ 1130458 w 2663946"/>
                <a:gd name="connsiteY1423" fmla="*/ 193626 h 410520"/>
                <a:gd name="connsiteX1424" fmla="*/ 1124005 w 2663946"/>
                <a:gd name="connsiteY1424" fmla="*/ 187340 h 410520"/>
                <a:gd name="connsiteX1425" fmla="*/ 1124005 w 2663946"/>
                <a:gd name="connsiteY1425" fmla="*/ 137618 h 410520"/>
                <a:gd name="connsiteX1426" fmla="*/ 1130458 w 2663946"/>
                <a:gd name="connsiteY1426" fmla="*/ 131332 h 410520"/>
                <a:gd name="connsiteX1427" fmla="*/ 1131293 w 2663946"/>
                <a:gd name="connsiteY1427" fmla="*/ 131332 h 410520"/>
                <a:gd name="connsiteX1428" fmla="*/ 1131877 w 2663946"/>
                <a:gd name="connsiteY1428" fmla="*/ 131332 h 410520"/>
                <a:gd name="connsiteX1429" fmla="*/ 1132357 w 2663946"/>
                <a:gd name="connsiteY1429" fmla="*/ 126574 h 410520"/>
                <a:gd name="connsiteX1430" fmla="*/ 1157152 w 2663946"/>
                <a:gd name="connsiteY1430" fmla="*/ 106365 h 410520"/>
                <a:gd name="connsiteX1431" fmla="*/ 732156 w 2663946"/>
                <a:gd name="connsiteY1431" fmla="*/ 106365 h 410520"/>
                <a:gd name="connsiteX1432" fmla="*/ 756951 w 2663946"/>
                <a:gd name="connsiteY1432" fmla="*/ 126574 h 410520"/>
                <a:gd name="connsiteX1433" fmla="*/ 757431 w 2663946"/>
                <a:gd name="connsiteY1433" fmla="*/ 131332 h 410520"/>
                <a:gd name="connsiteX1434" fmla="*/ 758849 w 2663946"/>
                <a:gd name="connsiteY1434" fmla="*/ 131332 h 410520"/>
                <a:gd name="connsiteX1435" fmla="*/ 765303 w 2663946"/>
                <a:gd name="connsiteY1435" fmla="*/ 137618 h 410520"/>
                <a:gd name="connsiteX1436" fmla="*/ 765303 w 2663946"/>
                <a:gd name="connsiteY1436" fmla="*/ 187340 h 410520"/>
                <a:gd name="connsiteX1437" fmla="*/ 758849 w 2663946"/>
                <a:gd name="connsiteY1437" fmla="*/ 193626 h 410520"/>
                <a:gd name="connsiteX1438" fmla="*/ 705462 w 2663946"/>
                <a:gd name="connsiteY1438" fmla="*/ 193626 h 410520"/>
                <a:gd name="connsiteX1439" fmla="*/ 699009 w 2663946"/>
                <a:gd name="connsiteY1439" fmla="*/ 187340 h 410520"/>
                <a:gd name="connsiteX1440" fmla="*/ 699009 w 2663946"/>
                <a:gd name="connsiteY1440" fmla="*/ 137618 h 410520"/>
                <a:gd name="connsiteX1441" fmla="*/ 705462 w 2663946"/>
                <a:gd name="connsiteY1441" fmla="*/ 131332 h 410520"/>
                <a:gd name="connsiteX1442" fmla="*/ 706296 w 2663946"/>
                <a:gd name="connsiteY1442" fmla="*/ 131332 h 410520"/>
                <a:gd name="connsiteX1443" fmla="*/ 706881 w 2663946"/>
                <a:gd name="connsiteY1443" fmla="*/ 131332 h 410520"/>
                <a:gd name="connsiteX1444" fmla="*/ 707360 w 2663946"/>
                <a:gd name="connsiteY1444" fmla="*/ 126574 h 410520"/>
                <a:gd name="connsiteX1445" fmla="*/ 732156 w 2663946"/>
                <a:gd name="connsiteY1445" fmla="*/ 106365 h 410520"/>
                <a:gd name="connsiteX1446" fmla="*/ 641217 w 2663946"/>
                <a:gd name="connsiteY1446" fmla="*/ 106365 h 410520"/>
                <a:gd name="connsiteX1447" fmla="*/ 666012 w 2663946"/>
                <a:gd name="connsiteY1447" fmla="*/ 126574 h 410520"/>
                <a:gd name="connsiteX1448" fmla="*/ 666492 w 2663946"/>
                <a:gd name="connsiteY1448" fmla="*/ 131332 h 410520"/>
                <a:gd name="connsiteX1449" fmla="*/ 667910 w 2663946"/>
                <a:gd name="connsiteY1449" fmla="*/ 131332 h 410520"/>
                <a:gd name="connsiteX1450" fmla="*/ 674364 w 2663946"/>
                <a:gd name="connsiteY1450" fmla="*/ 137618 h 410520"/>
                <a:gd name="connsiteX1451" fmla="*/ 674364 w 2663946"/>
                <a:gd name="connsiteY1451" fmla="*/ 187340 h 410520"/>
                <a:gd name="connsiteX1452" fmla="*/ 667910 w 2663946"/>
                <a:gd name="connsiteY1452" fmla="*/ 193626 h 410520"/>
                <a:gd name="connsiteX1453" fmla="*/ 614523 w 2663946"/>
                <a:gd name="connsiteY1453" fmla="*/ 193626 h 410520"/>
                <a:gd name="connsiteX1454" fmla="*/ 608070 w 2663946"/>
                <a:gd name="connsiteY1454" fmla="*/ 187340 h 410520"/>
                <a:gd name="connsiteX1455" fmla="*/ 608070 w 2663946"/>
                <a:gd name="connsiteY1455" fmla="*/ 137618 h 410520"/>
                <a:gd name="connsiteX1456" fmla="*/ 614523 w 2663946"/>
                <a:gd name="connsiteY1456" fmla="*/ 131332 h 410520"/>
                <a:gd name="connsiteX1457" fmla="*/ 615358 w 2663946"/>
                <a:gd name="connsiteY1457" fmla="*/ 131332 h 410520"/>
                <a:gd name="connsiteX1458" fmla="*/ 615942 w 2663946"/>
                <a:gd name="connsiteY1458" fmla="*/ 131332 h 410520"/>
                <a:gd name="connsiteX1459" fmla="*/ 616422 w 2663946"/>
                <a:gd name="connsiteY1459" fmla="*/ 126574 h 410520"/>
                <a:gd name="connsiteX1460" fmla="*/ 641217 w 2663946"/>
                <a:gd name="connsiteY1460" fmla="*/ 106365 h 410520"/>
                <a:gd name="connsiteX1461" fmla="*/ 459266 w 2663946"/>
                <a:gd name="connsiteY1461" fmla="*/ 106365 h 410520"/>
                <a:gd name="connsiteX1462" fmla="*/ 484061 w 2663946"/>
                <a:gd name="connsiteY1462" fmla="*/ 126574 h 410520"/>
                <a:gd name="connsiteX1463" fmla="*/ 484541 w 2663946"/>
                <a:gd name="connsiteY1463" fmla="*/ 131332 h 410520"/>
                <a:gd name="connsiteX1464" fmla="*/ 485959 w 2663946"/>
                <a:gd name="connsiteY1464" fmla="*/ 131332 h 410520"/>
                <a:gd name="connsiteX1465" fmla="*/ 492413 w 2663946"/>
                <a:gd name="connsiteY1465" fmla="*/ 137618 h 410520"/>
                <a:gd name="connsiteX1466" fmla="*/ 492413 w 2663946"/>
                <a:gd name="connsiteY1466" fmla="*/ 187340 h 410520"/>
                <a:gd name="connsiteX1467" fmla="*/ 485959 w 2663946"/>
                <a:gd name="connsiteY1467" fmla="*/ 193626 h 410520"/>
                <a:gd name="connsiteX1468" fmla="*/ 432572 w 2663946"/>
                <a:gd name="connsiteY1468" fmla="*/ 193626 h 410520"/>
                <a:gd name="connsiteX1469" fmla="*/ 426119 w 2663946"/>
                <a:gd name="connsiteY1469" fmla="*/ 187340 h 410520"/>
                <a:gd name="connsiteX1470" fmla="*/ 426119 w 2663946"/>
                <a:gd name="connsiteY1470" fmla="*/ 137618 h 410520"/>
                <a:gd name="connsiteX1471" fmla="*/ 432572 w 2663946"/>
                <a:gd name="connsiteY1471" fmla="*/ 131332 h 410520"/>
                <a:gd name="connsiteX1472" fmla="*/ 433406 w 2663946"/>
                <a:gd name="connsiteY1472" fmla="*/ 131332 h 410520"/>
                <a:gd name="connsiteX1473" fmla="*/ 433991 w 2663946"/>
                <a:gd name="connsiteY1473" fmla="*/ 131332 h 410520"/>
                <a:gd name="connsiteX1474" fmla="*/ 434470 w 2663946"/>
                <a:gd name="connsiteY1474" fmla="*/ 126574 h 410520"/>
                <a:gd name="connsiteX1475" fmla="*/ 459266 w 2663946"/>
                <a:gd name="connsiteY1475" fmla="*/ 106365 h 410520"/>
                <a:gd name="connsiteX1476" fmla="*/ 24128 w 2663946"/>
                <a:gd name="connsiteY1476" fmla="*/ 62188 h 410520"/>
                <a:gd name="connsiteX1477" fmla="*/ 33591 w 2663946"/>
                <a:gd name="connsiteY1477" fmla="*/ 0 h 410520"/>
                <a:gd name="connsiteX1478" fmla="*/ 40350 w 2663946"/>
                <a:gd name="connsiteY1478" fmla="*/ 62188 h 410520"/>
                <a:gd name="connsiteX1479" fmla="*/ 40891 w 2663946"/>
                <a:gd name="connsiteY1479" fmla="*/ 62728 h 410520"/>
                <a:gd name="connsiteX1480" fmla="*/ 48191 w 2663946"/>
                <a:gd name="connsiteY1480" fmla="*/ 62728 h 410520"/>
                <a:gd name="connsiteX1481" fmla="*/ 52247 w 2663946"/>
                <a:gd name="connsiteY1481" fmla="*/ 63810 h 410520"/>
                <a:gd name="connsiteX1482" fmla="*/ 56032 w 2663946"/>
                <a:gd name="connsiteY1482" fmla="*/ 70569 h 410520"/>
                <a:gd name="connsiteX1483" fmla="*/ 53328 w 2663946"/>
                <a:gd name="connsiteY1483" fmla="*/ 76247 h 410520"/>
                <a:gd name="connsiteX1484" fmla="*/ 49273 w 2663946"/>
                <a:gd name="connsiteY1484" fmla="*/ 78140 h 410520"/>
                <a:gd name="connsiteX1485" fmla="*/ 49002 w 2663946"/>
                <a:gd name="connsiteY1485" fmla="*/ 78140 h 410520"/>
                <a:gd name="connsiteX1486" fmla="*/ 48732 w 2663946"/>
                <a:gd name="connsiteY1486" fmla="*/ 78140 h 410520"/>
                <a:gd name="connsiteX1487" fmla="*/ 48191 w 2663946"/>
                <a:gd name="connsiteY1487" fmla="*/ 78140 h 410520"/>
                <a:gd name="connsiteX1488" fmla="*/ 16016 w 2663946"/>
                <a:gd name="connsiteY1488" fmla="*/ 78140 h 410520"/>
                <a:gd name="connsiteX1489" fmla="*/ 15475 w 2663946"/>
                <a:gd name="connsiteY1489" fmla="*/ 78140 h 410520"/>
                <a:gd name="connsiteX1490" fmla="*/ 14664 w 2663946"/>
                <a:gd name="connsiteY1490" fmla="*/ 78140 h 410520"/>
                <a:gd name="connsiteX1491" fmla="*/ 13853 w 2663946"/>
                <a:gd name="connsiteY1491" fmla="*/ 77870 h 410520"/>
                <a:gd name="connsiteX1492" fmla="*/ 10338 w 2663946"/>
                <a:gd name="connsiteY1492" fmla="*/ 75977 h 410520"/>
                <a:gd name="connsiteX1493" fmla="*/ 7905 w 2663946"/>
                <a:gd name="connsiteY1493" fmla="*/ 70299 h 410520"/>
                <a:gd name="connsiteX1494" fmla="*/ 10068 w 2663946"/>
                <a:gd name="connsiteY1494" fmla="*/ 65162 h 410520"/>
                <a:gd name="connsiteX1495" fmla="*/ 15746 w 2663946"/>
                <a:gd name="connsiteY1495" fmla="*/ 62728 h 410520"/>
                <a:gd name="connsiteX1496" fmla="*/ 23587 w 2663946"/>
                <a:gd name="connsiteY1496" fmla="*/ 62728 h 410520"/>
                <a:gd name="connsiteX1497" fmla="*/ 24128 w 2663946"/>
                <a:gd name="connsiteY1497" fmla="*/ 62188 h 410520"/>
                <a:gd name="connsiteX0" fmla="*/ 2632966 w 2663946"/>
                <a:gd name="connsiteY0" fmla="*/ 287294 h 348400"/>
                <a:gd name="connsiteX1" fmla="*/ 2621414 w 2663946"/>
                <a:gd name="connsiteY1" fmla="*/ 289727 h 348400"/>
                <a:gd name="connsiteX2" fmla="*/ 2618218 w 2663946"/>
                <a:gd name="connsiteY2" fmla="*/ 293242 h 348400"/>
                <a:gd name="connsiteX3" fmla="*/ 2616006 w 2663946"/>
                <a:gd name="connsiteY3" fmla="*/ 297027 h 348400"/>
                <a:gd name="connsiteX4" fmla="*/ 2615023 w 2663946"/>
                <a:gd name="connsiteY4" fmla="*/ 299731 h 348400"/>
                <a:gd name="connsiteX5" fmla="*/ 2614039 w 2663946"/>
                <a:gd name="connsiteY5" fmla="*/ 303787 h 348400"/>
                <a:gd name="connsiteX6" fmla="*/ 2613056 w 2663946"/>
                <a:gd name="connsiteY6" fmla="*/ 310817 h 348400"/>
                <a:gd name="connsiteX7" fmla="*/ 2614039 w 2663946"/>
                <a:gd name="connsiteY7" fmla="*/ 318117 h 348400"/>
                <a:gd name="connsiteX8" fmla="*/ 2615269 w 2663946"/>
                <a:gd name="connsiteY8" fmla="*/ 321902 h 348400"/>
                <a:gd name="connsiteX9" fmla="*/ 2617481 w 2663946"/>
                <a:gd name="connsiteY9" fmla="*/ 326228 h 348400"/>
                <a:gd name="connsiteX10" fmla="*/ 2620922 w 2663946"/>
                <a:gd name="connsiteY10" fmla="*/ 330555 h 348400"/>
                <a:gd name="connsiteX11" fmla="*/ 2625346 w 2663946"/>
                <a:gd name="connsiteY11" fmla="*/ 333258 h 348400"/>
                <a:gd name="connsiteX12" fmla="*/ 2637637 w 2663946"/>
                <a:gd name="connsiteY12" fmla="*/ 330825 h 348400"/>
                <a:gd name="connsiteX13" fmla="*/ 2640832 w 2663946"/>
                <a:gd name="connsiteY13" fmla="*/ 327310 h 348400"/>
                <a:gd name="connsiteX14" fmla="*/ 2643290 w 2663946"/>
                <a:gd name="connsiteY14" fmla="*/ 322984 h 348400"/>
                <a:gd name="connsiteX15" fmla="*/ 2644273 w 2663946"/>
                <a:gd name="connsiteY15" fmla="*/ 320821 h 348400"/>
                <a:gd name="connsiteX16" fmla="*/ 2645502 w 2663946"/>
                <a:gd name="connsiteY16" fmla="*/ 316495 h 348400"/>
                <a:gd name="connsiteX17" fmla="*/ 2645011 w 2663946"/>
                <a:gd name="connsiteY17" fmla="*/ 302705 h 348400"/>
                <a:gd name="connsiteX18" fmla="*/ 2644027 w 2663946"/>
                <a:gd name="connsiteY18" fmla="*/ 299731 h 348400"/>
                <a:gd name="connsiteX19" fmla="*/ 2642799 w 2663946"/>
                <a:gd name="connsiteY19" fmla="*/ 296757 h 348400"/>
                <a:gd name="connsiteX20" fmla="*/ 2640586 w 2663946"/>
                <a:gd name="connsiteY20" fmla="*/ 293242 h 348400"/>
                <a:gd name="connsiteX21" fmla="*/ 2636899 w 2663946"/>
                <a:gd name="connsiteY21" fmla="*/ 289457 h 348400"/>
                <a:gd name="connsiteX22" fmla="*/ 2632966 w 2663946"/>
                <a:gd name="connsiteY22" fmla="*/ 287294 h 348400"/>
                <a:gd name="connsiteX23" fmla="*/ 2627559 w 2663946"/>
                <a:gd name="connsiteY23" fmla="*/ 271341 h 348400"/>
                <a:gd name="connsiteX24" fmla="*/ 2639849 w 2663946"/>
                <a:gd name="connsiteY24" fmla="*/ 273504 h 348400"/>
                <a:gd name="connsiteX25" fmla="*/ 2647223 w 2663946"/>
                <a:gd name="connsiteY25" fmla="*/ 278101 h 348400"/>
                <a:gd name="connsiteX26" fmla="*/ 2650664 w 2663946"/>
                <a:gd name="connsiteY26" fmla="*/ 281345 h 348400"/>
                <a:gd name="connsiteX27" fmla="*/ 2654106 w 2663946"/>
                <a:gd name="connsiteY27" fmla="*/ 285671 h 348400"/>
                <a:gd name="connsiteX28" fmla="*/ 2656072 w 2663946"/>
                <a:gd name="connsiteY28" fmla="*/ 289186 h 348400"/>
                <a:gd name="connsiteX29" fmla="*/ 2658284 w 2663946"/>
                <a:gd name="connsiteY29" fmla="*/ 294594 h 348400"/>
                <a:gd name="connsiteX30" fmla="*/ 2659267 w 2663946"/>
                <a:gd name="connsiteY30" fmla="*/ 298109 h 348400"/>
                <a:gd name="connsiteX31" fmla="*/ 2660251 w 2663946"/>
                <a:gd name="connsiteY31" fmla="*/ 303246 h 348400"/>
                <a:gd name="connsiteX32" fmla="*/ 2660005 w 2663946"/>
                <a:gd name="connsiteY32" fmla="*/ 317576 h 348400"/>
                <a:gd name="connsiteX33" fmla="*/ 2659022 w 2663946"/>
                <a:gd name="connsiteY33" fmla="*/ 322443 h 348400"/>
                <a:gd name="connsiteX34" fmla="*/ 2657792 w 2663946"/>
                <a:gd name="connsiteY34" fmla="*/ 326228 h 348400"/>
                <a:gd name="connsiteX35" fmla="*/ 2656809 w 2663946"/>
                <a:gd name="connsiteY35" fmla="*/ 328662 h 348400"/>
                <a:gd name="connsiteX36" fmla="*/ 2654597 w 2663946"/>
                <a:gd name="connsiteY36" fmla="*/ 332988 h 348400"/>
                <a:gd name="connsiteX37" fmla="*/ 2652385 w 2663946"/>
                <a:gd name="connsiteY37" fmla="*/ 336232 h 348400"/>
                <a:gd name="connsiteX38" fmla="*/ 2648944 w 2663946"/>
                <a:gd name="connsiteY38" fmla="*/ 340018 h 348400"/>
                <a:gd name="connsiteX39" fmla="*/ 2645748 w 2663946"/>
                <a:gd name="connsiteY39" fmla="*/ 342721 h 348400"/>
                <a:gd name="connsiteX40" fmla="*/ 2640095 w 2663946"/>
                <a:gd name="connsiteY40" fmla="*/ 345966 h 348400"/>
                <a:gd name="connsiteX41" fmla="*/ 2632229 w 2663946"/>
                <a:gd name="connsiteY41" fmla="*/ 348129 h 348400"/>
                <a:gd name="connsiteX42" fmla="*/ 2631000 w 2663946"/>
                <a:gd name="connsiteY42" fmla="*/ 348400 h 348400"/>
                <a:gd name="connsiteX43" fmla="*/ 2626821 w 2663946"/>
                <a:gd name="connsiteY43" fmla="*/ 348400 h 348400"/>
                <a:gd name="connsiteX44" fmla="*/ 2626576 w 2663946"/>
                <a:gd name="connsiteY44" fmla="*/ 348400 h 348400"/>
                <a:gd name="connsiteX45" fmla="*/ 2613548 w 2663946"/>
                <a:gd name="connsiteY45" fmla="*/ 343533 h 348400"/>
                <a:gd name="connsiteX46" fmla="*/ 2608878 w 2663946"/>
                <a:gd name="connsiteY46" fmla="*/ 339477 h 348400"/>
                <a:gd name="connsiteX47" fmla="*/ 2605682 w 2663946"/>
                <a:gd name="connsiteY47" fmla="*/ 335692 h 348400"/>
                <a:gd name="connsiteX48" fmla="*/ 2603470 w 2663946"/>
                <a:gd name="connsiteY48" fmla="*/ 332177 h 348400"/>
                <a:gd name="connsiteX49" fmla="*/ 2601258 w 2663946"/>
                <a:gd name="connsiteY49" fmla="*/ 327851 h 348400"/>
                <a:gd name="connsiteX50" fmla="*/ 2600029 w 2663946"/>
                <a:gd name="connsiteY50" fmla="*/ 324876 h 348400"/>
                <a:gd name="connsiteX51" fmla="*/ 2599046 w 2663946"/>
                <a:gd name="connsiteY51" fmla="*/ 321632 h 348400"/>
                <a:gd name="connsiteX52" fmla="*/ 2597816 w 2663946"/>
                <a:gd name="connsiteY52" fmla="*/ 315954 h 348400"/>
                <a:gd name="connsiteX53" fmla="*/ 2597571 w 2663946"/>
                <a:gd name="connsiteY53" fmla="*/ 312980 h 348400"/>
                <a:gd name="connsiteX54" fmla="*/ 2597816 w 2663946"/>
                <a:gd name="connsiteY54" fmla="*/ 313250 h 348400"/>
                <a:gd name="connsiteX55" fmla="*/ 2597816 w 2663946"/>
                <a:gd name="connsiteY55" fmla="*/ 307572 h 348400"/>
                <a:gd name="connsiteX56" fmla="*/ 2597816 w 2663946"/>
                <a:gd name="connsiteY56" fmla="*/ 307302 h 348400"/>
                <a:gd name="connsiteX57" fmla="*/ 2598308 w 2663946"/>
                <a:gd name="connsiteY57" fmla="*/ 302705 h 348400"/>
                <a:gd name="connsiteX58" fmla="*/ 2599537 w 2663946"/>
                <a:gd name="connsiteY58" fmla="*/ 297298 h 348400"/>
                <a:gd name="connsiteX59" fmla="*/ 2600520 w 2663946"/>
                <a:gd name="connsiteY59" fmla="*/ 294053 h 348400"/>
                <a:gd name="connsiteX60" fmla="*/ 2602732 w 2663946"/>
                <a:gd name="connsiteY60" fmla="*/ 288916 h 348400"/>
                <a:gd name="connsiteX61" fmla="*/ 2604945 w 2663946"/>
                <a:gd name="connsiteY61" fmla="*/ 285131 h 348400"/>
                <a:gd name="connsiteX62" fmla="*/ 2607157 w 2663946"/>
                <a:gd name="connsiteY62" fmla="*/ 282156 h 348400"/>
                <a:gd name="connsiteX63" fmla="*/ 2609369 w 2663946"/>
                <a:gd name="connsiteY63" fmla="*/ 279723 h 348400"/>
                <a:gd name="connsiteX64" fmla="*/ 2614039 w 2663946"/>
                <a:gd name="connsiteY64" fmla="*/ 275938 h 348400"/>
                <a:gd name="connsiteX65" fmla="*/ 2617972 w 2663946"/>
                <a:gd name="connsiteY65" fmla="*/ 273775 h 348400"/>
                <a:gd name="connsiteX66" fmla="*/ 2627559 w 2663946"/>
                <a:gd name="connsiteY66" fmla="*/ 271341 h 348400"/>
                <a:gd name="connsiteX67" fmla="*/ 2631061 w 2663946"/>
                <a:gd name="connsiteY67" fmla="*/ 207431 h 348400"/>
                <a:gd name="connsiteX68" fmla="*/ 2621591 w 2663946"/>
                <a:gd name="connsiteY68" fmla="*/ 216705 h 348400"/>
                <a:gd name="connsiteX69" fmla="*/ 2626545 w 2663946"/>
                <a:gd name="connsiteY69" fmla="*/ 224862 h 348400"/>
                <a:gd name="connsiteX70" fmla="*/ 2626545 w 2663946"/>
                <a:gd name="connsiteY70" fmla="*/ 233257 h 348400"/>
                <a:gd name="connsiteX71" fmla="*/ 2631061 w 2663946"/>
                <a:gd name="connsiteY71" fmla="*/ 237680 h 348400"/>
                <a:gd name="connsiteX72" fmla="*/ 2635578 w 2663946"/>
                <a:gd name="connsiteY72" fmla="*/ 233257 h 348400"/>
                <a:gd name="connsiteX73" fmla="*/ 2635578 w 2663946"/>
                <a:gd name="connsiteY73" fmla="*/ 224862 h 348400"/>
                <a:gd name="connsiteX74" fmla="*/ 2640532 w 2663946"/>
                <a:gd name="connsiteY74" fmla="*/ 216705 h 348400"/>
                <a:gd name="connsiteX75" fmla="*/ 2631061 w 2663946"/>
                <a:gd name="connsiteY75" fmla="*/ 207431 h 348400"/>
                <a:gd name="connsiteX76" fmla="*/ 2630799 w 2663946"/>
                <a:gd name="connsiteY76" fmla="*/ 168714 h 348400"/>
                <a:gd name="connsiteX77" fmla="*/ 2619139 w 2663946"/>
                <a:gd name="connsiteY77" fmla="*/ 176443 h 348400"/>
                <a:gd name="connsiteX78" fmla="*/ 2618214 w 2663946"/>
                <a:gd name="connsiteY78" fmla="*/ 181026 h 348400"/>
                <a:gd name="connsiteX79" fmla="*/ 2621454 w 2663946"/>
                <a:gd name="connsiteY79" fmla="*/ 181026 h 348400"/>
                <a:gd name="connsiteX80" fmla="*/ 2639871 w 2663946"/>
                <a:gd name="connsiteY80" fmla="*/ 181026 h 348400"/>
                <a:gd name="connsiteX81" fmla="*/ 2643385 w 2663946"/>
                <a:gd name="connsiteY81" fmla="*/ 181026 h 348400"/>
                <a:gd name="connsiteX82" fmla="*/ 2642460 w 2663946"/>
                <a:gd name="connsiteY82" fmla="*/ 176443 h 348400"/>
                <a:gd name="connsiteX83" fmla="*/ 2630799 w 2663946"/>
                <a:gd name="connsiteY83" fmla="*/ 168714 h 348400"/>
                <a:gd name="connsiteX84" fmla="*/ 2630799 w 2663946"/>
                <a:gd name="connsiteY84" fmla="*/ 156059 h 348400"/>
                <a:gd name="connsiteX85" fmla="*/ 2655595 w 2663946"/>
                <a:gd name="connsiteY85" fmla="*/ 176268 h 348400"/>
                <a:gd name="connsiteX86" fmla="*/ 2656074 w 2663946"/>
                <a:gd name="connsiteY86" fmla="*/ 181026 h 348400"/>
                <a:gd name="connsiteX87" fmla="*/ 2657493 w 2663946"/>
                <a:gd name="connsiteY87" fmla="*/ 181026 h 348400"/>
                <a:gd name="connsiteX88" fmla="*/ 2663946 w 2663946"/>
                <a:gd name="connsiteY88" fmla="*/ 187312 h 348400"/>
                <a:gd name="connsiteX89" fmla="*/ 2663946 w 2663946"/>
                <a:gd name="connsiteY89" fmla="*/ 237034 h 348400"/>
                <a:gd name="connsiteX90" fmla="*/ 2657493 w 2663946"/>
                <a:gd name="connsiteY90" fmla="*/ 243320 h 348400"/>
                <a:gd name="connsiteX91" fmla="*/ 2604106 w 2663946"/>
                <a:gd name="connsiteY91" fmla="*/ 243320 h 348400"/>
                <a:gd name="connsiteX92" fmla="*/ 2597652 w 2663946"/>
                <a:gd name="connsiteY92" fmla="*/ 237034 h 348400"/>
                <a:gd name="connsiteX93" fmla="*/ 2597652 w 2663946"/>
                <a:gd name="connsiteY93" fmla="*/ 187312 h 348400"/>
                <a:gd name="connsiteX94" fmla="*/ 2604106 w 2663946"/>
                <a:gd name="connsiteY94" fmla="*/ 181026 h 348400"/>
                <a:gd name="connsiteX95" fmla="*/ 2604940 w 2663946"/>
                <a:gd name="connsiteY95" fmla="*/ 181026 h 348400"/>
                <a:gd name="connsiteX96" fmla="*/ 2605524 w 2663946"/>
                <a:gd name="connsiteY96" fmla="*/ 181026 h 348400"/>
                <a:gd name="connsiteX97" fmla="*/ 2606004 w 2663946"/>
                <a:gd name="connsiteY97" fmla="*/ 176268 h 348400"/>
                <a:gd name="connsiteX98" fmla="*/ 2630799 w 2663946"/>
                <a:gd name="connsiteY98" fmla="*/ 156059 h 348400"/>
                <a:gd name="connsiteX99" fmla="*/ 33409 w 2663946"/>
                <a:gd name="connsiteY99" fmla="*/ 103205 h 348400"/>
                <a:gd name="connsiteX100" fmla="*/ 23938 w 2663946"/>
                <a:gd name="connsiteY100" fmla="*/ 112479 h 348400"/>
                <a:gd name="connsiteX101" fmla="*/ 28892 w 2663946"/>
                <a:gd name="connsiteY101" fmla="*/ 120636 h 348400"/>
                <a:gd name="connsiteX102" fmla="*/ 28892 w 2663946"/>
                <a:gd name="connsiteY102" fmla="*/ 129031 h 348400"/>
                <a:gd name="connsiteX103" fmla="*/ 33409 w 2663946"/>
                <a:gd name="connsiteY103" fmla="*/ 133454 h 348400"/>
                <a:gd name="connsiteX104" fmla="*/ 37926 w 2663946"/>
                <a:gd name="connsiteY104" fmla="*/ 129031 h 348400"/>
                <a:gd name="connsiteX105" fmla="*/ 37926 w 2663946"/>
                <a:gd name="connsiteY105" fmla="*/ 120636 h 348400"/>
                <a:gd name="connsiteX106" fmla="*/ 42880 w 2663946"/>
                <a:gd name="connsiteY106" fmla="*/ 112479 h 348400"/>
                <a:gd name="connsiteX107" fmla="*/ 33409 w 2663946"/>
                <a:gd name="connsiteY107" fmla="*/ 103205 h 348400"/>
                <a:gd name="connsiteX108" fmla="*/ 2538193 w 2663946"/>
                <a:gd name="connsiteY108" fmla="*/ 95617 h 348400"/>
                <a:gd name="connsiteX109" fmla="*/ 2528723 w 2663946"/>
                <a:gd name="connsiteY109" fmla="*/ 104891 h 348400"/>
                <a:gd name="connsiteX110" fmla="*/ 2533677 w 2663946"/>
                <a:gd name="connsiteY110" fmla="*/ 113048 h 348400"/>
                <a:gd name="connsiteX111" fmla="*/ 2533677 w 2663946"/>
                <a:gd name="connsiteY111" fmla="*/ 121443 h 348400"/>
                <a:gd name="connsiteX112" fmla="*/ 2538193 w 2663946"/>
                <a:gd name="connsiteY112" fmla="*/ 125866 h 348400"/>
                <a:gd name="connsiteX113" fmla="*/ 2542710 w 2663946"/>
                <a:gd name="connsiteY113" fmla="*/ 121443 h 348400"/>
                <a:gd name="connsiteX114" fmla="*/ 2542710 w 2663946"/>
                <a:gd name="connsiteY114" fmla="*/ 113048 h 348400"/>
                <a:gd name="connsiteX115" fmla="*/ 2547664 w 2663946"/>
                <a:gd name="connsiteY115" fmla="*/ 104891 h 348400"/>
                <a:gd name="connsiteX116" fmla="*/ 2538193 w 2663946"/>
                <a:gd name="connsiteY116" fmla="*/ 95617 h 348400"/>
                <a:gd name="connsiteX117" fmla="*/ 2113196 w 2663946"/>
                <a:gd name="connsiteY117" fmla="*/ 95617 h 348400"/>
                <a:gd name="connsiteX118" fmla="*/ 2103726 w 2663946"/>
                <a:gd name="connsiteY118" fmla="*/ 104891 h 348400"/>
                <a:gd name="connsiteX119" fmla="*/ 2108680 w 2663946"/>
                <a:gd name="connsiteY119" fmla="*/ 113048 h 348400"/>
                <a:gd name="connsiteX120" fmla="*/ 2108680 w 2663946"/>
                <a:gd name="connsiteY120" fmla="*/ 121443 h 348400"/>
                <a:gd name="connsiteX121" fmla="*/ 2113196 w 2663946"/>
                <a:gd name="connsiteY121" fmla="*/ 125866 h 348400"/>
                <a:gd name="connsiteX122" fmla="*/ 2117713 w 2663946"/>
                <a:gd name="connsiteY122" fmla="*/ 121443 h 348400"/>
                <a:gd name="connsiteX123" fmla="*/ 2117713 w 2663946"/>
                <a:gd name="connsiteY123" fmla="*/ 113048 h 348400"/>
                <a:gd name="connsiteX124" fmla="*/ 2122667 w 2663946"/>
                <a:gd name="connsiteY124" fmla="*/ 104891 h 348400"/>
                <a:gd name="connsiteX125" fmla="*/ 2113196 w 2663946"/>
                <a:gd name="connsiteY125" fmla="*/ 95617 h 348400"/>
                <a:gd name="connsiteX126" fmla="*/ 1855228 w 2663946"/>
                <a:gd name="connsiteY126" fmla="*/ 95617 h 348400"/>
                <a:gd name="connsiteX127" fmla="*/ 1845758 w 2663946"/>
                <a:gd name="connsiteY127" fmla="*/ 104891 h 348400"/>
                <a:gd name="connsiteX128" fmla="*/ 1850712 w 2663946"/>
                <a:gd name="connsiteY128" fmla="*/ 113048 h 348400"/>
                <a:gd name="connsiteX129" fmla="*/ 1850712 w 2663946"/>
                <a:gd name="connsiteY129" fmla="*/ 121443 h 348400"/>
                <a:gd name="connsiteX130" fmla="*/ 1855228 w 2663946"/>
                <a:gd name="connsiteY130" fmla="*/ 125866 h 348400"/>
                <a:gd name="connsiteX131" fmla="*/ 1859745 w 2663946"/>
                <a:gd name="connsiteY131" fmla="*/ 121443 h 348400"/>
                <a:gd name="connsiteX132" fmla="*/ 1859745 w 2663946"/>
                <a:gd name="connsiteY132" fmla="*/ 113048 h 348400"/>
                <a:gd name="connsiteX133" fmla="*/ 1864699 w 2663946"/>
                <a:gd name="connsiteY133" fmla="*/ 104891 h 348400"/>
                <a:gd name="connsiteX134" fmla="*/ 1855228 w 2663946"/>
                <a:gd name="connsiteY134" fmla="*/ 95617 h 348400"/>
                <a:gd name="connsiteX135" fmla="*/ 1764289 w 2663946"/>
                <a:gd name="connsiteY135" fmla="*/ 95617 h 348400"/>
                <a:gd name="connsiteX136" fmla="*/ 1754819 w 2663946"/>
                <a:gd name="connsiteY136" fmla="*/ 104891 h 348400"/>
                <a:gd name="connsiteX137" fmla="*/ 1759773 w 2663946"/>
                <a:gd name="connsiteY137" fmla="*/ 113048 h 348400"/>
                <a:gd name="connsiteX138" fmla="*/ 1759773 w 2663946"/>
                <a:gd name="connsiteY138" fmla="*/ 121443 h 348400"/>
                <a:gd name="connsiteX139" fmla="*/ 1764289 w 2663946"/>
                <a:gd name="connsiteY139" fmla="*/ 125866 h 348400"/>
                <a:gd name="connsiteX140" fmla="*/ 1768806 w 2663946"/>
                <a:gd name="connsiteY140" fmla="*/ 121443 h 348400"/>
                <a:gd name="connsiteX141" fmla="*/ 1768806 w 2663946"/>
                <a:gd name="connsiteY141" fmla="*/ 113048 h 348400"/>
                <a:gd name="connsiteX142" fmla="*/ 1773760 w 2663946"/>
                <a:gd name="connsiteY142" fmla="*/ 104891 h 348400"/>
                <a:gd name="connsiteX143" fmla="*/ 1764289 w 2663946"/>
                <a:gd name="connsiteY143" fmla="*/ 95617 h 348400"/>
                <a:gd name="connsiteX144" fmla="*/ 1506321 w 2663946"/>
                <a:gd name="connsiteY144" fmla="*/ 95617 h 348400"/>
                <a:gd name="connsiteX145" fmla="*/ 1496851 w 2663946"/>
                <a:gd name="connsiteY145" fmla="*/ 104891 h 348400"/>
                <a:gd name="connsiteX146" fmla="*/ 1501805 w 2663946"/>
                <a:gd name="connsiteY146" fmla="*/ 113048 h 348400"/>
                <a:gd name="connsiteX147" fmla="*/ 1501805 w 2663946"/>
                <a:gd name="connsiteY147" fmla="*/ 121443 h 348400"/>
                <a:gd name="connsiteX148" fmla="*/ 1506321 w 2663946"/>
                <a:gd name="connsiteY148" fmla="*/ 125866 h 348400"/>
                <a:gd name="connsiteX149" fmla="*/ 1510838 w 2663946"/>
                <a:gd name="connsiteY149" fmla="*/ 121443 h 348400"/>
                <a:gd name="connsiteX150" fmla="*/ 1510838 w 2663946"/>
                <a:gd name="connsiteY150" fmla="*/ 113048 h 348400"/>
                <a:gd name="connsiteX151" fmla="*/ 1515792 w 2663946"/>
                <a:gd name="connsiteY151" fmla="*/ 104891 h 348400"/>
                <a:gd name="connsiteX152" fmla="*/ 1506321 w 2663946"/>
                <a:gd name="connsiteY152" fmla="*/ 95617 h 348400"/>
                <a:gd name="connsiteX153" fmla="*/ 1415382 w 2663946"/>
                <a:gd name="connsiteY153" fmla="*/ 95617 h 348400"/>
                <a:gd name="connsiteX154" fmla="*/ 1405912 w 2663946"/>
                <a:gd name="connsiteY154" fmla="*/ 104891 h 348400"/>
                <a:gd name="connsiteX155" fmla="*/ 1410866 w 2663946"/>
                <a:gd name="connsiteY155" fmla="*/ 113048 h 348400"/>
                <a:gd name="connsiteX156" fmla="*/ 1410866 w 2663946"/>
                <a:gd name="connsiteY156" fmla="*/ 121443 h 348400"/>
                <a:gd name="connsiteX157" fmla="*/ 1415382 w 2663946"/>
                <a:gd name="connsiteY157" fmla="*/ 125866 h 348400"/>
                <a:gd name="connsiteX158" fmla="*/ 1419899 w 2663946"/>
                <a:gd name="connsiteY158" fmla="*/ 121443 h 348400"/>
                <a:gd name="connsiteX159" fmla="*/ 1419899 w 2663946"/>
                <a:gd name="connsiteY159" fmla="*/ 113048 h 348400"/>
                <a:gd name="connsiteX160" fmla="*/ 1424853 w 2663946"/>
                <a:gd name="connsiteY160" fmla="*/ 104891 h 348400"/>
                <a:gd name="connsiteX161" fmla="*/ 1415382 w 2663946"/>
                <a:gd name="connsiteY161" fmla="*/ 95617 h 348400"/>
                <a:gd name="connsiteX162" fmla="*/ 1157414 w 2663946"/>
                <a:gd name="connsiteY162" fmla="*/ 95617 h 348400"/>
                <a:gd name="connsiteX163" fmla="*/ 1147944 w 2663946"/>
                <a:gd name="connsiteY163" fmla="*/ 104891 h 348400"/>
                <a:gd name="connsiteX164" fmla="*/ 1152898 w 2663946"/>
                <a:gd name="connsiteY164" fmla="*/ 113048 h 348400"/>
                <a:gd name="connsiteX165" fmla="*/ 1152898 w 2663946"/>
                <a:gd name="connsiteY165" fmla="*/ 121443 h 348400"/>
                <a:gd name="connsiteX166" fmla="*/ 1157414 w 2663946"/>
                <a:gd name="connsiteY166" fmla="*/ 125866 h 348400"/>
                <a:gd name="connsiteX167" fmla="*/ 1161931 w 2663946"/>
                <a:gd name="connsiteY167" fmla="*/ 121443 h 348400"/>
                <a:gd name="connsiteX168" fmla="*/ 1161931 w 2663946"/>
                <a:gd name="connsiteY168" fmla="*/ 113048 h 348400"/>
                <a:gd name="connsiteX169" fmla="*/ 1166885 w 2663946"/>
                <a:gd name="connsiteY169" fmla="*/ 104891 h 348400"/>
                <a:gd name="connsiteX170" fmla="*/ 1157414 w 2663946"/>
                <a:gd name="connsiteY170" fmla="*/ 95617 h 348400"/>
                <a:gd name="connsiteX171" fmla="*/ 732418 w 2663946"/>
                <a:gd name="connsiteY171" fmla="*/ 95617 h 348400"/>
                <a:gd name="connsiteX172" fmla="*/ 722947 w 2663946"/>
                <a:gd name="connsiteY172" fmla="*/ 104891 h 348400"/>
                <a:gd name="connsiteX173" fmla="*/ 727901 w 2663946"/>
                <a:gd name="connsiteY173" fmla="*/ 113048 h 348400"/>
                <a:gd name="connsiteX174" fmla="*/ 727901 w 2663946"/>
                <a:gd name="connsiteY174" fmla="*/ 121443 h 348400"/>
                <a:gd name="connsiteX175" fmla="*/ 732418 w 2663946"/>
                <a:gd name="connsiteY175" fmla="*/ 125866 h 348400"/>
                <a:gd name="connsiteX176" fmla="*/ 736935 w 2663946"/>
                <a:gd name="connsiteY176" fmla="*/ 121443 h 348400"/>
                <a:gd name="connsiteX177" fmla="*/ 736935 w 2663946"/>
                <a:gd name="connsiteY177" fmla="*/ 113048 h 348400"/>
                <a:gd name="connsiteX178" fmla="*/ 741889 w 2663946"/>
                <a:gd name="connsiteY178" fmla="*/ 104891 h 348400"/>
                <a:gd name="connsiteX179" fmla="*/ 732418 w 2663946"/>
                <a:gd name="connsiteY179" fmla="*/ 95617 h 348400"/>
                <a:gd name="connsiteX180" fmla="*/ 641479 w 2663946"/>
                <a:gd name="connsiteY180" fmla="*/ 95617 h 348400"/>
                <a:gd name="connsiteX181" fmla="*/ 632008 w 2663946"/>
                <a:gd name="connsiteY181" fmla="*/ 104891 h 348400"/>
                <a:gd name="connsiteX182" fmla="*/ 636962 w 2663946"/>
                <a:gd name="connsiteY182" fmla="*/ 113048 h 348400"/>
                <a:gd name="connsiteX183" fmla="*/ 636962 w 2663946"/>
                <a:gd name="connsiteY183" fmla="*/ 121443 h 348400"/>
                <a:gd name="connsiteX184" fmla="*/ 641479 w 2663946"/>
                <a:gd name="connsiteY184" fmla="*/ 125866 h 348400"/>
                <a:gd name="connsiteX185" fmla="*/ 645996 w 2663946"/>
                <a:gd name="connsiteY185" fmla="*/ 121443 h 348400"/>
                <a:gd name="connsiteX186" fmla="*/ 645996 w 2663946"/>
                <a:gd name="connsiteY186" fmla="*/ 113048 h 348400"/>
                <a:gd name="connsiteX187" fmla="*/ 650950 w 2663946"/>
                <a:gd name="connsiteY187" fmla="*/ 104891 h 348400"/>
                <a:gd name="connsiteX188" fmla="*/ 641479 w 2663946"/>
                <a:gd name="connsiteY188" fmla="*/ 95617 h 348400"/>
                <a:gd name="connsiteX189" fmla="*/ 459528 w 2663946"/>
                <a:gd name="connsiteY189" fmla="*/ 95617 h 348400"/>
                <a:gd name="connsiteX190" fmla="*/ 450057 w 2663946"/>
                <a:gd name="connsiteY190" fmla="*/ 104891 h 348400"/>
                <a:gd name="connsiteX191" fmla="*/ 455011 w 2663946"/>
                <a:gd name="connsiteY191" fmla="*/ 113048 h 348400"/>
                <a:gd name="connsiteX192" fmla="*/ 455011 w 2663946"/>
                <a:gd name="connsiteY192" fmla="*/ 121443 h 348400"/>
                <a:gd name="connsiteX193" fmla="*/ 459528 w 2663946"/>
                <a:gd name="connsiteY193" fmla="*/ 125866 h 348400"/>
                <a:gd name="connsiteX194" fmla="*/ 464045 w 2663946"/>
                <a:gd name="connsiteY194" fmla="*/ 121443 h 348400"/>
                <a:gd name="connsiteX195" fmla="*/ 464045 w 2663946"/>
                <a:gd name="connsiteY195" fmla="*/ 113048 h 348400"/>
                <a:gd name="connsiteX196" fmla="*/ 468999 w 2663946"/>
                <a:gd name="connsiteY196" fmla="*/ 104891 h 348400"/>
                <a:gd name="connsiteX197" fmla="*/ 459528 w 2663946"/>
                <a:gd name="connsiteY197" fmla="*/ 95617 h 348400"/>
                <a:gd name="connsiteX198" fmla="*/ 2632966 w 2663946"/>
                <a:gd name="connsiteY198" fmla="*/ 68424 h 348400"/>
                <a:gd name="connsiteX199" fmla="*/ 2621414 w 2663946"/>
                <a:gd name="connsiteY199" fmla="*/ 70857 h 348400"/>
                <a:gd name="connsiteX200" fmla="*/ 2618218 w 2663946"/>
                <a:gd name="connsiteY200" fmla="*/ 74372 h 348400"/>
                <a:gd name="connsiteX201" fmla="*/ 2616006 w 2663946"/>
                <a:gd name="connsiteY201" fmla="*/ 78157 h 348400"/>
                <a:gd name="connsiteX202" fmla="*/ 2615023 w 2663946"/>
                <a:gd name="connsiteY202" fmla="*/ 80861 h 348400"/>
                <a:gd name="connsiteX203" fmla="*/ 2614039 w 2663946"/>
                <a:gd name="connsiteY203" fmla="*/ 84917 h 348400"/>
                <a:gd name="connsiteX204" fmla="*/ 2613056 w 2663946"/>
                <a:gd name="connsiteY204" fmla="*/ 91947 h 348400"/>
                <a:gd name="connsiteX205" fmla="*/ 2614039 w 2663946"/>
                <a:gd name="connsiteY205" fmla="*/ 99247 h 348400"/>
                <a:gd name="connsiteX206" fmla="*/ 2615269 w 2663946"/>
                <a:gd name="connsiteY206" fmla="*/ 103032 h 348400"/>
                <a:gd name="connsiteX207" fmla="*/ 2617481 w 2663946"/>
                <a:gd name="connsiteY207" fmla="*/ 107358 h 348400"/>
                <a:gd name="connsiteX208" fmla="*/ 2620922 w 2663946"/>
                <a:gd name="connsiteY208" fmla="*/ 111685 h 348400"/>
                <a:gd name="connsiteX209" fmla="*/ 2625346 w 2663946"/>
                <a:gd name="connsiteY209" fmla="*/ 114388 h 348400"/>
                <a:gd name="connsiteX210" fmla="*/ 2637637 w 2663946"/>
                <a:gd name="connsiteY210" fmla="*/ 111955 h 348400"/>
                <a:gd name="connsiteX211" fmla="*/ 2640832 w 2663946"/>
                <a:gd name="connsiteY211" fmla="*/ 108440 h 348400"/>
                <a:gd name="connsiteX212" fmla="*/ 2643290 w 2663946"/>
                <a:gd name="connsiteY212" fmla="*/ 104114 h 348400"/>
                <a:gd name="connsiteX213" fmla="*/ 2644273 w 2663946"/>
                <a:gd name="connsiteY213" fmla="*/ 101951 h 348400"/>
                <a:gd name="connsiteX214" fmla="*/ 2645502 w 2663946"/>
                <a:gd name="connsiteY214" fmla="*/ 97625 h 348400"/>
                <a:gd name="connsiteX215" fmla="*/ 2645011 w 2663946"/>
                <a:gd name="connsiteY215" fmla="*/ 83835 h 348400"/>
                <a:gd name="connsiteX216" fmla="*/ 2644027 w 2663946"/>
                <a:gd name="connsiteY216" fmla="*/ 80861 h 348400"/>
                <a:gd name="connsiteX217" fmla="*/ 2642799 w 2663946"/>
                <a:gd name="connsiteY217" fmla="*/ 77887 h 348400"/>
                <a:gd name="connsiteX218" fmla="*/ 2640586 w 2663946"/>
                <a:gd name="connsiteY218" fmla="*/ 74372 h 348400"/>
                <a:gd name="connsiteX219" fmla="*/ 2636899 w 2663946"/>
                <a:gd name="connsiteY219" fmla="*/ 70587 h 348400"/>
                <a:gd name="connsiteX220" fmla="*/ 2632966 w 2663946"/>
                <a:gd name="connsiteY220" fmla="*/ 68424 h 348400"/>
                <a:gd name="connsiteX221" fmla="*/ 2451011 w 2663946"/>
                <a:gd name="connsiteY221" fmla="*/ 68424 h 348400"/>
                <a:gd name="connsiteX222" fmla="*/ 2439459 w 2663946"/>
                <a:gd name="connsiteY222" fmla="*/ 70857 h 348400"/>
                <a:gd name="connsiteX223" fmla="*/ 2436263 w 2663946"/>
                <a:gd name="connsiteY223" fmla="*/ 74372 h 348400"/>
                <a:gd name="connsiteX224" fmla="*/ 2434051 w 2663946"/>
                <a:gd name="connsiteY224" fmla="*/ 78157 h 348400"/>
                <a:gd name="connsiteX225" fmla="*/ 2433068 w 2663946"/>
                <a:gd name="connsiteY225" fmla="*/ 80861 h 348400"/>
                <a:gd name="connsiteX226" fmla="*/ 2432084 w 2663946"/>
                <a:gd name="connsiteY226" fmla="*/ 84917 h 348400"/>
                <a:gd name="connsiteX227" fmla="*/ 2431101 w 2663946"/>
                <a:gd name="connsiteY227" fmla="*/ 91947 h 348400"/>
                <a:gd name="connsiteX228" fmla="*/ 2432084 w 2663946"/>
                <a:gd name="connsiteY228" fmla="*/ 99247 h 348400"/>
                <a:gd name="connsiteX229" fmla="*/ 2433314 w 2663946"/>
                <a:gd name="connsiteY229" fmla="*/ 103032 h 348400"/>
                <a:gd name="connsiteX230" fmla="*/ 2435526 w 2663946"/>
                <a:gd name="connsiteY230" fmla="*/ 107358 h 348400"/>
                <a:gd name="connsiteX231" fmla="*/ 2438967 w 2663946"/>
                <a:gd name="connsiteY231" fmla="*/ 111685 h 348400"/>
                <a:gd name="connsiteX232" fmla="*/ 2443391 w 2663946"/>
                <a:gd name="connsiteY232" fmla="*/ 114388 h 348400"/>
                <a:gd name="connsiteX233" fmla="*/ 2455682 w 2663946"/>
                <a:gd name="connsiteY233" fmla="*/ 111955 h 348400"/>
                <a:gd name="connsiteX234" fmla="*/ 2458877 w 2663946"/>
                <a:gd name="connsiteY234" fmla="*/ 108440 h 348400"/>
                <a:gd name="connsiteX235" fmla="*/ 2461335 w 2663946"/>
                <a:gd name="connsiteY235" fmla="*/ 104114 h 348400"/>
                <a:gd name="connsiteX236" fmla="*/ 2462318 w 2663946"/>
                <a:gd name="connsiteY236" fmla="*/ 101951 h 348400"/>
                <a:gd name="connsiteX237" fmla="*/ 2463547 w 2663946"/>
                <a:gd name="connsiteY237" fmla="*/ 97625 h 348400"/>
                <a:gd name="connsiteX238" fmla="*/ 2463056 w 2663946"/>
                <a:gd name="connsiteY238" fmla="*/ 83835 h 348400"/>
                <a:gd name="connsiteX239" fmla="*/ 2462072 w 2663946"/>
                <a:gd name="connsiteY239" fmla="*/ 80861 h 348400"/>
                <a:gd name="connsiteX240" fmla="*/ 2460844 w 2663946"/>
                <a:gd name="connsiteY240" fmla="*/ 77887 h 348400"/>
                <a:gd name="connsiteX241" fmla="*/ 2458631 w 2663946"/>
                <a:gd name="connsiteY241" fmla="*/ 74372 h 348400"/>
                <a:gd name="connsiteX242" fmla="*/ 2454944 w 2663946"/>
                <a:gd name="connsiteY242" fmla="*/ 70587 h 348400"/>
                <a:gd name="connsiteX243" fmla="*/ 2451011 w 2663946"/>
                <a:gd name="connsiteY243" fmla="*/ 68424 h 348400"/>
                <a:gd name="connsiteX244" fmla="*/ 2207965 w 2663946"/>
                <a:gd name="connsiteY244" fmla="*/ 68424 h 348400"/>
                <a:gd name="connsiteX245" fmla="*/ 2196413 w 2663946"/>
                <a:gd name="connsiteY245" fmla="*/ 70857 h 348400"/>
                <a:gd name="connsiteX246" fmla="*/ 2193217 w 2663946"/>
                <a:gd name="connsiteY246" fmla="*/ 74372 h 348400"/>
                <a:gd name="connsiteX247" fmla="*/ 2191005 w 2663946"/>
                <a:gd name="connsiteY247" fmla="*/ 78157 h 348400"/>
                <a:gd name="connsiteX248" fmla="*/ 2190022 w 2663946"/>
                <a:gd name="connsiteY248" fmla="*/ 80861 h 348400"/>
                <a:gd name="connsiteX249" fmla="*/ 2189038 w 2663946"/>
                <a:gd name="connsiteY249" fmla="*/ 84917 h 348400"/>
                <a:gd name="connsiteX250" fmla="*/ 2188055 w 2663946"/>
                <a:gd name="connsiteY250" fmla="*/ 91947 h 348400"/>
                <a:gd name="connsiteX251" fmla="*/ 2189038 w 2663946"/>
                <a:gd name="connsiteY251" fmla="*/ 99247 h 348400"/>
                <a:gd name="connsiteX252" fmla="*/ 2190268 w 2663946"/>
                <a:gd name="connsiteY252" fmla="*/ 103032 h 348400"/>
                <a:gd name="connsiteX253" fmla="*/ 2192480 w 2663946"/>
                <a:gd name="connsiteY253" fmla="*/ 107358 h 348400"/>
                <a:gd name="connsiteX254" fmla="*/ 2195921 w 2663946"/>
                <a:gd name="connsiteY254" fmla="*/ 111685 h 348400"/>
                <a:gd name="connsiteX255" fmla="*/ 2200345 w 2663946"/>
                <a:gd name="connsiteY255" fmla="*/ 114388 h 348400"/>
                <a:gd name="connsiteX256" fmla="*/ 2212636 w 2663946"/>
                <a:gd name="connsiteY256" fmla="*/ 111955 h 348400"/>
                <a:gd name="connsiteX257" fmla="*/ 2215831 w 2663946"/>
                <a:gd name="connsiteY257" fmla="*/ 108440 h 348400"/>
                <a:gd name="connsiteX258" fmla="*/ 2218289 w 2663946"/>
                <a:gd name="connsiteY258" fmla="*/ 104114 h 348400"/>
                <a:gd name="connsiteX259" fmla="*/ 2219272 w 2663946"/>
                <a:gd name="connsiteY259" fmla="*/ 101951 h 348400"/>
                <a:gd name="connsiteX260" fmla="*/ 2220501 w 2663946"/>
                <a:gd name="connsiteY260" fmla="*/ 97625 h 348400"/>
                <a:gd name="connsiteX261" fmla="*/ 2220010 w 2663946"/>
                <a:gd name="connsiteY261" fmla="*/ 83835 h 348400"/>
                <a:gd name="connsiteX262" fmla="*/ 2219026 w 2663946"/>
                <a:gd name="connsiteY262" fmla="*/ 80861 h 348400"/>
                <a:gd name="connsiteX263" fmla="*/ 2217798 w 2663946"/>
                <a:gd name="connsiteY263" fmla="*/ 77887 h 348400"/>
                <a:gd name="connsiteX264" fmla="*/ 2215585 w 2663946"/>
                <a:gd name="connsiteY264" fmla="*/ 74372 h 348400"/>
                <a:gd name="connsiteX265" fmla="*/ 2211898 w 2663946"/>
                <a:gd name="connsiteY265" fmla="*/ 70587 h 348400"/>
                <a:gd name="connsiteX266" fmla="*/ 2207965 w 2663946"/>
                <a:gd name="connsiteY266" fmla="*/ 68424 h 348400"/>
                <a:gd name="connsiteX267" fmla="*/ 2026014 w 2663946"/>
                <a:gd name="connsiteY267" fmla="*/ 68424 h 348400"/>
                <a:gd name="connsiteX268" fmla="*/ 2014462 w 2663946"/>
                <a:gd name="connsiteY268" fmla="*/ 70857 h 348400"/>
                <a:gd name="connsiteX269" fmla="*/ 2011266 w 2663946"/>
                <a:gd name="connsiteY269" fmla="*/ 74372 h 348400"/>
                <a:gd name="connsiteX270" fmla="*/ 2009054 w 2663946"/>
                <a:gd name="connsiteY270" fmla="*/ 78157 h 348400"/>
                <a:gd name="connsiteX271" fmla="*/ 2008071 w 2663946"/>
                <a:gd name="connsiteY271" fmla="*/ 80861 h 348400"/>
                <a:gd name="connsiteX272" fmla="*/ 2007087 w 2663946"/>
                <a:gd name="connsiteY272" fmla="*/ 84917 h 348400"/>
                <a:gd name="connsiteX273" fmla="*/ 2006104 w 2663946"/>
                <a:gd name="connsiteY273" fmla="*/ 91947 h 348400"/>
                <a:gd name="connsiteX274" fmla="*/ 2007087 w 2663946"/>
                <a:gd name="connsiteY274" fmla="*/ 99247 h 348400"/>
                <a:gd name="connsiteX275" fmla="*/ 2008317 w 2663946"/>
                <a:gd name="connsiteY275" fmla="*/ 103032 h 348400"/>
                <a:gd name="connsiteX276" fmla="*/ 2010529 w 2663946"/>
                <a:gd name="connsiteY276" fmla="*/ 107358 h 348400"/>
                <a:gd name="connsiteX277" fmla="*/ 2013970 w 2663946"/>
                <a:gd name="connsiteY277" fmla="*/ 111685 h 348400"/>
                <a:gd name="connsiteX278" fmla="*/ 2018394 w 2663946"/>
                <a:gd name="connsiteY278" fmla="*/ 114388 h 348400"/>
                <a:gd name="connsiteX279" fmla="*/ 2030685 w 2663946"/>
                <a:gd name="connsiteY279" fmla="*/ 111955 h 348400"/>
                <a:gd name="connsiteX280" fmla="*/ 2033880 w 2663946"/>
                <a:gd name="connsiteY280" fmla="*/ 108440 h 348400"/>
                <a:gd name="connsiteX281" fmla="*/ 2036338 w 2663946"/>
                <a:gd name="connsiteY281" fmla="*/ 104114 h 348400"/>
                <a:gd name="connsiteX282" fmla="*/ 2037321 w 2663946"/>
                <a:gd name="connsiteY282" fmla="*/ 101951 h 348400"/>
                <a:gd name="connsiteX283" fmla="*/ 2038550 w 2663946"/>
                <a:gd name="connsiteY283" fmla="*/ 97625 h 348400"/>
                <a:gd name="connsiteX284" fmla="*/ 2038059 w 2663946"/>
                <a:gd name="connsiteY284" fmla="*/ 83835 h 348400"/>
                <a:gd name="connsiteX285" fmla="*/ 2037075 w 2663946"/>
                <a:gd name="connsiteY285" fmla="*/ 80861 h 348400"/>
                <a:gd name="connsiteX286" fmla="*/ 2035847 w 2663946"/>
                <a:gd name="connsiteY286" fmla="*/ 77887 h 348400"/>
                <a:gd name="connsiteX287" fmla="*/ 2033634 w 2663946"/>
                <a:gd name="connsiteY287" fmla="*/ 74372 h 348400"/>
                <a:gd name="connsiteX288" fmla="*/ 2029947 w 2663946"/>
                <a:gd name="connsiteY288" fmla="*/ 70587 h 348400"/>
                <a:gd name="connsiteX289" fmla="*/ 2026014 w 2663946"/>
                <a:gd name="connsiteY289" fmla="*/ 68424 h 348400"/>
                <a:gd name="connsiteX290" fmla="*/ 1601090 w 2663946"/>
                <a:gd name="connsiteY290" fmla="*/ 68424 h 348400"/>
                <a:gd name="connsiteX291" fmla="*/ 1589537 w 2663946"/>
                <a:gd name="connsiteY291" fmla="*/ 70857 h 348400"/>
                <a:gd name="connsiteX292" fmla="*/ 1586342 w 2663946"/>
                <a:gd name="connsiteY292" fmla="*/ 74372 h 348400"/>
                <a:gd name="connsiteX293" fmla="*/ 1584130 w 2663946"/>
                <a:gd name="connsiteY293" fmla="*/ 78157 h 348400"/>
                <a:gd name="connsiteX294" fmla="*/ 1583147 w 2663946"/>
                <a:gd name="connsiteY294" fmla="*/ 80861 h 348400"/>
                <a:gd name="connsiteX295" fmla="*/ 1582163 w 2663946"/>
                <a:gd name="connsiteY295" fmla="*/ 84917 h 348400"/>
                <a:gd name="connsiteX296" fmla="*/ 1581180 w 2663946"/>
                <a:gd name="connsiteY296" fmla="*/ 91947 h 348400"/>
                <a:gd name="connsiteX297" fmla="*/ 1582163 w 2663946"/>
                <a:gd name="connsiteY297" fmla="*/ 99247 h 348400"/>
                <a:gd name="connsiteX298" fmla="*/ 1583393 w 2663946"/>
                <a:gd name="connsiteY298" fmla="*/ 103032 h 348400"/>
                <a:gd name="connsiteX299" fmla="*/ 1585605 w 2663946"/>
                <a:gd name="connsiteY299" fmla="*/ 107358 h 348400"/>
                <a:gd name="connsiteX300" fmla="*/ 1589046 w 2663946"/>
                <a:gd name="connsiteY300" fmla="*/ 111685 h 348400"/>
                <a:gd name="connsiteX301" fmla="*/ 1593470 w 2663946"/>
                <a:gd name="connsiteY301" fmla="*/ 114388 h 348400"/>
                <a:gd name="connsiteX302" fmla="*/ 1605761 w 2663946"/>
                <a:gd name="connsiteY302" fmla="*/ 111955 h 348400"/>
                <a:gd name="connsiteX303" fmla="*/ 1608956 w 2663946"/>
                <a:gd name="connsiteY303" fmla="*/ 108440 h 348400"/>
                <a:gd name="connsiteX304" fmla="*/ 1611414 w 2663946"/>
                <a:gd name="connsiteY304" fmla="*/ 104114 h 348400"/>
                <a:gd name="connsiteX305" fmla="*/ 1612397 w 2663946"/>
                <a:gd name="connsiteY305" fmla="*/ 101951 h 348400"/>
                <a:gd name="connsiteX306" fmla="*/ 1613626 w 2663946"/>
                <a:gd name="connsiteY306" fmla="*/ 97625 h 348400"/>
                <a:gd name="connsiteX307" fmla="*/ 1613135 w 2663946"/>
                <a:gd name="connsiteY307" fmla="*/ 83835 h 348400"/>
                <a:gd name="connsiteX308" fmla="*/ 1612151 w 2663946"/>
                <a:gd name="connsiteY308" fmla="*/ 80861 h 348400"/>
                <a:gd name="connsiteX309" fmla="*/ 1610923 w 2663946"/>
                <a:gd name="connsiteY309" fmla="*/ 77887 h 348400"/>
                <a:gd name="connsiteX310" fmla="*/ 1608710 w 2663946"/>
                <a:gd name="connsiteY310" fmla="*/ 74372 h 348400"/>
                <a:gd name="connsiteX311" fmla="*/ 1605023 w 2663946"/>
                <a:gd name="connsiteY311" fmla="*/ 70587 h 348400"/>
                <a:gd name="connsiteX312" fmla="*/ 1601090 w 2663946"/>
                <a:gd name="connsiteY312" fmla="*/ 68424 h 348400"/>
                <a:gd name="connsiteX313" fmla="*/ 1252183 w 2663946"/>
                <a:gd name="connsiteY313" fmla="*/ 68424 h 348400"/>
                <a:gd name="connsiteX314" fmla="*/ 1240630 w 2663946"/>
                <a:gd name="connsiteY314" fmla="*/ 70857 h 348400"/>
                <a:gd name="connsiteX315" fmla="*/ 1237435 w 2663946"/>
                <a:gd name="connsiteY315" fmla="*/ 74372 h 348400"/>
                <a:gd name="connsiteX316" fmla="*/ 1235223 w 2663946"/>
                <a:gd name="connsiteY316" fmla="*/ 78157 h 348400"/>
                <a:gd name="connsiteX317" fmla="*/ 1234240 w 2663946"/>
                <a:gd name="connsiteY317" fmla="*/ 80861 h 348400"/>
                <a:gd name="connsiteX318" fmla="*/ 1233256 w 2663946"/>
                <a:gd name="connsiteY318" fmla="*/ 84917 h 348400"/>
                <a:gd name="connsiteX319" fmla="*/ 1232273 w 2663946"/>
                <a:gd name="connsiteY319" fmla="*/ 91947 h 348400"/>
                <a:gd name="connsiteX320" fmla="*/ 1233256 w 2663946"/>
                <a:gd name="connsiteY320" fmla="*/ 99247 h 348400"/>
                <a:gd name="connsiteX321" fmla="*/ 1234486 w 2663946"/>
                <a:gd name="connsiteY321" fmla="*/ 103032 h 348400"/>
                <a:gd name="connsiteX322" fmla="*/ 1236698 w 2663946"/>
                <a:gd name="connsiteY322" fmla="*/ 107358 h 348400"/>
                <a:gd name="connsiteX323" fmla="*/ 1240139 w 2663946"/>
                <a:gd name="connsiteY323" fmla="*/ 111685 h 348400"/>
                <a:gd name="connsiteX324" fmla="*/ 1244563 w 2663946"/>
                <a:gd name="connsiteY324" fmla="*/ 114388 h 348400"/>
                <a:gd name="connsiteX325" fmla="*/ 1256854 w 2663946"/>
                <a:gd name="connsiteY325" fmla="*/ 111955 h 348400"/>
                <a:gd name="connsiteX326" fmla="*/ 1260049 w 2663946"/>
                <a:gd name="connsiteY326" fmla="*/ 108440 h 348400"/>
                <a:gd name="connsiteX327" fmla="*/ 1262507 w 2663946"/>
                <a:gd name="connsiteY327" fmla="*/ 104114 h 348400"/>
                <a:gd name="connsiteX328" fmla="*/ 1263490 w 2663946"/>
                <a:gd name="connsiteY328" fmla="*/ 101951 h 348400"/>
                <a:gd name="connsiteX329" fmla="*/ 1264719 w 2663946"/>
                <a:gd name="connsiteY329" fmla="*/ 97625 h 348400"/>
                <a:gd name="connsiteX330" fmla="*/ 1264228 w 2663946"/>
                <a:gd name="connsiteY330" fmla="*/ 83835 h 348400"/>
                <a:gd name="connsiteX331" fmla="*/ 1263244 w 2663946"/>
                <a:gd name="connsiteY331" fmla="*/ 80861 h 348400"/>
                <a:gd name="connsiteX332" fmla="*/ 1262016 w 2663946"/>
                <a:gd name="connsiteY332" fmla="*/ 77887 h 348400"/>
                <a:gd name="connsiteX333" fmla="*/ 1259803 w 2663946"/>
                <a:gd name="connsiteY333" fmla="*/ 74372 h 348400"/>
                <a:gd name="connsiteX334" fmla="*/ 1256116 w 2663946"/>
                <a:gd name="connsiteY334" fmla="*/ 70587 h 348400"/>
                <a:gd name="connsiteX335" fmla="*/ 1252183 w 2663946"/>
                <a:gd name="connsiteY335" fmla="*/ 68424 h 348400"/>
                <a:gd name="connsiteX336" fmla="*/ 1070232 w 2663946"/>
                <a:gd name="connsiteY336" fmla="*/ 68424 h 348400"/>
                <a:gd name="connsiteX337" fmla="*/ 1058679 w 2663946"/>
                <a:gd name="connsiteY337" fmla="*/ 70857 h 348400"/>
                <a:gd name="connsiteX338" fmla="*/ 1055484 w 2663946"/>
                <a:gd name="connsiteY338" fmla="*/ 74372 h 348400"/>
                <a:gd name="connsiteX339" fmla="*/ 1053272 w 2663946"/>
                <a:gd name="connsiteY339" fmla="*/ 78157 h 348400"/>
                <a:gd name="connsiteX340" fmla="*/ 1052289 w 2663946"/>
                <a:gd name="connsiteY340" fmla="*/ 80861 h 348400"/>
                <a:gd name="connsiteX341" fmla="*/ 1051305 w 2663946"/>
                <a:gd name="connsiteY341" fmla="*/ 84917 h 348400"/>
                <a:gd name="connsiteX342" fmla="*/ 1050322 w 2663946"/>
                <a:gd name="connsiteY342" fmla="*/ 91947 h 348400"/>
                <a:gd name="connsiteX343" fmla="*/ 1051305 w 2663946"/>
                <a:gd name="connsiteY343" fmla="*/ 99247 h 348400"/>
                <a:gd name="connsiteX344" fmla="*/ 1052535 w 2663946"/>
                <a:gd name="connsiteY344" fmla="*/ 103032 h 348400"/>
                <a:gd name="connsiteX345" fmla="*/ 1054747 w 2663946"/>
                <a:gd name="connsiteY345" fmla="*/ 107358 h 348400"/>
                <a:gd name="connsiteX346" fmla="*/ 1058188 w 2663946"/>
                <a:gd name="connsiteY346" fmla="*/ 111685 h 348400"/>
                <a:gd name="connsiteX347" fmla="*/ 1062612 w 2663946"/>
                <a:gd name="connsiteY347" fmla="*/ 114388 h 348400"/>
                <a:gd name="connsiteX348" fmla="*/ 1074903 w 2663946"/>
                <a:gd name="connsiteY348" fmla="*/ 111955 h 348400"/>
                <a:gd name="connsiteX349" fmla="*/ 1078098 w 2663946"/>
                <a:gd name="connsiteY349" fmla="*/ 108440 h 348400"/>
                <a:gd name="connsiteX350" fmla="*/ 1080556 w 2663946"/>
                <a:gd name="connsiteY350" fmla="*/ 104114 h 348400"/>
                <a:gd name="connsiteX351" fmla="*/ 1081539 w 2663946"/>
                <a:gd name="connsiteY351" fmla="*/ 101951 h 348400"/>
                <a:gd name="connsiteX352" fmla="*/ 1082768 w 2663946"/>
                <a:gd name="connsiteY352" fmla="*/ 97625 h 348400"/>
                <a:gd name="connsiteX353" fmla="*/ 1082277 w 2663946"/>
                <a:gd name="connsiteY353" fmla="*/ 83835 h 348400"/>
                <a:gd name="connsiteX354" fmla="*/ 1081293 w 2663946"/>
                <a:gd name="connsiteY354" fmla="*/ 80861 h 348400"/>
                <a:gd name="connsiteX355" fmla="*/ 1080065 w 2663946"/>
                <a:gd name="connsiteY355" fmla="*/ 77887 h 348400"/>
                <a:gd name="connsiteX356" fmla="*/ 1077852 w 2663946"/>
                <a:gd name="connsiteY356" fmla="*/ 74372 h 348400"/>
                <a:gd name="connsiteX357" fmla="*/ 1074165 w 2663946"/>
                <a:gd name="connsiteY357" fmla="*/ 70587 h 348400"/>
                <a:gd name="connsiteX358" fmla="*/ 1070232 w 2663946"/>
                <a:gd name="connsiteY358" fmla="*/ 68424 h 348400"/>
                <a:gd name="connsiteX359" fmla="*/ 903203 w 2663946"/>
                <a:gd name="connsiteY359" fmla="*/ 68424 h 348400"/>
                <a:gd name="connsiteX360" fmla="*/ 891650 w 2663946"/>
                <a:gd name="connsiteY360" fmla="*/ 70857 h 348400"/>
                <a:gd name="connsiteX361" fmla="*/ 888455 w 2663946"/>
                <a:gd name="connsiteY361" fmla="*/ 74372 h 348400"/>
                <a:gd name="connsiteX362" fmla="*/ 886243 w 2663946"/>
                <a:gd name="connsiteY362" fmla="*/ 78157 h 348400"/>
                <a:gd name="connsiteX363" fmla="*/ 885260 w 2663946"/>
                <a:gd name="connsiteY363" fmla="*/ 80861 h 348400"/>
                <a:gd name="connsiteX364" fmla="*/ 884276 w 2663946"/>
                <a:gd name="connsiteY364" fmla="*/ 84917 h 348400"/>
                <a:gd name="connsiteX365" fmla="*/ 883293 w 2663946"/>
                <a:gd name="connsiteY365" fmla="*/ 91947 h 348400"/>
                <a:gd name="connsiteX366" fmla="*/ 884276 w 2663946"/>
                <a:gd name="connsiteY366" fmla="*/ 99247 h 348400"/>
                <a:gd name="connsiteX367" fmla="*/ 885506 w 2663946"/>
                <a:gd name="connsiteY367" fmla="*/ 103032 h 348400"/>
                <a:gd name="connsiteX368" fmla="*/ 887718 w 2663946"/>
                <a:gd name="connsiteY368" fmla="*/ 107358 h 348400"/>
                <a:gd name="connsiteX369" fmla="*/ 891159 w 2663946"/>
                <a:gd name="connsiteY369" fmla="*/ 111685 h 348400"/>
                <a:gd name="connsiteX370" fmla="*/ 895583 w 2663946"/>
                <a:gd name="connsiteY370" fmla="*/ 114388 h 348400"/>
                <a:gd name="connsiteX371" fmla="*/ 907874 w 2663946"/>
                <a:gd name="connsiteY371" fmla="*/ 111955 h 348400"/>
                <a:gd name="connsiteX372" fmla="*/ 911069 w 2663946"/>
                <a:gd name="connsiteY372" fmla="*/ 108440 h 348400"/>
                <a:gd name="connsiteX373" fmla="*/ 913527 w 2663946"/>
                <a:gd name="connsiteY373" fmla="*/ 104114 h 348400"/>
                <a:gd name="connsiteX374" fmla="*/ 914510 w 2663946"/>
                <a:gd name="connsiteY374" fmla="*/ 101951 h 348400"/>
                <a:gd name="connsiteX375" fmla="*/ 915739 w 2663946"/>
                <a:gd name="connsiteY375" fmla="*/ 97625 h 348400"/>
                <a:gd name="connsiteX376" fmla="*/ 915248 w 2663946"/>
                <a:gd name="connsiteY376" fmla="*/ 83835 h 348400"/>
                <a:gd name="connsiteX377" fmla="*/ 914264 w 2663946"/>
                <a:gd name="connsiteY377" fmla="*/ 80861 h 348400"/>
                <a:gd name="connsiteX378" fmla="*/ 913036 w 2663946"/>
                <a:gd name="connsiteY378" fmla="*/ 77887 h 348400"/>
                <a:gd name="connsiteX379" fmla="*/ 910823 w 2663946"/>
                <a:gd name="connsiteY379" fmla="*/ 74372 h 348400"/>
                <a:gd name="connsiteX380" fmla="*/ 907136 w 2663946"/>
                <a:gd name="connsiteY380" fmla="*/ 70587 h 348400"/>
                <a:gd name="connsiteX381" fmla="*/ 903203 w 2663946"/>
                <a:gd name="connsiteY381" fmla="*/ 68424 h 348400"/>
                <a:gd name="connsiteX382" fmla="*/ 554297 w 2663946"/>
                <a:gd name="connsiteY382" fmla="*/ 68424 h 348400"/>
                <a:gd name="connsiteX383" fmla="*/ 542744 w 2663946"/>
                <a:gd name="connsiteY383" fmla="*/ 70857 h 348400"/>
                <a:gd name="connsiteX384" fmla="*/ 539549 w 2663946"/>
                <a:gd name="connsiteY384" fmla="*/ 74372 h 348400"/>
                <a:gd name="connsiteX385" fmla="*/ 537337 w 2663946"/>
                <a:gd name="connsiteY385" fmla="*/ 78157 h 348400"/>
                <a:gd name="connsiteX386" fmla="*/ 536353 w 2663946"/>
                <a:gd name="connsiteY386" fmla="*/ 80861 h 348400"/>
                <a:gd name="connsiteX387" fmla="*/ 535370 w 2663946"/>
                <a:gd name="connsiteY387" fmla="*/ 84917 h 348400"/>
                <a:gd name="connsiteX388" fmla="*/ 534387 w 2663946"/>
                <a:gd name="connsiteY388" fmla="*/ 91947 h 348400"/>
                <a:gd name="connsiteX389" fmla="*/ 535370 w 2663946"/>
                <a:gd name="connsiteY389" fmla="*/ 99247 h 348400"/>
                <a:gd name="connsiteX390" fmla="*/ 536599 w 2663946"/>
                <a:gd name="connsiteY390" fmla="*/ 103032 h 348400"/>
                <a:gd name="connsiteX391" fmla="*/ 538811 w 2663946"/>
                <a:gd name="connsiteY391" fmla="*/ 107358 h 348400"/>
                <a:gd name="connsiteX392" fmla="*/ 542253 w 2663946"/>
                <a:gd name="connsiteY392" fmla="*/ 111685 h 348400"/>
                <a:gd name="connsiteX393" fmla="*/ 546677 w 2663946"/>
                <a:gd name="connsiteY393" fmla="*/ 114388 h 348400"/>
                <a:gd name="connsiteX394" fmla="*/ 558967 w 2663946"/>
                <a:gd name="connsiteY394" fmla="*/ 111955 h 348400"/>
                <a:gd name="connsiteX395" fmla="*/ 562163 w 2663946"/>
                <a:gd name="connsiteY395" fmla="*/ 108440 h 348400"/>
                <a:gd name="connsiteX396" fmla="*/ 564621 w 2663946"/>
                <a:gd name="connsiteY396" fmla="*/ 104114 h 348400"/>
                <a:gd name="connsiteX397" fmla="*/ 565604 w 2663946"/>
                <a:gd name="connsiteY397" fmla="*/ 101951 h 348400"/>
                <a:gd name="connsiteX398" fmla="*/ 566833 w 2663946"/>
                <a:gd name="connsiteY398" fmla="*/ 97625 h 348400"/>
                <a:gd name="connsiteX399" fmla="*/ 566341 w 2663946"/>
                <a:gd name="connsiteY399" fmla="*/ 83835 h 348400"/>
                <a:gd name="connsiteX400" fmla="*/ 565358 w 2663946"/>
                <a:gd name="connsiteY400" fmla="*/ 80861 h 348400"/>
                <a:gd name="connsiteX401" fmla="*/ 564129 w 2663946"/>
                <a:gd name="connsiteY401" fmla="*/ 77887 h 348400"/>
                <a:gd name="connsiteX402" fmla="*/ 561917 w 2663946"/>
                <a:gd name="connsiteY402" fmla="*/ 74372 h 348400"/>
                <a:gd name="connsiteX403" fmla="*/ 558230 w 2663946"/>
                <a:gd name="connsiteY403" fmla="*/ 70587 h 348400"/>
                <a:gd name="connsiteX404" fmla="*/ 554297 w 2663946"/>
                <a:gd name="connsiteY404" fmla="*/ 68424 h 348400"/>
                <a:gd name="connsiteX405" fmla="*/ 372346 w 2663946"/>
                <a:gd name="connsiteY405" fmla="*/ 68424 h 348400"/>
                <a:gd name="connsiteX406" fmla="*/ 360793 w 2663946"/>
                <a:gd name="connsiteY406" fmla="*/ 70857 h 348400"/>
                <a:gd name="connsiteX407" fmla="*/ 357598 w 2663946"/>
                <a:gd name="connsiteY407" fmla="*/ 74372 h 348400"/>
                <a:gd name="connsiteX408" fmla="*/ 355385 w 2663946"/>
                <a:gd name="connsiteY408" fmla="*/ 78157 h 348400"/>
                <a:gd name="connsiteX409" fmla="*/ 354402 w 2663946"/>
                <a:gd name="connsiteY409" fmla="*/ 80861 h 348400"/>
                <a:gd name="connsiteX410" fmla="*/ 353419 w 2663946"/>
                <a:gd name="connsiteY410" fmla="*/ 84917 h 348400"/>
                <a:gd name="connsiteX411" fmla="*/ 352436 w 2663946"/>
                <a:gd name="connsiteY411" fmla="*/ 91947 h 348400"/>
                <a:gd name="connsiteX412" fmla="*/ 353419 w 2663946"/>
                <a:gd name="connsiteY412" fmla="*/ 99247 h 348400"/>
                <a:gd name="connsiteX413" fmla="*/ 354648 w 2663946"/>
                <a:gd name="connsiteY413" fmla="*/ 103032 h 348400"/>
                <a:gd name="connsiteX414" fmla="*/ 356860 w 2663946"/>
                <a:gd name="connsiteY414" fmla="*/ 107358 h 348400"/>
                <a:gd name="connsiteX415" fmla="*/ 360301 w 2663946"/>
                <a:gd name="connsiteY415" fmla="*/ 111685 h 348400"/>
                <a:gd name="connsiteX416" fmla="*/ 364726 w 2663946"/>
                <a:gd name="connsiteY416" fmla="*/ 114388 h 348400"/>
                <a:gd name="connsiteX417" fmla="*/ 377016 w 2663946"/>
                <a:gd name="connsiteY417" fmla="*/ 111955 h 348400"/>
                <a:gd name="connsiteX418" fmla="*/ 380212 w 2663946"/>
                <a:gd name="connsiteY418" fmla="*/ 108440 h 348400"/>
                <a:gd name="connsiteX419" fmla="*/ 382670 w 2663946"/>
                <a:gd name="connsiteY419" fmla="*/ 104114 h 348400"/>
                <a:gd name="connsiteX420" fmla="*/ 383653 w 2663946"/>
                <a:gd name="connsiteY420" fmla="*/ 101951 h 348400"/>
                <a:gd name="connsiteX421" fmla="*/ 384882 w 2663946"/>
                <a:gd name="connsiteY421" fmla="*/ 97625 h 348400"/>
                <a:gd name="connsiteX422" fmla="*/ 384390 w 2663946"/>
                <a:gd name="connsiteY422" fmla="*/ 83835 h 348400"/>
                <a:gd name="connsiteX423" fmla="*/ 383407 w 2663946"/>
                <a:gd name="connsiteY423" fmla="*/ 80861 h 348400"/>
                <a:gd name="connsiteX424" fmla="*/ 382178 w 2663946"/>
                <a:gd name="connsiteY424" fmla="*/ 77887 h 348400"/>
                <a:gd name="connsiteX425" fmla="*/ 379966 w 2663946"/>
                <a:gd name="connsiteY425" fmla="*/ 74372 h 348400"/>
                <a:gd name="connsiteX426" fmla="*/ 376279 w 2663946"/>
                <a:gd name="connsiteY426" fmla="*/ 70587 h 348400"/>
                <a:gd name="connsiteX427" fmla="*/ 372346 w 2663946"/>
                <a:gd name="connsiteY427" fmla="*/ 68424 h 348400"/>
                <a:gd name="connsiteX428" fmla="*/ 129300 w 2663946"/>
                <a:gd name="connsiteY428" fmla="*/ 68424 h 348400"/>
                <a:gd name="connsiteX429" fmla="*/ 117747 w 2663946"/>
                <a:gd name="connsiteY429" fmla="*/ 70857 h 348400"/>
                <a:gd name="connsiteX430" fmla="*/ 114552 w 2663946"/>
                <a:gd name="connsiteY430" fmla="*/ 74372 h 348400"/>
                <a:gd name="connsiteX431" fmla="*/ 112340 w 2663946"/>
                <a:gd name="connsiteY431" fmla="*/ 78157 h 348400"/>
                <a:gd name="connsiteX432" fmla="*/ 111356 w 2663946"/>
                <a:gd name="connsiteY432" fmla="*/ 80861 h 348400"/>
                <a:gd name="connsiteX433" fmla="*/ 110373 w 2663946"/>
                <a:gd name="connsiteY433" fmla="*/ 84917 h 348400"/>
                <a:gd name="connsiteX434" fmla="*/ 109390 w 2663946"/>
                <a:gd name="connsiteY434" fmla="*/ 91947 h 348400"/>
                <a:gd name="connsiteX435" fmla="*/ 110373 w 2663946"/>
                <a:gd name="connsiteY435" fmla="*/ 99247 h 348400"/>
                <a:gd name="connsiteX436" fmla="*/ 111602 w 2663946"/>
                <a:gd name="connsiteY436" fmla="*/ 103032 h 348400"/>
                <a:gd name="connsiteX437" fmla="*/ 113814 w 2663946"/>
                <a:gd name="connsiteY437" fmla="*/ 107358 h 348400"/>
                <a:gd name="connsiteX438" fmla="*/ 117256 w 2663946"/>
                <a:gd name="connsiteY438" fmla="*/ 111685 h 348400"/>
                <a:gd name="connsiteX439" fmla="*/ 121680 w 2663946"/>
                <a:gd name="connsiteY439" fmla="*/ 114388 h 348400"/>
                <a:gd name="connsiteX440" fmla="*/ 133970 w 2663946"/>
                <a:gd name="connsiteY440" fmla="*/ 111955 h 348400"/>
                <a:gd name="connsiteX441" fmla="*/ 137166 w 2663946"/>
                <a:gd name="connsiteY441" fmla="*/ 108440 h 348400"/>
                <a:gd name="connsiteX442" fmla="*/ 139624 w 2663946"/>
                <a:gd name="connsiteY442" fmla="*/ 104114 h 348400"/>
                <a:gd name="connsiteX443" fmla="*/ 140607 w 2663946"/>
                <a:gd name="connsiteY443" fmla="*/ 101951 h 348400"/>
                <a:gd name="connsiteX444" fmla="*/ 141836 w 2663946"/>
                <a:gd name="connsiteY444" fmla="*/ 97625 h 348400"/>
                <a:gd name="connsiteX445" fmla="*/ 141344 w 2663946"/>
                <a:gd name="connsiteY445" fmla="*/ 83835 h 348400"/>
                <a:gd name="connsiteX446" fmla="*/ 140361 w 2663946"/>
                <a:gd name="connsiteY446" fmla="*/ 80861 h 348400"/>
                <a:gd name="connsiteX447" fmla="*/ 139132 w 2663946"/>
                <a:gd name="connsiteY447" fmla="*/ 77887 h 348400"/>
                <a:gd name="connsiteX448" fmla="*/ 136920 w 2663946"/>
                <a:gd name="connsiteY448" fmla="*/ 74372 h 348400"/>
                <a:gd name="connsiteX449" fmla="*/ 133233 w 2663946"/>
                <a:gd name="connsiteY449" fmla="*/ 70587 h 348400"/>
                <a:gd name="connsiteX450" fmla="*/ 129300 w 2663946"/>
                <a:gd name="connsiteY450" fmla="*/ 68424 h 348400"/>
                <a:gd name="connsiteX451" fmla="*/ 33147 w 2663946"/>
                <a:gd name="connsiteY451" fmla="*/ 64488 h 348400"/>
                <a:gd name="connsiteX452" fmla="*/ 21486 w 2663946"/>
                <a:gd name="connsiteY452" fmla="*/ 72217 h 348400"/>
                <a:gd name="connsiteX453" fmla="*/ 20561 w 2663946"/>
                <a:gd name="connsiteY453" fmla="*/ 76800 h 348400"/>
                <a:gd name="connsiteX454" fmla="*/ 23801 w 2663946"/>
                <a:gd name="connsiteY454" fmla="*/ 76800 h 348400"/>
                <a:gd name="connsiteX455" fmla="*/ 42218 w 2663946"/>
                <a:gd name="connsiteY455" fmla="*/ 76800 h 348400"/>
                <a:gd name="connsiteX456" fmla="*/ 45732 w 2663946"/>
                <a:gd name="connsiteY456" fmla="*/ 76800 h 348400"/>
                <a:gd name="connsiteX457" fmla="*/ 44807 w 2663946"/>
                <a:gd name="connsiteY457" fmla="*/ 72217 h 348400"/>
                <a:gd name="connsiteX458" fmla="*/ 33147 w 2663946"/>
                <a:gd name="connsiteY458" fmla="*/ 64488 h 348400"/>
                <a:gd name="connsiteX459" fmla="*/ 2537931 w 2663946"/>
                <a:gd name="connsiteY459" fmla="*/ 56900 h 348400"/>
                <a:gd name="connsiteX460" fmla="*/ 2526271 w 2663946"/>
                <a:gd name="connsiteY460" fmla="*/ 64629 h 348400"/>
                <a:gd name="connsiteX461" fmla="*/ 2525346 w 2663946"/>
                <a:gd name="connsiteY461" fmla="*/ 69212 h 348400"/>
                <a:gd name="connsiteX462" fmla="*/ 2528586 w 2663946"/>
                <a:gd name="connsiteY462" fmla="*/ 69212 h 348400"/>
                <a:gd name="connsiteX463" fmla="*/ 2547003 w 2663946"/>
                <a:gd name="connsiteY463" fmla="*/ 69212 h 348400"/>
                <a:gd name="connsiteX464" fmla="*/ 2550517 w 2663946"/>
                <a:gd name="connsiteY464" fmla="*/ 69212 h 348400"/>
                <a:gd name="connsiteX465" fmla="*/ 2549592 w 2663946"/>
                <a:gd name="connsiteY465" fmla="*/ 64629 h 348400"/>
                <a:gd name="connsiteX466" fmla="*/ 2537931 w 2663946"/>
                <a:gd name="connsiteY466" fmla="*/ 56900 h 348400"/>
                <a:gd name="connsiteX467" fmla="*/ 2112934 w 2663946"/>
                <a:gd name="connsiteY467" fmla="*/ 56900 h 348400"/>
                <a:gd name="connsiteX468" fmla="*/ 2101274 w 2663946"/>
                <a:gd name="connsiteY468" fmla="*/ 64629 h 348400"/>
                <a:gd name="connsiteX469" fmla="*/ 2100349 w 2663946"/>
                <a:gd name="connsiteY469" fmla="*/ 69212 h 348400"/>
                <a:gd name="connsiteX470" fmla="*/ 2103589 w 2663946"/>
                <a:gd name="connsiteY470" fmla="*/ 69212 h 348400"/>
                <a:gd name="connsiteX471" fmla="*/ 2122006 w 2663946"/>
                <a:gd name="connsiteY471" fmla="*/ 69212 h 348400"/>
                <a:gd name="connsiteX472" fmla="*/ 2125520 w 2663946"/>
                <a:gd name="connsiteY472" fmla="*/ 69212 h 348400"/>
                <a:gd name="connsiteX473" fmla="*/ 2124595 w 2663946"/>
                <a:gd name="connsiteY473" fmla="*/ 64629 h 348400"/>
                <a:gd name="connsiteX474" fmla="*/ 2112934 w 2663946"/>
                <a:gd name="connsiteY474" fmla="*/ 56900 h 348400"/>
                <a:gd name="connsiteX475" fmla="*/ 1854966 w 2663946"/>
                <a:gd name="connsiteY475" fmla="*/ 56900 h 348400"/>
                <a:gd name="connsiteX476" fmla="*/ 1843306 w 2663946"/>
                <a:gd name="connsiteY476" fmla="*/ 64629 h 348400"/>
                <a:gd name="connsiteX477" fmla="*/ 1842381 w 2663946"/>
                <a:gd name="connsiteY477" fmla="*/ 69212 h 348400"/>
                <a:gd name="connsiteX478" fmla="*/ 1845621 w 2663946"/>
                <a:gd name="connsiteY478" fmla="*/ 69212 h 348400"/>
                <a:gd name="connsiteX479" fmla="*/ 1864038 w 2663946"/>
                <a:gd name="connsiteY479" fmla="*/ 69212 h 348400"/>
                <a:gd name="connsiteX480" fmla="*/ 1867552 w 2663946"/>
                <a:gd name="connsiteY480" fmla="*/ 69212 h 348400"/>
                <a:gd name="connsiteX481" fmla="*/ 1866627 w 2663946"/>
                <a:gd name="connsiteY481" fmla="*/ 64629 h 348400"/>
                <a:gd name="connsiteX482" fmla="*/ 1854966 w 2663946"/>
                <a:gd name="connsiteY482" fmla="*/ 56900 h 348400"/>
                <a:gd name="connsiteX483" fmla="*/ 1764027 w 2663946"/>
                <a:gd name="connsiteY483" fmla="*/ 56900 h 348400"/>
                <a:gd name="connsiteX484" fmla="*/ 1752367 w 2663946"/>
                <a:gd name="connsiteY484" fmla="*/ 64629 h 348400"/>
                <a:gd name="connsiteX485" fmla="*/ 1751442 w 2663946"/>
                <a:gd name="connsiteY485" fmla="*/ 69212 h 348400"/>
                <a:gd name="connsiteX486" fmla="*/ 1754682 w 2663946"/>
                <a:gd name="connsiteY486" fmla="*/ 69212 h 348400"/>
                <a:gd name="connsiteX487" fmla="*/ 1773099 w 2663946"/>
                <a:gd name="connsiteY487" fmla="*/ 69212 h 348400"/>
                <a:gd name="connsiteX488" fmla="*/ 1776613 w 2663946"/>
                <a:gd name="connsiteY488" fmla="*/ 69212 h 348400"/>
                <a:gd name="connsiteX489" fmla="*/ 1775687 w 2663946"/>
                <a:gd name="connsiteY489" fmla="*/ 64629 h 348400"/>
                <a:gd name="connsiteX490" fmla="*/ 1764027 w 2663946"/>
                <a:gd name="connsiteY490" fmla="*/ 56900 h 348400"/>
                <a:gd name="connsiteX491" fmla="*/ 1506059 w 2663946"/>
                <a:gd name="connsiteY491" fmla="*/ 56900 h 348400"/>
                <a:gd name="connsiteX492" fmla="*/ 1494399 w 2663946"/>
                <a:gd name="connsiteY492" fmla="*/ 64629 h 348400"/>
                <a:gd name="connsiteX493" fmla="*/ 1493474 w 2663946"/>
                <a:gd name="connsiteY493" fmla="*/ 69212 h 348400"/>
                <a:gd name="connsiteX494" fmla="*/ 1496714 w 2663946"/>
                <a:gd name="connsiteY494" fmla="*/ 69212 h 348400"/>
                <a:gd name="connsiteX495" fmla="*/ 1515131 w 2663946"/>
                <a:gd name="connsiteY495" fmla="*/ 69212 h 348400"/>
                <a:gd name="connsiteX496" fmla="*/ 1518645 w 2663946"/>
                <a:gd name="connsiteY496" fmla="*/ 69212 h 348400"/>
                <a:gd name="connsiteX497" fmla="*/ 1517719 w 2663946"/>
                <a:gd name="connsiteY497" fmla="*/ 64629 h 348400"/>
                <a:gd name="connsiteX498" fmla="*/ 1506059 w 2663946"/>
                <a:gd name="connsiteY498" fmla="*/ 56900 h 348400"/>
                <a:gd name="connsiteX499" fmla="*/ 1415120 w 2663946"/>
                <a:gd name="connsiteY499" fmla="*/ 56900 h 348400"/>
                <a:gd name="connsiteX500" fmla="*/ 1403460 w 2663946"/>
                <a:gd name="connsiteY500" fmla="*/ 64629 h 348400"/>
                <a:gd name="connsiteX501" fmla="*/ 1402535 w 2663946"/>
                <a:gd name="connsiteY501" fmla="*/ 69212 h 348400"/>
                <a:gd name="connsiteX502" fmla="*/ 1405775 w 2663946"/>
                <a:gd name="connsiteY502" fmla="*/ 69212 h 348400"/>
                <a:gd name="connsiteX503" fmla="*/ 1424192 w 2663946"/>
                <a:gd name="connsiteY503" fmla="*/ 69212 h 348400"/>
                <a:gd name="connsiteX504" fmla="*/ 1427706 w 2663946"/>
                <a:gd name="connsiteY504" fmla="*/ 69212 h 348400"/>
                <a:gd name="connsiteX505" fmla="*/ 1426780 w 2663946"/>
                <a:gd name="connsiteY505" fmla="*/ 64629 h 348400"/>
                <a:gd name="connsiteX506" fmla="*/ 1415120 w 2663946"/>
                <a:gd name="connsiteY506" fmla="*/ 56900 h 348400"/>
                <a:gd name="connsiteX507" fmla="*/ 1157152 w 2663946"/>
                <a:gd name="connsiteY507" fmla="*/ 56900 h 348400"/>
                <a:gd name="connsiteX508" fmla="*/ 1145492 w 2663946"/>
                <a:gd name="connsiteY508" fmla="*/ 64629 h 348400"/>
                <a:gd name="connsiteX509" fmla="*/ 1144567 w 2663946"/>
                <a:gd name="connsiteY509" fmla="*/ 69212 h 348400"/>
                <a:gd name="connsiteX510" fmla="*/ 1147807 w 2663946"/>
                <a:gd name="connsiteY510" fmla="*/ 69212 h 348400"/>
                <a:gd name="connsiteX511" fmla="*/ 1166224 w 2663946"/>
                <a:gd name="connsiteY511" fmla="*/ 69212 h 348400"/>
                <a:gd name="connsiteX512" fmla="*/ 1169738 w 2663946"/>
                <a:gd name="connsiteY512" fmla="*/ 69212 h 348400"/>
                <a:gd name="connsiteX513" fmla="*/ 1168812 w 2663946"/>
                <a:gd name="connsiteY513" fmla="*/ 64629 h 348400"/>
                <a:gd name="connsiteX514" fmla="*/ 1157152 w 2663946"/>
                <a:gd name="connsiteY514" fmla="*/ 56900 h 348400"/>
                <a:gd name="connsiteX515" fmla="*/ 732156 w 2663946"/>
                <a:gd name="connsiteY515" fmla="*/ 56900 h 348400"/>
                <a:gd name="connsiteX516" fmla="*/ 720495 w 2663946"/>
                <a:gd name="connsiteY516" fmla="*/ 64629 h 348400"/>
                <a:gd name="connsiteX517" fmla="*/ 719570 w 2663946"/>
                <a:gd name="connsiteY517" fmla="*/ 69212 h 348400"/>
                <a:gd name="connsiteX518" fmla="*/ 722810 w 2663946"/>
                <a:gd name="connsiteY518" fmla="*/ 69212 h 348400"/>
                <a:gd name="connsiteX519" fmla="*/ 741228 w 2663946"/>
                <a:gd name="connsiteY519" fmla="*/ 69212 h 348400"/>
                <a:gd name="connsiteX520" fmla="*/ 744742 w 2663946"/>
                <a:gd name="connsiteY520" fmla="*/ 69212 h 348400"/>
                <a:gd name="connsiteX521" fmla="*/ 743816 w 2663946"/>
                <a:gd name="connsiteY521" fmla="*/ 64629 h 348400"/>
                <a:gd name="connsiteX522" fmla="*/ 732156 w 2663946"/>
                <a:gd name="connsiteY522" fmla="*/ 56900 h 348400"/>
                <a:gd name="connsiteX523" fmla="*/ 641217 w 2663946"/>
                <a:gd name="connsiteY523" fmla="*/ 56900 h 348400"/>
                <a:gd name="connsiteX524" fmla="*/ 629556 w 2663946"/>
                <a:gd name="connsiteY524" fmla="*/ 64629 h 348400"/>
                <a:gd name="connsiteX525" fmla="*/ 628631 w 2663946"/>
                <a:gd name="connsiteY525" fmla="*/ 69212 h 348400"/>
                <a:gd name="connsiteX526" fmla="*/ 631871 w 2663946"/>
                <a:gd name="connsiteY526" fmla="*/ 69212 h 348400"/>
                <a:gd name="connsiteX527" fmla="*/ 650289 w 2663946"/>
                <a:gd name="connsiteY527" fmla="*/ 69212 h 348400"/>
                <a:gd name="connsiteX528" fmla="*/ 653802 w 2663946"/>
                <a:gd name="connsiteY528" fmla="*/ 69212 h 348400"/>
                <a:gd name="connsiteX529" fmla="*/ 652877 w 2663946"/>
                <a:gd name="connsiteY529" fmla="*/ 64629 h 348400"/>
                <a:gd name="connsiteX530" fmla="*/ 641217 w 2663946"/>
                <a:gd name="connsiteY530" fmla="*/ 56900 h 348400"/>
                <a:gd name="connsiteX531" fmla="*/ 459266 w 2663946"/>
                <a:gd name="connsiteY531" fmla="*/ 56900 h 348400"/>
                <a:gd name="connsiteX532" fmla="*/ 447605 w 2663946"/>
                <a:gd name="connsiteY532" fmla="*/ 64629 h 348400"/>
                <a:gd name="connsiteX533" fmla="*/ 446680 w 2663946"/>
                <a:gd name="connsiteY533" fmla="*/ 69212 h 348400"/>
                <a:gd name="connsiteX534" fmla="*/ 449920 w 2663946"/>
                <a:gd name="connsiteY534" fmla="*/ 69212 h 348400"/>
                <a:gd name="connsiteX535" fmla="*/ 468337 w 2663946"/>
                <a:gd name="connsiteY535" fmla="*/ 69212 h 348400"/>
                <a:gd name="connsiteX536" fmla="*/ 471851 w 2663946"/>
                <a:gd name="connsiteY536" fmla="*/ 69212 h 348400"/>
                <a:gd name="connsiteX537" fmla="*/ 470926 w 2663946"/>
                <a:gd name="connsiteY537" fmla="*/ 64629 h 348400"/>
                <a:gd name="connsiteX538" fmla="*/ 459266 w 2663946"/>
                <a:gd name="connsiteY538" fmla="*/ 56900 h 348400"/>
                <a:gd name="connsiteX539" fmla="*/ 2361413 w 2663946"/>
                <a:gd name="connsiteY539" fmla="*/ 52540 h 348400"/>
                <a:gd name="connsiteX540" fmla="*/ 2365469 w 2663946"/>
                <a:gd name="connsiteY540" fmla="*/ 52540 h 348400"/>
                <a:gd name="connsiteX541" fmla="*/ 2370065 w 2663946"/>
                <a:gd name="connsiteY541" fmla="*/ 54974 h 348400"/>
                <a:gd name="connsiteX542" fmla="*/ 2372229 w 2663946"/>
                <a:gd name="connsiteY542" fmla="*/ 61192 h 348400"/>
                <a:gd name="connsiteX543" fmla="*/ 2372229 w 2663946"/>
                <a:gd name="connsiteY543" fmla="*/ 61733 h 348400"/>
                <a:gd name="connsiteX544" fmla="*/ 2372229 w 2663946"/>
                <a:gd name="connsiteY544" fmla="*/ 114728 h 348400"/>
                <a:gd name="connsiteX545" fmla="*/ 2372769 w 2663946"/>
                <a:gd name="connsiteY545" fmla="*/ 115268 h 348400"/>
                <a:gd name="connsiteX546" fmla="*/ 2380069 w 2663946"/>
                <a:gd name="connsiteY546" fmla="*/ 115268 h 348400"/>
                <a:gd name="connsiteX547" fmla="*/ 2384125 w 2663946"/>
                <a:gd name="connsiteY547" fmla="*/ 116350 h 348400"/>
                <a:gd name="connsiteX548" fmla="*/ 2387910 w 2663946"/>
                <a:gd name="connsiteY548" fmla="*/ 123109 h 348400"/>
                <a:gd name="connsiteX549" fmla="*/ 2385207 w 2663946"/>
                <a:gd name="connsiteY549" fmla="*/ 128787 h 348400"/>
                <a:gd name="connsiteX550" fmla="*/ 2381151 w 2663946"/>
                <a:gd name="connsiteY550" fmla="*/ 130680 h 348400"/>
                <a:gd name="connsiteX551" fmla="*/ 2380881 w 2663946"/>
                <a:gd name="connsiteY551" fmla="*/ 130680 h 348400"/>
                <a:gd name="connsiteX552" fmla="*/ 2380610 w 2663946"/>
                <a:gd name="connsiteY552" fmla="*/ 130680 h 348400"/>
                <a:gd name="connsiteX553" fmla="*/ 2380069 w 2663946"/>
                <a:gd name="connsiteY553" fmla="*/ 130680 h 348400"/>
                <a:gd name="connsiteX554" fmla="*/ 2347894 w 2663946"/>
                <a:gd name="connsiteY554" fmla="*/ 130680 h 348400"/>
                <a:gd name="connsiteX555" fmla="*/ 2347354 w 2663946"/>
                <a:gd name="connsiteY555" fmla="*/ 130680 h 348400"/>
                <a:gd name="connsiteX556" fmla="*/ 2346542 w 2663946"/>
                <a:gd name="connsiteY556" fmla="*/ 130680 h 348400"/>
                <a:gd name="connsiteX557" fmla="*/ 2345731 w 2663946"/>
                <a:gd name="connsiteY557" fmla="*/ 130410 h 348400"/>
                <a:gd name="connsiteX558" fmla="*/ 2342216 w 2663946"/>
                <a:gd name="connsiteY558" fmla="*/ 128517 h 348400"/>
                <a:gd name="connsiteX559" fmla="*/ 2339783 w 2663946"/>
                <a:gd name="connsiteY559" fmla="*/ 122839 h 348400"/>
                <a:gd name="connsiteX560" fmla="*/ 2341946 w 2663946"/>
                <a:gd name="connsiteY560" fmla="*/ 117702 h 348400"/>
                <a:gd name="connsiteX561" fmla="*/ 2347624 w 2663946"/>
                <a:gd name="connsiteY561" fmla="*/ 115268 h 348400"/>
                <a:gd name="connsiteX562" fmla="*/ 2355465 w 2663946"/>
                <a:gd name="connsiteY562" fmla="*/ 115268 h 348400"/>
                <a:gd name="connsiteX563" fmla="*/ 2356006 w 2663946"/>
                <a:gd name="connsiteY563" fmla="*/ 114728 h 348400"/>
                <a:gd name="connsiteX564" fmla="*/ 2356006 w 2663946"/>
                <a:gd name="connsiteY564" fmla="*/ 68763 h 348400"/>
                <a:gd name="connsiteX565" fmla="*/ 2355465 w 2663946"/>
                <a:gd name="connsiteY565" fmla="*/ 68222 h 348400"/>
                <a:gd name="connsiteX566" fmla="*/ 2349517 w 2663946"/>
                <a:gd name="connsiteY566" fmla="*/ 68222 h 348400"/>
                <a:gd name="connsiteX567" fmla="*/ 2342216 w 2663946"/>
                <a:gd name="connsiteY567" fmla="*/ 63626 h 348400"/>
                <a:gd name="connsiteX568" fmla="*/ 2341946 w 2663946"/>
                <a:gd name="connsiteY568" fmla="*/ 57948 h 348400"/>
                <a:gd name="connsiteX569" fmla="*/ 2349246 w 2663946"/>
                <a:gd name="connsiteY569" fmla="*/ 52811 h 348400"/>
                <a:gd name="connsiteX570" fmla="*/ 2361413 w 2663946"/>
                <a:gd name="connsiteY570" fmla="*/ 52540 h 348400"/>
                <a:gd name="connsiteX571" fmla="*/ 2285396 w 2663946"/>
                <a:gd name="connsiteY571" fmla="*/ 52540 h 348400"/>
                <a:gd name="connsiteX572" fmla="*/ 2289452 w 2663946"/>
                <a:gd name="connsiteY572" fmla="*/ 52540 h 348400"/>
                <a:gd name="connsiteX573" fmla="*/ 2294048 w 2663946"/>
                <a:gd name="connsiteY573" fmla="*/ 54974 h 348400"/>
                <a:gd name="connsiteX574" fmla="*/ 2296212 w 2663946"/>
                <a:gd name="connsiteY574" fmla="*/ 61192 h 348400"/>
                <a:gd name="connsiteX575" fmla="*/ 2296212 w 2663946"/>
                <a:gd name="connsiteY575" fmla="*/ 61733 h 348400"/>
                <a:gd name="connsiteX576" fmla="*/ 2296212 w 2663946"/>
                <a:gd name="connsiteY576" fmla="*/ 114728 h 348400"/>
                <a:gd name="connsiteX577" fmla="*/ 2296752 w 2663946"/>
                <a:gd name="connsiteY577" fmla="*/ 115268 h 348400"/>
                <a:gd name="connsiteX578" fmla="*/ 2304052 w 2663946"/>
                <a:gd name="connsiteY578" fmla="*/ 115268 h 348400"/>
                <a:gd name="connsiteX579" fmla="*/ 2308108 w 2663946"/>
                <a:gd name="connsiteY579" fmla="*/ 116350 h 348400"/>
                <a:gd name="connsiteX580" fmla="*/ 2311893 w 2663946"/>
                <a:gd name="connsiteY580" fmla="*/ 123109 h 348400"/>
                <a:gd name="connsiteX581" fmla="*/ 2309190 w 2663946"/>
                <a:gd name="connsiteY581" fmla="*/ 128787 h 348400"/>
                <a:gd name="connsiteX582" fmla="*/ 2305134 w 2663946"/>
                <a:gd name="connsiteY582" fmla="*/ 130680 h 348400"/>
                <a:gd name="connsiteX583" fmla="*/ 2304864 w 2663946"/>
                <a:gd name="connsiteY583" fmla="*/ 130680 h 348400"/>
                <a:gd name="connsiteX584" fmla="*/ 2304593 w 2663946"/>
                <a:gd name="connsiteY584" fmla="*/ 130680 h 348400"/>
                <a:gd name="connsiteX585" fmla="*/ 2304052 w 2663946"/>
                <a:gd name="connsiteY585" fmla="*/ 130680 h 348400"/>
                <a:gd name="connsiteX586" fmla="*/ 2271877 w 2663946"/>
                <a:gd name="connsiteY586" fmla="*/ 130680 h 348400"/>
                <a:gd name="connsiteX587" fmla="*/ 2271337 w 2663946"/>
                <a:gd name="connsiteY587" fmla="*/ 130680 h 348400"/>
                <a:gd name="connsiteX588" fmla="*/ 2270525 w 2663946"/>
                <a:gd name="connsiteY588" fmla="*/ 130680 h 348400"/>
                <a:gd name="connsiteX589" fmla="*/ 2269714 w 2663946"/>
                <a:gd name="connsiteY589" fmla="*/ 130410 h 348400"/>
                <a:gd name="connsiteX590" fmla="*/ 2266199 w 2663946"/>
                <a:gd name="connsiteY590" fmla="*/ 128517 h 348400"/>
                <a:gd name="connsiteX591" fmla="*/ 2263766 w 2663946"/>
                <a:gd name="connsiteY591" fmla="*/ 122839 h 348400"/>
                <a:gd name="connsiteX592" fmla="*/ 2265929 w 2663946"/>
                <a:gd name="connsiteY592" fmla="*/ 117702 h 348400"/>
                <a:gd name="connsiteX593" fmla="*/ 2271607 w 2663946"/>
                <a:gd name="connsiteY593" fmla="*/ 115268 h 348400"/>
                <a:gd name="connsiteX594" fmla="*/ 2279448 w 2663946"/>
                <a:gd name="connsiteY594" fmla="*/ 115268 h 348400"/>
                <a:gd name="connsiteX595" fmla="*/ 2279989 w 2663946"/>
                <a:gd name="connsiteY595" fmla="*/ 114728 h 348400"/>
                <a:gd name="connsiteX596" fmla="*/ 2279989 w 2663946"/>
                <a:gd name="connsiteY596" fmla="*/ 68763 h 348400"/>
                <a:gd name="connsiteX597" fmla="*/ 2279448 w 2663946"/>
                <a:gd name="connsiteY597" fmla="*/ 68222 h 348400"/>
                <a:gd name="connsiteX598" fmla="*/ 2273500 w 2663946"/>
                <a:gd name="connsiteY598" fmla="*/ 68222 h 348400"/>
                <a:gd name="connsiteX599" fmla="*/ 2266199 w 2663946"/>
                <a:gd name="connsiteY599" fmla="*/ 63626 h 348400"/>
                <a:gd name="connsiteX600" fmla="*/ 2265929 w 2663946"/>
                <a:gd name="connsiteY600" fmla="*/ 57948 h 348400"/>
                <a:gd name="connsiteX601" fmla="*/ 2273229 w 2663946"/>
                <a:gd name="connsiteY601" fmla="*/ 52811 h 348400"/>
                <a:gd name="connsiteX602" fmla="*/ 2285396 w 2663946"/>
                <a:gd name="connsiteY602" fmla="*/ 52540 h 348400"/>
                <a:gd name="connsiteX603" fmla="*/ 1936416 w 2663946"/>
                <a:gd name="connsiteY603" fmla="*/ 52540 h 348400"/>
                <a:gd name="connsiteX604" fmla="*/ 1940472 w 2663946"/>
                <a:gd name="connsiteY604" fmla="*/ 52540 h 348400"/>
                <a:gd name="connsiteX605" fmla="*/ 1945068 w 2663946"/>
                <a:gd name="connsiteY605" fmla="*/ 54974 h 348400"/>
                <a:gd name="connsiteX606" fmla="*/ 1947232 w 2663946"/>
                <a:gd name="connsiteY606" fmla="*/ 61192 h 348400"/>
                <a:gd name="connsiteX607" fmla="*/ 1947232 w 2663946"/>
                <a:gd name="connsiteY607" fmla="*/ 61733 h 348400"/>
                <a:gd name="connsiteX608" fmla="*/ 1947232 w 2663946"/>
                <a:gd name="connsiteY608" fmla="*/ 114728 h 348400"/>
                <a:gd name="connsiteX609" fmla="*/ 1947772 w 2663946"/>
                <a:gd name="connsiteY609" fmla="*/ 115268 h 348400"/>
                <a:gd name="connsiteX610" fmla="*/ 1955072 w 2663946"/>
                <a:gd name="connsiteY610" fmla="*/ 115268 h 348400"/>
                <a:gd name="connsiteX611" fmla="*/ 1959128 w 2663946"/>
                <a:gd name="connsiteY611" fmla="*/ 116350 h 348400"/>
                <a:gd name="connsiteX612" fmla="*/ 1962913 w 2663946"/>
                <a:gd name="connsiteY612" fmla="*/ 123109 h 348400"/>
                <a:gd name="connsiteX613" fmla="*/ 1960210 w 2663946"/>
                <a:gd name="connsiteY613" fmla="*/ 128787 h 348400"/>
                <a:gd name="connsiteX614" fmla="*/ 1956154 w 2663946"/>
                <a:gd name="connsiteY614" fmla="*/ 130680 h 348400"/>
                <a:gd name="connsiteX615" fmla="*/ 1955884 w 2663946"/>
                <a:gd name="connsiteY615" fmla="*/ 130680 h 348400"/>
                <a:gd name="connsiteX616" fmla="*/ 1955613 w 2663946"/>
                <a:gd name="connsiteY616" fmla="*/ 130680 h 348400"/>
                <a:gd name="connsiteX617" fmla="*/ 1955072 w 2663946"/>
                <a:gd name="connsiteY617" fmla="*/ 130680 h 348400"/>
                <a:gd name="connsiteX618" fmla="*/ 1922897 w 2663946"/>
                <a:gd name="connsiteY618" fmla="*/ 130680 h 348400"/>
                <a:gd name="connsiteX619" fmla="*/ 1922357 w 2663946"/>
                <a:gd name="connsiteY619" fmla="*/ 130680 h 348400"/>
                <a:gd name="connsiteX620" fmla="*/ 1921545 w 2663946"/>
                <a:gd name="connsiteY620" fmla="*/ 130680 h 348400"/>
                <a:gd name="connsiteX621" fmla="*/ 1920734 w 2663946"/>
                <a:gd name="connsiteY621" fmla="*/ 130410 h 348400"/>
                <a:gd name="connsiteX622" fmla="*/ 1917219 w 2663946"/>
                <a:gd name="connsiteY622" fmla="*/ 128517 h 348400"/>
                <a:gd name="connsiteX623" fmla="*/ 1914786 w 2663946"/>
                <a:gd name="connsiteY623" fmla="*/ 122839 h 348400"/>
                <a:gd name="connsiteX624" fmla="*/ 1916949 w 2663946"/>
                <a:gd name="connsiteY624" fmla="*/ 117702 h 348400"/>
                <a:gd name="connsiteX625" fmla="*/ 1922627 w 2663946"/>
                <a:gd name="connsiteY625" fmla="*/ 115268 h 348400"/>
                <a:gd name="connsiteX626" fmla="*/ 1930468 w 2663946"/>
                <a:gd name="connsiteY626" fmla="*/ 115268 h 348400"/>
                <a:gd name="connsiteX627" fmla="*/ 1931009 w 2663946"/>
                <a:gd name="connsiteY627" fmla="*/ 114728 h 348400"/>
                <a:gd name="connsiteX628" fmla="*/ 1931009 w 2663946"/>
                <a:gd name="connsiteY628" fmla="*/ 68763 h 348400"/>
                <a:gd name="connsiteX629" fmla="*/ 1930468 w 2663946"/>
                <a:gd name="connsiteY629" fmla="*/ 68222 h 348400"/>
                <a:gd name="connsiteX630" fmla="*/ 1924520 w 2663946"/>
                <a:gd name="connsiteY630" fmla="*/ 68222 h 348400"/>
                <a:gd name="connsiteX631" fmla="*/ 1917219 w 2663946"/>
                <a:gd name="connsiteY631" fmla="*/ 63626 h 348400"/>
                <a:gd name="connsiteX632" fmla="*/ 1916949 w 2663946"/>
                <a:gd name="connsiteY632" fmla="*/ 57948 h 348400"/>
                <a:gd name="connsiteX633" fmla="*/ 1924249 w 2663946"/>
                <a:gd name="connsiteY633" fmla="*/ 52811 h 348400"/>
                <a:gd name="connsiteX634" fmla="*/ 1936416 w 2663946"/>
                <a:gd name="connsiteY634" fmla="*/ 52540 h 348400"/>
                <a:gd name="connsiteX635" fmla="*/ 1678521 w 2663946"/>
                <a:gd name="connsiteY635" fmla="*/ 52540 h 348400"/>
                <a:gd name="connsiteX636" fmla="*/ 1682577 w 2663946"/>
                <a:gd name="connsiteY636" fmla="*/ 52540 h 348400"/>
                <a:gd name="connsiteX637" fmla="*/ 1687173 w 2663946"/>
                <a:gd name="connsiteY637" fmla="*/ 54974 h 348400"/>
                <a:gd name="connsiteX638" fmla="*/ 1689336 w 2663946"/>
                <a:gd name="connsiteY638" fmla="*/ 61192 h 348400"/>
                <a:gd name="connsiteX639" fmla="*/ 1689336 w 2663946"/>
                <a:gd name="connsiteY639" fmla="*/ 61733 h 348400"/>
                <a:gd name="connsiteX640" fmla="*/ 1689336 w 2663946"/>
                <a:gd name="connsiteY640" fmla="*/ 114728 h 348400"/>
                <a:gd name="connsiteX641" fmla="*/ 1689877 w 2663946"/>
                <a:gd name="connsiteY641" fmla="*/ 115268 h 348400"/>
                <a:gd name="connsiteX642" fmla="*/ 1697177 w 2663946"/>
                <a:gd name="connsiteY642" fmla="*/ 115268 h 348400"/>
                <a:gd name="connsiteX643" fmla="*/ 1701233 w 2663946"/>
                <a:gd name="connsiteY643" fmla="*/ 116350 h 348400"/>
                <a:gd name="connsiteX644" fmla="*/ 1705018 w 2663946"/>
                <a:gd name="connsiteY644" fmla="*/ 123109 h 348400"/>
                <a:gd name="connsiteX645" fmla="*/ 1702315 w 2663946"/>
                <a:gd name="connsiteY645" fmla="*/ 128787 h 348400"/>
                <a:gd name="connsiteX646" fmla="*/ 1698259 w 2663946"/>
                <a:gd name="connsiteY646" fmla="*/ 130680 h 348400"/>
                <a:gd name="connsiteX647" fmla="*/ 1697989 w 2663946"/>
                <a:gd name="connsiteY647" fmla="*/ 130680 h 348400"/>
                <a:gd name="connsiteX648" fmla="*/ 1697718 w 2663946"/>
                <a:gd name="connsiteY648" fmla="*/ 130680 h 348400"/>
                <a:gd name="connsiteX649" fmla="*/ 1697177 w 2663946"/>
                <a:gd name="connsiteY649" fmla="*/ 130680 h 348400"/>
                <a:gd name="connsiteX650" fmla="*/ 1665002 w 2663946"/>
                <a:gd name="connsiteY650" fmla="*/ 130680 h 348400"/>
                <a:gd name="connsiteX651" fmla="*/ 1664462 w 2663946"/>
                <a:gd name="connsiteY651" fmla="*/ 130680 h 348400"/>
                <a:gd name="connsiteX652" fmla="*/ 1663650 w 2663946"/>
                <a:gd name="connsiteY652" fmla="*/ 130680 h 348400"/>
                <a:gd name="connsiteX653" fmla="*/ 1662839 w 2663946"/>
                <a:gd name="connsiteY653" fmla="*/ 130410 h 348400"/>
                <a:gd name="connsiteX654" fmla="*/ 1659324 w 2663946"/>
                <a:gd name="connsiteY654" fmla="*/ 128517 h 348400"/>
                <a:gd name="connsiteX655" fmla="*/ 1656891 w 2663946"/>
                <a:gd name="connsiteY655" fmla="*/ 122839 h 348400"/>
                <a:gd name="connsiteX656" fmla="*/ 1659054 w 2663946"/>
                <a:gd name="connsiteY656" fmla="*/ 117702 h 348400"/>
                <a:gd name="connsiteX657" fmla="*/ 1664732 w 2663946"/>
                <a:gd name="connsiteY657" fmla="*/ 115268 h 348400"/>
                <a:gd name="connsiteX658" fmla="*/ 1672573 w 2663946"/>
                <a:gd name="connsiteY658" fmla="*/ 115268 h 348400"/>
                <a:gd name="connsiteX659" fmla="*/ 1673114 w 2663946"/>
                <a:gd name="connsiteY659" fmla="*/ 114728 h 348400"/>
                <a:gd name="connsiteX660" fmla="*/ 1673114 w 2663946"/>
                <a:gd name="connsiteY660" fmla="*/ 68763 h 348400"/>
                <a:gd name="connsiteX661" fmla="*/ 1672573 w 2663946"/>
                <a:gd name="connsiteY661" fmla="*/ 68222 h 348400"/>
                <a:gd name="connsiteX662" fmla="*/ 1666625 w 2663946"/>
                <a:gd name="connsiteY662" fmla="*/ 68222 h 348400"/>
                <a:gd name="connsiteX663" fmla="*/ 1659324 w 2663946"/>
                <a:gd name="connsiteY663" fmla="*/ 63626 h 348400"/>
                <a:gd name="connsiteX664" fmla="*/ 1659054 w 2663946"/>
                <a:gd name="connsiteY664" fmla="*/ 57948 h 348400"/>
                <a:gd name="connsiteX665" fmla="*/ 1666354 w 2663946"/>
                <a:gd name="connsiteY665" fmla="*/ 52811 h 348400"/>
                <a:gd name="connsiteX666" fmla="*/ 1678521 w 2663946"/>
                <a:gd name="connsiteY666" fmla="*/ 52540 h 348400"/>
                <a:gd name="connsiteX667" fmla="*/ 1329614 w 2663946"/>
                <a:gd name="connsiteY667" fmla="*/ 52540 h 348400"/>
                <a:gd name="connsiteX668" fmla="*/ 1333670 w 2663946"/>
                <a:gd name="connsiteY668" fmla="*/ 52540 h 348400"/>
                <a:gd name="connsiteX669" fmla="*/ 1338266 w 2663946"/>
                <a:gd name="connsiteY669" fmla="*/ 54974 h 348400"/>
                <a:gd name="connsiteX670" fmla="*/ 1340429 w 2663946"/>
                <a:gd name="connsiteY670" fmla="*/ 61192 h 348400"/>
                <a:gd name="connsiteX671" fmla="*/ 1340429 w 2663946"/>
                <a:gd name="connsiteY671" fmla="*/ 61733 h 348400"/>
                <a:gd name="connsiteX672" fmla="*/ 1340429 w 2663946"/>
                <a:gd name="connsiteY672" fmla="*/ 114728 h 348400"/>
                <a:gd name="connsiteX673" fmla="*/ 1340970 w 2663946"/>
                <a:gd name="connsiteY673" fmla="*/ 115268 h 348400"/>
                <a:gd name="connsiteX674" fmla="*/ 1348270 w 2663946"/>
                <a:gd name="connsiteY674" fmla="*/ 115268 h 348400"/>
                <a:gd name="connsiteX675" fmla="*/ 1352326 w 2663946"/>
                <a:gd name="connsiteY675" fmla="*/ 116350 h 348400"/>
                <a:gd name="connsiteX676" fmla="*/ 1356111 w 2663946"/>
                <a:gd name="connsiteY676" fmla="*/ 123109 h 348400"/>
                <a:gd name="connsiteX677" fmla="*/ 1353408 w 2663946"/>
                <a:gd name="connsiteY677" fmla="*/ 128787 h 348400"/>
                <a:gd name="connsiteX678" fmla="*/ 1349352 w 2663946"/>
                <a:gd name="connsiteY678" fmla="*/ 130680 h 348400"/>
                <a:gd name="connsiteX679" fmla="*/ 1349082 w 2663946"/>
                <a:gd name="connsiteY679" fmla="*/ 130680 h 348400"/>
                <a:gd name="connsiteX680" fmla="*/ 1348811 w 2663946"/>
                <a:gd name="connsiteY680" fmla="*/ 130680 h 348400"/>
                <a:gd name="connsiteX681" fmla="*/ 1348270 w 2663946"/>
                <a:gd name="connsiteY681" fmla="*/ 130680 h 348400"/>
                <a:gd name="connsiteX682" fmla="*/ 1316095 w 2663946"/>
                <a:gd name="connsiteY682" fmla="*/ 130680 h 348400"/>
                <a:gd name="connsiteX683" fmla="*/ 1315555 w 2663946"/>
                <a:gd name="connsiteY683" fmla="*/ 130680 h 348400"/>
                <a:gd name="connsiteX684" fmla="*/ 1314743 w 2663946"/>
                <a:gd name="connsiteY684" fmla="*/ 130680 h 348400"/>
                <a:gd name="connsiteX685" fmla="*/ 1313932 w 2663946"/>
                <a:gd name="connsiteY685" fmla="*/ 130410 h 348400"/>
                <a:gd name="connsiteX686" fmla="*/ 1310417 w 2663946"/>
                <a:gd name="connsiteY686" fmla="*/ 128517 h 348400"/>
                <a:gd name="connsiteX687" fmla="*/ 1307984 w 2663946"/>
                <a:gd name="connsiteY687" fmla="*/ 122839 h 348400"/>
                <a:gd name="connsiteX688" fmla="*/ 1310147 w 2663946"/>
                <a:gd name="connsiteY688" fmla="*/ 117702 h 348400"/>
                <a:gd name="connsiteX689" fmla="*/ 1315825 w 2663946"/>
                <a:gd name="connsiteY689" fmla="*/ 115268 h 348400"/>
                <a:gd name="connsiteX690" fmla="*/ 1323666 w 2663946"/>
                <a:gd name="connsiteY690" fmla="*/ 115268 h 348400"/>
                <a:gd name="connsiteX691" fmla="*/ 1324207 w 2663946"/>
                <a:gd name="connsiteY691" fmla="*/ 114728 h 348400"/>
                <a:gd name="connsiteX692" fmla="*/ 1324207 w 2663946"/>
                <a:gd name="connsiteY692" fmla="*/ 68763 h 348400"/>
                <a:gd name="connsiteX693" fmla="*/ 1323666 w 2663946"/>
                <a:gd name="connsiteY693" fmla="*/ 68222 h 348400"/>
                <a:gd name="connsiteX694" fmla="*/ 1317718 w 2663946"/>
                <a:gd name="connsiteY694" fmla="*/ 68222 h 348400"/>
                <a:gd name="connsiteX695" fmla="*/ 1310417 w 2663946"/>
                <a:gd name="connsiteY695" fmla="*/ 63626 h 348400"/>
                <a:gd name="connsiteX696" fmla="*/ 1310147 w 2663946"/>
                <a:gd name="connsiteY696" fmla="*/ 57948 h 348400"/>
                <a:gd name="connsiteX697" fmla="*/ 1317447 w 2663946"/>
                <a:gd name="connsiteY697" fmla="*/ 52811 h 348400"/>
                <a:gd name="connsiteX698" fmla="*/ 1329614 w 2663946"/>
                <a:gd name="connsiteY698" fmla="*/ 52540 h 348400"/>
                <a:gd name="connsiteX699" fmla="*/ 980634 w 2663946"/>
                <a:gd name="connsiteY699" fmla="*/ 52540 h 348400"/>
                <a:gd name="connsiteX700" fmla="*/ 984690 w 2663946"/>
                <a:gd name="connsiteY700" fmla="*/ 52540 h 348400"/>
                <a:gd name="connsiteX701" fmla="*/ 989286 w 2663946"/>
                <a:gd name="connsiteY701" fmla="*/ 54974 h 348400"/>
                <a:gd name="connsiteX702" fmla="*/ 991449 w 2663946"/>
                <a:gd name="connsiteY702" fmla="*/ 61192 h 348400"/>
                <a:gd name="connsiteX703" fmla="*/ 991449 w 2663946"/>
                <a:gd name="connsiteY703" fmla="*/ 61733 h 348400"/>
                <a:gd name="connsiteX704" fmla="*/ 991449 w 2663946"/>
                <a:gd name="connsiteY704" fmla="*/ 114728 h 348400"/>
                <a:gd name="connsiteX705" fmla="*/ 991990 w 2663946"/>
                <a:gd name="connsiteY705" fmla="*/ 115268 h 348400"/>
                <a:gd name="connsiteX706" fmla="*/ 999290 w 2663946"/>
                <a:gd name="connsiteY706" fmla="*/ 115268 h 348400"/>
                <a:gd name="connsiteX707" fmla="*/ 1003346 w 2663946"/>
                <a:gd name="connsiteY707" fmla="*/ 116350 h 348400"/>
                <a:gd name="connsiteX708" fmla="*/ 1007131 w 2663946"/>
                <a:gd name="connsiteY708" fmla="*/ 123109 h 348400"/>
                <a:gd name="connsiteX709" fmla="*/ 1004428 w 2663946"/>
                <a:gd name="connsiteY709" fmla="*/ 128787 h 348400"/>
                <a:gd name="connsiteX710" fmla="*/ 1000372 w 2663946"/>
                <a:gd name="connsiteY710" fmla="*/ 130680 h 348400"/>
                <a:gd name="connsiteX711" fmla="*/ 1000102 w 2663946"/>
                <a:gd name="connsiteY711" fmla="*/ 130680 h 348400"/>
                <a:gd name="connsiteX712" fmla="*/ 999831 w 2663946"/>
                <a:gd name="connsiteY712" fmla="*/ 130680 h 348400"/>
                <a:gd name="connsiteX713" fmla="*/ 999290 w 2663946"/>
                <a:gd name="connsiteY713" fmla="*/ 130680 h 348400"/>
                <a:gd name="connsiteX714" fmla="*/ 967115 w 2663946"/>
                <a:gd name="connsiteY714" fmla="*/ 130680 h 348400"/>
                <a:gd name="connsiteX715" fmla="*/ 966575 w 2663946"/>
                <a:gd name="connsiteY715" fmla="*/ 130680 h 348400"/>
                <a:gd name="connsiteX716" fmla="*/ 965763 w 2663946"/>
                <a:gd name="connsiteY716" fmla="*/ 130680 h 348400"/>
                <a:gd name="connsiteX717" fmla="*/ 964952 w 2663946"/>
                <a:gd name="connsiteY717" fmla="*/ 130410 h 348400"/>
                <a:gd name="connsiteX718" fmla="*/ 961437 w 2663946"/>
                <a:gd name="connsiteY718" fmla="*/ 128517 h 348400"/>
                <a:gd name="connsiteX719" fmla="*/ 959004 w 2663946"/>
                <a:gd name="connsiteY719" fmla="*/ 122839 h 348400"/>
                <a:gd name="connsiteX720" fmla="*/ 961167 w 2663946"/>
                <a:gd name="connsiteY720" fmla="*/ 117702 h 348400"/>
                <a:gd name="connsiteX721" fmla="*/ 966845 w 2663946"/>
                <a:gd name="connsiteY721" fmla="*/ 115268 h 348400"/>
                <a:gd name="connsiteX722" fmla="*/ 974686 w 2663946"/>
                <a:gd name="connsiteY722" fmla="*/ 115268 h 348400"/>
                <a:gd name="connsiteX723" fmla="*/ 975227 w 2663946"/>
                <a:gd name="connsiteY723" fmla="*/ 114728 h 348400"/>
                <a:gd name="connsiteX724" fmla="*/ 975227 w 2663946"/>
                <a:gd name="connsiteY724" fmla="*/ 68763 h 348400"/>
                <a:gd name="connsiteX725" fmla="*/ 974686 w 2663946"/>
                <a:gd name="connsiteY725" fmla="*/ 68222 h 348400"/>
                <a:gd name="connsiteX726" fmla="*/ 968738 w 2663946"/>
                <a:gd name="connsiteY726" fmla="*/ 68222 h 348400"/>
                <a:gd name="connsiteX727" fmla="*/ 961437 w 2663946"/>
                <a:gd name="connsiteY727" fmla="*/ 63626 h 348400"/>
                <a:gd name="connsiteX728" fmla="*/ 961167 w 2663946"/>
                <a:gd name="connsiteY728" fmla="*/ 57948 h 348400"/>
                <a:gd name="connsiteX729" fmla="*/ 968467 w 2663946"/>
                <a:gd name="connsiteY729" fmla="*/ 52811 h 348400"/>
                <a:gd name="connsiteX730" fmla="*/ 980634 w 2663946"/>
                <a:gd name="connsiteY730" fmla="*/ 52540 h 348400"/>
                <a:gd name="connsiteX731" fmla="*/ 813605 w 2663946"/>
                <a:gd name="connsiteY731" fmla="*/ 52540 h 348400"/>
                <a:gd name="connsiteX732" fmla="*/ 817661 w 2663946"/>
                <a:gd name="connsiteY732" fmla="*/ 52540 h 348400"/>
                <a:gd name="connsiteX733" fmla="*/ 822257 w 2663946"/>
                <a:gd name="connsiteY733" fmla="*/ 54974 h 348400"/>
                <a:gd name="connsiteX734" fmla="*/ 824420 w 2663946"/>
                <a:gd name="connsiteY734" fmla="*/ 61192 h 348400"/>
                <a:gd name="connsiteX735" fmla="*/ 824420 w 2663946"/>
                <a:gd name="connsiteY735" fmla="*/ 61733 h 348400"/>
                <a:gd name="connsiteX736" fmla="*/ 824420 w 2663946"/>
                <a:gd name="connsiteY736" fmla="*/ 114728 h 348400"/>
                <a:gd name="connsiteX737" fmla="*/ 824961 w 2663946"/>
                <a:gd name="connsiteY737" fmla="*/ 115268 h 348400"/>
                <a:gd name="connsiteX738" fmla="*/ 832261 w 2663946"/>
                <a:gd name="connsiteY738" fmla="*/ 115268 h 348400"/>
                <a:gd name="connsiteX739" fmla="*/ 836317 w 2663946"/>
                <a:gd name="connsiteY739" fmla="*/ 116350 h 348400"/>
                <a:gd name="connsiteX740" fmla="*/ 840102 w 2663946"/>
                <a:gd name="connsiteY740" fmla="*/ 123109 h 348400"/>
                <a:gd name="connsiteX741" fmla="*/ 837399 w 2663946"/>
                <a:gd name="connsiteY741" fmla="*/ 128787 h 348400"/>
                <a:gd name="connsiteX742" fmla="*/ 833343 w 2663946"/>
                <a:gd name="connsiteY742" fmla="*/ 130680 h 348400"/>
                <a:gd name="connsiteX743" fmla="*/ 833073 w 2663946"/>
                <a:gd name="connsiteY743" fmla="*/ 130680 h 348400"/>
                <a:gd name="connsiteX744" fmla="*/ 832802 w 2663946"/>
                <a:gd name="connsiteY744" fmla="*/ 130680 h 348400"/>
                <a:gd name="connsiteX745" fmla="*/ 832261 w 2663946"/>
                <a:gd name="connsiteY745" fmla="*/ 130680 h 348400"/>
                <a:gd name="connsiteX746" fmla="*/ 800086 w 2663946"/>
                <a:gd name="connsiteY746" fmla="*/ 130680 h 348400"/>
                <a:gd name="connsiteX747" fmla="*/ 799546 w 2663946"/>
                <a:gd name="connsiteY747" fmla="*/ 130680 h 348400"/>
                <a:gd name="connsiteX748" fmla="*/ 798734 w 2663946"/>
                <a:gd name="connsiteY748" fmla="*/ 130680 h 348400"/>
                <a:gd name="connsiteX749" fmla="*/ 797923 w 2663946"/>
                <a:gd name="connsiteY749" fmla="*/ 130410 h 348400"/>
                <a:gd name="connsiteX750" fmla="*/ 794408 w 2663946"/>
                <a:gd name="connsiteY750" fmla="*/ 128517 h 348400"/>
                <a:gd name="connsiteX751" fmla="*/ 791975 w 2663946"/>
                <a:gd name="connsiteY751" fmla="*/ 122839 h 348400"/>
                <a:gd name="connsiteX752" fmla="*/ 794138 w 2663946"/>
                <a:gd name="connsiteY752" fmla="*/ 117702 h 348400"/>
                <a:gd name="connsiteX753" fmla="*/ 799816 w 2663946"/>
                <a:gd name="connsiteY753" fmla="*/ 115268 h 348400"/>
                <a:gd name="connsiteX754" fmla="*/ 807657 w 2663946"/>
                <a:gd name="connsiteY754" fmla="*/ 115268 h 348400"/>
                <a:gd name="connsiteX755" fmla="*/ 808198 w 2663946"/>
                <a:gd name="connsiteY755" fmla="*/ 114728 h 348400"/>
                <a:gd name="connsiteX756" fmla="*/ 808198 w 2663946"/>
                <a:gd name="connsiteY756" fmla="*/ 68763 h 348400"/>
                <a:gd name="connsiteX757" fmla="*/ 807657 w 2663946"/>
                <a:gd name="connsiteY757" fmla="*/ 68222 h 348400"/>
                <a:gd name="connsiteX758" fmla="*/ 801709 w 2663946"/>
                <a:gd name="connsiteY758" fmla="*/ 68222 h 348400"/>
                <a:gd name="connsiteX759" fmla="*/ 794408 w 2663946"/>
                <a:gd name="connsiteY759" fmla="*/ 63626 h 348400"/>
                <a:gd name="connsiteX760" fmla="*/ 794138 w 2663946"/>
                <a:gd name="connsiteY760" fmla="*/ 57948 h 348400"/>
                <a:gd name="connsiteX761" fmla="*/ 801438 w 2663946"/>
                <a:gd name="connsiteY761" fmla="*/ 52811 h 348400"/>
                <a:gd name="connsiteX762" fmla="*/ 813605 w 2663946"/>
                <a:gd name="connsiteY762" fmla="*/ 52540 h 348400"/>
                <a:gd name="connsiteX763" fmla="*/ 282748 w 2663946"/>
                <a:gd name="connsiteY763" fmla="*/ 52540 h 348400"/>
                <a:gd name="connsiteX764" fmla="*/ 286803 w 2663946"/>
                <a:gd name="connsiteY764" fmla="*/ 52540 h 348400"/>
                <a:gd name="connsiteX765" fmla="*/ 291400 w 2663946"/>
                <a:gd name="connsiteY765" fmla="*/ 54974 h 348400"/>
                <a:gd name="connsiteX766" fmla="*/ 293563 w 2663946"/>
                <a:gd name="connsiteY766" fmla="*/ 61192 h 348400"/>
                <a:gd name="connsiteX767" fmla="*/ 293563 w 2663946"/>
                <a:gd name="connsiteY767" fmla="*/ 61733 h 348400"/>
                <a:gd name="connsiteX768" fmla="*/ 293563 w 2663946"/>
                <a:gd name="connsiteY768" fmla="*/ 114728 h 348400"/>
                <a:gd name="connsiteX769" fmla="*/ 294104 w 2663946"/>
                <a:gd name="connsiteY769" fmla="*/ 115268 h 348400"/>
                <a:gd name="connsiteX770" fmla="*/ 301404 w 2663946"/>
                <a:gd name="connsiteY770" fmla="*/ 115268 h 348400"/>
                <a:gd name="connsiteX771" fmla="*/ 305460 w 2663946"/>
                <a:gd name="connsiteY771" fmla="*/ 116350 h 348400"/>
                <a:gd name="connsiteX772" fmla="*/ 309245 w 2663946"/>
                <a:gd name="connsiteY772" fmla="*/ 123109 h 348400"/>
                <a:gd name="connsiteX773" fmla="*/ 306541 w 2663946"/>
                <a:gd name="connsiteY773" fmla="*/ 128787 h 348400"/>
                <a:gd name="connsiteX774" fmla="*/ 302485 w 2663946"/>
                <a:gd name="connsiteY774" fmla="*/ 130680 h 348400"/>
                <a:gd name="connsiteX775" fmla="*/ 302215 w 2663946"/>
                <a:gd name="connsiteY775" fmla="*/ 130680 h 348400"/>
                <a:gd name="connsiteX776" fmla="*/ 301945 w 2663946"/>
                <a:gd name="connsiteY776" fmla="*/ 130680 h 348400"/>
                <a:gd name="connsiteX777" fmla="*/ 301404 w 2663946"/>
                <a:gd name="connsiteY777" fmla="*/ 130680 h 348400"/>
                <a:gd name="connsiteX778" fmla="*/ 269229 w 2663946"/>
                <a:gd name="connsiteY778" fmla="*/ 130680 h 348400"/>
                <a:gd name="connsiteX779" fmla="*/ 268688 w 2663946"/>
                <a:gd name="connsiteY779" fmla="*/ 130680 h 348400"/>
                <a:gd name="connsiteX780" fmla="*/ 267877 w 2663946"/>
                <a:gd name="connsiteY780" fmla="*/ 130680 h 348400"/>
                <a:gd name="connsiteX781" fmla="*/ 267066 w 2663946"/>
                <a:gd name="connsiteY781" fmla="*/ 130410 h 348400"/>
                <a:gd name="connsiteX782" fmla="*/ 263551 w 2663946"/>
                <a:gd name="connsiteY782" fmla="*/ 128517 h 348400"/>
                <a:gd name="connsiteX783" fmla="*/ 261117 w 2663946"/>
                <a:gd name="connsiteY783" fmla="*/ 122839 h 348400"/>
                <a:gd name="connsiteX784" fmla="*/ 263281 w 2663946"/>
                <a:gd name="connsiteY784" fmla="*/ 117702 h 348400"/>
                <a:gd name="connsiteX785" fmla="*/ 268958 w 2663946"/>
                <a:gd name="connsiteY785" fmla="*/ 115268 h 348400"/>
                <a:gd name="connsiteX786" fmla="*/ 276800 w 2663946"/>
                <a:gd name="connsiteY786" fmla="*/ 115268 h 348400"/>
                <a:gd name="connsiteX787" fmla="*/ 277340 w 2663946"/>
                <a:gd name="connsiteY787" fmla="*/ 114728 h 348400"/>
                <a:gd name="connsiteX788" fmla="*/ 277340 w 2663946"/>
                <a:gd name="connsiteY788" fmla="*/ 68763 h 348400"/>
                <a:gd name="connsiteX789" fmla="*/ 276800 w 2663946"/>
                <a:gd name="connsiteY789" fmla="*/ 68222 h 348400"/>
                <a:gd name="connsiteX790" fmla="*/ 270851 w 2663946"/>
                <a:gd name="connsiteY790" fmla="*/ 68222 h 348400"/>
                <a:gd name="connsiteX791" fmla="*/ 263551 w 2663946"/>
                <a:gd name="connsiteY791" fmla="*/ 63626 h 348400"/>
                <a:gd name="connsiteX792" fmla="*/ 263281 w 2663946"/>
                <a:gd name="connsiteY792" fmla="*/ 57948 h 348400"/>
                <a:gd name="connsiteX793" fmla="*/ 270581 w 2663946"/>
                <a:gd name="connsiteY793" fmla="*/ 52811 h 348400"/>
                <a:gd name="connsiteX794" fmla="*/ 282748 w 2663946"/>
                <a:gd name="connsiteY794" fmla="*/ 52540 h 348400"/>
                <a:gd name="connsiteX795" fmla="*/ 206731 w 2663946"/>
                <a:gd name="connsiteY795" fmla="*/ 52540 h 348400"/>
                <a:gd name="connsiteX796" fmla="*/ 210787 w 2663946"/>
                <a:gd name="connsiteY796" fmla="*/ 52540 h 348400"/>
                <a:gd name="connsiteX797" fmla="*/ 215383 w 2663946"/>
                <a:gd name="connsiteY797" fmla="*/ 54974 h 348400"/>
                <a:gd name="connsiteX798" fmla="*/ 217546 w 2663946"/>
                <a:gd name="connsiteY798" fmla="*/ 61192 h 348400"/>
                <a:gd name="connsiteX799" fmla="*/ 217546 w 2663946"/>
                <a:gd name="connsiteY799" fmla="*/ 61733 h 348400"/>
                <a:gd name="connsiteX800" fmla="*/ 217546 w 2663946"/>
                <a:gd name="connsiteY800" fmla="*/ 114728 h 348400"/>
                <a:gd name="connsiteX801" fmla="*/ 218087 w 2663946"/>
                <a:gd name="connsiteY801" fmla="*/ 115268 h 348400"/>
                <a:gd name="connsiteX802" fmla="*/ 225387 w 2663946"/>
                <a:gd name="connsiteY802" fmla="*/ 115268 h 348400"/>
                <a:gd name="connsiteX803" fmla="*/ 229443 w 2663946"/>
                <a:gd name="connsiteY803" fmla="*/ 116350 h 348400"/>
                <a:gd name="connsiteX804" fmla="*/ 233228 w 2663946"/>
                <a:gd name="connsiteY804" fmla="*/ 123109 h 348400"/>
                <a:gd name="connsiteX805" fmla="*/ 230524 w 2663946"/>
                <a:gd name="connsiteY805" fmla="*/ 128787 h 348400"/>
                <a:gd name="connsiteX806" fmla="*/ 226468 w 2663946"/>
                <a:gd name="connsiteY806" fmla="*/ 130680 h 348400"/>
                <a:gd name="connsiteX807" fmla="*/ 226198 w 2663946"/>
                <a:gd name="connsiteY807" fmla="*/ 130680 h 348400"/>
                <a:gd name="connsiteX808" fmla="*/ 225928 w 2663946"/>
                <a:gd name="connsiteY808" fmla="*/ 130680 h 348400"/>
                <a:gd name="connsiteX809" fmla="*/ 225387 w 2663946"/>
                <a:gd name="connsiteY809" fmla="*/ 130680 h 348400"/>
                <a:gd name="connsiteX810" fmla="*/ 193212 w 2663946"/>
                <a:gd name="connsiteY810" fmla="*/ 130680 h 348400"/>
                <a:gd name="connsiteX811" fmla="*/ 192671 w 2663946"/>
                <a:gd name="connsiteY811" fmla="*/ 130680 h 348400"/>
                <a:gd name="connsiteX812" fmla="*/ 191860 w 2663946"/>
                <a:gd name="connsiteY812" fmla="*/ 130680 h 348400"/>
                <a:gd name="connsiteX813" fmla="*/ 191049 w 2663946"/>
                <a:gd name="connsiteY813" fmla="*/ 130410 h 348400"/>
                <a:gd name="connsiteX814" fmla="*/ 187534 w 2663946"/>
                <a:gd name="connsiteY814" fmla="*/ 128517 h 348400"/>
                <a:gd name="connsiteX815" fmla="*/ 185101 w 2663946"/>
                <a:gd name="connsiteY815" fmla="*/ 122839 h 348400"/>
                <a:gd name="connsiteX816" fmla="*/ 187264 w 2663946"/>
                <a:gd name="connsiteY816" fmla="*/ 117702 h 348400"/>
                <a:gd name="connsiteX817" fmla="*/ 192942 w 2663946"/>
                <a:gd name="connsiteY817" fmla="*/ 115268 h 348400"/>
                <a:gd name="connsiteX818" fmla="*/ 200783 w 2663946"/>
                <a:gd name="connsiteY818" fmla="*/ 115268 h 348400"/>
                <a:gd name="connsiteX819" fmla="*/ 201323 w 2663946"/>
                <a:gd name="connsiteY819" fmla="*/ 114728 h 348400"/>
                <a:gd name="connsiteX820" fmla="*/ 201323 w 2663946"/>
                <a:gd name="connsiteY820" fmla="*/ 68763 h 348400"/>
                <a:gd name="connsiteX821" fmla="*/ 200783 w 2663946"/>
                <a:gd name="connsiteY821" fmla="*/ 68222 h 348400"/>
                <a:gd name="connsiteX822" fmla="*/ 194834 w 2663946"/>
                <a:gd name="connsiteY822" fmla="*/ 68222 h 348400"/>
                <a:gd name="connsiteX823" fmla="*/ 187534 w 2663946"/>
                <a:gd name="connsiteY823" fmla="*/ 63626 h 348400"/>
                <a:gd name="connsiteX824" fmla="*/ 187264 w 2663946"/>
                <a:gd name="connsiteY824" fmla="*/ 57948 h 348400"/>
                <a:gd name="connsiteX825" fmla="*/ 194564 w 2663946"/>
                <a:gd name="connsiteY825" fmla="*/ 52811 h 348400"/>
                <a:gd name="connsiteX826" fmla="*/ 206731 w 2663946"/>
                <a:gd name="connsiteY826" fmla="*/ 52540 h 348400"/>
                <a:gd name="connsiteX827" fmla="*/ 2627559 w 2663946"/>
                <a:gd name="connsiteY827" fmla="*/ 52471 h 348400"/>
                <a:gd name="connsiteX828" fmla="*/ 2639849 w 2663946"/>
                <a:gd name="connsiteY828" fmla="*/ 54634 h 348400"/>
                <a:gd name="connsiteX829" fmla="*/ 2647223 w 2663946"/>
                <a:gd name="connsiteY829" fmla="*/ 59231 h 348400"/>
                <a:gd name="connsiteX830" fmla="*/ 2650664 w 2663946"/>
                <a:gd name="connsiteY830" fmla="*/ 62475 h 348400"/>
                <a:gd name="connsiteX831" fmla="*/ 2654106 w 2663946"/>
                <a:gd name="connsiteY831" fmla="*/ 66801 h 348400"/>
                <a:gd name="connsiteX832" fmla="*/ 2656072 w 2663946"/>
                <a:gd name="connsiteY832" fmla="*/ 70316 h 348400"/>
                <a:gd name="connsiteX833" fmla="*/ 2658284 w 2663946"/>
                <a:gd name="connsiteY833" fmla="*/ 75724 h 348400"/>
                <a:gd name="connsiteX834" fmla="*/ 2659267 w 2663946"/>
                <a:gd name="connsiteY834" fmla="*/ 79239 h 348400"/>
                <a:gd name="connsiteX835" fmla="*/ 2660251 w 2663946"/>
                <a:gd name="connsiteY835" fmla="*/ 84376 h 348400"/>
                <a:gd name="connsiteX836" fmla="*/ 2660005 w 2663946"/>
                <a:gd name="connsiteY836" fmla="*/ 98706 h 348400"/>
                <a:gd name="connsiteX837" fmla="*/ 2659022 w 2663946"/>
                <a:gd name="connsiteY837" fmla="*/ 103573 h 348400"/>
                <a:gd name="connsiteX838" fmla="*/ 2657792 w 2663946"/>
                <a:gd name="connsiteY838" fmla="*/ 107358 h 348400"/>
                <a:gd name="connsiteX839" fmla="*/ 2656809 w 2663946"/>
                <a:gd name="connsiteY839" fmla="*/ 109792 h 348400"/>
                <a:gd name="connsiteX840" fmla="*/ 2654597 w 2663946"/>
                <a:gd name="connsiteY840" fmla="*/ 114118 h 348400"/>
                <a:gd name="connsiteX841" fmla="*/ 2652385 w 2663946"/>
                <a:gd name="connsiteY841" fmla="*/ 117362 h 348400"/>
                <a:gd name="connsiteX842" fmla="*/ 2648944 w 2663946"/>
                <a:gd name="connsiteY842" fmla="*/ 121148 h 348400"/>
                <a:gd name="connsiteX843" fmla="*/ 2645748 w 2663946"/>
                <a:gd name="connsiteY843" fmla="*/ 123851 h 348400"/>
                <a:gd name="connsiteX844" fmla="*/ 2640095 w 2663946"/>
                <a:gd name="connsiteY844" fmla="*/ 127096 h 348400"/>
                <a:gd name="connsiteX845" fmla="*/ 2632229 w 2663946"/>
                <a:gd name="connsiteY845" fmla="*/ 129259 h 348400"/>
                <a:gd name="connsiteX846" fmla="*/ 2631000 w 2663946"/>
                <a:gd name="connsiteY846" fmla="*/ 129530 h 348400"/>
                <a:gd name="connsiteX847" fmla="*/ 2626821 w 2663946"/>
                <a:gd name="connsiteY847" fmla="*/ 129530 h 348400"/>
                <a:gd name="connsiteX848" fmla="*/ 2626576 w 2663946"/>
                <a:gd name="connsiteY848" fmla="*/ 129530 h 348400"/>
                <a:gd name="connsiteX849" fmla="*/ 2613548 w 2663946"/>
                <a:gd name="connsiteY849" fmla="*/ 124663 h 348400"/>
                <a:gd name="connsiteX850" fmla="*/ 2608878 w 2663946"/>
                <a:gd name="connsiteY850" fmla="*/ 120607 h 348400"/>
                <a:gd name="connsiteX851" fmla="*/ 2605682 w 2663946"/>
                <a:gd name="connsiteY851" fmla="*/ 116822 h 348400"/>
                <a:gd name="connsiteX852" fmla="*/ 2603470 w 2663946"/>
                <a:gd name="connsiteY852" fmla="*/ 113307 h 348400"/>
                <a:gd name="connsiteX853" fmla="*/ 2601258 w 2663946"/>
                <a:gd name="connsiteY853" fmla="*/ 108981 h 348400"/>
                <a:gd name="connsiteX854" fmla="*/ 2600029 w 2663946"/>
                <a:gd name="connsiteY854" fmla="*/ 106006 h 348400"/>
                <a:gd name="connsiteX855" fmla="*/ 2599046 w 2663946"/>
                <a:gd name="connsiteY855" fmla="*/ 102762 h 348400"/>
                <a:gd name="connsiteX856" fmla="*/ 2597816 w 2663946"/>
                <a:gd name="connsiteY856" fmla="*/ 97084 h 348400"/>
                <a:gd name="connsiteX857" fmla="*/ 2597571 w 2663946"/>
                <a:gd name="connsiteY857" fmla="*/ 94110 h 348400"/>
                <a:gd name="connsiteX858" fmla="*/ 2597816 w 2663946"/>
                <a:gd name="connsiteY858" fmla="*/ 94380 h 348400"/>
                <a:gd name="connsiteX859" fmla="*/ 2597816 w 2663946"/>
                <a:gd name="connsiteY859" fmla="*/ 88702 h 348400"/>
                <a:gd name="connsiteX860" fmla="*/ 2597816 w 2663946"/>
                <a:gd name="connsiteY860" fmla="*/ 88432 h 348400"/>
                <a:gd name="connsiteX861" fmla="*/ 2598308 w 2663946"/>
                <a:gd name="connsiteY861" fmla="*/ 83835 h 348400"/>
                <a:gd name="connsiteX862" fmla="*/ 2599537 w 2663946"/>
                <a:gd name="connsiteY862" fmla="*/ 78428 h 348400"/>
                <a:gd name="connsiteX863" fmla="*/ 2600520 w 2663946"/>
                <a:gd name="connsiteY863" fmla="*/ 75183 h 348400"/>
                <a:gd name="connsiteX864" fmla="*/ 2602732 w 2663946"/>
                <a:gd name="connsiteY864" fmla="*/ 70046 h 348400"/>
                <a:gd name="connsiteX865" fmla="*/ 2604945 w 2663946"/>
                <a:gd name="connsiteY865" fmla="*/ 66261 h 348400"/>
                <a:gd name="connsiteX866" fmla="*/ 2607157 w 2663946"/>
                <a:gd name="connsiteY866" fmla="*/ 63286 h 348400"/>
                <a:gd name="connsiteX867" fmla="*/ 2609369 w 2663946"/>
                <a:gd name="connsiteY867" fmla="*/ 60853 h 348400"/>
                <a:gd name="connsiteX868" fmla="*/ 2614039 w 2663946"/>
                <a:gd name="connsiteY868" fmla="*/ 57068 h 348400"/>
                <a:gd name="connsiteX869" fmla="*/ 2617972 w 2663946"/>
                <a:gd name="connsiteY869" fmla="*/ 54905 h 348400"/>
                <a:gd name="connsiteX870" fmla="*/ 2627559 w 2663946"/>
                <a:gd name="connsiteY870" fmla="*/ 52471 h 348400"/>
                <a:gd name="connsiteX871" fmla="*/ 2445604 w 2663946"/>
                <a:gd name="connsiteY871" fmla="*/ 52471 h 348400"/>
                <a:gd name="connsiteX872" fmla="*/ 2457894 w 2663946"/>
                <a:gd name="connsiteY872" fmla="*/ 54634 h 348400"/>
                <a:gd name="connsiteX873" fmla="*/ 2465268 w 2663946"/>
                <a:gd name="connsiteY873" fmla="*/ 59231 h 348400"/>
                <a:gd name="connsiteX874" fmla="*/ 2468709 w 2663946"/>
                <a:gd name="connsiteY874" fmla="*/ 62475 h 348400"/>
                <a:gd name="connsiteX875" fmla="*/ 2472151 w 2663946"/>
                <a:gd name="connsiteY875" fmla="*/ 66801 h 348400"/>
                <a:gd name="connsiteX876" fmla="*/ 2474117 w 2663946"/>
                <a:gd name="connsiteY876" fmla="*/ 70316 h 348400"/>
                <a:gd name="connsiteX877" fmla="*/ 2476329 w 2663946"/>
                <a:gd name="connsiteY877" fmla="*/ 75724 h 348400"/>
                <a:gd name="connsiteX878" fmla="*/ 2477312 w 2663946"/>
                <a:gd name="connsiteY878" fmla="*/ 79239 h 348400"/>
                <a:gd name="connsiteX879" fmla="*/ 2478296 w 2663946"/>
                <a:gd name="connsiteY879" fmla="*/ 84376 h 348400"/>
                <a:gd name="connsiteX880" fmla="*/ 2478050 w 2663946"/>
                <a:gd name="connsiteY880" fmla="*/ 98706 h 348400"/>
                <a:gd name="connsiteX881" fmla="*/ 2477067 w 2663946"/>
                <a:gd name="connsiteY881" fmla="*/ 103573 h 348400"/>
                <a:gd name="connsiteX882" fmla="*/ 2475837 w 2663946"/>
                <a:gd name="connsiteY882" fmla="*/ 107358 h 348400"/>
                <a:gd name="connsiteX883" fmla="*/ 2474854 w 2663946"/>
                <a:gd name="connsiteY883" fmla="*/ 109792 h 348400"/>
                <a:gd name="connsiteX884" fmla="*/ 2472642 w 2663946"/>
                <a:gd name="connsiteY884" fmla="*/ 114118 h 348400"/>
                <a:gd name="connsiteX885" fmla="*/ 2470430 w 2663946"/>
                <a:gd name="connsiteY885" fmla="*/ 117362 h 348400"/>
                <a:gd name="connsiteX886" fmla="*/ 2466989 w 2663946"/>
                <a:gd name="connsiteY886" fmla="*/ 121148 h 348400"/>
                <a:gd name="connsiteX887" fmla="*/ 2463793 w 2663946"/>
                <a:gd name="connsiteY887" fmla="*/ 123851 h 348400"/>
                <a:gd name="connsiteX888" fmla="*/ 2458140 w 2663946"/>
                <a:gd name="connsiteY888" fmla="*/ 127096 h 348400"/>
                <a:gd name="connsiteX889" fmla="*/ 2450274 w 2663946"/>
                <a:gd name="connsiteY889" fmla="*/ 129259 h 348400"/>
                <a:gd name="connsiteX890" fmla="*/ 2449045 w 2663946"/>
                <a:gd name="connsiteY890" fmla="*/ 129530 h 348400"/>
                <a:gd name="connsiteX891" fmla="*/ 2444866 w 2663946"/>
                <a:gd name="connsiteY891" fmla="*/ 129530 h 348400"/>
                <a:gd name="connsiteX892" fmla="*/ 2444621 w 2663946"/>
                <a:gd name="connsiteY892" fmla="*/ 129530 h 348400"/>
                <a:gd name="connsiteX893" fmla="*/ 2431593 w 2663946"/>
                <a:gd name="connsiteY893" fmla="*/ 124663 h 348400"/>
                <a:gd name="connsiteX894" fmla="*/ 2426923 w 2663946"/>
                <a:gd name="connsiteY894" fmla="*/ 120607 h 348400"/>
                <a:gd name="connsiteX895" fmla="*/ 2423727 w 2663946"/>
                <a:gd name="connsiteY895" fmla="*/ 116822 h 348400"/>
                <a:gd name="connsiteX896" fmla="*/ 2421515 w 2663946"/>
                <a:gd name="connsiteY896" fmla="*/ 113307 h 348400"/>
                <a:gd name="connsiteX897" fmla="*/ 2419303 w 2663946"/>
                <a:gd name="connsiteY897" fmla="*/ 108981 h 348400"/>
                <a:gd name="connsiteX898" fmla="*/ 2418074 w 2663946"/>
                <a:gd name="connsiteY898" fmla="*/ 106006 h 348400"/>
                <a:gd name="connsiteX899" fmla="*/ 2417091 w 2663946"/>
                <a:gd name="connsiteY899" fmla="*/ 102762 h 348400"/>
                <a:gd name="connsiteX900" fmla="*/ 2415861 w 2663946"/>
                <a:gd name="connsiteY900" fmla="*/ 97084 h 348400"/>
                <a:gd name="connsiteX901" fmla="*/ 2415616 w 2663946"/>
                <a:gd name="connsiteY901" fmla="*/ 94110 h 348400"/>
                <a:gd name="connsiteX902" fmla="*/ 2415861 w 2663946"/>
                <a:gd name="connsiteY902" fmla="*/ 94380 h 348400"/>
                <a:gd name="connsiteX903" fmla="*/ 2415861 w 2663946"/>
                <a:gd name="connsiteY903" fmla="*/ 88702 h 348400"/>
                <a:gd name="connsiteX904" fmla="*/ 2415861 w 2663946"/>
                <a:gd name="connsiteY904" fmla="*/ 88432 h 348400"/>
                <a:gd name="connsiteX905" fmla="*/ 2416353 w 2663946"/>
                <a:gd name="connsiteY905" fmla="*/ 83835 h 348400"/>
                <a:gd name="connsiteX906" fmla="*/ 2417582 w 2663946"/>
                <a:gd name="connsiteY906" fmla="*/ 78428 h 348400"/>
                <a:gd name="connsiteX907" fmla="*/ 2418565 w 2663946"/>
                <a:gd name="connsiteY907" fmla="*/ 75183 h 348400"/>
                <a:gd name="connsiteX908" fmla="*/ 2420777 w 2663946"/>
                <a:gd name="connsiteY908" fmla="*/ 70046 h 348400"/>
                <a:gd name="connsiteX909" fmla="*/ 2422990 w 2663946"/>
                <a:gd name="connsiteY909" fmla="*/ 66261 h 348400"/>
                <a:gd name="connsiteX910" fmla="*/ 2425202 w 2663946"/>
                <a:gd name="connsiteY910" fmla="*/ 63286 h 348400"/>
                <a:gd name="connsiteX911" fmla="*/ 2427414 w 2663946"/>
                <a:gd name="connsiteY911" fmla="*/ 60853 h 348400"/>
                <a:gd name="connsiteX912" fmla="*/ 2432084 w 2663946"/>
                <a:gd name="connsiteY912" fmla="*/ 57068 h 348400"/>
                <a:gd name="connsiteX913" fmla="*/ 2436017 w 2663946"/>
                <a:gd name="connsiteY913" fmla="*/ 54905 h 348400"/>
                <a:gd name="connsiteX914" fmla="*/ 2445604 w 2663946"/>
                <a:gd name="connsiteY914" fmla="*/ 52471 h 348400"/>
                <a:gd name="connsiteX915" fmla="*/ 2202558 w 2663946"/>
                <a:gd name="connsiteY915" fmla="*/ 52471 h 348400"/>
                <a:gd name="connsiteX916" fmla="*/ 2214848 w 2663946"/>
                <a:gd name="connsiteY916" fmla="*/ 54634 h 348400"/>
                <a:gd name="connsiteX917" fmla="*/ 2222222 w 2663946"/>
                <a:gd name="connsiteY917" fmla="*/ 59231 h 348400"/>
                <a:gd name="connsiteX918" fmla="*/ 2225663 w 2663946"/>
                <a:gd name="connsiteY918" fmla="*/ 62475 h 348400"/>
                <a:gd name="connsiteX919" fmla="*/ 2229105 w 2663946"/>
                <a:gd name="connsiteY919" fmla="*/ 66801 h 348400"/>
                <a:gd name="connsiteX920" fmla="*/ 2231071 w 2663946"/>
                <a:gd name="connsiteY920" fmla="*/ 70316 h 348400"/>
                <a:gd name="connsiteX921" fmla="*/ 2233283 w 2663946"/>
                <a:gd name="connsiteY921" fmla="*/ 75724 h 348400"/>
                <a:gd name="connsiteX922" fmla="*/ 2234266 w 2663946"/>
                <a:gd name="connsiteY922" fmla="*/ 79239 h 348400"/>
                <a:gd name="connsiteX923" fmla="*/ 2235250 w 2663946"/>
                <a:gd name="connsiteY923" fmla="*/ 84376 h 348400"/>
                <a:gd name="connsiteX924" fmla="*/ 2235004 w 2663946"/>
                <a:gd name="connsiteY924" fmla="*/ 98706 h 348400"/>
                <a:gd name="connsiteX925" fmla="*/ 2234021 w 2663946"/>
                <a:gd name="connsiteY925" fmla="*/ 103573 h 348400"/>
                <a:gd name="connsiteX926" fmla="*/ 2232791 w 2663946"/>
                <a:gd name="connsiteY926" fmla="*/ 107358 h 348400"/>
                <a:gd name="connsiteX927" fmla="*/ 2231808 w 2663946"/>
                <a:gd name="connsiteY927" fmla="*/ 109792 h 348400"/>
                <a:gd name="connsiteX928" fmla="*/ 2229596 w 2663946"/>
                <a:gd name="connsiteY928" fmla="*/ 114118 h 348400"/>
                <a:gd name="connsiteX929" fmla="*/ 2227384 w 2663946"/>
                <a:gd name="connsiteY929" fmla="*/ 117362 h 348400"/>
                <a:gd name="connsiteX930" fmla="*/ 2223943 w 2663946"/>
                <a:gd name="connsiteY930" fmla="*/ 121148 h 348400"/>
                <a:gd name="connsiteX931" fmla="*/ 2220747 w 2663946"/>
                <a:gd name="connsiteY931" fmla="*/ 123851 h 348400"/>
                <a:gd name="connsiteX932" fmla="*/ 2215094 w 2663946"/>
                <a:gd name="connsiteY932" fmla="*/ 127096 h 348400"/>
                <a:gd name="connsiteX933" fmla="*/ 2207228 w 2663946"/>
                <a:gd name="connsiteY933" fmla="*/ 129259 h 348400"/>
                <a:gd name="connsiteX934" fmla="*/ 2205999 w 2663946"/>
                <a:gd name="connsiteY934" fmla="*/ 129530 h 348400"/>
                <a:gd name="connsiteX935" fmla="*/ 2201820 w 2663946"/>
                <a:gd name="connsiteY935" fmla="*/ 129530 h 348400"/>
                <a:gd name="connsiteX936" fmla="*/ 2201575 w 2663946"/>
                <a:gd name="connsiteY936" fmla="*/ 129530 h 348400"/>
                <a:gd name="connsiteX937" fmla="*/ 2188547 w 2663946"/>
                <a:gd name="connsiteY937" fmla="*/ 124663 h 348400"/>
                <a:gd name="connsiteX938" fmla="*/ 2183877 w 2663946"/>
                <a:gd name="connsiteY938" fmla="*/ 120607 h 348400"/>
                <a:gd name="connsiteX939" fmla="*/ 2180681 w 2663946"/>
                <a:gd name="connsiteY939" fmla="*/ 116822 h 348400"/>
                <a:gd name="connsiteX940" fmla="*/ 2178469 w 2663946"/>
                <a:gd name="connsiteY940" fmla="*/ 113307 h 348400"/>
                <a:gd name="connsiteX941" fmla="*/ 2176257 w 2663946"/>
                <a:gd name="connsiteY941" fmla="*/ 108981 h 348400"/>
                <a:gd name="connsiteX942" fmla="*/ 2175028 w 2663946"/>
                <a:gd name="connsiteY942" fmla="*/ 106006 h 348400"/>
                <a:gd name="connsiteX943" fmla="*/ 2174045 w 2663946"/>
                <a:gd name="connsiteY943" fmla="*/ 102762 h 348400"/>
                <a:gd name="connsiteX944" fmla="*/ 2172815 w 2663946"/>
                <a:gd name="connsiteY944" fmla="*/ 97084 h 348400"/>
                <a:gd name="connsiteX945" fmla="*/ 2172570 w 2663946"/>
                <a:gd name="connsiteY945" fmla="*/ 94110 h 348400"/>
                <a:gd name="connsiteX946" fmla="*/ 2172815 w 2663946"/>
                <a:gd name="connsiteY946" fmla="*/ 94380 h 348400"/>
                <a:gd name="connsiteX947" fmla="*/ 2172815 w 2663946"/>
                <a:gd name="connsiteY947" fmla="*/ 88702 h 348400"/>
                <a:gd name="connsiteX948" fmla="*/ 2172815 w 2663946"/>
                <a:gd name="connsiteY948" fmla="*/ 88432 h 348400"/>
                <a:gd name="connsiteX949" fmla="*/ 2173307 w 2663946"/>
                <a:gd name="connsiteY949" fmla="*/ 83835 h 348400"/>
                <a:gd name="connsiteX950" fmla="*/ 2174536 w 2663946"/>
                <a:gd name="connsiteY950" fmla="*/ 78428 h 348400"/>
                <a:gd name="connsiteX951" fmla="*/ 2175519 w 2663946"/>
                <a:gd name="connsiteY951" fmla="*/ 75183 h 348400"/>
                <a:gd name="connsiteX952" fmla="*/ 2177731 w 2663946"/>
                <a:gd name="connsiteY952" fmla="*/ 70046 h 348400"/>
                <a:gd name="connsiteX953" fmla="*/ 2179944 w 2663946"/>
                <a:gd name="connsiteY953" fmla="*/ 66261 h 348400"/>
                <a:gd name="connsiteX954" fmla="*/ 2182156 w 2663946"/>
                <a:gd name="connsiteY954" fmla="*/ 63286 h 348400"/>
                <a:gd name="connsiteX955" fmla="*/ 2184368 w 2663946"/>
                <a:gd name="connsiteY955" fmla="*/ 60853 h 348400"/>
                <a:gd name="connsiteX956" fmla="*/ 2189038 w 2663946"/>
                <a:gd name="connsiteY956" fmla="*/ 57068 h 348400"/>
                <a:gd name="connsiteX957" fmla="*/ 2192971 w 2663946"/>
                <a:gd name="connsiteY957" fmla="*/ 54905 h 348400"/>
                <a:gd name="connsiteX958" fmla="*/ 2202558 w 2663946"/>
                <a:gd name="connsiteY958" fmla="*/ 52471 h 348400"/>
                <a:gd name="connsiteX959" fmla="*/ 2020607 w 2663946"/>
                <a:gd name="connsiteY959" fmla="*/ 52471 h 348400"/>
                <a:gd name="connsiteX960" fmla="*/ 2032897 w 2663946"/>
                <a:gd name="connsiteY960" fmla="*/ 54634 h 348400"/>
                <a:gd name="connsiteX961" fmla="*/ 2040271 w 2663946"/>
                <a:gd name="connsiteY961" fmla="*/ 59231 h 348400"/>
                <a:gd name="connsiteX962" fmla="*/ 2043712 w 2663946"/>
                <a:gd name="connsiteY962" fmla="*/ 62475 h 348400"/>
                <a:gd name="connsiteX963" fmla="*/ 2047154 w 2663946"/>
                <a:gd name="connsiteY963" fmla="*/ 66801 h 348400"/>
                <a:gd name="connsiteX964" fmla="*/ 2049120 w 2663946"/>
                <a:gd name="connsiteY964" fmla="*/ 70316 h 348400"/>
                <a:gd name="connsiteX965" fmla="*/ 2051332 w 2663946"/>
                <a:gd name="connsiteY965" fmla="*/ 75724 h 348400"/>
                <a:gd name="connsiteX966" fmla="*/ 2052315 w 2663946"/>
                <a:gd name="connsiteY966" fmla="*/ 79239 h 348400"/>
                <a:gd name="connsiteX967" fmla="*/ 2053299 w 2663946"/>
                <a:gd name="connsiteY967" fmla="*/ 84376 h 348400"/>
                <a:gd name="connsiteX968" fmla="*/ 2053053 w 2663946"/>
                <a:gd name="connsiteY968" fmla="*/ 98706 h 348400"/>
                <a:gd name="connsiteX969" fmla="*/ 2052070 w 2663946"/>
                <a:gd name="connsiteY969" fmla="*/ 103573 h 348400"/>
                <a:gd name="connsiteX970" fmla="*/ 2050840 w 2663946"/>
                <a:gd name="connsiteY970" fmla="*/ 107358 h 348400"/>
                <a:gd name="connsiteX971" fmla="*/ 2049857 w 2663946"/>
                <a:gd name="connsiteY971" fmla="*/ 109792 h 348400"/>
                <a:gd name="connsiteX972" fmla="*/ 2047645 w 2663946"/>
                <a:gd name="connsiteY972" fmla="*/ 114118 h 348400"/>
                <a:gd name="connsiteX973" fmla="*/ 2045433 w 2663946"/>
                <a:gd name="connsiteY973" fmla="*/ 117362 h 348400"/>
                <a:gd name="connsiteX974" fmla="*/ 2041992 w 2663946"/>
                <a:gd name="connsiteY974" fmla="*/ 121148 h 348400"/>
                <a:gd name="connsiteX975" fmla="*/ 2038796 w 2663946"/>
                <a:gd name="connsiteY975" fmla="*/ 123851 h 348400"/>
                <a:gd name="connsiteX976" fmla="*/ 2033143 w 2663946"/>
                <a:gd name="connsiteY976" fmla="*/ 127096 h 348400"/>
                <a:gd name="connsiteX977" fmla="*/ 2025277 w 2663946"/>
                <a:gd name="connsiteY977" fmla="*/ 129259 h 348400"/>
                <a:gd name="connsiteX978" fmla="*/ 2024048 w 2663946"/>
                <a:gd name="connsiteY978" fmla="*/ 129530 h 348400"/>
                <a:gd name="connsiteX979" fmla="*/ 2019869 w 2663946"/>
                <a:gd name="connsiteY979" fmla="*/ 129530 h 348400"/>
                <a:gd name="connsiteX980" fmla="*/ 2019624 w 2663946"/>
                <a:gd name="connsiteY980" fmla="*/ 129530 h 348400"/>
                <a:gd name="connsiteX981" fmla="*/ 2006596 w 2663946"/>
                <a:gd name="connsiteY981" fmla="*/ 124663 h 348400"/>
                <a:gd name="connsiteX982" fmla="*/ 2001926 w 2663946"/>
                <a:gd name="connsiteY982" fmla="*/ 120607 h 348400"/>
                <a:gd name="connsiteX983" fmla="*/ 1998730 w 2663946"/>
                <a:gd name="connsiteY983" fmla="*/ 116822 h 348400"/>
                <a:gd name="connsiteX984" fmla="*/ 1996518 w 2663946"/>
                <a:gd name="connsiteY984" fmla="*/ 113307 h 348400"/>
                <a:gd name="connsiteX985" fmla="*/ 1994306 w 2663946"/>
                <a:gd name="connsiteY985" fmla="*/ 108981 h 348400"/>
                <a:gd name="connsiteX986" fmla="*/ 1993077 w 2663946"/>
                <a:gd name="connsiteY986" fmla="*/ 106006 h 348400"/>
                <a:gd name="connsiteX987" fmla="*/ 1992094 w 2663946"/>
                <a:gd name="connsiteY987" fmla="*/ 102762 h 348400"/>
                <a:gd name="connsiteX988" fmla="*/ 1990864 w 2663946"/>
                <a:gd name="connsiteY988" fmla="*/ 97084 h 348400"/>
                <a:gd name="connsiteX989" fmla="*/ 1990619 w 2663946"/>
                <a:gd name="connsiteY989" fmla="*/ 94110 h 348400"/>
                <a:gd name="connsiteX990" fmla="*/ 1990864 w 2663946"/>
                <a:gd name="connsiteY990" fmla="*/ 94380 h 348400"/>
                <a:gd name="connsiteX991" fmla="*/ 1990864 w 2663946"/>
                <a:gd name="connsiteY991" fmla="*/ 88702 h 348400"/>
                <a:gd name="connsiteX992" fmla="*/ 1990864 w 2663946"/>
                <a:gd name="connsiteY992" fmla="*/ 88432 h 348400"/>
                <a:gd name="connsiteX993" fmla="*/ 1991356 w 2663946"/>
                <a:gd name="connsiteY993" fmla="*/ 83835 h 348400"/>
                <a:gd name="connsiteX994" fmla="*/ 1992585 w 2663946"/>
                <a:gd name="connsiteY994" fmla="*/ 78428 h 348400"/>
                <a:gd name="connsiteX995" fmla="*/ 1993568 w 2663946"/>
                <a:gd name="connsiteY995" fmla="*/ 75183 h 348400"/>
                <a:gd name="connsiteX996" fmla="*/ 1995780 w 2663946"/>
                <a:gd name="connsiteY996" fmla="*/ 70046 h 348400"/>
                <a:gd name="connsiteX997" fmla="*/ 1997993 w 2663946"/>
                <a:gd name="connsiteY997" fmla="*/ 66261 h 348400"/>
                <a:gd name="connsiteX998" fmla="*/ 2000205 w 2663946"/>
                <a:gd name="connsiteY998" fmla="*/ 63286 h 348400"/>
                <a:gd name="connsiteX999" fmla="*/ 2002417 w 2663946"/>
                <a:gd name="connsiteY999" fmla="*/ 60853 h 348400"/>
                <a:gd name="connsiteX1000" fmla="*/ 2007087 w 2663946"/>
                <a:gd name="connsiteY1000" fmla="*/ 57068 h 348400"/>
                <a:gd name="connsiteX1001" fmla="*/ 2011020 w 2663946"/>
                <a:gd name="connsiteY1001" fmla="*/ 54905 h 348400"/>
                <a:gd name="connsiteX1002" fmla="*/ 2020607 w 2663946"/>
                <a:gd name="connsiteY1002" fmla="*/ 52471 h 348400"/>
                <a:gd name="connsiteX1003" fmla="*/ 1595683 w 2663946"/>
                <a:gd name="connsiteY1003" fmla="*/ 52471 h 348400"/>
                <a:gd name="connsiteX1004" fmla="*/ 1607973 w 2663946"/>
                <a:gd name="connsiteY1004" fmla="*/ 54634 h 348400"/>
                <a:gd name="connsiteX1005" fmla="*/ 1615347 w 2663946"/>
                <a:gd name="connsiteY1005" fmla="*/ 59231 h 348400"/>
                <a:gd name="connsiteX1006" fmla="*/ 1618788 w 2663946"/>
                <a:gd name="connsiteY1006" fmla="*/ 62475 h 348400"/>
                <a:gd name="connsiteX1007" fmla="*/ 1622230 w 2663946"/>
                <a:gd name="connsiteY1007" fmla="*/ 66801 h 348400"/>
                <a:gd name="connsiteX1008" fmla="*/ 1624196 w 2663946"/>
                <a:gd name="connsiteY1008" fmla="*/ 70316 h 348400"/>
                <a:gd name="connsiteX1009" fmla="*/ 1626408 w 2663946"/>
                <a:gd name="connsiteY1009" fmla="*/ 75724 h 348400"/>
                <a:gd name="connsiteX1010" fmla="*/ 1627391 w 2663946"/>
                <a:gd name="connsiteY1010" fmla="*/ 79239 h 348400"/>
                <a:gd name="connsiteX1011" fmla="*/ 1628374 w 2663946"/>
                <a:gd name="connsiteY1011" fmla="*/ 84376 h 348400"/>
                <a:gd name="connsiteX1012" fmla="*/ 1628129 w 2663946"/>
                <a:gd name="connsiteY1012" fmla="*/ 98706 h 348400"/>
                <a:gd name="connsiteX1013" fmla="*/ 1627146 w 2663946"/>
                <a:gd name="connsiteY1013" fmla="*/ 103573 h 348400"/>
                <a:gd name="connsiteX1014" fmla="*/ 1625916 w 2663946"/>
                <a:gd name="connsiteY1014" fmla="*/ 107358 h 348400"/>
                <a:gd name="connsiteX1015" fmla="*/ 1624933 w 2663946"/>
                <a:gd name="connsiteY1015" fmla="*/ 109792 h 348400"/>
                <a:gd name="connsiteX1016" fmla="*/ 1622721 w 2663946"/>
                <a:gd name="connsiteY1016" fmla="*/ 114118 h 348400"/>
                <a:gd name="connsiteX1017" fmla="*/ 1620509 w 2663946"/>
                <a:gd name="connsiteY1017" fmla="*/ 117362 h 348400"/>
                <a:gd name="connsiteX1018" fmla="*/ 1617068 w 2663946"/>
                <a:gd name="connsiteY1018" fmla="*/ 121148 h 348400"/>
                <a:gd name="connsiteX1019" fmla="*/ 1613872 w 2663946"/>
                <a:gd name="connsiteY1019" fmla="*/ 123851 h 348400"/>
                <a:gd name="connsiteX1020" fmla="*/ 1608219 w 2663946"/>
                <a:gd name="connsiteY1020" fmla="*/ 127096 h 348400"/>
                <a:gd name="connsiteX1021" fmla="*/ 1600353 w 2663946"/>
                <a:gd name="connsiteY1021" fmla="*/ 129259 h 348400"/>
                <a:gd name="connsiteX1022" fmla="*/ 1599124 w 2663946"/>
                <a:gd name="connsiteY1022" fmla="*/ 129530 h 348400"/>
                <a:gd name="connsiteX1023" fmla="*/ 1594945 w 2663946"/>
                <a:gd name="connsiteY1023" fmla="*/ 129530 h 348400"/>
                <a:gd name="connsiteX1024" fmla="*/ 1594699 w 2663946"/>
                <a:gd name="connsiteY1024" fmla="*/ 129530 h 348400"/>
                <a:gd name="connsiteX1025" fmla="*/ 1581672 w 2663946"/>
                <a:gd name="connsiteY1025" fmla="*/ 124663 h 348400"/>
                <a:gd name="connsiteX1026" fmla="*/ 1577002 w 2663946"/>
                <a:gd name="connsiteY1026" fmla="*/ 120607 h 348400"/>
                <a:gd name="connsiteX1027" fmla="*/ 1573806 w 2663946"/>
                <a:gd name="connsiteY1027" fmla="*/ 116822 h 348400"/>
                <a:gd name="connsiteX1028" fmla="*/ 1571594 w 2663946"/>
                <a:gd name="connsiteY1028" fmla="*/ 113307 h 348400"/>
                <a:gd name="connsiteX1029" fmla="*/ 1569382 w 2663946"/>
                <a:gd name="connsiteY1029" fmla="*/ 108981 h 348400"/>
                <a:gd name="connsiteX1030" fmla="*/ 1568153 w 2663946"/>
                <a:gd name="connsiteY1030" fmla="*/ 106006 h 348400"/>
                <a:gd name="connsiteX1031" fmla="*/ 1567169 w 2663946"/>
                <a:gd name="connsiteY1031" fmla="*/ 102762 h 348400"/>
                <a:gd name="connsiteX1032" fmla="*/ 1565940 w 2663946"/>
                <a:gd name="connsiteY1032" fmla="*/ 97084 h 348400"/>
                <a:gd name="connsiteX1033" fmla="*/ 1565695 w 2663946"/>
                <a:gd name="connsiteY1033" fmla="*/ 94110 h 348400"/>
                <a:gd name="connsiteX1034" fmla="*/ 1565940 w 2663946"/>
                <a:gd name="connsiteY1034" fmla="*/ 94380 h 348400"/>
                <a:gd name="connsiteX1035" fmla="*/ 1565940 w 2663946"/>
                <a:gd name="connsiteY1035" fmla="*/ 88702 h 348400"/>
                <a:gd name="connsiteX1036" fmla="*/ 1565940 w 2663946"/>
                <a:gd name="connsiteY1036" fmla="*/ 88432 h 348400"/>
                <a:gd name="connsiteX1037" fmla="*/ 1566432 w 2663946"/>
                <a:gd name="connsiteY1037" fmla="*/ 83835 h 348400"/>
                <a:gd name="connsiteX1038" fmla="*/ 1567661 w 2663946"/>
                <a:gd name="connsiteY1038" fmla="*/ 78428 h 348400"/>
                <a:gd name="connsiteX1039" fmla="*/ 1568644 w 2663946"/>
                <a:gd name="connsiteY1039" fmla="*/ 75183 h 348400"/>
                <a:gd name="connsiteX1040" fmla="*/ 1570856 w 2663946"/>
                <a:gd name="connsiteY1040" fmla="*/ 70046 h 348400"/>
                <a:gd name="connsiteX1041" fmla="*/ 1573069 w 2663946"/>
                <a:gd name="connsiteY1041" fmla="*/ 66261 h 348400"/>
                <a:gd name="connsiteX1042" fmla="*/ 1575281 w 2663946"/>
                <a:gd name="connsiteY1042" fmla="*/ 63286 h 348400"/>
                <a:gd name="connsiteX1043" fmla="*/ 1577493 w 2663946"/>
                <a:gd name="connsiteY1043" fmla="*/ 60853 h 348400"/>
                <a:gd name="connsiteX1044" fmla="*/ 1582163 w 2663946"/>
                <a:gd name="connsiteY1044" fmla="*/ 57068 h 348400"/>
                <a:gd name="connsiteX1045" fmla="*/ 1586096 w 2663946"/>
                <a:gd name="connsiteY1045" fmla="*/ 54905 h 348400"/>
                <a:gd name="connsiteX1046" fmla="*/ 1595683 w 2663946"/>
                <a:gd name="connsiteY1046" fmla="*/ 52471 h 348400"/>
                <a:gd name="connsiteX1047" fmla="*/ 1246776 w 2663946"/>
                <a:gd name="connsiteY1047" fmla="*/ 52471 h 348400"/>
                <a:gd name="connsiteX1048" fmla="*/ 1259066 w 2663946"/>
                <a:gd name="connsiteY1048" fmla="*/ 54634 h 348400"/>
                <a:gd name="connsiteX1049" fmla="*/ 1266440 w 2663946"/>
                <a:gd name="connsiteY1049" fmla="*/ 59231 h 348400"/>
                <a:gd name="connsiteX1050" fmla="*/ 1269881 w 2663946"/>
                <a:gd name="connsiteY1050" fmla="*/ 62475 h 348400"/>
                <a:gd name="connsiteX1051" fmla="*/ 1273323 w 2663946"/>
                <a:gd name="connsiteY1051" fmla="*/ 66801 h 348400"/>
                <a:gd name="connsiteX1052" fmla="*/ 1275289 w 2663946"/>
                <a:gd name="connsiteY1052" fmla="*/ 70316 h 348400"/>
                <a:gd name="connsiteX1053" fmla="*/ 1277501 w 2663946"/>
                <a:gd name="connsiteY1053" fmla="*/ 75724 h 348400"/>
                <a:gd name="connsiteX1054" fmla="*/ 1278484 w 2663946"/>
                <a:gd name="connsiteY1054" fmla="*/ 79239 h 348400"/>
                <a:gd name="connsiteX1055" fmla="*/ 1279467 w 2663946"/>
                <a:gd name="connsiteY1055" fmla="*/ 84376 h 348400"/>
                <a:gd name="connsiteX1056" fmla="*/ 1279222 w 2663946"/>
                <a:gd name="connsiteY1056" fmla="*/ 98706 h 348400"/>
                <a:gd name="connsiteX1057" fmla="*/ 1278239 w 2663946"/>
                <a:gd name="connsiteY1057" fmla="*/ 103573 h 348400"/>
                <a:gd name="connsiteX1058" fmla="*/ 1277009 w 2663946"/>
                <a:gd name="connsiteY1058" fmla="*/ 107358 h 348400"/>
                <a:gd name="connsiteX1059" fmla="*/ 1276026 w 2663946"/>
                <a:gd name="connsiteY1059" fmla="*/ 109792 h 348400"/>
                <a:gd name="connsiteX1060" fmla="*/ 1273814 w 2663946"/>
                <a:gd name="connsiteY1060" fmla="*/ 114118 h 348400"/>
                <a:gd name="connsiteX1061" fmla="*/ 1271602 w 2663946"/>
                <a:gd name="connsiteY1061" fmla="*/ 117362 h 348400"/>
                <a:gd name="connsiteX1062" fmla="*/ 1268161 w 2663946"/>
                <a:gd name="connsiteY1062" fmla="*/ 121148 h 348400"/>
                <a:gd name="connsiteX1063" fmla="*/ 1264965 w 2663946"/>
                <a:gd name="connsiteY1063" fmla="*/ 123851 h 348400"/>
                <a:gd name="connsiteX1064" fmla="*/ 1259312 w 2663946"/>
                <a:gd name="connsiteY1064" fmla="*/ 127096 h 348400"/>
                <a:gd name="connsiteX1065" fmla="*/ 1251446 w 2663946"/>
                <a:gd name="connsiteY1065" fmla="*/ 129259 h 348400"/>
                <a:gd name="connsiteX1066" fmla="*/ 1250217 w 2663946"/>
                <a:gd name="connsiteY1066" fmla="*/ 129530 h 348400"/>
                <a:gd name="connsiteX1067" fmla="*/ 1246038 w 2663946"/>
                <a:gd name="connsiteY1067" fmla="*/ 129530 h 348400"/>
                <a:gd name="connsiteX1068" fmla="*/ 1245792 w 2663946"/>
                <a:gd name="connsiteY1068" fmla="*/ 129530 h 348400"/>
                <a:gd name="connsiteX1069" fmla="*/ 1232765 w 2663946"/>
                <a:gd name="connsiteY1069" fmla="*/ 124663 h 348400"/>
                <a:gd name="connsiteX1070" fmla="*/ 1228095 w 2663946"/>
                <a:gd name="connsiteY1070" fmla="*/ 120607 h 348400"/>
                <a:gd name="connsiteX1071" fmla="*/ 1224899 w 2663946"/>
                <a:gd name="connsiteY1071" fmla="*/ 116822 h 348400"/>
                <a:gd name="connsiteX1072" fmla="*/ 1222687 w 2663946"/>
                <a:gd name="connsiteY1072" fmla="*/ 113307 h 348400"/>
                <a:gd name="connsiteX1073" fmla="*/ 1220475 w 2663946"/>
                <a:gd name="connsiteY1073" fmla="*/ 108981 h 348400"/>
                <a:gd name="connsiteX1074" fmla="*/ 1219246 w 2663946"/>
                <a:gd name="connsiteY1074" fmla="*/ 106006 h 348400"/>
                <a:gd name="connsiteX1075" fmla="*/ 1218262 w 2663946"/>
                <a:gd name="connsiteY1075" fmla="*/ 102762 h 348400"/>
                <a:gd name="connsiteX1076" fmla="*/ 1217033 w 2663946"/>
                <a:gd name="connsiteY1076" fmla="*/ 97084 h 348400"/>
                <a:gd name="connsiteX1077" fmla="*/ 1216788 w 2663946"/>
                <a:gd name="connsiteY1077" fmla="*/ 94110 h 348400"/>
                <a:gd name="connsiteX1078" fmla="*/ 1217033 w 2663946"/>
                <a:gd name="connsiteY1078" fmla="*/ 94380 h 348400"/>
                <a:gd name="connsiteX1079" fmla="*/ 1217033 w 2663946"/>
                <a:gd name="connsiteY1079" fmla="*/ 88702 h 348400"/>
                <a:gd name="connsiteX1080" fmla="*/ 1217033 w 2663946"/>
                <a:gd name="connsiteY1080" fmla="*/ 88432 h 348400"/>
                <a:gd name="connsiteX1081" fmla="*/ 1217525 w 2663946"/>
                <a:gd name="connsiteY1081" fmla="*/ 83835 h 348400"/>
                <a:gd name="connsiteX1082" fmla="*/ 1218754 w 2663946"/>
                <a:gd name="connsiteY1082" fmla="*/ 78428 h 348400"/>
                <a:gd name="connsiteX1083" fmla="*/ 1219737 w 2663946"/>
                <a:gd name="connsiteY1083" fmla="*/ 75183 h 348400"/>
                <a:gd name="connsiteX1084" fmla="*/ 1221949 w 2663946"/>
                <a:gd name="connsiteY1084" fmla="*/ 70046 h 348400"/>
                <a:gd name="connsiteX1085" fmla="*/ 1224162 w 2663946"/>
                <a:gd name="connsiteY1085" fmla="*/ 66261 h 348400"/>
                <a:gd name="connsiteX1086" fmla="*/ 1226374 w 2663946"/>
                <a:gd name="connsiteY1086" fmla="*/ 63286 h 348400"/>
                <a:gd name="connsiteX1087" fmla="*/ 1228586 w 2663946"/>
                <a:gd name="connsiteY1087" fmla="*/ 60853 h 348400"/>
                <a:gd name="connsiteX1088" fmla="*/ 1233256 w 2663946"/>
                <a:gd name="connsiteY1088" fmla="*/ 57068 h 348400"/>
                <a:gd name="connsiteX1089" fmla="*/ 1237189 w 2663946"/>
                <a:gd name="connsiteY1089" fmla="*/ 54905 h 348400"/>
                <a:gd name="connsiteX1090" fmla="*/ 1246776 w 2663946"/>
                <a:gd name="connsiteY1090" fmla="*/ 52471 h 348400"/>
                <a:gd name="connsiteX1091" fmla="*/ 1064825 w 2663946"/>
                <a:gd name="connsiteY1091" fmla="*/ 52471 h 348400"/>
                <a:gd name="connsiteX1092" fmla="*/ 1077115 w 2663946"/>
                <a:gd name="connsiteY1092" fmla="*/ 54634 h 348400"/>
                <a:gd name="connsiteX1093" fmla="*/ 1084489 w 2663946"/>
                <a:gd name="connsiteY1093" fmla="*/ 59231 h 348400"/>
                <a:gd name="connsiteX1094" fmla="*/ 1087930 w 2663946"/>
                <a:gd name="connsiteY1094" fmla="*/ 62475 h 348400"/>
                <a:gd name="connsiteX1095" fmla="*/ 1091372 w 2663946"/>
                <a:gd name="connsiteY1095" fmla="*/ 66801 h 348400"/>
                <a:gd name="connsiteX1096" fmla="*/ 1093338 w 2663946"/>
                <a:gd name="connsiteY1096" fmla="*/ 70316 h 348400"/>
                <a:gd name="connsiteX1097" fmla="*/ 1095550 w 2663946"/>
                <a:gd name="connsiteY1097" fmla="*/ 75724 h 348400"/>
                <a:gd name="connsiteX1098" fmla="*/ 1096533 w 2663946"/>
                <a:gd name="connsiteY1098" fmla="*/ 79239 h 348400"/>
                <a:gd name="connsiteX1099" fmla="*/ 1097516 w 2663946"/>
                <a:gd name="connsiteY1099" fmla="*/ 84376 h 348400"/>
                <a:gd name="connsiteX1100" fmla="*/ 1097271 w 2663946"/>
                <a:gd name="connsiteY1100" fmla="*/ 98706 h 348400"/>
                <a:gd name="connsiteX1101" fmla="*/ 1096288 w 2663946"/>
                <a:gd name="connsiteY1101" fmla="*/ 103573 h 348400"/>
                <a:gd name="connsiteX1102" fmla="*/ 1095058 w 2663946"/>
                <a:gd name="connsiteY1102" fmla="*/ 107358 h 348400"/>
                <a:gd name="connsiteX1103" fmla="*/ 1094075 w 2663946"/>
                <a:gd name="connsiteY1103" fmla="*/ 109792 h 348400"/>
                <a:gd name="connsiteX1104" fmla="*/ 1091863 w 2663946"/>
                <a:gd name="connsiteY1104" fmla="*/ 114118 h 348400"/>
                <a:gd name="connsiteX1105" fmla="*/ 1089651 w 2663946"/>
                <a:gd name="connsiteY1105" fmla="*/ 117362 h 348400"/>
                <a:gd name="connsiteX1106" fmla="*/ 1086210 w 2663946"/>
                <a:gd name="connsiteY1106" fmla="*/ 121148 h 348400"/>
                <a:gd name="connsiteX1107" fmla="*/ 1083014 w 2663946"/>
                <a:gd name="connsiteY1107" fmla="*/ 123851 h 348400"/>
                <a:gd name="connsiteX1108" fmla="*/ 1077361 w 2663946"/>
                <a:gd name="connsiteY1108" fmla="*/ 127096 h 348400"/>
                <a:gd name="connsiteX1109" fmla="*/ 1069495 w 2663946"/>
                <a:gd name="connsiteY1109" fmla="*/ 129259 h 348400"/>
                <a:gd name="connsiteX1110" fmla="*/ 1068266 w 2663946"/>
                <a:gd name="connsiteY1110" fmla="*/ 129530 h 348400"/>
                <a:gd name="connsiteX1111" fmla="*/ 1064087 w 2663946"/>
                <a:gd name="connsiteY1111" fmla="*/ 129530 h 348400"/>
                <a:gd name="connsiteX1112" fmla="*/ 1063841 w 2663946"/>
                <a:gd name="connsiteY1112" fmla="*/ 129530 h 348400"/>
                <a:gd name="connsiteX1113" fmla="*/ 1050814 w 2663946"/>
                <a:gd name="connsiteY1113" fmla="*/ 124663 h 348400"/>
                <a:gd name="connsiteX1114" fmla="*/ 1046144 w 2663946"/>
                <a:gd name="connsiteY1114" fmla="*/ 120607 h 348400"/>
                <a:gd name="connsiteX1115" fmla="*/ 1042948 w 2663946"/>
                <a:gd name="connsiteY1115" fmla="*/ 116822 h 348400"/>
                <a:gd name="connsiteX1116" fmla="*/ 1040736 w 2663946"/>
                <a:gd name="connsiteY1116" fmla="*/ 113307 h 348400"/>
                <a:gd name="connsiteX1117" fmla="*/ 1038524 w 2663946"/>
                <a:gd name="connsiteY1117" fmla="*/ 108981 h 348400"/>
                <a:gd name="connsiteX1118" fmla="*/ 1037295 w 2663946"/>
                <a:gd name="connsiteY1118" fmla="*/ 106006 h 348400"/>
                <a:gd name="connsiteX1119" fmla="*/ 1036311 w 2663946"/>
                <a:gd name="connsiteY1119" fmla="*/ 102762 h 348400"/>
                <a:gd name="connsiteX1120" fmla="*/ 1035082 w 2663946"/>
                <a:gd name="connsiteY1120" fmla="*/ 97084 h 348400"/>
                <a:gd name="connsiteX1121" fmla="*/ 1034837 w 2663946"/>
                <a:gd name="connsiteY1121" fmla="*/ 94110 h 348400"/>
                <a:gd name="connsiteX1122" fmla="*/ 1035082 w 2663946"/>
                <a:gd name="connsiteY1122" fmla="*/ 94380 h 348400"/>
                <a:gd name="connsiteX1123" fmla="*/ 1035082 w 2663946"/>
                <a:gd name="connsiteY1123" fmla="*/ 88702 h 348400"/>
                <a:gd name="connsiteX1124" fmla="*/ 1035082 w 2663946"/>
                <a:gd name="connsiteY1124" fmla="*/ 88432 h 348400"/>
                <a:gd name="connsiteX1125" fmla="*/ 1035574 w 2663946"/>
                <a:gd name="connsiteY1125" fmla="*/ 83835 h 348400"/>
                <a:gd name="connsiteX1126" fmla="*/ 1036803 w 2663946"/>
                <a:gd name="connsiteY1126" fmla="*/ 78428 h 348400"/>
                <a:gd name="connsiteX1127" fmla="*/ 1037786 w 2663946"/>
                <a:gd name="connsiteY1127" fmla="*/ 75183 h 348400"/>
                <a:gd name="connsiteX1128" fmla="*/ 1039998 w 2663946"/>
                <a:gd name="connsiteY1128" fmla="*/ 70046 h 348400"/>
                <a:gd name="connsiteX1129" fmla="*/ 1042211 w 2663946"/>
                <a:gd name="connsiteY1129" fmla="*/ 66261 h 348400"/>
                <a:gd name="connsiteX1130" fmla="*/ 1044423 w 2663946"/>
                <a:gd name="connsiteY1130" fmla="*/ 63286 h 348400"/>
                <a:gd name="connsiteX1131" fmla="*/ 1046635 w 2663946"/>
                <a:gd name="connsiteY1131" fmla="*/ 60853 h 348400"/>
                <a:gd name="connsiteX1132" fmla="*/ 1051305 w 2663946"/>
                <a:gd name="connsiteY1132" fmla="*/ 57068 h 348400"/>
                <a:gd name="connsiteX1133" fmla="*/ 1055238 w 2663946"/>
                <a:gd name="connsiteY1133" fmla="*/ 54905 h 348400"/>
                <a:gd name="connsiteX1134" fmla="*/ 1064825 w 2663946"/>
                <a:gd name="connsiteY1134" fmla="*/ 52471 h 348400"/>
                <a:gd name="connsiteX1135" fmla="*/ 897796 w 2663946"/>
                <a:gd name="connsiteY1135" fmla="*/ 52471 h 348400"/>
                <a:gd name="connsiteX1136" fmla="*/ 910086 w 2663946"/>
                <a:gd name="connsiteY1136" fmla="*/ 54634 h 348400"/>
                <a:gd name="connsiteX1137" fmla="*/ 917460 w 2663946"/>
                <a:gd name="connsiteY1137" fmla="*/ 59231 h 348400"/>
                <a:gd name="connsiteX1138" fmla="*/ 920901 w 2663946"/>
                <a:gd name="connsiteY1138" fmla="*/ 62475 h 348400"/>
                <a:gd name="connsiteX1139" fmla="*/ 924343 w 2663946"/>
                <a:gd name="connsiteY1139" fmla="*/ 66801 h 348400"/>
                <a:gd name="connsiteX1140" fmla="*/ 926309 w 2663946"/>
                <a:gd name="connsiteY1140" fmla="*/ 70316 h 348400"/>
                <a:gd name="connsiteX1141" fmla="*/ 928521 w 2663946"/>
                <a:gd name="connsiteY1141" fmla="*/ 75724 h 348400"/>
                <a:gd name="connsiteX1142" fmla="*/ 929504 w 2663946"/>
                <a:gd name="connsiteY1142" fmla="*/ 79239 h 348400"/>
                <a:gd name="connsiteX1143" fmla="*/ 930487 w 2663946"/>
                <a:gd name="connsiteY1143" fmla="*/ 84376 h 348400"/>
                <a:gd name="connsiteX1144" fmla="*/ 930242 w 2663946"/>
                <a:gd name="connsiteY1144" fmla="*/ 98706 h 348400"/>
                <a:gd name="connsiteX1145" fmla="*/ 929259 w 2663946"/>
                <a:gd name="connsiteY1145" fmla="*/ 103573 h 348400"/>
                <a:gd name="connsiteX1146" fmla="*/ 928029 w 2663946"/>
                <a:gd name="connsiteY1146" fmla="*/ 107358 h 348400"/>
                <a:gd name="connsiteX1147" fmla="*/ 927046 w 2663946"/>
                <a:gd name="connsiteY1147" fmla="*/ 109792 h 348400"/>
                <a:gd name="connsiteX1148" fmla="*/ 924834 w 2663946"/>
                <a:gd name="connsiteY1148" fmla="*/ 114118 h 348400"/>
                <a:gd name="connsiteX1149" fmla="*/ 922622 w 2663946"/>
                <a:gd name="connsiteY1149" fmla="*/ 117362 h 348400"/>
                <a:gd name="connsiteX1150" fmla="*/ 919181 w 2663946"/>
                <a:gd name="connsiteY1150" fmla="*/ 121148 h 348400"/>
                <a:gd name="connsiteX1151" fmla="*/ 915985 w 2663946"/>
                <a:gd name="connsiteY1151" fmla="*/ 123851 h 348400"/>
                <a:gd name="connsiteX1152" fmla="*/ 910332 w 2663946"/>
                <a:gd name="connsiteY1152" fmla="*/ 127096 h 348400"/>
                <a:gd name="connsiteX1153" fmla="*/ 902466 w 2663946"/>
                <a:gd name="connsiteY1153" fmla="*/ 129259 h 348400"/>
                <a:gd name="connsiteX1154" fmla="*/ 901237 w 2663946"/>
                <a:gd name="connsiteY1154" fmla="*/ 129530 h 348400"/>
                <a:gd name="connsiteX1155" fmla="*/ 897058 w 2663946"/>
                <a:gd name="connsiteY1155" fmla="*/ 129530 h 348400"/>
                <a:gd name="connsiteX1156" fmla="*/ 896812 w 2663946"/>
                <a:gd name="connsiteY1156" fmla="*/ 129530 h 348400"/>
                <a:gd name="connsiteX1157" fmla="*/ 883785 w 2663946"/>
                <a:gd name="connsiteY1157" fmla="*/ 124663 h 348400"/>
                <a:gd name="connsiteX1158" fmla="*/ 879115 w 2663946"/>
                <a:gd name="connsiteY1158" fmla="*/ 120607 h 348400"/>
                <a:gd name="connsiteX1159" fmla="*/ 875919 w 2663946"/>
                <a:gd name="connsiteY1159" fmla="*/ 116822 h 348400"/>
                <a:gd name="connsiteX1160" fmla="*/ 873707 w 2663946"/>
                <a:gd name="connsiteY1160" fmla="*/ 113307 h 348400"/>
                <a:gd name="connsiteX1161" fmla="*/ 871495 w 2663946"/>
                <a:gd name="connsiteY1161" fmla="*/ 108981 h 348400"/>
                <a:gd name="connsiteX1162" fmla="*/ 870266 w 2663946"/>
                <a:gd name="connsiteY1162" fmla="*/ 106006 h 348400"/>
                <a:gd name="connsiteX1163" fmla="*/ 869282 w 2663946"/>
                <a:gd name="connsiteY1163" fmla="*/ 102762 h 348400"/>
                <a:gd name="connsiteX1164" fmla="*/ 868053 w 2663946"/>
                <a:gd name="connsiteY1164" fmla="*/ 97084 h 348400"/>
                <a:gd name="connsiteX1165" fmla="*/ 867808 w 2663946"/>
                <a:gd name="connsiteY1165" fmla="*/ 94110 h 348400"/>
                <a:gd name="connsiteX1166" fmla="*/ 868053 w 2663946"/>
                <a:gd name="connsiteY1166" fmla="*/ 94380 h 348400"/>
                <a:gd name="connsiteX1167" fmla="*/ 868053 w 2663946"/>
                <a:gd name="connsiteY1167" fmla="*/ 88702 h 348400"/>
                <a:gd name="connsiteX1168" fmla="*/ 868053 w 2663946"/>
                <a:gd name="connsiteY1168" fmla="*/ 88432 h 348400"/>
                <a:gd name="connsiteX1169" fmla="*/ 868545 w 2663946"/>
                <a:gd name="connsiteY1169" fmla="*/ 83835 h 348400"/>
                <a:gd name="connsiteX1170" fmla="*/ 869774 w 2663946"/>
                <a:gd name="connsiteY1170" fmla="*/ 78428 h 348400"/>
                <a:gd name="connsiteX1171" fmla="*/ 870757 w 2663946"/>
                <a:gd name="connsiteY1171" fmla="*/ 75183 h 348400"/>
                <a:gd name="connsiteX1172" fmla="*/ 872969 w 2663946"/>
                <a:gd name="connsiteY1172" fmla="*/ 70046 h 348400"/>
                <a:gd name="connsiteX1173" fmla="*/ 875182 w 2663946"/>
                <a:gd name="connsiteY1173" fmla="*/ 66261 h 348400"/>
                <a:gd name="connsiteX1174" fmla="*/ 877394 w 2663946"/>
                <a:gd name="connsiteY1174" fmla="*/ 63286 h 348400"/>
                <a:gd name="connsiteX1175" fmla="*/ 879606 w 2663946"/>
                <a:gd name="connsiteY1175" fmla="*/ 60853 h 348400"/>
                <a:gd name="connsiteX1176" fmla="*/ 884276 w 2663946"/>
                <a:gd name="connsiteY1176" fmla="*/ 57068 h 348400"/>
                <a:gd name="connsiteX1177" fmla="*/ 888209 w 2663946"/>
                <a:gd name="connsiteY1177" fmla="*/ 54905 h 348400"/>
                <a:gd name="connsiteX1178" fmla="*/ 897796 w 2663946"/>
                <a:gd name="connsiteY1178" fmla="*/ 52471 h 348400"/>
                <a:gd name="connsiteX1179" fmla="*/ 548889 w 2663946"/>
                <a:gd name="connsiteY1179" fmla="*/ 52471 h 348400"/>
                <a:gd name="connsiteX1180" fmla="*/ 561180 w 2663946"/>
                <a:gd name="connsiteY1180" fmla="*/ 54634 h 348400"/>
                <a:gd name="connsiteX1181" fmla="*/ 568554 w 2663946"/>
                <a:gd name="connsiteY1181" fmla="*/ 59231 h 348400"/>
                <a:gd name="connsiteX1182" fmla="*/ 571995 w 2663946"/>
                <a:gd name="connsiteY1182" fmla="*/ 62475 h 348400"/>
                <a:gd name="connsiteX1183" fmla="*/ 575436 w 2663946"/>
                <a:gd name="connsiteY1183" fmla="*/ 66801 h 348400"/>
                <a:gd name="connsiteX1184" fmla="*/ 577403 w 2663946"/>
                <a:gd name="connsiteY1184" fmla="*/ 70316 h 348400"/>
                <a:gd name="connsiteX1185" fmla="*/ 579615 w 2663946"/>
                <a:gd name="connsiteY1185" fmla="*/ 75724 h 348400"/>
                <a:gd name="connsiteX1186" fmla="*/ 580598 w 2663946"/>
                <a:gd name="connsiteY1186" fmla="*/ 79239 h 348400"/>
                <a:gd name="connsiteX1187" fmla="*/ 581581 w 2663946"/>
                <a:gd name="connsiteY1187" fmla="*/ 84376 h 348400"/>
                <a:gd name="connsiteX1188" fmla="*/ 581336 w 2663946"/>
                <a:gd name="connsiteY1188" fmla="*/ 98706 h 348400"/>
                <a:gd name="connsiteX1189" fmla="*/ 580352 w 2663946"/>
                <a:gd name="connsiteY1189" fmla="*/ 103573 h 348400"/>
                <a:gd name="connsiteX1190" fmla="*/ 579123 w 2663946"/>
                <a:gd name="connsiteY1190" fmla="*/ 107358 h 348400"/>
                <a:gd name="connsiteX1191" fmla="*/ 578140 w 2663946"/>
                <a:gd name="connsiteY1191" fmla="*/ 109792 h 348400"/>
                <a:gd name="connsiteX1192" fmla="*/ 575928 w 2663946"/>
                <a:gd name="connsiteY1192" fmla="*/ 114118 h 348400"/>
                <a:gd name="connsiteX1193" fmla="*/ 573715 w 2663946"/>
                <a:gd name="connsiteY1193" fmla="*/ 117362 h 348400"/>
                <a:gd name="connsiteX1194" fmla="*/ 570274 w 2663946"/>
                <a:gd name="connsiteY1194" fmla="*/ 121148 h 348400"/>
                <a:gd name="connsiteX1195" fmla="*/ 567079 w 2663946"/>
                <a:gd name="connsiteY1195" fmla="*/ 123851 h 348400"/>
                <a:gd name="connsiteX1196" fmla="*/ 561425 w 2663946"/>
                <a:gd name="connsiteY1196" fmla="*/ 127096 h 348400"/>
                <a:gd name="connsiteX1197" fmla="*/ 553559 w 2663946"/>
                <a:gd name="connsiteY1197" fmla="*/ 129259 h 348400"/>
                <a:gd name="connsiteX1198" fmla="*/ 552331 w 2663946"/>
                <a:gd name="connsiteY1198" fmla="*/ 129530 h 348400"/>
                <a:gd name="connsiteX1199" fmla="*/ 548152 w 2663946"/>
                <a:gd name="connsiteY1199" fmla="*/ 129530 h 348400"/>
                <a:gd name="connsiteX1200" fmla="*/ 547906 w 2663946"/>
                <a:gd name="connsiteY1200" fmla="*/ 129530 h 348400"/>
                <a:gd name="connsiteX1201" fmla="*/ 534879 w 2663946"/>
                <a:gd name="connsiteY1201" fmla="*/ 124663 h 348400"/>
                <a:gd name="connsiteX1202" fmla="*/ 530208 w 2663946"/>
                <a:gd name="connsiteY1202" fmla="*/ 120607 h 348400"/>
                <a:gd name="connsiteX1203" fmla="*/ 527013 w 2663946"/>
                <a:gd name="connsiteY1203" fmla="*/ 116822 h 348400"/>
                <a:gd name="connsiteX1204" fmla="*/ 524801 w 2663946"/>
                <a:gd name="connsiteY1204" fmla="*/ 113307 h 348400"/>
                <a:gd name="connsiteX1205" fmla="*/ 522588 w 2663946"/>
                <a:gd name="connsiteY1205" fmla="*/ 108981 h 348400"/>
                <a:gd name="connsiteX1206" fmla="*/ 521359 w 2663946"/>
                <a:gd name="connsiteY1206" fmla="*/ 106006 h 348400"/>
                <a:gd name="connsiteX1207" fmla="*/ 520376 w 2663946"/>
                <a:gd name="connsiteY1207" fmla="*/ 102762 h 348400"/>
                <a:gd name="connsiteX1208" fmla="*/ 519147 w 2663946"/>
                <a:gd name="connsiteY1208" fmla="*/ 97084 h 348400"/>
                <a:gd name="connsiteX1209" fmla="*/ 518901 w 2663946"/>
                <a:gd name="connsiteY1209" fmla="*/ 94110 h 348400"/>
                <a:gd name="connsiteX1210" fmla="*/ 519147 w 2663946"/>
                <a:gd name="connsiteY1210" fmla="*/ 94380 h 348400"/>
                <a:gd name="connsiteX1211" fmla="*/ 519147 w 2663946"/>
                <a:gd name="connsiteY1211" fmla="*/ 88702 h 348400"/>
                <a:gd name="connsiteX1212" fmla="*/ 519147 w 2663946"/>
                <a:gd name="connsiteY1212" fmla="*/ 88432 h 348400"/>
                <a:gd name="connsiteX1213" fmla="*/ 519639 w 2663946"/>
                <a:gd name="connsiteY1213" fmla="*/ 83835 h 348400"/>
                <a:gd name="connsiteX1214" fmla="*/ 520868 w 2663946"/>
                <a:gd name="connsiteY1214" fmla="*/ 78428 h 348400"/>
                <a:gd name="connsiteX1215" fmla="*/ 521851 w 2663946"/>
                <a:gd name="connsiteY1215" fmla="*/ 75183 h 348400"/>
                <a:gd name="connsiteX1216" fmla="*/ 524063 w 2663946"/>
                <a:gd name="connsiteY1216" fmla="*/ 70046 h 348400"/>
                <a:gd name="connsiteX1217" fmla="*/ 526275 w 2663946"/>
                <a:gd name="connsiteY1217" fmla="*/ 66261 h 348400"/>
                <a:gd name="connsiteX1218" fmla="*/ 528488 w 2663946"/>
                <a:gd name="connsiteY1218" fmla="*/ 63286 h 348400"/>
                <a:gd name="connsiteX1219" fmla="*/ 530700 w 2663946"/>
                <a:gd name="connsiteY1219" fmla="*/ 60853 h 348400"/>
                <a:gd name="connsiteX1220" fmla="*/ 535370 w 2663946"/>
                <a:gd name="connsiteY1220" fmla="*/ 57068 h 348400"/>
                <a:gd name="connsiteX1221" fmla="*/ 539303 w 2663946"/>
                <a:gd name="connsiteY1221" fmla="*/ 54905 h 348400"/>
                <a:gd name="connsiteX1222" fmla="*/ 548889 w 2663946"/>
                <a:gd name="connsiteY1222" fmla="*/ 52471 h 348400"/>
                <a:gd name="connsiteX1223" fmla="*/ 366938 w 2663946"/>
                <a:gd name="connsiteY1223" fmla="*/ 52471 h 348400"/>
                <a:gd name="connsiteX1224" fmla="*/ 379228 w 2663946"/>
                <a:gd name="connsiteY1224" fmla="*/ 54634 h 348400"/>
                <a:gd name="connsiteX1225" fmla="*/ 386603 w 2663946"/>
                <a:gd name="connsiteY1225" fmla="*/ 59231 h 348400"/>
                <a:gd name="connsiteX1226" fmla="*/ 390044 w 2663946"/>
                <a:gd name="connsiteY1226" fmla="*/ 62475 h 348400"/>
                <a:gd name="connsiteX1227" fmla="*/ 393485 w 2663946"/>
                <a:gd name="connsiteY1227" fmla="*/ 66801 h 348400"/>
                <a:gd name="connsiteX1228" fmla="*/ 395452 w 2663946"/>
                <a:gd name="connsiteY1228" fmla="*/ 70316 h 348400"/>
                <a:gd name="connsiteX1229" fmla="*/ 397664 w 2663946"/>
                <a:gd name="connsiteY1229" fmla="*/ 75724 h 348400"/>
                <a:gd name="connsiteX1230" fmla="*/ 398647 w 2663946"/>
                <a:gd name="connsiteY1230" fmla="*/ 79239 h 348400"/>
                <a:gd name="connsiteX1231" fmla="*/ 399630 w 2663946"/>
                <a:gd name="connsiteY1231" fmla="*/ 84376 h 348400"/>
                <a:gd name="connsiteX1232" fmla="*/ 399384 w 2663946"/>
                <a:gd name="connsiteY1232" fmla="*/ 98706 h 348400"/>
                <a:gd name="connsiteX1233" fmla="*/ 398401 w 2663946"/>
                <a:gd name="connsiteY1233" fmla="*/ 103573 h 348400"/>
                <a:gd name="connsiteX1234" fmla="*/ 397172 w 2663946"/>
                <a:gd name="connsiteY1234" fmla="*/ 107358 h 348400"/>
                <a:gd name="connsiteX1235" fmla="*/ 396189 w 2663946"/>
                <a:gd name="connsiteY1235" fmla="*/ 109792 h 348400"/>
                <a:gd name="connsiteX1236" fmla="*/ 393977 w 2663946"/>
                <a:gd name="connsiteY1236" fmla="*/ 114118 h 348400"/>
                <a:gd name="connsiteX1237" fmla="*/ 391764 w 2663946"/>
                <a:gd name="connsiteY1237" fmla="*/ 117362 h 348400"/>
                <a:gd name="connsiteX1238" fmla="*/ 388323 w 2663946"/>
                <a:gd name="connsiteY1238" fmla="*/ 121148 h 348400"/>
                <a:gd name="connsiteX1239" fmla="*/ 385128 w 2663946"/>
                <a:gd name="connsiteY1239" fmla="*/ 123851 h 348400"/>
                <a:gd name="connsiteX1240" fmla="*/ 379474 w 2663946"/>
                <a:gd name="connsiteY1240" fmla="*/ 127096 h 348400"/>
                <a:gd name="connsiteX1241" fmla="*/ 371609 w 2663946"/>
                <a:gd name="connsiteY1241" fmla="*/ 129259 h 348400"/>
                <a:gd name="connsiteX1242" fmla="*/ 370380 w 2663946"/>
                <a:gd name="connsiteY1242" fmla="*/ 129530 h 348400"/>
                <a:gd name="connsiteX1243" fmla="*/ 366201 w 2663946"/>
                <a:gd name="connsiteY1243" fmla="*/ 129530 h 348400"/>
                <a:gd name="connsiteX1244" fmla="*/ 365955 w 2663946"/>
                <a:gd name="connsiteY1244" fmla="*/ 129530 h 348400"/>
                <a:gd name="connsiteX1245" fmla="*/ 352927 w 2663946"/>
                <a:gd name="connsiteY1245" fmla="*/ 124663 h 348400"/>
                <a:gd name="connsiteX1246" fmla="*/ 348257 w 2663946"/>
                <a:gd name="connsiteY1246" fmla="*/ 120607 h 348400"/>
                <a:gd name="connsiteX1247" fmla="*/ 345062 w 2663946"/>
                <a:gd name="connsiteY1247" fmla="*/ 116822 h 348400"/>
                <a:gd name="connsiteX1248" fmla="*/ 342850 w 2663946"/>
                <a:gd name="connsiteY1248" fmla="*/ 113307 h 348400"/>
                <a:gd name="connsiteX1249" fmla="*/ 340637 w 2663946"/>
                <a:gd name="connsiteY1249" fmla="*/ 108981 h 348400"/>
                <a:gd name="connsiteX1250" fmla="*/ 339408 w 2663946"/>
                <a:gd name="connsiteY1250" fmla="*/ 106006 h 348400"/>
                <a:gd name="connsiteX1251" fmla="*/ 338425 w 2663946"/>
                <a:gd name="connsiteY1251" fmla="*/ 102762 h 348400"/>
                <a:gd name="connsiteX1252" fmla="*/ 337196 w 2663946"/>
                <a:gd name="connsiteY1252" fmla="*/ 97084 h 348400"/>
                <a:gd name="connsiteX1253" fmla="*/ 336950 w 2663946"/>
                <a:gd name="connsiteY1253" fmla="*/ 94110 h 348400"/>
                <a:gd name="connsiteX1254" fmla="*/ 337196 w 2663946"/>
                <a:gd name="connsiteY1254" fmla="*/ 94380 h 348400"/>
                <a:gd name="connsiteX1255" fmla="*/ 337196 w 2663946"/>
                <a:gd name="connsiteY1255" fmla="*/ 88702 h 348400"/>
                <a:gd name="connsiteX1256" fmla="*/ 337196 w 2663946"/>
                <a:gd name="connsiteY1256" fmla="*/ 88432 h 348400"/>
                <a:gd name="connsiteX1257" fmla="*/ 337687 w 2663946"/>
                <a:gd name="connsiteY1257" fmla="*/ 83835 h 348400"/>
                <a:gd name="connsiteX1258" fmla="*/ 338917 w 2663946"/>
                <a:gd name="connsiteY1258" fmla="*/ 78428 h 348400"/>
                <a:gd name="connsiteX1259" fmla="*/ 339900 w 2663946"/>
                <a:gd name="connsiteY1259" fmla="*/ 75183 h 348400"/>
                <a:gd name="connsiteX1260" fmla="*/ 342112 w 2663946"/>
                <a:gd name="connsiteY1260" fmla="*/ 70046 h 348400"/>
                <a:gd name="connsiteX1261" fmla="*/ 344324 w 2663946"/>
                <a:gd name="connsiteY1261" fmla="*/ 66261 h 348400"/>
                <a:gd name="connsiteX1262" fmla="*/ 346536 w 2663946"/>
                <a:gd name="connsiteY1262" fmla="*/ 63286 h 348400"/>
                <a:gd name="connsiteX1263" fmla="*/ 348749 w 2663946"/>
                <a:gd name="connsiteY1263" fmla="*/ 60853 h 348400"/>
                <a:gd name="connsiteX1264" fmla="*/ 353419 w 2663946"/>
                <a:gd name="connsiteY1264" fmla="*/ 57068 h 348400"/>
                <a:gd name="connsiteX1265" fmla="*/ 357352 w 2663946"/>
                <a:gd name="connsiteY1265" fmla="*/ 54905 h 348400"/>
                <a:gd name="connsiteX1266" fmla="*/ 366938 w 2663946"/>
                <a:gd name="connsiteY1266" fmla="*/ 52471 h 348400"/>
                <a:gd name="connsiteX1267" fmla="*/ 123893 w 2663946"/>
                <a:gd name="connsiteY1267" fmla="*/ 52471 h 348400"/>
                <a:gd name="connsiteX1268" fmla="*/ 136183 w 2663946"/>
                <a:gd name="connsiteY1268" fmla="*/ 54634 h 348400"/>
                <a:gd name="connsiteX1269" fmla="*/ 143557 w 2663946"/>
                <a:gd name="connsiteY1269" fmla="*/ 59231 h 348400"/>
                <a:gd name="connsiteX1270" fmla="*/ 146998 w 2663946"/>
                <a:gd name="connsiteY1270" fmla="*/ 62475 h 348400"/>
                <a:gd name="connsiteX1271" fmla="*/ 150439 w 2663946"/>
                <a:gd name="connsiteY1271" fmla="*/ 66801 h 348400"/>
                <a:gd name="connsiteX1272" fmla="*/ 152406 w 2663946"/>
                <a:gd name="connsiteY1272" fmla="*/ 70316 h 348400"/>
                <a:gd name="connsiteX1273" fmla="*/ 154618 w 2663946"/>
                <a:gd name="connsiteY1273" fmla="*/ 75724 h 348400"/>
                <a:gd name="connsiteX1274" fmla="*/ 155601 w 2663946"/>
                <a:gd name="connsiteY1274" fmla="*/ 79239 h 348400"/>
                <a:gd name="connsiteX1275" fmla="*/ 156584 w 2663946"/>
                <a:gd name="connsiteY1275" fmla="*/ 84376 h 348400"/>
                <a:gd name="connsiteX1276" fmla="*/ 156339 w 2663946"/>
                <a:gd name="connsiteY1276" fmla="*/ 98706 h 348400"/>
                <a:gd name="connsiteX1277" fmla="*/ 155355 w 2663946"/>
                <a:gd name="connsiteY1277" fmla="*/ 103573 h 348400"/>
                <a:gd name="connsiteX1278" fmla="*/ 154126 w 2663946"/>
                <a:gd name="connsiteY1278" fmla="*/ 107358 h 348400"/>
                <a:gd name="connsiteX1279" fmla="*/ 153143 w 2663946"/>
                <a:gd name="connsiteY1279" fmla="*/ 109792 h 348400"/>
                <a:gd name="connsiteX1280" fmla="*/ 150931 w 2663946"/>
                <a:gd name="connsiteY1280" fmla="*/ 114118 h 348400"/>
                <a:gd name="connsiteX1281" fmla="*/ 148719 w 2663946"/>
                <a:gd name="connsiteY1281" fmla="*/ 117362 h 348400"/>
                <a:gd name="connsiteX1282" fmla="*/ 145277 w 2663946"/>
                <a:gd name="connsiteY1282" fmla="*/ 121148 h 348400"/>
                <a:gd name="connsiteX1283" fmla="*/ 142082 w 2663946"/>
                <a:gd name="connsiteY1283" fmla="*/ 123851 h 348400"/>
                <a:gd name="connsiteX1284" fmla="*/ 136428 w 2663946"/>
                <a:gd name="connsiteY1284" fmla="*/ 127096 h 348400"/>
                <a:gd name="connsiteX1285" fmla="*/ 128563 w 2663946"/>
                <a:gd name="connsiteY1285" fmla="*/ 129259 h 348400"/>
                <a:gd name="connsiteX1286" fmla="*/ 127334 w 2663946"/>
                <a:gd name="connsiteY1286" fmla="*/ 129530 h 348400"/>
                <a:gd name="connsiteX1287" fmla="*/ 123155 w 2663946"/>
                <a:gd name="connsiteY1287" fmla="*/ 129530 h 348400"/>
                <a:gd name="connsiteX1288" fmla="*/ 122909 w 2663946"/>
                <a:gd name="connsiteY1288" fmla="*/ 129530 h 348400"/>
                <a:gd name="connsiteX1289" fmla="*/ 109882 w 2663946"/>
                <a:gd name="connsiteY1289" fmla="*/ 124663 h 348400"/>
                <a:gd name="connsiteX1290" fmla="*/ 105211 w 2663946"/>
                <a:gd name="connsiteY1290" fmla="*/ 120607 h 348400"/>
                <a:gd name="connsiteX1291" fmla="*/ 102016 w 2663946"/>
                <a:gd name="connsiteY1291" fmla="*/ 116822 h 348400"/>
                <a:gd name="connsiteX1292" fmla="*/ 99804 w 2663946"/>
                <a:gd name="connsiteY1292" fmla="*/ 113307 h 348400"/>
                <a:gd name="connsiteX1293" fmla="*/ 97591 w 2663946"/>
                <a:gd name="connsiteY1293" fmla="*/ 108981 h 348400"/>
                <a:gd name="connsiteX1294" fmla="*/ 96362 w 2663946"/>
                <a:gd name="connsiteY1294" fmla="*/ 106006 h 348400"/>
                <a:gd name="connsiteX1295" fmla="*/ 95379 w 2663946"/>
                <a:gd name="connsiteY1295" fmla="*/ 102762 h 348400"/>
                <a:gd name="connsiteX1296" fmla="*/ 94150 w 2663946"/>
                <a:gd name="connsiteY1296" fmla="*/ 97084 h 348400"/>
                <a:gd name="connsiteX1297" fmla="*/ 93904 w 2663946"/>
                <a:gd name="connsiteY1297" fmla="*/ 94110 h 348400"/>
                <a:gd name="connsiteX1298" fmla="*/ 94150 w 2663946"/>
                <a:gd name="connsiteY1298" fmla="*/ 94380 h 348400"/>
                <a:gd name="connsiteX1299" fmla="*/ 94150 w 2663946"/>
                <a:gd name="connsiteY1299" fmla="*/ 88702 h 348400"/>
                <a:gd name="connsiteX1300" fmla="*/ 94150 w 2663946"/>
                <a:gd name="connsiteY1300" fmla="*/ 88432 h 348400"/>
                <a:gd name="connsiteX1301" fmla="*/ 94642 w 2663946"/>
                <a:gd name="connsiteY1301" fmla="*/ 83835 h 348400"/>
                <a:gd name="connsiteX1302" fmla="*/ 95871 w 2663946"/>
                <a:gd name="connsiteY1302" fmla="*/ 78428 h 348400"/>
                <a:gd name="connsiteX1303" fmla="*/ 96854 w 2663946"/>
                <a:gd name="connsiteY1303" fmla="*/ 75183 h 348400"/>
                <a:gd name="connsiteX1304" fmla="*/ 99066 w 2663946"/>
                <a:gd name="connsiteY1304" fmla="*/ 70046 h 348400"/>
                <a:gd name="connsiteX1305" fmla="*/ 101279 w 2663946"/>
                <a:gd name="connsiteY1305" fmla="*/ 66261 h 348400"/>
                <a:gd name="connsiteX1306" fmla="*/ 103491 w 2663946"/>
                <a:gd name="connsiteY1306" fmla="*/ 63286 h 348400"/>
                <a:gd name="connsiteX1307" fmla="*/ 105703 w 2663946"/>
                <a:gd name="connsiteY1307" fmla="*/ 60853 h 348400"/>
                <a:gd name="connsiteX1308" fmla="*/ 110373 w 2663946"/>
                <a:gd name="connsiteY1308" fmla="*/ 57068 h 348400"/>
                <a:gd name="connsiteX1309" fmla="*/ 114306 w 2663946"/>
                <a:gd name="connsiteY1309" fmla="*/ 54905 h 348400"/>
                <a:gd name="connsiteX1310" fmla="*/ 123893 w 2663946"/>
                <a:gd name="connsiteY1310" fmla="*/ 52471 h 348400"/>
                <a:gd name="connsiteX1311" fmla="*/ 33147 w 2663946"/>
                <a:gd name="connsiteY1311" fmla="*/ 51833 h 348400"/>
                <a:gd name="connsiteX1312" fmla="*/ 57942 w 2663946"/>
                <a:gd name="connsiteY1312" fmla="*/ 72042 h 348400"/>
                <a:gd name="connsiteX1313" fmla="*/ 58422 w 2663946"/>
                <a:gd name="connsiteY1313" fmla="*/ 76800 h 348400"/>
                <a:gd name="connsiteX1314" fmla="*/ 59840 w 2663946"/>
                <a:gd name="connsiteY1314" fmla="*/ 76800 h 348400"/>
                <a:gd name="connsiteX1315" fmla="*/ 66294 w 2663946"/>
                <a:gd name="connsiteY1315" fmla="*/ 83086 h 348400"/>
                <a:gd name="connsiteX1316" fmla="*/ 66294 w 2663946"/>
                <a:gd name="connsiteY1316" fmla="*/ 132808 h 348400"/>
                <a:gd name="connsiteX1317" fmla="*/ 59840 w 2663946"/>
                <a:gd name="connsiteY1317" fmla="*/ 139094 h 348400"/>
                <a:gd name="connsiteX1318" fmla="*/ 6453 w 2663946"/>
                <a:gd name="connsiteY1318" fmla="*/ 139094 h 348400"/>
                <a:gd name="connsiteX1319" fmla="*/ 0 w 2663946"/>
                <a:gd name="connsiteY1319" fmla="*/ 132808 h 348400"/>
                <a:gd name="connsiteX1320" fmla="*/ 0 w 2663946"/>
                <a:gd name="connsiteY1320" fmla="*/ 83086 h 348400"/>
                <a:gd name="connsiteX1321" fmla="*/ 6453 w 2663946"/>
                <a:gd name="connsiteY1321" fmla="*/ 76800 h 348400"/>
                <a:gd name="connsiteX1322" fmla="*/ 7288 w 2663946"/>
                <a:gd name="connsiteY1322" fmla="*/ 76800 h 348400"/>
                <a:gd name="connsiteX1323" fmla="*/ 7872 w 2663946"/>
                <a:gd name="connsiteY1323" fmla="*/ 76800 h 348400"/>
                <a:gd name="connsiteX1324" fmla="*/ 8351 w 2663946"/>
                <a:gd name="connsiteY1324" fmla="*/ 72042 h 348400"/>
                <a:gd name="connsiteX1325" fmla="*/ 33147 w 2663946"/>
                <a:gd name="connsiteY1325" fmla="*/ 51833 h 348400"/>
                <a:gd name="connsiteX1326" fmla="*/ 2537931 w 2663946"/>
                <a:gd name="connsiteY1326" fmla="*/ 44245 h 348400"/>
                <a:gd name="connsiteX1327" fmla="*/ 2562727 w 2663946"/>
                <a:gd name="connsiteY1327" fmla="*/ 64454 h 348400"/>
                <a:gd name="connsiteX1328" fmla="*/ 2563206 w 2663946"/>
                <a:gd name="connsiteY1328" fmla="*/ 69212 h 348400"/>
                <a:gd name="connsiteX1329" fmla="*/ 2564625 w 2663946"/>
                <a:gd name="connsiteY1329" fmla="*/ 69212 h 348400"/>
                <a:gd name="connsiteX1330" fmla="*/ 2571078 w 2663946"/>
                <a:gd name="connsiteY1330" fmla="*/ 75498 h 348400"/>
                <a:gd name="connsiteX1331" fmla="*/ 2571078 w 2663946"/>
                <a:gd name="connsiteY1331" fmla="*/ 125220 h 348400"/>
                <a:gd name="connsiteX1332" fmla="*/ 2564625 w 2663946"/>
                <a:gd name="connsiteY1332" fmla="*/ 131506 h 348400"/>
                <a:gd name="connsiteX1333" fmla="*/ 2511238 w 2663946"/>
                <a:gd name="connsiteY1333" fmla="*/ 131506 h 348400"/>
                <a:gd name="connsiteX1334" fmla="*/ 2504784 w 2663946"/>
                <a:gd name="connsiteY1334" fmla="*/ 125220 h 348400"/>
                <a:gd name="connsiteX1335" fmla="*/ 2504784 w 2663946"/>
                <a:gd name="connsiteY1335" fmla="*/ 75498 h 348400"/>
                <a:gd name="connsiteX1336" fmla="*/ 2511238 w 2663946"/>
                <a:gd name="connsiteY1336" fmla="*/ 69212 h 348400"/>
                <a:gd name="connsiteX1337" fmla="*/ 2512072 w 2663946"/>
                <a:gd name="connsiteY1337" fmla="*/ 69212 h 348400"/>
                <a:gd name="connsiteX1338" fmla="*/ 2512656 w 2663946"/>
                <a:gd name="connsiteY1338" fmla="*/ 69212 h 348400"/>
                <a:gd name="connsiteX1339" fmla="*/ 2513136 w 2663946"/>
                <a:gd name="connsiteY1339" fmla="*/ 64454 h 348400"/>
                <a:gd name="connsiteX1340" fmla="*/ 2537931 w 2663946"/>
                <a:gd name="connsiteY1340" fmla="*/ 44245 h 348400"/>
                <a:gd name="connsiteX1341" fmla="*/ 2112934 w 2663946"/>
                <a:gd name="connsiteY1341" fmla="*/ 44245 h 348400"/>
                <a:gd name="connsiteX1342" fmla="*/ 2137730 w 2663946"/>
                <a:gd name="connsiteY1342" fmla="*/ 64454 h 348400"/>
                <a:gd name="connsiteX1343" fmla="*/ 2138209 w 2663946"/>
                <a:gd name="connsiteY1343" fmla="*/ 69212 h 348400"/>
                <a:gd name="connsiteX1344" fmla="*/ 2139628 w 2663946"/>
                <a:gd name="connsiteY1344" fmla="*/ 69212 h 348400"/>
                <a:gd name="connsiteX1345" fmla="*/ 2146081 w 2663946"/>
                <a:gd name="connsiteY1345" fmla="*/ 75498 h 348400"/>
                <a:gd name="connsiteX1346" fmla="*/ 2146081 w 2663946"/>
                <a:gd name="connsiteY1346" fmla="*/ 125220 h 348400"/>
                <a:gd name="connsiteX1347" fmla="*/ 2139628 w 2663946"/>
                <a:gd name="connsiteY1347" fmla="*/ 131506 h 348400"/>
                <a:gd name="connsiteX1348" fmla="*/ 2086241 w 2663946"/>
                <a:gd name="connsiteY1348" fmla="*/ 131506 h 348400"/>
                <a:gd name="connsiteX1349" fmla="*/ 2079787 w 2663946"/>
                <a:gd name="connsiteY1349" fmla="*/ 125220 h 348400"/>
                <a:gd name="connsiteX1350" fmla="*/ 2079787 w 2663946"/>
                <a:gd name="connsiteY1350" fmla="*/ 75498 h 348400"/>
                <a:gd name="connsiteX1351" fmla="*/ 2086241 w 2663946"/>
                <a:gd name="connsiteY1351" fmla="*/ 69212 h 348400"/>
                <a:gd name="connsiteX1352" fmla="*/ 2087075 w 2663946"/>
                <a:gd name="connsiteY1352" fmla="*/ 69212 h 348400"/>
                <a:gd name="connsiteX1353" fmla="*/ 2087659 w 2663946"/>
                <a:gd name="connsiteY1353" fmla="*/ 69212 h 348400"/>
                <a:gd name="connsiteX1354" fmla="*/ 2088139 w 2663946"/>
                <a:gd name="connsiteY1354" fmla="*/ 64454 h 348400"/>
                <a:gd name="connsiteX1355" fmla="*/ 2112934 w 2663946"/>
                <a:gd name="connsiteY1355" fmla="*/ 44245 h 348400"/>
                <a:gd name="connsiteX1356" fmla="*/ 1854966 w 2663946"/>
                <a:gd name="connsiteY1356" fmla="*/ 44245 h 348400"/>
                <a:gd name="connsiteX1357" fmla="*/ 1879762 w 2663946"/>
                <a:gd name="connsiteY1357" fmla="*/ 64454 h 348400"/>
                <a:gd name="connsiteX1358" fmla="*/ 1880241 w 2663946"/>
                <a:gd name="connsiteY1358" fmla="*/ 69212 h 348400"/>
                <a:gd name="connsiteX1359" fmla="*/ 1881660 w 2663946"/>
                <a:gd name="connsiteY1359" fmla="*/ 69212 h 348400"/>
                <a:gd name="connsiteX1360" fmla="*/ 1888113 w 2663946"/>
                <a:gd name="connsiteY1360" fmla="*/ 75498 h 348400"/>
                <a:gd name="connsiteX1361" fmla="*/ 1888113 w 2663946"/>
                <a:gd name="connsiteY1361" fmla="*/ 125220 h 348400"/>
                <a:gd name="connsiteX1362" fmla="*/ 1881660 w 2663946"/>
                <a:gd name="connsiteY1362" fmla="*/ 131506 h 348400"/>
                <a:gd name="connsiteX1363" fmla="*/ 1828273 w 2663946"/>
                <a:gd name="connsiteY1363" fmla="*/ 131506 h 348400"/>
                <a:gd name="connsiteX1364" fmla="*/ 1821819 w 2663946"/>
                <a:gd name="connsiteY1364" fmla="*/ 125220 h 348400"/>
                <a:gd name="connsiteX1365" fmla="*/ 1821819 w 2663946"/>
                <a:gd name="connsiteY1365" fmla="*/ 75498 h 348400"/>
                <a:gd name="connsiteX1366" fmla="*/ 1828273 w 2663946"/>
                <a:gd name="connsiteY1366" fmla="*/ 69212 h 348400"/>
                <a:gd name="connsiteX1367" fmla="*/ 1829107 w 2663946"/>
                <a:gd name="connsiteY1367" fmla="*/ 69212 h 348400"/>
                <a:gd name="connsiteX1368" fmla="*/ 1829691 w 2663946"/>
                <a:gd name="connsiteY1368" fmla="*/ 69212 h 348400"/>
                <a:gd name="connsiteX1369" fmla="*/ 1830171 w 2663946"/>
                <a:gd name="connsiteY1369" fmla="*/ 64454 h 348400"/>
                <a:gd name="connsiteX1370" fmla="*/ 1854966 w 2663946"/>
                <a:gd name="connsiteY1370" fmla="*/ 44245 h 348400"/>
                <a:gd name="connsiteX1371" fmla="*/ 1764027 w 2663946"/>
                <a:gd name="connsiteY1371" fmla="*/ 44245 h 348400"/>
                <a:gd name="connsiteX1372" fmla="*/ 1788823 w 2663946"/>
                <a:gd name="connsiteY1372" fmla="*/ 64454 h 348400"/>
                <a:gd name="connsiteX1373" fmla="*/ 1789302 w 2663946"/>
                <a:gd name="connsiteY1373" fmla="*/ 69212 h 348400"/>
                <a:gd name="connsiteX1374" fmla="*/ 1790721 w 2663946"/>
                <a:gd name="connsiteY1374" fmla="*/ 69212 h 348400"/>
                <a:gd name="connsiteX1375" fmla="*/ 1797174 w 2663946"/>
                <a:gd name="connsiteY1375" fmla="*/ 75498 h 348400"/>
                <a:gd name="connsiteX1376" fmla="*/ 1797174 w 2663946"/>
                <a:gd name="connsiteY1376" fmla="*/ 125220 h 348400"/>
                <a:gd name="connsiteX1377" fmla="*/ 1790721 w 2663946"/>
                <a:gd name="connsiteY1377" fmla="*/ 131506 h 348400"/>
                <a:gd name="connsiteX1378" fmla="*/ 1737333 w 2663946"/>
                <a:gd name="connsiteY1378" fmla="*/ 131506 h 348400"/>
                <a:gd name="connsiteX1379" fmla="*/ 1730880 w 2663946"/>
                <a:gd name="connsiteY1379" fmla="*/ 125220 h 348400"/>
                <a:gd name="connsiteX1380" fmla="*/ 1730880 w 2663946"/>
                <a:gd name="connsiteY1380" fmla="*/ 75498 h 348400"/>
                <a:gd name="connsiteX1381" fmla="*/ 1737333 w 2663946"/>
                <a:gd name="connsiteY1381" fmla="*/ 69212 h 348400"/>
                <a:gd name="connsiteX1382" fmla="*/ 1738168 w 2663946"/>
                <a:gd name="connsiteY1382" fmla="*/ 69212 h 348400"/>
                <a:gd name="connsiteX1383" fmla="*/ 1738752 w 2663946"/>
                <a:gd name="connsiteY1383" fmla="*/ 69212 h 348400"/>
                <a:gd name="connsiteX1384" fmla="*/ 1739232 w 2663946"/>
                <a:gd name="connsiteY1384" fmla="*/ 64454 h 348400"/>
                <a:gd name="connsiteX1385" fmla="*/ 1764027 w 2663946"/>
                <a:gd name="connsiteY1385" fmla="*/ 44245 h 348400"/>
                <a:gd name="connsiteX1386" fmla="*/ 1506059 w 2663946"/>
                <a:gd name="connsiteY1386" fmla="*/ 44245 h 348400"/>
                <a:gd name="connsiteX1387" fmla="*/ 1530855 w 2663946"/>
                <a:gd name="connsiteY1387" fmla="*/ 64454 h 348400"/>
                <a:gd name="connsiteX1388" fmla="*/ 1531334 w 2663946"/>
                <a:gd name="connsiteY1388" fmla="*/ 69212 h 348400"/>
                <a:gd name="connsiteX1389" fmla="*/ 1532753 w 2663946"/>
                <a:gd name="connsiteY1389" fmla="*/ 69212 h 348400"/>
                <a:gd name="connsiteX1390" fmla="*/ 1539206 w 2663946"/>
                <a:gd name="connsiteY1390" fmla="*/ 75498 h 348400"/>
                <a:gd name="connsiteX1391" fmla="*/ 1539206 w 2663946"/>
                <a:gd name="connsiteY1391" fmla="*/ 125220 h 348400"/>
                <a:gd name="connsiteX1392" fmla="*/ 1532753 w 2663946"/>
                <a:gd name="connsiteY1392" fmla="*/ 131506 h 348400"/>
                <a:gd name="connsiteX1393" fmla="*/ 1479365 w 2663946"/>
                <a:gd name="connsiteY1393" fmla="*/ 131506 h 348400"/>
                <a:gd name="connsiteX1394" fmla="*/ 1472912 w 2663946"/>
                <a:gd name="connsiteY1394" fmla="*/ 125220 h 348400"/>
                <a:gd name="connsiteX1395" fmla="*/ 1472912 w 2663946"/>
                <a:gd name="connsiteY1395" fmla="*/ 75498 h 348400"/>
                <a:gd name="connsiteX1396" fmla="*/ 1479365 w 2663946"/>
                <a:gd name="connsiteY1396" fmla="*/ 69212 h 348400"/>
                <a:gd name="connsiteX1397" fmla="*/ 1480200 w 2663946"/>
                <a:gd name="connsiteY1397" fmla="*/ 69212 h 348400"/>
                <a:gd name="connsiteX1398" fmla="*/ 1480784 w 2663946"/>
                <a:gd name="connsiteY1398" fmla="*/ 69212 h 348400"/>
                <a:gd name="connsiteX1399" fmla="*/ 1481264 w 2663946"/>
                <a:gd name="connsiteY1399" fmla="*/ 64454 h 348400"/>
                <a:gd name="connsiteX1400" fmla="*/ 1506059 w 2663946"/>
                <a:gd name="connsiteY1400" fmla="*/ 44245 h 348400"/>
                <a:gd name="connsiteX1401" fmla="*/ 1415120 w 2663946"/>
                <a:gd name="connsiteY1401" fmla="*/ 44245 h 348400"/>
                <a:gd name="connsiteX1402" fmla="*/ 1439916 w 2663946"/>
                <a:gd name="connsiteY1402" fmla="*/ 64454 h 348400"/>
                <a:gd name="connsiteX1403" fmla="*/ 1440395 w 2663946"/>
                <a:gd name="connsiteY1403" fmla="*/ 69212 h 348400"/>
                <a:gd name="connsiteX1404" fmla="*/ 1441814 w 2663946"/>
                <a:gd name="connsiteY1404" fmla="*/ 69212 h 348400"/>
                <a:gd name="connsiteX1405" fmla="*/ 1448267 w 2663946"/>
                <a:gd name="connsiteY1405" fmla="*/ 75498 h 348400"/>
                <a:gd name="connsiteX1406" fmla="*/ 1448267 w 2663946"/>
                <a:gd name="connsiteY1406" fmla="*/ 125220 h 348400"/>
                <a:gd name="connsiteX1407" fmla="*/ 1441814 w 2663946"/>
                <a:gd name="connsiteY1407" fmla="*/ 131506 h 348400"/>
                <a:gd name="connsiteX1408" fmla="*/ 1388426 w 2663946"/>
                <a:gd name="connsiteY1408" fmla="*/ 131506 h 348400"/>
                <a:gd name="connsiteX1409" fmla="*/ 1381973 w 2663946"/>
                <a:gd name="connsiteY1409" fmla="*/ 125220 h 348400"/>
                <a:gd name="connsiteX1410" fmla="*/ 1381973 w 2663946"/>
                <a:gd name="connsiteY1410" fmla="*/ 75498 h 348400"/>
                <a:gd name="connsiteX1411" fmla="*/ 1388426 w 2663946"/>
                <a:gd name="connsiteY1411" fmla="*/ 69212 h 348400"/>
                <a:gd name="connsiteX1412" fmla="*/ 1389261 w 2663946"/>
                <a:gd name="connsiteY1412" fmla="*/ 69212 h 348400"/>
                <a:gd name="connsiteX1413" fmla="*/ 1389845 w 2663946"/>
                <a:gd name="connsiteY1413" fmla="*/ 69212 h 348400"/>
                <a:gd name="connsiteX1414" fmla="*/ 1390325 w 2663946"/>
                <a:gd name="connsiteY1414" fmla="*/ 64454 h 348400"/>
                <a:gd name="connsiteX1415" fmla="*/ 1415120 w 2663946"/>
                <a:gd name="connsiteY1415" fmla="*/ 44245 h 348400"/>
                <a:gd name="connsiteX1416" fmla="*/ 1157152 w 2663946"/>
                <a:gd name="connsiteY1416" fmla="*/ 44245 h 348400"/>
                <a:gd name="connsiteX1417" fmla="*/ 1181948 w 2663946"/>
                <a:gd name="connsiteY1417" fmla="*/ 64454 h 348400"/>
                <a:gd name="connsiteX1418" fmla="*/ 1182427 w 2663946"/>
                <a:gd name="connsiteY1418" fmla="*/ 69212 h 348400"/>
                <a:gd name="connsiteX1419" fmla="*/ 1183846 w 2663946"/>
                <a:gd name="connsiteY1419" fmla="*/ 69212 h 348400"/>
                <a:gd name="connsiteX1420" fmla="*/ 1190299 w 2663946"/>
                <a:gd name="connsiteY1420" fmla="*/ 75498 h 348400"/>
                <a:gd name="connsiteX1421" fmla="*/ 1190299 w 2663946"/>
                <a:gd name="connsiteY1421" fmla="*/ 125220 h 348400"/>
                <a:gd name="connsiteX1422" fmla="*/ 1183846 w 2663946"/>
                <a:gd name="connsiteY1422" fmla="*/ 131506 h 348400"/>
                <a:gd name="connsiteX1423" fmla="*/ 1130458 w 2663946"/>
                <a:gd name="connsiteY1423" fmla="*/ 131506 h 348400"/>
                <a:gd name="connsiteX1424" fmla="*/ 1124005 w 2663946"/>
                <a:gd name="connsiteY1424" fmla="*/ 125220 h 348400"/>
                <a:gd name="connsiteX1425" fmla="*/ 1124005 w 2663946"/>
                <a:gd name="connsiteY1425" fmla="*/ 75498 h 348400"/>
                <a:gd name="connsiteX1426" fmla="*/ 1130458 w 2663946"/>
                <a:gd name="connsiteY1426" fmla="*/ 69212 h 348400"/>
                <a:gd name="connsiteX1427" fmla="*/ 1131293 w 2663946"/>
                <a:gd name="connsiteY1427" fmla="*/ 69212 h 348400"/>
                <a:gd name="connsiteX1428" fmla="*/ 1131877 w 2663946"/>
                <a:gd name="connsiteY1428" fmla="*/ 69212 h 348400"/>
                <a:gd name="connsiteX1429" fmla="*/ 1132357 w 2663946"/>
                <a:gd name="connsiteY1429" fmla="*/ 64454 h 348400"/>
                <a:gd name="connsiteX1430" fmla="*/ 1157152 w 2663946"/>
                <a:gd name="connsiteY1430" fmla="*/ 44245 h 348400"/>
                <a:gd name="connsiteX1431" fmla="*/ 732156 w 2663946"/>
                <a:gd name="connsiteY1431" fmla="*/ 44245 h 348400"/>
                <a:gd name="connsiteX1432" fmla="*/ 756951 w 2663946"/>
                <a:gd name="connsiteY1432" fmla="*/ 64454 h 348400"/>
                <a:gd name="connsiteX1433" fmla="*/ 757431 w 2663946"/>
                <a:gd name="connsiteY1433" fmla="*/ 69212 h 348400"/>
                <a:gd name="connsiteX1434" fmla="*/ 758849 w 2663946"/>
                <a:gd name="connsiteY1434" fmla="*/ 69212 h 348400"/>
                <a:gd name="connsiteX1435" fmla="*/ 765303 w 2663946"/>
                <a:gd name="connsiteY1435" fmla="*/ 75498 h 348400"/>
                <a:gd name="connsiteX1436" fmla="*/ 765303 w 2663946"/>
                <a:gd name="connsiteY1436" fmla="*/ 125220 h 348400"/>
                <a:gd name="connsiteX1437" fmla="*/ 758849 w 2663946"/>
                <a:gd name="connsiteY1437" fmla="*/ 131506 h 348400"/>
                <a:gd name="connsiteX1438" fmla="*/ 705462 w 2663946"/>
                <a:gd name="connsiteY1438" fmla="*/ 131506 h 348400"/>
                <a:gd name="connsiteX1439" fmla="*/ 699009 w 2663946"/>
                <a:gd name="connsiteY1439" fmla="*/ 125220 h 348400"/>
                <a:gd name="connsiteX1440" fmla="*/ 699009 w 2663946"/>
                <a:gd name="connsiteY1440" fmla="*/ 75498 h 348400"/>
                <a:gd name="connsiteX1441" fmla="*/ 705462 w 2663946"/>
                <a:gd name="connsiteY1441" fmla="*/ 69212 h 348400"/>
                <a:gd name="connsiteX1442" fmla="*/ 706296 w 2663946"/>
                <a:gd name="connsiteY1442" fmla="*/ 69212 h 348400"/>
                <a:gd name="connsiteX1443" fmla="*/ 706881 w 2663946"/>
                <a:gd name="connsiteY1443" fmla="*/ 69212 h 348400"/>
                <a:gd name="connsiteX1444" fmla="*/ 707360 w 2663946"/>
                <a:gd name="connsiteY1444" fmla="*/ 64454 h 348400"/>
                <a:gd name="connsiteX1445" fmla="*/ 732156 w 2663946"/>
                <a:gd name="connsiteY1445" fmla="*/ 44245 h 348400"/>
                <a:gd name="connsiteX1446" fmla="*/ 641217 w 2663946"/>
                <a:gd name="connsiteY1446" fmla="*/ 44245 h 348400"/>
                <a:gd name="connsiteX1447" fmla="*/ 666012 w 2663946"/>
                <a:gd name="connsiteY1447" fmla="*/ 64454 h 348400"/>
                <a:gd name="connsiteX1448" fmla="*/ 666492 w 2663946"/>
                <a:gd name="connsiteY1448" fmla="*/ 69212 h 348400"/>
                <a:gd name="connsiteX1449" fmla="*/ 667910 w 2663946"/>
                <a:gd name="connsiteY1449" fmla="*/ 69212 h 348400"/>
                <a:gd name="connsiteX1450" fmla="*/ 674364 w 2663946"/>
                <a:gd name="connsiteY1450" fmla="*/ 75498 h 348400"/>
                <a:gd name="connsiteX1451" fmla="*/ 674364 w 2663946"/>
                <a:gd name="connsiteY1451" fmla="*/ 125220 h 348400"/>
                <a:gd name="connsiteX1452" fmla="*/ 667910 w 2663946"/>
                <a:gd name="connsiteY1452" fmla="*/ 131506 h 348400"/>
                <a:gd name="connsiteX1453" fmla="*/ 614523 w 2663946"/>
                <a:gd name="connsiteY1453" fmla="*/ 131506 h 348400"/>
                <a:gd name="connsiteX1454" fmla="*/ 608070 w 2663946"/>
                <a:gd name="connsiteY1454" fmla="*/ 125220 h 348400"/>
                <a:gd name="connsiteX1455" fmla="*/ 608070 w 2663946"/>
                <a:gd name="connsiteY1455" fmla="*/ 75498 h 348400"/>
                <a:gd name="connsiteX1456" fmla="*/ 614523 w 2663946"/>
                <a:gd name="connsiteY1456" fmla="*/ 69212 h 348400"/>
                <a:gd name="connsiteX1457" fmla="*/ 615358 w 2663946"/>
                <a:gd name="connsiteY1457" fmla="*/ 69212 h 348400"/>
                <a:gd name="connsiteX1458" fmla="*/ 615942 w 2663946"/>
                <a:gd name="connsiteY1458" fmla="*/ 69212 h 348400"/>
                <a:gd name="connsiteX1459" fmla="*/ 616422 w 2663946"/>
                <a:gd name="connsiteY1459" fmla="*/ 64454 h 348400"/>
                <a:gd name="connsiteX1460" fmla="*/ 641217 w 2663946"/>
                <a:gd name="connsiteY1460" fmla="*/ 44245 h 348400"/>
                <a:gd name="connsiteX1461" fmla="*/ 459266 w 2663946"/>
                <a:gd name="connsiteY1461" fmla="*/ 44245 h 348400"/>
                <a:gd name="connsiteX1462" fmla="*/ 484061 w 2663946"/>
                <a:gd name="connsiteY1462" fmla="*/ 64454 h 348400"/>
                <a:gd name="connsiteX1463" fmla="*/ 484541 w 2663946"/>
                <a:gd name="connsiteY1463" fmla="*/ 69212 h 348400"/>
                <a:gd name="connsiteX1464" fmla="*/ 485959 w 2663946"/>
                <a:gd name="connsiteY1464" fmla="*/ 69212 h 348400"/>
                <a:gd name="connsiteX1465" fmla="*/ 492413 w 2663946"/>
                <a:gd name="connsiteY1465" fmla="*/ 75498 h 348400"/>
                <a:gd name="connsiteX1466" fmla="*/ 492413 w 2663946"/>
                <a:gd name="connsiteY1466" fmla="*/ 125220 h 348400"/>
                <a:gd name="connsiteX1467" fmla="*/ 485959 w 2663946"/>
                <a:gd name="connsiteY1467" fmla="*/ 131506 h 348400"/>
                <a:gd name="connsiteX1468" fmla="*/ 432572 w 2663946"/>
                <a:gd name="connsiteY1468" fmla="*/ 131506 h 348400"/>
                <a:gd name="connsiteX1469" fmla="*/ 426119 w 2663946"/>
                <a:gd name="connsiteY1469" fmla="*/ 125220 h 348400"/>
                <a:gd name="connsiteX1470" fmla="*/ 426119 w 2663946"/>
                <a:gd name="connsiteY1470" fmla="*/ 75498 h 348400"/>
                <a:gd name="connsiteX1471" fmla="*/ 432572 w 2663946"/>
                <a:gd name="connsiteY1471" fmla="*/ 69212 h 348400"/>
                <a:gd name="connsiteX1472" fmla="*/ 433406 w 2663946"/>
                <a:gd name="connsiteY1472" fmla="*/ 69212 h 348400"/>
                <a:gd name="connsiteX1473" fmla="*/ 433991 w 2663946"/>
                <a:gd name="connsiteY1473" fmla="*/ 69212 h 348400"/>
                <a:gd name="connsiteX1474" fmla="*/ 434470 w 2663946"/>
                <a:gd name="connsiteY1474" fmla="*/ 64454 h 348400"/>
                <a:gd name="connsiteX1475" fmla="*/ 459266 w 2663946"/>
                <a:gd name="connsiteY1475" fmla="*/ 44245 h 348400"/>
                <a:gd name="connsiteX1476" fmla="*/ 24128 w 2663946"/>
                <a:gd name="connsiteY1476" fmla="*/ 68 h 348400"/>
                <a:gd name="connsiteX1477" fmla="*/ 40350 w 2663946"/>
                <a:gd name="connsiteY1477" fmla="*/ 68 h 348400"/>
                <a:gd name="connsiteX1478" fmla="*/ 40891 w 2663946"/>
                <a:gd name="connsiteY1478" fmla="*/ 608 h 348400"/>
                <a:gd name="connsiteX1479" fmla="*/ 48191 w 2663946"/>
                <a:gd name="connsiteY1479" fmla="*/ 608 h 348400"/>
                <a:gd name="connsiteX1480" fmla="*/ 52247 w 2663946"/>
                <a:gd name="connsiteY1480" fmla="*/ 1690 h 348400"/>
                <a:gd name="connsiteX1481" fmla="*/ 56032 w 2663946"/>
                <a:gd name="connsiteY1481" fmla="*/ 8449 h 348400"/>
                <a:gd name="connsiteX1482" fmla="*/ 53328 w 2663946"/>
                <a:gd name="connsiteY1482" fmla="*/ 14127 h 348400"/>
                <a:gd name="connsiteX1483" fmla="*/ 49273 w 2663946"/>
                <a:gd name="connsiteY1483" fmla="*/ 16020 h 348400"/>
                <a:gd name="connsiteX1484" fmla="*/ 49002 w 2663946"/>
                <a:gd name="connsiteY1484" fmla="*/ 16020 h 348400"/>
                <a:gd name="connsiteX1485" fmla="*/ 48732 w 2663946"/>
                <a:gd name="connsiteY1485" fmla="*/ 16020 h 348400"/>
                <a:gd name="connsiteX1486" fmla="*/ 48191 w 2663946"/>
                <a:gd name="connsiteY1486" fmla="*/ 16020 h 348400"/>
                <a:gd name="connsiteX1487" fmla="*/ 16016 w 2663946"/>
                <a:gd name="connsiteY1487" fmla="*/ 16020 h 348400"/>
                <a:gd name="connsiteX1488" fmla="*/ 15475 w 2663946"/>
                <a:gd name="connsiteY1488" fmla="*/ 16020 h 348400"/>
                <a:gd name="connsiteX1489" fmla="*/ 14664 w 2663946"/>
                <a:gd name="connsiteY1489" fmla="*/ 16020 h 348400"/>
                <a:gd name="connsiteX1490" fmla="*/ 13853 w 2663946"/>
                <a:gd name="connsiteY1490" fmla="*/ 15750 h 348400"/>
                <a:gd name="connsiteX1491" fmla="*/ 10338 w 2663946"/>
                <a:gd name="connsiteY1491" fmla="*/ 13857 h 348400"/>
                <a:gd name="connsiteX1492" fmla="*/ 7905 w 2663946"/>
                <a:gd name="connsiteY1492" fmla="*/ 8179 h 348400"/>
                <a:gd name="connsiteX1493" fmla="*/ 10068 w 2663946"/>
                <a:gd name="connsiteY1493" fmla="*/ 3042 h 348400"/>
                <a:gd name="connsiteX1494" fmla="*/ 15746 w 2663946"/>
                <a:gd name="connsiteY1494" fmla="*/ 608 h 348400"/>
                <a:gd name="connsiteX1495" fmla="*/ 23587 w 2663946"/>
                <a:gd name="connsiteY1495" fmla="*/ 608 h 348400"/>
                <a:gd name="connsiteX1496" fmla="*/ 24128 w 2663946"/>
                <a:gd name="connsiteY1496" fmla="*/ 68 h 348400"/>
                <a:gd name="connsiteX0" fmla="*/ 2632966 w 2663946"/>
                <a:gd name="connsiteY0" fmla="*/ 287226 h 348332"/>
                <a:gd name="connsiteX1" fmla="*/ 2621414 w 2663946"/>
                <a:gd name="connsiteY1" fmla="*/ 289659 h 348332"/>
                <a:gd name="connsiteX2" fmla="*/ 2618218 w 2663946"/>
                <a:gd name="connsiteY2" fmla="*/ 293174 h 348332"/>
                <a:gd name="connsiteX3" fmla="*/ 2616006 w 2663946"/>
                <a:gd name="connsiteY3" fmla="*/ 296959 h 348332"/>
                <a:gd name="connsiteX4" fmla="*/ 2615023 w 2663946"/>
                <a:gd name="connsiteY4" fmla="*/ 299663 h 348332"/>
                <a:gd name="connsiteX5" fmla="*/ 2614039 w 2663946"/>
                <a:gd name="connsiteY5" fmla="*/ 303719 h 348332"/>
                <a:gd name="connsiteX6" fmla="*/ 2613056 w 2663946"/>
                <a:gd name="connsiteY6" fmla="*/ 310749 h 348332"/>
                <a:gd name="connsiteX7" fmla="*/ 2614039 w 2663946"/>
                <a:gd name="connsiteY7" fmla="*/ 318049 h 348332"/>
                <a:gd name="connsiteX8" fmla="*/ 2615269 w 2663946"/>
                <a:gd name="connsiteY8" fmla="*/ 321834 h 348332"/>
                <a:gd name="connsiteX9" fmla="*/ 2617481 w 2663946"/>
                <a:gd name="connsiteY9" fmla="*/ 326160 h 348332"/>
                <a:gd name="connsiteX10" fmla="*/ 2620922 w 2663946"/>
                <a:gd name="connsiteY10" fmla="*/ 330487 h 348332"/>
                <a:gd name="connsiteX11" fmla="*/ 2625346 w 2663946"/>
                <a:gd name="connsiteY11" fmla="*/ 333190 h 348332"/>
                <a:gd name="connsiteX12" fmla="*/ 2637637 w 2663946"/>
                <a:gd name="connsiteY12" fmla="*/ 330757 h 348332"/>
                <a:gd name="connsiteX13" fmla="*/ 2640832 w 2663946"/>
                <a:gd name="connsiteY13" fmla="*/ 327242 h 348332"/>
                <a:gd name="connsiteX14" fmla="*/ 2643290 w 2663946"/>
                <a:gd name="connsiteY14" fmla="*/ 322916 h 348332"/>
                <a:gd name="connsiteX15" fmla="*/ 2644273 w 2663946"/>
                <a:gd name="connsiteY15" fmla="*/ 320753 h 348332"/>
                <a:gd name="connsiteX16" fmla="*/ 2645502 w 2663946"/>
                <a:gd name="connsiteY16" fmla="*/ 316427 h 348332"/>
                <a:gd name="connsiteX17" fmla="*/ 2645011 w 2663946"/>
                <a:gd name="connsiteY17" fmla="*/ 302637 h 348332"/>
                <a:gd name="connsiteX18" fmla="*/ 2644027 w 2663946"/>
                <a:gd name="connsiteY18" fmla="*/ 299663 h 348332"/>
                <a:gd name="connsiteX19" fmla="*/ 2642799 w 2663946"/>
                <a:gd name="connsiteY19" fmla="*/ 296689 h 348332"/>
                <a:gd name="connsiteX20" fmla="*/ 2640586 w 2663946"/>
                <a:gd name="connsiteY20" fmla="*/ 293174 h 348332"/>
                <a:gd name="connsiteX21" fmla="*/ 2636899 w 2663946"/>
                <a:gd name="connsiteY21" fmla="*/ 289389 h 348332"/>
                <a:gd name="connsiteX22" fmla="*/ 2632966 w 2663946"/>
                <a:gd name="connsiteY22" fmla="*/ 287226 h 348332"/>
                <a:gd name="connsiteX23" fmla="*/ 2627559 w 2663946"/>
                <a:gd name="connsiteY23" fmla="*/ 271273 h 348332"/>
                <a:gd name="connsiteX24" fmla="*/ 2639849 w 2663946"/>
                <a:gd name="connsiteY24" fmla="*/ 273436 h 348332"/>
                <a:gd name="connsiteX25" fmla="*/ 2647223 w 2663946"/>
                <a:gd name="connsiteY25" fmla="*/ 278033 h 348332"/>
                <a:gd name="connsiteX26" fmla="*/ 2650664 w 2663946"/>
                <a:gd name="connsiteY26" fmla="*/ 281277 h 348332"/>
                <a:gd name="connsiteX27" fmla="*/ 2654106 w 2663946"/>
                <a:gd name="connsiteY27" fmla="*/ 285603 h 348332"/>
                <a:gd name="connsiteX28" fmla="*/ 2656072 w 2663946"/>
                <a:gd name="connsiteY28" fmla="*/ 289118 h 348332"/>
                <a:gd name="connsiteX29" fmla="*/ 2658284 w 2663946"/>
                <a:gd name="connsiteY29" fmla="*/ 294526 h 348332"/>
                <a:gd name="connsiteX30" fmla="*/ 2659267 w 2663946"/>
                <a:gd name="connsiteY30" fmla="*/ 298041 h 348332"/>
                <a:gd name="connsiteX31" fmla="*/ 2660251 w 2663946"/>
                <a:gd name="connsiteY31" fmla="*/ 303178 h 348332"/>
                <a:gd name="connsiteX32" fmla="*/ 2660005 w 2663946"/>
                <a:gd name="connsiteY32" fmla="*/ 317508 h 348332"/>
                <a:gd name="connsiteX33" fmla="*/ 2659022 w 2663946"/>
                <a:gd name="connsiteY33" fmla="*/ 322375 h 348332"/>
                <a:gd name="connsiteX34" fmla="*/ 2657792 w 2663946"/>
                <a:gd name="connsiteY34" fmla="*/ 326160 h 348332"/>
                <a:gd name="connsiteX35" fmla="*/ 2656809 w 2663946"/>
                <a:gd name="connsiteY35" fmla="*/ 328594 h 348332"/>
                <a:gd name="connsiteX36" fmla="*/ 2654597 w 2663946"/>
                <a:gd name="connsiteY36" fmla="*/ 332920 h 348332"/>
                <a:gd name="connsiteX37" fmla="*/ 2652385 w 2663946"/>
                <a:gd name="connsiteY37" fmla="*/ 336164 h 348332"/>
                <a:gd name="connsiteX38" fmla="*/ 2648944 w 2663946"/>
                <a:gd name="connsiteY38" fmla="*/ 339950 h 348332"/>
                <a:gd name="connsiteX39" fmla="*/ 2645748 w 2663946"/>
                <a:gd name="connsiteY39" fmla="*/ 342653 h 348332"/>
                <a:gd name="connsiteX40" fmla="*/ 2640095 w 2663946"/>
                <a:gd name="connsiteY40" fmla="*/ 345898 h 348332"/>
                <a:gd name="connsiteX41" fmla="*/ 2632229 w 2663946"/>
                <a:gd name="connsiteY41" fmla="*/ 348061 h 348332"/>
                <a:gd name="connsiteX42" fmla="*/ 2631000 w 2663946"/>
                <a:gd name="connsiteY42" fmla="*/ 348332 h 348332"/>
                <a:gd name="connsiteX43" fmla="*/ 2626821 w 2663946"/>
                <a:gd name="connsiteY43" fmla="*/ 348332 h 348332"/>
                <a:gd name="connsiteX44" fmla="*/ 2626576 w 2663946"/>
                <a:gd name="connsiteY44" fmla="*/ 348332 h 348332"/>
                <a:gd name="connsiteX45" fmla="*/ 2613548 w 2663946"/>
                <a:gd name="connsiteY45" fmla="*/ 343465 h 348332"/>
                <a:gd name="connsiteX46" fmla="*/ 2608878 w 2663946"/>
                <a:gd name="connsiteY46" fmla="*/ 339409 h 348332"/>
                <a:gd name="connsiteX47" fmla="*/ 2605682 w 2663946"/>
                <a:gd name="connsiteY47" fmla="*/ 335624 h 348332"/>
                <a:gd name="connsiteX48" fmla="*/ 2603470 w 2663946"/>
                <a:gd name="connsiteY48" fmla="*/ 332109 h 348332"/>
                <a:gd name="connsiteX49" fmla="*/ 2601258 w 2663946"/>
                <a:gd name="connsiteY49" fmla="*/ 327783 h 348332"/>
                <a:gd name="connsiteX50" fmla="*/ 2600029 w 2663946"/>
                <a:gd name="connsiteY50" fmla="*/ 324808 h 348332"/>
                <a:gd name="connsiteX51" fmla="*/ 2599046 w 2663946"/>
                <a:gd name="connsiteY51" fmla="*/ 321564 h 348332"/>
                <a:gd name="connsiteX52" fmla="*/ 2597816 w 2663946"/>
                <a:gd name="connsiteY52" fmla="*/ 315886 h 348332"/>
                <a:gd name="connsiteX53" fmla="*/ 2597571 w 2663946"/>
                <a:gd name="connsiteY53" fmla="*/ 312912 h 348332"/>
                <a:gd name="connsiteX54" fmla="*/ 2597816 w 2663946"/>
                <a:gd name="connsiteY54" fmla="*/ 313182 h 348332"/>
                <a:gd name="connsiteX55" fmla="*/ 2597816 w 2663946"/>
                <a:gd name="connsiteY55" fmla="*/ 307504 h 348332"/>
                <a:gd name="connsiteX56" fmla="*/ 2597816 w 2663946"/>
                <a:gd name="connsiteY56" fmla="*/ 307234 h 348332"/>
                <a:gd name="connsiteX57" fmla="*/ 2598308 w 2663946"/>
                <a:gd name="connsiteY57" fmla="*/ 302637 h 348332"/>
                <a:gd name="connsiteX58" fmla="*/ 2599537 w 2663946"/>
                <a:gd name="connsiteY58" fmla="*/ 297230 h 348332"/>
                <a:gd name="connsiteX59" fmla="*/ 2600520 w 2663946"/>
                <a:gd name="connsiteY59" fmla="*/ 293985 h 348332"/>
                <a:gd name="connsiteX60" fmla="*/ 2602732 w 2663946"/>
                <a:gd name="connsiteY60" fmla="*/ 288848 h 348332"/>
                <a:gd name="connsiteX61" fmla="*/ 2604945 w 2663946"/>
                <a:gd name="connsiteY61" fmla="*/ 285063 h 348332"/>
                <a:gd name="connsiteX62" fmla="*/ 2607157 w 2663946"/>
                <a:gd name="connsiteY62" fmla="*/ 282088 h 348332"/>
                <a:gd name="connsiteX63" fmla="*/ 2609369 w 2663946"/>
                <a:gd name="connsiteY63" fmla="*/ 279655 h 348332"/>
                <a:gd name="connsiteX64" fmla="*/ 2614039 w 2663946"/>
                <a:gd name="connsiteY64" fmla="*/ 275870 h 348332"/>
                <a:gd name="connsiteX65" fmla="*/ 2617972 w 2663946"/>
                <a:gd name="connsiteY65" fmla="*/ 273707 h 348332"/>
                <a:gd name="connsiteX66" fmla="*/ 2627559 w 2663946"/>
                <a:gd name="connsiteY66" fmla="*/ 271273 h 348332"/>
                <a:gd name="connsiteX67" fmla="*/ 2631061 w 2663946"/>
                <a:gd name="connsiteY67" fmla="*/ 207363 h 348332"/>
                <a:gd name="connsiteX68" fmla="*/ 2621591 w 2663946"/>
                <a:gd name="connsiteY68" fmla="*/ 216637 h 348332"/>
                <a:gd name="connsiteX69" fmla="*/ 2626545 w 2663946"/>
                <a:gd name="connsiteY69" fmla="*/ 224794 h 348332"/>
                <a:gd name="connsiteX70" fmla="*/ 2626545 w 2663946"/>
                <a:gd name="connsiteY70" fmla="*/ 233189 h 348332"/>
                <a:gd name="connsiteX71" fmla="*/ 2631061 w 2663946"/>
                <a:gd name="connsiteY71" fmla="*/ 237612 h 348332"/>
                <a:gd name="connsiteX72" fmla="*/ 2635578 w 2663946"/>
                <a:gd name="connsiteY72" fmla="*/ 233189 h 348332"/>
                <a:gd name="connsiteX73" fmla="*/ 2635578 w 2663946"/>
                <a:gd name="connsiteY73" fmla="*/ 224794 h 348332"/>
                <a:gd name="connsiteX74" fmla="*/ 2640532 w 2663946"/>
                <a:gd name="connsiteY74" fmla="*/ 216637 h 348332"/>
                <a:gd name="connsiteX75" fmla="*/ 2631061 w 2663946"/>
                <a:gd name="connsiteY75" fmla="*/ 207363 h 348332"/>
                <a:gd name="connsiteX76" fmla="*/ 2630799 w 2663946"/>
                <a:gd name="connsiteY76" fmla="*/ 168646 h 348332"/>
                <a:gd name="connsiteX77" fmla="*/ 2619139 w 2663946"/>
                <a:gd name="connsiteY77" fmla="*/ 176375 h 348332"/>
                <a:gd name="connsiteX78" fmla="*/ 2618214 w 2663946"/>
                <a:gd name="connsiteY78" fmla="*/ 180958 h 348332"/>
                <a:gd name="connsiteX79" fmla="*/ 2621454 w 2663946"/>
                <a:gd name="connsiteY79" fmla="*/ 180958 h 348332"/>
                <a:gd name="connsiteX80" fmla="*/ 2639871 w 2663946"/>
                <a:gd name="connsiteY80" fmla="*/ 180958 h 348332"/>
                <a:gd name="connsiteX81" fmla="*/ 2643385 w 2663946"/>
                <a:gd name="connsiteY81" fmla="*/ 180958 h 348332"/>
                <a:gd name="connsiteX82" fmla="*/ 2642460 w 2663946"/>
                <a:gd name="connsiteY82" fmla="*/ 176375 h 348332"/>
                <a:gd name="connsiteX83" fmla="*/ 2630799 w 2663946"/>
                <a:gd name="connsiteY83" fmla="*/ 168646 h 348332"/>
                <a:gd name="connsiteX84" fmla="*/ 2630799 w 2663946"/>
                <a:gd name="connsiteY84" fmla="*/ 155991 h 348332"/>
                <a:gd name="connsiteX85" fmla="*/ 2655595 w 2663946"/>
                <a:gd name="connsiteY85" fmla="*/ 176200 h 348332"/>
                <a:gd name="connsiteX86" fmla="*/ 2656074 w 2663946"/>
                <a:gd name="connsiteY86" fmla="*/ 180958 h 348332"/>
                <a:gd name="connsiteX87" fmla="*/ 2657493 w 2663946"/>
                <a:gd name="connsiteY87" fmla="*/ 180958 h 348332"/>
                <a:gd name="connsiteX88" fmla="*/ 2663946 w 2663946"/>
                <a:gd name="connsiteY88" fmla="*/ 187244 h 348332"/>
                <a:gd name="connsiteX89" fmla="*/ 2663946 w 2663946"/>
                <a:gd name="connsiteY89" fmla="*/ 236966 h 348332"/>
                <a:gd name="connsiteX90" fmla="*/ 2657493 w 2663946"/>
                <a:gd name="connsiteY90" fmla="*/ 243252 h 348332"/>
                <a:gd name="connsiteX91" fmla="*/ 2604106 w 2663946"/>
                <a:gd name="connsiteY91" fmla="*/ 243252 h 348332"/>
                <a:gd name="connsiteX92" fmla="*/ 2597652 w 2663946"/>
                <a:gd name="connsiteY92" fmla="*/ 236966 h 348332"/>
                <a:gd name="connsiteX93" fmla="*/ 2597652 w 2663946"/>
                <a:gd name="connsiteY93" fmla="*/ 187244 h 348332"/>
                <a:gd name="connsiteX94" fmla="*/ 2604106 w 2663946"/>
                <a:gd name="connsiteY94" fmla="*/ 180958 h 348332"/>
                <a:gd name="connsiteX95" fmla="*/ 2604940 w 2663946"/>
                <a:gd name="connsiteY95" fmla="*/ 180958 h 348332"/>
                <a:gd name="connsiteX96" fmla="*/ 2605524 w 2663946"/>
                <a:gd name="connsiteY96" fmla="*/ 180958 h 348332"/>
                <a:gd name="connsiteX97" fmla="*/ 2606004 w 2663946"/>
                <a:gd name="connsiteY97" fmla="*/ 176200 h 348332"/>
                <a:gd name="connsiteX98" fmla="*/ 2630799 w 2663946"/>
                <a:gd name="connsiteY98" fmla="*/ 155991 h 348332"/>
                <a:gd name="connsiteX99" fmla="*/ 33409 w 2663946"/>
                <a:gd name="connsiteY99" fmla="*/ 103137 h 348332"/>
                <a:gd name="connsiteX100" fmla="*/ 23938 w 2663946"/>
                <a:gd name="connsiteY100" fmla="*/ 112411 h 348332"/>
                <a:gd name="connsiteX101" fmla="*/ 28892 w 2663946"/>
                <a:gd name="connsiteY101" fmla="*/ 120568 h 348332"/>
                <a:gd name="connsiteX102" fmla="*/ 28892 w 2663946"/>
                <a:gd name="connsiteY102" fmla="*/ 128963 h 348332"/>
                <a:gd name="connsiteX103" fmla="*/ 33409 w 2663946"/>
                <a:gd name="connsiteY103" fmla="*/ 133386 h 348332"/>
                <a:gd name="connsiteX104" fmla="*/ 37926 w 2663946"/>
                <a:gd name="connsiteY104" fmla="*/ 128963 h 348332"/>
                <a:gd name="connsiteX105" fmla="*/ 37926 w 2663946"/>
                <a:gd name="connsiteY105" fmla="*/ 120568 h 348332"/>
                <a:gd name="connsiteX106" fmla="*/ 42880 w 2663946"/>
                <a:gd name="connsiteY106" fmla="*/ 112411 h 348332"/>
                <a:gd name="connsiteX107" fmla="*/ 33409 w 2663946"/>
                <a:gd name="connsiteY107" fmla="*/ 103137 h 348332"/>
                <a:gd name="connsiteX108" fmla="*/ 2538193 w 2663946"/>
                <a:gd name="connsiteY108" fmla="*/ 95549 h 348332"/>
                <a:gd name="connsiteX109" fmla="*/ 2528723 w 2663946"/>
                <a:gd name="connsiteY109" fmla="*/ 104823 h 348332"/>
                <a:gd name="connsiteX110" fmla="*/ 2533677 w 2663946"/>
                <a:gd name="connsiteY110" fmla="*/ 112980 h 348332"/>
                <a:gd name="connsiteX111" fmla="*/ 2533677 w 2663946"/>
                <a:gd name="connsiteY111" fmla="*/ 121375 h 348332"/>
                <a:gd name="connsiteX112" fmla="*/ 2538193 w 2663946"/>
                <a:gd name="connsiteY112" fmla="*/ 125798 h 348332"/>
                <a:gd name="connsiteX113" fmla="*/ 2542710 w 2663946"/>
                <a:gd name="connsiteY113" fmla="*/ 121375 h 348332"/>
                <a:gd name="connsiteX114" fmla="*/ 2542710 w 2663946"/>
                <a:gd name="connsiteY114" fmla="*/ 112980 h 348332"/>
                <a:gd name="connsiteX115" fmla="*/ 2547664 w 2663946"/>
                <a:gd name="connsiteY115" fmla="*/ 104823 h 348332"/>
                <a:gd name="connsiteX116" fmla="*/ 2538193 w 2663946"/>
                <a:gd name="connsiteY116" fmla="*/ 95549 h 348332"/>
                <a:gd name="connsiteX117" fmla="*/ 2113196 w 2663946"/>
                <a:gd name="connsiteY117" fmla="*/ 95549 h 348332"/>
                <a:gd name="connsiteX118" fmla="*/ 2103726 w 2663946"/>
                <a:gd name="connsiteY118" fmla="*/ 104823 h 348332"/>
                <a:gd name="connsiteX119" fmla="*/ 2108680 w 2663946"/>
                <a:gd name="connsiteY119" fmla="*/ 112980 h 348332"/>
                <a:gd name="connsiteX120" fmla="*/ 2108680 w 2663946"/>
                <a:gd name="connsiteY120" fmla="*/ 121375 h 348332"/>
                <a:gd name="connsiteX121" fmla="*/ 2113196 w 2663946"/>
                <a:gd name="connsiteY121" fmla="*/ 125798 h 348332"/>
                <a:gd name="connsiteX122" fmla="*/ 2117713 w 2663946"/>
                <a:gd name="connsiteY122" fmla="*/ 121375 h 348332"/>
                <a:gd name="connsiteX123" fmla="*/ 2117713 w 2663946"/>
                <a:gd name="connsiteY123" fmla="*/ 112980 h 348332"/>
                <a:gd name="connsiteX124" fmla="*/ 2122667 w 2663946"/>
                <a:gd name="connsiteY124" fmla="*/ 104823 h 348332"/>
                <a:gd name="connsiteX125" fmla="*/ 2113196 w 2663946"/>
                <a:gd name="connsiteY125" fmla="*/ 95549 h 348332"/>
                <a:gd name="connsiteX126" fmla="*/ 1855228 w 2663946"/>
                <a:gd name="connsiteY126" fmla="*/ 95549 h 348332"/>
                <a:gd name="connsiteX127" fmla="*/ 1845758 w 2663946"/>
                <a:gd name="connsiteY127" fmla="*/ 104823 h 348332"/>
                <a:gd name="connsiteX128" fmla="*/ 1850712 w 2663946"/>
                <a:gd name="connsiteY128" fmla="*/ 112980 h 348332"/>
                <a:gd name="connsiteX129" fmla="*/ 1850712 w 2663946"/>
                <a:gd name="connsiteY129" fmla="*/ 121375 h 348332"/>
                <a:gd name="connsiteX130" fmla="*/ 1855228 w 2663946"/>
                <a:gd name="connsiteY130" fmla="*/ 125798 h 348332"/>
                <a:gd name="connsiteX131" fmla="*/ 1859745 w 2663946"/>
                <a:gd name="connsiteY131" fmla="*/ 121375 h 348332"/>
                <a:gd name="connsiteX132" fmla="*/ 1859745 w 2663946"/>
                <a:gd name="connsiteY132" fmla="*/ 112980 h 348332"/>
                <a:gd name="connsiteX133" fmla="*/ 1864699 w 2663946"/>
                <a:gd name="connsiteY133" fmla="*/ 104823 h 348332"/>
                <a:gd name="connsiteX134" fmla="*/ 1855228 w 2663946"/>
                <a:gd name="connsiteY134" fmla="*/ 95549 h 348332"/>
                <a:gd name="connsiteX135" fmla="*/ 1764289 w 2663946"/>
                <a:gd name="connsiteY135" fmla="*/ 95549 h 348332"/>
                <a:gd name="connsiteX136" fmla="*/ 1754819 w 2663946"/>
                <a:gd name="connsiteY136" fmla="*/ 104823 h 348332"/>
                <a:gd name="connsiteX137" fmla="*/ 1759773 w 2663946"/>
                <a:gd name="connsiteY137" fmla="*/ 112980 h 348332"/>
                <a:gd name="connsiteX138" fmla="*/ 1759773 w 2663946"/>
                <a:gd name="connsiteY138" fmla="*/ 121375 h 348332"/>
                <a:gd name="connsiteX139" fmla="*/ 1764289 w 2663946"/>
                <a:gd name="connsiteY139" fmla="*/ 125798 h 348332"/>
                <a:gd name="connsiteX140" fmla="*/ 1768806 w 2663946"/>
                <a:gd name="connsiteY140" fmla="*/ 121375 h 348332"/>
                <a:gd name="connsiteX141" fmla="*/ 1768806 w 2663946"/>
                <a:gd name="connsiteY141" fmla="*/ 112980 h 348332"/>
                <a:gd name="connsiteX142" fmla="*/ 1773760 w 2663946"/>
                <a:gd name="connsiteY142" fmla="*/ 104823 h 348332"/>
                <a:gd name="connsiteX143" fmla="*/ 1764289 w 2663946"/>
                <a:gd name="connsiteY143" fmla="*/ 95549 h 348332"/>
                <a:gd name="connsiteX144" fmla="*/ 1506321 w 2663946"/>
                <a:gd name="connsiteY144" fmla="*/ 95549 h 348332"/>
                <a:gd name="connsiteX145" fmla="*/ 1496851 w 2663946"/>
                <a:gd name="connsiteY145" fmla="*/ 104823 h 348332"/>
                <a:gd name="connsiteX146" fmla="*/ 1501805 w 2663946"/>
                <a:gd name="connsiteY146" fmla="*/ 112980 h 348332"/>
                <a:gd name="connsiteX147" fmla="*/ 1501805 w 2663946"/>
                <a:gd name="connsiteY147" fmla="*/ 121375 h 348332"/>
                <a:gd name="connsiteX148" fmla="*/ 1506321 w 2663946"/>
                <a:gd name="connsiteY148" fmla="*/ 125798 h 348332"/>
                <a:gd name="connsiteX149" fmla="*/ 1510838 w 2663946"/>
                <a:gd name="connsiteY149" fmla="*/ 121375 h 348332"/>
                <a:gd name="connsiteX150" fmla="*/ 1510838 w 2663946"/>
                <a:gd name="connsiteY150" fmla="*/ 112980 h 348332"/>
                <a:gd name="connsiteX151" fmla="*/ 1515792 w 2663946"/>
                <a:gd name="connsiteY151" fmla="*/ 104823 h 348332"/>
                <a:gd name="connsiteX152" fmla="*/ 1506321 w 2663946"/>
                <a:gd name="connsiteY152" fmla="*/ 95549 h 348332"/>
                <a:gd name="connsiteX153" fmla="*/ 1415382 w 2663946"/>
                <a:gd name="connsiteY153" fmla="*/ 95549 h 348332"/>
                <a:gd name="connsiteX154" fmla="*/ 1405912 w 2663946"/>
                <a:gd name="connsiteY154" fmla="*/ 104823 h 348332"/>
                <a:gd name="connsiteX155" fmla="*/ 1410866 w 2663946"/>
                <a:gd name="connsiteY155" fmla="*/ 112980 h 348332"/>
                <a:gd name="connsiteX156" fmla="*/ 1410866 w 2663946"/>
                <a:gd name="connsiteY156" fmla="*/ 121375 h 348332"/>
                <a:gd name="connsiteX157" fmla="*/ 1415382 w 2663946"/>
                <a:gd name="connsiteY157" fmla="*/ 125798 h 348332"/>
                <a:gd name="connsiteX158" fmla="*/ 1419899 w 2663946"/>
                <a:gd name="connsiteY158" fmla="*/ 121375 h 348332"/>
                <a:gd name="connsiteX159" fmla="*/ 1419899 w 2663946"/>
                <a:gd name="connsiteY159" fmla="*/ 112980 h 348332"/>
                <a:gd name="connsiteX160" fmla="*/ 1424853 w 2663946"/>
                <a:gd name="connsiteY160" fmla="*/ 104823 h 348332"/>
                <a:gd name="connsiteX161" fmla="*/ 1415382 w 2663946"/>
                <a:gd name="connsiteY161" fmla="*/ 95549 h 348332"/>
                <a:gd name="connsiteX162" fmla="*/ 1157414 w 2663946"/>
                <a:gd name="connsiteY162" fmla="*/ 95549 h 348332"/>
                <a:gd name="connsiteX163" fmla="*/ 1147944 w 2663946"/>
                <a:gd name="connsiteY163" fmla="*/ 104823 h 348332"/>
                <a:gd name="connsiteX164" fmla="*/ 1152898 w 2663946"/>
                <a:gd name="connsiteY164" fmla="*/ 112980 h 348332"/>
                <a:gd name="connsiteX165" fmla="*/ 1152898 w 2663946"/>
                <a:gd name="connsiteY165" fmla="*/ 121375 h 348332"/>
                <a:gd name="connsiteX166" fmla="*/ 1157414 w 2663946"/>
                <a:gd name="connsiteY166" fmla="*/ 125798 h 348332"/>
                <a:gd name="connsiteX167" fmla="*/ 1161931 w 2663946"/>
                <a:gd name="connsiteY167" fmla="*/ 121375 h 348332"/>
                <a:gd name="connsiteX168" fmla="*/ 1161931 w 2663946"/>
                <a:gd name="connsiteY168" fmla="*/ 112980 h 348332"/>
                <a:gd name="connsiteX169" fmla="*/ 1166885 w 2663946"/>
                <a:gd name="connsiteY169" fmla="*/ 104823 h 348332"/>
                <a:gd name="connsiteX170" fmla="*/ 1157414 w 2663946"/>
                <a:gd name="connsiteY170" fmla="*/ 95549 h 348332"/>
                <a:gd name="connsiteX171" fmla="*/ 732418 w 2663946"/>
                <a:gd name="connsiteY171" fmla="*/ 95549 h 348332"/>
                <a:gd name="connsiteX172" fmla="*/ 722947 w 2663946"/>
                <a:gd name="connsiteY172" fmla="*/ 104823 h 348332"/>
                <a:gd name="connsiteX173" fmla="*/ 727901 w 2663946"/>
                <a:gd name="connsiteY173" fmla="*/ 112980 h 348332"/>
                <a:gd name="connsiteX174" fmla="*/ 727901 w 2663946"/>
                <a:gd name="connsiteY174" fmla="*/ 121375 h 348332"/>
                <a:gd name="connsiteX175" fmla="*/ 732418 w 2663946"/>
                <a:gd name="connsiteY175" fmla="*/ 125798 h 348332"/>
                <a:gd name="connsiteX176" fmla="*/ 736935 w 2663946"/>
                <a:gd name="connsiteY176" fmla="*/ 121375 h 348332"/>
                <a:gd name="connsiteX177" fmla="*/ 736935 w 2663946"/>
                <a:gd name="connsiteY177" fmla="*/ 112980 h 348332"/>
                <a:gd name="connsiteX178" fmla="*/ 741889 w 2663946"/>
                <a:gd name="connsiteY178" fmla="*/ 104823 h 348332"/>
                <a:gd name="connsiteX179" fmla="*/ 732418 w 2663946"/>
                <a:gd name="connsiteY179" fmla="*/ 95549 h 348332"/>
                <a:gd name="connsiteX180" fmla="*/ 641479 w 2663946"/>
                <a:gd name="connsiteY180" fmla="*/ 95549 h 348332"/>
                <a:gd name="connsiteX181" fmla="*/ 632008 w 2663946"/>
                <a:gd name="connsiteY181" fmla="*/ 104823 h 348332"/>
                <a:gd name="connsiteX182" fmla="*/ 636962 w 2663946"/>
                <a:gd name="connsiteY182" fmla="*/ 112980 h 348332"/>
                <a:gd name="connsiteX183" fmla="*/ 636962 w 2663946"/>
                <a:gd name="connsiteY183" fmla="*/ 121375 h 348332"/>
                <a:gd name="connsiteX184" fmla="*/ 641479 w 2663946"/>
                <a:gd name="connsiteY184" fmla="*/ 125798 h 348332"/>
                <a:gd name="connsiteX185" fmla="*/ 645996 w 2663946"/>
                <a:gd name="connsiteY185" fmla="*/ 121375 h 348332"/>
                <a:gd name="connsiteX186" fmla="*/ 645996 w 2663946"/>
                <a:gd name="connsiteY186" fmla="*/ 112980 h 348332"/>
                <a:gd name="connsiteX187" fmla="*/ 650950 w 2663946"/>
                <a:gd name="connsiteY187" fmla="*/ 104823 h 348332"/>
                <a:gd name="connsiteX188" fmla="*/ 641479 w 2663946"/>
                <a:gd name="connsiteY188" fmla="*/ 95549 h 348332"/>
                <a:gd name="connsiteX189" fmla="*/ 459528 w 2663946"/>
                <a:gd name="connsiteY189" fmla="*/ 95549 h 348332"/>
                <a:gd name="connsiteX190" fmla="*/ 450057 w 2663946"/>
                <a:gd name="connsiteY190" fmla="*/ 104823 h 348332"/>
                <a:gd name="connsiteX191" fmla="*/ 455011 w 2663946"/>
                <a:gd name="connsiteY191" fmla="*/ 112980 h 348332"/>
                <a:gd name="connsiteX192" fmla="*/ 455011 w 2663946"/>
                <a:gd name="connsiteY192" fmla="*/ 121375 h 348332"/>
                <a:gd name="connsiteX193" fmla="*/ 459528 w 2663946"/>
                <a:gd name="connsiteY193" fmla="*/ 125798 h 348332"/>
                <a:gd name="connsiteX194" fmla="*/ 464045 w 2663946"/>
                <a:gd name="connsiteY194" fmla="*/ 121375 h 348332"/>
                <a:gd name="connsiteX195" fmla="*/ 464045 w 2663946"/>
                <a:gd name="connsiteY195" fmla="*/ 112980 h 348332"/>
                <a:gd name="connsiteX196" fmla="*/ 468999 w 2663946"/>
                <a:gd name="connsiteY196" fmla="*/ 104823 h 348332"/>
                <a:gd name="connsiteX197" fmla="*/ 459528 w 2663946"/>
                <a:gd name="connsiteY197" fmla="*/ 95549 h 348332"/>
                <a:gd name="connsiteX198" fmla="*/ 2632966 w 2663946"/>
                <a:gd name="connsiteY198" fmla="*/ 68356 h 348332"/>
                <a:gd name="connsiteX199" fmla="*/ 2621414 w 2663946"/>
                <a:gd name="connsiteY199" fmla="*/ 70789 h 348332"/>
                <a:gd name="connsiteX200" fmla="*/ 2618218 w 2663946"/>
                <a:gd name="connsiteY200" fmla="*/ 74304 h 348332"/>
                <a:gd name="connsiteX201" fmla="*/ 2616006 w 2663946"/>
                <a:gd name="connsiteY201" fmla="*/ 78089 h 348332"/>
                <a:gd name="connsiteX202" fmla="*/ 2615023 w 2663946"/>
                <a:gd name="connsiteY202" fmla="*/ 80793 h 348332"/>
                <a:gd name="connsiteX203" fmla="*/ 2614039 w 2663946"/>
                <a:gd name="connsiteY203" fmla="*/ 84849 h 348332"/>
                <a:gd name="connsiteX204" fmla="*/ 2613056 w 2663946"/>
                <a:gd name="connsiteY204" fmla="*/ 91879 h 348332"/>
                <a:gd name="connsiteX205" fmla="*/ 2614039 w 2663946"/>
                <a:gd name="connsiteY205" fmla="*/ 99179 h 348332"/>
                <a:gd name="connsiteX206" fmla="*/ 2615269 w 2663946"/>
                <a:gd name="connsiteY206" fmla="*/ 102964 h 348332"/>
                <a:gd name="connsiteX207" fmla="*/ 2617481 w 2663946"/>
                <a:gd name="connsiteY207" fmla="*/ 107290 h 348332"/>
                <a:gd name="connsiteX208" fmla="*/ 2620922 w 2663946"/>
                <a:gd name="connsiteY208" fmla="*/ 111617 h 348332"/>
                <a:gd name="connsiteX209" fmla="*/ 2625346 w 2663946"/>
                <a:gd name="connsiteY209" fmla="*/ 114320 h 348332"/>
                <a:gd name="connsiteX210" fmla="*/ 2637637 w 2663946"/>
                <a:gd name="connsiteY210" fmla="*/ 111887 h 348332"/>
                <a:gd name="connsiteX211" fmla="*/ 2640832 w 2663946"/>
                <a:gd name="connsiteY211" fmla="*/ 108372 h 348332"/>
                <a:gd name="connsiteX212" fmla="*/ 2643290 w 2663946"/>
                <a:gd name="connsiteY212" fmla="*/ 104046 h 348332"/>
                <a:gd name="connsiteX213" fmla="*/ 2644273 w 2663946"/>
                <a:gd name="connsiteY213" fmla="*/ 101883 h 348332"/>
                <a:gd name="connsiteX214" fmla="*/ 2645502 w 2663946"/>
                <a:gd name="connsiteY214" fmla="*/ 97557 h 348332"/>
                <a:gd name="connsiteX215" fmla="*/ 2645011 w 2663946"/>
                <a:gd name="connsiteY215" fmla="*/ 83767 h 348332"/>
                <a:gd name="connsiteX216" fmla="*/ 2644027 w 2663946"/>
                <a:gd name="connsiteY216" fmla="*/ 80793 h 348332"/>
                <a:gd name="connsiteX217" fmla="*/ 2642799 w 2663946"/>
                <a:gd name="connsiteY217" fmla="*/ 77819 h 348332"/>
                <a:gd name="connsiteX218" fmla="*/ 2640586 w 2663946"/>
                <a:gd name="connsiteY218" fmla="*/ 74304 h 348332"/>
                <a:gd name="connsiteX219" fmla="*/ 2636899 w 2663946"/>
                <a:gd name="connsiteY219" fmla="*/ 70519 h 348332"/>
                <a:gd name="connsiteX220" fmla="*/ 2632966 w 2663946"/>
                <a:gd name="connsiteY220" fmla="*/ 68356 h 348332"/>
                <a:gd name="connsiteX221" fmla="*/ 2451011 w 2663946"/>
                <a:gd name="connsiteY221" fmla="*/ 68356 h 348332"/>
                <a:gd name="connsiteX222" fmla="*/ 2439459 w 2663946"/>
                <a:gd name="connsiteY222" fmla="*/ 70789 h 348332"/>
                <a:gd name="connsiteX223" fmla="*/ 2436263 w 2663946"/>
                <a:gd name="connsiteY223" fmla="*/ 74304 h 348332"/>
                <a:gd name="connsiteX224" fmla="*/ 2434051 w 2663946"/>
                <a:gd name="connsiteY224" fmla="*/ 78089 h 348332"/>
                <a:gd name="connsiteX225" fmla="*/ 2433068 w 2663946"/>
                <a:gd name="connsiteY225" fmla="*/ 80793 h 348332"/>
                <a:gd name="connsiteX226" fmla="*/ 2432084 w 2663946"/>
                <a:gd name="connsiteY226" fmla="*/ 84849 h 348332"/>
                <a:gd name="connsiteX227" fmla="*/ 2431101 w 2663946"/>
                <a:gd name="connsiteY227" fmla="*/ 91879 h 348332"/>
                <a:gd name="connsiteX228" fmla="*/ 2432084 w 2663946"/>
                <a:gd name="connsiteY228" fmla="*/ 99179 h 348332"/>
                <a:gd name="connsiteX229" fmla="*/ 2433314 w 2663946"/>
                <a:gd name="connsiteY229" fmla="*/ 102964 h 348332"/>
                <a:gd name="connsiteX230" fmla="*/ 2435526 w 2663946"/>
                <a:gd name="connsiteY230" fmla="*/ 107290 h 348332"/>
                <a:gd name="connsiteX231" fmla="*/ 2438967 w 2663946"/>
                <a:gd name="connsiteY231" fmla="*/ 111617 h 348332"/>
                <a:gd name="connsiteX232" fmla="*/ 2443391 w 2663946"/>
                <a:gd name="connsiteY232" fmla="*/ 114320 h 348332"/>
                <a:gd name="connsiteX233" fmla="*/ 2455682 w 2663946"/>
                <a:gd name="connsiteY233" fmla="*/ 111887 h 348332"/>
                <a:gd name="connsiteX234" fmla="*/ 2458877 w 2663946"/>
                <a:gd name="connsiteY234" fmla="*/ 108372 h 348332"/>
                <a:gd name="connsiteX235" fmla="*/ 2461335 w 2663946"/>
                <a:gd name="connsiteY235" fmla="*/ 104046 h 348332"/>
                <a:gd name="connsiteX236" fmla="*/ 2462318 w 2663946"/>
                <a:gd name="connsiteY236" fmla="*/ 101883 h 348332"/>
                <a:gd name="connsiteX237" fmla="*/ 2463547 w 2663946"/>
                <a:gd name="connsiteY237" fmla="*/ 97557 h 348332"/>
                <a:gd name="connsiteX238" fmla="*/ 2463056 w 2663946"/>
                <a:gd name="connsiteY238" fmla="*/ 83767 h 348332"/>
                <a:gd name="connsiteX239" fmla="*/ 2462072 w 2663946"/>
                <a:gd name="connsiteY239" fmla="*/ 80793 h 348332"/>
                <a:gd name="connsiteX240" fmla="*/ 2460844 w 2663946"/>
                <a:gd name="connsiteY240" fmla="*/ 77819 h 348332"/>
                <a:gd name="connsiteX241" fmla="*/ 2458631 w 2663946"/>
                <a:gd name="connsiteY241" fmla="*/ 74304 h 348332"/>
                <a:gd name="connsiteX242" fmla="*/ 2454944 w 2663946"/>
                <a:gd name="connsiteY242" fmla="*/ 70519 h 348332"/>
                <a:gd name="connsiteX243" fmla="*/ 2451011 w 2663946"/>
                <a:gd name="connsiteY243" fmla="*/ 68356 h 348332"/>
                <a:gd name="connsiteX244" fmla="*/ 2207965 w 2663946"/>
                <a:gd name="connsiteY244" fmla="*/ 68356 h 348332"/>
                <a:gd name="connsiteX245" fmla="*/ 2196413 w 2663946"/>
                <a:gd name="connsiteY245" fmla="*/ 70789 h 348332"/>
                <a:gd name="connsiteX246" fmla="*/ 2193217 w 2663946"/>
                <a:gd name="connsiteY246" fmla="*/ 74304 h 348332"/>
                <a:gd name="connsiteX247" fmla="*/ 2191005 w 2663946"/>
                <a:gd name="connsiteY247" fmla="*/ 78089 h 348332"/>
                <a:gd name="connsiteX248" fmla="*/ 2190022 w 2663946"/>
                <a:gd name="connsiteY248" fmla="*/ 80793 h 348332"/>
                <a:gd name="connsiteX249" fmla="*/ 2189038 w 2663946"/>
                <a:gd name="connsiteY249" fmla="*/ 84849 h 348332"/>
                <a:gd name="connsiteX250" fmla="*/ 2188055 w 2663946"/>
                <a:gd name="connsiteY250" fmla="*/ 91879 h 348332"/>
                <a:gd name="connsiteX251" fmla="*/ 2189038 w 2663946"/>
                <a:gd name="connsiteY251" fmla="*/ 99179 h 348332"/>
                <a:gd name="connsiteX252" fmla="*/ 2190268 w 2663946"/>
                <a:gd name="connsiteY252" fmla="*/ 102964 h 348332"/>
                <a:gd name="connsiteX253" fmla="*/ 2192480 w 2663946"/>
                <a:gd name="connsiteY253" fmla="*/ 107290 h 348332"/>
                <a:gd name="connsiteX254" fmla="*/ 2195921 w 2663946"/>
                <a:gd name="connsiteY254" fmla="*/ 111617 h 348332"/>
                <a:gd name="connsiteX255" fmla="*/ 2200345 w 2663946"/>
                <a:gd name="connsiteY255" fmla="*/ 114320 h 348332"/>
                <a:gd name="connsiteX256" fmla="*/ 2212636 w 2663946"/>
                <a:gd name="connsiteY256" fmla="*/ 111887 h 348332"/>
                <a:gd name="connsiteX257" fmla="*/ 2215831 w 2663946"/>
                <a:gd name="connsiteY257" fmla="*/ 108372 h 348332"/>
                <a:gd name="connsiteX258" fmla="*/ 2218289 w 2663946"/>
                <a:gd name="connsiteY258" fmla="*/ 104046 h 348332"/>
                <a:gd name="connsiteX259" fmla="*/ 2219272 w 2663946"/>
                <a:gd name="connsiteY259" fmla="*/ 101883 h 348332"/>
                <a:gd name="connsiteX260" fmla="*/ 2220501 w 2663946"/>
                <a:gd name="connsiteY260" fmla="*/ 97557 h 348332"/>
                <a:gd name="connsiteX261" fmla="*/ 2220010 w 2663946"/>
                <a:gd name="connsiteY261" fmla="*/ 83767 h 348332"/>
                <a:gd name="connsiteX262" fmla="*/ 2219026 w 2663946"/>
                <a:gd name="connsiteY262" fmla="*/ 80793 h 348332"/>
                <a:gd name="connsiteX263" fmla="*/ 2217798 w 2663946"/>
                <a:gd name="connsiteY263" fmla="*/ 77819 h 348332"/>
                <a:gd name="connsiteX264" fmla="*/ 2215585 w 2663946"/>
                <a:gd name="connsiteY264" fmla="*/ 74304 h 348332"/>
                <a:gd name="connsiteX265" fmla="*/ 2211898 w 2663946"/>
                <a:gd name="connsiteY265" fmla="*/ 70519 h 348332"/>
                <a:gd name="connsiteX266" fmla="*/ 2207965 w 2663946"/>
                <a:gd name="connsiteY266" fmla="*/ 68356 h 348332"/>
                <a:gd name="connsiteX267" fmla="*/ 2026014 w 2663946"/>
                <a:gd name="connsiteY267" fmla="*/ 68356 h 348332"/>
                <a:gd name="connsiteX268" fmla="*/ 2014462 w 2663946"/>
                <a:gd name="connsiteY268" fmla="*/ 70789 h 348332"/>
                <a:gd name="connsiteX269" fmla="*/ 2011266 w 2663946"/>
                <a:gd name="connsiteY269" fmla="*/ 74304 h 348332"/>
                <a:gd name="connsiteX270" fmla="*/ 2009054 w 2663946"/>
                <a:gd name="connsiteY270" fmla="*/ 78089 h 348332"/>
                <a:gd name="connsiteX271" fmla="*/ 2008071 w 2663946"/>
                <a:gd name="connsiteY271" fmla="*/ 80793 h 348332"/>
                <a:gd name="connsiteX272" fmla="*/ 2007087 w 2663946"/>
                <a:gd name="connsiteY272" fmla="*/ 84849 h 348332"/>
                <a:gd name="connsiteX273" fmla="*/ 2006104 w 2663946"/>
                <a:gd name="connsiteY273" fmla="*/ 91879 h 348332"/>
                <a:gd name="connsiteX274" fmla="*/ 2007087 w 2663946"/>
                <a:gd name="connsiteY274" fmla="*/ 99179 h 348332"/>
                <a:gd name="connsiteX275" fmla="*/ 2008317 w 2663946"/>
                <a:gd name="connsiteY275" fmla="*/ 102964 h 348332"/>
                <a:gd name="connsiteX276" fmla="*/ 2010529 w 2663946"/>
                <a:gd name="connsiteY276" fmla="*/ 107290 h 348332"/>
                <a:gd name="connsiteX277" fmla="*/ 2013970 w 2663946"/>
                <a:gd name="connsiteY277" fmla="*/ 111617 h 348332"/>
                <a:gd name="connsiteX278" fmla="*/ 2018394 w 2663946"/>
                <a:gd name="connsiteY278" fmla="*/ 114320 h 348332"/>
                <a:gd name="connsiteX279" fmla="*/ 2030685 w 2663946"/>
                <a:gd name="connsiteY279" fmla="*/ 111887 h 348332"/>
                <a:gd name="connsiteX280" fmla="*/ 2033880 w 2663946"/>
                <a:gd name="connsiteY280" fmla="*/ 108372 h 348332"/>
                <a:gd name="connsiteX281" fmla="*/ 2036338 w 2663946"/>
                <a:gd name="connsiteY281" fmla="*/ 104046 h 348332"/>
                <a:gd name="connsiteX282" fmla="*/ 2037321 w 2663946"/>
                <a:gd name="connsiteY282" fmla="*/ 101883 h 348332"/>
                <a:gd name="connsiteX283" fmla="*/ 2038550 w 2663946"/>
                <a:gd name="connsiteY283" fmla="*/ 97557 h 348332"/>
                <a:gd name="connsiteX284" fmla="*/ 2038059 w 2663946"/>
                <a:gd name="connsiteY284" fmla="*/ 83767 h 348332"/>
                <a:gd name="connsiteX285" fmla="*/ 2037075 w 2663946"/>
                <a:gd name="connsiteY285" fmla="*/ 80793 h 348332"/>
                <a:gd name="connsiteX286" fmla="*/ 2035847 w 2663946"/>
                <a:gd name="connsiteY286" fmla="*/ 77819 h 348332"/>
                <a:gd name="connsiteX287" fmla="*/ 2033634 w 2663946"/>
                <a:gd name="connsiteY287" fmla="*/ 74304 h 348332"/>
                <a:gd name="connsiteX288" fmla="*/ 2029947 w 2663946"/>
                <a:gd name="connsiteY288" fmla="*/ 70519 h 348332"/>
                <a:gd name="connsiteX289" fmla="*/ 2026014 w 2663946"/>
                <a:gd name="connsiteY289" fmla="*/ 68356 h 348332"/>
                <a:gd name="connsiteX290" fmla="*/ 1601090 w 2663946"/>
                <a:gd name="connsiteY290" fmla="*/ 68356 h 348332"/>
                <a:gd name="connsiteX291" fmla="*/ 1589537 w 2663946"/>
                <a:gd name="connsiteY291" fmla="*/ 70789 h 348332"/>
                <a:gd name="connsiteX292" fmla="*/ 1586342 w 2663946"/>
                <a:gd name="connsiteY292" fmla="*/ 74304 h 348332"/>
                <a:gd name="connsiteX293" fmla="*/ 1584130 w 2663946"/>
                <a:gd name="connsiteY293" fmla="*/ 78089 h 348332"/>
                <a:gd name="connsiteX294" fmla="*/ 1583147 w 2663946"/>
                <a:gd name="connsiteY294" fmla="*/ 80793 h 348332"/>
                <a:gd name="connsiteX295" fmla="*/ 1582163 w 2663946"/>
                <a:gd name="connsiteY295" fmla="*/ 84849 h 348332"/>
                <a:gd name="connsiteX296" fmla="*/ 1581180 w 2663946"/>
                <a:gd name="connsiteY296" fmla="*/ 91879 h 348332"/>
                <a:gd name="connsiteX297" fmla="*/ 1582163 w 2663946"/>
                <a:gd name="connsiteY297" fmla="*/ 99179 h 348332"/>
                <a:gd name="connsiteX298" fmla="*/ 1583393 w 2663946"/>
                <a:gd name="connsiteY298" fmla="*/ 102964 h 348332"/>
                <a:gd name="connsiteX299" fmla="*/ 1585605 w 2663946"/>
                <a:gd name="connsiteY299" fmla="*/ 107290 h 348332"/>
                <a:gd name="connsiteX300" fmla="*/ 1589046 w 2663946"/>
                <a:gd name="connsiteY300" fmla="*/ 111617 h 348332"/>
                <a:gd name="connsiteX301" fmla="*/ 1593470 w 2663946"/>
                <a:gd name="connsiteY301" fmla="*/ 114320 h 348332"/>
                <a:gd name="connsiteX302" fmla="*/ 1605761 w 2663946"/>
                <a:gd name="connsiteY302" fmla="*/ 111887 h 348332"/>
                <a:gd name="connsiteX303" fmla="*/ 1608956 w 2663946"/>
                <a:gd name="connsiteY303" fmla="*/ 108372 h 348332"/>
                <a:gd name="connsiteX304" fmla="*/ 1611414 w 2663946"/>
                <a:gd name="connsiteY304" fmla="*/ 104046 h 348332"/>
                <a:gd name="connsiteX305" fmla="*/ 1612397 w 2663946"/>
                <a:gd name="connsiteY305" fmla="*/ 101883 h 348332"/>
                <a:gd name="connsiteX306" fmla="*/ 1613626 w 2663946"/>
                <a:gd name="connsiteY306" fmla="*/ 97557 h 348332"/>
                <a:gd name="connsiteX307" fmla="*/ 1613135 w 2663946"/>
                <a:gd name="connsiteY307" fmla="*/ 83767 h 348332"/>
                <a:gd name="connsiteX308" fmla="*/ 1612151 w 2663946"/>
                <a:gd name="connsiteY308" fmla="*/ 80793 h 348332"/>
                <a:gd name="connsiteX309" fmla="*/ 1610923 w 2663946"/>
                <a:gd name="connsiteY309" fmla="*/ 77819 h 348332"/>
                <a:gd name="connsiteX310" fmla="*/ 1608710 w 2663946"/>
                <a:gd name="connsiteY310" fmla="*/ 74304 h 348332"/>
                <a:gd name="connsiteX311" fmla="*/ 1605023 w 2663946"/>
                <a:gd name="connsiteY311" fmla="*/ 70519 h 348332"/>
                <a:gd name="connsiteX312" fmla="*/ 1601090 w 2663946"/>
                <a:gd name="connsiteY312" fmla="*/ 68356 h 348332"/>
                <a:gd name="connsiteX313" fmla="*/ 1252183 w 2663946"/>
                <a:gd name="connsiteY313" fmla="*/ 68356 h 348332"/>
                <a:gd name="connsiteX314" fmla="*/ 1240630 w 2663946"/>
                <a:gd name="connsiteY314" fmla="*/ 70789 h 348332"/>
                <a:gd name="connsiteX315" fmla="*/ 1237435 w 2663946"/>
                <a:gd name="connsiteY315" fmla="*/ 74304 h 348332"/>
                <a:gd name="connsiteX316" fmla="*/ 1235223 w 2663946"/>
                <a:gd name="connsiteY316" fmla="*/ 78089 h 348332"/>
                <a:gd name="connsiteX317" fmla="*/ 1234240 w 2663946"/>
                <a:gd name="connsiteY317" fmla="*/ 80793 h 348332"/>
                <a:gd name="connsiteX318" fmla="*/ 1233256 w 2663946"/>
                <a:gd name="connsiteY318" fmla="*/ 84849 h 348332"/>
                <a:gd name="connsiteX319" fmla="*/ 1232273 w 2663946"/>
                <a:gd name="connsiteY319" fmla="*/ 91879 h 348332"/>
                <a:gd name="connsiteX320" fmla="*/ 1233256 w 2663946"/>
                <a:gd name="connsiteY320" fmla="*/ 99179 h 348332"/>
                <a:gd name="connsiteX321" fmla="*/ 1234486 w 2663946"/>
                <a:gd name="connsiteY321" fmla="*/ 102964 h 348332"/>
                <a:gd name="connsiteX322" fmla="*/ 1236698 w 2663946"/>
                <a:gd name="connsiteY322" fmla="*/ 107290 h 348332"/>
                <a:gd name="connsiteX323" fmla="*/ 1240139 w 2663946"/>
                <a:gd name="connsiteY323" fmla="*/ 111617 h 348332"/>
                <a:gd name="connsiteX324" fmla="*/ 1244563 w 2663946"/>
                <a:gd name="connsiteY324" fmla="*/ 114320 h 348332"/>
                <a:gd name="connsiteX325" fmla="*/ 1256854 w 2663946"/>
                <a:gd name="connsiteY325" fmla="*/ 111887 h 348332"/>
                <a:gd name="connsiteX326" fmla="*/ 1260049 w 2663946"/>
                <a:gd name="connsiteY326" fmla="*/ 108372 h 348332"/>
                <a:gd name="connsiteX327" fmla="*/ 1262507 w 2663946"/>
                <a:gd name="connsiteY327" fmla="*/ 104046 h 348332"/>
                <a:gd name="connsiteX328" fmla="*/ 1263490 w 2663946"/>
                <a:gd name="connsiteY328" fmla="*/ 101883 h 348332"/>
                <a:gd name="connsiteX329" fmla="*/ 1264719 w 2663946"/>
                <a:gd name="connsiteY329" fmla="*/ 97557 h 348332"/>
                <a:gd name="connsiteX330" fmla="*/ 1264228 w 2663946"/>
                <a:gd name="connsiteY330" fmla="*/ 83767 h 348332"/>
                <a:gd name="connsiteX331" fmla="*/ 1263244 w 2663946"/>
                <a:gd name="connsiteY331" fmla="*/ 80793 h 348332"/>
                <a:gd name="connsiteX332" fmla="*/ 1262016 w 2663946"/>
                <a:gd name="connsiteY332" fmla="*/ 77819 h 348332"/>
                <a:gd name="connsiteX333" fmla="*/ 1259803 w 2663946"/>
                <a:gd name="connsiteY333" fmla="*/ 74304 h 348332"/>
                <a:gd name="connsiteX334" fmla="*/ 1256116 w 2663946"/>
                <a:gd name="connsiteY334" fmla="*/ 70519 h 348332"/>
                <a:gd name="connsiteX335" fmla="*/ 1252183 w 2663946"/>
                <a:gd name="connsiteY335" fmla="*/ 68356 h 348332"/>
                <a:gd name="connsiteX336" fmla="*/ 1070232 w 2663946"/>
                <a:gd name="connsiteY336" fmla="*/ 68356 h 348332"/>
                <a:gd name="connsiteX337" fmla="*/ 1058679 w 2663946"/>
                <a:gd name="connsiteY337" fmla="*/ 70789 h 348332"/>
                <a:gd name="connsiteX338" fmla="*/ 1055484 w 2663946"/>
                <a:gd name="connsiteY338" fmla="*/ 74304 h 348332"/>
                <a:gd name="connsiteX339" fmla="*/ 1053272 w 2663946"/>
                <a:gd name="connsiteY339" fmla="*/ 78089 h 348332"/>
                <a:gd name="connsiteX340" fmla="*/ 1052289 w 2663946"/>
                <a:gd name="connsiteY340" fmla="*/ 80793 h 348332"/>
                <a:gd name="connsiteX341" fmla="*/ 1051305 w 2663946"/>
                <a:gd name="connsiteY341" fmla="*/ 84849 h 348332"/>
                <a:gd name="connsiteX342" fmla="*/ 1050322 w 2663946"/>
                <a:gd name="connsiteY342" fmla="*/ 91879 h 348332"/>
                <a:gd name="connsiteX343" fmla="*/ 1051305 w 2663946"/>
                <a:gd name="connsiteY343" fmla="*/ 99179 h 348332"/>
                <a:gd name="connsiteX344" fmla="*/ 1052535 w 2663946"/>
                <a:gd name="connsiteY344" fmla="*/ 102964 h 348332"/>
                <a:gd name="connsiteX345" fmla="*/ 1054747 w 2663946"/>
                <a:gd name="connsiteY345" fmla="*/ 107290 h 348332"/>
                <a:gd name="connsiteX346" fmla="*/ 1058188 w 2663946"/>
                <a:gd name="connsiteY346" fmla="*/ 111617 h 348332"/>
                <a:gd name="connsiteX347" fmla="*/ 1062612 w 2663946"/>
                <a:gd name="connsiteY347" fmla="*/ 114320 h 348332"/>
                <a:gd name="connsiteX348" fmla="*/ 1074903 w 2663946"/>
                <a:gd name="connsiteY348" fmla="*/ 111887 h 348332"/>
                <a:gd name="connsiteX349" fmla="*/ 1078098 w 2663946"/>
                <a:gd name="connsiteY349" fmla="*/ 108372 h 348332"/>
                <a:gd name="connsiteX350" fmla="*/ 1080556 w 2663946"/>
                <a:gd name="connsiteY350" fmla="*/ 104046 h 348332"/>
                <a:gd name="connsiteX351" fmla="*/ 1081539 w 2663946"/>
                <a:gd name="connsiteY351" fmla="*/ 101883 h 348332"/>
                <a:gd name="connsiteX352" fmla="*/ 1082768 w 2663946"/>
                <a:gd name="connsiteY352" fmla="*/ 97557 h 348332"/>
                <a:gd name="connsiteX353" fmla="*/ 1082277 w 2663946"/>
                <a:gd name="connsiteY353" fmla="*/ 83767 h 348332"/>
                <a:gd name="connsiteX354" fmla="*/ 1081293 w 2663946"/>
                <a:gd name="connsiteY354" fmla="*/ 80793 h 348332"/>
                <a:gd name="connsiteX355" fmla="*/ 1080065 w 2663946"/>
                <a:gd name="connsiteY355" fmla="*/ 77819 h 348332"/>
                <a:gd name="connsiteX356" fmla="*/ 1077852 w 2663946"/>
                <a:gd name="connsiteY356" fmla="*/ 74304 h 348332"/>
                <a:gd name="connsiteX357" fmla="*/ 1074165 w 2663946"/>
                <a:gd name="connsiteY357" fmla="*/ 70519 h 348332"/>
                <a:gd name="connsiteX358" fmla="*/ 1070232 w 2663946"/>
                <a:gd name="connsiteY358" fmla="*/ 68356 h 348332"/>
                <a:gd name="connsiteX359" fmla="*/ 903203 w 2663946"/>
                <a:gd name="connsiteY359" fmla="*/ 68356 h 348332"/>
                <a:gd name="connsiteX360" fmla="*/ 891650 w 2663946"/>
                <a:gd name="connsiteY360" fmla="*/ 70789 h 348332"/>
                <a:gd name="connsiteX361" fmla="*/ 888455 w 2663946"/>
                <a:gd name="connsiteY361" fmla="*/ 74304 h 348332"/>
                <a:gd name="connsiteX362" fmla="*/ 886243 w 2663946"/>
                <a:gd name="connsiteY362" fmla="*/ 78089 h 348332"/>
                <a:gd name="connsiteX363" fmla="*/ 885260 w 2663946"/>
                <a:gd name="connsiteY363" fmla="*/ 80793 h 348332"/>
                <a:gd name="connsiteX364" fmla="*/ 884276 w 2663946"/>
                <a:gd name="connsiteY364" fmla="*/ 84849 h 348332"/>
                <a:gd name="connsiteX365" fmla="*/ 883293 w 2663946"/>
                <a:gd name="connsiteY365" fmla="*/ 91879 h 348332"/>
                <a:gd name="connsiteX366" fmla="*/ 884276 w 2663946"/>
                <a:gd name="connsiteY366" fmla="*/ 99179 h 348332"/>
                <a:gd name="connsiteX367" fmla="*/ 885506 w 2663946"/>
                <a:gd name="connsiteY367" fmla="*/ 102964 h 348332"/>
                <a:gd name="connsiteX368" fmla="*/ 887718 w 2663946"/>
                <a:gd name="connsiteY368" fmla="*/ 107290 h 348332"/>
                <a:gd name="connsiteX369" fmla="*/ 891159 w 2663946"/>
                <a:gd name="connsiteY369" fmla="*/ 111617 h 348332"/>
                <a:gd name="connsiteX370" fmla="*/ 895583 w 2663946"/>
                <a:gd name="connsiteY370" fmla="*/ 114320 h 348332"/>
                <a:gd name="connsiteX371" fmla="*/ 907874 w 2663946"/>
                <a:gd name="connsiteY371" fmla="*/ 111887 h 348332"/>
                <a:gd name="connsiteX372" fmla="*/ 911069 w 2663946"/>
                <a:gd name="connsiteY372" fmla="*/ 108372 h 348332"/>
                <a:gd name="connsiteX373" fmla="*/ 913527 w 2663946"/>
                <a:gd name="connsiteY373" fmla="*/ 104046 h 348332"/>
                <a:gd name="connsiteX374" fmla="*/ 914510 w 2663946"/>
                <a:gd name="connsiteY374" fmla="*/ 101883 h 348332"/>
                <a:gd name="connsiteX375" fmla="*/ 915739 w 2663946"/>
                <a:gd name="connsiteY375" fmla="*/ 97557 h 348332"/>
                <a:gd name="connsiteX376" fmla="*/ 915248 w 2663946"/>
                <a:gd name="connsiteY376" fmla="*/ 83767 h 348332"/>
                <a:gd name="connsiteX377" fmla="*/ 914264 w 2663946"/>
                <a:gd name="connsiteY377" fmla="*/ 80793 h 348332"/>
                <a:gd name="connsiteX378" fmla="*/ 913036 w 2663946"/>
                <a:gd name="connsiteY378" fmla="*/ 77819 h 348332"/>
                <a:gd name="connsiteX379" fmla="*/ 910823 w 2663946"/>
                <a:gd name="connsiteY379" fmla="*/ 74304 h 348332"/>
                <a:gd name="connsiteX380" fmla="*/ 907136 w 2663946"/>
                <a:gd name="connsiteY380" fmla="*/ 70519 h 348332"/>
                <a:gd name="connsiteX381" fmla="*/ 903203 w 2663946"/>
                <a:gd name="connsiteY381" fmla="*/ 68356 h 348332"/>
                <a:gd name="connsiteX382" fmla="*/ 554297 w 2663946"/>
                <a:gd name="connsiteY382" fmla="*/ 68356 h 348332"/>
                <a:gd name="connsiteX383" fmla="*/ 542744 w 2663946"/>
                <a:gd name="connsiteY383" fmla="*/ 70789 h 348332"/>
                <a:gd name="connsiteX384" fmla="*/ 539549 w 2663946"/>
                <a:gd name="connsiteY384" fmla="*/ 74304 h 348332"/>
                <a:gd name="connsiteX385" fmla="*/ 537337 w 2663946"/>
                <a:gd name="connsiteY385" fmla="*/ 78089 h 348332"/>
                <a:gd name="connsiteX386" fmla="*/ 536353 w 2663946"/>
                <a:gd name="connsiteY386" fmla="*/ 80793 h 348332"/>
                <a:gd name="connsiteX387" fmla="*/ 535370 w 2663946"/>
                <a:gd name="connsiteY387" fmla="*/ 84849 h 348332"/>
                <a:gd name="connsiteX388" fmla="*/ 534387 w 2663946"/>
                <a:gd name="connsiteY388" fmla="*/ 91879 h 348332"/>
                <a:gd name="connsiteX389" fmla="*/ 535370 w 2663946"/>
                <a:gd name="connsiteY389" fmla="*/ 99179 h 348332"/>
                <a:gd name="connsiteX390" fmla="*/ 536599 w 2663946"/>
                <a:gd name="connsiteY390" fmla="*/ 102964 h 348332"/>
                <a:gd name="connsiteX391" fmla="*/ 538811 w 2663946"/>
                <a:gd name="connsiteY391" fmla="*/ 107290 h 348332"/>
                <a:gd name="connsiteX392" fmla="*/ 542253 w 2663946"/>
                <a:gd name="connsiteY392" fmla="*/ 111617 h 348332"/>
                <a:gd name="connsiteX393" fmla="*/ 546677 w 2663946"/>
                <a:gd name="connsiteY393" fmla="*/ 114320 h 348332"/>
                <a:gd name="connsiteX394" fmla="*/ 558967 w 2663946"/>
                <a:gd name="connsiteY394" fmla="*/ 111887 h 348332"/>
                <a:gd name="connsiteX395" fmla="*/ 562163 w 2663946"/>
                <a:gd name="connsiteY395" fmla="*/ 108372 h 348332"/>
                <a:gd name="connsiteX396" fmla="*/ 564621 w 2663946"/>
                <a:gd name="connsiteY396" fmla="*/ 104046 h 348332"/>
                <a:gd name="connsiteX397" fmla="*/ 565604 w 2663946"/>
                <a:gd name="connsiteY397" fmla="*/ 101883 h 348332"/>
                <a:gd name="connsiteX398" fmla="*/ 566833 w 2663946"/>
                <a:gd name="connsiteY398" fmla="*/ 97557 h 348332"/>
                <a:gd name="connsiteX399" fmla="*/ 566341 w 2663946"/>
                <a:gd name="connsiteY399" fmla="*/ 83767 h 348332"/>
                <a:gd name="connsiteX400" fmla="*/ 565358 w 2663946"/>
                <a:gd name="connsiteY400" fmla="*/ 80793 h 348332"/>
                <a:gd name="connsiteX401" fmla="*/ 564129 w 2663946"/>
                <a:gd name="connsiteY401" fmla="*/ 77819 h 348332"/>
                <a:gd name="connsiteX402" fmla="*/ 561917 w 2663946"/>
                <a:gd name="connsiteY402" fmla="*/ 74304 h 348332"/>
                <a:gd name="connsiteX403" fmla="*/ 558230 w 2663946"/>
                <a:gd name="connsiteY403" fmla="*/ 70519 h 348332"/>
                <a:gd name="connsiteX404" fmla="*/ 554297 w 2663946"/>
                <a:gd name="connsiteY404" fmla="*/ 68356 h 348332"/>
                <a:gd name="connsiteX405" fmla="*/ 372346 w 2663946"/>
                <a:gd name="connsiteY405" fmla="*/ 68356 h 348332"/>
                <a:gd name="connsiteX406" fmla="*/ 360793 w 2663946"/>
                <a:gd name="connsiteY406" fmla="*/ 70789 h 348332"/>
                <a:gd name="connsiteX407" fmla="*/ 357598 w 2663946"/>
                <a:gd name="connsiteY407" fmla="*/ 74304 h 348332"/>
                <a:gd name="connsiteX408" fmla="*/ 355385 w 2663946"/>
                <a:gd name="connsiteY408" fmla="*/ 78089 h 348332"/>
                <a:gd name="connsiteX409" fmla="*/ 354402 w 2663946"/>
                <a:gd name="connsiteY409" fmla="*/ 80793 h 348332"/>
                <a:gd name="connsiteX410" fmla="*/ 353419 w 2663946"/>
                <a:gd name="connsiteY410" fmla="*/ 84849 h 348332"/>
                <a:gd name="connsiteX411" fmla="*/ 352436 w 2663946"/>
                <a:gd name="connsiteY411" fmla="*/ 91879 h 348332"/>
                <a:gd name="connsiteX412" fmla="*/ 353419 w 2663946"/>
                <a:gd name="connsiteY412" fmla="*/ 99179 h 348332"/>
                <a:gd name="connsiteX413" fmla="*/ 354648 w 2663946"/>
                <a:gd name="connsiteY413" fmla="*/ 102964 h 348332"/>
                <a:gd name="connsiteX414" fmla="*/ 356860 w 2663946"/>
                <a:gd name="connsiteY414" fmla="*/ 107290 h 348332"/>
                <a:gd name="connsiteX415" fmla="*/ 360301 w 2663946"/>
                <a:gd name="connsiteY415" fmla="*/ 111617 h 348332"/>
                <a:gd name="connsiteX416" fmla="*/ 364726 w 2663946"/>
                <a:gd name="connsiteY416" fmla="*/ 114320 h 348332"/>
                <a:gd name="connsiteX417" fmla="*/ 377016 w 2663946"/>
                <a:gd name="connsiteY417" fmla="*/ 111887 h 348332"/>
                <a:gd name="connsiteX418" fmla="*/ 380212 w 2663946"/>
                <a:gd name="connsiteY418" fmla="*/ 108372 h 348332"/>
                <a:gd name="connsiteX419" fmla="*/ 382670 w 2663946"/>
                <a:gd name="connsiteY419" fmla="*/ 104046 h 348332"/>
                <a:gd name="connsiteX420" fmla="*/ 383653 w 2663946"/>
                <a:gd name="connsiteY420" fmla="*/ 101883 h 348332"/>
                <a:gd name="connsiteX421" fmla="*/ 384882 w 2663946"/>
                <a:gd name="connsiteY421" fmla="*/ 97557 h 348332"/>
                <a:gd name="connsiteX422" fmla="*/ 384390 w 2663946"/>
                <a:gd name="connsiteY422" fmla="*/ 83767 h 348332"/>
                <a:gd name="connsiteX423" fmla="*/ 383407 w 2663946"/>
                <a:gd name="connsiteY423" fmla="*/ 80793 h 348332"/>
                <a:gd name="connsiteX424" fmla="*/ 382178 w 2663946"/>
                <a:gd name="connsiteY424" fmla="*/ 77819 h 348332"/>
                <a:gd name="connsiteX425" fmla="*/ 379966 w 2663946"/>
                <a:gd name="connsiteY425" fmla="*/ 74304 h 348332"/>
                <a:gd name="connsiteX426" fmla="*/ 376279 w 2663946"/>
                <a:gd name="connsiteY426" fmla="*/ 70519 h 348332"/>
                <a:gd name="connsiteX427" fmla="*/ 372346 w 2663946"/>
                <a:gd name="connsiteY427" fmla="*/ 68356 h 348332"/>
                <a:gd name="connsiteX428" fmla="*/ 129300 w 2663946"/>
                <a:gd name="connsiteY428" fmla="*/ 68356 h 348332"/>
                <a:gd name="connsiteX429" fmla="*/ 117747 w 2663946"/>
                <a:gd name="connsiteY429" fmla="*/ 70789 h 348332"/>
                <a:gd name="connsiteX430" fmla="*/ 114552 w 2663946"/>
                <a:gd name="connsiteY430" fmla="*/ 74304 h 348332"/>
                <a:gd name="connsiteX431" fmla="*/ 112340 w 2663946"/>
                <a:gd name="connsiteY431" fmla="*/ 78089 h 348332"/>
                <a:gd name="connsiteX432" fmla="*/ 111356 w 2663946"/>
                <a:gd name="connsiteY432" fmla="*/ 80793 h 348332"/>
                <a:gd name="connsiteX433" fmla="*/ 110373 w 2663946"/>
                <a:gd name="connsiteY433" fmla="*/ 84849 h 348332"/>
                <a:gd name="connsiteX434" fmla="*/ 109390 w 2663946"/>
                <a:gd name="connsiteY434" fmla="*/ 91879 h 348332"/>
                <a:gd name="connsiteX435" fmla="*/ 110373 w 2663946"/>
                <a:gd name="connsiteY435" fmla="*/ 99179 h 348332"/>
                <a:gd name="connsiteX436" fmla="*/ 111602 w 2663946"/>
                <a:gd name="connsiteY436" fmla="*/ 102964 h 348332"/>
                <a:gd name="connsiteX437" fmla="*/ 113814 w 2663946"/>
                <a:gd name="connsiteY437" fmla="*/ 107290 h 348332"/>
                <a:gd name="connsiteX438" fmla="*/ 117256 w 2663946"/>
                <a:gd name="connsiteY438" fmla="*/ 111617 h 348332"/>
                <a:gd name="connsiteX439" fmla="*/ 121680 w 2663946"/>
                <a:gd name="connsiteY439" fmla="*/ 114320 h 348332"/>
                <a:gd name="connsiteX440" fmla="*/ 133970 w 2663946"/>
                <a:gd name="connsiteY440" fmla="*/ 111887 h 348332"/>
                <a:gd name="connsiteX441" fmla="*/ 137166 w 2663946"/>
                <a:gd name="connsiteY441" fmla="*/ 108372 h 348332"/>
                <a:gd name="connsiteX442" fmla="*/ 139624 w 2663946"/>
                <a:gd name="connsiteY442" fmla="*/ 104046 h 348332"/>
                <a:gd name="connsiteX443" fmla="*/ 140607 w 2663946"/>
                <a:gd name="connsiteY443" fmla="*/ 101883 h 348332"/>
                <a:gd name="connsiteX444" fmla="*/ 141836 w 2663946"/>
                <a:gd name="connsiteY444" fmla="*/ 97557 h 348332"/>
                <a:gd name="connsiteX445" fmla="*/ 141344 w 2663946"/>
                <a:gd name="connsiteY445" fmla="*/ 83767 h 348332"/>
                <a:gd name="connsiteX446" fmla="*/ 140361 w 2663946"/>
                <a:gd name="connsiteY446" fmla="*/ 80793 h 348332"/>
                <a:gd name="connsiteX447" fmla="*/ 139132 w 2663946"/>
                <a:gd name="connsiteY447" fmla="*/ 77819 h 348332"/>
                <a:gd name="connsiteX448" fmla="*/ 136920 w 2663946"/>
                <a:gd name="connsiteY448" fmla="*/ 74304 h 348332"/>
                <a:gd name="connsiteX449" fmla="*/ 133233 w 2663946"/>
                <a:gd name="connsiteY449" fmla="*/ 70519 h 348332"/>
                <a:gd name="connsiteX450" fmla="*/ 129300 w 2663946"/>
                <a:gd name="connsiteY450" fmla="*/ 68356 h 348332"/>
                <a:gd name="connsiteX451" fmla="*/ 33147 w 2663946"/>
                <a:gd name="connsiteY451" fmla="*/ 64420 h 348332"/>
                <a:gd name="connsiteX452" fmla="*/ 21486 w 2663946"/>
                <a:gd name="connsiteY452" fmla="*/ 72149 h 348332"/>
                <a:gd name="connsiteX453" fmla="*/ 20561 w 2663946"/>
                <a:gd name="connsiteY453" fmla="*/ 76732 h 348332"/>
                <a:gd name="connsiteX454" fmla="*/ 23801 w 2663946"/>
                <a:gd name="connsiteY454" fmla="*/ 76732 h 348332"/>
                <a:gd name="connsiteX455" fmla="*/ 42218 w 2663946"/>
                <a:gd name="connsiteY455" fmla="*/ 76732 h 348332"/>
                <a:gd name="connsiteX456" fmla="*/ 45732 w 2663946"/>
                <a:gd name="connsiteY456" fmla="*/ 76732 h 348332"/>
                <a:gd name="connsiteX457" fmla="*/ 44807 w 2663946"/>
                <a:gd name="connsiteY457" fmla="*/ 72149 h 348332"/>
                <a:gd name="connsiteX458" fmla="*/ 33147 w 2663946"/>
                <a:gd name="connsiteY458" fmla="*/ 64420 h 348332"/>
                <a:gd name="connsiteX459" fmla="*/ 2537931 w 2663946"/>
                <a:gd name="connsiteY459" fmla="*/ 56832 h 348332"/>
                <a:gd name="connsiteX460" fmla="*/ 2526271 w 2663946"/>
                <a:gd name="connsiteY460" fmla="*/ 64561 h 348332"/>
                <a:gd name="connsiteX461" fmla="*/ 2525346 w 2663946"/>
                <a:gd name="connsiteY461" fmla="*/ 69144 h 348332"/>
                <a:gd name="connsiteX462" fmla="*/ 2528586 w 2663946"/>
                <a:gd name="connsiteY462" fmla="*/ 69144 h 348332"/>
                <a:gd name="connsiteX463" fmla="*/ 2547003 w 2663946"/>
                <a:gd name="connsiteY463" fmla="*/ 69144 h 348332"/>
                <a:gd name="connsiteX464" fmla="*/ 2550517 w 2663946"/>
                <a:gd name="connsiteY464" fmla="*/ 69144 h 348332"/>
                <a:gd name="connsiteX465" fmla="*/ 2549592 w 2663946"/>
                <a:gd name="connsiteY465" fmla="*/ 64561 h 348332"/>
                <a:gd name="connsiteX466" fmla="*/ 2537931 w 2663946"/>
                <a:gd name="connsiteY466" fmla="*/ 56832 h 348332"/>
                <a:gd name="connsiteX467" fmla="*/ 2112934 w 2663946"/>
                <a:gd name="connsiteY467" fmla="*/ 56832 h 348332"/>
                <a:gd name="connsiteX468" fmla="*/ 2101274 w 2663946"/>
                <a:gd name="connsiteY468" fmla="*/ 64561 h 348332"/>
                <a:gd name="connsiteX469" fmla="*/ 2100349 w 2663946"/>
                <a:gd name="connsiteY469" fmla="*/ 69144 h 348332"/>
                <a:gd name="connsiteX470" fmla="*/ 2103589 w 2663946"/>
                <a:gd name="connsiteY470" fmla="*/ 69144 h 348332"/>
                <a:gd name="connsiteX471" fmla="*/ 2122006 w 2663946"/>
                <a:gd name="connsiteY471" fmla="*/ 69144 h 348332"/>
                <a:gd name="connsiteX472" fmla="*/ 2125520 w 2663946"/>
                <a:gd name="connsiteY472" fmla="*/ 69144 h 348332"/>
                <a:gd name="connsiteX473" fmla="*/ 2124595 w 2663946"/>
                <a:gd name="connsiteY473" fmla="*/ 64561 h 348332"/>
                <a:gd name="connsiteX474" fmla="*/ 2112934 w 2663946"/>
                <a:gd name="connsiteY474" fmla="*/ 56832 h 348332"/>
                <a:gd name="connsiteX475" fmla="*/ 1854966 w 2663946"/>
                <a:gd name="connsiteY475" fmla="*/ 56832 h 348332"/>
                <a:gd name="connsiteX476" fmla="*/ 1843306 w 2663946"/>
                <a:gd name="connsiteY476" fmla="*/ 64561 h 348332"/>
                <a:gd name="connsiteX477" fmla="*/ 1842381 w 2663946"/>
                <a:gd name="connsiteY477" fmla="*/ 69144 h 348332"/>
                <a:gd name="connsiteX478" fmla="*/ 1845621 w 2663946"/>
                <a:gd name="connsiteY478" fmla="*/ 69144 h 348332"/>
                <a:gd name="connsiteX479" fmla="*/ 1864038 w 2663946"/>
                <a:gd name="connsiteY479" fmla="*/ 69144 h 348332"/>
                <a:gd name="connsiteX480" fmla="*/ 1867552 w 2663946"/>
                <a:gd name="connsiteY480" fmla="*/ 69144 h 348332"/>
                <a:gd name="connsiteX481" fmla="*/ 1866627 w 2663946"/>
                <a:gd name="connsiteY481" fmla="*/ 64561 h 348332"/>
                <a:gd name="connsiteX482" fmla="*/ 1854966 w 2663946"/>
                <a:gd name="connsiteY482" fmla="*/ 56832 h 348332"/>
                <a:gd name="connsiteX483" fmla="*/ 1764027 w 2663946"/>
                <a:gd name="connsiteY483" fmla="*/ 56832 h 348332"/>
                <a:gd name="connsiteX484" fmla="*/ 1752367 w 2663946"/>
                <a:gd name="connsiteY484" fmla="*/ 64561 h 348332"/>
                <a:gd name="connsiteX485" fmla="*/ 1751442 w 2663946"/>
                <a:gd name="connsiteY485" fmla="*/ 69144 h 348332"/>
                <a:gd name="connsiteX486" fmla="*/ 1754682 w 2663946"/>
                <a:gd name="connsiteY486" fmla="*/ 69144 h 348332"/>
                <a:gd name="connsiteX487" fmla="*/ 1773099 w 2663946"/>
                <a:gd name="connsiteY487" fmla="*/ 69144 h 348332"/>
                <a:gd name="connsiteX488" fmla="*/ 1776613 w 2663946"/>
                <a:gd name="connsiteY488" fmla="*/ 69144 h 348332"/>
                <a:gd name="connsiteX489" fmla="*/ 1775687 w 2663946"/>
                <a:gd name="connsiteY489" fmla="*/ 64561 h 348332"/>
                <a:gd name="connsiteX490" fmla="*/ 1764027 w 2663946"/>
                <a:gd name="connsiteY490" fmla="*/ 56832 h 348332"/>
                <a:gd name="connsiteX491" fmla="*/ 1506059 w 2663946"/>
                <a:gd name="connsiteY491" fmla="*/ 56832 h 348332"/>
                <a:gd name="connsiteX492" fmla="*/ 1494399 w 2663946"/>
                <a:gd name="connsiteY492" fmla="*/ 64561 h 348332"/>
                <a:gd name="connsiteX493" fmla="*/ 1493474 w 2663946"/>
                <a:gd name="connsiteY493" fmla="*/ 69144 h 348332"/>
                <a:gd name="connsiteX494" fmla="*/ 1496714 w 2663946"/>
                <a:gd name="connsiteY494" fmla="*/ 69144 h 348332"/>
                <a:gd name="connsiteX495" fmla="*/ 1515131 w 2663946"/>
                <a:gd name="connsiteY495" fmla="*/ 69144 h 348332"/>
                <a:gd name="connsiteX496" fmla="*/ 1518645 w 2663946"/>
                <a:gd name="connsiteY496" fmla="*/ 69144 h 348332"/>
                <a:gd name="connsiteX497" fmla="*/ 1517719 w 2663946"/>
                <a:gd name="connsiteY497" fmla="*/ 64561 h 348332"/>
                <a:gd name="connsiteX498" fmla="*/ 1506059 w 2663946"/>
                <a:gd name="connsiteY498" fmla="*/ 56832 h 348332"/>
                <a:gd name="connsiteX499" fmla="*/ 1415120 w 2663946"/>
                <a:gd name="connsiteY499" fmla="*/ 56832 h 348332"/>
                <a:gd name="connsiteX500" fmla="*/ 1403460 w 2663946"/>
                <a:gd name="connsiteY500" fmla="*/ 64561 h 348332"/>
                <a:gd name="connsiteX501" fmla="*/ 1402535 w 2663946"/>
                <a:gd name="connsiteY501" fmla="*/ 69144 h 348332"/>
                <a:gd name="connsiteX502" fmla="*/ 1405775 w 2663946"/>
                <a:gd name="connsiteY502" fmla="*/ 69144 h 348332"/>
                <a:gd name="connsiteX503" fmla="*/ 1424192 w 2663946"/>
                <a:gd name="connsiteY503" fmla="*/ 69144 h 348332"/>
                <a:gd name="connsiteX504" fmla="*/ 1427706 w 2663946"/>
                <a:gd name="connsiteY504" fmla="*/ 69144 h 348332"/>
                <a:gd name="connsiteX505" fmla="*/ 1426780 w 2663946"/>
                <a:gd name="connsiteY505" fmla="*/ 64561 h 348332"/>
                <a:gd name="connsiteX506" fmla="*/ 1415120 w 2663946"/>
                <a:gd name="connsiteY506" fmla="*/ 56832 h 348332"/>
                <a:gd name="connsiteX507" fmla="*/ 1157152 w 2663946"/>
                <a:gd name="connsiteY507" fmla="*/ 56832 h 348332"/>
                <a:gd name="connsiteX508" fmla="*/ 1145492 w 2663946"/>
                <a:gd name="connsiteY508" fmla="*/ 64561 h 348332"/>
                <a:gd name="connsiteX509" fmla="*/ 1144567 w 2663946"/>
                <a:gd name="connsiteY509" fmla="*/ 69144 h 348332"/>
                <a:gd name="connsiteX510" fmla="*/ 1147807 w 2663946"/>
                <a:gd name="connsiteY510" fmla="*/ 69144 h 348332"/>
                <a:gd name="connsiteX511" fmla="*/ 1166224 w 2663946"/>
                <a:gd name="connsiteY511" fmla="*/ 69144 h 348332"/>
                <a:gd name="connsiteX512" fmla="*/ 1169738 w 2663946"/>
                <a:gd name="connsiteY512" fmla="*/ 69144 h 348332"/>
                <a:gd name="connsiteX513" fmla="*/ 1168812 w 2663946"/>
                <a:gd name="connsiteY513" fmla="*/ 64561 h 348332"/>
                <a:gd name="connsiteX514" fmla="*/ 1157152 w 2663946"/>
                <a:gd name="connsiteY514" fmla="*/ 56832 h 348332"/>
                <a:gd name="connsiteX515" fmla="*/ 732156 w 2663946"/>
                <a:gd name="connsiteY515" fmla="*/ 56832 h 348332"/>
                <a:gd name="connsiteX516" fmla="*/ 720495 w 2663946"/>
                <a:gd name="connsiteY516" fmla="*/ 64561 h 348332"/>
                <a:gd name="connsiteX517" fmla="*/ 719570 w 2663946"/>
                <a:gd name="connsiteY517" fmla="*/ 69144 h 348332"/>
                <a:gd name="connsiteX518" fmla="*/ 722810 w 2663946"/>
                <a:gd name="connsiteY518" fmla="*/ 69144 h 348332"/>
                <a:gd name="connsiteX519" fmla="*/ 741228 w 2663946"/>
                <a:gd name="connsiteY519" fmla="*/ 69144 h 348332"/>
                <a:gd name="connsiteX520" fmla="*/ 744742 w 2663946"/>
                <a:gd name="connsiteY520" fmla="*/ 69144 h 348332"/>
                <a:gd name="connsiteX521" fmla="*/ 743816 w 2663946"/>
                <a:gd name="connsiteY521" fmla="*/ 64561 h 348332"/>
                <a:gd name="connsiteX522" fmla="*/ 732156 w 2663946"/>
                <a:gd name="connsiteY522" fmla="*/ 56832 h 348332"/>
                <a:gd name="connsiteX523" fmla="*/ 641217 w 2663946"/>
                <a:gd name="connsiteY523" fmla="*/ 56832 h 348332"/>
                <a:gd name="connsiteX524" fmla="*/ 629556 w 2663946"/>
                <a:gd name="connsiteY524" fmla="*/ 64561 h 348332"/>
                <a:gd name="connsiteX525" fmla="*/ 628631 w 2663946"/>
                <a:gd name="connsiteY525" fmla="*/ 69144 h 348332"/>
                <a:gd name="connsiteX526" fmla="*/ 631871 w 2663946"/>
                <a:gd name="connsiteY526" fmla="*/ 69144 h 348332"/>
                <a:gd name="connsiteX527" fmla="*/ 650289 w 2663946"/>
                <a:gd name="connsiteY527" fmla="*/ 69144 h 348332"/>
                <a:gd name="connsiteX528" fmla="*/ 653802 w 2663946"/>
                <a:gd name="connsiteY528" fmla="*/ 69144 h 348332"/>
                <a:gd name="connsiteX529" fmla="*/ 652877 w 2663946"/>
                <a:gd name="connsiteY529" fmla="*/ 64561 h 348332"/>
                <a:gd name="connsiteX530" fmla="*/ 641217 w 2663946"/>
                <a:gd name="connsiteY530" fmla="*/ 56832 h 348332"/>
                <a:gd name="connsiteX531" fmla="*/ 459266 w 2663946"/>
                <a:gd name="connsiteY531" fmla="*/ 56832 h 348332"/>
                <a:gd name="connsiteX532" fmla="*/ 447605 w 2663946"/>
                <a:gd name="connsiteY532" fmla="*/ 64561 h 348332"/>
                <a:gd name="connsiteX533" fmla="*/ 446680 w 2663946"/>
                <a:gd name="connsiteY533" fmla="*/ 69144 h 348332"/>
                <a:gd name="connsiteX534" fmla="*/ 449920 w 2663946"/>
                <a:gd name="connsiteY534" fmla="*/ 69144 h 348332"/>
                <a:gd name="connsiteX535" fmla="*/ 468337 w 2663946"/>
                <a:gd name="connsiteY535" fmla="*/ 69144 h 348332"/>
                <a:gd name="connsiteX536" fmla="*/ 471851 w 2663946"/>
                <a:gd name="connsiteY536" fmla="*/ 69144 h 348332"/>
                <a:gd name="connsiteX537" fmla="*/ 470926 w 2663946"/>
                <a:gd name="connsiteY537" fmla="*/ 64561 h 348332"/>
                <a:gd name="connsiteX538" fmla="*/ 459266 w 2663946"/>
                <a:gd name="connsiteY538" fmla="*/ 56832 h 348332"/>
                <a:gd name="connsiteX539" fmla="*/ 2361413 w 2663946"/>
                <a:gd name="connsiteY539" fmla="*/ 52472 h 348332"/>
                <a:gd name="connsiteX540" fmla="*/ 2365469 w 2663946"/>
                <a:gd name="connsiteY540" fmla="*/ 52472 h 348332"/>
                <a:gd name="connsiteX541" fmla="*/ 2370065 w 2663946"/>
                <a:gd name="connsiteY541" fmla="*/ 54906 h 348332"/>
                <a:gd name="connsiteX542" fmla="*/ 2372229 w 2663946"/>
                <a:gd name="connsiteY542" fmla="*/ 61124 h 348332"/>
                <a:gd name="connsiteX543" fmla="*/ 2372229 w 2663946"/>
                <a:gd name="connsiteY543" fmla="*/ 61665 h 348332"/>
                <a:gd name="connsiteX544" fmla="*/ 2372229 w 2663946"/>
                <a:gd name="connsiteY544" fmla="*/ 114660 h 348332"/>
                <a:gd name="connsiteX545" fmla="*/ 2372769 w 2663946"/>
                <a:gd name="connsiteY545" fmla="*/ 115200 h 348332"/>
                <a:gd name="connsiteX546" fmla="*/ 2380069 w 2663946"/>
                <a:gd name="connsiteY546" fmla="*/ 115200 h 348332"/>
                <a:gd name="connsiteX547" fmla="*/ 2384125 w 2663946"/>
                <a:gd name="connsiteY547" fmla="*/ 116282 h 348332"/>
                <a:gd name="connsiteX548" fmla="*/ 2387910 w 2663946"/>
                <a:gd name="connsiteY548" fmla="*/ 123041 h 348332"/>
                <a:gd name="connsiteX549" fmla="*/ 2385207 w 2663946"/>
                <a:gd name="connsiteY549" fmla="*/ 128719 h 348332"/>
                <a:gd name="connsiteX550" fmla="*/ 2381151 w 2663946"/>
                <a:gd name="connsiteY550" fmla="*/ 130612 h 348332"/>
                <a:gd name="connsiteX551" fmla="*/ 2380881 w 2663946"/>
                <a:gd name="connsiteY551" fmla="*/ 130612 h 348332"/>
                <a:gd name="connsiteX552" fmla="*/ 2380610 w 2663946"/>
                <a:gd name="connsiteY552" fmla="*/ 130612 h 348332"/>
                <a:gd name="connsiteX553" fmla="*/ 2380069 w 2663946"/>
                <a:gd name="connsiteY553" fmla="*/ 130612 h 348332"/>
                <a:gd name="connsiteX554" fmla="*/ 2347894 w 2663946"/>
                <a:gd name="connsiteY554" fmla="*/ 130612 h 348332"/>
                <a:gd name="connsiteX555" fmla="*/ 2347354 w 2663946"/>
                <a:gd name="connsiteY555" fmla="*/ 130612 h 348332"/>
                <a:gd name="connsiteX556" fmla="*/ 2346542 w 2663946"/>
                <a:gd name="connsiteY556" fmla="*/ 130612 h 348332"/>
                <a:gd name="connsiteX557" fmla="*/ 2345731 w 2663946"/>
                <a:gd name="connsiteY557" fmla="*/ 130342 h 348332"/>
                <a:gd name="connsiteX558" fmla="*/ 2342216 w 2663946"/>
                <a:gd name="connsiteY558" fmla="*/ 128449 h 348332"/>
                <a:gd name="connsiteX559" fmla="*/ 2339783 w 2663946"/>
                <a:gd name="connsiteY559" fmla="*/ 122771 h 348332"/>
                <a:gd name="connsiteX560" fmla="*/ 2341946 w 2663946"/>
                <a:gd name="connsiteY560" fmla="*/ 117634 h 348332"/>
                <a:gd name="connsiteX561" fmla="*/ 2347624 w 2663946"/>
                <a:gd name="connsiteY561" fmla="*/ 115200 h 348332"/>
                <a:gd name="connsiteX562" fmla="*/ 2355465 w 2663946"/>
                <a:gd name="connsiteY562" fmla="*/ 115200 h 348332"/>
                <a:gd name="connsiteX563" fmla="*/ 2356006 w 2663946"/>
                <a:gd name="connsiteY563" fmla="*/ 114660 h 348332"/>
                <a:gd name="connsiteX564" fmla="*/ 2356006 w 2663946"/>
                <a:gd name="connsiteY564" fmla="*/ 68695 h 348332"/>
                <a:gd name="connsiteX565" fmla="*/ 2355465 w 2663946"/>
                <a:gd name="connsiteY565" fmla="*/ 68154 h 348332"/>
                <a:gd name="connsiteX566" fmla="*/ 2349517 w 2663946"/>
                <a:gd name="connsiteY566" fmla="*/ 68154 h 348332"/>
                <a:gd name="connsiteX567" fmla="*/ 2342216 w 2663946"/>
                <a:gd name="connsiteY567" fmla="*/ 63558 h 348332"/>
                <a:gd name="connsiteX568" fmla="*/ 2341946 w 2663946"/>
                <a:gd name="connsiteY568" fmla="*/ 57880 h 348332"/>
                <a:gd name="connsiteX569" fmla="*/ 2349246 w 2663946"/>
                <a:gd name="connsiteY569" fmla="*/ 52743 h 348332"/>
                <a:gd name="connsiteX570" fmla="*/ 2361413 w 2663946"/>
                <a:gd name="connsiteY570" fmla="*/ 52472 h 348332"/>
                <a:gd name="connsiteX571" fmla="*/ 2285396 w 2663946"/>
                <a:gd name="connsiteY571" fmla="*/ 52472 h 348332"/>
                <a:gd name="connsiteX572" fmla="*/ 2289452 w 2663946"/>
                <a:gd name="connsiteY572" fmla="*/ 52472 h 348332"/>
                <a:gd name="connsiteX573" fmla="*/ 2294048 w 2663946"/>
                <a:gd name="connsiteY573" fmla="*/ 54906 h 348332"/>
                <a:gd name="connsiteX574" fmla="*/ 2296212 w 2663946"/>
                <a:gd name="connsiteY574" fmla="*/ 61124 h 348332"/>
                <a:gd name="connsiteX575" fmla="*/ 2296212 w 2663946"/>
                <a:gd name="connsiteY575" fmla="*/ 61665 h 348332"/>
                <a:gd name="connsiteX576" fmla="*/ 2296212 w 2663946"/>
                <a:gd name="connsiteY576" fmla="*/ 114660 h 348332"/>
                <a:gd name="connsiteX577" fmla="*/ 2296752 w 2663946"/>
                <a:gd name="connsiteY577" fmla="*/ 115200 h 348332"/>
                <a:gd name="connsiteX578" fmla="*/ 2304052 w 2663946"/>
                <a:gd name="connsiteY578" fmla="*/ 115200 h 348332"/>
                <a:gd name="connsiteX579" fmla="*/ 2308108 w 2663946"/>
                <a:gd name="connsiteY579" fmla="*/ 116282 h 348332"/>
                <a:gd name="connsiteX580" fmla="*/ 2311893 w 2663946"/>
                <a:gd name="connsiteY580" fmla="*/ 123041 h 348332"/>
                <a:gd name="connsiteX581" fmla="*/ 2309190 w 2663946"/>
                <a:gd name="connsiteY581" fmla="*/ 128719 h 348332"/>
                <a:gd name="connsiteX582" fmla="*/ 2305134 w 2663946"/>
                <a:gd name="connsiteY582" fmla="*/ 130612 h 348332"/>
                <a:gd name="connsiteX583" fmla="*/ 2304864 w 2663946"/>
                <a:gd name="connsiteY583" fmla="*/ 130612 h 348332"/>
                <a:gd name="connsiteX584" fmla="*/ 2304593 w 2663946"/>
                <a:gd name="connsiteY584" fmla="*/ 130612 h 348332"/>
                <a:gd name="connsiteX585" fmla="*/ 2304052 w 2663946"/>
                <a:gd name="connsiteY585" fmla="*/ 130612 h 348332"/>
                <a:gd name="connsiteX586" fmla="*/ 2271877 w 2663946"/>
                <a:gd name="connsiteY586" fmla="*/ 130612 h 348332"/>
                <a:gd name="connsiteX587" fmla="*/ 2271337 w 2663946"/>
                <a:gd name="connsiteY587" fmla="*/ 130612 h 348332"/>
                <a:gd name="connsiteX588" fmla="*/ 2270525 w 2663946"/>
                <a:gd name="connsiteY588" fmla="*/ 130612 h 348332"/>
                <a:gd name="connsiteX589" fmla="*/ 2269714 w 2663946"/>
                <a:gd name="connsiteY589" fmla="*/ 130342 h 348332"/>
                <a:gd name="connsiteX590" fmla="*/ 2266199 w 2663946"/>
                <a:gd name="connsiteY590" fmla="*/ 128449 h 348332"/>
                <a:gd name="connsiteX591" fmla="*/ 2263766 w 2663946"/>
                <a:gd name="connsiteY591" fmla="*/ 122771 h 348332"/>
                <a:gd name="connsiteX592" fmla="*/ 2265929 w 2663946"/>
                <a:gd name="connsiteY592" fmla="*/ 117634 h 348332"/>
                <a:gd name="connsiteX593" fmla="*/ 2271607 w 2663946"/>
                <a:gd name="connsiteY593" fmla="*/ 115200 h 348332"/>
                <a:gd name="connsiteX594" fmla="*/ 2279448 w 2663946"/>
                <a:gd name="connsiteY594" fmla="*/ 115200 h 348332"/>
                <a:gd name="connsiteX595" fmla="*/ 2279989 w 2663946"/>
                <a:gd name="connsiteY595" fmla="*/ 114660 h 348332"/>
                <a:gd name="connsiteX596" fmla="*/ 2279989 w 2663946"/>
                <a:gd name="connsiteY596" fmla="*/ 68695 h 348332"/>
                <a:gd name="connsiteX597" fmla="*/ 2279448 w 2663946"/>
                <a:gd name="connsiteY597" fmla="*/ 68154 h 348332"/>
                <a:gd name="connsiteX598" fmla="*/ 2273500 w 2663946"/>
                <a:gd name="connsiteY598" fmla="*/ 68154 h 348332"/>
                <a:gd name="connsiteX599" fmla="*/ 2266199 w 2663946"/>
                <a:gd name="connsiteY599" fmla="*/ 63558 h 348332"/>
                <a:gd name="connsiteX600" fmla="*/ 2265929 w 2663946"/>
                <a:gd name="connsiteY600" fmla="*/ 57880 h 348332"/>
                <a:gd name="connsiteX601" fmla="*/ 2273229 w 2663946"/>
                <a:gd name="connsiteY601" fmla="*/ 52743 h 348332"/>
                <a:gd name="connsiteX602" fmla="*/ 2285396 w 2663946"/>
                <a:gd name="connsiteY602" fmla="*/ 52472 h 348332"/>
                <a:gd name="connsiteX603" fmla="*/ 1936416 w 2663946"/>
                <a:gd name="connsiteY603" fmla="*/ 52472 h 348332"/>
                <a:gd name="connsiteX604" fmla="*/ 1940472 w 2663946"/>
                <a:gd name="connsiteY604" fmla="*/ 52472 h 348332"/>
                <a:gd name="connsiteX605" fmla="*/ 1945068 w 2663946"/>
                <a:gd name="connsiteY605" fmla="*/ 54906 h 348332"/>
                <a:gd name="connsiteX606" fmla="*/ 1947232 w 2663946"/>
                <a:gd name="connsiteY606" fmla="*/ 61124 h 348332"/>
                <a:gd name="connsiteX607" fmla="*/ 1947232 w 2663946"/>
                <a:gd name="connsiteY607" fmla="*/ 61665 h 348332"/>
                <a:gd name="connsiteX608" fmla="*/ 1947232 w 2663946"/>
                <a:gd name="connsiteY608" fmla="*/ 114660 h 348332"/>
                <a:gd name="connsiteX609" fmla="*/ 1947772 w 2663946"/>
                <a:gd name="connsiteY609" fmla="*/ 115200 h 348332"/>
                <a:gd name="connsiteX610" fmla="*/ 1955072 w 2663946"/>
                <a:gd name="connsiteY610" fmla="*/ 115200 h 348332"/>
                <a:gd name="connsiteX611" fmla="*/ 1959128 w 2663946"/>
                <a:gd name="connsiteY611" fmla="*/ 116282 h 348332"/>
                <a:gd name="connsiteX612" fmla="*/ 1962913 w 2663946"/>
                <a:gd name="connsiteY612" fmla="*/ 123041 h 348332"/>
                <a:gd name="connsiteX613" fmla="*/ 1960210 w 2663946"/>
                <a:gd name="connsiteY613" fmla="*/ 128719 h 348332"/>
                <a:gd name="connsiteX614" fmla="*/ 1956154 w 2663946"/>
                <a:gd name="connsiteY614" fmla="*/ 130612 h 348332"/>
                <a:gd name="connsiteX615" fmla="*/ 1955884 w 2663946"/>
                <a:gd name="connsiteY615" fmla="*/ 130612 h 348332"/>
                <a:gd name="connsiteX616" fmla="*/ 1955613 w 2663946"/>
                <a:gd name="connsiteY616" fmla="*/ 130612 h 348332"/>
                <a:gd name="connsiteX617" fmla="*/ 1955072 w 2663946"/>
                <a:gd name="connsiteY617" fmla="*/ 130612 h 348332"/>
                <a:gd name="connsiteX618" fmla="*/ 1922897 w 2663946"/>
                <a:gd name="connsiteY618" fmla="*/ 130612 h 348332"/>
                <a:gd name="connsiteX619" fmla="*/ 1922357 w 2663946"/>
                <a:gd name="connsiteY619" fmla="*/ 130612 h 348332"/>
                <a:gd name="connsiteX620" fmla="*/ 1921545 w 2663946"/>
                <a:gd name="connsiteY620" fmla="*/ 130612 h 348332"/>
                <a:gd name="connsiteX621" fmla="*/ 1920734 w 2663946"/>
                <a:gd name="connsiteY621" fmla="*/ 130342 h 348332"/>
                <a:gd name="connsiteX622" fmla="*/ 1917219 w 2663946"/>
                <a:gd name="connsiteY622" fmla="*/ 128449 h 348332"/>
                <a:gd name="connsiteX623" fmla="*/ 1914786 w 2663946"/>
                <a:gd name="connsiteY623" fmla="*/ 122771 h 348332"/>
                <a:gd name="connsiteX624" fmla="*/ 1916949 w 2663946"/>
                <a:gd name="connsiteY624" fmla="*/ 117634 h 348332"/>
                <a:gd name="connsiteX625" fmla="*/ 1922627 w 2663946"/>
                <a:gd name="connsiteY625" fmla="*/ 115200 h 348332"/>
                <a:gd name="connsiteX626" fmla="*/ 1930468 w 2663946"/>
                <a:gd name="connsiteY626" fmla="*/ 115200 h 348332"/>
                <a:gd name="connsiteX627" fmla="*/ 1931009 w 2663946"/>
                <a:gd name="connsiteY627" fmla="*/ 114660 h 348332"/>
                <a:gd name="connsiteX628" fmla="*/ 1931009 w 2663946"/>
                <a:gd name="connsiteY628" fmla="*/ 68695 h 348332"/>
                <a:gd name="connsiteX629" fmla="*/ 1930468 w 2663946"/>
                <a:gd name="connsiteY629" fmla="*/ 68154 h 348332"/>
                <a:gd name="connsiteX630" fmla="*/ 1924520 w 2663946"/>
                <a:gd name="connsiteY630" fmla="*/ 68154 h 348332"/>
                <a:gd name="connsiteX631" fmla="*/ 1917219 w 2663946"/>
                <a:gd name="connsiteY631" fmla="*/ 63558 h 348332"/>
                <a:gd name="connsiteX632" fmla="*/ 1916949 w 2663946"/>
                <a:gd name="connsiteY632" fmla="*/ 57880 h 348332"/>
                <a:gd name="connsiteX633" fmla="*/ 1924249 w 2663946"/>
                <a:gd name="connsiteY633" fmla="*/ 52743 h 348332"/>
                <a:gd name="connsiteX634" fmla="*/ 1936416 w 2663946"/>
                <a:gd name="connsiteY634" fmla="*/ 52472 h 348332"/>
                <a:gd name="connsiteX635" fmla="*/ 1678521 w 2663946"/>
                <a:gd name="connsiteY635" fmla="*/ 52472 h 348332"/>
                <a:gd name="connsiteX636" fmla="*/ 1682577 w 2663946"/>
                <a:gd name="connsiteY636" fmla="*/ 52472 h 348332"/>
                <a:gd name="connsiteX637" fmla="*/ 1687173 w 2663946"/>
                <a:gd name="connsiteY637" fmla="*/ 54906 h 348332"/>
                <a:gd name="connsiteX638" fmla="*/ 1689336 w 2663946"/>
                <a:gd name="connsiteY638" fmla="*/ 61124 h 348332"/>
                <a:gd name="connsiteX639" fmla="*/ 1689336 w 2663946"/>
                <a:gd name="connsiteY639" fmla="*/ 61665 h 348332"/>
                <a:gd name="connsiteX640" fmla="*/ 1689336 w 2663946"/>
                <a:gd name="connsiteY640" fmla="*/ 114660 h 348332"/>
                <a:gd name="connsiteX641" fmla="*/ 1689877 w 2663946"/>
                <a:gd name="connsiteY641" fmla="*/ 115200 h 348332"/>
                <a:gd name="connsiteX642" fmla="*/ 1697177 w 2663946"/>
                <a:gd name="connsiteY642" fmla="*/ 115200 h 348332"/>
                <a:gd name="connsiteX643" fmla="*/ 1701233 w 2663946"/>
                <a:gd name="connsiteY643" fmla="*/ 116282 h 348332"/>
                <a:gd name="connsiteX644" fmla="*/ 1705018 w 2663946"/>
                <a:gd name="connsiteY644" fmla="*/ 123041 h 348332"/>
                <a:gd name="connsiteX645" fmla="*/ 1702315 w 2663946"/>
                <a:gd name="connsiteY645" fmla="*/ 128719 h 348332"/>
                <a:gd name="connsiteX646" fmla="*/ 1698259 w 2663946"/>
                <a:gd name="connsiteY646" fmla="*/ 130612 h 348332"/>
                <a:gd name="connsiteX647" fmla="*/ 1697989 w 2663946"/>
                <a:gd name="connsiteY647" fmla="*/ 130612 h 348332"/>
                <a:gd name="connsiteX648" fmla="*/ 1697718 w 2663946"/>
                <a:gd name="connsiteY648" fmla="*/ 130612 h 348332"/>
                <a:gd name="connsiteX649" fmla="*/ 1697177 w 2663946"/>
                <a:gd name="connsiteY649" fmla="*/ 130612 h 348332"/>
                <a:gd name="connsiteX650" fmla="*/ 1665002 w 2663946"/>
                <a:gd name="connsiteY650" fmla="*/ 130612 h 348332"/>
                <a:gd name="connsiteX651" fmla="*/ 1664462 w 2663946"/>
                <a:gd name="connsiteY651" fmla="*/ 130612 h 348332"/>
                <a:gd name="connsiteX652" fmla="*/ 1663650 w 2663946"/>
                <a:gd name="connsiteY652" fmla="*/ 130612 h 348332"/>
                <a:gd name="connsiteX653" fmla="*/ 1662839 w 2663946"/>
                <a:gd name="connsiteY653" fmla="*/ 130342 h 348332"/>
                <a:gd name="connsiteX654" fmla="*/ 1659324 w 2663946"/>
                <a:gd name="connsiteY654" fmla="*/ 128449 h 348332"/>
                <a:gd name="connsiteX655" fmla="*/ 1656891 w 2663946"/>
                <a:gd name="connsiteY655" fmla="*/ 122771 h 348332"/>
                <a:gd name="connsiteX656" fmla="*/ 1659054 w 2663946"/>
                <a:gd name="connsiteY656" fmla="*/ 117634 h 348332"/>
                <a:gd name="connsiteX657" fmla="*/ 1664732 w 2663946"/>
                <a:gd name="connsiteY657" fmla="*/ 115200 h 348332"/>
                <a:gd name="connsiteX658" fmla="*/ 1672573 w 2663946"/>
                <a:gd name="connsiteY658" fmla="*/ 115200 h 348332"/>
                <a:gd name="connsiteX659" fmla="*/ 1673114 w 2663946"/>
                <a:gd name="connsiteY659" fmla="*/ 114660 h 348332"/>
                <a:gd name="connsiteX660" fmla="*/ 1673114 w 2663946"/>
                <a:gd name="connsiteY660" fmla="*/ 68695 h 348332"/>
                <a:gd name="connsiteX661" fmla="*/ 1672573 w 2663946"/>
                <a:gd name="connsiteY661" fmla="*/ 68154 h 348332"/>
                <a:gd name="connsiteX662" fmla="*/ 1666625 w 2663946"/>
                <a:gd name="connsiteY662" fmla="*/ 68154 h 348332"/>
                <a:gd name="connsiteX663" fmla="*/ 1659324 w 2663946"/>
                <a:gd name="connsiteY663" fmla="*/ 63558 h 348332"/>
                <a:gd name="connsiteX664" fmla="*/ 1659054 w 2663946"/>
                <a:gd name="connsiteY664" fmla="*/ 57880 h 348332"/>
                <a:gd name="connsiteX665" fmla="*/ 1666354 w 2663946"/>
                <a:gd name="connsiteY665" fmla="*/ 52743 h 348332"/>
                <a:gd name="connsiteX666" fmla="*/ 1678521 w 2663946"/>
                <a:gd name="connsiteY666" fmla="*/ 52472 h 348332"/>
                <a:gd name="connsiteX667" fmla="*/ 1329614 w 2663946"/>
                <a:gd name="connsiteY667" fmla="*/ 52472 h 348332"/>
                <a:gd name="connsiteX668" fmla="*/ 1333670 w 2663946"/>
                <a:gd name="connsiteY668" fmla="*/ 52472 h 348332"/>
                <a:gd name="connsiteX669" fmla="*/ 1338266 w 2663946"/>
                <a:gd name="connsiteY669" fmla="*/ 54906 h 348332"/>
                <a:gd name="connsiteX670" fmla="*/ 1340429 w 2663946"/>
                <a:gd name="connsiteY670" fmla="*/ 61124 h 348332"/>
                <a:gd name="connsiteX671" fmla="*/ 1340429 w 2663946"/>
                <a:gd name="connsiteY671" fmla="*/ 61665 h 348332"/>
                <a:gd name="connsiteX672" fmla="*/ 1340429 w 2663946"/>
                <a:gd name="connsiteY672" fmla="*/ 114660 h 348332"/>
                <a:gd name="connsiteX673" fmla="*/ 1340970 w 2663946"/>
                <a:gd name="connsiteY673" fmla="*/ 115200 h 348332"/>
                <a:gd name="connsiteX674" fmla="*/ 1348270 w 2663946"/>
                <a:gd name="connsiteY674" fmla="*/ 115200 h 348332"/>
                <a:gd name="connsiteX675" fmla="*/ 1352326 w 2663946"/>
                <a:gd name="connsiteY675" fmla="*/ 116282 h 348332"/>
                <a:gd name="connsiteX676" fmla="*/ 1356111 w 2663946"/>
                <a:gd name="connsiteY676" fmla="*/ 123041 h 348332"/>
                <a:gd name="connsiteX677" fmla="*/ 1353408 w 2663946"/>
                <a:gd name="connsiteY677" fmla="*/ 128719 h 348332"/>
                <a:gd name="connsiteX678" fmla="*/ 1349352 w 2663946"/>
                <a:gd name="connsiteY678" fmla="*/ 130612 h 348332"/>
                <a:gd name="connsiteX679" fmla="*/ 1349082 w 2663946"/>
                <a:gd name="connsiteY679" fmla="*/ 130612 h 348332"/>
                <a:gd name="connsiteX680" fmla="*/ 1348811 w 2663946"/>
                <a:gd name="connsiteY680" fmla="*/ 130612 h 348332"/>
                <a:gd name="connsiteX681" fmla="*/ 1348270 w 2663946"/>
                <a:gd name="connsiteY681" fmla="*/ 130612 h 348332"/>
                <a:gd name="connsiteX682" fmla="*/ 1316095 w 2663946"/>
                <a:gd name="connsiteY682" fmla="*/ 130612 h 348332"/>
                <a:gd name="connsiteX683" fmla="*/ 1315555 w 2663946"/>
                <a:gd name="connsiteY683" fmla="*/ 130612 h 348332"/>
                <a:gd name="connsiteX684" fmla="*/ 1314743 w 2663946"/>
                <a:gd name="connsiteY684" fmla="*/ 130612 h 348332"/>
                <a:gd name="connsiteX685" fmla="*/ 1313932 w 2663946"/>
                <a:gd name="connsiteY685" fmla="*/ 130342 h 348332"/>
                <a:gd name="connsiteX686" fmla="*/ 1310417 w 2663946"/>
                <a:gd name="connsiteY686" fmla="*/ 128449 h 348332"/>
                <a:gd name="connsiteX687" fmla="*/ 1307984 w 2663946"/>
                <a:gd name="connsiteY687" fmla="*/ 122771 h 348332"/>
                <a:gd name="connsiteX688" fmla="*/ 1310147 w 2663946"/>
                <a:gd name="connsiteY688" fmla="*/ 117634 h 348332"/>
                <a:gd name="connsiteX689" fmla="*/ 1315825 w 2663946"/>
                <a:gd name="connsiteY689" fmla="*/ 115200 h 348332"/>
                <a:gd name="connsiteX690" fmla="*/ 1323666 w 2663946"/>
                <a:gd name="connsiteY690" fmla="*/ 115200 h 348332"/>
                <a:gd name="connsiteX691" fmla="*/ 1324207 w 2663946"/>
                <a:gd name="connsiteY691" fmla="*/ 114660 h 348332"/>
                <a:gd name="connsiteX692" fmla="*/ 1324207 w 2663946"/>
                <a:gd name="connsiteY692" fmla="*/ 68695 h 348332"/>
                <a:gd name="connsiteX693" fmla="*/ 1323666 w 2663946"/>
                <a:gd name="connsiteY693" fmla="*/ 68154 h 348332"/>
                <a:gd name="connsiteX694" fmla="*/ 1317718 w 2663946"/>
                <a:gd name="connsiteY694" fmla="*/ 68154 h 348332"/>
                <a:gd name="connsiteX695" fmla="*/ 1310417 w 2663946"/>
                <a:gd name="connsiteY695" fmla="*/ 63558 h 348332"/>
                <a:gd name="connsiteX696" fmla="*/ 1310147 w 2663946"/>
                <a:gd name="connsiteY696" fmla="*/ 57880 h 348332"/>
                <a:gd name="connsiteX697" fmla="*/ 1317447 w 2663946"/>
                <a:gd name="connsiteY697" fmla="*/ 52743 h 348332"/>
                <a:gd name="connsiteX698" fmla="*/ 1329614 w 2663946"/>
                <a:gd name="connsiteY698" fmla="*/ 52472 h 348332"/>
                <a:gd name="connsiteX699" fmla="*/ 980634 w 2663946"/>
                <a:gd name="connsiteY699" fmla="*/ 52472 h 348332"/>
                <a:gd name="connsiteX700" fmla="*/ 984690 w 2663946"/>
                <a:gd name="connsiteY700" fmla="*/ 52472 h 348332"/>
                <a:gd name="connsiteX701" fmla="*/ 989286 w 2663946"/>
                <a:gd name="connsiteY701" fmla="*/ 54906 h 348332"/>
                <a:gd name="connsiteX702" fmla="*/ 991449 w 2663946"/>
                <a:gd name="connsiteY702" fmla="*/ 61124 h 348332"/>
                <a:gd name="connsiteX703" fmla="*/ 991449 w 2663946"/>
                <a:gd name="connsiteY703" fmla="*/ 61665 h 348332"/>
                <a:gd name="connsiteX704" fmla="*/ 991449 w 2663946"/>
                <a:gd name="connsiteY704" fmla="*/ 114660 h 348332"/>
                <a:gd name="connsiteX705" fmla="*/ 991990 w 2663946"/>
                <a:gd name="connsiteY705" fmla="*/ 115200 h 348332"/>
                <a:gd name="connsiteX706" fmla="*/ 999290 w 2663946"/>
                <a:gd name="connsiteY706" fmla="*/ 115200 h 348332"/>
                <a:gd name="connsiteX707" fmla="*/ 1003346 w 2663946"/>
                <a:gd name="connsiteY707" fmla="*/ 116282 h 348332"/>
                <a:gd name="connsiteX708" fmla="*/ 1007131 w 2663946"/>
                <a:gd name="connsiteY708" fmla="*/ 123041 h 348332"/>
                <a:gd name="connsiteX709" fmla="*/ 1004428 w 2663946"/>
                <a:gd name="connsiteY709" fmla="*/ 128719 h 348332"/>
                <a:gd name="connsiteX710" fmla="*/ 1000372 w 2663946"/>
                <a:gd name="connsiteY710" fmla="*/ 130612 h 348332"/>
                <a:gd name="connsiteX711" fmla="*/ 1000102 w 2663946"/>
                <a:gd name="connsiteY711" fmla="*/ 130612 h 348332"/>
                <a:gd name="connsiteX712" fmla="*/ 999831 w 2663946"/>
                <a:gd name="connsiteY712" fmla="*/ 130612 h 348332"/>
                <a:gd name="connsiteX713" fmla="*/ 999290 w 2663946"/>
                <a:gd name="connsiteY713" fmla="*/ 130612 h 348332"/>
                <a:gd name="connsiteX714" fmla="*/ 967115 w 2663946"/>
                <a:gd name="connsiteY714" fmla="*/ 130612 h 348332"/>
                <a:gd name="connsiteX715" fmla="*/ 966575 w 2663946"/>
                <a:gd name="connsiteY715" fmla="*/ 130612 h 348332"/>
                <a:gd name="connsiteX716" fmla="*/ 965763 w 2663946"/>
                <a:gd name="connsiteY716" fmla="*/ 130612 h 348332"/>
                <a:gd name="connsiteX717" fmla="*/ 964952 w 2663946"/>
                <a:gd name="connsiteY717" fmla="*/ 130342 h 348332"/>
                <a:gd name="connsiteX718" fmla="*/ 961437 w 2663946"/>
                <a:gd name="connsiteY718" fmla="*/ 128449 h 348332"/>
                <a:gd name="connsiteX719" fmla="*/ 959004 w 2663946"/>
                <a:gd name="connsiteY719" fmla="*/ 122771 h 348332"/>
                <a:gd name="connsiteX720" fmla="*/ 961167 w 2663946"/>
                <a:gd name="connsiteY720" fmla="*/ 117634 h 348332"/>
                <a:gd name="connsiteX721" fmla="*/ 966845 w 2663946"/>
                <a:gd name="connsiteY721" fmla="*/ 115200 h 348332"/>
                <a:gd name="connsiteX722" fmla="*/ 974686 w 2663946"/>
                <a:gd name="connsiteY722" fmla="*/ 115200 h 348332"/>
                <a:gd name="connsiteX723" fmla="*/ 975227 w 2663946"/>
                <a:gd name="connsiteY723" fmla="*/ 114660 h 348332"/>
                <a:gd name="connsiteX724" fmla="*/ 975227 w 2663946"/>
                <a:gd name="connsiteY724" fmla="*/ 68695 h 348332"/>
                <a:gd name="connsiteX725" fmla="*/ 974686 w 2663946"/>
                <a:gd name="connsiteY725" fmla="*/ 68154 h 348332"/>
                <a:gd name="connsiteX726" fmla="*/ 968738 w 2663946"/>
                <a:gd name="connsiteY726" fmla="*/ 68154 h 348332"/>
                <a:gd name="connsiteX727" fmla="*/ 961437 w 2663946"/>
                <a:gd name="connsiteY727" fmla="*/ 63558 h 348332"/>
                <a:gd name="connsiteX728" fmla="*/ 961167 w 2663946"/>
                <a:gd name="connsiteY728" fmla="*/ 57880 h 348332"/>
                <a:gd name="connsiteX729" fmla="*/ 968467 w 2663946"/>
                <a:gd name="connsiteY729" fmla="*/ 52743 h 348332"/>
                <a:gd name="connsiteX730" fmla="*/ 980634 w 2663946"/>
                <a:gd name="connsiteY730" fmla="*/ 52472 h 348332"/>
                <a:gd name="connsiteX731" fmla="*/ 813605 w 2663946"/>
                <a:gd name="connsiteY731" fmla="*/ 52472 h 348332"/>
                <a:gd name="connsiteX732" fmla="*/ 817661 w 2663946"/>
                <a:gd name="connsiteY732" fmla="*/ 52472 h 348332"/>
                <a:gd name="connsiteX733" fmla="*/ 822257 w 2663946"/>
                <a:gd name="connsiteY733" fmla="*/ 54906 h 348332"/>
                <a:gd name="connsiteX734" fmla="*/ 824420 w 2663946"/>
                <a:gd name="connsiteY734" fmla="*/ 61124 h 348332"/>
                <a:gd name="connsiteX735" fmla="*/ 824420 w 2663946"/>
                <a:gd name="connsiteY735" fmla="*/ 61665 h 348332"/>
                <a:gd name="connsiteX736" fmla="*/ 824420 w 2663946"/>
                <a:gd name="connsiteY736" fmla="*/ 114660 h 348332"/>
                <a:gd name="connsiteX737" fmla="*/ 824961 w 2663946"/>
                <a:gd name="connsiteY737" fmla="*/ 115200 h 348332"/>
                <a:gd name="connsiteX738" fmla="*/ 832261 w 2663946"/>
                <a:gd name="connsiteY738" fmla="*/ 115200 h 348332"/>
                <a:gd name="connsiteX739" fmla="*/ 836317 w 2663946"/>
                <a:gd name="connsiteY739" fmla="*/ 116282 h 348332"/>
                <a:gd name="connsiteX740" fmla="*/ 840102 w 2663946"/>
                <a:gd name="connsiteY740" fmla="*/ 123041 h 348332"/>
                <a:gd name="connsiteX741" fmla="*/ 837399 w 2663946"/>
                <a:gd name="connsiteY741" fmla="*/ 128719 h 348332"/>
                <a:gd name="connsiteX742" fmla="*/ 833343 w 2663946"/>
                <a:gd name="connsiteY742" fmla="*/ 130612 h 348332"/>
                <a:gd name="connsiteX743" fmla="*/ 833073 w 2663946"/>
                <a:gd name="connsiteY743" fmla="*/ 130612 h 348332"/>
                <a:gd name="connsiteX744" fmla="*/ 832802 w 2663946"/>
                <a:gd name="connsiteY744" fmla="*/ 130612 h 348332"/>
                <a:gd name="connsiteX745" fmla="*/ 832261 w 2663946"/>
                <a:gd name="connsiteY745" fmla="*/ 130612 h 348332"/>
                <a:gd name="connsiteX746" fmla="*/ 800086 w 2663946"/>
                <a:gd name="connsiteY746" fmla="*/ 130612 h 348332"/>
                <a:gd name="connsiteX747" fmla="*/ 799546 w 2663946"/>
                <a:gd name="connsiteY747" fmla="*/ 130612 h 348332"/>
                <a:gd name="connsiteX748" fmla="*/ 798734 w 2663946"/>
                <a:gd name="connsiteY748" fmla="*/ 130612 h 348332"/>
                <a:gd name="connsiteX749" fmla="*/ 797923 w 2663946"/>
                <a:gd name="connsiteY749" fmla="*/ 130342 h 348332"/>
                <a:gd name="connsiteX750" fmla="*/ 794408 w 2663946"/>
                <a:gd name="connsiteY750" fmla="*/ 128449 h 348332"/>
                <a:gd name="connsiteX751" fmla="*/ 791975 w 2663946"/>
                <a:gd name="connsiteY751" fmla="*/ 122771 h 348332"/>
                <a:gd name="connsiteX752" fmla="*/ 794138 w 2663946"/>
                <a:gd name="connsiteY752" fmla="*/ 117634 h 348332"/>
                <a:gd name="connsiteX753" fmla="*/ 799816 w 2663946"/>
                <a:gd name="connsiteY753" fmla="*/ 115200 h 348332"/>
                <a:gd name="connsiteX754" fmla="*/ 807657 w 2663946"/>
                <a:gd name="connsiteY754" fmla="*/ 115200 h 348332"/>
                <a:gd name="connsiteX755" fmla="*/ 808198 w 2663946"/>
                <a:gd name="connsiteY755" fmla="*/ 114660 h 348332"/>
                <a:gd name="connsiteX756" fmla="*/ 808198 w 2663946"/>
                <a:gd name="connsiteY756" fmla="*/ 68695 h 348332"/>
                <a:gd name="connsiteX757" fmla="*/ 807657 w 2663946"/>
                <a:gd name="connsiteY757" fmla="*/ 68154 h 348332"/>
                <a:gd name="connsiteX758" fmla="*/ 801709 w 2663946"/>
                <a:gd name="connsiteY758" fmla="*/ 68154 h 348332"/>
                <a:gd name="connsiteX759" fmla="*/ 794408 w 2663946"/>
                <a:gd name="connsiteY759" fmla="*/ 63558 h 348332"/>
                <a:gd name="connsiteX760" fmla="*/ 794138 w 2663946"/>
                <a:gd name="connsiteY760" fmla="*/ 57880 h 348332"/>
                <a:gd name="connsiteX761" fmla="*/ 801438 w 2663946"/>
                <a:gd name="connsiteY761" fmla="*/ 52743 h 348332"/>
                <a:gd name="connsiteX762" fmla="*/ 813605 w 2663946"/>
                <a:gd name="connsiteY762" fmla="*/ 52472 h 348332"/>
                <a:gd name="connsiteX763" fmla="*/ 282748 w 2663946"/>
                <a:gd name="connsiteY763" fmla="*/ 52472 h 348332"/>
                <a:gd name="connsiteX764" fmla="*/ 286803 w 2663946"/>
                <a:gd name="connsiteY764" fmla="*/ 52472 h 348332"/>
                <a:gd name="connsiteX765" fmla="*/ 291400 w 2663946"/>
                <a:gd name="connsiteY765" fmla="*/ 54906 h 348332"/>
                <a:gd name="connsiteX766" fmla="*/ 293563 w 2663946"/>
                <a:gd name="connsiteY766" fmla="*/ 61124 h 348332"/>
                <a:gd name="connsiteX767" fmla="*/ 293563 w 2663946"/>
                <a:gd name="connsiteY767" fmla="*/ 61665 h 348332"/>
                <a:gd name="connsiteX768" fmla="*/ 293563 w 2663946"/>
                <a:gd name="connsiteY768" fmla="*/ 114660 h 348332"/>
                <a:gd name="connsiteX769" fmla="*/ 294104 w 2663946"/>
                <a:gd name="connsiteY769" fmla="*/ 115200 h 348332"/>
                <a:gd name="connsiteX770" fmla="*/ 301404 w 2663946"/>
                <a:gd name="connsiteY770" fmla="*/ 115200 h 348332"/>
                <a:gd name="connsiteX771" fmla="*/ 305460 w 2663946"/>
                <a:gd name="connsiteY771" fmla="*/ 116282 h 348332"/>
                <a:gd name="connsiteX772" fmla="*/ 309245 w 2663946"/>
                <a:gd name="connsiteY772" fmla="*/ 123041 h 348332"/>
                <a:gd name="connsiteX773" fmla="*/ 306541 w 2663946"/>
                <a:gd name="connsiteY773" fmla="*/ 128719 h 348332"/>
                <a:gd name="connsiteX774" fmla="*/ 302485 w 2663946"/>
                <a:gd name="connsiteY774" fmla="*/ 130612 h 348332"/>
                <a:gd name="connsiteX775" fmla="*/ 302215 w 2663946"/>
                <a:gd name="connsiteY775" fmla="*/ 130612 h 348332"/>
                <a:gd name="connsiteX776" fmla="*/ 301945 w 2663946"/>
                <a:gd name="connsiteY776" fmla="*/ 130612 h 348332"/>
                <a:gd name="connsiteX777" fmla="*/ 301404 w 2663946"/>
                <a:gd name="connsiteY777" fmla="*/ 130612 h 348332"/>
                <a:gd name="connsiteX778" fmla="*/ 269229 w 2663946"/>
                <a:gd name="connsiteY778" fmla="*/ 130612 h 348332"/>
                <a:gd name="connsiteX779" fmla="*/ 268688 w 2663946"/>
                <a:gd name="connsiteY779" fmla="*/ 130612 h 348332"/>
                <a:gd name="connsiteX780" fmla="*/ 267877 w 2663946"/>
                <a:gd name="connsiteY780" fmla="*/ 130612 h 348332"/>
                <a:gd name="connsiteX781" fmla="*/ 267066 w 2663946"/>
                <a:gd name="connsiteY781" fmla="*/ 130342 h 348332"/>
                <a:gd name="connsiteX782" fmla="*/ 263551 w 2663946"/>
                <a:gd name="connsiteY782" fmla="*/ 128449 h 348332"/>
                <a:gd name="connsiteX783" fmla="*/ 261117 w 2663946"/>
                <a:gd name="connsiteY783" fmla="*/ 122771 h 348332"/>
                <a:gd name="connsiteX784" fmla="*/ 263281 w 2663946"/>
                <a:gd name="connsiteY784" fmla="*/ 117634 h 348332"/>
                <a:gd name="connsiteX785" fmla="*/ 268958 w 2663946"/>
                <a:gd name="connsiteY785" fmla="*/ 115200 h 348332"/>
                <a:gd name="connsiteX786" fmla="*/ 276800 w 2663946"/>
                <a:gd name="connsiteY786" fmla="*/ 115200 h 348332"/>
                <a:gd name="connsiteX787" fmla="*/ 277340 w 2663946"/>
                <a:gd name="connsiteY787" fmla="*/ 114660 h 348332"/>
                <a:gd name="connsiteX788" fmla="*/ 277340 w 2663946"/>
                <a:gd name="connsiteY788" fmla="*/ 68695 h 348332"/>
                <a:gd name="connsiteX789" fmla="*/ 276800 w 2663946"/>
                <a:gd name="connsiteY789" fmla="*/ 68154 h 348332"/>
                <a:gd name="connsiteX790" fmla="*/ 270851 w 2663946"/>
                <a:gd name="connsiteY790" fmla="*/ 68154 h 348332"/>
                <a:gd name="connsiteX791" fmla="*/ 263551 w 2663946"/>
                <a:gd name="connsiteY791" fmla="*/ 63558 h 348332"/>
                <a:gd name="connsiteX792" fmla="*/ 263281 w 2663946"/>
                <a:gd name="connsiteY792" fmla="*/ 57880 h 348332"/>
                <a:gd name="connsiteX793" fmla="*/ 270581 w 2663946"/>
                <a:gd name="connsiteY793" fmla="*/ 52743 h 348332"/>
                <a:gd name="connsiteX794" fmla="*/ 282748 w 2663946"/>
                <a:gd name="connsiteY794" fmla="*/ 52472 h 348332"/>
                <a:gd name="connsiteX795" fmla="*/ 206731 w 2663946"/>
                <a:gd name="connsiteY795" fmla="*/ 52472 h 348332"/>
                <a:gd name="connsiteX796" fmla="*/ 210787 w 2663946"/>
                <a:gd name="connsiteY796" fmla="*/ 52472 h 348332"/>
                <a:gd name="connsiteX797" fmla="*/ 215383 w 2663946"/>
                <a:gd name="connsiteY797" fmla="*/ 54906 h 348332"/>
                <a:gd name="connsiteX798" fmla="*/ 217546 w 2663946"/>
                <a:gd name="connsiteY798" fmla="*/ 61124 h 348332"/>
                <a:gd name="connsiteX799" fmla="*/ 217546 w 2663946"/>
                <a:gd name="connsiteY799" fmla="*/ 61665 h 348332"/>
                <a:gd name="connsiteX800" fmla="*/ 217546 w 2663946"/>
                <a:gd name="connsiteY800" fmla="*/ 114660 h 348332"/>
                <a:gd name="connsiteX801" fmla="*/ 218087 w 2663946"/>
                <a:gd name="connsiteY801" fmla="*/ 115200 h 348332"/>
                <a:gd name="connsiteX802" fmla="*/ 225387 w 2663946"/>
                <a:gd name="connsiteY802" fmla="*/ 115200 h 348332"/>
                <a:gd name="connsiteX803" fmla="*/ 229443 w 2663946"/>
                <a:gd name="connsiteY803" fmla="*/ 116282 h 348332"/>
                <a:gd name="connsiteX804" fmla="*/ 233228 w 2663946"/>
                <a:gd name="connsiteY804" fmla="*/ 123041 h 348332"/>
                <a:gd name="connsiteX805" fmla="*/ 230524 w 2663946"/>
                <a:gd name="connsiteY805" fmla="*/ 128719 h 348332"/>
                <a:gd name="connsiteX806" fmla="*/ 226468 w 2663946"/>
                <a:gd name="connsiteY806" fmla="*/ 130612 h 348332"/>
                <a:gd name="connsiteX807" fmla="*/ 226198 w 2663946"/>
                <a:gd name="connsiteY807" fmla="*/ 130612 h 348332"/>
                <a:gd name="connsiteX808" fmla="*/ 225928 w 2663946"/>
                <a:gd name="connsiteY808" fmla="*/ 130612 h 348332"/>
                <a:gd name="connsiteX809" fmla="*/ 225387 w 2663946"/>
                <a:gd name="connsiteY809" fmla="*/ 130612 h 348332"/>
                <a:gd name="connsiteX810" fmla="*/ 193212 w 2663946"/>
                <a:gd name="connsiteY810" fmla="*/ 130612 h 348332"/>
                <a:gd name="connsiteX811" fmla="*/ 192671 w 2663946"/>
                <a:gd name="connsiteY811" fmla="*/ 130612 h 348332"/>
                <a:gd name="connsiteX812" fmla="*/ 191860 w 2663946"/>
                <a:gd name="connsiteY812" fmla="*/ 130612 h 348332"/>
                <a:gd name="connsiteX813" fmla="*/ 191049 w 2663946"/>
                <a:gd name="connsiteY813" fmla="*/ 130342 h 348332"/>
                <a:gd name="connsiteX814" fmla="*/ 187534 w 2663946"/>
                <a:gd name="connsiteY814" fmla="*/ 128449 h 348332"/>
                <a:gd name="connsiteX815" fmla="*/ 185101 w 2663946"/>
                <a:gd name="connsiteY815" fmla="*/ 122771 h 348332"/>
                <a:gd name="connsiteX816" fmla="*/ 187264 w 2663946"/>
                <a:gd name="connsiteY816" fmla="*/ 117634 h 348332"/>
                <a:gd name="connsiteX817" fmla="*/ 192942 w 2663946"/>
                <a:gd name="connsiteY817" fmla="*/ 115200 h 348332"/>
                <a:gd name="connsiteX818" fmla="*/ 200783 w 2663946"/>
                <a:gd name="connsiteY818" fmla="*/ 115200 h 348332"/>
                <a:gd name="connsiteX819" fmla="*/ 201323 w 2663946"/>
                <a:gd name="connsiteY819" fmla="*/ 114660 h 348332"/>
                <a:gd name="connsiteX820" fmla="*/ 201323 w 2663946"/>
                <a:gd name="connsiteY820" fmla="*/ 68695 h 348332"/>
                <a:gd name="connsiteX821" fmla="*/ 200783 w 2663946"/>
                <a:gd name="connsiteY821" fmla="*/ 68154 h 348332"/>
                <a:gd name="connsiteX822" fmla="*/ 194834 w 2663946"/>
                <a:gd name="connsiteY822" fmla="*/ 68154 h 348332"/>
                <a:gd name="connsiteX823" fmla="*/ 187534 w 2663946"/>
                <a:gd name="connsiteY823" fmla="*/ 63558 h 348332"/>
                <a:gd name="connsiteX824" fmla="*/ 187264 w 2663946"/>
                <a:gd name="connsiteY824" fmla="*/ 57880 h 348332"/>
                <a:gd name="connsiteX825" fmla="*/ 194564 w 2663946"/>
                <a:gd name="connsiteY825" fmla="*/ 52743 h 348332"/>
                <a:gd name="connsiteX826" fmla="*/ 206731 w 2663946"/>
                <a:gd name="connsiteY826" fmla="*/ 52472 h 348332"/>
                <a:gd name="connsiteX827" fmla="*/ 2627559 w 2663946"/>
                <a:gd name="connsiteY827" fmla="*/ 52403 h 348332"/>
                <a:gd name="connsiteX828" fmla="*/ 2639849 w 2663946"/>
                <a:gd name="connsiteY828" fmla="*/ 54566 h 348332"/>
                <a:gd name="connsiteX829" fmla="*/ 2647223 w 2663946"/>
                <a:gd name="connsiteY829" fmla="*/ 59163 h 348332"/>
                <a:gd name="connsiteX830" fmla="*/ 2650664 w 2663946"/>
                <a:gd name="connsiteY830" fmla="*/ 62407 h 348332"/>
                <a:gd name="connsiteX831" fmla="*/ 2654106 w 2663946"/>
                <a:gd name="connsiteY831" fmla="*/ 66733 h 348332"/>
                <a:gd name="connsiteX832" fmla="*/ 2656072 w 2663946"/>
                <a:gd name="connsiteY832" fmla="*/ 70248 h 348332"/>
                <a:gd name="connsiteX833" fmla="*/ 2658284 w 2663946"/>
                <a:gd name="connsiteY833" fmla="*/ 75656 h 348332"/>
                <a:gd name="connsiteX834" fmla="*/ 2659267 w 2663946"/>
                <a:gd name="connsiteY834" fmla="*/ 79171 h 348332"/>
                <a:gd name="connsiteX835" fmla="*/ 2660251 w 2663946"/>
                <a:gd name="connsiteY835" fmla="*/ 84308 h 348332"/>
                <a:gd name="connsiteX836" fmla="*/ 2660005 w 2663946"/>
                <a:gd name="connsiteY836" fmla="*/ 98638 h 348332"/>
                <a:gd name="connsiteX837" fmla="*/ 2659022 w 2663946"/>
                <a:gd name="connsiteY837" fmla="*/ 103505 h 348332"/>
                <a:gd name="connsiteX838" fmla="*/ 2657792 w 2663946"/>
                <a:gd name="connsiteY838" fmla="*/ 107290 h 348332"/>
                <a:gd name="connsiteX839" fmla="*/ 2656809 w 2663946"/>
                <a:gd name="connsiteY839" fmla="*/ 109724 h 348332"/>
                <a:gd name="connsiteX840" fmla="*/ 2654597 w 2663946"/>
                <a:gd name="connsiteY840" fmla="*/ 114050 h 348332"/>
                <a:gd name="connsiteX841" fmla="*/ 2652385 w 2663946"/>
                <a:gd name="connsiteY841" fmla="*/ 117294 h 348332"/>
                <a:gd name="connsiteX842" fmla="*/ 2648944 w 2663946"/>
                <a:gd name="connsiteY842" fmla="*/ 121080 h 348332"/>
                <a:gd name="connsiteX843" fmla="*/ 2645748 w 2663946"/>
                <a:gd name="connsiteY843" fmla="*/ 123783 h 348332"/>
                <a:gd name="connsiteX844" fmla="*/ 2640095 w 2663946"/>
                <a:gd name="connsiteY844" fmla="*/ 127028 h 348332"/>
                <a:gd name="connsiteX845" fmla="*/ 2632229 w 2663946"/>
                <a:gd name="connsiteY845" fmla="*/ 129191 h 348332"/>
                <a:gd name="connsiteX846" fmla="*/ 2631000 w 2663946"/>
                <a:gd name="connsiteY846" fmla="*/ 129462 h 348332"/>
                <a:gd name="connsiteX847" fmla="*/ 2626821 w 2663946"/>
                <a:gd name="connsiteY847" fmla="*/ 129462 h 348332"/>
                <a:gd name="connsiteX848" fmla="*/ 2626576 w 2663946"/>
                <a:gd name="connsiteY848" fmla="*/ 129462 h 348332"/>
                <a:gd name="connsiteX849" fmla="*/ 2613548 w 2663946"/>
                <a:gd name="connsiteY849" fmla="*/ 124595 h 348332"/>
                <a:gd name="connsiteX850" fmla="*/ 2608878 w 2663946"/>
                <a:gd name="connsiteY850" fmla="*/ 120539 h 348332"/>
                <a:gd name="connsiteX851" fmla="*/ 2605682 w 2663946"/>
                <a:gd name="connsiteY851" fmla="*/ 116754 h 348332"/>
                <a:gd name="connsiteX852" fmla="*/ 2603470 w 2663946"/>
                <a:gd name="connsiteY852" fmla="*/ 113239 h 348332"/>
                <a:gd name="connsiteX853" fmla="*/ 2601258 w 2663946"/>
                <a:gd name="connsiteY853" fmla="*/ 108913 h 348332"/>
                <a:gd name="connsiteX854" fmla="*/ 2600029 w 2663946"/>
                <a:gd name="connsiteY854" fmla="*/ 105938 h 348332"/>
                <a:gd name="connsiteX855" fmla="*/ 2599046 w 2663946"/>
                <a:gd name="connsiteY855" fmla="*/ 102694 h 348332"/>
                <a:gd name="connsiteX856" fmla="*/ 2597816 w 2663946"/>
                <a:gd name="connsiteY856" fmla="*/ 97016 h 348332"/>
                <a:gd name="connsiteX857" fmla="*/ 2597571 w 2663946"/>
                <a:gd name="connsiteY857" fmla="*/ 94042 h 348332"/>
                <a:gd name="connsiteX858" fmla="*/ 2597816 w 2663946"/>
                <a:gd name="connsiteY858" fmla="*/ 94312 h 348332"/>
                <a:gd name="connsiteX859" fmla="*/ 2597816 w 2663946"/>
                <a:gd name="connsiteY859" fmla="*/ 88634 h 348332"/>
                <a:gd name="connsiteX860" fmla="*/ 2597816 w 2663946"/>
                <a:gd name="connsiteY860" fmla="*/ 88364 h 348332"/>
                <a:gd name="connsiteX861" fmla="*/ 2598308 w 2663946"/>
                <a:gd name="connsiteY861" fmla="*/ 83767 h 348332"/>
                <a:gd name="connsiteX862" fmla="*/ 2599537 w 2663946"/>
                <a:gd name="connsiteY862" fmla="*/ 78360 h 348332"/>
                <a:gd name="connsiteX863" fmla="*/ 2600520 w 2663946"/>
                <a:gd name="connsiteY863" fmla="*/ 75115 h 348332"/>
                <a:gd name="connsiteX864" fmla="*/ 2602732 w 2663946"/>
                <a:gd name="connsiteY864" fmla="*/ 69978 h 348332"/>
                <a:gd name="connsiteX865" fmla="*/ 2604945 w 2663946"/>
                <a:gd name="connsiteY865" fmla="*/ 66193 h 348332"/>
                <a:gd name="connsiteX866" fmla="*/ 2607157 w 2663946"/>
                <a:gd name="connsiteY866" fmla="*/ 63218 h 348332"/>
                <a:gd name="connsiteX867" fmla="*/ 2609369 w 2663946"/>
                <a:gd name="connsiteY867" fmla="*/ 60785 h 348332"/>
                <a:gd name="connsiteX868" fmla="*/ 2614039 w 2663946"/>
                <a:gd name="connsiteY868" fmla="*/ 57000 h 348332"/>
                <a:gd name="connsiteX869" fmla="*/ 2617972 w 2663946"/>
                <a:gd name="connsiteY869" fmla="*/ 54837 h 348332"/>
                <a:gd name="connsiteX870" fmla="*/ 2627559 w 2663946"/>
                <a:gd name="connsiteY870" fmla="*/ 52403 h 348332"/>
                <a:gd name="connsiteX871" fmla="*/ 2445604 w 2663946"/>
                <a:gd name="connsiteY871" fmla="*/ 52403 h 348332"/>
                <a:gd name="connsiteX872" fmla="*/ 2457894 w 2663946"/>
                <a:gd name="connsiteY872" fmla="*/ 54566 h 348332"/>
                <a:gd name="connsiteX873" fmla="*/ 2465268 w 2663946"/>
                <a:gd name="connsiteY873" fmla="*/ 59163 h 348332"/>
                <a:gd name="connsiteX874" fmla="*/ 2468709 w 2663946"/>
                <a:gd name="connsiteY874" fmla="*/ 62407 h 348332"/>
                <a:gd name="connsiteX875" fmla="*/ 2472151 w 2663946"/>
                <a:gd name="connsiteY875" fmla="*/ 66733 h 348332"/>
                <a:gd name="connsiteX876" fmla="*/ 2474117 w 2663946"/>
                <a:gd name="connsiteY876" fmla="*/ 70248 h 348332"/>
                <a:gd name="connsiteX877" fmla="*/ 2476329 w 2663946"/>
                <a:gd name="connsiteY877" fmla="*/ 75656 h 348332"/>
                <a:gd name="connsiteX878" fmla="*/ 2477312 w 2663946"/>
                <a:gd name="connsiteY878" fmla="*/ 79171 h 348332"/>
                <a:gd name="connsiteX879" fmla="*/ 2478296 w 2663946"/>
                <a:gd name="connsiteY879" fmla="*/ 84308 h 348332"/>
                <a:gd name="connsiteX880" fmla="*/ 2478050 w 2663946"/>
                <a:gd name="connsiteY880" fmla="*/ 98638 h 348332"/>
                <a:gd name="connsiteX881" fmla="*/ 2477067 w 2663946"/>
                <a:gd name="connsiteY881" fmla="*/ 103505 h 348332"/>
                <a:gd name="connsiteX882" fmla="*/ 2475837 w 2663946"/>
                <a:gd name="connsiteY882" fmla="*/ 107290 h 348332"/>
                <a:gd name="connsiteX883" fmla="*/ 2474854 w 2663946"/>
                <a:gd name="connsiteY883" fmla="*/ 109724 h 348332"/>
                <a:gd name="connsiteX884" fmla="*/ 2472642 w 2663946"/>
                <a:gd name="connsiteY884" fmla="*/ 114050 h 348332"/>
                <a:gd name="connsiteX885" fmla="*/ 2470430 w 2663946"/>
                <a:gd name="connsiteY885" fmla="*/ 117294 h 348332"/>
                <a:gd name="connsiteX886" fmla="*/ 2466989 w 2663946"/>
                <a:gd name="connsiteY886" fmla="*/ 121080 h 348332"/>
                <a:gd name="connsiteX887" fmla="*/ 2463793 w 2663946"/>
                <a:gd name="connsiteY887" fmla="*/ 123783 h 348332"/>
                <a:gd name="connsiteX888" fmla="*/ 2458140 w 2663946"/>
                <a:gd name="connsiteY888" fmla="*/ 127028 h 348332"/>
                <a:gd name="connsiteX889" fmla="*/ 2450274 w 2663946"/>
                <a:gd name="connsiteY889" fmla="*/ 129191 h 348332"/>
                <a:gd name="connsiteX890" fmla="*/ 2449045 w 2663946"/>
                <a:gd name="connsiteY890" fmla="*/ 129462 h 348332"/>
                <a:gd name="connsiteX891" fmla="*/ 2444866 w 2663946"/>
                <a:gd name="connsiteY891" fmla="*/ 129462 h 348332"/>
                <a:gd name="connsiteX892" fmla="*/ 2444621 w 2663946"/>
                <a:gd name="connsiteY892" fmla="*/ 129462 h 348332"/>
                <a:gd name="connsiteX893" fmla="*/ 2431593 w 2663946"/>
                <a:gd name="connsiteY893" fmla="*/ 124595 h 348332"/>
                <a:gd name="connsiteX894" fmla="*/ 2426923 w 2663946"/>
                <a:gd name="connsiteY894" fmla="*/ 120539 h 348332"/>
                <a:gd name="connsiteX895" fmla="*/ 2423727 w 2663946"/>
                <a:gd name="connsiteY895" fmla="*/ 116754 h 348332"/>
                <a:gd name="connsiteX896" fmla="*/ 2421515 w 2663946"/>
                <a:gd name="connsiteY896" fmla="*/ 113239 h 348332"/>
                <a:gd name="connsiteX897" fmla="*/ 2419303 w 2663946"/>
                <a:gd name="connsiteY897" fmla="*/ 108913 h 348332"/>
                <a:gd name="connsiteX898" fmla="*/ 2418074 w 2663946"/>
                <a:gd name="connsiteY898" fmla="*/ 105938 h 348332"/>
                <a:gd name="connsiteX899" fmla="*/ 2417091 w 2663946"/>
                <a:gd name="connsiteY899" fmla="*/ 102694 h 348332"/>
                <a:gd name="connsiteX900" fmla="*/ 2415861 w 2663946"/>
                <a:gd name="connsiteY900" fmla="*/ 97016 h 348332"/>
                <a:gd name="connsiteX901" fmla="*/ 2415616 w 2663946"/>
                <a:gd name="connsiteY901" fmla="*/ 94042 h 348332"/>
                <a:gd name="connsiteX902" fmla="*/ 2415861 w 2663946"/>
                <a:gd name="connsiteY902" fmla="*/ 94312 h 348332"/>
                <a:gd name="connsiteX903" fmla="*/ 2415861 w 2663946"/>
                <a:gd name="connsiteY903" fmla="*/ 88634 h 348332"/>
                <a:gd name="connsiteX904" fmla="*/ 2415861 w 2663946"/>
                <a:gd name="connsiteY904" fmla="*/ 88364 h 348332"/>
                <a:gd name="connsiteX905" fmla="*/ 2416353 w 2663946"/>
                <a:gd name="connsiteY905" fmla="*/ 83767 h 348332"/>
                <a:gd name="connsiteX906" fmla="*/ 2417582 w 2663946"/>
                <a:gd name="connsiteY906" fmla="*/ 78360 h 348332"/>
                <a:gd name="connsiteX907" fmla="*/ 2418565 w 2663946"/>
                <a:gd name="connsiteY907" fmla="*/ 75115 h 348332"/>
                <a:gd name="connsiteX908" fmla="*/ 2420777 w 2663946"/>
                <a:gd name="connsiteY908" fmla="*/ 69978 h 348332"/>
                <a:gd name="connsiteX909" fmla="*/ 2422990 w 2663946"/>
                <a:gd name="connsiteY909" fmla="*/ 66193 h 348332"/>
                <a:gd name="connsiteX910" fmla="*/ 2425202 w 2663946"/>
                <a:gd name="connsiteY910" fmla="*/ 63218 h 348332"/>
                <a:gd name="connsiteX911" fmla="*/ 2427414 w 2663946"/>
                <a:gd name="connsiteY911" fmla="*/ 60785 h 348332"/>
                <a:gd name="connsiteX912" fmla="*/ 2432084 w 2663946"/>
                <a:gd name="connsiteY912" fmla="*/ 57000 h 348332"/>
                <a:gd name="connsiteX913" fmla="*/ 2436017 w 2663946"/>
                <a:gd name="connsiteY913" fmla="*/ 54837 h 348332"/>
                <a:gd name="connsiteX914" fmla="*/ 2445604 w 2663946"/>
                <a:gd name="connsiteY914" fmla="*/ 52403 h 348332"/>
                <a:gd name="connsiteX915" fmla="*/ 2202558 w 2663946"/>
                <a:gd name="connsiteY915" fmla="*/ 52403 h 348332"/>
                <a:gd name="connsiteX916" fmla="*/ 2214848 w 2663946"/>
                <a:gd name="connsiteY916" fmla="*/ 54566 h 348332"/>
                <a:gd name="connsiteX917" fmla="*/ 2222222 w 2663946"/>
                <a:gd name="connsiteY917" fmla="*/ 59163 h 348332"/>
                <a:gd name="connsiteX918" fmla="*/ 2225663 w 2663946"/>
                <a:gd name="connsiteY918" fmla="*/ 62407 h 348332"/>
                <a:gd name="connsiteX919" fmla="*/ 2229105 w 2663946"/>
                <a:gd name="connsiteY919" fmla="*/ 66733 h 348332"/>
                <a:gd name="connsiteX920" fmla="*/ 2231071 w 2663946"/>
                <a:gd name="connsiteY920" fmla="*/ 70248 h 348332"/>
                <a:gd name="connsiteX921" fmla="*/ 2233283 w 2663946"/>
                <a:gd name="connsiteY921" fmla="*/ 75656 h 348332"/>
                <a:gd name="connsiteX922" fmla="*/ 2234266 w 2663946"/>
                <a:gd name="connsiteY922" fmla="*/ 79171 h 348332"/>
                <a:gd name="connsiteX923" fmla="*/ 2235250 w 2663946"/>
                <a:gd name="connsiteY923" fmla="*/ 84308 h 348332"/>
                <a:gd name="connsiteX924" fmla="*/ 2235004 w 2663946"/>
                <a:gd name="connsiteY924" fmla="*/ 98638 h 348332"/>
                <a:gd name="connsiteX925" fmla="*/ 2234021 w 2663946"/>
                <a:gd name="connsiteY925" fmla="*/ 103505 h 348332"/>
                <a:gd name="connsiteX926" fmla="*/ 2232791 w 2663946"/>
                <a:gd name="connsiteY926" fmla="*/ 107290 h 348332"/>
                <a:gd name="connsiteX927" fmla="*/ 2231808 w 2663946"/>
                <a:gd name="connsiteY927" fmla="*/ 109724 h 348332"/>
                <a:gd name="connsiteX928" fmla="*/ 2229596 w 2663946"/>
                <a:gd name="connsiteY928" fmla="*/ 114050 h 348332"/>
                <a:gd name="connsiteX929" fmla="*/ 2227384 w 2663946"/>
                <a:gd name="connsiteY929" fmla="*/ 117294 h 348332"/>
                <a:gd name="connsiteX930" fmla="*/ 2223943 w 2663946"/>
                <a:gd name="connsiteY930" fmla="*/ 121080 h 348332"/>
                <a:gd name="connsiteX931" fmla="*/ 2220747 w 2663946"/>
                <a:gd name="connsiteY931" fmla="*/ 123783 h 348332"/>
                <a:gd name="connsiteX932" fmla="*/ 2215094 w 2663946"/>
                <a:gd name="connsiteY932" fmla="*/ 127028 h 348332"/>
                <a:gd name="connsiteX933" fmla="*/ 2207228 w 2663946"/>
                <a:gd name="connsiteY933" fmla="*/ 129191 h 348332"/>
                <a:gd name="connsiteX934" fmla="*/ 2205999 w 2663946"/>
                <a:gd name="connsiteY934" fmla="*/ 129462 h 348332"/>
                <a:gd name="connsiteX935" fmla="*/ 2201820 w 2663946"/>
                <a:gd name="connsiteY935" fmla="*/ 129462 h 348332"/>
                <a:gd name="connsiteX936" fmla="*/ 2201575 w 2663946"/>
                <a:gd name="connsiteY936" fmla="*/ 129462 h 348332"/>
                <a:gd name="connsiteX937" fmla="*/ 2188547 w 2663946"/>
                <a:gd name="connsiteY937" fmla="*/ 124595 h 348332"/>
                <a:gd name="connsiteX938" fmla="*/ 2183877 w 2663946"/>
                <a:gd name="connsiteY938" fmla="*/ 120539 h 348332"/>
                <a:gd name="connsiteX939" fmla="*/ 2180681 w 2663946"/>
                <a:gd name="connsiteY939" fmla="*/ 116754 h 348332"/>
                <a:gd name="connsiteX940" fmla="*/ 2178469 w 2663946"/>
                <a:gd name="connsiteY940" fmla="*/ 113239 h 348332"/>
                <a:gd name="connsiteX941" fmla="*/ 2176257 w 2663946"/>
                <a:gd name="connsiteY941" fmla="*/ 108913 h 348332"/>
                <a:gd name="connsiteX942" fmla="*/ 2175028 w 2663946"/>
                <a:gd name="connsiteY942" fmla="*/ 105938 h 348332"/>
                <a:gd name="connsiteX943" fmla="*/ 2174045 w 2663946"/>
                <a:gd name="connsiteY943" fmla="*/ 102694 h 348332"/>
                <a:gd name="connsiteX944" fmla="*/ 2172815 w 2663946"/>
                <a:gd name="connsiteY944" fmla="*/ 97016 h 348332"/>
                <a:gd name="connsiteX945" fmla="*/ 2172570 w 2663946"/>
                <a:gd name="connsiteY945" fmla="*/ 94042 h 348332"/>
                <a:gd name="connsiteX946" fmla="*/ 2172815 w 2663946"/>
                <a:gd name="connsiteY946" fmla="*/ 94312 h 348332"/>
                <a:gd name="connsiteX947" fmla="*/ 2172815 w 2663946"/>
                <a:gd name="connsiteY947" fmla="*/ 88634 h 348332"/>
                <a:gd name="connsiteX948" fmla="*/ 2172815 w 2663946"/>
                <a:gd name="connsiteY948" fmla="*/ 88364 h 348332"/>
                <a:gd name="connsiteX949" fmla="*/ 2173307 w 2663946"/>
                <a:gd name="connsiteY949" fmla="*/ 83767 h 348332"/>
                <a:gd name="connsiteX950" fmla="*/ 2174536 w 2663946"/>
                <a:gd name="connsiteY950" fmla="*/ 78360 h 348332"/>
                <a:gd name="connsiteX951" fmla="*/ 2175519 w 2663946"/>
                <a:gd name="connsiteY951" fmla="*/ 75115 h 348332"/>
                <a:gd name="connsiteX952" fmla="*/ 2177731 w 2663946"/>
                <a:gd name="connsiteY952" fmla="*/ 69978 h 348332"/>
                <a:gd name="connsiteX953" fmla="*/ 2179944 w 2663946"/>
                <a:gd name="connsiteY953" fmla="*/ 66193 h 348332"/>
                <a:gd name="connsiteX954" fmla="*/ 2182156 w 2663946"/>
                <a:gd name="connsiteY954" fmla="*/ 63218 h 348332"/>
                <a:gd name="connsiteX955" fmla="*/ 2184368 w 2663946"/>
                <a:gd name="connsiteY955" fmla="*/ 60785 h 348332"/>
                <a:gd name="connsiteX956" fmla="*/ 2189038 w 2663946"/>
                <a:gd name="connsiteY956" fmla="*/ 57000 h 348332"/>
                <a:gd name="connsiteX957" fmla="*/ 2192971 w 2663946"/>
                <a:gd name="connsiteY957" fmla="*/ 54837 h 348332"/>
                <a:gd name="connsiteX958" fmla="*/ 2202558 w 2663946"/>
                <a:gd name="connsiteY958" fmla="*/ 52403 h 348332"/>
                <a:gd name="connsiteX959" fmla="*/ 2020607 w 2663946"/>
                <a:gd name="connsiteY959" fmla="*/ 52403 h 348332"/>
                <a:gd name="connsiteX960" fmla="*/ 2032897 w 2663946"/>
                <a:gd name="connsiteY960" fmla="*/ 54566 h 348332"/>
                <a:gd name="connsiteX961" fmla="*/ 2040271 w 2663946"/>
                <a:gd name="connsiteY961" fmla="*/ 59163 h 348332"/>
                <a:gd name="connsiteX962" fmla="*/ 2043712 w 2663946"/>
                <a:gd name="connsiteY962" fmla="*/ 62407 h 348332"/>
                <a:gd name="connsiteX963" fmla="*/ 2047154 w 2663946"/>
                <a:gd name="connsiteY963" fmla="*/ 66733 h 348332"/>
                <a:gd name="connsiteX964" fmla="*/ 2049120 w 2663946"/>
                <a:gd name="connsiteY964" fmla="*/ 70248 h 348332"/>
                <a:gd name="connsiteX965" fmla="*/ 2051332 w 2663946"/>
                <a:gd name="connsiteY965" fmla="*/ 75656 h 348332"/>
                <a:gd name="connsiteX966" fmla="*/ 2052315 w 2663946"/>
                <a:gd name="connsiteY966" fmla="*/ 79171 h 348332"/>
                <a:gd name="connsiteX967" fmla="*/ 2053299 w 2663946"/>
                <a:gd name="connsiteY967" fmla="*/ 84308 h 348332"/>
                <a:gd name="connsiteX968" fmla="*/ 2053053 w 2663946"/>
                <a:gd name="connsiteY968" fmla="*/ 98638 h 348332"/>
                <a:gd name="connsiteX969" fmla="*/ 2052070 w 2663946"/>
                <a:gd name="connsiteY969" fmla="*/ 103505 h 348332"/>
                <a:gd name="connsiteX970" fmla="*/ 2050840 w 2663946"/>
                <a:gd name="connsiteY970" fmla="*/ 107290 h 348332"/>
                <a:gd name="connsiteX971" fmla="*/ 2049857 w 2663946"/>
                <a:gd name="connsiteY971" fmla="*/ 109724 h 348332"/>
                <a:gd name="connsiteX972" fmla="*/ 2047645 w 2663946"/>
                <a:gd name="connsiteY972" fmla="*/ 114050 h 348332"/>
                <a:gd name="connsiteX973" fmla="*/ 2045433 w 2663946"/>
                <a:gd name="connsiteY973" fmla="*/ 117294 h 348332"/>
                <a:gd name="connsiteX974" fmla="*/ 2041992 w 2663946"/>
                <a:gd name="connsiteY974" fmla="*/ 121080 h 348332"/>
                <a:gd name="connsiteX975" fmla="*/ 2038796 w 2663946"/>
                <a:gd name="connsiteY975" fmla="*/ 123783 h 348332"/>
                <a:gd name="connsiteX976" fmla="*/ 2033143 w 2663946"/>
                <a:gd name="connsiteY976" fmla="*/ 127028 h 348332"/>
                <a:gd name="connsiteX977" fmla="*/ 2025277 w 2663946"/>
                <a:gd name="connsiteY977" fmla="*/ 129191 h 348332"/>
                <a:gd name="connsiteX978" fmla="*/ 2024048 w 2663946"/>
                <a:gd name="connsiteY978" fmla="*/ 129462 h 348332"/>
                <a:gd name="connsiteX979" fmla="*/ 2019869 w 2663946"/>
                <a:gd name="connsiteY979" fmla="*/ 129462 h 348332"/>
                <a:gd name="connsiteX980" fmla="*/ 2019624 w 2663946"/>
                <a:gd name="connsiteY980" fmla="*/ 129462 h 348332"/>
                <a:gd name="connsiteX981" fmla="*/ 2006596 w 2663946"/>
                <a:gd name="connsiteY981" fmla="*/ 124595 h 348332"/>
                <a:gd name="connsiteX982" fmla="*/ 2001926 w 2663946"/>
                <a:gd name="connsiteY982" fmla="*/ 120539 h 348332"/>
                <a:gd name="connsiteX983" fmla="*/ 1998730 w 2663946"/>
                <a:gd name="connsiteY983" fmla="*/ 116754 h 348332"/>
                <a:gd name="connsiteX984" fmla="*/ 1996518 w 2663946"/>
                <a:gd name="connsiteY984" fmla="*/ 113239 h 348332"/>
                <a:gd name="connsiteX985" fmla="*/ 1994306 w 2663946"/>
                <a:gd name="connsiteY985" fmla="*/ 108913 h 348332"/>
                <a:gd name="connsiteX986" fmla="*/ 1993077 w 2663946"/>
                <a:gd name="connsiteY986" fmla="*/ 105938 h 348332"/>
                <a:gd name="connsiteX987" fmla="*/ 1992094 w 2663946"/>
                <a:gd name="connsiteY987" fmla="*/ 102694 h 348332"/>
                <a:gd name="connsiteX988" fmla="*/ 1990864 w 2663946"/>
                <a:gd name="connsiteY988" fmla="*/ 97016 h 348332"/>
                <a:gd name="connsiteX989" fmla="*/ 1990619 w 2663946"/>
                <a:gd name="connsiteY989" fmla="*/ 94042 h 348332"/>
                <a:gd name="connsiteX990" fmla="*/ 1990864 w 2663946"/>
                <a:gd name="connsiteY990" fmla="*/ 94312 h 348332"/>
                <a:gd name="connsiteX991" fmla="*/ 1990864 w 2663946"/>
                <a:gd name="connsiteY991" fmla="*/ 88634 h 348332"/>
                <a:gd name="connsiteX992" fmla="*/ 1990864 w 2663946"/>
                <a:gd name="connsiteY992" fmla="*/ 88364 h 348332"/>
                <a:gd name="connsiteX993" fmla="*/ 1991356 w 2663946"/>
                <a:gd name="connsiteY993" fmla="*/ 83767 h 348332"/>
                <a:gd name="connsiteX994" fmla="*/ 1992585 w 2663946"/>
                <a:gd name="connsiteY994" fmla="*/ 78360 h 348332"/>
                <a:gd name="connsiteX995" fmla="*/ 1993568 w 2663946"/>
                <a:gd name="connsiteY995" fmla="*/ 75115 h 348332"/>
                <a:gd name="connsiteX996" fmla="*/ 1995780 w 2663946"/>
                <a:gd name="connsiteY996" fmla="*/ 69978 h 348332"/>
                <a:gd name="connsiteX997" fmla="*/ 1997993 w 2663946"/>
                <a:gd name="connsiteY997" fmla="*/ 66193 h 348332"/>
                <a:gd name="connsiteX998" fmla="*/ 2000205 w 2663946"/>
                <a:gd name="connsiteY998" fmla="*/ 63218 h 348332"/>
                <a:gd name="connsiteX999" fmla="*/ 2002417 w 2663946"/>
                <a:gd name="connsiteY999" fmla="*/ 60785 h 348332"/>
                <a:gd name="connsiteX1000" fmla="*/ 2007087 w 2663946"/>
                <a:gd name="connsiteY1000" fmla="*/ 57000 h 348332"/>
                <a:gd name="connsiteX1001" fmla="*/ 2011020 w 2663946"/>
                <a:gd name="connsiteY1001" fmla="*/ 54837 h 348332"/>
                <a:gd name="connsiteX1002" fmla="*/ 2020607 w 2663946"/>
                <a:gd name="connsiteY1002" fmla="*/ 52403 h 348332"/>
                <a:gd name="connsiteX1003" fmla="*/ 1595683 w 2663946"/>
                <a:gd name="connsiteY1003" fmla="*/ 52403 h 348332"/>
                <a:gd name="connsiteX1004" fmla="*/ 1607973 w 2663946"/>
                <a:gd name="connsiteY1004" fmla="*/ 54566 h 348332"/>
                <a:gd name="connsiteX1005" fmla="*/ 1615347 w 2663946"/>
                <a:gd name="connsiteY1005" fmla="*/ 59163 h 348332"/>
                <a:gd name="connsiteX1006" fmla="*/ 1618788 w 2663946"/>
                <a:gd name="connsiteY1006" fmla="*/ 62407 h 348332"/>
                <a:gd name="connsiteX1007" fmla="*/ 1622230 w 2663946"/>
                <a:gd name="connsiteY1007" fmla="*/ 66733 h 348332"/>
                <a:gd name="connsiteX1008" fmla="*/ 1624196 w 2663946"/>
                <a:gd name="connsiteY1008" fmla="*/ 70248 h 348332"/>
                <a:gd name="connsiteX1009" fmla="*/ 1626408 w 2663946"/>
                <a:gd name="connsiteY1009" fmla="*/ 75656 h 348332"/>
                <a:gd name="connsiteX1010" fmla="*/ 1627391 w 2663946"/>
                <a:gd name="connsiteY1010" fmla="*/ 79171 h 348332"/>
                <a:gd name="connsiteX1011" fmla="*/ 1628374 w 2663946"/>
                <a:gd name="connsiteY1011" fmla="*/ 84308 h 348332"/>
                <a:gd name="connsiteX1012" fmla="*/ 1628129 w 2663946"/>
                <a:gd name="connsiteY1012" fmla="*/ 98638 h 348332"/>
                <a:gd name="connsiteX1013" fmla="*/ 1627146 w 2663946"/>
                <a:gd name="connsiteY1013" fmla="*/ 103505 h 348332"/>
                <a:gd name="connsiteX1014" fmla="*/ 1625916 w 2663946"/>
                <a:gd name="connsiteY1014" fmla="*/ 107290 h 348332"/>
                <a:gd name="connsiteX1015" fmla="*/ 1624933 w 2663946"/>
                <a:gd name="connsiteY1015" fmla="*/ 109724 h 348332"/>
                <a:gd name="connsiteX1016" fmla="*/ 1622721 w 2663946"/>
                <a:gd name="connsiteY1016" fmla="*/ 114050 h 348332"/>
                <a:gd name="connsiteX1017" fmla="*/ 1620509 w 2663946"/>
                <a:gd name="connsiteY1017" fmla="*/ 117294 h 348332"/>
                <a:gd name="connsiteX1018" fmla="*/ 1617068 w 2663946"/>
                <a:gd name="connsiteY1018" fmla="*/ 121080 h 348332"/>
                <a:gd name="connsiteX1019" fmla="*/ 1613872 w 2663946"/>
                <a:gd name="connsiteY1019" fmla="*/ 123783 h 348332"/>
                <a:gd name="connsiteX1020" fmla="*/ 1608219 w 2663946"/>
                <a:gd name="connsiteY1020" fmla="*/ 127028 h 348332"/>
                <a:gd name="connsiteX1021" fmla="*/ 1600353 w 2663946"/>
                <a:gd name="connsiteY1021" fmla="*/ 129191 h 348332"/>
                <a:gd name="connsiteX1022" fmla="*/ 1599124 w 2663946"/>
                <a:gd name="connsiteY1022" fmla="*/ 129462 h 348332"/>
                <a:gd name="connsiteX1023" fmla="*/ 1594945 w 2663946"/>
                <a:gd name="connsiteY1023" fmla="*/ 129462 h 348332"/>
                <a:gd name="connsiteX1024" fmla="*/ 1594699 w 2663946"/>
                <a:gd name="connsiteY1024" fmla="*/ 129462 h 348332"/>
                <a:gd name="connsiteX1025" fmla="*/ 1581672 w 2663946"/>
                <a:gd name="connsiteY1025" fmla="*/ 124595 h 348332"/>
                <a:gd name="connsiteX1026" fmla="*/ 1577002 w 2663946"/>
                <a:gd name="connsiteY1026" fmla="*/ 120539 h 348332"/>
                <a:gd name="connsiteX1027" fmla="*/ 1573806 w 2663946"/>
                <a:gd name="connsiteY1027" fmla="*/ 116754 h 348332"/>
                <a:gd name="connsiteX1028" fmla="*/ 1571594 w 2663946"/>
                <a:gd name="connsiteY1028" fmla="*/ 113239 h 348332"/>
                <a:gd name="connsiteX1029" fmla="*/ 1569382 w 2663946"/>
                <a:gd name="connsiteY1029" fmla="*/ 108913 h 348332"/>
                <a:gd name="connsiteX1030" fmla="*/ 1568153 w 2663946"/>
                <a:gd name="connsiteY1030" fmla="*/ 105938 h 348332"/>
                <a:gd name="connsiteX1031" fmla="*/ 1567169 w 2663946"/>
                <a:gd name="connsiteY1031" fmla="*/ 102694 h 348332"/>
                <a:gd name="connsiteX1032" fmla="*/ 1565940 w 2663946"/>
                <a:gd name="connsiteY1032" fmla="*/ 97016 h 348332"/>
                <a:gd name="connsiteX1033" fmla="*/ 1565695 w 2663946"/>
                <a:gd name="connsiteY1033" fmla="*/ 94042 h 348332"/>
                <a:gd name="connsiteX1034" fmla="*/ 1565940 w 2663946"/>
                <a:gd name="connsiteY1034" fmla="*/ 94312 h 348332"/>
                <a:gd name="connsiteX1035" fmla="*/ 1565940 w 2663946"/>
                <a:gd name="connsiteY1035" fmla="*/ 88634 h 348332"/>
                <a:gd name="connsiteX1036" fmla="*/ 1565940 w 2663946"/>
                <a:gd name="connsiteY1036" fmla="*/ 88364 h 348332"/>
                <a:gd name="connsiteX1037" fmla="*/ 1566432 w 2663946"/>
                <a:gd name="connsiteY1037" fmla="*/ 83767 h 348332"/>
                <a:gd name="connsiteX1038" fmla="*/ 1567661 w 2663946"/>
                <a:gd name="connsiteY1038" fmla="*/ 78360 h 348332"/>
                <a:gd name="connsiteX1039" fmla="*/ 1568644 w 2663946"/>
                <a:gd name="connsiteY1039" fmla="*/ 75115 h 348332"/>
                <a:gd name="connsiteX1040" fmla="*/ 1570856 w 2663946"/>
                <a:gd name="connsiteY1040" fmla="*/ 69978 h 348332"/>
                <a:gd name="connsiteX1041" fmla="*/ 1573069 w 2663946"/>
                <a:gd name="connsiteY1041" fmla="*/ 66193 h 348332"/>
                <a:gd name="connsiteX1042" fmla="*/ 1575281 w 2663946"/>
                <a:gd name="connsiteY1042" fmla="*/ 63218 h 348332"/>
                <a:gd name="connsiteX1043" fmla="*/ 1577493 w 2663946"/>
                <a:gd name="connsiteY1043" fmla="*/ 60785 h 348332"/>
                <a:gd name="connsiteX1044" fmla="*/ 1582163 w 2663946"/>
                <a:gd name="connsiteY1044" fmla="*/ 57000 h 348332"/>
                <a:gd name="connsiteX1045" fmla="*/ 1586096 w 2663946"/>
                <a:gd name="connsiteY1045" fmla="*/ 54837 h 348332"/>
                <a:gd name="connsiteX1046" fmla="*/ 1595683 w 2663946"/>
                <a:gd name="connsiteY1046" fmla="*/ 52403 h 348332"/>
                <a:gd name="connsiteX1047" fmla="*/ 1246776 w 2663946"/>
                <a:gd name="connsiteY1047" fmla="*/ 52403 h 348332"/>
                <a:gd name="connsiteX1048" fmla="*/ 1259066 w 2663946"/>
                <a:gd name="connsiteY1048" fmla="*/ 54566 h 348332"/>
                <a:gd name="connsiteX1049" fmla="*/ 1266440 w 2663946"/>
                <a:gd name="connsiteY1049" fmla="*/ 59163 h 348332"/>
                <a:gd name="connsiteX1050" fmla="*/ 1269881 w 2663946"/>
                <a:gd name="connsiteY1050" fmla="*/ 62407 h 348332"/>
                <a:gd name="connsiteX1051" fmla="*/ 1273323 w 2663946"/>
                <a:gd name="connsiteY1051" fmla="*/ 66733 h 348332"/>
                <a:gd name="connsiteX1052" fmla="*/ 1275289 w 2663946"/>
                <a:gd name="connsiteY1052" fmla="*/ 70248 h 348332"/>
                <a:gd name="connsiteX1053" fmla="*/ 1277501 w 2663946"/>
                <a:gd name="connsiteY1053" fmla="*/ 75656 h 348332"/>
                <a:gd name="connsiteX1054" fmla="*/ 1278484 w 2663946"/>
                <a:gd name="connsiteY1054" fmla="*/ 79171 h 348332"/>
                <a:gd name="connsiteX1055" fmla="*/ 1279467 w 2663946"/>
                <a:gd name="connsiteY1055" fmla="*/ 84308 h 348332"/>
                <a:gd name="connsiteX1056" fmla="*/ 1279222 w 2663946"/>
                <a:gd name="connsiteY1056" fmla="*/ 98638 h 348332"/>
                <a:gd name="connsiteX1057" fmla="*/ 1278239 w 2663946"/>
                <a:gd name="connsiteY1057" fmla="*/ 103505 h 348332"/>
                <a:gd name="connsiteX1058" fmla="*/ 1277009 w 2663946"/>
                <a:gd name="connsiteY1058" fmla="*/ 107290 h 348332"/>
                <a:gd name="connsiteX1059" fmla="*/ 1276026 w 2663946"/>
                <a:gd name="connsiteY1059" fmla="*/ 109724 h 348332"/>
                <a:gd name="connsiteX1060" fmla="*/ 1273814 w 2663946"/>
                <a:gd name="connsiteY1060" fmla="*/ 114050 h 348332"/>
                <a:gd name="connsiteX1061" fmla="*/ 1271602 w 2663946"/>
                <a:gd name="connsiteY1061" fmla="*/ 117294 h 348332"/>
                <a:gd name="connsiteX1062" fmla="*/ 1268161 w 2663946"/>
                <a:gd name="connsiteY1062" fmla="*/ 121080 h 348332"/>
                <a:gd name="connsiteX1063" fmla="*/ 1264965 w 2663946"/>
                <a:gd name="connsiteY1063" fmla="*/ 123783 h 348332"/>
                <a:gd name="connsiteX1064" fmla="*/ 1259312 w 2663946"/>
                <a:gd name="connsiteY1064" fmla="*/ 127028 h 348332"/>
                <a:gd name="connsiteX1065" fmla="*/ 1251446 w 2663946"/>
                <a:gd name="connsiteY1065" fmla="*/ 129191 h 348332"/>
                <a:gd name="connsiteX1066" fmla="*/ 1250217 w 2663946"/>
                <a:gd name="connsiteY1066" fmla="*/ 129462 h 348332"/>
                <a:gd name="connsiteX1067" fmla="*/ 1246038 w 2663946"/>
                <a:gd name="connsiteY1067" fmla="*/ 129462 h 348332"/>
                <a:gd name="connsiteX1068" fmla="*/ 1245792 w 2663946"/>
                <a:gd name="connsiteY1068" fmla="*/ 129462 h 348332"/>
                <a:gd name="connsiteX1069" fmla="*/ 1232765 w 2663946"/>
                <a:gd name="connsiteY1069" fmla="*/ 124595 h 348332"/>
                <a:gd name="connsiteX1070" fmla="*/ 1228095 w 2663946"/>
                <a:gd name="connsiteY1070" fmla="*/ 120539 h 348332"/>
                <a:gd name="connsiteX1071" fmla="*/ 1224899 w 2663946"/>
                <a:gd name="connsiteY1071" fmla="*/ 116754 h 348332"/>
                <a:gd name="connsiteX1072" fmla="*/ 1222687 w 2663946"/>
                <a:gd name="connsiteY1072" fmla="*/ 113239 h 348332"/>
                <a:gd name="connsiteX1073" fmla="*/ 1220475 w 2663946"/>
                <a:gd name="connsiteY1073" fmla="*/ 108913 h 348332"/>
                <a:gd name="connsiteX1074" fmla="*/ 1219246 w 2663946"/>
                <a:gd name="connsiteY1074" fmla="*/ 105938 h 348332"/>
                <a:gd name="connsiteX1075" fmla="*/ 1218262 w 2663946"/>
                <a:gd name="connsiteY1075" fmla="*/ 102694 h 348332"/>
                <a:gd name="connsiteX1076" fmla="*/ 1217033 w 2663946"/>
                <a:gd name="connsiteY1076" fmla="*/ 97016 h 348332"/>
                <a:gd name="connsiteX1077" fmla="*/ 1216788 w 2663946"/>
                <a:gd name="connsiteY1077" fmla="*/ 94042 h 348332"/>
                <a:gd name="connsiteX1078" fmla="*/ 1217033 w 2663946"/>
                <a:gd name="connsiteY1078" fmla="*/ 94312 h 348332"/>
                <a:gd name="connsiteX1079" fmla="*/ 1217033 w 2663946"/>
                <a:gd name="connsiteY1079" fmla="*/ 88634 h 348332"/>
                <a:gd name="connsiteX1080" fmla="*/ 1217033 w 2663946"/>
                <a:gd name="connsiteY1080" fmla="*/ 88364 h 348332"/>
                <a:gd name="connsiteX1081" fmla="*/ 1217525 w 2663946"/>
                <a:gd name="connsiteY1081" fmla="*/ 83767 h 348332"/>
                <a:gd name="connsiteX1082" fmla="*/ 1218754 w 2663946"/>
                <a:gd name="connsiteY1082" fmla="*/ 78360 h 348332"/>
                <a:gd name="connsiteX1083" fmla="*/ 1219737 w 2663946"/>
                <a:gd name="connsiteY1083" fmla="*/ 75115 h 348332"/>
                <a:gd name="connsiteX1084" fmla="*/ 1221949 w 2663946"/>
                <a:gd name="connsiteY1084" fmla="*/ 69978 h 348332"/>
                <a:gd name="connsiteX1085" fmla="*/ 1224162 w 2663946"/>
                <a:gd name="connsiteY1085" fmla="*/ 66193 h 348332"/>
                <a:gd name="connsiteX1086" fmla="*/ 1226374 w 2663946"/>
                <a:gd name="connsiteY1086" fmla="*/ 63218 h 348332"/>
                <a:gd name="connsiteX1087" fmla="*/ 1228586 w 2663946"/>
                <a:gd name="connsiteY1087" fmla="*/ 60785 h 348332"/>
                <a:gd name="connsiteX1088" fmla="*/ 1233256 w 2663946"/>
                <a:gd name="connsiteY1088" fmla="*/ 57000 h 348332"/>
                <a:gd name="connsiteX1089" fmla="*/ 1237189 w 2663946"/>
                <a:gd name="connsiteY1089" fmla="*/ 54837 h 348332"/>
                <a:gd name="connsiteX1090" fmla="*/ 1246776 w 2663946"/>
                <a:gd name="connsiteY1090" fmla="*/ 52403 h 348332"/>
                <a:gd name="connsiteX1091" fmla="*/ 1064825 w 2663946"/>
                <a:gd name="connsiteY1091" fmla="*/ 52403 h 348332"/>
                <a:gd name="connsiteX1092" fmla="*/ 1077115 w 2663946"/>
                <a:gd name="connsiteY1092" fmla="*/ 54566 h 348332"/>
                <a:gd name="connsiteX1093" fmla="*/ 1084489 w 2663946"/>
                <a:gd name="connsiteY1093" fmla="*/ 59163 h 348332"/>
                <a:gd name="connsiteX1094" fmla="*/ 1087930 w 2663946"/>
                <a:gd name="connsiteY1094" fmla="*/ 62407 h 348332"/>
                <a:gd name="connsiteX1095" fmla="*/ 1091372 w 2663946"/>
                <a:gd name="connsiteY1095" fmla="*/ 66733 h 348332"/>
                <a:gd name="connsiteX1096" fmla="*/ 1093338 w 2663946"/>
                <a:gd name="connsiteY1096" fmla="*/ 70248 h 348332"/>
                <a:gd name="connsiteX1097" fmla="*/ 1095550 w 2663946"/>
                <a:gd name="connsiteY1097" fmla="*/ 75656 h 348332"/>
                <a:gd name="connsiteX1098" fmla="*/ 1096533 w 2663946"/>
                <a:gd name="connsiteY1098" fmla="*/ 79171 h 348332"/>
                <a:gd name="connsiteX1099" fmla="*/ 1097516 w 2663946"/>
                <a:gd name="connsiteY1099" fmla="*/ 84308 h 348332"/>
                <a:gd name="connsiteX1100" fmla="*/ 1097271 w 2663946"/>
                <a:gd name="connsiteY1100" fmla="*/ 98638 h 348332"/>
                <a:gd name="connsiteX1101" fmla="*/ 1096288 w 2663946"/>
                <a:gd name="connsiteY1101" fmla="*/ 103505 h 348332"/>
                <a:gd name="connsiteX1102" fmla="*/ 1095058 w 2663946"/>
                <a:gd name="connsiteY1102" fmla="*/ 107290 h 348332"/>
                <a:gd name="connsiteX1103" fmla="*/ 1094075 w 2663946"/>
                <a:gd name="connsiteY1103" fmla="*/ 109724 h 348332"/>
                <a:gd name="connsiteX1104" fmla="*/ 1091863 w 2663946"/>
                <a:gd name="connsiteY1104" fmla="*/ 114050 h 348332"/>
                <a:gd name="connsiteX1105" fmla="*/ 1089651 w 2663946"/>
                <a:gd name="connsiteY1105" fmla="*/ 117294 h 348332"/>
                <a:gd name="connsiteX1106" fmla="*/ 1086210 w 2663946"/>
                <a:gd name="connsiteY1106" fmla="*/ 121080 h 348332"/>
                <a:gd name="connsiteX1107" fmla="*/ 1083014 w 2663946"/>
                <a:gd name="connsiteY1107" fmla="*/ 123783 h 348332"/>
                <a:gd name="connsiteX1108" fmla="*/ 1077361 w 2663946"/>
                <a:gd name="connsiteY1108" fmla="*/ 127028 h 348332"/>
                <a:gd name="connsiteX1109" fmla="*/ 1069495 w 2663946"/>
                <a:gd name="connsiteY1109" fmla="*/ 129191 h 348332"/>
                <a:gd name="connsiteX1110" fmla="*/ 1068266 w 2663946"/>
                <a:gd name="connsiteY1110" fmla="*/ 129462 h 348332"/>
                <a:gd name="connsiteX1111" fmla="*/ 1064087 w 2663946"/>
                <a:gd name="connsiteY1111" fmla="*/ 129462 h 348332"/>
                <a:gd name="connsiteX1112" fmla="*/ 1063841 w 2663946"/>
                <a:gd name="connsiteY1112" fmla="*/ 129462 h 348332"/>
                <a:gd name="connsiteX1113" fmla="*/ 1050814 w 2663946"/>
                <a:gd name="connsiteY1113" fmla="*/ 124595 h 348332"/>
                <a:gd name="connsiteX1114" fmla="*/ 1046144 w 2663946"/>
                <a:gd name="connsiteY1114" fmla="*/ 120539 h 348332"/>
                <a:gd name="connsiteX1115" fmla="*/ 1042948 w 2663946"/>
                <a:gd name="connsiteY1115" fmla="*/ 116754 h 348332"/>
                <a:gd name="connsiteX1116" fmla="*/ 1040736 w 2663946"/>
                <a:gd name="connsiteY1116" fmla="*/ 113239 h 348332"/>
                <a:gd name="connsiteX1117" fmla="*/ 1038524 w 2663946"/>
                <a:gd name="connsiteY1117" fmla="*/ 108913 h 348332"/>
                <a:gd name="connsiteX1118" fmla="*/ 1037295 w 2663946"/>
                <a:gd name="connsiteY1118" fmla="*/ 105938 h 348332"/>
                <a:gd name="connsiteX1119" fmla="*/ 1036311 w 2663946"/>
                <a:gd name="connsiteY1119" fmla="*/ 102694 h 348332"/>
                <a:gd name="connsiteX1120" fmla="*/ 1035082 w 2663946"/>
                <a:gd name="connsiteY1120" fmla="*/ 97016 h 348332"/>
                <a:gd name="connsiteX1121" fmla="*/ 1034837 w 2663946"/>
                <a:gd name="connsiteY1121" fmla="*/ 94042 h 348332"/>
                <a:gd name="connsiteX1122" fmla="*/ 1035082 w 2663946"/>
                <a:gd name="connsiteY1122" fmla="*/ 94312 h 348332"/>
                <a:gd name="connsiteX1123" fmla="*/ 1035082 w 2663946"/>
                <a:gd name="connsiteY1123" fmla="*/ 88634 h 348332"/>
                <a:gd name="connsiteX1124" fmla="*/ 1035082 w 2663946"/>
                <a:gd name="connsiteY1124" fmla="*/ 88364 h 348332"/>
                <a:gd name="connsiteX1125" fmla="*/ 1035574 w 2663946"/>
                <a:gd name="connsiteY1125" fmla="*/ 83767 h 348332"/>
                <a:gd name="connsiteX1126" fmla="*/ 1036803 w 2663946"/>
                <a:gd name="connsiteY1126" fmla="*/ 78360 h 348332"/>
                <a:gd name="connsiteX1127" fmla="*/ 1037786 w 2663946"/>
                <a:gd name="connsiteY1127" fmla="*/ 75115 h 348332"/>
                <a:gd name="connsiteX1128" fmla="*/ 1039998 w 2663946"/>
                <a:gd name="connsiteY1128" fmla="*/ 69978 h 348332"/>
                <a:gd name="connsiteX1129" fmla="*/ 1042211 w 2663946"/>
                <a:gd name="connsiteY1129" fmla="*/ 66193 h 348332"/>
                <a:gd name="connsiteX1130" fmla="*/ 1044423 w 2663946"/>
                <a:gd name="connsiteY1130" fmla="*/ 63218 h 348332"/>
                <a:gd name="connsiteX1131" fmla="*/ 1046635 w 2663946"/>
                <a:gd name="connsiteY1131" fmla="*/ 60785 h 348332"/>
                <a:gd name="connsiteX1132" fmla="*/ 1051305 w 2663946"/>
                <a:gd name="connsiteY1132" fmla="*/ 57000 h 348332"/>
                <a:gd name="connsiteX1133" fmla="*/ 1055238 w 2663946"/>
                <a:gd name="connsiteY1133" fmla="*/ 54837 h 348332"/>
                <a:gd name="connsiteX1134" fmla="*/ 1064825 w 2663946"/>
                <a:gd name="connsiteY1134" fmla="*/ 52403 h 348332"/>
                <a:gd name="connsiteX1135" fmla="*/ 897796 w 2663946"/>
                <a:gd name="connsiteY1135" fmla="*/ 52403 h 348332"/>
                <a:gd name="connsiteX1136" fmla="*/ 910086 w 2663946"/>
                <a:gd name="connsiteY1136" fmla="*/ 54566 h 348332"/>
                <a:gd name="connsiteX1137" fmla="*/ 917460 w 2663946"/>
                <a:gd name="connsiteY1137" fmla="*/ 59163 h 348332"/>
                <a:gd name="connsiteX1138" fmla="*/ 920901 w 2663946"/>
                <a:gd name="connsiteY1138" fmla="*/ 62407 h 348332"/>
                <a:gd name="connsiteX1139" fmla="*/ 924343 w 2663946"/>
                <a:gd name="connsiteY1139" fmla="*/ 66733 h 348332"/>
                <a:gd name="connsiteX1140" fmla="*/ 926309 w 2663946"/>
                <a:gd name="connsiteY1140" fmla="*/ 70248 h 348332"/>
                <a:gd name="connsiteX1141" fmla="*/ 928521 w 2663946"/>
                <a:gd name="connsiteY1141" fmla="*/ 75656 h 348332"/>
                <a:gd name="connsiteX1142" fmla="*/ 929504 w 2663946"/>
                <a:gd name="connsiteY1142" fmla="*/ 79171 h 348332"/>
                <a:gd name="connsiteX1143" fmla="*/ 930487 w 2663946"/>
                <a:gd name="connsiteY1143" fmla="*/ 84308 h 348332"/>
                <a:gd name="connsiteX1144" fmla="*/ 930242 w 2663946"/>
                <a:gd name="connsiteY1144" fmla="*/ 98638 h 348332"/>
                <a:gd name="connsiteX1145" fmla="*/ 929259 w 2663946"/>
                <a:gd name="connsiteY1145" fmla="*/ 103505 h 348332"/>
                <a:gd name="connsiteX1146" fmla="*/ 928029 w 2663946"/>
                <a:gd name="connsiteY1146" fmla="*/ 107290 h 348332"/>
                <a:gd name="connsiteX1147" fmla="*/ 927046 w 2663946"/>
                <a:gd name="connsiteY1147" fmla="*/ 109724 h 348332"/>
                <a:gd name="connsiteX1148" fmla="*/ 924834 w 2663946"/>
                <a:gd name="connsiteY1148" fmla="*/ 114050 h 348332"/>
                <a:gd name="connsiteX1149" fmla="*/ 922622 w 2663946"/>
                <a:gd name="connsiteY1149" fmla="*/ 117294 h 348332"/>
                <a:gd name="connsiteX1150" fmla="*/ 919181 w 2663946"/>
                <a:gd name="connsiteY1150" fmla="*/ 121080 h 348332"/>
                <a:gd name="connsiteX1151" fmla="*/ 915985 w 2663946"/>
                <a:gd name="connsiteY1151" fmla="*/ 123783 h 348332"/>
                <a:gd name="connsiteX1152" fmla="*/ 910332 w 2663946"/>
                <a:gd name="connsiteY1152" fmla="*/ 127028 h 348332"/>
                <a:gd name="connsiteX1153" fmla="*/ 902466 w 2663946"/>
                <a:gd name="connsiteY1153" fmla="*/ 129191 h 348332"/>
                <a:gd name="connsiteX1154" fmla="*/ 901237 w 2663946"/>
                <a:gd name="connsiteY1154" fmla="*/ 129462 h 348332"/>
                <a:gd name="connsiteX1155" fmla="*/ 897058 w 2663946"/>
                <a:gd name="connsiteY1155" fmla="*/ 129462 h 348332"/>
                <a:gd name="connsiteX1156" fmla="*/ 896812 w 2663946"/>
                <a:gd name="connsiteY1156" fmla="*/ 129462 h 348332"/>
                <a:gd name="connsiteX1157" fmla="*/ 883785 w 2663946"/>
                <a:gd name="connsiteY1157" fmla="*/ 124595 h 348332"/>
                <a:gd name="connsiteX1158" fmla="*/ 879115 w 2663946"/>
                <a:gd name="connsiteY1158" fmla="*/ 120539 h 348332"/>
                <a:gd name="connsiteX1159" fmla="*/ 875919 w 2663946"/>
                <a:gd name="connsiteY1159" fmla="*/ 116754 h 348332"/>
                <a:gd name="connsiteX1160" fmla="*/ 873707 w 2663946"/>
                <a:gd name="connsiteY1160" fmla="*/ 113239 h 348332"/>
                <a:gd name="connsiteX1161" fmla="*/ 871495 w 2663946"/>
                <a:gd name="connsiteY1161" fmla="*/ 108913 h 348332"/>
                <a:gd name="connsiteX1162" fmla="*/ 870266 w 2663946"/>
                <a:gd name="connsiteY1162" fmla="*/ 105938 h 348332"/>
                <a:gd name="connsiteX1163" fmla="*/ 869282 w 2663946"/>
                <a:gd name="connsiteY1163" fmla="*/ 102694 h 348332"/>
                <a:gd name="connsiteX1164" fmla="*/ 868053 w 2663946"/>
                <a:gd name="connsiteY1164" fmla="*/ 97016 h 348332"/>
                <a:gd name="connsiteX1165" fmla="*/ 867808 w 2663946"/>
                <a:gd name="connsiteY1165" fmla="*/ 94042 h 348332"/>
                <a:gd name="connsiteX1166" fmla="*/ 868053 w 2663946"/>
                <a:gd name="connsiteY1166" fmla="*/ 94312 h 348332"/>
                <a:gd name="connsiteX1167" fmla="*/ 868053 w 2663946"/>
                <a:gd name="connsiteY1167" fmla="*/ 88634 h 348332"/>
                <a:gd name="connsiteX1168" fmla="*/ 868053 w 2663946"/>
                <a:gd name="connsiteY1168" fmla="*/ 88364 h 348332"/>
                <a:gd name="connsiteX1169" fmla="*/ 868545 w 2663946"/>
                <a:gd name="connsiteY1169" fmla="*/ 83767 h 348332"/>
                <a:gd name="connsiteX1170" fmla="*/ 869774 w 2663946"/>
                <a:gd name="connsiteY1170" fmla="*/ 78360 h 348332"/>
                <a:gd name="connsiteX1171" fmla="*/ 870757 w 2663946"/>
                <a:gd name="connsiteY1171" fmla="*/ 75115 h 348332"/>
                <a:gd name="connsiteX1172" fmla="*/ 872969 w 2663946"/>
                <a:gd name="connsiteY1172" fmla="*/ 69978 h 348332"/>
                <a:gd name="connsiteX1173" fmla="*/ 875182 w 2663946"/>
                <a:gd name="connsiteY1173" fmla="*/ 66193 h 348332"/>
                <a:gd name="connsiteX1174" fmla="*/ 877394 w 2663946"/>
                <a:gd name="connsiteY1174" fmla="*/ 63218 h 348332"/>
                <a:gd name="connsiteX1175" fmla="*/ 879606 w 2663946"/>
                <a:gd name="connsiteY1175" fmla="*/ 60785 h 348332"/>
                <a:gd name="connsiteX1176" fmla="*/ 884276 w 2663946"/>
                <a:gd name="connsiteY1176" fmla="*/ 57000 h 348332"/>
                <a:gd name="connsiteX1177" fmla="*/ 888209 w 2663946"/>
                <a:gd name="connsiteY1177" fmla="*/ 54837 h 348332"/>
                <a:gd name="connsiteX1178" fmla="*/ 897796 w 2663946"/>
                <a:gd name="connsiteY1178" fmla="*/ 52403 h 348332"/>
                <a:gd name="connsiteX1179" fmla="*/ 548889 w 2663946"/>
                <a:gd name="connsiteY1179" fmla="*/ 52403 h 348332"/>
                <a:gd name="connsiteX1180" fmla="*/ 561180 w 2663946"/>
                <a:gd name="connsiteY1180" fmla="*/ 54566 h 348332"/>
                <a:gd name="connsiteX1181" fmla="*/ 568554 w 2663946"/>
                <a:gd name="connsiteY1181" fmla="*/ 59163 h 348332"/>
                <a:gd name="connsiteX1182" fmla="*/ 571995 w 2663946"/>
                <a:gd name="connsiteY1182" fmla="*/ 62407 h 348332"/>
                <a:gd name="connsiteX1183" fmla="*/ 575436 w 2663946"/>
                <a:gd name="connsiteY1183" fmla="*/ 66733 h 348332"/>
                <a:gd name="connsiteX1184" fmla="*/ 577403 w 2663946"/>
                <a:gd name="connsiteY1184" fmla="*/ 70248 h 348332"/>
                <a:gd name="connsiteX1185" fmla="*/ 579615 w 2663946"/>
                <a:gd name="connsiteY1185" fmla="*/ 75656 h 348332"/>
                <a:gd name="connsiteX1186" fmla="*/ 580598 w 2663946"/>
                <a:gd name="connsiteY1186" fmla="*/ 79171 h 348332"/>
                <a:gd name="connsiteX1187" fmla="*/ 581581 w 2663946"/>
                <a:gd name="connsiteY1187" fmla="*/ 84308 h 348332"/>
                <a:gd name="connsiteX1188" fmla="*/ 581336 w 2663946"/>
                <a:gd name="connsiteY1188" fmla="*/ 98638 h 348332"/>
                <a:gd name="connsiteX1189" fmla="*/ 580352 w 2663946"/>
                <a:gd name="connsiteY1189" fmla="*/ 103505 h 348332"/>
                <a:gd name="connsiteX1190" fmla="*/ 579123 w 2663946"/>
                <a:gd name="connsiteY1190" fmla="*/ 107290 h 348332"/>
                <a:gd name="connsiteX1191" fmla="*/ 578140 w 2663946"/>
                <a:gd name="connsiteY1191" fmla="*/ 109724 h 348332"/>
                <a:gd name="connsiteX1192" fmla="*/ 575928 w 2663946"/>
                <a:gd name="connsiteY1192" fmla="*/ 114050 h 348332"/>
                <a:gd name="connsiteX1193" fmla="*/ 573715 w 2663946"/>
                <a:gd name="connsiteY1193" fmla="*/ 117294 h 348332"/>
                <a:gd name="connsiteX1194" fmla="*/ 570274 w 2663946"/>
                <a:gd name="connsiteY1194" fmla="*/ 121080 h 348332"/>
                <a:gd name="connsiteX1195" fmla="*/ 567079 w 2663946"/>
                <a:gd name="connsiteY1195" fmla="*/ 123783 h 348332"/>
                <a:gd name="connsiteX1196" fmla="*/ 561425 w 2663946"/>
                <a:gd name="connsiteY1196" fmla="*/ 127028 h 348332"/>
                <a:gd name="connsiteX1197" fmla="*/ 553559 w 2663946"/>
                <a:gd name="connsiteY1197" fmla="*/ 129191 h 348332"/>
                <a:gd name="connsiteX1198" fmla="*/ 552331 w 2663946"/>
                <a:gd name="connsiteY1198" fmla="*/ 129462 h 348332"/>
                <a:gd name="connsiteX1199" fmla="*/ 548152 w 2663946"/>
                <a:gd name="connsiteY1199" fmla="*/ 129462 h 348332"/>
                <a:gd name="connsiteX1200" fmla="*/ 547906 w 2663946"/>
                <a:gd name="connsiteY1200" fmla="*/ 129462 h 348332"/>
                <a:gd name="connsiteX1201" fmla="*/ 534879 w 2663946"/>
                <a:gd name="connsiteY1201" fmla="*/ 124595 h 348332"/>
                <a:gd name="connsiteX1202" fmla="*/ 530208 w 2663946"/>
                <a:gd name="connsiteY1202" fmla="*/ 120539 h 348332"/>
                <a:gd name="connsiteX1203" fmla="*/ 527013 w 2663946"/>
                <a:gd name="connsiteY1203" fmla="*/ 116754 h 348332"/>
                <a:gd name="connsiteX1204" fmla="*/ 524801 w 2663946"/>
                <a:gd name="connsiteY1204" fmla="*/ 113239 h 348332"/>
                <a:gd name="connsiteX1205" fmla="*/ 522588 w 2663946"/>
                <a:gd name="connsiteY1205" fmla="*/ 108913 h 348332"/>
                <a:gd name="connsiteX1206" fmla="*/ 521359 w 2663946"/>
                <a:gd name="connsiteY1206" fmla="*/ 105938 h 348332"/>
                <a:gd name="connsiteX1207" fmla="*/ 520376 w 2663946"/>
                <a:gd name="connsiteY1207" fmla="*/ 102694 h 348332"/>
                <a:gd name="connsiteX1208" fmla="*/ 519147 w 2663946"/>
                <a:gd name="connsiteY1208" fmla="*/ 97016 h 348332"/>
                <a:gd name="connsiteX1209" fmla="*/ 518901 w 2663946"/>
                <a:gd name="connsiteY1209" fmla="*/ 94042 h 348332"/>
                <a:gd name="connsiteX1210" fmla="*/ 519147 w 2663946"/>
                <a:gd name="connsiteY1210" fmla="*/ 94312 h 348332"/>
                <a:gd name="connsiteX1211" fmla="*/ 519147 w 2663946"/>
                <a:gd name="connsiteY1211" fmla="*/ 88634 h 348332"/>
                <a:gd name="connsiteX1212" fmla="*/ 519147 w 2663946"/>
                <a:gd name="connsiteY1212" fmla="*/ 88364 h 348332"/>
                <a:gd name="connsiteX1213" fmla="*/ 519639 w 2663946"/>
                <a:gd name="connsiteY1213" fmla="*/ 83767 h 348332"/>
                <a:gd name="connsiteX1214" fmla="*/ 520868 w 2663946"/>
                <a:gd name="connsiteY1214" fmla="*/ 78360 h 348332"/>
                <a:gd name="connsiteX1215" fmla="*/ 521851 w 2663946"/>
                <a:gd name="connsiteY1215" fmla="*/ 75115 h 348332"/>
                <a:gd name="connsiteX1216" fmla="*/ 524063 w 2663946"/>
                <a:gd name="connsiteY1216" fmla="*/ 69978 h 348332"/>
                <a:gd name="connsiteX1217" fmla="*/ 526275 w 2663946"/>
                <a:gd name="connsiteY1217" fmla="*/ 66193 h 348332"/>
                <a:gd name="connsiteX1218" fmla="*/ 528488 w 2663946"/>
                <a:gd name="connsiteY1218" fmla="*/ 63218 h 348332"/>
                <a:gd name="connsiteX1219" fmla="*/ 530700 w 2663946"/>
                <a:gd name="connsiteY1219" fmla="*/ 60785 h 348332"/>
                <a:gd name="connsiteX1220" fmla="*/ 535370 w 2663946"/>
                <a:gd name="connsiteY1220" fmla="*/ 57000 h 348332"/>
                <a:gd name="connsiteX1221" fmla="*/ 539303 w 2663946"/>
                <a:gd name="connsiteY1221" fmla="*/ 54837 h 348332"/>
                <a:gd name="connsiteX1222" fmla="*/ 548889 w 2663946"/>
                <a:gd name="connsiteY1222" fmla="*/ 52403 h 348332"/>
                <a:gd name="connsiteX1223" fmla="*/ 366938 w 2663946"/>
                <a:gd name="connsiteY1223" fmla="*/ 52403 h 348332"/>
                <a:gd name="connsiteX1224" fmla="*/ 379228 w 2663946"/>
                <a:gd name="connsiteY1224" fmla="*/ 54566 h 348332"/>
                <a:gd name="connsiteX1225" fmla="*/ 386603 w 2663946"/>
                <a:gd name="connsiteY1225" fmla="*/ 59163 h 348332"/>
                <a:gd name="connsiteX1226" fmla="*/ 390044 w 2663946"/>
                <a:gd name="connsiteY1226" fmla="*/ 62407 h 348332"/>
                <a:gd name="connsiteX1227" fmla="*/ 393485 w 2663946"/>
                <a:gd name="connsiteY1227" fmla="*/ 66733 h 348332"/>
                <a:gd name="connsiteX1228" fmla="*/ 395452 w 2663946"/>
                <a:gd name="connsiteY1228" fmla="*/ 70248 h 348332"/>
                <a:gd name="connsiteX1229" fmla="*/ 397664 w 2663946"/>
                <a:gd name="connsiteY1229" fmla="*/ 75656 h 348332"/>
                <a:gd name="connsiteX1230" fmla="*/ 398647 w 2663946"/>
                <a:gd name="connsiteY1230" fmla="*/ 79171 h 348332"/>
                <a:gd name="connsiteX1231" fmla="*/ 399630 w 2663946"/>
                <a:gd name="connsiteY1231" fmla="*/ 84308 h 348332"/>
                <a:gd name="connsiteX1232" fmla="*/ 399384 w 2663946"/>
                <a:gd name="connsiteY1232" fmla="*/ 98638 h 348332"/>
                <a:gd name="connsiteX1233" fmla="*/ 398401 w 2663946"/>
                <a:gd name="connsiteY1233" fmla="*/ 103505 h 348332"/>
                <a:gd name="connsiteX1234" fmla="*/ 397172 w 2663946"/>
                <a:gd name="connsiteY1234" fmla="*/ 107290 h 348332"/>
                <a:gd name="connsiteX1235" fmla="*/ 396189 w 2663946"/>
                <a:gd name="connsiteY1235" fmla="*/ 109724 h 348332"/>
                <a:gd name="connsiteX1236" fmla="*/ 393977 w 2663946"/>
                <a:gd name="connsiteY1236" fmla="*/ 114050 h 348332"/>
                <a:gd name="connsiteX1237" fmla="*/ 391764 w 2663946"/>
                <a:gd name="connsiteY1237" fmla="*/ 117294 h 348332"/>
                <a:gd name="connsiteX1238" fmla="*/ 388323 w 2663946"/>
                <a:gd name="connsiteY1238" fmla="*/ 121080 h 348332"/>
                <a:gd name="connsiteX1239" fmla="*/ 385128 w 2663946"/>
                <a:gd name="connsiteY1239" fmla="*/ 123783 h 348332"/>
                <a:gd name="connsiteX1240" fmla="*/ 379474 w 2663946"/>
                <a:gd name="connsiteY1240" fmla="*/ 127028 h 348332"/>
                <a:gd name="connsiteX1241" fmla="*/ 371609 w 2663946"/>
                <a:gd name="connsiteY1241" fmla="*/ 129191 h 348332"/>
                <a:gd name="connsiteX1242" fmla="*/ 370380 w 2663946"/>
                <a:gd name="connsiteY1242" fmla="*/ 129462 h 348332"/>
                <a:gd name="connsiteX1243" fmla="*/ 366201 w 2663946"/>
                <a:gd name="connsiteY1243" fmla="*/ 129462 h 348332"/>
                <a:gd name="connsiteX1244" fmla="*/ 365955 w 2663946"/>
                <a:gd name="connsiteY1244" fmla="*/ 129462 h 348332"/>
                <a:gd name="connsiteX1245" fmla="*/ 352927 w 2663946"/>
                <a:gd name="connsiteY1245" fmla="*/ 124595 h 348332"/>
                <a:gd name="connsiteX1246" fmla="*/ 348257 w 2663946"/>
                <a:gd name="connsiteY1246" fmla="*/ 120539 h 348332"/>
                <a:gd name="connsiteX1247" fmla="*/ 345062 w 2663946"/>
                <a:gd name="connsiteY1247" fmla="*/ 116754 h 348332"/>
                <a:gd name="connsiteX1248" fmla="*/ 342850 w 2663946"/>
                <a:gd name="connsiteY1248" fmla="*/ 113239 h 348332"/>
                <a:gd name="connsiteX1249" fmla="*/ 340637 w 2663946"/>
                <a:gd name="connsiteY1249" fmla="*/ 108913 h 348332"/>
                <a:gd name="connsiteX1250" fmla="*/ 339408 w 2663946"/>
                <a:gd name="connsiteY1250" fmla="*/ 105938 h 348332"/>
                <a:gd name="connsiteX1251" fmla="*/ 338425 w 2663946"/>
                <a:gd name="connsiteY1251" fmla="*/ 102694 h 348332"/>
                <a:gd name="connsiteX1252" fmla="*/ 337196 w 2663946"/>
                <a:gd name="connsiteY1252" fmla="*/ 97016 h 348332"/>
                <a:gd name="connsiteX1253" fmla="*/ 336950 w 2663946"/>
                <a:gd name="connsiteY1253" fmla="*/ 94042 h 348332"/>
                <a:gd name="connsiteX1254" fmla="*/ 337196 w 2663946"/>
                <a:gd name="connsiteY1254" fmla="*/ 94312 h 348332"/>
                <a:gd name="connsiteX1255" fmla="*/ 337196 w 2663946"/>
                <a:gd name="connsiteY1255" fmla="*/ 88634 h 348332"/>
                <a:gd name="connsiteX1256" fmla="*/ 337196 w 2663946"/>
                <a:gd name="connsiteY1256" fmla="*/ 88364 h 348332"/>
                <a:gd name="connsiteX1257" fmla="*/ 337687 w 2663946"/>
                <a:gd name="connsiteY1257" fmla="*/ 83767 h 348332"/>
                <a:gd name="connsiteX1258" fmla="*/ 338917 w 2663946"/>
                <a:gd name="connsiteY1258" fmla="*/ 78360 h 348332"/>
                <a:gd name="connsiteX1259" fmla="*/ 339900 w 2663946"/>
                <a:gd name="connsiteY1259" fmla="*/ 75115 h 348332"/>
                <a:gd name="connsiteX1260" fmla="*/ 342112 w 2663946"/>
                <a:gd name="connsiteY1260" fmla="*/ 69978 h 348332"/>
                <a:gd name="connsiteX1261" fmla="*/ 344324 w 2663946"/>
                <a:gd name="connsiteY1261" fmla="*/ 66193 h 348332"/>
                <a:gd name="connsiteX1262" fmla="*/ 346536 w 2663946"/>
                <a:gd name="connsiteY1262" fmla="*/ 63218 h 348332"/>
                <a:gd name="connsiteX1263" fmla="*/ 348749 w 2663946"/>
                <a:gd name="connsiteY1263" fmla="*/ 60785 h 348332"/>
                <a:gd name="connsiteX1264" fmla="*/ 353419 w 2663946"/>
                <a:gd name="connsiteY1264" fmla="*/ 57000 h 348332"/>
                <a:gd name="connsiteX1265" fmla="*/ 357352 w 2663946"/>
                <a:gd name="connsiteY1265" fmla="*/ 54837 h 348332"/>
                <a:gd name="connsiteX1266" fmla="*/ 366938 w 2663946"/>
                <a:gd name="connsiteY1266" fmla="*/ 52403 h 348332"/>
                <a:gd name="connsiteX1267" fmla="*/ 123893 w 2663946"/>
                <a:gd name="connsiteY1267" fmla="*/ 52403 h 348332"/>
                <a:gd name="connsiteX1268" fmla="*/ 136183 w 2663946"/>
                <a:gd name="connsiteY1268" fmla="*/ 54566 h 348332"/>
                <a:gd name="connsiteX1269" fmla="*/ 143557 w 2663946"/>
                <a:gd name="connsiteY1269" fmla="*/ 59163 h 348332"/>
                <a:gd name="connsiteX1270" fmla="*/ 146998 w 2663946"/>
                <a:gd name="connsiteY1270" fmla="*/ 62407 h 348332"/>
                <a:gd name="connsiteX1271" fmla="*/ 150439 w 2663946"/>
                <a:gd name="connsiteY1271" fmla="*/ 66733 h 348332"/>
                <a:gd name="connsiteX1272" fmla="*/ 152406 w 2663946"/>
                <a:gd name="connsiteY1272" fmla="*/ 70248 h 348332"/>
                <a:gd name="connsiteX1273" fmla="*/ 154618 w 2663946"/>
                <a:gd name="connsiteY1273" fmla="*/ 75656 h 348332"/>
                <a:gd name="connsiteX1274" fmla="*/ 155601 w 2663946"/>
                <a:gd name="connsiteY1274" fmla="*/ 79171 h 348332"/>
                <a:gd name="connsiteX1275" fmla="*/ 156584 w 2663946"/>
                <a:gd name="connsiteY1275" fmla="*/ 84308 h 348332"/>
                <a:gd name="connsiteX1276" fmla="*/ 156339 w 2663946"/>
                <a:gd name="connsiteY1276" fmla="*/ 98638 h 348332"/>
                <a:gd name="connsiteX1277" fmla="*/ 155355 w 2663946"/>
                <a:gd name="connsiteY1277" fmla="*/ 103505 h 348332"/>
                <a:gd name="connsiteX1278" fmla="*/ 154126 w 2663946"/>
                <a:gd name="connsiteY1278" fmla="*/ 107290 h 348332"/>
                <a:gd name="connsiteX1279" fmla="*/ 153143 w 2663946"/>
                <a:gd name="connsiteY1279" fmla="*/ 109724 h 348332"/>
                <a:gd name="connsiteX1280" fmla="*/ 150931 w 2663946"/>
                <a:gd name="connsiteY1280" fmla="*/ 114050 h 348332"/>
                <a:gd name="connsiteX1281" fmla="*/ 148719 w 2663946"/>
                <a:gd name="connsiteY1281" fmla="*/ 117294 h 348332"/>
                <a:gd name="connsiteX1282" fmla="*/ 145277 w 2663946"/>
                <a:gd name="connsiteY1282" fmla="*/ 121080 h 348332"/>
                <a:gd name="connsiteX1283" fmla="*/ 142082 w 2663946"/>
                <a:gd name="connsiteY1283" fmla="*/ 123783 h 348332"/>
                <a:gd name="connsiteX1284" fmla="*/ 136428 w 2663946"/>
                <a:gd name="connsiteY1284" fmla="*/ 127028 h 348332"/>
                <a:gd name="connsiteX1285" fmla="*/ 128563 w 2663946"/>
                <a:gd name="connsiteY1285" fmla="*/ 129191 h 348332"/>
                <a:gd name="connsiteX1286" fmla="*/ 127334 w 2663946"/>
                <a:gd name="connsiteY1286" fmla="*/ 129462 h 348332"/>
                <a:gd name="connsiteX1287" fmla="*/ 123155 w 2663946"/>
                <a:gd name="connsiteY1287" fmla="*/ 129462 h 348332"/>
                <a:gd name="connsiteX1288" fmla="*/ 122909 w 2663946"/>
                <a:gd name="connsiteY1288" fmla="*/ 129462 h 348332"/>
                <a:gd name="connsiteX1289" fmla="*/ 109882 w 2663946"/>
                <a:gd name="connsiteY1289" fmla="*/ 124595 h 348332"/>
                <a:gd name="connsiteX1290" fmla="*/ 105211 w 2663946"/>
                <a:gd name="connsiteY1290" fmla="*/ 120539 h 348332"/>
                <a:gd name="connsiteX1291" fmla="*/ 102016 w 2663946"/>
                <a:gd name="connsiteY1291" fmla="*/ 116754 h 348332"/>
                <a:gd name="connsiteX1292" fmla="*/ 99804 w 2663946"/>
                <a:gd name="connsiteY1292" fmla="*/ 113239 h 348332"/>
                <a:gd name="connsiteX1293" fmla="*/ 97591 w 2663946"/>
                <a:gd name="connsiteY1293" fmla="*/ 108913 h 348332"/>
                <a:gd name="connsiteX1294" fmla="*/ 96362 w 2663946"/>
                <a:gd name="connsiteY1294" fmla="*/ 105938 h 348332"/>
                <a:gd name="connsiteX1295" fmla="*/ 95379 w 2663946"/>
                <a:gd name="connsiteY1295" fmla="*/ 102694 h 348332"/>
                <a:gd name="connsiteX1296" fmla="*/ 94150 w 2663946"/>
                <a:gd name="connsiteY1296" fmla="*/ 97016 h 348332"/>
                <a:gd name="connsiteX1297" fmla="*/ 93904 w 2663946"/>
                <a:gd name="connsiteY1297" fmla="*/ 94042 h 348332"/>
                <a:gd name="connsiteX1298" fmla="*/ 94150 w 2663946"/>
                <a:gd name="connsiteY1298" fmla="*/ 94312 h 348332"/>
                <a:gd name="connsiteX1299" fmla="*/ 94150 w 2663946"/>
                <a:gd name="connsiteY1299" fmla="*/ 88634 h 348332"/>
                <a:gd name="connsiteX1300" fmla="*/ 94150 w 2663946"/>
                <a:gd name="connsiteY1300" fmla="*/ 88364 h 348332"/>
                <a:gd name="connsiteX1301" fmla="*/ 94642 w 2663946"/>
                <a:gd name="connsiteY1301" fmla="*/ 83767 h 348332"/>
                <a:gd name="connsiteX1302" fmla="*/ 95871 w 2663946"/>
                <a:gd name="connsiteY1302" fmla="*/ 78360 h 348332"/>
                <a:gd name="connsiteX1303" fmla="*/ 96854 w 2663946"/>
                <a:gd name="connsiteY1303" fmla="*/ 75115 h 348332"/>
                <a:gd name="connsiteX1304" fmla="*/ 99066 w 2663946"/>
                <a:gd name="connsiteY1304" fmla="*/ 69978 h 348332"/>
                <a:gd name="connsiteX1305" fmla="*/ 101279 w 2663946"/>
                <a:gd name="connsiteY1305" fmla="*/ 66193 h 348332"/>
                <a:gd name="connsiteX1306" fmla="*/ 103491 w 2663946"/>
                <a:gd name="connsiteY1306" fmla="*/ 63218 h 348332"/>
                <a:gd name="connsiteX1307" fmla="*/ 105703 w 2663946"/>
                <a:gd name="connsiteY1307" fmla="*/ 60785 h 348332"/>
                <a:gd name="connsiteX1308" fmla="*/ 110373 w 2663946"/>
                <a:gd name="connsiteY1308" fmla="*/ 57000 h 348332"/>
                <a:gd name="connsiteX1309" fmla="*/ 114306 w 2663946"/>
                <a:gd name="connsiteY1309" fmla="*/ 54837 h 348332"/>
                <a:gd name="connsiteX1310" fmla="*/ 123893 w 2663946"/>
                <a:gd name="connsiteY1310" fmla="*/ 52403 h 348332"/>
                <a:gd name="connsiteX1311" fmla="*/ 33147 w 2663946"/>
                <a:gd name="connsiteY1311" fmla="*/ 51765 h 348332"/>
                <a:gd name="connsiteX1312" fmla="*/ 57942 w 2663946"/>
                <a:gd name="connsiteY1312" fmla="*/ 71974 h 348332"/>
                <a:gd name="connsiteX1313" fmla="*/ 58422 w 2663946"/>
                <a:gd name="connsiteY1313" fmla="*/ 76732 h 348332"/>
                <a:gd name="connsiteX1314" fmla="*/ 59840 w 2663946"/>
                <a:gd name="connsiteY1314" fmla="*/ 76732 h 348332"/>
                <a:gd name="connsiteX1315" fmla="*/ 66294 w 2663946"/>
                <a:gd name="connsiteY1315" fmla="*/ 83018 h 348332"/>
                <a:gd name="connsiteX1316" fmla="*/ 66294 w 2663946"/>
                <a:gd name="connsiteY1316" fmla="*/ 132740 h 348332"/>
                <a:gd name="connsiteX1317" fmla="*/ 59840 w 2663946"/>
                <a:gd name="connsiteY1317" fmla="*/ 139026 h 348332"/>
                <a:gd name="connsiteX1318" fmla="*/ 6453 w 2663946"/>
                <a:gd name="connsiteY1318" fmla="*/ 139026 h 348332"/>
                <a:gd name="connsiteX1319" fmla="*/ 0 w 2663946"/>
                <a:gd name="connsiteY1319" fmla="*/ 132740 h 348332"/>
                <a:gd name="connsiteX1320" fmla="*/ 0 w 2663946"/>
                <a:gd name="connsiteY1320" fmla="*/ 83018 h 348332"/>
                <a:gd name="connsiteX1321" fmla="*/ 6453 w 2663946"/>
                <a:gd name="connsiteY1321" fmla="*/ 76732 h 348332"/>
                <a:gd name="connsiteX1322" fmla="*/ 7288 w 2663946"/>
                <a:gd name="connsiteY1322" fmla="*/ 76732 h 348332"/>
                <a:gd name="connsiteX1323" fmla="*/ 7872 w 2663946"/>
                <a:gd name="connsiteY1323" fmla="*/ 76732 h 348332"/>
                <a:gd name="connsiteX1324" fmla="*/ 8351 w 2663946"/>
                <a:gd name="connsiteY1324" fmla="*/ 71974 h 348332"/>
                <a:gd name="connsiteX1325" fmla="*/ 33147 w 2663946"/>
                <a:gd name="connsiteY1325" fmla="*/ 51765 h 348332"/>
                <a:gd name="connsiteX1326" fmla="*/ 2537931 w 2663946"/>
                <a:gd name="connsiteY1326" fmla="*/ 44177 h 348332"/>
                <a:gd name="connsiteX1327" fmla="*/ 2562727 w 2663946"/>
                <a:gd name="connsiteY1327" fmla="*/ 64386 h 348332"/>
                <a:gd name="connsiteX1328" fmla="*/ 2563206 w 2663946"/>
                <a:gd name="connsiteY1328" fmla="*/ 69144 h 348332"/>
                <a:gd name="connsiteX1329" fmla="*/ 2564625 w 2663946"/>
                <a:gd name="connsiteY1329" fmla="*/ 69144 h 348332"/>
                <a:gd name="connsiteX1330" fmla="*/ 2571078 w 2663946"/>
                <a:gd name="connsiteY1330" fmla="*/ 75430 h 348332"/>
                <a:gd name="connsiteX1331" fmla="*/ 2571078 w 2663946"/>
                <a:gd name="connsiteY1331" fmla="*/ 125152 h 348332"/>
                <a:gd name="connsiteX1332" fmla="*/ 2564625 w 2663946"/>
                <a:gd name="connsiteY1332" fmla="*/ 131438 h 348332"/>
                <a:gd name="connsiteX1333" fmla="*/ 2511238 w 2663946"/>
                <a:gd name="connsiteY1333" fmla="*/ 131438 h 348332"/>
                <a:gd name="connsiteX1334" fmla="*/ 2504784 w 2663946"/>
                <a:gd name="connsiteY1334" fmla="*/ 125152 h 348332"/>
                <a:gd name="connsiteX1335" fmla="*/ 2504784 w 2663946"/>
                <a:gd name="connsiteY1335" fmla="*/ 75430 h 348332"/>
                <a:gd name="connsiteX1336" fmla="*/ 2511238 w 2663946"/>
                <a:gd name="connsiteY1336" fmla="*/ 69144 h 348332"/>
                <a:gd name="connsiteX1337" fmla="*/ 2512072 w 2663946"/>
                <a:gd name="connsiteY1337" fmla="*/ 69144 h 348332"/>
                <a:gd name="connsiteX1338" fmla="*/ 2512656 w 2663946"/>
                <a:gd name="connsiteY1338" fmla="*/ 69144 h 348332"/>
                <a:gd name="connsiteX1339" fmla="*/ 2513136 w 2663946"/>
                <a:gd name="connsiteY1339" fmla="*/ 64386 h 348332"/>
                <a:gd name="connsiteX1340" fmla="*/ 2537931 w 2663946"/>
                <a:gd name="connsiteY1340" fmla="*/ 44177 h 348332"/>
                <a:gd name="connsiteX1341" fmla="*/ 2112934 w 2663946"/>
                <a:gd name="connsiteY1341" fmla="*/ 44177 h 348332"/>
                <a:gd name="connsiteX1342" fmla="*/ 2137730 w 2663946"/>
                <a:gd name="connsiteY1342" fmla="*/ 64386 h 348332"/>
                <a:gd name="connsiteX1343" fmla="*/ 2138209 w 2663946"/>
                <a:gd name="connsiteY1343" fmla="*/ 69144 h 348332"/>
                <a:gd name="connsiteX1344" fmla="*/ 2139628 w 2663946"/>
                <a:gd name="connsiteY1344" fmla="*/ 69144 h 348332"/>
                <a:gd name="connsiteX1345" fmla="*/ 2146081 w 2663946"/>
                <a:gd name="connsiteY1345" fmla="*/ 75430 h 348332"/>
                <a:gd name="connsiteX1346" fmla="*/ 2146081 w 2663946"/>
                <a:gd name="connsiteY1346" fmla="*/ 125152 h 348332"/>
                <a:gd name="connsiteX1347" fmla="*/ 2139628 w 2663946"/>
                <a:gd name="connsiteY1347" fmla="*/ 131438 h 348332"/>
                <a:gd name="connsiteX1348" fmla="*/ 2086241 w 2663946"/>
                <a:gd name="connsiteY1348" fmla="*/ 131438 h 348332"/>
                <a:gd name="connsiteX1349" fmla="*/ 2079787 w 2663946"/>
                <a:gd name="connsiteY1349" fmla="*/ 125152 h 348332"/>
                <a:gd name="connsiteX1350" fmla="*/ 2079787 w 2663946"/>
                <a:gd name="connsiteY1350" fmla="*/ 75430 h 348332"/>
                <a:gd name="connsiteX1351" fmla="*/ 2086241 w 2663946"/>
                <a:gd name="connsiteY1351" fmla="*/ 69144 h 348332"/>
                <a:gd name="connsiteX1352" fmla="*/ 2087075 w 2663946"/>
                <a:gd name="connsiteY1352" fmla="*/ 69144 h 348332"/>
                <a:gd name="connsiteX1353" fmla="*/ 2087659 w 2663946"/>
                <a:gd name="connsiteY1353" fmla="*/ 69144 h 348332"/>
                <a:gd name="connsiteX1354" fmla="*/ 2088139 w 2663946"/>
                <a:gd name="connsiteY1354" fmla="*/ 64386 h 348332"/>
                <a:gd name="connsiteX1355" fmla="*/ 2112934 w 2663946"/>
                <a:gd name="connsiteY1355" fmla="*/ 44177 h 348332"/>
                <a:gd name="connsiteX1356" fmla="*/ 1854966 w 2663946"/>
                <a:gd name="connsiteY1356" fmla="*/ 44177 h 348332"/>
                <a:gd name="connsiteX1357" fmla="*/ 1879762 w 2663946"/>
                <a:gd name="connsiteY1357" fmla="*/ 64386 h 348332"/>
                <a:gd name="connsiteX1358" fmla="*/ 1880241 w 2663946"/>
                <a:gd name="connsiteY1358" fmla="*/ 69144 h 348332"/>
                <a:gd name="connsiteX1359" fmla="*/ 1881660 w 2663946"/>
                <a:gd name="connsiteY1359" fmla="*/ 69144 h 348332"/>
                <a:gd name="connsiteX1360" fmla="*/ 1888113 w 2663946"/>
                <a:gd name="connsiteY1360" fmla="*/ 75430 h 348332"/>
                <a:gd name="connsiteX1361" fmla="*/ 1888113 w 2663946"/>
                <a:gd name="connsiteY1361" fmla="*/ 125152 h 348332"/>
                <a:gd name="connsiteX1362" fmla="*/ 1881660 w 2663946"/>
                <a:gd name="connsiteY1362" fmla="*/ 131438 h 348332"/>
                <a:gd name="connsiteX1363" fmla="*/ 1828273 w 2663946"/>
                <a:gd name="connsiteY1363" fmla="*/ 131438 h 348332"/>
                <a:gd name="connsiteX1364" fmla="*/ 1821819 w 2663946"/>
                <a:gd name="connsiteY1364" fmla="*/ 125152 h 348332"/>
                <a:gd name="connsiteX1365" fmla="*/ 1821819 w 2663946"/>
                <a:gd name="connsiteY1365" fmla="*/ 75430 h 348332"/>
                <a:gd name="connsiteX1366" fmla="*/ 1828273 w 2663946"/>
                <a:gd name="connsiteY1366" fmla="*/ 69144 h 348332"/>
                <a:gd name="connsiteX1367" fmla="*/ 1829107 w 2663946"/>
                <a:gd name="connsiteY1367" fmla="*/ 69144 h 348332"/>
                <a:gd name="connsiteX1368" fmla="*/ 1829691 w 2663946"/>
                <a:gd name="connsiteY1368" fmla="*/ 69144 h 348332"/>
                <a:gd name="connsiteX1369" fmla="*/ 1830171 w 2663946"/>
                <a:gd name="connsiteY1369" fmla="*/ 64386 h 348332"/>
                <a:gd name="connsiteX1370" fmla="*/ 1854966 w 2663946"/>
                <a:gd name="connsiteY1370" fmla="*/ 44177 h 348332"/>
                <a:gd name="connsiteX1371" fmla="*/ 1764027 w 2663946"/>
                <a:gd name="connsiteY1371" fmla="*/ 44177 h 348332"/>
                <a:gd name="connsiteX1372" fmla="*/ 1788823 w 2663946"/>
                <a:gd name="connsiteY1372" fmla="*/ 64386 h 348332"/>
                <a:gd name="connsiteX1373" fmla="*/ 1789302 w 2663946"/>
                <a:gd name="connsiteY1373" fmla="*/ 69144 h 348332"/>
                <a:gd name="connsiteX1374" fmla="*/ 1790721 w 2663946"/>
                <a:gd name="connsiteY1374" fmla="*/ 69144 h 348332"/>
                <a:gd name="connsiteX1375" fmla="*/ 1797174 w 2663946"/>
                <a:gd name="connsiteY1375" fmla="*/ 75430 h 348332"/>
                <a:gd name="connsiteX1376" fmla="*/ 1797174 w 2663946"/>
                <a:gd name="connsiteY1376" fmla="*/ 125152 h 348332"/>
                <a:gd name="connsiteX1377" fmla="*/ 1790721 w 2663946"/>
                <a:gd name="connsiteY1377" fmla="*/ 131438 h 348332"/>
                <a:gd name="connsiteX1378" fmla="*/ 1737333 w 2663946"/>
                <a:gd name="connsiteY1378" fmla="*/ 131438 h 348332"/>
                <a:gd name="connsiteX1379" fmla="*/ 1730880 w 2663946"/>
                <a:gd name="connsiteY1379" fmla="*/ 125152 h 348332"/>
                <a:gd name="connsiteX1380" fmla="*/ 1730880 w 2663946"/>
                <a:gd name="connsiteY1380" fmla="*/ 75430 h 348332"/>
                <a:gd name="connsiteX1381" fmla="*/ 1737333 w 2663946"/>
                <a:gd name="connsiteY1381" fmla="*/ 69144 h 348332"/>
                <a:gd name="connsiteX1382" fmla="*/ 1738168 w 2663946"/>
                <a:gd name="connsiteY1382" fmla="*/ 69144 h 348332"/>
                <a:gd name="connsiteX1383" fmla="*/ 1738752 w 2663946"/>
                <a:gd name="connsiteY1383" fmla="*/ 69144 h 348332"/>
                <a:gd name="connsiteX1384" fmla="*/ 1739232 w 2663946"/>
                <a:gd name="connsiteY1384" fmla="*/ 64386 h 348332"/>
                <a:gd name="connsiteX1385" fmla="*/ 1764027 w 2663946"/>
                <a:gd name="connsiteY1385" fmla="*/ 44177 h 348332"/>
                <a:gd name="connsiteX1386" fmla="*/ 1506059 w 2663946"/>
                <a:gd name="connsiteY1386" fmla="*/ 44177 h 348332"/>
                <a:gd name="connsiteX1387" fmla="*/ 1530855 w 2663946"/>
                <a:gd name="connsiteY1387" fmla="*/ 64386 h 348332"/>
                <a:gd name="connsiteX1388" fmla="*/ 1531334 w 2663946"/>
                <a:gd name="connsiteY1388" fmla="*/ 69144 h 348332"/>
                <a:gd name="connsiteX1389" fmla="*/ 1532753 w 2663946"/>
                <a:gd name="connsiteY1389" fmla="*/ 69144 h 348332"/>
                <a:gd name="connsiteX1390" fmla="*/ 1539206 w 2663946"/>
                <a:gd name="connsiteY1390" fmla="*/ 75430 h 348332"/>
                <a:gd name="connsiteX1391" fmla="*/ 1539206 w 2663946"/>
                <a:gd name="connsiteY1391" fmla="*/ 125152 h 348332"/>
                <a:gd name="connsiteX1392" fmla="*/ 1532753 w 2663946"/>
                <a:gd name="connsiteY1392" fmla="*/ 131438 h 348332"/>
                <a:gd name="connsiteX1393" fmla="*/ 1479365 w 2663946"/>
                <a:gd name="connsiteY1393" fmla="*/ 131438 h 348332"/>
                <a:gd name="connsiteX1394" fmla="*/ 1472912 w 2663946"/>
                <a:gd name="connsiteY1394" fmla="*/ 125152 h 348332"/>
                <a:gd name="connsiteX1395" fmla="*/ 1472912 w 2663946"/>
                <a:gd name="connsiteY1395" fmla="*/ 75430 h 348332"/>
                <a:gd name="connsiteX1396" fmla="*/ 1479365 w 2663946"/>
                <a:gd name="connsiteY1396" fmla="*/ 69144 h 348332"/>
                <a:gd name="connsiteX1397" fmla="*/ 1480200 w 2663946"/>
                <a:gd name="connsiteY1397" fmla="*/ 69144 h 348332"/>
                <a:gd name="connsiteX1398" fmla="*/ 1480784 w 2663946"/>
                <a:gd name="connsiteY1398" fmla="*/ 69144 h 348332"/>
                <a:gd name="connsiteX1399" fmla="*/ 1481264 w 2663946"/>
                <a:gd name="connsiteY1399" fmla="*/ 64386 h 348332"/>
                <a:gd name="connsiteX1400" fmla="*/ 1506059 w 2663946"/>
                <a:gd name="connsiteY1400" fmla="*/ 44177 h 348332"/>
                <a:gd name="connsiteX1401" fmla="*/ 1415120 w 2663946"/>
                <a:gd name="connsiteY1401" fmla="*/ 44177 h 348332"/>
                <a:gd name="connsiteX1402" fmla="*/ 1439916 w 2663946"/>
                <a:gd name="connsiteY1402" fmla="*/ 64386 h 348332"/>
                <a:gd name="connsiteX1403" fmla="*/ 1440395 w 2663946"/>
                <a:gd name="connsiteY1403" fmla="*/ 69144 h 348332"/>
                <a:gd name="connsiteX1404" fmla="*/ 1441814 w 2663946"/>
                <a:gd name="connsiteY1404" fmla="*/ 69144 h 348332"/>
                <a:gd name="connsiteX1405" fmla="*/ 1448267 w 2663946"/>
                <a:gd name="connsiteY1405" fmla="*/ 75430 h 348332"/>
                <a:gd name="connsiteX1406" fmla="*/ 1448267 w 2663946"/>
                <a:gd name="connsiteY1406" fmla="*/ 125152 h 348332"/>
                <a:gd name="connsiteX1407" fmla="*/ 1441814 w 2663946"/>
                <a:gd name="connsiteY1407" fmla="*/ 131438 h 348332"/>
                <a:gd name="connsiteX1408" fmla="*/ 1388426 w 2663946"/>
                <a:gd name="connsiteY1408" fmla="*/ 131438 h 348332"/>
                <a:gd name="connsiteX1409" fmla="*/ 1381973 w 2663946"/>
                <a:gd name="connsiteY1409" fmla="*/ 125152 h 348332"/>
                <a:gd name="connsiteX1410" fmla="*/ 1381973 w 2663946"/>
                <a:gd name="connsiteY1410" fmla="*/ 75430 h 348332"/>
                <a:gd name="connsiteX1411" fmla="*/ 1388426 w 2663946"/>
                <a:gd name="connsiteY1411" fmla="*/ 69144 h 348332"/>
                <a:gd name="connsiteX1412" fmla="*/ 1389261 w 2663946"/>
                <a:gd name="connsiteY1412" fmla="*/ 69144 h 348332"/>
                <a:gd name="connsiteX1413" fmla="*/ 1389845 w 2663946"/>
                <a:gd name="connsiteY1413" fmla="*/ 69144 h 348332"/>
                <a:gd name="connsiteX1414" fmla="*/ 1390325 w 2663946"/>
                <a:gd name="connsiteY1414" fmla="*/ 64386 h 348332"/>
                <a:gd name="connsiteX1415" fmla="*/ 1415120 w 2663946"/>
                <a:gd name="connsiteY1415" fmla="*/ 44177 h 348332"/>
                <a:gd name="connsiteX1416" fmla="*/ 1157152 w 2663946"/>
                <a:gd name="connsiteY1416" fmla="*/ 44177 h 348332"/>
                <a:gd name="connsiteX1417" fmla="*/ 1181948 w 2663946"/>
                <a:gd name="connsiteY1417" fmla="*/ 64386 h 348332"/>
                <a:gd name="connsiteX1418" fmla="*/ 1182427 w 2663946"/>
                <a:gd name="connsiteY1418" fmla="*/ 69144 h 348332"/>
                <a:gd name="connsiteX1419" fmla="*/ 1183846 w 2663946"/>
                <a:gd name="connsiteY1419" fmla="*/ 69144 h 348332"/>
                <a:gd name="connsiteX1420" fmla="*/ 1190299 w 2663946"/>
                <a:gd name="connsiteY1420" fmla="*/ 75430 h 348332"/>
                <a:gd name="connsiteX1421" fmla="*/ 1190299 w 2663946"/>
                <a:gd name="connsiteY1421" fmla="*/ 125152 h 348332"/>
                <a:gd name="connsiteX1422" fmla="*/ 1183846 w 2663946"/>
                <a:gd name="connsiteY1422" fmla="*/ 131438 h 348332"/>
                <a:gd name="connsiteX1423" fmla="*/ 1130458 w 2663946"/>
                <a:gd name="connsiteY1423" fmla="*/ 131438 h 348332"/>
                <a:gd name="connsiteX1424" fmla="*/ 1124005 w 2663946"/>
                <a:gd name="connsiteY1424" fmla="*/ 125152 h 348332"/>
                <a:gd name="connsiteX1425" fmla="*/ 1124005 w 2663946"/>
                <a:gd name="connsiteY1425" fmla="*/ 75430 h 348332"/>
                <a:gd name="connsiteX1426" fmla="*/ 1130458 w 2663946"/>
                <a:gd name="connsiteY1426" fmla="*/ 69144 h 348332"/>
                <a:gd name="connsiteX1427" fmla="*/ 1131293 w 2663946"/>
                <a:gd name="connsiteY1427" fmla="*/ 69144 h 348332"/>
                <a:gd name="connsiteX1428" fmla="*/ 1131877 w 2663946"/>
                <a:gd name="connsiteY1428" fmla="*/ 69144 h 348332"/>
                <a:gd name="connsiteX1429" fmla="*/ 1132357 w 2663946"/>
                <a:gd name="connsiteY1429" fmla="*/ 64386 h 348332"/>
                <a:gd name="connsiteX1430" fmla="*/ 1157152 w 2663946"/>
                <a:gd name="connsiteY1430" fmla="*/ 44177 h 348332"/>
                <a:gd name="connsiteX1431" fmla="*/ 732156 w 2663946"/>
                <a:gd name="connsiteY1431" fmla="*/ 44177 h 348332"/>
                <a:gd name="connsiteX1432" fmla="*/ 756951 w 2663946"/>
                <a:gd name="connsiteY1432" fmla="*/ 64386 h 348332"/>
                <a:gd name="connsiteX1433" fmla="*/ 757431 w 2663946"/>
                <a:gd name="connsiteY1433" fmla="*/ 69144 h 348332"/>
                <a:gd name="connsiteX1434" fmla="*/ 758849 w 2663946"/>
                <a:gd name="connsiteY1434" fmla="*/ 69144 h 348332"/>
                <a:gd name="connsiteX1435" fmla="*/ 765303 w 2663946"/>
                <a:gd name="connsiteY1435" fmla="*/ 75430 h 348332"/>
                <a:gd name="connsiteX1436" fmla="*/ 765303 w 2663946"/>
                <a:gd name="connsiteY1436" fmla="*/ 125152 h 348332"/>
                <a:gd name="connsiteX1437" fmla="*/ 758849 w 2663946"/>
                <a:gd name="connsiteY1437" fmla="*/ 131438 h 348332"/>
                <a:gd name="connsiteX1438" fmla="*/ 705462 w 2663946"/>
                <a:gd name="connsiteY1438" fmla="*/ 131438 h 348332"/>
                <a:gd name="connsiteX1439" fmla="*/ 699009 w 2663946"/>
                <a:gd name="connsiteY1439" fmla="*/ 125152 h 348332"/>
                <a:gd name="connsiteX1440" fmla="*/ 699009 w 2663946"/>
                <a:gd name="connsiteY1440" fmla="*/ 75430 h 348332"/>
                <a:gd name="connsiteX1441" fmla="*/ 705462 w 2663946"/>
                <a:gd name="connsiteY1441" fmla="*/ 69144 h 348332"/>
                <a:gd name="connsiteX1442" fmla="*/ 706296 w 2663946"/>
                <a:gd name="connsiteY1442" fmla="*/ 69144 h 348332"/>
                <a:gd name="connsiteX1443" fmla="*/ 706881 w 2663946"/>
                <a:gd name="connsiteY1443" fmla="*/ 69144 h 348332"/>
                <a:gd name="connsiteX1444" fmla="*/ 707360 w 2663946"/>
                <a:gd name="connsiteY1444" fmla="*/ 64386 h 348332"/>
                <a:gd name="connsiteX1445" fmla="*/ 732156 w 2663946"/>
                <a:gd name="connsiteY1445" fmla="*/ 44177 h 348332"/>
                <a:gd name="connsiteX1446" fmla="*/ 641217 w 2663946"/>
                <a:gd name="connsiteY1446" fmla="*/ 44177 h 348332"/>
                <a:gd name="connsiteX1447" fmla="*/ 666012 w 2663946"/>
                <a:gd name="connsiteY1447" fmla="*/ 64386 h 348332"/>
                <a:gd name="connsiteX1448" fmla="*/ 666492 w 2663946"/>
                <a:gd name="connsiteY1448" fmla="*/ 69144 h 348332"/>
                <a:gd name="connsiteX1449" fmla="*/ 667910 w 2663946"/>
                <a:gd name="connsiteY1449" fmla="*/ 69144 h 348332"/>
                <a:gd name="connsiteX1450" fmla="*/ 674364 w 2663946"/>
                <a:gd name="connsiteY1450" fmla="*/ 75430 h 348332"/>
                <a:gd name="connsiteX1451" fmla="*/ 674364 w 2663946"/>
                <a:gd name="connsiteY1451" fmla="*/ 125152 h 348332"/>
                <a:gd name="connsiteX1452" fmla="*/ 667910 w 2663946"/>
                <a:gd name="connsiteY1452" fmla="*/ 131438 h 348332"/>
                <a:gd name="connsiteX1453" fmla="*/ 614523 w 2663946"/>
                <a:gd name="connsiteY1453" fmla="*/ 131438 h 348332"/>
                <a:gd name="connsiteX1454" fmla="*/ 608070 w 2663946"/>
                <a:gd name="connsiteY1454" fmla="*/ 125152 h 348332"/>
                <a:gd name="connsiteX1455" fmla="*/ 608070 w 2663946"/>
                <a:gd name="connsiteY1455" fmla="*/ 75430 h 348332"/>
                <a:gd name="connsiteX1456" fmla="*/ 614523 w 2663946"/>
                <a:gd name="connsiteY1456" fmla="*/ 69144 h 348332"/>
                <a:gd name="connsiteX1457" fmla="*/ 615358 w 2663946"/>
                <a:gd name="connsiteY1457" fmla="*/ 69144 h 348332"/>
                <a:gd name="connsiteX1458" fmla="*/ 615942 w 2663946"/>
                <a:gd name="connsiteY1458" fmla="*/ 69144 h 348332"/>
                <a:gd name="connsiteX1459" fmla="*/ 616422 w 2663946"/>
                <a:gd name="connsiteY1459" fmla="*/ 64386 h 348332"/>
                <a:gd name="connsiteX1460" fmla="*/ 641217 w 2663946"/>
                <a:gd name="connsiteY1460" fmla="*/ 44177 h 348332"/>
                <a:gd name="connsiteX1461" fmla="*/ 459266 w 2663946"/>
                <a:gd name="connsiteY1461" fmla="*/ 44177 h 348332"/>
                <a:gd name="connsiteX1462" fmla="*/ 484061 w 2663946"/>
                <a:gd name="connsiteY1462" fmla="*/ 64386 h 348332"/>
                <a:gd name="connsiteX1463" fmla="*/ 484541 w 2663946"/>
                <a:gd name="connsiteY1463" fmla="*/ 69144 h 348332"/>
                <a:gd name="connsiteX1464" fmla="*/ 485959 w 2663946"/>
                <a:gd name="connsiteY1464" fmla="*/ 69144 h 348332"/>
                <a:gd name="connsiteX1465" fmla="*/ 492413 w 2663946"/>
                <a:gd name="connsiteY1465" fmla="*/ 75430 h 348332"/>
                <a:gd name="connsiteX1466" fmla="*/ 492413 w 2663946"/>
                <a:gd name="connsiteY1466" fmla="*/ 125152 h 348332"/>
                <a:gd name="connsiteX1467" fmla="*/ 485959 w 2663946"/>
                <a:gd name="connsiteY1467" fmla="*/ 131438 h 348332"/>
                <a:gd name="connsiteX1468" fmla="*/ 432572 w 2663946"/>
                <a:gd name="connsiteY1468" fmla="*/ 131438 h 348332"/>
                <a:gd name="connsiteX1469" fmla="*/ 426119 w 2663946"/>
                <a:gd name="connsiteY1469" fmla="*/ 125152 h 348332"/>
                <a:gd name="connsiteX1470" fmla="*/ 426119 w 2663946"/>
                <a:gd name="connsiteY1470" fmla="*/ 75430 h 348332"/>
                <a:gd name="connsiteX1471" fmla="*/ 432572 w 2663946"/>
                <a:gd name="connsiteY1471" fmla="*/ 69144 h 348332"/>
                <a:gd name="connsiteX1472" fmla="*/ 433406 w 2663946"/>
                <a:gd name="connsiteY1472" fmla="*/ 69144 h 348332"/>
                <a:gd name="connsiteX1473" fmla="*/ 433991 w 2663946"/>
                <a:gd name="connsiteY1473" fmla="*/ 69144 h 348332"/>
                <a:gd name="connsiteX1474" fmla="*/ 434470 w 2663946"/>
                <a:gd name="connsiteY1474" fmla="*/ 64386 h 348332"/>
                <a:gd name="connsiteX1475" fmla="*/ 459266 w 2663946"/>
                <a:gd name="connsiteY1475" fmla="*/ 44177 h 348332"/>
                <a:gd name="connsiteX1476" fmla="*/ 23587 w 2663946"/>
                <a:gd name="connsiteY1476" fmla="*/ 540 h 348332"/>
                <a:gd name="connsiteX1477" fmla="*/ 40350 w 2663946"/>
                <a:gd name="connsiteY1477" fmla="*/ 0 h 348332"/>
                <a:gd name="connsiteX1478" fmla="*/ 40891 w 2663946"/>
                <a:gd name="connsiteY1478" fmla="*/ 540 h 348332"/>
                <a:gd name="connsiteX1479" fmla="*/ 48191 w 2663946"/>
                <a:gd name="connsiteY1479" fmla="*/ 540 h 348332"/>
                <a:gd name="connsiteX1480" fmla="*/ 52247 w 2663946"/>
                <a:gd name="connsiteY1480" fmla="*/ 1622 h 348332"/>
                <a:gd name="connsiteX1481" fmla="*/ 56032 w 2663946"/>
                <a:gd name="connsiteY1481" fmla="*/ 8381 h 348332"/>
                <a:gd name="connsiteX1482" fmla="*/ 53328 w 2663946"/>
                <a:gd name="connsiteY1482" fmla="*/ 14059 h 348332"/>
                <a:gd name="connsiteX1483" fmla="*/ 49273 w 2663946"/>
                <a:gd name="connsiteY1483" fmla="*/ 15952 h 348332"/>
                <a:gd name="connsiteX1484" fmla="*/ 49002 w 2663946"/>
                <a:gd name="connsiteY1484" fmla="*/ 15952 h 348332"/>
                <a:gd name="connsiteX1485" fmla="*/ 48732 w 2663946"/>
                <a:gd name="connsiteY1485" fmla="*/ 15952 h 348332"/>
                <a:gd name="connsiteX1486" fmla="*/ 48191 w 2663946"/>
                <a:gd name="connsiteY1486" fmla="*/ 15952 h 348332"/>
                <a:gd name="connsiteX1487" fmla="*/ 16016 w 2663946"/>
                <a:gd name="connsiteY1487" fmla="*/ 15952 h 348332"/>
                <a:gd name="connsiteX1488" fmla="*/ 15475 w 2663946"/>
                <a:gd name="connsiteY1488" fmla="*/ 15952 h 348332"/>
                <a:gd name="connsiteX1489" fmla="*/ 14664 w 2663946"/>
                <a:gd name="connsiteY1489" fmla="*/ 15952 h 348332"/>
                <a:gd name="connsiteX1490" fmla="*/ 13853 w 2663946"/>
                <a:gd name="connsiteY1490" fmla="*/ 15682 h 348332"/>
                <a:gd name="connsiteX1491" fmla="*/ 10338 w 2663946"/>
                <a:gd name="connsiteY1491" fmla="*/ 13789 h 348332"/>
                <a:gd name="connsiteX1492" fmla="*/ 7905 w 2663946"/>
                <a:gd name="connsiteY1492" fmla="*/ 8111 h 348332"/>
                <a:gd name="connsiteX1493" fmla="*/ 10068 w 2663946"/>
                <a:gd name="connsiteY1493" fmla="*/ 2974 h 348332"/>
                <a:gd name="connsiteX1494" fmla="*/ 15746 w 2663946"/>
                <a:gd name="connsiteY1494" fmla="*/ 540 h 348332"/>
                <a:gd name="connsiteX1495" fmla="*/ 23587 w 2663946"/>
                <a:gd name="connsiteY1495" fmla="*/ 540 h 348332"/>
                <a:gd name="connsiteX0" fmla="*/ 2632966 w 2663946"/>
                <a:gd name="connsiteY0" fmla="*/ 287226 h 348332"/>
                <a:gd name="connsiteX1" fmla="*/ 2621414 w 2663946"/>
                <a:gd name="connsiteY1" fmla="*/ 289659 h 348332"/>
                <a:gd name="connsiteX2" fmla="*/ 2618218 w 2663946"/>
                <a:gd name="connsiteY2" fmla="*/ 293174 h 348332"/>
                <a:gd name="connsiteX3" fmla="*/ 2616006 w 2663946"/>
                <a:gd name="connsiteY3" fmla="*/ 296959 h 348332"/>
                <a:gd name="connsiteX4" fmla="*/ 2615023 w 2663946"/>
                <a:gd name="connsiteY4" fmla="*/ 299663 h 348332"/>
                <a:gd name="connsiteX5" fmla="*/ 2614039 w 2663946"/>
                <a:gd name="connsiteY5" fmla="*/ 303719 h 348332"/>
                <a:gd name="connsiteX6" fmla="*/ 2613056 w 2663946"/>
                <a:gd name="connsiteY6" fmla="*/ 310749 h 348332"/>
                <a:gd name="connsiteX7" fmla="*/ 2614039 w 2663946"/>
                <a:gd name="connsiteY7" fmla="*/ 318049 h 348332"/>
                <a:gd name="connsiteX8" fmla="*/ 2615269 w 2663946"/>
                <a:gd name="connsiteY8" fmla="*/ 321834 h 348332"/>
                <a:gd name="connsiteX9" fmla="*/ 2617481 w 2663946"/>
                <a:gd name="connsiteY9" fmla="*/ 326160 h 348332"/>
                <a:gd name="connsiteX10" fmla="*/ 2620922 w 2663946"/>
                <a:gd name="connsiteY10" fmla="*/ 330487 h 348332"/>
                <a:gd name="connsiteX11" fmla="*/ 2625346 w 2663946"/>
                <a:gd name="connsiteY11" fmla="*/ 333190 h 348332"/>
                <a:gd name="connsiteX12" fmla="*/ 2637637 w 2663946"/>
                <a:gd name="connsiteY12" fmla="*/ 330757 h 348332"/>
                <a:gd name="connsiteX13" fmla="*/ 2640832 w 2663946"/>
                <a:gd name="connsiteY13" fmla="*/ 327242 h 348332"/>
                <a:gd name="connsiteX14" fmla="*/ 2643290 w 2663946"/>
                <a:gd name="connsiteY14" fmla="*/ 322916 h 348332"/>
                <a:gd name="connsiteX15" fmla="*/ 2644273 w 2663946"/>
                <a:gd name="connsiteY15" fmla="*/ 320753 h 348332"/>
                <a:gd name="connsiteX16" fmla="*/ 2645502 w 2663946"/>
                <a:gd name="connsiteY16" fmla="*/ 316427 h 348332"/>
                <a:gd name="connsiteX17" fmla="*/ 2645011 w 2663946"/>
                <a:gd name="connsiteY17" fmla="*/ 302637 h 348332"/>
                <a:gd name="connsiteX18" fmla="*/ 2644027 w 2663946"/>
                <a:gd name="connsiteY18" fmla="*/ 299663 h 348332"/>
                <a:gd name="connsiteX19" fmla="*/ 2642799 w 2663946"/>
                <a:gd name="connsiteY19" fmla="*/ 296689 h 348332"/>
                <a:gd name="connsiteX20" fmla="*/ 2640586 w 2663946"/>
                <a:gd name="connsiteY20" fmla="*/ 293174 h 348332"/>
                <a:gd name="connsiteX21" fmla="*/ 2636899 w 2663946"/>
                <a:gd name="connsiteY21" fmla="*/ 289389 h 348332"/>
                <a:gd name="connsiteX22" fmla="*/ 2632966 w 2663946"/>
                <a:gd name="connsiteY22" fmla="*/ 287226 h 348332"/>
                <a:gd name="connsiteX23" fmla="*/ 2627559 w 2663946"/>
                <a:gd name="connsiteY23" fmla="*/ 271273 h 348332"/>
                <a:gd name="connsiteX24" fmla="*/ 2639849 w 2663946"/>
                <a:gd name="connsiteY24" fmla="*/ 273436 h 348332"/>
                <a:gd name="connsiteX25" fmla="*/ 2647223 w 2663946"/>
                <a:gd name="connsiteY25" fmla="*/ 278033 h 348332"/>
                <a:gd name="connsiteX26" fmla="*/ 2650664 w 2663946"/>
                <a:gd name="connsiteY26" fmla="*/ 281277 h 348332"/>
                <a:gd name="connsiteX27" fmla="*/ 2654106 w 2663946"/>
                <a:gd name="connsiteY27" fmla="*/ 285603 h 348332"/>
                <a:gd name="connsiteX28" fmla="*/ 2656072 w 2663946"/>
                <a:gd name="connsiteY28" fmla="*/ 289118 h 348332"/>
                <a:gd name="connsiteX29" fmla="*/ 2658284 w 2663946"/>
                <a:gd name="connsiteY29" fmla="*/ 294526 h 348332"/>
                <a:gd name="connsiteX30" fmla="*/ 2659267 w 2663946"/>
                <a:gd name="connsiteY30" fmla="*/ 298041 h 348332"/>
                <a:gd name="connsiteX31" fmla="*/ 2660251 w 2663946"/>
                <a:gd name="connsiteY31" fmla="*/ 303178 h 348332"/>
                <a:gd name="connsiteX32" fmla="*/ 2660005 w 2663946"/>
                <a:gd name="connsiteY32" fmla="*/ 317508 h 348332"/>
                <a:gd name="connsiteX33" fmla="*/ 2659022 w 2663946"/>
                <a:gd name="connsiteY33" fmla="*/ 322375 h 348332"/>
                <a:gd name="connsiteX34" fmla="*/ 2657792 w 2663946"/>
                <a:gd name="connsiteY34" fmla="*/ 326160 h 348332"/>
                <a:gd name="connsiteX35" fmla="*/ 2656809 w 2663946"/>
                <a:gd name="connsiteY35" fmla="*/ 328594 h 348332"/>
                <a:gd name="connsiteX36" fmla="*/ 2654597 w 2663946"/>
                <a:gd name="connsiteY36" fmla="*/ 332920 h 348332"/>
                <a:gd name="connsiteX37" fmla="*/ 2652385 w 2663946"/>
                <a:gd name="connsiteY37" fmla="*/ 336164 h 348332"/>
                <a:gd name="connsiteX38" fmla="*/ 2648944 w 2663946"/>
                <a:gd name="connsiteY38" fmla="*/ 339950 h 348332"/>
                <a:gd name="connsiteX39" fmla="*/ 2645748 w 2663946"/>
                <a:gd name="connsiteY39" fmla="*/ 342653 h 348332"/>
                <a:gd name="connsiteX40" fmla="*/ 2640095 w 2663946"/>
                <a:gd name="connsiteY40" fmla="*/ 345898 h 348332"/>
                <a:gd name="connsiteX41" fmla="*/ 2632229 w 2663946"/>
                <a:gd name="connsiteY41" fmla="*/ 348061 h 348332"/>
                <a:gd name="connsiteX42" fmla="*/ 2631000 w 2663946"/>
                <a:gd name="connsiteY42" fmla="*/ 348332 h 348332"/>
                <a:gd name="connsiteX43" fmla="*/ 2626821 w 2663946"/>
                <a:gd name="connsiteY43" fmla="*/ 348332 h 348332"/>
                <a:gd name="connsiteX44" fmla="*/ 2626576 w 2663946"/>
                <a:gd name="connsiteY44" fmla="*/ 348332 h 348332"/>
                <a:gd name="connsiteX45" fmla="*/ 2613548 w 2663946"/>
                <a:gd name="connsiteY45" fmla="*/ 343465 h 348332"/>
                <a:gd name="connsiteX46" fmla="*/ 2608878 w 2663946"/>
                <a:gd name="connsiteY46" fmla="*/ 339409 h 348332"/>
                <a:gd name="connsiteX47" fmla="*/ 2605682 w 2663946"/>
                <a:gd name="connsiteY47" fmla="*/ 335624 h 348332"/>
                <a:gd name="connsiteX48" fmla="*/ 2603470 w 2663946"/>
                <a:gd name="connsiteY48" fmla="*/ 332109 h 348332"/>
                <a:gd name="connsiteX49" fmla="*/ 2601258 w 2663946"/>
                <a:gd name="connsiteY49" fmla="*/ 327783 h 348332"/>
                <a:gd name="connsiteX50" fmla="*/ 2600029 w 2663946"/>
                <a:gd name="connsiteY50" fmla="*/ 324808 h 348332"/>
                <a:gd name="connsiteX51" fmla="*/ 2599046 w 2663946"/>
                <a:gd name="connsiteY51" fmla="*/ 321564 h 348332"/>
                <a:gd name="connsiteX52" fmla="*/ 2597816 w 2663946"/>
                <a:gd name="connsiteY52" fmla="*/ 315886 h 348332"/>
                <a:gd name="connsiteX53" fmla="*/ 2597571 w 2663946"/>
                <a:gd name="connsiteY53" fmla="*/ 312912 h 348332"/>
                <a:gd name="connsiteX54" fmla="*/ 2597816 w 2663946"/>
                <a:gd name="connsiteY54" fmla="*/ 313182 h 348332"/>
                <a:gd name="connsiteX55" fmla="*/ 2597816 w 2663946"/>
                <a:gd name="connsiteY55" fmla="*/ 307504 h 348332"/>
                <a:gd name="connsiteX56" fmla="*/ 2597816 w 2663946"/>
                <a:gd name="connsiteY56" fmla="*/ 307234 h 348332"/>
                <a:gd name="connsiteX57" fmla="*/ 2598308 w 2663946"/>
                <a:gd name="connsiteY57" fmla="*/ 302637 h 348332"/>
                <a:gd name="connsiteX58" fmla="*/ 2599537 w 2663946"/>
                <a:gd name="connsiteY58" fmla="*/ 297230 h 348332"/>
                <a:gd name="connsiteX59" fmla="*/ 2600520 w 2663946"/>
                <a:gd name="connsiteY59" fmla="*/ 293985 h 348332"/>
                <a:gd name="connsiteX60" fmla="*/ 2602732 w 2663946"/>
                <a:gd name="connsiteY60" fmla="*/ 288848 h 348332"/>
                <a:gd name="connsiteX61" fmla="*/ 2604945 w 2663946"/>
                <a:gd name="connsiteY61" fmla="*/ 285063 h 348332"/>
                <a:gd name="connsiteX62" fmla="*/ 2607157 w 2663946"/>
                <a:gd name="connsiteY62" fmla="*/ 282088 h 348332"/>
                <a:gd name="connsiteX63" fmla="*/ 2609369 w 2663946"/>
                <a:gd name="connsiteY63" fmla="*/ 279655 h 348332"/>
                <a:gd name="connsiteX64" fmla="*/ 2614039 w 2663946"/>
                <a:gd name="connsiteY64" fmla="*/ 275870 h 348332"/>
                <a:gd name="connsiteX65" fmla="*/ 2617972 w 2663946"/>
                <a:gd name="connsiteY65" fmla="*/ 273707 h 348332"/>
                <a:gd name="connsiteX66" fmla="*/ 2627559 w 2663946"/>
                <a:gd name="connsiteY66" fmla="*/ 271273 h 348332"/>
                <a:gd name="connsiteX67" fmla="*/ 2631061 w 2663946"/>
                <a:gd name="connsiteY67" fmla="*/ 207363 h 348332"/>
                <a:gd name="connsiteX68" fmla="*/ 2621591 w 2663946"/>
                <a:gd name="connsiteY68" fmla="*/ 216637 h 348332"/>
                <a:gd name="connsiteX69" fmla="*/ 2626545 w 2663946"/>
                <a:gd name="connsiteY69" fmla="*/ 224794 h 348332"/>
                <a:gd name="connsiteX70" fmla="*/ 2626545 w 2663946"/>
                <a:gd name="connsiteY70" fmla="*/ 233189 h 348332"/>
                <a:gd name="connsiteX71" fmla="*/ 2631061 w 2663946"/>
                <a:gd name="connsiteY71" fmla="*/ 237612 h 348332"/>
                <a:gd name="connsiteX72" fmla="*/ 2635578 w 2663946"/>
                <a:gd name="connsiteY72" fmla="*/ 233189 h 348332"/>
                <a:gd name="connsiteX73" fmla="*/ 2635578 w 2663946"/>
                <a:gd name="connsiteY73" fmla="*/ 224794 h 348332"/>
                <a:gd name="connsiteX74" fmla="*/ 2640532 w 2663946"/>
                <a:gd name="connsiteY74" fmla="*/ 216637 h 348332"/>
                <a:gd name="connsiteX75" fmla="*/ 2631061 w 2663946"/>
                <a:gd name="connsiteY75" fmla="*/ 207363 h 348332"/>
                <a:gd name="connsiteX76" fmla="*/ 2630799 w 2663946"/>
                <a:gd name="connsiteY76" fmla="*/ 168646 h 348332"/>
                <a:gd name="connsiteX77" fmla="*/ 2619139 w 2663946"/>
                <a:gd name="connsiteY77" fmla="*/ 176375 h 348332"/>
                <a:gd name="connsiteX78" fmla="*/ 2618214 w 2663946"/>
                <a:gd name="connsiteY78" fmla="*/ 180958 h 348332"/>
                <a:gd name="connsiteX79" fmla="*/ 2621454 w 2663946"/>
                <a:gd name="connsiteY79" fmla="*/ 180958 h 348332"/>
                <a:gd name="connsiteX80" fmla="*/ 2639871 w 2663946"/>
                <a:gd name="connsiteY80" fmla="*/ 180958 h 348332"/>
                <a:gd name="connsiteX81" fmla="*/ 2643385 w 2663946"/>
                <a:gd name="connsiteY81" fmla="*/ 180958 h 348332"/>
                <a:gd name="connsiteX82" fmla="*/ 2642460 w 2663946"/>
                <a:gd name="connsiteY82" fmla="*/ 176375 h 348332"/>
                <a:gd name="connsiteX83" fmla="*/ 2630799 w 2663946"/>
                <a:gd name="connsiteY83" fmla="*/ 168646 h 348332"/>
                <a:gd name="connsiteX84" fmla="*/ 2630799 w 2663946"/>
                <a:gd name="connsiteY84" fmla="*/ 155991 h 348332"/>
                <a:gd name="connsiteX85" fmla="*/ 2655595 w 2663946"/>
                <a:gd name="connsiteY85" fmla="*/ 176200 h 348332"/>
                <a:gd name="connsiteX86" fmla="*/ 2656074 w 2663946"/>
                <a:gd name="connsiteY86" fmla="*/ 180958 h 348332"/>
                <a:gd name="connsiteX87" fmla="*/ 2657493 w 2663946"/>
                <a:gd name="connsiteY87" fmla="*/ 180958 h 348332"/>
                <a:gd name="connsiteX88" fmla="*/ 2663946 w 2663946"/>
                <a:gd name="connsiteY88" fmla="*/ 187244 h 348332"/>
                <a:gd name="connsiteX89" fmla="*/ 2663946 w 2663946"/>
                <a:gd name="connsiteY89" fmla="*/ 236966 h 348332"/>
                <a:gd name="connsiteX90" fmla="*/ 2657493 w 2663946"/>
                <a:gd name="connsiteY90" fmla="*/ 243252 h 348332"/>
                <a:gd name="connsiteX91" fmla="*/ 2604106 w 2663946"/>
                <a:gd name="connsiteY91" fmla="*/ 243252 h 348332"/>
                <a:gd name="connsiteX92" fmla="*/ 2597652 w 2663946"/>
                <a:gd name="connsiteY92" fmla="*/ 236966 h 348332"/>
                <a:gd name="connsiteX93" fmla="*/ 2597652 w 2663946"/>
                <a:gd name="connsiteY93" fmla="*/ 187244 h 348332"/>
                <a:gd name="connsiteX94" fmla="*/ 2604106 w 2663946"/>
                <a:gd name="connsiteY94" fmla="*/ 180958 h 348332"/>
                <a:gd name="connsiteX95" fmla="*/ 2604940 w 2663946"/>
                <a:gd name="connsiteY95" fmla="*/ 180958 h 348332"/>
                <a:gd name="connsiteX96" fmla="*/ 2605524 w 2663946"/>
                <a:gd name="connsiteY96" fmla="*/ 180958 h 348332"/>
                <a:gd name="connsiteX97" fmla="*/ 2606004 w 2663946"/>
                <a:gd name="connsiteY97" fmla="*/ 176200 h 348332"/>
                <a:gd name="connsiteX98" fmla="*/ 2630799 w 2663946"/>
                <a:gd name="connsiteY98" fmla="*/ 155991 h 348332"/>
                <a:gd name="connsiteX99" fmla="*/ 33409 w 2663946"/>
                <a:gd name="connsiteY99" fmla="*/ 103137 h 348332"/>
                <a:gd name="connsiteX100" fmla="*/ 23938 w 2663946"/>
                <a:gd name="connsiteY100" fmla="*/ 112411 h 348332"/>
                <a:gd name="connsiteX101" fmla="*/ 28892 w 2663946"/>
                <a:gd name="connsiteY101" fmla="*/ 120568 h 348332"/>
                <a:gd name="connsiteX102" fmla="*/ 28892 w 2663946"/>
                <a:gd name="connsiteY102" fmla="*/ 128963 h 348332"/>
                <a:gd name="connsiteX103" fmla="*/ 33409 w 2663946"/>
                <a:gd name="connsiteY103" fmla="*/ 133386 h 348332"/>
                <a:gd name="connsiteX104" fmla="*/ 37926 w 2663946"/>
                <a:gd name="connsiteY104" fmla="*/ 128963 h 348332"/>
                <a:gd name="connsiteX105" fmla="*/ 37926 w 2663946"/>
                <a:gd name="connsiteY105" fmla="*/ 120568 h 348332"/>
                <a:gd name="connsiteX106" fmla="*/ 42880 w 2663946"/>
                <a:gd name="connsiteY106" fmla="*/ 112411 h 348332"/>
                <a:gd name="connsiteX107" fmla="*/ 33409 w 2663946"/>
                <a:gd name="connsiteY107" fmla="*/ 103137 h 348332"/>
                <a:gd name="connsiteX108" fmla="*/ 2538193 w 2663946"/>
                <a:gd name="connsiteY108" fmla="*/ 95549 h 348332"/>
                <a:gd name="connsiteX109" fmla="*/ 2528723 w 2663946"/>
                <a:gd name="connsiteY109" fmla="*/ 104823 h 348332"/>
                <a:gd name="connsiteX110" fmla="*/ 2533677 w 2663946"/>
                <a:gd name="connsiteY110" fmla="*/ 112980 h 348332"/>
                <a:gd name="connsiteX111" fmla="*/ 2533677 w 2663946"/>
                <a:gd name="connsiteY111" fmla="*/ 121375 h 348332"/>
                <a:gd name="connsiteX112" fmla="*/ 2538193 w 2663946"/>
                <a:gd name="connsiteY112" fmla="*/ 125798 h 348332"/>
                <a:gd name="connsiteX113" fmla="*/ 2542710 w 2663946"/>
                <a:gd name="connsiteY113" fmla="*/ 121375 h 348332"/>
                <a:gd name="connsiteX114" fmla="*/ 2542710 w 2663946"/>
                <a:gd name="connsiteY114" fmla="*/ 112980 h 348332"/>
                <a:gd name="connsiteX115" fmla="*/ 2547664 w 2663946"/>
                <a:gd name="connsiteY115" fmla="*/ 104823 h 348332"/>
                <a:gd name="connsiteX116" fmla="*/ 2538193 w 2663946"/>
                <a:gd name="connsiteY116" fmla="*/ 95549 h 348332"/>
                <a:gd name="connsiteX117" fmla="*/ 2113196 w 2663946"/>
                <a:gd name="connsiteY117" fmla="*/ 95549 h 348332"/>
                <a:gd name="connsiteX118" fmla="*/ 2103726 w 2663946"/>
                <a:gd name="connsiteY118" fmla="*/ 104823 h 348332"/>
                <a:gd name="connsiteX119" fmla="*/ 2108680 w 2663946"/>
                <a:gd name="connsiteY119" fmla="*/ 112980 h 348332"/>
                <a:gd name="connsiteX120" fmla="*/ 2108680 w 2663946"/>
                <a:gd name="connsiteY120" fmla="*/ 121375 h 348332"/>
                <a:gd name="connsiteX121" fmla="*/ 2113196 w 2663946"/>
                <a:gd name="connsiteY121" fmla="*/ 125798 h 348332"/>
                <a:gd name="connsiteX122" fmla="*/ 2117713 w 2663946"/>
                <a:gd name="connsiteY122" fmla="*/ 121375 h 348332"/>
                <a:gd name="connsiteX123" fmla="*/ 2117713 w 2663946"/>
                <a:gd name="connsiteY123" fmla="*/ 112980 h 348332"/>
                <a:gd name="connsiteX124" fmla="*/ 2122667 w 2663946"/>
                <a:gd name="connsiteY124" fmla="*/ 104823 h 348332"/>
                <a:gd name="connsiteX125" fmla="*/ 2113196 w 2663946"/>
                <a:gd name="connsiteY125" fmla="*/ 95549 h 348332"/>
                <a:gd name="connsiteX126" fmla="*/ 1855228 w 2663946"/>
                <a:gd name="connsiteY126" fmla="*/ 95549 h 348332"/>
                <a:gd name="connsiteX127" fmla="*/ 1845758 w 2663946"/>
                <a:gd name="connsiteY127" fmla="*/ 104823 h 348332"/>
                <a:gd name="connsiteX128" fmla="*/ 1850712 w 2663946"/>
                <a:gd name="connsiteY128" fmla="*/ 112980 h 348332"/>
                <a:gd name="connsiteX129" fmla="*/ 1850712 w 2663946"/>
                <a:gd name="connsiteY129" fmla="*/ 121375 h 348332"/>
                <a:gd name="connsiteX130" fmla="*/ 1855228 w 2663946"/>
                <a:gd name="connsiteY130" fmla="*/ 125798 h 348332"/>
                <a:gd name="connsiteX131" fmla="*/ 1859745 w 2663946"/>
                <a:gd name="connsiteY131" fmla="*/ 121375 h 348332"/>
                <a:gd name="connsiteX132" fmla="*/ 1859745 w 2663946"/>
                <a:gd name="connsiteY132" fmla="*/ 112980 h 348332"/>
                <a:gd name="connsiteX133" fmla="*/ 1864699 w 2663946"/>
                <a:gd name="connsiteY133" fmla="*/ 104823 h 348332"/>
                <a:gd name="connsiteX134" fmla="*/ 1855228 w 2663946"/>
                <a:gd name="connsiteY134" fmla="*/ 95549 h 348332"/>
                <a:gd name="connsiteX135" fmla="*/ 1764289 w 2663946"/>
                <a:gd name="connsiteY135" fmla="*/ 95549 h 348332"/>
                <a:gd name="connsiteX136" fmla="*/ 1754819 w 2663946"/>
                <a:gd name="connsiteY136" fmla="*/ 104823 h 348332"/>
                <a:gd name="connsiteX137" fmla="*/ 1759773 w 2663946"/>
                <a:gd name="connsiteY137" fmla="*/ 112980 h 348332"/>
                <a:gd name="connsiteX138" fmla="*/ 1759773 w 2663946"/>
                <a:gd name="connsiteY138" fmla="*/ 121375 h 348332"/>
                <a:gd name="connsiteX139" fmla="*/ 1764289 w 2663946"/>
                <a:gd name="connsiteY139" fmla="*/ 125798 h 348332"/>
                <a:gd name="connsiteX140" fmla="*/ 1768806 w 2663946"/>
                <a:gd name="connsiteY140" fmla="*/ 121375 h 348332"/>
                <a:gd name="connsiteX141" fmla="*/ 1768806 w 2663946"/>
                <a:gd name="connsiteY141" fmla="*/ 112980 h 348332"/>
                <a:gd name="connsiteX142" fmla="*/ 1773760 w 2663946"/>
                <a:gd name="connsiteY142" fmla="*/ 104823 h 348332"/>
                <a:gd name="connsiteX143" fmla="*/ 1764289 w 2663946"/>
                <a:gd name="connsiteY143" fmla="*/ 95549 h 348332"/>
                <a:gd name="connsiteX144" fmla="*/ 1506321 w 2663946"/>
                <a:gd name="connsiteY144" fmla="*/ 95549 h 348332"/>
                <a:gd name="connsiteX145" fmla="*/ 1496851 w 2663946"/>
                <a:gd name="connsiteY145" fmla="*/ 104823 h 348332"/>
                <a:gd name="connsiteX146" fmla="*/ 1501805 w 2663946"/>
                <a:gd name="connsiteY146" fmla="*/ 112980 h 348332"/>
                <a:gd name="connsiteX147" fmla="*/ 1501805 w 2663946"/>
                <a:gd name="connsiteY147" fmla="*/ 121375 h 348332"/>
                <a:gd name="connsiteX148" fmla="*/ 1506321 w 2663946"/>
                <a:gd name="connsiteY148" fmla="*/ 125798 h 348332"/>
                <a:gd name="connsiteX149" fmla="*/ 1510838 w 2663946"/>
                <a:gd name="connsiteY149" fmla="*/ 121375 h 348332"/>
                <a:gd name="connsiteX150" fmla="*/ 1510838 w 2663946"/>
                <a:gd name="connsiteY150" fmla="*/ 112980 h 348332"/>
                <a:gd name="connsiteX151" fmla="*/ 1515792 w 2663946"/>
                <a:gd name="connsiteY151" fmla="*/ 104823 h 348332"/>
                <a:gd name="connsiteX152" fmla="*/ 1506321 w 2663946"/>
                <a:gd name="connsiteY152" fmla="*/ 95549 h 348332"/>
                <a:gd name="connsiteX153" fmla="*/ 1415382 w 2663946"/>
                <a:gd name="connsiteY153" fmla="*/ 95549 h 348332"/>
                <a:gd name="connsiteX154" fmla="*/ 1405912 w 2663946"/>
                <a:gd name="connsiteY154" fmla="*/ 104823 h 348332"/>
                <a:gd name="connsiteX155" fmla="*/ 1410866 w 2663946"/>
                <a:gd name="connsiteY155" fmla="*/ 112980 h 348332"/>
                <a:gd name="connsiteX156" fmla="*/ 1410866 w 2663946"/>
                <a:gd name="connsiteY156" fmla="*/ 121375 h 348332"/>
                <a:gd name="connsiteX157" fmla="*/ 1415382 w 2663946"/>
                <a:gd name="connsiteY157" fmla="*/ 125798 h 348332"/>
                <a:gd name="connsiteX158" fmla="*/ 1419899 w 2663946"/>
                <a:gd name="connsiteY158" fmla="*/ 121375 h 348332"/>
                <a:gd name="connsiteX159" fmla="*/ 1419899 w 2663946"/>
                <a:gd name="connsiteY159" fmla="*/ 112980 h 348332"/>
                <a:gd name="connsiteX160" fmla="*/ 1424853 w 2663946"/>
                <a:gd name="connsiteY160" fmla="*/ 104823 h 348332"/>
                <a:gd name="connsiteX161" fmla="*/ 1415382 w 2663946"/>
                <a:gd name="connsiteY161" fmla="*/ 95549 h 348332"/>
                <a:gd name="connsiteX162" fmla="*/ 1157414 w 2663946"/>
                <a:gd name="connsiteY162" fmla="*/ 95549 h 348332"/>
                <a:gd name="connsiteX163" fmla="*/ 1147944 w 2663946"/>
                <a:gd name="connsiteY163" fmla="*/ 104823 h 348332"/>
                <a:gd name="connsiteX164" fmla="*/ 1152898 w 2663946"/>
                <a:gd name="connsiteY164" fmla="*/ 112980 h 348332"/>
                <a:gd name="connsiteX165" fmla="*/ 1152898 w 2663946"/>
                <a:gd name="connsiteY165" fmla="*/ 121375 h 348332"/>
                <a:gd name="connsiteX166" fmla="*/ 1157414 w 2663946"/>
                <a:gd name="connsiteY166" fmla="*/ 125798 h 348332"/>
                <a:gd name="connsiteX167" fmla="*/ 1161931 w 2663946"/>
                <a:gd name="connsiteY167" fmla="*/ 121375 h 348332"/>
                <a:gd name="connsiteX168" fmla="*/ 1161931 w 2663946"/>
                <a:gd name="connsiteY168" fmla="*/ 112980 h 348332"/>
                <a:gd name="connsiteX169" fmla="*/ 1166885 w 2663946"/>
                <a:gd name="connsiteY169" fmla="*/ 104823 h 348332"/>
                <a:gd name="connsiteX170" fmla="*/ 1157414 w 2663946"/>
                <a:gd name="connsiteY170" fmla="*/ 95549 h 348332"/>
                <a:gd name="connsiteX171" fmla="*/ 732418 w 2663946"/>
                <a:gd name="connsiteY171" fmla="*/ 95549 h 348332"/>
                <a:gd name="connsiteX172" fmla="*/ 722947 w 2663946"/>
                <a:gd name="connsiteY172" fmla="*/ 104823 h 348332"/>
                <a:gd name="connsiteX173" fmla="*/ 727901 w 2663946"/>
                <a:gd name="connsiteY173" fmla="*/ 112980 h 348332"/>
                <a:gd name="connsiteX174" fmla="*/ 727901 w 2663946"/>
                <a:gd name="connsiteY174" fmla="*/ 121375 h 348332"/>
                <a:gd name="connsiteX175" fmla="*/ 732418 w 2663946"/>
                <a:gd name="connsiteY175" fmla="*/ 125798 h 348332"/>
                <a:gd name="connsiteX176" fmla="*/ 736935 w 2663946"/>
                <a:gd name="connsiteY176" fmla="*/ 121375 h 348332"/>
                <a:gd name="connsiteX177" fmla="*/ 736935 w 2663946"/>
                <a:gd name="connsiteY177" fmla="*/ 112980 h 348332"/>
                <a:gd name="connsiteX178" fmla="*/ 741889 w 2663946"/>
                <a:gd name="connsiteY178" fmla="*/ 104823 h 348332"/>
                <a:gd name="connsiteX179" fmla="*/ 732418 w 2663946"/>
                <a:gd name="connsiteY179" fmla="*/ 95549 h 348332"/>
                <a:gd name="connsiteX180" fmla="*/ 641479 w 2663946"/>
                <a:gd name="connsiteY180" fmla="*/ 95549 h 348332"/>
                <a:gd name="connsiteX181" fmla="*/ 632008 w 2663946"/>
                <a:gd name="connsiteY181" fmla="*/ 104823 h 348332"/>
                <a:gd name="connsiteX182" fmla="*/ 636962 w 2663946"/>
                <a:gd name="connsiteY182" fmla="*/ 112980 h 348332"/>
                <a:gd name="connsiteX183" fmla="*/ 636962 w 2663946"/>
                <a:gd name="connsiteY183" fmla="*/ 121375 h 348332"/>
                <a:gd name="connsiteX184" fmla="*/ 641479 w 2663946"/>
                <a:gd name="connsiteY184" fmla="*/ 125798 h 348332"/>
                <a:gd name="connsiteX185" fmla="*/ 645996 w 2663946"/>
                <a:gd name="connsiteY185" fmla="*/ 121375 h 348332"/>
                <a:gd name="connsiteX186" fmla="*/ 645996 w 2663946"/>
                <a:gd name="connsiteY186" fmla="*/ 112980 h 348332"/>
                <a:gd name="connsiteX187" fmla="*/ 650950 w 2663946"/>
                <a:gd name="connsiteY187" fmla="*/ 104823 h 348332"/>
                <a:gd name="connsiteX188" fmla="*/ 641479 w 2663946"/>
                <a:gd name="connsiteY188" fmla="*/ 95549 h 348332"/>
                <a:gd name="connsiteX189" fmla="*/ 459528 w 2663946"/>
                <a:gd name="connsiteY189" fmla="*/ 95549 h 348332"/>
                <a:gd name="connsiteX190" fmla="*/ 450057 w 2663946"/>
                <a:gd name="connsiteY190" fmla="*/ 104823 h 348332"/>
                <a:gd name="connsiteX191" fmla="*/ 455011 w 2663946"/>
                <a:gd name="connsiteY191" fmla="*/ 112980 h 348332"/>
                <a:gd name="connsiteX192" fmla="*/ 455011 w 2663946"/>
                <a:gd name="connsiteY192" fmla="*/ 121375 h 348332"/>
                <a:gd name="connsiteX193" fmla="*/ 459528 w 2663946"/>
                <a:gd name="connsiteY193" fmla="*/ 125798 h 348332"/>
                <a:gd name="connsiteX194" fmla="*/ 464045 w 2663946"/>
                <a:gd name="connsiteY194" fmla="*/ 121375 h 348332"/>
                <a:gd name="connsiteX195" fmla="*/ 464045 w 2663946"/>
                <a:gd name="connsiteY195" fmla="*/ 112980 h 348332"/>
                <a:gd name="connsiteX196" fmla="*/ 468999 w 2663946"/>
                <a:gd name="connsiteY196" fmla="*/ 104823 h 348332"/>
                <a:gd name="connsiteX197" fmla="*/ 459528 w 2663946"/>
                <a:gd name="connsiteY197" fmla="*/ 95549 h 348332"/>
                <a:gd name="connsiteX198" fmla="*/ 2632966 w 2663946"/>
                <a:gd name="connsiteY198" fmla="*/ 68356 h 348332"/>
                <a:gd name="connsiteX199" fmla="*/ 2621414 w 2663946"/>
                <a:gd name="connsiteY199" fmla="*/ 70789 h 348332"/>
                <a:gd name="connsiteX200" fmla="*/ 2618218 w 2663946"/>
                <a:gd name="connsiteY200" fmla="*/ 74304 h 348332"/>
                <a:gd name="connsiteX201" fmla="*/ 2616006 w 2663946"/>
                <a:gd name="connsiteY201" fmla="*/ 78089 h 348332"/>
                <a:gd name="connsiteX202" fmla="*/ 2615023 w 2663946"/>
                <a:gd name="connsiteY202" fmla="*/ 80793 h 348332"/>
                <a:gd name="connsiteX203" fmla="*/ 2614039 w 2663946"/>
                <a:gd name="connsiteY203" fmla="*/ 84849 h 348332"/>
                <a:gd name="connsiteX204" fmla="*/ 2613056 w 2663946"/>
                <a:gd name="connsiteY204" fmla="*/ 91879 h 348332"/>
                <a:gd name="connsiteX205" fmla="*/ 2614039 w 2663946"/>
                <a:gd name="connsiteY205" fmla="*/ 99179 h 348332"/>
                <a:gd name="connsiteX206" fmla="*/ 2615269 w 2663946"/>
                <a:gd name="connsiteY206" fmla="*/ 102964 h 348332"/>
                <a:gd name="connsiteX207" fmla="*/ 2617481 w 2663946"/>
                <a:gd name="connsiteY207" fmla="*/ 107290 h 348332"/>
                <a:gd name="connsiteX208" fmla="*/ 2620922 w 2663946"/>
                <a:gd name="connsiteY208" fmla="*/ 111617 h 348332"/>
                <a:gd name="connsiteX209" fmla="*/ 2625346 w 2663946"/>
                <a:gd name="connsiteY209" fmla="*/ 114320 h 348332"/>
                <a:gd name="connsiteX210" fmla="*/ 2637637 w 2663946"/>
                <a:gd name="connsiteY210" fmla="*/ 111887 h 348332"/>
                <a:gd name="connsiteX211" fmla="*/ 2640832 w 2663946"/>
                <a:gd name="connsiteY211" fmla="*/ 108372 h 348332"/>
                <a:gd name="connsiteX212" fmla="*/ 2643290 w 2663946"/>
                <a:gd name="connsiteY212" fmla="*/ 104046 h 348332"/>
                <a:gd name="connsiteX213" fmla="*/ 2644273 w 2663946"/>
                <a:gd name="connsiteY213" fmla="*/ 101883 h 348332"/>
                <a:gd name="connsiteX214" fmla="*/ 2645502 w 2663946"/>
                <a:gd name="connsiteY214" fmla="*/ 97557 h 348332"/>
                <a:gd name="connsiteX215" fmla="*/ 2645011 w 2663946"/>
                <a:gd name="connsiteY215" fmla="*/ 83767 h 348332"/>
                <a:gd name="connsiteX216" fmla="*/ 2644027 w 2663946"/>
                <a:gd name="connsiteY216" fmla="*/ 80793 h 348332"/>
                <a:gd name="connsiteX217" fmla="*/ 2642799 w 2663946"/>
                <a:gd name="connsiteY217" fmla="*/ 77819 h 348332"/>
                <a:gd name="connsiteX218" fmla="*/ 2640586 w 2663946"/>
                <a:gd name="connsiteY218" fmla="*/ 74304 h 348332"/>
                <a:gd name="connsiteX219" fmla="*/ 2636899 w 2663946"/>
                <a:gd name="connsiteY219" fmla="*/ 70519 h 348332"/>
                <a:gd name="connsiteX220" fmla="*/ 2632966 w 2663946"/>
                <a:gd name="connsiteY220" fmla="*/ 68356 h 348332"/>
                <a:gd name="connsiteX221" fmla="*/ 2451011 w 2663946"/>
                <a:gd name="connsiteY221" fmla="*/ 68356 h 348332"/>
                <a:gd name="connsiteX222" fmla="*/ 2439459 w 2663946"/>
                <a:gd name="connsiteY222" fmla="*/ 70789 h 348332"/>
                <a:gd name="connsiteX223" fmla="*/ 2436263 w 2663946"/>
                <a:gd name="connsiteY223" fmla="*/ 74304 h 348332"/>
                <a:gd name="connsiteX224" fmla="*/ 2434051 w 2663946"/>
                <a:gd name="connsiteY224" fmla="*/ 78089 h 348332"/>
                <a:gd name="connsiteX225" fmla="*/ 2433068 w 2663946"/>
                <a:gd name="connsiteY225" fmla="*/ 80793 h 348332"/>
                <a:gd name="connsiteX226" fmla="*/ 2432084 w 2663946"/>
                <a:gd name="connsiteY226" fmla="*/ 84849 h 348332"/>
                <a:gd name="connsiteX227" fmla="*/ 2431101 w 2663946"/>
                <a:gd name="connsiteY227" fmla="*/ 91879 h 348332"/>
                <a:gd name="connsiteX228" fmla="*/ 2432084 w 2663946"/>
                <a:gd name="connsiteY228" fmla="*/ 99179 h 348332"/>
                <a:gd name="connsiteX229" fmla="*/ 2433314 w 2663946"/>
                <a:gd name="connsiteY229" fmla="*/ 102964 h 348332"/>
                <a:gd name="connsiteX230" fmla="*/ 2435526 w 2663946"/>
                <a:gd name="connsiteY230" fmla="*/ 107290 h 348332"/>
                <a:gd name="connsiteX231" fmla="*/ 2438967 w 2663946"/>
                <a:gd name="connsiteY231" fmla="*/ 111617 h 348332"/>
                <a:gd name="connsiteX232" fmla="*/ 2443391 w 2663946"/>
                <a:gd name="connsiteY232" fmla="*/ 114320 h 348332"/>
                <a:gd name="connsiteX233" fmla="*/ 2455682 w 2663946"/>
                <a:gd name="connsiteY233" fmla="*/ 111887 h 348332"/>
                <a:gd name="connsiteX234" fmla="*/ 2458877 w 2663946"/>
                <a:gd name="connsiteY234" fmla="*/ 108372 h 348332"/>
                <a:gd name="connsiteX235" fmla="*/ 2461335 w 2663946"/>
                <a:gd name="connsiteY235" fmla="*/ 104046 h 348332"/>
                <a:gd name="connsiteX236" fmla="*/ 2462318 w 2663946"/>
                <a:gd name="connsiteY236" fmla="*/ 101883 h 348332"/>
                <a:gd name="connsiteX237" fmla="*/ 2463547 w 2663946"/>
                <a:gd name="connsiteY237" fmla="*/ 97557 h 348332"/>
                <a:gd name="connsiteX238" fmla="*/ 2463056 w 2663946"/>
                <a:gd name="connsiteY238" fmla="*/ 83767 h 348332"/>
                <a:gd name="connsiteX239" fmla="*/ 2462072 w 2663946"/>
                <a:gd name="connsiteY239" fmla="*/ 80793 h 348332"/>
                <a:gd name="connsiteX240" fmla="*/ 2460844 w 2663946"/>
                <a:gd name="connsiteY240" fmla="*/ 77819 h 348332"/>
                <a:gd name="connsiteX241" fmla="*/ 2458631 w 2663946"/>
                <a:gd name="connsiteY241" fmla="*/ 74304 h 348332"/>
                <a:gd name="connsiteX242" fmla="*/ 2454944 w 2663946"/>
                <a:gd name="connsiteY242" fmla="*/ 70519 h 348332"/>
                <a:gd name="connsiteX243" fmla="*/ 2451011 w 2663946"/>
                <a:gd name="connsiteY243" fmla="*/ 68356 h 348332"/>
                <a:gd name="connsiteX244" fmla="*/ 2207965 w 2663946"/>
                <a:gd name="connsiteY244" fmla="*/ 68356 h 348332"/>
                <a:gd name="connsiteX245" fmla="*/ 2196413 w 2663946"/>
                <a:gd name="connsiteY245" fmla="*/ 70789 h 348332"/>
                <a:gd name="connsiteX246" fmla="*/ 2193217 w 2663946"/>
                <a:gd name="connsiteY246" fmla="*/ 74304 h 348332"/>
                <a:gd name="connsiteX247" fmla="*/ 2191005 w 2663946"/>
                <a:gd name="connsiteY247" fmla="*/ 78089 h 348332"/>
                <a:gd name="connsiteX248" fmla="*/ 2190022 w 2663946"/>
                <a:gd name="connsiteY248" fmla="*/ 80793 h 348332"/>
                <a:gd name="connsiteX249" fmla="*/ 2189038 w 2663946"/>
                <a:gd name="connsiteY249" fmla="*/ 84849 h 348332"/>
                <a:gd name="connsiteX250" fmla="*/ 2188055 w 2663946"/>
                <a:gd name="connsiteY250" fmla="*/ 91879 h 348332"/>
                <a:gd name="connsiteX251" fmla="*/ 2189038 w 2663946"/>
                <a:gd name="connsiteY251" fmla="*/ 99179 h 348332"/>
                <a:gd name="connsiteX252" fmla="*/ 2190268 w 2663946"/>
                <a:gd name="connsiteY252" fmla="*/ 102964 h 348332"/>
                <a:gd name="connsiteX253" fmla="*/ 2192480 w 2663946"/>
                <a:gd name="connsiteY253" fmla="*/ 107290 h 348332"/>
                <a:gd name="connsiteX254" fmla="*/ 2195921 w 2663946"/>
                <a:gd name="connsiteY254" fmla="*/ 111617 h 348332"/>
                <a:gd name="connsiteX255" fmla="*/ 2200345 w 2663946"/>
                <a:gd name="connsiteY255" fmla="*/ 114320 h 348332"/>
                <a:gd name="connsiteX256" fmla="*/ 2212636 w 2663946"/>
                <a:gd name="connsiteY256" fmla="*/ 111887 h 348332"/>
                <a:gd name="connsiteX257" fmla="*/ 2215831 w 2663946"/>
                <a:gd name="connsiteY257" fmla="*/ 108372 h 348332"/>
                <a:gd name="connsiteX258" fmla="*/ 2218289 w 2663946"/>
                <a:gd name="connsiteY258" fmla="*/ 104046 h 348332"/>
                <a:gd name="connsiteX259" fmla="*/ 2219272 w 2663946"/>
                <a:gd name="connsiteY259" fmla="*/ 101883 h 348332"/>
                <a:gd name="connsiteX260" fmla="*/ 2220501 w 2663946"/>
                <a:gd name="connsiteY260" fmla="*/ 97557 h 348332"/>
                <a:gd name="connsiteX261" fmla="*/ 2220010 w 2663946"/>
                <a:gd name="connsiteY261" fmla="*/ 83767 h 348332"/>
                <a:gd name="connsiteX262" fmla="*/ 2219026 w 2663946"/>
                <a:gd name="connsiteY262" fmla="*/ 80793 h 348332"/>
                <a:gd name="connsiteX263" fmla="*/ 2217798 w 2663946"/>
                <a:gd name="connsiteY263" fmla="*/ 77819 h 348332"/>
                <a:gd name="connsiteX264" fmla="*/ 2215585 w 2663946"/>
                <a:gd name="connsiteY264" fmla="*/ 74304 h 348332"/>
                <a:gd name="connsiteX265" fmla="*/ 2211898 w 2663946"/>
                <a:gd name="connsiteY265" fmla="*/ 70519 h 348332"/>
                <a:gd name="connsiteX266" fmla="*/ 2207965 w 2663946"/>
                <a:gd name="connsiteY266" fmla="*/ 68356 h 348332"/>
                <a:gd name="connsiteX267" fmla="*/ 2026014 w 2663946"/>
                <a:gd name="connsiteY267" fmla="*/ 68356 h 348332"/>
                <a:gd name="connsiteX268" fmla="*/ 2014462 w 2663946"/>
                <a:gd name="connsiteY268" fmla="*/ 70789 h 348332"/>
                <a:gd name="connsiteX269" fmla="*/ 2011266 w 2663946"/>
                <a:gd name="connsiteY269" fmla="*/ 74304 h 348332"/>
                <a:gd name="connsiteX270" fmla="*/ 2009054 w 2663946"/>
                <a:gd name="connsiteY270" fmla="*/ 78089 h 348332"/>
                <a:gd name="connsiteX271" fmla="*/ 2008071 w 2663946"/>
                <a:gd name="connsiteY271" fmla="*/ 80793 h 348332"/>
                <a:gd name="connsiteX272" fmla="*/ 2007087 w 2663946"/>
                <a:gd name="connsiteY272" fmla="*/ 84849 h 348332"/>
                <a:gd name="connsiteX273" fmla="*/ 2006104 w 2663946"/>
                <a:gd name="connsiteY273" fmla="*/ 91879 h 348332"/>
                <a:gd name="connsiteX274" fmla="*/ 2007087 w 2663946"/>
                <a:gd name="connsiteY274" fmla="*/ 99179 h 348332"/>
                <a:gd name="connsiteX275" fmla="*/ 2008317 w 2663946"/>
                <a:gd name="connsiteY275" fmla="*/ 102964 h 348332"/>
                <a:gd name="connsiteX276" fmla="*/ 2010529 w 2663946"/>
                <a:gd name="connsiteY276" fmla="*/ 107290 h 348332"/>
                <a:gd name="connsiteX277" fmla="*/ 2013970 w 2663946"/>
                <a:gd name="connsiteY277" fmla="*/ 111617 h 348332"/>
                <a:gd name="connsiteX278" fmla="*/ 2018394 w 2663946"/>
                <a:gd name="connsiteY278" fmla="*/ 114320 h 348332"/>
                <a:gd name="connsiteX279" fmla="*/ 2030685 w 2663946"/>
                <a:gd name="connsiteY279" fmla="*/ 111887 h 348332"/>
                <a:gd name="connsiteX280" fmla="*/ 2033880 w 2663946"/>
                <a:gd name="connsiteY280" fmla="*/ 108372 h 348332"/>
                <a:gd name="connsiteX281" fmla="*/ 2036338 w 2663946"/>
                <a:gd name="connsiteY281" fmla="*/ 104046 h 348332"/>
                <a:gd name="connsiteX282" fmla="*/ 2037321 w 2663946"/>
                <a:gd name="connsiteY282" fmla="*/ 101883 h 348332"/>
                <a:gd name="connsiteX283" fmla="*/ 2038550 w 2663946"/>
                <a:gd name="connsiteY283" fmla="*/ 97557 h 348332"/>
                <a:gd name="connsiteX284" fmla="*/ 2038059 w 2663946"/>
                <a:gd name="connsiteY284" fmla="*/ 83767 h 348332"/>
                <a:gd name="connsiteX285" fmla="*/ 2037075 w 2663946"/>
                <a:gd name="connsiteY285" fmla="*/ 80793 h 348332"/>
                <a:gd name="connsiteX286" fmla="*/ 2035847 w 2663946"/>
                <a:gd name="connsiteY286" fmla="*/ 77819 h 348332"/>
                <a:gd name="connsiteX287" fmla="*/ 2033634 w 2663946"/>
                <a:gd name="connsiteY287" fmla="*/ 74304 h 348332"/>
                <a:gd name="connsiteX288" fmla="*/ 2029947 w 2663946"/>
                <a:gd name="connsiteY288" fmla="*/ 70519 h 348332"/>
                <a:gd name="connsiteX289" fmla="*/ 2026014 w 2663946"/>
                <a:gd name="connsiteY289" fmla="*/ 68356 h 348332"/>
                <a:gd name="connsiteX290" fmla="*/ 1601090 w 2663946"/>
                <a:gd name="connsiteY290" fmla="*/ 68356 h 348332"/>
                <a:gd name="connsiteX291" fmla="*/ 1589537 w 2663946"/>
                <a:gd name="connsiteY291" fmla="*/ 70789 h 348332"/>
                <a:gd name="connsiteX292" fmla="*/ 1586342 w 2663946"/>
                <a:gd name="connsiteY292" fmla="*/ 74304 h 348332"/>
                <a:gd name="connsiteX293" fmla="*/ 1584130 w 2663946"/>
                <a:gd name="connsiteY293" fmla="*/ 78089 h 348332"/>
                <a:gd name="connsiteX294" fmla="*/ 1583147 w 2663946"/>
                <a:gd name="connsiteY294" fmla="*/ 80793 h 348332"/>
                <a:gd name="connsiteX295" fmla="*/ 1582163 w 2663946"/>
                <a:gd name="connsiteY295" fmla="*/ 84849 h 348332"/>
                <a:gd name="connsiteX296" fmla="*/ 1581180 w 2663946"/>
                <a:gd name="connsiteY296" fmla="*/ 91879 h 348332"/>
                <a:gd name="connsiteX297" fmla="*/ 1582163 w 2663946"/>
                <a:gd name="connsiteY297" fmla="*/ 99179 h 348332"/>
                <a:gd name="connsiteX298" fmla="*/ 1583393 w 2663946"/>
                <a:gd name="connsiteY298" fmla="*/ 102964 h 348332"/>
                <a:gd name="connsiteX299" fmla="*/ 1585605 w 2663946"/>
                <a:gd name="connsiteY299" fmla="*/ 107290 h 348332"/>
                <a:gd name="connsiteX300" fmla="*/ 1589046 w 2663946"/>
                <a:gd name="connsiteY300" fmla="*/ 111617 h 348332"/>
                <a:gd name="connsiteX301" fmla="*/ 1593470 w 2663946"/>
                <a:gd name="connsiteY301" fmla="*/ 114320 h 348332"/>
                <a:gd name="connsiteX302" fmla="*/ 1605761 w 2663946"/>
                <a:gd name="connsiteY302" fmla="*/ 111887 h 348332"/>
                <a:gd name="connsiteX303" fmla="*/ 1608956 w 2663946"/>
                <a:gd name="connsiteY303" fmla="*/ 108372 h 348332"/>
                <a:gd name="connsiteX304" fmla="*/ 1611414 w 2663946"/>
                <a:gd name="connsiteY304" fmla="*/ 104046 h 348332"/>
                <a:gd name="connsiteX305" fmla="*/ 1612397 w 2663946"/>
                <a:gd name="connsiteY305" fmla="*/ 101883 h 348332"/>
                <a:gd name="connsiteX306" fmla="*/ 1613626 w 2663946"/>
                <a:gd name="connsiteY306" fmla="*/ 97557 h 348332"/>
                <a:gd name="connsiteX307" fmla="*/ 1613135 w 2663946"/>
                <a:gd name="connsiteY307" fmla="*/ 83767 h 348332"/>
                <a:gd name="connsiteX308" fmla="*/ 1612151 w 2663946"/>
                <a:gd name="connsiteY308" fmla="*/ 80793 h 348332"/>
                <a:gd name="connsiteX309" fmla="*/ 1610923 w 2663946"/>
                <a:gd name="connsiteY309" fmla="*/ 77819 h 348332"/>
                <a:gd name="connsiteX310" fmla="*/ 1608710 w 2663946"/>
                <a:gd name="connsiteY310" fmla="*/ 74304 h 348332"/>
                <a:gd name="connsiteX311" fmla="*/ 1605023 w 2663946"/>
                <a:gd name="connsiteY311" fmla="*/ 70519 h 348332"/>
                <a:gd name="connsiteX312" fmla="*/ 1601090 w 2663946"/>
                <a:gd name="connsiteY312" fmla="*/ 68356 h 348332"/>
                <a:gd name="connsiteX313" fmla="*/ 1252183 w 2663946"/>
                <a:gd name="connsiteY313" fmla="*/ 68356 h 348332"/>
                <a:gd name="connsiteX314" fmla="*/ 1240630 w 2663946"/>
                <a:gd name="connsiteY314" fmla="*/ 70789 h 348332"/>
                <a:gd name="connsiteX315" fmla="*/ 1237435 w 2663946"/>
                <a:gd name="connsiteY315" fmla="*/ 74304 h 348332"/>
                <a:gd name="connsiteX316" fmla="*/ 1235223 w 2663946"/>
                <a:gd name="connsiteY316" fmla="*/ 78089 h 348332"/>
                <a:gd name="connsiteX317" fmla="*/ 1234240 w 2663946"/>
                <a:gd name="connsiteY317" fmla="*/ 80793 h 348332"/>
                <a:gd name="connsiteX318" fmla="*/ 1233256 w 2663946"/>
                <a:gd name="connsiteY318" fmla="*/ 84849 h 348332"/>
                <a:gd name="connsiteX319" fmla="*/ 1232273 w 2663946"/>
                <a:gd name="connsiteY319" fmla="*/ 91879 h 348332"/>
                <a:gd name="connsiteX320" fmla="*/ 1233256 w 2663946"/>
                <a:gd name="connsiteY320" fmla="*/ 99179 h 348332"/>
                <a:gd name="connsiteX321" fmla="*/ 1234486 w 2663946"/>
                <a:gd name="connsiteY321" fmla="*/ 102964 h 348332"/>
                <a:gd name="connsiteX322" fmla="*/ 1236698 w 2663946"/>
                <a:gd name="connsiteY322" fmla="*/ 107290 h 348332"/>
                <a:gd name="connsiteX323" fmla="*/ 1240139 w 2663946"/>
                <a:gd name="connsiteY323" fmla="*/ 111617 h 348332"/>
                <a:gd name="connsiteX324" fmla="*/ 1244563 w 2663946"/>
                <a:gd name="connsiteY324" fmla="*/ 114320 h 348332"/>
                <a:gd name="connsiteX325" fmla="*/ 1256854 w 2663946"/>
                <a:gd name="connsiteY325" fmla="*/ 111887 h 348332"/>
                <a:gd name="connsiteX326" fmla="*/ 1260049 w 2663946"/>
                <a:gd name="connsiteY326" fmla="*/ 108372 h 348332"/>
                <a:gd name="connsiteX327" fmla="*/ 1262507 w 2663946"/>
                <a:gd name="connsiteY327" fmla="*/ 104046 h 348332"/>
                <a:gd name="connsiteX328" fmla="*/ 1263490 w 2663946"/>
                <a:gd name="connsiteY328" fmla="*/ 101883 h 348332"/>
                <a:gd name="connsiteX329" fmla="*/ 1264719 w 2663946"/>
                <a:gd name="connsiteY329" fmla="*/ 97557 h 348332"/>
                <a:gd name="connsiteX330" fmla="*/ 1264228 w 2663946"/>
                <a:gd name="connsiteY330" fmla="*/ 83767 h 348332"/>
                <a:gd name="connsiteX331" fmla="*/ 1263244 w 2663946"/>
                <a:gd name="connsiteY331" fmla="*/ 80793 h 348332"/>
                <a:gd name="connsiteX332" fmla="*/ 1262016 w 2663946"/>
                <a:gd name="connsiteY332" fmla="*/ 77819 h 348332"/>
                <a:gd name="connsiteX333" fmla="*/ 1259803 w 2663946"/>
                <a:gd name="connsiteY333" fmla="*/ 74304 h 348332"/>
                <a:gd name="connsiteX334" fmla="*/ 1256116 w 2663946"/>
                <a:gd name="connsiteY334" fmla="*/ 70519 h 348332"/>
                <a:gd name="connsiteX335" fmla="*/ 1252183 w 2663946"/>
                <a:gd name="connsiteY335" fmla="*/ 68356 h 348332"/>
                <a:gd name="connsiteX336" fmla="*/ 1070232 w 2663946"/>
                <a:gd name="connsiteY336" fmla="*/ 68356 h 348332"/>
                <a:gd name="connsiteX337" fmla="*/ 1058679 w 2663946"/>
                <a:gd name="connsiteY337" fmla="*/ 70789 h 348332"/>
                <a:gd name="connsiteX338" fmla="*/ 1055484 w 2663946"/>
                <a:gd name="connsiteY338" fmla="*/ 74304 h 348332"/>
                <a:gd name="connsiteX339" fmla="*/ 1053272 w 2663946"/>
                <a:gd name="connsiteY339" fmla="*/ 78089 h 348332"/>
                <a:gd name="connsiteX340" fmla="*/ 1052289 w 2663946"/>
                <a:gd name="connsiteY340" fmla="*/ 80793 h 348332"/>
                <a:gd name="connsiteX341" fmla="*/ 1051305 w 2663946"/>
                <a:gd name="connsiteY341" fmla="*/ 84849 h 348332"/>
                <a:gd name="connsiteX342" fmla="*/ 1050322 w 2663946"/>
                <a:gd name="connsiteY342" fmla="*/ 91879 h 348332"/>
                <a:gd name="connsiteX343" fmla="*/ 1051305 w 2663946"/>
                <a:gd name="connsiteY343" fmla="*/ 99179 h 348332"/>
                <a:gd name="connsiteX344" fmla="*/ 1052535 w 2663946"/>
                <a:gd name="connsiteY344" fmla="*/ 102964 h 348332"/>
                <a:gd name="connsiteX345" fmla="*/ 1054747 w 2663946"/>
                <a:gd name="connsiteY345" fmla="*/ 107290 h 348332"/>
                <a:gd name="connsiteX346" fmla="*/ 1058188 w 2663946"/>
                <a:gd name="connsiteY346" fmla="*/ 111617 h 348332"/>
                <a:gd name="connsiteX347" fmla="*/ 1062612 w 2663946"/>
                <a:gd name="connsiteY347" fmla="*/ 114320 h 348332"/>
                <a:gd name="connsiteX348" fmla="*/ 1074903 w 2663946"/>
                <a:gd name="connsiteY348" fmla="*/ 111887 h 348332"/>
                <a:gd name="connsiteX349" fmla="*/ 1078098 w 2663946"/>
                <a:gd name="connsiteY349" fmla="*/ 108372 h 348332"/>
                <a:gd name="connsiteX350" fmla="*/ 1080556 w 2663946"/>
                <a:gd name="connsiteY350" fmla="*/ 104046 h 348332"/>
                <a:gd name="connsiteX351" fmla="*/ 1081539 w 2663946"/>
                <a:gd name="connsiteY351" fmla="*/ 101883 h 348332"/>
                <a:gd name="connsiteX352" fmla="*/ 1082768 w 2663946"/>
                <a:gd name="connsiteY352" fmla="*/ 97557 h 348332"/>
                <a:gd name="connsiteX353" fmla="*/ 1082277 w 2663946"/>
                <a:gd name="connsiteY353" fmla="*/ 83767 h 348332"/>
                <a:gd name="connsiteX354" fmla="*/ 1081293 w 2663946"/>
                <a:gd name="connsiteY354" fmla="*/ 80793 h 348332"/>
                <a:gd name="connsiteX355" fmla="*/ 1080065 w 2663946"/>
                <a:gd name="connsiteY355" fmla="*/ 77819 h 348332"/>
                <a:gd name="connsiteX356" fmla="*/ 1077852 w 2663946"/>
                <a:gd name="connsiteY356" fmla="*/ 74304 h 348332"/>
                <a:gd name="connsiteX357" fmla="*/ 1074165 w 2663946"/>
                <a:gd name="connsiteY357" fmla="*/ 70519 h 348332"/>
                <a:gd name="connsiteX358" fmla="*/ 1070232 w 2663946"/>
                <a:gd name="connsiteY358" fmla="*/ 68356 h 348332"/>
                <a:gd name="connsiteX359" fmla="*/ 903203 w 2663946"/>
                <a:gd name="connsiteY359" fmla="*/ 68356 h 348332"/>
                <a:gd name="connsiteX360" fmla="*/ 891650 w 2663946"/>
                <a:gd name="connsiteY360" fmla="*/ 70789 h 348332"/>
                <a:gd name="connsiteX361" fmla="*/ 888455 w 2663946"/>
                <a:gd name="connsiteY361" fmla="*/ 74304 h 348332"/>
                <a:gd name="connsiteX362" fmla="*/ 886243 w 2663946"/>
                <a:gd name="connsiteY362" fmla="*/ 78089 h 348332"/>
                <a:gd name="connsiteX363" fmla="*/ 885260 w 2663946"/>
                <a:gd name="connsiteY363" fmla="*/ 80793 h 348332"/>
                <a:gd name="connsiteX364" fmla="*/ 884276 w 2663946"/>
                <a:gd name="connsiteY364" fmla="*/ 84849 h 348332"/>
                <a:gd name="connsiteX365" fmla="*/ 883293 w 2663946"/>
                <a:gd name="connsiteY365" fmla="*/ 91879 h 348332"/>
                <a:gd name="connsiteX366" fmla="*/ 884276 w 2663946"/>
                <a:gd name="connsiteY366" fmla="*/ 99179 h 348332"/>
                <a:gd name="connsiteX367" fmla="*/ 885506 w 2663946"/>
                <a:gd name="connsiteY367" fmla="*/ 102964 h 348332"/>
                <a:gd name="connsiteX368" fmla="*/ 887718 w 2663946"/>
                <a:gd name="connsiteY368" fmla="*/ 107290 h 348332"/>
                <a:gd name="connsiteX369" fmla="*/ 891159 w 2663946"/>
                <a:gd name="connsiteY369" fmla="*/ 111617 h 348332"/>
                <a:gd name="connsiteX370" fmla="*/ 895583 w 2663946"/>
                <a:gd name="connsiteY370" fmla="*/ 114320 h 348332"/>
                <a:gd name="connsiteX371" fmla="*/ 907874 w 2663946"/>
                <a:gd name="connsiteY371" fmla="*/ 111887 h 348332"/>
                <a:gd name="connsiteX372" fmla="*/ 911069 w 2663946"/>
                <a:gd name="connsiteY372" fmla="*/ 108372 h 348332"/>
                <a:gd name="connsiteX373" fmla="*/ 913527 w 2663946"/>
                <a:gd name="connsiteY373" fmla="*/ 104046 h 348332"/>
                <a:gd name="connsiteX374" fmla="*/ 914510 w 2663946"/>
                <a:gd name="connsiteY374" fmla="*/ 101883 h 348332"/>
                <a:gd name="connsiteX375" fmla="*/ 915739 w 2663946"/>
                <a:gd name="connsiteY375" fmla="*/ 97557 h 348332"/>
                <a:gd name="connsiteX376" fmla="*/ 915248 w 2663946"/>
                <a:gd name="connsiteY376" fmla="*/ 83767 h 348332"/>
                <a:gd name="connsiteX377" fmla="*/ 914264 w 2663946"/>
                <a:gd name="connsiteY377" fmla="*/ 80793 h 348332"/>
                <a:gd name="connsiteX378" fmla="*/ 913036 w 2663946"/>
                <a:gd name="connsiteY378" fmla="*/ 77819 h 348332"/>
                <a:gd name="connsiteX379" fmla="*/ 910823 w 2663946"/>
                <a:gd name="connsiteY379" fmla="*/ 74304 h 348332"/>
                <a:gd name="connsiteX380" fmla="*/ 907136 w 2663946"/>
                <a:gd name="connsiteY380" fmla="*/ 70519 h 348332"/>
                <a:gd name="connsiteX381" fmla="*/ 903203 w 2663946"/>
                <a:gd name="connsiteY381" fmla="*/ 68356 h 348332"/>
                <a:gd name="connsiteX382" fmla="*/ 554297 w 2663946"/>
                <a:gd name="connsiteY382" fmla="*/ 68356 h 348332"/>
                <a:gd name="connsiteX383" fmla="*/ 542744 w 2663946"/>
                <a:gd name="connsiteY383" fmla="*/ 70789 h 348332"/>
                <a:gd name="connsiteX384" fmla="*/ 539549 w 2663946"/>
                <a:gd name="connsiteY384" fmla="*/ 74304 h 348332"/>
                <a:gd name="connsiteX385" fmla="*/ 537337 w 2663946"/>
                <a:gd name="connsiteY385" fmla="*/ 78089 h 348332"/>
                <a:gd name="connsiteX386" fmla="*/ 536353 w 2663946"/>
                <a:gd name="connsiteY386" fmla="*/ 80793 h 348332"/>
                <a:gd name="connsiteX387" fmla="*/ 535370 w 2663946"/>
                <a:gd name="connsiteY387" fmla="*/ 84849 h 348332"/>
                <a:gd name="connsiteX388" fmla="*/ 534387 w 2663946"/>
                <a:gd name="connsiteY388" fmla="*/ 91879 h 348332"/>
                <a:gd name="connsiteX389" fmla="*/ 535370 w 2663946"/>
                <a:gd name="connsiteY389" fmla="*/ 99179 h 348332"/>
                <a:gd name="connsiteX390" fmla="*/ 536599 w 2663946"/>
                <a:gd name="connsiteY390" fmla="*/ 102964 h 348332"/>
                <a:gd name="connsiteX391" fmla="*/ 538811 w 2663946"/>
                <a:gd name="connsiteY391" fmla="*/ 107290 h 348332"/>
                <a:gd name="connsiteX392" fmla="*/ 542253 w 2663946"/>
                <a:gd name="connsiteY392" fmla="*/ 111617 h 348332"/>
                <a:gd name="connsiteX393" fmla="*/ 546677 w 2663946"/>
                <a:gd name="connsiteY393" fmla="*/ 114320 h 348332"/>
                <a:gd name="connsiteX394" fmla="*/ 558967 w 2663946"/>
                <a:gd name="connsiteY394" fmla="*/ 111887 h 348332"/>
                <a:gd name="connsiteX395" fmla="*/ 562163 w 2663946"/>
                <a:gd name="connsiteY395" fmla="*/ 108372 h 348332"/>
                <a:gd name="connsiteX396" fmla="*/ 564621 w 2663946"/>
                <a:gd name="connsiteY396" fmla="*/ 104046 h 348332"/>
                <a:gd name="connsiteX397" fmla="*/ 565604 w 2663946"/>
                <a:gd name="connsiteY397" fmla="*/ 101883 h 348332"/>
                <a:gd name="connsiteX398" fmla="*/ 566833 w 2663946"/>
                <a:gd name="connsiteY398" fmla="*/ 97557 h 348332"/>
                <a:gd name="connsiteX399" fmla="*/ 566341 w 2663946"/>
                <a:gd name="connsiteY399" fmla="*/ 83767 h 348332"/>
                <a:gd name="connsiteX400" fmla="*/ 565358 w 2663946"/>
                <a:gd name="connsiteY400" fmla="*/ 80793 h 348332"/>
                <a:gd name="connsiteX401" fmla="*/ 564129 w 2663946"/>
                <a:gd name="connsiteY401" fmla="*/ 77819 h 348332"/>
                <a:gd name="connsiteX402" fmla="*/ 561917 w 2663946"/>
                <a:gd name="connsiteY402" fmla="*/ 74304 h 348332"/>
                <a:gd name="connsiteX403" fmla="*/ 558230 w 2663946"/>
                <a:gd name="connsiteY403" fmla="*/ 70519 h 348332"/>
                <a:gd name="connsiteX404" fmla="*/ 554297 w 2663946"/>
                <a:gd name="connsiteY404" fmla="*/ 68356 h 348332"/>
                <a:gd name="connsiteX405" fmla="*/ 372346 w 2663946"/>
                <a:gd name="connsiteY405" fmla="*/ 68356 h 348332"/>
                <a:gd name="connsiteX406" fmla="*/ 360793 w 2663946"/>
                <a:gd name="connsiteY406" fmla="*/ 70789 h 348332"/>
                <a:gd name="connsiteX407" fmla="*/ 357598 w 2663946"/>
                <a:gd name="connsiteY407" fmla="*/ 74304 h 348332"/>
                <a:gd name="connsiteX408" fmla="*/ 355385 w 2663946"/>
                <a:gd name="connsiteY408" fmla="*/ 78089 h 348332"/>
                <a:gd name="connsiteX409" fmla="*/ 354402 w 2663946"/>
                <a:gd name="connsiteY409" fmla="*/ 80793 h 348332"/>
                <a:gd name="connsiteX410" fmla="*/ 353419 w 2663946"/>
                <a:gd name="connsiteY410" fmla="*/ 84849 h 348332"/>
                <a:gd name="connsiteX411" fmla="*/ 352436 w 2663946"/>
                <a:gd name="connsiteY411" fmla="*/ 91879 h 348332"/>
                <a:gd name="connsiteX412" fmla="*/ 353419 w 2663946"/>
                <a:gd name="connsiteY412" fmla="*/ 99179 h 348332"/>
                <a:gd name="connsiteX413" fmla="*/ 354648 w 2663946"/>
                <a:gd name="connsiteY413" fmla="*/ 102964 h 348332"/>
                <a:gd name="connsiteX414" fmla="*/ 356860 w 2663946"/>
                <a:gd name="connsiteY414" fmla="*/ 107290 h 348332"/>
                <a:gd name="connsiteX415" fmla="*/ 360301 w 2663946"/>
                <a:gd name="connsiteY415" fmla="*/ 111617 h 348332"/>
                <a:gd name="connsiteX416" fmla="*/ 364726 w 2663946"/>
                <a:gd name="connsiteY416" fmla="*/ 114320 h 348332"/>
                <a:gd name="connsiteX417" fmla="*/ 377016 w 2663946"/>
                <a:gd name="connsiteY417" fmla="*/ 111887 h 348332"/>
                <a:gd name="connsiteX418" fmla="*/ 380212 w 2663946"/>
                <a:gd name="connsiteY418" fmla="*/ 108372 h 348332"/>
                <a:gd name="connsiteX419" fmla="*/ 382670 w 2663946"/>
                <a:gd name="connsiteY419" fmla="*/ 104046 h 348332"/>
                <a:gd name="connsiteX420" fmla="*/ 383653 w 2663946"/>
                <a:gd name="connsiteY420" fmla="*/ 101883 h 348332"/>
                <a:gd name="connsiteX421" fmla="*/ 384882 w 2663946"/>
                <a:gd name="connsiteY421" fmla="*/ 97557 h 348332"/>
                <a:gd name="connsiteX422" fmla="*/ 384390 w 2663946"/>
                <a:gd name="connsiteY422" fmla="*/ 83767 h 348332"/>
                <a:gd name="connsiteX423" fmla="*/ 383407 w 2663946"/>
                <a:gd name="connsiteY423" fmla="*/ 80793 h 348332"/>
                <a:gd name="connsiteX424" fmla="*/ 382178 w 2663946"/>
                <a:gd name="connsiteY424" fmla="*/ 77819 h 348332"/>
                <a:gd name="connsiteX425" fmla="*/ 379966 w 2663946"/>
                <a:gd name="connsiteY425" fmla="*/ 74304 h 348332"/>
                <a:gd name="connsiteX426" fmla="*/ 376279 w 2663946"/>
                <a:gd name="connsiteY426" fmla="*/ 70519 h 348332"/>
                <a:gd name="connsiteX427" fmla="*/ 372346 w 2663946"/>
                <a:gd name="connsiteY427" fmla="*/ 68356 h 348332"/>
                <a:gd name="connsiteX428" fmla="*/ 129300 w 2663946"/>
                <a:gd name="connsiteY428" fmla="*/ 68356 h 348332"/>
                <a:gd name="connsiteX429" fmla="*/ 117747 w 2663946"/>
                <a:gd name="connsiteY429" fmla="*/ 70789 h 348332"/>
                <a:gd name="connsiteX430" fmla="*/ 114552 w 2663946"/>
                <a:gd name="connsiteY430" fmla="*/ 74304 h 348332"/>
                <a:gd name="connsiteX431" fmla="*/ 112340 w 2663946"/>
                <a:gd name="connsiteY431" fmla="*/ 78089 h 348332"/>
                <a:gd name="connsiteX432" fmla="*/ 111356 w 2663946"/>
                <a:gd name="connsiteY432" fmla="*/ 80793 h 348332"/>
                <a:gd name="connsiteX433" fmla="*/ 110373 w 2663946"/>
                <a:gd name="connsiteY433" fmla="*/ 84849 h 348332"/>
                <a:gd name="connsiteX434" fmla="*/ 109390 w 2663946"/>
                <a:gd name="connsiteY434" fmla="*/ 91879 h 348332"/>
                <a:gd name="connsiteX435" fmla="*/ 110373 w 2663946"/>
                <a:gd name="connsiteY435" fmla="*/ 99179 h 348332"/>
                <a:gd name="connsiteX436" fmla="*/ 111602 w 2663946"/>
                <a:gd name="connsiteY436" fmla="*/ 102964 h 348332"/>
                <a:gd name="connsiteX437" fmla="*/ 113814 w 2663946"/>
                <a:gd name="connsiteY437" fmla="*/ 107290 h 348332"/>
                <a:gd name="connsiteX438" fmla="*/ 117256 w 2663946"/>
                <a:gd name="connsiteY438" fmla="*/ 111617 h 348332"/>
                <a:gd name="connsiteX439" fmla="*/ 121680 w 2663946"/>
                <a:gd name="connsiteY439" fmla="*/ 114320 h 348332"/>
                <a:gd name="connsiteX440" fmla="*/ 133970 w 2663946"/>
                <a:gd name="connsiteY440" fmla="*/ 111887 h 348332"/>
                <a:gd name="connsiteX441" fmla="*/ 137166 w 2663946"/>
                <a:gd name="connsiteY441" fmla="*/ 108372 h 348332"/>
                <a:gd name="connsiteX442" fmla="*/ 139624 w 2663946"/>
                <a:gd name="connsiteY442" fmla="*/ 104046 h 348332"/>
                <a:gd name="connsiteX443" fmla="*/ 140607 w 2663946"/>
                <a:gd name="connsiteY443" fmla="*/ 101883 h 348332"/>
                <a:gd name="connsiteX444" fmla="*/ 141836 w 2663946"/>
                <a:gd name="connsiteY444" fmla="*/ 97557 h 348332"/>
                <a:gd name="connsiteX445" fmla="*/ 141344 w 2663946"/>
                <a:gd name="connsiteY445" fmla="*/ 83767 h 348332"/>
                <a:gd name="connsiteX446" fmla="*/ 140361 w 2663946"/>
                <a:gd name="connsiteY446" fmla="*/ 80793 h 348332"/>
                <a:gd name="connsiteX447" fmla="*/ 139132 w 2663946"/>
                <a:gd name="connsiteY447" fmla="*/ 77819 h 348332"/>
                <a:gd name="connsiteX448" fmla="*/ 136920 w 2663946"/>
                <a:gd name="connsiteY448" fmla="*/ 74304 h 348332"/>
                <a:gd name="connsiteX449" fmla="*/ 133233 w 2663946"/>
                <a:gd name="connsiteY449" fmla="*/ 70519 h 348332"/>
                <a:gd name="connsiteX450" fmla="*/ 129300 w 2663946"/>
                <a:gd name="connsiteY450" fmla="*/ 68356 h 348332"/>
                <a:gd name="connsiteX451" fmla="*/ 33147 w 2663946"/>
                <a:gd name="connsiteY451" fmla="*/ 64420 h 348332"/>
                <a:gd name="connsiteX452" fmla="*/ 21486 w 2663946"/>
                <a:gd name="connsiteY452" fmla="*/ 72149 h 348332"/>
                <a:gd name="connsiteX453" fmla="*/ 20561 w 2663946"/>
                <a:gd name="connsiteY453" fmla="*/ 76732 h 348332"/>
                <a:gd name="connsiteX454" fmla="*/ 23801 w 2663946"/>
                <a:gd name="connsiteY454" fmla="*/ 76732 h 348332"/>
                <a:gd name="connsiteX455" fmla="*/ 42218 w 2663946"/>
                <a:gd name="connsiteY455" fmla="*/ 76732 h 348332"/>
                <a:gd name="connsiteX456" fmla="*/ 45732 w 2663946"/>
                <a:gd name="connsiteY456" fmla="*/ 76732 h 348332"/>
                <a:gd name="connsiteX457" fmla="*/ 44807 w 2663946"/>
                <a:gd name="connsiteY457" fmla="*/ 72149 h 348332"/>
                <a:gd name="connsiteX458" fmla="*/ 33147 w 2663946"/>
                <a:gd name="connsiteY458" fmla="*/ 64420 h 348332"/>
                <a:gd name="connsiteX459" fmla="*/ 2537931 w 2663946"/>
                <a:gd name="connsiteY459" fmla="*/ 56832 h 348332"/>
                <a:gd name="connsiteX460" fmla="*/ 2526271 w 2663946"/>
                <a:gd name="connsiteY460" fmla="*/ 64561 h 348332"/>
                <a:gd name="connsiteX461" fmla="*/ 2525346 w 2663946"/>
                <a:gd name="connsiteY461" fmla="*/ 69144 h 348332"/>
                <a:gd name="connsiteX462" fmla="*/ 2528586 w 2663946"/>
                <a:gd name="connsiteY462" fmla="*/ 69144 h 348332"/>
                <a:gd name="connsiteX463" fmla="*/ 2547003 w 2663946"/>
                <a:gd name="connsiteY463" fmla="*/ 69144 h 348332"/>
                <a:gd name="connsiteX464" fmla="*/ 2550517 w 2663946"/>
                <a:gd name="connsiteY464" fmla="*/ 69144 h 348332"/>
                <a:gd name="connsiteX465" fmla="*/ 2549592 w 2663946"/>
                <a:gd name="connsiteY465" fmla="*/ 64561 h 348332"/>
                <a:gd name="connsiteX466" fmla="*/ 2537931 w 2663946"/>
                <a:gd name="connsiteY466" fmla="*/ 56832 h 348332"/>
                <a:gd name="connsiteX467" fmla="*/ 2112934 w 2663946"/>
                <a:gd name="connsiteY467" fmla="*/ 56832 h 348332"/>
                <a:gd name="connsiteX468" fmla="*/ 2101274 w 2663946"/>
                <a:gd name="connsiteY468" fmla="*/ 64561 h 348332"/>
                <a:gd name="connsiteX469" fmla="*/ 2100349 w 2663946"/>
                <a:gd name="connsiteY469" fmla="*/ 69144 h 348332"/>
                <a:gd name="connsiteX470" fmla="*/ 2103589 w 2663946"/>
                <a:gd name="connsiteY470" fmla="*/ 69144 h 348332"/>
                <a:gd name="connsiteX471" fmla="*/ 2122006 w 2663946"/>
                <a:gd name="connsiteY471" fmla="*/ 69144 h 348332"/>
                <a:gd name="connsiteX472" fmla="*/ 2125520 w 2663946"/>
                <a:gd name="connsiteY472" fmla="*/ 69144 h 348332"/>
                <a:gd name="connsiteX473" fmla="*/ 2124595 w 2663946"/>
                <a:gd name="connsiteY473" fmla="*/ 64561 h 348332"/>
                <a:gd name="connsiteX474" fmla="*/ 2112934 w 2663946"/>
                <a:gd name="connsiteY474" fmla="*/ 56832 h 348332"/>
                <a:gd name="connsiteX475" fmla="*/ 1854966 w 2663946"/>
                <a:gd name="connsiteY475" fmla="*/ 56832 h 348332"/>
                <a:gd name="connsiteX476" fmla="*/ 1843306 w 2663946"/>
                <a:gd name="connsiteY476" fmla="*/ 64561 h 348332"/>
                <a:gd name="connsiteX477" fmla="*/ 1842381 w 2663946"/>
                <a:gd name="connsiteY477" fmla="*/ 69144 h 348332"/>
                <a:gd name="connsiteX478" fmla="*/ 1845621 w 2663946"/>
                <a:gd name="connsiteY478" fmla="*/ 69144 h 348332"/>
                <a:gd name="connsiteX479" fmla="*/ 1864038 w 2663946"/>
                <a:gd name="connsiteY479" fmla="*/ 69144 h 348332"/>
                <a:gd name="connsiteX480" fmla="*/ 1867552 w 2663946"/>
                <a:gd name="connsiteY480" fmla="*/ 69144 h 348332"/>
                <a:gd name="connsiteX481" fmla="*/ 1866627 w 2663946"/>
                <a:gd name="connsiteY481" fmla="*/ 64561 h 348332"/>
                <a:gd name="connsiteX482" fmla="*/ 1854966 w 2663946"/>
                <a:gd name="connsiteY482" fmla="*/ 56832 h 348332"/>
                <a:gd name="connsiteX483" fmla="*/ 1764027 w 2663946"/>
                <a:gd name="connsiteY483" fmla="*/ 56832 h 348332"/>
                <a:gd name="connsiteX484" fmla="*/ 1752367 w 2663946"/>
                <a:gd name="connsiteY484" fmla="*/ 64561 h 348332"/>
                <a:gd name="connsiteX485" fmla="*/ 1751442 w 2663946"/>
                <a:gd name="connsiteY485" fmla="*/ 69144 h 348332"/>
                <a:gd name="connsiteX486" fmla="*/ 1754682 w 2663946"/>
                <a:gd name="connsiteY486" fmla="*/ 69144 h 348332"/>
                <a:gd name="connsiteX487" fmla="*/ 1773099 w 2663946"/>
                <a:gd name="connsiteY487" fmla="*/ 69144 h 348332"/>
                <a:gd name="connsiteX488" fmla="*/ 1776613 w 2663946"/>
                <a:gd name="connsiteY488" fmla="*/ 69144 h 348332"/>
                <a:gd name="connsiteX489" fmla="*/ 1775687 w 2663946"/>
                <a:gd name="connsiteY489" fmla="*/ 64561 h 348332"/>
                <a:gd name="connsiteX490" fmla="*/ 1764027 w 2663946"/>
                <a:gd name="connsiteY490" fmla="*/ 56832 h 348332"/>
                <a:gd name="connsiteX491" fmla="*/ 1506059 w 2663946"/>
                <a:gd name="connsiteY491" fmla="*/ 56832 h 348332"/>
                <a:gd name="connsiteX492" fmla="*/ 1494399 w 2663946"/>
                <a:gd name="connsiteY492" fmla="*/ 64561 h 348332"/>
                <a:gd name="connsiteX493" fmla="*/ 1493474 w 2663946"/>
                <a:gd name="connsiteY493" fmla="*/ 69144 h 348332"/>
                <a:gd name="connsiteX494" fmla="*/ 1496714 w 2663946"/>
                <a:gd name="connsiteY494" fmla="*/ 69144 h 348332"/>
                <a:gd name="connsiteX495" fmla="*/ 1515131 w 2663946"/>
                <a:gd name="connsiteY495" fmla="*/ 69144 h 348332"/>
                <a:gd name="connsiteX496" fmla="*/ 1518645 w 2663946"/>
                <a:gd name="connsiteY496" fmla="*/ 69144 h 348332"/>
                <a:gd name="connsiteX497" fmla="*/ 1517719 w 2663946"/>
                <a:gd name="connsiteY497" fmla="*/ 64561 h 348332"/>
                <a:gd name="connsiteX498" fmla="*/ 1506059 w 2663946"/>
                <a:gd name="connsiteY498" fmla="*/ 56832 h 348332"/>
                <a:gd name="connsiteX499" fmla="*/ 1415120 w 2663946"/>
                <a:gd name="connsiteY499" fmla="*/ 56832 h 348332"/>
                <a:gd name="connsiteX500" fmla="*/ 1403460 w 2663946"/>
                <a:gd name="connsiteY500" fmla="*/ 64561 h 348332"/>
                <a:gd name="connsiteX501" fmla="*/ 1402535 w 2663946"/>
                <a:gd name="connsiteY501" fmla="*/ 69144 h 348332"/>
                <a:gd name="connsiteX502" fmla="*/ 1405775 w 2663946"/>
                <a:gd name="connsiteY502" fmla="*/ 69144 h 348332"/>
                <a:gd name="connsiteX503" fmla="*/ 1424192 w 2663946"/>
                <a:gd name="connsiteY503" fmla="*/ 69144 h 348332"/>
                <a:gd name="connsiteX504" fmla="*/ 1427706 w 2663946"/>
                <a:gd name="connsiteY504" fmla="*/ 69144 h 348332"/>
                <a:gd name="connsiteX505" fmla="*/ 1426780 w 2663946"/>
                <a:gd name="connsiteY505" fmla="*/ 64561 h 348332"/>
                <a:gd name="connsiteX506" fmla="*/ 1415120 w 2663946"/>
                <a:gd name="connsiteY506" fmla="*/ 56832 h 348332"/>
                <a:gd name="connsiteX507" fmla="*/ 1157152 w 2663946"/>
                <a:gd name="connsiteY507" fmla="*/ 56832 h 348332"/>
                <a:gd name="connsiteX508" fmla="*/ 1145492 w 2663946"/>
                <a:gd name="connsiteY508" fmla="*/ 64561 h 348332"/>
                <a:gd name="connsiteX509" fmla="*/ 1144567 w 2663946"/>
                <a:gd name="connsiteY509" fmla="*/ 69144 h 348332"/>
                <a:gd name="connsiteX510" fmla="*/ 1147807 w 2663946"/>
                <a:gd name="connsiteY510" fmla="*/ 69144 h 348332"/>
                <a:gd name="connsiteX511" fmla="*/ 1166224 w 2663946"/>
                <a:gd name="connsiteY511" fmla="*/ 69144 h 348332"/>
                <a:gd name="connsiteX512" fmla="*/ 1169738 w 2663946"/>
                <a:gd name="connsiteY512" fmla="*/ 69144 h 348332"/>
                <a:gd name="connsiteX513" fmla="*/ 1168812 w 2663946"/>
                <a:gd name="connsiteY513" fmla="*/ 64561 h 348332"/>
                <a:gd name="connsiteX514" fmla="*/ 1157152 w 2663946"/>
                <a:gd name="connsiteY514" fmla="*/ 56832 h 348332"/>
                <a:gd name="connsiteX515" fmla="*/ 732156 w 2663946"/>
                <a:gd name="connsiteY515" fmla="*/ 56832 h 348332"/>
                <a:gd name="connsiteX516" fmla="*/ 720495 w 2663946"/>
                <a:gd name="connsiteY516" fmla="*/ 64561 h 348332"/>
                <a:gd name="connsiteX517" fmla="*/ 719570 w 2663946"/>
                <a:gd name="connsiteY517" fmla="*/ 69144 h 348332"/>
                <a:gd name="connsiteX518" fmla="*/ 722810 w 2663946"/>
                <a:gd name="connsiteY518" fmla="*/ 69144 h 348332"/>
                <a:gd name="connsiteX519" fmla="*/ 741228 w 2663946"/>
                <a:gd name="connsiteY519" fmla="*/ 69144 h 348332"/>
                <a:gd name="connsiteX520" fmla="*/ 744742 w 2663946"/>
                <a:gd name="connsiteY520" fmla="*/ 69144 h 348332"/>
                <a:gd name="connsiteX521" fmla="*/ 743816 w 2663946"/>
                <a:gd name="connsiteY521" fmla="*/ 64561 h 348332"/>
                <a:gd name="connsiteX522" fmla="*/ 732156 w 2663946"/>
                <a:gd name="connsiteY522" fmla="*/ 56832 h 348332"/>
                <a:gd name="connsiteX523" fmla="*/ 641217 w 2663946"/>
                <a:gd name="connsiteY523" fmla="*/ 56832 h 348332"/>
                <a:gd name="connsiteX524" fmla="*/ 629556 w 2663946"/>
                <a:gd name="connsiteY524" fmla="*/ 64561 h 348332"/>
                <a:gd name="connsiteX525" fmla="*/ 628631 w 2663946"/>
                <a:gd name="connsiteY525" fmla="*/ 69144 h 348332"/>
                <a:gd name="connsiteX526" fmla="*/ 631871 w 2663946"/>
                <a:gd name="connsiteY526" fmla="*/ 69144 h 348332"/>
                <a:gd name="connsiteX527" fmla="*/ 650289 w 2663946"/>
                <a:gd name="connsiteY527" fmla="*/ 69144 h 348332"/>
                <a:gd name="connsiteX528" fmla="*/ 653802 w 2663946"/>
                <a:gd name="connsiteY528" fmla="*/ 69144 h 348332"/>
                <a:gd name="connsiteX529" fmla="*/ 652877 w 2663946"/>
                <a:gd name="connsiteY529" fmla="*/ 64561 h 348332"/>
                <a:gd name="connsiteX530" fmla="*/ 641217 w 2663946"/>
                <a:gd name="connsiteY530" fmla="*/ 56832 h 348332"/>
                <a:gd name="connsiteX531" fmla="*/ 459266 w 2663946"/>
                <a:gd name="connsiteY531" fmla="*/ 56832 h 348332"/>
                <a:gd name="connsiteX532" fmla="*/ 447605 w 2663946"/>
                <a:gd name="connsiteY532" fmla="*/ 64561 h 348332"/>
                <a:gd name="connsiteX533" fmla="*/ 446680 w 2663946"/>
                <a:gd name="connsiteY533" fmla="*/ 69144 h 348332"/>
                <a:gd name="connsiteX534" fmla="*/ 449920 w 2663946"/>
                <a:gd name="connsiteY534" fmla="*/ 69144 h 348332"/>
                <a:gd name="connsiteX535" fmla="*/ 468337 w 2663946"/>
                <a:gd name="connsiteY535" fmla="*/ 69144 h 348332"/>
                <a:gd name="connsiteX536" fmla="*/ 471851 w 2663946"/>
                <a:gd name="connsiteY536" fmla="*/ 69144 h 348332"/>
                <a:gd name="connsiteX537" fmla="*/ 470926 w 2663946"/>
                <a:gd name="connsiteY537" fmla="*/ 64561 h 348332"/>
                <a:gd name="connsiteX538" fmla="*/ 459266 w 2663946"/>
                <a:gd name="connsiteY538" fmla="*/ 56832 h 348332"/>
                <a:gd name="connsiteX539" fmla="*/ 2361413 w 2663946"/>
                <a:gd name="connsiteY539" fmla="*/ 52472 h 348332"/>
                <a:gd name="connsiteX540" fmla="*/ 2365469 w 2663946"/>
                <a:gd name="connsiteY540" fmla="*/ 52472 h 348332"/>
                <a:gd name="connsiteX541" fmla="*/ 2370065 w 2663946"/>
                <a:gd name="connsiteY541" fmla="*/ 54906 h 348332"/>
                <a:gd name="connsiteX542" fmla="*/ 2372229 w 2663946"/>
                <a:gd name="connsiteY542" fmla="*/ 61124 h 348332"/>
                <a:gd name="connsiteX543" fmla="*/ 2372229 w 2663946"/>
                <a:gd name="connsiteY543" fmla="*/ 61665 h 348332"/>
                <a:gd name="connsiteX544" fmla="*/ 2372229 w 2663946"/>
                <a:gd name="connsiteY544" fmla="*/ 114660 h 348332"/>
                <a:gd name="connsiteX545" fmla="*/ 2372769 w 2663946"/>
                <a:gd name="connsiteY545" fmla="*/ 115200 h 348332"/>
                <a:gd name="connsiteX546" fmla="*/ 2380069 w 2663946"/>
                <a:gd name="connsiteY546" fmla="*/ 115200 h 348332"/>
                <a:gd name="connsiteX547" fmla="*/ 2384125 w 2663946"/>
                <a:gd name="connsiteY547" fmla="*/ 116282 h 348332"/>
                <a:gd name="connsiteX548" fmla="*/ 2387910 w 2663946"/>
                <a:gd name="connsiteY548" fmla="*/ 123041 h 348332"/>
                <a:gd name="connsiteX549" fmla="*/ 2385207 w 2663946"/>
                <a:gd name="connsiteY549" fmla="*/ 128719 h 348332"/>
                <a:gd name="connsiteX550" fmla="*/ 2381151 w 2663946"/>
                <a:gd name="connsiteY550" fmla="*/ 130612 h 348332"/>
                <a:gd name="connsiteX551" fmla="*/ 2380881 w 2663946"/>
                <a:gd name="connsiteY551" fmla="*/ 130612 h 348332"/>
                <a:gd name="connsiteX552" fmla="*/ 2380610 w 2663946"/>
                <a:gd name="connsiteY552" fmla="*/ 130612 h 348332"/>
                <a:gd name="connsiteX553" fmla="*/ 2380069 w 2663946"/>
                <a:gd name="connsiteY553" fmla="*/ 130612 h 348332"/>
                <a:gd name="connsiteX554" fmla="*/ 2347894 w 2663946"/>
                <a:gd name="connsiteY554" fmla="*/ 130612 h 348332"/>
                <a:gd name="connsiteX555" fmla="*/ 2347354 w 2663946"/>
                <a:gd name="connsiteY555" fmla="*/ 130612 h 348332"/>
                <a:gd name="connsiteX556" fmla="*/ 2346542 w 2663946"/>
                <a:gd name="connsiteY556" fmla="*/ 130612 h 348332"/>
                <a:gd name="connsiteX557" fmla="*/ 2345731 w 2663946"/>
                <a:gd name="connsiteY557" fmla="*/ 130342 h 348332"/>
                <a:gd name="connsiteX558" fmla="*/ 2342216 w 2663946"/>
                <a:gd name="connsiteY558" fmla="*/ 128449 h 348332"/>
                <a:gd name="connsiteX559" fmla="*/ 2339783 w 2663946"/>
                <a:gd name="connsiteY559" fmla="*/ 122771 h 348332"/>
                <a:gd name="connsiteX560" fmla="*/ 2341946 w 2663946"/>
                <a:gd name="connsiteY560" fmla="*/ 117634 h 348332"/>
                <a:gd name="connsiteX561" fmla="*/ 2347624 w 2663946"/>
                <a:gd name="connsiteY561" fmla="*/ 115200 h 348332"/>
                <a:gd name="connsiteX562" fmla="*/ 2355465 w 2663946"/>
                <a:gd name="connsiteY562" fmla="*/ 115200 h 348332"/>
                <a:gd name="connsiteX563" fmla="*/ 2356006 w 2663946"/>
                <a:gd name="connsiteY563" fmla="*/ 114660 h 348332"/>
                <a:gd name="connsiteX564" fmla="*/ 2356006 w 2663946"/>
                <a:gd name="connsiteY564" fmla="*/ 68695 h 348332"/>
                <a:gd name="connsiteX565" fmla="*/ 2355465 w 2663946"/>
                <a:gd name="connsiteY565" fmla="*/ 68154 h 348332"/>
                <a:gd name="connsiteX566" fmla="*/ 2349517 w 2663946"/>
                <a:gd name="connsiteY566" fmla="*/ 68154 h 348332"/>
                <a:gd name="connsiteX567" fmla="*/ 2342216 w 2663946"/>
                <a:gd name="connsiteY567" fmla="*/ 63558 h 348332"/>
                <a:gd name="connsiteX568" fmla="*/ 2341946 w 2663946"/>
                <a:gd name="connsiteY568" fmla="*/ 57880 h 348332"/>
                <a:gd name="connsiteX569" fmla="*/ 2349246 w 2663946"/>
                <a:gd name="connsiteY569" fmla="*/ 52743 h 348332"/>
                <a:gd name="connsiteX570" fmla="*/ 2361413 w 2663946"/>
                <a:gd name="connsiteY570" fmla="*/ 52472 h 348332"/>
                <a:gd name="connsiteX571" fmla="*/ 2285396 w 2663946"/>
                <a:gd name="connsiteY571" fmla="*/ 52472 h 348332"/>
                <a:gd name="connsiteX572" fmla="*/ 2289452 w 2663946"/>
                <a:gd name="connsiteY572" fmla="*/ 52472 h 348332"/>
                <a:gd name="connsiteX573" fmla="*/ 2294048 w 2663946"/>
                <a:gd name="connsiteY573" fmla="*/ 54906 h 348332"/>
                <a:gd name="connsiteX574" fmla="*/ 2296212 w 2663946"/>
                <a:gd name="connsiteY574" fmla="*/ 61124 h 348332"/>
                <a:gd name="connsiteX575" fmla="*/ 2296212 w 2663946"/>
                <a:gd name="connsiteY575" fmla="*/ 61665 h 348332"/>
                <a:gd name="connsiteX576" fmla="*/ 2296212 w 2663946"/>
                <a:gd name="connsiteY576" fmla="*/ 114660 h 348332"/>
                <a:gd name="connsiteX577" fmla="*/ 2296752 w 2663946"/>
                <a:gd name="connsiteY577" fmla="*/ 115200 h 348332"/>
                <a:gd name="connsiteX578" fmla="*/ 2304052 w 2663946"/>
                <a:gd name="connsiteY578" fmla="*/ 115200 h 348332"/>
                <a:gd name="connsiteX579" fmla="*/ 2308108 w 2663946"/>
                <a:gd name="connsiteY579" fmla="*/ 116282 h 348332"/>
                <a:gd name="connsiteX580" fmla="*/ 2311893 w 2663946"/>
                <a:gd name="connsiteY580" fmla="*/ 123041 h 348332"/>
                <a:gd name="connsiteX581" fmla="*/ 2309190 w 2663946"/>
                <a:gd name="connsiteY581" fmla="*/ 128719 h 348332"/>
                <a:gd name="connsiteX582" fmla="*/ 2305134 w 2663946"/>
                <a:gd name="connsiteY582" fmla="*/ 130612 h 348332"/>
                <a:gd name="connsiteX583" fmla="*/ 2304864 w 2663946"/>
                <a:gd name="connsiteY583" fmla="*/ 130612 h 348332"/>
                <a:gd name="connsiteX584" fmla="*/ 2304593 w 2663946"/>
                <a:gd name="connsiteY584" fmla="*/ 130612 h 348332"/>
                <a:gd name="connsiteX585" fmla="*/ 2304052 w 2663946"/>
                <a:gd name="connsiteY585" fmla="*/ 130612 h 348332"/>
                <a:gd name="connsiteX586" fmla="*/ 2271877 w 2663946"/>
                <a:gd name="connsiteY586" fmla="*/ 130612 h 348332"/>
                <a:gd name="connsiteX587" fmla="*/ 2271337 w 2663946"/>
                <a:gd name="connsiteY587" fmla="*/ 130612 h 348332"/>
                <a:gd name="connsiteX588" fmla="*/ 2270525 w 2663946"/>
                <a:gd name="connsiteY588" fmla="*/ 130612 h 348332"/>
                <a:gd name="connsiteX589" fmla="*/ 2269714 w 2663946"/>
                <a:gd name="connsiteY589" fmla="*/ 130342 h 348332"/>
                <a:gd name="connsiteX590" fmla="*/ 2266199 w 2663946"/>
                <a:gd name="connsiteY590" fmla="*/ 128449 h 348332"/>
                <a:gd name="connsiteX591" fmla="*/ 2263766 w 2663946"/>
                <a:gd name="connsiteY591" fmla="*/ 122771 h 348332"/>
                <a:gd name="connsiteX592" fmla="*/ 2265929 w 2663946"/>
                <a:gd name="connsiteY592" fmla="*/ 117634 h 348332"/>
                <a:gd name="connsiteX593" fmla="*/ 2271607 w 2663946"/>
                <a:gd name="connsiteY593" fmla="*/ 115200 h 348332"/>
                <a:gd name="connsiteX594" fmla="*/ 2279448 w 2663946"/>
                <a:gd name="connsiteY594" fmla="*/ 115200 h 348332"/>
                <a:gd name="connsiteX595" fmla="*/ 2279989 w 2663946"/>
                <a:gd name="connsiteY595" fmla="*/ 114660 h 348332"/>
                <a:gd name="connsiteX596" fmla="*/ 2279989 w 2663946"/>
                <a:gd name="connsiteY596" fmla="*/ 68695 h 348332"/>
                <a:gd name="connsiteX597" fmla="*/ 2279448 w 2663946"/>
                <a:gd name="connsiteY597" fmla="*/ 68154 h 348332"/>
                <a:gd name="connsiteX598" fmla="*/ 2273500 w 2663946"/>
                <a:gd name="connsiteY598" fmla="*/ 68154 h 348332"/>
                <a:gd name="connsiteX599" fmla="*/ 2266199 w 2663946"/>
                <a:gd name="connsiteY599" fmla="*/ 63558 h 348332"/>
                <a:gd name="connsiteX600" fmla="*/ 2265929 w 2663946"/>
                <a:gd name="connsiteY600" fmla="*/ 57880 h 348332"/>
                <a:gd name="connsiteX601" fmla="*/ 2273229 w 2663946"/>
                <a:gd name="connsiteY601" fmla="*/ 52743 h 348332"/>
                <a:gd name="connsiteX602" fmla="*/ 2285396 w 2663946"/>
                <a:gd name="connsiteY602" fmla="*/ 52472 h 348332"/>
                <a:gd name="connsiteX603" fmla="*/ 1936416 w 2663946"/>
                <a:gd name="connsiteY603" fmla="*/ 52472 h 348332"/>
                <a:gd name="connsiteX604" fmla="*/ 1940472 w 2663946"/>
                <a:gd name="connsiteY604" fmla="*/ 52472 h 348332"/>
                <a:gd name="connsiteX605" fmla="*/ 1945068 w 2663946"/>
                <a:gd name="connsiteY605" fmla="*/ 54906 h 348332"/>
                <a:gd name="connsiteX606" fmla="*/ 1947232 w 2663946"/>
                <a:gd name="connsiteY606" fmla="*/ 61124 h 348332"/>
                <a:gd name="connsiteX607" fmla="*/ 1947232 w 2663946"/>
                <a:gd name="connsiteY607" fmla="*/ 61665 h 348332"/>
                <a:gd name="connsiteX608" fmla="*/ 1947232 w 2663946"/>
                <a:gd name="connsiteY608" fmla="*/ 114660 h 348332"/>
                <a:gd name="connsiteX609" fmla="*/ 1947772 w 2663946"/>
                <a:gd name="connsiteY609" fmla="*/ 115200 h 348332"/>
                <a:gd name="connsiteX610" fmla="*/ 1955072 w 2663946"/>
                <a:gd name="connsiteY610" fmla="*/ 115200 h 348332"/>
                <a:gd name="connsiteX611" fmla="*/ 1959128 w 2663946"/>
                <a:gd name="connsiteY611" fmla="*/ 116282 h 348332"/>
                <a:gd name="connsiteX612" fmla="*/ 1962913 w 2663946"/>
                <a:gd name="connsiteY612" fmla="*/ 123041 h 348332"/>
                <a:gd name="connsiteX613" fmla="*/ 1960210 w 2663946"/>
                <a:gd name="connsiteY613" fmla="*/ 128719 h 348332"/>
                <a:gd name="connsiteX614" fmla="*/ 1956154 w 2663946"/>
                <a:gd name="connsiteY614" fmla="*/ 130612 h 348332"/>
                <a:gd name="connsiteX615" fmla="*/ 1955884 w 2663946"/>
                <a:gd name="connsiteY615" fmla="*/ 130612 h 348332"/>
                <a:gd name="connsiteX616" fmla="*/ 1955613 w 2663946"/>
                <a:gd name="connsiteY616" fmla="*/ 130612 h 348332"/>
                <a:gd name="connsiteX617" fmla="*/ 1955072 w 2663946"/>
                <a:gd name="connsiteY617" fmla="*/ 130612 h 348332"/>
                <a:gd name="connsiteX618" fmla="*/ 1922897 w 2663946"/>
                <a:gd name="connsiteY618" fmla="*/ 130612 h 348332"/>
                <a:gd name="connsiteX619" fmla="*/ 1922357 w 2663946"/>
                <a:gd name="connsiteY619" fmla="*/ 130612 h 348332"/>
                <a:gd name="connsiteX620" fmla="*/ 1921545 w 2663946"/>
                <a:gd name="connsiteY620" fmla="*/ 130612 h 348332"/>
                <a:gd name="connsiteX621" fmla="*/ 1920734 w 2663946"/>
                <a:gd name="connsiteY621" fmla="*/ 130342 h 348332"/>
                <a:gd name="connsiteX622" fmla="*/ 1917219 w 2663946"/>
                <a:gd name="connsiteY622" fmla="*/ 128449 h 348332"/>
                <a:gd name="connsiteX623" fmla="*/ 1914786 w 2663946"/>
                <a:gd name="connsiteY623" fmla="*/ 122771 h 348332"/>
                <a:gd name="connsiteX624" fmla="*/ 1916949 w 2663946"/>
                <a:gd name="connsiteY624" fmla="*/ 117634 h 348332"/>
                <a:gd name="connsiteX625" fmla="*/ 1922627 w 2663946"/>
                <a:gd name="connsiteY625" fmla="*/ 115200 h 348332"/>
                <a:gd name="connsiteX626" fmla="*/ 1930468 w 2663946"/>
                <a:gd name="connsiteY626" fmla="*/ 115200 h 348332"/>
                <a:gd name="connsiteX627" fmla="*/ 1931009 w 2663946"/>
                <a:gd name="connsiteY627" fmla="*/ 114660 h 348332"/>
                <a:gd name="connsiteX628" fmla="*/ 1931009 w 2663946"/>
                <a:gd name="connsiteY628" fmla="*/ 68695 h 348332"/>
                <a:gd name="connsiteX629" fmla="*/ 1930468 w 2663946"/>
                <a:gd name="connsiteY629" fmla="*/ 68154 h 348332"/>
                <a:gd name="connsiteX630" fmla="*/ 1924520 w 2663946"/>
                <a:gd name="connsiteY630" fmla="*/ 68154 h 348332"/>
                <a:gd name="connsiteX631" fmla="*/ 1917219 w 2663946"/>
                <a:gd name="connsiteY631" fmla="*/ 63558 h 348332"/>
                <a:gd name="connsiteX632" fmla="*/ 1916949 w 2663946"/>
                <a:gd name="connsiteY632" fmla="*/ 57880 h 348332"/>
                <a:gd name="connsiteX633" fmla="*/ 1924249 w 2663946"/>
                <a:gd name="connsiteY633" fmla="*/ 52743 h 348332"/>
                <a:gd name="connsiteX634" fmla="*/ 1936416 w 2663946"/>
                <a:gd name="connsiteY634" fmla="*/ 52472 h 348332"/>
                <a:gd name="connsiteX635" fmla="*/ 1678521 w 2663946"/>
                <a:gd name="connsiteY635" fmla="*/ 52472 h 348332"/>
                <a:gd name="connsiteX636" fmla="*/ 1682577 w 2663946"/>
                <a:gd name="connsiteY636" fmla="*/ 52472 h 348332"/>
                <a:gd name="connsiteX637" fmla="*/ 1687173 w 2663946"/>
                <a:gd name="connsiteY637" fmla="*/ 54906 h 348332"/>
                <a:gd name="connsiteX638" fmla="*/ 1689336 w 2663946"/>
                <a:gd name="connsiteY638" fmla="*/ 61124 h 348332"/>
                <a:gd name="connsiteX639" fmla="*/ 1689336 w 2663946"/>
                <a:gd name="connsiteY639" fmla="*/ 61665 h 348332"/>
                <a:gd name="connsiteX640" fmla="*/ 1689336 w 2663946"/>
                <a:gd name="connsiteY640" fmla="*/ 114660 h 348332"/>
                <a:gd name="connsiteX641" fmla="*/ 1689877 w 2663946"/>
                <a:gd name="connsiteY641" fmla="*/ 115200 h 348332"/>
                <a:gd name="connsiteX642" fmla="*/ 1697177 w 2663946"/>
                <a:gd name="connsiteY642" fmla="*/ 115200 h 348332"/>
                <a:gd name="connsiteX643" fmla="*/ 1701233 w 2663946"/>
                <a:gd name="connsiteY643" fmla="*/ 116282 h 348332"/>
                <a:gd name="connsiteX644" fmla="*/ 1705018 w 2663946"/>
                <a:gd name="connsiteY644" fmla="*/ 123041 h 348332"/>
                <a:gd name="connsiteX645" fmla="*/ 1702315 w 2663946"/>
                <a:gd name="connsiteY645" fmla="*/ 128719 h 348332"/>
                <a:gd name="connsiteX646" fmla="*/ 1698259 w 2663946"/>
                <a:gd name="connsiteY646" fmla="*/ 130612 h 348332"/>
                <a:gd name="connsiteX647" fmla="*/ 1697989 w 2663946"/>
                <a:gd name="connsiteY647" fmla="*/ 130612 h 348332"/>
                <a:gd name="connsiteX648" fmla="*/ 1697718 w 2663946"/>
                <a:gd name="connsiteY648" fmla="*/ 130612 h 348332"/>
                <a:gd name="connsiteX649" fmla="*/ 1697177 w 2663946"/>
                <a:gd name="connsiteY649" fmla="*/ 130612 h 348332"/>
                <a:gd name="connsiteX650" fmla="*/ 1665002 w 2663946"/>
                <a:gd name="connsiteY650" fmla="*/ 130612 h 348332"/>
                <a:gd name="connsiteX651" fmla="*/ 1664462 w 2663946"/>
                <a:gd name="connsiteY651" fmla="*/ 130612 h 348332"/>
                <a:gd name="connsiteX652" fmla="*/ 1663650 w 2663946"/>
                <a:gd name="connsiteY652" fmla="*/ 130612 h 348332"/>
                <a:gd name="connsiteX653" fmla="*/ 1662839 w 2663946"/>
                <a:gd name="connsiteY653" fmla="*/ 130342 h 348332"/>
                <a:gd name="connsiteX654" fmla="*/ 1659324 w 2663946"/>
                <a:gd name="connsiteY654" fmla="*/ 128449 h 348332"/>
                <a:gd name="connsiteX655" fmla="*/ 1656891 w 2663946"/>
                <a:gd name="connsiteY655" fmla="*/ 122771 h 348332"/>
                <a:gd name="connsiteX656" fmla="*/ 1659054 w 2663946"/>
                <a:gd name="connsiteY656" fmla="*/ 117634 h 348332"/>
                <a:gd name="connsiteX657" fmla="*/ 1664732 w 2663946"/>
                <a:gd name="connsiteY657" fmla="*/ 115200 h 348332"/>
                <a:gd name="connsiteX658" fmla="*/ 1672573 w 2663946"/>
                <a:gd name="connsiteY658" fmla="*/ 115200 h 348332"/>
                <a:gd name="connsiteX659" fmla="*/ 1673114 w 2663946"/>
                <a:gd name="connsiteY659" fmla="*/ 114660 h 348332"/>
                <a:gd name="connsiteX660" fmla="*/ 1673114 w 2663946"/>
                <a:gd name="connsiteY660" fmla="*/ 68695 h 348332"/>
                <a:gd name="connsiteX661" fmla="*/ 1672573 w 2663946"/>
                <a:gd name="connsiteY661" fmla="*/ 68154 h 348332"/>
                <a:gd name="connsiteX662" fmla="*/ 1666625 w 2663946"/>
                <a:gd name="connsiteY662" fmla="*/ 68154 h 348332"/>
                <a:gd name="connsiteX663" fmla="*/ 1659324 w 2663946"/>
                <a:gd name="connsiteY663" fmla="*/ 63558 h 348332"/>
                <a:gd name="connsiteX664" fmla="*/ 1659054 w 2663946"/>
                <a:gd name="connsiteY664" fmla="*/ 57880 h 348332"/>
                <a:gd name="connsiteX665" fmla="*/ 1666354 w 2663946"/>
                <a:gd name="connsiteY665" fmla="*/ 52743 h 348332"/>
                <a:gd name="connsiteX666" fmla="*/ 1678521 w 2663946"/>
                <a:gd name="connsiteY666" fmla="*/ 52472 h 348332"/>
                <a:gd name="connsiteX667" fmla="*/ 1329614 w 2663946"/>
                <a:gd name="connsiteY667" fmla="*/ 52472 h 348332"/>
                <a:gd name="connsiteX668" fmla="*/ 1333670 w 2663946"/>
                <a:gd name="connsiteY668" fmla="*/ 52472 h 348332"/>
                <a:gd name="connsiteX669" fmla="*/ 1338266 w 2663946"/>
                <a:gd name="connsiteY669" fmla="*/ 54906 h 348332"/>
                <a:gd name="connsiteX670" fmla="*/ 1340429 w 2663946"/>
                <a:gd name="connsiteY670" fmla="*/ 61124 h 348332"/>
                <a:gd name="connsiteX671" fmla="*/ 1340429 w 2663946"/>
                <a:gd name="connsiteY671" fmla="*/ 61665 h 348332"/>
                <a:gd name="connsiteX672" fmla="*/ 1340429 w 2663946"/>
                <a:gd name="connsiteY672" fmla="*/ 114660 h 348332"/>
                <a:gd name="connsiteX673" fmla="*/ 1340970 w 2663946"/>
                <a:gd name="connsiteY673" fmla="*/ 115200 h 348332"/>
                <a:gd name="connsiteX674" fmla="*/ 1348270 w 2663946"/>
                <a:gd name="connsiteY674" fmla="*/ 115200 h 348332"/>
                <a:gd name="connsiteX675" fmla="*/ 1352326 w 2663946"/>
                <a:gd name="connsiteY675" fmla="*/ 116282 h 348332"/>
                <a:gd name="connsiteX676" fmla="*/ 1356111 w 2663946"/>
                <a:gd name="connsiteY676" fmla="*/ 123041 h 348332"/>
                <a:gd name="connsiteX677" fmla="*/ 1353408 w 2663946"/>
                <a:gd name="connsiteY677" fmla="*/ 128719 h 348332"/>
                <a:gd name="connsiteX678" fmla="*/ 1349352 w 2663946"/>
                <a:gd name="connsiteY678" fmla="*/ 130612 h 348332"/>
                <a:gd name="connsiteX679" fmla="*/ 1349082 w 2663946"/>
                <a:gd name="connsiteY679" fmla="*/ 130612 h 348332"/>
                <a:gd name="connsiteX680" fmla="*/ 1348811 w 2663946"/>
                <a:gd name="connsiteY680" fmla="*/ 130612 h 348332"/>
                <a:gd name="connsiteX681" fmla="*/ 1348270 w 2663946"/>
                <a:gd name="connsiteY681" fmla="*/ 130612 h 348332"/>
                <a:gd name="connsiteX682" fmla="*/ 1316095 w 2663946"/>
                <a:gd name="connsiteY682" fmla="*/ 130612 h 348332"/>
                <a:gd name="connsiteX683" fmla="*/ 1315555 w 2663946"/>
                <a:gd name="connsiteY683" fmla="*/ 130612 h 348332"/>
                <a:gd name="connsiteX684" fmla="*/ 1314743 w 2663946"/>
                <a:gd name="connsiteY684" fmla="*/ 130612 h 348332"/>
                <a:gd name="connsiteX685" fmla="*/ 1313932 w 2663946"/>
                <a:gd name="connsiteY685" fmla="*/ 130342 h 348332"/>
                <a:gd name="connsiteX686" fmla="*/ 1310417 w 2663946"/>
                <a:gd name="connsiteY686" fmla="*/ 128449 h 348332"/>
                <a:gd name="connsiteX687" fmla="*/ 1307984 w 2663946"/>
                <a:gd name="connsiteY687" fmla="*/ 122771 h 348332"/>
                <a:gd name="connsiteX688" fmla="*/ 1310147 w 2663946"/>
                <a:gd name="connsiteY688" fmla="*/ 117634 h 348332"/>
                <a:gd name="connsiteX689" fmla="*/ 1315825 w 2663946"/>
                <a:gd name="connsiteY689" fmla="*/ 115200 h 348332"/>
                <a:gd name="connsiteX690" fmla="*/ 1323666 w 2663946"/>
                <a:gd name="connsiteY690" fmla="*/ 115200 h 348332"/>
                <a:gd name="connsiteX691" fmla="*/ 1324207 w 2663946"/>
                <a:gd name="connsiteY691" fmla="*/ 114660 h 348332"/>
                <a:gd name="connsiteX692" fmla="*/ 1324207 w 2663946"/>
                <a:gd name="connsiteY692" fmla="*/ 68695 h 348332"/>
                <a:gd name="connsiteX693" fmla="*/ 1323666 w 2663946"/>
                <a:gd name="connsiteY693" fmla="*/ 68154 h 348332"/>
                <a:gd name="connsiteX694" fmla="*/ 1317718 w 2663946"/>
                <a:gd name="connsiteY694" fmla="*/ 68154 h 348332"/>
                <a:gd name="connsiteX695" fmla="*/ 1310417 w 2663946"/>
                <a:gd name="connsiteY695" fmla="*/ 63558 h 348332"/>
                <a:gd name="connsiteX696" fmla="*/ 1310147 w 2663946"/>
                <a:gd name="connsiteY696" fmla="*/ 57880 h 348332"/>
                <a:gd name="connsiteX697" fmla="*/ 1317447 w 2663946"/>
                <a:gd name="connsiteY697" fmla="*/ 52743 h 348332"/>
                <a:gd name="connsiteX698" fmla="*/ 1329614 w 2663946"/>
                <a:gd name="connsiteY698" fmla="*/ 52472 h 348332"/>
                <a:gd name="connsiteX699" fmla="*/ 980634 w 2663946"/>
                <a:gd name="connsiteY699" fmla="*/ 52472 h 348332"/>
                <a:gd name="connsiteX700" fmla="*/ 984690 w 2663946"/>
                <a:gd name="connsiteY700" fmla="*/ 52472 h 348332"/>
                <a:gd name="connsiteX701" fmla="*/ 989286 w 2663946"/>
                <a:gd name="connsiteY701" fmla="*/ 54906 h 348332"/>
                <a:gd name="connsiteX702" fmla="*/ 991449 w 2663946"/>
                <a:gd name="connsiteY702" fmla="*/ 61124 h 348332"/>
                <a:gd name="connsiteX703" fmla="*/ 991449 w 2663946"/>
                <a:gd name="connsiteY703" fmla="*/ 61665 h 348332"/>
                <a:gd name="connsiteX704" fmla="*/ 991449 w 2663946"/>
                <a:gd name="connsiteY704" fmla="*/ 114660 h 348332"/>
                <a:gd name="connsiteX705" fmla="*/ 991990 w 2663946"/>
                <a:gd name="connsiteY705" fmla="*/ 115200 h 348332"/>
                <a:gd name="connsiteX706" fmla="*/ 999290 w 2663946"/>
                <a:gd name="connsiteY706" fmla="*/ 115200 h 348332"/>
                <a:gd name="connsiteX707" fmla="*/ 1003346 w 2663946"/>
                <a:gd name="connsiteY707" fmla="*/ 116282 h 348332"/>
                <a:gd name="connsiteX708" fmla="*/ 1007131 w 2663946"/>
                <a:gd name="connsiteY708" fmla="*/ 123041 h 348332"/>
                <a:gd name="connsiteX709" fmla="*/ 1004428 w 2663946"/>
                <a:gd name="connsiteY709" fmla="*/ 128719 h 348332"/>
                <a:gd name="connsiteX710" fmla="*/ 1000372 w 2663946"/>
                <a:gd name="connsiteY710" fmla="*/ 130612 h 348332"/>
                <a:gd name="connsiteX711" fmla="*/ 1000102 w 2663946"/>
                <a:gd name="connsiteY711" fmla="*/ 130612 h 348332"/>
                <a:gd name="connsiteX712" fmla="*/ 999831 w 2663946"/>
                <a:gd name="connsiteY712" fmla="*/ 130612 h 348332"/>
                <a:gd name="connsiteX713" fmla="*/ 999290 w 2663946"/>
                <a:gd name="connsiteY713" fmla="*/ 130612 h 348332"/>
                <a:gd name="connsiteX714" fmla="*/ 967115 w 2663946"/>
                <a:gd name="connsiteY714" fmla="*/ 130612 h 348332"/>
                <a:gd name="connsiteX715" fmla="*/ 966575 w 2663946"/>
                <a:gd name="connsiteY715" fmla="*/ 130612 h 348332"/>
                <a:gd name="connsiteX716" fmla="*/ 965763 w 2663946"/>
                <a:gd name="connsiteY716" fmla="*/ 130612 h 348332"/>
                <a:gd name="connsiteX717" fmla="*/ 964952 w 2663946"/>
                <a:gd name="connsiteY717" fmla="*/ 130342 h 348332"/>
                <a:gd name="connsiteX718" fmla="*/ 961437 w 2663946"/>
                <a:gd name="connsiteY718" fmla="*/ 128449 h 348332"/>
                <a:gd name="connsiteX719" fmla="*/ 959004 w 2663946"/>
                <a:gd name="connsiteY719" fmla="*/ 122771 h 348332"/>
                <a:gd name="connsiteX720" fmla="*/ 961167 w 2663946"/>
                <a:gd name="connsiteY720" fmla="*/ 117634 h 348332"/>
                <a:gd name="connsiteX721" fmla="*/ 966845 w 2663946"/>
                <a:gd name="connsiteY721" fmla="*/ 115200 h 348332"/>
                <a:gd name="connsiteX722" fmla="*/ 974686 w 2663946"/>
                <a:gd name="connsiteY722" fmla="*/ 115200 h 348332"/>
                <a:gd name="connsiteX723" fmla="*/ 975227 w 2663946"/>
                <a:gd name="connsiteY723" fmla="*/ 114660 h 348332"/>
                <a:gd name="connsiteX724" fmla="*/ 975227 w 2663946"/>
                <a:gd name="connsiteY724" fmla="*/ 68695 h 348332"/>
                <a:gd name="connsiteX725" fmla="*/ 974686 w 2663946"/>
                <a:gd name="connsiteY725" fmla="*/ 68154 h 348332"/>
                <a:gd name="connsiteX726" fmla="*/ 968738 w 2663946"/>
                <a:gd name="connsiteY726" fmla="*/ 68154 h 348332"/>
                <a:gd name="connsiteX727" fmla="*/ 961437 w 2663946"/>
                <a:gd name="connsiteY727" fmla="*/ 63558 h 348332"/>
                <a:gd name="connsiteX728" fmla="*/ 961167 w 2663946"/>
                <a:gd name="connsiteY728" fmla="*/ 57880 h 348332"/>
                <a:gd name="connsiteX729" fmla="*/ 968467 w 2663946"/>
                <a:gd name="connsiteY729" fmla="*/ 52743 h 348332"/>
                <a:gd name="connsiteX730" fmla="*/ 980634 w 2663946"/>
                <a:gd name="connsiteY730" fmla="*/ 52472 h 348332"/>
                <a:gd name="connsiteX731" fmla="*/ 813605 w 2663946"/>
                <a:gd name="connsiteY731" fmla="*/ 52472 h 348332"/>
                <a:gd name="connsiteX732" fmla="*/ 817661 w 2663946"/>
                <a:gd name="connsiteY732" fmla="*/ 52472 h 348332"/>
                <a:gd name="connsiteX733" fmla="*/ 822257 w 2663946"/>
                <a:gd name="connsiteY733" fmla="*/ 54906 h 348332"/>
                <a:gd name="connsiteX734" fmla="*/ 824420 w 2663946"/>
                <a:gd name="connsiteY734" fmla="*/ 61124 h 348332"/>
                <a:gd name="connsiteX735" fmla="*/ 824420 w 2663946"/>
                <a:gd name="connsiteY735" fmla="*/ 61665 h 348332"/>
                <a:gd name="connsiteX736" fmla="*/ 824420 w 2663946"/>
                <a:gd name="connsiteY736" fmla="*/ 114660 h 348332"/>
                <a:gd name="connsiteX737" fmla="*/ 824961 w 2663946"/>
                <a:gd name="connsiteY737" fmla="*/ 115200 h 348332"/>
                <a:gd name="connsiteX738" fmla="*/ 832261 w 2663946"/>
                <a:gd name="connsiteY738" fmla="*/ 115200 h 348332"/>
                <a:gd name="connsiteX739" fmla="*/ 836317 w 2663946"/>
                <a:gd name="connsiteY739" fmla="*/ 116282 h 348332"/>
                <a:gd name="connsiteX740" fmla="*/ 840102 w 2663946"/>
                <a:gd name="connsiteY740" fmla="*/ 123041 h 348332"/>
                <a:gd name="connsiteX741" fmla="*/ 837399 w 2663946"/>
                <a:gd name="connsiteY741" fmla="*/ 128719 h 348332"/>
                <a:gd name="connsiteX742" fmla="*/ 833343 w 2663946"/>
                <a:gd name="connsiteY742" fmla="*/ 130612 h 348332"/>
                <a:gd name="connsiteX743" fmla="*/ 833073 w 2663946"/>
                <a:gd name="connsiteY743" fmla="*/ 130612 h 348332"/>
                <a:gd name="connsiteX744" fmla="*/ 832802 w 2663946"/>
                <a:gd name="connsiteY744" fmla="*/ 130612 h 348332"/>
                <a:gd name="connsiteX745" fmla="*/ 832261 w 2663946"/>
                <a:gd name="connsiteY745" fmla="*/ 130612 h 348332"/>
                <a:gd name="connsiteX746" fmla="*/ 800086 w 2663946"/>
                <a:gd name="connsiteY746" fmla="*/ 130612 h 348332"/>
                <a:gd name="connsiteX747" fmla="*/ 799546 w 2663946"/>
                <a:gd name="connsiteY747" fmla="*/ 130612 h 348332"/>
                <a:gd name="connsiteX748" fmla="*/ 798734 w 2663946"/>
                <a:gd name="connsiteY748" fmla="*/ 130612 h 348332"/>
                <a:gd name="connsiteX749" fmla="*/ 797923 w 2663946"/>
                <a:gd name="connsiteY749" fmla="*/ 130342 h 348332"/>
                <a:gd name="connsiteX750" fmla="*/ 794408 w 2663946"/>
                <a:gd name="connsiteY750" fmla="*/ 128449 h 348332"/>
                <a:gd name="connsiteX751" fmla="*/ 791975 w 2663946"/>
                <a:gd name="connsiteY751" fmla="*/ 122771 h 348332"/>
                <a:gd name="connsiteX752" fmla="*/ 794138 w 2663946"/>
                <a:gd name="connsiteY752" fmla="*/ 117634 h 348332"/>
                <a:gd name="connsiteX753" fmla="*/ 799816 w 2663946"/>
                <a:gd name="connsiteY753" fmla="*/ 115200 h 348332"/>
                <a:gd name="connsiteX754" fmla="*/ 807657 w 2663946"/>
                <a:gd name="connsiteY754" fmla="*/ 115200 h 348332"/>
                <a:gd name="connsiteX755" fmla="*/ 808198 w 2663946"/>
                <a:gd name="connsiteY755" fmla="*/ 114660 h 348332"/>
                <a:gd name="connsiteX756" fmla="*/ 808198 w 2663946"/>
                <a:gd name="connsiteY756" fmla="*/ 68695 h 348332"/>
                <a:gd name="connsiteX757" fmla="*/ 807657 w 2663946"/>
                <a:gd name="connsiteY757" fmla="*/ 68154 h 348332"/>
                <a:gd name="connsiteX758" fmla="*/ 801709 w 2663946"/>
                <a:gd name="connsiteY758" fmla="*/ 68154 h 348332"/>
                <a:gd name="connsiteX759" fmla="*/ 794408 w 2663946"/>
                <a:gd name="connsiteY759" fmla="*/ 63558 h 348332"/>
                <a:gd name="connsiteX760" fmla="*/ 794138 w 2663946"/>
                <a:gd name="connsiteY760" fmla="*/ 57880 h 348332"/>
                <a:gd name="connsiteX761" fmla="*/ 801438 w 2663946"/>
                <a:gd name="connsiteY761" fmla="*/ 52743 h 348332"/>
                <a:gd name="connsiteX762" fmla="*/ 813605 w 2663946"/>
                <a:gd name="connsiteY762" fmla="*/ 52472 h 348332"/>
                <a:gd name="connsiteX763" fmla="*/ 282748 w 2663946"/>
                <a:gd name="connsiteY763" fmla="*/ 52472 h 348332"/>
                <a:gd name="connsiteX764" fmla="*/ 286803 w 2663946"/>
                <a:gd name="connsiteY764" fmla="*/ 52472 h 348332"/>
                <a:gd name="connsiteX765" fmla="*/ 291400 w 2663946"/>
                <a:gd name="connsiteY765" fmla="*/ 54906 h 348332"/>
                <a:gd name="connsiteX766" fmla="*/ 293563 w 2663946"/>
                <a:gd name="connsiteY766" fmla="*/ 61124 h 348332"/>
                <a:gd name="connsiteX767" fmla="*/ 293563 w 2663946"/>
                <a:gd name="connsiteY767" fmla="*/ 61665 h 348332"/>
                <a:gd name="connsiteX768" fmla="*/ 293563 w 2663946"/>
                <a:gd name="connsiteY768" fmla="*/ 114660 h 348332"/>
                <a:gd name="connsiteX769" fmla="*/ 294104 w 2663946"/>
                <a:gd name="connsiteY769" fmla="*/ 115200 h 348332"/>
                <a:gd name="connsiteX770" fmla="*/ 301404 w 2663946"/>
                <a:gd name="connsiteY770" fmla="*/ 115200 h 348332"/>
                <a:gd name="connsiteX771" fmla="*/ 305460 w 2663946"/>
                <a:gd name="connsiteY771" fmla="*/ 116282 h 348332"/>
                <a:gd name="connsiteX772" fmla="*/ 309245 w 2663946"/>
                <a:gd name="connsiteY772" fmla="*/ 123041 h 348332"/>
                <a:gd name="connsiteX773" fmla="*/ 306541 w 2663946"/>
                <a:gd name="connsiteY773" fmla="*/ 128719 h 348332"/>
                <a:gd name="connsiteX774" fmla="*/ 302485 w 2663946"/>
                <a:gd name="connsiteY774" fmla="*/ 130612 h 348332"/>
                <a:gd name="connsiteX775" fmla="*/ 302215 w 2663946"/>
                <a:gd name="connsiteY775" fmla="*/ 130612 h 348332"/>
                <a:gd name="connsiteX776" fmla="*/ 301945 w 2663946"/>
                <a:gd name="connsiteY776" fmla="*/ 130612 h 348332"/>
                <a:gd name="connsiteX777" fmla="*/ 301404 w 2663946"/>
                <a:gd name="connsiteY777" fmla="*/ 130612 h 348332"/>
                <a:gd name="connsiteX778" fmla="*/ 269229 w 2663946"/>
                <a:gd name="connsiteY778" fmla="*/ 130612 h 348332"/>
                <a:gd name="connsiteX779" fmla="*/ 268688 w 2663946"/>
                <a:gd name="connsiteY779" fmla="*/ 130612 h 348332"/>
                <a:gd name="connsiteX780" fmla="*/ 267877 w 2663946"/>
                <a:gd name="connsiteY780" fmla="*/ 130612 h 348332"/>
                <a:gd name="connsiteX781" fmla="*/ 267066 w 2663946"/>
                <a:gd name="connsiteY781" fmla="*/ 130342 h 348332"/>
                <a:gd name="connsiteX782" fmla="*/ 263551 w 2663946"/>
                <a:gd name="connsiteY782" fmla="*/ 128449 h 348332"/>
                <a:gd name="connsiteX783" fmla="*/ 261117 w 2663946"/>
                <a:gd name="connsiteY783" fmla="*/ 122771 h 348332"/>
                <a:gd name="connsiteX784" fmla="*/ 263281 w 2663946"/>
                <a:gd name="connsiteY784" fmla="*/ 117634 h 348332"/>
                <a:gd name="connsiteX785" fmla="*/ 268958 w 2663946"/>
                <a:gd name="connsiteY785" fmla="*/ 115200 h 348332"/>
                <a:gd name="connsiteX786" fmla="*/ 276800 w 2663946"/>
                <a:gd name="connsiteY786" fmla="*/ 115200 h 348332"/>
                <a:gd name="connsiteX787" fmla="*/ 277340 w 2663946"/>
                <a:gd name="connsiteY787" fmla="*/ 114660 h 348332"/>
                <a:gd name="connsiteX788" fmla="*/ 277340 w 2663946"/>
                <a:gd name="connsiteY788" fmla="*/ 68695 h 348332"/>
                <a:gd name="connsiteX789" fmla="*/ 276800 w 2663946"/>
                <a:gd name="connsiteY789" fmla="*/ 68154 h 348332"/>
                <a:gd name="connsiteX790" fmla="*/ 270851 w 2663946"/>
                <a:gd name="connsiteY790" fmla="*/ 68154 h 348332"/>
                <a:gd name="connsiteX791" fmla="*/ 263551 w 2663946"/>
                <a:gd name="connsiteY791" fmla="*/ 63558 h 348332"/>
                <a:gd name="connsiteX792" fmla="*/ 263281 w 2663946"/>
                <a:gd name="connsiteY792" fmla="*/ 57880 h 348332"/>
                <a:gd name="connsiteX793" fmla="*/ 270581 w 2663946"/>
                <a:gd name="connsiteY793" fmla="*/ 52743 h 348332"/>
                <a:gd name="connsiteX794" fmla="*/ 282748 w 2663946"/>
                <a:gd name="connsiteY794" fmla="*/ 52472 h 348332"/>
                <a:gd name="connsiteX795" fmla="*/ 206731 w 2663946"/>
                <a:gd name="connsiteY795" fmla="*/ 52472 h 348332"/>
                <a:gd name="connsiteX796" fmla="*/ 210787 w 2663946"/>
                <a:gd name="connsiteY796" fmla="*/ 52472 h 348332"/>
                <a:gd name="connsiteX797" fmla="*/ 215383 w 2663946"/>
                <a:gd name="connsiteY797" fmla="*/ 54906 h 348332"/>
                <a:gd name="connsiteX798" fmla="*/ 217546 w 2663946"/>
                <a:gd name="connsiteY798" fmla="*/ 61124 h 348332"/>
                <a:gd name="connsiteX799" fmla="*/ 217546 w 2663946"/>
                <a:gd name="connsiteY799" fmla="*/ 61665 h 348332"/>
                <a:gd name="connsiteX800" fmla="*/ 217546 w 2663946"/>
                <a:gd name="connsiteY800" fmla="*/ 114660 h 348332"/>
                <a:gd name="connsiteX801" fmla="*/ 218087 w 2663946"/>
                <a:gd name="connsiteY801" fmla="*/ 115200 h 348332"/>
                <a:gd name="connsiteX802" fmla="*/ 225387 w 2663946"/>
                <a:gd name="connsiteY802" fmla="*/ 115200 h 348332"/>
                <a:gd name="connsiteX803" fmla="*/ 229443 w 2663946"/>
                <a:gd name="connsiteY803" fmla="*/ 116282 h 348332"/>
                <a:gd name="connsiteX804" fmla="*/ 233228 w 2663946"/>
                <a:gd name="connsiteY804" fmla="*/ 123041 h 348332"/>
                <a:gd name="connsiteX805" fmla="*/ 230524 w 2663946"/>
                <a:gd name="connsiteY805" fmla="*/ 128719 h 348332"/>
                <a:gd name="connsiteX806" fmla="*/ 226468 w 2663946"/>
                <a:gd name="connsiteY806" fmla="*/ 130612 h 348332"/>
                <a:gd name="connsiteX807" fmla="*/ 226198 w 2663946"/>
                <a:gd name="connsiteY807" fmla="*/ 130612 h 348332"/>
                <a:gd name="connsiteX808" fmla="*/ 225928 w 2663946"/>
                <a:gd name="connsiteY808" fmla="*/ 130612 h 348332"/>
                <a:gd name="connsiteX809" fmla="*/ 225387 w 2663946"/>
                <a:gd name="connsiteY809" fmla="*/ 130612 h 348332"/>
                <a:gd name="connsiteX810" fmla="*/ 193212 w 2663946"/>
                <a:gd name="connsiteY810" fmla="*/ 130612 h 348332"/>
                <a:gd name="connsiteX811" fmla="*/ 192671 w 2663946"/>
                <a:gd name="connsiteY811" fmla="*/ 130612 h 348332"/>
                <a:gd name="connsiteX812" fmla="*/ 191860 w 2663946"/>
                <a:gd name="connsiteY812" fmla="*/ 130612 h 348332"/>
                <a:gd name="connsiteX813" fmla="*/ 191049 w 2663946"/>
                <a:gd name="connsiteY813" fmla="*/ 130342 h 348332"/>
                <a:gd name="connsiteX814" fmla="*/ 187534 w 2663946"/>
                <a:gd name="connsiteY814" fmla="*/ 128449 h 348332"/>
                <a:gd name="connsiteX815" fmla="*/ 185101 w 2663946"/>
                <a:gd name="connsiteY815" fmla="*/ 122771 h 348332"/>
                <a:gd name="connsiteX816" fmla="*/ 187264 w 2663946"/>
                <a:gd name="connsiteY816" fmla="*/ 117634 h 348332"/>
                <a:gd name="connsiteX817" fmla="*/ 192942 w 2663946"/>
                <a:gd name="connsiteY817" fmla="*/ 115200 h 348332"/>
                <a:gd name="connsiteX818" fmla="*/ 200783 w 2663946"/>
                <a:gd name="connsiteY818" fmla="*/ 115200 h 348332"/>
                <a:gd name="connsiteX819" fmla="*/ 201323 w 2663946"/>
                <a:gd name="connsiteY819" fmla="*/ 114660 h 348332"/>
                <a:gd name="connsiteX820" fmla="*/ 201323 w 2663946"/>
                <a:gd name="connsiteY820" fmla="*/ 68695 h 348332"/>
                <a:gd name="connsiteX821" fmla="*/ 200783 w 2663946"/>
                <a:gd name="connsiteY821" fmla="*/ 68154 h 348332"/>
                <a:gd name="connsiteX822" fmla="*/ 194834 w 2663946"/>
                <a:gd name="connsiteY822" fmla="*/ 68154 h 348332"/>
                <a:gd name="connsiteX823" fmla="*/ 187534 w 2663946"/>
                <a:gd name="connsiteY823" fmla="*/ 63558 h 348332"/>
                <a:gd name="connsiteX824" fmla="*/ 187264 w 2663946"/>
                <a:gd name="connsiteY824" fmla="*/ 57880 h 348332"/>
                <a:gd name="connsiteX825" fmla="*/ 194564 w 2663946"/>
                <a:gd name="connsiteY825" fmla="*/ 52743 h 348332"/>
                <a:gd name="connsiteX826" fmla="*/ 206731 w 2663946"/>
                <a:gd name="connsiteY826" fmla="*/ 52472 h 348332"/>
                <a:gd name="connsiteX827" fmla="*/ 2627559 w 2663946"/>
                <a:gd name="connsiteY827" fmla="*/ 52403 h 348332"/>
                <a:gd name="connsiteX828" fmla="*/ 2639849 w 2663946"/>
                <a:gd name="connsiteY828" fmla="*/ 54566 h 348332"/>
                <a:gd name="connsiteX829" fmla="*/ 2647223 w 2663946"/>
                <a:gd name="connsiteY829" fmla="*/ 59163 h 348332"/>
                <a:gd name="connsiteX830" fmla="*/ 2650664 w 2663946"/>
                <a:gd name="connsiteY830" fmla="*/ 62407 h 348332"/>
                <a:gd name="connsiteX831" fmla="*/ 2654106 w 2663946"/>
                <a:gd name="connsiteY831" fmla="*/ 66733 h 348332"/>
                <a:gd name="connsiteX832" fmla="*/ 2656072 w 2663946"/>
                <a:gd name="connsiteY832" fmla="*/ 70248 h 348332"/>
                <a:gd name="connsiteX833" fmla="*/ 2658284 w 2663946"/>
                <a:gd name="connsiteY833" fmla="*/ 75656 h 348332"/>
                <a:gd name="connsiteX834" fmla="*/ 2659267 w 2663946"/>
                <a:gd name="connsiteY834" fmla="*/ 79171 h 348332"/>
                <a:gd name="connsiteX835" fmla="*/ 2660251 w 2663946"/>
                <a:gd name="connsiteY835" fmla="*/ 84308 h 348332"/>
                <a:gd name="connsiteX836" fmla="*/ 2660005 w 2663946"/>
                <a:gd name="connsiteY836" fmla="*/ 98638 h 348332"/>
                <a:gd name="connsiteX837" fmla="*/ 2659022 w 2663946"/>
                <a:gd name="connsiteY837" fmla="*/ 103505 h 348332"/>
                <a:gd name="connsiteX838" fmla="*/ 2657792 w 2663946"/>
                <a:gd name="connsiteY838" fmla="*/ 107290 h 348332"/>
                <a:gd name="connsiteX839" fmla="*/ 2656809 w 2663946"/>
                <a:gd name="connsiteY839" fmla="*/ 109724 h 348332"/>
                <a:gd name="connsiteX840" fmla="*/ 2654597 w 2663946"/>
                <a:gd name="connsiteY840" fmla="*/ 114050 h 348332"/>
                <a:gd name="connsiteX841" fmla="*/ 2652385 w 2663946"/>
                <a:gd name="connsiteY841" fmla="*/ 117294 h 348332"/>
                <a:gd name="connsiteX842" fmla="*/ 2648944 w 2663946"/>
                <a:gd name="connsiteY842" fmla="*/ 121080 h 348332"/>
                <a:gd name="connsiteX843" fmla="*/ 2645748 w 2663946"/>
                <a:gd name="connsiteY843" fmla="*/ 123783 h 348332"/>
                <a:gd name="connsiteX844" fmla="*/ 2640095 w 2663946"/>
                <a:gd name="connsiteY844" fmla="*/ 127028 h 348332"/>
                <a:gd name="connsiteX845" fmla="*/ 2632229 w 2663946"/>
                <a:gd name="connsiteY845" fmla="*/ 129191 h 348332"/>
                <a:gd name="connsiteX846" fmla="*/ 2631000 w 2663946"/>
                <a:gd name="connsiteY846" fmla="*/ 129462 h 348332"/>
                <a:gd name="connsiteX847" fmla="*/ 2626821 w 2663946"/>
                <a:gd name="connsiteY847" fmla="*/ 129462 h 348332"/>
                <a:gd name="connsiteX848" fmla="*/ 2626576 w 2663946"/>
                <a:gd name="connsiteY848" fmla="*/ 129462 h 348332"/>
                <a:gd name="connsiteX849" fmla="*/ 2613548 w 2663946"/>
                <a:gd name="connsiteY849" fmla="*/ 124595 h 348332"/>
                <a:gd name="connsiteX850" fmla="*/ 2608878 w 2663946"/>
                <a:gd name="connsiteY850" fmla="*/ 120539 h 348332"/>
                <a:gd name="connsiteX851" fmla="*/ 2605682 w 2663946"/>
                <a:gd name="connsiteY851" fmla="*/ 116754 h 348332"/>
                <a:gd name="connsiteX852" fmla="*/ 2603470 w 2663946"/>
                <a:gd name="connsiteY852" fmla="*/ 113239 h 348332"/>
                <a:gd name="connsiteX853" fmla="*/ 2601258 w 2663946"/>
                <a:gd name="connsiteY853" fmla="*/ 108913 h 348332"/>
                <a:gd name="connsiteX854" fmla="*/ 2600029 w 2663946"/>
                <a:gd name="connsiteY854" fmla="*/ 105938 h 348332"/>
                <a:gd name="connsiteX855" fmla="*/ 2599046 w 2663946"/>
                <a:gd name="connsiteY855" fmla="*/ 102694 h 348332"/>
                <a:gd name="connsiteX856" fmla="*/ 2597816 w 2663946"/>
                <a:gd name="connsiteY856" fmla="*/ 97016 h 348332"/>
                <a:gd name="connsiteX857" fmla="*/ 2597571 w 2663946"/>
                <a:gd name="connsiteY857" fmla="*/ 94042 h 348332"/>
                <a:gd name="connsiteX858" fmla="*/ 2597816 w 2663946"/>
                <a:gd name="connsiteY858" fmla="*/ 94312 h 348332"/>
                <a:gd name="connsiteX859" fmla="*/ 2597816 w 2663946"/>
                <a:gd name="connsiteY859" fmla="*/ 88634 h 348332"/>
                <a:gd name="connsiteX860" fmla="*/ 2597816 w 2663946"/>
                <a:gd name="connsiteY860" fmla="*/ 88364 h 348332"/>
                <a:gd name="connsiteX861" fmla="*/ 2598308 w 2663946"/>
                <a:gd name="connsiteY861" fmla="*/ 83767 h 348332"/>
                <a:gd name="connsiteX862" fmla="*/ 2599537 w 2663946"/>
                <a:gd name="connsiteY862" fmla="*/ 78360 h 348332"/>
                <a:gd name="connsiteX863" fmla="*/ 2600520 w 2663946"/>
                <a:gd name="connsiteY863" fmla="*/ 75115 h 348332"/>
                <a:gd name="connsiteX864" fmla="*/ 2602732 w 2663946"/>
                <a:gd name="connsiteY864" fmla="*/ 69978 h 348332"/>
                <a:gd name="connsiteX865" fmla="*/ 2604945 w 2663946"/>
                <a:gd name="connsiteY865" fmla="*/ 66193 h 348332"/>
                <a:gd name="connsiteX866" fmla="*/ 2607157 w 2663946"/>
                <a:gd name="connsiteY866" fmla="*/ 63218 h 348332"/>
                <a:gd name="connsiteX867" fmla="*/ 2609369 w 2663946"/>
                <a:gd name="connsiteY867" fmla="*/ 60785 h 348332"/>
                <a:gd name="connsiteX868" fmla="*/ 2614039 w 2663946"/>
                <a:gd name="connsiteY868" fmla="*/ 57000 h 348332"/>
                <a:gd name="connsiteX869" fmla="*/ 2617972 w 2663946"/>
                <a:gd name="connsiteY869" fmla="*/ 54837 h 348332"/>
                <a:gd name="connsiteX870" fmla="*/ 2627559 w 2663946"/>
                <a:gd name="connsiteY870" fmla="*/ 52403 h 348332"/>
                <a:gd name="connsiteX871" fmla="*/ 2445604 w 2663946"/>
                <a:gd name="connsiteY871" fmla="*/ 52403 h 348332"/>
                <a:gd name="connsiteX872" fmla="*/ 2457894 w 2663946"/>
                <a:gd name="connsiteY872" fmla="*/ 54566 h 348332"/>
                <a:gd name="connsiteX873" fmla="*/ 2465268 w 2663946"/>
                <a:gd name="connsiteY873" fmla="*/ 59163 h 348332"/>
                <a:gd name="connsiteX874" fmla="*/ 2468709 w 2663946"/>
                <a:gd name="connsiteY874" fmla="*/ 62407 h 348332"/>
                <a:gd name="connsiteX875" fmla="*/ 2472151 w 2663946"/>
                <a:gd name="connsiteY875" fmla="*/ 66733 h 348332"/>
                <a:gd name="connsiteX876" fmla="*/ 2474117 w 2663946"/>
                <a:gd name="connsiteY876" fmla="*/ 70248 h 348332"/>
                <a:gd name="connsiteX877" fmla="*/ 2476329 w 2663946"/>
                <a:gd name="connsiteY877" fmla="*/ 75656 h 348332"/>
                <a:gd name="connsiteX878" fmla="*/ 2477312 w 2663946"/>
                <a:gd name="connsiteY878" fmla="*/ 79171 h 348332"/>
                <a:gd name="connsiteX879" fmla="*/ 2478296 w 2663946"/>
                <a:gd name="connsiteY879" fmla="*/ 84308 h 348332"/>
                <a:gd name="connsiteX880" fmla="*/ 2478050 w 2663946"/>
                <a:gd name="connsiteY880" fmla="*/ 98638 h 348332"/>
                <a:gd name="connsiteX881" fmla="*/ 2477067 w 2663946"/>
                <a:gd name="connsiteY881" fmla="*/ 103505 h 348332"/>
                <a:gd name="connsiteX882" fmla="*/ 2475837 w 2663946"/>
                <a:gd name="connsiteY882" fmla="*/ 107290 h 348332"/>
                <a:gd name="connsiteX883" fmla="*/ 2474854 w 2663946"/>
                <a:gd name="connsiteY883" fmla="*/ 109724 h 348332"/>
                <a:gd name="connsiteX884" fmla="*/ 2472642 w 2663946"/>
                <a:gd name="connsiteY884" fmla="*/ 114050 h 348332"/>
                <a:gd name="connsiteX885" fmla="*/ 2470430 w 2663946"/>
                <a:gd name="connsiteY885" fmla="*/ 117294 h 348332"/>
                <a:gd name="connsiteX886" fmla="*/ 2466989 w 2663946"/>
                <a:gd name="connsiteY886" fmla="*/ 121080 h 348332"/>
                <a:gd name="connsiteX887" fmla="*/ 2463793 w 2663946"/>
                <a:gd name="connsiteY887" fmla="*/ 123783 h 348332"/>
                <a:gd name="connsiteX888" fmla="*/ 2458140 w 2663946"/>
                <a:gd name="connsiteY888" fmla="*/ 127028 h 348332"/>
                <a:gd name="connsiteX889" fmla="*/ 2450274 w 2663946"/>
                <a:gd name="connsiteY889" fmla="*/ 129191 h 348332"/>
                <a:gd name="connsiteX890" fmla="*/ 2449045 w 2663946"/>
                <a:gd name="connsiteY890" fmla="*/ 129462 h 348332"/>
                <a:gd name="connsiteX891" fmla="*/ 2444866 w 2663946"/>
                <a:gd name="connsiteY891" fmla="*/ 129462 h 348332"/>
                <a:gd name="connsiteX892" fmla="*/ 2444621 w 2663946"/>
                <a:gd name="connsiteY892" fmla="*/ 129462 h 348332"/>
                <a:gd name="connsiteX893" fmla="*/ 2431593 w 2663946"/>
                <a:gd name="connsiteY893" fmla="*/ 124595 h 348332"/>
                <a:gd name="connsiteX894" fmla="*/ 2426923 w 2663946"/>
                <a:gd name="connsiteY894" fmla="*/ 120539 h 348332"/>
                <a:gd name="connsiteX895" fmla="*/ 2423727 w 2663946"/>
                <a:gd name="connsiteY895" fmla="*/ 116754 h 348332"/>
                <a:gd name="connsiteX896" fmla="*/ 2421515 w 2663946"/>
                <a:gd name="connsiteY896" fmla="*/ 113239 h 348332"/>
                <a:gd name="connsiteX897" fmla="*/ 2419303 w 2663946"/>
                <a:gd name="connsiteY897" fmla="*/ 108913 h 348332"/>
                <a:gd name="connsiteX898" fmla="*/ 2418074 w 2663946"/>
                <a:gd name="connsiteY898" fmla="*/ 105938 h 348332"/>
                <a:gd name="connsiteX899" fmla="*/ 2417091 w 2663946"/>
                <a:gd name="connsiteY899" fmla="*/ 102694 h 348332"/>
                <a:gd name="connsiteX900" fmla="*/ 2415861 w 2663946"/>
                <a:gd name="connsiteY900" fmla="*/ 97016 h 348332"/>
                <a:gd name="connsiteX901" fmla="*/ 2415616 w 2663946"/>
                <a:gd name="connsiteY901" fmla="*/ 94042 h 348332"/>
                <a:gd name="connsiteX902" fmla="*/ 2415861 w 2663946"/>
                <a:gd name="connsiteY902" fmla="*/ 94312 h 348332"/>
                <a:gd name="connsiteX903" fmla="*/ 2415861 w 2663946"/>
                <a:gd name="connsiteY903" fmla="*/ 88634 h 348332"/>
                <a:gd name="connsiteX904" fmla="*/ 2415861 w 2663946"/>
                <a:gd name="connsiteY904" fmla="*/ 88364 h 348332"/>
                <a:gd name="connsiteX905" fmla="*/ 2416353 w 2663946"/>
                <a:gd name="connsiteY905" fmla="*/ 83767 h 348332"/>
                <a:gd name="connsiteX906" fmla="*/ 2417582 w 2663946"/>
                <a:gd name="connsiteY906" fmla="*/ 78360 h 348332"/>
                <a:gd name="connsiteX907" fmla="*/ 2418565 w 2663946"/>
                <a:gd name="connsiteY907" fmla="*/ 75115 h 348332"/>
                <a:gd name="connsiteX908" fmla="*/ 2420777 w 2663946"/>
                <a:gd name="connsiteY908" fmla="*/ 69978 h 348332"/>
                <a:gd name="connsiteX909" fmla="*/ 2422990 w 2663946"/>
                <a:gd name="connsiteY909" fmla="*/ 66193 h 348332"/>
                <a:gd name="connsiteX910" fmla="*/ 2425202 w 2663946"/>
                <a:gd name="connsiteY910" fmla="*/ 63218 h 348332"/>
                <a:gd name="connsiteX911" fmla="*/ 2427414 w 2663946"/>
                <a:gd name="connsiteY911" fmla="*/ 60785 h 348332"/>
                <a:gd name="connsiteX912" fmla="*/ 2432084 w 2663946"/>
                <a:gd name="connsiteY912" fmla="*/ 57000 h 348332"/>
                <a:gd name="connsiteX913" fmla="*/ 2436017 w 2663946"/>
                <a:gd name="connsiteY913" fmla="*/ 54837 h 348332"/>
                <a:gd name="connsiteX914" fmla="*/ 2445604 w 2663946"/>
                <a:gd name="connsiteY914" fmla="*/ 52403 h 348332"/>
                <a:gd name="connsiteX915" fmla="*/ 2202558 w 2663946"/>
                <a:gd name="connsiteY915" fmla="*/ 52403 h 348332"/>
                <a:gd name="connsiteX916" fmla="*/ 2214848 w 2663946"/>
                <a:gd name="connsiteY916" fmla="*/ 54566 h 348332"/>
                <a:gd name="connsiteX917" fmla="*/ 2222222 w 2663946"/>
                <a:gd name="connsiteY917" fmla="*/ 59163 h 348332"/>
                <a:gd name="connsiteX918" fmla="*/ 2225663 w 2663946"/>
                <a:gd name="connsiteY918" fmla="*/ 62407 h 348332"/>
                <a:gd name="connsiteX919" fmla="*/ 2229105 w 2663946"/>
                <a:gd name="connsiteY919" fmla="*/ 66733 h 348332"/>
                <a:gd name="connsiteX920" fmla="*/ 2231071 w 2663946"/>
                <a:gd name="connsiteY920" fmla="*/ 70248 h 348332"/>
                <a:gd name="connsiteX921" fmla="*/ 2233283 w 2663946"/>
                <a:gd name="connsiteY921" fmla="*/ 75656 h 348332"/>
                <a:gd name="connsiteX922" fmla="*/ 2234266 w 2663946"/>
                <a:gd name="connsiteY922" fmla="*/ 79171 h 348332"/>
                <a:gd name="connsiteX923" fmla="*/ 2235250 w 2663946"/>
                <a:gd name="connsiteY923" fmla="*/ 84308 h 348332"/>
                <a:gd name="connsiteX924" fmla="*/ 2235004 w 2663946"/>
                <a:gd name="connsiteY924" fmla="*/ 98638 h 348332"/>
                <a:gd name="connsiteX925" fmla="*/ 2234021 w 2663946"/>
                <a:gd name="connsiteY925" fmla="*/ 103505 h 348332"/>
                <a:gd name="connsiteX926" fmla="*/ 2232791 w 2663946"/>
                <a:gd name="connsiteY926" fmla="*/ 107290 h 348332"/>
                <a:gd name="connsiteX927" fmla="*/ 2231808 w 2663946"/>
                <a:gd name="connsiteY927" fmla="*/ 109724 h 348332"/>
                <a:gd name="connsiteX928" fmla="*/ 2229596 w 2663946"/>
                <a:gd name="connsiteY928" fmla="*/ 114050 h 348332"/>
                <a:gd name="connsiteX929" fmla="*/ 2227384 w 2663946"/>
                <a:gd name="connsiteY929" fmla="*/ 117294 h 348332"/>
                <a:gd name="connsiteX930" fmla="*/ 2223943 w 2663946"/>
                <a:gd name="connsiteY930" fmla="*/ 121080 h 348332"/>
                <a:gd name="connsiteX931" fmla="*/ 2220747 w 2663946"/>
                <a:gd name="connsiteY931" fmla="*/ 123783 h 348332"/>
                <a:gd name="connsiteX932" fmla="*/ 2215094 w 2663946"/>
                <a:gd name="connsiteY932" fmla="*/ 127028 h 348332"/>
                <a:gd name="connsiteX933" fmla="*/ 2207228 w 2663946"/>
                <a:gd name="connsiteY933" fmla="*/ 129191 h 348332"/>
                <a:gd name="connsiteX934" fmla="*/ 2205999 w 2663946"/>
                <a:gd name="connsiteY934" fmla="*/ 129462 h 348332"/>
                <a:gd name="connsiteX935" fmla="*/ 2201820 w 2663946"/>
                <a:gd name="connsiteY935" fmla="*/ 129462 h 348332"/>
                <a:gd name="connsiteX936" fmla="*/ 2201575 w 2663946"/>
                <a:gd name="connsiteY936" fmla="*/ 129462 h 348332"/>
                <a:gd name="connsiteX937" fmla="*/ 2188547 w 2663946"/>
                <a:gd name="connsiteY937" fmla="*/ 124595 h 348332"/>
                <a:gd name="connsiteX938" fmla="*/ 2183877 w 2663946"/>
                <a:gd name="connsiteY938" fmla="*/ 120539 h 348332"/>
                <a:gd name="connsiteX939" fmla="*/ 2180681 w 2663946"/>
                <a:gd name="connsiteY939" fmla="*/ 116754 h 348332"/>
                <a:gd name="connsiteX940" fmla="*/ 2178469 w 2663946"/>
                <a:gd name="connsiteY940" fmla="*/ 113239 h 348332"/>
                <a:gd name="connsiteX941" fmla="*/ 2176257 w 2663946"/>
                <a:gd name="connsiteY941" fmla="*/ 108913 h 348332"/>
                <a:gd name="connsiteX942" fmla="*/ 2175028 w 2663946"/>
                <a:gd name="connsiteY942" fmla="*/ 105938 h 348332"/>
                <a:gd name="connsiteX943" fmla="*/ 2174045 w 2663946"/>
                <a:gd name="connsiteY943" fmla="*/ 102694 h 348332"/>
                <a:gd name="connsiteX944" fmla="*/ 2172815 w 2663946"/>
                <a:gd name="connsiteY944" fmla="*/ 97016 h 348332"/>
                <a:gd name="connsiteX945" fmla="*/ 2172570 w 2663946"/>
                <a:gd name="connsiteY945" fmla="*/ 94042 h 348332"/>
                <a:gd name="connsiteX946" fmla="*/ 2172815 w 2663946"/>
                <a:gd name="connsiteY946" fmla="*/ 94312 h 348332"/>
                <a:gd name="connsiteX947" fmla="*/ 2172815 w 2663946"/>
                <a:gd name="connsiteY947" fmla="*/ 88634 h 348332"/>
                <a:gd name="connsiteX948" fmla="*/ 2172815 w 2663946"/>
                <a:gd name="connsiteY948" fmla="*/ 88364 h 348332"/>
                <a:gd name="connsiteX949" fmla="*/ 2173307 w 2663946"/>
                <a:gd name="connsiteY949" fmla="*/ 83767 h 348332"/>
                <a:gd name="connsiteX950" fmla="*/ 2174536 w 2663946"/>
                <a:gd name="connsiteY950" fmla="*/ 78360 h 348332"/>
                <a:gd name="connsiteX951" fmla="*/ 2175519 w 2663946"/>
                <a:gd name="connsiteY951" fmla="*/ 75115 h 348332"/>
                <a:gd name="connsiteX952" fmla="*/ 2177731 w 2663946"/>
                <a:gd name="connsiteY952" fmla="*/ 69978 h 348332"/>
                <a:gd name="connsiteX953" fmla="*/ 2179944 w 2663946"/>
                <a:gd name="connsiteY953" fmla="*/ 66193 h 348332"/>
                <a:gd name="connsiteX954" fmla="*/ 2182156 w 2663946"/>
                <a:gd name="connsiteY954" fmla="*/ 63218 h 348332"/>
                <a:gd name="connsiteX955" fmla="*/ 2184368 w 2663946"/>
                <a:gd name="connsiteY955" fmla="*/ 60785 h 348332"/>
                <a:gd name="connsiteX956" fmla="*/ 2189038 w 2663946"/>
                <a:gd name="connsiteY956" fmla="*/ 57000 h 348332"/>
                <a:gd name="connsiteX957" fmla="*/ 2192971 w 2663946"/>
                <a:gd name="connsiteY957" fmla="*/ 54837 h 348332"/>
                <a:gd name="connsiteX958" fmla="*/ 2202558 w 2663946"/>
                <a:gd name="connsiteY958" fmla="*/ 52403 h 348332"/>
                <a:gd name="connsiteX959" fmla="*/ 2020607 w 2663946"/>
                <a:gd name="connsiteY959" fmla="*/ 52403 h 348332"/>
                <a:gd name="connsiteX960" fmla="*/ 2032897 w 2663946"/>
                <a:gd name="connsiteY960" fmla="*/ 54566 h 348332"/>
                <a:gd name="connsiteX961" fmla="*/ 2040271 w 2663946"/>
                <a:gd name="connsiteY961" fmla="*/ 59163 h 348332"/>
                <a:gd name="connsiteX962" fmla="*/ 2043712 w 2663946"/>
                <a:gd name="connsiteY962" fmla="*/ 62407 h 348332"/>
                <a:gd name="connsiteX963" fmla="*/ 2047154 w 2663946"/>
                <a:gd name="connsiteY963" fmla="*/ 66733 h 348332"/>
                <a:gd name="connsiteX964" fmla="*/ 2049120 w 2663946"/>
                <a:gd name="connsiteY964" fmla="*/ 70248 h 348332"/>
                <a:gd name="connsiteX965" fmla="*/ 2051332 w 2663946"/>
                <a:gd name="connsiteY965" fmla="*/ 75656 h 348332"/>
                <a:gd name="connsiteX966" fmla="*/ 2052315 w 2663946"/>
                <a:gd name="connsiteY966" fmla="*/ 79171 h 348332"/>
                <a:gd name="connsiteX967" fmla="*/ 2053299 w 2663946"/>
                <a:gd name="connsiteY967" fmla="*/ 84308 h 348332"/>
                <a:gd name="connsiteX968" fmla="*/ 2053053 w 2663946"/>
                <a:gd name="connsiteY968" fmla="*/ 98638 h 348332"/>
                <a:gd name="connsiteX969" fmla="*/ 2052070 w 2663946"/>
                <a:gd name="connsiteY969" fmla="*/ 103505 h 348332"/>
                <a:gd name="connsiteX970" fmla="*/ 2050840 w 2663946"/>
                <a:gd name="connsiteY970" fmla="*/ 107290 h 348332"/>
                <a:gd name="connsiteX971" fmla="*/ 2049857 w 2663946"/>
                <a:gd name="connsiteY971" fmla="*/ 109724 h 348332"/>
                <a:gd name="connsiteX972" fmla="*/ 2047645 w 2663946"/>
                <a:gd name="connsiteY972" fmla="*/ 114050 h 348332"/>
                <a:gd name="connsiteX973" fmla="*/ 2045433 w 2663946"/>
                <a:gd name="connsiteY973" fmla="*/ 117294 h 348332"/>
                <a:gd name="connsiteX974" fmla="*/ 2041992 w 2663946"/>
                <a:gd name="connsiteY974" fmla="*/ 121080 h 348332"/>
                <a:gd name="connsiteX975" fmla="*/ 2038796 w 2663946"/>
                <a:gd name="connsiteY975" fmla="*/ 123783 h 348332"/>
                <a:gd name="connsiteX976" fmla="*/ 2033143 w 2663946"/>
                <a:gd name="connsiteY976" fmla="*/ 127028 h 348332"/>
                <a:gd name="connsiteX977" fmla="*/ 2025277 w 2663946"/>
                <a:gd name="connsiteY977" fmla="*/ 129191 h 348332"/>
                <a:gd name="connsiteX978" fmla="*/ 2024048 w 2663946"/>
                <a:gd name="connsiteY978" fmla="*/ 129462 h 348332"/>
                <a:gd name="connsiteX979" fmla="*/ 2019869 w 2663946"/>
                <a:gd name="connsiteY979" fmla="*/ 129462 h 348332"/>
                <a:gd name="connsiteX980" fmla="*/ 2019624 w 2663946"/>
                <a:gd name="connsiteY980" fmla="*/ 129462 h 348332"/>
                <a:gd name="connsiteX981" fmla="*/ 2006596 w 2663946"/>
                <a:gd name="connsiteY981" fmla="*/ 124595 h 348332"/>
                <a:gd name="connsiteX982" fmla="*/ 2001926 w 2663946"/>
                <a:gd name="connsiteY982" fmla="*/ 120539 h 348332"/>
                <a:gd name="connsiteX983" fmla="*/ 1998730 w 2663946"/>
                <a:gd name="connsiteY983" fmla="*/ 116754 h 348332"/>
                <a:gd name="connsiteX984" fmla="*/ 1996518 w 2663946"/>
                <a:gd name="connsiteY984" fmla="*/ 113239 h 348332"/>
                <a:gd name="connsiteX985" fmla="*/ 1994306 w 2663946"/>
                <a:gd name="connsiteY985" fmla="*/ 108913 h 348332"/>
                <a:gd name="connsiteX986" fmla="*/ 1993077 w 2663946"/>
                <a:gd name="connsiteY986" fmla="*/ 105938 h 348332"/>
                <a:gd name="connsiteX987" fmla="*/ 1992094 w 2663946"/>
                <a:gd name="connsiteY987" fmla="*/ 102694 h 348332"/>
                <a:gd name="connsiteX988" fmla="*/ 1990864 w 2663946"/>
                <a:gd name="connsiteY988" fmla="*/ 97016 h 348332"/>
                <a:gd name="connsiteX989" fmla="*/ 1990619 w 2663946"/>
                <a:gd name="connsiteY989" fmla="*/ 94042 h 348332"/>
                <a:gd name="connsiteX990" fmla="*/ 1990864 w 2663946"/>
                <a:gd name="connsiteY990" fmla="*/ 94312 h 348332"/>
                <a:gd name="connsiteX991" fmla="*/ 1990864 w 2663946"/>
                <a:gd name="connsiteY991" fmla="*/ 88634 h 348332"/>
                <a:gd name="connsiteX992" fmla="*/ 1990864 w 2663946"/>
                <a:gd name="connsiteY992" fmla="*/ 88364 h 348332"/>
                <a:gd name="connsiteX993" fmla="*/ 1991356 w 2663946"/>
                <a:gd name="connsiteY993" fmla="*/ 83767 h 348332"/>
                <a:gd name="connsiteX994" fmla="*/ 1992585 w 2663946"/>
                <a:gd name="connsiteY994" fmla="*/ 78360 h 348332"/>
                <a:gd name="connsiteX995" fmla="*/ 1993568 w 2663946"/>
                <a:gd name="connsiteY995" fmla="*/ 75115 h 348332"/>
                <a:gd name="connsiteX996" fmla="*/ 1995780 w 2663946"/>
                <a:gd name="connsiteY996" fmla="*/ 69978 h 348332"/>
                <a:gd name="connsiteX997" fmla="*/ 1997993 w 2663946"/>
                <a:gd name="connsiteY997" fmla="*/ 66193 h 348332"/>
                <a:gd name="connsiteX998" fmla="*/ 2000205 w 2663946"/>
                <a:gd name="connsiteY998" fmla="*/ 63218 h 348332"/>
                <a:gd name="connsiteX999" fmla="*/ 2002417 w 2663946"/>
                <a:gd name="connsiteY999" fmla="*/ 60785 h 348332"/>
                <a:gd name="connsiteX1000" fmla="*/ 2007087 w 2663946"/>
                <a:gd name="connsiteY1000" fmla="*/ 57000 h 348332"/>
                <a:gd name="connsiteX1001" fmla="*/ 2011020 w 2663946"/>
                <a:gd name="connsiteY1001" fmla="*/ 54837 h 348332"/>
                <a:gd name="connsiteX1002" fmla="*/ 2020607 w 2663946"/>
                <a:gd name="connsiteY1002" fmla="*/ 52403 h 348332"/>
                <a:gd name="connsiteX1003" fmla="*/ 1595683 w 2663946"/>
                <a:gd name="connsiteY1003" fmla="*/ 52403 h 348332"/>
                <a:gd name="connsiteX1004" fmla="*/ 1607973 w 2663946"/>
                <a:gd name="connsiteY1004" fmla="*/ 54566 h 348332"/>
                <a:gd name="connsiteX1005" fmla="*/ 1615347 w 2663946"/>
                <a:gd name="connsiteY1005" fmla="*/ 59163 h 348332"/>
                <a:gd name="connsiteX1006" fmla="*/ 1618788 w 2663946"/>
                <a:gd name="connsiteY1006" fmla="*/ 62407 h 348332"/>
                <a:gd name="connsiteX1007" fmla="*/ 1622230 w 2663946"/>
                <a:gd name="connsiteY1007" fmla="*/ 66733 h 348332"/>
                <a:gd name="connsiteX1008" fmla="*/ 1624196 w 2663946"/>
                <a:gd name="connsiteY1008" fmla="*/ 70248 h 348332"/>
                <a:gd name="connsiteX1009" fmla="*/ 1626408 w 2663946"/>
                <a:gd name="connsiteY1009" fmla="*/ 75656 h 348332"/>
                <a:gd name="connsiteX1010" fmla="*/ 1627391 w 2663946"/>
                <a:gd name="connsiteY1010" fmla="*/ 79171 h 348332"/>
                <a:gd name="connsiteX1011" fmla="*/ 1628374 w 2663946"/>
                <a:gd name="connsiteY1011" fmla="*/ 84308 h 348332"/>
                <a:gd name="connsiteX1012" fmla="*/ 1628129 w 2663946"/>
                <a:gd name="connsiteY1012" fmla="*/ 98638 h 348332"/>
                <a:gd name="connsiteX1013" fmla="*/ 1627146 w 2663946"/>
                <a:gd name="connsiteY1013" fmla="*/ 103505 h 348332"/>
                <a:gd name="connsiteX1014" fmla="*/ 1625916 w 2663946"/>
                <a:gd name="connsiteY1014" fmla="*/ 107290 h 348332"/>
                <a:gd name="connsiteX1015" fmla="*/ 1624933 w 2663946"/>
                <a:gd name="connsiteY1015" fmla="*/ 109724 h 348332"/>
                <a:gd name="connsiteX1016" fmla="*/ 1622721 w 2663946"/>
                <a:gd name="connsiteY1016" fmla="*/ 114050 h 348332"/>
                <a:gd name="connsiteX1017" fmla="*/ 1620509 w 2663946"/>
                <a:gd name="connsiteY1017" fmla="*/ 117294 h 348332"/>
                <a:gd name="connsiteX1018" fmla="*/ 1617068 w 2663946"/>
                <a:gd name="connsiteY1018" fmla="*/ 121080 h 348332"/>
                <a:gd name="connsiteX1019" fmla="*/ 1613872 w 2663946"/>
                <a:gd name="connsiteY1019" fmla="*/ 123783 h 348332"/>
                <a:gd name="connsiteX1020" fmla="*/ 1608219 w 2663946"/>
                <a:gd name="connsiteY1020" fmla="*/ 127028 h 348332"/>
                <a:gd name="connsiteX1021" fmla="*/ 1600353 w 2663946"/>
                <a:gd name="connsiteY1021" fmla="*/ 129191 h 348332"/>
                <a:gd name="connsiteX1022" fmla="*/ 1599124 w 2663946"/>
                <a:gd name="connsiteY1022" fmla="*/ 129462 h 348332"/>
                <a:gd name="connsiteX1023" fmla="*/ 1594945 w 2663946"/>
                <a:gd name="connsiteY1023" fmla="*/ 129462 h 348332"/>
                <a:gd name="connsiteX1024" fmla="*/ 1594699 w 2663946"/>
                <a:gd name="connsiteY1024" fmla="*/ 129462 h 348332"/>
                <a:gd name="connsiteX1025" fmla="*/ 1581672 w 2663946"/>
                <a:gd name="connsiteY1025" fmla="*/ 124595 h 348332"/>
                <a:gd name="connsiteX1026" fmla="*/ 1577002 w 2663946"/>
                <a:gd name="connsiteY1026" fmla="*/ 120539 h 348332"/>
                <a:gd name="connsiteX1027" fmla="*/ 1573806 w 2663946"/>
                <a:gd name="connsiteY1027" fmla="*/ 116754 h 348332"/>
                <a:gd name="connsiteX1028" fmla="*/ 1571594 w 2663946"/>
                <a:gd name="connsiteY1028" fmla="*/ 113239 h 348332"/>
                <a:gd name="connsiteX1029" fmla="*/ 1569382 w 2663946"/>
                <a:gd name="connsiteY1029" fmla="*/ 108913 h 348332"/>
                <a:gd name="connsiteX1030" fmla="*/ 1568153 w 2663946"/>
                <a:gd name="connsiteY1030" fmla="*/ 105938 h 348332"/>
                <a:gd name="connsiteX1031" fmla="*/ 1567169 w 2663946"/>
                <a:gd name="connsiteY1031" fmla="*/ 102694 h 348332"/>
                <a:gd name="connsiteX1032" fmla="*/ 1565940 w 2663946"/>
                <a:gd name="connsiteY1032" fmla="*/ 97016 h 348332"/>
                <a:gd name="connsiteX1033" fmla="*/ 1565695 w 2663946"/>
                <a:gd name="connsiteY1033" fmla="*/ 94042 h 348332"/>
                <a:gd name="connsiteX1034" fmla="*/ 1565940 w 2663946"/>
                <a:gd name="connsiteY1034" fmla="*/ 94312 h 348332"/>
                <a:gd name="connsiteX1035" fmla="*/ 1565940 w 2663946"/>
                <a:gd name="connsiteY1035" fmla="*/ 88634 h 348332"/>
                <a:gd name="connsiteX1036" fmla="*/ 1565940 w 2663946"/>
                <a:gd name="connsiteY1036" fmla="*/ 88364 h 348332"/>
                <a:gd name="connsiteX1037" fmla="*/ 1566432 w 2663946"/>
                <a:gd name="connsiteY1037" fmla="*/ 83767 h 348332"/>
                <a:gd name="connsiteX1038" fmla="*/ 1567661 w 2663946"/>
                <a:gd name="connsiteY1038" fmla="*/ 78360 h 348332"/>
                <a:gd name="connsiteX1039" fmla="*/ 1568644 w 2663946"/>
                <a:gd name="connsiteY1039" fmla="*/ 75115 h 348332"/>
                <a:gd name="connsiteX1040" fmla="*/ 1570856 w 2663946"/>
                <a:gd name="connsiteY1040" fmla="*/ 69978 h 348332"/>
                <a:gd name="connsiteX1041" fmla="*/ 1573069 w 2663946"/>
                <a:gd name="connsiteY1041" fmla="*/ 66193 h 348332"/>
                <a:gd name="connsiteX1042" fmla="*/ 1575281 w 2663946"/>
                <a:gd name="connsiteY1042" fmla="*/ 63218 h 348332"/>
                <a:gd name="connsiteX1043" fmla="*/ 1577493 w 2663946"/>
                <a:gd name="connsiteY1043" fmla="*/ 60785 h 348332"/>
                <a:gd name="connsiteX1044" fmla="*/ 1582163 w 2663946"/>
                <a:gd name="connsiteY1044" fmla="*/ 57000 h 348332"/>
                <a:gd name="connsiteX1045" fmla="*/ 1586096 w 2663946"/>
                <a:gd name="connsiteY1045" fmla="*/ 54837 h 348332"/>
                <a:gd name="connsiteX1046" fmla="*/ 1595683 w 2663946"/>
                <a:gd name="connsiteY1046" fmla="*/ 52403 h 348332"/>
                <a:gd name="connsiteX1047" fmla="*/ 1246776 w 2663946"/>
                <a:gd name="connsiteY1047" fmla="*/ 52403 h 348332"/>
                <a:gd name="connsiteX1048" fmla="*/ 1259066 w 2663946"/>
                <a:gd name="connsiteY1048" fmla="*/ 54566 h 348332"/>
                <a:gd name="connsiteX1049" fmla="*/ 1266440 w 2663946"/>
                <a:gd name="connsiteY1049" fmla="*/ 59163 h 348332"/>
                <a:gd name="connsiteX1050" fmla="*/ 1269881 w 2663946"/>
                <a:gd name="connsiteY1050" fmla="*/ 62407 h 348332"/>
                <a:gd name="connsiteX1051" fmla="*/ 1273323 w 2663946"/>
                <a:gd name="connsiteY1051" fmla="*/ 66733 h 348332"/>
                <a:gd name="connsiteX1052" fmla="*/ 1275289 w 2663946"/>
                <a:gd name="connsiteY1052" fmla="*/ 70248 h 348332"/>
                <a:gd name="connsiteX1053" fmla="*/ 1277501 w 2663946"/>
                <a:gd name="connsiteY1053" fmla="*/ 75656 h 348332"/>
                <a:gd name="connsiteX1054" fmla="*/ 1278484 w 2663946"/>
                <a:gd name="connsiteY1054" fmla="*/ 79171 h 348332"/>
                <a:gd name="connsiteX1055" fmla="*/ 1279467 w 2663946"/>
                <a:gd name="connsiteY1055" fmla="*/ 84308 h 348332"/>
                <a:gd name="connsiteX1056" fmla="*/ 1279222 w 2663946"/>
                <a:gd name="connsiteY1056" fmla="*/ 98638 h 348332"/>
                <a:gd name="connsiteX1057" fmla="*/ 1278239 w 2663946"/>
                <a:gd name="connsiteY1057" fmla="*/ 103505 h 348332"/>
                <a:gd name="connsiteX1058" fmla="*/ 1277009 w 2663946"/>
                <a:gd name="connsiteY1058" fmla="*/ 107290 h 348332"/>
                <a:gd name="connsiteX1059" fmla="*/ 1276026 w 2663946"/>
                <a:gd name="connsiteY1059" fmla="*/ 109724 h 348332"/>
                <a:gd name="connsiteX1060" fmla="*/ 1273814 w 2663946"/>
                <a:gd name="connsiteY1060" fmla="*/ 114050 h 348332"/>
                <a:gd name="connsiteX1061" fmla="*/ 1271602 w 2663946"/>
                <a:gd name="connsiteY1061" fmla="*/ 117294 h 348332"/>
                <a:gd name="connsiteX1062" fmla="*/ 1268161 w 2663946"/>
                <a:gd name="connsiteY1062" fmla="*/ 121080 h 348332"/>
                <a:gd name="connsiteX1063" fmla="*/ 1264965 w 2663946"/>
                <a:gd name="connsiteY1063" fmla="*/ 123783 h 348332"/>
                <a:gd name="connsiteX1064" fmla="*/ 1259312 w 2663946"/>
                <a:gd name="connsiteY1064" fmla="*/ 127028 h 348332"/>
                <a:gd name="connsiteX1065" fmla="*/ 1251446 w 2663946"/>
                <a:gd name="connsiteY1065" fmla="*/ 129191 h 348332"/>
                <a:gd name="connsiteX1066" fmla="*/ 1250217 w 2663946"/>
                <a:gd name="connsiteY1066" fmla="*/ 129462 h 348332"/>
                <a:gd name="connsiteX1067" fmla="*/ 1246038 w 2663946"/>
                <a:gd name="connsiteY1067" fmla="*/ 129462 h 348332"/>
                <a:gd name="connsiteX1068" fmla="*/ 1245792 w 2663946"/>
                <a:gd name="connsiteY1068" fmla="*/ 129462 h 348332"/>
                <a:gd name="connsiteX1069" fmla="*/ 1232765 w 2663946"/>
                <a:gd name="connsiteY1069" fmla="*/ 124595 h 348332"/>
                <a:gd name="connsiteX1070" fmla="*/ 1228095 w 2663946"/>
                <a:gd name="connsiteY1070" fmla="*/ 120539 h 348332"/>
                <a:gd name="connsiteX1071" fmla="*/ 1224899 w 2663946"/>
                <a:gd name="connsiteY1071" fmla="*/ 116754 h 348332"/>
                <a:gd name="connsiteX1072" fmla="*/ 1222687 w 2663946"/>
                <a:gd name="connsiteY1072" fmla="*/ 113239 h 348332"/>
                <a:gd name="connsiteX1073" fmla="*/ 1220475 w 2663946"/>
                <a:gd name="connsiteY1073" fmla="*/ 108913 h 348332"/>
                <a:gd name="connsiteX1074" fmla="*/ 1219246 w 2663946"/>
                <a:gd name="connsiteY1074" fmla="*/ 105938 h 348332"/>
                <a:gd name="connsiteX1075" fmla="*/ 1218262 w 2663946"/>
                <a:gd name="connsiteY1075" fmla="*/ 102694 h 348332"/>
                <a:gd name="connsiteX1076" fmla="*/ 1217033 w 2663946"/>
                <a:gd name="connsiteY1076" fmla="*/ 97016 h 348332"/>
                <a:gd name="connsiteX1077" fmla="*/ 1216788 w 2663946"/>
                <a:gd name="connsiteY1077" fmla="*/ 94042 h 348332"/>
                <a:gd name="connsiteX1078" fmla="*/ 1217033 w 2663946"/>
                <a:gd name="connsiteY1078" fmla="*/ 94312 h 348332"/>
                <a:gd name="connsiteX1079" fmla="*/ 1217033 w 2663946"/>
                <a:gd name="connsiteY1079" fmla="*/ 88634 h 348332"/>
                <a:gd name="connsiteX1080" fmla="*/ 1217033 w 2663946"/>
                <a:gd name="connsiteY1080" fmla="*/ 88364 h 348332"/>
                <a:gd name="connsiteX1081" fmla="*/ 1217525 w 2663946"/>
                <a:gd name="connsiteY1081" fmla="*/ 83767 h 348332"/>
                <a:gd name="connsiteX1082" fmla="*/ 1218754 w 2663946"/>
                <a:gd name="connsiteY1082" fmla="*/ 78360 h 348332"/>
                <a:gd name="connsiteX1083" fmla="*/ 1219737 w 2663946"/>
                <a:gd name="connsiteY1083" fmla="*/ 75115 h 348332"/>
                <a:gd name="connsiteX1084" fmla="*/ 1221949 w 2663946"/>
                <a:gd name="connsiteY1084" fmla="*/ 69978 h 348332"/>
                <a:gd name="connsiteX1085" fmla="*/ 1224162 w 2663946"/>
                <a:gd name="connsiteY1085" fmla="*/ 66193 h 348332"/>
                <a:gd name="connsiteX1086" fmla="*/ 1226374 w 2663946"/>
                <a:gd name="connsiteY1086" fmla="*/ 63218 h 348332"/>
                <a:gd name="connsiteX1087" fmla="*/ 1228586 w 2663946"/>
                <a:gd name="connsiteY1087" fmla="*/ 60785 h 348332"/>
                <a:gd name="connsiteX1088" fmla="*/ 1233256 w 2663946"/>
                <a:gd name="connsiteY1088" fmla="*/ 57000 h 348332"/>
                <a:gd name="connsiteX1089" fmla="*/ 1237189 w 2663946"/>
                <a:gd name="connsiteY1089" fmla="*/ 54837 h 348332"/>
                <a:gd name="connsiteX1090" fmla="*/ 1246776 w 2663946"/>
                <a:gd name="connsiteY1090" fmla="*/ 52403 h 348332"/>
                <a:gd name="connsiteX1091" fmla="*/ 1064825 w 2663946"/>
                <a:gd name="connsiteY1091" fmla="*/ 52403 h 348332"/>
                <a:gd name="connsiteX1092" fmla="*/ 1077115 w 2663946"/>
                <a:gd name="connsiteY1092" fmla="*/ 54566 h 348332"/>
                <a:gd name="connsiteX1093" fmla="*/ 1084489 w 2663946"/>
                <a:gd name="connsiteY1093" fmla="*/ 59163 h 348332"/>
                <a:gd name="connsiteX1094" fmla="*/ 1087930 w 2663946"/>
                <a:gd name="connsiteY1094" fmla="*/ 62407 h 348332"/>
                <a:gd name="connsiteX1095" fmla="*/ 1091372 w 2663946"/>
                <a:gd name="connsiteY1095" fmla="*/ 66733 h 348332"/>
                <a:gd name="connsiteX1096" fmla="*/ 1093338 w 2663946"/>
                <a:gd name="connsiteY1096" fmla="*/ 70248 h 348332"/>
                <a:gd name="connsiteX1097" fmla="*/ 1095550 w 2663946"/>
                <a:gd name="connsiteY1097" fmla="*/ 75656 h 348332"/>
                <a:gd name="connsiteX1098" fmla="*/ 1096533 w 2663946"/>
                <a:gd name="connsiteY1098" fmla="*/ 79171 h 348332"/>
                <a:gd name="connsiteX1099" fmla="*/ 1097516 w 2663946"/>
                <a:gd name="connsiteY1099" fmla="*/ 84308 h 348332"/>
                <a:gd name="connsiteX1100" fmla="*/ 1097271 w 2663946"/>
                <a:gd name="connsiteY1100" fmla="*/ 98638 h 348332"/>
                <a:gd name="connsiteX1101" fmla="*/ 1096288 w 2663946"/>
                <a:gd name="connsiteY1101" fmla="*/ 103505 h 348332"/>
                <a:gd name="connsiteX1102" fmla="*/ 1095058 w 2663946"/>
                <a:gd name="connsiteY1102" fmla="*/ 107290 h 348332"/>
                <a:gd name="connsiteX1103" fmla="*/ 1094075 w 2663946"/>
                <a:gd name="connsiteY1103" fmla="*/ 109724 h 348332"/>
                <a:gd name="connsiteX1104" fmla="*/ 1091863 w 2663946"/>
                <a:gd name="connsiteY1104" fmla="*/ 114050 h 348332"/>
                <a:gd name="connsiteX1105" fmla="*/ 1089651 w 2663946"/>
                <a:gd name="connsiteY1105" fmla="*/ 117294 h 348332"/>
                <a:gd name="connsiteX1106" fmla="*/ 1086210 w 2663946"/>
                <a:gd name="connsiteY1106" fmla="*/ 121080 h 348332"/>
                <a:gd name="connsiteX1107" fmla="*/ 1083014 w 2663946"/>
                <a:gd name="connsiteY1107" fmla="*/ 123783 h 348332"/>
                <a:gd name="connsiteX1108" fmla="*/ 1077361 w 2663946"/>
                <a:gd name="connsiteY1108" fmla="*/ 127028 h 348332"/>
                <a:gd name="connsiteX1109" fmla="*/ 1069495 w 2663946"/>
                <a:gd name="connsiteY1109" fmla="*/ 129191 h 348332"/>
                <a:gd name="connsiteX1110" fmla="*/ 1068266 w 2663946"/>
                <a:gd name="connsiteY1110" fmla="*/ 129462 h 348332"/>
                <a:gd name="connsiteX1111" fmla="*/ 1064087 w 2663946"/>
                <a:gd name="connsiteY1111" fmla="*/ 129462 h 348332"/>
                <a:gd name="connsiteX1112" fmla="*/ 1063841 w 2663946"/>
                <a:gd name="connsiteY1112" fmla="*/ 129462 h 348332"/>
                <a:gd name="connsiteX1113" fmla="*/ 1050814 w 2663946"/>
                <a:gd name="connsiteY1113" fmla="*/ 124595 h 348332"/>
                <a:gd name="connsiteX1114" fmla="*/ 1046144 w 2663946"/>
                <a:gd name="connsiteY1114" fmla="*/ 120539 h 348332"/>
                <a:gd name="connsiteX1115" fmla="*/ 1042948 w 2663946"/>
                <a:gd name="connsiteY1115" fmla="*/ 116754 h 348332"/>
                <a:gd name="connsiteX1116" fmla="*/ 1040736 w 2663946"/>
                <a:gd name="connsiteY1116" fmla="*/ 113239 h 348332"/>
                <a:gd name="connsiteX1117" fmla="*/ 1038524 w 2663946"/>
                <a:gd name="connsiteY1117" fmla="*/ 108913 h 348332"/>
                <a:gd name="connsiteX1118" fmla="*/ 1037295 w 2663946"/>
                <a:gd name="connsiteY1118" fmla="*/ 105938 h 348332"/>
                <a:gd name="connsiteX1119" fmla="*/ 1036311 w 2663946"/>
                <a:gd name="connsiteY1119" fmla="*/ 102694 h 348332"/>
                <a:gd name="connsiteX1120" fmla="*/ 1035082 w 2663946"/>
                <a:gd name="connsiteY1120" fmla="*/ 97016 h 348332"/>
                <a:gd name="connsiteX1121" fmla="*/ 1034837 w 2663946"/>
                <a:gd name="connsiteY1121" fmla="*/ 94042 h 348332"/>
                <a:gd name="connsiteX1122" fmla="*/ 1035082 w 2663946"/>
                <a:gd name="connsiteY1122" fmla="*/ 94312 h 348332"/>
                <a:gd name="connsiteX1123" fmla="*/ 1035082 w 2663946"/>
                <a:gd name="connsiteY1123" fmla="*/ 88634 h 348332"/>
                <a:gd name="connsiteX1124" fmla="*/ 1035082 w 2663946"/>
                <a:gd name="connsiteY1124" fmla="*/ 88364 h 348332"/>
                <a:gd name="connsiteX1125" fmla="*/ 1035574 w 2663946"/>
                <a:gd name="connsiteY1125" fmla="*/ 83767 h 348332"/>
                <a:gd name="connsiteX1126" fmla="*/ 1036803 w 2663946"/>
                <a:gd name="connsiteY1126" fmla="*/ 78360 h 348332"/>
                <a:gd name="connsiteX1127" fmla="*/ 1037786 w 2663946"/>
                <a:gd name="connsiteY1127" fmla="*/ 75115 h 348332"/>
                <a:gd name="connsiteX1128" fmla="*/ 1039998 w 2663946"/>
                <a:gd name="connsiteY1128" fmla="*/ 69978 h 348332"/>
                <a:gd name="connsiteX1129" fmla="*/ 1042211 w 2663946"/>
                <a:gd name="connsiteY1129" fmla="*/ 66193 h 348332"/>
                <a:gd name="connsiteX1130" fmla="*/ 1044423 w 2663946"/>
                <a:gd name="connsiteY1130" fmla="*/ 63218 h 348332"/>
                <a:gd name="connsiteX1131" fmla="*/ 1046635 w 2663946"/>
                <a:gd name="connsiteY1131" fmla="*/ 60785 h 348332"/>
                <a:gd name="connsiteX1132" fmla="*/ 1051305 w 2663946"/>
                <a:gd name="connsiteY1132" fmla="*/ 57000 h 348332"/>
                <a:gd name="connsiteX1133" fmla="*/ 1055238 w 2663946"/>
                <a:gd name="connsiteY1133" fmla="*/ 54837 h 348332"/>
                <a:gd name="connsiteX1134" fmla="*/ 1064825 w 2663946"/>
                <a:gd name="connsiteY1134" fmla="*/ 52403 h 348332"/>
                <a:gd name="connsiteX1135" fmla="*/ 897796 w 2663946"/>
                <a:gd name="connsiteY1135" fmla="*/ 52403 h 348332"/>
                <a:gd name="connsiteX1136" fmla="*/ 910086 w 2663946"/>
                <a:gd name="connsiteY1136" fmla="*/ 54566 h 348332"/>
                <a:gd name="connsiteX1137" fmla="*/ 917460 w 2663946"/>
                <a:gd name="connsiteY1137" fmla="*/ 59163 h 348332"/>
                <a:gd name="connsiteX1138" fmla="*/ 920901 w 2663946"/>
                <a:gd name="connsiteY1138" fmla="*/ 62407 h 348332"/>
                <a:gd name="connsiteX1139" fmla="*/ 924343 w 2663946"/>
                <a:gd name="connsiteY1139" fmla="*/ 66733 h 348332"/>
                <a:gd name="connsiteX1140" fmla="*/ 926309 w 2663946"/>
                <a:gd name="connsiteY1140" fmla="*/ 70248 h 348332"/>
                <a:gd name="connsiteX1141" fmla="*/ 928521 w 2663946"/>
                <a:gd name="connsiteY1141" fmla="*/ 75656 h 348332"/>
                <a:gd name="connsiteX1142" fmla="*/ 929504 w 2663946"/>
                <a:gd name="connsiteY1142" fmla="*/ 79171 h 348332"/>
                <a:gd name="connsiteX1143" fmla="*/ 930487 w 2663946"/>
                <a:gd name="connsiteY1143" fmla="*/ 84308 h 348332"/>
                <a:gd name="connsiteX1144" fmla="*/ 930242 w 2663946"/>
                <a:gd name="connsiteY1144" fmla="*/ 98638 h 348332"/>
                <a:gd name="connsiteX1145" fmla="*/ 929259 w 2663946"/>
                <a:gd name="connsiteY1145" fmla="*/ 103505 h 348332"/>
                <a:gd name="connsiteX1146" fmla="*/ 928029 w 2663946"/>
                <a:gd name="connsiteY1146" fmla="*/ 107290 h 348332"/>
                <a:gd name="connsiteX1147" fmla="*/ 927046 w 2663946"/>
                <a:gd name="connsiteY1147" fmla="*/ 109724 h 348332"/>
                <a:gd name="connsiteX1148" fmla="*/ 924834 w 2663946"/>
                <a:gd name="connsiteY1148" fmla="*/ 114050 h 348332"/>
                <a:gd name="connsiteX1149" fmla="*/ 922622 w 2663946"/>
                <a:gd name="connsiteY1149" fmla="*/ 117294 h 348332"/>
                <a:gd name="connsiteX1150" fmla="*/ 919181 w 2663946"/>
                <a:gd name="connsiteY1150" fmla="*/ 121080 h 348332"/>
                <a:gd name="connsiteX1151" fmla="*/ 915985 w 2663946"/>
                <a:gd name="connsiteY1151" fmla="*/ 123783 h 348332"/>
                <a:gd name="connsiteX1152" fmla="*/ 910332 w 2663946"/>
                <a:gd name="connsiteY1152" fmla="*/ 127028 h 348332"/>
                <a:gd name="connsiteX1153" fmla="*/ 902466 w 2663946"/>
                <a:gd name="connsiteY1153" fmla="*/ 129191 h 348332"/>
                <a:gd name="connsiteX1154" fmla="*/ 901237 w 2663946"/>
                <a:gd name="connsiteY1154" fmla="*/ 129462 h 348332"/>
                <a:gd name="connsiteX1155" fmla="*/ 897058 w 2663946"/>
                <a:gd name="connsiteY1155" fmla="*/ 129462 h 348332"/>
                <a:gd name="connsiteX1156" fmla="*/ 896812 w 2663946"/>
                <a:gd name="connsiteY1156" fmla="*/ 129462 h 348332"/>
                <a:gd name="connsiteX1157" fmla="*/ 883785 w 2663946"/>
                <a:gd name="connsiteY1157" fmla="*/ 124595 h 348332"/>
                <a:gd name="connsiteX1158" fmla="*/ 879115 w 2663946"/>
                <a:gd name="connsiteY1158" fmla="*/ 120539 h 348332"/>
                <a:gd name="connsiteX1159" fmla="*/ 875919 w 2663946"/>
                <a:gd name="connsiteY1159" fmla="*/ 116754 h 348332"/>
                <a:gd name="connsiteX1160" fmla="*/ 873707 w 2663946"/>
                <a:gd name="connsiteY1160" fmla="*/ 113239 h 348332"/>
                <a:gd name="connsiteX1161" fmla="*/ 871495 w 2663946"/>
                <a:gd name="connsiteY1161" fmla="*/ 108913 h 348332"/>
                <a:gd name="connsiteX1162" fmla="*/ 870266 w 2663946"/>
                <a:gd name="connsiteY1162" fmla="*/ 105938 h 348332"/>
                <a:gd name="connsiteX1163" fmla="*/ 869282 w 2663946"/>
                <a:gd name="connsiteY1163" fmla="*/ 102694 h 348332"/>
                <a:gd name="connsiteX1164" fmla="*/ 868053 w 2663946"/>
                <a:gd name="connsiteY1164" fmla="*/ 97016 h 348332"/>
                <a:gd name="connsiteX1165" fmla="*/ 867808 w 2663946"/>
                <a:gd name="connsiteY1165" fmla="*/ 94042 h 348332"/>
                <a:gd name="connsiteX1166" fmla="*/ 868053 w 2663946"/>
                <a:gd name="connsiteY1166" fmla="*/ 94312 h 348332"/>
                <a:gd name="connsiteX1167" fmla="*/ 868053 w 2663946"/>
                <a:gd name="connsiteY1167" fmla="*/ 88634 h 348332"/>
                <a:gd name="connsiteX1168" fmla="*/ 868053 w 2663946"/>
                <a:gd name="connsiteY1168" fmla="*/ 88364 h 348332"/>
                <a:gd name="connsiteX1169" fmla="*/ 868545 w 2663946"/>
                <a:gd name="connsiteY1169" fmla="*/ 83767 h 348332"/>
                <a:gd name="connsiteX1170" fmla="*/ 869774 w 2663946"/>
                <a:gd name="connsiteY1170" fmla="*/ 78360 h 348332"/>
                <a:gd name="connsiteX1171" fmla="*/ 870757 w 2663946"/>
                <a:gd name="connsiteY1171" fmla="*/ 75115 h 348332"/>
                <a:gd name="connsiteX1172" fmla="*/ 872969 w 2663946"/>
                <a:gd name="connsiteY1172" fmla="*/ 69978 h 348332"/>
                <a:gd name="connsiteX1173" fmla="*/ 875182 w 2663946"/>
                <a:gd name="connsiteY1173" fmla="*/ 66193 h 348332"/>
                <a:gd name="connsiteX1174" fmla="*/ 877394 w 2663946"/>
                <a:gd name="connsiteY1174" fmla="*/ 63218 h 348332"/>
                <a:gd name="connsiteX1175" fmla="*/ 879606 w 2663946"/>
                <a:gd name="connsiteY1175" fmla="*/ 60785 h 348332"/>
                <a:gd name="connsiteX1176" fmla="*/ 884276 w 2663946"/>
                <a:gd name="connsiteY1176" fmla="*/ 57000 h 348332"/>
                <a:gd name="connsiteX1177" fmla="*/ 888209 w 2663946"/>
                <a:gd name="connsiteY1177" fmla="*/ 54837 h 348332"/>
                <a:gd name="connsiteX1178" fmla="*/ 897796 w 2663946"/>
                <a:gd name="connsiteY1178" fmla="*/ 52403 h 348332"/>
                <a:gd name="connsiteX1179" fmla="*/ 548889 w 2663946"/>
                <a:gd name="connsiteY1179" fmla="*/ 52403 h 348332"/>
                <a:gd name="connsiteX1180" fmla="*/ 561180 w 2663946"/>
                <a:gd name="connsiteY1180" fmla="*/ 54566 h 348332"/>
                <a:gd name="connsiteX1181" fmla="*/ 568554 w 2663946"/>
                <a:gd name="connsiteY1181" fmla="*/ 59163 h 348332"/>
                <a:gd name="connsiteX1182" fmla="*/ 571995 w 2663946"/>
                <a:gd name="connsiteY1182" fmla="*/ 62407 h 348332"/>
                <a:gd name="connsiteX1183" fmla="*/ 575436 w 2663946"/>
                <a:gd name="connsiteY1183" fmla="*/ 66733 h 348332"/>
                <a:gd name="connsiteX1184" fmla="*/ 577403 w 2663946"/>
                <a:gd name="connsiteY1184" fmla="*/ 70248 h 348332"/>
                <a:gd name="connsiteX1185" fmla="*/ 579615 w 2663946"/>
                <a:gd name="connsiteY1185" fmla="*/ 75656 h 348332"/>
                <a:gd name="connsiteX1186" fmla="*/ 580598 w 2663946"/>
                <a:gd name="connsiteY1186" fmla="*/ 79171 h 348332"/>
                <a:gd name="connsiteX1187" fmla="*/ 581581 w 2663946"/>
                <a:gd name="connsiteY1187" fmla="*/ 84308 h 348332"/>
                <a:gd name="connsiteX1188" fmla="*/ 581336 w 2663946"/>
                <a:gd name="connsiteY1188" fmla="*/ 98638 h 348332"/>
                <a:gd name="connsiteX1189" fmla="*/ 580352 w 2663946"/>
                <a:gd name="connsiteY1189" fmla="*/ 103505 h 348332"/>
                <a:gd name="connsiteX1190" fmla="*/ 579123 w 2663946"/>
                <a:gd name="connsiteY1190" fmla="*/ 107290 h 348332"/>
                <a:gd name="connsiteX1191" fmla="*/ 578140 w 2663946"/>
                <a:gd name="connsiteY1191" fmla="*/ 109724 h 348332"/>
                <a:gd name="connsiteX1192" fmla="*/ 575928 w 2663946"/>
                <a:gd name="connsiteY1192" fmla="*/ 114050 h 348332"/>
                <a:gd name="connsiteX1193" fmla="*/ 573715 w 2663946"/>
                <a:gd name="connsiteY1193" fmla="*/ 117294 h 348332"/>
                <a:gd name="connsiteX1194" fmla="*/ 570274 w 2663946"/>
                <a:gd name="connsiteY1194" fmla="*/ 121080 h 348332"/>
                <a:gd name="connsiteX1195" fmla="*/ 567079 w 2663946"/>
                <a:gd name="connsiteY1195" fmla="*/ 123783 h 348332"/>
                <a:gd name="connsiteX1196" fmla="*/ 561425 w 2663946"/>
                <a:gd name="connsiteY1196" fmla="*/ 127028 h 348332"/>
                <a:gd name="connsiteX1197" fmla="*/ 553559 w 2663946"/>
                <a:gd name="connsiteY1197" fmla="*/ 129191 h 348332"/>
                <a:gd name="connsiteX1198" fmla="*/ 552331 w 2663946"/>
                <a:gd name="connsiteY1198" fmla="*/ 129462 h 348332"/>
                <a:gd name="connsiteX1199" fmla="*/ 548152 w 2663946"/>
                <a:gd name="connsiteY1199" fmla="*/ 129462 h 348332"/>
                <a:gd name="connsiteX1200" fmla="*/ 547906 w 2663946"/>
                <a:gd name="connsiteY1200" fmla="*/ 129462 h 348332"/>
                <a:gd name="connsiteX1201" fmla="*/ 534879 w 2663946"/>
                <a:gd name="connsiteY1201" fmla="*/ 124595 h 348332"/>
                <a:gd name="connsiteX1202" fmla="*/ 530208 w 2663946"/>
                <a:gd name="connsiteY1202" fmla="*/ 120539 h 348332"/>
                <a:gd name="connsiteX1203" fmla="*/ 527013 w 2663946"/>
                <a:gd name="connsiteY1203" fmla="*/ 116754 h 348332"/>
                <a:gd name="connsiteX1204" fmla="*/ 524801 w 2663946"/>
                <a:gd name="connsiteY1204" fmla="*/ 113239 h 348332"/>
                <a:gd name="connsiteX1205" fmla="*/ 522588 w 2663946"/>
                <a:gd name="connsiteY1205" fmla="*/ 108913 h 348332"/>
                <a:gd name="connsiteX1206" fmla="*/ 521359 w 2663946"/>
                <a:gd name="connsiteY1206" fmla="*/ 105938 h 348332"/>
                <a:gd name="connsiteX1207" fmla="*/ 520376 w 2663946"/>
                <a:gd name="connsiteY1207" fmla="*/ 102694 h 348332"/>
                <a:gd name="connsiteX1208" fmla="*/ 519147 w 2663946"/>
                <a:gd name="connsiteY1208" fmla="*/ 97016 h 348332"/>
                <a:gd name="connsiteX1209" fmla="*/ 518901 w 2663946"/>
                <a:gd name="connsiteY1209" fmla="*/ 94042 h 348332"/>
                <a:gd name="connsiteX1210" fmla="*/ 519147 w 2663946"/>
                <a:gd name="connsiteY1210" fmla="*/ 94312 h 348332"/>
                <a:gd name="connsiteX1211" fmla="*/ 519147 w 2663946"/>
                <a:gd name="connsiteY1211" fmla="*/ 88634 h 348332"/>
                <a:gd name="connsiteX1212" fmla="*/ 519147 w 2663946"/>
                <a:gd name="connsiteY1212" fmla="*/ 88364 h 348332"/>
                <a:gd name="connsiteX1213" fmla="*/ 519639 w 2663946"/>
                <a:gd name="connsiteY1213" fmla="*/ 83767 h 348332"/>
                <a:gd name="connsiteX1214" fmla="*/ 520868 w 2663946"/>
                <a:gd name="connsiteY1214" fmla="*/ 78360 h 348332"/>
                <a:gd name="connsiteX1215" fmla="*/ 521851 w 2663946"/>
                <a:gd name="connsiteY1215" fmla="*/ 75115 h 348332"/>
                <a:gd name="connsiteX1216" fmla="*/ 524063 w 2663946"/>
                <a:gd name="connsiteY1216" fmla="*/ 69978 h 348332"/>
                <a:gd name="connsiteX1217" fmla="*/ 526275 w 2663946"/>
                <a:gd name="connsiteY1217" fmla="*/ 66193 h 348332"/>
                <a:gd name="connsiteX1218" fmla="*/ 528488 w 2663946"/>
                <a:gd name="connsiteY1218" fmla="*/ 63218 h 348332"/>
                <a:gd name="connsiteX1219" fmla="*/ 530700 w 2663946"/>
                <a:gd name="connsiteY1219" fmla="*/ 60785 h 348332"/>
                <a:gd name="connsiteX1220" fmla="*/ 535370 w 2663946"/>
                <a:gd name="connsiteY1220" fmla="*/ 57000 h 348332"/>
                <a:gd name="connsiteX1221" fmla="*/ 539303 w 2663946"/>
                <a:gd name="connsiteY1221" fmla="*/ 54837 h 348332"/>
                <a:gd name="connsiteX1222" fmla="*/ 548889 w 2663946"/>
                <a:gd name="connsiteY1222" fmla="*/ 52403 h 348332"/>
                <a:gd name="connsiteX1223" fmla="*/ 366938 w 2663946"/>
                <a:gd name="connsiteY1223" fmla="*/ 52403 h 348332"/>
                <a:gd name="connsiteX1224" fmla="*/ 379228 w 2663946"/>
                <a:gd name="connsiteY1224" fmla="*/ 54566 h 348332"/>
                <a:gd name="connsiteX1225" fmla="*/ 386603 w 2663946"/>
                <a:gd name="connsiteY1225" fmla="*/ 59163 h 348332"/>
                <a:gd name="connsiteX1226" fmla="*/ 390044 w 2663946"/>
                <a:gd name="connsiteY1226" fmla="*/ 62407 h 348332"/>
                <a:gd name="connsiteX1227" fmla="*/ 393485 w 2663946"/>
                <a:gd name="connsiteY1227" fmla="*/ 66733 h 348332"/>
                <a:gd name="connsiteX1228" fmla="*/ 395452 w 2663946"/>
                <a:gd name="connsiteY1228" fmla="*/ 70248 h 348332"/>
                <a:gd name="connsiteX1229" fmla="*/ 397664 w 2663946"/>
                <a:gd name="connsiteY1229" fmla="*/ 75656 h 348332"/>
                <a:gd name="connsiteX1230" fmla="*/ 398647 w 2663946"/>
                <a:gd name="connsiteY1230" fmla="*/ 79171 h 348332"/>
                <a:gd name="connsiteX1231" fmla="*/ 399630 w 2663946"/>
                <a:gd name="connsiteY1231" fmla="*/ 84308 h 348332"/>
                <a:gd name="connsiteX1232" fmla="*/ 399384 w 2663946"/>
                <a:gd name="connsiteY1232" fmla="*/ 98638 h 348332"/>
                <a:gd name="connsiteX1233" fmla="*/ 398401 w 2663946"/>
                <a:gd name="connsiteY1233" fmla="*/ 103505 h 348332"/>
                <a:gd name="connsiteX1234" fmla="*/ 397172 w 2663946"/>
                <a:gd name="connsiteY1234" fmla="*/ 107290 h 348332"/>
                <a:gd name="connsiteX1235" fmla="*/ 396189 w 2663946"/>
                <a:gd name="connsiteY1235" fmla="*/ 109724 h 348332"/>
                <a:gd name="connsiteX1236" fmla="*/ 393977 w 2663946"/>
                <a:gd name="connsiteY1236" fmla="*/ 114050 h 348332"/>
                <a:gd name="connsiteX1237" fmla="*/ 391764 w 2663946"/>
                <a:gd name="connsiteY1237" fmla="*/ 117294 h 348332"/>
                <a:gd name="connsiteX1238" fmla="*/ 388323 w 2663946"/>
                <a:gd name="connsiteY1238" fmla="*/ 121080 h 348332"/>
                <a:gd name="connsiteX1239" fmla="*/ 385128 w 2663946"/>
                <a:gd name="connsiteY1239" fmla="*/ 123783 h 348332"/>
                <a:gd name="connsiteX1240" fmla="*/ 379474 w 2663946"/>
                <a:gd name="connsiteY1240" fmla="*/ 127028 h 348332"/>
                <a:gd name="connsiteX1241" fmla="*/ 371609 w 2663946"/>
                <a:gd name="connsiteY1241" fmla="*/ 129191 h 348332"/>
                <a:gd name="connsiteX1242" fmla="*/ 370380 w 2663946"/>
                <a:gd name="connsiteY1242" fmla="*/ 129462 h 348332"/>
                <a:gd name="connsiteX1243" fmla="*/ 366201 w 2663946"/>
                <a:gd name="connsiteY1243" fmla="*/ 129462 h 348332"/>
                <a:gd name="connsiteX1244" fmla="*/ 365955 w 2663946"/>
                <a:gd name="connsiteY1244" fmla="*/ 129462 h 348332"/>
                <a:gd name="connsiteX1245" fmla="*/ 352927 w 2663946"/>
                <a:gd name="connsiteY1245" fmla="*/ 124595 h 348332"/>
                <a:gd name="connsiteX1246" fmla="*/ 348257 w 2663946"/>
                <a:gd name="connsiteY1246" fmla="*/ 120539 h 348332"/>
                <a:gd name="connsiteX1247" fmla="*/ 345062 w 2663946"/>
                <a:gd name="connsiteY1247" fmla="*/ 116754 h 348332"/>
                <a:gd name="connsiteX1248" fmla="*/ 342850 w 2663946"/>
                <a:gd name="connsiteY1248" fmla="*/ 113239 h 348332"/>
                <a:gd name="connsiteX1249" fmla="*/ 340637 w 2663946"/>
                <a:gd name="connsiteY1249" fmla="*/ 108913 h 348332"/>
                <a:gd name="connsiteX1250" fmla="*/ 339408 w 2663946"/>
                <a:gd name="connsiteY1250" fmla="*/ 105938 h 348332"/>
                <a:gd name="connsiteX1251" fmla="*/ 338425 w 2663946"/>
                <a:gd name="connsiteY1251" fmla="*/ 102694 h 348332"/>
                <a:gd name="connsiteX1252" fmla="*/ 337196 w 2663946"/>
                <a:gd name="connsiteY1252" fmla="*/ 97016 h 348332"/>
                <a:gd name="connsiteX1253" fmla="*/ 336950 w 2663946"/>
                <a:gd name="connsiteY1253" fmla="*/ 94042 h 348332"/>
                <a:gd name="connsiteX1254" fmla="*/ 337196 w 2663946"/>
                <a:gd name="connsiteY1254" fmla="*/ 94312 h 348332"/>
                <a:gd name="connsiteX1255" fmla="*/ 337196 w 2663946"/>
                <a:gd name="connsiteY1255" fmla="*/ 88634 h 348332"/>
                <a:gd name="connsiteX1256" fmla="*/ 337196 w 2663946"/>
                <a:gd name="connsiteY1256" fmla="*/ 88364 h 348332"/>
                <a:gd name="connsiteX1257" fmla="*/ 337687 w 2663946"/>
                <a:gd name="connsiteY1257" fmla="*/ 83767 h 348332"/>
                <a:gd name="connsiteX1258" fmla="*/ 338917 w 2663946"/>
                <a:gd name="connsiteY1258" fmla="*/ 78360 h 348332"/>
                <a:gd name="connsiteX1259" fmla="*/ 339900 w 2663946"/>
                <a:gd name="connsiteY1259" fmla="*/ 75115 h 348332"/>
                <a:gd name="connsiteX1260" fmla="*/ 342112 w 2663946"/>
                <a:gd name="connsiteY1260" fmla="*/ 69978 h 348332"/>
                <a:gd name="connsiteX1261" fmla="*/ 344324 w 2663946"/>
                <a:gd name="connsiteY1261" fmla="*/ 66193 h 348332"/>
                <a:gd name="connsiteX1262" fmla="*/ 346536 w 2663946"/>
                <a:gd name="connsiteY1262" fmla="*/ 63218 h 348332"/>
                <a:gd name="connsiteX1263" fmla="*/ 348749 w 2663946"/>
                <a:gd name="connsiteY1263" fmla="*/ 60785 h 348332"/>
                <a:gd name="connsiteX1264" fmla="*/ 353419 w 2663946"/>
                <a:gd name="connsiteY1264" fmla="*/ 57000 h 348332"/>
                <a:gd name="connsiteX1265" fmla="*/ 357352 w 2663946"/>
                <a:gd name="connsiteY1265" fmla="*/ 54837 h 348332"/>
                <a:gd name="connsiteX1266" fmla="*/ 366938 w 2663946"/>
                <a:gd name="connsiteY1266" fmla="*/ 52403 h 348332"/>
                <a:gd name="connsiteX1267" fmla="*/ 123893 w 2663946"/>
                <a:gd name="connsiteY1267" fmla="*/ 52403 h 348332"/>
                <a:gd name="connsiteX1268" fmla="*/ 136183 w 2663946"/>
                <a:gd name="connsiteY1268" fmla="*/ 54566 h 348332"/>
                <a:gd name="connsiteX1269" fmla="*/ 143557 w 2663946"/>
                <a:gd name="connsiteY1269" fmla="*/ 59163 h 348332"/>
                <a:gd name="connsiteX1270" fmla="*/ 146998 w 2663946"/>
                <a:gd name="connsiteY1270" fmla="*/ 62407 h 348332"/>
                <a:gd name="connsiteX1271" fmla="*/ 150439 w 2663946"/>
                <a:gd name="connsiteY1271" fmla="*/ 66733 h 348332"/>
                <a:gd name="connsiteX1272" fmla="*/ 152406 w 2663946"/>
                <a:gd name="connsiteY1272" fmla="*/ 70248 h 348332"/>
                <a:gd name="connsiteX1273" fmla="*/ 154618 w 2663946"/>
                <a:gd name="connsiteY1273" fmla="*/ 75656 h 348332"/>
                <a:gd name="connsiteX1274" fmla="*/ 155601 w 2663946"/>
                <a:gd name="connsiteY1274" fmla="*/ 79171 h 348332"/>
                <a:gd name="connsiteX1275" fmla="*/ 156584 w 2663946"/>
                <a:gd name="connsiteY1275" fmla="*/ 84308 h 348332"/>
                <a:gd name="connsiteX1276" fmla="*/ 156339 w 2663946"/>
                <a:gd name="connsiteY1276" fmla="*/ 98638 h 348332"/>
                <a:gd name="connsiteX1277" fmla="*/ 155355 w 2663946"/>
                <a:gd name="connsiteY1277" fmla="*/ 103505 h 348332"/>
                <a:gd name="connsiteX1278" fmla="*/ 154126 w 2663946"/>
                <a:gd name="connsiteY1278" fmla="*/ 107290 h 348332"/>
                <a:gd name="connsiteX1279" fmla="*/ 153143 w 2663946"/>
                <a:gd name="connsiteY1279" fmla="*/ 109724 h 348332"/>
                <a:gd name="connsiteX1280" fmla="*/ 150931 w 2663946"/>
                <a:gd name="connsiteY1280" fmla="*/ 114050 h 348332"/>
                <a:gd name="connsiteX1281" fmla="*/ 148719 w 2663946"/>
                <a:gd name="connsiteY1281" fmla="*/ 117294 h 348332"/>
                <a:gd name="connsiteX1282" fmla="*/ 145277 w 2663946"/>
                <a:gd name="connsiteY1282" fmla="*/ 121080 h 348332"/>
                <a:gd name="connsiteX1283" fmla="*/ 142082 w 2663946"/>
                <a:gd name="connsiteY1283" fmla="*/ 123783 h 348332"/>
                <a:gd name="connsiteX1284" fmla="*/ 136428 w 2663946"/>
                <a:gd name="connsiteY1284" fmla="*/ 127028 h 348332"/>
                <a:gd name="connsiteX1285" fmla="*/ 128563 w 2663946"/>
                <a:gd name="connsiteY1285" fmla="*/ 129191 h 348332"/>
                <a:gd name="connsiteX1286" fmla="*/ 127334 w 2663946"/>
                <a:gd name="connsiteY1286" fmla="*/ 129462 h 348332"/>
                <a:gd name="connsiteX1287" fmla="*/ 123155 w 2663946"/>
                <a:gd name="connsiteY1287" fmla="*/ 129462 h 348332"/>
                <a:gd name="connsiteX1288" fmla="*/ 122909 w 2663946"/>
                <a:gd name="connsiteY1288" fmla="*/ 129462 h 348332"/>
                <a:gd name="connsiteX1289" fmla="*/ 109882 w 2663946"/>
                <a:gd name="connsiteY1289" fmla="*/ 124595 h 348332"/>
                <a:gd name="connsiteX1290" fmla="*/ 105211 w 2663946"/>
                <a:gd name="connsiteY1290" fmla="*/ 120539 h 348332"/>
                <a:gd name="connsiteX1291" fmla="*/ 102016 w 2663946"/>
                <a:gd name="connsiteY1291" fmla="*/ 116754 h 348332"/>
                <a:gd name="connsiteX1292" fmla="*/ 99804 w 2663946"/>
                <a:gd name="connsiteY1292" fmla="*/ 113239 h 348332"/>
                <a:gd name="connsiteX1293" fmla="*/ 97591 w 2663946"/>
                <a:gd name="connsiteY1293" fmla="*/ 108913 h 348332"/>
                <a:gd name="connsiteX1294" fmla="*/ 96362 w 2663946"/>
                <a:gd name="connsiteY1294" fmla="*/ 105938 h 348332"/>
                <a:gd name="connsiteX1295" fmla="*/ 95379 w 2663946"/>
                <a:gd name="connsiteY1295" fmla="*/ 102694 h 348332"/>
                <a:gd name="connsiteX1296" fmla="*/ 94150 w 2663946"/>
                <a:gd name="connsiteY1296" fmla="*/ 97016 h 348332"/>
                <a:gd name="connsiteX1297" fmla="*/ 93904 w 2663946"/>
                <a:gd name="connsiteY1297" fmla="*/ 94042 h 348332"/>
                <a:gd name="connsiteX1298" fmla="*/ 94150 w 2663946"/>
                <a:gd name="connsiteY1298" fmla="*/ 94312 h 348332"/>
                <a:gd name="connsiteX1299" fmla="*/ 94150 w 2663946"/>
                <a:gd name="connsiteY1299" fmla="*/ 88634 h 348332"/>
                <a:gd name="connsiteX1300" fmla="*/ 94150 w 2663946"/>
                <a:gd name="connsiteY1300" fmla="*/ 88364 h 348332"/>
                <a:gd name="connsiteX1301" fmla="*/ 94642 w 2663946"/>
                <a:gd name="connsiteY1301" fmla="*/ 83767 h 348332"/>
                <a:gd name="connsiteX1302" fmla="*/ 95871 w 2663946"/>
                <a:gd name="connsiteY1302" fmla="*/ 78360 h 348332"/>
                <a:gd name="connsiteX1303" fmla="*/ 96854 w 2663946"/>
                <a:gd name="connsiteY1303" fmla="*/ 75115 h 348332"/>
                <a:gd name="connsiteX1304" fmla="*/ 99066 w 2663946"/>
                <a:gd name="connsiteY1304" fmla="*/ 69978 h 348332"/>
                <a:gd name="connsiteX1305" fmla="*/ 101279 w 2663946"/>
                <a:gd name="connsiteY1305" fmla="*/ 66193 h 348332"/>
                <a:gd name="connsiteX1306" fmla="*/ 103491 w 2663946"/>
                <a:gd name="connsiteY1306" fmla="*/ 63218 h 348332"/>
                <a:gd name="connsiteX1307" fmla="*/ 105703 w 2663946"/>
                <a:gd name="connsiteY1307" fmla="*/ 60785 h 348332"/>
                <a:gd name="connsiteX1308" fmla="*/ 110373 w 2663946"/>
                <a:gd name="connsiteY1308" fmla="*/ 57000 h 348332"/>
                <a:gd name="connsiteX1309" fmla="*/ 114306 w 2663946"/>
                <a:gd name="connsiteY1309" fmla="*/ 54837 h 348332"/>
                <a:gd name="connsiteX1310" fmla="*/ 123893 w 2663946"/>
                <a:gd name="connsiteY1310" fmla="*/ 52403 h 348332"/>
                <a:gd name="connsiteX1311" fmla="*/ 33147 w 2663946"/>
                <a:gd name="connsiteY1311" fmla="*/ 51765 h 348332"/>
                <a:gd name="connsiteX1312" fmla="*/ 57942 w 2663946"/>
                <a:gd name="connsiteY1312" fmla="*/ 71974 h 348332"/>
                <a:gd name="connsiteX1313" fmla="*/ 58422 w 2663946"/>
                <a:gd name="connsiteY1313" fmla="*/ 76732 h 348332"/>
                <a:gd name="connsiteX1314" fmla="*/ 59840 w 2663946"/>
                <a:gd name="connsiteY1314" fmla="*/ 76732 h 348332"/>
                <a:gd name="connsiteX1315" fmla="*/ 66294 w 2663946"/>
                <a:gd name="connsiteY1315" fmla="*/ 83018 h 348332"/>
                <a:gd name="connsiteX1316" fmla="*/ 66294 w 2663946"/>
                <a:gd name="connsiteY1316" fmla="*/ 132740 h 348332"/>
                <a:gd name="connsiteX1317" fmla="*/ 59840 w 2663946"/>
                <a:gd name="connsiteY1317" fmla="*/ 139026 h 348332"/>
                <a:gd name="connsiteX1318" fmla="*/ 6453 w 2663946"/>
                <a:gd name="connsiteY1318" fmla="*/ 139026 h 348332"/>
                <a:gd name="connsiteX1319" fmla="*/ 0 w 2663946"/>
                <a:gd name="connsiteY1319" fmla="*/ 132740 h 348332"/>
                <a:gd name="connsiteX1320" fmla="*/ 0 w 2663946"/>
                <a:gd name="connsiteY1320" fmla="*/ 83018 h 348332"/>
                <a:gd name="connsiteX1321" fmla="*/ 6453 w 2663946"/>
                <a:gd name="connsiteY1321" fmla="*/ 76732 h 348332"/>
                <a:gd name="connsiteX1322" fmla="*/ 7288 w 2663946"/>
                <a:gd name="connsiteY1322" fmla="*/ 76732 h 348332"/>
                <a:gd name="connsiteX1323" fmla="*/ 7872 w 2663946"/>
                <a:gd name="connsiteY1323" fmla="*/ 76732 h 348332"/>
                <a:gd name="connsiteX1324" fmla="*/ 8351 w 2663946"/>
                <a:gd name="connsiteY1324" fmla="*/ 71974 h 348332"/>
                <a:gd name="connsiteX1325" fmla="*/ 33147 w 2663946"/>
                <a:gd name="connsiteY1325" fmla="*/ 51765 h 348332"/>
                <a:gd name="connsiteX1326" fmla="*/ 2537931 w 2663946"/>
                <a:gd name="connsiteY1326" fmla="*/ 44177 h 348332"/>
                <a:gd name="connsiteX1327" fmla="*/ 2562727 w 2663946"/>
                <a:gd name="connsiteY1327" fmla="*/ 64386 h 348332"/>
                <a:gd name="connsiteX1328" fmla="*/ 2563206 w 2663946"/>
                <a:gd name="connsiteY1328" fmla="*/ 69144 h 348332"/>
                <a:gd name="connsiteX1329" fmla="*/ 2564625 w 2663946"/>
                <a:gd name="connsiteY1329" fmla="*/ 69144 h 348332"/>
                <a:gd name="connsiteX1330" fmla="*/ 2571078 w 2663946"/>
                <a:gd name="connsiteY1330" fmla="*/ 75430 h 348332"/>
                <a:gd name="connsiteX1331" fmla="*/ 2571078 w 2663946"/>
                <a:gd name="connsiteY1331" fmla="*/ 125152 h 348332"/>
                <a:gd name="connsiteX1332" fmla="*/ 2564625 w 2663946"/>
                <a:gd name="connsiteY1332" fmla="*/ 131438 h 348332"/>
                <a:gd name="connsiteX1333" fmla="*/ 2511238 w 2663946"/>
                <a:gd name="connsiteY1333" fmla="*/ 131438 h 348332"/>
                <a:gd name="connsiteX1334" fmla="*/ 2504784 w 2663946"/>
                <a:gd name="connsiteY1334" fmla="*/ 125152 h 348332"/>
                <a:gd name="connsiteX1335" fmla="*/ 2504784 w 2663946"/>
                <a:gd name="connsiteY1335" fmla="*/ 75430 h 348332"/>
                <a:gd name="connsiteX1336" fmla="*/ 2511238 w 2663946"/>
                <a:gd name="connsiteY1336" fmla="*/ 69144 h 348332"/>
                <a:gd name="connsiteX1337" fmla="*/ 2512072 w 2663946"/>
                <a:gd name="connsiteY1337" fmla="*/ 69144 h 348332"/>
                <a:gd name="connsiteX1338" fmla="*/ 2512656 w 2663946"/>
                <a:gd name="connsiteY1338" fmla="*/ 69144 h 348332"/>
                <a:gd name="connsiteX1339" fmla="*/ 2513136 w 2663946"/>
                <a:gd name="connsiteY1339" fmla="*/ 64386 h 348332"/>
                <a:gd name="connsiteX1340" fmla="*/ 2537931 w 2663946"/>
                <a:gd name="connsiteY1340" fmla="*/ 44177 h 348332"/>
                <a:gd name="connsiteX1341" fmla="*/ 2112934 w 2663946"/>
                <a:gd name="connsiteY1341" fmla="*/ 44177 h 348332"/>
                <a:gd name="connsiteX1342" fmla="*/ 2137730 w 2663946"/>
                <a:gd name="connsiteY1342" fmla="*/ 64386 h 348332"/>
                <a:gd name="connsiteX1343" fmla="*/ 2138209 w 2663946"/>
                <a:gd name="connsiteY1343" fmla="*/ 69144 h 348332"/>
                <a:gd name="connsiteX1344" fmla="*/ 2139628 w 2663946"/>
                <a:gd name="connsiteY1344" fmla="*/ 69144 h 348332"/>
                <a:gd name="connsiteX1345" fmla="*/ 2146081 w 2663946"/>
                <a:gd name="connsiteY1345" fmla="*/ 75430 h 348332"/>
                <a:gd name="connsiteX1346" fmla="*/ 2146081 w 2663946"/>
                <a:gd name="connsiteY1346" fmla="*/ 125152 h 348332"/>
                <a:gd name="connsiteX1347" fmla="*/ 2139628 w 2663946"/>
                <a:gd name="connsiteY1347" fmla="*/ 131438 h 348332"/>
                <a:gd name="connsiteX1348" fmla="*/ 2086241 w 2663946"/>
                <a:gd name="connsiteY1348" fmla="*/ 131438 h 348332"/>
                <a:gd name="connsiteX1349" fmla="*/ 2079787 w 2663946"/>
                <a:gd name="connsiteY1349" fmla="*/ 125152 h 348332"/>
                <a:gd name="connsiteX1350" fmla="*/ 2079787 w 2663946"/>
                <a:gd name="connsiteY1350" fmla="*/ 75430 h 348332"/>
                <a:gd name="connsiteX1351" fmla="*/ 2086241 w 2663946"/>
                <a:gd name="connsiteY1351" fmla="*/ 69144 h 348332"/>
                <a:gd name="connsiteX1352" fmla="*/ 2087075 w 2663946"/>
                <a:gd name="connsiteY1352" fmla="*/ 69144 h 348332"/>
                <a:gd name="connsiteX1353" fmla="*/ 2087659 w 2663946"/>
                <a:gd name="connsiteY1353" fmla="*/ 69144 h 348332"/>
                <a:gd name="connsiteX1354" fmla="*/ 2088139 w 2663946"/>
                <a:gd name="connsiteY1354" fmla="*/ 64386 h 348332"/>
                <a:gd name="connsiteX1355" fmla="*/ 2112934 w 2663946"/>
                <a:gd name="connsiteY1355" fmla="*/ 44177 h 348332"/>
                <a:gd name="connsiteX1356" fmla="*/ 1854966 w 2663946"/>
                <a:gd name="connsiteY1356" fmla="*/ 44177 h 348332"/>
                <a:gd name="connsiteX1357" fmla="*/ 1879762 w 2663946"/>
                <a:gd name="connsiteY1357" fmla="*/ 64386 h 348332"/>
                <a:gd name="connsiteX1358" fmla="*/ 1880241 w 2663946"/>
                <a:gd name="connsiteY1358" fmla="*/ 69144 h 348332"/>
                <a:gd name="connsiteX1359" fmla="*/ 1881660 w 2663946"/>
                <a:gd name="connsiteY1359" fmla="*/ 69144 h 348332"/>
                <a:gd name="connsiteX1360" fmla="*/ 1888113 w 2663946"/>
                <a:gd name="connsiteY1360" fmla="*/ 75430 h 348332"/>
                <a:gd name="connsiteX1361" fmla="*/ 1888113 w 2663946"/>
                <a:gd name="connsiteY1361" fmla="*/ 125152 h 348332"/>
                <a:gd name="connsiteX1362" fmla="*/ 1881660 w 2663946"/>
                <a:gd name="connsiteY1362" fmla="*/ 131438 h 348332"/>
                <a:gd name="connsiteX1363" fmla="*/ 1828273 w 2663946"/>
                <a:gd name="connsiteY1363" fmla="*/ 131438 h 348332"/>
                <a:gd name="connsiteX1364" fmla="*/ 1821819 w 2663946"/>
                <a:gd name="connsiteY1364" fmla="*/ 125152 h 348332"/>
                <a:gd name="connsiteX1365" fmla="*/ 1821819 w 2663946"/>
                <a:gd name="connsiteY1365" fmla="*/ 75430 h 348332"/>
                <a:gd name="connsiteX1366" fmla="*/ 1828273 w 2663946"/>
                <a:gd name="connsiteY1366" fmla="*/ 69144 h 348332"/>
                <a:gd name="connsiteX1367" fmla="*/ 1829107 w 2663946"/>
                <a:gd name="connsiteY1367" fmla="*/ 69144 h 348332"/>
                <a:gd name="connsiteX1368" fmla="*/ 1829691 w 2663946"/>
                <a:gd name="connsiteY1368" fmla="*/ 69144 h 348332"/>
                <a:gd name="connsiteX1369" fmla="*/ 1830171 w 2663946"/>
                <a:gd name="connsiteY1369" fmla="*/ 64386 h 348332"/>
                <a:gd name="connsiteX1370" fmla="*/ 1854966 w 2663946"/>
                <a:gd name="connsiteY1370" fmla="*/ 44177 h 348332"/>
                <a:gd name="connsiteX1371" fmla="*/ 1764027 w 2663946"/>
                <a:gd name="connsiteY1371" fmla="*/ 44177 h 348332"/>
                <a:gd name="connsiteX1372" fmla="*/ 1788823 w 2663946"/>
                <a:gd name="connsiteY1372" fmla="*/ 64386 h 348332"/>
                <a:gd name="connsiteX1373" fmla="*/ 1789302 w 2663946"/>
                <a:gd name="connsiteY1373" fmla="*/ 69144 h 348332"/>
                <a:gd name="connsiteX1374" fmla="*/ 1790721 w 2663946"/>
                <a:gd name="connsiteY1374" fmla="*/ 69144 h 348332"/>
                <a:gd name="connsiteX1375" fmla="*/ 1797174 w 2663946"/>
                <a:gd name="connsiteY1375" fmla="*/ 75430 h 348332"/>
                <a:gd name="connsiteX1376" fmla="*/ 1797174 w 2663946"/>
                <a:gd name="connsiteY1376" fmla="*/ 125152 h 348332"/>
                <a:gd name="connsiteX1377" fmla="*/ 1790721 w 2663946"/>
                <a:gd name="connsiteY1377" fmla="*/ 131438 h 348332"/>
                <a:gd name="connsiteX1378" fmla="*/ 1737333 w 2663946"/>
                <a:gd name="connsiteY1378" fmla="*/ 131438 h 348332"/>
                <a:gd name="connsiteX1379" fmla="*/ 1730880 w 2663946"/>
                <a:gd name="connsiteY1379" fmla="*/ 125152 h 348332"/>
                <a:gd name="connsiteX1380" fmla="*/ 1730880 w 2663946"/>
                <a:gd name="connsiteY1380" fmla="*/ 75430 h 348332"/>
                <a:gd name="connsiteX1381" fmla="*/ 1737333 w 2663946"/>
                <a:gd name="connsiteY1381" fmla="*/ 69144 h 348332"/>
                <a:gd name="connsiteX1382" fmla="*/ 1738168 w 2663946"/>
                <a:gd name="connsiteY1382" fmla="*/ 69144 h 348332"/>
                <a:gd name="connsiteX1383" fmla="*/ 1738752 w 2663946"/>
                <a:gd name="connsiteY1383" fmla="*/ 69144 h 348332"/>
                <a:gd name="connsiteX1384" fmla="*/ 1739232 w 2663946"/>
                <a:gd name="connsiteY1384" fmla="*/ 64386 h 348332"/>
                <a:gd name="connsiteX1385" fmla="*/ 1764027 w 2663946"/>
                <a:gd name="connsiteY1385" fmla="*/ 44177 h 348332"/>
                <a:gd name="connsiteX1386" fmla="*/ 1506059 w 2663946"/>
                <a:gd name="connsiteY1386" fmla="*/ 44177 h 348332"/>
                <a:gd name="connsiteX1387" fmla="*/ 1530855 w 2663946"/>
                <a:gd name="connsiteY1387" fmla="*/ 64386 h 348332"/>
                <a:gd name="connsiteX1388" fmla="*/ 1531334 w 2663946"/>
                <a:gd name="connsiteY1388" fmla="*/ 69144 h 348332"/>
                <a:gd name="connsiteX1389" fmla="*/ 1532753 w 2663946"/>
                <a:gd name="connsiteY1389" fmla="*/ 69144 h 348332"/>
                <a:gd name="connsiteX1390" fmla="*/ 1539206 w 2663946"/>
                <a:gd name="connsiteY1390" fmla="*/ 75430 h 348332"/>
                <a:gd name="connsiteX1391" fmla="*/ 1539206 w 2663946"/>
                <a:gd name="connsiteY1391" fmla="*/ 125152 h 348332"/>
                <a:gd name="connsiteX1392" fmla="*/ 1532753 w 2663946"/>
                <a:gd name="connsiteY1392" fmla="*/ 131438 h 348332"/>
                <a:gd name="connsiteX1393" fmla="*/ 1479365 w 2663946"/>
                <a:gd name="connsiteY1393" fmla="*/ 131438 h 348332"/>
                <a:gd name="connsiteX1394" fmla="*/ 1472912 w 2663946"/>
                <a:gd name="connsiteY1394" fmla="*/ 125152 h 348332"/>
                <a:gd name="connsiteX1395" fmla="*/ 1472912 w 2663946"/>
                <a:gd name="connsiteY1395" fmla="*/ 75430 h 348332"/>
                <a:gd name="connsiteX1396" fmla="*/ 1479365 w 2663946"/>
                <a:gd name="connsiteY1396" fmla="*/ 69144 h 348332"/>
                <a:gd name="connsiteX1397" fmla="*/ 1480200 w 2663946"/>
                <a:gd name="connsiteY1397" fmla="*/ 69144 h 348332"/>
                <a:gd name="connsiteX1398" fmla="*/ 1480784 w 2663946"/>
                <a:gd name="connsiteY1398" fmla="*/ 69144 h 348332"/>
                <a:gd name="connsiteX1399" fmla="*/ 1481264 w 2663946"/>
                <a:gd name="connsiteY1399" fmla="*/ 64386 h 348332"/>
                <a:gd name="connsiteX1400" fmla="*/ 1506059 w 2663946"/>
                <a:gd name="connsiteY1400" fmla="*/ 44177 h 348332"/>
                <a:gd name="connsiteX1401" fmla="*/ 1415120 w 2663946"/>
                <a:gd name="connsiteY1401" fmla="*/ 44177 h 348332"/>
                <a:gd name="connsiteX1402" fmla="*/ 1439916 w 2663946"/>
                <a:gd name="connsiteY1402" fmla="*/ 64386 h 348332"/>
                <a:gd name="connsiteX1403" fmla="*/ 1440395 w 2663946"/>
                <a:gd name="connsiteY1403" fmla="*/ 69144 h 348332"/>
                <a:gd name="connsiteX1404" fmla="*/ 1441814 w 2663946"/>
                <a:gd name="connsiteY1404" fmla="*/ 69144 h 348332"/>
                <a:gd name="connsiteX1405" fmla="*/ 1448267 w 2663946"/>
                <a:gd name="connsiteY1405" fmla="*/ 75430 h 348332"/>
                <a:gd name="connsiteX1406" fmla="*/ 1448267 w 2663946"/>
                <a:gd name="connsiteY1406" fmla="*/ 125152 h 348332"/>
                <a:gd name="connsiteX1407" fmla="*/ 1441814 w 2663946"/>
                <a:gd name="connsiteY1407" fmla="*/ 131438 h 348332"/>
                <a:gd name="connsiteX1408" fmla="*/ 1388426 w 2663946"/>
                <a:gd name="connsiteY1408" fmla="*/ 131438 h 348332"/>
                <a:gd name="connsiteX1409" fmla="*/ 1381973 w 2663946"/>
                <a:gd name="connsiteY1409" fmla="*/ 125152 h 348332"/>
                <a:gd name="connsiteX1410" fmla="*/ 1381973 w 2663946"/>
                <a:gd name="connsiteY1410" fmla="*/ 75430 h 348332"/>
                <a:gd name="connsiteX1411" fmla="*/ 1388426 w 2663946"/>
                <a:gd name="connsiteY1411" fmla="*/ 69144 h 348332"/>
                <a:gd name="connsiteX1412" fmla="*/ 1389261 w 2663946"/>
                <a:gd name="connsiteY1412" fmla="*/ 69144 h 348332"/>
                <a:gd name="connsiteX1413" fmla="*/ 1389845 w 2663946"/>
                <a:gd name="connsiteY1413" fmla="*/ 69144 h 348332"/>
                <a:gd name="connsiteX1414" fmla="*/ 1390325 w 2663946"/>
                <a:gd name="connsiteY1414" fmla="*/ 64386 h 348332"/>
                <a:gd name="connsiteX1415" fmla="*/ 1415120 w 2663946"/>
                <a:gd name="connsiteY1415" fmla="*/ 44177 h 348332"/>
                <a:gd name="connsiteX1416" fmla="*/ 1157152 w 2663946"/>
                <a:gd name="connsiteY1416" fmla="*/ 44177 h 348332"/>
                <a:gd name="connsiteX1417" fmla="*/ 1181948 w 2663946"/>
                <a:gd name="connsiteY1417" fmla="*/ 64386 h 348332"/>
                <a:gd name="connsiteX1418" fmla="*/ 1182427 w 2663946"/>
                <a:gd name="connsiteY1418" fmla="*/ 69144 h 348332"/>
                <a:gd name="connsiteX1419" fmla="*/ 1183846 w 2663946"/>
                <a:gd name="connsiteY1419" fmla="*/ 69144 h 348332"/>
                <a:gd name="connsiteX1420" fmla="*/ 1190299 w 2663946"/>
                <a:gd name="connsiteY1420" fmla="*/ 75430 h 348332"/>
                <a:gd name="connsiteX1421" fmla="*/ 1190299 w 2663946"/>
                <a:gd name="connsiteY1421" fmla="*/ 125152 h 348332"/>
                <a:gd name="connsiteX1422" fmla="*/ 1183846 w 2663946"/>
                <a:gd name="connsiteY1422" fmla="*/ 131438 h 348332"/>
                <a:gd name="connsiteX1423" fmla="*/ 1130458 w 2663946"/>
                <a:gd name="connsiteY1423" fmla="*/ 131438 h 348332"/>
                <a:gd name="connsiteX1424" fmla="*/ 1124005 w 2663946"/>
                <a:gd name="connsiteY1424" fmla="*/ 125152 h 348332"/>
                <a:gd name="connsiteX1425" fmla="*/ 1124005 w 2663946"/>
                <a:gd name="connsiteY1425" fmla="*/ 75430 h 348332"/>
                <a:gd name="connsiteX1426" fmla="*/ 1130458 w 2663946"/>
                <a:gd name="connsiteY1426" fmla="*/ 69144 h 348332"/>
                <a:gd name="connsiteX1427" fmla="*/ 1131293 w 2663946"/>
                <a:gd name="connsiteY1427" fmla="*/ 69144 h 348332"/>
                <a:gd name="connsiteX1428" fmla="*/ 1131877 w 2663946"/>
                <a:gd name="connsiteY1428" fmla="*/ 69144 h 348332"/>
                <a:gd name="connsiteX1429" fmla="*/ 1132357 w 2663946"/>
                <a:gd name="connsiteY1429" fmla="*/ 64386 h 348332"/>
                <a:gd name="connsiteX1430" fmla="*/ 1157152 w 2663946"/>
                <a:gd name="connsiteY1430" fmla="*/ 44177 h 348332"/>
                <a:gd name="connsiteX1431" fmla="*/ 732156 w 2663946"/>
                <a:gd name="connsiteY1431" fmla="*/ 44177 h 348332"/>
                <a:gd name="connsiteX1432" fmla="*/ 756951 w 2663946"/>
                <a:gd name="connsiteY1432" fmla="*/ 64386 h 348332"/>
                <a:gd name="connsiteX1433" fmla="*/ 757431 w 2663946"/>
                <a:gd name="connsiteY1433" fmla="*/ 69144 h 348332"/>
                <a:gd name="connsiteX1434" fmla="*/ 758849 w 2663946"/>
                <a:gd name="connsiteY1434" fmla="*/ 69144 h 348332"/>
                <a:gd name="connsiteX1435" fmla="*/ 765303 w 2663946"/>
                <a:gd name="connsiteY1435" fmla="*/ 75430 h 348332"/>
                <a:gd name="connsiteX1436" fmla="*/ 765303 w 2663946"/>
                <a:gd name="connsiteY1436" fmla="*/ 125152 h 348332"/>
                <a:gd name="connsiteX1437" fmla="*/ 758849 w 2663946"/>
                <a:gd name="connsiteY1437" fmla="*/ 131438 h 348332"/>
                <a:gd name="connsiteX1438" fmla="*/ 705462 w 2663946"/>
                <a:gd name="connsiteY1438" fmla="*/ 131438 h 348332"/>
                <a:gd name="connsiteX1439" fmla="*/ 699009 w 2663946"/>
                <a:gd name="connsiteY1439" fmla="*/ 125152 h 348332"/>
                <a:gd name="connsiteX1440" fmla="*/ 699009 w 2663946"/>
                <a:gd name="connsiteY1440" fmla="*/ 75430 h 348332"/>
                <a:gd name="connsiteX1441" fmla="*/ 705462 w 2663946"/>
                <a:gd name="connsiteY1441" fmla="*/ 69144 h 348332"/>
                <a:gd name="connsiteX1442" fmla="*/ 706296 w 2663946"/>
                <a:gd name="connsiteY1442" fmla="*/ 69144 h 348332"/>
                <a:gd name="connsiteX1443" fmla="*/ 706881 w 2663946"/>
                <a:gd name="connsiteY1443" fmla="*/ 69144 h 348332"/>
                <a:gd name="connsiteX1444" fmla="*/ 707360 w 2663946"/>
                <a:gd name="connsiteY1444" fmla="*/ 64386 h 348332"/>
                <a:gd name="connsiteX1445" fmla="*/ 732156 w 2663946"/>
                <a:gd name="connsiteY1445" fmla="*/ 44177 h 348332"/>
                <a:gd name="connsiteX1446" fmla="*/ 641217 w 2663946"/>
                <a:gd name="connsiteY1446" fmla="*/ 44177 h 348332"/>
                <a:gd name="connsiteX1447" fmla="*/ 666012 w 2663946"/>
                <a:gd name="connsiteY1447" fmla="*/ 64386 h 348332"/>
                <a:gd name="connsiteX1448" fmla="*/ 666492 w 2663946"/>
                <a:gd name="connsiteY1448" fmla="*/ 69144 h 348332"/>
                <a:gd name="connsiteX1449" fmla="*/ 667910 w 2663946"/>
                <a:gd name="connsiteY1449" fmla="*/ 69144 h 348332"/>
                <a:gd name="connsiteX1450" fmla="*/ 674364 w 2663946"/>
                <a:gd name="connsiteY1450" fmla="*/ 75430 h 348332"/>
                <a:gd name="connsiteX1451" fmla="*/ 674364 w 2663946"/>
                <a:gd name="connsiteY1451" fmla="*/ 125152 h 348332"/>
                <a:gd name="connsiteX1452" fmla="*/ 667910 w 2663946"/>
                <a:gd name="connsiteY1452" fmla="*/ 131438 h 348332"/>
                <a:gd name="connsiteX1453" fmla="*/ 614523 w 2663946"/>
                <a:gd name="connsiteY1453" fmla="*/ 131438 h 348332"/>
                <a:gd name="connsiteX1454" fmla="*/ 608070 w 2663946"/>
                <a:gd name="connsiteY1454" fmla="*/ 125152 h 348332"/>
                <a:gd name="connsiteX1455" fmla="*/ 608070 w 2663946"/>
                <a:gd name="connsiteY1455" fmla="*/ 75430 h 348332"/>
                <a:gd name="connsiteX1456" fmla="*/ 614523 w 2663946"/>
                <a:gd name="connsiteY1456" fmla="*/ 69144 h 348332"/>
                <a:gd name="connsiteX1457" fmla="*/ 615358 w 2663946"/>
                <a:gd name="connsiteY1457" fmla="*/ 69144 h 348332"/>
                <a:gd name="connsiteX1458" fmla="*/ 615942 w 2663946"/>
                <a:gd name="connsiteY1458" fmla="*/ 69144 h 348332"/>
                <a:gd name="connsiteX1459" fmla="*/ 616422 w 2663946"/>
                <a:gd name="connsiteY1459" fmla="*/ 64386 h 348332"/>
                <a:gd name="connsiteX1460" fmla="*/ 641217 w 2663946"/>
                <a:gd name="connsiteY1460" fmla="*/ 44177 h 348332"/>
                <a:gd name="connsiteX1461" fmla="*/ 459266 w 2663946"/>
                <a:gd name="connsiteY1461" fmla="*/ 44177 h 348332"/>
                <a:gd name="connsiteX1462" fmla="*/ 484061 w 2663946"/>
                <a:gd name="connsiteY1462" fmla="*/ 64386 h 348332"/>
                <a:gd name="connsiteX1463" fmla="*/ 484541 w 2663946"/>
                <a:gd name="connsiteY1463" fmla="*/ 69144 h 348332"/>
                <a:gd name="connsiteX1464" fmla="*/ 485959 w 2663946"/>
                <a:gd name="connsiteY1464" fmla="*/ 69144 h 348332"/>
                <a:gd name="connsiteX1465" fmla="*/ 492413 w 2663946"/>
                <a:gd name="connsiteY1465" fmla="*/ 75430 h 348332"/>
                <a:gd name="connsiteX1466" fmla="*/ 492413 w 2663946"/>
                <a:gd name="connsiteY1466" fmla="*/ 125152 h 348332"/>
                <a:gd name="connsiteX1467" fmla="*/ 485959 w 2663946"/>
                <a:gd name="connsiteY1467" fmla="*/ 131438 h 348332"/>
                <a:gd name="connsiteX1468" fmla="*/ 432572 w 2663946"/>
                <a:gd name="connsiteY1468" fmla="*/ 131438 h 348332"/>
                <a:gd name="connsiteX1469" fmla="*/ 426119 w 2663946"/>
                <a:gd name="connsiteY1469" fmla="*/ 125152 h 348332"/>
                <a:gd name="connsiteX1470" fmla="*/ 426119 w 2663946"/>
                <a:gd name="connsiteY1470" fmla="*/ 75430 h 348332"/>
                <a:gd name="connsiteX1471" fmla="*/ 432572 w 2663946"/>
                <a:gd name="connsiteY1471" fmla="*/ 69144 h 348332"/>
                <a:gd name="connsiteX1472" fmla="*/ 433406 w 2663946"/>
                <a:gd name="connsiteY1472" fmla="*/ 69144 h 348332"/>
                <a:gd name="connsiteX1473" fmla="*/ 433991 w 2663946"/>
                <a:gd name="connsiteY1473" fmla="*/ 69144 h 348332"/>
                <a:gd name="connsiteX1474" fmla="*/ 434470 w 2663946"/>
                <a:gd name="connsiteY1474" fmla="*/ 64386 h 348332"/>
                <a:gd name="connsiteX1475" fmla="*/ 459266 w 2663946"/>
                <a:gd name="connsiteY1475" fmla="*/ 44177 h 348332"/>
                <a:gd name="connsiteX1476" fmla="*/ 15746 w 2663946"/>
                <a:gd name="connsiteY1476" fmla="*/ 540 h 348332"/>
                <a:gd name="connsiteX1477" fmla="*/ 40350 w 2663946"/>
                <a:gd name="connsiteY1477" fmla="*/ 0 h 348332"/>
                <a:gd name="connsiteX1478" fmla="*/ 40891 w 2663946"/>
                <a:gd name="connsiteY1478" fmla="*/ 540 h 348332"/>
                <a:gd name="connsiteX1479" fmla="*/ 48191 w 2663946"/>
                <a:gd name="connsiteY1479" fmla="*/ 540 h 348332"/>
                <a:gd name="connsiteX1480" fmla="*/ 52247 w 2663946"/>
                <a:gd name="connsiteY1480" fmla="*/ 1622 h 348332"/>
                <a:gd name="connsiteX1481" fmla="*/ 56032 w 2663946"/>
                <a:gd name="connsiteY1481" fmla="*/ 8381 h 348332"/>
                <a:gd name="connsiteX1482" fmla="*/ 53328 w 2663946"/>
                <a:gd name="connsiteY1482" fmla="*/ 14059 h 348332"/>
                <a:gd name="connsiteX1483" fmla="*/ 49273 w 2663946"/>
                <a:gd name="connsiteY1483" fmla="*/ 15952 h 348332"/>
                <a:gd name="connsiteX1484" fmla="*/ 49002 w 2663946"/>
                <a:gd name="connsiteY1484" fmla="*/ 15952 h 348332"/>
                <a:gd name="connsiteX1485" fmla="*/ 48732 w 2663946"/>
                <a:gd name="connsiteY1485" fmla="*/ 15952 h 348332"/>
                <a:gd name="connsiteX1486" fmla="*/ 48191 w 2663946"/>
                <a:gd name="connsiteY1486" fmla="*/ 15952 h 348332"/>
                <a:gd name="connsiteX1487" fmla="*/ 16016 w 2663946"/>
                <a:gd name="connsiteY1487" fmla="*/ 15952 h 348332"/>
                <a:gd name="connsiteX1488" fmla="*/ 15475 w 2663946"/>
                <a:gd name="connsiteY1488" fmla="*/ 15952 h 348332"/>
                <a:gd name="connsiteX1489" fmla="*/ 14664 w 2663946"/>
                <a:gd name="connsiteY1489" fmla="*/ 15952 h 348332"/>
                <a:gd name="connsiteX1490" fmla="*/ 13853 w 2663946"/>
                <a:gd name="connsiteY1490" fmla="*/ 15682 h 348332"/>
                <a:gd name="connsiteX1491" fmla="*/ 10338 w 2663946"/>
                <a:gd name="connsiteY1491" fmla="*/ 13789 h 348332"/>
                <a:gd name="connsiteX1492" fmla="*/ 7905 w 2663946"/>
                <a:gd name="connsiteY1492" fmla="*/ 8111 h 348332"/>
                <a:gd name="connsiteX1493" fmla="*/ 10068 w 2663946"/>
                <a:gd name="connsiteY1493" fmla="*/ 2974 h 348332"/>
                <a:gd name="connsiteX1494" fmla="*/ 15746 w 2663946"/>
                <a:gd name="connsiteY1494" fmla="*/ 540 h 348332"/>
                <a:gd name="connsiteX0" fmla="*/ 2632966 w 2663946"/>
                <a:gd name="connsiteY0" fmla="*/ 287344 h 348450"/>
                <a:gd name="connsiteX1" fmla="*/ 2621414 w 2663946"/>
                <a:gd name="connsiteY1" fmla="*/ 289777 h 348450"/>
                <a:gd name="connsiteX2" fmla="*/ 2618218 w 2663946"/>
                <a:gd name="connsiteY2" fmla="*/ 293292 h 348450"/>
                <a:gd name="connsiteX3" fmla="*/ 2616006 w 2663946"/>
                <a:gd name="connsiteY3" fmla="*/ 297077 h 348450"/>
                <a:gd name="connsiteX4" fmla="*/ 2615023 w 2663946"/>
                <a:gd name="connsiteY4" fmla="*/ 299781 h 348450"/>
                <a:gd name="connsiteX5" fmla="*/ 2614039 w 2663946"/>
                <a:gd name="connsiteY5" fmla="*/ 303837 h 348450"/>
                <a:gd name="connsiteX6" fmla="*/ 2613056 w 2663946"/>
                <a:gd name="connsiteY6" fmla="*/ 310867 h 348450"/>
                <a:gd name="connsiteX7" fmla="*/ 2614039 w 2663946"/>
                <a:gd name="connsiteY7" fmla="*/ 318167 h 348450"/>
                <a:gd name="connsiteX8" fmla="*/ 2615269 w 2663946"/>
                <a:gd name="connsiteY8" fmla="*/ 321952 h 348450"/>
                <a:gd name="connsiteX9" fmla="*/ 2617481 w 2663946"/>
                <a:gd name="connsiteY9" fmla="*/ 326278 h 348450"/>
                <a:gd name="connsiteX10" fmla="*/ 2620922 w 2663946"/>
                <a:gd name="connsiteY10" fmla="*/ 330605 h 348450"/>
                <a:gd name="connsiteX11" fmla="*/ 2625346 w 2663946"/>
                <a:gd name="connsiteY11" fmla="*/ 333308 h 348450"/>
                <a:gd name="connsiteX12" fmla="*/ 2637637 w 2663946"/>
                <a:gd name="connsiteY12" fmla="*/ 330875 h 348450"/>
                <a:gd name="connsiteX13" fmla="*/ 2640832 w 2663946"/>
                <a:gd name="connsiteY13" fmla="*/ 327360 h 348450"/>
                <a:gd name="connsiteX14" fmla="*/ 2643290 w 2663946"/>
                <a:gd name="connsiteY14" fmla="*/ 323034 h 348450"/>
                <a:gd name="connsiteX15" fmla="*/ 2644273 w 2663946"/>
                <a:gd name="connsiteY15" fmla="*/ 320871 h 348450"/>
                <a:gd name="connsiteX16" fmla="*/ 2645502 w 2663946"/>
                <a:gd name="connsiteY16" fmla="*/ 316545 h 348450"/>
                <a:gd name="connsiteX17" fmla="*/ 2645011 w 2663946"/>
                <a:gd name="connsiteY17" fmla="*/ 302755 h 348450"/>
                <a:gd name="connsiteX18" fmla="*/ 2644027 w 2663946"/>
                <a:gd name="connsiteY18" fmla="*/ 299781 h 348450"/>
                <a:gd name="connsiteX19" fmla="*/ 2642799 w 2663946"/>
                <a:gd name="connsiteY19" fmla="*/ 296807 h 348450"/>
                <a:gd name="connsiteX20" fmla="*/ 2640586 w 2663946"/>
                <a:gd name="connsiteY20" fmla="*/ 293292 h 348450"/>
                <a:gd name="connsiteX21" fmla="*/ 2636899 w 2663946"/>
                <a:gd name="connsiteY21" fmla="*/ 289507 h 348450"/>
                <a:gd name="connsiteX22" fmla="*/ 2632966 w 2663946"/>
                <a:gd name="connsiteY22" fmla="*/ 287344 h 348450"/>
                <a:gd name="connsiteX23" fmla="*/ 2627559 w 2663946"/>
                <a:gd name="connsiteY23" fmla="*/ 271391 h 348450"/>
                <a:gd name="connsiteX24" fmla="*/ 2639849 w 2663946"/>
                <a:gd name="connsiteY24" fmla="*/ 273554 h 348450"/>
                <a:gd name="connsiteX25" fmla="*/ 2647223 w 2663946"/>
                <a:gd name="connsiteY25" fmla="*/ 278151 h 348450"/>
                <a:gd name="connsiteX26" fmla="*/ 2650664 w 2663946"/>
                <a:gd name="connsiteY26" fmla="*/ 281395 h 348450"/>
                <a:gd name="connsiteX27" fmla="*/ 2654106 w 2663946"/>
                <a:gd name="connsiteY27" fmla="*/ 285721 h 348450"/>
                <a:gd name="connsiteX28" fmla="*/ 2656072 w 2663946"/>
                <a:gd name="connsiteY28" fmla="*/ 289236 h 348450"/>
                <a:gd name="connsiteX29" fmla="*/ 2658284 w 2663946"/>
                <a:gd name="connsiteY29" fmla="*/ 294644 h 348450"/>
                <a:gd name="connsiteX30" fmla="*/ 2659267 w 2663946"/>
                <a:gd name="connsiteY30" fmla="*/ 298159 h 348450"/>
                <a:gd name="connsiteX31" fmla="*/ 2660251 w 2663946"/>
                <a:gd name="connsiteY31" fmla="*/ 303296 h 348450"/>
                <a:gd name="connsiteX32" fmla="*/ 2660005 w 2663946"/>
                <a:gd name="connsiteY32" fmla="*/ 317626 h 348450"/>
                <a:gd name="connsiteX33" fmla="*/ 2659022 w 2663946"/>
                <a:gd name="connsiteY33" fmla="*/ 322493 h 348450"/>
                <a:gd name="connsiteX34" fmla="*/ 2657792 w 2663946"/>
                <a:gd name="connsiteY34" fmla="*/ 326278 h 348450"/>
                <a:gd name="connsiteX35" fmla="*/ 2656809 w 2663946"/>
                <a:gd name="connsiteY35" fmla="*/ 328712 h 348450"/>
                <a:gd name="connsiteX36" fmla="*/ 2654597 w 2663946"/>
                <a:gd name="connsiteY36" fmla="*/ 333038 h 348450"/>
                <a:gd name="connsiteX37" fmla="*/ 2652385 w 2663946"/>
                <a:gd name="connsiteY37" fmla="*/ 336282 h 348450"/>
                <a:gd name="connsiteX38" fmla="*/ 2648944 w 2663946"/>
                <a:gd name="connsiteY38" fmla="*/ 340068 h 348450"/>
                <a:gd name="connsiteX39" fmla="*/ 2645748 w 2663946"/>
                <a:gd name="connsiteY39" fmla="*/ 342771 h 348450"/>
                <a:gd name="connsiteX40" fmla="*/ 2640095 w 2663946"/>
                <a:gd name="connsiteY40" fmla="*/ 346016 h 348450"/>
                <a:gd name="connsiteX41" fmla="*/ 2632229 w 2663946"/>
                <a:gd name="connsiteY41" fmla="*/ 348179 h 348450"/>
                <a:gd name="connsiteX42" fmla="*/ 2631000 w 2663946"/>
                <a:gd name="connsiteY42" fmla="*/ 348450 h 348450"/>
                <a:gd name="connsiteX43" fmla="*/ 2626821 w 2663946"/>
                <a:gd name="connsiteY43" fmla="*/ 348450 h 348450"/>
                <a:gd name="connsiteX44" fmla="*/ 2626576 w 2663946"/>
                <a:gd name="connsiteY44" fmla="*/ 348450 h 348450"/>
                <a:gd name="connsiteX45" fmla="*/ 2613548 w 2663946"/>
                <a:gd name="connsiteY45" fmla="*/ 343583 h 348450"/>
                <a:gd name="connsiteX46" fmla="*/ 2608878 w 2663946"/>
                <a:gd name="connsiteY46" fmla="*/ 339527 h 348450"/>
                <a:gd name="connsiteX47" fmla="*/ 2605682 w 2663946"/>
                <a:gd name="connsiteY47" fmla="*/ 335742 h 348450"/>
                <a:gd name="connsiteX48" fmla="*/ 2603470 w 2663946"/>
                <a:gd name="connsiteY48" fmla="*/ 332227 h 348450"/>
                <a:gd name="connsiteX49" fmla="*/ 2601258 w 2663946"/>
                <a:gd name="connsiteY49" fmla="*/ 327901 h 348450"/>
                <a:gd name="connsiteX50" fmla="*/ 2600029 w 2663946"/>
                <a:gd name="connsiteY50" fmla="*/ 324926 h 348450"/>
                <a:gd name="connsiteX51" fmla="*/ 2599046 w 2663946"/>
                <a:gd name="connsiteY51" fmla="*/ 321682 h 348450"/>
                <a:gd name="connsiteX52" fmla="*/ 2597816 w 2663946"/>
                <a:gd name="connsiteY52" fmla="*/ 316004 h 348450"/>
                <a:gd name="connsiteX53" fmla="*/ 2597571 w 2663946"/>
                <a:gd name="connsiteY53" fmla="*/ 313030 h 348450"/>
                <a:gd name="connsiteX54" fmla="*/ 2597816 w 2663946"/>
                <a:gd name="connsiteY54" fmla="*/ 313300 h 348450"/>
                <a:gd name="connsiteX55" fmla="*/ 2597816 w 2663946"/>
                <a:gd name="connsiteY55" fmla="*/ 307622 h 348450"/>
                <a:gd name="connsiteX56" fmla="*/ 2597816 w 2663946"/>
                <a:gd name="connsiteY56" fmla="*/ 307352 h 348450"/>
                <a:gd name="connsiteX57" fmla="*/ 2598308 w 2663946"/>
                <a:gd name="connsiteY57" fmla="*/ 302755 h 348450"/>
                <a:gd name="connsiteX58" fmla="*/ 2599537 w 2663946"/>
                <a:gd name="connsiteY58" fmla="*/ 297348 h 348450"/>
                <a:gd name="connsiteX59" fmla="*/ 2600520 w 2663946"/>
                <a:gd name="connsiteY59" fmla="*/ 294103 h 348450"/>
                <a:gd name="connsiteX60" fmla="*/ 2602732 w 2663946"/>
                <a:gd name="connsiteY60" fmla="*/ 288966 h 348450"/>
                <a:gd name="connsiteX61" fmla="*/ 2604945 w 2663946"/>
                <a:gd name="connsiteY61" fmla="*/ 285181 h 348450"/>
                <a:gd name="connsiteX62" fmla="*/ 2607157 w 2663946"/>
                <a:gd name="connsiteY62" fmla="*/ 282206 h 348450"/>
                <a:gd name="connsiteX63" fmla="*/ 2609369 w 2663946"/>
                <a:gd name="connsiteY63" fmla="*/ 279773 h 348450"/>
                <a:gd name="connsiteX64" fmla="*/ 2614039 w 2663946"/>
                <a:gd name="connsiteY64" fmla="*/ 275988 h 348450"/>
                <a:gd name="connsiteX65" fmla="*/ 2617972 w 2663946"/>
                <a:gd name="connsiteY65" fmla="*/ 273825 h 348450"/>
                <a:gd name="connsiteX66" fmla="*/ 2627559 w 2663946"/>
                <a:gd name="connsiteY66" fmla="*/ 271391 h 348450"/>
                <a:gd name="connsiteX67" fmla="*/ 2631061 w 2663946"/>
                <a:gd name="connsiteY67" fmla="*/ 207481 h 348450"/>
                <a:gd name="connsiteX68" fmla="*/ 2621591 w 2663946"/>
                <a:gd name="connsiteY68" fmla="*/ 216755 h 348450"/>
                <a:gd name="connsiteX69" fmla="*/ 2626545 w 2663946"/>
                <a:gd name="connsiteY69" fmla="*/ 224912 h 348450"/>
                <a:gd name="connsiteX70" fmla="*/ 2626545 w 2663946"/>
                <a:gd name="connsiteY70" fmla="*/ 233307 h 348450"/>
                <a:gd name="connsiteX71" fmla="*/ 2631061 w 2663946"/>
                <a:gd name="connsiteY71" fmla="*/ 237730 h 348450"/>
                <a:gd name="connsiteX72" fmla="*/ 2635578 w 2663946"/>
                <a:gd name="connsiteY72" fmla="*/ 233307 h 348450"/>
                <a:gd name="connsiteX73" fmla="*/ 2635578 w 2663946"/>
                <a:gd name="connsiteY73" fmla="*/ 224912 h 348450"/>
                <a:gd name="connsiteX74" fmla="*/ 2640532 w 2663946"/>
                <a:gd name="connsiteY74" fmla="*/ 216755 h 348450"/>
                <a:gd name="connsiteX75" fmla="*/ 2631061 w 2663946"/>
                <a:gd name="connsiteY75" fmla="*/ 207481 h 348450"/>
                <a:gd name="connsiteX76" fmla="*/ 2630799 w 2663946"/>
                <a:gd name="connsiteY76" fmla="*/ 168764 h 348450"/>
                <a:gd name="connsiteX77" fmla="*/ 2619139 w 2663946"/>
                <a:gd name="connsiteY77" fmla="*/ 176493 h 348450"/>
                <a:gd name="connsiteX78" fmla="*/ 2618214 w 2663946"/>
                <a:gd name="connsiteY78" fmla="*/ 181076 h 348450"/>
                <a:gd name="connsiteX79" fmla="*/ 2621454 w 2663946"/>
                <a:gd name="connsiteY79" fmla="*/ 181076 h 348450"/>
                <a:gd name="connsiteX80" fmla="*/ 2639871 w 2663946"/>
                <a:gd name="connsiteY80" fmla="*/ 181076 h 348450"/>
                <a:gd name="connsiteX81" fmla="*/ 2643385 w 2663946"/>
                <a:gd name="connsiteY81" fmla="*/ 181076 h 348450"/>
                <a:gd name="connsiteX82" fmla="*/ 2642460 w 2663946"/>
                <a:gd name="connsiteY82" fmla="*/ 176493 h 348450"/>
                <a:gd name="connsiteX83" fmla="*/ 2630799 w 2663946"/>
                <a:gd name="connsiteY83" fmla="*/ 168764 h 348450"/>
                <a:gd name="connsiteX84" fmla="*/ 2630799 w 2663946"/>
                <a:gd name="connsiteY84" fmla="*/ 156109 h 348450"/>
                <a:gd name="connsiteX85" fmla="*/ 2655595 w 2663946"/>
                <a:gd name="connsiteY85" fmla="*/ 176318 h 348450"/>
                <a:gd name="connsiteX86" fmla="*/ 2656074 w 2663946"/>
                <a:gd name="connsiteY86" fmla="*/ 181076 h 348450"/>
                <a:gd name="connsiteX87" fmla="*/ 2657493 w 2663946"/>
                <a:gd name="connsiteY87" fmla="*/ 181076 h 348450"/>
                <a:gd name="connsiteX88" fmla="*/ 2663946 w 2663946"/>
                <a:gd name="connsiteY88" fmla="*/ 187362 h 348450"/>
                <a:gd name="connsiteX89" fmla="*/ 2663946 w 2663946"/>
                <a:gd name="connsiteY89" fmla="*/ 237084 h 348450"/>
                <a:gd name="connsiteX90" fmla="*/ 2657493 w 2663946"/>
                <a:gd name="connsiteY90" fmla="*/ 243370 h 348450"/>
                <a:gd name="connsiteX91" fmla="*/ 2604106 w 2663946"/>
                <a:gd name="connsiteY91" fmla="*/ 243370 h 348450"/>
                <a:gd name="connsiteX92" fmla="*/ 2597652 w 2663946"/>
                <a:gd name="connsiteY92" fmla="*/ 237084 h 348450"/>
                <a:gd name="connsiteX93" fmla="*/ 2597652 w 2663946"/>
                <a:gd name="connsiteY93" fmla="*/ 187362 h 348450"/>
                <a:gd name="connsiteX94" fmla="*/ 2604106 w 2663946"/>
                <a:gd name="connsiteY94" fmla="*/ 181076 h 348450"/>
                <a:gd name="connsiteX95" fmla="*/ 2604940 w 2663946"/>
                <a:gd name="connsiteY95" fmla="*/ 181076 h 348450"/>
                <a:gd name="connsiteX96" fmla="*/ 2605524 w 2663946"/>
                <a:gd name="connsiteY96" fmla="*/ 181076 h 348450"/>
                <a:gd name="connsiteX97" fmla="*/ 2606004 w 2663946"/>
                <a:gd name="connsiteY97" fmla="*/ 176318 h 348450"/>
                <a:gd name="connsiteX98" fmla="*/ 2630799 w 2663946"/>
                <a:gd name="connsiteY98" fmla="*/ 156109 h 348450"/>
                <a:gd name="connsiteX99" fmla="*/ 33409 w 2663946"/>
                <a:gd name="connsiteY99" fmla="*/ 103255 h 348450"/>
                <a:gd name="connsiteX100" fmla="*/ 23938 w 2663946"/>
                <a:gd name="connsiteY100" fmla="*/ 112529 h 348450"/>
                <a:gd name="connsiteX101" fmla="*/ 28892 w 2663946"/>
                <a:gd name="connsiteY101" fmla="*/ 120686 h 348450"/>
                <a:gd name="connsiteX102" fmla="*/ 28892 w 2663946"/>
                <a:gd name="connsiteY102" fmla="*/ 129081 h 348450"/>
                <a:gd name="connsiteX103" fmla="*/ 33409 w 2663946"/>
                <a:gd name="connsiteY103" fmla="*/ 133504 h 348450"/>
                <a:gd name="connsiteX104" fmla="*/ 37926 w 2663946"/>
                <a:gd name="connsiteY104" fmla="*/ 129081 h 348450"/>
                <a:gd name="connsiteX105" fmla="*/ 37926 w 2663946"/>
                <a:gd name="connsiteY105" fmla="*/ 120686 h 348450"/>
                <a:gd name="connsiteX106" fmla="*/ 42880 w 2663946"/>
                <a:gd name="connsiteY106" fmla="*/ 112529 h 348450"/>
                <a:gd name="connsiteX107" fmla="*/ 33409 w 2663946"/>
                <a:gd name="connsiteY107" fmla="*/ 103255 h 348450"/>
                <a:gd name="connsiteX108" fmla="*/ 2538193 w 2663946"/>
                <a:gd name="connsiteY108" fmla="*/ 95667 h 348450"/>
                <a:gd name="connsiteX109" fmla="*/ 2528723 w 2663946"/>
                <a:gd name="connsiteY109" fmla="*/ 104941 h 348450"/>
                <a:gd name="connsiteX110" fmla="*/ 2533677 w 2663946"/>
                <a:gd name="connsiteY110" fmla="*/ 113098 h 348450"/>
                <a:gd name="connsiteX111" fmla="*/ 2533677 w 2663946"/>
                <a:gd name="connsiteY111" fmla="*/ 121493 h 348450"/>
                <a:gd name="connsiteX112" fmla="*/ 2538193 w 2663946"/>
                <a:gd name="connsiteY112" fmla="*/ 125916 h 348450"/>
                <a:gd name="connsiteX113" fmla="*/ 2542710 w 2663946"/>
                <a:gd name="connsiteY113" fmla="*/ 121493 h 348450"/>
                <a:gd name="connsiteX114" fmla="*/ 2542710 w 2663946"/>
                <a:gd name="connsiteY114" fmla="*/ 113098 h 348450"/>
                <a:gd name="connsiteX115" fmla="*/ 2547664 w 2663946"/>
                <a:gd name="connsiteY115" fmla="*/ 104941 h 348450"/>
                <a:gd name="connsiteX116" fmla="*/ 2538193 w 2663946"/>
                <a:gd name="connsiteY116" fmla="*/ 95667 h 348450"/>
                <a:gd name="connsiteX117" fmla="*/ 2113196 w 2663946"/>
                <a:gd name="connsiteY117" fmla="*/ 95667 h 348450"/>
                <a:gd name="connsiteX118" fmla="*/ 2103726 w 2663946"/>
                <a:gd name="connsiteY118" fmla="*/ 104941 h 348450"/>
                <a:gd name="connsiteX119" fmla="*/ 2108680 w 2663946"/>
                <a:gd name="connsiteY119" fmla="*/ 113098 h 348450"/>
                <a:gd name="connsiteX120" fmla="*/ 2108680 w 2663946"/>
                <a:gd name="connsiteY120" fmla="*/ 121493 h 348450"/>
                <a:gd name="connsiteX121" fmla="*/ 2113196 w 2663946"/>
                <a:gd name="connsiteY121" fmla="*/ 125916 h 348450"/>
                <a:gd name="connsiteX122" fmla="*/ 2117713 w 2663946"/>
                <a:gd name="connsiteY122" fmla="*/ 121493 h 348450"/>
                <a:gd name="connsiteX123" fmla="*/ 2117713 w 2663946"/>
                <a:gd name="connsiteY123" fmla="*/ 113098 h 348450"/>
                <a:gd name="connsiteX124" fmla="*/ 2122667 w 2663946"/>
                <a:gd name="connsiteY124" fmla="*/ 104941 h 348450"/>
                <a:gd name="connsiteX125" fmla="*/ 2113196 w 2663946"/>
                <a:gd name="connsiteY125" fmla="*/ 95667 h 348450"/>
                <a:gd name="connsiteX126" fmla="*/ 1855228 w 2663946"/>
                <a:gd name="connsiteY126" fmla="*/ 95667 h 348450"/>
                <a:gd name="connsiteX127" fmla="*/ 1845758 w 2663946"/>
                <a:gd name="connsiteY127" fmla="*/ 104941 h 348450"/>
                <a:gd name="connsiteX128" fmla="*/ 1850712 w 2663946"/>
                <a:gd name="connsiteY128" fmla="*/ 113098 h 348450"/>
                <a:gd name="connsiteX129" fmla="*/ 1850712 w 2663946"/>
                <a:gd name="connsiteY129" fmla="*/ 121493 h 348450"/>
                <a:gd name="connsiteX130" fmla="*/ 1855228 w 2663946"/>
                <a:gd name="connsiteY130" fmla="*/ 125916 h 348450"/>
                <a:gd name="connsiteX131" fmla="*/ 1859745 w 2663946"/>
                <a:gd name="connsiteY131" fmla="*/ 121493 h 348450"/>
                <a:gd name="connsiteX132" fmla="*/ 1859745 w 2663946"/>
                <a:gd name="connsiteY132" fmla="*/ 113098 h 348450"/>
                <a:gd name="connsiteX133" fmla="*/ 1864699 w 2663946"/>
                <a:gd name="connsiteY133" fmla="*/ 104941 h 348450"/>
                <a:gd name="connsiteX134" fmla="*/ 1855228 w 2663946"/>
                <a:gd name="connsiteY134" fmla="*/ 95667 h 348450"/>
                <a:gd name="connsiteX135" fmla="*/ 1764289 w 2663946"/>
                <a:gd name="connsiteY135" fmla="*/ 95667 h 348450"/>
                <a:gd name="connsiteX136" fmla="*/ 1754819 w 2663946"/>
                <a:gd name="connsiteY136" fmla="*/ 104941 h 348450"/>
                <a:gd name="connsiteX137" fmla="*/ 1759773 w 2663946"/>
                <a:gd name="connsiteY137" fmla="*/ 113098 h 348450"/>
                <a:gd name="connsiteX138" fmla="*/ 1759773 w 2663946"/>
                <a:gd name="connsiteY138" fmla="*/ 121493 h 348450"/>
                <a:gd name="connsiteX139" fmla="*/ 1764289 w 2663946"/>
                <a:gd name="connsiteY139" fmla="*/ 125916 h 348450"/>
                <a:gd name="connsiteX140" fmla="*/ 1768806 w 2663946"/>
                <a:gd name="connsiteY140" fmla="*/ 121493 h 348450"/>
                <a:gd name="connsiteX141" fmla="*/ 1768806 w 2663946"/>
                <a:gd name="connsiteY141" fmla="*/ 113098 h 348450"/>
                <a:gd name="connsiteX142" fmla="*/ 1773760 w 2663946"/>
                <a:gd name="connsiteY142" fmla="*/ 104941 h 348450"/>
                <a:gd name="connsiteX143" fmla="*/ 1764289 w 2663946"/>
                <a:gd name="connsiteY143" fmla="*/ 95667 h 348450"/>
                <a:gd name="connsiteX144" fmla="*/ 1506321 w 2663946"/>
                <a:gd name="connsiteY144" fmla="*/ 95667 h 348450"/>
                <a:gd name="connsiteX145" fmla="*/ 1496851 w 2663946"/>
                <a:gd name="connsiteY145" fmla="*/ 104941 h 348450"/>
                <a:gd name="connsiteX146" fmla="*/ 1501805 w 2663946"/>
                <a:gd name="connsiteY146" fmla="*/ 113098 h 348450"/>
                <a:gd name="connsiteX147" fmla="*/ 1501805 w 2663946"/>
                <a:gd name="connsiteY147" fmla="*/ 121493 h 348450"/>
                <a:gd name="connsiteX148" fmla="*/ 1506321 w 2663946"/>
                <a:gd name="connsiteY148" fmla="*/ 125916 h 348450"/>
                <a:gd name="connsiteX149" fmla="*/ 1510838 w 2663946"/>
                <a:gd name="connsiteY149" fmla="*/ 121493 h 348450"/>
                <a:gd name="connsiteX150" fmla="*/ 1510838 w 2663946"/>
                <a:gd name="connsiteY150" fmla="*/ 113098 h 348450"/>
                <a:gd name="connsiteX151" fmla="*/ 1515792 w 2663946"/>
                <a:gd name="connsiteY151" fmla="*/ 104941 h 348450"/>
                <a:gd name="connsiteX152" fmla="*/ 1506321 w 2663946"/>
                <a:gd name="connsiteY152" fmla="*/ 95667 h 348450"/>
                <a:gd name="connsiteX153" fmla="*/ 1415382 w 2663946"/>
                <a:gd name="connsiteY153" fmla="*/ 95667 h 348450"/>
                <a:gd name="connsiteX154" fmla="*/ 1405912 w 2663946"/>
                <a:gd name="connsiteY154" fmla="*/ 104941 h 348450"/>
                <a:gd name="connsiteX155" fmla="*/ 1410866 w 2663946"/>
                <a:gd name="connsiteY155" fmla="*/ 113098 h 348450"/>
                <a:gd name="connsiteX156" fmla="*/ 1410866 w 2663946"/>
                <a:gd name="connsiteY156" fmla="*/ 121493 h 348450"/>
                <a:gd name="connsiteX157" fmla="*/ 1415382 w 2663946"/>
                <a:gd name="connsiteY157" fmla="*/ 125916 h 348450"/>
                <a:gd name="connsiteX158" fmla="*/ 1419899 w 2663946"/>
                <a:gd name="connsiteY158" fmla="*/ 121493 h 348450"/>
                <a:gd name="connsiteX159" fmla="*/ 1419899 w 2663946"/>
                <a:gd name="connsiteY159" fmla="*/ 113098 h 348450"/>
                <a:gd name="connsiteX160" fmla="*/ 1424853 w 2663946"/>
                <a:gd name="connsiteY160" fmla="*/ 104941 h 348450"/>
                <a:gd name="connsiteX161" fmla="*/ 1415382 w 2663946"/>
                <a:gd name="connsiteY161" fmla="*/ 95667 h 348450"/>
                <a:gd name="connsiteX162" fmla="*/ 1157414 w 2663946"/>
                <a:gd name="connsiteY162" fmla="*/ 95667 h 348450"/>
                <a:gd name="connsiteX163" fmla="*/ 1147944 w 2663946"/>
                <a:gd name="connsiteY163" fmla="*/ 104941 h 348450"/>
                <a:gd name="connsiteX164" fmla="*/ 1152898 w 2663946"/>
                <a:gd name="connsiteY164" fmla="*/ 113098 h 348450"/>
                <a:gd name="connsiteX165" fmla="*/ 1152898 w 2663946"/>
                <a:gd name="connsiteY165" fmla="*/ 121493 h 348450"/>
                <a:gd name="connsiteX166" fmla="*/ 1157414 w 2663946"/>
                <a:gd name="connsiteY166" fmla="*/ 125916 h 348450"/>
                <a:gd name="connsiteX167" fmla="*/ 1161931 w 2663946"/>
                <a:gd name="connsiteY167" fmla="*/ 121493 h 348450"/>
                <a:gd name="connsiteX168" fmla="*/ 1161931 w 2663946"/>
                <a:gd name="connsiteY168" fmla="*/ 113098 h 348450"/>
                <a:gd name="connsiteX169" fmla="*/ 1166885 w 2663946"/>
                <a:gd name="connsiteY169" fmla="*/ 104941 h 348450"/>
                <a:gd name="connsiteX170" fmla="*/ 1157414 w 2663946"/>
                <a:gd name="connsiteY170" fmla="*/ 95667 h 348450"/>
                <a:gd name="connsiteX171" fmla="*/ 732418 w 2663946"/>
                <a:gd name="connsiteY171" fmla="*/ 95667 h 348450"/>
                <a:gd name="connsiteX172" fmla="*/ 722947 w 2663946"/>
                <a:gd name="connsiteY172" fmla="*/ 104941 h 348450"/>
                <a:gd name="connsiteX173" fmla="*/ 727901 w 2663946"/>
                <a:gd name="connsiteY173" fmla="*/ 113098 h 348450"/>
                <a:gd name="connsiteX174" fmla="*/ 727901 w 2663946"/>
                <a:gd name="connsiteY174" fmla="*/ 121493 h 348450"/>
                <a:gd name="connsiteX175" fmla="*/ 732418 w 2663946"/>
                <a:gd name="connsiteY175" fmla="*/ 125916 h 348450"/>
                <a:gd name="connsiteX176" fmla="*/ 736935 w 2663946"/>
                <a:gd name="connsiteY176" fmla="*/ 121493 h 348450"/>
                <a:gd name="connsiteX177" fmla="*/ 736935 w 2663946"/>
                <a:gd name="connsiteY177" fmla="*/ 113098 h 348450"/>
                <a:gd name="connsiteX178" fmla="*/ 741889 w 2663946"/>
                <a:gd name="connsiteY178" fmla="*/ 104941 h 348450"/>
                <a:gd name="connsiteX179" fmla="*/ 732418 w 2663946"/>
                <a:gd name="connsiteY179" fmla="*/ 95667 h 348450"/>
                <a:gd name="connsiteX180" fmla="*/ 641479 w 2663946"/>
                <a:gd name="connsiteY180" fmla="*/ 95667 h 348450"/>
                <a:gd name="connsiteX181" fmla="*/ 632008 w 2663946"/>
                <a:gd name="connsiteY181" fmla="*/ 104941 h 348450"/>
                <a:gd name="connsiteX182" fmla="*/ 636962 w 2663946"/>
                <a:gd name="connsiteY182" fmla="*/ 113098 h 348450"/>
                <a:gd name="connsiteX183" fmla="*/ 636962 w 2663946"/>
                <a:gd name="connsiteY183" fmla="*/ 121493 h 348450"/>
                <a:gd name="connsiteX184" fmla="*/ 641479 w 2663946"/>
                <a:gd name="connsiteY184" fmla="*/ 125916 h 348450"/>
                <a:gd name="connsiteX185" fmla="*/ 645996 w 2663946"/>
                <a:gd name="connsiteY185" fmla="*/ 121493 h 348450"/>
                <a:gd name="connsiteX186" fmla="*/ 645996 w 2663946"/>
                <a:gd name="connsiteY186" fmla="*/ 113098 h 348450"/>
                <a:gd name="connsiteX187" fmla="*/ 650950 w 2663946"/>
                <a:gd name="connsiteY187" fmla="*/ 104941 h 348450"/>
                <a:gd name="connsiteX188" fmla="*/ 641479 w 2663946"/>
                <a:gd name="connsiteY188" fmla="*/ 95667 h 348450"/>
                <a:gd name="connsiteX189" fmla="*/ 459528 w 2663946"/>
                <a:gd name="connsiteY189" fmla="*/ 95667 h 348450"/>
                <a:gd name="connsiteX190" fmla="*/ 450057 w 2663946"/>
                <a:gd name="connsiteY190" fmla="*/ 104941 h 348450"/>
                <a:gd name="connsiteX191" fmla="*/ 455011 w 2663946"/>
                <a:gd name="connsiteY191" fmla="*/ 113098 h 348450"/>
                <a:gd name="connsiteX192" fmla="*/ 455011 w 2663946"/>
                <a:gd name="connsiteY192" fmla="*/ 121493 h 348450"/>
                <a:gd name="connsiteX193" fmla="*/ 459528 w 2663946"/>
                <a:gd name="connsiteY193" fmla="*/ 125916 h 348450"/>
                <a:gd name="connsiteX194" fmla="*/ 464045 w 2663946"/>
                <a:gd name="connsiteY194" fmla="*/ 121493 h 348450"/>
                <a:gd name="connsiteX195" fmla="*/ 464045 w 2663946"/>
                <a:gd name="connsiteY195" fmla="*/ 113098 h 348450"/>
                <a:gd name="connsiteX196" fmla="*/ 468999 w 2663946"/>
                <a:gd name="connsiteY196" fmla="*/ 104941 h 348450"/>
                <a:gd name="connsiteX197" fmla="*/ 459528 w 2663946"/>
                <a:gd name="connsiteY197" fmla="*/ 95667 h 348450"/>
                <a:gd name="connsiteX198" fmla="*/ 2632966 w 2663946"/>
                <a:gd name="connsiteY198" fmla="*/ 68474 h 348450"/>
                <a:gd name="connsiteX199" fmla="*/ 2621414 w 2663946"/>
                <a:gd name="connsiteY199" fmla="*/ 70907 h 348450"/>
                <a:gd name="connsiteX200" fmla="*/ 2618218 w 2663946"/>
                <a:gd name="connsiteY200" fmla="*/ 74422 h 348450"/>
                <a:gd name="connsiteX201" fmla="*/ 2616006 w 2663946"/>
                <a:gd name="connsiteY201" fmla="*/ 78207 h 348450"/>
                <a:gd name="connsiteX202" fmla="*/ 2615023 w 2663946"/>
                <a:gd name="connsiteY202" fmla="*/ 80911 h 348450"/>
                <a:gd name="connsiteX203" fmla="*/ 2614039 w 2663946"/>
                <a:gd name="connsiteY203" fmla="*/ 84967 h 348450"/>
                <a:gd name="connsiteX204" fmla="*/ 2613056 w 2663946"/>
                <a:gd name="connsiteY204" fmla="*/ 91997 h 348450"/>
                <a:gd name="connsiteX205" fmla="*/ 2614039 w 2663946"/>
                <a:gd name="connsiteY205" fmla="*/ 99297 h 348450"/>
                <a:gd name="connsiteX206" fmla="*/ 2615269 w 2663946"/>
                <a:gd name="connsiteY206" fmla="*/ 103082 h 348450"/>
                <a:gd name="connsiteX207" fmla="*/ 2617481 w 2663946"/>
                <a:gd name="connsiteY207" fmla="*/ 107408 h 348450"/>
                <a:gd name="connsiteX208" fmla="*/ 2620922 w 2663946"/>
                <a:gd name="connsiteY208" fmla="*/ 111735 h 348450"/>
                <a:gd name="connsiteX209" fmla="*/ 2625346 w 2663946"/>
                <a:gd name="connsiteY209" fmla="*/ 114438 h 348450"/>
                <a:gd name="connsiteX210" fmla="*/ 2637637 w 2663946"/>
                <a:gd name="connsiteY210" fmla="*/ 112005 h 348450"/>
                <a:gd name="connsiteX211" fmla="*/ 2640832 w 2663946"/>
                <a:gd name="connsiteY211" fmla="*/ 108490 h 348450"/>
                <a:gd name="connsiteX212" fmla="*/ 2643290 w 2663946"/>
                <a:gd name="connsiteY212" fmla="*/ 104164 h 348450"/>
                <a:gd name="connsiteX213" fmla="*/ 2644273 w 2663946"/>
                <a:gd name="connsiteY213" fmla="*/ 102001 h 348450"/>
                <a:gd name="connsiteX214" fmla="*/ 2645502 w 2663946"/>
                <a:gd name="connsiteY214" fmla="*/ 97675 h 348450"/>
                <a:gd name="connsiteX215" fmla="*/ 2645011 w 2663946"/>
                <a:gd name="connsiteY215" fmla="*/ 83885 h 348450"/>
                <a:gd name="connsiteX216" fmla="*/ 2644027 w 2663946"/>
                <a:gd name="connsiteY216" fmla="*/ 80911 h 348450"/>
                <a:gd name="connsiteX217" fmla="*/ 2642799 w 2663946"/>
                <a:gd name="connsiteY217" fmla="*/ 77937 h 348450"/>
                <a:gd name="connsiteX218" fmla="*/ 2640586 w 2663946"/>
                <a:gd name="connsiteY218" fmla="*/ 74422 h 348450"/>
                <a:gd name="connsiteX219" fmla="*/ 2636899 w 2663946"/>
                <a:gd name="connsiteY219" fmla="*/ 70637 h 348450"/>
                <a:gd name="connsiteX220" fmla="*/ 2632966 w 2663946"/>
                <a:gd name="connsiteY220" fmla="*/ 68474 h 348450"/>
                <a:gd name="connsiteX221" fmla="*/ 2451011 w 2663946"/>
                <a:gd name="connsiteY221" fmla="*/ 68474 h 348450"/>
                <a:gd name="connsiteX222" fmla="*/ 2439459 w 2663946"/>
                <a:gd name="connsiteY222" fmla="*/ 70907 h 348450"/>
                <a:gd name="connsiteX223" fmla="*/ 2436263 w 2663946"/>
                <a:gd name="connsiteY223" fmla="*/ 74422 h 348450"/>
                <a:gd name="connsiteX224" fmla="*/ 2434051 w 2663946"/>
                <a:gd name="connsiteY224" fmla="*/ 78207 h 348450"/>
                <a:gd name="connsiteX225" fmla="*/ 2433068 w 2663946"/>
                <a:gd name="connsiteY225" fmla="*/ 80911 h 348450"/>
                <a:gd name="connsiteX226" fmla="*/ 2432084 w 2663946"/>
                <a:gd name="connsiteY226" fmla="*/ 84967 h 348450"/>
                <a:gd name="connsiteX227" fmla="*/ 2431101 w 2663946"/>
                <a:gd name="connsiteY227" fmla="*/ 91997 h 348450"/>
                <a:gd name="connsiteX228" fmla="*/ 2432084 w 2663946"/>
                <a:gd name="connsiteY228" fmla="*/ 99297 h 348450"/>
                <a:gd name="connsiteX229" fmla="*/ 2433314 w 2663946"/>
                <a:gd name="connsiteY229" fmla="*/ 103082 h 348450"/>
                <a:gd name="connsiteX230" fmla="*/ 2435526 w 2663946"/>
                <a:gd name="connsiteY230" fmla="*/ 107408 h 348450"/>
                <a:gd name="connsiteX231" fmla="*/ 2438967 w 2663946"/>
                <a:gd name="connsiteY231" fmla="*/ 111735 h 348450"/>
                <a:gd name="connsiteX232" fmla="*/ 2443391 w 2663946"/>
                <a:gd name="connsiteY232" fmla="*/ 114438 h 348450"/>
                <a:gd name="connsiteX233" fmla="*/ 2455682 w 2663946"/>
                <a:gd name="connsiteY233" fmla="*/ 112005 h 348450"/>
                <a:gd name="connsiteX234" fmla="*/ 2458877 w 2663946"/>
                <a:gd name="connsiteY234" fmla="*/ 108490 h 348450"/>
                <a:gd name="connsiteX235" fmla="*/ 2461335 w 2663946"/>
                <a:gd name="connsiteY235" fmla="*/ 104164 h 348450"/>
                <a:gd name="connsiteX236" fmla="*/ 2462318 w 2663946"/>
                <a:gd name="connsiteY236" fmla="*/ 102001 h 348450"/>
                <a:gd name="connsiteX237" fmla="*/ 2463547 w 2663946"/>
                <a:gd name="connsiteY237" fmla="*/ 97675 h 348450"/>
                <a:gd name="connsiteX238" fmla="*/ 2463056 w 2663946"/>
                <a:gd name="connsiteY238" fmla="*/ 83885 h 348450"/>
                <a:gd name="connsiteX239" fmla="*/ 2462072 w 2663946"/>
                <a:gd name="connsiteY239" fmla="*/ 80911 h 348450"/>
                <a:gd name="connsiteX240" fmla="*/ 2460844 w 2663946"/>
                <a:gd name="connsiteY240" fmla="*/ 77937 h 348450"/>
                <a:gd name="connsiteX241" fmla="*/ 2458631 w 2663946"/>
                <a:gd name="connsiteY241" fmla="*/ 74422 h 348450"/>
                <a:gd name="connsiteX242" fmla="*/ 2454944 w 2663946"/>
                <a:gd name="connsiteY242" fmla="*/ 70637 h 348450"/>
                <a:gd name="connsiteX243" fmla="*/ 2451011 w 2663946"/>
                <a:gd name="connsiteY243" fmla="*/ 68474 h 348450"/>
                <a:gd name="connsiteX244" fmla="*/ 2207965 w 2663946"/>
                <a:gd name="connsiteY244" fmla="*/ 68474 h 348450"/>
                <a:gd name="connsiteX245" fmla="*/ 2196413 w 2663946"/>
                <a:gd name="connsiteY245" fmla="*/ 70907 h 348450"/>
                <a:gd name="connsiteX246" fmla="*/ 2193217 w 2663946"/>
                <a:gd name="connsiteY246" fmla="*/ 74422 h 348450"/>
                <a:gd name="connsiteX247" fmla="*/ 2191005 w 2663946"/>
                <a:gd name="connsiteY247" fmla="*/ 78207 h 348450"/>
                <a:gd name="connsiteX248" fmla="*/ 2190022 w 2663946"/>
                <a:gd name="connsiteY248" fmla="*/ 80911 h 348450"/>
                <a:gd name="connsiteX249" fmla="*/ 2189038 w 2663946"/>
                <a:gd name="connsiteY249" fmla="*/ 84967 h 348450"/>
                <a:gd name="connsiteX250" fmla="*/ 2188055 w 2663946"/>
                <a:gd name="connsiteY250" fmla="*/ 91997 h 348450"/>
                <a:gd name="connsiteX251" fmla="*/ 2189038 w 2663946"/>
                <a:gd name="connsiteY251" fmla="*/ 99297 h 348450"/>
                <a:gd name="connsiteX252" fmla="*/ 2190268 w 2663946"/>
                <a:gd name="connsiteY252" fmla="*/ 103082 h 348450"/>
                <a:gd name="connsiteX253" fmla="*/ 2192480 w 2663946"/>
                <a:gd name="connsiteY253" fmla="*/ 107408 h 348450"/>
                <a:gd name="connsiteX254" fmla="*/ 2195921 w 2663946"/>
                <a:gd name="connsiteY254" fmla="*/ 111735 h 348450"/>
                <a:gd name="connsiteX255" fmla="*/ 2200345 w 2663946"/>
                <a:gd name="connsiteY255" fmla="*/ 114438 h 348450"/>
                <a:gd name="connsiteX256" fmla="*/ 2212636 w 2663946"/>
                <a:gd name="connsiteY256" fmla="*/ 112005 h 348450"/>
                <a:gd name="connsiteX257" fmla="*/ 2215831 w 2663946"/>
                <a:gd name="connsiteY257" fmla="*/ 108490 h 348450"/>
                <a:gd name="connsiteX258" fmla="*/ 2218289 w 2663946"/>
                <a:gd name="connsiteY258" fmla="*/ 104164 h 348450"/>
                <a:gd name="connsiteX259" fmla="*/ 2219272 w 2663946"/>
                <a:gd name="connsiteY259" fmla="*/ 102001 h 348450"/>
                <a:gd name="connsiteX260" fmla="*/ 2220501 w 2663946"/>
                <a:gd name="connsiteY260" fmla="*/ 97675 h 348450"/>
                <a:gd name="connsiteX261" fmla="*/ 2220010 w 2663946"/>
                <a:gd name="connsiteY261" fmla="*/ 83885 h 348450"/>
                <a:gd name="connsiteX262" fmla="*/ 2219026 w 2663946"/>
                <a:gd name="connsiteY262" fmla="*/ 80911 h 348450"/>
                <a:gd name="connsiteX263" fmla="*/ 2217798 w 2663946"/>
                <a:gd name="connsiteY263" fmla="*/ 77937 h 348450"/>
                <a:gd name="connsiteX264" fmla="*/ 2215585 w 2663946"/>
                <a:gd name="connsiteY264" fmla="*/ 74422 h 348450"/>
                <a:gd name="connsiteX265" fmla="*/ 2211898 w 2663946"/>
                <a:gd name="connsiteY265" fmla="*/ 70637 h 348450"/>
                <a:gd name="connsiteX266" fmla="*/ 2207965 w 2663946"/>
                <a:gd name="connsiteY266" fmla="*/ 68474 h 348450"/>
                <a:gd name="connsiteX267" fmla="*/ 2026014 w 2663946"/>
                <a:gd name="connsiteY267" fmla="*/ 68474 h 348450"/>
                <a:gd name="connsiteX268" fmla="*/ 2014462 w 2663946"/>
                <a:gd name="connsiteY268" fmla="*/ 70907 h 348450"/>
                <a:gd name="connsiteX269" fmla="*/ 2011266 w 2663946"/>
                <a:gd name="connsiteY269" fmla="*/ 74422 h 348450"/>
                <a:gd name="connsiteX270" fmla="*/ 2009054 w 2663946"/>
                <a:gd name="connsiteY270" fmla="*/ 78207 h 348450"/>
                <a:gd name="connsiteX271" fmla="*/ 2008071 w 2663946"/>
                <a:gd name="connsiteY271" fmla="*/ 80911 h 348450"/>
                <a:gd name="connsiteX272" fmla="*/ 2007087 w 2663946"/>
                <a:gd name="connsiteY272" fmla="*/ 84967 h 348450"/>
                <a:gd name="connsiteX273" fmla="*/ 2006104 w 2663946"/>
                <a:gd name="connsiteY273" fmla="*/ 91997 h 348450"/>
                <a:gd name="connsiteX274" fmla="*/ 2007087 w 2663946"/>
                <a:gd name="connsiteY274" fmla="*/ 99297 h 348450"/>
                <a:gd name="connsiteX275" fmla="*/ 2008317 w 2663946"/>
                <a:gd name="connsiteY275" fmla="*/ 103082 h 348450"/>
                <a:gd name="connsiteX276" fmla="*/ 2010529 w 2663946"/>
                <a:gd name="connsiteY276" fmla="*/ 107408 h 348450"/>
                <a:gd name="connsiteX277" fmla="*/ 2013970 w 2663946"/>
                <a:gd name="connsiteY277" fmla="*/ 111735 h 348450"/>
                <a:gd name="connsiteX278" fmla="*/ 2018394 w 2663946"/>
                <a:gd name="connsiteY278" fmla="*/ 114438 h 348450"/>
                <a:gd name="connsiteX279" fmla="*/ 2030685 w 2663946"/>
                <a:gd name="connsiteY279" fmla="*/ 112005 h 348450"/>
                <a:gd name="connsiteX280" fmla="*/ 2033880 w 2663946"/>
                <a:gd name="connsiteY280" fmla="*/ 108490 h 348450"/>
                <a:gd name="connsiteX281" fmla="*/ 2036338 w 2663946"/>
                <a:gd name="connsiteY281" fmla="*/ 104164 h 348450"/>
                <a:gd name="connsiteX282" fmla="*/ 2037321 w 2663946"/>
                <a:gd name="connsiteY282" fmla="*/ 102001 h 348450"/>
                <a:gd name="connsiteX283" fmla="*/ 2038550 w 2663946"/>
                <a:gd name="connsiteY283" fmla="*/ 97675 h 348450"/>
                <a:gd name="connsiteX284" fmla="*/ 2038059 w 2663946"/>
                <a:gd name="connsiteY284" fmla="*/ 83885 h 348450"/>
                <a:gd name="connsiteX285" fmla="*/ 2037075 w 2663946"/>
                <a:gd name="connsiteY285" fmla="*/ 80911 h 348450"/>
                <a:gd name="connsiteX286" fmla="*/ 2035847 w 2663946"/>
                <a:gd name="connsiteY286" fmla="*/ 77937 h 348450"/>
                <a:gd name="connsiteX287" fmla="*/ 2033634 w 2663946"/>
                <a:gd name="connsiteY287" fmla="*/ 74422 h 348450"/>
                <a:gd name="connsiteX288" fmla="*/ 2029947 w 2663946"/>
                <a:gd name="connsiteY288" fmla="*/ 70637 h 348450"/>
                <a:gd name="connsiteX289" fmla="*/ 2026014 w 2663946"/>
                <a:gd name="connsiteY289" fmla="*/ 68474 h 348450"/>
                <a:gd name="connsiteX290" fmla="*/ 1601090 w 2663946"/>
                <a:gd name="connsiteY290" fmla="*/ 68474 h 348450"/>
                <a:gd name="connsiteX291" fmla="*/ 1589537 w 2663946"/>
                <a:gd name="connsiteY291" fmla="*/ 70907 h 348450"/>
                <a:gd name="connsiteX292" fmla="*/ 1586342 w 2663946"/>
                <a:gd name="connsiteY292" fmla="*/ 74422 h 348450"/>
                <a:gd name="connsiteX293" fmla="*/ 1584130 w 2663946"/>
                <a:gd name="connsiteY293" fmla="*/ 78207 h 348450"/>
                <a:gd name="connsiteX294" fmla="*/ 1583147 w 2663946"/>
                <a:gd name="connsiteY294" fmla="*/ 80911 h 348450"/>
                <a:gd name="connsiteX295" fmla="*/ 1582163 w 2663946"/>
                <a:gd name="connsiteY295" fmla="*/ 84967 h 348450"/>
                <a:gd name="connsiteX296" fmla="*/ 1581180 w 2663946"/>
                <a:gd name="connsiteY296" fmla="*/ 91997 h 348450"/>
                <a:gd name="connsiteX297" fmla="*/ 1582163 w 2663946"/>
                <a:gd name="connsiteY297" fmla="*/ 99297 h 348450"/>
                <a:gd name="connsiteX298" fmla="*/ 1583393 w 2663946"/>
                <a:gd name="connsiteY298" fmla="*/ 103082 h 348450"/>
                <a:gd name="connsiteX299" fmla="*/ 1585605 w 2663946"/>
                <a:gd name="connsiteY299" fmla="*/ 107408 h 348450"/>
                <a:gd name="connsiteX300" fmla="*/ 1589046 w 2663946"/>
                <a:gd name="connsiteY300" fmla="*/ 111735 h 348450"/>
                <a:gd name="connsiteX301" fmla="*/ 1593470 w 2663946"/>
                <a:gd name="connsiteY301" fmla="*/ 114438 h 348450"/>
                <a:gd name="connsiteX302" fmla="*/ 1605761 w 2663946"/>
                <a:gd name="connsiteY302" fmla="*/ 112005 h 348450"/>
                <a:gd name="connsiteX303" fmla="*/ 1608956 w 2663946"/>
                <a:gd name="connsiteY303" fmla="*/ 108490 h 348450"/>
                <a:gd name="connsiteX304" fmla="*/ 1611414 w 2663946"/>
                <a:gd name="connsiteY304" fmla="*/ 104164 h 348450"/>
                <a:gd name="connsiteX305" fmla="*/ 1612397 w 2663946"/>
                <a:gd name="connsiteY305" fmla="*/ 102001 h 348450"/>
                <a:gd name="connsiteX306" fmla="*/ 1613626 w 2663946"/>
                <a:gd name="connsiteY306" fmla="*/ 97675 h 348450"/>
                <a:gd name="connsiteX307" fmla="*/ 1613135 w 2663946"/>
                <a:gd name="connsiteY307" fmla="*/ 83885 h 348450"/>
                <a:gd name="connsiteX308" fmla="*/ 1612151 w 2663946"/>
                <a:gd name="connsiteY308" fmla="*/ 80911 h 348450"/>
                <a:gd name="connsiteX309" fmla="*/ 1610923 w 2663946"/>
                <a:gd name="connsiteY309" fmla="*/ 77937 h 348450"/>
                <a:gd name="connsiteX310" fmla="*/ 1608710 w 2663946"/>
                <a:gd name="connsiteY310" fmla="*/ 74422 h 348450"/>
                <a:gd name="connsiteX311" fmla="*/ 1605023 w 2663946"/>
                <a:gd name="connsiteY311" fmla="*/ 70637 h 348450"/>
                <a:gd name="connsiteX312" fmla="*/ 1601090 w 2663946"/>
                <a:gd name="connsiteY312" fmla="*/ 68474 h 348450"/>
                <a:gd name="connsiteX313" fmla="*/ 1252183 w 2663946"/>
                <a:gd name="connsiteY313" fmla="*/ 68474 h 348450"/>
                <a:gd name="connsiteX314" fmla="*/ 1240630 w 2663946"/>
                <a:gd name="connsiteY314" fmla="*/ 70907 h 348450"/>
                <a:gd name="connsiteX315" fmla="*/ 1237435 w 2663946"/>
                <a:gd name="connsiteY315" fmla="*/ 74422 h 348450"/>
                <a:gd name="connsiteX316" fmla="*/ 1235223 w 2663946"/>
                <a:gd name="connsiteY316" fmla="*/ 78207 h 348450"/>
                <a:gd name="connsiteX317" fmla="*/ 1234240 w 2663946"/>
                <a:gd name="connsiteY317" fmla="*/ 80911 h 348450"/>
                <a:gd name="connsiteX318" fmla="*/ 1233256 w 2663946"/>
                <a:gd name="connsiteY318" fmla="*/ 84967 h 348450"/>
                <a:gd name="connsiteX319" fmla="*/ 1232273 w 2663946"/>
                <a:gd name="connsiteY319" fmla="*/ 91997 h 348450"/>
                <a:gd name="connsiteX320" fmla="*/ 1233256 w 2663946"/>
                <a:gd name="connsiteY320" fmla="*/ 99297 h 348450"/>
                <a:gd name="connsiteX321" fmla="*/ 1234486 w 2663946"/>
                <a:gd name="connsiteY321" fmla="*/ 103082 h 348450"/>
                <a:gd name="connsiteX322" fmla="*/ 1236698 w 2663946"/>
                <a:gd name="connsiteY322" fmla="*/ 107408 h 348450"/>
                <a:gd name="connsiteX323" fmla="*/ 1240139 w 2663946"/>
                <a:gd name="connsiteY323" fmla="*/ 111735 h 348450"/>
                <a:gd name="connsiteX324" fmla="*/ 1244563 w 2663946"/>
                <a:gd name="connsiteY324" fmla="*/ 114438 h 348450"/>
                <a:gd name="connsiteX325" fmla="*/ 1256854 w 2663946"/>
                <a:gd name="connsiteY325" fmla="*/ 112005 h 348450"/>
                <a:gd name="connsiteX326" fmla="*/ 1260049 w 2663946"/>
                <a:gd name="connsiteY326" fmla="*/ 108490 h 348450"/>
                <a:gd name="connsiteX327" fmla="*/ 1262507 w 2663946"/>
                <a:gd name="connsiteY327" fmla="*/ 104164 h 348450"/>
                <a:gd name="connsiteX328" fmla="*/ 1263490 w 2663946"/>
                <a:gd name="connsiteY328" fmla="*/ 102001 h 348450"/>
                <a:gd name="connsiteX329" fmla="*/ 1264719 w 2663946"/>
                <a:gd name="connsiteY329" fmla="*/ 97675 h 348450"/>
                <a:gd name="connsiteX330" fmla="*/ 1264228 w 2663946"/>
                <a:gd name="connsiteY330" fmla="*/ 83885 h 348450"/>
                <a:gd name="connsiteX331" fmla="*/ 1263244 w 2663946"/>
                <a:gd name="connsiteY331" fmla="*/ 80911 h 348450"/>
                <a:gd name="connsiteX332" fmla="*/ 1262016 w 2663946"/>
                <a:gd name="connsiteY332" fmla="*/ 77937 h 348450"/>
                <a:gd name="connsiteX333" fmla="*/ 1259803 w 2663946"/>
                <a:gd name="connsiteY333" fmla="*/ 74422 h 348450"/>
                <a:gd name="connsiteX334" fmla="*/ 1256116 w 2663946"/>
                <a:gd name="connsiteY334" fmla="*/ 70637 h 348450"/>
                <a:gd name="connsiteX335" fmla="*/ 1252183 w 2663946"/>
                <a:gd name="connsiteY335" fmla="*/ 68474 h 348450"/>
                <a:gd name="connsiteX336" fmla="*/ 1070232 w 2663946"/>
                <a:gd name="connsiteY336" fmla="*/ 68474 h 348450"/>
                <a:gd name="connsiteX337" fmla="*/ 1058679 w 2663946"/>
                <a:gd name="connsiteY337" fmla="*/ 70907 h 348450"/>
                <a:gd name="connsiteX338" fmla="*/ 1055484 w 2663946"/>
                <a:gd name="connsiteY338" fmla="*/ 74422 h 348450"/>
                <a:gd name="connsiteX339" fmla="*/ 1053272 w 2663946"/>
                <a:gd name="connsiteY339" fmla="*/ 78207 h 348450"/>
                <a:gd name="connsiteX340" fmla="*/ 1052289 w 2663946"/>
                <a:gd name="connsiteY340" fmla="*/ 80911 h 348450"/>
                <a:gd name="connsiteX341" fmla="*/ 1051305 w 2663946"/>
                <a:gd name="connsiteY341" fmla="*/ 84967 h 348450"/>
                <a:gd name="connsiteX342" fmla="*/ 1050322 w 2663946"/>
                <a:gd name="connsiteY342" fmla="*/ 91997 h 348450"/>
                <a:gd name="connsiteX343" fmla="*/ 1051305 w 2663946"/>
                <a:gd name="connsiteY343" fmla="*/ 99297 h 348450"/>
                <a:gd name="connsiteX344" fmla="*/ 1052535 w 2663946"/>
                <a:gd name="connsiteY344" fmla="*/ 103082 h 348450"/>
                <a:gd name="connsiteX345" fmla="*/ 1054747 w 2663946"/>
                <a:gd name="connsiteY345" fmla="*/ 107408 h 348450"/>
                <a:gd name="connsiteX346" fmla="*/ 1058188 w 2663946"/>
                <a:gd name="connsiteY346" fmla="*/ 111735 h 348450"/>
                <a:gd name="connsiteX347" fmla="*/ 1062612 w 2663946"/>
                <a:gd name="connsiteY347" fmla="*/ 114438 h 348450"/>
                <a:gd name="connsiteX348" fmla="*/ 1074903 w 2663946"/>
                <a:gd name="connsiteY348" fmla="*/ 112005 h 348450"/>
                <a:gd name="connsiteX349" fmla="*/ 1078098 w 2663946"/>
                <a:gd name="connsiteY349" fmla="*/ 108490 h 348450"/>
                <a:gd name="connsiteX350" fmla="*/ 1080556 w 2663946"/>
                <a:gd name="connsiteY350" fmla="*/ 104164 h 348450"/>
                <a:gd name="connsiteX351" fmla="*/ 1081539 w 2663946"/>
                <a:gd name="connsiteY351" fmla="*/ 102001 h 348450"/>
                <a:gd name="connsiteX352" fmla="*/ 1082768 w 2663946"/>
                <a:gd name="connsiteY352" fmla="*/ 97675 h 348450"/>
                <a:gd name="connsiteX353" fmla="*/ 1082277 w 2663946"/>
                <a:gd name="connsiteY353" fmla="*/ 83885 h 348450"/>
                <a:gd name="connsiteX354" fmla="*/ 1081293 w 2663946"/>
                <a:gd name="connsiteY354" fmla="*/ 80911 h 348450"/>
                <a:gd name="connsiteX355" fmla="*/ 1080065 w 2663946"/>
                <a:gd name="connsiteY355" fmla="*/ 77937 h 348450"/>
                <a:gd name="connsiteX356" fmla="*/ 1077852 w 2663946"/>
                <a:gd name="connsiteY356" fmla="*/ 74422 h 348450"/>
                <a:gd name="connsiteX357" fmla="*/ 1074165 w 2663946"/>
                <a:gd name="connsiteY357" fmla="*/ 70637 h 348450"/>
                <a:gd name="connsiteX358" fmla="*/ 1070232 w 2663946"/>
                <a:gd name="connsiteY358" fmla="*/ 68474 h 348450"/>
                <a:gd name="connsiteX359" fmla="*/ 903203 w 2663946"/>
                <a:gd name="connsiteY359" fmla="*/ 68474 h 348450"/>
                <a:gd name="connsiteX360" fmla="*/ 891650 w 2663946"/>
                <a:gd name="connsiteY360" fmla="*/ 70907 h 348450"/>
                <a:gd name="connsiteX361" fmla="*/ 888455 w 2663946"/>
                <a:gd name="connsiteY361" fmla="*/ 74422 h 348450"/>
                <a:gd name="connsiteX362" fmla="*/ 886243 w 2663946"/>
                <a:gd name="connsiteY362" fmla="*/ 78207 h 348450"/>
                <a:gd name="connsiteX363" fmla="*/ 885260 w 2663946"/>
                <a:gd name="connsiteY363" fmla="*/ 80911 h 348450"/>
                <a:gd name="connsiteX364" fmla="*/ 884276 w 2663946"/>
                <a:gd name="connsiteY364" fmla="*/ 84967 h 348450"/>
                <a:gd name="connsiteX365" fmla="*/ 883293 w 2663946"/>
                <a:gd name="connsiteY365" fmla="*/ 91997 h 348450"/>
                <a:gd name="connsiteX366" fmla="*/ 884276 w 2663946"/>
                <a:gd name="connsiteY366" fmla="*/ 99297 h 348450"/>
                <a:gd name="connsiteX367" fmla="*/ 885506 w 2663946"/>
                <a:gd name="connsiteY367" fmla="*/ 103082 h 348450"/>
                <a:gd name="connsiteX368" fmla="*/ 887718 w 2663946"/>
                <a:gd name="connsiteY368" fmla="*/ 107408 h 348450"/>
                <a:gd name="connsiteX369" fmla="*/ 891159 w 2663946"/>
                <a:gd name="connsiteY369" fmla="*/ 111735 h 348450"/>
                <a:gd name="connsiteX370" fmla="*/ 895583 w 2663946"/>
                <a:gd name="connsiteY370" fmla="*/ 114438 h 348450"/>
                <a:gd name="connsiteX371" fmla="*/ 907874 w 2663946"/>
                <a:gd name="connsiteY371" fmla="*/ 112005 h 348450"/>
                <a:gd name="connsiteX372" fmla="*/ 911069 w 2663946"/>
                <a:gd name="connsiteY372" fmla="*/ 108490 h 348450"/>
                <a:gd name="connsiteX373" fmla="*/ 913527 w 2663946"/>
                <a:gd name="connsiteY373" fmla="*/ 104164 h 348450"/>
                <a:gd name="connsiteX374" fmla="*/ 914510 w 2663946"/>
                <a:gd name="connsiteY374" fmla="*/ 102001 h 348450"/>
                <a:gd name="connsiteX375" fmla="*/ 915739 w 2663946"/>
                <a:gd name="connsiteY375" fmla="*/ 97675 h 348450"/>
                <a:gd name="connsiteX376" fmla="*/ 915248 w 2663946"/>
                <a:gd name="connsiteY376" fmla="*/ 83885 h 348450"/>
                <a:gd name="connsiteX377" fmla="*/ 914264 w 2663946"/>
                <a:gd name="connsiteY377" fmla="*/ 80911 h 348450"/>
                <a:gd name="connsiteX378" fmla="*/ 913036 w 2663946"/>
                <a:gd name="connsiteY378" fmla="*/ 77937 h 348450"/>
                <a:gd name="connsiteX379" fmla="*/ 910823 w 2663946"/>
                <a:gd name="connsiteY379" fmla="*/ 74422 h 348450"/>
                <a:gd name="connsiteX380" fmla="*/ 907136 w 2663946"/>
                <a:gd name="connsiteY380" fmla="*/ 70637 h 348450"/>
                <a:gd name="connsiteX381" fmla="*/ 903203 w 2663946"/>
                <a:gd name="connsiteY381" fmla="*/ 68474 h 348450"/>
                <a:gd name="connsiteX382" fmla="*/ 554297 w 2663946"/>
                <a:gd name="connsiteY382" fmla="*/ 68474 h 348450"/>
                <a:gd name="connsiteX383" fmla="*/ 542744 w 2663946"/>
                <a:gd name="connsiteY383" fmla="*/ 70907 h 348450"/>
                <a:gd name="connsiteX384" fmla="*/ 539549 w 2663946"/>
                <a:gd name="connsiteY384" fmla="*/ 74422 h 348450"/>
                <a:gd name="connsiteX385" fmla="*/ 537337 w 2663946"/>
                <a:gd name="connsiteY385" fmla="*/ 78207 h 348450"/>
                <a:gd name="connsiteX386" fmla="*/ 536353 w 2663946"/>
                <a:gd name="connsiteY386" fmla="*/ 80911 h 348450"/>
                <a:gd name="connsiteX387" fmla="*/ 535370 w 2663946"/>
                <a:gd name="connsiteY387" fmla="*/ 84967 h 348450"/>
                <a:gd name="connsiteX388" fmla="*/ 534387 w 2663946"/>
                <a:gd name="connsiteY388" fmla="*/ 91997 h 348450"/>
                <a:gd name="connsiteX389" fmla="*/ 535370 w 2663946"/>
                <a:gd name="connsiteY389" fmla="*/ 99297 h 348450"/>
                <a:gd name="connsiteX390" fmla="*/ 536599 w 2663946"/>
                <a:gd name="connsiteY390" fmla="*/ 103082 h 348450"/>
                <a:gd name="connsiteX391" fmla="*/ 538811 w 2663946"/>
                <a:gd name="connsiteY391" fmla="*/ 107408 h 348450"/>
                <a:gd name="connsiteX392" fmla="*/ 542253 w 2663946"/>
                <a:gd name="connsiteY392" fmla="*/ 111735 h 348450"/>
                <a:gd name="connsiteX393" fmla="*/ 546677 w 2663946"/>
                <a:gd name="connsiteY393" fmla="*/ 114438 h 348450"/>
                <a:gd name="connsiteX394" fmla="*/ 558967 w 2663946"/>
                <a:gd name="connsiteY394" fmla="*/ 112005 h 348450"/>
                <a:gd name="connsiteX395" fmla="*/ 562163 w 2663946"/>
                <a:gd name="connsiteY395" fmla="*/ 108490 h 348450"/>
                <a:gd name="connsiteX396" fmla="*/ 564621 w 2663946"/>
                <a:gd name="connsiteY396" fmla="*/ 104164 h 348450"/>
                <a:gd name="connsiteX397" fmla="*/ 565604 w 2663946"/>
                <a:gd name="connsiteY397" fmla="*/ 102001 h 348450"/>
                <a:gd name="connsiteX398" fmla="*/ 566833 w 2663946"/>
                <a:gd name="connsiteY398" fmla="*/ 97675 h 348450"/>
                <a:gd name="connsiteX399" fmla="*/ 566341 w 2663946"/>
                <a:gd name="connsiteY399" fmla="*/ 83885 h 348450"/>
                <a:gd name="connsiteX400" fmla="*/ 565358 w 2663946"/>
                <a:gd name="connsiteY400" fmla="*/ 80911 h 348450"/>
                <a:gd name="connsiteX401" fmla="*/ 564129 w 2663946"/>
                <a:gd name="connsiteY401" fmla="*/ 77937 h 348450"/>
                <a:gd name="connsiteX402" fmla="*/ 561917 w 2663946"/>
                <a:gd name="connsiteY402" fmla="*/ 74422 h 348450"/>
                <a:gd name="connsiteX403" fmla="*/ 558230 w 2663946"/>
                <a:gd name="connsiteY403" fmla="*/ 70637 h 348450"/>
                <a:gd name="connsiteX404" fmla="*/ 554297 w 2663946"/>
                <a:gd name="connsiteY404" fmla="*/ 68474 h 348450"/>
                <a:gd name="connsiteX405" fmla="*/ 372346 w 2663946"/>
                <a:gd name="connsiteY405" fmla="*/ 68474 h 348450"/>
                <a:gd name="connsiteX406" fmla="*/ 360793 w 2663946"/>
                <a:gd name="connsiteY406" fmla="*/ 70907 h 348450"/>
                <a:gd name="connsiteX407" fmla="*/ 357598 w 2663946"/>
                <a:gd name="connsiteY407" fmla="*/ 74422 h 348450"/>
                <a:gd name="connsiteX408" fmla="*/ 355385 w 2663946"/>
                <a:gd name="connsiteY408" fmla="*/ 78207 h 348450"/>
                <a:gd name="connsiteX409" fmla="*/ 354402 w 2663946"/>
                <a:gd name="connsiteY409" fmla="*/ 80911 h 348450"/>
                <a:gd name="connsiteX410" fmla="*/ 353419 w 2663946"/>
                <a:gd name="connsiteY410" fmla="*/ 84967 h 348450"/>
                <a:gd name="connsiteX411" fmla="*/ 352436 w 2663946"/>
                <a:gd name="connsiteY411" fmla="*/ 91997 h 348450"/>
                <a:gd name="connsiteX412" fmla="*/ 353419 w 2663946"/>
                <a:gd name="connsiteY412" fmla="*/ 99297 h 348450"/>
                <a:gd name="connsiteX413" fmla="*/ 354648 w 2663946"/>
                <a:gd name="connsiteY413" fmla="*/ 103082 h 348450"/>
                <a:gd name="connsiteX414" fmla="*/ 356860 w 2663946"/>
                <a:gd name="connsiteY414" fmla="*/ 107408 h 348450"/>
                <a:gd name="connsiteX415" fmla="*/ 360301 w 2663946"/>
                <a:gd name="connsiteY415" fmla="*/ 111735 h 348450"/>
                <a:gd name="connsiteX416" fmla="*/ 364726 w 2663946"/>
                <a:gd name="connsiteY416" fmla="*/ 114438 h 348450"/>
                <a:gd name="connsiteX417" fmla="*/ 377016 w 2663946"/>
                <a:gd name="connsiteY417" fmla="*/ 112005 h 348450"/>
                <a:gd name="connsiteX418" fmla="*/ 380212 w 2663946"/>
                <a:gd name="connsiteY418" fmla="*/ 108490 h 348450"/>
                <a:gd name="connsiteX419" fmla="*/ 382670 w 2663946"/>
                <a:gd name="connsiteY419" fmla="*/ 104164 h 348450"/>
                <a:gd name="connsiteX420" fmla="*/ 383653 w 2663946"/>
                <a:gd name="connsiteY420" fmla="*/ 102001 h 348450"/>
                <a:gd name="connsiteX421" fmla="*/ 384882 w 2663946"/>
                <a:gd name="connsiteY421" fmla="*/ 97675 h 348450"/>
                <a:gd name="connsiteX422" fmla="*/ 384390 w 2663946"/>
                <a:gd name="connsiteY422" fmla="*/ 83885 h 348450"/>
                <a:gd name="connsiteX423" fmla="*/ 383407 w 2663946"/>
                <a:gd name="connsiteY423" fmla="*/ 80911 h 348450"/>
                <a:gd name="connsiteX424" fmla="*/ 382178 w 2663946"/>
                <a:gd name="connsiteY424" fmla="*/ 77937 h 348450"/>
                <a:gd name="connsiteX425" fmla="*/ 379966 w 2663946"/>
                <a:gd name="connsiteY425" fmla="*/ 74422 h 348450"/>
                <a:gd name="connsiteX426" fmla="*/ 376279 w 2663946"/>
                <a:gd name="connsiteY426" fmla="*/ 70637 h 348450"/>
                <a:gd name="connsiteX427" fmla="*/ 372346 w 2663946"/>
                <a:gd name="connsiteY427" fmla="*/ 68474 h 348450"/>
                <a:gd name="connsiteX428" fmla="*/ 129300 w 2663946"/>
                <a:gd name="connsiteY428" fmla="*/ 68474 h 348450"/>
                <a:gd name="connsiteX429" fmla="*/ 117747 w 2663946"/>
                <a:gd name="connsiteY429" fmla="*/ 70907 h 348450"/>
                <a:gd name="connsiteX430" fmla="*/ 114552 w 2663946"/>
                <a:gd name="connsiteY430" fmla="*/ 74422 h 348450"/>
                <a:gd name="connsiteX431" fmla="*/ 112340 w 2663946"/>
                <a:gd name="connsiteY431" fmla="*/ 78207 h 348450"/>
                <a:gd name="connsiteX432" fmla="*/ 111356 w 2663946"/>
                <a:gd name="connsiteY432" fmla="*/ 80911 h 348450"/>
                <a:gd name="connsiteX433" fmla="*/ 110373 w 2663946"/>
                <a:gd name="connsiteY433" fmla="*/ 84967 h 348450"/>
                <a:gd name="connsiteX434" fmla="*/ 109390 w 2663946"/>
                <a:gd name="connsiteY434" fmla="*/ 91997 h 348450"/>
                <a:gd name="connsiteX435" fmla="*/ 110373 w 2663946"/>
                <a:gd name="connsiteY435" fmla="*/ 99297 h 348450"/>
                <a:gd name="connsiteX436" fmla="*/ 111602 w 2663946"/>
                <a:gd name="connsiteY436" fmla="*/ 103082 h 348450"/>
                <a:gd name="connsiteX437" fmla="*/ 113814 w 2663946"/>
                <a:gd name="connsiteY437" fmla="*/ 107408 h 348450"/>
                <a:gd name="connsiteX438" fmla="*/ 117256 w 2663946"/>
                <a:gd name="connsiteY438" fmla="*/ 111735 h 348450"/>
                <a:gd name="connsiteX439" fmla="*/ 121680 w 2663946"/>
                <a:gd name="connsiteY439" fmla="*/ 114438 h 348450"/>
                <a:gd name="connsiteX440" fmla="*/ 133970 w 2663946"/>
                <a:gd name="connsiteY440" fmla="*/ 112005 h 348450"/>
                <a:gd name="connsiteX441" fmla="*/ 137166 w 2663946"/>
                <a:gd name="connsiteY441" fmla="*/ 108490 h 348450"/>
                <a:gd name="connsiteX442" fmla="*/ 139624 w 2663946"/>
                <a:gd name="connsiteY442" fmla="*/ 104164 h 348450"/>
                <a:gd name="connsiteX443" fmla="*/ 140607 w 2663946"/>
                <a:gd name="connsiteY443" fmla="*/ 102001 h 348450"/>
                <a:gd name="connsiteX444" fmla="*/ 141836 w 2663946"/>
                <a:gd name="connsiteY444" fmla="*/ 97675 h 348450"/>
                <a:gd name="connsiteX445" fmla="*/ 141344 w 2663946"/>
                <a:gd name="connsiteY445" fmla="*/ 83885 h 348450"/>
                <a:gd name="connsiteX446" fmla="*/ 140361 w 2663946"/>
                <a:gd name="connsiteY446" fmla="*/ 80911 h 348450"/>
                <a:gd name="connsiteX447" fmla="*/ 139132 w 2663946"/>
                <a:gd name="connsiteY447" fmla="*/ 77937 h 348450"/>
                <a:gd name="connsiteX448" fmla="*/ 136920 w 2663946"/>
                <a:gd name="connsiteY448" fmla="*/ 74422 h 348450"/>
                <a:gd name="connsiteX449" fmla="*/ 133233 w 2663946"/>
                <a:gd name="connsiteY449" fmla="*/ 70637 h 348450"/>
                <a:gd name="connsiteX450" fmla="*/ 129300 w 2663946"/>
                <a:gd name="connsiteY450" fmla="*/ 68474 h 348450"/>
                <a:gd name="connsiteX451" fmla="*/ 33147 w 2663946"/>
                <a:gd name="connsiteY451" fmla="*/ 64538 h 348450"/>
                <a:gd name="connsiteX452" fmla="*/ 21486 w 2663946"/>
                <a:gd name="connsiteY452" fmla="*/ 72267 h 348450"/>
                <a:gd name="connsiteX453" fmla="*/ 20561 w 2663946"/>
                <a:gd name="connsiteY453" fmla="*/ 76850 h 348450"/>
                <a:gd name="connsiteX454" fmla="*/ 23801 w 2663946"/>
                <a:gd name="connsiteY454" fmla="*/ 76850 h 348450"/>
                <a:gd name="connsiteX455" fmla="*/ 42218 w 2663946"/>
                <a:gd name="connsiteY455" fmla="*/ 76850 h 348450"/>
                <a:gd name="connsiteX456" fmla="*/ 45732 w 2663946"/>
                <a:gd name="connsiteY456" fmla="*/ 76850 h 348450"/>
                <a:gd name="connsiteX457" fmla="*/ 44807 w 2663946"/>
                <a:gd name="connsiteY457" fmla="*/ 72267 h 348450"/>
                <a:gd name="connsiteX458" fmla="*/ 33147 w 2663946"/>
                <a:gd name="connsiteY458" fmla="*/ 64538 h 348450"/>
                <a:gd name="connsiteX459" fmla="*/ 2537931 w 2663946"/>
                <a:gd name="connsiteY459" fmla="*/ 56950 h 348450"/>
                <a:gd name="connsiteX460" fmla="*/ 2526271 w 2663946"/>
                <a:gd name="connsiteY460" fmla="*/ 64679 h 348450"/>
                <a:gd name="connsiteX461" fmla="*/ 2525346 w 2663946"/>
                <a:gd name="connsiteY461" fmla="*/ 69262 h 348450"/>
                <a:gd name="connsiteX462" fmla="*/ 2528586 w 2663946"/>
                <a:gd name="connsiteY462" fmla="*/ 69262 h 348450"/>
                <a:gd name="connsiteX463" fmla="*/ 2547003 w 2663946"/>
                <a:gd name="connsiteY463" fmla="*/ 69262 h 348450"/>
                <a:gd name="connsiteX464" fmla="*/ 2550517 w 2663946"/>
                <a:gd name="connsiteY464" fmla="*/ 69262 h 348450"/>
                <a:gd name="connsiteX465" fmla="*/ 2549592 w 2663946"/>
                <a:gd name="connsiteY465" fmla="*/ 64679 h 348450"/>
                <a:gd name="connsiteX466" fmla="*/ 2537931 w 2663946"/>
                <a:gd name="connsiteY466" fmla="*/ 56950 h 348450"/>
                <a:gd name="connsiteX467" fmla="*/ 2112934 w 2663946"/>
                <a:gd name="connsiteY467" fmla="*/ 56950 h 348450"/>
                <a:gd name="connsiteX468" fmla="*/ 2101274 w 2663946"/>
                <a:gd name="connsiteY468" fmla="*/ 64679 h 348450"/>
                <a:gd name="connsiteX469" fmla="*/ 2100349 w 2663946"/>
                <a:gd name="connsiteY469" fmla="*/ 69262 h 348450"/>
                <a:gd name="connsiteX470" fmla="*/ 2103589 w 2663946"/>
                <a:gd name="connsiteY470" fmla="*/ 69262 h 348450"/>
                <a:gd name="connsiteX471" fmla="*/ 2122006 w 2663946"/>
                <a:gd name="connsiteY471" fmla="*/ 69262 h 348450"/>
                <a:gd name="connsiteX472" fmla="*/ 2125520 w 2663946"/>
                <a:gd name="connsiteY472" fmla="*/ 69262 h 348450"/>
                <a:gd name="connsiteX473" fmla="*/ 2124595 w 2663946"/>
                <a:gd name="connsiteY473" fmla="*/ 64679 h 348450"/>
                <a:gd name="connsiteX474" fmla="*/ 2112934 w 2663946"/>
                <a:gd name="connsiteY474" fmla="*/ 56950 h 348450"/>
                <a:gd name="connsiteX475" fmla="*/ 1854966 w 2663946"/>
                <a:gd name="connsiteY475" fmla="*/ 56950 h 348450"/>
                <a:gd name="connsiteX476" fmla="*/ 1843306 w 2663946"/>
                <a:gd name="connsiteY476" fmla="*/ 64679 h 348450"/>
                <a:gd name="connsiteX477" fmla="*/ 1842381 w 2663946"/>
                <a:gd name="connsiteY477" fmla="*/ 69262 h 348450"/>
                <a:gd name="connsiteX478" fmla="*/ 1845621 w 2663946"/>
                <a:gd name="connsiteY478" fmla="*/ 69262 h 348450"/>
                <a:gd name="connsiteX479" fmla="*/ 1864038 w 2663946"/>
                <a:gd name="connsiteY479" fmla="*/ 69262 h 348450"/>
                <a:gd name="connsiteX480" fmla="*/ 1867552 w 2663946"/>
                <a:gd name="connsiteY480" fmla="*/ 69262 h 348450"/>
                <a:gd name="connsiteX481" fmla="*/ 1866627 w 2663946"/>
                <a:gd name="connsiteY481" fmla="*/ 64679 h 348450"/>
                <a:gd name="connsiteX482" fmla="*/ 1854966 w 2663946"/>
                <a:gd name="connsiteY482" fmla="*/ 56950 h 348450"/>
                <a:gd name="connsiteX483" fmla="*/ 1764027 w 2663946"/>
                <a:gd name="connsiteY483" fmla="*/ 56950 h 348450"/>
                <a:gd name="connsiteX484" fmla="*/ 1752367 w 2663946"/>
                <a:gd name="connsiteY484" fmla="*/ 64679 h 348450"/>
                <a:gd name="connsiteX485" fmla="*/ 1751442 w 2663946"/>
                <a:gd name="connsiteY485" fmla="*/ 69262 h 348450"/>
                <a:gd name="connsiteX486" fmla="*/ 1754682 w 2663946"/>
                <a:gd name="connsiteY486" fmla="*/ 69262 h 348450"/>
                <a:gd name="connsiteX487" fmla="*/ 1773099 w 2663946"/>
                <a:gd name="connsiteY487" fmla="*/ 69262 h 348450"/>
                <a:gd name="connsiteX488" fmla="*/ 1776613 w 2663946"/>
                <a:gd name="connsiteY488" fmla="*/ 69262 h 348450"/>
                <a:gd name="connsiteX489" fmla="*/ 1775687 w 2663946"/>
                <a:gd name="connsiteY489" fmla="*/ 64679 h 348450"/>
                <a:gd name="connsiteX490" fmla="*/ 1764027 w 2663946"/>
                <a:gd name="connsiteY490" fmla="*/ 56950 h 348450"/>
                <a:gd name="connsiteX491" fmla="*/ 1506059 w 2663946"/>
                <a:gd name="connsiteY491" fmla="*/ 56950 h 348450"/>
                <a:gd name="connsiteX492" fmla="*/ 1494399 w 2663946"/>
                <a:gd name="connsiteY492" fmla="*/ 64679 h 348450"/>
                <a:gd name="connsiteX493" fmla="*/ 1493474 w 2663946"/>
                <a:gd name="connsiteY493" fmla="*/ 69262 h 348450"/>
                <a:gd name="connsiteX494" fmla="*/ 1496714 w 2663946"/>
                <a:gd name="connsiteY494" fmla="*/ 69262 h 348450"/>
                <a:gd name="connsiteX495" fmla="*/ 1515131 w 2663946"/>
                <a:gd name="connsiteY495" fmla="*/ 69262 h 348450"/>
                <a:gd name="connsiteX496" fmla="*/ 1518645 w 2663946"/>
                <a:gd name="connsiteY496" fmla="*/ 69262 h 348450"/>
                <a:gd name="connsiteX497" fmla="*/ 1517719 w 2663946"/>
                <a:gd name="connsiteY497" fmla="*/ 64679 h 348450"/>
                <a:gd name="connsiteX498" fmla="*/ 1506059 w 2663946"/>
                <a:gd name="connsiteY498" fmla="*/ 56950 h 348450"/>
                <a:gd name="connsiteX499" fmla="*/ 1415120 w 2663946"/>
                <a:gd name="connsiteY499" fmla="*/ 56950 h 348450"/>
                <a:gd name="connsiteX500" fmla="*/ 1403460 w 2663946"/>
                <a:gd name="connsiteY500" fmla="*/ 64679 h 348450"/>
                <a:gd name="connsiteX501" fmla="*/ 1402535 w 2663946"/>
                <a:gd name="connsiteY501" fmla="*/ 69262 h 348450"/>
                <a:gd name="connsiteX502" fmla="*/ 1405775 w 2663946"/>
                <a:gd name="connsiteY502" fmla="*/ 69262 h 348450"/>
                <a:gd name="connsiteX503" fmla="*/ 1424192 w 2663946"/>
                <a:gd name="connsiteY503" fmla="*/ 69262 h 348450"/>
                <a:gd name="connsiteX504" fmla="*/ 1427706 w 2663946"/>
                <a:gd name="connsiteY504" fmla="*/ 69262 h 348450"/>
                <a:gd name="connsiteX505" fmla="*/ 1426780 w 2663946"/>
                <a:gd name="connsiteY505" fmla="*/ 64679 h 348450"/>
                <a:gd name="connsiteX506" fmla="*/ 1415120 w 2663946"/>
                <a:gd name="connsiteY506" fmla="*/ 56950 h 348450"/>
                <a:gd name="connsiteX507" fmla="*/ 1157152 w 2663946"/>
                <a:gd name="connsiteY507" fmla="*/ 56950 h 348450"/>
                <a:gd name="connsiteX508" fmla="*/ 1145492 w 2663946"/>
                <a:gd name="connsiteY508" fmla="*/ 64679 h 348450"/>
                <a:gd name="connsiteX509" fmla="*/ 1144567 w 2663946"/>
                <a:gd name="connsiteY509" fmla="*/ 69262 h 348450"/>
                <a:gd name="connsiteX510" fmla="*/ 1147807 w 2663946"/>
                <a:gd name="connsiteY510" fmla="*/ 69262 h 348450"/>
                <a:gd name="connsiteX511" fmla="*/ 1166224 w 2663946"/>
                <a:gd name="connsiteY511" fmla="*/ 69262 h 348450"/>
                <a:gd name="connsiteX512" fmla="*/ 1169738 w 2663946"/>
                <a:gd name="connsiteY512" fmla="*/ 69262 h 348450"/>
                <a:gd name="connsiteX513" fmla="*/ 1168812 w 2663946"/>
                <a:gd name="connsiteY513" fmla="*/ 64679 h 348450"/>
                <a:gd name="connsiteX514" fmla="*/ 1157152 w 2663946"/>
                <a:gd name="connsiteY514" fmla="*/ 56950 h 348450"/>
                <a:gd name="connsiteX515" fmla="*/ 732156 w 2663946"/>
                <a:gd name="connsiteY515" fmla="*/ 56950 h 348450"/>
                <a:gd name="connsiteX516" fmla="*/ 720495 w 2663946"/>
                <a:gd name="connsiteY516" fmla="*/ 64679 h 348450"/>
                <a:gd name="connsiteX517" fmla="*/ 719570 w 2663946"/>
                <a:gd name="connsiteY517" fmla="*/ 69262 h 348450"/>
                <a:gd name="connsiteX518" fmla="*/ 722810 w 2663946"/>
                <a:gd name="connsiteY518" fmla="*/ 69262 h 348450"/>
                <a:gd name="connsiteX519" fmla="*/ 741228 w 2663946"/>
                <a:gd name="connsiteY519" fmla="*/ 69262 h 348450"/>
                <a:gd name="connsiteX520" fmla="*/ 744742 w 2663946"/>
                <a:gd name="connsiteY520" fmla="*/ 69262 h 348450"/>
                <a:gd name="connsiteX521" fmla="*/ 743816 w 2663946"/>
                <a:gd name="connsiteY521" fmla="*/ 64679 h 348450"/>
                <a:gd name="connsiteX522" fmla="*/ 732156 w 2663946"/>
                <a:gd name="connsiteY522" fmla="*/ 56950 h 348450"/>
                <a:gd name="connsiteX523" fmla="*/ 641217 w 2663946"/>
                <a:gd name="connsiteY523" fmla="*/ 56950 h 348450"/>
                <a:gd name="connsiteX524" fmla="*/ 629556 w 2663946"/>
                <a:gd name="connsiteY524" fmla="*/ 64679 h 348450"/>
                <a:gd name="connsiteX525" fmla="*/ 628631 w 2663946"/>
                <a:gd name="connsiteY525" fmla="*/ 69262 h 348450"/>
                <a:gd name="connsiteX526" fmla="*/ 631871 w 2663946"/>
                <a:gd name="connsiteY526" fmla="*/ 69262 h 348450"/>
                <a:gd name="connsiteX527" fmla="*/ 650289 w 2663946"/>
                <a:gd name="connsiteY527" fmla="*/ 69262 h 348450"/>
                <a:gd name="connsiteX528" fmla="*/ 653802 w 2663946"/>
                <a:gd name="connsiteY528" fmla="*/ 69262 h 348450"/>
                <a:gd name="connsiteX529" fmla="*/ 652877 w 2663946"/>
                <a:gd name="connsiteY529" fmla="*/ 64679 h 348450"/>
                <a:gd name="connsiteX530" fmla="*/ 641217 w 2663946"/>
                <a:gd name="connsiteY530" fmla="*/ 56950 h 348450"/>
                <a:gd name="connsiteX531" fmla="*/ 459266 w 2663946"/>
                <a:gd name="connsiteY531" fmla="*/ 56950 h 348450"/>
                <a:gd name="connsiteX532" fmla="*/ 447605 w 2663946"/>
                <a:gd name="connsiteY532" fmla="*/ 64679 h 348450"/>
                <a:gd name="connsiteX533" fmla="*/ 446680 w 2663946"/>
                <a:gd name="connsiteY533" fmla="*/ 69262 h 348450"/>
                <a:gd name="connsiteX534" fmla="*/ 449920 w 2663946"/>
                <a:gd name="connsiteY534" fmla="*/ 69262 h 348450"/>
                <a:gd name="connsiteX535" fmla="*/ 468337 w 2663946"/>
                <a:gd name="connsiteY535" fmla="*/ 69262 h 348450"/>
                <a:gd name="connsiteX536" fmla="*/ 471851 w 2663946"/>
                <a:gd name="connsiteY536" fmla="*/ 69262 h 348450"/>
                <a:gd name="connsiteX537" fmla="*/ 470926 w 2663946"/>
                <a:gd name="connsiteY537" fmla="*/ 64679 h 348450"/>
                <a:gd name="connsiteX538" fmla="*/ 459266 w 2663946"/>
                <a:gd name="connsiteY538" fmla="*/ 56950 h 348450"/>
                <a:gd name="connsiteX539" fmla="*/ 2361413 w 2663946"/>
                <a:gd name="connsiteY539" fmla="*/ 52590 h 348450"/>
                <a:gd name="connsiteX540" fmla="*/ 2365469 w 2663946"/>
                <a:gd name="connsiteY540" fmla="*/ 52590 h 348450"/>
                <a:gd name="connsiteX541" fmla="*/ 2370065 w 2663946"/>
                <a:gd name="connsiteY541" fmla="*/ 55024 h 348450"/>
                <a:gd name="connsiteX542" fmla="*/ 2372229 w 2663946"/>
                <a:gd name="connsiteY542" fmla="*/ 61242 h 348450"/>
                <a:gd name="connsiteX543" fmla="*/ 2372229 w 2663946"/>
                <a:gd name="connsiteY543" fmla="*/ 61783 h 348450"/>
                <a:gd name="connsiteX544" fmla="*/ 2372229 w 2663946"/>
                <a:gd name="connsiteY544" fmla="*/ 114778 h 348450"/>
                <a:gd name="connsiteX545" fmla="*/ 2372769 w 2663946"/>
                <a:gd name="connsiteY545" fmla="*/ 115318 h 348450"/>
                <a:gd name="connsiteX546" fmla="*/ 2380069 w 2663946"/>
                <a:gd name="connsiteY546" fmla="*/ 115318 h 348450"/>
                <a:gd name="connsiteX547" fmla="*/ 2384125 w 2663946"/>
                <a:gd name="connsiteY547" fmla="*/ 116400 h 348450"/>
                <a:gd name="connsiteX548" fmla="*/ 2387910 w 2663946"/>
                <a:gd name="connsiteY548" fmla="*/ 123159 h 348450"/>
                <a:gd name="connsiteX549" fmla="*/ 2385207 w 2663946"/>
                <a:gd name="connsiteY549" fmla="*/ 128837 h 348450"/>
                <a:gd name="connsiteX550" fmla="*/ 2381151 w 2663946"/>
                <a:gd name="connsiteY550" fmla="*/ 130730 h 348450"/>
                <a:gd name="connsiteX551" fmla="*/ 2380881 w 2663946"/>
                <a:gd name="connsiteY551" fmla="*/ 130730 h 348450"/>
                <a:gd name="connsiteX552" fmla="*/ 2380610 w 2663946"/>
                <a:gd name="connsiteY552" fmla="*/ 130730 h 348450"/>
                <a:gd name="connsiteX553" fmla="*/ 2380069 w 2663946"/>
                <a:gd name="connsiteY553" fmla="*/ 130730 h 348450"/>
                <a:gd name="connsiteX554" fmla="*/ 2347894 w 2663946"/>
                <a:gd name="connsiteY554" fmla="*/ 130730 h 348450"/>
                <a:gd name="connsiteX555" fmla="*/ 2347354 w 2663946"/>
                <a:gd name="connsiteY555" fmla="*/ 130730 h 348450"/>
                <a:gd name="connsiteX556" fmla="*/ 2346542 w 2663946"/>
                <a:gd name="connsiteY556" fmla="*/ 130730 h 348450"/>
                <a:gd name="connsiteX557" fmla="*/ 2345731 w 2663946"/>
                <a:gd name="connsiteY557" fmla="*/ 130460 h 348450"/>
                <a:gd name="connsiteX558" fmla="*/ 2342216 w 2663946"/>
                <a:gd name="connsiteY558" fmla="*/ 128567 h 348450"/>
                <a:gd name="connsiteX559" fmla="*/ 2339783 w 2663946"/>
                <a:gd name="connsiteY559" fmla="*/ 122889 h 348450"/>
                <a:gd name="connsiteX560" fmla="*/ 2341946 w 2663946"/>
                <a:gd name="connsiteY560" fmla="*/ 117752 h 348450"/>
                <a:gd name="connsiteX561" fmla="*/ 2347624 w 2663946"/>
                <a:gd name="connsiteY561" fmla="*/ 115318 h 348450"/>
                <a:gd name="connsiteX562" fmla="*/ 2355465 w 2663946"/>
                <a:gd name="connsiteY562" fmla="*/ 115318 h 348450"/>
                <a:gd name="connsiteX563" fmla="*/ 2356006 w 2663946"/>
                <a:gd name="connsiteY563" fmla="*/ 114778 h 348450"/>
                <a:gd name="connsiteX564" fmla="*/ 2356006 w 2663946"/>
                <a:gd name="connsiteY564" fmla="*/ 68813 h 348450"/>
                <a:gd name="connsiteX565" fmla="*/ 2355465 w 2663946"/>
                <a:gd name="connsiteY565" fmla="*/ 68272 h 348450"/>
                <a:gd name="connsiteX566" fmla="*/ 2349517 w 2663946"/>
                <a:gd name="connsiteY566" fmla="*/ 68272 h 348450"/>
                <a:gd name="connsiteX567" fmla="*/ 2342216 w 2663946"/>
                <a:gd name="connsiteY567" fmla="*/ 63676 h 348450"/>
                <a:gd name="connsiteX568" fmla="*/ 2341946 w 2663946"/>
                <a:gd name="connsiteY568" fmla="*/ 57998 h 348450"/>
                <a:gd name="connsiteX569" fmla="*/ 2349246 w 2663946"/>
                <a:gd name="connsiteY569" fmla="*/ 52861 h 348450"/>
                <a:gd name="connsiteX570" fmla="*/ 2361413 w 2663946"/>
                <a:gd name="connsiteY570" fmla="*/ 52590 h 348450"/>
                <a:gd name="connsiteX571" fmla="*/ 2285396 w 2663946"/>
                <a:gd name="connsiteY571" fmla="*/ 52590 h 348450"/>
                <a:gd name="connsiteX572" fmla="*/ 2289452 w 2663946"/>
                <a:gd name="connsiteY572" fmla="*/ 52590 h 348450"/>
                <a:gd name="connsiteX573" fmla="*/ 2294048 w 2663946"/>
                <a:gd name="connsiteY573" fmla="*/ 55024 h 348450"/>
                <a:gd name="connsiteX574" fmla="*/ 2296212 w 2663946"/>
                <a:gd name="connsiteY574" fmla="*/ 61242 h 348450"/>
                <a:gd name="connsiteX575" fmla="*/ 2296212 w 2663946"/>
                <a:gd name="connsiteY575" fmla="*/ 61783 h 348450"/>
                <a:gd name="connsiteX576" fmla="*/ 2296212 w 2663946"/>
                <a:gd name="connsiteY576" fmla="*/ 114778 h 348450"/>
                <a:gd name="connsiteX577" fmla="*/ 2296752 w 2663946"/>
                <a:gd name="connsiteY577" fmla="*/ 115318 h 348450"/>
                <a:gd name="connsiteX578" fmla="*/ 2304052 w 2663946"/>
                <a:gd name="connsiteY578" fmla="*/ 115318 h 348450"/>
                <a:gd name="connsiteX579" fmla="*/ 2308108 w 2663946"/>
                <a:gd name="connsiteY579" fmla="*/ 116400 h 348450"/>
                <a:gd name="connsiteX580" fmla="*/ 2311893 w 2663946"/>
                <a:gd name="connsiteY580" fmla="*/ 123159 h 348450"/>
                <a:gd name="connsiteX581" fmla="*/ 2309190 w 2663946"/>
                <a:gd name="connsiteY581" fmla="*/ 128837 h 348450"/>
                <a:gd name="connsiteX582" fmla="*/ 2305134 w 2663946"/>
                <a:gd name="connsiteY582" fmla="*/ 130730 h 348450"/>
                <a:gd name="connsiteX583" fmla="*/ 2304864 w 2663946"/>
                <a:gd name="connsiteY583" fmla="*/ 130730 h 348450"/>
                <a:gd name="connsiteX584" fmla="*/ 2304593 w 2663946"/>
                <a:gd name="connsiteY584" fmla="*/ 130730 h 348450"/>
                <a:gd name="connsiteX585" fmla="*/ 2304052 w 2663946"/>
                <a:gd name="connsiteY585" fmla="*/ 130730 h 348450"/>
                <a:gd name="connsiteX586" fmla="*/ 2271877 w 2663946"/>
                <a:gd name="connsiteY586" fmla="*/ 130730 h 348450"/>
                <a:gd name="connsiteX587" fmla="*/ 2271337 w 2663946"/>
                <a:gd name="connsiteY587" fmla="*/ 130730 h 348450"/>
                <a:gd name="connsiteX588" fmla="*/ 2270525 w 2663946"/>
                <a:gd name="connsiteY588" fmla="*/ 130730 h 348450"/>
                <a:gd name="connsiteX589" fmla="*/ 2269714 w 2663946"/>
                <a:gd name="connsiteY589" fmla="*/ 130460 h 348450"/>
                <a:gd name="connsiteX590" fmla="*/ 2266199 w 2663946"/>
                <a:gd name="connsiteY590" fmla="*/ 128567 h 348450"/>
                <a:gd name="connsiteX591" fmla="*/ 2263766 w 2663946"/>
                <a:gd name="connsiteY591" fmla="*/ 122889 h 348450"/>
                <a:gd name="connsiteX592" fmla="*/ 2265929 w 2663946"/>
                <a:gd name="connsiteY592" fmla="*/ 117752 h 348450"/>
                <a:gd name="connsiteX593" fmla="*/ 2271607 w 2663946"/>
                <a:gd name="connsiteY593" fmla="*/ 115318 h 348450"/>
                <a:gd name="connsiteX594" fmla="*/ 2279448 w 2663946"/>
                <a:gd name="connsiteY594" fmla="*/ 115318 h 348450"/>
                <a:gd name="connsiteX595" fmla="*/ 2279989 w 2663946"/>
                <a:gd name="connsiteY595" fmla="*/ 114778 h 348450"/>
                <a:gd name="connsiteX596" fmla="*/ 2279989 w 2663946"/>
                <a:gd name="connsiteY596" fmla="*/ 68813 h 348450"/>
                <a:gd name="connsiteX597" fmla="*/ 2279448 w 2663946"/>
                <a:gd name="connsiteY597" fmla="*/ 68272 h 348450"/>
                <a:gd name="connsiteX598" fmla="*/ 2273500 w 2663946"/>
                <a:gd name="connsiteY598" fmla="*/ 68272 h 348450"/>
                <a:gd name="connsiteX599" fmla="*/ 2266199 w 2663946"/>
                <a:gd name="connsiteY599" fmla="*/ 63676 h 348450"/>
                <a:gd name="connsiteX600" fmla="*/ 2265929 w 2663946"/>
                <a:gd name="connsiteY600" fmla="*/ 57998 h 348450"/>
                <a:gd name="connsiteX601" fmla="*/ 2273229 w 2663946"/>
                <a:gd name="connsiteY601" fmla="*/ 52861 h 348450"/>
                <a:gd name="connsiteX602" fmla="*/ 2285396 w 2663946"/>
                <a:gd name="connsiteY602" fmla="*/ 52590 h 348450"/>
                <a:gd name="connsiteX603" fmla="*/ 1936416 w 2663946"/>
                <a:gd name="connsiteY603" fmla="*/ 52590 h 348450"/>
                <a:gd name="connsiteX604" fmla="*/ 1940472 w 2663946"/>
                <a:gd name="connsiteY604" fmla="*/ 52590 h 348450"/>
                <a:gd name="connsiteX605" fmla="*/ 1945068 w 2663946"/>
                <a:gd name="connsiteY605" fmla="*/ 55024 h 348450"/>
                <a:gd name="connsiteX606" fmla="*/ 1947232 w 2663946"/>
                <a:gd name="connsiteY606" fmla="*/ 61242 h 348450"/>
                <a:gd name="connsiteX607" fmla="*/ 1947232 w 2663946"/>
                <a:gd name="connsiteY607" fmla="*/ 61783 h 348450"/>
                <a:gd name="connsiteX608" fmla="*/ 1947232 w 2663946"/>
                <a:gd name="connsiteY608" fmla="*/ 114778 h 348450"/>
                <a:gd name="connsiteX609" fmla="*/ 1947772 w 2663946"/>
                <a:gd name="connsiteY609" fmla="*/ 115318 h 348450"/>
                <a:gd name="connsiteX610" fmla="*/ 1955072 w 2663946"/>
                <a:gd name="connsiteY610" fmla="*/ 115318 h 348450"/>
                <a:gd name="connsiteX611" fmla="*/ 1959128 w 2663946"/>
                <a:gd name="connsiteY611" fmla="*/ 116400 h 348450"/>
                <a:gd name="connsiteX612" fmla="*/ 1962913 w 2663946"/>
                <a:gd name="connsiteY612" fmla="*/ 123159 h 348450"/>
                <a:gd name="connsiteX613" fmla="*/ 1960210 w 2663946"/>
                <a:gd name="connsiteY613" fmla="*/ 128837 h 348450"/>
                <a:gd name="connsiteX614" fmla="*/ 1956154 w 2663946"/>
                <a:gd name="connsiteY614" fmla="*/ 130730 h 348450"/>
                <a:gd name="connsiteX615" fmla="*/ 1955884 w 2663946"/>
                <a:gd name="connsiteY615" fmla="*/ 130730 h 348450"/>
                <a:gd name="connsiteX616" fmla="*/ 1955613 w 2663946"/>
                <a:gd name="connsiteY616" fmla="*/ 130730 h 348450"/>
                <a:gd name="connsiteX617" fmla="*/ 1955072 w 2663946"/>
                <a:gd name="connsiteY617" fmla="*/ 130730 h 348450"/>
                <a:gd name="connsiteX618" fmla="*/ 1922897 w 2663946"/>
                <a:gd name="connsiteY618" fmla="*/ 130730 h 348450"/>
                <a:gd name="connsiteX619" fmla="*/ 1922357 w 2663946"/>
                <a:gd name="connsiteY619" fmla="*/ 130730 h 348450"/>
                <a:gd name="connsiteX620" fmla="*/ 1921545 w 2663946"/>
                <a:gd name="connsiteY620" fmla="*/ 130730 h 348450"/>
                <a:gd name="connsiteX621" fmla="*/ 1920734 w 2663946"/>
                <a:gd name="connsiteY621" fmla="*/ 130460 h 348450"/>
                <a:gd name="connsiteX622" fmla="*/ 1917219 w 2663946"/>
                <a:gd name="connsiteY622" fmla="*/ 128567 h 348450"/>
                <a:gd name="connsiteX623" fmla="*/ 1914786 w 2663946"/>
                <a:gd name="connsiteY623" fmla="*/ 122889 h 348450"/>
                <a:gd name="connsiteX624" fmla="*/ 1916949 w 2663946"/>
                <a:gd name="connsiteY624" fmla="*/ 117752 h 348450"/>
                <a:gd name="connsiteX625" fmla="*/ 1922627 w 2663946"/>
                <a:gd name="connsiteY625" fmla="*/ 115318 h 348450"/>
                <a:gd name="connsiteX626" fmla="*/ 1930468 w 2663946"/>
                <a:gd name="connsiteY626" fmla="*/ 115318 h 348450"/>
                <a:gd name="connsiteX627" fmla="*/ 1931009 w 2663946"/>
                <a:gd name="connsiteY627" fmla="*/ 114778 h 348450"/>
                <a:gd name="connsiteX628" fmla="*/ 1931009 w 2663946"/>
                <a:gd name="connsiteY628" fmla="*/ 68813 h 348450"/>
                <a:gd name="connsiteX629" fmla="*/ 1930468 w 2663946"/>
                <a:gd name="connsiteY629" fmla="*/ 68272 h 348450"/>
                <a:gd name="connsiteX630" fmla="*/ 1924520 w 2663946"/>
                <a:gd name="connsiteY630" fmla="*/ 68272 h 348450"/>
                <a:gd name="connsiteX631" fmla="*/ 1917219 w 2663946"/>
                <a:gd name="connsiteY631" fmla="*/ 63676 h 348450"/>
                <a:gd name="connsiteX632" fmla="*/ 1916949 w 2663946"/>
                <a:gd name="connsiteY632" fmla="*/ 57998 h 348450"/>
                <a:gd name="connsiteX633" fmla="*/ 1924249 w 2663946"/>
                <a:gd name="connsiteY633" fmla="*/ 52861 h 348450"/>
                <a:gd name="connsiteX634" fmla="*/ 1936416 w 2663946"/>
                <a:gd name="connsiteY634" fmla="*/ 52590 h 348450"/>
                <a:gd name="connsiteX635" fmla="*/ 1678521 w 2663946"/>
                <a:gd name="connsiteY635" fmla="*/ 52590 h 348450"/>
                <a:gd name="connsiteX636" fmla="*/ 1682577 w 2663946"/>
                <a:gd name="connsiteY636" fmla="*/ 52590 h 348450"/>
                <a:gd name="connsiteX637" fmla="*/ 1687173 w 2663946"/>
                <a:gd name="connsiteY637" fmla="*/ 55024 h 348450"/>
                <a:gd name="connsiteX638" fmla="*/ 1689336 w 2663946"/>
                <a:gd name="connsiteY638" fmla="*/ 61242 h 348450"/>
                <a:gd name="connsiteX639" fmla="*/ 1689336 w 2663946"/>
                <a:gd name="connsiteY639" fmla="*/ 61783 h 348450"/>
                <a:gd name="connsiteX640" fmla="*/ 1689336 w 2663946"/>
                <a:gd name="connsiteY640" fmla="*/ 114778 h 348450"/>
                <a:gd name="connsiteX641" fmla="*/ 1689877 w 2663946"/>
                <a:gd name="connsiteY641" fmla="*/ 115318 h 348450"/>
                <a:gd name="connsiteX642" fmla="*/ 1697177 w 2663946"/>
                <a:gd name="connsiteY642" fmla="*/ 115318 h 348450"/>
                <a:gd name="connsiteX643" fmla="*/ 1701233 w 2663946"/>
                <a:gd name="connsiteY643" fmla="*/ 116400 h 348450"/>
                <a:gd name="connsiteX644" fmla="*/ 1705018 w 2663946"/>
                <a:gd name="connsiteY644" fmla="*/ 123159 h 348450"/>
                <a:gd name="connsiteX645" fmla="*/ 1702315 w 2663946"/>
                <a:gd name="connsiteY645" fmla="*/ 128837 h 348450"/>
                <a:gd name="connsiteX646" fmla="*/ 1698259 w 2663946"/>
                <a:gd name="connsiteY646" fmla="*/ 130730 h 348450"/>
                <a:gd name="connsiteX647" fmla="*/ 1697989 w 2663946"/>
                <a:gd name="connsiteY647" fmla="*/ 130730 h 348450"/>
                <a:gd name="connsiteX648" fmla="*/ 1697718 w 2663946"/>
                <a:gd name="connsiteY648" fmla="*/ 130730 h 348450"/>
                <a:gd name="connsiteX649" fmla="*/ 1697177 w 2663946"/>
                <a:gd name="connsiteY649" fmla="*/ 130730 h 348450"/>
                <a:gd name="connsiteX650" fmla="*/ 1665002 w 2663946"/>
                <a:gd name="connsiteY650" fmla="*/ 130730 h 348450"/>
                <a:gd name="connsiteX651" fmla="*/ 1664462 w 2663946"/>
                <a:gd name="connsiteY651" fmla="*/ 130730 h 348450"/>
                <a:gd name="connsiteX652" fmla="*/ 1663650 w 2663946"/>
                <a:gd name="connsiteY652" fmla="*/ 130730 h 348450"/>
                <a:gd name="connsiteX653" fmla="*/ 1662839 w 2663946"/>
                <a:gd name="connsiteY653" fmla="*/ 130460 h 348450"/>
                <a:gd name="connsiteX654" fmla="*/ 1659324 w 2663946"/>
                <a:gd name="connsiteY654" fmla="*/ 128567 h 348450"/>
                <a:gd name="connsiteX655" fmla="*/ 1656891 w 2663946"/>
                <a:gd name="connsiteY655" fmla="*/ 122889 h 348450"/>
                <a:gd name="connsiteX656" fmla="*/ 1659054 w 2663946"/>
                <a:gd name="connsiteY656" fmla="*/ 117752 h 348450"/>
                <a:gd name="connsiteX657" fmla="*/ 1664732 w 2663946"/>
                <a:gd name="connsiteY657" fmla="*/ 115318 h 348450"/>
                <a:gd name="connsiteX658" fmla="*/ 1672573 w 2663946"/>
                <a:gd name="connsiteY658" fmla="*/ 115318 h 348450"/>
                <a:gd name="connsiteX659" fmla="*/ 1673114 w 2663946"/>
                <a:gd name="connsiteY659" fmla="*/ 114778 h 348450"/>
                <a:gd name="connsiteX660" fmla="*/ 1673114 w 2663946"/>
                <a:gd name="connsiteY660" fmla="*/ 68813 h 348450"/>
                <a:gd name="connsiteX661" fmla="*/ 1672573 w 2663946"/>
                <a:gd name="connsiteY661" fmla="*/ 68272 h 348450"/>
                <a:gd name="connsiteX662" fmla="*/ 1666625 w 2663946"/>
                <a:gd name="connsiteY662" fmla="*/ 68272 h 348450"/>
                <a:gd name="connsiteX663" fmla="*/ 1659324 w 2663946"/>
                <a:gd name="connsiteY663" fmla="*/ 63676 h 348450"/>
                <a:gd name="connsiteX664" fmla="*/ 1659054 w 2663946"/>
                <a:gd name="connsiteY664" fmla="*/ 57998 h 348450"/>
                <a:gd name="connsiteX665" fmla="*/ 1666354 w 2663946"/>
                <a:gd name="connsiteY665" fmla="*/ 52861 h 348450"/>
                <a:gd name="connsiteX666" fmla="*/ 1678521 w 2663946"/>
                <a:gd name="connsiteY666" fmla="*/ 52590 h 348450"/>
                <a:gd name="connsiteX667" fmla="*/ 1329614 w 2663946"/>
                <a:gd name="connsiteY667" fmla="*/ 52590 h 348450"/>
                <a:gd name="connsiteX668" fmla="*/ 1333670 w 2663946"/>
                <a:gd name="connsiteY668" fmla="*/ 52590 h 348450"/>
                <a:gd name="connsiteX669" fmla="*/ 1338266 w 2663946"/>
                <a:gd name="connsiteY669" fmla="*/ 55024 h 348450"/>
                <a:gd name="connsiteX670" fmla="*/ 1340429 w 2663946"/>
                <a:gd name="connsiteY670" fmla="*/ 61242 h 348450"/>
                <a:gd name="connsiteX671" fmla="*/ 1340429 w 2663946"/>
                <a:gd name="connsiteY671" fmla="*/ 61783 h 348450"/>
                <a:gd name="connsiteX672" fmla="*/ 1340429 w 2663946"/>
                <a:gd name="connsiteY672" fmla="*/ 114778 h 348450"/>
                <a:gd name="connsiteX673" fmla="*/ 1340970 w 2663946"/>
                <a:gd name="connsiteY673" fmla="*/ 115318 h 348450"/>
                <a:gd name="connsiteX674" fmla="*/ 1348270 w 2663946"/>
                <a:gd name="connsiteY674" fmla="*/ 115318 h 348450"/>
                <a:gd name="connsiteX675" fmla="*/ 1352326 w 2663946"/>
                <a:gd name="connsiteY675" fmla="*/ 116400 h 348450"/>
                <a:gd name="connsiteX676" fmla="*/ 1356111 w 2663946"/>
                <a:gd name="connsiteY676" fmla="*/ 123159 h 348450"/>
                <a:gd name="connsiteX677" fmla="*/ 1353408 w 2663946"/>
                <a:gd name="connsiteY677" fmla="*/ 128837 h 348450"/>
                <a:gd name="connsiteX678" fmla="*/ 1349352 w 2663946"/>
                <a:gd name="connsiteY678" fmla="*/ 130730 h 348450"/>
                <a:gd name="connsiteX679" fmla="*/ 1349082 w 2663946"/>
                <a:gd name="connsiteY679" fmla="*/ 130730 h 348450"/>
                <a:gd name="connsiteX680" fmla="*/ 1348811 w 2663946"/>
                <a:gd name="connsiteY680" fmla="*/ 130730 h 348450"/>
                <a:gd name="connsiteX681" fmla="*/ 1348270 w 2663946"/>
                <a:gd name="connsiteY681" fmla="*/ 130730 h 348450"/>
                <a:gd name="connsiteX682" fmla="*/ 1316095 w 2663946"/>
                <a:gd name="connsiteY682" fmla="*/ 130730 h 348450"/>
                <a:gd name="connsiteX683" fmla="*/ 1315555 w 2663946"/>
                <a:gd name="connsiteY683" fmla="*/ 130730 h 348450"/>
                <a:gd name="connsiteX684" fmla="*/ 1314743 w 2663946"/>
                <a:gd name="connsiteY684" fmla="*/ 130730 h 348450"/>
                <a:gd name="connsiteX685" fmla="*/ 1313932 w 2663946"/>
                <a:gd name="connsiteY685" fmla="*/ 130460 h 348450"/>
                <a:gd name="connsiteX686" fmla="*/ 1310417 w 2663946"/>
                <a:gd name="connsiteY686" fmla="*/ 128567 h 348450"/>
                <a:gd name="connsiteX687" fmla="*/ 1307984 w 2663946"/>
                <a:gd name="connsiteY687" fmla="*/ 122889 h 348450"/>
                <a:gd name="connsiteX688" fmla="*/ 1310147 w 2663946"/>
                <a:gd name="connsiteY688" fmla="*/ 117752 h 348450"/>
                <a:gd name="connsiteX689" fmla="*/ 1315825 w 2663946"/>
                <a:gd name="connsiteY689" fmla="*/ 115318 h 348450"/>
                <a:gd name="connsiteX690" fmla="*/ 1323666 w 2663946"/>
                <a:gd name="connsiteY690" fmla="*/ 115318 h 348450"/>
                <a:gd name="connsiteX691" fmla="*/ 1324207 w 2663946"/>
                <a:gd name="connsiteY691" fmla="*/ 114778 h 348450"/>
                <a:gd name="connsiteX692" fmla="*/ 1324207 w 2663946"/>
                <a:gd name="connsiteY692" fmla="*/ 68813 h 348450"/>
                <a:gd name="connsiteX693" fmla="*/ 1323666 w 2663946"/>
                <a:gd name="connsiteY693" fmla="*/ 68272 h 348450"/>
                <a:gd name="connsiteX694" fmla="*/ 1317718 w 2663946"/>
                <a:gd name="connsiteY694" fmla="*/ 68272 h 348450"/>
                <a:gd name="connsiteX695" fmla="*/ 1310417 w 2663946"/>
                <a:gd name="connsiteY695" fmla="*/ 63676 h 348450"/>
                <a:gd name="connsiteX696" fmla="*/ 1310147 w 2663946"/>
                <a:gd name="connsiteY696" fmla="*/ 57998 h 348450"/>
                <a:gd name="connsiteX697" fmla="*/ 1317447 w 2663946"/>
                <a:gd name="connsiteY697" fmla="*/ 52861 h 348450"/>
                <a:gd name="connsiteX698" fmla="*/ 1329614 w 2663946"/>
                <a:gd name="connsiteY698" fmla="*/ 52590 h 348450"/>
                <a:gd name="connsiteX699" fmla="*/ 980634 w 2663946"/>
                <a:gd name="connsiteY699" fmla="*/ 52590 h 348450"/>
                <a:gd name="connsiteX700" fmla="*/ 984690 w 2663946"/>
                <a:gd name="connsiteY700" fmla="*/ 52590 h 348450"/>
                <a:gd name="connsiteX701" fmla="*/ 989286 w 2663946"/>
                <a:gd name="connsiteY701" fmla="*/ 55024 h 348450"/>
                <a:gd name="connsiteX702" fmla="*/ 991449 w 2663946"/>
                <a:gd name="connsiteY702" fmla="*/ 61242 h 348450"/>
                <a:gd name="connsiteX703" fmla="*/ 991449 w 2663946"/>
                <a:gd name="connsiteY703" fmla="*/ 61783 h 348450"/>
                <a:gd name="connsiteX704" fmla="*/ 991449 w 2663946"/>
                <a:gd name="connsiteY704" fmla="*/ 114778 h 348450"/>
                <a:gd name="connsiteX705" fmla="*/ 991990 w 2663946"/>
                <a:gd name="connsiteY705" fmla="*/ 115318 h 348450"/>
                <a:gd name="connsiteX706" fmla="*/ 999290 w 2663946"/>
                <a:gd name="connsiteY706" fmla="*/ 115318 h 348450"/>
                <a:gd name="connsiteX707" fmla="*/ 1003346 w 2663946"/>
                <a:gd name="connsiteY707" fmla="*/ 116400 h 348450"/>
                <a:gd name="connsiteX708" fmla="*/ 1007131 w 2663946"/>
                <a:gd name="connsiteY708" fmla="*/ 123159 h 348450"/>
                <a:gd name="connsiteX709" fmla="*/ 1004428 w 2663946"/>
                <a:gd name="connsiteY709" fmla="*/ 128837 h 348450"/>
                <a:gd name="connsiteX710" fmla="*/ 1000372 w 2663946"/>
                <a:gd name="connsiteY710" fmla="*/ 130730 h 348450"/>
                <a:gd name="connsiteX711" fmla="*/ 1000102 w 2663946"/>
                <a:gd name="connsiteY711" fmla="*/ 130730 h 348450"/>
                <a:gd name="connsiteX712" fmla="*/ 999831 w 2663946"/>
                <a:gd name="connsiteY712" fmla="*/ 130730 h 348450"/>
                <a:gd name="connsiteX713" fmla="*/ 999290 w 2663946"/>
                <a:gd name="connsiteY713" fmla="*/ 130730 h 348450"/>
                <a:gd name="connsiteX714" fmla="*/ 967115 w 2663946"/>
                <a:gd name="connsiteY714" fmla="*/ 130730 h 348450"/>
                <a:gd name="connsiteX715" fmla="*/ 966575 w 2663946"/>
                <a:gd name="connsiteY715" fmla="*/ 130730 h 348450"/>
                <a:gd name="connsiteX716" fmla="*/ 965763 w 2663946"/>
                <a:gd name="connsiteY716" fmla="*/ 130730 h 348450"/>
                <a:gd name="connsiteX717" fmla="*/ 964952 w 2663946"/>
                <a:gd name="connsiteY717" fmla="*/ 130460 h 348450"/>
                <a:gd name="connsiteX718" fmla="*/ 961437 w 2663946"/>
                <a:gd name="connsiteY718" fmla="*/ 128567 h 348450"/>
                <a:gd name="connsiteX719" fmla="*/ 959004 w 2663946"/>
                <a:gd name="connsiteY719" fmla="*/ 122889 h 348450"/>
                <a:gd name="connsiteX720" fmla="*/ 961167 w 2663946"/>
                <a:gd name="connsiteY720" fmla="*/ 117752 h 348450"/>
                <a:gd name="connsiteX721" fmla="*/ 966845 w 2663946"/>
                <a:gd name="connsiteY721" fmla="*/ 115318 h 348450"/>
                <a:gd name="connsiteX722" fmla="*/ 974686 w 2663946"/>
                <a:gd name="connsiteY722" fmla="*/ 115318 h 348450"/>
                <a:gd name="connsiteX723" fmla="*/ 975227 w 2663946"/>
                <a:gd name="connsiteY723" fmla="*/ 114778 h 348450"/>
                <a:gd name="connsiteX724" fmla="*/ 975227 w 2663946"/>
                <a:gd name="connsiteY724" fmla="*/ 68813 h 348450"/>
                <a:gd name="connsiteX725" fmla="*/ 974686 w 2663946"/>
                <a:gd name="connsiteY725" fmla="*/ 68272 h 348450"/>
                <a:gd name="connsiteX726" fmla="*/ 968738 w 2663946"/>
                <a:gd name="connsiteY726" fmla="*/ 68272 h 348450"/>
                <a:gd name="connsiteX727" fmla="*/ 961437 w 2663946"/>
                <a:gd name="connsiteY727" fmla="*/ 63676 h 348450"/>
                <a:gd name="connsiteX728" fmla="*/ 961167 w 2663946"/>
                <a:gd name="connsiteY728" fmla="*/ 57998 h 348450"/>
                <a:gd name="connsiteX729" fmla="*/ 968467 w 2663946"/>
                <a:gd name="connsiteY729" fmla="*/ 52861 h 348450"/>
                <a:gd name="connsiteX730" fmla="*/ 980634 w 2663946"/>
                <a:gd name="connsiteY730" fmla="*/ 52590 h 348450"/>
                <a:gd name="connsiteX731" fmla="*/ 813605 w 2663946"/>
                <a:gd name="connsiteY731" fmla="*/ 52590 h 348450"/>
                <a:gd name="connsiteX732" fmla="*/ 817661 w 2663946"/>
                <a:gd name="connsiteY732" fmla="*/ 52590 h 348450"/>
                <a:gd name="connsiteX733" fmla="*/ 822257 w 2663946"/>
                <a:gd name="connsiteY733" fmla="*/ 55024 h 348450"/>
                <a:gd name="connsiteX734" fmla="*/ 824420 w 2663946"/>
                <a:gd name="connsiteY734" fmla="*/ 61242 h 348450"/>
                <a:gd name="connsiteX735" fmla="*/ 824420 w 2663946"/>
                <a:gd name="connsiteY735" fmla="*/ 61783 h 348450"/>
                <a:gd name="connsiteX736" fmla="*/ 824420 w 2663946"/>
                <a:gd name="connsiteY736" fmla="*/ 114778 h 348450"/>
                <a:gd name="connsiteX737" fmla="*/ 824961 w 2663946"/>
                <a:gd name="connsiteY737" fmla="*/ 115318 h 348450"/>
                <a:gd name="connsiteX738" fmla="*/ 832261 w 2663946"/>
                <a:gd name="connsiteY738" fmla="*/ 115318 h 348450"/>
                <a:gd name="connsiteX739" fmla="*/ 836317 w 2663946"/>
                <a:gd name="connsiteY739" fmla="*/ 116400 h 348450"/>
                <a:gd name="connsiteX740" fmla="*/ 840102 w 2663946"/>
                <a:gd name="connsiteY740" fmla="*/ 123159 h 348450"/>
                <a:gd name="connsiteX741" fmla="*/ 837399 w 2663946"/>
                <a:gd name="connsiteY741" fmla="*/ 128837 h 348450"/>
                <a:gd name="connsiteX742" fmla="*/ 833343 w 2663946"/>
                <a:gd name="connsiteY742" fmla="*/ 130730 h 348450"/>
                <a:gd name="connsiteX743" fmla="*/ 833073 w 2663946"/>
                <a:gd name="connsiteY743" fmla="*/ 130730 h 348450"/>
                <a:gd name="connsiteX744" fmla="*/ 832802 w 2663946"/>
                <a:gd name="connsiteY744" fmla="*/ 130730 h 348450"/>
                <a:gd name="connsiteX745" fmla="*/ 832261 w 2663946"/>
                <a:gd name="connsiteY745" fmla="*/ 130730 h 348450"/>
                <a:gd name="connsiteX746" fmla="*/ 800086 w 2663946"/>
                <a:gd name="connsiteY746" fmla="*/ 130730 h 348450"/>
                <a:gd name="connsiteX747" fmla="*/ 799546 w 2663946"/>
                <a:gd name="connsiteY747" fmla="*/ 130730 h 348450"/>
                <a:gd name="connsiteX748" fmla="*/ 798734 w 2663946"/>
                <a:gd name="connsiteY748" fmla="*/ 130730 h 348450"/>
                <a:gd name="connsiteX749" fmla="*/ 797923 w 2663946"/>
                <a:gd name="connsiteY749" fmla="*/ 130460 h 348450"/>
                <a:gd name="connsiteX750" fmla="*/ 794408 w 2663946"/>
                <a:gd name="connsiteY750" fmla="*/ 128567 h 348450"/>
                <a:gd name="connsiteX751" fmla="*/ 791975 w 2663946"/>
                <a:gd name="connsiteY751" fmla="*/ 122889 h 348450"/>
                <a:gd name="connsiteX752" fmla="*/ 794138 w 2663946"/>
                <a:gd name="connsiteY752" fmla="*/ 117752 h 348450"/>
                <a:gd name="connsiteX753" fmla="*/ 799816 w 2663946"/>
                <a:gd name="connsiteY753" fmla="*/ 115318 h 348450"/>
                <a:gd name="connsiteX754" fmla="*/ 807657 w 2663946"/>
                <a:gd name="connsiteY754" fmla="*/ 115318 h 348450"/>
                <a:gd name="connsiteX755" fmla="*/ 808198 w 2663946"/>
                <a:gd name="connsiteY755" fmla="*/ 114778 h 348450"/>
                <a:gd name="connsiteX756" fmla="*/ 808198 w 2663946"/>
                <a:gd name="connsiteY756" fmla="*/ 68813 h 348450"/>
                <a:gd name="connsiteX757" fmla="*/ 807657 w 2663946"/>
                <a:gd name="connsiteY757" fmla="*/ 68272 h 348450"/>
                <a:gd name="connsiteX758" fmla="*/ 801709 w 2663946"/>
                <a:gd name="connsiteY758" fmla="*/ 68272 h 348450"/>
                <a:gd name="connsiteX759" fmla="*/ 794408 w 2663946"/>
                <a:gd name="connsiteY759" fmla="*/ 63676 h 348450"/>
                <a:gd name="connsiteX760" fmla="*/ 794138 w 2663946"/>
                <a:gd name="connsiteY760" fmla="*/ 57998 h 348450"/>
                <a:gd name="connsiteX761" fmla="*/ 801438 w 2663946"/>
                <a:gd name="connsiteY761" fmla="*/ 52861 h 348450"/>
                <a:gd name="connsiteX762" fmla="*/ 813605 w 2663946"/>
                <a:gd name="connsiteY762" fmla="*/ 52590 h 348450"/>
                <a:gd name="connsiteX763" fmla="*/ 282748 w 2663946"/>
                <a:gd name="connsiteY763" fmla="*/ 52590 h 348450"/>
                <a:gd name="connsiteX764" fmla="*/ 286803 w 2663946"/>
                <a:gd name="connsiteY764" fmla="*/ 52590 h 348450"/>
                <a:gd name="connsiteX765" fmla="*/ 291400 w 2663946"/>
                <a:gd name="connsiteY765" fmla="*/ 55024 h 348450"/>
                <a:gd name="connsiteX766" fmla="*/ 293563 w 2663946"/>
                <a:gd name="connsiteY766" fmla="*/ 61242 h 348450"/>
                <a:gd name="connsiteX767" fmla="*/ 293563 w 2663946"/>
                <a:gd name="connsiteY767" fmla="*/ 61783 h 348450"/>
                <a:gd name="connsiteX768" fmla="*/ 293563 w 2663946"/>
                <a:gd name="connsiteY768" fmla="*/ 114778 h 348450"/>
                <a:gd name="connsiteX769" fmla="*/ 294104 w 2663946"/>
                <a:gd name="connsiteY769" fmla="*/ 115318 h 348450"/>
                <a:gd name="connsiteX770" fmla="*/ 301404 w 2663946"/>
                <a:gd name="connsiteY770" fmla="*/ 115318 h 348450"/>
                <a:gd name="connsiteX771" fmla="*/ 305460 w 2663946"/>
                <a:gd name="connsiteY771" fmla="*/ 116400 h 348450"/>
                <a:gd name="connsiteX772" fmla="*/ 309245 w 2663946"/>
                <a:gd name="connsiteY772" fmla="*/ 123159 h 348450"/>
                <a:gd name="connsiteX773" fmla="*/ 306541 w 2663946"/>
                <a:gd name="connsiteY773" fmla="*/ 128837 h 348450"/>
                <a:gd name="connsiteX774" fmla="*/ 302485 w 2663946"/>
                <a:gd name="connsiteY774" fmla="*/ 130730 h 348450"/>
                <a:gd name="connsiteX775" fmla="*/ 302215 w 2663946"/>
                <a:gd name="connsiteY775" fmla="*/ 130730 h 348450"/>
                <a:gd name="connsiteX776" fmla="*/ 301945 w 2663946"/>
                <a:gd name="connsiteY776" fmla="*/ 130730 h 348450"/>
                <a:gd name="connsiteX777" fmla="*/ 301404 w 2663946"/>
                <a:gd name="connsiteY777" fmla="*/ 130730 h 348450"/>
                <a:gd name="connsiteX778" fmla="*/ 269229 w 2663946"/>
                <a:gd name="connsiteY778" fmla="*/ 130730 h 348450"/>
                <a:gd name="connsiteX779" fmla="*/ 268688 w 2663946"/>
                <a:gd name="connsiteY779" fmla="*/ 130730 h 348450"/>
                <a:gd name="connsiteX780" fmla="*/ 267877 w 2663946"/>
                <a:gd name="connsiteY780" fmla="*/ 130730 h 348450"/>
                <a:gd name="connsiteX781" fmla="*/ 267066 w 2663946"/>
                <a:gd name="connsiteY781" fmla="*/ 130460 h 348450"/>
                <a:gd name="connsiteX782" fmla="*/ 263551 w 2663946"/>
                <a:gd name="connsiteY782" fmla="*/ 128567 h 348450"/>
                <a:gd name="connsiteX783" fmla="*/ 261117 w 2663946"/>
                <a:gd name="connsiteY783" fmla="*/ 122889 h 348450"/>
                <a:gd name="connsiteX784" fmla="*/ 263281 w 2663946"/>
                <a:gd name="connsiteY784" fmla="*/ 117752 h 348450"/>
                <a:gd name="connsiteX785" fmla="*/ 268958 w 2663946"/>
                <a:gd name="connsiteY785" fmla="*/ 115318 h 348450"/>
                <a:gd name="connsiteX786" fmla="*/ 276800 w 2663946"/>
                <a:gd name="connsiteY786" fmla="*/ 115318 h 348450"/>
                <a:gd name="connsiteX787" fmla="*/ 277340 w 2663946"/>
                <a:gd name="connsiteY787" fmla="*/ 114778 h 348450"/>
                <a:gd name="connsiteX788" fmla="*/ 277340 w 2663946"/>
                <a:gd name="connsiteY788" fmla="*/ 68813 h 348450"/>
                <a:gd name="connsiteX789" fmla="*/ 276800 w 2663946"/>
                <a:gd name="connsiteY789" fmla="*/ 68272 h 348450"/>
                <a:gd name="connsiteX790" fmla="*/ 270851 w 2663946"/>
                <a:gd name="connsiteY790" fmla="*/ 68272 h 348450"/>
                <a:gd name="connsiteX791" fmla="*/ 263551 w 2663946"/>
                <a:gd name="connsiteY791" fmla="*/ 63676 h 348450"/>
                <a:gd name="connsiteX792" fmla="*/ 263281 w 2663946"/>
                <a:gd name="connsiteY792" fmla="*/ 57998 h 348450"/>
                <a:gd name="connsiteX793" fmla="*/ 270581 w 2663946"/>
                <a:gd name="connsiteY793" fmla="*/ 52861 h 348450"/>
                <a:gd name="connsiteX794" fmla="*/ 282748 w 2663946"/>
                <a:gd name="connsiteY794" fmla="*/ 52590 h 348450"/>
                <a:gd name="connsiteX795" fmla="*/ 206731 w 2663946"/>
                <a:gd name="connsiteY795" fmla="*/ 52590 h 348450"/>
                <a:gd name="connsiteX796" fmla="*/ 210787 w 2663946"/>
                <a:gd name="connsiteY796" fmla="*/ 52590 h 348450"/>
                <a:gd name="connsiteX797" fmla="*/ 215383 w 2663946"/>
                <a:gd name="connsiteY797" fmla="*/ 55024 h 348450"/>
                <a:gd name="connsiteX798" fmla="*/ 217546 w 2663946"/>
                <a:gd name="connsiteY798" fmla="*/ 61242 h 348450"/>
                <a:gd name="connsiteX799" fmla="*/ 217546 w 2663946"/>
                <a:gd name="connsiteY799" fmla="*/ 61783 h 348450"/>
                <a:gd name="connsiteX800" fmla="*/ 217546 w 2663946"/>
                <a:gd name="connsiteY800" fmla="*/ 114778 h 348450"/>
                <a:gd name="connsiteX801" fmla="*/ 218087 w 2663946"/>
                <a:gd name="connsiteY801" fmla="*/ 115318 h 348450"/>
                <a:gd name="connsiteX802" fmla="*/ 225387 w 2663946"/>
                <a:gd name="connsiteY802" fmla="*/ 115318 h 348450"/>
                <a:gd name="connsiteX803" fmla="*/ 229443 w 2663946"/>
                <a:gd name="connsiteY803" fmla="*/ 116400 h 348450"/>
                <a:gd name="connsiteX804" fmla="*/ 233228 w 2663946"/>
                <a:gd name="connsiteY804" fmla="*/ 123159 h 348450"/>
                <a:gd name="connsiteX805" fmla="*/ 230524 w 2663946"/>
                <a:gd name="connsiteY805" fmla="*/ 128837 h 348450"/>
                <a:gd name="connsiteX806" fmla="*/ 226468 w 2663946"/>
                <a:gd name="connsiteY806" fmla="*/ 130730 h 348450"/>
                <a:gd name="connsiteX807" fmla="*/ 226198 w 2663946"/>
                <a:gd name="connsiteY807" fmla="*/ 130730 h 348450"/>
                <a:gd name="connsiteX808" fmla="*/ 225928 w 2663946"/>
                <a:gd name="connsiteY808" fmla="*/ 130730 h 348450"/>
                <a:gd name="connsiteX809" fmla="*/ 225387 w 2663946"/>
                <a:gd name="connsiteY809" fmla="*/ 130730 h 348450"/>
                <a:gd name="connsiteX810" fmla="*/ 193212 w 2663946"/>
                <a:gd name="connsiteY810" fmla="*/ 130730 h 348450"/>
                <a:gd name="connsiteX811" fmla="*/ 192671 w 2663946"/>
                <a:gd name="connsiteY811" fmla="*/ 130730 h 348450"/>
                <a:gd name="connsiteX812" fmla="*/ 191860 w 2663946"/>
                <a:gd name="connsiteY812" fmla="*/ 130730 h 348450"/>
                <a:gd name="connsiteX813" fmla="*/ 191049 w 2663946"/>
                <a:gd name="connsiteY813" fmla="*/ 130460 h 348450"/>
                <a:gd name="connsiteX814" fmla="*/ 187534 w 2663946"/>
                <a:gd name="connsiteY814" fmla="*/ 128567 h 348450"/>
                <a:gd name="connsiteX815" fmla="*/ 185101 w 2663946"/>
                <a:gd name="connsiteY815" fmla="*/ 122889 h 348450"/>
                <a:gd name="connsiteX816" fmla="*/ 187264 w 2663946"/>
                <a:gd name="connsiteY816" fmla="*/ 117752 h 348450"/>
                <a:gd name="connsiteX817" fmla="*/ 192942 w 2663946"/>
                <a:gd name="connsiteY817" fmla="*/ 115318 h 348450"/>
                <a:gd name="connsiteX818" fmla="*/ 200783 w 2663946"/>
                <a:gd name="connsiteY818" fmla="*/ 115318 h 348450"/>
                <a:gd name="connsiteX819" fmla="*/ 201323 w 2663946"/>
                <a:gd name="connsiteY819" fmla="*/ 114778 h 348450"/>
                <a:gd name="connsiteX820" fmla="*/ 201323 w 2663946"/>
                <a:gd name="connsiteY820" fmla="*/ 68813 h 348450"/>
                <a:gd name="connsiteX821" fmla="*/ 200783 w 2663946"/>
                <a:gd name="connsiteY821" fmla="*/ 68272 h 348450"/>
                <a:gd name="connsiteX822" fmla="*/ 194834 w 2663946"/>
                <a:gd name="connsiteY822" fmla="*/ 68272 h 348450"/>
                <a:gd name="connsiteX823" fmla="*/ 187534 w 2663946"/>
                <a:gd name="connsiteY823" fmla="*/ 63676 h 348450"/>
                <a:gd name="connsiteX824" fmla="*/ 187264 w 2663946"/>
                <a:gd name="connsiteY824" fmla="*/ 57998 h 348450"/>
                <a:gd name="connsiteX825" fmla="*/ 194564 w 2663946"/>
                <a:gd name="connsiteY825" fmla="*/ 52861 h 348450"/>
                <a:gd name="connsiteX826" fmla="*/ 206731 w 2663946"/>
                <a:gd name="connsiteY826" fmla="*/ 52590 h 348450"/>
                <a:gd name="connsiteX827" fmla="*/ 2627559 w 2663946"/>
                <a:gd name="connsiteY827" fmla="*/ 52521 h 348450"/>
                <a:gd name="connsiteX828" fmla="*/ 2639849 w 2663946"/>
                <a:gd name="connsiteY828" fmla="*/ 54684 h 348450"/>
                <a:gd name="connsiteX829" fmla="*/ 2647223 w 2663946"/>
                <a:gd name="connsiteY829" fmla="*/ 59281 h 348450"/>
                <a:gd name="connsiteX830" fmla="*/ 2650664 w 2663946"/>
                <a:gd name="connsiteY830" fmla="*/ 62525 h 348450"/>
                <a:gd name="connsiteX831" fmla="*/ 2654106 w 2663946"/>
                <a:gd name="connsiteY831" fmla="*/ 66851 h 348450"/>
                <a:gd name="connsiteX832" fmla="*/ 2656072 w 2663946"/>
                <a:gd name="connsiteY832" fmla="*/ 70366 h 348450"/>
                <a:gd name="connsiteX833" fmla="*/ 2658284 w 2663946"/>
                <a:gd name="connsiteY833" fmla="*/ 75774 h 348450"/>
                <a:gd name="connsiteX834" fmla="*/ 2659267 w 2663946"/>
                <a:gd name="connsiteY834" fmla="*/ 79289 h 348450"/>
                <a:gd name="connsiteX835" fmla="*/ 2660251 w 2663946"/>
                <a:gd name="connsiteY835" fmla="*/ 84426 h 348450"/>
                <a:gd name="connsiteX836" fmla="*/ 2660005 w 2663946"/>
                <a:gd name="connsiteY836" fmla="*/ 98756 h 348450"/>
                <a:gd name="connsiteX837" fmla="*/ 2659022 w 2663946"/>
                <a:gd name="connsiteY837" fmla="*/ 103623 h 348450"/>
                <a:gd name="connsiteX838" fmla="*/ 2657792 w 2663946"/>
                <a:gd name="connsiteY838" fmla="*/ 107408 h 348450"/>
                <a:gd name="connsiteX839" fmla="*/ 2656809 w 2663946"/>
                <a:gd name="connsiteY839" fmla="*/ 109842 h 348450"/>
                <a:gd name="connsiteX840" fmla="*/ 2654597 w 2663946"/>
                <a:gd name="connsiteY840" fmla="*/ 114168 h 348450"/>
                <a:gd name="connsiteX841" fmla="*/ 2652385 w 2663946"/>
                <a:gd name="connsiteY841" fmla="*/ 117412 h 348450"/>
                <a:gd name="connsiteX842" fmla="*/ 2648944 w 2663946"/>
                <a:gd name="connsiteY842" fmla="*/ 121198 h 348450"/>
                <a:gd name="connsiteX843" fmla="*/ 2645748 w 2663946"/>
                <a:gd name="connsiteY843" fmla="*/ 123901 h 348450"/>
                <a:gd name="connsiteX844" fmla="*/ 2640095 w 2663946"/>
                <a:gd name="connsiteY844" fmla="*/ 127146 h 348450"/>
                <a:gd name="connsiteX845" fmla="*/ 2632229 w 2663946"/>
                <a:gd name="connsiteY845" fmla="*/ 129309 h 348450"/>
                <a:gd name="connsiteX846" fmla="*/ 2631000 w 2663946"/>
                <a:gd name="connsiteY846" fmla="*/ 129580 h 348450"/>
                <a:gd name="connsiteX847" fmla="*/ 2626821 w 2663946"/>
                <a:gd name="connsiteY847" fmla="*/ 129580 h 348450"/>
                <a:gd name="connsiteX848" fmla="*/ 2626576 w 2663946"/>
                <a:gd name="connsiteY848" fmla="*/ 129580 h 348450"/>
                <a:gd name="connsiteX849" fmla="*/ 2613548 w 2663946"/>
                <a:gd name="connsiteY849" fmla="*/ 124713 h 348450"/>
                <a:gd name="connsiteX850" fmla="*/ 2608878 w 2663946"/>
                <a:gd name="connsiteY850" fmla="*/ 120657 h 348450"/>
                <a:gd name="connsiteX851" fmla="*/ 2605682 w 2663946"/>
                <a:gd name="connsiteY851" fmla="*/ 116872 h 348450"/>
                <a:gd name="connsiteX852" fmla="*/ 2603470 w 2663946"/>
                <a:gd name="connsiteY852" fmla="*/ 113357 h 348450"/>
                <a:gd name="connsiteX853" fmla="*/ 2601258 w 2663946"/>
                <a:gd name="connsiteY853" fmla="*/ 109031 h 348450"/>
                <a:gd name="connsiteX854" fmla="*/ 2600029 w 2663946"/>
                <a:gd name="connsiteY854" fmla="*/ 106056 h 348450"/>
                <a:gd name="connsiteX855" fmla="*/ 2599046 w 2663946"/>
                <a:gd name="connsiteY855" fmla="*/ 102812 h 348450"/>
                <a:gd name="connsiteX856" fmla="*/ 2597816 w 2663946"/>
                <a:gd name="connsiteY856" fmla="*/ 97134 h 348450"/>
                <a:gd name="connsiteX857" fmla="*/ 2597571 w 2663946"/>
                <a:gd name="connsiteY857" fmla="*/ 94160 h 348450"/>
                <a:gd name="connsiteX858" fmla="*/ 2597816 w 2663946"/>
                <a:gd name="connsiteY858" fmla="*/ 94430 h 348450"/>
                <a:gd name="connsiteX859" fmla="*/ 2597816 w 2663946"/>
                <a:gd name="connsiteY859" fmla="*/ 88752 h 348450"/>
                <a:gd name="connsiteX860" fmla="*/ 2597816 w 2663946"/>
                <a:gd name="connsiteY860" fmla="*/ 88482 h 348450"/>
                <a:gd name="connsiteX861" fmla="*/ 2598308 w 2663946"/>
                <a:gd name="connsiteY861" fmla="*/ 83885 h 348450"/>
                <a:gd name="connsiteX862" fmla="*/ 2599537 w 2663946"/>
                <a:gd name="connsiteY862" fmla="*/ 78478 h 348450"/>
                <a:gd name="connsiteX863" fmla="*/ 2600520 w 2663946"/>
                <a:gd name="connsiteY863" fmla="*/ 75233 h 348450"/>
                <a:gd name="connsiteX864" fmla="*/ 2602732 w 2663946"/>
                <a:gd name="connsiteY864" fmla="*/ 70096 h 348450"/>
                <a:gd name="connsiteX865" fmla="*/ 2604945 w 2663946"/>
                <a:gd name="connsiteY865" fmla="*/ 66311 h 348450"/>
                <a:gd name="connsiteX866" fmla="*/ 2607157 w 2663946"/>
                <a:gd name="connsiteY866" fmla="*/ 63336 h 348450"/>
                <a:gd name="connsiteX867" fmla="*/ 2609369 w 2663946"/>
                <a:gd name="connsiteY867" fmla="*/ 60903 h 348450"/>
                <a:gd name="connsiteX868" fmla="*/ 2614039 w 2663946"/>
                <a:gd name="connsiteY868" fmla="*/ 57118 h 348450"/>
                <a:gd name="connsiteX869" fmla="*/ 2617972 w 2663946"/>
                <a:gd name="connsiteY869" fmla="*/ 54955 h 348450"/>
                <a:gd name="connsiteX870" fmla="*/ 2627559 w 2663946"/>
                <a:gd name="connsiteY870" fmla="*/ 52521 h 348450"/>
                <a:gd name="connsiteX871" fmla="*/ 2445604 w 2663946"/>
                <a:gd name="connsiteY871" fmla="*/ 52521 h 348450"/>
                <a:gd name="connsiteX872" fmla="*/ 2457894 w 2663946"/>
                <a:gd name="connsiteY872" fmla="*/ 54684 h 348450"/>
                <a:gd name="connsiteX873" fmla="*/ 2465268 w 2663946"/>
                <a:gd name="connsiteY873" fmla="*/ 59281 h 348450"/>
                <a:gd name="connsiteX874" fmla="*/ 2468709 w 2663946"/>
                <a:gd name="connsiteY874" fmla="*/ 62525 h 348450"/>
                <a:gd name="connsiteX875" fmla="*/ 2472151 w 2663946"/>
                <a:gd name="connsiteY875" fmla="*/ 66851 h 348450"/>
                <a:gd name="connsiteX876" fmla="*/ 2474117 w 2663946"/>
                <a:gd name="connsiteY876" fmla="*/ 70366 h 348450"/>
                <a:gd name="connsiteX877" fmla="*/ 2476329 w 2663946"/>
                <a:gd name="connsiteY877" fmla="*/ 75774 h 348450"/>
                <a:gd name="connsiteX878" fmla="*/ 2477312 w 2663946"/>
                <a:gd name="connsiteY878" fmla="*/ 79289 h 348450"/>
                <a:gd name="connsiteX879" fmla="*/ 2478296 w 2663946"/>
                <a:gd name="connsiteY879" fmla="*/ 84426 h 348450"/>
                <a:gd name="connsiteX880" fmla="*/ 2478050 w 2663946"/>
                <a:gd name="connsiteY880" fmla="*/ 98756 h 348450"/>
                <a:gd name="connsiteX881" fmla="*/ 2477067 w 2663946"/>
                <a:gd name="connsiteY881" fmla="*/ 103623 h 348450"/>
                <a:gd name="connsiteX882" fmla="*/ 2475837 w 2663946"/>
                <a:gd name="connsiteY882" fmla="*/ 107408 h 348450"/>
                <a:gd name="connsiteX883" fmla="*/ 2474854 w 2663946"/>
                <a:gd name="connsiteY883" fmla="*/ 109842 h 348450"/>
                <a:gd name="connsiteX884" fmla="*/ 2472642 w 2663946"/>
                <a:gd name="connsiteY884" fmla="*/ 114168 h 348450"/>
                <a:gd name="connsiteX885" fmla="*/ 2470430 w 2663946"/>
                <a:gd name="connsiteY885" fmla="*/ 117412 h 348450"/>
                <a:gd name="connsiteX886" fmla="*/ 2466989 w 2663946"/>
                <a:gd name="connsiteY886" fmla="*/ 121198 h 348450"/>
                <a:gd name="connsiteX887" fmla="*/ 2463793 w 2663946"/>
                <a:gd name="connsiteY887" fmla="*/ 123901 h 348450"/>
                <a:gd name="connsiteX888" fmla="*/ 2458140 w 2663946"/>
                <a:gd name="connsiteY888" fmla="*/ 127146 h 348450"/>
                <a:gd name="connsiteX889" fmla="*/ 2450274 w 2663946"/>
                <a:gd name="connsiteY889" fmla="*/ 129309 h 348450"/>
                <a:gd name="connsiteX890" fmla="*/ 2449045 w 2663946"/>
                <a:gd name="connsiteY890" fmla="*/ 129580 h 348450"/>
                <a:gd name="connsiteX891" fmla="*/ 2444866 w 2663946"/>
                <a:gd name="connsiteY891" fmla="*/ 129580 h 348450"/>
                <a:gd name="connsiteX892" fmla="*/ 2444621 w 2663946"/>
                <a:gd name="connsiteY892" fmla="*/ 129580 h 348450"/>
                <a:gd name="connsiteX893" fmla="*/ 2431593 w 2663946"/>
                <a:gd name="connsiteY893" fmla="*/ 124713 h 348450"/>
                <a:gd name="connsiteX894" fmla="*/ 2426923 w 2663946"/>
                <a:gd name="connsiteY894" fmla="*/ 120657 h 348450"/>
                <a:gd name="connsiteX895" fmla="*/ 2423727 w 2663946"/>
                <a:gd name="connsiteY895" fmla="*/ 116872 h 348450"/>
                <a:gd name="connsiteX896" fmla="*/ 2421515 w 2663946"/>
                <a:gd name="connsiteY896" fmla="*/ 113357 h 348450"/>
                <a:gd name="connsiteX897" fmla="*/ 2419303 w 2663946"/>
                <a:gd name="connsiteY897" fmla="*/ 109031 h 348450"/>
                <a:gd name="connsiteX898" fmla="*/ 2418074 w 2663946"/>
                <a:gd name="connsiteY898" fmla="*/ 106056 h 348450"/>
                <a:gd name="connsiteX899" fmla="*/ 2417091 w 2663946"/>
                <a:gd name="connsiteY899" fmla="*/ 102812 h 348450"/>
                <a:gd name="connsiteX900" fmla="*/ 2415861 w 2663946"/>
                <a:gd name="connsiteY900" fmla="*/ 97134 h 348450"/>
                <a:gd name="connsiteX901" fmla="*/ 2415616 w 2663946"/>
                <a:gd name="connsiteY901" fmla="*/ 94160 h 348450"/>
                <a:gd name="connsiteX902" fmla="*/ 2415861 w 2663946"/>
                <a:gd name="connsiteY902" fmla="*/ 94430 h 348450"/>
                <a:gd name="connsiteX903" fmla="*/ 2415861 w 2663946"/>
                <a:gd name="connsiteY903" fmla="*/ 88752 h 348450"/>
                <a:gd name="connsiteX904" fmla="*/ 2415861 w 2663946"/>
                <a:gd name="connsiteY904" fmla="*/ 88482 h 348450"/>
                <a:gd name="connsiteX905" fmla="*/ 2416353 w 2663946"/>
                <a:gd name="connsiteY905" fmla="*/ 83885 h 348450"/>
                <a:gd name="connsiteX906" fmla="*/ 2417582 w 2663946"/>
                <a:gd name="connsiteY906" fmla="*/ 78478 h 348450"/>
                <a:gd name="connsiteX907" fmla="*/ 2418565 w 2663946"/>
                <a:gd name="connsiteY907" fmla="*/ 75233 h 348450"/>
                <a:gd name="connsiteX908" fmla="*/ 2420777 w 2663946"/>
                <a:gd name="connsiteY908" fmla="*/ 70096 h 348450"/>
                <a:gd name="connsiteX909" fmla="*/ 2422990 w 2663946"/>
                <a:gd name="connsiteY909" fmla="*/ 66311 h 348450"/>
                <a:gd name="connsiteX910" fmla="*/ 2425202 w 2663946"/>
                <a:gd name="connsiteY910" fmla="*/ 63336 h 348450"/>
                <a:gd name="connsiteX911" fmla="*/ 2427414 w 2663946"/>
                <a:gd name="connsiteY911" fmla="*/ 60903 h 348450"/>
                <a:gd name="connsiteX912" fmla="*/ 2432084 w 2663946"/>
                <a:gd name="connsiteY912" fmla="*/ 57118 h 348450"/>
                <a:gd name="connsiteX913" fmla="*/ 2436017 w 2663946"/>
                <a:gd name="connsiteY913" fmla="*/ 54955 h 348450"/>
                <a:gd name="connsiteX914" fmla="*/ 2445604 w 2663946"/>
                <a:gd name="connsiteY914" fmla="*/ 52521 h 348450"/>
                <a:gd name="connsiteX915" fmla="*/ 2202558 w 2663946"/>
                <a:gd name="connsiteY915" fmla="*/ 52521 h 348450"/>
                <a:gd name="connsiteX916" fmla="*/ 2214848 w 2663946"/>
                <a:gd name="connsiteY916" fmla="*/ 54684 h 348450"/>
                <a:gd name="connsiteX917" fmla="*/ 2222222 w 2663946"/>
                <a:gd name="connsiteY917" fmla="*/ 59281 h 348450"/>
                <a:gd name="connsiteX918" fmla="*/ 2225663 w 2663946"/>
                <a:gd name="connsiteY918" fmla="*/ 62525 h 348450"/>
                <a:gd name="connsiteX919" fmla="*/ 2229105 w 2663946"/>
                <a:gd name="connsiteY919" fmla="*/ 66851 h 348450"/>
                <a:gd name="connsiteX920" fmla="*/ 2231071 w 2663946"/>
                <a:gd name="connsiteY920" fmla="*/ 70366 h 348450"/>
                <a:gd name="connsiteX921" fmla="*/ 2233283 w 2663946"/>
                <a:gd name="connsiteY921" fmla="*/ 75774 h 348450"/>
                <a:gd name="connsiteX922" fmla="*/ 2234266 w 2663946"/>
                <a:gd name="connsiteY922" fmla="*/ 79289 h 348450"/>
                <a:gd name="connsiteX923" fmla="*/ 2235250 w 2663946"/>
                <a:gd name="connsiteY923" fmla="*/ 84426 h 348450"/>
                <a:gd name="connsiteX924" fmla="*/ 2235004 w 2663946"/>
                <a:gd name="connsiteY924" fmla="*/ 98756 h 348450"/>
                <a:gd name="connsiteX925" fmla="*/ 2234021 w 2663946"/>
                <a:gd name="connsiteY925" fmla="*/ 103623 h 348450"/>
                <a:gd name="connsiteX926" fmla="*/ 2232791 w 2663946"/>
                <a:gd name="connsiteY926" fmla="*/ 107408 h 348450"/>
                <a:gd name="connsiteX927" fmla="*/ 2231808 w 2663946"/>
                <a:gd name="connsiteY927" fmla="*/ 109842 h 348450"/>
                <a:gd name="connsiteX928" fmla="*/ 2229596 w 2663946"/>
                <a:gd name="connsiteY928" fmla="*/ 114168 h 348450"/>
                <a:gd name="connsiteX929" fmla="*/ 2227384 w 2663946"/>
                <a:gd name="connsiteY929" fmla="*/ 117412 h 348450"/>
                <a:gd name="connsiteX930" fmla="*/ 2223943 w 2663946"/>
                <a:gd name="connsiteY930" fmla="*/ 121198 h 348450"/>
                <a:gd name="connsiteX931" fmla="*/ 2220747 w 2663946"/>
                <a:gd name="connsiteY931" fmla="*/ 123901 h 348450"/>
                <a:gd name="connsiteX932" fmla="*/ 2215094 w 2663946"/>
                <a:gd name="connsiteY932" fmla="*/ 127146 h 348450"/>
                <a:gd name="connsiteX933" fmla="*/ 2207228 w 2663946"/>
                <a:gd name="connsiteY933" fmla="*/ 129309 h 348450"/>
                <a:gd name="connsiteX934" fmla="*/ 2205999 w 2663946"/>
                <a:gd name="connsiteY934" fmla="*/ 129580 h 348450"/>
                <a:gd name="connsiteX935" fmla="*/ 2201820 w 2663946"/>
                <a:gd name="connsiteY935" fmla="*/ 129580 h 348450"/>
                <a:gd name="connsiteX936" fmla="*/ 2201575 w 2663946"/>
                <a:gd name="connsiteY936" fmla="*/ 129580 h 348450"/>
                <a:gd name="connsiteX937" fmla="*/ 2188547 w 2663946"/>
                <a:gd name="connsiteY937" fmla="*/ 124713 h 348450"/>
                <a:gd name="connsiteX938" fmla="*/ 2183877 w 2663946"/>
                <a:gd name="connsiteY938" fmla="*/ 120657 h 348450"/>
                <a:gd name="connsiteX939" fmla="*/ 2180681 w 2663946"/>
                <a:gd name="connsiteY939" fmla="*/ 116872 h 348450"/>
                <a:gd name="connsiteX940" fmla="*/ 2178469 w 2663946"/>
                <a:gd name="connsiteY940" fmla="*/ 113357 h 348450"/>
                <a:gd name="connsiteX941" fmla="*/ 2176257 w 2663946"/>
                <a:gd name="connsiteY941" fmla="*/ 109031 h 348450"/>
                <a:gd name="connsiteX942" fmla="*/ 2175028 w 2663946"/>
                <a:gd name="connsiteY942" fmla="*/ 106056 h 348450"/>
                <a:gd name="connsiteX943" fmla="*/ 2174045 w 2663946"/>
                <a:gd name="connsiteY943" fmla="*/ 102812 h 348450"/>
                <a:gd name="connsiteX944" fmla="*/ 2172815 w 2663946"/>
                <a:gd name="connsiteY944" fmla="*/ 97134 h 348450"/>
                <a:gd name="connsiteX945" fmla="*/ 2172570 w 2663946"/>
                <a:gd name="connsiteY945" fmla="*/ 94160 h 348450"/>
                <a:gd name="connsiteX946" fmla="*/ 2172815 w 2663946"/>
                <a:gd name="connsiteY946" fmla="*/ 94430 h 348450"/>
                <a:gd name="connsiteX947" fmla="*/ 2172815 w 2663946"/>
                <a:gd name="connsiteY947" fmla="*/ 88752 h 348450"/>
                <a:gd name="connsiteX948" fmla="*/ 2172815 w 2663946"/>
                <a:gd name="connsiteY948" fmla="*/ 88482 h 348450"/>
                <a:gd name="connsiteX949" fmla="*/ 2173307 w 2663946"/>
                <a:gd name="connsiteY949" fmla="*/ 83885 h 348450"/>
                <a:gd name="connsiteX950" fmla="*/ 2174536 w 2663946"/>
                <a:gd name="connsiteY950" fmla="*/ 78478 h 348450"/>
                <a:gd name="connsiteX951" fmla="*/ 2175519 w 2663946"/>
                <a:gd name="connsiteY951" fmla="*/ 75233 h 348450"/>
                <a:gd name="connsiteX952" fmla="*/ 2177731 w 2663946"/>
                <a:gd name="connsiteY952" fmla="*/ 70096 h 348450"/>
                <a:gd name="connsiteX953" fmla="*/ 2179944 w 2663946"/>
                <a:gd name="connsiteY953" fmla="*/ 66311 h 348450"/>
                <a:gd name="connsiteX954" fmla="*/ 2182156 w 2663946"/>
                <a:gd name="connsiteY954" fmla="*/ 63336 h 348450"/>
                <a:gd name="connsiteX955" fmla="*/ 2184368 w 2663946"/>
                <a:gd name="connsiteY955" fmla="*/ 60903 h 348450"/>
                <a:gd name="connsiteX956" fmla="*/ 2189038 w 2663946"/>
                <a:gd name="connsiteY956" fmla="*/ 57118 h 348450"/>
                <a:gd name="connsiteX957" fmla="*/ 2192971 w 2663946"/>
                <a:gd name="connsiteY957" fmla="*/ 54955 h 348450"/>
                <a:gd name="connsiteX958" fmla="*/ 2202558 w 2663946"/>
                <a:gd name="connsiteY958" fmla="*/ 52521 h 348450"/>
                <a:gd name="connsiteX959" fmla="*/ 2020607 w 2663946"/>
                <a:gd name="connsiteY959" fmla="*/ 52521 h 348450"/>
                <a:gd name="connsiteX960" fmla="*/ 2032897 w 2663946"/>
                <a:gd name="connsiteY960" fmla="*/ 54684 h 348450"/>
                <a:gd name="connsiteX961" fmla="*/ 2040271 w 2663946"/>
                <a:gd name="connsiteY961" fmla="*/ 59281 h 348450"/>
                <a:gd name="connsiteX962" fmla="*/ 2043712 w 2663946"/>
                <a:gd name="connsiteY962" fmla="*/ 62525 h 348450"/>
                <a:gd name="connsiteX963" fmla="*/ 2047154 w 2663946"/>
                <a:gd name="connsiteY963" fmla="*/ 66851 h 348450"/>
                <a:gd name="connsiteX964" fmla="*/ 2049120 w 2663946"/>
                <a:gd name="connsiteY964" fmla="*/ 70366 h 348450"/>
                <a:gd name="connsiteX965" fmla="*/ 2051332 w 2663946"/>
                <a:gd name="connsiteY965" fmla="*/ 75774 h 348450"/>
                <a:gd name="connsiteX966" fmla="*/ 2052315 w 2663946"/>
                <a:gd name="connsiteY966" fmla="*/ 79289 h 348450"/>
                <a:gd name="connsiteX967" fmla="*/ 2053299 w 2663946"/>
                <a:gd name="connsiteY967" fmla="*/ 84426 h 348450"/>
                <a:gd name="connsiteX968" fmla="*/ 2053053 w 2663946"/>
                <a:gd name="connsiteY968" fmla="*/ 98756 h 348450"/>
                <a:gd name="connsiteX969" fmla="*/ 2052070 w 2663946"/>
                <a:gd name="connsiteY969" fmla="*/ 103623 h 348450"/>
                <a:gd name="connsiteX970" fmla="*/ 2050840 w 2663946"/>
                <a:gd name="connsiteY970" fmla="*/ 107408 h 348450"/>
                <a:gd name="connsiteX971" fmla="*/ 2049857 w 2663946"/>
                <a:gd name="connsiteY971" fmla="*/ 109842 h 348450"/>
                <a:gd name="connsiteX972" fmla="*/ 2047645 w 2663946"/>
                <a:gd name="connsiteY972" fmla="*/ 114168 h 348450"/>
                <a:gd name="connsiteX973" fmla="*/ 2045433 w 2663946"/>
                <a:gd name="connsiteY973" fmla="*/ 117412 h 348450"/>
                <a:gd name="connsiteX974" fmla="*/ 2041992 w 2663946"/>
                <a:gd name="connsiteY974" fmla="*/ 121198 h 348450"/>
                <a:gd name="connsiteX975" fmla="*/ 2038796 w 2663946"/>
                <a:gd name="connsiteY975" fmla="*/ 123901 h 348450"/>
                <a:gd name="connsiteX976" fmla="*/ 2033143 w 2663946"/>
                <a:gd name="connsiteY976" fmla="*/ 127146 h 348450"/>
                <a:gd name="connsiteX977" fmla="*/ 2025277 w 2663946"/>
                <a:gd name="connsiteY977" fmla="*/ 129309 h 348450"/>
                <a:gd name="connsiteX978" fmla="*/ 2024048 w 2663946"/>
                <a:gd name="connsiteY978" fmla="*/ 129580 h 348450"/>
                <a:gd name="connsiteX979" fmla="*/ 2019869 w 2663946"/>
                <a:gd name="connsiteY979" fmla="*/ 129580 h 348450"/>
                <a:gd name="connsiteX980" fmla="*/ 2019624 w 2663946"/>
                <a:gd name="connsiteY980" fmla="*/ 129580 h 348450"/>
                <a:gd name="connsiteX981" fmla="*/ 2006596 w 2663946"/>
                <a:gd name="connsiteY981" fmla="*/ 124713 h 348450"/>
                <a:gd name="connsiteX982" fmla="*/ 2001926 w 2663946"/>
                <a:gd name="connsiteY982" fmla="*/ 120657 h 348450"/>
                <a:gd name="connsiteX983" fmla="*/ 1998730 w 2663946"/>
                <a:gd name="connsiteY983" fmla="*/ 116872 h 348450"/>
                <a:gd name="connsiteX984" fmla="*/ 1996518 w 2663946"/>
                <a:gd name="connsiteY984" fmla="*/ 113357 h 348450"/>
                <a:gd name="connsiteX985" fmla="*/ 1994306 w 2663946"/>
                <a:gd name="connsiteY985" fmla="*/ 109031 h 348450"/>
                <a:gd name="connsiteX986" fmla="*/ 1993077 w 2663946"/>
                <a:gd name="connsiteY986" fmla="*/ 106056 h 348450"/>
                <a:gd name="connsiteX987" fmla="*/ 1992094 w 2663946"/>
                <a:gd name="connsiteY987" fmla="*/ 102812 h 348450"/>
                <a:gd name="connsiteX988" fmla="*/ 1990864 w 2663946"/>
                <a:gd name="connsiteY988" fmla="*/ 97134 h 348450"/>
                <a:gd name="connsiteX989" fmla="*/ 1990619 w 2663946"/>
                <a:gd name="connsiteY989" fmla="*/ 94160 h 348450"/>
                <a:gd name="connsiteX990" fmla="*/ 1990864 w 2663946"/>
                <a:gd name="connsiteY990" fmla="*/ 94430 h 348450"/>
                <a:gd name="connsiteX991" fmla="*/ 1990864 w 2663946"/>
                <a:gd name="connsiteY991" fmla="*/ 88752 h 348450"/>
                <a:gd name="connsiteX992" fmla="*/ 1990864 w 2663946"/>
                <a:gd name="connsiteY992" fmla="*/ 88482 h 348450"/>
                <a:gd name="connsiteX993" fmla="*/ 1991356 w 2663946"/>
                <a:gd name="connsiteY993" fmla="*/ 83885 h 348450"/>
                <a:gd name="connsiteX994" fmla="*/ 1992585 w 2663946"/>
                <a:gd name="connsiteY994" fmla="*/ 78478 h 348450"/>
                <a:gd name="connsiteX995" fmla="*/ 1993568 w 2663946"/>
                <a:gd name="connsiteY995" fmla="*/ 75233 h 348450"/>
                <a:gd name="connsiteX996" fmla="*/ 1995780 w 2663946"/>
                <a:gd name="connsiteY996" fmla="*/ 70096 h 348450"/>
                <a:gd name="connsiteX997" fmla="*/ 1997993 w 2663946"/>
                <a:gd name="connsiteY997" fmla="*/ 66311 h 348450"/>
                <a:gd name="connsiteX998" fmla="*/ 2000205 w 2663946"/>
                <a:gd name="connsiteY998" fmla="*/ 63336 h 348450"/>
                <a:gd name="connsiteX999" fmla="*/ 2002417 w 2663946"/>
                <a:gd name="connsiteY999" fmla="*/ 60903 h 348450"/>
                <a:gd name="connsiteX1000" fmla="*/ 2007087 w 2663946"/>
                <a:gd name="connsiteY1000" fmla="*/ 57118 h 348450"/>
                <a:gd name="connsiteX1001" fmla="*/ 2011020 w 2663946"/>
                <a:gd name="connsiteY1001" fmla="*/ 54955 h 348450"/>
                <a:gd name="connsiteX1002" fmla="*/ 2020607 w 2663946"/>
                <a:gd name="connsiteY1002" fmla="*/ 52521 h 348450"/>
                <a:gd name="connsiteX1003" fmla="*/ 1595683 w 2663946"/>
                <a:gd name="connsiteY1003" fmla="*/ 52521 h 348450"/>
                <a:gd name="connsiteX1004" fmla="*/ 1607973 w 2663946"/>
                <a:gd name="connsiteY1004" fmla="*/ 54684 h 348450"/>
                <a:gd name="connsiteX1005" fmla="*/ 1615347 w 2663946"/>
                <a:gd name="connsiteY1005" fmla="*/ 59281 h 348450"/>
                <a:gd name="connsiteX1006" fmla="*/ 1618788 w 2663946"/>
                <a:gd name="connsiteY1006" fmla="*/ 62525 h 348450"/>
                <a:gd name="connsiteX1007" fmla="*/ 1622230 w 2663946"/>
                <a:gd name="connsiteY1007" fmla="*/ 66851 h 348450"/>
                <a:gd name="connsiteX1008" fmla="*/ 1624196 w 2663946"/>
                <a:gd name="connsiteY1008" fmla="*/ 70366 h 348450"/>
                <a:gd name="connsiteX1009" fmla="*/ 1626408 w 2663946"/>
                <a:gd name="connsiteY1009" fmla="*/ 75774 h 348450"/>
                <a:gd name="connsiteX1010" fmla="*/ 1627391 w 2663946"/>
                <a:gd name="connsiteY1010" fmla="*/ 79289 h 348450"/>
                <a:gd name="connsiteX1011" fmla="*/ 1628374 w 2663946"/>
                <a:gd name="connsiteY1011" fmla="*/ 84426 h 348450"/>
                <a:gd name="connsiteX1012" fmla="*/ 1628129 w 2663946"/>
                <a:gd name="connsiteY1012" fmla="*/ 98756 h 348450"/>
                <a:gd name="connsiteX1013" fmla="*/ 1627146 w 2663946"/>
                <a:gd name="connsiteY1013" fmla="*/ 103623 h 348450"/>
                <a:gd name="connsiteX1014" fmla="*/ 1625916 w 2663946"/>
                <a:gd name="connsiteY1014" fmla="*/ 107408 h 348450"/>
                <a:gd name="connsiteX1015" fmla="*/ 1624933 w 2663946"/>
                <a:gd name="connsiteY1015" fmla="*/ 109842 h 348450"/>
                <a:gd name="connsiteX1016" fmla="*/ 1622721 w 2663946"/>
                <a:gd name="connsiteY1016" fmla="*/ 114168 h 348450"/>
                <a:gd name="connsiteX1017" fmla="*/ 1620509 w 2663946"/>
                <a:gd name="connsiteY1017" fmla="*/ 117412 h 348450"/>
                <a:gd name="connsiteX1018" fmla="*/ 1617068 w 2663946"/>
                <a:gd name="connsiteY1018" fmla="*/ 121198 h 348450"/>
                <a:gd name="connsiteX1019" fmla="*/ 1613872 w 2663946"/>
                <a:gd name="connsiteY1019" fmla="*/ 123901 h 348450"/>
                <a:gd name="connsiteX1020" fmla="*/ 1608219 w 2663946"/>
                <a:gd name="connsiteY1020" fmla="*/ 127146 h 348450"/>
                <a:gd name="connsiteX1021" fmla="*/ 1600353 w 2663946"/>
                <a:gd name="connsiteY1021" fmla="*/ 129309 h 348450"/>
                <a:gd name="connsiteX1022" fmla="*/ 1599124 w 2663946"/>
                <a:gd name="connsiteY1022" fmla="*/ 129580 h 348450"/>
                <a:gd name="connsiteX1023" fmla="*/ 1594945 w 2663946"/>
                <a:gd name="connsiteY1023" fmla="*/ 129580 h 348450"/>
                <a:gd name="connsiteX1024" fmla="*/ 1594699 w 2663946"/>
                <a:gd name="connsiteY1024" fmla="*/ 129580 h 348450"/>
                <a:gd name="connsiteX1025" fmla="*/ 1581672 w 2663946"/>
                <a:gd name="connsiteY1025" fmla="*/ 124713 h 348450"/>
                <a:gd name="connsiteX1026" fmla="*/ 1577002 w 2663946"/>
                <a:gd name="connsiteY1026" fmla="*/ 120657 h 348450"/>
                <a:gd name="connsiteX1027" fmla="*/ 1573806 w 2663946"/>
                <a:gd name="connsiteY1027" fmla="*/ 116872 h 348450"/>
                <a:gd name="connsiteX1028" fmla="*/ 1571594 w 2663946"/>
                <a:gd name="connsiteY1028" fmla="*/ 113357 h 348450"/>
                <a:gd name="connsiteX1029" fmla="*/ 1569382 w 2663946"/>
                <a:gd name="connsiteY1029" fmla="*/ 109031 h 348450"/>
                <a:gd name="connsiteX1030" fmla="*/ 1568153 w 2663946"/>
                <a:gd name="connsiteY1030" fmla="*/ 106056 h 348450"/>
                <a:gd name="connsiteX1031" fmla="*/ 1567169 w 2663946"/>
                <a:gd name="connsiteY1031" fmla="*/ 102812 h 348450"/>
                <a:gd name="connsiteX1032" fmla="*/ 1565940 w 2663946"/>
                <a:gd name="connsiteY1032" fmla="*/ 97134 h 348450"/>
                <a:gd name="connsiteX1033" fmla="*/ 1565695 w 2663946"/>
                <a:gd name="connsiteY1033" fmla="*/ 94160 h 348450"/>
                <a:gd name="connsiteX1034" fmla="*/ 1565940 w 2663946"/>
                <a:gd name="connsiteY1034" fmla="*/ 94430 h 348450"/>
                <a:gd name="connsiteX1035" fmla="*/ 1565940 w 2663946"/>
                <a:gd name="connsiteY1035" fmla="*/ 88752 h 348450"/>
                <a:gd name="connsiteX1036" fmla="*/ 1565940 w 2663946"/>
                <a:gd name="connsiteY1036" fmla="*/ 88482 h 348450"/>
                <a:gd name="connsiteX1037" fmla="*/ 1566432 w 2663946"/>
                <a:gd name="connsiteY1037" fmla="*/ 83885 h 348450"/>
                <a:gd name="connsiteX1038" fmla="*/ 1567661 w 2663946"/>
                <a:gd name="connsiteY1038" fmla="*/ 78478 h 348450"/>
                <a:gd name="connsiteX1039" fmla="*/ 1568644 w 2663946"/>
                <a:gd name="connsiteY1039" fmla="*/ 75233 h 348450"/>
                <a:gd name="connsiteX1040" fmla="*/ 1570856 w 2663946"/>
                <a:gd name="connsiteY1040" fmla="*/ 70096 h 348450"/>
                <a:gd name="connsiteX1041" fmla="*/ 1573069 w 2663946"/>
                <a:gd name="connsiteY1041" fmla="*/ 66311 h 348450"/>
                <a:gd name="connsiteX1042" fmla="*/ 1575281 w 2663946"/>
                <a:gd name="connsiteY1042" fmla="*/ 63336 h 348450"/>
                <a:gd name="connsiteX1043" fmla="*/ 1577493 w 2663946"/>
                <a:gd name="connsiteY1043" fmla="*/ 60903 h 348450"/>
                <a:gd name="connsiteX1044" fmla="*/ 1582163 w 2663946"/>
                <a:gd name="connsiteY1044" fmla="*/ 57118 h 348450"/>
                <a:gd name="connsiteX1045" fmla="*/ 1586096 w 2663946"/>
                <a:gd name="connsiteY1045" fmla="*/ 54955 h 348450"/>
                <a:gd name="connsiteX1046" fmla="*/ 1595683 w 2663946"/>
                <a:gd name="connsiteY1046" fmla="*/ 52521 h 348450"/>
                <a:gd name="connsiteX1047" fmla="*/ 1246776 w 2663946"/>
                <a:gd name="connsiteY1047" fmla="*/ 52521 h 348450"/>
                <a:gd name="connsiteX1048" fmla="*/ 1259066 w 2663946"/>
                <a:gd name="connsiteY1048" fmla="*/ 54684 h 348450"/>
                <a:gd name="connsiteX1049" fmla="*/ 1266440 w 2663946"/>
                <a:gd name="connsiteY1049" fmla="*/ 59281 h 348450"/>
                <a:gd name="connsiteX1050" fmla="*/ 1269881 w 2663946"/>
                <a:gd name="connsiteY1050" fmla="*/ 62525 h 348450"/>
                <a:gd name="connsiteX1051" fmla="*/ 1273323 w 2663946"/>
                <a:gd name="connsiteY1051" fmla="*/ 66851 h 348450"/>
                <a:gd name="connsiteX1052" fmla="*/ 1275289 w 2663946"/>
                <a:gd name="connsiteY1052" fmla="*/ 70366 h 348450"/>
                <a:gd name="connsiteX1053" fmla="*/ 1277501 w 2663946"/>
                <a:gd name="connsiteY1053" fmla="*/ 75774 h 348450"/>
                <a:gd name="connsiteX1054" fmla="*/ 1278484 w 2663946"/>
                <a:gd name="connsiteY1054" fmla="*/ 79289 h 348450"/>
                <a:gd name="connsiteX1055" fmla="*/ 1279467 w 2663946"/>
                <a:gd name="connsiteY1055" fmla="*/ 84426 h 348450"/>
                <a:gd name="connsiteX1056" fmla="*/ 1279222 w 2663946"/>
                <a:gd name="connsiteY1056" fmla="*/ 98756 h 348450"/>
                <a:gd name="connsiteX1057" fmla="*/ 1278239 w 2663946"/>
                <a:gd name="connsiteY1057" fmla="*/ 103623 h 348450"/>
                <a:gd name="connsiteX1058" fmla="*/ 1277009 w 2663946"/>
                <a:gd name="connsiteY1058" fmla="*/ 107408 h 348450"/>
                <a:gd name="connsiteX1059" fmla="*/ 1276026 w 2663946"/>
                <a:gd name="connsiteY1059" fmla="*/ 109842 h 348450"/>
                <a:gd name="connsiteX1060" fmla="*/ 1273814 w 2663946"/>
                <a:gd name="connsiteY1060" fmla="*/ 114168 h 348450"/>
                <a:gd name="connsiteX1061" fmla="*/ 1271602 w 2663946"/>
                <a:gd name="connsiteY1061" fmla="*/ 117412 h 348450"/>
                <a:gd name="connsiteX1062" fmla="*/ 1268161 w 2663946"/>
                <a:gd name="connsiteY1062" fmla="*/ 121198 h 348450"/>
                <a:gd name="connsiteX1063" fmla="*/ 1264965 w 2663946"/>
                <a:gd name="connsiteY1063" fmla="*/ 123901 h 348450"/>
                <a:gd name="connsiteX1064" fmla="*/ 1259312 w 2663946"/>
                <a:gd name="connsiteY1064" fmla="*/ 127146 h 348450"/>
                <a:gd name="connsiteX1065" fmla="*/ 1251446 w 2663946"/>
                <a:gd name="connsiteY1065" fmla="*/ 129309 h 348450"/>
                <a:gd name="connsiteX1066" fmla="*/ 1250217 w 2663946"/>
                <a:gd name="connsiteY1066" fmla="*/ 129580 h 348450"/>
                <a:gd name="connsiteX1067" fmla="*/ 1246038 w 2663946"/>
                <a:gd name="connsiteY1067" fmla="*/ 129580 h 348450"/>
                <a:gd name="connsiteX1068" fmla="*/ 1245792 w 2663946"/>
                <a:gd name="connsiteY1068" fmla="*/ 129580 h 348450"/>
                <a:gd name="connsiteX1069" fmla="*/ 1232765 w 2663946"/>
                <a:gd name="connsiteY1069" fmla="*/ 124713 h 348450"/>
                <a:gd name="connsiteX1070" fmla="*/ 1228095 w 2663946"/>
                <a:gd name="connsiteY1070" fmla="*/ 120657 h 348450"/>
                <a:gd name="connsiteX1071" fmla="*/ 1224899 w 2663946"/>
                <a:gd name="connsiteY1071" fmla="*/ 116872 h 348450"/>
                <a:gd name="connsiteX1072" fmla="*/ 1222687 w 2663946"/>
                <a:gd name="connsiteY1072" fmla="*/ 113357 h 348450"/>
                <a:gd name="connsiteX1073" fmla="*/ 1220475 w 2663946"/>
                <a:gd name="connsiteY1073" fmla="*/ 109031 h 348450"/>
                <a:gd name="connsiteX1074" fmla="*/ 1219246 w 2663946"/>
                <a:gd name="connsiteY1074" fmla="*/ 106056 h 348450"/>
                <a:gd name="connsiteX1075" fmla="*/ 1218262 w 2663946"/>
                <a:gd name="connsiteY1075" fmla="*/ 102812 h 348450"/>
                <a:gd name="connsiteX1076" fmla="*/ 1217033 w 2663946"/>
                <a:gd name="connsiteY1076" fmla="*/ 97134 h 348450"/>
                <a:gd name="connsiteX1077" fmla="*/ 1216788 w 2663946"/>
                <a:gd name="connsiteY1077" fmla="*/ 94160 h 348450"/>
                <a:gd name="connsiteX1078" fmla="*/ 1217033 w 2663946"/>
                <a:gd name="connsiteY1078" fmla="*/ 94430 h 348450"/>
                <a:gd name="connsiteX1079" fmla="*/ 1217033 w 2663946"/>
                <a:gd name="connsiteY1079" fmla="*/ 88752 h 348450"/>
                <a:gd name="connsiteX1080" fmla="*/ 1217033 w 2663946"/>
                <a:gd name="connsiteY1080" fmla="*/ 88482 h 348450"/>
                <a:gd name="connsiteX1081" fmla="*/ 1217525 w 2663946"/>
                <a:gd name="connsiteY1081" fmla="*/ 83885 h 348450"/>
                <a:gd name="connsiteX1082" fmla="*/ 1218754 w 2663946"/>
                <a:gd name="connsiteY1082" fmla="*/ 78478 h 348450"/>
                <a:gd name="connsiteX1083" fmla="*/ 1219737 w 2663946"/>
                <a:gd name="connsiteY1083" fmla="*/ 75233 h 348450"/>
                <a:gd name="connsiteX1084" fmla="*/ 1221949 w 2663946"/>
                <a:gd name="connsiteY1084" fmla="*/ 70096 h 348450"/>
                <a:gd name="connsiteX1085" fmla="*/ 1224162 w 2663946"/>
                <a:gd name="connsiteY1085" fmla="*/ 66311 h 348450"/>
                <a:gd name="connsiteX1086" fmla="*/ 1226374 w 2663946"/>
                <a:gd name="connsiteY1086" fmla="*/ 63336 h 348450"/>
                <a:gd name="connsiteX1087" fmla="*/ 1228586 w 2663946"/>
                <a:gd name="connsiteY1087" fmla="*/ 60903 h 348450"/>
                <a:gd name="connsiteX1088" fmla="*/ 1233256 w 2663946"/>
                <a:gd name="connsiteY1088" fmla="*/ 57118 h 348450"/>
                <a:gd name="connsiteX1089" fmla="*/ 1237189 w 2663946"/>
                <a:gd name="connsiteY1089" fmla="*/ 54955 h 348450"/>
                <a:gd name="connsiteX1090" fmla="*/ 1246776 w 2663946"/>
                <a:gd name="connsiteY1090" fmla="*/ 52521 h 348450"/>
                <a:gd name="connsiteX1091" fmla="*/ 1064825 w 2663946"/>
                <a:gd name="connsiteY1091" fmla="*/ 52521 h 348450"/>
                <a:gd name="connsiteX1092" fmla="*/ 1077115 w 2663946"/>
                <a:gd name="connsiteY1092" fmla="*/ 54684 h 348450"/>
                <a:gd name="connsiteX1093" fmla="*/ 1084489 w 2663946"/>
                <a:gd name="connsiteY1093" fmla="*/ 59281 h 348450"/>
                <a:gd name="connsiteX1094" fmla="*/ 1087930 w 2663946"/>
                <a:gd name="connsiteY1094" fmla="*/ 62525 h 348450"/>
                <a:gd name="connsiteX1095" fmla="*/ 1091372 w 2663946"/>
                <a:gd name="connsiteY1095" fmla="*/ 66851 h 348450"/>
                <a:gd name="connsiteX1096" fmla="*/ 1093338 w 2663946"/>
                <a:gd name="connsiteY1096" fmla="*/ 70366 h 348450"/>
                <a:gd name="connsiteX1097" fmla="*/ 1095550 w 2663946"/>
                <a:gd name="connsiteY1097" fmla="*/ 75774 h 348450"/>
                <a:gd name="connsiteX1098" fmla="*/ 1096533 w 2663946"/>
                <a:gd name="connsiteY1098" fmla="*/ 79289 h 348450"/>
                <a:gd name="connsiteX1099" fmla="*/ 1097516 w 2663946"/>
                <a:gd name="connsiteY1099" fmla="*/ 84426 h 348450"/>
                <a:gd name="connsiteX1100" fmla="*/ 1097271 w 2663946"/>
                <a:gd name="connsiteY1100" fmla="*/ 98756 h 348450"/>
                <a:gd name="connsiteX1101" fmla="*/ 1096288 w 2663946"/>
                <a:gd name="connsiteY1101" fmla="*/ 103623 h 348450"/>
                <a:gd name="connsiteX1102" fmla="*/ 1095058 w 2663946"/>
                <a:gd name="connsiteY1102" fmla="*/ 107408 h 348450"/>
                <a:gd name="connsiteX1103" fmla="*/ 1094075 w 2663946"/>
                <a:gd name="connsiteY1103" fmla="*/ 109842 h 348450"/>
                <a:gd name="connsiteX1104" fmla="*/ 1091863 w 2663946"/>
                <a:gd name="connsiteY1104" fmla="*/ 114168 h 348450"/>
                <a:gd name="connsiteX1105" fmla="*/ 1089651 w 2663946"/>
                <a:gd name="connsiteY1105" fmla="*/ 117412 h 348450"/>
                <a:gd name="connsiteX1106" fmla="*/ 1086210 w 2663946"/>
                <a:gd name="connsiteY1106" fmla="*/ 121198 h 348450"/>
                <a:gd name="connsiteX1107" fmla="*/ 1083014 w 2663946"/>
                <a:gd name="connsiteY1107" fmla="*/ 123901 h 348450"/>
                <a:gd name="connsiteX1108" fmla="*/ 1077361 w 2663946"/>
                <a:gd name="connsiteY1108" fmla="*/ 127146 h 348450"/>
                <a:gd name="connsiteX1109" fmla="*/ 1069495 w 2663946"/>
                <a:gd name="connsiteY1109" fmla="*/ 129309 h 348450"/>
                <a:gd name="connsiteX1110" fmla="*/ 1068266 w 2663946"/>
                <a:gd name="connsiteY1110" fmla="*/ 129580 h 348450"/>
                <a:gd name="connsiteX1111" fmla="*/ 1064087 w 2663946"/>
                <a:gd name="connsiteY1111" fmla="*/ 129580 h 348450"/>
                <a:gd name="connsiteX1112" fmla="*/ 1063841 w 2663946"/>
                <a:gd name="connsiteY1112" fmla="*/ 129580 h 348450"/>
                <a:gd name="connsiteX1113" fmla="*/ 1050814 w 2663946"/>
                <a:gd name="connsiteY1113" fmla="*/ 124713 h 348450"/>
                <a:gd name="connsiteX1114" fmla="*/ 1046144 w 2663946"/>
                <a:gd name="connsiteY1114" fmla="*/ 120657 h 348450"/>
                <a:gd name="connsiteX1115" fmla="*/ 1042948 w 2663946"/>
                <a:gd name="connsiteY1115" fmla="*/ 116872 h 348450"/>
                <a:gd name="connsiteX1116" fmla="*/ 1040736 w 2663946"/>
                <a:gd name="connsiteY1116" fmla="*/ 113357 h 348450"/>
                <a:gd name="connsiteX1117" fmla="*/ 1038524 w 2663946"/>
                <a:gd name="connsiteY1117" fmla="*/ 109031 h 348450"/>
                <a:gd name="connsiteX1118" fmla="*/ 1037295 w 2663946"/>
                <a:gd name="connsiteY1118" fmla="*/ 106056 h 348450"/>
                <a:gd name="connsiteX1119" fmla="*/ 1036311 w 2663946"/>
                <a:gd name="connsiteY1119" fmla="*/ 102812 h 348450"/>
                <a:gd name="connsiteX1120" fmla="*/ 1035082 w 2663946"/>
                <a:gd name="connsiteY1120" fmla="*/ 97134 h 348450"/>
                <a:gd name="connsiteX1121" fmla="*/ 1034837 w 2663946"/>
                <a:gd name="connsiteY1121" fmla="*/ 94160 h 348450"/>
                <a:gd name="connsiteX1122" fmla="*/ 1035082 w 2663946"/>
                <a:gd name="connsiteY1122" fmla="*/ 94430 h 348450"/>
                <a:gd name="connsiteX1123" fmla="*/ 1035082 w 2663946"/>
                <a:gd name="connsiteY1123" fmla="*/ 88752 h 348450"/>
                <a:gd name="connsiteX1124" fmla="*/ 1035082 w 2663946"/>
                <a:gd name="connsiteY1124" fmla="*/ 88482 h 348450"/>
                <a:gd name="connsiteX1125" fmla="*/ 1035574 w 2663946"/>
                <a:gd name="connsiteY1125" fmla="*/ 83885 h 348450"/>
                <a:gd name="connsiteX1126" fmla="*/ 1036803 w 2663946"/>
                <a:gd name="connsiteY1126" fmla="*/ 78478 h 348450"/>
                <a:gd name="connsiteX1127" fmla="*/ 1037786 w 2663946"/>
                <a:gd name="connsiteY1127" fmla="*/ 75233 h 348450"/>
                <a:gd name="connsiteX1128" fmla="*/ 1039998 w 2663946"/>
                <a:gd name="connsiteY1128" fmla="*/ 70096 h 348450"/>
                <a:gd name="connsiteX1129" fmla="*/ 1042211 w 2663946"/>
                <a:gd name="connsiteY1129" fmla="*/ 66311 h 348450"/>
                <a:gd name="connsiteX1130" fmla="*/ 1044423 w 2663946"/>
                <a:gd name="connsiteY1130" fmla="*/ 63336 h 348450"/>
                <a:gd name="connsiteX1131" fmla="*/ 1046635 w 2663946"/>
                <a:gd name="connsiteY1131" fmla="*/ 60903 h 348450"/>
                <a:gd name="connsiteX1132" fmla="*/ 1051305 w 2663946"/>
                <a:gd name="connsiteY1132" fmla="*/ 57118 h 348450"/>
                <a:gd name="connsiteX1133" fmla="*/ 1055238 w 2663946"/>
                <a:gd name="connsiteY1133" fmla="*/ 54955 h 348450"/>
                <a:gd name="connsiteX1134" fmla="*/ 1064825 w 2663946"/>
                <a:gd name="connsiteY1134" fmla="*/ 52521 h 348450"/>
                <a:gd name="connsiteX1135" fmla="*/ 897796 w 2663946"/>
                <a:gd name="connsiteY1135" fmla="*/ 52521 h 348450"/>
                <a:gd name="connsiteX1136" fmla="*/ 910086 w 2663946"/>
                <a:gd name="connsiteY1136" fmla="*/ 54684 h 348450"/>
                <a:gd name="connsiteX1137" fmla="*/ 917460 w 2663946"/>
                <a:gd name="connsiteY1137" fmla="*/ 59281 h 348450"/>
                <a:gd name="connsiteX1138" fmla="*/ 920901 w 2663946"/>
                <a:gd name="connsiteY1138" fmla="*/ 62525 h 348450"/>
                <a:gd name="connsiteX1139" fmla="*/ 924343 w 2663946"/>
                <a:gd name="connsiteY1139" fmla="*/ 66851 h 348450"/>
                <a:gd name="connsiteX1140" fmla="*/ 926309 w 2663946"/>
                <a:gd name="connsiteY1140" fmla="*/ 70366 h 348450"/>
                <a:gd name="connsiteX1141" fmla="*/ 928521 w 2663946"/>
                <a:gd name="connsiteY1141" fmla="*/ 75774 h 348450"/>
                <a:gd name="connsiteX1142" fmla="*/ 929504 w 2663946"/>
                <a:gd name="connsiteY1142" fmla="*/ 79289 h 348450"/>
                <a:gd name="connsiteX1143" fmla="*/ 930487 w 2663946"/>
                <a:gd name="connsiteY1143" fmla="*/ 84426 h 348450"/>
                <a:gd name="connsiteX1144" fmla="*/ 930242 w 2663946"/>
                <a:gd name="connsiteY1144" fmla="*/ 98756 h 348450"/>
                <a:gd name="connsiteX1145" fmla="*/ 929259 w 2663946"/>
                <a:gd name="connsiteY1145" fmla="*/ 103623 h 348450"/>
                <a:gd name="connsiteX1146" fmla="*/ 928029 w 2663946"/>
                <a:gd name="connsiteY1146" fmla="*/ 107408 h 348450"/>
                <a:gd name="connsiteX1147" fmla="*/ 927046 w 2663946"/>
                <a:gd name="connsiteY1147" fmla="*/ 109842 h 348450"/>
                <a:gd name="connsiteX1148" fmla="*/ 924834 w 2663946"/>
                <a:gd name="connsiteY1148" fmla="*/ 114168 h 348450"/>
                <a:gd name="connsiteX1149" fmla="*/ 922622 w 2663946"/>
                <a:gd name="connsiteY1149" fmla="*/ 117412 h 348450"/>
                <a:gd name="connsiteX1150" fmla="*/ 919181 w 2663946"/>
                <a:gd name="connsiteY1150" fmla="*/ 121198 h 348450"/>
                <a:gd name="connsiteX1151" fmla="*/ 915985 w 2663946"/>
                <a:gd name="connsiteY1151" fmla="*/ 123901 h 348450"/>
                <a:gd name="connsiteX1152" fmla="*/ 910332 w 2663946"/>
                <a:gd name="connsiteY1152" fmla="*/ 127146 h 348450"/>
                <a:gd name="connsiteX1153" fmla="*/ 902466 w 2663946"/>
                <a:gd name="connsiteY1153" fmla="*/ 129309 h 348450"/>
                <a:gd name="connsiteX1154" fmla="*/ 901237 w 2663946"/>
                <a:gd name="connsiteY1154" fmla="*/ 129580 h 348450"/>
                <a:gd name="connsiteX1155" fmla="*/ 897058 w 2663946"/>
                <a:gd name="connsiteY1155" fmla="*/ 129580 h 348450"/>
                <a:gd name="connsiteX1156" fmla="*/ 896812 w 2663946"/>
                <a:gd name="connsiteY1156" fmla="*/ 129580 h 348450"/>
                <a:gd name="connsiteX1157" fmla="*/ 883785 w 2663946"/>
                <a:gd name="connsiteY1157" fmla="*/ 124713 h 348450"/>
                <a:gd name="connsiteX1158" fmla="*/ 879115 w 2663946"/>
                <a:gd name="connsiteY1158" fmla="*/ 120657 h 348450"/>
                <a:gd name="connsiteX1159" fmla="*/ 875919 w 2663946"/>
                <a:gd name="connsiteY1159" fmla="*/ 116872 h 348450"/>
                <a:gd name="connsiteX1160" fmla="*/ 873707 w 2663946"/>
                <a:gd name="connsiteY1160" fmla="*/ 113357 h 348450"/>
                <a:gd name="connsiteX1161" fmla="*/ 871495 w 2663946"/>
                <a:gd name="connsiteY1161" fmla="*/ 109031 h 348450"/>
                <a:gd name="connsiteX1162" fmla="*/ 870266 w 2663946"/>
                <a:gd name="connsiteY1162" fmla="*/ 106056 h 348450"/>
                <a:gd name="connsiteX1163" fmla="*/ 869282 w 2663946"/>
                <a:gd name="connsiteY1163" fmla="*/ 102812 h 348450"/>
                <a:gd name="connsiteX1164" fmla="*/ 868053 w 2663946"/>
                <a:gd name="connsiteY1164" fmla="*/ 97134 h 348450"/>
                <a:gd name="connsiteX1165" fmla="*/ 867808 w 2663946"/>
                <a:gd name="connsiteY1165" fmla="*/ 94160 h 348450"/>
                <a:gd name="connsiteX1166" fmla="*/ 868053 w 2663946"/>
                <a:gd name="connsiteY1166" fmla="*/ 94430 h 348450"/>
                <a:gd name="connsiteX1167" fmla="*/ 868053 w 2663946"/>
                <a:gd name="connsiteY1167" fmla="*/ 88752 h 348450"/>
                <a:gd name="connsiteX1168" fmla="*/ 868053 w 2663946"/>
                <a:gd name="connsiteY1168" fmla="*/ 88482 h 348450"/>
                <a:gd name="connsiteX1169" fmla="*/ 868545 w 2663946"/>
                <a:gd name="connsiteY1169" fmla="*/ 83885 h 348450"/>
                <a:gd name="connsiteX1170" fmla="*/ 869774 w 2663946"/>
                <a:gd name="connsiteY1170" fmla="*/ 78478 h 348450"/>
                <a:gd name="connsiteX1171" fmla="*/ 870757 w 2663946"/>
                <a:gd name="connsiteY1171" fmla="*/ 75233 h 348450"/>
                <a:gd name="connsiteX1172" fmla="*/ 872969 w 2663946"/>
                <a:gd name="connsiteY1172" fmla="*/ 70096 h 348450"/>
                <a:gd name="connsiteX1173" fmla="*/ 875182 w 2663946"/>
                <a:gd name="connsiteY1173" fmla="*/ 66311 h 348450"/>
                <a:gd name="connsiteX1174" fmla="*/ 877394 w 2663946"/>
                <a:gd name="connsiteY1174" fmla="*/ 63336 h 348450"/>
                <a:gd name="connsiteX1175" fmla="*/ 879606 w 2663946"/>
                <a:gd name="connsiteY1175" fmla="*/ 60903 h 348450"/>
                <a:gd name="connsiteX1176" fmla="*/ 884276 w 2663946"/>
                <a:gd name="connsiteY1176" fmla="*/ 57118 h 348450"/>
                <a:gd name="connsiteX1177" fmla="*/ 888209 w 2663946"/>
                <a:gd name="connsiteY1177" fmla="*/ 54955 h 348450"/>
                <a:gd name="connsiteX1178" fmla="*/ 897796 w 2663946"/>
                <a:gd name="connsiteY1178" fmla="*/ 52521 h 348450"/>
                <a:gd name="connsiteX1179" fmla="*/ 548889 w 2663946"/>
                <a:gd name="connsiteY1179" fmla="*/ 52521 h 348450"/>
                <a:gd name="connsiteX1180" fmla="*/ 561180 w 2663946"/>
                <a:gd name="connsiteY1180" fmla="*/ 54684 h 348450"/>
                <a:gd name="connsiteX1181" fmla="*/ 568554 w 2663946"/>
                <a:gd name="connsiteY1181" fmla="*/ 59281 h 348450"/>
                <a:gd name="connsiteX1182" fmla="*/ 571995 w 2663946"/>
                <a:gd name="connsiteY1182" fmla="*/ 62525 h 348450"/>
                <a:gd name="connsiteX1183" fmla="*/ 575436 w 2663946"/>
                <a:gd name="connsiteY1183" fmla="*/ 66851 h 348450"/>
                <a:gd name="connsiteX1184" fmla="*/ 577403 w 2663946"/>
                <a:gd name="connsiteY1184" fmla="*/ 70366 h 348450"/>
                <a:gd name="connsiteX1185" fmla="*/ 579615 w 2663946"/>
                <a:gd name="connsiteY1185" fmla="*/ 75774 h 348450"/>
                <a:gd name="connsiteX1186" fmla="*/ 580598 w 2663946"/>
                <a:gd name="connsiteY1186" fmla="*/ 79289 h 348450"/>
                <a:gd name="connsiteX1187" fmla="*/ 581581 w 2663946"/>
                <a:gd name="connsiteY1187" fmla="*/ 84426 h 348450"/>
                <a:gd name="connsiteX1188" fmla="*/ 581336 w 2663946"/>
                <a:gd name="connsiteY1188" fmla="*/ 98756 h 348450"/>
                <a:gd name="connsiteX1189" fmla="*/ 580352 w 2663946"/>
                <a:gd name="connsiteY1189" fmla="*/ 103623 h 348450"/>
                <a:gd name="connsiteX1190" fmla="*/ 579123 w 2663946"/>
                <a:gd name="connsiteY1190" fmla="*/ 107408 h 348450"/>
                <a:gd name="connsiteX1191" fmla="*/ 578140 w 2663946"/>
                <a:gd name="connsiteY1191" fmla="*/ 109842 h 348450"/>
                <a:gd name="connsiteX1192" fmla="*/ 575928 w 2663946"/>
                <a:gd name="connsiteY1192" fmla="*/ 114168 h 348450"/>
                <a:gd name="connsiteX1193" fmla="*/ 573715 w 2663946"/>
                <a:gd name="connsiteY1193" fmla="*/ 117412 h 348450"/>
                <a:gd name="connsiteX1194" fmla="*/ 570274 w 2663946"/>
                <a:gd name="connsiteY1194" fmla="*/ 121198 h 348450"/>
                <a:gd name="connsiteX1195" fmla="*/ 567079 w 2663946"/>
                <a:gd name="connsiteY1195" fmla="*/ 123901 h 348450"/>
                <a:gd name="connsiteX1196" fmla="*/ 561425 w 2663946"/>
                <a:gd name="connsiteY1196" fmla="*/ 127146 h 348450"/>
                <a:gd name="connsiteX1197" fmla="*/ 553559 w 2663946"/>
                <a:gd name="connsiteY1197" fmla="*/ 129309 h 348450"/>
                <a:gd name="connsiteX1198" fmla="*/ 552331 w 2663946"/>
                <a:gd name="connsiteY1198" fmla="*/ 129580 h 348450"/>
                <a:gd name="connsiteX1199" fmla="*/ 548152 w 2663946"/>
                <a:gd name="connsiteY1199" fmla="*/ 129580 h 348450"/>
                <a:gd name="connsiteX1200" fmla="*/ 547906 w 2663946"/>
                <a:gd name="connsiteY1200" fmla="*/ 129580 h 348450"/>
                <a:gd name="connsiteX1201" fmla="*/ 534879 w 2663946"/>
                <a:gd name="connsiteY1201" fmla="*/ 124713 h 348450"/>
                <a:gd name="connsiteX1202" fmla="*/ 530208 w 2663946"/>
                <a:gd name="connsiteY1202" fmla="*/ 120657 h 348450"/>
                <a:gd name="connsiteX1203" fmla="*/ 527013 w 2663946"/>
                <a:gd name="connsiteY1203" fmla="*/ 116872 h 348450"/>
                <a:gd name="connsiteX1204" fmla="*/ 524801 w 2663946"/>
                <a:gd name="connsiteY1204" fmla="*/ 113357 h 348450"/>
                <a:gd name="connsiteX1205" fmla="*/ 522588 w 2663946"/>
                <a:gd name="connsiteY1205" fmla="*/ 109031 h 348450"/>
                <a:gd name="connsiteX1206" fmla="*/ 521359 w 2663946"/>
                <a:gd name="connsiteY1206" fmla="*/ 106056 h 348450"/>
                <a:gd name="connsiteX1207" fmla="*/ 520376 w 2663946"/>
                <a:gd name="connsiteY1207" fmla="*/ 102812 h 348450"/>
                <a:gd name="connsiteX1208" fmla="*/ 519147 w 2663946"/>
                <a:gd name="connsiteY1208" fmla="*/ 97134 h 348450"/>
                <a:gd name="connsiteX1209" fmla="*/ 518901 w 2663946"/>
                <a:gd name="connsiteY1209" fmla="*/ 94160 h 348450"/>
                <a:gd name="connsiteX1210" fmla="*/ 519147 w 2663946"/>
                <a:gd name="connsiteY1210" fmla="*/ 94430 h 348450"/>
                <a:gd name="connsiteX1211" fmla="*/ 519147 w 2663946"/>
                <a:gd name="connsiteY1211" fmla="*/ 88752 h 348450"/>
                <a:gd name="connsiteX1212" fmla="*/ 519147 w 2663946"/>
                <a:gd name="connsiteY1212" fmla="*/ 88482 h 348450"/>
                <a:gd name="connsiteX1213" fmla="*/ 519639 w 2663946"/>
                <a:gd name="connsiteY1213" fmla="*/ 83885 h 348450"/>
                <a:gd name="connsiteX1214" fmla="*/ 520868 w 2663946"/>
                <a:gd name="connsiteY1214" fmla="*/ 78478 h 348450"/>
                <a:gd name="connsiteX1215" fmla="*/ 521851 w 2663946"/>
                <a:gd name="connsiteY1215" fmla="*/ 75233 h 348450"/>
                <a:gd name="connsiteX1216" fmla="*/ 524063 w 2663946"/>
                <a:gd name="connsiteY1216" fmla="*/ 70096 h 348450"/>
                <a:gd name="connsiteX1217" fmla="*/ 526275 w 2663946"/>
                <a:gd name="connsiteY1217" fmla="*/ 66311 h 348450"/>
                <a:gd name="connsiteX1218" fmla="*/ 528488 w 2663946"/>
                <a:gd name="connsiteY1218" fmla="*/ 63336 h 348450"/>
                <a:gd name="connsiteX1219" fmla="*/ 530700 w 2663946"/>
                <a:gd name="connsiteY1219" fmla="*/ 60903 h 348450"/>
                <a:gd name="connsiteX1220" fmla="*/ 535370 w 2663946"/>
                <a:gd name="connsiteY1220" fmla="*/ 57118 h 348450"/>
                <a:gd name="connsiteX1221" fmla="*/ 539303 w 2663946"/>
                <a:gd name="connsiteY1221" fmla="*/ 54955 h 348450"/>
                <a:gd name="connsiteX1222" fmla="*/ 548889 w 2663946"/>
                <a:gd name="connsiteY1222" fmla="*/ 52521 h 348450"/>
                <a:gd name="connsiteX1223" fmla="*/ 366938 w 2663946"/>
                <a:gd name="connsiteY1223" fmla="*/ 52521 h 348450"/>
                <a:gd name="connsiteX1224" fmla="*/ 379228 w 2663946"/>
                <a:gd name="connsiteY1224" fmla="*/ 54684 h 348450"/>
                <a:gd name="connsiteX1225" fmla="*/ 386603 w 2663946"/>
                <a:gd name="connsiteY1225" fmla="*/ 59281 h 348450"/>
                <a:gd name="connsiteX1226" fmla="*/ 390044 w 2663946"/>
                <a:gd name="connsiteY1226" fmla="*/ 62525 h 348450"/>
                <a:gd name="connsiteX1227" fmla="*/ 393485 w 2663946"/>
                <a:gd name="connsiteY1227" fmla="*/ 66851 h 348450"/>
                <a:gd name="connsiteX1228" fmla="*/ 395452 w 2663946"/>
                <a:gd name="connsiteY1228" fmla="*/ 70366 h 348450"/>
                <a:gd name="connsiteX1229" fmla="*/ 397664 w 2663946"/>
                <a:gd name="connsiteY1229" fmla="*/ 75774 h 348450"/>
                <a:gd name="connsiteX1230" fmla="*/ 398647 w 2663946"/>
                <a:gd name="connsiteY1230" fmla="*/ 79289 h 348450"/>
                <a:gd name="connsiteX1231" fmla="*/ 399630 w 2663946"/>
                <a:gd name="connsiteY1231" fmla="*/ 84426 h 348450"/>
                <a:gd name="connsiteX1232" fmla="*/ 399384 w 2663946"/>
                <a:gd name="connsiteY1232" fmla="*/ 98756 h 348450"/>
                <a:gd name="connsiteX1233" fmla="*/ 398401 w 2663946"/>
                <a:gd name="connsiteY1233" fmla="*/ 103623 h 348450"/>
                <a:gd name="connsiteX1234" fmla="*/ 397172 w 2663946"/>
                <a:gd name="connsiteY1234" fmla="*/ 107408 h 348450"/>
                <a:gd name="connsiteX1235" fmla="*/ 396189 w 2663946"/>
                <a:gd name="connsiteY1235" fmla="*/ 109842 h 348450"/>
                <a:gd name="connsiteX1236" fmla="*/ 393977 w 2663946"/>
                <a:gd name="connsiteY1236" fmla="*/ 114168 h 348450"/>
                <a:gd name="connsiteX1237" fmla="*/ 391764 w 2663946"/>
                <a:gd name="connsiteY1237" fmla="*/ 117412 h 348450"/>
                <a:gd name="connsiteX1238" fmla="*/ 388323 w 2663946"/>
                <a:gd name="connsiteY1238" fmla="*/ 121198 h 348450"/>
                <a:gd name="connsiteX1239" fmla="*/ 385128 w 2663946"/>
                <a:gd name="connsiteY1239" fmla="*/ 123901 h 348450"/>
                <a:gd name="connsiteX1240" fmla="*/ 379474 w 2663946"/>
                <a:gd name="connsiteY1240" fmla="*/ 127146 h 348450"/>
                <a:gd name="connsiteX1241" fmla="*/ 371609 w 2663946"/>
                <a:gd name="connsiteY1241" fmla="*/ 129309 h 348450"/>
                <a:gd name="connsiteX1242" fmla="*/ 370380 w 2663946"/>
                <a:gd name="connsiteY1242" fmla="*/ 129580 h 348450"/>
                <a:gd name="connsiteX1243" fmla="*/ 366201 w 2663946"/>
                <a:gd name="connsiteY1243" fmla="*/ 129580 h 348450"/>
                <a:gd name="connsiteX1244" fmla="*/ 365955 w 2663946"/>
                <a:gd name="connsiteY1244" fmla="*/ 129580 h 348450"/>
                <a:gd name="connsiteX1245" fmla="*/ 352927 w 2663946"/>
                <a:gd name="connsiteY1245" fmla="*/ 124713 h 348450"/>
                <a:gd name="connsiteX1246" fmla="*/ 348257 w 2663946"/>
                <a:gd name="connsiteY1246" fmla="*/ 120657 h 348450"/>
                <a:gd name="connsiteX1247" fmla="*/ 345062 w 2663946"/>
                <a:gd name="connsiteY1247" fmla="*/ 116872 h 348450"/>
                <a:gd name="connsiteX1248" fmla="*/ 342850 w 2663946"/>
                <a:gd name="connsiteY1248" fmla="*/ 113357 h 348450"/>
                <a:gd name="connsiteX1249" fmla="*/ 340637 w 2663946"/>
                <a:gd name="connsiteY1249" fmla="*/ 109031 h 348450"/>
                <a:gd name="connsiteX1250" fmla="*/ 339408 w 2663946"/>
                <a:gd name="connsiteY1250" fmla="*/ 106056 h 348450"/>
                <a:gd name="connsiteX1251" fmla="*/ 338425 w 2663946"/>
                <a:gd name="connsiteY1251" fmla="*/ 102812 h 348450"/>
                <a:gd name="connsiteX1252" fmla="*/ 337196 w 2663946"/>
                <a:gd name="connsiteY1252" fmla="*/ 97134 h 348450"/>
                <a:gd name="connsiteX1253" fmla="*/ 336950 w 2663946"/>
                <a:gd name="connsiteY1253" fmla="*/ 94160 h 348450"/>
                <a:gd name="connsiteX1254" fmla="*/ 337196 w 2663946"/>
                <a:gd name="connsiteY1254" fmla="*/ 94430 h 348450"/>
                <a:gd name="connsiteX1255" fmla="*/ 337196 w 2663946"/>
                <a:gd name="connsiteY1255" fmla="*/ 88752 h 348450"/>
                <a:gd name="connsiteX1256" fmla="*/ 337196 w 2663946"/>
                <a:gd name="connsiteY1256" fmla="*/ 88482 h 348450"/>
                <a:gd name="connsiteX1257" fmla="*/ 337687 w 2663946"/>
                <a:gd name="connsiteY1257" fmla="*/ 83885 h 348450"/>
                <a:gd name="connsiteX1258" fmla="*/ 338917 w 2663946"/>
                <a:gd name="connsiteY1258" fmla="*/ 78478 h 348450"/>
                <a:gd name="connsiteX1259" fmla="*/ 339900 w 2663946"/>
                <a:gd name="connsiteY1259" fmla="*/ 75233 h 348450"/>
                <a:gd name="connsiteX1260" fmla="*/ 342112 w 2663946"/>
                <a:gd name="connsiteY1260" fmla="*/ 70096 h 348450"/>
                <a:gd name="connsiteX1261" fmla="*/ 344324 w 2663946"/>
                <a:gd name="connsiteY1261" fmla="*/ 66311 h 348450"/>
                <a:gd name="connsiteX1262" fmla="*/ 346536 w 2663946"/>
                <a:gd name="connsiteY1262" fmla="*/ 63336 h 348450"/>
                <a:gd name="connsiteX1263" fmla="*/ 348749 w 2663946"/>
                <a:gd name="connsiteY1263" fmla="*/ 60903 h 348450"/>
                <a:gd name="connsiteX1264" fmla="*/ 353419 w 2663946"/>
                <a:gd name="connsiteY1264" fmla="*/ 57118 h 348450"/>
                <a:gd name="connsiteX1265" fmla="*/ 357352 w 2663946"/>
                <a:gd name="connsiteY1265" fmla="*/ 54955 h 348450"/>
                <a:gd name="connsiteX1266" fmla="*/ 366938 w 2663946"/>
                <a:gd name="connsiteY1266" fmla="*/ 52521 h 348450"/>
                <a:gd name="connsiteX1267" fmla="*/ 123893 w 2663946"/>
                <a:gd name="connsiteY1267" fmla="*/ 52521 h 348450"/>
                <a:gd name="connsiteX1268" fmla="*/ 136183 w 2663946"/>
                <a:gd name="connsiteY1268" fmla="*/ 54684 h 348450"/>
                <a:gd name="connsiteX1269" fmla="*/ 143557 w 2663946"/>
                <a:gd name="connsiteY1269" fmla="*/ 59281 h 348450"/>
                <a:gd name="connsiteX1270" fmla="*/ 146998 w 2663946"/>
                <a:gd name="connsiteY1270" fmla="*/ 62525 h 348450"/>
                <a:gd name="connsiteX1271" fmla="*/ 150439 w 2663946"/>
                <a:gd name="connsiteY1271" fmla="*/ 66851 h 348450"/>
                <a:gd name="connsiteX1272" fmla="*/ 152406 w 2663946"/>
                <a:gd name="connsiteY1272" fmla="*/ 70366 h 348450"/>
                <a:gd name="connsiteX1273" fmla="*/ 154618 w 2663946"/>
                <a:gd name="connsiteY1273" fmla="*/ 75774 h 348450"/>
                <a:gd name="connsiteX1274" fmla="*/ 155601 w 2663946"/>
                <a:gd name="connsiteY1274" fmla="*/ 79289 h 348450"/>
                <a:gd name="connsiteX1275" fmla="*/ 156584 w 2663946"/>
                <a:gd name="connsiteY1275" fmla="*/ 84426 h 348450"/>
                <a:gd name="connsiteX1276" fmla="*/ 156339 w 2663946"/>
                <a:gd name="connsiteY1276" fmla="*/ 98756 h 348450"/>
                <a:gd name="connsiteX1277" fmla="*/ 155355 w 2663946"/>
                <a:gd name="connsiteY1277" fmla="*/ 103623 h 348450"/>
                <a:gd name="connsiteX1278" fmla="*/ 154126 w 2663946"/>
                <a:gd name="connsiteY1278" fmla="*/ 107408 h 348450"/>
                <a:gd name="connsiteX1279" fmla="*/ 153143 w 2663946"/>
                <a:gd name="connsiteY1279" fmla="*/ 109842 h 348450"/>
                <a:gd name="connsiteX1280" fmla="*/ 150931 w 2663946"/>
                <a:gd name="connsiteY1280" fmla="*/ 114168 h 348450"/>
                <a:gd name="connsiteX1281" fmla="*/ 148719 w 2663946"/>
                <a:gd name="connsiteY1281" fmla="*/ 117412 h 348450"/>
                <a:gd name="connsiteX1282" fmla="*/ 145277 w 2663946"/>
                <a:gd name="connsiteY1282" fmla="*/ 121198 h 348450"/>
                <a:gd name="connsiteX1283" fmla="*/ 142082 w 2663946"/>
                <a:gd name="connsiteY1283" fmla="*/ 123901 h 348450"/>
                <a:gd name="connsiteX1284" fmla="*/ 136428 w 2663946"/>
                <a:gd name="connsiteY1284" fmla="*/ 127146 h 348450"/>
                <a:gd name="connsiteX1285" fmla="*/ 128563 w 2663946"/>
                <a:gd name="connsiteY1285" fmla="*/ 129309 h 348450"/>
                <a:gd name="connsiteX1286" fmla="*/ 127334 w 2663946"/>
                <a:gd name="connsiteY1286" fmla="*/ 129580 h 348450"/>
                <a:gd name="connsiteX1287" fmla="*/ 123155 w 2663946"/>
                <a:gd name="connsiteY1287" fmla="*/ 129580 h 348450"/>
                <a:gd name="connsiteX1288" fmla="*/ 122909 w 2663946"/>
                <a:gd name="connsiteY1288" fmla="*/ 129580 h 348450"/>
                <a:gd name="connsiteX1289" fmla="*/ 109882 w 2663946"/>
                <a:gd name="connsiteY1289" fmla="*/ 124713 h 348450"/>
                <a:gd name="connsiteX1290" fmla="*/ 105211 w 2663946"/>
                <a:gd name="connsiteY1290" fmla="*/ 120657 h 348450"/>
                <a:gd name="connsiteX1291" fmla="*/ 102016 w 2663946"/>
                <a:gd name="connsiteY1291" fmla="*/ 116872 h 348450"/>
                <a:gd name="connsiteX1292" fmla="*/ 99804 w 2663946"/>
                <a:gd name="connsiteY1292" fmla="*/ 113357 h 348450"/>
                <a:gd name="connsiteX1293" fmla="*/ 97591 w 2663946"/>
                <a:gd name="connsiteY1293" fmla="*/ 109031 h 348450"/>
                <a:gd name="connsiteX1294" fmla="*/ 96362 w 2663946"/>
                <a:gd name="connsiteY1294" fmla="*/ 106056 h 348450"/>
                <a:gd name="connsiteX1295" fmla="*/ 95379 w 2663946"/>
                <a:gd name="connsiteY1295" fmla="*/ 102812 h 348450"/>
                <a:gd name="connsiteX1296" fmla="*/ 94150 w 2663946"/>
                <a:gd name="connsiteY1296" fmla="*/ 97134 h 348450"/>
                <a:gd name="connsiteX1297" fmla="*/ 93904 w 2663946"/>
                <a:gd name="connsiteY1297" fmla="*/ 94160 h 348450"/>
                <a:gd name="connsiteX1298" fmla="*/ 94150 w 2663946"/>
                <a:gd name="connsiteY1298" fmla="*/ 94430 h 348450"/>
                <a:gd name="connsiteX1299" fmla="*/ 94150 w 2663946"/>
                <a:gd name="connsiteY1299" fmla="*/ 88752 h 348450"/>
                <a:gd name="connsiteX1300" fmla="*/ 94150 w 2663946"/>
                <a:gd name="connsiteY1300" fmla="*/ 88482 h 348450"/>
                <a:gd name="connsiteX1301" fmla="*/ 94642 w 2663946"/>
                <a:gd name="connsiteY1301" fmla="*/ 83885 h 348450"/>
                <a:gd name="connsiteX1302" fmla="*/ 95871 w 2663946"/>
                <a:gd name="connsiteY1302" fmla="*/ 78478 h 348450"/>
                <a:gd name="connsiteX1303" fmla="*/ 96854 w 2663946"/>
                <a:gd name="connsiteY1303" fmla="*/ 75233 h 348450"/>
                <a:gd name="connsiteX1304" fmla="*/ 99066 w 2663946"/>
                <a:gd name="connsiteY1304" fmla="*/ 70096 h 348450"/>
                <a:gd name="connsiteX1305" fmla="*/ 101279 w 2663946"/>
                <a:gd name="connsiteY1305" fmla="*/ 66311 h 348450"/>
                <a:gd name="connsiteX1306" fmla="*/ 103491 w 2663946"/>
                <a:gd name="connsiteY1306" fmla="*/ 63336 h 348450"/>
                <a:gd name="connsiteX1307" fmla="*/ 105703 w 2663946"/>
                <a:gd name="connsiteY1307" fmla="*/ 60903 h 348450"/>
                <a:gd name="connsiteX1308" fmla="*/ 110373 w 2663946"/>
                <a:gd name="connsiteY1308" fmla="*/ 57118 h 348450"/>
                <a:gd name="connsiteX1309" fmla="*/ 114306 w 2663946"/>
                <a:gd name="connsiteY1309" fmla="*/ 54955 h 348450"/>
                <a:gd name="connsiteX1310" fmla="*/ 123893 w 2663946"/>
                <a:gd name="connsiteY1310" fmla="*/ 52521 h 348450"/>
                <a:gd name="connsiteX1311" fmla="*/ 33147 w 2663946"/>
                <a:gd name="connsiteY1311" fmla="*/ 51883 h 348450"/>
                <a:gd name="connsiteX1312" fmla="*/ 57942 w 2663946"/>
                <a:gd name="connsiteY1312" fmla="*/ 72092 h 348450"/>
                <a:gd name="connsiteX1313" fmla="*/ 58422 w 2663946"/>
                <a:gd name="connsiteY1313" fmla="*/ 76850 h 348450"/>
                <a:gd name="connsiteX1314" fmla="*/ 59840 w 2663946"/>
                <a:gd name="connsiteY1314" fmla="*/ 76850 h 348450"/>
                <a:gd name="connsiteX1315" fmla="*/ 66294 w 2663946"/>
                <a:gd name="connsiteY1315" fmla="*/ 83136 h 348450"/>
                <a:gd name="connsiteX1316" fmla="*/ 66294 w 2663946"/>
                <a:gd name="connsiteY1316" fmla="*/ 132858 h 348450"/>
                <a:gd name="connsiteX1317" fmla="*/ 59840 w 2663946"/>
                <a:gd name="connsiteY1317" fmla="*/ 139144 h 348450"/>
                <a:gd name="connsiteX1318" fmla="*/ 6453 w 2663946"/>
                <a:gd name="connsiteY1318" fmla="*/ 139144 h 348450"/>
                <a:gd name="connsiteX1319" fmla="*/ 0 w 2663946"/>
                <a:gd name="connsiteY1319" fmla="*/ 132858 h 348450"/>
                <a:gd name="connsiteX1320" fmla="*/ 0 w 2663946"/>
                <a:gd name="connsiteY1320" fmla="*/ 83136 h 348450"/>
                <a:gd name="connsiteX1321" fmla="*/ 6453 w 2663946"/>
                <a:gd name="connsiteY1321" fmla="*/ 76850 h 348450"/>
                <a:gd name="connsiteX1322" fmla="*/ 7288 w 2663946"/>
                <a:gd name="connsiteY1322" fmla="*/ 76850 h 348450"/>
                <a:gd name="connsiteX1323" fmla="*/ 7872 w 2663946"/>
                <a:gd name="connsiteY1323" fmla="*/ 76850 h 348450"/>
                <a:gd name="connsiteX1324" fmla="*/ 8351 w 2663946"/>
                <a:gd name="connsiteY1324" fmla="*/ 72092 h 348450"/>
                <a:gd name="connsiteX1325" fmla="*/ 33147 w 2663946"/>
                <a:gd name="connsiteY1325" fmla="*/ 51883 h 348450"/>
                <a:gd name="connsiteX1326" fmla="*/ 2537931 w 2663946"/>
                <a:gd name="connsiteY1326" fmla="*/ 44295 h 348450"/>
                <a:gd name="connsiteX1327" fmla="*/ 2562727 w 2663946"/>
                <a:gd name="connsiteY1327" fmla="*/ 64504 h 348450"/>
                <a:gd name="connsiteX1328" fmla="*/ 2563206 w 2663946"/>
                <a:gd name="connsiteY1328" fmla="*/ 69262 h 348450"/>
                <a:gd name="connsiteX1329" fmla="*/ 2564625 w 2663946"/>
                <a:gd name="connsiteY1329" fmla="*/ 69262 h 348450"/>
                <a:gd name="connsiteX1330" fmla="*/ 2571078 w 2663946"/>
                <a:gd name="connsiteY1330" fmla="*/ 75548 h 348450"/>
                <a:gd name="connsiteX1331" fmla="*/ 2571078 w 2663946"/>
                <a:gd name="connsiteY1331" fmla="*/ 125270 h 348450"/>
                <a:gd name="connsiteX1332" fmla="*/ 2564625 w 2663946"/>
                <a:gd name="connsiteY1332" fmla="*/ 131556 h 348450"/>
                <a:gd name="connsiteX1333" fmla="*/ 2511238 w 2663946"/>
                <a:gd name="connsiteY1333" fmla="*/ 131556 h 348450"/>
                <a:gd name="connsiteX1334" fmla="*/ 2504784 w 2663946"/>
                <a:gd name="connsiteY1334" fmla="*/ 125270 h 348450"/>
                <a:gd name="connsiteX1335" fmla="*/ 2504784 w 2663946"/>
                <a:gd name="connsiteY1335" fmla="*/ 75548 h 348450"/>
                <a:gd name="connsiteX1336" fmla="*/ 2511238 w 2663946"/>
                <a:gd name="connsiteY1336" fmla="*/ 69262 h 348450"/>
                <a:gd name="connsiteX1337" fmla="*/ 2512072 w 2663946"/>
                <a:gd name="connsiteY1337" fmla="*/ 69262 h 348450"/>
                <a:gd name="connsiteX1338" fmla="*/ 2512656 w 2663946"/>
                <a:gd name="connsiteY1338" fmla="*/ 69262 h 348450"/>
                <a:gd name="connsiteX1339" fmla="*/ 2513136 w 2663946"/>
                <a:gd name="connsiteY1339" fmla="*/ 64504 h 348450"/>
                <a:gd name="connsiteX1340" fmla="*/ 2537931 w 2663946"/>
                <a:gd name="connsiteY1340" fmla="*/ 44295 h 348450"/>
                <a:gd name="connsiteX1341" fmla="*/ 2112934 w 2663946"/>
                <a:gd name="connsiteY1341" fmla="*/ 44295 h 348450"/>
                <a:gd name="connsiteX1342" fmla="*/ 2137730 w 2663946"/>
                <a:gd name="connsiteY1342" fmla="*/ 64504 h 348450"/>
                <a:gd name="connsiteX1343" fmla="*/ 2138209 w 2663946"/>
                <a:gd name="connsiteY1343" fmla="*/ 69262 h 348450"/>
                <a:gd name="connsiteX1344" fmla="*/ 2139628 w 2663946"/>
                <a:gd name="connsiteY1344" fmla="*/ 69262 h 348450"/>
                <a:gd name="connsiteX1345" fmla="*/ 2146081 w 2663946"/>
                <a:gd name="connsiteY1345" fmla="*/ 75548 h 348450"/>
                <a:gd name="connsiteX1346" fmla="*/ 2146081 w 2663946"/>
                <a:gd name="connsiteY1346" fmla="*/ 125270 h 348450"/>
                <a:gd name="connsiteX1347" fmla="*/ 2139628 w 2663946"/>
                <a:gd name="connsiteY1347" fmla="*/ 131556 h 348450"/>
                <a:gd name="connsiteX1348" fmla="*/ 2086241 w 2663946"/>
                <a:gd name="connsiteY1348" fmla="*/ 131556 h 348450"/>
                <a:gd name="connsiteX1349" fmla="*/ 2079787 w 2663946"/>
                <a:gd name="connsiteY1349" fmla="*/ 125270 h 348450"/>
                <a:gd name="connsiteX1350" fmla="*/ 2079787 w 2663946"/>
                <a:gd name="connsiteY1350" fmla="*/ 75548 h 348450"/>
                <a:gd name="connsiteX1351" fmla="*/ 2086241 w 2663946"/>
                <a:gd name="connsiteY1351" fmla="*/ 69262 h 348450"/>
                <a:gd name="connsiteX1352" fmla="*/ 2087075 w 2663946"/>
                <a:gd name="connsiteY1352" fmla="*/ 69262 h 348450"/>
                <a:gd name="connsiteX1353" fmla="*/ 2087659 w 2663946"/>
                <a:gd name="connsiteY1353" fmla="*/ 69262 h 348450"/>
                <a:gd name="connsiteX1354" fmla="*/ 2088139 w 2663946"/>
                <a:gd name="connsiteY1354" fmla="*/ 64504 h 348450"/>
                <a:gd name="connsiteX1355" fmla="*/ 2112934 w 2663946"/>
                <a:gd name="connsiteY1355" fmla="*/ 44295 h 348450"/>
                <a:gd name="connsiteX1356" fmla="*/ 1854966 w 2663946"/>
                <a:gd name="connsiteY1356" fmla="*/ 44295 h 348450"/>
                <a:gd name="connsiteX1357" fmla="*/ 1879762 w 2663946"/>
                <a:gd name="connsiteY1357" fmla="*/ 64504 h 348450"/>
                <a:gd name="connsiteX1358" fmla="*/ 1880241 w 2663946"/>
                <a:gd name="connsiteY1358" fmla="*/ 69262 h 348450"/>
                <a:gd name="connsiteX1359" fmla="*/ 1881660 w 2663946"/>
                <a:gd name="connsiteY1359" fmla="*/ 69262 h 348450"/>
                <a:gd name="connsiteX1360" fmla="*/ 1888113 w 2663946"/>
                <a:gd name="connsiteY1360" fmla="*/ 75548 h 348450"/>
                <a:gd name="connsiteX1361" fmla="*/ 1888113 w 2663946"/>
                <a:gd name="connsiteY1361" fmla="*/ 125270 h 348450"/>
                <a:gd name="connsiteX1362" fmla="*/ 1881660 w 2663946"/>
                <a:gd name="connsiteY1362" fmla="*/ 131556 h 348450"/>
                <a:gd name="connsiteX1363" fmla="*/ 1828273 w 2663946"/>
                <a:gd name="connsiteY1363" fmla="*/ 131556 h 348450"/>
                <a:gd name="connsiteX1364" fmla="*/ 1821819 w 2663946"/>
                <a:gd name="connsiteY1364" fmla="*/ 125270 h 348450"/>
                <a:gd name="connsiteX1365" fmla="*/ 1821819 w 2663946"/>
                <a:gd name="connsiteY1365" fmla="*/ 75548 h 348450"/>
                <a:gd name="connsiteX1366" fmla="*/ 1828273 w 2663946"/>
                <a:gd name="connsiteY1366" fmla="*/ 69262 h 348450"/>
                <a:gd name="connsiteX1367" fmla="*/ 1829107 w 2663946"/>
                <a:gd name="connsiteY1367" fmla="*/ 69262 h 348450"/>
                <a:gd name="connsiteX1368" fmla="*/ 1829691 w 2663946"/>
                <a:gd name="connsiteY1368" fmla="*/ 69262 h 348450"/>
                <a:gd name="connsiteX1369" fmla="*/ 1830171 w 2663946"/>
                <a:gd name="connsiteY1369" fmla="*/ 64504 h 348450"/>
                <a:gd name="connsiteX1370" fmla="*/ 1854966 w 2663946"/>
                <a:gd name="connsiteY1370" fmla="*/ 44295 h 348450"/>
                <a:gd name="connsiteX1371" fmla="*/ 1764027 w 2663946"/>
                <a:gd name="connsiteY1371" fmla="*/ 44295 h 348450"/>
                <a:gd name="connsiteX1372" fmla="*/ 1788823 w 2663946"/>
                <a:gd name="connsiteY1372" fmla="*/ 64504 h 348450"/>
                <a:gd name="connsiteX1373" fmla="*/ 1789302 w 2663946"/>
                <a:gd name="connsiteY1373" fmla="*/ 69262 h 348450"/>
                <a:gd name="connsiteX1374" fmla="*/ 1790721 w 2663946"/>
                <a:gd name="connsiteY1374" fmla="*/ 69262 h 348450"/>
                <a:gd name="connsiteX1375" fmla="*/ 1797174 w 2663946"/>
                <a:gd name="connsiteY1375" fmla="*/ 75548 h 348450"/>
                <a:gd name="connsiteX1376" fmla="*/ 1797174 w 2663946"/>
                <a:gd name="connsiteY1376" fmla="*/ 125270 h 348450"/>
                <a:gd name="connsiteX1377" fmla="*/ 1790721 w 2663946"/>
                <a:gd name="connsiteY1377" fmla="*/ 131556 h 348450"/>
                <a:gd name="connsiteX1378" fmla="*/ 1737333 w 2663946"/>
                <a:gd name="connsiteY1378" fmla="*/ 131556 h 348450"/>
                <a:gd name="connsiteX1379" fmla="*/ 1730880 w 2663946"/>
                <a:gd name="connsiteY1379" fmla="*/ 125270 h 348450"/>
                <a:gd name="connsiteX1380" fmla="*/ 1730880 w 2663946"/>
                <a:gd name="connsiteY1380" fmla="*/ 75548 h 348450"/>
                <a:gd name="connsiteX1381" fmla="*/ 1737333 w 2663946"/>
                <a:gd name="connsiteY1381" fmla="*/ 69262 h 348450"/>
                <a:gd name="connsiteX1382" fmla="*/ 1738168 w 2663946"/>
                <a:gd name="connsiteY1382" fmla="*/ 69262 h 348450"/>
                <a:gd name="connsiteX1383" fmla="*/ 1738752 w 2663946"/>
                <a:gd name="connsiteY1383" fmla="*/ 69262 h 348450"/>
                <a:gd name="connsiteX1384" fmla="*/ 1739232 w 2663946"/>
                <a:gd name="connsiteY1384" fmla="*/ 64504 h 348450"/>
                <a:gd name="connsiteX1385" fmla="*/ 1764027 w 2663946"/>
                <a:gd name="connsiteY1385" fmla="*/ 44295 h 348450"/>
                <a:gd name="connsiteX1386" fmla="*/ 1506059 w 2663946"/>
                <a:gd name="connsiteY1386" fmla="*/ 44295 h 348450"/>
                <a:gd name="connsiteX1387" fmla="*/ 1530855 w 2663946"/>
                <a:gd name="connsiteY1387" fmla="*/ 64504 h 348450"/>
                <a:gd name="connsiteX1388" fmla="*/ 1531334 w 2663946"/>
                <a:gd name="connsiteY1388" fmla="*/ 69262 h 348450"/>
                <a:gd name="connsiteX1389" fmla="*/ 1532753 w 2663946"/>
                <a:gd name="connsiteY1389" fmla="*/ 69262 h 348450"/>
                <a:gd name="connsiteX1390" fmla="*/ 1539206 w 2663946"/>
                <a:gd name="connsiteY1390" fmla="*/ 75548 h 348450"/>
                <a:gd name="connsiteX1391" fmla="*/ 1539206 w 2663946"/>
                <a:gd name="connsiteY1391" fmla="*/ 125270 h 348450"/>
                <a:gd name="connsiteX1392" fmla="*/ 1532753 w 2663946"/>
                <a:gd name="connsiteY1392" fmla="*/ 131556 h 348450"/>
                <a:gd name="connsiteX1393" fmla="*/ 1479365 w 2663946"/>
                <a:gd name="connsiteY1393" fmla="*/ 131556 h 348450"/>
                <a:gd name="connsiteX1394" fmla="*/ 1472912 w 2663946"/>
                <a:gd name="connsiteY1394" fmla="*/ 125270 h 348450"/>
                <a:gd name="connsiteX1395" fmla="*/ 1472912 w 2663946"/>
                <a:gd name="connsiteY1395" fmla="*/ 75548 h 348450"/>
                <a:gd name="connsiteX1396" fmla="*/ 1479365 w 2663946"/>
                <a:gd name="connsiteY1396" fmla="*/ 69262 h 348450"/>
                <a:gd name="connsiteX1397" fmla="*/ 1480200 w 2663946"/>
                <a:gd name="connsiteY1397" fmla="*/ 69262 h 348450"/>
                <a:gd name="connsiteX1398" fmla="*/ 1480784 w 2663946"/>
                <a:gd name="connsiteY1398" fmla="*/ 69262 h 348450"/>
                <a:gd name="connsiteX1399" fmla="*/ 1481264 w 2663946"/>
                <a:gd name="connsiteY1399" fmla="*/ 64504 h 348450"/>
                <a:gd name="connsiteX1400" fmla="*/ 1506059 w 2663946"/>
                <a:gd name="connsiteY1400" fmla="*/ 44295 h 348450"/>
                <a:gd name="connsiteX1401" fmla="*/ 1415120 w 2663946"/>
                <a:gd name="connsiteY1401" fmla="*/ 44295 h 348450"/>
                <a:gd name="connsiteX1402" fmla="*/ 1439916 w 2663946"/>
                <a:gd name="connsiteY1402" fmla="*/ 64504 h 348450"/>
                <a:gd name="connsiteX1403" fmla="*/ 1440395 w 2663946"/>
                <a:gd name="connsiteY1403" fmla="*/ 69262 h 348450"/>
                <a:gd name="connsiteX1404" fmla="*/ 1441814 w 2663946"/>
                <a:gd name="connsiteY1404" fmla="*/ 69262 h 348450"/>
                <a:gd name="connsiteX1405" fmla="*/ 1448267 w 2663946"/>
                <a:gd name="connsiteY1405" fmla="*/ 75548 h 348450"/>
                <a:gd name="connsiteX1406" fmla="*/ 1448267 w 2663946"/>
                <a:gd name="connsiteY1406" fmla="*/ 125270 h 348450"/>
                <a:gd name="connsiteX1407" fmla="*/ 1441814 w 2663946"/>
                <a:gd name="connsiteY1407" fmla="*/ 131556 h 348450"/>
                <a:gd name="connsiteX1408" fmla="*/ 1388426 w 2663946"/>
                <a:gd name="connsiteY1408" fmla="*/ 131556 h 348450"/>
                <a:gd name="connsiteX1409" fmla="*/ 1381973 w 2663946"/>
                <a:gd name="connsiteY1409" fmla="*/ 125270 h 348450"/>
                <a:gd name="connsiteX1410" fmla="*/ 1381973 w 2663946"/>
                <a:gd name="connsiteY1410" fmla="*/ 75548 h 348450"/>
                <a:gd name="connsiteX1411" fmla="*/ 1388426 w 2663946"/>
                <a:gd name="connsiteY1411" fmla="*/ 69262 h 348450"/>
                <a:gd name="connsiteX1412" fmla="*/ 1389261 w 2663946"/>
                <a:gd name="connsiteY1412" fmla="*/ 69262 h 348450"/>
                <a:gd name="connsiteX1413" fmla="*/ 1389845 w 2663946"/>
                <a:gd name="connsiteY1413" fmla="*/ 69262 h 348450"/>
                <a:gd name="connsiteX1414" fmla="*/ 1390325 w 2663946"/>
                <a:gd name="connsiteY1414" fmla="*/ 64504 h 348450"/>
                <a:gd name="connsiteX1415" fmla="*/ 1415120 w 2663946"/>
                <a:gd name="connsiteY1415" fmla="*/ 44295 h 348450"/>
                <a:gd name="connsiteX1416" fmla="*/ 1157152 w 2663946"/>
                <a:gd name="connsiteY1416" fmla="*/ 44295 h 348450"/>
                <a:gd name="connsiteX1417" fmla="*/ 1181948 w 2663946"/>
                <a:gd name="connsiteY1417" fmla="*/ 64504 h 348450"/>
                <a:gd name="connsiteX1418" fmla="*/ 1182427 w 2663946"/>
                <a:gd name="connsiteY1418" fmla="*/ 69262 h 348450"/>
                <a:gd name="connsiteX1419" fmla="*/ 1183846 w 2663946"/>
                <a:gd name="connsiteY1419" fmla="*/ 69262 h 348450"/>
                <a:gd name="connsiteX1420" fmla="*/ 1190299 w 2663946"/>
                <a:gd name="connsiteY1420" fmla="*/ 75548 h 348450"/>
                <a:gd name="connsiteX1421" fmla="*/ 1190299 w 2663946"/>
                <a:gd name="connsiteY1421" fmla="*/ 125270 h 348450"/>
                <a:gd name="connsiteX1422" fmla="*/ 1183846 w 2663946"/>
                <a:gd name="connsiteY1422" fmla="*/ 131556 h 348450"/>
                <a:gd name="connsiteX1423" fmla="*/ 1130458 w 2663946"/>
                <a:gd name="connsiteY1423" fmla="*/ 131556 h 348450"/>
                <a:gd name="connsiteX1424" fmla="*/ 1124005 w 2663946"/>
                <a:gd name="connsiteY1424" fmla="*/ 125270 h 348450"/>
                <a:gd name="connsiteX1425" fmla="*/ 1124005 w 2663946"/>
                <a:gd name="connsiteY1425" fmla="*/ 75548 h 348450"/>
                <a:gd name="connsiteX1426" fmla="*/ 1130458 w 2663946"/>
                <a:gd name="connsiteY1426" fmla="*/ 69262 h 348450"/>
                <a:gd name="connsiteX1427" fmla="*/ 1131293 w 2663946"/>
                <a:gd name="connsiteY1427" fmla="*/ 69262 h 348450"/>
                <a:gd name="connsiteX1428" fmla="*/ 1131877 w 2663946"/>
                <a:gd name="connsiteY1428" fmla="*/ 69262 h 348450"/>
                <a:gd name="connsiteX1429" fmla="*/ 1132357 w 2663946"/>
                <a:gd name="connsiteY1429" fmla="*/ 64504 h 348450"/>
                <a:gd name="connsiteX1430" fmla="*/ 1157152 w 2663946"/>
                <a:gd name="connsiteY1430" fmla="*/ 44295 h 348450"/>
                <a:gd name="connsiteX1431" fmla="*/ 732156 w 2663946"/>
                <a:gd name="connsiteY1431" fmla="*/ 44295 h 348450"/>
                <a:gd name="connsiteX1432" fmla="*/ 756951 w 2663946"/>
                <a:gd name="connsiteY1432" fmla="*/ 64504 h 348450"/>
                <a:gd name="connsiteX1433" fmla="*/ 757431 w 2663946"/>
                <a:gd name="connsiteY1433" fmla="*/ 69262 h 348450"/>
                <a:gd name="connsiteX1434" fmla="*/ 758849 w 2663946"/>
                <a:gd name="connsiteY1434" fmla="*/ 69262 h 348450"/>
                <a:gd name="connsiteX1435" fmla="*/ 765303 w 2663946"/>
                <a:gd name="connsiteY1435" fmla="*/ 75548 h 348450"/>
                <a:gd name="connsiteX1436" fmla="*/ 765303 w 2663946"/>
                <a:gd name="connsiteY1436" fmla="*/ 125270 h 348450"/>
                <a:gd name="connsiteX1437" fmla="*/ 758849 w 2663946"/>
                <a:gd name="connsiteY1437" fmla="*/ 131556 h 348450"/>
                <a:gd name="connsiteX1438" fmla="*/ 705462 w 2663946"/>
                <a:gd name="connsiteY1438" fmla="*/ 131556 h 348450"/>
                <a:gd name="connsiteX1439" fmla="*/ 699009 w 2663946"/>
                <a:gd name="connsiteY1439" fmla="*/ 125270 h 348450"/>
                <a:gd name="connsiteX1440" fmla="*/ 699009 w 2663946"/>
                <a:gd name="connsiteY1440" fmla="*/ 75548 h 348450"/>
                <a:gd name="connsiteX1441" fmla="*/ 705462 w 2663946"/>
                <a:gd name="connsiteY1441" fmla="*/ 69262 h 348450"/>
                <a:gd name="connsiteX1442" fmla="*/ 706296 w 2663946"/>
                <a:gd name="connsiteY1442" fmla="*/ 69262 h 348450"/>
                <a:gd name="connsiteX1443" fmla="*/ 706881 w 2663946"/>
                <a:gd name="connsiteY1443" fmla="*/ 69262 h 348450"/>
                <a:gd name="connsiteX1444" fmla="*/ 707360 w 2663946"/>
                <a:gd name="connsiteY1444" fmla="*/ 64504 h 348450"/>
                <a:gd name="connsiteX1445" fmla="*/ 732156 w 2663946"/>
                <a:gd name="connsiteY1445" fmla="*/ 44295 h 348450"/>
                <a:gd name="connsiteX1446" fmla="*/ 641217 w 2663946"/>
                <a:gd name="connsiteY1446" fmla="*/ 44295 h 348450"/>
                <a:gd name="connsiteX1447" fmla="*/ 666012 w 2663946"/>
                <a:gd name="connsiteY1447" fmla="*/ 64504 h 348450"/>
                <a:gd name="connsiteX1448" fmla="*/ 666492 w 2663946"/>
                <a:gd name="connsiteY1448" fmla="*/ 69262 h 348450"/>
                <a:gd name="connsiteX1449" fmla="*/ 667910 w 2663946"/>
                <a:gd name="connsiteY1449" fmla="*/ 69262 h 348450"/>
                <a:gd name="connsiteX1450" fmla="*/ 674364 w 2663946"/>
                <a:gd name="connsiteY1450" fmla="*/ 75548 h 348450"/>
                <a:gd name="connsiteX1451" fmla="*/ 674364 w 2663946"/>
                <a:gd name="connsiteY1451" fmla="*/ 125270 h 348450"/>
                <a:gd name="connsiteX1452" fmla="*/ 667910 w 2663946"/>
                <a:gd name="connsiteY1452" fmla="*/ 131556 h 348450"/>
                <a:gd name="connsiteX1453" fmla="*/ 614523 w 2663946"/>
                <a:gd name="connsiteY1453" fmla="*/ 131556 h 348450"/>
                <a:gd name="connsiteX1454" fmla="*/ 608070 w 2663946"/>
                <a:gd name="connsiteY1454" fmla="*/ 125270 h 348450"/>
                <a:gd name="connsiteX1455" fmla="*/ 608070 w 2663946"/>
                <a:gd name="connsiteY1455" fmla="*/ 75548 h 348450"/>
                <a:gd name="connsiteX1456" fmla="*/ 614523 w 2663946"/>
                <a:gd name="connsiteY1456" fmla="*/ 69262 h 348450"/>
                <a:gd name="connsiteX1457" fmla="*/ 615358 w 2663946"/>
                <a:gd name="connsiteY1457" fmla="*/ 69262 h 348450"/>
                <a:gd name="connsiteX1458" fmla="*/ 615942 w 2663946"/>
                <a:gd name="connsiteY1458" fmla="*/ 69262 h 348450"/>
                <a:gd name="connsiteX1459" fmla="*/ 616422 w 2663946"/>
                <a:gd name="connsiteY1459" fmla="*/ 64504 h 348450"/>
                <a:gd name="connsiteX1460" fmla="*/ 641217 w 2663946"/>
                <a:gd name="connsiteY1460" fmla="*/ 44295 h 348450"/>
                <a:gd name="connsiteX1461" fmla="*/ 459266 w 2663946"/>
                <a:gd name="connsiteY1461" fmla="*/ 44295 h 348450"/>
                <a:gd name="connsiteX1462" fmla="*/ 484061 w 2663946"/>
                <a:gd name="connsiteY1462" fmla="*/ 64504 h 348450"/>
                <a:gd name="connsiteX1463" fmla="*/ 484541 w 2663946"/>
                <a:gd name="connsiteY1463" fmla="*/ 69262 h 348450"/>
                <a:gd name="connsiteX1464" fmla="*/ 485959 w 2663946"/>
                <a:gd name="connsiteY1464" fmla="*/ 69262 h 348450"/>
                <a:gd name="connsiteX1465" fmla="*/ 492413 w 2663946"/>
                <a:gd name="connsiteY1465" fmla="*/ 75548 h 348450"/>
                <a:gd name="connsiteX1466" fmla="*/ 492413 w 2663946"/>
                <a:gd name="connsiteY1466" fmla="*/ 125270 h 348450"/>
                <a:gd name="connsiteX1467" fmla="*/ 485959 w 2663946"/>
                <a:gd name="connsiteY1467" fmla="*/ 131556 h 348450"/>
                <a:gd name="connsiteX1468" fmla="*/ 432572 w 2663946"/>
                <a:gd name="connsiteY1468" fmla="*/ 131556 h 348450"/>
                <a:gd name="connsiteX1469" fmla="*/ 426119 w 2663946"/>
                <a:gd name="connsiteY1469" fmla="*/ 125270 h 348450"/>
                <a:gd name="connsiteX1470" fmla="*/ 426119 w 2663946"/>
                <a:gd name="connsiteY1470" fmla="*/ 75548 h 348450"/>
                <a:gd name="connsiteX1471" fmla="*/ 432572 w 2663946"/>
                <a:gd name="connsiteY1471" fmla="*/ 69262 h 348450"/>
                <a:gd name="connsiteX1472" fmla="*/ 433406 w 2663946"/>
                <a:gd name="connsiteY1472" fmla="*/ 69262 h 348450"/>
                <a:gd name="connsiteX1473" fmla="*/ 433991 w 2663946"/>
                <a:gd name="connsiteY1473" fmla="*/ 69262 h 348450"/>
                <a:gd name="connsiteX1474" fmla="*/ 434470 w 2663946"/>
                <a:gd name="connsiteY1474" fmla="*/ 64504 h 348450"/>
                <a:gd name="connsiteX1475" fmla="*/ 459266 w 2663946"/>
                <a:gd name="connsiteY1475" fmla="*/ 44295 h 348450"/>
                <a:gd name="connsiteX1476" fmla="*/ 10068 w 2663946"/>
                <a:gd name="connsiteY1476" fmla="*/ 3092 h 348450"/>
                <a:gd name="connsiteX1477" fmla="*/ 40350 w 2663946"/>
                <a:gd name="connsiteY1477" fmla="*/ 118 h 348450"/>
                <a:gd name="connsiteX1478" fmla="*/ 40891 w 2663946"/>
                <a:gd name="connsiteY1478" fmla="*/ 658 h 348450"/>
                <a:gd name="connsiteX1479" fmla="*/ 48191 w 2663946"/>
                <a:gd name="connsiteY1479" fmla="*/ 658 h 348450"/>
                <a:gd name="connsiteX1480" fmla="*/ 52247 w 2663946"/>
                <a:gd name="connsiteY1480" fmla="*/ 1740 h 348450"/>
                <a:gd name="connsiteX1481" fmla="*/ 56032 w 2663946"/>
                <a:gd name="connsiteY1481" fmla="*/ 8499 h 348450"/>
                <a:gd name="connsiteX1482" fmla="*/ 53328 w 2663946"/>
                <a:gd name="connsiteY1482" fmla="*/ 14177 h 348450"/>
                <a:gd name="connsiteX1483" fmla="*/ 49273 w 2663946"/>
                <a:gd name="connsiteY1483" fmla="*/ 16070 h 348450"/>
                <a:gd name="connsiteX1484" fmla="*/ 49002 w 2663946"/>
                <a:gd name="connsiteY1484" fmla="*/ 16070 h 348450"/>
                <a:gd name="connsiteX1485" fmla="*/ 48732 w 2663946"/>
                <a:gd name="connsiteY1485" fmla="*/ 16070 h 348450"/>
                <a:gd name="connsiteX1486" fmla="*/ 48191 w 2663946"/>
                <a:gd name="connsiteY1486" fmla="*/ 16070 h 348450"/>
                <a:gd name="connsiteX1487" fmla="*/ 16016 w 2663946"/>
                <a:gd name="connsiteY1487" fmla="*/ 16070 h 348450"/>
                <a:gd name="connsiteX1488" fmla="*/ 15475 w 2663946"/>
                <a:gd name="connsiteY1488" fmla="*/ 16070 h 348450"/>
                <a:gd name="connsiteX1489" fmla="*/ 14664 w 2663946"/>
                <a:gd name="connsiteY1489" fmla="*/ 16070 h 348450"/>
                <a:gd name="connsiteX1490" fmla="*/ 13853 w 2663946"/>
                <a:gd name="connsiteY1490" fmla="*/ 15800 h 348450"/>
                <a:gd name="connsiteX1491" fmla="*/ 10338 w 2663946"/>
                <a:gd name="connsiteY1491" fmla="*/ 13907 h 348450"/>
                <a:gd name="connsiteX1492" fmla="*/ 7905 w 2663946"/>
                <a:gd name="connsiteY1492" fmla="*/ 8229 h 348450"/>
                <a:gd name="connsiteX1493" fmla="*/ 10068 w 2663946"/>
                <a:gd name="connsiteY1493" fmla="*/ 3092 h 348450"/>
                <a:gd name="connsiteX0" fmla="*/ 2632966 w 2663946"/>
                <a:gd name="connsiteY0" fmla="*/ 287701 h 348807"/>
                <a:gd name="connsiteX1" fmla="*/ 2621414 w 2663946"/>
                <a:gd name="connsiteY1" fmla="*/ 290134 h 348807"/>
                <a:gd name="connsiteX2" fmla="*/ 2618218 w 2663946"/>
                <a:gd name="connsiteY2" fmla="*/ 293649 h 348807"/>
                <a:gd name="connsiteX3" fmla="*/ 2616006 w 2663946"/>
                <a:gd name="connsiteY3" fmla="*/ 297434 h 348807"/>
                <a:gd name="connsiteX4" fmla="*/ 2615023 w 2663946"/>
                <a:gd name="connsiteY4" fmla="*/ 300138 h 348807"/>
                <a:gd name="connsiteX5" fmla="*/ 2614039 w 2663946"/>
                <a:gd name="connsiteY5" fmla="*/ 304194 h 348807"/>
                <a:gd name="connsiteX6" fmla="*/ 2613056 w 2663946"/>
                <a:gd name="connsiteY6" fmla="*/ 311224 h 348807"/>
                <a:gd name="connsiteX7" fmla="*/ 2614039 w 2663946"/>
                <a:gd name="connsiteY7" fmla="*/ 318524 h 348807"/>
                <a:gd name="connsiteX8" fmla="*/ 2615269 w 2663946"/>
                <a:gd name="connsiteY8" fmla="*/ 322309 h 348807"/>
                <a:gd name="connsiteX9" fmla="*/ 2617481 w 2663946"/>
                <a:gd name="connsiteY9" fmla="*/ 326635 h 348807"/>
                <a:gd name="connsiteX10" fmla="*/ 2620922 w 2663946"/>
                <a:gd name="connsiteY10" fmla="*/ 330962 h 348807"/>
                <a:gd name="connsiteX11" fmla="*/ 2625346 w 2663946"/>
                <a:gd name="connsiteY11" fmla="*/ 333665 h 348807"/>
                <a:gd name="connsiteX12" fmla="*/ 2637637 w 2663946"/>
                <a:gd name="connsiteY12" fmla="*/ 331232 h 348807"/>
                <a:gd name="connsiteX13" fmla="*/ 2640832 w 2663946"/>
                <a:gd name="connsiteY13" fmla="*/ 327717 h 348807"/>
                <a:gd name="connsiteX14" fmla="*/ 2643290 w 2663946"/>
                <a:gd name="connsiteY14" fmla="*/ 323391 h 348807"/>
                <a:gd name="connsiteX15" fmla="*/ 2644273 w 2663946"/>
                <a:gd name="connsiteY15" fmla="*/ 321228 h 348807"/>
                <a:gd name="connsiteX16" fmla="*/ 2645502 w 2663946"/>
                <a:gd name="connsiteY16" fmla="*/ 316902 h 348807"/>
                <a:gd name="connsiteX17" fmla="*/ 2645011 w 2663946"/>
                <a:gd name="connsiteY17" fmla="*/ 303112 h 348807"/>
                <a:gd name="connsiteX18" fmla="*/ 2644027 w 2663946"/>
                <a:gd name="connsiteY18" fmla="*/ 300138 h 348807"/>
                <a:gd name="connsiteX19" fmla="*/ 2642799 w 2663946"/>
                <a:gd name="connsiteY19" fmla="*/ 297164 h 348807"/>
                <a:gd name="connsiteX20" fmla="*/ 2640586 w 2663946"/>
                <a:gd name="connsiteY20" fmla="*/ 293649 h 348807"/>
                <a:gd name="connsiteX21" fmla="*/ 2636899 w 2663946"/>
                <a:gd name="connsiteY21" fmla="*/ 289864 h 348807"/>
                <a:gd name="connsiteX22" fmla="*/ 2632966 w 2663946"/>
                <a:gd name="connsiteY22" fmla="*/ 287701 h 348807"/>
                <a:gd name="connsiteX23" fmla="*/ 2627559 w 2663946"/>
                <a:gd name="connsiteY23" fmla="*/ 271748 h 348807"/>
                <a:gd name="connsiteX24" fmla="*/ 2639849 w 2663946"/>
                <a:gd name="connsiteY24" fmla="*/ 273911 h 348807"/>
                <a:gd name="connsiteX25" fmla="*/ 2647223 w 2663946"/>
                <a:gd name="connsiteY25" fmla="*/ 278508 h 348807"/>
                <a:gd name="connsiteX26" fmla="*/ 2650664 w 2663946"/>
                <a:gd name="connsiteY26" fmla="*/ 281752 h 348807"/>
                <a:gd name="connsiteX27" fmla="*/ 2654106 w 2663946"/>
                <a:gd name="connsiteY27" fmla="*/ 286078 h 348807"/>
                <a:gd name="connsiteX28" fmla="*/ 2656072 w 2663946"/>
                <a:gd name="connsiteY28" fmla="*/ 289593 h 348807"/>
                <a:gd name="connsiteX29" fmla="*/ 2658284 w 2663946"/>
                <a:gd name="connsiteY29" fmla="*/ 295001 h 348807"/>
                <a:gd name="connsiteX30" fmla="*/ 2659267 w 2663946"/>
                <a:gd name="connsiteY30" fmla="*/ 298516 h 348807"/>
                <a:gd name="connsiteX31" fmla="*/ 2660251 w 2663946"/>
                <a:gd name="connsiteY31" fmla="*/ 303653 h 348807"/>
                <a:gd name="connsiteX32" fmla="*/ 2660005 w 2663946"/>
                <a:gd name="connsiteY32" fmla="*/ 317983 h 348807"/>
                <a:gd name="connsiteX33" fmla="*/ 2659022 w 2663946"/>
                <a:gd name="connsiteY33" fmla="*/ 322850 h 348807"/>
                <a:gd name="connsiteX34" fmla="*/ 2657792 w 2663946"/>
                <a:gd name="connsiteY34" fmla="*/ 326635 h 348807"/>
                <a:gd name="connsiteX35" fmla="*/ 2656809 w 2663946"/>
                <a:gd name="connsiteY35" fmla="*/ 329069 h 348807"/>
                <a:gd name="connsiteX36" fmla="*/ 2654597 w 2663946"/>
                <a:gd name="connsiteY36" fmla="*/ 333395 h 348807"/>
                <a:gd name="connsiteX37" fmla="*/ 2652385 w 2663946"/>
                <a:gd name="connsiteY37" fmla="*/ 336639 h 348807"/>
                <a:gd name="connsiteX38" fmla="*/ 2648944 w 2663946"/>
                <a:gd name="connsiteY38" fmla="*/ 340425 h 348807"/>
                <a:gd name="connsiteX39" fmla="*/ 2645748 w 2663946"/>
                <a:gd name="connsiteY39" fmla="*/ 343128 h 348807"/>
                <a:gd name="connsiteX40" fmla="*/ 2640095 w 2663946"/>
                <a:gd name="connsiteY40" fmla="*/ 346373 h 348807"/>
                <a:gd name="connsiteX41" fmla="*/ 2632229 w 2663946"/>
                <a:gd name="connsiteY41" fmla="*/ 348536 h 348807"/>
                <a:gd name="connsiteX42" fmla="*/ 2631000 w 2663946"/>
                <a:gd name="connsiteY42" fmla="*/ 348807 h 348807"/>
                <a:gd name="connsiteX43" fmla="*/ 2626821 w 2663946"/>
                <a:gd name="connsiteY43" fmla="*/ 348807 h 348807"/>
                <a:gd name="connsiteX44" fmla="*/ 2626576 w 2663946"/>
                <a:gd name="connsiteY44" fmla="*/ 348807 h 348807"/>
                <a:gd name="connsiteX45" fmla="*/ 2613548 w 2663946"/>
                <a:gd name="connsiteY45" fmla="*/ 343940 h 348807"/>
                <a:gd name="connsiteX46" fmla="*/ 2608878 w 2663946"/>
                <a:gd name="connsiteY46" fmla="*/ 339884 h 348807"/>
                <a:gd name="connsiteX47" fmla="*/ 2605682 w 2663946"/>
                <a:gd name="connsiteY47" fmla="*/ 336099 h 348807"/>
                <a:gd name="connsiteX48" fmla="*/ 2603470 w 2663946"/>
                <a:gd name="connsiteY48" fmla="*/ 332584 h 348807"/>
                <a:gd name="connsiteX49" fmla="*/ 2601258 w 2663946"/>
                <a:gd name="connsiteY49" fmla="*/ 328258 h 348807"/>
                <a:gd name="connsiteX50" fmla="*/ 2600029 w 2663946"/>
                <a:gd name="connsiteY50" fmla="*/ 325283 h 348807"/>
                <a:gd name="connsiteX51" fmla="*/ 2599046 w 2663946"/>
                <a:gd name="connsiteY51" fmla="*/ 322039 h 348807"/>
                <a:gd name="connsiteX52" fmla="*/ 2597816 w 2663946"/>
                <a:gd name="connsiteY52" fmla="*/ 316361 h 348807"/>
                <a:gd name="connsiteX53" fmla="*/ 2597571 w 2663946"/>
                <a:gd name="connsiteY53" fmla="*/ 313387 h 348807"/>
                <a:gd name="connsiteX54" fmla="*/ 2597816 w 2663946"/>
                <a:gd name="connsiteY54" fmla="*/ 313657 h 348807"/>
                <a:gd name="connsiteX55" fmla="*/ 2597816 w 2663946"/>
                <a:gd name="connsiteY55" fmla="*/ 307979 h 348807"/>
                <a:gd name="connsiteX56" fmla="*/ 2597816 w 2663946"/>
                <a:gd name="connsiteY56" fmla="*/ 307709 h 348807"/>
                <a:gd name="connsiteX57" fmla="*/ 2598308 w 2663946"/>
                <a:gd name="connsiteY57" fmla="*/ 303112 h 348807"/>
                <a:gd name="connsiteX58" fmla="*/ 2599537 w 2663946"/>
                <a:gd name="connsiteY58" fmla="*/ 297705 h 348807"/>
                <a:gd name="connsiteX59" fmla="*/ 2600520 w 2663946"/>
                <a:gd name="connsiteY59" fmla="*/ 294460 h 348807"/>
                <a:gd name="connsiteX60" fmla="*/ 2602732 w 2663946"/>
                <a:gd name="connsiteY60" fmla="*/ 289323 h 348807"/>
                <a:gd name="connsiteX61" fmla="*/ 2604945 w 2663946"/>
                <a:gd name="connsiteY61" fmla="*/ 285538 h 348807"/>
                <a:gd name="connsiteX62" fmla="*/ 2607157 w 2663946"/>
                <a:gd name="connsiteY62" fmla="*/ 282563 h 348807"/>
                <a:gd name="connsiteX63" fmla="*/ 2609369 w 2663946"/>
                <a:gd name="connsiteY63" fmla="*/ 280130 h 348807"/>
                <a:gd name="connsiteX64" fmla="*/ 2614039 w 2663946"/>
                <a:gd name="connsiteY64" fmla="*/ 276345 h 348807"/>
                <a:gd name="connsiteX65" fmla="*/ 2617972 w 2663946"/>
                <a:gd name="connsiteY65" fmla="*/ 274182 h 348807"/>
                <a:gd name="connsiteX66" fmla="*/ 2627559 w 2663946"/>
                <a:gd name="connsiteY66" fmla="*/ 271748 h 348807"/>
                <a:gd name="connsiteX67" fmla="*/ 2631061 w 2663946"/>
                <a:gd name="connsiteY67" fmla="*/ 207838 h 348807"/>
                <a:gd name="connsiteX68" fmla="*/ 2621591 w 2663946"/>
                <a:gd name="connsiteY68" fmla="*/ 217112 h 348807"/>
                <a:gd name="connsiteX69" fmla="*/ 2626545 w 2663946"/>
                <a:gd name="connsiteY69" fmla="*/ 225269 h 348807"/>
                <a:gd name="connsiteX70" fmla="*/ 2626545 w 2663946"/>
                <a:gd name="connsiteY70" fmla="*/ 233664 h 348807"/>
                <a:gd name="connsiteX71" fmla="*/ 2631061 w 2663946"/>
                <a:gd name="connsiteY71" fmla="*/ 238087 h 348807"/>
                <a:gd name="connsiteX72" fmla="*/ 2635578 w 2663946"/>
                <a:gd name="connsiteY72" fmla="*/ 233664 h 348807"/>
                <a:gd name="connsiteX73" fmla="*/ 2635578 w 2663946"/>
                <a:gd name="connsiteY73" fmla="*/ 225269 h 348807"/>
                <a:gd name="connsiteX74" fmla="*/ 2640532 w 2663946"/>
                <a:gd name="connsiteY74" fmla="*/ 217112 h 348807"/>
                <a:gd name="connsiteX75" fmla="*/ 2631061 w 2663946"/>
                <a:gd name="connsiteY75" fmla="*/ 207838 h 348807"/>
                <a:gd name="connsiteX76" fmla="*/ 2630799 w 2663946"/>
                <a:gd name="connsiteY76" fmla="*/ 169121 h 348807"/>
                <a:gd name="connsiteX77" fmla="*/ 2619139 w 2663946"/>
                <a:gd name="connsiteY77" fmla="*/ 176850 h 348807"/>
                <a:gd name="connsiteX78" fmla="*/ 2618214 w 2663946"/>
                <a:gd name="connsiteY78" fmla="*/ 181433 h 348807"/>
                <a:gd name="connsiteX79" fmla="*/ 2621454 w 2663946"/>
                <a:gd name="connsiteY79" fmla="*/ 181433 h 348807"/>
                <a:gd name="connsiteX80" fmla="*/ 2639871 w 2663946"/>
                <a:gd name="connsiteY80" fmla="*/ 181433 h 348807"/>
                <a:gd name="connsiteX81" fmla="*/ 2643385 w 2663946"/>
                <a:gd name="connsiteY81" fmla="*/ 181433 h 348807"/>
                <a:gd name="connsiteX82" fmla="*/ 2642460 w 2663946"/>
                <a:gd name="connsiteY82" fmla="*/ 176850 h 348807"/>
                <a:gd name="connsiteX83" fmla="*/ 2630799 w 2663946"/>
                <a:gd name="connsiteY83" fmla="*/ 169121 h 348807"/>
                <a:gd name="connsiteX84" fmla="*/ 2630799 w 2663946"/>
                <a:gd name="connsiteY84" fmla="*/ 156466 h 348807"/>
                <a:gd name="connsiteX85" fmla="*/ 2655595 w 2663946"/>
                <a:gd name="connsiteY85" fmla="*/ 176675 h 348807"/>
                <a:gd name="connsiteX86" fmla="*/ 2656074 w 2663946"/>
                <a:gd name="connsiteY86" fmla="*/ 181433 h 348807"/>
                <a:gd name="connsiteX87" fmla="*/ 2657493 w 2663946"/>
                <a:gd name="connsiteY87" fmla="*/ 181433 h 348807"/>
                <a:gd name="connsiteX88" fmla="*/ 2663946 w 2663946"/>
                <a:gd name="connsiteY88" fmla="*/ 187719 h 348807"/>
                <a:gd name="connsiteX89" fmla="*/ 2663946 w 2663946"/>
                <a:gd name="connsiteY89" fmla="*/ 237441 h 348807"/>
                <a:gd name="connsiteX90" fmla="*/ 2657493 w 2663946"/>
                <a:gd name="connsiteY90" fmla="*/ 243727 h 348807"/>
                <a:gd name="connsiteX91" fmla="*/ 2604106 w 2663946"/>
                <a:gd name="connsiteY91" fmla="*/ 243727 h 348807"/>
                <a:gd name="connsiteX92" fmla="*/ 2597652 w 2663946"/>
                <a:gd name="connsiteY92" fmla="*/ 237441 h 348807"/>
                <a:gd name="connsiteX93" fmla="*/ 2597652 w 2663946"/>
                <a:gd name="connsiteY93" fmla="*/ 187719 h 348807"/>
                <a:gd name="connsiteX94" fmla="*/ 2604106 w 2663946"/>
                <a:gd name="connsiteY94" fmla="*/ 181433 h 348807"/>
                <a:gd name="connsiteX95" fmla="*/ 2604940 w 2663946"/>
                <a:gd name="connsiteY95" fmla="*/ 181433 h 348807"/>
                <a:gd name="connsiteX96" fmla="*/ 2605524 w 2663946"/>
                <a:gd name="connsiteY96" fmla="*/ 181433 h 348807"/>
                <a:gd name="connsiteX97" fmla="*/ 2606004 w 2663946"/>
                <a:gd name="connsiteY97" fmla="*/ 176675 h 348807"/>
                <a:gd name="connsiteX98" fmla="*/ 2630799 w 2663946"/>
                <a:gd name="connsiteY98" fmla="*/ 156466 h 348807"/>
                <a:gd name="connsiteX99" fmla="*/ 33409 w 2663946"/>
                <a:gd name="connsiteY99" fmla="*/ 103612 h 348807"/>
                <a:gd name="connsiteX100" fmla="*/ 23938 w 2663946"/>
                <a:gd name="connsiteY100" fmla="*/ 112886 h 348807"/>
                <a:gd name="connsiteX101" fmla="*/ 28892 w 2663946"/>
                <a:gd name="connsiteY101" fmla="*/ 121043 h 348807"/>
                <a:gd name="connsiteX102" fmla="*/ 28892 w 2663946"/>
                <a:gd name="connsiteY102" fmla="*/ 129438 h 348807"/>
                <a:gd name="connsiteX103" fmla="*/ 33409 w 2663946"/>
                <a:gd name="connsiteY103" fmla="*/ 133861 h 348807"/>
                <a:gd name="connsiteX104" fmla="*/ 37926 w 2663946"/>
                <a:gd name="connsiteY104" fmla="*/ 129438 h 348807"/>
                <a:gd name="connsiteX105" fmla="*/ 37926 w 2663946"/>
                <a:gd name="connsiteY105" fmla="*/ 121043 h 348807"/>
                <a:gd name="connsiteX106" fmla="*/ 42880 w 2663946"/>
                <a:gd name="connsiteY106" fmla="*/ 112886 h 348807"/>
                <a:gd name="connsiteX107" fmla="*/ 33409 w 2663946"/>
                <a:gd name="connsiteY107" fmla="*/ 103612 h 348807"/>
                <a:gd name="connsiteX108" fmla="*/ 2538193 w 2663946"/>
                <a:gd name="connsiteY108" fmla="*/ 96024 h 348807"/>
                <a:gd name="connsiteX109" fmla="*/ 2528723 w 2663946"/>
                <a:gd name="connsiteY109" fmla="*/ 105298 h 348807"/>
                <a:gd name="connsiteX110" fmla="*/ 2533677 w 2663946"/>
                <a:gd name="connsiteY110" fmla="*/ 113455 h 348807"/>
                <a:gd name="connsiteX111" fmla="*/ 2533677 w 2663946"/>
                <a:gd name="connsiteY111" fmla="*/ 121850 h 348807"/>
                <a:gd name="connsiteX112" fmla="*/ 2538193 w 2663946"/>
                <a:gd name="connsiteY112" fmla="*/ 126273 h 348807"/>
                <a:gd name="connsiteX113" fmla="*/ 2542710 w 2663946"/>
                <a:gd name="connsiteY113" fmla="*/ 121850 h 348807"/>
                <a:gd name="connsiteX114" fmla="*/ 2542710 w 2663946"/>
                <a:gd name="connsiteY114" fmla="*/ 113455 h 348807"/>
                <a:gd name="connsiteX115" fmla="*/ 2547664 w 2663946"/>
                <a:gd name="connsiteY115" fmla="*/ 105298 h 348807"/>
                <a:gd name="connsiteX116" fmla="*/ 2538193 w 2663946"/>
                <a:gd name="connsiteY116" fmla="*/ 96024 h 348807"/>
                <a:gd name="connsiteX117" fmla="*/ 2113196 w 2663946"/>
                <a:gd name="connsiteY117" fmla="*/ 96024 h 348807"/>
                <a:gd name="connsiteX118" fmla="*/ 2103726 w 2663946"/>
                <a:gd name="connsiteY118" fmla="*/ 105298 h 348807"/>
                <a:gd name="connsiteX119" fmla="*/ 2108680 w 2663946"/>
                <a:gd name="connsiteY119" fmla="*/ 113455 h 348807"/>
                <a:gd name="connsiteX120" fmla="*/ 2108680 w 2663946"/>
                <a:gd name="connsiteY120" fmla="*/ 121850 h 348807"/>
                <a:gd name="connsiteX121" fmla="*/ 2113196 w 2663946"/>
                <a:gd name="connsiteY121" fmla="*/ 126273 h 348807"/>
                <a:gd name="connsiteX122" fmla="*/ 2117713 w 2663946"/>
                <a:gd name="connsiteY122" fmla="*/ 121850 h 348807"/>
                <a:gd name="connsiteX123" fmla="*/ 2117713 w 2663946"/>
                <a:gd name="connsiteY123" fmla="*/ 113455 h 348807"/>
                <a:gd name="connsiteX124" fmla="*/ 2122667 w 2663946"/>
                <a:gd name="connsiteY124" fmla="*/ 105298 h 348807"/>
                <a:gd name="connsiteX125" fmla="*/ 2113196 w 2663946"/>
                <a:gd name="connsiteY125" fmla="*/ 96024 h 348807"/>
                <a:gd name="connsiteX126" fmla="*/ 1855228 w 2663946"/>
                <a:gd name="connsiteY126" fmla="*/ 96024 h 348807"/>
                <a:gd name="connsiteX127" fmla="*/ 1845758 w 2663946"/>
                <a:gd name="connsiteY127" fmla="*/ 105298 h 348807"/>
                <a:gd name="connsiteX128" fmla="*/ 1850712 w 2663946"/>
                <a:gd name="connsiteY128" fmla="*/ 113455 h 348807"/>
                <a:gd name="connsiteX129" fmla="*/ 1850712 w 2663946"/>
                <a:gd name="connsiteY129" fmla="*/ 121850 h 348807"/>
                <a:gd name="connsiteX130" fmla="*/ 1855228 w 2663946"/>
                <a:gd name="connsiteY130" fmla="*/ 126273 h 348807"/>
                <a:gd name="connsiteX131" fmla="*/ 1859745 w 2663946"/>
                <a:gd name="connsiteY131" fmla="*/ 121850 h 348807"/>
                <a:gd name="connsiteX132" fmla="*/ 1859745 w 2663946"/>
                <a:gd name="connsiteY132" fmla="*/ 113455 h 348807"/>
                <a:gd name="connsiteX133" fmla="*/ 1864699 w 2663946"/>
                <a:gd name="connsiteY133" fmla="*/ 105298 h 348807"/>
                <a:gd name="connsiteX134" fmla="*/ 1855228 w 2663946"/>
                <a:gd name="connsiteY134" fmla="*/ 96024 h 348807"/>
                <a:gd name="connsiteX135" fmla="*/ 1764289 w 2663946"/>
                <a:gd name="connsiteY135" fmla="*/ 96024 h 348807"/>
                <a:gd name="connsiteX136" fmla="*/ 1754819 w 2663946"/>
                <a:gd name="connsiteY136" fmla="*/ 105298 h 348807"/>
                <a:gd name="connsiteX137" fmla="*/ 1759773 w 2663946"/>
                <a:gd name="connsiteY137" fmla="*/ 113455 h 348807"/>
                <a:gd name="connsiteX138" fmla="*/ 1759773 w 2663946"/>
                <a:gd name="connsiteY138" fmla="*/ 121850 h 348807"/>
                <a:gd name="connsiteX139" fmla="*/ 1764289 w 2663946"/>
                <a:gd name="connsiteY139" fmla="*/ 126273 h 348807"/>
                <a:gd name="connsiteX140" fmla="*/ 1768806 w 2663946"/>
                <a:gd name="connsiteY140" fmla="*/ 121850 h 348807"/>
                <a:gd name="connsiteX141" fmla="*/ 1768806 w 2663946"/>
                <a:gd name="connsiteY141" fmla="*/ 113455 h 348807"/>
                <a:gd name="connsiteX142" fmla="*/ 1773760 w 2663946"/>
                <a:gd name="connsiteY142" fmla="*/ 105298 h 348807"/>
                <a:gd name="connsiteX143" fmla="*/ 1764289 w 2663946"/>
                <a:gd name="connsiteY143" fmla="*/ 96024 h 348807"/>
                <a:gd name="connsiteX144" fmla="*/ 1506321 w 2663946"/>
                <a:gd name="connsiteY144" fmla="*/ 96024 h 348807"/>
                <a:gd name="connsiteX145" fmla="*/ 1496851 w 2663946"/>
                <a:gd name="connsiteY145" fmla="*/ 105298 h 348807"/>
                <a:gd name="connsiteX146" fmla="*/ 1501805 w 2663946"/>
                <a:gd name="connsiteY146" fmla="*/ 113455 h 348807"/>
                <a:gd name="connsiteX147" fmla="*/ 1501805 w 2663946"/>
                <a:gd name="connsiteY147" fmla="*/ 121850 h 348807"/>
                <a:gd name="connsiteX148" fmla="*/ 1506321 w 2663946"/>
                <a:gd name="connsiteY148" fmla="*/ 126273 h 348807"/>
                <a:gd name="connsiteX149" fmla="*/ 1510838 w 2663946"/>
                <a:gd name="connsiteY149" fmla="*/ 121850 h 348807"/>
                <a:gd name="connsiteX150" fmla="*/ 1510838 w 2663946"/>
                <a:gd name="connsiteY150" fmla="*/ 113455 h 348807"/>
                <a:gd name="connsiteX151" fmla="*/ 1515792 w 2663946"/>
                <a:gd name="connsiteY151" fmla="*/ 105298 h 348807"/>
                <a:gd name="connsiteX152" fmla="*/ 1506321 w 2663946"/>
                <a:gd name="connsiteY152" fmla="*/ 96024 h 348807"/>
                <a:gd name="connsiteX153" fmla="*/ 1415382 w 2663946"/>
                <a:gd name="connsiteY153" fmla="*/ 96024 h 348807"/>
                <a:gd name="connsiteX154" fmla="*/ 1405912 w 2663946"/>
                <a:gd name="connsiteY154" fmla="*/ 105298 h 348807"/>
                <a:gd name="connsiteX155" fmla="*/ 1410866 w 2663946"/>
                <a:gd name="connsiteY155" fmla="*/ 113455 h 348807"/>
                <a:gd name="connsiteX156" fmla="*/ 1410866 w 2663946"/>
                <a:gd name="connsiteY156" fmla="*/ 121850 h 348807"/>
                <a:gd name="connsiteX157" fmla="*/ 1415382 w 2663946"/>
                <a:gd name="connsiteY157" fmla="*/ 126273 h 348807"/>
                <a:gd name="connsiteX158" fmla="*/ 1419899 w 2663946"/>
                <a:gd name="connsiteY158" fmla="*/ 121850 h 348807"/>
                <a:gd name="connsiteX159" fmla="*/ 1419899 w 2663946"/>
                <a:gd name="connsiteY159" fmla="*/ 113455 h 348807"/>
                <a:gd name="connsiteX160" fmla="*/ 1424853 w 2663946"/>
                <a:gd name="connsiteY160" fmla="*/ 105298 h 348807"/>
                <a:gd name="connsiteX161" fmla="*/ 1415382 w 2663946"/>
                <a:gd name="connsiteY161" fmla="*/ 96024 h 348807"/>
                <a:gd name="connsiteX162" fmla="*/ 1157414 w 2663946"/>
                <a:gd name="connsiteY162" fmla="*/ 96024 h 348807"/>
                <a:gd name="connsiteX163" fmla="*/ 1147944 w 2663946"/>
                <a:gd name="connsiteY163" fmla="*/ 105298 h 348807"/>
                <a:gd name="connsiteX164" fmla="*/ 1152898 w 2663946"/>
                <a:gd name="connsiteY164" fmla="*/ 113455 h 348807"/>
                <a:gd name="connsiteX165" fmla="*/ 1152898 w 2663946"/>
                <a:gd name="connsiteY165" fmla="*/ 121850 h 348807"/>
                <a:gd name="connsiteX166" fmla="*/ 1157414 w 2663946"/>
                <a:gd name="connsiteY166" fmla="*/ 126273 h 348807"/>
                <a:gd name="connsiteX167" fmla="*/ 1161931 w 2663946"/>
                <a:gd name="connsiteY167" fmla="*/ 121850 h 348807"/>
                <a:gd name="connsiteX168" fmla="*/ 1161931 w 2663946"/>
                <a:gd name="connsiteY168" fmla="*/ 113455 h 348807"/>
                <a:gd name="connsiteX169" fmla="*/ 1166885 w 2663946"/>
                <a:gd name="connsiteY169" fmla="*/ 105298 h 348807"/>
                <a:gd name="connsiteX170" fmla="*/ 1157414 w 2663946"/>
                <a:gd name="connsiteY170" fmla="*/ 96024 h 348807"/>
                <a:gd name="connsiteX171" fmla="*/ 732418 w 2663946"/>
                <a:gd name="connsiteY171" fmla="*/ 96024 h 348807"/>
                <a:gd name="connsiteX172" fmla="*/ 722947 w 2663946"/>
                <a:gd name="connsiteY172" fmla="*/ 105298 h 348807"/>
                <a:gd name="connsiteX173" fmla="*/ 727901 w 2663946"/>
                <a:gd name="connsiteY173" fmla="*/ 113455 h 348807"/>
                <a:gd name="connsiteX174" fmla="*/ 727901 w 2663946"/>
                <a:gd name="connsiteY174" fmla="*/ 121850 h 348807"/>
                <a:gd name="connsiteX175" fmla="*/ 732418 w 2663946"/>
                <a:gd name="connsiteY175" fmla="*/ 126273 h 348807"/>
                <a:gd name="connsiteX176" fmla="*/ 736935 w 2663946"/>
                <a:gd name="connsiteY176" fmla="*/ 121850 h 348807"/>
                <a:gd name="connsiteX177" fmla="*/ 736935 w 2663946"/>
                <a:gd name="connsiteY177" fmla="*/ 113455 h 348807"/>
                <a:gd name="connsiteX178" fmla="*/ 741889 w 2663946"/>
                <a:gd name="connsiteY178" fmla="*/ 105298 h 348807"/>
                <a:gd name="connsiteX179" fmla="*/ 732418 w 2663946"/>
                <a:gd name="connsiteY179" fmla="*/ 96024 h 348807"/>
                <a:gd name="connsiteX180" fmla="*/ 641479 w 2663946"/>
                <a:gd name="connsiteY180" fmla="*/ 96024 h 348807"/>
                <a:gd name="connsiteX181" fmla="*/ 632008 w 2663946"/>
                <a:gd name="connsiteY181" fmla="*/ 105298 h 348807"/>
                <a:gd name="connsiteX182" fmla="*/ 636962 w 2663946"/>
                <a:gd name="connsiteY182" fmla="*/ 113455 h 348807"/>
                <a:gd name="connsiteX183" fmla="*/ 636962 w 2663946"/>
                <a:gd name="connsiteY183" fmla="*/ 121850 h 348807"/>
                <a:gd name="connsiteX184" fmla="*/ 641479 w 2663946"/>
                <a:gd name="connsiteY184" fmla="*/ 126273 h 348807"/>
                <a:gd name="connsiteX185" fmla="*/ 645996 w 2663946"/>
                <a:gd name="connsiteY185" fmla="*/ 121850 h 348807"/>
                <a:gd name="connsiteX186" fmla="*/ 645996 w 2663946"/>
                <a:gd name="connsiteY186" fmla="*/ 113455 h 348807"/>
                <a:gd name="connsiteX187" fmla="*/ 650950 w 2663946"/>
                <a:gd name="connsiteY187" fmla="*/ 105298 h 348807"/>
                <a:gd name="connsiteX188" fmla="*/ 641479 w 2663946"/>
                <a:gd name="connsiteY188" fmla="*/ 96024 h 348807"/>
                <a:gd name="connsiteX189" fmla="*/ 459528 w 2663946"/>
                <a:gd name="connsiteY189" fmla="*/ 96024 h 348807"/>
                <a:gd name="connsiteX190" fmla="*/ 450057 w 2663946"/>
                <a:gd name="connsiteY190" fmla="*/ 105298 h 348807"/>
                <a:gd name="connsiteX191" fmla="*/ 455011 w 2663946"/>
                <a:gd name="connsiteY191" fmla="*/ 113455 h 348807"/>
                <a:gd name="connsiteX192" fmla="*/ 455011 w 2663946"/>
                <a:gd name="connsiteY192" fmla="*/ 121850 h 348807"/>
                <a:gd name="connsiteX193" fmla="*/ 459528 w 2663946"/>
                <a:gd name="connsiteY193" fmla="*/ 126273 h 348807"/>
                <a:gd name="connsiteX194" fmla="*/ 464045 w 2663946"/>
                <a:gd name="connsiteY194" fmla="*/ 121850 h 348807"/>
                <a:gd name="connsiteX195" fmla="*/ 464045 w 2663946"/>
                <a:gd name="connsiteY195" fmla="*/ 113455 h 348807"/>
                <a:gd name="connsiteX196" fmla="*/ 468999 w 2663946"/>
                <a:gd name="connsiteY196" fmla="*/ 105298 h 348807"/>
                <a:gd name="connsiteX197" fmla="*/ 459528 w 2663946"/>
                <a:gd name="connsiteY197" fmla="*/ 96024 h 348807"/>
                <a:gd name="connsiteX198" fmla="*/ 2632966 w 2663946"/>
                <a:gd name="connsiteY198" fmla="*/ 68831 h 348807"/>
                <a:gd name="connsiteX199" fmla="*/ 2621414 w 2663946"/>
                <a:gd name="connsiteY199" fmla="*/ 71264 h 348807"/>
                <a:gd name="connsiteX200" fmla="*/ 2618218 w 2663946"/>
                <a:gd name="connsiteY200" fmla="*/ 74779 h 348807"/>
                <a:gd name="connsiteX201" fmla="*/ 2616006 w 2663946"/>
                <a:gd name="connsiteY201" fmla="*/ 78564 h 348807"/>
                <a:gd name="connsiteX202" fmla="*/ 2615023 w 2663946"/>
                <a:gd name="connsiteY202" fmla="*/ 81268 h 348807"/>
                <a:gd name="connsiteX203" fmla="*/ 2614039 w 2663946"/>
                <a:gd name="connsiteY203" fmla="*/ 85324 h 348807"/>
                <a:gd name="connsiteX204" fmla="*/ 2613056 w 2663946"/>
                <a:gd name="connsiteY204" fmla="*/ 92354 h 348807"/>
                <a:gd name="connsiteX205" fmla="*/ 2614039 w 2663946"/>
                <a:gd name="connsiteY205" fmla="*/ 99654 h 348807"/>
                <a:gd name="connsiteX206" fmla="*/ 2615269 w 2663946"/>
                <a:gd name="connsiteY206" fmla="*/ 103439 h 348807"/>
                <a:gd name="connsiteX207" fmla="*/ 2617481 w 2663946"/>
                <a:gd name="connsiteY207" fmla="*/ 107765 h 348807"/>
                <a:gd name="connsiteX208" fmla="*/ 2620922 w 2663946"/>
                <a:gd name="connsiteY208" fmla="*/ 112092 h 348807"/>
                <a:gd name="connsiteX209" fmla="*/ 2625346 w 2663946"/>
                <a:gd name="connsiteY209" fmla="*/ 114795 h 348807"/>
                <a:gd name="connsiteX210" fmla="*/ 2637637 w 2663946"/>
                <a:gd name="connsiteY210" fmla="*/ 112362 h 348807"/>
                <a:gd name="connsiteX211" fmla="*/ 2640832 w 2663946"/>
                <a:gd name="connsiteY211" fmla="*/ 108847 h 348807"/>
                <a:gd name="connsiteX212" fmla="*/ 2643290 w 2663946"/>
                <a:gd name="connsiteY212" fmla="*/ 104521 h 348807"/>
                <a:gd name="connsiteX213" fmla="*/ 2644273 w 2663946"/>
                <a:gd name="connsiteY213" fmla="*/ 102358 h 348807"/>
                <a:gd name="connsiteX214" fmla="*/ 2645502 w 2663946"/>
                <a:gd name="connsiteY214" fmla="*/ 98032 h 348807"/>
                <a:gd name="connsiteX215" fmla="*/ 2645011 w 2663946"/>
                <a:gd name="connsiteY215" fmla="*/ 84242 h 348807"/>
                <a:gd name="connsiteX216" fmla="*/ 2644027 w 2663946"/>
                <a:gd name="connsiteY216" fmla="*/ 81268 h 348807"/>
                <a:gd name="connsiteX217" fmla="*/ 2642799 w 2663946"/>
                <a:gd name="connsiteY217" fmla="*/ 78294 h 348807"/>
                <a:gd name="connsiteX218" fmla="*/ 2640586 w 2663946"/>
                <a:gd name="connsiteY218" fmla="*/ 74779 h 348807"/>
                <a:gd name="connsiteX219" fmla="*/ 2636899 w 2663946"/>
                <a:gd name="connsiteY219" fmla="*/ 70994 h 348807"/>
                <a:gd name="connsiteX220" fmla="*/ 2632966 w 2663946"/>
                <a:gd name="connsiteY220" fmla="*/ 68831 h 348807"/>
                <a:gd name="connsiteX221" fmla="*/ 2451011 w 2663946"/>
                <a:gd name="connsiteY221" fmla="*/ 68831 h 348807"/>
                <a:gd name="connsiteX222" fmla="*/ 2439459 w 2663946"/>
                <a:gd name="connsiteY222" fmla="*/ 71264 h 348807"/>
                <a:gd name="connsiteX223" fmla="*/ 2436263 w 2663946"/>
                <a:gd name="connsiteY223" fmla="*/ 74779 h 348807"/>
                <a:gd name="connsiteX224" fmla="*/ 2434051 w 2663946"/>
                <a:gd name="connsiteY224" fmla="*/ 78564 h 348807"/>
                <a:gd name="connsiteX225" fmla="*/ 2433068 w 2663946"/>
                <a:gd name="connsiteY225" fmla="*/ 81268 h 348807"/>
                <a:gd name="connsiteX226" fmla="*/ 2432084 w 2663946"/>
                <a:gd name="connsiteY226" fmla="*/ 85324 h 348807"/>
                <a:gd name="connsiteX227" fmla="*/ 2431101 w 2663946"/>
                <a:gd name="connsiteY227" fmla="*/ 92354 h 348807"/>
                <a:gd name="connsiteX228" fmla="*/ 2432084 w 2663946"/>
                <a:gd name="connsiteY228" fmla="*/ 99654 h 348807"/>
                <a:gd name="connsiteX229" fmla="*/ 2433314 w 2663946"/>
                <a:gd name="connsiteY229" fmla="*/ 103439 h 348807"/>
                <a:gd name="connsiteX230" fmla="*/ 2435526 w 2663946"/>
                <a:gd name="connsiteY230" fmla="*/ 107765 h 348807"/>
                <a:gd name="connsiteX231" fmla="*/ 2438967 w 2663946"/>
                <a:gd name="connsiteY231" fmla="*/ 112092 h 348807"/>
                <a:gd name="connsiteX232" fmla="*/ 2443391 w 2663946"/>
                <a:gd name="connsiteY232" fmla="*/ 114795 h 348807"/>
                <a:gd name="connsiteX233" fmla="*/ 2455682 w 2663946"/>
                <a:gd name="connsiteY233" fmla="*/ 112362 h 348807"/>
                <a:gd name="connsiteX234" fmla="*/ 2458877 w 2663946"/>
                <a:gd name="connsiteY234" fmla="*/ 108847 h 348807"/>
                <a:gd name="connsiteX235" fmla="*/ 2461335 w 2663946"/>
                <a:gd name="connsiteY235" fmla="*/ 104521 h 348807"/>
                <a:gd name="connsiteX236" fmla="*/ 2462318 w 2663946"/>
                <a:gd name="connsiteY236" fmla="*/ 102358 h 348807"/>
                <a:gd name="connsiteX237" fmla="*/ 2463547 w 2663946"/>
                <a:gd name="connsiteY237" fmla="*/ 98032 h 348807"/>
                <a:gd name="connsiteX238" fmla="*/ 2463056 w 2663946"/>
                <a:gd name="connsiteY238" fmla="*/ 84242 h 348807"/>
                <a:gd name="connsiteX239" fmla="*/ 2462072 w 2663946"/>
                <a:gd name="connsiteY239" fmla="*/ 81268 h 348807"/>
                <a:gd name="connsiteX240" fmla="*/ 2460844 w 2663946"/>
                <a:gd name="connsiteY240" fmla="*/ 78294 h 348807"/>
                <a:gd name="connsiteX241" fmla="*/ 2458631 w 2663946"/>
                <a:gd name="connsiteY241" fmla="*/ 74779 h 348807"/>
                <a:gd name="connsiteX242" fmla="*/ 2454944 w 2663946"/>
                <a:gd name="connsiteY242" fmla="*/ 70994 h 348807"/>
                <a:gd name="connsiteX243" fmla="*/ 2451011 w 2663946"/>
                <a:gd name="connsiteY243" fmla="*/ 68831 h 348807"/>
                <a:gd name="connsiteX244" fmla="*/ 2207965 w 2663946"/>
                <a:gd name="connsiteY244" fmla="*/ 68831 h 348807"/>
                <a:gd name="connsiteX245" fmla="*/ 2196413 w 2663946"/>
                <a:gd name="connsiteY245" fmla="*/ 71264 h 348807"/>
                <a:gd name="connsiteX246" fmla="*/ 2193217 w 2663946"/>
                <a:gd name="connsiteY246" fmla="*/ 74779 h 348807"/>
                <a:gd name="connsiteX247" fmla="*/ 2191005 w 2663946"/>
                <a:gd name="connsiteY247" fmla="*/ 78564 h 348807"/>
                <a:gd name="connsiteX248" fmla="*/ 2190022 w 2663946"/>
                <a:gd name="connsiteY248" fmla="*/ 81268 h 348807"/>
                <a:gd name="connsiteX249" fmla="*/ 2189038 w 2663946"/>
                <a:gd name="connsiteY249" fmla="*/ 85324 h 348807"/>
                <a:gd name="connsiteX250" fmla="*/ 2188055 w 2663946"/>
                <a:gd name="connsiteY250" fmla="*/ 92354 h 348807"/>
                <a:gd name="connsiteX251" fmla="*/ 2189038 w 2663946"/>
                <a:gd name="connsiteY251" fmla="*/ 99654 h 348807"/>
                <a:gd name="connsiteX252" fmla="*/ 2190268 w 2663946"/>
                <a:gd name="connsiteY252" fmla="*/ 103439 h 348807"/>
                <a:gd name="connsiteX253" fmla="*/ 2192480 w 2663946"/>
                <a:gd name="connsiteY253" fmla="*/ 107765 h 348807"/>
                <a:gd name="connsiteX254" fmla="*/ 2195921 w 2663946"/>
                <a:gd name="connsiteY254" fmla="*/ 112092 h 348807"/>
                <a:gd name="connsiteX255" fmla="*/ 2200345 w 2663946"/>
                <a:gd name="connsiteY255" fmla="*/ 114795 h 348807"/>
                <a:gd name="connsiteX256" fmla="*/ 2212636 w 2663946"/>
                <a:gd name="connsiteY256" fmla="*/ 112362 h 348807"/>
                <a:gd name="connsiteX257" fmla="*/ 2215831 w 2663946"/>
                <a:gd name="connsiteY257" fmla="*/ 108847 h 348807"/>
                <a:gd name="connsiteX258" fmla="*/ 2218289 w 2663946"/>
                <a:gd name="connsiteY258" fmla="*/ 104521 h 348807"/>
                <a:gd name="connsiteX259" fmla="*/ 2219272 w 2663946"/>
                <a:gd name="connsiteY259" fmla="*/ 102358 h 348807"/>
                <a:gd name="connsiteX260" fmla="*/ 2220501 w 2663946"/>
                <a:gd name="connsiteY260" fmla="*/ 98032 h 348807"/>
                <a:gd name="connsiteX261" fmla="*/ 2220010 w 2663946"/>
                <a:gd name="connsiteY261" fmla="*/ 84242 h 348807"/>
                <a:gd name="connsiteX262" fmla="*/ 2219026 w 2663946"/>
                <a:gd name="connsiteY262" fmla="*/ 81268 h 348807"/>
                <a:gd name="connsiteX263" fmla="*/ 2217798 w 2663946"/>
                <a:gd name="connsiteY263" fmla="*/ 78294 h 348807"/>
                <a:gd name="connsiteX264" fmla="*/ 2215585 w 2663946"/>
                <a:gd name="connsiteY264" fmla="*/ 74779 h 348807"/>
                <a:gd name="connsiteX265" fmla="*/ 2211898 w 2663946"/>
                <a:gd name="connsiteY265" fmla="*/ 70994 h 348807"/>
                <a:gd name="connsiteX266" fmla="*/ 2207965 w 2663946"/>
                <a:gd name="connsiteY266" fmla="*/ 68831 h 348807"/>
                <a:gd name="connsiteX267" fmla="*/ 2026014 w 2663946"/>
                <a:gd name="connsiteY267" fmla="*/ 68831 h 348807"/>
                <a:gd name="connsiteX268" fmla="*/ 2014462 w 2663946"/>
                <a:gd name="connsiteY268" fmla="*/ 71264 h 348807"/>
                <a:gd name="connsiteX269" fmla="*/ 2011266 w 2663946"/>
                <a:gd name="connsiteY269" fmla="*/ 74779 h 348807"/>
                <a:gd name="connsiteX270" fmla="*/ 2009054 w 2663946"/>
                <a:gd name="connsiteY270" fmla="*/ 78564 h 348807"/>
                <a:gd name="connsiteX271" fmla="*/ 2008071 w 2663946"/>
                <a:gd name="connsiteY271" fmla="*/ 81268 h 348807"/>
                <a:gd name="connsiteX272" fmla="*/ 2007087 w 2663946"/>
                <a:gd name="connsiteY272" fmla="*/ 85324 h 348807"/>
                <a:gd name="connsiteX273" fmla="*/ 2006104 w 2663946"/>
                <a:gd name="connsiteY273" fmla="*/ 92354 h 348807"/>
                <a:gd name="connsiteX274" fmla="*/ 2007087 w 2663946"/>
                <a:gd name="connsiteY274" fmla="*/ 99654 h 348807"/>
                <a:gd name="connsiteX275" fmla="*/ 2008317 w 2663946"/>
                <a:gd name="connsiteY275" fmla="*/ 103439 h 348807"/>
                <a:gd name="connsiteX276" fmla="*/ 2010529 w 2663946"/>
                <a:gd name="connsiteY276" fmla="*/ 107765 h 348807"/>
                <a:gd name="connsiteX277" fmla="*/ 2013970 w 2663946"/>
                <a:gd name="connsiteY277" fmla="*/ 112092 h 348807"/>
                <a:gd name="connsiteX278" fmla="*/ 2018394 w 2663946"/>
                <a:gd name="connsiteY278" fmla="*/ 114795 h 348807"/>
                <a:gd name="connsiteX279" fmla="*/ 2030685 w 2663946"/>
                <a:gd name="connsiteY279" fmla="*/ 112362 h 348807"/>
                <a:gd name="connsiteX280" fmla="*/ 2033880 w 2663946"/>
                <a:gd name="connsiteY280" fmla="*/ 108847 h 348807"/>
                <a:gd name="connsiteX281" fmla="*/ 2036338 w 2663946"/>
                <a:gd name="connsiteY281" fmla="*/ 104521 h 348807"/>
                <a:gd name="connsiteX282" fmla="*/ 2037321 w 2663946"/>
                <a:gd name="connsiteY282" fmla="*/ 102358 h 348807"/>
                <a:gd name="connsiteX283" fmla="*/ 2038550 w 2663946"/>
                <a:gd name="connsiteY283" fmla="*/ 98032 h 348807"/>
                <a:gd name="connsiteX284" fmla="*/ 2038059 w 2663946"/>
                <a:gd name="connsiteY284" fmla="*/ 84242 h 348807"/>
                <a:gd name="connsiteX285" fmla="*/ 2037075 w 2663946"/>
                <a:gd name="connsiteY285" fmla="*/ 81268 h 348807"/>
                <a:gd name="connsiteX286" fmla="*/ 2035847 w 2663946"/>
                <a:gd name="connsiteY286" fmla="*/ 78294 h 348807"/>
                <a:gd name="connsiteX287" fmla="*/ 2033634 w 2663946"/>
                <a:gd name="connsiteY287" fmla="*/ 74779 h 348807"/>
                <a:gd name="connsiteX288" fmla="*/ 2029947 w 2663946"/>
                <a:gd name="connsiteY288" fmla="*/ 70994 h 348807"/>
                <a:gd name="connsiteX289" fmla="*/ 2026014 w 2663946"/>
                <a:gd name="connsiteY289" fmla="*/ 68831 h 348807"/>
                <a:gd name="connsiteX290" fmla="*/ 1601090 w 2663946"/>
                <a:gd name="connsiteY290" fmla="*/ 68831 h 348807"/>
                <a:gd name="connsiteX291" fmla="*/ 1589537 w 2663946"/>
                <a:gd name="connsiteY291" fmla="*/ 71264 h 348807"/>
                <a:gd name="connsiteX292" fmla="*/ 1586342 w 2663946"/>
                <a:gd name="connsiteY292" fmla="*/ 74779 h 348807"/>
                <a:gd name="connsiteX293" fmla="*/ 1584130 w 2663946"/>
                <a:gd name="connsiteY293" fmla="*/ 78564 h 348807"/>
                <a:gd name="connsiteX294" fmla="*/ 1583147 w 2663946"/>
                <a:gd name="connsiteY294" fmla="*/ 81268 h 348807"/>
                <a:gd name="connsiteX295" fmla="*/ 1582163 w 2663946"/>
                <a:gd name="connsiteY295" fmla="*/ 85324 h 348807"/>
                <a:gd name="connsiteX296" fmla="*/ 1581180 w 2663946"/>
                <a:gd name="connsiteY296" fmla="*/ 92354 h 348807"/>
                <a:gd name="connsiteX297" fmla="*/ 1582163 w 2663946"/>
                <a:gd name="connsiteY297" fmla="*/ 99654 h 348807"/>
                <a:gd name="connsiteX298" fmla="*/ 1583393 w 2663946"/>
                <a:gd name="connsiteY298" fmla="*/ 103439 h 348807"/>
                <a:gd name="connsiteX299" fmla="*/ 1585605 w 2663946"/>
                <a:gd name="connsiteY299" fmla="*/ 107765 h 348807"/>
                <a:gd name="connsiteX300" fmla="*/ 1589046 w 2663946"/>
                <a:gd name="connsiteY300" fmla="*/ 112092 h 348807"/>
                <a:gd name="connsiteX301" fmla="*/ 1593470 w 2663946"/>
                <a:gd name="connsiteY301" fmla="*/ 114795 h 348807"/>
                <a:gd name="connsiteX302" fmla="*/ 1605761 w 2663946"/>
                <a:gd name="connsiteY302" fmla="*/ 112362 h 348807"/>
                <a:gd name="connsiteX303" fmla="*/ 1608956 w 2663946"/>
                <a:gd name="connsiteY303" fmla="*/ 108847 h 348807"/>
                <a:gd name="connsiteX304" fmla="*/ 1611414 w 2663946"/>
                <a:gd name="connsiteY304" fmla="*/ 104521 h 348807"/>
                <a:gd name="connsiteX305" fmla="*/ 1612397 w 2663946"/>
                <a:gd name="connsiteY305" fmla="*/ 102358 h 348807"/>
                <a:gd name="connsiteX306" fmla="*/ 1613626 w 2663946"/>
                <a:gd name="connsiteY306" fmla="*/ 98032 h 348807"/>
                <a:gd name="connsiteX307" fmla="*/ 1613135 w 2663946"/>
                <a:gd name="connsiteY307" fmla="*/ 84242 h 348807"/>
                <a:gd name="connsiteX308" fmla="*/ 1612151 w 2663946"/>
                <a:gd name="connsiteY308" fmla="*/ 81268 h 348807"/>
                <a:gd name="connsiteX309" fmla="*/ 1610923 w 2663946"/>
                <a:gd name="connsiteY309" fmla="*/ 78294 h 348807"/>
                <a:gd name="connsiteX310" fmla="*/ 1608710 w 2663946"/>
                <a:gd name="connsiteY310" fmla="*/ 74779 h 348807"/>
                <a:gd name="connsiteX311" fmla="*/ 1605023 w 2663946"/>
                <a:gd name="connsiteY311" fmla="*/ 70994 h 348807"/>
                <a:gd name="connsiteX312" fmla="*/ 1601090 w 2663946"/>
                <a:gd name="connsiteY312" fmla="*/ 68831 h 348807"/>
                <a:gd name="connsiteX313" fmla="*/ 1252183 w 2663946"/>
                <a:gd name="connsiteY313" fmla="*/ 68831 h 348807"/>
                <a:gd name="connsiteX314" fmla="*/ 1240630 w 2663946"/>
                <a:gd name="connsiteY314" fmla="*/ 71264 h 348807"/>
                <a:gd name="connsiteX315" fmla="*/ 1237435 w 2663946"/>
                <a:gd name="connsiteY315" fmla="*/ 74779 h 348807"/>
                <a:gd name="connsiteX316" fmla="*/ 1235223 w 2663946"/>
                <a:gd name="connsiteY316" fmla="*/ 78564 h 348807"/>
                <a:gd name="connsiteX317" fmla="*/ 1234240 w 2663946"/>
                <a:gd name="connsiteY317" fmla="*/ 81268 h 348807"/>
                <a:gd name="connsiteX318" fmla="*/ 1233256 w 2663946"/>
                <a:gd name="connsiteY318" fmla="*/ 85324 h 348807"/>
                <a:gd name="connsiteX319" fmla="*/ 1232273 w 2663946"/>
                <a:gd name="connsiteY319" fmla="*/ 92354 h 348807"/>
                <a:gd name="connsiteX320" fmla="*/ 1233256 w 2663946"/>
                <a:gd name="connsiteY320" fmla="*/ 99654 h 348807"/>
                <a:gd name="connsiteX321" fmla="*/ 1234486 w 2663946"/>
                <a:gd name="connsiteY321" fmla="*/ 103439 h 348807"/>
                <a:gd name="connsiteX322" fmla="*/ 1236698 w 2663946"/>
                <a:gd name="connsiteY322" fmla="*/ 107765 h 348807"/>
                <a:gd name="connsiteX323" fmla="*/ 1240139 w 2663946"/>
                <a:gd name="connsiteY323" fmla="*/ 112092 h 348807"/>
                <a:gd name="connsiteX324" fmla="*/ 1244563 w 2663946"/>
                <a:gd name="connsiteY324" fmla="*/ 114795 h 348807"/>
                <a:gd name="connsiteX325" fmla="*/ 1256854 w 2663946"/>
                <a:gd name="connsiteY325" fmla="*/ 112362 h 348807"/>
                <a:gd name="connsiteX326" fmla="*/ 1260049 w 2663946"/>
                <a:gd name="connsiteY326" fmla="*/ 108847 h 348807"/>
                <a:gd name="connsiteX327" fmla="*/ 1262507 w 2663946"/>
                <a:gd name="connsiteY327" fmla="*/ 104521 h 348807"/>
                <a:gd name="connsiteX328" fmla="*/ 1263490 w 2663946"/>
                <a:gd name="connsiteY328" fmla="*/ 102358 h 348807"/>
                <a:gd name="connsiteX329" fmla="*/ 1264719 w 2663946"/>
                <a:gd name="connsiteY329" fmla="*/ 98032 h 348807"/>
                <a:gd name="connsiteX330" fmla="*/ 1264228 w 2663946"/>
                <a:gd name="connsiteY330" fmla="*/ 84242 h 348807"/>
                <a:gd name="connsiteX331" fmla="*/ 1263244 w 2663946"/>
                <a:gd name="connsiteY331" fmla="*/ 81268 h 348807"/>
                <a:gd name="connsiteX332" fmla="*/ 1262016 w 2663946"/>
                <a:gd name="connsiteY332" fmla="*/ 78294 h 348807"/>
                <a:gd name="connsiteX333" fmla="*/ 1259803 w 2663946"/>
                <a:gd name="connsiteY333" fmla="*/ 74779 h 348807"/>
                <a:gd name="connsiteX334" fmla="*/ 1256116 w 2663946"/>
                <a:gd name="connsiteY334" fmla="*/ 70994 h 348807"/>
                <a:gd name="connsiteX335" fmla="*/ 1252183 w 2663946"/>
                <a:gd name="connsiteY335" fmla="*/ 68831 h 348807"/>
                <a:gd name="connsiteX336" fmla="*/ 1070232 w 2663946"/>
                <a:gd name="connsiteY336" fmla="*/ 68831 h 348807"/>
                <a:gd name="connsiteX337" fmla="*/ 1058679 w 2663946"/>
                <a:gd name="connsiteY337" fmla="*/ 71264 h 348807"/>
                <a:gd name="connsiteX338" fmla="*/ 1055484 w 2663946"/>
                <a:gd name="connsiteY338" fmla="*/ 74779 h 348807"/>
                <a:gd name="connsiteX339" fmla="*/ 1053272 w 2663946"/>
                <a:gd name="connsiteY339" fmla="*/ 78564 h 348807"/>
                <a:gd name="connsiteX340" fmla="*/ 1052289 w 2663946"/>
                <a:gd name="connsiteY340" fmla="*/ 81268 h 348807"/>
                <a:gd name="connsiteX341" fmla="*/ 1051305 w 2663946"/>
                <a:gd name="connsiteY341" fmla="*/ 85324 h 348807"/>
                <a:gd name="connsiteX342" fmla="*/ 1050322 w 2663946"/>
                <a:gd name="connsiteY342" fmla="*/ 92354 h 348807"/>
                <a:gd name="connsiteX343" fmla="*/ 1051305 w 2663946"/>
                <a:gd name="connsiteY343" fmla="*/ 99654 h 348807"/>
                <a:gd name="connsiteX344" fmla="*/ 1052535 w 2663946"/>
                <a:gd name="connsiteY344" fmla="*/ 103439 h 348807"/>
                <a:gd name="connsiteX345" fmla="*/ 1054747 w 2663946"/>
                <a:gd name="connsiteY345" fmla="*/ 107765 h 348807"/>
                <a:gd name="connsiteX346" fmla="*/ 1058188 w 2663946"/>
                <a:gd name="connsiteY346" fmla="*/ 112092 h 348807"/>
                <a:gd name="connsiteX347" fmla="*/ 1062612 w 2663946"/>
                <a:gd name="connsiteY347" fmla="*/ 114795 h 348807"/>
                <a:gd name="connsiteX348" fmla="*/ 1074903 w 2663946"/>
                <a:gd name="connsiteY348" fmla="*/ 112362 h 348807"/>
                <a:gd name="connsiteX349" fmla="*/ 1078098 w 2663946"/>
                <a:gd name="connsiteY349" fmla="*/ 108847 h 348807"/>
                <a:gd name="connsiteX350" fmla="*/ 1080556 w 2663946"/>
                <a:gd name="connsiteY350" fmla="*/ 104521 h 348807"/>
                <a:gd name="connsiteX351" fmla="*/ 1081539 w 2663946"/>
                <a:gd name="connsiteY351" fmla="*/ 102358 h 348807"/>
                <a:gd name="connsiteX352" fmla="*/ 1082768 w 2663946"/>
                <a:gd name="connsiteY352" fmla="*/ 98032 h 348807"/>
                <a:gd name="connsiteX353" fmla="*/ 1082277 w 2663946"/>
                <a:gd name="connsiteY353" fmla="*/ 84242 h 348807"/>
                <a:gd name="connsiteX354" fmla="*/ 1081293 w 2663946"/>
                <a:gd name="connsiteY354" fmla="*/ 81268 h 348807"/>
                <a:gd name="connsiteX355" fmla="*/ 1080065 w 2663946"/>
                <a:gd name="connsiteY355" fmla="*/ 78294 h 348807"/>
                <a:gd name="connsiteX356" fmla="*/ 1077852 w 2663946"/>
                <a:gd name="connsiteY356" fmla="*/ 74779 h 348807"/>
                <a:gd name="connsiteX357" fmla="*/ 1074165 w 2663946"/>
                <a:gd name="connsiteY357" fmla="*/ 70994 h 348807"/>
                <a:gd name="connsiteX358" fmla="*/ 1070232 w 2663946"/>
                <a:gd name="connsiteY358" fmla="*/ 68831 h 348807"/>
                <a:gd name="connsiteX359" fmla="*/ 903203 w 2663946"/>
                <a:gd name="connsiteY359" fmla="*/ 68831 h 348807"/>
                <a:gd name="connsiteX360" fmla="*/ 891650 w 2663946"/>
                <a:gd name="connsiteY360" fmla="*/ 71264 h 348807"/>
                <a:gd name="connsiteX361" fmla="*/ 888455 w 2663946"/>
                <a:gd name="connsiteY361" fmla="*/ 74779 h 348807"/>
                <a:gd name="connsiteX362" fmla="*/ 886243 w 2663946"/>
                <a:gd name="connsiteY362" fmla="*/ 78564 h 348807"/>
                <a:gd name="connsiteX363" fmla="*/ 885260 w 2663946"/>
                <a:gd name="connsiteY363" fmla="*/ 81268 h 348807"/>
                <a:gd name="connsiteX364" fmla="*/ 884276 w 2663946"/>
                <a:gd name="connsiteY364" fmla="*/ 85324 h 348807"/>
                <a:gd name="connsiteX365" fmla="*/ 883293 w 2663946"/>
                <a:gd name="connsiteY365" fmla="*/ 92354 h 348807"/>
                <a:gd name="connsiteX366" fmla="*/ 884276 w 2663946"/>
                <a:gd name="connsiteY366" fmla="*/ 99654 h 348807"/>
                <a:gd name="connsiteX367" fmla="*/ 885506 w 2663946"/>
                <a:gd name="connsiteY367" fmla="*/ 103439 h 348807"/>
                <a:gd name="connsiteX368" fmla="*/ 887718 w 2663946"/>
                <a:gd name="connsiteY368" fmla="*/ 107765 h 348807"/>
                <a:gd name="connsiteX369" fmla="*/ 891159 w 2663946"/>
                <a:gd name="connsiteY369" fmla="*/ 112092 h 348807"/>
                <a:gd name="connsiteX370" fmla="*/ 895583 w 2663946"/>
                <a:gd name="connsiteY370" fmla="*/ 114795 h 348807"/>
                <a:gd name="connsiteX371" fmla="*/ 907874 w 2663946"/>
                <a:gd name="connsiteY371" fmla="*/ 112362 h 348807"/>
                <a:gd name="connsiteX372" fmla="*/ 911069 w 2663946"/>
                <a:gd name="connsiteY372" fmla="*/ 108847 h 348807"/>
                <a:gd name="connsiteX373" fmla="*/ 913527 w 2663946"/>
                <a:gd name="connsiteY373" fmla="*/ 104521 h 348807"/>
                <a:gd name="connsiteX374" fmla="*/ 914510 w 2663946"/>
                <a:gd name="connsiteY374" fmla="*/ 102358 h 348807"/>
                <a:gd name="connsiteX375" fmla="*/ 915739 w 2663946"/>
                <a:gd name="connsiteY375" fmla="*/ 98032 h 348807"/>
                <a:gd name="connsiteX376" fmla="*/ 915248 w 2663946"/>
                <a:gd name="connsiteY376" fmla="*/ 84242 h 348807"/>
                <a:gd name="connsiteX377" fmla="*/ 914264 w 2663946"/>
                <a:gd name="connsiteY377" fmla="*/ 81268 h 348807"/>
                <a:gd name="connsiteX378" fmla="*/ 913036 w 2663946"/>
                <a:gd name="connsiteY378" fmla="*/ 78294 h 348807"/>
                <a:gd name="connsiteX379" fmla="*/ 910823 w 2663946"/>
                <a:gd name="connsiteY379" fmla="*/ 74779 h 348807"/>
                <a:gd name="connsiteX380" fmla="*/ 907136 w 2663946"/>
                <a:gd name="connsiteY380" fmla="*/ 70994 h 348807"/>
                <a:gd name="connsiteX381" fmla="*/ 903203 w 2663946"/>
                <a:gd name="connsiteY381" fmla="*/ 68831 h 348807"/>
                <a:gd name="connsiteX382" fmla="*/ 554297 w 2663946"/>
                <a:gd name="connsiteY382" fmla="*/ 68831 h 348807"/>
                <a:gd name="connsiteX383" fmla="*/ 542744 w 2663946"/>
                <a:gd name="connsiteY383" fmla="*/ 71264 h 348807"/>
                <a:gd name="connsiteX384" fmla="*/ 539549 w 2663946"/>
                <a:gd name="connsiteY384" fmla="*/ 74779 h 348807"/>
                <a:gd name="connsiteX385" fmla="*/ 537337 w 2663946"/>
                <a:gd name="connsiteY385" fmla="*/ 78564 h 348807"/>
                <a:gd name="connsiteX386" fmla="*/ 536353 w 2663946"/>
                <a:gd name="connsiteY386" fmla="*/ 81268 h 348807"/>
                <a:gd name="connsiteX387" fmla="*/ 535370 w 2663946"/>
                <a:gd name="connsiteY387" fmla="*/ 85324 h 348807"/>
                <a:gd name="connsiteX388" fmla="*/ 534387 w 2663946"/>
                <a:gd name="connsiteY388" fmla="*/ 92354 h 348807"/>
                <a:gd name="connsiteX389" fmla="*/ 535370 w 2663946"/>
                <a:gd name="connsiteY389" fmla="*/ 99654 h 348807"/>
                <a:gd name="connsiteX390" fmla="*/ 536599 w 2663946"/>
                <a:gd name="connsiteY390" fmla="*/ 103439 h 348807"/>
                <a:gd name="connsiteX391" fmla="*/ 538811 w 2663946"/>
                <a:gd name="connsiteY391" fmla="*/ 107765 h 348807"/>
                <a:gd name="connsiteX392" fmla="*/ 542253 w 2663946"/>
                <a:gd name="connsiteY392" fmla="*/ 112092 h 348807"/>
                <a:gd name="connsiteX393" fmla="*/ 546677 w 2663946"/>
                <a:gd name="connsiteY393" fmla="*/ 114795 h 348807"/>
                <a:gd name="connsiteX394" fmla="*/ 558967 w 2663946"/>
                <a:gd name="connsiteY394" fmla="*/ 112362 h 348807"/>
                <a:gd name="connsiteX395" fmla="*/ 562163 w 2663946"/>
                <a:gd name="connsiteY395" fmla="*/ 108847 h 348807"/>
                <a:gd name="connsiteX396" fmla="*/ 564621 w 2663946"/>
                <a:gd name="connsiteY396" fmla="*/ 104521 h 348807"/>
                <a:gd name="connsiteX397" fmla="*/ 565604 w 2663946"/>
                <a:gd name="connsiteY397" fmla="*/ 102358 h 348807"/>
                <a:gd name="connsiteX398" fmla="*/ 566833 w 2663946"/>
                <a:gd name="connsiteY398" fmla="*/ 98032 h 348807"/>
                <a:gd name="connsiteX399" fmla="*/ 566341 w 2663946"/>
                <a:gd name="connsiteY399" fmla="*/ 84242 h 348807"/>
                <a:gd name="connsiteX400" fmla="*/ 565358 w 2663946"/>
                <a:gd name="connsiteY400" fmla="*/ 81268 h 348807"/>
                <a:gd name="connsiteX401" fmla="*/ 564129 w 2663946"/>
                <a:gd name="connsiteY401" fmla="*/ 78294 h 348807"/>
                <a:gd name="connsiteX402" fmla="*/ 561917 w 2663946"/>
                <a:gd name="connsiteY402" fmla="*/ 74779 h 348807"/>
                <a:gd name="connsiteX403" fmla="*/ 558230 w 2663946"/>
                <a:gd name="connsiteY403" fmla="*/ 70994 h 348807"/>
                <a:gd name="connsiteX404" fmla="*/ 554297 w 2663946"/>
                <a:gd name="connsiteY404" fmla="*/ 68831 h 348807"/>
                <a:gd name="connsiteX405" fmla="*/ 372346 w 2663946"/>
                <a:gd name="connsiteY405" fmla="*/ 68831 h 348807"/>
                <a:gd name="connsiteX406" fmla="*/ 360793 w 2663946"/>
                <a:gd name="connsiteY406" fmla="*/ 71264 h 348807"/>
                <a:gd name="connsiteX407" fmla="*/ 357598 w 2663946"/>
                <a:gd name="connsiteY407" fmla="*/ 74779 h 348807"/>
                <a:gd name="connsiteX408" fmla="*/ 355385 w 2663946"/>
                <a:gd name="connsiteY408" fmla="*/ 78564 h 348807"/>
                <a:gd name="connsiteX409" fmla="*/ 354402 w 2663946"/>
                <a:gd name="connsiteY409" fmla="*/ 81268 h 348807"/>
                <a:gd name="connsiteX410" fmla="*/ 353419 w 2663946"/>
                <a:gd name="connsiteY410" fmla="*/ 85324 h 348807"/>
                <a:gd name="connsiteX411" fmla="*/ 352436 w 2663946"/>
                <a:gd name="connsiteY411" fmla="*/ 92354 h 348807"/>
                <a:gd name="connsiteX412" fmla="*/ 353419 w 2663946"/>
                <a:gd name="connsiteY412" fmla="*/ 99654 h 348807"/>
                <a:gd name="connsiteX413" fmla="*/ 354648 w 2663946"/>
                <a:gd name="connsiteY413" fmla="*/ 103439 h 348807"/>
                <a:gd name="connsiteX414" fmla="*/ 356860 w 2663946"/>
                <a:gd name="connsiteY414" fmla="*/ 107765 h 348807"/>
                <a:gd name="connsiteX415" fmla="*/ 360301 w 2663946"/>
                <a:gd name="connsiteY415" fmla="*/ 112092 h 348807"/>
                <a:gd name="connsiteX416" fmla="*/ 364726 w 2663946"/>
                <a:gd name="connsiteY416" fmla="*/ 114795 h 348807"/>
                <a:gd name="connsiteX417" fmla="*/ 377016 w 2663946"/>
                <a:gd name="connsiteY417" fmla="*/ 112362 h 348807"/>
                <a:gd name="connsiteX418" fmla="*/ 380212 w 2663946"/>
                <a:gd name="connsiteY418" fmla="*/ 108847 h 348807"/>
                <a:gd name="connsiteX419" fmla="*/ 382670 w 2663946"/>
                <a:gd name="connsiteY419" fmla="*/ 104521 h 348807"/>
                <a:gd name="connsiteX420" fmla="*/ 383653 w 2663946"/>
                <a:gd name="connsiteY420" fmla="*/ 102358 h 348807"/>
                <a:gd name="connsiteX421" fmla="*/ 384882 w 2663946"/>
                <a:gd name="connsiteY421" fmla="*/ 98032 h 348807"/>
                <a:gd name="connsiteX422" fmla="*/ 384390 w 2663946"/>
                <a:gd name="connsiteY422" fmla="*/ 84242 h 348807"/>
                <a:gd name="connsiteX423" fmla="*/ 383407 w 2663946"/>
                <a:gd name="connsiteY423" fmla="*/ 81268 h 348807"/>
                <a:gd name="connsiteX424" fmla="*/ 382178 w 2663946"/>
                <a:gd name="connsiteY424" fmla="*/ 78294 h 348807"/>
                <a:gd name="connsiteX425" fmla="*/ 379966 w 2663946"/>
                <a:gd name="connsiteY425" fmla="*/ 74779 h 348807"/>
                <a:gd name="connsiteX426" fmla="*/ 376279 w 2663946"/>
                <a:gd name="connsiteY426" fmla="*/ 70994 h 348807"/>
                <a:gd name="connsiteX427" fmla="*/ 372346 w 2663946"/>
                <a:gd name="connsiteY427" fmla="*/ 68831 h 348807"/>
                <a:gd name="connsiteX428" fmla="*/ 129300 w 2663946"/>
                <a:gd name="connsiteY428" fmla="*/ 68831 h 348807"/>
                <a:gd name="connsiteX429" fmla="*/ 117747 w 2663946"/>
                <a:gd name="connsiteY429" fmla="*/ 71264 h 348807"/>
                <a:gd name="connsiteX430" fmla="*/ 114552 w 2663946"/>
                <a:gd name="connsiteY430" fmla="*/ 74779 h 348807"/>
                <a:gd name="connsiteX431" fmla="*/ 112340 w 2663946"/>
                <a:gd name="connsiteY431" fmla="*/ 78564 h 348807"/>
                <a:gd name="connsiteX432" fmla="*/ 111356 w 2663946"/>
                <a:gd name="connsiteY432" fmla="*/ 81268 h 348807"/>
                <a:gd name="connsiteX433" fmla="*/ 110373 w 2663946"/>
                <a:gd name="connsiteY433" fmla="*/ 85324 h 348807"/>
                <a:gd name="connsiteX434" fmla="*/ 109390 w 2663946"/>
                <a:gd name="connsiteY434" fmla="*/ 92354 h 348807"/>
                <a:gd name="connsiteX435" fmla="*/ 110373 w 2663946"/>
                <a:gd name="connsiteY435" fmla="*/ 99654 h 348807"/>
                <a:gd name="connsiteX436" fmla="*/ 111602 w 2663946"/>
                <a:gd name="connsiteY436" fmla="*/ 103439 h 348807"/>
                <a:gd name="connsiteX437" fmla="*/ 113814 w 2663946"/>
                <a:gd name="connsiteY437" fmla="*/ 107765 h 348807"/>
                <a:gd name="connsiteX438" fmla="*/ 117256 w 2663946"/>
                <a:gd name="connsiteY438" fmla="*/ 112092 h 348807"/>
                <a:gd name="connsiteX439" fmla="*/ 121680 w 2663946"/>
                <a:gd name="connsiteY439" fmla="*/ 114795 h 348807"/>
                <a:gd name="connsiteX440" fmla="*/ 133970 w 2663946"/>
                <a:gd name="connsiteY440" fmla="*/ 112362 h 348807"/>
                <a:gd name="connsiteX441" fmla="*/ 137166 w 2663946"/>
                <a:gd name="connsiteY441" fmla="*/ 108847 h 348807"/>
                <a:gd name="connsiteX442" fmla="*/ 139624 w 2663946"/>
                <a:gd name="connsiteY442" fmla="*/ 104521 h 348807"/>
                <a:gd name="connsiteX443" fmla="*/ 140607 w 2663946"/>
                <a:gd name="connsiteY443" fmla="*/ 102358 h 348807"/>
                <a:gd name="connsiteX444" fmla="*/ 141836 w 2663946"/>
                <a:gd name="connsiteY444" fmla="*/ 98032 h 348807"/>
                <a:gd name="connsiteX445" fmla="*/ 141344 w 2663946"/>
                <a:gd name="connsiteY445" fmla="*/ 84242 h 348807"/>
                <a:gd name="connsiteX446" fmla="*/ 140361 w 2663946"/>
                <a:gd name="connsiteY446" fmla="*/ 81268 h 348807"/>
                <a:gd name="connsiteX447" fmla="*/ 139132 w 2663946"/>
                <a:gd name="connsiteY447" fmla="*/ 78294 h 348807"/>
                <a:gd name="connsiteX448" fmla="*/ 136920 w 2663946"/>
                <a:gd name="connsiteY448" fmla="*/ 74779 h 348807"/>
                <a:gd name="connsiteX449" fmla="*/ 133233 w 2663946"/>
                <a:gd name="connsiteY449" fmla="*/ 70994 h 348807"/>
                <a:gd name="connsiteX450" fmla="*/ 129300 w 2663946"/>
                <a:gd name="connsiteY450" fmla="*/ 68831 h 348807"/>
                <a:gd name="connsiteX451" fmla="*/ 33147 w 2663946"/>
                <a:gd name="connsiteY451" fmla="*/ 64895 h 348807"/>
                <a:gd name="connsiteX452" fmla="*/ 21486 w 2663946"/>
                <a:gd name="connsiteY452" fmla="*/ 72624 h 348807"/>
                <a:gd name="connsiteX453" fmla="*/ 20561 w 2663946"/>
                <a:gd name="connsiteY453" fmla="*/ 77207 h 348807"/>
                <a:gd name="connsiteX454" fmla="*/ 23801 w 2663946"/>
                <a:gd name="connsiteY454" fmla="*/ 77207 h 348807"/>
                <a:gd name="connsiteX455" fmla="*/ 42218 w 2663946"/>
                <a:gd name="connsiteY455" fmla="*/ 77207 h 348807"/>
                <a:gd name="connsiteX456" fmla="*/ 45732 w 2663946"/>
                <a:gd name="connsiteY456" fmla="*/ 77207 h 348807"/>
                <a:gd name="connsiteX457" fmla="*/ 44807 w 2663946"/>
                <a:gd name="connsiteY457" fmla="*/ 72624 h 348807"/>
                <a:gd name="connsiteX458" fmla="*/ 33147 w 2663946"/>
                <a:gd name="connsiteY458" fmla="*/ 64895 h 348807"/>
                <a:gd name="connsiteX459" fmla="*/ 2537931 w 2663946"/>
                <a:gd name="connsiteY459" fmla="*/ 57307 h 348807"/>
                <a:gd name="connsiteX460" fmla="*/ 2526271 w 2663946"/>
                <a:gd name="connsiteY460" fmla="*/ 65036 h 348807"/>
                <a:gd name="connsiteX461" fmla="*/ 2525346 w 2663946"/>
                <a:gd name="connsiteY461" fmla="*/ 69619 h 348807"/>
                <a:gd name="connsiteX462" fmla="*/ 2528586 w 2663946"/>
                <a:gd name="connsiteY462" fmla="*/ 69619 h 348807"/>
                <a:gd name="connsiteX463" fmla="*/ 2547003 w 2663946"/>
                <a:gd name="connsiteY463" fmla="*/ 69619 h 348807"/>
                <a:gd name="connsiteX464" fmla="*/ 2550517 w 2663946"/>
                <a:gd name="connsiteY464" fmla="*/ 69619 h 348807"/>
                <a:gd name="connsiteX465" fmla="*/ 2549592 w 2663946"/>
                <a:gd name="connsiteY465" fmla="*/ 65036 h 348807"/>
                <a:gd name="connsiteX466" fmla="*/ 2537931 w 2663946"/>
                <a:gd name="connsiteY466" fmla="*/ 57307 h 348807"/>
                <a:gd name="connsiteX467" fmla="*/ 2112934 w 2663946"/>
                <a:gd name="connsiteY467" fmla="*/ 57307 h 348807"/>
                <a:gd name="connsiteX468" fmla="*/ 2101274 w 2663946"/>
                <a:gd name="connsiteY468" fmla="*/ 65036 h 348807"/>
                <a:gd name="connsiteX469" fmla="*/ 2100349 w 2663946"/>
                <a:gd name="connsiteY469" fmla="*/ 69619 h 348807"/>
                <a:gd name="connsiteX470" fmla="*/ 2103589 w 2663946"/>
                <a:gd name="connsiteY470" fmla="*/ 69619 h 348807"/>
                <a:gd name="connsiteX471" fmla="*/ 2122006 w 2663946"/>
                <a:gd name="connsiteY471" fmla="*/ 69619 h 348807"/>
                <a:gd name="connsiteX472" fmla="*/ 2125520 w 2663946"/>
                <a:gd name="connsiteY472" fmla="*/ 69619 h 348807"/>
                <a:gd name="connsiteX473" fmla="*/ 2124595 w 2663946"/>
                <a:gd name="connsiteY473" fmla="*/ 65036 h 348807"/>
                <a:gd name="connsiteX474" fmla="*/ 2112934 w 2663946"/>
                <a:gd name="connsiteY474" fmla="*/ 57307 h 348807"/>
                <a:gd name="connsiteX475" fmla="*/ 1854966 w 2663946"/>
                <a:gd name="connsiteY475" fmla="*/ 57307 h 348807"/>
                <a:gd name="connsiteX476" fmla="*/ 1843306 w 2663946"/>
                <a:gd name="connsiteY476" fmla="*/ 65036 h 348807"/>
                <a:gd name="connsiteX477" fmla="*/ 1842381 w 2663946"/>
                <a:gd name="connsiteY477" fmla="*/ 69619 h 348807"/>
                <a:gd name="connsiteX478" fmla="*/ 1845621 w 2663946"/>
                <a:gd name="connsiteY478" fmla="*/ 69619 h 348807"/>
                <a:gd name="connsiteX479" fmla="*/ 1864038 w 2663946"/>
                <a:gd name="connsiteY479" fmla="*/ 69619 h 348807"/>
                <a:gd name="connsiteX480" fmla="*/ 1867552 w 2663946"/>
                <a:gd name="connsiteY480" fmla="*/ 69619 h 348807"/>
                <a:gd name="connsiteX481" fmla="*/ 1866627 w 2663946"/>
                <a:gd name="connsiteY481" fmla="*/ 65036 h 348807"/>
                <a:gd name="connsiteX482" fmla="*/ 1854966 w 2663946"/>
                <a:gd name="connsiteY482" fmla="*/ 57307 h 348807"/>
                <a:gd name="connsiteX483" fmla="*/ 1764027 w 2663946"/>
                <a:gd name="connsiteY483" fmla="*/ 57307 h 348807"/>
                <a:gd name="connsiteX484" fmla="*/ 1752367 w 2663946"/>
                <a:gd name="connsiteY484" fmla="*/ 65036 h 348807"/>
                <a:gd name="connsiteX485" fmla="*/ 1751442 w 2663946"/>
                <a:gd name="connsiteY485" fmla="*/ 69619 h 348807"/>
                <a:gd name="connsiteX486" fmla="*/ 1754682 w 2663946"/>
                <a:gd name="connsiteY486" fmla="*/ 69619 h 348807"/>
                <a:gd name="connsiteX487" fmla="*/ 1773099 w 2663946"/>
                <a:gd name="connsiteY487" fmla="*/ 69619 h 348807"/>
                <a:gd name="connsiteX488" fmla="*/ 1776613 w 2663946"/>
                <a:gd name="connsiteY488" fmla="*/ 69619 h 348807"/>
                <a:gd name="connsiteX489" fmla="*/ 1775687 w 2663946"/>
                <a:gd name="connsiteY489" fmla="*/ 65036 h 348807"/>
                <a:gd name="connsiteX490" fmla="*/ 1764027 w 2663946"/>
                <a:gd name="connsiteY490" fmla="*/ 57307 h 348807"/>
                <a:gd name="connsiteX491" fmla="*/ 1506059 w 2663946"/>
                <a:gd name="connsiteY491" fmla="*/ 57307 h 348807"/>
                <a:gd name="connsiteX492" fmla="*/ 1494399 w 2663946"/>
                <a:gd name="connsiteY492" fmla="*/ 65036 h 348807"/>
                <a:gd name="connsiteX493" fmla="*/ 1493474 w 2663946"/>
                <a:gd name="connsiteY493" fmla="*/ 69619 h 348807"/>
                <a:gd name="connsiteX494" fmla="*/ 1496714 w 2663946"/>
                <a:gd name="connsiteY494" fmla="*/ 69619 h 348807"/>
                <a:gd name="connsiteX495" fmla="*/ 1515131 w 2663946"/>
                <a:gd name="connsiteY495" fmla="*/ 69619 h 348807"/>
                <a:gd name="connsiteX496" fmla="*/ 1518645 w 2663946"/>
                <a:gd name="connsiteY496" fmla="*/ 69619 h 348807"/>
                <a:gd name="connsiteX497" fmla="*/ 1517719 w 2663946"/>
                <a:gd name="connsiteY497" fmla="*/ 65036 h 348807"/>
                <a:gd name="connsiteX498" fmla="*/ 1506059 w 2663946"/>
                <a:gd name="connsiteY498" fmla="*/ 57307 h 348807"/>
                <a:gd name="connsiteX499" fmla="*/ 1415120 w 2663946"/>
                <a:gd name="connsiteY499" fmla="*/ 57307 h 348807"/>
                <a:gd name="connsiteX500" fmla="*/ 1403460 w 2663946"/>
                <a:gd name="connsiteY500" fmla="*/ 65036 h 348807"/>
                <a:gd name="connsiteX501" fmla="*/ 1402535 w 2663946"/>
                <a:gd name="connsiteY501" fmla="*/ 69619 h 348807"/>
                <a:gd name="connsiteX502" fmla="*/ 1405775 w 2663946"/>
                <a:gd name="connsiteY502" fmla="*/ 69619 h 348807"/>
                <a:gd name="connsiteX503" fmla="*/ 1424192 w 2663946"/>
                <a:gd name="connsiteY503" fmla="*/ 69619 h 348807"/>
                <a:gd name="connsiteX504" fmla="*/ 1427706 w 2663946"/>
                <a:gd name="connsiteY504" fmla="*/ 69619 h 348807"/>
                <a:gd name="connsiteX505" fmla="*/ 1426780 w 2663946"/>
                <a:gd name="connsiteY505" fmla="*/ 65036 h 348807"/>
                <a:gd name="connsiteX506" fmla="*/ 1415120 w 2663946"/>
                <a:gd name="connsiteY506" fmla="*/ 57307 h 348807"/>
                <a:gd name="connsiteX507" fmla="*/ 1157152 w 2663946"/>
                <a:gd name="connsiteY507" fmla="*/ 57307 h 348807"/>
                <a:gd name="connsiteX508" fmla="*/ 1145492 w 2663946"/>
                <a:gd name="connsiteY508" fmla="*/ 65036 h 348807"/>
                <a:gd name="connsiteX509" fmla="*/ 1144567 w 2663946"/>
                <a:gd name="connsiteY509" fmla="*/ 69619 h 348807"/>
                <a:gd name="connsiteX510" fmla="*/ 1147807 w 2663946"/>
                <a:gd name="connsiteY510" fmla="*/ 69619 h 348807"/>
                <a:gd name="connsiteX511" fmla="*/ 1166224 w 2663946"/>
                <a:gd name="connsiteY511" fmla="*/ 69619 h 348807"/>
                <a:gd name="connsiteX512" fmla="*/ 1169738 w 2663946"/>
                <a:gd name="connsiteY512" fmla="*/ 69619 h 348807"/>
                <a:gd name="connsiteX513" fmla="*/ 1168812 w 2663946"/>
                <a:gd name="connsiteY513" fmla="*/ 65036 h 348807"/>
                <a:gd name="connsiteX514" fmla="*/ 1157152 w 2663946"/>
                <a:gd name="connsiteY514" fmla="*/ 57307 h 348807"/>
                <a:gd name="connsiteX515" fmla="*/ 732156 w 2663946"/>
                <a:gd name="connsiteY515" fmla="*/ 57307 h 348807"/>
                <a:gd name="connsiteX516" fmla="*/ 720495 w 2663946"/>
                <a:gd name="connsiteY516" fmla="*/ 65036 h 348807"/>
                <a:gd name="connsiteX517" fmla="*/ 719570 w 2663946"/>
                <a:gd name="connsiteY517" fmla="*/ 69619 h 348807"/>
                <a:gd name="connsiteX518" fmla="*/ 722810 w 2663946"/>
                <a:gd name="connsiteY518" fmla="*/ 69619 h 348807"/>
                <a:gd name="connsiteX519" fmla="*/ 741228 w 2663946"/>
                <a:gd name="connsiteY519" fmla="*/ 69619 h 348807"/>
                <a:gd name="connsiteX520" fmla="*/ 744742 w 2663946"/>
                <a:gd name="connsiteY520" fmla="*/ 69619 h 348807"/>
                <a:gd name="connsiteX521" fmla="*/ 743816 w 2663946"/>
                <a:gd name="connsiteY521" fmla="*/ 65036 h 348807"/>
                <a:gd name="connsiteX522" fmla="*/ 732156 w 2663946"/>
                <a:gd name="connsiteY522" fmla="*/ 57307 h 348807"/>
                <a:gd name="connsiteX523" fmla="*/ 641217 w 2663946"/>
                <a:gd name="connsiteY523" fmla="*/ 57307 h 348807"/>
                <a:gd name="connsiteX524" fmla="*/ 629556 w 2663946"/>
                <a:gd name="connsiteY524" fmla="*/ 65036 h 348807"/>
                <a:gd name="connsiteX525" fmla="*/ 628631 w 2663946"/>
                <a:gd name="connsiteY525" fmla="*/ 69619 h 348807"/>
                <a:gd name="connsiteX526" fmla="*/ 631871 w 2663946"/>
                <a:gd name="connsiteY526" fmla="*/ 69619 h 348807"/>
                <a:gd name="connsiteX527" fmla="*/ 650289 w 2663946"/>
                <a:gd name="connsiteY527" fmla="*/ 69619 h 348807"/>
                <a:gd name="connsiteX528" fmla="*/ 653802 w 2663946"/>
                <a:gd name="connsiteY528" fmla="*/ 69619 h 348807"/>
                <a:gd name="connsiteX529" fmla="*/ 652877 w 2663946"/>
                <a:gd name="connsiteY529" fmla="*/ 65036 h 348807"/>
                <a:gd name="connsiteX530" fmla="*/ 641217 w 2663946"/>
                <a:gd name="connsiteY530" fmla="*/ 57307 h 348807"/>
                <a:gd name="connsiteX531" fmla="*/ 459266 w 2663946"/>
                <a:gd name="connsiteY531" fmla="*/ 57307 h 348807"/>
                <a:gd name="connsiteX532" fmla="*/ 447605 w 2663946"/>
                <a:gd name="connsiteY532" fmla="*/ 65036 h 348807"/>
                <a:gd name="connsiteX533" fmla="*/ 446680 w 2663946"/>
                <a:gd name="connsiteY533" fmla="*/ 69619 h 348807"/>
                <a:gd name="connsiteX534" fmla="*/ 449920 w 2663946"/>
                <a:gd name="connsiteY534" fmla="*/ 69619 h 348807"/>
                <a:gd name="connsiteX535" fmla="*/ 468337 w 2663946"/>
                <a:gd name="connsiteY535" fmla="*/ 69619 h 348807"/>
                <a:gd name="connsiteX536" fmla="*/ 471851 w 2663946"/>
                <a:gd name="connsiteY536" fmla="*/ 69619 h 348807"/>
                <a:gd name="connsiteX537" fmla="*/ 470926 w 2663946"/>
                <a:gd name="connsiteY537" fmla="*/ 65036 h 348807"/>
                <a:gd name="connsiteX538" fmla="*/ 459266 w 2663946"/>
                <a:gd name="connsiteY538" fmla="*/ 57307 h 348807"/>
                <a:gd name="connsiteX539" fmla="*/ 2361413 w 2663946"/>
                <a:gd name="connsiteY539" fmla="*/ 52947 h 348807"/>
                <a:gd name="connsiteX540" fmla="*/ 2365469 w 2663946"/>
                <a:gd name="connsiteY540" fmla="*/ 52947 h 348807"/>
                <a:gd name="connsiteX541" fmla="*/ 2370065 w 2663946"/>
                <a:gd name="connsiteY541" fmla="*/ 55381 h 348807"/>
                <a:gd name="connsiteX542" fmla="*/ 2372229 w 2663946"/>
                <a:gd name="connsiteY542" fmla="*/ 61599 h 348807"/>
                <a:gd name="connsiteX543" fmla="*/ 2372229 w 2663946"/>
                <a:gd name="connsiteY543" fmla="*/ 62140 h 348807"/>
                <a:gd name="connsiteX544" fmla="*/ 2372229 w 2663946"/>
                <a:gd name="connsiteY544" fmla="*/ 115135 h 348807"/>
                <a:gd name="connsiteX545" fmla="*/ 2372769 w 2663946"/>
                <a:gd name="connsiteY545" fmla="*/ 115675 h 348807"/>
                <a:gd name="connsiteX546" fmla="*/ 2380069 w 2663946"/>
                <a:gd name="connsiteY546" fmla="*/ 115675 h 348807"/>
                <a:gd name="connsiteX547" fmla="*/ 2384125 w 2663946"/>
                <a:gd name="connsiteY547" fmla="*/ 116757 h 348807"/>
                <a:gd name="connsiteX548" fmla="*/ 2387910 w 2663946"/>
                <a:gd name="connsiteY548" fmla="*/ 123516 h 348807"/>
                <a:gd name="connsiteX549" fmla="*/ 2385207 w 2663946"/>
                <a:gd name="connsiteY549" fmla="*/ 129194 h 348807"/>
                <a:gd name="connsiteX550" fmla="*/ 2381151 w 2663946"/>
                <a:gd name="connsiteY550" fmla="*/ 131087 h 348807"/>
                <a:gd name="connsiteX551" fmla="*/ 2380881 w 2663946"/>
                <a:gd name="connsiteY551" fmla="*/ 131087 h 348807"/>
                <a:gd name="connsiteX552" fmla="*/ 2380610 w 2663946"/>
                <a:gd name="connsiteY552" fmla="*/ 131087 h 348807"/>
                <a:gd name="connsiteX553" fmla="*/ 2380069 w 2663946"/>
                <a:gd name="connsiteY553" fmla="*/ 131087 h 348807"/>
                <a:gd name="connsiteX554" fmla="*/ 2347894 w 2663946"/>
                <a:gd name="connsiteY554" fmla="*/ 131087 h 348807"/>
                <a:gd name="connsiteX555" fmla="*/ 2347354 w 2663946"/>
                <a:gd name="connsiteY555" fmla="*/ 131087 h 348807"/>
                <a:gd name="connsiteX556" fmla="*/ 2346542 w 2663946"/>
                <a:gd name="connsiteY556" fmla="*/ 131087 h 348807"/>
                <a:gd name="connsiteX557" fmla="*/ 2345731 w 2663946"/>
                <a:gd name="connsiteY557" fmla="*/ 130817 h 348807"/>
                <a:gd name="connsiteX558" fmla="*/ 2342216 w 2663946"/>
                <a:gd name="connsiteY558" fmla="*/ 128924 h 348807"/>
                <a:gd name="connsiteX559" fmla="*/ 2339783 w 2663946"/>
                <a:gd name="connsiteY559" fmla="*/ 123246 h 348807"/>
                <a:gd name="connsiteX560" fmla="*/ 2341946 w 2663946"/>
                <a:gd name="connsiteY560" fmla="*/ 118109 h 348807"/>
                <a:gd name="connsiteX561" fmla="*/ 2347624 w 2663946"/>
                <a:gd name="connsiteY561" fmla="*/ 115675 h 348807"/>
                <a:gd name="connsiteX562" fmla="*/ 2355465 w 2663946"/>
                <a:gd name="connsiteY562" fmla="*/ 115675 h 348807"/>
                <a:gd name="connsiteX563" fmla="*/ 2356006 w 2663946"/>
                <a:gd name="connsiteY563" fmla="*/ 115135 h 348807"/>
                <a:gd name="connsiteX564" fmla="*/ 2356006 w 2663946"/>
                <a:gd name="connsiteY564" fmla="*/ 69170 h 348807"/>
                <a:gd name="connsiteX565" fmla="*/ 2355465 w 2663946"/>
                <a:gd name="connsiteY565" fmla="*/ 68629 h 348807"/>
                <a:gd name="connsiteX566" fmla="*/ 2349517 w 2663946"/>
                <a:gd name="connsiteY566" fmla="*/ 68629 h 348807"/>
                <a:gd name="connsiteX567" fmla="*/ 2342216 w 2663946"/>
                <a:gd name="connsiteY567" fmla="*/ 64033 h 348807"/>
                <a:gd name="connsiteX568" fmla="*/ 2341946 w 2663946"/>
                <a:gd name="connsiteY568" fmla="*/ 58355 h 348807"/>
                <a:gd name="connsiteX569" fmla="*/ 2349246 w 2663946"/>
                <a:gd name="connsiteY569" fmla="*/ 53218 h 348807"/>
                <a:gd name="connsiteX570" fmla="*/ 2361413 w 2663946"/>
                <a:gd name="connsiteY570" fmla="*/ 52947 h 348807"/>
                <a:gd name="connsiteX571" fmla="*/ 2285396 w 2663946"/>
                <a:gd name="connsiteY571" fmla="*/ 52947 h 348807"/>
                <a:gd name="connsiteX572" fmla="*/ 2289452 w 2663946"/>
                <a:gd name="connsiteY572" fmla="*/ 52947 h 348807"/>
                <a:gd name="connsiteX573" fmla="*/ 2294048 w 2663946"/>
                <a:gd name="connsiteY573" fmla="*/ 55381 h 348807"/>
                <a:gd name="connsiteX574" fmla="*/ 2296212 w 2663946"/>
                <a:gd name="connsiteY574" fmla="*/ 61599 h 348807"/>
                <a:gd name="connsiteX575" fmla="*/ 2296212 w 2663946"/>
                <a:gd name="connsiteY575" fmla="*/ 62140 h 348807"/>
                <a:gd name="connsiteX576" fmla="*/ 2296212 w 2663946"/>
                <a:gd name="connsiteY576" fmla="*/ 115135 h 348807"/>
                <a:gd name="connsiteX577" fmla="*/ 2296752 w 2663946"/>
                <a:gd name="connsiteY577" fmla="*/ 115675 h 348807"/>
                <a:gd name="connsiteX578" fmla="*/ 2304052 w 2663946"/>
                <a:gd name="connsiteY578" fmla="*/ 115675 h 348807"/>
                <a:gd name="connsiteX579" fmla="*/ 2308108 w 2663946"/>
                <a:gd name="connsiteY579" fmla="*/ 116757 h 348807"/>
                <a:gd name="connsiteX580" fmla="*/ 2311893 w 2663946"/>
                <a:gd name="connsiteY580" fmla="*/ 123516 h 348807"/>
                <a:gd name="connsiteX581" fmla="*/ 2309190 w 2663946"/>
                <a:gd name="connsiteY581" fmla="*/ 129194 h 348807"/>
                <a:gd name="connsiteX582" fmla="*/ 2305134 w 2663946"/>
                <a:gd name="connsiteY582" fmla="*/ 131087 h 348807"/>
                <a:gd name="connsiteX583" fmla="*/ 2304864 w 2663946"/>
                <a:gd name="connsiteY583" fmla="*/ 131087 h 348807"/>
                <a:gd name="connsiteX584" fmla="*/ 2304593 w 2663946"/>
                <a:gd name="connsiteY584" fmla="*/ 131087 h 348807"/>
                <a:gd name="connsiteX585" fmla="*/ 2304052 w 2663946"/>
                <a:gd name="connsiteY585" fmla="*/ 131087 h 348807"/>
                <a:gd name="connsiteX586" fmla="*/ 2271877 w 2663946"/>
                <a:gd name="connsiteY586" fmla="*/ 131087 h 348807"/>
                <a:gd name="connsiteX587" fmla="*/ 2271337 w 2663946"/>
                <a:gd name="connsiteY587" fmla="*/ 131087 h 348807"/>
                <a:gd name="connsiteX588" fmla="*/ 2270525 w 2663946"/>
                <a:gd name="connsiteY588" fmla="*/ 131087 h 348807"/>
                <a:gd name="connsiteX589" fmla="*/ 2269714 w 2663946"/>
                <a:gd name="connsiteY589" fmla="*/ 130817 h 348807"/>
                <a:gd name="connsiteX590" fmla="*/ 2266199 w 2663946"/>
                <a:gd name="connsiteY590" fmla="*/ 128924 h 348807"/>
                <a:gd name="connsiteX591" fmla="*/ 2263766 w 2663946"/>
                <a:gd name="connsiteY591" fmla="*/ 123246 h 348807"/>
                <a:gd name="connsiteX592" fmla="*/ 2265929 w 2663946"/>
                <a:gd name="connsiteY592" fmla="*/ 118109 h 348807"/>
                <a:gd name="connsiteX593" fmla="*/ 2271607 w 2663946"/>
                <a:gd name="connsiteY593" fmla="*/ 115675 h 348807"/>
                <a:gd name="connsiteX594" fmla="*/ 2279448 w 2663946"/>
                <a:gd name="connsiteY594" fmla="*/ 115675 h 348807"/>
                <a:gd name="connsiteX595" fmla="*/ 2279989 w 2663946"/>
                <a:gd name="connsiteY595" fmla="*/ 115135 h 348807"/>
                <a:gd name="connsiteX596" fmla="*/ 2279989 w 2663946"/>
                <a:gd name="connsiteY596" fmla="*/ 69170 h 348807"/>
                <a:gd name="connsiteX597" fmla="*/ 2279448 w 2663946"/>
                <a:gd name="connsiteY597" fmla="*/ 68629 h 348807"/>
                <a:gd name="connsiteX598" fmla="*/ 2273500 w 2663946"/>
                <a:gd name="connsiteY598" fmla="*/ 68629 h 348807"/>
                <a:gd name="connsiteX599" fmla="*/ 2266199 w 2663946"/>
                <a:gd name="connsiteY599" fmla="*/ 64033 h 348807"/>
                <a:gd name="connsiteX600" fmla="*/ 2265929 w 2663946"/>
                <a:gd name="connsiteY600" fmla="*/ 58355 h 348807"/>
                <a:gd name="connsiteX601" fmla="*/ 2273229 w 2663946"/>
                <a:gd name="connsiteY601" fmla="*/ 53218 h 348807"/>
                <a:gd name="connsiteX602" fmla="*/ 2285396 w 2663946"/>
                <a:gd name="connsiteY602" fmla="*/ 52947 h 348807"/>
                <a:gd name="connsiteX603" fmla="*/ 1936416 w 2663946"/>
                <a:gd name="connsiteY603" fmla="*/ 52947 h 348807"/>
                <a:gd name="connsiteX604" fmla="*/ 1940472 w 2663946"/>
                <a:gd name="connsiteY604" fmla="*/ 52947 h 348807"/>
                <a:gd name="connsiteX605" fmla="*/ 1945068 w 2663946"/>
                <a:gd name="connsiteY605" fmla="*/ 55381 h 348807"/>
                <a:gd name="connsiteX606" fmla="*/ 1947232 w 2663946"/>
                <a:gd name="connsiteY606" fmla="*/ 61599 h 348807"/>
                <a:gd name="connsiteX607" fmla="*/ 1947232 w 2663946"/>
                <a:gd name="connsiteY607" fmla="*/ 62140 h 348807"/>
                <a:gd name="connsiteX608" fmla="*/ 1947232 w 2663946"/>
                <a:gd name="connsiteY608" fmla="*/ 115135 h 348807"/>
                <a:gd name="connsiteX609" fmla="*/ 1947772 w 2663946"/>
                <a:gd name="connsiteY609" fmla="*/ 115675 h 348807"/>
                <a:gd name="connsiteX610" fmla="*/ 1955072 w 2663946"/>
                <a:gd name="connsiteY610" fmla="*/ 115675 h 348807"/>
                <a:gd name="connsiteX611" fmla="*/ 1959128 w 2663946"/>
                <a:gd name="connsiteY611" fmla="*/ 116757 h 348807"/>
                <a:gd name="connsiteX612" fmla="*/ 1962913 w 2663946"/>
                <a:gd name="connsiteY612" fmla="*/ 123516 h 348807"/>
                <a:gd name="connsiteX613" fmla="*/ 1960210 w 2663946"/>
                <a:gd name="connsiteY613" fmla="*/ 129194 h 348807"/>
                <a:gd name="connsiteX614" fmla="*/ 1956154 w 2663946"/>
                <a:gd name="connsiteY614" fmla="*/ 131087 h 348807"/>
                <a:gd name="connsiteX615" fmla="*/ 1955884 w 2663946"/>
                <a:gd name="connsiteY615" fmla="*/ 131087 h 348807"/>
                <a:gd name="connsiteX616" fmla="*/ 1955613 w 2663946"/>
                <a:gd name="connsiteY616" fmla="*/ 131087 h 348807"/>
                <a:gd name="connsiteX617" fmla="*/ 1955072 w 2663946"/>
                <a:gd name="connsiteY617" fmla="*/ 131087 h 348807"/>
                <a:gd name="connsiteX618" fmla="*/ 1922897 w 2663946"/>
                <a:gd name="connsiteY618" fmla="*/ 131087 h 348807"/>
                <a:gd name="connsiteX619" fmla="*/ 1922357 w 2663946"/>
                <a:gd name="connsiteY619" fmla="*/ 131087 h 348807"/>
                <a:gd name="connsiteX620" fmla="*/ 1921545 w 2663946"/>
                <a:gd name="connsiteY620" fmla="*/ 131087 h 348807"/>
                <a:gd name="connsiteX621" fmla="*/ 1920734 w 2663946"/>
                <a:gd name="connsiteY621" fmla="*/ 130817 h 348807"/>
                <a:gd name="connsiteX622" fmla="*/ 1917219 w 2663946"/>
                <a:gd name="connsiteY622" fmla="*/ 128924 h 348807"/>
                <a:gd name="connsiteX623" fmla="*/ 1914786 w 2663946"/>
                <a:gd name="connsiteY623" fmla="*/ 123246 h 348807"/>
                <a:gd name="connsiteX624" fmla="*/ 1916949 w 2663946"/>
                <a:gd name="connsiteY624" fmla="*/ 118109 h 348807"/>
                <a:gd name="connsiteX625" fmla="*/ 1922627 w 2663946"/>
                <a:gd name="connsiteY625" fmla="*/ 115675 h 348807"/>
                <a:gd name="connsiteX626" fmla="*/ 1930468 w 2663946"/>
                <a:gd name="connsiteY626" fmla="*/ 115675 h 348807"/>
                <a:gd name="connsiteX627" fmla="*/ 1931009 w 2663946"/>
                <a:gd name="connsiteY627" fmla="*/ 115135 h 348807"/>
                <a:gd name="connsiteX628" fmla="*/ 1931009 w 2663946"/>
                <a:gd name="connsiteY628" fmla="*/ 69170 h 348807"/>
                <a:gd name="connsiteX629" fmla="*/ 1930468 w 2663946"/>
                <a:gd name="connsiteY629" fmla="*/ 68629 h 348807"/>
                <a:gd name="connsiteX630" fmla="*/ 1924520 w 2663946"/>
                <a:gd name="connsiteY630" fmla="*/ 68629 h 348807"/>
                <a:gd name="connsiteX631" fmla="*/ 1917219 w 2663946"/>
                <a:gd name="connsiteY631" fmla="*/ 64033 h 348807"/>
                <a:gd name="connsiteX632" fmla="*/ 1916949 w 2663946"/>
                <a:gd name="connsiteY632" fmla="*/ 58355 h 348807"/>
                <a:gd name="connsiteX633" fmla="*/ 1924249 w 2663946"/>
                <a:gd name="connsiteY633" fmla="*/ 53218 h 348807"/>
                <a:gd name="connsiteX634" fmla="*/ 1936416 w 2663946"/>
                <a:gd name="connsiteY634" fmla="*/ 52947 h 348807"/>
                <a:gd name="connsiteX635" fmla="*/ 1678521 w 2663946"/>
                <a:gd name="connsiteY635" fmla="*/ 52947 h 348807"/>
                <a:gd name="connsiteX636" fmla="*/ 1682577 w 2663946"/>
                <a:gd name="connsiteY636" fmla="*/ 52947 h 348807"/>
                <a:gd name="connsiteX637" fmla="*/ 1687173 w 2663946"/>
                <a:gd name="connsiteY637" fmla="*/ 55381 h 348807"/>
                <a:gd name="connsiteX638" fmla="*/ 1689336 w 2663946"/>
                <a:gd name="connsiteY638" fmla="*/ 61599 h 348807"/>
                <a:gd name="connsiteX639" fmla="*/ 1689336 w 2663946"/>
                <a:gd name="connsiteY639" fmla="*/ 62140 h 348807"/>
                <a:gd name="connsiteX640" fmla="*/ 1689336 w 2663946"/>
                <a:gd name="connsiteY640" fmla="*/ 115135 h 348807"/>
                <a:gd name="connsiteX641" fmla="*/ 1689877 w 2663946"/>
                <a:gd name="connsiteY641" fmla="*/ 115675 h 348807"/>
                <a:gd name="connsiteX642" fmla="*/ 1697177 w 2663946"/>
                <a:gd name="connsiteY642" fmla="*/ 115675 h 348807"/>
                <a:gd name="connsiteX643" fmla="*/ 1701233 w 2663946"/>
                <a:gd name="connsiteY643" fmla="*/ 116757 h 348807"/>
                <a:gd name="connsiteX644" fmla="*/ 1705018 w 2663946"/>
                <a:gd name="connsiteY644" fmla="*/ 123516 h 348807"/>
                <a:gd name="connsiteX645" fmla="*/ 1702315 w 2663946"/>
                <a:gd name="connsiteY645" fmla="*/ 129194 h 348807"/>
                <a:gd name="connsiteX646" fmla="*/ 1698259 w 2663946"/>
                <a:gd name="connsiteY646" fmla="*/ 131087 h 348807"/>
                <a:gd name="connsiteX647" fmla="*/ 1697989 w 2663946"/>
                <a:gd name="connsiteY647" fmla="*/ 131087 h 348807"/>
                <a:gd name="connsiteX648" fmla="*/ 1697718 w 2663946"/>
                <a:gd name="connsiteY648" fmla="*/ 131087 h 348807"/>
                <a:gd name="connsiteX649" fmla="*/ 1697177 w 2663946"/>
                <a:gd name="connsiteY649" fmla="*/ 131087 h 348807"/>
                <a:gd name="connsiteX650" fmla="*/ 1665002 w 2663946"/>
                <a:gd name="connsiteY650" fmla="*/ 131087 h 348807"/>
                <a:gd name="connsiteX651" fmla="*/ 1664462 w 2663946"/>
                <a:gd name="connsiteY651" fmla="*/ 131087 h 348807"/>
                <a:gd name="connsiteX652" fmla="*/ 1663650 w 2663946"/>
                <a:gd name="connsiteY652" fmla="*/ 131087 h 348807"/>
                <a:gd name="connsiteX653" fmla="*/ 1662839 w 2663946"/>
                <a:gd name="connsiteY653" fmla="*/ 130817 h 348807"/>
                <a:gd name="connsiteX654" fmla="*/ 1659324 w 2663946"/>
                <a:gd name="connsiteY654" fmla="*/ 128924 h 348807"/>
                <a:gd name="connsiteX655" fmla="*/ 1656891 w 2663946"/>
                <a:gd name="connsiteY655" fmla="*/ 123246 h 348807"/>
                <a:gd name="connsiteX656" fmla="*/ 1659054 w 2663946"/>
                <a:gd name="connsiteY656" fmla="*/ 118109 h 348807"/>
                <a:gd name="connsiteX657" fmla="*/ 1664732 w 2663946"/>
                <a:gd name="connsiteY657" fmla="*/ 115675 h 348807"/>
                <a:gd name="connsiteX658" fmla="*/ 1672573 w 2663946"/>
                <a:gd name="connsiteY658" fmla="*/ 115675 h 348807"/>
                <a:gd name="connsiteX659" fmla="*/ 1673114 w 2663946"/>
                <a:gd name="connsiteY659" fmla="*/ 115135 h 348807"/>
                <a:gd name="connsiteX660" fmla="*/ 1673114 w 2663946"/>
                <a:gd name="connsiteY660" fmla="*/ 69170 h 348807"/>
                <a:gd name="connsiteX661" fmla="*/ 1672573 w 2663946"/>
                <a:gd name="connsiteY661" fmla="*/ 68629 h 348807"/>
                <a:gd name="connsiteX662" fmla="*/ 1666625 w 2663946"/>
                <a:gd name="connsiteY662" fmla="*/ 68629 h 348807"/>
                <a:gd name="connsiteX663" fmla="*/ 1659324 w 2663946"/>
                <a:gd name="connsiteY663" fmla="*/ 64033 h 348807"/>
                <a:gd name="connsiteX664" fmla="*/ 1659054 w 2663946"/>
                <a:gd name="connsiteY664" fmla="*/ 58355 h 348807"/>
                <a:gd name="connsiteX665" fmla="*/ 1666354 w 2663946"/>
                <a:gd name="connsiteY665" fmla="*/ 53218 h 348807"/>
                <a:gd name="connsiteX666" fmla="*/ 1678521 w 2663946"/>
                <a:gd name="connsiteY666" fmla="*/ 52947 h 348807"/>
                <a:gd name="connsiteX667" fmla="*/ 1329614 w 2663946"/>
                <a:gd name="connsiteY667" fmla="*/ 52947 h 348807"/>
                <a:gd name="connsiteX668" fmla="*/ 1333670 w 2663946"/>
                <a:gd name="connsiteY668" fmla="*/ 52947 h 348807"/>
                <a:gd name="connsiteX669" fmla="*/ 1338266 w 2663946"/>
                <a:gd name="connsiteY669" fmla="*/ 55381 h 348807"/>
                <a:gd name="connsiteX670" fmla="*/ 1340429 w 2663946"/>
                <a:gd name="connsiteY670" fmla="*/ 61599 h 348807"/>
                <a:gd name="connsiteX671" fmla="*/ 1340429 w 2663946"/>
                <a:gd name="connsiteY671" fmla="*/ 62140 h 348807"/>
                <a:gd name="connsiteX672" fmla="*/ 1340429 w 2663946"/>
                <a:gd name="connsiteY672" fmla="*/ 115135 h 348807"/>
                <a:gd name="connsiteX673" fmla="*/ 1340970 w 2663946"/>
                <a:gd name="connsiteY673" fmla="*/ 115675 h 348807"/>
                <a:gd name="connsiteX674" fmla="*/ 1348270 w 2663946"/>
                <a:gd name="connsiteY674" fmla="*/ 115675 h 348807"/>
                <a:gd name="connsiteX675" fmla="*/ 1352326 w 2663946"/>
                <a:gd name="connsiteY675" fmla="*/ 116757 h 348807"/>
                <a:gd name="connsiteX676" fmla="*/ 1356111 w 2663946"/>
                <a:gd name="connsiteY676" fmla="*/ 123516 h 348807"/>
                <a:gd name="connsiteX677" fmla="*/ 1353408 w 2663946"/>
                <a:gd name="connsiteY677" fmla="*/ 129194 h 348807"/>
                <a:gd name="connsiteX678" fmla="*/ 1349352 w 2663946"/>
                <a:gd name="connsiteY678" fmla="*/ 131087 h 348807"/>
                <a:gd name="connsiteX679" fmla="*/ 1349082 w 2663946"/>
                <a:gd name="connsiteY679" fmla="*/ 131087 h 348807"/>
                <a:gd name="connsiteX680" fmla="*/ 1348811 w 2663946"/>
                <a:gd name="connsiteY680" fmla="*/ 131087 h 348807"/>
                <a:gd name="connsiteX681" fmla="*/ 1348270 w 2663946"/>
                <a:gd name="connsiteY681" fmla="*/ 131087 h 348807"/>
                <a:gd name="connsiteX682" fmla="*/ 1316095 w 2663946"/>
                <a:gd name="connsiteY682" fmla="*/ 131087 h 348807"/>
                <a:gd name="connsiteX683" fmla="*/ 1315555 w 2663946"/>
                <a:gd name="connsiteY683" fmla="*/ 131087 h 348807"/>
                <a:gd name="connsiteX684" fmla="*/ 1314743 w 2663946"/>
                <a:gd name="connsiteY684" fmla="*/ 131087 h 348807"/>
                <a:gd name="connsiteX685" fmla="*/ 1313932 w 2663946"/>
                <a:gd name="connsiteY685" fmla="*/ 130817 h 348807"/>
                <a:gd name="connsiteX686" fmla="*/ 1310417 w 2663946"/>
                <a:gd name="connsiteY686" fmla="*/ 128924 h 348807"/>
                <a:gd name="connsiteX687" fmla="*/ 1307984 w 2663946"/>
                <a:gd name="connsiteY687" fmla="*/ 123246 h 348807"/>
                <a:gd name="connsiteX688" fmla="*/ 1310147 w 2663946"/>
                <a:gd name="connsiteY688" fmla="*/ 118109 h 348807"/>
                <a:gd name="connsiteX689" fmla="*/ 1315825 w 2663946"/>
                <a:gd name="connsiteY689" fmla="*/ 115675 h 348807"/>
                <a:gd name="connsiteX690" fmla="*/ 1323666 w 2663946"/>
                <a:gd name="connsiteY690" fmla="*/ 115675 h 348807"/>
                <a:gd name="connsiteX691" fmla="*/ 1324207 w 2663946"/>
                <a:gd name="connsiteY691" fmla="*/ 115135 h 348807"/>
                <a:gd name="connsiteX692" fmla="*/ 1324207 w 2663946"/>
                <a:gd name="connsiteY692" fmla="*/ 69170 h 348807"/>
                <a:gd name="connsiteX693" fmla="*/ 1323666 w 2663946"/>
                <a:gd name="connsiteY693" fmla="*/ 68629 h 348807"/>
                <a:gd name="connsiteX694" fmla="*/ 1317718 w 2663946"/>
                <a:gd name="connsiteY694" fmla="*/ 68629 h 348807"/>
                <a:gd name="connsiteX695" fmla="*/ 1310417 w 2663946"/>
                <a:gd name="connsiteY695" fmla="*/ 64033 h 348807"/>
                <a:gd name="connsiteX696" fmla="*/ 1310147 w 2663946"/>
                <a:gd name="connsiteY696" fmla="*/ 58355 h 348807"/>
                <a:gd name="connsiteX697" fmla="*/ 1317447 w 2663946"/>
                <a:gd name="connsiteY697" fmla="*/ 53218 h 348807"/>
                <a:gd name="connsiteX698" fmla="*/ 1329614 w 2663946"/>
                <a:gd name="connsiteY698" fmla="*/ 52947 h 348807"/>
                <a:gd name="connsiteX699" fmla="*/ 980634 w 2663946"/>
                <a:gd name="connsiteY699" fmla="*/ 52947 h 348807"/>
                <a:gd name="connsiteX700" fmla="*/ 984690 w 2663946"/>
                <a:gd name="connsiteY700" fmla="*/ 52947 h 348807"/>
                <a:gd name="connsiteX701" fmla="*/ 989286 w 2663946"/>
                <a:gd name="connsiteY701" fmla="*/ 55381 h 348807"/>
                <a:gd name="connsiteX702" fmla="*/ 991449 w 2663946"/>
                <a:gd name="connsiteY702" fmla="*/ 61599 h 348807"/>
                <a:gd name="connsiteX703" fmla="*/ 991449 w 2663946"/>
                <a:gd name="connsiteY703" fmla="*/ 62140 h 348807"/>
                <a:gd name="connsiteX704" fmla="*/ 991449 w 2663946"/>
                <a:gd name="connsiteY704" fmla="*/ 115135 h 348807"/>
                <a:gd name="connsiteX705" fmla="*/ 991990 w 2663946"/>
                <a:gd name="connsiteY705" fmla="*/ 115675 h 348807"/>
                <a:gd name="connsiteX706" fmla="*/ 999290 w 2663946"/>
                <a:gd name="connsiteY706" fmla="*/ 115675 h 348807"/>
                <a:gd name="connsiteX707" fmla="*/ 1003346 w 2663946"/>
                <a:gd name="connsiteY707" fmla="*/ 116757 h 348807"/>
                <a:gd name="connsiteX708" fmla="*/ 1007131 w 2663946"/>
                <a:gd name="connsiteY708" fmla="*/ 123516 h 348807"/>
                <a:gd name="connsiteX709" fmla="*/ 1004428 w 2663946"/>
                <a:gd name="connsiteY709" fmla="*/ 129194 h 348807"/>
                <a:gd name="connsiteX710" fmla="*/ 1000372 w 2663946"/>
                <a:gd name="connsiteY710" fmla="*/ 131087 h 348807"/>
                <a:gd name="connsiteX711" fmla="*/ 1000102 w 2663946"/>
                <a:gd name="connsiteY711" fmla="*/ 131087 h 348807"/>
                <a:gd name="connsiteX712" fmla="*/ 999831 w 2663946"/>
                <a:gd name="connsiteY712" fmla="*/ 131087 h 348807"/>
                <a:gd name="connsiteX713" fmla="*/ 999290 w 2663946"/>
                <a:gd name="connsiteY713" fmla="*/ 131087 h 348807"/>
                <a:gd name="connsiteX714" fmla="*/ 967115 w 2663946"/>
                <a:gd name="connsiteY714" fmla="*/ 131087 h 348807"/>
                <a:gd name="connsiteX715" fmla="*/ 966575 w 2663946"/>
                <a:gd name="connsiteY715" fmla="*/ 131087 h 348807"/>
                <a:gd name="connsiteX716" fmla="*/ 965763 w 2663946"/>
                <a:gd name="connsiteY716" fmla="*/ 131087 h 348807"/>
                <a:gd name="connsiteX717" fmla="*/ 964952 w 2663946"/>
                <a:gd name="connsiteY717" fmla="*/ 130817 h 348807"/>
                <a:gd name="connsiteX718" fmla="*/ 961437 w 2663946"/>
                <a:gd name="connsiteY718" fmla="*/ 128924 h 348807"/>
                <a:gd name="connsiteX719" fmla="*/ 959004 w 2663946"/>
                <a:gd name="connsiteY719" fmla="*/ 123246 h 348807"/>
                <a:gd name="connsiteX720" fmla="*/ 961167 w 2663946"/>
                <a:gd name="connsiteY720" fmla="*/ 118109 h 348807"/>
                <a:gd name="connsiteX721" fmla="*/ 966845 w 2663946"/>
                <a:gd name="connsiteY721" fmla="*/ 115675 h 348807"/>
                <a:gd name="connsiteX722" fmla="*/ 974686 w 2663946"/>
                <a:gd name="connsiteY722" fmla="*/ 115675 h 348807"/>
                <a:gd name="connsiteX723" fmla="*/ 975227 w 2663946"/>
                <a:gd name="connsiteY723" fmla="*/ 115135 h 348807"/>
                <a:gd name="connsiteX724" fmla="*/ 975227 w 2663946"/>
                <a:gd name="connsiteY724" fmla="*/ 69170 h 348807"/>
                <a:gd name="connsiteX725" fmla="*/ 974686 w 2663946"/>
                <a:gd name="connsiteY725" fmla="*/ 68629 h 348807"/>
                <a:gd name="connsiteX726" fmla="*/ 968738 w 2663946"/>
                <a:gd name="connsiteY726" fmla="*/ 68629 h 348807"/>
                <a:gd name="connsiteX727" fmla="*/ 961437 w 2663946"/>
                <a:gd name="connsiteY727" fmla="*/ 64033 h 348807"/>
                <a:gd name="connsiteX728" fmla="*/ 961167 w 2663946"/>
                <a:gd name="connsiteY728" fmla="*/ 58355 h 348807"/>
                <a:gd name="connsiteX729" fmla="*/ 968467 w 2663946"/>
                <a:gd name="connsiteY729" fmla="*/ 53218 h 348807"/>
                <a:gd name="connsiteX730" fmla="*/ 980634 w 2663946"/>
                <a:gd name="connsiteY730" fmla="*/ 52947 h 348807"/>
                <a:gd name="connsiteX731" fmla="*/ 813605 w 2663946"/>
                <a:gd name="connsiteY731" fmla="*/ 52947 h 348807"/>
                <a:gd name="connsiteX732" fmla="*/ 817661 w 2663946"/>
                <a:gd name="connsiteY732" fmla="*/ 52947 h 348807"/>
                <a:gd name="connsiteX733" fmla="*/ 822257 w 2663946"/>
                <a:gd name="connsiteY733" fmla="*/ 55381 h 348807"/>
                <a:gd name="connsiteX734" fmla="*/ 824420 w 2663946"/>
                <a:gd name="connsiteY734" fmla="*/ 61599 h 348807"/>
                <a:gd name="connsiteX735" fmla="*/ 824420 w 2663946"/>
                <a:gd name="connsiteY735" fmla="*/ 62140 h 348807"/>
                <a:gd name="connsiteX736" fmla="*/ 824420 w 2663946"/>
                <a:gd name="connsiteY736" fmla="*/ 115135 h 348807"/>
                <a:gd name="connsiteX737" fmla="*/ 824961 w 2663946"/>
                <a:gd name="connsiteY737" fmla="*/ 115675 h 348807"/>
                <a:gd name="connsiteX738" fmla="*/ 832261 w 2663946"/>
                <a:gd name="connsiteY738" fmla="*/ 115675 h 348807"/>
                <a:gd name="connsiteX739" fmla="*/ 836317 w 2663946"/>
                <a:gd name="connsiteY739" fmla="*/ 116757 h 348807"/>
                <a:gd name="connsiteX740" fmla="*/ 840102 w 2663946"/>
                <a:gd name="connsiteY740" fmla="*/ 123516 h 348807"/>
                <a:gd name="connsiteX741" fmla="*/ 837399 w 2663946"/>
                <a:gd name="connsiteY741" fmla="*/ 129194 h 348807"/>
                <a:gd name="connsiteX742" fmla="*/ 833343 w 2663946"/>
                <a:gd name="connsiteY742" fmla="*/ 131087 h 348807"/>
                <a:gd name="connsiteX743" fmla="*/ 833073 w 2663946"/>
                <a:gd name="connsiteY743" fmla="*/ 131087 h 348807"/>
                <a:gd name="connsiteX744" fmla="*/ 832802 w 2663946"/>
                <a:gd name="connsiteY744" fmla="*/ 131087 h 348807"/>
                <a:gd name="connsiteX745" fmla="*/ 832261 w 2663946"/>
                <a:gd name="connsiteY745" fmla="*/ 131087 h 348807"/>
                <a:gd name="connsiteX746" fmla="*/ 800086 w 2663946"/>
                <a:gd name="connsiteY746" fmla="*/ 131087 h 348807"/>
                <a:gd name="connsiteX747" fmla="*/ 799546 w 2663946"/>
                <a:gd name="connsiteY747" fmla="*/ 131087 h 348807"/>
                <a:gd name="connsiteX748" fmla="*/ 798734 w 2663946"/>
                <a:gd name="connsiteY748" fmla="*/ 131087 h 348807"/>
                <a:gd name="connsiteX749" fmla="*/ 797923 w 2663946"/>
                <a:gd name="connsiteY749" fmla="*/ 130817 h 348807"/>
                <a:gd name="connsiteX750" fmla="*/ 794408 w 2663946"/>
                <a:gd name="connsiteY750" fmla="*/ 128924 h 348807"/>
                <a:gd name="connsiteX751" fmla="*/ 791975 w 2663946"/>
                <a:gd name="connsiteY751" fmla="*/ 123246 h 348807"/>
                <a:gd name="connsiteX752" fmla="*/ 794138 w 2663946"/>
                <a:gd name="connsiteY752" fmla="*/ 118109 h 348807"/>
                <a:gd name="connsiteX753" fmla="*/ 799816 w 2663946"/>
                <a:gd name="connsiteY753" fmla="*/ 115675 h 348807"/>
                <a:gd name="connsiteX754" fmla="*/ 807657 w 2663946"/>
                <a:gd name="connsiteY754" fmla="*/ 115675 h 348807"/>
                <a:gd name="connsiteX755" fmla="*/ 808198 w 2663946"/>
                <a:gd name="connsiteY755" fmla="*/ 115135 h 348807"/>
                <a:gd name="connsiteX756" fmla="*/ 808198 w 2663946"/>
                <a:gd name="connsiteY756" fmla="*/ 69170 h 348807"/>
                <a:gd name="connsiteX757" fmla="*/ 807657 w 2663946"/>
                <a:gd name="connsiteY757" fmla="*/ 68629 h 348807"/>
                <a:gd name="connsiteX758" fmla="*/ 801709 w 2663946"/>
                <a:gd name="connsiteY758" fmla="*/ 68629 h 348807"/>
                <a:gd name="connsiteX759" fmla="*/ 794408 w 2663946"/>
                <a:gd name="connsiteY759" fmla="*/ 64033 h 348807"/>
                <a:gd name="connsiteX760" fmla="*/ 794138 w 2663946"/>
                <a:gd name="connsiteY760" fmla="*/ 58355 h 348807"/>
                <a:gd name="connsiteX761" fmla="*/ 801438 w 2663946"/>
                <a:gd name="connsiteY761" fmla="*/ 53218 h 348807"/>
                <a:gd name="connsiteX762" fmla="*/ 813605 w 2663946"/>
                <a:gd name="connsiteY762" fmla="*/ 52947 h 348807"/>
                <a:gd name="connsiteX763" fmla="*/ 282748 w 2663946"/>
                <a:gd name="connsiteY763" fmla="*/ 52947 h 348807"/>
                <a:gd name="connsiteX764" fmla="*/ 286803 w 2663946"/>
                <a:gd name="connsiteY764" fmla="*/ 52947 h 348807"/>
                <a:gd name="connsiteX765" fmla="*/ 291400 w 2663946"/>
                <a:gd name="connsiteY765" fmla="*/ 55381 h 348807"/>
                <a:gd name="connsiteX766" fmla="*/ 293563 w 2663946"/>
                <a:gd name="connsiteY766" fmla="*/ 61599 h 348807"/>
                <a:gd name="connsiteX767" fmla="*/ 293563 w 2663946"/>
                <a:gd name="connsiteY767" fmla="*/ 62140 h 348807"/>
                <a:gd name="connsiteX768" fmla="*/ 293563 w 2663946"/>
                <a:gd name="connsiteY768" fmla="*/ 115135 h 348807"/>
                <a:gd name="connsiteX769" fmla="*/ 294104 w 2663946"/>
                <a:gd name="connsiteY769" fmla="*/ 115675 h 348807"/>
                <a:gd name="connsiteX770" fmla="*/ 301404 w 2663946"/>
                <a:gd name="connsiteY770" fmla="*/ 115675 h 348807"/>
                <a:gd name="connsiteX771" fmla="*/ 305460 w 2663946"/>
                <a:gd name="connsiteY771" fmla="*/ 116757 h 348807"/>
                <a:gd name="connsiteX772" fmla="*/ 309245 w 2663946"/>
                <a:gd name="connsiteY772" fmla="*/ 123516 h 348807"/>
                <a:gd name="connsiteX773" fmla="*/ 306541 w 2663946"/>
                <a:gd name="connsiteY773" fmla="*/ 129194 h 348807"/>
                <a:gd name="connsiteX774" fmla="*/ 302485 w 2663946"/>
                <a:gd name="connsiteY774" fmla="*/ 131087 h 348807"/>
                <a:gd name="connsiteX775" fmla="*/ 302215 w 2663946"/>
                <a:gd name="connsiteY775" fmla="*/ 131087 h 348807"/>
                <a:gd name="connsiteX776" fmla="*/ 301945 w 2663946"/>
                <a:gd name="connsiteY776" fmla="*/ 131087 h 348807"/>
                <a:gd name="connsiteX777" fmla="*/ 301404 w 2663946"/>
                <a:gd name="connsiteY777" fmla="*/ 131087 h 348807"/>
                <a:gd name="connsiteX778" fmla="*/ 269229 w 2663946"/>
                <a:gd name="connsiteY778" fmla="*/ 131087 h 348807"/>
                <a:gd name="connsiteX779" fmla="*/ 268688 w 2663946"/>
                <a:gd name="connsiteY779" fmla="*/ 131087 h 348807"/>
                <a:gd name="connsiteX780" fmla="*/ 267877 w 2663946"/>
                <a:gd name="connsiteY780" fmla="*/ 131087 h 348807"/>
                <a:gd name="connsiteX781" fmla="*/ 267066 w 2663946"/>
                <a:gd name="connsiteY781" fmla="*/ 130817 h 348807"/>
                <a:gd name="connsiteX782" fmla="*/ 263551 w 2663946"/>
                <a:gd name="connsiteY782" fmla="*/ 128924 h 348807"/>
                <a:gd name="connsiteX783" fmla="*/ 261117 w 2663946"/>
                <a:gd name="connsiteY783" fmla="*/ 123246 h 348807"/>
                <a:gd name="connsiteX784" fmla="*/ 263281 w 2663946"/>
                <a:gd name="connsiteY784" fmla="*/ 118109 h 348807"/>
                <a:gd name="connsiteX785" fmla="*/ 268958 w 2663946"/>
                <a:gd name="connsiteY785" fmla="*/ 115675 h 348807"/>
                <a:gd name="connsiteX786" fmla="*/ 276800 w 2663946"/>
                <a:gd name="connsiteY786" fmla="*/ 115675 h 348807"/>
                <a:gd name="connsiteX787" fmla="*/ 277340 w 2663946"/>
                <a:gd name="connsiteY787" fmla="*/ 115135 h 348807"/>
                <a:gd name="connsiteX788" fmla="*/ 277340 w 2663946"/>
                <a:gd name="connsiteY788" fmla="*/ 69170 h 348807"/>
                <a:gd name="connsiteX789" fmla="*/ 276800 w 2663946"/>
                <a:gd name="connsiteY789" fmla="*/ 68629 h 348807"/>
                <a:gd name="connsiteX790" fmla="*/ 270851 w 2663946"/>
                <a:gd name="connsiteY790" fmla="*/ 68629 h 348807"/>
                <a:gd name="connsiteX791" fmla="*/ 263551 w 2663946"/>
                <a:gd name="connsiteY791" fmla="*/ 64033 h 348807"/>
                <a:gd name="connsiteX792" fmla="*/ 263281 w 2663946"/>
                <a:gd name="connsiteY792" fmla="*/ 58355 h 348807"/>
                <a:gd name="connsiteX793" fmla="*/ 270581 w 2663946"/>
                <a:gd name="connsiteY793" fmla="*/ 53218 h 348807"/>
                <a:gd name="connsiteX794" fmla="*/ 282748 w 2663946"/>
                <a:gd name="connsiteY794" fmla="*/ 52947 h 348807"/>
                <a:gd name="connsiteX795" fmla="*/ 206731 w 2663946"/>
                <a:gd name="connsiteY795" fmla="*/ 52947 h 348807"/>
                <a:gd name="connsiteX796" fmla="*/ 210787 w 2663946"/>
                <a:gd name="connsiteY796" fmla="*/ 52947 h 348807"/>
                <a:gd name="connsiteX797" fmla="*/ 215383 w 2663946"/>
                <a:gd name="connsiteY797" fmla="*/ 55381 h 348807"/>
                <a:gd name="connsiteX798" fmla="*/ 217546 w 2663946"/>
                <a:gd name="connsiteY798" fmla="*/ 61599 h 348807"/>
                <a:gd name="connsiteX799" fmla="*/ 217546 w 2663946"/>
                <a:gd name="connsiteY799" fmla="*/ 62140 h 348807"/>
                <a:gd name="connsiteX800" fmla="*/ 217546 w 2663946"/>
                <a:gd name="connsiteY800" fmla="*/ 115135 h 348807"/>
                <a:gd name="connsiteX801" fmla="*/ 218087 w 2663946"/>
                <a:gd name="connsiteY801" fmla="*/ 115675 h 348807"/>
                <a:gd name="connsiteX802" fmla="*/ 225387 w 2663946"/>
                <a:gd name="connsiteY802" fmla="*/ 115675 h 348807"/>
                <a:gd name="connsiteX803" fmla="*/ 229443 w 2663946"/>
                <a:gd name="connsiteY803" fmla="*/ 116757 h 348807"/>
                <a:gd name="connsiteX804" fmla="*/ 233228 w 2663946"/>
                <a:gd name="connsiteY804" fmla="*/ 123516 h 348807"/>
                <a:gd name="connsiteX805" fmla="*/ 230524 w 2663946"/>
                <a:gd name="connsiteY805" fmla="*/ 129194 h 348807"/>
                <a:gd name="connsiteX806" fmla="*/ 226468 w 2663946"/>
                <a:gd name="connsiteY806" fmla="*/ 131087 h 348807"/>
                <a:gd name="connsiteX807" fmla="*/ 226198 w 2663946"/>
                <a:gd name="connsiteY807" fmla="*/ 131087 h 348807"/>
                <a:gd name="connsiteX808" fmla="*/ 225928 w 2663946"/>
                <a:gd name="connsiteY808" fmla="*/ 131087 h 348807"/>
                <a:gd name="connsiteX809" fmla="*/ 225387 w 2663946"/>
                <a:gd name="connsiteY809" fmla="*/ 131087 h 348807"/>
                <a:gd name="connsiteX810" fmla="*/ 193212 w 2663946"/>
                <a:gd name="connsiteY810" fmla="*/ 131087 h 348807"/>
                <a:gd name="connsiteX811" fmla="*/ 192671 w 2663946"/>
                <a:gd name="connsiteY811" fmla="*/ 131087 h 348807"/>
                <a:gd name="connsiteX812" fmla="*/ 191860 w 2663946"/>
                <a:gd name="connsiteY812" fmla="*/ 131087 h 348807"/>
                <a:gd name="connsiteX813" fmla="*/ 191049 w 2663946"/>
                <a:gd name="connsiteY813" fmla="*/ 130817 h 348807"/>
                <a:gd name="connsiteX814" fmla="*/ 187534 w 2663946"/>
                <a:gd name="connsiteY814" fmla="*/ 128924 h 348807"/>
                <a:gd name="connsiteX815" fmla="*/ 185101 w 2663946"/>
                <a:gd name="connsiteY815" fmla="*/ 123246 h 348807"/>
                <a:gd name="connsiteX816" fmla="*/ 187264 w 2663946"/>
                <a:gd name="connsiteY816" fmla="*/ 118109 h 348807"/>
                <a:gd name="connsiteX817" fmla="*/ 192942 w 2663946"/>
                <a:gd name="connsiteY817" fmla="*/ 115675 h 348807"/>
                <a:gd name="connsiteX818" fmla="*/ 200783 w 2663946"/>
                <a:gd name="connsiteY818" fmla="*/ 115675 h 348807"/>
                <a:gd name="connsiteX819" fmla="*/ 201323 w 2663946"/>
                <a:gd name="connsiteY819" fmla="*/ 115135 h 348807"/>
                <a:gd name="connsiteX820" fmla="*/ 201323 w 2663946"/>
                <a:gd name="connsiteY820" fmla="*/ 69170 h 348807"/>
                <a:gd name="connsiteX821" fmla="*/ 200783 w 2663946"/>
                <a:gd name="connsiteY821" fmla="*/ 68629 h 348807"/>
                <a:gd name="connsiteX822" fmla="*/ 194834 w 2663946"/>
                <a:gd name="connsiteY822" fmla="*/ 68629 h 348807"/>
                <a:gd name="connsiteX823" fmla="*/ 187534 w 2663946"/>
                <a:gd name="connsiteY823" fmla="*/ 64033 h 348807"/>
                <a:gd name="connsiteX824" fmla="*/ 187264 w 2663946"/>
                <a:gd name="connsiteY824" fmla="*/ 58355 h 348807"/>
                <a:gd name="connsiteX825" fmla="*/ 194564 w 2663946"/>
                <a:gd name="connsiteY825" fmla="*/ 53218 h 348807"/>
                <a:gd name="connsiteX826" fmla="*/ 206731 w 2663946"/>
                <a:gd name="connsiteY826" fmla="*/ 52947 h 348807"/>
                <a:gd name="connsiteX827" fmla="*/ 2627559 w 2663946"/>
                <a:gd name="connsiteY827" fmla="*/ 52878 h 348807"/>
                <a:gd name="connsiteX828" fmla="*/ 2639849 w 2663946"/>
                <a:gd name="connsiteY828" fmla="*/ 55041 h 348807"/>
                <a:gd name="connsiteX829" fmla="*/ 2647223 w 2663946"/>
                <a:gd name="connsiteY829" fmla="*/ 59638 h 348807"/>
                <a:gd name="connsiteX830" fmla="*/ 2650664 w 2663946"/>
                <a:gd name="connsiteY830" fmla="*/ 62882 h 348807"/>
                <a:gd name="connsiteX831" fmla="*/ 2654106 w 2663946"/>
                <a:gd name="connsiteY831" fmla="*/ 67208 h 348807"/>
                <a:gd name="connsiteX832" fmla="*/ 2656072 w 2663946"/>
                <a:gd name="connsiteY832" fmla="*/ 70723 h 348807"/>
                <a:gd name="connsiteX833" fmla="*/ 2658284 w 2663946"/>
                <a:gd name="connsiteY833" fmla="*/ 76131 h 348807"/>
                <a:gd name="connsiteX834" fmla="*/ 2659267 w 2663946"/>
                <a:gd name="connsiteY834" fmla="*/ 79646 h 348807"/>
                <a:gd name="connsiteX835" fmla="*/ 2660251 w 2663946"/>
                <a:gd name="connsiteY835" fmla="*/ 84783 h 348807"/>
                <a:gd name="connsiteX836" fmla="*/ 2660005 w 2663946"/>
                <a:gd name="connsiteY836" fmla="*/ 99113 h 348807"/>
                <a:gd name="connsiteX837" fmla="*/ 2659022 w 2663946"/>
                <a:gd name="connsiteY837" fmla="*/ 103980 h 348807"/>
                <a:gd name="connsiteX838" fmla="*/ 2657792 w 2663946"/>
                <a:gd name="connsiteY838" fmla="*/ 107765 h 348807"/>
                <a:gd name="connsiteX839" fmla="*/ 2656809 w 2663946"/>
                <a:gd name="connsiteY839" fmla="*/ 110199 h 348807"/>
                <a:gd name="connsiteX840" fmla="*/ 2654597 w 2663946"/>
                <a:gd name="connsiteY840" fmla="*/ 114525 h 348807"/>
                <a:gd name="connsiteX841" fmla="*/ 2652385 w 2663946"/>
                <a:gd name="connsiteY841" fmla="*/ 117769 h 348807"/>
                <a:gd name="connsiteX842" fmla="*/ 2648944 w 2663946"/>
                <a:gd name="connsiteY842" fmla="*/ 121555 h 348807"/>
                <a:gd name="connsiteX843" fmla="*/ 2645748 w 2663946"/>
                <a:gd name="connsiteY843" fmla="*/ 124258 h 348807"/>
                <a:gd name="connsiteX844" fmla="*/ 2640095 w 2663946"/>
                <a:gd name="connsiteY844" fmla="*/ 127503 h 348807"/>
                <a:gd name="connsiteX845" fmla="*/ 2632229 w 2663946"/>
                <a:gd name="connsiteY845" fmla="*/ 129666 h 348807"/>
                <a:gd name="connsiteX846" fmla="*/ 2631000 w 2663946"/>
                <a:gd name="connsiteY846" fmla="*/ 129937 h 348807"/>
                <a:gd name="connsiteX847" fmla="*/ 2626821 w 2663946"/>
                <a:gd name="connsiteY847" fmla="*/ 129937 h 348807"/>
                <a:gd name="connsiteX848" fmla="*/ 2626576 w 2663946"/>
                <a:gd name="connsiteY848" fmla="*/ 129937 h 348807"/>
                <a:gd name="connsiteX849" fmla="*/ 2613548 w 2663946"/>
                <a:gd name="connsiteY849" fmla="*/ 125070 h 348807"/>
                <a:gd name="connsiteX850" fmla="*/ 2608878 w 2663946"/>
                <a:gd name="connsiteY850" fmla="*/ 121014 h 348807"/>
                <a:gd name="connsiteX851" fmla="*/ 2605682 w 2663946"/>
                <a:gd name="connsiteY851" fmla="*/ 117229 h 348807"/>
                <a:gd name="connsiteX852" fmla="*/ 2603470 w 2663946"/>
                <a:gd name="connsiteY852" fmla="*/ 113714 h 348807"/>
                <a:gd name="connsiteX853" fmla="*/ 2601258 w 2663946"/>
                <a:gd name="connsiteY853" fmla="*/ 109388 h 348807"/>
                <a:gd name="connsiteX854" fmla="*/ 2600029 w 2663946"/>
                <a:gd name="connsiteY854" fmla="*/ 106413 h 348807"/>
                <a:gd name="connsiteX855" fmla="*/ 2599046 w 2663946"/>
                <a:gd name="connsiteY855" fmla="*/ 103169 h 348807"/>
                <a:gd name="connsiteX856" fmla="*/ 2597816 w 2663946"/>
                <a:gd name="connsiteY856" fmla="*/ 97491 h 348807"/>
                <a:gd name="connsiteX857" fmla="*/ 2597571 w 2663946"/>
                <a:gd name="connsiteY857" fmla="*/ 94517 h 348807"/>
                <a:gd name="connsiteX858" fmla="*/ 2597816 w 2663946"/>
                <a:gd name="connsiteY858" fmla="*/ 94787 h 348807"/>
                <a:gd name="connsiteX859" fmla="*/ 2597816 w 2663946"/>
                <a:gd name="connsiteY859" fmla="*/ 89109 h 348807"/>
                <a:gd name="connsiteX860" fmla="*/ 2597816 w 2663946"/>
                <a:gd name="connsiteY860" fmla="*/ 88839 h 348807"/>
                <a:gd name="connsiteX861" fmla="*/ 2598308 w 2663946"/>
                <a:gd name="connsiteY861" fmla="*/ 84242 h 348807"/>
                <a:gd name="connsiteX862" fmla="*/ 2599537 w 2663946"/>
                <a:gd name="connsiteY862" fmla="*/ 78835 h 348807"/>
                <a:gd name="connsiteX863" fmla="*/ 2600520 w 2663946"/>
                <a:gd name="connsiteY863" fmla="*/ 75590 h 348807"/>
                <a:gd name="connsiteX864" fmla="*/ 2602732 w 2663946"/>
                <a:gd name="connsiteY864" fmla="*/ 70453 h 348807"/>
                <a:gd name="connsiteX865" fmla="*/ 2604945 w 2663946"/>
                <a:gd name="connsiteY865" fmla="*/ 66668 h 348807"/>
                <a:gd name="connsiteX866" fmla="*/ 2607157 w 2663946"/>
                <a:gd name="connsiteY866" fmla="*/ 63693 h 348807"/>
                <a:gd name="connsiteX867" fmla="*/ 2609369 w 2663946"/>
                <a:gd name="connsiteY867" fmla="*/ 61260 h 348807"/>
                <a:gd name="connsiteX868" fmla="*/ 2614039 w 2663946"/>
                <a:gd name="connsiteY868" fmla="*/ 57475 h 348807"/>
                <a:gd name="connsiteX869" fmla="*/ 2617972 w 2663946"/>
                <a:gd name="connsiteY869" fmla="*/ 55312 h 348807"/>
                <a:gd name="connsiteX870" fmla="*/ 2627559 w 2663946"/>
                <a:gd name="connsiteY870" fmla="*/ 52878 h 348807"/>
                <a:gd name="connsiteX871" fmla="*/ 2445604 w 2663946"/>
                <a:gd name="connsiteY871" fmla="*/ 52878 h 348807"/>
                <a:gd name="connsiteX872" fmla="*/ 2457894 w 2663946"/>
                <a:gd name="connsiteY872" fmla="*/ 55041 h 348807"/>
                <a:gd name="connsiteX873" fmla="*/ 2465268 w 2663946"/>
                <a:gd name="connsiteY873" fmla="*/ 59638 h 348807"/>
                <a:gd name="connsiteX874" fmla="*/ 2468709 w 2663946"/>
                <a:gd name="connsiteY874" fmla="*/ 62882 h 348807"/>
                <a:gd name="connsiteX875" fmla="*/ 2472151 w 2663946"/>
                <a:gd name="connsiteY875" fmla="*/ 67208 h 348807"/>
                <a:gd name="connsiteX876" fmla="*/ 2474117 w 2663946"/>
                <a:gd name="connsiteY876" fmla="*/ 70723 h 348807"/>
                <a:gd name="connsiteX877" fmla="*/ 2476329 w 2663946"/>
                <a:gd name="connsiteY877" fmla="*/ 76131 h 348807"/>
                <a:gd name="connsiteX878" fmla="*/ 2477312 w 2663946"/>
                <a:gd name="connsiteY878" fmla="*/ 79646 h 348807"/>
                <a:gd name="connsiteX879" fmla="*/ 2478296 w 2663946"/>
                <a:gd name="connsiteY879" fmla="*/ 84783 h 348807"/>
                <a:gd name="connsiteX880" fmla="*/ 2478050 w 2663946"/>
                <a:gd name="connsiteY880" fmla="*/ 99113 h 348807"/>
                <a:gd name="connsiteX881" fmla="*/ 2477067 w 2663946"/>
                <a:gd name="connsiteY881" fmla="*/ 103980 h 348807"/>
                <a:gd name="connsiteX882" fmla="*/ 2475837 w 2663946"/>
                <a:gd name="connsiteY882" fmla="*/ 107765 h 348807"/>
                <a:gd name="connsiteX883" fmla="*/ 2474854 w 2663946"/>
                <a:gd name="connsiteY883" fmla="*/ 110199 h 348807"/>
                <a:gd name="connsiteX884" fmla="*/ 2472642 w 2663946"/>
                <a:gd name="connsiteY884" fmla="*/ 114525 h 348807"/>
                <a:gd name="connsiteX885" fmla="*/ 2470430 w 2663946"/>
                <a:gd name="connsiteY885" fmla="*/ 117769 h 348807"/>
                <a:gd name="connsiteX886" fmla="*/ 2466989 w 2663946"/>
                <a:gd name="connsiteY886" fmla="*/ 121555 h 348807"/>
                <a:gd name="connsiteX887" fmla="*/ 2463793 w 2663946"/>
                <a:gd name="connsiteY887" fmla="*/ 124258 h 348807"/>
                <a:gd name="connsiteX888" fmla="*/ 2458140 w 2663946"/>
                <a:gd name="connsiteY888" fmla="*/ 127503 h 348807"/>
                <a:gd name="connsiteX889" fmla="*/ 2450274 w 2663946"/>
                <a:gd name="connsiteY889" fmla="*/ 129666 h 348807"/>
                <a:gd name="connsiteX890" fmla="*/ 2449045 w 2663946"/>
                <a:gd name="connsiteY890" fmla="*/ 129937 h 348807"/>
                <a:gd name="connsiteX891" fmla="*/ 2444866 w 2663946"/>
                <a:gd name="connsiteY891" fmla="*/ 129937 h 348807"/>
                <a:gd name="connsiteX892" fmla="*/ 2444621 w 2663946"/>
                <a:gd name="connsiteY892" fmla="*/ 129937 h 348807"/>
                <a:gd name="connsiteX893" fmla="*/ 2431593 w 2663946"/>
                <a:gd name="connsiteY893" fmla="*/ 125070 h 348807"/>
                <a:gd name="connsiteX894" fmla="*/ 2426923 w 2663946"/>
                <a:gd name="connsiteY894" fmla="*/ 121014 h 348807"/>
                <a:gd name="connsiteX895" fmla="*/ 2423727 w 2663946"/>
                <a:gd name="connsiteY895" fmla="*/ 117229 h 348807"/>
                <a:gd name="connsiteX896" fmla="*/ 2421515 w 2663946"/>
                <a:gd name="connsiteY896" fmla="*/ 113714 h 348807"/>
                <a:gd name="connsiteX897" fmla="*/ 2419303 w 2663946"/>
                <a:gd name="connsiteY897" fmla="*/ 109388 h 348807"/>
                <a:gd name="connsiteX898" fmla="*/ 2418074 w 2663946"/>
                <a:gd name="connsiteY898" fmla="*/ 106413 h 348807"/>
                <a:gd name="connsiteX899" fmla="*/ 2417091 w 2663946"/>
                <a:gd name="connsiteY899" fmla="*/ 103169 h 348807"/>
                <a:gd name="connsiteX900" fmla="*/ 2415861 w 2663946"/>
                <a:gd name="connsiteY900" fmla="*/ 97491 h 348807"/>
                <a:gd name="connsiteX901" fmla="*/ 2415616 w 2663946"/>
                <a:gd name="connsiteY901" fmla="*/ 94517 h 348807"/>
                <a:gd name="connsiteX902" fmla="*/ 2415861 w 2663946"/>
                <a:gd name="connsiteY902" fmla="*/ 94787 h 348807"/>
                <a:gd name="connsiteX903" fmla="*/ 2415861 w 2663946"/>
                <a:gd name="connsiteY903" fmla="*/ 89109 h 348807"/>
                <a:gd name="connsiteX904" fmla="*/ 2415861 w 2663946"/>
                <a:gd name="connsiteY904" fmla="*/ 88839 h 348807"/>
                <a:gd name="connsiteX905" fmla="*/ 2416353 w 2663946"/>
                <a:gd name="connsiteY905" fmla="*/ 84242 h 348807"/>
                <a:gd name="connsiteX906" fmla="*/ 2417582 w 2663946"/>
                <a:gd name="connsiteY906" fmla="*/ 78835 h 348807"/>
                <a:gd name="connsiteX907" fmla="*/ 2418565 w 2663946"/>
                <a:gd name="connsiteY907" fmla="*/ 75590 h 348807"/>
                <a:gd name="connsiteX908" fmla="*/ 2420777 w 2663946"/>
                <a:gd name="connsiteY908" fmla="*/ 70453 h 348807"/>
                <a:gd name="connsiteX909" fmla="*/ 2422990 w 2663946"/>
                <a:gd name="connsiteY909" fmla="*/ 66668 h 348807"/>
                <a:gd name="connsiteX910" fmla="*/ 2425202 w 2663946"/>
                <a:gd name="connsiteY910" fmla="*/ 63693 h 348807"/>
                <a:gd name="connsiteX911" fmla="*/ 2427414 w 2663946"/>
                <a:gd name="connsiteY911" fmla="*/ 61260 h 348807"/>
                <a:gd name="connsiteX912" fmla="*/ 2432084 w 2663946"/>
                <a:gd name="connsiteY912" fmla="*/ 57475 h 348807"/>
                <a:gd name="connsiteX913" fmla="*/ 2436017 w 2663946"/>
                <a:gd name="connsiteY913" fmla="*/ 55312 h 348807"/>
                <a:gd name="connsiteX914" fmla="*/ 2445604 w 2663946"/>
                <a:gd name="connsiteY914" fmla="*/ 52878 h 348807"/>
                <a:gd name="connsiteX915" fmla="*/ 2202558 w 2663946"/>
                <a:gd name="connsiteY915" fmla="*/ 52878 h 348807"/>
                <a:gd name="connsiteX916" fmla="*/ 2214848 w 2663946"/>
                <a:gd name="connsiteY916" fmla="*/ 55041 h 348807"/>
                <a:gd name="connsiteX917" fmla="*/ 2222222 w 2663946"/>
                <a:gd name="connsiteY917" fmla="*/ 59638 h 348807"/>
                <a:gd name="connsiteX918" fmla="*/ 2225663 w 2663946"/>
                <a:gd name="connsiteY918" fmla="*/ 62882 h 348807"/>
                <a:gd name="connsiteX919" fmla="*/ 2229105 w 2663946"/>
                <a:gd name="connsiteY919" fmla="*/ 67208 h 348807"/>
                <a:gd name="connsiteX920" fmla="*/ 2231071 w 2663946"/>
                <a:gd name="connsiteY920" fmla="*/ 70723 h 348807"/>
                <a:gd name="connsiteX921" fmla="*/ 2233283 w 2663946"/>
                <a:gd name="connsiteY921" fmla="*/ 76131 h 348807"/>
                <a:gd name="connsiteX922" fmla="*/ 2234266 w 2663946"/>
                <a:gd name="connsiteY922" fmla="*/ 79646 h 348807"/>
                <a:gd name="connsiteX923" fmla="*/ 2235250 w 2663946"/>
                <a:gd name="connsiteY923" fmla="*/ 84783 h 348807"/>
                <a:gd name="connsiteX924" fmla="*/ 2235004 w 2663946"/>
                <a:gd name="connsiteY924" fmla="*/ 99113 h 348807"/>
                <a:gd name="connsiteX925" fmla="*/ 2234021 w 2663946"/>
                <a:gd name="connsiteY925" fmla="*/ 103980 h 348807"/>
                <a:gd name="connsiteX926" fmla="*/ 2232791 w 2663946"/>
                <a:gd name="connsiteY926" fmla="*/ 107765 h 348807"/>
                <a:gd name="connsiteX927" fmla="*/ 2231808 w 2663946"/>
                <a:gd name="connsiteY927" fmla="*/ 110199 h 348807"/>
                <a:gd name="connsiteX928" fmla="*/ 2229596 w 2663946"/>
                <a:gd name="connsiteY928" fmla="*/ 114525 h 348807"/>
                <a:gd name="connsiteX929" fmla="*/ 2227384 w 2663946"/>
                <a:gd name="connsiteY929" fmla="*/ 117769 h 348807"/>
                <a:gd name="connsiteX930" fmla="*/ 2223943 w 2663946"/>
                <a:gd name="connsiteY930" fmla="*/ 121555 h 348807"/>
                <a:gd name="connsiteX931" fmla="*/ 2220747 w 2663946"/>
                <a:gd name="connsiteY931" fmla="*/ 124258 h 348807"/>
                <a:gd name="connsiteX932" fmla="*/ 2215094 w 2663946"/>
                <a:gd name="connsiteY932" fmla="*/ 127503 h 348807"/>
                <a:gd name="connsiteX933" fmla="*/ 2207228 w 2663946"/>
                <a:gd name="connsiteY933" fmla="*/ 129666 h 348807"/>
                <a:gd name="connsiteX934" fmla="*/ 2205999 w 2663946"/>
                <a:gd name="connsiteY934" fmla="*/ 129937 h 348807"/>
                <a:gd name="connsiteX935" fmla="*/ 2201820 w 2663946"/>
                <a:gd name="connsiteY935" fmla="*/ 129937 h 348807"/>
                <a:gd name="connsiteX936" fmla="*/ 2201575 w 2663946"/>
                <a:gd name="connsiteY936" fmla="*/ 129937 h 348807"/>
                <a:gd name="connsiteX937" fmla="*/ 2188547 w 2663946"/>
                <a:gd name="connsiteY937" fmla="*/ 125070 h 348807"/>
                <a:gd name="connsiteX938" fmla="*/ 2183877 w 2663946"/>
                <a:gd name="connsiteY938" fmla="*/ 121014 h 348807"/>
                <a:gd name="connsiteX939" fmla="*/ 2180681 w 2663946"/>
                <a:gd name="connsiteY939" fmla="*/ 117229 h 348807"/>
                <a:gd name="connsiteX940" fmla="*/ 2178469 w 2663946"/>
                <a:gd name="connsiteY940" fmla="*/ 113714 h 348807"/>
                <a:gd name="connsiteX941" fmla="*/ 2176257 w 2663946"/>
                <a:gd name="connsiteY941" fmla="*/ 109388 h 348807"/>
                <a:gd name="connsiteX942" fmla="*/ 2175028 w 2663946"/>
                <a:gd name="connsiteY942" fmla="*/ 106413 h 348807"/>
                <a:gd name="connsiteX943" fmla="*/ 2174045 w 2663946"/>
                <a:gd name="connsiteY943" fmla="*/ 103169 h 348807"/>
                <a:gd name="connsiteX944" fmla="*/ 2172815 w 2663946"/>
                <a:gd name="connsiteY944" fmla="*/ 97491 h 348807"/>
                <a:gd name="connsiteX945" fmla="*/ 2172570 w 2663946"/>
                <a:gd name="connsiteY945" fmla="*/ 94517 h 348807"/>
                <a:gd name="connsiteX946" fmla="*/ 2172815 w 2663946"/>
                <a:gd name="connsiteY946" fmla="*/ 94787 h 348807"/>
                <a:gd name="connsiteX947" fmla="*/ 2172815 w 2663946"/>
                <a:gd name="connsiteY947" fmla="*/ 89109 h 348807"/>
                <a:gd name="connsiteX948" fmla="*/ 2172815 w 2663946"/>
                <a:gd name="connsiteY948" fmla="*/ 88839 h 348807"/>
                <a:gd name="connsiteX949" fmla="*/ 2173307 w 2663946"/>
                <a:gd name="connsiteY949" fmla="*/ 84242 h 348807"/>
                <a:gd name="connsiteX950" fmla="*/ 2174536 w 2663946"/>
                <a:gd name="connsiteY950" fmla="*/ 78835 h 348807"/>
                <a:gd name="connsiteX951" fmla="*/ 2175519 w 2663946"/>
                <a:gd name="connsiteY951" fmla="*/ 75590 h 348807"/>
                <a:gd name="connsiteX952" fmla="*/ 2177731 w 2663946"/>
                <a:gd name="connsiteY952" fmla="*/ 70453 h 348807"/>
                <a:gd name="connsiteX953" fmla="*/ 2179944 w 2663946"/>
                <a:gd name="connsiteY953" fmla="*/ 66668 h 348807"/>
                <a:gd name="connsiteX954" fmla="*/ 2182156 w 2663946"/>
                <a:gd name="connsiteY954" fmla="*/ 63693 h 348807"/>
                <a:gd name="connsiteX955" fmla="*/ 2184368 w 2663946"/>
                <a:gd name="connsiteY955" fmla="*/ 61260 h 348807"/>
                <a:gd name="connsiteX956" fmla="*/ 2189038 w 2663946"/>
                <a:gd name="connsiteY956" fmla="*/ 57475 h 348807"/>
                <a:gd name="connsiteX957" fmla="*/ 2192971 w 2663946"/>
                <a:gd name="connsiteY957" fmla="*/ 55312 h 348807"/>
                <a:gd name="connsiteX958" fmla="*/ 2202558 w 2663946"/>
                <a:gd name="connsiteY958" fmla="*/ 52878 h 348807"/>
                <a:gd name="connsiteX959" fmla="*/ 2020607 w 2663946"/>
                <a:gd name="connsiteY959" fmla="*/ 52878 h 348807"/>
                <a:gd name="connsiteX960" fmla="*/ 2032897 w 2663946"/>
                <a:gd name="connsiteY960" fmla="*/ 55041 h 348807"/>
                <a:gd name="connsiteX961" fmla="*/ 2040271 w 2663946"/>
                <a:gd name="connsiteY961" fmla="*/ 59638 h 348807"/>
                <a:gd name="connsiteX962" fmla="*/ 2043712 w 2663946"/>
                <a:gd name="connsiteY962" fmla="*/ 62882 h 348807"/>
                <a:gd name="connsiteX963" fmla="*/ 2047154 w 2663946"/>
                <a:gd name="connsiteY963" fmla="*/ 67208 h 348807"/>
                <a:gd name="connsiteX964" fmla="*/ 2049120 w 2663946"/>
                <a:gd name="connsiteY964" fmla="*/ 70723 h 348807"/>
                <a:gd name="connsiteX965" fmla="*/ 2051332 w 2663946"/>
                <a:gd name="connsiteY965" fmla="*/ 76131 h 348807"/>
                <a:gd name="connsiteX966" fmla="*/ 2052315 w 2663946"/>
                <a:gd name="connsiteY966" fmla="*/ 79646 h 348807"/>
                <a:gd name="connsiteX967" fmla="*/ 2053299 w 2663946"/>
                <a:gd name="connsiteY967" fmla="*/ 84783 h 348807"/>
                <a:gd name="connsiteX968" fmla="*/ 2053053 w 2663946"/>
                <a:gd name="connsiteY968" fmla="*/ 99113 h 348807"/>
                <a:gd name="connsiteX969" fmla="*/ 2052070 w 2663946"/>
                <a:gd name="connsiteY969" fmla="*/ 103980 h 348807"/>
                <a:gd name="connsiteX970" fmla="*/ 2050840 w 2663946"/>
                <a:gd name="connsiteY970" fmla="*/ 107765 h 348807"/>
                <a:gd name="connsiteX971" fmla="*/ 2049857 w 2663946"/>
                <a:gd name="connsiteY971" fmla="*/ 110199 h 348807"/>
                <a:gd name="connsiteX972" fmla="*/ 2047645 w 2663946"/>
                <a:gd name="connsiteY972" fmla="*/ 114525 h 348807"/>
                <a:gd name="connsiteX973" fmla="*/ 2045433 w 2663946"/>
                <a:gd name="connsiteY973" fmla="*/ 117769 h 348807"/>
                <a:gd name="connsiteX974" fmla="*/ 2041992 w 2663946"/>
                <a:gd name="connsiteY974" fmla="*/ 121555 h 348807"/>
                <a:gd name="connsiteX975" fmla="*/ 2038796 w 2663946"/>
                <a:gd name="connsiteY975" fmla="*/ 124258 h 348807"/>
                <a:gd name="connsiteX976" fmla="*/ 2033143 w 2663946"/>
                <a:gd name="connsiteY976" fmla="*/ 127503 h 348807"/>
                <a:gd name="connsiteX977" fmla="*/ 2025277 w 2663946"/>
                <a:gd name="connsiteY977" fmla="*/ 129666 h 348807"/>
                <a:gd name="connsiteX978" fmla="*/ 2024048 w 2663946"/>
                <a:gd name="connsiteY978" fmla="*/ 129937 h 348807"/>
                <a:gd name="connsiteX979" fmla="*/ 2019869 w 2663946"/>
                <a:gd name="connsiteY979" fmla="*/ 129937 h 348807"/>
                <a:gd name="connsiteX980" fmla="*/ 2019624 w 2663946"/>
                <a:gd name="connsiteY980" fmla="*/ 129937 h 348807"/>
                <a:gd name="connsiteX981" fmla="*/ 2006596 w 2663946"/>
                <a:gd name="connsiteY981" fmla="*/ 125070 h 348807"/>
                <a:gd name="connsiteX982" fmla="*/ 2001926 w 2663946"/>
                <a:gd name="connsiteY982" fmla="*/ 121014 h 348807"/>
                <a:gd name="connsiteX983" fmla="*/ 1998730 w 2663946"/>
                <a:gd name="connsiteY983" fmla="*/ 117229 h 348807"/>
                <a:gd name="connsiteX984" fmla="*/ 1996518 w 2663946"/>
                <a:gd name="connsiteY984" fmla="*/ 113714 h 348807"/>
                <a:gd name="connsiteX985" fmla="*/ 1994306 w 2663946"/>
                <a:gd name="connsiteY985" fmla="*/ 109388 h 348807"/>
                <a:gd name="connsiteX986" fmla="*/ 1993077 w 2663946"/>
                <a:gd name="connsiteY986" fmla="*/ 106413 h 348807"/>
                <a:gd name="connsiteX987" fmla="*/ 1992094 w 2663946"/>
                <a:gd name="connsiteY987" fmla="*/ 103169 h 348807"/>
                <a:gd name="connsiteX988" fmla="*/ 1990864 w 2663946"/>
                <a:gd name="connsiteY988" fmla="*/ 97491 h 348807"/>
                <a:gd name="connsiteX989" fmla="*/ 1990619 w 2663946"/>
                <a:gd name="connsiteY989" fmla="*/ 94517 h 348807"/>
                <a:gd name="connsiteX990" fmla="*/ 1990864 w 2663946"/>
                <a:gd name="connsiteY990" fmla="*/ 94787 h 348807"/>
                <a:gd name="connsiteX991" fmla="*/ 1990864 w 2663946"/>
                <a:gd name="connsiteY991" fmla="*/ 89109 h 348807"/>
                <a:gd name="connsiteX992" fmla="*/ 1990864 w 2663946"/>
                <a:gd name="connsiteY992" fmla="*/ 88839 h 348807"/>
                <a:gd name="connsiteX993" fmla="*/ 1991356 w 2663946"/>
                <a:gd name="connsiteY993" fmla="*/ 84242 h 348807"/>
                <a:gd name="connsiteX994" fmla="*/ 1992585 w 2663946"/>
                <a:gd name="connsiteY994" fmla="*/ 78835 h 348807"/>
                <a:gd name="connsiteX995" fmla="*/ 1993568 w 2663946"/>
                <a:gd name="connsiteY995" fmla="*/ 75590 h 348807"/>
                <a:gd name="connsiteX996" fmla="*/ 1995780 w 2663946"/>
                <a:gd name="connsiteY996" fmla="*/ 70453 h 348807"/>
                <a:gd name="connsiteX997" fmla="*/ 1997993 w 2663946"/>
                <a:gd name="connsiteY997" fmla="*/ 66668 h 348807"/>
                <a:gd name="connsiteX998" fmla="*/ 2000205 w 2663946"/>
                <a:gd name="connsiteY998" fmla="*/ 63693 h 348807"/>
                <a:gd name="connsiteX999" fmla="*/ 2002417 w 2663946"/>
                <a:gd name="connsiteY999" fmla="*/ 61260 h 348807"/>
                <a:gd name="connsiteX1000" fmla="*/ 2007087 w 2663946"/>
                <a:gd name="connsiteY1000" fmla="*/ 57475 h 348807"/>
                <a:gd name="connsiteX1001" fmla="*/ 2011020 w 2663946"/>
                <a:gd name="connsiteY1001" fmla="*/ 55312 h 348807"/>
                <a:gd name="connsiteX1002" fmla="*/ 2020607 w 2663946"/>
                <a:gd name="connsiteY1002" fmla="*/ 52878 h 348807"/>
                <a:gd name="connsiteX1003" fmla="*/ 1595683 w 2663946"/>
                <a:gd name="connsiteY1003" fmla="*/ 52878 h 348807"/>
                <a:gd name="connsiteX1004" fmla="*/ 1607973 w 2663946"/>
                <a:gd name="connsiteY1004" fmla="*/ 55041 h 348807"/>
                <a:gd name="connsiteX1005" fmla="*/ 1615347 w 2663946"/>
                <a:gd name="connsiteY1005" fmla="*/ 59638 h 348807"/>
                <a:gd name="connsiteX1006" fmla="*/ 1618788 w 2663946"/>
                <a:gd name="connsiteY1006" fmla="*/ 62882 h 348807"/>
                <a:gd name="connsiteX1007" fmla="*/ 1622230 w 2663946"/>
                <a:gd name="connsiteY1007" fmla="*/ 67208 h 348807"/>
                <a:gd name="connsiteX1008" fmla="*/ 1624196 w 2663946"/>
                <a:gd name="connsiteY1008" fmla="*/ 70723 h 348807"/>
                <a:gd name="connsiteX1009" fmla="*/ 1626408 w 2663946"/>
                <a:gd name="connsiteY1009" fmla="*/ 76131 h 348807"/>
                <a:gd name="connsiteX1010" fmla="*/ 1627391 w 2663946"/>
                <a:gd name="connsiteY1010" fmla="*/ 79646 h 348807"/>
                <a:gd name="connsiteX1011" fmla="*/ 1628374 w 2663946"/>
                <a:gd name="connsiteY1011" fmla="*/ 84783 h 348807"/>
                <a:gd name="connsiteX1012" fmla="*/ 1628129 w 2663946"/>
                <a:gd name="connsiteY1012" fmla="*/ 99113 h 348807"/>
                <a:gd name="connsiteX1013" fmla="*/ 1627146 w 2663946"/>
                <a:gd name="connsiteY1013" fmla="*/ 103980 h 348807"/>
                <a:gd name="connsiteX1014" fmla="*/ 1625916 w 2663946"/>
                <a:gd name="connsiteY1014" fmla="*/ 107765 h 348807"/>
                <a:gd name="connsiteX1015" fmla="*/ 1624933 w 2663946"/>
                <a:gd name="connsiteY1015" fmla="*/ 110199 h 348807"/>
                <a:gd name="connsiteX1016" fmla="*/ 1622721 w 2663946"/>
                <a:gd name="connsiteY1016" fmla="*/ 114525 h 348807"/>
                <a:gd name="connsiteX1017" fmla="*/ 1620509 w 2663946"/>
                <a:gd name="connsiteY1017" fmla="*/ 117769 h 348807"/>
                <a:gd name="connsiteX1018" fmla="*/ 1617068 w 2663946"/>
                <a:gd name="connsiteY1018" fmla="*/ 121555 h 348807"/>
                <a:gd name="connsiteX1019" fmla="*/ 1613872 w 2663946"/>
                <a:gd name="connsiteY1019" fmla="*/ 124258 h 348807"/>
                <a:gd name="connsiteX1020" fmla="*/ 1608219 w 2663946"/>
                <a:gd name="connsiteY1020" fmla="*/ 127503 h 348807"/>
                <a:gd name="connsiteX1021" fmla="*/ 1600353 w 2663946"/>
                <a:gd name="connsiteY1021" fmla="*/ 129666 h 348807"/>
                <a:gd name="connsiteX1022" fmla="*/ 1599124 w 2663946"/>
                <a:gd name="connsiteY1022" fmla="*/ 129937 h 348807"/>
                <a:gd name="connsiteX1023" fmla="*/ 1594945 w 2663946"/>
                <a:gd name="connsiteY1023" fmla="*/ 129937 h 348807"/>
                <a:gd name="connsiteX1024" fmla="*/ 1594699 w 2663946"/>
                <a:gd name="connsiteY1024" fmla="*/ 129937 h 348807"/>
                <a:gd name="connsiteX1025" fmla="*/ 1581672 w 2663946"/>
                <a:gd name="connsiteY1025" fmla="*/ 125070 h 348807"/>
                <a:gd name="connsiteX1026" fmla="*/ 1577002 w 2663946"/>
                <a:gd name="connsiteY1026" fmla="*/ 121014 h 348807"/>
                <a:gd name="connsiteX1027" fmla="*/ 1573806 w 2663946"/>
                <a:gd name="connsiteY1027" fmla="*/ 117229 h 348807"/>
                <a:gd name="connsiteX1028" fmla="*/ 1571594 w 2663946"/>
                <a:gd name="connsiteY1028" fmla="*/ 113714 h 348807"/>
                <a:gd name="connsiteX1029" fmla="*/ 1569382 w 2663946"/>
                <a:gd name="connsiteY1029" fmla="*/ 109388 h 348807"/>
                <a:gd name="connsiteX1030" fmla="*/ 1568153 w 2663946"/>
                <a:gd name="connsiteY1030" fmla="*/ 106413 h 348807"/>
                <a:gd name="connsiteX1031" fmla="*/ 1567169 w 2663946"/>
                <a:gd name="connsiteY1031" fmla="*/ 103169 h 348807"/>
                <a:gd name="connsiteX1032" fmla="*/ 1565940 w 2663946"/>
                <a:gd name="connsiteY1032" fmla="*/ 97491 h 348807"/>
                <a:gd name="connsiteX1033" fmla="*/ 1565695 w 2663946"/>
                <a:gd name="connsiteY1033" fmla="*/ 94517 h 348807"/>
                <a:gd name="connsiteX1034" fmla="*/ 1565940 w 2663946"/>
                <a:gd name="connsiteY1034" fmla="*/ 94787 h 348807"/>
                <a:gd name="connsiteX1035" fmla="*/ 1565940 w 2663946"/>
                <a:gd name="connsiteY1035" fmla="*/ 89109 h 348807"/>
                <a:gd name="connsiteX1036" fmla="*/ 1565940 w 2663946"/>
                <a:gd name="connsiteY1036" fmla="*/ 88839 h 348807"/>
                <a:gd name="connsiteX1037" fmla="*/ 1566432 w 2663946"/>
                <a:gd name="connsiteY1037" fmla="*/ 84242 h 348807"/>
                <a:gd name="connsiteX1038" fmla="*/ 1567661 w 2663946"/>
                <a:gd name="connsiteY1038" fmla="*/ 78835 h 348807"/>
                <a:gd name="connsiteX1039" fmla="*/ 1568644 w 2663946"/>
                <a:gd name="connsiteY1039" fmla="*/ 75590 h 348807"/>
                <a:gd name="connsiteX1040" fmla="*/ 1570856 w 2663946"/>
                <a:gd name="connsiteY1040" fmla="*/ 70453 h 348807"/>
                <a:gd name="connsiteX1041" fmla="*/ 1573069 w 2663946"/>
                <a:gd name="connsiteY1041" fmla="*/ 66668 h 348807"/>
                <a:gd name="connsiteX1042" fmla="*/ 1575281 w 2663946"/>
                <a:gd name="connsiteY1042" fmla="*/ 63693 h 348807"/>
                <a:gd name="connsiteX1043" fmla="*/ 1577493 w 2663946"/>
                <a:gd name="connsiteY1043" fmla="*/ 61260 h 348807"/>
                <a:gd name="connsiteX1044" fmla="*/ 1582163 w 2663946"/>
                <a:gd name="connsiteY1044" fmla="*/ 57475 h 348807"/>
                <a:gd name="connsiteX1045" fmla="*/ 1586096 w 2663946"/>
                <a:gd name="connsiteY1045" fmla="*/ 55312 h 348807"/>
                <a:gd name="connsiteX1046" fmla="*/ 1595683 w 2663946"/>
                <a:gd name="connsiteY1046" fmla="*/ 52878 h 348807"/>
                <a:gd name="connsiteX1047" fmla="*/ 1246776 w 2663946"/>
                <a:gd name="connsiteY1047" fmla="*/ 52878 h 348807"/>
                <a:gd name="connsiteX1048" fmla="*/ 1259066 w 2663946"/>
                <a:gd name="connsiteY1048" fmla="*/ 55041 h 348807"/>
                <a:gd name="connsiteX1049" fmla="*/ 1266440 w 2663946"/>
                <a:gd name="connsiteY1049" fmla="*/ 59638 h 348807"/>
                <a:gd name="connsiteX1050" fmla="*/ 1269881 w 2663946"/>
                <a:gd name="connsiteY1050" fmla="*/ 62882 h 348807"/>
                <a:gd name="connsiteX1051" fmla="*/ 1273323 w 2663946"/>
                <a:gd name="connsiteY1051" fmla="*/ 67208 h 348807"/>
                <a:gd name="connsiteX1052" fmla="*/ 1275289 w 2663946"/>
                <a:gd name="connsiteY1052" fmla="*/ 70723 h 348807"/>
                <a:gd name="connsiteX1053" fmla="*/ 1277501 w 2663946"/>
                <a:gd name="connsiteY1053" fmla="*/ 76131 h 348807"/>
                <a:gd name="connsiteX1054" fmla="*/ 1278484 w 2663946"/>
                <a:gd name="connsiteY1054" fmla="*/ 79646 h 348807"/>
                <a:gd name="connsiteX1055" fmla="*/ 1279467 w 2663946"/>
                <a:gd name="connsiteY1055" fmla="*/ 84783 h 348807"/>
                <a:gd name="connsiteX1056" fmla="*/ 1279222 w 2663946"/>
                <a:gd name="connsiteY1056" fmla="*/ 99113 h 348807"/>
                <a:gd name="connsiteX1057" fmla="*/ 1278239 w 2663946"/>
                <a:gd name="connsiteY1057" fmla="*/ 103980 h 348807"/>
                <a:gd name="connsiteX1058" fmla="*/ 1277009 w 2663946"/>
                <a:gd name="connsiteY1058" fmla="*/ 107765 h 348807"/>
                <a:gd name="connsiteX1059" fmla="*/ 1276026 w 2663946"/>
                <a:gd name="connsiteY1059" fmla="*/ 110199 h 348807"/>
                <a:gd name="connsiteX1060" fmla="*/ 1273814 w 2663946"/>
                <a:gd name="connsiteY1060" fmla="*/ 114525 h 348807"/>
                <a:gd name="connsiteX1061" fmla="*/ 1271602 w 2663946"/>
                <a:gd name="connsiteY1061" fmla="*/ 117769 h 348807"/>
                <a:gd name="connsiteX1062" fmla="*/ 1268161 w 2663946"/>
                <a:gd name="connsiteY1062" fmla="*/ 121555 h 348807"/>
                <a:gd name="connsiteX1063" fmla="*/ 1264965 w 2663946"/>
                <a:gd name="connsiteY1063" fmla="*/ 124258 h 348807"/>
                <a:gd name="connsiteX1064" fmla="*/ 1259312 w 2663946"/>
                <a:gd name="connsiteY1064" fmla="*/ 127503 h 348807"/>
                <a:gd name="connsiteX1065" fmla="*/ 1251446 w 2663946"/>
                <a:gd name="connsiteY1065" fmla="*/ 129666 h 348807"/>
                <a:gd name="connsiteX1066" fmla="*/ 1250217 w 2663946"/>
                <a:gd name="connsiteY1066" fmla="*/ 129937 h 348807"/>
                <a:gd name="connsiteX1067" fmla="*/ 1246038 w 2663946"/>
                <a:gd name="connsiteY1067" fmla="*/ 129937 h 348807"/>
                <a:gd name="connsiteX1068" fmla="*/ 1245792 w 2663946"/>
                <a:gd name="connsiteY1068" fmla="*/ 129937 h 348807"/>
                <a:gd name="connsiteX1069" fmla="*/ 1232765 w 2663946"/>
                <a:gd name="connsiteY1069" fmla="*/ 125070 h 348807"/>
                <a:gd name="connsiteX1070" fmla="*/ 1228095 w 2663946"/>
                <a:gd name="connsiteY1070" fmla="*/ 121014 h 348807"/>
                <a:gd name="connsiteX1071" fmla="*/ 1224899 w 2663946"/>
                <a:gd name="connsiteY1071" fmla="*/ 117229 h 348807"/>
                <a:gd name="connsiteX1072" fmla="*/ 1222687 w 2663946"/>
                <a:gd name="connsiteY1072" fmla="*/ 113714 h 348807"/>
                <a:gd name="connsiteX1073" fmla="*/ 1220475 w 2663946"/>
                <a:gd name="connsiteY1073" fmla="*/ 109388 h 348807"/>
                <a:gd name="connsiteX1074" fmla="*/ 1219246 w 2663946"/>
                <a:gd name="connsiteY1074" fmla="*/ 106413 h 348807"/>
                <a:gd name="connsiteX1075" fmla="*/ 1218262 w 2663946"/>
                <a:gd name="connsiteY1075" fmla="*/ 103169 h 348807"/>
                <a:gd name="connsiteX1076" fmla="*/ 1217033 w 2663946"/>
                <a:gd name="connsiteY1076" fmla="*/ 97491 h 348807"/>
                <a:gd name="connsiteX1077" fmla="*/ 1216788 w 2663946"/>
                <a:gd name="connsiteY1077" fmla="*/ 94517 h 348807"/>
                <a:gd name="connsiteX1078" fmla="*/ 1217033 w 2663946"/>
                <a:gd name="connsiteY1078" fmla="*/ 94787 h 348807"/>
                <a:gd name="connsiteX1079" fmla="*/ 1217033 w 2663946"/>
                <a:gd name="connsiteY1079" fmla="*/ 89109 h 348807"/>
                <a:gd name="connsiteX1080" fmla="*/ 1217033 w 2663946"/>
                <a:gd name="connsiteY1080" fmla="*/ 88839 h 348807"/>
                <a:gd name="connsiteX1081" fmla="*/ 1217525 w 2663946"/>
                <a:gd name="connsiteY1081" fmla="*/ 84242 h 348807"/>
                <a:gd name="connsiteX1082" fmla="*/ 1218754 w 2663946"/>
                <a:gd name="connsiteY1082" fmla="*/ 78835 h 348807"/>
                <a:gd name="connsiteX1083" fmla="*/ 1219737 w 2663946"/>
                <a:gd name="connsiteY1083" fmla="*/ 75590 h 348807"/>
                <a:gd name="connsiteX1084" fmla="*/ 1221949 w 2663946"/>
                <a:gd name="connsiteY1084" fmla="*/ 70453 h 348807"/>
                <a:gd name="connsiteX1085" fmla="*/ 1224162 w 2663946"/>
                <a:gd name="connsiteY1085" fmla="*/ 66668 h 348807"/>
                <a:gd name="connsiteX1086" fmla="*/ 1226374 w 2663946"/>
                <a:gd name="connsiteY1086" fmla="*/ 63693 h 348807"/>
                <a:gd name="connsiteX1087" fmla="*/ 1228586 w 2663946"/>
                <a:gd name="connsiteY1087" fmla="*/ 61260 h 348807"/>
                <a:gd name="connsiteX1088" fmla="*/ 1233256 w 2663946"/>
                <a:gd name="connsiteY1088" fmla="*/ 57475 h 348807"/>
                <a:gd name="connsiteX1089" fmla="*/ 1237189 w 2663946"/>
                <a:gd name="connsiteY1089" fmla="*/ 55312 h 348807"/>
                <a:gd name="connsiteX1090" fmla="*/ 1246776 w 2663946"/>
                <a:gd name="connsiteY1090" fmla="*/ 52878 h 348807"/>
                <a:gd name="connsiteX1091" fmla="*/ 1064825 w 2663946"/>
                <a:gd name="connsiteY1091" fmla="*/ 52878 h 348807"/>
                <a:gd name="connsiteX1092" fmla="*/ 1077115 w 2663946"/>
                <a:gd name="connsiteY1092" fmla="*/ 55041 h 348807"/>
                <a:gd name="connsiteX1093" fmla="*/ 1084489 w 2663946"/>
                <a:gd name="connsiteY1093" fmla="*/ 59638 h 348807"/>
                <a:gd name="connsiteX1094" fmla="*/ 1087930 w 2663946"/>
                <a:gd name="connsiteY1094" fmla="*/ 62882 h 348807"/>
                <a:gd name="connsiteX1095" fmla="*/ 1091372 w 2663946"/>
                <a:gd name="connsiteY1095" fmla="*/ 67208 h 348807"/>
                <a:gd name="connsiteX1096" fmla="*/ 1093338 w 2663946"/>
                <a:gd name="connsiteY1096" fmla="*/ 70723 h 348807"/>
                <a:gd name="connsiteX1097" fmla="*/ 1095550 w 2663946"/>
                <a:gd name="connsiteY1097" fmla="*/ 76131 h 348807"/>
                <a:gd name="connsiteX1098" fmla="*/ 1096533 w 2663946"/>
                <a:gd name="connsiteY1098" fmla="*/ 79646 h 348807"/>
                <a:gd name="connsiteX1099" fmla="*/ 1097516 w 2663946"/>
                <a:gd name="connsiteY1099" fmla="*/ 84783 h 348807"/>
                <a:gd name="connsiteX1100" fmla="*/ 1097271 w 2663946"/>
                <a:gd name="connsiteY1100" fmla="*/ 99113 h 348807"/>
                <a:gd name="connsiteX1101" fmla="*/ 1096288 w 2663946"/>
                <a:gd name="connsiteY1101" fmla="*/ 103980 h 348807"/>
                <a:gd name="connsiteX1102" fmla="*/ 1095058 w 2663946"/>
                <a:gd name="connsiteY1102" fmla="*/ 107765 h 348807"/>
                <a:gd name="connsiteX1103" fmla="*/ 1094075 w 2663946"/>
                <a:gd name="connsiteY1103" fmla="*/ 110199 h 348807"/>
                <a:gd name="connsiteX1104" fmla="*/ 1091863 w 2663946"/>
                <a:gd name="connsiteY1104" fmla="*/ 114525 h 348807"/>
                <a:gd name="connsiteX1105" fmla="*/ 1089651 w 2663946"/>
                <a:gd name="connsiteY1105" fmla="*/ 117769 h 348807"/>
                <a:gd name="connsiteX1106" fmla="*/ 1086210 w 2663946"/>
                <a:gd name="connsiteY1106" fmla="*/ 121555 h 348807"/>
                <a:gd name="connsiteX1107" fmla="*/ 1083014 w 2663946"/>
                <a:gd name="connsiteY1107" fmla="*/ 124258 h 348807"/>
                <a:gd name="connsiteX1108" fmla="*/ 1077361 w 2663946"/>
                <a:gd name="connsiteY1108" fmla="*/ 127503 h 348807"/>
                <a:gd name="connsiteX1109" fmla="*/ 1069495 w 2663946"/>
                <a:gd name="connsiteY1109" fmla="*/ 129666 h 348807"/>
                <a:gd name="connsiteX1110" fmla="*/ 1068266 w 2663946"/>
                <a:gd name="connsiteY1110" fmla="*/ 129937 h 348807"/>
                <a:gd name="connsiteX1111" fmla="*/ 1064087 w 2663946"/>
                <a:gd name="connsiteY1111" fmla="*/ 129937 h 348807"/>
                <a:gd name="connsiteX1112" fmla="*/ 1063841 w 2663946"/>
                <a:gd name="connsiteY1112" fmla="*/ 129937 h 348807"/>
                <a:gd name="connsiteX1113" fmla="*/ 1050814 w 2663946"/>
                <a:gd name="connsiteY1113" fmla="*/ 125070 h 348807"/>
                <a:gd name="connsiteX1114" fmla="*/ 1046144 w 2663946"/>
                <a:gd name="connsiteY1114" fmla="*/ 121014 h 348807"/>
                <a:gd name="connsiteX1115" fmla="*/ 1042948 w 2663946"/>
                <a:gd name="connsiteY1115" fmla="*/ 117229 h 348807"/>
                <a:gd name="connsiteX1116" fmla="*/ 1040736 w 2663946"/>
                <a:gd name="connsiteY1116" fmla="*/ 113714 h 348807"/>
                <a:gd name="connsiteX1117" fmla="*/ 1038524 w 2663946"/>
                <a:gd name="connsiteY1117" fmla="*/ 109388 h 348807"/>
                <a:gd name="connsiteX1118" fmla="*/ 1037295 w 2663946"/>
                <a:gd name="connsiteY1118" fmla="*/ 106413 h 348807"/>
                <a:gd name="connsiteX1119" fmla="*/ 1036311 w 2663946"/>
                <a:gd name="connsiteY1119" fmla="*/ 103169 h 348807"/>
                <a:gd name="connsiteX1120" fmla="*/ 1035082 w 2663946"/>
                <a:gd name="connsiteY1120" fmla="*/ 97491 h 348807"/>
                <a:gd name="connsiteX1121" fmla="*/ 1034837 w 2663946"/>
                <a:gd name="connsiteY1121" fmla="*/ 94517 h 348807"/>
                <a:gd name="connsiteX1122" fmla="*/ 1035082 w 2663946"/>
                <a:gd name="connsiteY1122" fmla="*/ 94787 h 348807"/>
                <a:gd name="connsiteX1123" fmla="*/ 1035082 w 2663946"/>
                <a:gd name="connsiteY1123" fmla="*/ 89109 h 348807"/>
                <a:gd name="connsiteX1124" fmla="*/ 1035082 w 2663946"/>
                <a:gd name="connsiteY1124" fmla="*/ 88839 h 348807"/>
                <a:gd name="connsiteX1125" fmla="*/ 1035574 w 2663946"/>
                <a:gd name="connsiteY1125" fmla="*/ 84242 h 348807"/>
                <a:gd name="connsiteX1126" fmla="*/ 1036803 w 2663946"/>
                <a:gd name="connsiteY1126" fmla="*/ 78835 h 348807"/>
                <a:gd name="connsiteX1127" fmla="*/ 1037786 w 2663946"/>
                <a:gd name="connsiteY1127" fmla="*/ 75590 h 348807"/>
                <a:gd name="connsiteX1128" fmla="*/ 1039998 w 2663946"/>
                <a:gd name="connsiteY1128" fmla="*/ 70453 h 348807"/>
                <a:gd name="connsiteX1129" fmla="*/ 1042211 w 2663946"/>
                <a:gd name="connsiteY1129" fmla="*/ 66668 h 348807"/>
                <a:gd name="connsiteX1130" fmla="*/ 1044423 w 2663946"/>
                <a:gd name="connsiteY1130" fmla="*/ 63693 h 348807"/>
                <a:gd name="connsiteX1131" fmla="*/ 1046635 w 2663946"/>
                <a:gd name="connsiteY1131" fmla="*/ 61260 h 348807"/>
                <a:gd name="connsiteX1132" fmla="*/ 1051305 w 2663946"/>
                <a:gd name="connsiteY1132" fmla="*/ 57475 h 348807"/>
                <a:gd name="connsiteX1133" fmla="*/ 1055238 w 2663946"/>
                <a:gd name="connsiteY1133" fmla="*/ 55312 h 348807"/>
                <a:gd name="connsiteX1134" fmla="*/ 1064825 w 2663946"/>
                <a:gd name="connsiteY1134" fmla="*/ 52878 h 348807"/>
                <a:gd name="connsiteX1135" fmla="*/ 897796 w 2663946"/>
                <a:gd name="connsiteY1135" fmla="*/ 52878 h 348807"/>
                <a:gd name="connsiteX1136" fmla="*/ 910086 w 2663946"/>
                <a:gd name="connsiteY1136" fmla="*/ 55041 h 348807"/>
                <a:gd name="connsiteX1137" fmla="*/ 917460 w 2663946"/>
                <a:gd name="connsiteY1137" fmla="*/ 59638 h 348807"/>
                <a:gd name="connsiteX1138" fmla="*/ 920901 w 2663946"/>
                <a:gd name="connsiteY1138" fmla="*/ 62882 h 348807"/>
                <a:gd name="connsiteX1139" fmla="*/ 924343 w 2663946"/>
                <a:gd name="connsiteY1139" fmla="*/ 67208 h 348807"/>
                <a:gd name="connsiteX1140" fmla="*/ 926309 w 2663946"/>
                <a:gd name="connsiteY1140" fmla="*/ 70723 h 348807"/>
                <a:gd name="connsiteX1141" fmla="*/ 928521 w 2663946"/>
                <a:gd name="connsiteY1141" fmla="*/ 76131 h 348807"/>
                <a:gd name="connsiteX1142" fmla="*/ 929504 w 2663946"/>
                <a:gd name="connsiteY1142" fmla="*/ 79646 h 348807"/>
                <a:gd name="connsiteX1143" fmla="*/ 930487 w 2663946"/>
                <a:gd name="connsiteY1143" fmla="*/ 84783 h 348807"/>
                <a:gd name="connsiteX1144" fmla="*/ 930242 w 2663946"/>
                <a:gd name="connsiteY1144" fmla="*/ 99113 h 348807"/>
                <a:gd name="connsiteX1145" fmla="*/ 929259 w 2663946"/>
                <a:gd name="connsiteY1145" fmla="*/ 103980 h 348807"/>
                <a:gd name="connsiteX1146" fmla="*/ 928029 w 2663946"/>
                <a:gd name="connsiteY1146" fmla="*/ 107765 h 348807"/>
                <a:gd name="connsiteX1147" fmla="*/ 927046 w 2663946"/>
                <a:gd name="connsiteY1147" fmla="*/ 110199 h 348807"/>
                <a:gd name="connsiteX1148" fmla="*/ 924834 w 2663946"/>
                <a:gd name="connsiteY1148" fmla="*/ 114525 h 348807"/>
                <a:gd name="connsiteX1149" fmla="*/ 922622 w 2663946"/>
                <a:gd name="connsiteY1149" fmla="*/ 117769 h 348807"/>
                <a:gd name="connsiteX1150" fmla="*/ 919181 w 2663946"/>
                <a:gd name="connsiteY1150" fmla="*/ 121555 h 348807"/>
                <a:gd name="connsiteX1151" fmla="*/ 915985 w 2663946"/>
                <a:gd name="connsiteY1151" fmla="*/ 124258 h 348807"/>
                <a:gd name="connsiteX1152" fmla="*/ 910332 w 2663946"/>
                <a:gd name="connsiteY1152" fmla="*/ 127503 h 348807"/>
                <a:gd name="connsiteX1153" fmla="*/ 902466 w 2663946"/>
                <a:gd name="connsiteY1153" fmla="*/ 129666 h 348807"/>
                <a:gd name="connsiteX1154" fmla="*/ 901237 w 2663946"/>
                <a:gd name="connsiteY1154" fmla="*/ 129937 h 348807"/>
                <a:gd name="connsiteX1155" fmla="*/ 897058 w 2663946"/>
                <a:gd name="connsiteY1155" fmla="*/ 129937 h 348807"/>
                <a:gd name="connsiteX1156" fmla="*/ 896812 w 2663946"/>
                <a:gd name="connsiteY1156" fmla="*/ 129937 h 348807"/>
                <a:gd name="connsiteX1157" fmla="*/ 883785 w 2663946"/>
                <a:gd name="connsiteY1157" fmla="*/ 125070 h 348807"/>
                <a:gd name="connsiteX1158" fmla="*/ 879115 w 2663946"/>
                <a:gd name="connsiteY1158" fmla="*/ 121014 h 348807"/>
                <a:gd name="connsiteX1159" fmla="*/ 875919 w 2663946"/>
                <a:gd name="connsiteY1159" fmla="*/ 117229 h 348807"/>
                <a:gd name="connsiteX1160" fmla="*/ 873707 w 2663946"/>
                <a:gd name="connsiteY1160" fmla="*/ 113714 h 348807"/>
                <a:gd name="connsiteX1161" fmla="*/ 871495 w 2663946"/>
                <a:gd name="connsiteY1161" fmla="*/ 109388 h 348807"/>
                <a:gd name="connsiteX1162" fmla="*/ 870266 w 2663946"/>
                <a:gd name="connsiteY1162" fmla="*/ 106413 h 348807"/>
                <a:gd name="connsiteX1163" fmla="*/ 869282 w 2663946"/>
                <a:gd name="connsiteY1163" fmla="*/ 103169 h 348807"/>
                <a:gd name="connsiteX1164" fmla="*/ 868053 w 2663946"/>
                <a:gd name="connsiteY1164" fmla="*/ 97491 h 348807"/>
                <a:gd name="connsiteX1165" fmla="*/ 867808 w 2663946"/>
                <a:gd name="connsiteY1165" fmla="*/ 94517 h 348807"/>
                <a:gd name="connsiteX1166" fmla="*/ 868053 w 2663946"/>
                <a:gd name="connsiteY1166" fmla="*/ 94787 h 348807"/>
                <a:gd name="connsiteX1167" fmla="*/ 868053 w 2663946"/>
                <a:gd name="connsiteY1167" fmla="*/ 89109 h 348807"/>
                <a:gd name="connsiteX1168" fmla="*/ 868053 w 2663946"/>
                <a:gd name="connsiteY1168" fmla="*/ 88839 h 348807"/>
                <a:gd name="connsiteX1169" fmla="*/ 868545 w 2663946"/>
                <a:gd name="connsiteY1169" fmla="*/ 84242 h 348807"/>
                <a:gd name="connsiteX1170" fmla="*/ 869774 w 2663946"/>
                <a:gd name="connsiteY1170" fmla="*/ 78835 h 348807"/>
                <a:gd name="connsiteX1171" fmla="*/ 870757 w 2663946"/>
                <a:gd name="connsiteY1171" fmla="*/ 75590 h 348807"/>
                <a:gd name="connsiteX1172" fmla="*/ 872969 w 2663946"/>
                <a:gd name="connsiteY1172" fmla="*/ 70453 h 348807"/>
                <a:gd name="connsiteX1173" fmla="*/ 875182 w 2663946"/>
                <a:gd name="connsiteY1173" fmla="*/ 66668 h 348807"/>
                <a:gd name="connsiteX1174" fmla="*/ 877394 w 2663946"/>
                <a:gd name="connsiteY1174" fmla="*/ 63693 h 348807"/>
                <a:gd name="connsiteX1175" fmla="*/ 879606 w 2663946"/>
                <a:gd name="connsiteY1175" fmla="*/ 61260 h 348807"/>
                <a:gd name="connsiteX1176" fmla="*/ 884276 w 2663946"/>
                <a:gd name="connsiteY1176" fmla="*/ 57475 h 348807"/>
                <a:gd name="connsiteX1177" fmla="*/ 888209 w 2663946"/>
                <a:gd name="connsiteY1177" fmla="*/ 55312 h 348807"/>
                <a:gd name="connsiteX1178" fmla="*/ 897796 w 2663946"/>
                <a:gd name="connsiteY1178" fmla="*/ 52878 h 348807"/>
                <a:gd name="connsiteX1179" fmla="*/ 548889 w 2663946"/>
                <a:gd name="connsiteY1179" fmla="*/ 52878 h 348807"/>
                <a:gd name="connsiteX1180" fmla="*/ 561180 w 2663946"/>
                <a:gd name="connsiteY1180" fmla="*/ 55041 h 348807"/>
                <a:gd name="connsiteX1181" fmla="*/ 568554 w 2663946"/>
                <a:gd name="connsiteY1181" fmla="*/ 59638 h 348807"/>
                <a:gd name="connsiteX1182" fmla="*/ 571995 w 2663946"/>
                <a:gd name="connsiteY1182" fmla="*/ 62882 h 348807"/>
                <a:gd name="connsiteX1183" fmla="*/ 575436 w 2663946"/>
                <a:gd name="connsiteY1183" fmla="*/ 67208 h 348807"/>
                <a:gd name="connsiteX1184" fmla="*/ 577403 w 2663946"/>
                <a:gd name="connsiteY1184" fmla="*/ 70723 h 348807"/>
                <a:gd name="connsiteX1185" fmla="*/ 579615 w 2663946"/>
                <a:gd name="connsiteY1185" fmla="*/ 76131 h 348807"/>
                <a:gd name="connsiteX1186" fmla="*/ 580598 w 2663946"/>
                <a:gd name="connsiteY1186" fmla="*/ 79646 h 348807"/>
                <a:gd name="connsiteX1187" fmla="*/ 581581 w 2663946"/>
                <a:gd name="connsiteY1187" fmla="*/ 84783 h 348807"/>
                <a:gd name="connsiteX1188" fmla="*/ 581336 w 2663946"/>
                <a:gd name="connsiteY1188" fmla="*/ 99113 h 348807"/>
                <a:gd name="connsiteX1189" fmla="*/ 580352 w 2663946"/>
                <a:gd name="connsiteY1189" fmla="*/ 103980 h 348807"/>
                <a:gd name="connsiteX1190" fmla="*/ 579123 w 2663946"/>
                <a:gd name="connsiteY1190" fmla="*/ 107765 h 348807"/>
                <a:gd name="connsiteX1191" fmla="*/ 578140 w 2663946"/>
                <a:gd name="connsiteY1191" fmla="*/ 110199 h 348807"/>
                <a:gd name="connsiteX1192" fmla="*/ 575928 w 2663946"/>
                <a:gd name="connsiteY1192" fmla="*/ 114525 h 348807"/>
                <a:gd name="connsiteX1193" fmla="*/ 573715 w 2663946"/>
                <a:gd name="connsiteY1193" fmla="*/ 117769 h 348807"/>
                <a:gd name="connsiteX1194" fmla="*/ 570274 w 2663946"/>
                <a:gd name="connsiteY1194" fmla="*/ 121555 h 348807"/>
                <a:gd name="connsiteX1195" fmla="*/ 567079 w 2663946"/>
                <a:gd name="connsiteY1195" fmla="*/ 124258 h 348807"/>
                <a:gd name="connsiteX1196" fmla="*/ 561425 w 2663946"/>
                <a:gd name="connsiteY1196" fmla="*/ 127503 h 348807"/>
                <a:gd name="connsiteX1197" fmla="*/ 553559 w 2663946"/>
                <a:gd name="connsiteY1197" fmla="*/ 129666 h 348807"/>
                <a:gd name="connsiteX1198" fmla="*/ 552331 w 2663946"/>
                <a:gd name="connsiteY1198" fmla="*/ 129937 h 348807"/>
                <a:gd name="connsiteX1199" fmla="*/ 548152 w 2663946"/>
                <a:gd name="connsiteY1199" fmla="*/ 129937 h 348807"/>
                <a:gd name="connsiteX1200" fmla="*/ 547906 w 2663946"/>
                <a:gd name="connsiteY1200" fmla="*/ 129937 h 348807"/>
                <a:gd name="connsiteX1201" fmla="*/ 534879 w 2663946"/>
                <a:gd name="connsiteY1201" fmla="*/ 125070 h 348807"/>
                <a:gd name="connsiteX1202" fmla="*/ 530208 w 2663946"/>
                <a:gd name="connsiteY1202" fmla="*/ 121014 h 348807"/>
                <a:gd name="connsiteX1203" fmla="*/ 527013 w 2663946"/>
                <a:gd name="connsiteY1203" fmla="*/ 117229 h 348807"/>
                <a:gd name="connsiteX1204" fmla="*/ 524801 w 2663946"/>
                <a:gd name="connsiteY1204" fmla="*/ 113714 h 348807"/>
                <a:gd name="connsiteX1205" fmla="*/ 522588 w 2663946"/>
                <a:gd name="connsiteY1205" fmla="*/ 109388 h 348807"/>
                <a:gd name="connsiteX1206" fmla="*/ 521359 w 2663946"/>
                <a:gd name="connsiteY1206" fmla="*/ 106413 h 348807"/>
                <a:gd name="connsiteX1207" fmla="*/ 520376 w 2663946"/>
                <a:gd name="connsiteY1207" fmla="*/ 103169 h 348807"/>
                <a:gd name="connsiteX1208" fmla="*/ 519147 w 2663946"/>
                <a:gd name="connsiteY1208" fmla="*/ 97491 h 348807"/>
                <a:gd name="connsiteX1209" fmla="*/ 518901 w 2663946"/>
                <a:gd name="connsiteY1209" fmla="*/ 94517 h 348807"/>
                <a:gd name="connsiteX1210" fmla="*/ 519147 w 2663946"/>
                <a:gd name="connsiteY1210" fmla="*/ 94787 h 348807"/>
                <a:gd name="connsiteX1211" fmla="*/ 519147 w 2663946"/>
                <a:gd name="connsiteY1211" fmla="*/ 89109 h 348807"/>
                <a:gd name="connsiteX1212" fmla="*/ 519147 w 2663946"/>
                <a:gd name="connsiteY1212" fmla="*/ 88839 h 348807"/>
                <a:gd name="connsiteX1213" fmla="*/ 519639 w 2663946"/>
                <a:gd name="connsiteY1213" fmla="*/ 84242 h 348807"/>
                <a:gd name="connsiteX1214" fmla="*/ 520868 w 2663946"/>
                <a:gd name="connsiteY1214" fmla="*/ 78835 h 348807"/>
                <a:gd name="connsiteX1215" fmla="*/ 521851 w 2663946"/>
                <a:gd name="connsiteY1215" fmla="*/ 75590 h 348807"/>
                <a:gd name="connsiteX1216" fmla="*/ 524063 w 2663946"/>
                <a:gd name="connsiteY1216" fmla="*/ 70453 h 348807"/>
                <a:gd name="connsiteX1217" fmla="*/ 526275 w 2663946"/>
                <a:gd name="connsiteY1217" fmla="*/ 66668 h 348807"/>
                <a:gd name="connsiteX1218" fmla="*/ 528488 w 2663946"/>
                <a:gd name="connsiteY1218" fmla="*/ 63693 h 348807"/>
                <a:gd name="connsiteX1219" fmla="*/ 530700 w 2663946"/>
                <a:gd name="connsiteY1219" fmla="*/ 61260 h 348807"/>
                <a:gd name="connsiteX1220" fmla="*/ 535370 w 2663946"/>
                <a:gd name="connsiteY1220" fmla="*/ 57475 h 348807"/>
                <a:gd name="connsiteX1221" fmla="*/ 539303 w 2663946"/>
                <a:gd name="connsiteY1221" fmla="*/ 55312 h 348807"/>
                <a:gd name="connsiteX1222" fmla="*/ 548889 w 2663946"/>
                <a:gd name="connsiteY1222" fmla="*/ 52878 h 348807"/>
                <a:gd name="connsiteX1223" fmla="*/ 366938 w 2663946"/>
                <a:gd name="connsiteY1223" fmla="*/ 52878 h 348807"/>
                <a:gd name="connsiteX1224" fmla="*/ 379228 w 2663946"/>
                <a:gd name="connsiteY1224" fmla="*/ 55041 h 348807"/>
                <a:gd name="connsiteX1225" fmla="*/ 386603 w 2663946"/>
                <a:gd name="connsiteY1225" fmla="*/ 59638 h 348807"/>
                <a:gd name="connsiteX1226" fmla="*/ 390044 w 2663946"/>
                <a:gd name="connsiteY1226" fmla="*/ 62882 h 348807"/>
                <a:gd name="connsiteX1227" fmla="*/ 393485 w 2663946"/>
                <a:gd name="connsiteY1227" fmla="*/ 67208 h 348807"/>
                <a:gd name="connsiteX1228" fmla="*/ 395452 w 2663946"/>
                <a:gd name="connsiteY1228" fmla="*/ 70723 h 348807"/>
                <a:gd name="connsiteX1229" fmla="*/ 397664 w 2663946"/>
                <a:gd name="connsiteY1229" fmla="*/ 76131 h 348807"/>
                <a:gd name="connsiteX1230" fmla="*/ 398647 w 2663946"/>
                <a:gd name="connsiteY1230" fmla="*/ 79646 h 348807"/>
                <a:gd name="connsiteX1231" fmla="*/ 399630 w 2663946"/>
                <a:gd name="connsiteY1231" fmla="*/ 84783 h 348807"/>
                <a:gd name="connsiteX1232" fmla="*/ 399384 w 2663946"/>
                <a:gd name="connsiteY1232" fmla="*/ 99113 h 348807"/>
                <a:gd name="connsiteX1233" fmla="*/ 398401 w 2663946"/>
                <a:gd name="connsiteY1233" fmla="*/ 103980 h 348807"/>
                <a:gd name="connsiteX1234" fmla="*/ 397172 w 2663946"/>
                <a:gd name="connsiteY1234" fmla="*/ 107765 h 348807"/>
                <a:gd name="connsiteX1235" fmla="*/ 396189 w 2663946"/>
                <a:gd name="connsiteY1235" fmla="*/ 110199 h 348807"/>
                <a:gd name="connsiteX1236" fmla="*/ 393977 w 2663946"/>
                <a:gd name="connsiteY1236" fmla="*/ 114525 h 348807"/>
                <a:gd name="connsiteX1237" fmla="*/ 391764 w 2663946"/>
                <a:gd name="connsiteY1237" fmla="*/ 117769 h 348807"/>
                <a:gd name="connsiteX1238" fmla="*/ 388323 w 2663946"/>
                <a:gd name="connsiteY1238" fmla="*/ 121555 h 348807"/>
                <a:gd name="connsiteX1239" fmla="*/ 385128 w 2663946"/>
                <a:gd name="connsiteY1239" fmla="*/ 124258 h 348807"/>
                <a:gd name="connsiteX1240" fmla="*/ 379474 w 2663946"/>
                <a:gd name="connsiteY1240" fmla="*/ 127503 h 348807"/>
                <a:gd name="connsiteX1241" fmla="*/ 371609 w 2663946"/>
                <a:gd name="connsiteY1241" fmla="*/ 129666 h 348807"/>
                <a:gd name="connsiteX1242" fmla="*/ 370380 w 2663946"/>
                <a:gd name="connsiteY1242" fmla="*/ 129937 h 348807"/>
                <a:gd name="connsiteX1243" fmla="*/ 366201 w 2663946"/>
                <a:gd name="connsiteY1243" fmla="*/ 129937 h 348807"/>
                <a:gd name="connsiteX1244" fmla="*/ 365955 w 2663946"/>
                <a:gd name="connsiteY1244" fmla="*/ 129937 h 348807"/>
                <a:gd name="connsiteX1245" fmla="*/ 352927 w 2663946"/>
                <a:gd name="connsiteY1245" fmla="*/ 125070 h 348807"/>
                <a:gd name="connsiteX1246" fmla="*/ 348257 w 2663946"/>
                <a:gd name="connsiteY1246" fmla="*/ 121014 h 348807"/>
                <a:gd name="connsiteX1247" fmla="*/ 345062 w 2663946"/>
                <a:gd name="connsiteY1247" fmla="*/ 117229 h 348807"/>
                <a:gd name="connsiteX1248" fmla="*/ 342850 w 2663946"/>
                <a:gd name="connsiteY1248" fmla="*/ 113714 h 348807"/>
                <a:gd name="connsiteX1249" fmla="*/ 340637 w 2663946"/>
                <a:gd name="connsiteY1249" fmla="*/ 109388 h 348807"/>
                <a:gd name="connsiteX1250" fmla="*/ 339408 w 2663946"/>
                <a:gd name="connsiteY1250" fmla="*/ 106413 h 348807"/>
                <a:gd name="connsiteX1251" fmla="*/ 338425 w 2663946"/>
                <a:gd name="connsiteY1251" fmla="*/ 103169 h 348807"/>
                <a:gd name="connsiteX1252" fmla="*/ 337196 w 2663946"/>
                <a:gd name="connsiteY1252" fmla="*/ 97491 h 348807"/>
                <a:gd name="connsiteX1253" fmla="*/ 336950 w 2663946"/>
                <a:gd name="connsiteY1253" fmla="*/ 94517 h 348807"/>
                <a:gd name="connsiteX1254" fmla="*/ 337196 w 2663946"/>
                <a:gd name="connsiteY1254" fmla="*/ 94787 h 348807"/>
                <a:gd name="connsiteX1255" fmla="*/ 337196 w 2663946"/>
                <a:gd name="connsiteY1255" fmla="*/ 89109 h 348807"/>
                <a:gd name="connsiteX1256" fmla="*/ 337196 w 2663946"/>
                <a:gd name="connsiteY1256" fmla="*/ 88839 h 348807"/>
                <a:gd name="connsiteX1257" fmla="*/ 337687 w 2663946"/>
                <a:gd name="connsiteY1257" fmla="*/ 84242 h 348807"/>
                <a:gd name="connsiteX1258" fmla="*/ 338917 w 2663946"/>
                <a:gd name="connsiteY1258" fmla="*/ 78835 h 348807"/>
                <a:gd name="connsiteX1259" fmla="*/ 339900 w 2663946"/>
                <a:gd name="connsiteY1259" fmla="*/ 75590 h 348807"/>
                <a:gd name="connsiteX1260" fmla="*/ 342112 w 2663946"/>
                <a:gd name="connsiteY1260" fmla="*/ 70453 h 348807"/>
                <a:gd name="connsiteX1261" fmla="*/ 344324 w 2663946"/>
                <a:gd name="connsiteY1261" fmla="*/ 66668 h 348807"/>
                <a:gd name="connsiteX1262" fmla="*/ 346536 w 2663946"/>
                <a:gd name="connsiteY1262" fmla="*/ 63693 h 348807"/>
                <a:gd name="connsiteX1263" fmla="*/ 348749 w 2663946"/>
                <a:gd name="connsiteY1263" fmla="*/ 61260 h 348807"/>
                <a:gd name="connsiteX1264" fmla="*/ 353419 w 2663946"/>
                <a:gd name="connsiteY1264" fmla="*/ 57475 h 348807"/>
                <a:gd name="connsiteX1265" fmla="*/ 357352 w 2663946"/>
                <a:gd name="connsiteY1265" fmla="*/ 55312 h 348807"/>
                <a:gd name="connsiteX1266" fmla="*/ 366938 w 2663946"/>
                <a:gd name="connsiteY1266" fmla="*/ 52878 h 348807"/>
                <a:gd name="connsiteX1267" fmla="*/ 123893 w 2663946"/>
                <a:gd name="connsiteY1267" fmla="*/ 52878 h 348807"/>
                <a:gd name="connsiteX1268" fmla="*/ 136183 w 2663946"/>
                <a:gd name="connsiteY1268" fmla="*/ 55041 h 348807"/>
                <a:gd name="connsiteX1269" fmla="*/ 143557 w 2663946"/>
                <a:gd name="connsiteY1269" fmla="*/ 59638 h 348807"/>
                <a:gd name="connsiteX1270" fmla="*/ 146998 w 2663946"/>
                <a:gd name="connsiteY1270" fmla="*/ 62882 h 348807"/>
                <a:gd name="connsiteX1271" fmla="*/ 150439 w 2663946"/>
                <a:gd name="connsiteY1271" fmla="*/ 67208 h 348807"/>
                <a:gd name="connsiteX1272" fmla="*/ 152406 w 2663946"/>
                <a:gd name="connsiteY1272" fmla="*/ 70723 h 348807"/>
                <a:gd name="connsiteX1273" fmla="*/ 154618 w 2663946"/>
                <a:gd name="connsiteY1273" fmla="*/ 76131 h 348807"/>
                <a:gd name="connsiteX1274" fmla="*/ 155601 w 2663946"/>
                <a:gd name="connsiteY1274" fmla="*/ 79646 h 348807"/>
                <a:gd name="connsiteX1275" fmla="*/ 156584 w 2663946"/>
                <a:gd name="connsiteY1275" fmla="*/ 84783 h 348807"/>
                <a:gd name="connsiteX1276" fmla="*/ 156339 w 2663946"/>
                <a:gd name="connsiteY1276" fmla="*/ 99113 h 348807"/>
                <a:gd name="connsiteX1277" fmla="*/ 155355 w 2663946"/>
                <a:gd name="connsiteY1277" fmla="*/ 103980 h 348807"/>
                <a:gd name="connsiteX1278" fmla="*/ 154126 w 2663946"/>
                <a:gd name="connsiteY1278" fmla="*/ 107765 h 348807"/>
                <a:gd name="connsiteX1279" fmla="*/ 153143 w 2663946"/>
                <a:gd name="connsiteY1279" fmla="*/ 110199 h 348807"/>
                <a:gd name="connsiteX1280" fmla="*/ 150931 w 2663946"/>
                <a:gd name="connsiteY1280" fmla="*/ 114525 h 348807"/>
                <a:gd name="connsiteX1281" fmla="*/ 148719 w 2663946"/>
                <a:gd name="connsiteY1281" fmla="*/ 117769 h 348807"/>
                <a:gd name="connsiteX1282" fmla="*/ 145277 w 2663946"/>
                <a:gd name="connsiteY1282" fmla="*/ 121555 h 348807"/>
                <a:gd name="connsiteX1283" fmla="*/ 142082 w 2663946"/>
                <a:gd name="connsiteY1283" fmla="*/ 124258 h 348807"/>
                <a:gd name="connsiteX1284" fmla="*/ 136428 w 2663946"/>
                <a:gd name="connsiteY1284" fmla="*/ 127503 h 348807"/>
                <a:gd name="connsiteX1285" fmla="*/ 128563 w 2663946"/>
                <a:gd name="connsiteY1285" fmla="*/ 129666 h 348807"/>
                <a:gd name="connsiteX1286" fmla="*/ 127334 w 2663946"/>
                <a:gd name="connsiteY1286" fmla="*/ 129937 h 348807"/>
                <a:gd name="connsiteX1287" fmla="*/ 123155 w 2663946"/>
                <a:gd name="connsiteY1287" fmla="*/ 129937 h 348807"/>
                <a:gd name="connsiteX1288" fmla="*/ 122909 w 2663946"/>
                <a:gd name="connsiteY1288" fmla="*/ 129937 h 348807"/>
                <a:gd name="connsiteX1289" fmla="*/ 109882 w 2663946"/>
                <a:gd name="connsiteY1289" fmla="*/ 125070 h 348807"/>
                <a:gd name="connsiteX1290" fmla="*/ 105211 w 2663946"/>
                <a:gd name="connsiteY1290" fmla="*/ 121014 h 348807"/>
                <a:gd name="connsiteX1291" fmla="*/ 102016 w 2663946"/>
                <a:gd name="connsiteY1291" fmla="*/ 117229 h 348807"/>
                <a:gd name="connsiteX1292" fmla="*/ 99804 w 2663946"/>
                <a:gd name="connsiteY1292" fmla="*/ 113714 h 348807"/>
                <a:gd name="connsiteX1293" fmla="*/ 97591 w 2663946"/>
                <a:gd name="connsiteY1293" fmla="*/ 109388 h 348807"/>
                <a:gd name="connsiteX1294" fmla="*/ 96362 w 2663946"/>
                <a:gd name="connsiteY1294" fmla="*/ 106413 h 348807"/>
                <a:gd name="connsiteX1295" fmla="*/ 95379 w 2663946"/>
                <a:gd name="connsiteY1295" fmla="*/ 103169 h 348807"/>
                <a:gd name="connsiteX1296" fmla="*/ 94150 w 2663946"/>
                <a:gd name="connsiteY1296" fmla="*/ 97491 h 348807"/>
                <a:gd name="connsiteX1297" fmla="*/ 93904 w 2663946"/>
                <a:gd name="connsiteY1297" fmla="*/ 94517 h 348807"/>
                <a:gd name="connsiteX1298" fmla="*/ 94150 w 2663946"/>
                <a:gd name="connsiteY1298" fmla="*/ 94787 h 348807"/>
                <a:gd name="connsiteX1299" fmla="*/ 94150 w 2663946"/>
                <a:gd name="connsiteY1299" fmla="*/ 89109 h 348807"/>
                <a:gd name="connsiteX1300" fmla="*/ 94150 w 2663946"/>
                <a:gd name="connsiteY1300" fmla="*/ 88839 h 348807"/>
                <a:gd name="connsiteX1301" fmla="*/ 94642 w 2663946"/>
                <a:gd name="connsiteY1301" fmla="*/ 84242 h 348807"/>
                <a:gd name="connsiteX1302" fmla="*/ 95871 w 2663946"/>
                <a:gd name="connsiteY1302" fmla="*/ 78835 h 348807"/>
                <a:gd name="connsiteX1303" fmla="*/ 96854 w 2663946"/>
                <a:gd name="connsiteY1303" fmla="*/ 75590 h 348807"/>
                <a:gd name="connsiteX1304" fmla="*/ 99066 w 2663946"/>
                <a:gd name="connsiteY1304" fmla="*/ 70453 h 348807"/>
                <a:gd name="connsiteX1305" fmla="*/ 101279 w 2663946"/>
                <a:gd name="connsiteY1305" fmla="*/ 66668 h 348807"/>
                <a:gd name="connsiteX1306" fmla="*/ 103491 w 2663946"/>
                <a:gd name="connsiteY1306" fmla="*/ 63693 h 348807"/>
                <a:gd name="connsiteX1307" fmla="*/ 105703 w 2663946"/>
                <a:gd name="connsiteY1307" fmla="*/ 61260 h 348807"/>
                <a:gd name="connsiteX1308" fmla="*/ 110373 w 2663946"/>
                <a:gd name="connsiteY1308" fmla="*/ 57475 h 348807"/>
                <a:gd name="connsiteX1309" fmla="*/ 114306 w 2663946"/>
                <a:gd name="connsiteY1309" fmla="*/ 55312 h 348807"/>
                <a:gd name="connsiteX1310" fmla="*/ 123893 w 2663946"/>
                <a:gd name="connsiteY1310" fmla="*/ 52878 h 348807"/>
                <a:gd name="connsiteX1311" fmla="*/ 33147 w 2663946"/>
                <a:gd name="connsiteY1311" fmla="*/ 52240 h 348807"/>
                <a:gd name="connsiteX1312" fmla="*/ 57942 w 2663946"/>
                <a:gd name="connsiteY1312" fmla="*/ 72449 h 348807"/>
                <a:gd name="connsiteX1313" fmla="*/ 58422 w 2663946"/>
                <a:gd name="connsiteY1313" fmla="*/ 77207 h 348807"/>
                <a:gd name="connsiteX1314" fmla="*/ 59840 w 2663946"/>
                <a:gd name="connsiteY1314" fmla="*/ 77207 h 348807"/>
                <a:gd name="connsiteX1315" fmla="*/ 66294 w 2663946"/>
                <a:gd name="connsiteY1315" fmla="*/ 83493 h 348807"/>
                <a:gd name="connsiteX1316" fmla="*/ 66294 w 2663946"/>
                <a:gd name="connsiteY1316" fmla="*/ 133215 h 348807"/>
                <a:gd name="connsiteX1317" fmla="*/ 59840 w 2663946"/>
                <a:gd name="connsiteY1317" fmla="*/ 139501 h 348807"/>
                <a:gd name="connsiteX1318" fmla="*/ 6453 w 2663946"/>
                <a:gd name="connsiteY1318" fmla="*/ 139501 h 348807"/>
                <a:gd name="connsiteX1319" fmla="*/ 0 w 2663946"/>
                <a:gd name="connsiteY1319" fmla="*/ 133215 h 348807"/>
                <a:gd name="connsiteX1320" fmla="*/ 0 w 2663946"/>
                <a:gd name="connsiteY1320" fmla="*/ 83493 h 348807"/>
                <a:gd name="connsiteX1321" fmla="*/ 6453 w 2663946"/>
                <a:gd name="connsiteY1321" fmla="*/ 77207 h 348807"/>
                <a:gd name="connsiteX1322" fmla="*/ 7288 w 2663946"/>
                <a:gd name="connsiteY1322" fmla="*/ 77207 h 348807"/>
                <a:gd name="connsiteX1323" fmla="*/ 7872 w 2663946"/>
                <a:gd name="connsiteY1323" fmla="*/ 77207 h 348807"/>
                <a:gd name="connsiteX1324" fmla="*/ 8351 w 2663946"/>
                <a:gd name="connsiteY1324" fmla="*/ 72449 h 348807"/>
                <a:gd name="connsiteX1325" fmla="*/ 33147 w 2663946"/>
                <a:gd name="connsiteY1325" fmla="*/ 52240 h 348807"/>
                <a:gd name="connsiteX1326" fmla="*/ 2537931 w 2663946"/>
                <a:gd name="connsiteY1326" fmla="*/ 44652 h 348807"/>
                <a:gd name="connsiteX1327" fmla="*/ 2562727 w 2663946"/>
                <a:gd name="connsiteY1327" fmla="*/ 64861 h 348807"/>
                <a:gd name="connsiteX1328" fmla="*/ 2563206 w 2663946"/>
                <a:gd name="connsiteY1328" fmla="*/ 69619 h 348807"/>
                <a:gd name="connsiteX1329" fmla="*/ 2564625 w 2663946"/>
                <a:gd name="connsiteY1329" fmla="*/ 69619 h 348807"/>
                <a:gd name="connsiteX1330" fmla="*/ 2571078 w 2663946"/>
                <a:gd name="connsiteY1330" fmla="*/ 75905 h 348807"/>
                <a:gd name="connsiteX1331" fmla="*/ 2571078 w 2663946"/>
                <a:gd name="connsiteY1331" fmla="*/ 125627 h 348807"/>
                <a:gd name="connsiteX1332" fmla="*/ 2564625 w 2663946"/>
                <a:gd name="connsiteY1332" fmla="*/ 131913 h 348807"/>
                <a:gd name="connsiteX1333" fmla="*/ 2511238 w 2663946"/>
                <a:gd name="connsiteY1333" fmla="*/ 131913 h 348807"/>
                <a:gd name="connsiteX1334" fmla="*/ 2504784 w 2663946"/>
                <a:gd name="connsiteY1334" fmla="*/ 125627 h 348807"/>
                <a:gd name="connsiteX1335" fmla="*/ 2504784 w 2663946"/>
                <a:gd name="connsiteY1335" fmla="*/ 75905 h 348807"/>
                <a:gd name="connsiteX1336" fmla="*/ 2511238 w 2663946"/>
                <a:gd name="connsiteY1336" fmla="*/ 69619 h 348807"/>
                <a:gd name="connsiteX1337" fmla="*/ 2512072 w 2663946"/>
                <a:gd name="connsiteY1337" fmla="*/ 69619 h 348807"/>
                <a:gd name="connsiteX1338" fmla="*/ 2512656 w 2663946"/>
                <a:gd name="connsiteY1338" fmla="*/ 69619 h 348807"/>
                <a:gd name="connsiteX1339" fmla="*/ 2513136 w 2663946"/>
                <a:gd name="connsiteY1339" fmla="*/ 64861 h 348807"/>
                <a:gd name="connsiteX1340" fmla="*/ 2537931 w 2663946"/>
                <a:gd name="connsiteY1340" fmla="*/ 44652 h 348807"/>
                <a:gd name="connsiteX1341" fmla="*/ 2112934 w 2663946"/>
                <a:gd name="connsiteY1341" fmla="*/ 44652 h 348807"/>
                <a:gd name="connsiteX1342" fmla="*/ 2137730 w 2663946"/>
                <a:gd name="connsiteY1342" fmla="*/ 64861 h 348807"/>
                <a:gd name="connsiteX1343" fmla="*/ 2138209 w 2663946"/>
                <a:gd name="connsiteY1343" fmla="*/ 69619 h 348807"/>
                <a:gd name="connsiteX1344" fmla="*/ 2139628 w 2663946"/>
                <a:gd name="connsiteY1344" fmla="*/ 69619 h 348807"/>
                <a:gd name="connsiteX1345" fmla="*/ 2146081 w 2663946"/>
                <a:gd name="connsiteY1345" fmla="*/ 75905 h 348807"/>
                <a:gd name="connsiteX1346" fmla="*/ 2146081 w 2663946"/>
                <a:gd name="connsiteY1346" fmla="*/ 125627 h 348807"/>
                <a:gd name="connsiteX1347" fmla="*/ 2139628 w 2663946"/>
                <a:gd name="connsiteY1347" fmla="*/ 131913 h 348807"/>
                <a:gd name="connsiteX1348" fmla="*/ 2086241 w 2663946"/>
                <a:gd name="connsiteY1348" fmla="*/ 131913 h 348807"/>
                <a:gd name="connsiteX1349" fmla="*/ 2079787 w 2663946"/>
                <a:gd name="connsiteY1349" fmla="*/ 125627 h 348807"/>
                <a:gd name="connsiteX1350" fmla="*/ 2079787 w 2663946"/>
                <a:gd name="connsiteY1350" fmla="*/ 75905 h 348807"/>
                <a:gd name="connsiteX1351" fmla="*/ 2086241 w 2663946"/>
                <a:gd name="connsiteY1351" fmla="*/ 69619 h 348807"/>
                <a:gd name="connsiteX1352" fmla="*/ 2087075 w 2663946"/>
                <a:gd name="connsiteY1352" fmla="*/ 69619 h 348807"/>
                <a:gd name="connsiteX1353" fmla="*/ 2087659 w 2663946"/>
                <a:gd name="connsiteY1353" fmla="*/ 69619 h 348807"/>
                <a:gd name="connsiteX1354" fmla="*/ 2088139 w 2663946"/>
                <a:gd name="connsiteY1354" fmla="*/ 64861 h 348807"/>
                <a:gd name="connsiteX1355" fmla="*/ 2112934 w 2663946"/>
                <a:gd name="connsiteY1355" fmla="*/ 44652 h 348807"/>
                <a:gd name="connsiteX1356" fmla="*/ 1854966 w 2663946"/>
                <a:gd name="connsiteY1356" fmla="*/ 44652 h 348807"/>
                <a:gd name="connsiteX1357" fmla="*/ 1879762 w 2663946"/>
                <a:gd name="connsiteY1357" fmla="*/ 64861 h 348807"/>
                <a:gd name="connsiteX1358" fmla="*/ 1880241 w 2663946"/>
                <a:gd name="connsiteY1358" fmla="*/ 69619 h 348807"/>
                <a:gd name="connsiteX1359" fmla="*/ 1881660 w 2663946"/>
                <a:gd name="connsiteY1359" fmla="*/ 69619 h 348807"/>
                <a:gd name="connsiteX1360" fmla="*/ 1888113 w 2663946"/>
                <a:gd name="connsiteY1360" fmla="*/ 75905 h 348807"/>
                <a:gd name="connsiteX1361" fmla="*/ 1888113 w 2663946"/>
                <a:gd name="connsiteY1361" fmla="*/ 125627 h 348807"/>
                <a:gd name="connsiteX1362" fmla="*/ 1881660 w 2663946"/>
                <a:gd name="connsiteY1362" fmla="*/ 131913 h 348807"/>
                <a:gd name="connsiteX1363" fmla="*/ 1828273 w 2663946"/>
                <a:gd name="connsiteY1363" fmla="*/ 131913 h 348807"/>
                <a:gd name="connsiteX1364" fmla="*/ 1821819 w 2663946"/>
                <a:gd name="connsiteY1364" fmla="*/ 125627 h 348807"/>
                <a:gd name="connsiteX1365" fmla="*/ 1821819 w 2663946"/>
                <a:gd name="connsiteY1365" fmla="*/ 75905 h 348807"/>
                <a:gd name="connsiteX1366" fmla="*/ 1828273 w 2663946"/>
                <a:gd name="connsiteY1366" fmla="*/ 69619 h 348807"/>
                <a:gd name="connsiteX1367" fmla="*/ 1829107 w 2663946"/>
                <a:gd name="connsiteY1367" fmla="*/ 69619 h 348807"/>
                <a:gd name="connsiteX1368" fmla="*/ 1829691 w 2663946"/>
                <a:gd name="connsiteY1368" fmla="*/ 69619 h 348807"/>
                <a:gd name="connsiteX1369" fmla="*/ 1830171 w 2663946"/>
                <a:gd name="connsiteY1369" fmla="*/ 64861 h 348807"/>
                <a:gd name="connsiteX1370" fmla="*/ 1854966 w 2663946"/>
                <a:gd name="connsiteY1370" fmla="*/ 44652 h 348807"/>
                <a:gd name="connsiteX1371" fmla="*/ 1764027 w 2663946"/>
                <a:gd name="connsiteY1371" fmla="*/ 44652 h 348807"/>
                <a:gd name="connsiteX1372" fmla="*/ 1788823 w 2663946"/>
                <a:gd name="connsiteY1372" fmla="*/ 64861 h 348807"/>
                <a:gd name="connsiteX1373" fmla="*/ 1789302 w 2663946"/>
                <a:gd name="connsiteY1373" fmla="*/ 69619 h 348807"/>
                <a:gd name="connsiteX1374" fmla="*/ 1790721 w 2663946"/>
                <a:gd name="connsiteY1374" fmla="*/ 69619 h 348807"/>
                <a:gd name="connsiteX1375" fmla="*/ 1797174 w 2663946"/>
                <a:gd name="connsiteY1375" fmla="*/ 75905 h 348807"/>
                <a:gd name="connsiteX1376" fmla="*/ 1797174 w 2663946"/>
                <a:gd name="connsiteY1376" fmla="*/ 125627 h 348807"/>
                <a:gd name="connsiteX1377" fmla="*/ 1790721 w 2663946"/>
                <a:gd name="connsiteY1377" fmla="*/ 131913 h 348807"/>
                <a:gd name="connsiteX1378" fmla="*/ 1737333 w 2663946"/>
                <a:gd name="connsiteY1378" fmla="*/ 131913 h 348807"/>
                <a:gd name="connsiteX1379" fmla="*/ 1730880 w 2663946"/>
                <a:gd name="connsiteY1379" fmla="*/ 125627 h 348807"/>
                <a:gd name="connsiteX1380" fmla="*/ 1730880 w 2663946"/>
                <a:gd name="connsiteY1380" fmla="*/ 75905 h 348807"/>
                <a:gd name="connsiteX1381" fmla="*/ 1737333 w 2663946"/>
                <a:gd name="connsiteY1381" fmla="*/ 69619 h 348807"/>
                <a:gd name="connsiteX1382" fmla="*/ 1738168 w 2663946"/>
                <a:gd name="connsiteY1382" fmla="*/ 69619 h 348807"/>
                <a:gd name="connsiteX1383" fmla="*/ 1738752 w 2663946"/>
                <a:gd name="connsiteY1383" fmla="*/ 69619 h 348807"/>
                <a:gd name="connsiteX1384" fmla="*/ 1739232 w 2663946"/>
                <a:gd name="connsiteY1384" fmla="*/ 64861 h 348807"/>
                <a:gd name="connsiteX1385" fmla="*/ 1764027 w 2663946"/>
                <a:gd name="connsiteY1385" fmla="*/ 44652 h 348807"/>
                <a:gd name="connsiteX1386" fmla="*/ 1506059 w 2663946"/>
                <a:gd name="connsiteY1386" fmla="*/ 44652 h 348807"/>
                <a:gd name="connsiteX1387" fmla="*/ 1530855 w 2663946"/>
                <a:gd name="connsiteY1387" fmla="*/ 64861 h 348807"/>
                <a:gd name="connsiteX1388" fmla="*/ 1531334 w 2663946"/>
                <a:gd name="connsiteY1388" fmla="*/ 69619 h 348807"/>
                <a:gd name="connsiteX1389" fmla="*/ 1532753 w 2663946"/>
                <a:gd name="connsiteY1389" fmla="*/ 69619 h 348807"/>
                <a:gd name="connsiteX1390" fmla="*/ 1539206 w 2663946"/>
                <a:gd name="connsiteY1390" fmla="*/ 75905 h 348807"/>
                <a:gd name="connsiteX1391" fmla="*/ 1539206 w 2663946"/>
                <a:gd name="connsiteY1391" fmla="*/ 125627 h 348807"/>
                <a:gd name="connsiteX1392" fmla="*/ 1532753 w 2663946"/>
                <a:gd name="connsiteY1392" fmla="*/ 131913 h 348807"/>
                <a:gd name="connsiteX1393" fmla="*/ 1479365 w 2663946"/>
                <a:gd name="connsiteY1393" fmla="*/ 131913 h 348807"/>
                <a:gd name="connsiteX1394" fmla="*/ 1472912 w 2663946"/>
                <a:gd name="connsiteY1394" fmla="*/ 125627 h 348807"/>
                <a:gd name="connsiteX1395" fmla="*/ 1472912 w 2663946"/>
                <a:gd name="connsiteY1395" fmla="*/ 75905 h 348807"/>
                <a:gd name="connsiteX1396" fmla="*/ 1479365 w 2663946"/>
                <a:gd name="connsiteY1396" fmla="*/ 69619 h 348807"/>
                <a:gd name="connsiteX1397" fmla="*/ 1480200 w 2663946"/>
                <a:gd name="connsiteY1397" fmla="*/ 69619 h 348807"/>
                <a:gd name="connsiteX1398" fmla="*/ 1480784 w 2663946"/>
                <a:gd name="connsiteY1398" fmla="*/ 69619 h 348807"/>
                <a:gd name="connsiteX1399" fmla="*/ 1481264 w 2663946"/>
                <a:gd name="connsiteY1399" fmla="*/ 64861 h 348807"/>
                <a:gd name="connsiteX1400" fmla="*/ 1506059 w 2663946"/>
                <a:gd name="connsiteY1400" fmla="*/ 44652 h 348807"/>
                <a:gd name="connsiteX1401" fmla="*/ 1415120 w 2663946"/>
                <a:gd name="connsiteY1401" fmla="*/ 44652 h 348807"/>
                <a:gd name="connsiteX1402" fmla="*/ 1439916 w 2663946"/>
                <a:gd name="connsiteY1402" fmla="*/ 64861 h 348807"/>
                <a:gd name="connsiteX1403" fmla="*/ 1440395 w 2663946"/>
                <a:gd name="connsiteY1403" fmla="*/ 69619 h 348807"/>
                <a:gd name="connsiteX1404" fmla="*/ 1441814 w 2663946"/>
                <a:gd name="connsiteY1404" fmla="*/ 69619 h 348807"/>
                <a:gd name="connsiteX1405" fmla="*/ 1448267 w 2663946"/>
                <a:gd name="connsiteY1405" fmla="*/ 75905 h 348807"/>
                <a:gd name="connsiteX1406" fmla="*/ 1448267 w 2663946"/>
                <a:gd name="connsiteY1406" fmla="*/ 125627 h 348807"/>
                <a:gd name="connsiteX1407" fmla="*/ 1441814 w 2663946"/>
                <a:gd name="connsiteY1407" fmla="*/ 131913 h 348807"/>
                <a:gd name="connsiteX1408" fmla="*/ 1388426 w 2663946"/>
                <a:gd name="connsiteY1408" fmla="*/ 131913 h 348807"/>
                <a:gd name="connsiteX1409" fmla="*/ 1381973 w 2663946"/>
                <a:gd name="connsiteY1409" fmla="*/ 125627 h 348807"/>
                <a:gd name="connsiteX1410" fmla="*/ 1381973 w 2663946"/>
                <a:gd name="connsiteY1410" fmla="*/ 75905 h 348807"/>
                <a:gd name="connsiteX1411" fmla="*/ 1388426 w 2663946"/>
                <a:gd name="connsiteY1411" fmla="*/ 69619 h 348807"/>
                <a:gd name="connsiteX1412" fmla="*/ 1389261 w 2663946"/>
                <a:gd name="connsiteY1412" fmla="*/ 69619 h 348807"/>
                <a:gd name="connsiteX1413" fmla="*/ 1389845 w 2663946"/>
                <a:gd name="connsiteY1413" fmla="*/ 69619 h 348807"/>
                <a:gd name="connsiteX1414" fmla="*/ 1390325 w 2663946"/>
                <a:gd name="connsiteY1414" fmla="*/ 64861 h 348807"/>
                <a:gd name="connsiteX1415" fmla="*/ 1415120 w 2663946"/>
                <a:gd name="connsiteY1415" fmla="*/ 44652 h 348807"/>
                <a:gd name="connsiteX1416" fmla="*/ 1157152 w 2663946"/>
                <a:gd name="connsiteY1416" fmla="*/ 44652 h 348807"/>
                <a:gd name="connsiteX1417" fmla="*/ 1181948 w 2663946"/>
                <a:gd name="connsiteY1417" fmla="*/ 64861 h 348807"/>
                <a:gd name="connsiteX1418" fmla="*/ 1182427 w 2663946"/>
                <a:gd name="connsiteY1418" fmla="*/ 69619 h 348807"/>
                <a:gd name="connsiteX1419" fmla="*/ 1183846 w 2663946"/>
                <a:gd name="connsiteY1419" fmla="*/ 69619 h 348807"/>
                <a:gd name="connsiteX1420" fmla="*/ 1190299 w 2663946"/>
                <a:gd name="connsiteY1420" fmla="*/ 75905 h 348807"/>
                <a:gd name="connsiteX1421" fmla="*/ 1190299 w 2663946"/>
                <a:gd name="connsiteY1421" fmla="*/ 125627 h 348807"/>
                <a:gd name="connsiteX1422" fmla="*/ 1183846 w 2663946"/>
                <a:gd name="connsiteY1422" fmla="*/ 131913 h 348807"/>
                <a:gd name="connsiteX1423" fmla="*/ 1130458 w 2663946"/>
                <a:gd name="connsiteY1423" fmla="*/ 131913 h 348807"/>
                <a:gd name="connsiteX1424" fmla="*/ 1124005 w 2663946"/>
                <a:gd name="connsiteY1424" fmla="*/ 125627 h 348807"/>
                <a:gd name="connsiteX1425" fmla="*/ 1124005 w 2663946"/>
                <a:gd name="connsiteY1425" fmla="*/ 75905 h 348807"/>
                <a:gd name="connsiteX1426" fmla="*/ 1130458 w 2663946"/>
                <a:gd name="connsiteY1426" fmla="*/ 69619 h 348807"/>
                <a:gd name="connsiteX1427" fmla="*/ 1131293 w 2663946"/>
                <a:gd name="connsiteY1427" fmla="*/ 69619 h 348807"/>
                <a:gd name="connsiteX1428" fmla="*/ 1131877 w 2663946"/>
                <a:gd name="connsiteY1428" fmla="*/ 69619 h 348807"/>
                <a:gd name="connsiteX1429" fmla="*/ 1132357 w 2663946"/>
                <a:gd name="connsiteY1429" fmla="*/ 64861 h 348807"/>
                <a:gd name="connsiteX1430" fmla="*/ 1157152 w 2663946"/>
                <a:gd name="connsiteY1430" fmla="*/ 44652 h 348807"/>
                <a:gd name="connsiteX1431" fmla="*/ 732156 w 2663946"/>
                <a:gd name="connsiteY1431" fmla="*/ 44652 h 348807"/>
                <a:gd name="connsiteX1432" fmla="*/ 756951 w 2663946"/>
                <a:gd name="connsiteY1432" fmla="*/ 64861 h 348807"/>
                <a:gd name="connsiteX1433" fmla="*/ 757431 w 2663946"/>
                <a:gd name="connsiteY1433" fmla="*/ 69619 h 348807"/>
                <a:gd name="connsiteX1434" fmla="*/ 758849 w 2663946"/>
                <a:gd name="connsiteY1434" fmla="*/ 69619 h 348807"/>
                <a:gd name="connsiteX1435" fmla="*/ 765303 w 2663946"/>
                <a:gd name="connsiteY1435" fmla="*/ 75905 h 348807"/>
                <a:gd name="connsiteX1436" fmla="*/ 765303 w 2663946"/>
                <a:gd name="connsiteY1436" fmla="*/ 125627 h 348807"/>
                <a:gd name="connsiteX1437" fmla="*/ 758849 w 2663946"/>
                <a:gd name="connsiteY1437" fmla="*/ 131913 h 348807"/>
                <a:gd name="connsiteX1438" fmla="*/ 705462 w 2663946"/>
                <a:gd name="connsiteY1438" fmla="*/ 131913 h 348807"/>
                <a:gd name="connsiteX1439" fmla="*/ 699009 w 2663946"/>
                <a:gd name="connsiteY1439" fmla="*/ 125627 h 348807"/>
                <a:gd name="connsiteX1440" fmla="*/ 699009 w 2663946"/>
                <a:gd name="connsiteY1440" fmla="*/ 75905 h 348807"/>
                <a:gd name="connsiteX1441" fmla="*/ 705462 w 2663946"/>
                <a:gd name="connsiteY1441" fmla="*/ 69619 h 348807"/>
                <a:gd name="connsiteX1442" fmla="*/ 706296 w 2663946"/>
                <a:gd name="connsiteY1442" fmla="*/ 69619 h 348807"/>
                <a:gd name="connsiteX1443" fmla="*/ 706881 w 2663946"/>
                <a:gd name="connsiteY1443" fmla="*/ 69619 h 348807"/>
                <a:gd name="connsiteX1444" fmla="*/ 707360 w 2663946"/>
                <a:gd name="connsiteY1444" fmla="*/ 64861 h 348807"/>
                <a:gd name="connsiteX1445" fmla="*/ 732156 w 2663946"/>
                <a:gd name="connsiteY1445" fmla="*/ 44652 h 348807"/>
                <a:gd name="connsiteX1446" fmla="*/ 641217 w 2663946"/>
                <a:gd name="connsiteY1446" fmla="*/ 44652 h 348807"/>
                <a:gd name="connsiteX1447" fmla="*/ 666012 w 2663946"/>
                <a:gd name="connsiteY1447" fmla="*/ 64861 h 348807"/>
                <a:gd name="connsiteX1448" fmla="*/ 666492 w 2663946"/>
                <a:gd name="connsiteY1448" fmla="*/ 69619 h 348807"/>
                <a:gd name="connsiteX1449" fmla="*/ 667910 w 2663946"/>
                <a:gd name="connsiteY1449" fmla="*/ 69619 h 348807"/>
                <a:gd name="connsiteX1450" fmla="*/ 674364 w 2663946"/>
                <a:gd name="connsiteY1450" fmla="*/ 75905 h 348807"/>
                <a:gd name="connsiteX1451" fmla="*/ 674364 w 2663946"/>
                <a:gd name="connsiteY1451" fmla="*/ 125627 h 348807"/>
                <a:gd name="connsiteX1452" fmla="*/ 667910 w 2663946"/>
                <a:gd name="connsiteY1452" fmla="*/ 131913 h 348807"/>
                <a:gd name="connsiteX1453" fmla="*/ 614523 w 2663946"/>
                <a:gd name="connsiteY1453" fmla="*/ 131913 h 348807"/>
                <a:gd name="connsiteX1454" fmla="*/ 608070 w 2663946"/>
                <a:gd name="connsiteY1454" fmla="*/ 125627 h 348807"/>
                <a:gd name="connsiteX1455" fmla="*/ 608070 w 2663946"/>
                <a:gd name="connsiteY1455" fmla="*/ 75905 h 348807"/>
                <a:gd name="connsiteX1456" fmla="*/ 614523 w 2663946"/>
                <a:gd name="connsiteY1456" fmla="*/ 69619 h 348807"/>
                <a:gd name="connsiteX1457" fmla="*/ 615358 w 2663946"/>
                <a:gd name="connsiteY1457" fmla="*/ 69619 h 348807"/>
                <a:gd name="connsiteX1458" fmla="*/ 615942 w 2663946"/>
                <a:gd name="connsiteY1458" fmla="*/ 69619 h 348807"/>
                <a:gd name="connsiteX1459" fmla="*/ 616422 w 2663946"/>
                <a:gd name="connsiteY1459" fmla="*/ 64861 h 348807"/>
                <a:gd name="connsiteX1460" fmla="*/ 641217 w 2663946"/>
                <a:gd name="connsiteY1460" fmla="*/ 44652 h 348807"/>
                <a:gd name="connsiteX1461" fmla="*/ 459266 w 2663946"/>
                <a:gd name="connsiteY1461" fmla="*/ 44652 h 348807"/>
                <a:gd name="connsiteX1462" fmla="*/ 484061 w 2663946"/>
                <a:gd name="connsiteY1462" fmla="*/ 64861 h 348807"/>
                <a:gd name="connsiteX1463" fmla="*/ 484541 w 2663946"/>
                <a:gd name="connsiteY1463" fmla="*/ 69619 h 348807"/>
                <a:gd name="connsiteX1464" fmla="*/ 485959 w 2663946"/>
                <a:gd name="connsiteY1464" fmla="*/ 69619 h 348807"/>
                <a:gd name="connsiteX1465" fmla="*/ 492413 w 2663946"/>
                <a:gd name="connsiteY1465" fmla="*/ 75905 h 348807"/>
                <a:gd name="connsiteX1466" fmla="*/ 492413 w 2663946"/>
                <a:gd name="connsiteY1466" fmla="*/ 125627 h 348807"/>
                <a:gd name="connsiteX1467" fmla="*/ 485959 w 2663946"/>
                <a:gd name="connsiteY1467" fmla="*/ 131913 h 348807"/>
                <a:gd name="connsiteX1468" fmla="*/ 432572 w 2663946"/>
                <a:gd name="connsiteY1468" fmla="*/ 131913 h 348807"/>
                <a:gd name="connsiteX1469" fmla="*/ 426119 w 2663946"/>
                <a:gd name="connsiteY1469" fmla="*/ 125627 h 348807"/>
                <a:gd name="connsiteX1470" fmla="*/ 426119 w 2663946"/>
                <a:gd name="connsiteY1470" fmla="*/ 75905 h 348807"/>
                <a:gd name="connsiteX1471" fmla="*/ 432572 w 2663946"/>
                <a:gd name="connsiteY1471" fmla="*/ 69619 h 348807"/>
                <a:gd name="connsiteX1472" fmla="*/ 433406 w 2663946"/>
                <a:gd name="connsiteY1472" fmla="*/ 69619 h 348807"/>
                <a:gd name="connsiteX1473" fmla="*/ 433991 w 2663946"/>
                <a:gd name="connsiteY1473" fmla="*/ 69619 h 348807"/>
                <a:gd name="connsiteX1474" fmla="*/ 434470 w 2663946"/>
                <a:gd name="connsiteY1474" fmla="*/ 64861 h 348807"/>
                <a:gd name="connsiteX1475" fmla="*/ 459266 w 2663946"/>
                <a:gd name="connsiteY1475" fmla="*/ 44652 h 348807"/>
                <a:gd name="connsiteX1476" fmla="*/ 7905 w 2663946"/>
                <a:gd name="connsiteY1476" fmla="*/ 8586 h 348807"/>
                <a:gd name="connsiteX1477" fmla="*/ 40350 w 2663946"/>
                <a:gd name="connsiteY1477" fmla="*/ 475 h 348807"/>
                <a:gd name="connsiteX1478" fmla="*/ 40891 w 2663946"/>
                <a:gd name="connsiteY1478" fmla="*/ 1015 h 348807"/>
                <a:gd name="connsiteX1479" fmla="*/ 48191 w 2663946"/>
                <a:gd name="connsiteY1479" fmla="*/ 1015 h 348807"/>
                <a:gd name="connsiteX1480" fmla="*/ 52247 w 2663946"/>
                <a:gd name="connsiteY1480" fmla="*/ 2097 h 348807"/>
                <a:gd name="connsiteX1481" fmla="*/ 56032 w 2663946"/>
                <a:gd name="connsiteY1481" fmla="*/ 8856 h 348807"/>
                <a:gd name="connsiteX1482" fmla="*/ 53328 w 2663946"/>
                <a:gd name="connsiteY1482" fmla="*/ 14534 h 348807"/>
                <a:gd name="connsiteX1483" fmla="*/ 49273 w 2663946"/>
                <a:gd name="connsiteY1483" fmla="*/ 16427 h 348807"/>
                <a:gd name="connsiteX1484" fmla="*/ 49002 w 2663946"/>
                <a:gd name="connsiteY1484" fmla="*/ 16427 h 348807"/>
                <a:gd name="connsiteX1485" fmla="*/ 48732 w 2663946"/>
                <a:gd name="connsiteY1485" fmla="*/ 16427 h 348807"/>
                <a:gd name="connsiteX1486" fmla="*/ 48191 w 2663946"/>
                <a:gd name="connsiteY1486" fmla="*/ 16427 h 348807"/>
                <a:gd name="connsiteX1487" fmla="*/ 16016 w 2663946"/>
                <a:gd name="connsiteY1487" fmla="*/ 16427 h 348807"/>
                <a:gd name="connsiteX1488" fmla="*/ 15475 w 2663946"/>
                <a:gd name="connsiteY1488" fmla="*/ 16427 h 348807"/>
                <a:gd name="connsiteX1489" fmla="*/ 14664 w 2663946"/>
                <a:gd name="connsiteY1489" fmla="*/ 16427 h 348807"/>
                <a:gd name="connsiteX1490" fmla="*/ 13853 w 2663946"/>
                <a:gd name="connsiteY1490" fmla="*/ 16157 h 348807"/>
                <a:gd name="connsiteX1491" fmla="*/ 10338 w 2663946"/>
                <a:gd name="connsiteY1491" fmla="*/ 14264 h 348807"/>
                <a:gd name="connsiteX1492" fmla="*/ 7905 w 2663946"/>
                <a:gd name="connsiteY1492" fmla="*/ 8586 h 348807"/>
                <a:gd name="connsiteX0" fmla="*/ 2632966 w 2663946"/>
                <a:gd name="connsiteY0" fmla="*/ 288117 h 349223"/>
                <a:gd name="connsiteX1" fmla="*/ 2621414 w 2663946"/>
                <a:gd name="connsiteY1" fmla="*/ 290550 h 349223"/>
                <a:gd name="connsiteX2" fmla="*/ 2618218 w 2663946"/>
                <a:gd name="connsiteY2" fmla="*/ 294065 h 349223"/>
                <a:gd name="connsiteX3" fmla="*/ 2616006 w 2663946"/>
                <a:gd name="connsiteY3" fmla="*/ 297850 h 349223"/>
                <a:gd name="connsiteX4" fmla="*/ 2615023 w 2663946"/>
                <a:gd name="connsiteY4" fmla="*/ 300554 h 349223"/>
                <a:gd name="connsiteX5" fmla="*/ 2614039 w 2663946"/>
                <a:gd name="connsiteY5" fmla="*/ 304610 h 349223"/>
                <a:gd name="connsiteX6" fmla="*/ 2613056 w 2663946"/>
                <a:gd name="connsiteY6" fmla="*/ 311640 h 349223"/>
                <a:gd name="connsiteX7" fmla="*/ 2614039 w 2663946"/>
                <a:gd name="connsiteY7" fmla="*/ 318940 h 349223"/>
                <a:gd name="connsiteX8" fmla="*/ 2615269 w 2663946"/>
                <a:gd name="connsiteY8" fmla="*/ 322725 h 349223"/>
                <a:gd name="connsiteX9" fmla="*/ 2617481 w 2663946"/>
                <a:gd name="connsiteY9" fmla="*/ 327051 h 349223"/>
                <a:gd name="connsiteX10" fmla="*/ 2620922 w 2663946"/>
                <a:gd name="connsiteY10" fmla="*/ 331378 h 349223"/>
                <a:gd name="connsiteX11" fmla="*/ 2625346 w 2663946"/>
                <a:gd name="connsiteY11" fmla="*/ 334081 h 349223"/>
                <a:gd name="connsiteX12" fmla="*/ 2637637 w 2663946"/>
                <a:gd name="connsiteY12" fmla="*/ 331648 h 349223"/>
                <a:gd name="connsiteX13" fmla="*/ 2640832 w 2663946"/>
                <a:gd name="connsiteY13" fmla="*/ 328133 h 349223"/>
                <a:gd name="connsiteX14" fmla="*/ 2643290 w 2663946"/>
                <a:gd name="connsiteY14" fmla="*/ 323807 h 349223"/>
                <a:gd name="connsiteX15" fmla="*/ 2644273 w 2663946"/>
                <a:gd name="connsiteY15" fmla="*/ 321644 h 349223"/>
                <a:gd name="connsiteX16" fmla="*/ 2645502 w 2663946"/>
                <a:gd name="connsiteY16" fmla="*/ 317318 h 349223"/>
                <a:gd name="connsiteX17" fmla="*/ 2645011 w 2663946"/>
                <a:gd name="connsiteY17" fmla="*/ 303528 h 349223"/>
                <a:gd name="connsiteX18" fmla="*/ 2644027 w 2663946"/>
                <a:gd name="connsiteY18" fmla="*/ 300554 h 349223"/>
                <a:gd name="connsiteX19" fmla="*/ 2642799 w 2663946"/>
                <a:gd name="connsiteY19" fmla="*/ 297580 h 349223"/>
                <a:gd name="connsiteX20" fmla="*/ 2640586 w 2663946"/>
                <a:gd name="connsiteY20" fmla="*/ 294065 h 349223"/>
                <a:gd name="connsiteX21" fmla="*/ 2636899 w 2663946"/>
                <a:gd name="connsiteY21" fmla="*/ 290280 h 349223"/>
                <a:gd name="connsiteX22" fmla="*/ 2632966 w 2663946"/>
                <a:gd name="connsiteY22" fmla="*/ 288117 h 349223"/>
                <a:gd name="connsiteX23" fmla="*/ 2627559 w 2663946"/>
                <a:gd name="connsiteY23" fmla="*/ 272164 h 349223"/>
                <a:gd name="connsiteX24" fmla="*/ 2639849 w 2663946"/>
                <a:gd name="connsiteY24" fmla="*/ 274327 h 349223"/>
                <a:gd name="connsiteX25" fmla="*/ 2647223 w 2663946"/>
                <a:gd name="connsiteY25" fmla="*/ 278924 h 349223"/>
                <a:gd name="connsiteX26" fmla="*/ 2650664 w 2663946"/>
                <a:gd name="connsiteY26" fmla="*/ 282168 h 349223"/>
                <a:gd name="connsiteX27" fmla="*/ 2654106 w 2663946"/>
                <a:gd name="connsiteY27" fmla="*/ 286494 h 349223"/>
                <a:gd name="connsiteX28" fmla="*/ 2656072 w 2663946"/>
                <a:gd name="connsiteY28" fmla="*/ 290009 h 349223"/>
                <a:gd name="connsiteX29" fmla="*/ 2658284 w 2663946"/>
                <a:gd name="connsiteY29" fmla="*/ 295417 h 349223"/>
                <a:gd name="connsiteX30" fmla="*/ 2659267 w 2663946"/>
                <a:gd name="connsiteY30" fmla="*/ 298932 h 349223"/>
                <a:gd name="connsiteX31" fmla="*/ 2660251 w 2663946"/>
                <a:gd name="connsiteY31" fmla="*/ 304069 h 349223"/>
                <a:gd name="connsiteX32" fmla="*/ 2660005 w 2663946"/>
                <a:gd name="connsiteY32" fmla="*/ 318399 h 349223"/>
                <a:gd name="connsiteX33" fmla="*/ 2659022 w 2663946"/>
                <a:gd name="connsiteY33" fmla="*/ 323266 h 349223"/>
                <a:gd name="connsiteX34" fmla="*/ 2657792 w 2663946"/>
                <a:gd name="connsiteY34" fmla="*/ 327051 h 349223"/>
                <a:gd name="connsiteX35" fmla="*/ 2656809 w 2663946"/>
                <a:gd name="connsiteY35" fmla="*/ 329485 h 349223"/>
                <a:gd name="connsiteX36" fmla="*/ 2654597 w 2663946"/>
                <a:gd name="connsiteY36" fmla="*/ 333811 h 349223"/>
                <a:gd name="connsiteX37" fmla="*/ 2652385 w 2663946"/>
                <a:gd name="connsiteY37" fmla="*/ 337055 h 349223"/>
                <a:gd name="connsiteX38" fmla="*/ 2648944 w 2663946"/>
                <a:gd name="connsiteY38" fmla="*/ 340841 h 349223"/>
                <a:gd name="connsiteX39" fmla="*/ 2645748 w 2663946"/>
                <a:gd name="connsiteY39" fmla="*/ 343544 h 349223"/>
                <a:gd name="connsiteX40" fmla="*/ 2640095 w 2663946"/>
                <a:gd name="connsiteY40" fmla="*/ 346789 h 349223"/>
                <a:gd name="connsiteX41" fmla="*/ 2632229 w 2663946"/>
                <a:gd name="connsiteY41" fmla="*/ 348952 h 349223"/>
                <a:gd name="connsiteX42" fmla="*/ 2631000 w 2663946"/>
                <a:gd name="connsiteY42" fmla="*/ 349223 h 349223"/>
                <a:gd name="connsiteX43" fmla="*/ 2626821 w 2663946"/>
                <a:gd name="connsiteY43" fmla="*/ 349223 h 349223"/>
                <a:gd name="connsiteX44" fmla="*/ 2626576 w 2663946"/>
                <a:gd name="connsiteY44" fmla="*/ 349223 h 349223"/>
                <a:gd name="connsiteX45" fmla="*/ 2613548 w 2663946"/>
                <a:gd name="connsiteY45" fmla="*/ 344356 h 349223"/>
                <a:gd name="connsiteX46" fmla="*/ 2608878 w 2663946"/>
                <a:gd name="connsiteY46" fmla="*/ 340300 h 349223"/>
                <a:gd name="connsiteX47" fmla="*/ 2605682 w 2663946"/>
                <a:gd name="connsiteY47" fmla="*/ 336515 h 349223"/>
                <a:gd name="connsiteX48" fmla="*/ 2603470 w 2663946"/>
                <a:gd name="connsiteY48" fmla="*/ 333000 h 349223"/>
                <a:gd name="connsiteX49" fmla="*/ 2601258 w 2663946"/>
                <a:gd name="connsiteY49" fmla="*/ 328674 h 349223"/>
                <a:gd name="connsiteX50" fmla="*/ 2600029 w 2663946"/>
                <a:gd name="connsiteY50" fmla="*/ 325699 h 349223"/>
                <a:gd name="connsiteX51" fmla="*/ 2599046 w 2663946"/>
                <a:gd name="connsiteY51" fmla="*/ 322455 h 349223"/>
                <a:gd name="connsiteX52" fmla="*/ 2597816 w 2663946"/>
                <a:gd name="connsiteY52" fmla="*/ 316777 h 349223"/>
                <a:gd name="connsiteX53" fmla="*/ 2597571 w 2663946"/>
                <a:gd name="connsiteY53" fmla="*/ 313803 h 349223"/>
                <a:gd name="connsiteX54" fmla="*/ 2597816 w 2663946"/>
                <a:gd name="connsiteY54" fmla="*/ 314073 h 349223"/>
                <a:gd name="connsiteX55" fmla="*/ 2597816 w 2663946"/>
                <a:gd name="connsiteY55" fmla="*/ 308395 h 349223"/>
                <a:gd name="connsiteX56" fmla="*/ 2597816 w 2663946"/>
                <a:gd name="connsiteY56" fmla="*/ 308125 h 349223"/>
                <a:gd name="connsiteX57" fmla="*/ 2598308 w 2663946"/>
                <a:gd name="connsiteY57" fmla="*/ 303528 h 349223"/>
                <a:gd name="connsiteX58" fmla="*/ 2599537 w 2663946"/>
                <a:gd name="connsiteY58" fmla="*/ 298121 h 349223"/>
                <a:gd name="connsiteX59" fmla="*/ 2600520 w 2663946"/>
                <a:gd name="connsiteY59" fmla="*/ 294876 h 349223"/>
                <a:gd name="connsiteX60" fmla="*/ 2602732 w 2663946"/>
                <a:gd name="connsiteY60" fmla="*/ 289739 h 349223"/>
                <a:gd name="connsiteX61" fmla="*/ 2604945 w 2663946"/>
                <a:gd name="connsiteY61" fmla="*/ 285954 h 349223"/>
                <a:gd name="connsiteX62" fmla="*/ 2607157 w 2663946"/>
                <a:gd name="connsiteY62" fmla="*/ 282979 h 349223"/>
                <a:gd name="connsiteX63" fmla="*/ 2609369 w 2663946"/>
                <a:gd name="connsiteY63" fmla="*/ 280546 h 349223"/>
                <a:gd name="connsiteX64" fmla="*/ 2614039 w 2663946"/>
                <a:gd name="connsiteY64" fmla="*/ 276761 h 349223"/>
                <a:gd name="connsiteX65" fmla="*/ 2617972 w 2663946"/>
                <a:gd name="connsiteY65" fmla="*/ 274598 h 349223"/>
                <a:gd name="connsiteX66" fmla="*/ 2627559 w 2663946"/>
                <a:gd name="connsiteY66" fmla="*/ 272164 h 349223"/>
                <a:gd name="connsiteX67" fmla="*/ 2631061 w 2663946"/>
                <a:gd name="connsiteY67" fmla="*/ 208254 h 349223"/>
                <a:gd name="connsiteX68" fmla="*/ 2621591 w 2663946"/>
                <a:gd name="connsiteY68" fmla="*/ 217528 h 349223"/>
                <a:gd name="connsiteX69" fmla="*/ 2626545 w 2663946"/>
                <a:gd name="connsiteY69" fmla="*/ 225685 h 349223"/>
                <a:gd name="connsiteX70" fmla="*/ 2626545 w 2663946"/>
                <a:gd name="connsiteY70" fmla="*/ 234080 h 349223"/>
                <a:gd name="connsiteX71" fmla="*/ 2631061 w 2663946"/>
                <a:gd name="connsiteY71" fmla="*/ 238503 h 349223"/>
                <a:gd name="connsiteX72" fmla="*/ 2635578 w 2663946"/>
                <a:gd name="connsiteY72" fmla="*/ 234080 h 349223"/>
                <a:gd name="connsiteX73" fmla="*/ 2635578 w 2663946"/>
                <a:gd name="connsiteY73" fmla="*/ 225685 h 349223"/>
                <a:gd name="connsiteX74" fmla="*/ 2640532 w 2663946"/>
                <a:gd name="connsiteY74" fmla="*/ 217528 h 349223"/>
                <a:gd name="connsiteX75" fmla="*/ 2631061 w 2663946"/>
                <a:gd name="connsiteY75" fmla="*/ 208254 h 349223"/>
                <a:gd name="connsiteX76" fmla="*/ 2630799 w 2663946"/>
                <a:gd name="connsiteY76" fmla="*/ 169537 h 349223"/>
                <a:gd name="connsiteX77" fmla="*/ 2619139 w 2663946"/>
                <a:gd name="connsiteY77" fmla="*/ 177266 h 349223"/>
                <a:gd name="connsiteX78" fmla="*/ 2618214 w 2663946"/>
                <a:gd name="connsiteY78" fmla="*/ 181849 h 349223"/>
                <a:gd name="connsiteX79" fmla="*/ 2621454 w 2663946"/>
                <a:gd name="connsiteY79" fmla="*/ 181849 h 349223"/>
                <a:gd name="connsiteX80" fmla="*/ 2639871 w 2663946"/>
                <a:gd name="connsiteY80" fmla="*/ 181849 h 349223"/>
                <a:gd name="connsiteX81" fmla="*/ 2643385 w 2663946"/>
                <a:gd name="connsiteY81" fmla="*/ 181849 h 349223"/>
                <a:gd name="connsiteX82" fmla="*/ 2642460 w 2663946"/>
                <a:gd name="connsiteY82" fmla="*/ 177266 h 349223"/>
                <a:gd name="connsiteX83" fmla="*/ 2630799 w 2663946"/>
                <a:gd name="connsiteY83" fmla="*/ 169537 h 349223"/>
                <a:gd name="connsiteX84" fmla="*/ 2630799 w 2663946"/>
                <a:gd name="connsiteY84" fmla="*/ 156882 h 349223"/>
                <a:gd name="connsiteX85" fmla="*/ 2655595 w 2663946"/>
                <a:gd name="connsiteY85" fmla="*/ 177091 h 349223"/>
                <a:gd name="connsiteX86" fmla="*/ 2656074 w 2663946"/>
                <a:gd name="connsiteY86" fmla="*/ 181849 h 349223"/>
                <a:gd name="connsiteX87" fmla="*/ 2657493 w 2663946"/>
                <a:gd name="connsiteY87" fmla="*/ 181849 h 349223"/>
                <a:gd name="connsiteX88" fmla="*/ 2663946 w 2663946"/>
                <a:gd name="connsiteY88" fmla="*/ 188135 h 349223"/>
                <a:gd name="connsiteX89" fmla="*/ 2663946 w 2663946"/>
                <a:gd name="connsiteY89" fmla="*/ 237857 h 349223"/>
                <a:gd name="connsiteX90" fmla="*/ 2657493 w 2663946"/>
                <a:gd name="connsiteY90" fmla="*/ 244143 h 349223"/>
                <a:gd name="connsiteX91" fmla="*/ 2604106 w 2663946"/>
                <a:gd name="connsiteY91" fmla="*/ 244143 h 349223"/>
                <a:gd name="connsiteX92" fmla="*/ 2597652 w 2663946"/>
                <a:gd name="connsiteY92" fmla="*/ 237857 h 349223"/>
                <a:gd name="connsiteX93" fmla="*/ 2597652 w 2663946"/>
                <a:gd name="connsiteY93" fmla="*/ 188135 h 349223"/>
                <a:gd name="connsiteX94" fmla="*/ 2604106 w 2663946"/>
                <a:gd name="connsiteY94" fmla="*/ 181849 h 349223"/>
                <a:gd name="connsiteX95" fmla="*/ 2604940 w 2663946"/>
                <a:gd name="connsiteY95" fmla="*/ 181849 h 349223"/>
                <a:gd name="connsiteX96" fmla="*/ 2605524 w 2663946"/>
                <a:gd name="connsiteY96" fmla="*/ 181849 h 349223"/>
                <a:gd name="connsiteX97" fmla="*/ 2606004 w 2663946"/>
                <a:gd name="connsiteY97" fmla="*/ 177091 h 349223"/>
                <a:gd name="connsiteX98" fmla="*/ 2630799 w 2663946"/>
                <a:gd name="connsiteY98" fmla="*/ 156882 h 349223"/>
                <a:gd name="connsiteX99" fmla="*/ 33409 w 2663946"/>
                <a:gd name="connsiteY99" fmla="*/ 104028 h 349223"/>
                <a:gd name="connsiteX100" fmla="*/ 23938 w 2663946"/>
                <a:gd name="connsiteY100" fmla="*/ 113302 h 349223"/>
                <a:gd name="connsiteX101" fmla="*/ 28892 w 2663946"/>
                <a:gd name="connsiteY101" fmla="*/ 121459 h 349223"/>
                <a:gd name="connsiteX102" fmla="*/ 28892 w 2663946"/>
                <a:gd name="connsiteY102" fmla="*/ 129854 h 349223"/>
                <a:gd name="connsiteX103" fmla="*/ 33409 w 2663946"/>
                <a:gd name="connsiteY103" fmla="*/ 134277 h 349223"/>
                <a:gd name="connsiteX104" fmla="*/ 37926 w 2663946"/>
                <a:gd name="connsiteY104" fmla="*/ 129854 h 349223"/>
                <a:gd name="connsiteX105" fmla="*/ 37926 w 2663946"/>
                <a:gd name="connsiteY105" fmla="*/ 121459 h 349223"/>
                <a:gd name="connsiteX106" fmla="*/ 42880 w 2663946"/>
                <a:gd name="connsiteY106" fmla="*/ 113302 h 349223"/>
                <a:gd name="connsiteX107" fmla="*/ 33409 w 2663946"/>
                <a:gd name="connsiteY107" fmla="*/ 104028 h 349223"/>
                <a:gd name="connsiteX108" fmla="*/ 2538193 w 2663946"/>
                <a:gd name="connsiteY108" fmla="*/ 96440 h 349223"/>
                <a:gd name="connsiteX109" fmla="*/ 2528723 w 2663946"/>
                <a:gd name="connsiteY109" fmla="*/ 105714 h 349223"/>
                <a:gd name="connsiteX110" fmla="*/ 2533677 w 2663946"/>
                <a:gd name="connsiteY110" fmla="*/ 113871 h 349223"/>
                <a:gd name="connsiteX111" fmla="*/ 2533677 w 2663946"/>
                <a:gd name="connsiteY111" fmla="*/ 122266 h 349223"/>
                <a:gd name="connsiteX112" fmla="*/ 2538193 w 2663946"/>
                <a:gd name="connsiteY112" fmla="*/ 126689 h 349223"/>
                <a:gd name="connsiteX113" fmla="*/ 2542710 w 2663946"/>
                <a:gd name="connsiteY113" fmla="*/ 122266 h 349223"/>
                <a:gd name="connsiteX114" fmla="*/ 2542710 w 2663946"/>
                <a:gd name="connsiteY114" fmla="*/ 113871 h 349223"/>
                <a:gd name="connsiteX115" fmla="*/ 2547664 w 2663946"/>
                <a:gd name="connsiteY115" fmla="*/ 105714 h 349223"/>
                <a:gd name="connsiteX116" fmla="*/ 2538193 w 2663946"/>
                <a:gd name="connsiteY116" fmla="*/ 96440 h 349223"/>
                <a:gd name="connsiteX117" fmla="*/ 2113196 w 2663946"/>
                <a:gd name="connsiteY117" fmla="*/ 96440 h 349223"/>
                <a:gd name="connsiteX118" fmla="*/ 2103726 w 2663946"/>
                <a:gd name="connsiteY118" fmla="*/ 105714 h 349223"/>
                <a:gd name="connsiteX119" fmla="*/ 2108680 w 2663946"/>
                <a:gd name="connsiteY119" fmla="*/ 113871 h 349223"/>
                <a:gd name="connsiteX120" fmla="*/ 2108680 w 2663946"/>
                <a:gd name="connsiteY120" fmla="*/ 122266 h 349223"/>
                <a:gd name="connsiteX121" fmla="*/ 2113196 w 2663946"/>
                <a:gd name="connsiteY121" fmla="*/ 126689 h 349223"/>
                <a:gd name="connsiteX122" fmla="*/ 2117713 w 2663946"/>
                <a:gd name="connsiteY122" fmla="*/ 122266 h 349223"/>
                <a:gd name="connsiteX123" fmla="*/ 2117713 w 2663946"/>
                <a:gd name="connsiteY123" fmla="*/ 113871 h 349223"/>
                <a:gd name="connsiteX124" fmla="*/ 2122667 w 2663946"/>
                <a:gd name="connsiteY124" fmla="*/ 105714 h 349223"/>
                <a:gd name="connsiteX125" fmla="*/ 2113196 w 2663946"/>
                <a:gd name="connsiteY125" fmla="*/ 96440 h 349223"/>
                <a:gd name="connsiteX126" fmla="*/ 1855228 w 2663946"/>
                <a:gd name="connsiteY126" fmla="*/ 96440 h 349223"/>
                <a:gd name="connsiteX127" fmla="*/ 1845758 w 2663946"/>
                <a:gd name="connsiteY127" fmla="*/ 105714 h 349223"/>
                <a:gd name="connsiteX128" fmla="*/ 1850712 w 2663946"/>
                <a:gd name="connsiteY128" fmla="*/ 113871 h 349223"/>
                <a:gd name="connsiteX129" fmla="*/ 1850712 w 2663946"/>
                <a:gd name="connsiteY129" fmla="*/ 122266 h 349223"/>
                <a:gd name="connsiteX130" fmla="*/ 1855228 w 2663946"/>
                <a:gd name="connsiteY130" fmla="*/ 126689 h 349223"/>
                <a:gd name="connsiteX131" fmla="*/ 1859745 w 2663946"/>
                <a:gd name="connsiteY131" fmla="*/ 122266 h 349223"/>
                <a:gd name="connsiteX132" fmla="*/ 1859745 w 2663946"/>
                <a:gd name="connsiteY132" fmla="*/ 113871 h 349223"/>
                <a:gd name="connsiteX133" fmla="*/ 1864699 w 2663946"/>
                <a:gd name="connsiteY133" fmla="*/ 105714 h 349223"/>
                <a:gd name="connsiteX134" fmla="*/ 1855228 w 2663946"/>
                <a:gd name="connsiteY134" fmla="*/ 96440 h 349223"/>
                <a:gd name="connsiteX135" fmla="*/ 1764289 w 2663946"/>
                <a:gd name="connsiteY135" fmla="*/ 96440 h 349223"/>
                <a:gd name="connsiteX136" fmla="*/ 1754819 w 2663946"/>
                <a:gd name="connsiteY136" fmla="*/ 105714 h 349223"/>
                <a:gd name="connsiteX137" fmla="*/ 1759773 w 2663946"/>
                <a:gd name="connsiteY137" fmla="*/ 113871 h 349223"/>
                <a:gd name="connsiteX138" fmla="*/ 1759773 w 2663946"/>
                <a:gd name="connsiteY138" fmla="*/ 122266 h 349223"/>
                <a:gd name="connsiteX139" fmla="*/ 1764289 w 2663946"/>
                <a:gd name="connsiteY139" fmla="*/ 126689 h 349223"/>
                <a:gd name="connsiteX140" fmla="*/ 1768806 w 2663946"/>
                <a:gd name="connsiteY140" fmla="*/ 122266 h 349223"/>
                <a:gd name="connsiteX141" fmla="*/ 1768806 w 2663946"/>
                <a:gd name="connsiteY141" fmla="*/ 113871 h 349223"/>
                <a:gd name="connsiteX142" fmla="*/ 1773760 w 2663946"/>
                <a:gd name="connsiteY142" fmla="*/ 105714 h 349223"/>
                <a:gd name="connsiteX143" fmla="*/ 1764289 w 2663946"/>
                <a:gd name="connsiteY143" fmla="*/ 96440 h 349223"/>
                <a:gd name="connsiteX144" fmla="*/ 1506321 w 2663946"/>
                <a:gd name="connsiteY144" fmla="*/ 96440 h 349223"/>
                <a:gd name="connsiteX145" fmla="*/ 1496851 w 2663946"/>
                <a:gd name="connsiteY145" fmla="*/ 105714 h 349223"/>
                <a:gd name="connsiteX146" fmla="*/ 1501805 w 2663946"/>
                <a:gd name="connsiteY146" fmla="*/ 113871 h 349223"/>
                <a:gd name="connsiteX147" fmla="*/ 1501805 w 2663946"/>
                <a:gd name="connsiteY147" fmla="*/ 122266 h 349223"/>
                <a:gd name="connsiteX148" fmla="*/ 1506321 w 2663946"/>
                <a:gd name="connsiteY148" fmla="*/ 126689 h 349223"/>
                <a:gd name="connsiteX149" fmla="*/ 1510838 w 2663946"/>
                <a:gd name="connsiteY149" fmla="*/ 122266 h 349223"/>
                <a:gd name="connsiteX150" fmla="*/ 1510838 w 2663946"/>
                <a:gd name="connsiteY150" fmla="*/ 113871 h 349223"/>
                <a:gd name="connsiteX151" fmla="*/ 1515792 w 2663946"/>
                <a:gd name="connsiteY151" fmla="*/ 105714 h 349223"/>
                <a:gd name="connsiteX152" fmla="*/ 1506321 w 2663946"/>
                <a:gd name="connsiteY152" fmla="*/ 96440 h 349223"/>
                <a:gd name="connsiteX153" fmla="*/ 1415382 w 2663946"/>
                <a:gd name="connsiteY153" fmla="*/ 96440 h 349223"/>
                <a:gd name="connsiteX154" fmla="*/ 1405912 w 2663946"/>
                <a:gd name="connsiteY154" fmla="*/ 105714 h 349223"/>
                <a:gd name="connsiteX155" fmla="*/ 1410866 w 2663946"/>
                <a:gd name="connsiteY155" fmla="*/ 113871 h 349223"/>
                <a:gd name="connsiteX156" fmla="*/ 1410866 w 2663946"/>
                <a:gd name="connsiteY156" fmla="*/ 122266 h 349223"/>
                <a:gd name="connsiteX157" fmla="*/ 1415382 w 2663946"/>
                <a:gd name="connsiteY157" fmla="*/ 126689 h 349223"/>
                <a:gd name="connsiteX158" fmla="*/ 1419899 w 2663946"/>
                <a:gd name="connsiteY158" fmla="*/ 122266 h 349223"/>
                <a:gd name="connsiteX159" fmla="*/ 1419899 w 2663946"/>
                <a:gd name="connsiteY159" fmla="*/ 113871 h 349223"/>
                <a:gd name="connsiteX160" fmla="*/ 1424853 w 2663946"/>
                <a:gd name="connsiteY160" fmla="*/ 105714 h 349223"/>
                <a:gd name="connsiteX161" fmla="*/ 1415382 w 2663946"/>
                <a:gd name="connsiteY161" fmla="*/ 96440 h 349223"/>
                <a:gd name="connsiteX162" fmla="*/ 1157414 w 2663946"/>
                <a:gd name="connsiteY162" fmla="*/ 96440 h 349223"/>
                <a:gd name="connsiteX163" fmla="*/ 1147944 w 2663946"/>
                <a:gd name="connsiteY163" fmla="*/ 105714 h 349223"/>
                <a:gd name="connsiteX164" fmla="*/ 1152898 w 2663946"/>
                <a:gd name="connsiteY164" fmla="*/ 113871 h 349223"/>
                <a:gd name="connsiteX165" fmla="*/ 1152898 w 2663946"/>
                <a:gd name="connsiteY165" fmla="*/ 122266 h 349223"/>
                <a:gd name="connsiteX166" fmla="*/ 1157414 w 2663946"/>
                <a:gd name="connsiteY166" fmla="*/ 126689 h 349223"/>
                <a:gd name="connsiteX167" fmla="*/ 1161931 w 2663946"/>
                <a:gd name="connsiteY167" fmla="*/ 122266 h 349223"/>
                <a:gd name="connsiteX168" fmla="*/ 1161931 w 2663946"/>
                <a:gd name="connsiteY168" fmla="*/ 113871 h 349223"/>
                <a:gd name="connsiteX169" fmla="*/ 1166885 w 2663946"/>
                <a:gd name="connsiteY169" fmla="*/ 105714 h 349223"/>
                <a:gd name="connsiteX170" fmla="*/ 1157414 w 2663946"/>
                <a:gd name="connsiteY170" fmla="*/ 96440 h 349223"/>
                <a:gd name="connsiteX171" fmla="*/ 732418 w 2663946"/>
                <a:gd name="connsiteY171" fmla="*/ 96440 h 349223"/>
                <a:gd name="connsiteX172" fmla="*/ 722947 w 2663946"/>
                <a:gd name="connsiteY172" fmla="*/ 105714 h 349223"/>
                <a:gd name="connsiteX173" fmla="*/ 727901 w 2663946"/>
                <a:gd name="connsiteY173" fmla="*/ 113871 h 349223"/>
                <a:gd name="connsiteX174" fmla="*/ 727901 w 2663946"/>
                <a:gd name="connsiteY174" fmla="*/ 122266 h 349223"/>
                <a:gd name="connsiteX175" fmla="*/ 732418 w 2663946"/>
                <a:gd name="connsiteY175" fmla="*/ 126689 h 349223"/>
                <a:gd name="connsiteX176" fmla="*/ 736935 w 2663946"/>
                <a:gd name="connsiteY176" fmla="*/ 122266 h 349223"/>
                <a:gd name="connsiteX177" fmla="*/ 736935 w 2663946"/>
                <a:gd name="connsiteY177" fmla="*/ 113871 h 349223"/>
                <a:gd name="connsiteX178" fmla="*/ 741889 w 2663946"/>
                <a:gd name="connsiteY178" fmla="*/ 105714 h 349223"/>
                <a:gd name="connsiteX179" fmla="*/ 732418 w 2663946"/>
                <a:gd name="connsiteY179" fmla="*/ 96440 h 349223"/>
                <a:gd name="connsiteX180" fmla="*/ 641479 w 2663946"/>
                <a:gd name="connsiteY180" fmla="*/ 96440 h 349223"/>
                <a:gd name="connsiteX181" fmla="*/ 632008 w 2663946"/>
                <a:gd name="connsiteY181" fmla="*/ 105714 h 349223"/>
                <a:gd name="connsiteX182" fmla="*/ 636962 w 2663946"/>
                <a:gd name="connsiteY182" fmla="*/ 113871 h 349223"/>
                <a:gd name="connsiteX183" fmla="*/ 636962 w 2663946"/>
                <a:gd name="connsiteY183" fmla="*/ 122266 h 349223"/>
                <a:gd name="connsiteX184" fmla="*/ 641479 w 2663946"/>
                <a:gd name="connsiteY184" fmla="*/ 126689 h 349223"/>
                <a:gd name="connsiteX185" fmla="*/ 645996 w 2663946"/>
                <a:gd name="connsiteY185" fmla="*/ 122266 h 349223"/>
                <a:gd name="connsiteX186" fmla="*/ 645996 w 2663946"/>
                <a:gd name="connsiteY186" fmla="*/ 113871 h 349223"/>
                <a:gd name="connsiteX187" fmla="*/ 650950 w 2663946"/>
                <a:gd name="connsiteY187" fmla="*/ 105714 h 349223"/>
                <a:gd name="connsiteX188" fmla="*/ 641479 w 2663946"/>
                <a:gd name="connsiteY188" fmla="*/ 96440 h 349223"/>
                <a:gd name="connsiteX189" fmla="*/ 459528 w 2663946"/>
                <a:gd name="connsiteY189" fmla="*/ 96440 h 349223"/>
                <a:gd name="connsiteX190" fmla="*/ 450057 w 2663946"/>
                <a:gd name="connsiteY190" fmla="*/ 105714 h 349223"/>
                <a:gd name="connsiteX191" fmla="*/ 455011 w 2663946"/>
                <a:gd name="connsiteY191" fmla="*/ 113871 h 349223"/>
                <a:gd name="connsiteX192" fmla="*/ 455011 w 2663946"/>
                <a:gd name="connsiteY192" fmla="*/ 122266 h 349223"/>
                <a:gd name="connsiteX193" fmla="*/ 459528 w 2663946"/>
                <a:gd name="connsiteY193" fmla="*/ 126689 h 349223"/>
                <a:gd name="connsiteX194" fmla="*/ 464045 w 2663946"/>
                <a:gd name="connsiteY194" fmla="*/ 122266 h 349223"/>
                <a:gd name="connsiteX195" fmla="*/ 464045 w 2663946"/>
                <a:gd name="connsiteY195" fmla="*/ 113871 h 349223"/>
                <a:gd name="connsiteX196" fmla="*/ 468999 w 2663946"/>
                <a:gd name="connsiteY196" fmla="*/ 105714 h 349223"/>
                <a:gd name="connsiteX197" fmla="*/ 459528 w 2663946"/>
                <a:gd name="connsiteY197" fmla="*/ 96440 h 349223"/>
                <a:gd name="connsiteX198" fmla="*/ 2632966 w 2663946"/>
                <a:gd name="connsiteY198" fmla="*/ 69247 h 349223"/>
                <a:gd name="connsiteX199" fmla="*/ 2621414 w 2663946"/>
                <a:gd name="connsiteY199" fmla="*/ 71680 h 349223"/>
                <a:gd name="connsiteX200" fmla="*/ 2618218 w 2663946"/>
                <a:gd name="connsiteY200" fmla="*/ 75195 h 349223"/>
                <a:gd name="connsiteX201" fmla="*/ 2616006 w 2663946"/>
                <a:gd name="connsiteY201" fmla="*/ 78980 h 349223"/>
                <a:gd name="connsiteX202" fmla="*/ 2615023 w 2663946"/>
                <a:gd name="connsiteY202" fmla="*/ 81684 h 349223"/>
                <a:gd name="connsiteX203" fmla="*/ 2614039 w 2663946"/>
                <a:gd name="connsiteY203" fmla="*/ 85740 h 349223"/>
                <a:gd name="connsiteX204" fmla="*/ 2613056 w 2663946"/>
                <a:gd name="connsiteY204" fmla="*/ 92770 h 349223"/>
                <a:gd name="connsiteX205" fmla="*/ 2614039 w 2663946"/>
                <a:gd name="connsiteY205" fmla="*/ 100070 h 349223"/>
                <a:gd name="connsiteX206" fmla="*/ 2615269 w 2663946"/>
                <a:gd name="connsiteY206" fmla="*/ 103855 h 349223"/>
                <a:gd name="connsiteX207" fmla="*/ 2617481 w 2663946"/>
                <a:gd name="connsiteY207" fmla="*/ 108181 h 349223"/>
                <a:gd name="connsiteX208" fmla="*/ 2620922 w 2663946"/>
                <a:gd name="connsiteY208" fmla="*/ 112508 h 349223"/>
                <a:gd name="connsiteX209" fmla="*/ 2625346 w 2663946"/>
                <a:gd name="connsiteY209" fmla="*/ 115211 h 349223"/>
                <a:gd name="connsiteX210" fmla="*/ 2637637 w 2663946"/>
                <a:gd name="connsiteY210" fmla="*/ 112778 h 349223"/>
                <a:gd name="connsiteX211" fmla="*/ 2640832 w 2663946"/>
                <a:gd name="connsiteY211" fmla="*/ 109263 h 349223"/>
                <a:gd name="connsiteX212" fmla="*/ 2643290 w 2663946"/>
                <a:gd name="connsiteY212" fmla="*/ 104937 h 349223"/>
                <a:gd name="connsiteX213" fmla="*/ 2644273 w 2663946"/>
                <a:gd name="connsiteY213" fmla="*/ 102774 h 349223"/>
                <a:gd name="connsiteX214" fmla="*/ 2645502 w 2663946"/>
                <a:gd name="connsiteY214" fmla="*/ 98448 h 349223"/>
                <a:gd name="connsiteX215" fmla="*/ 2645011 w 2663946"/>
                <a:gd name="connsiteY215" fmla="*/ 84658 h 349223"/>
                <a:gd name="connsiteX216" fmla="*/ 2644027 w 2663946"/>
                <a:gd name="connsiteY216" fmla="*/ 81684 h 349223"/>
                <a:gd name="connsiteX217" fmla="*/ 2642799 w 2663946"/>
                <a:gd name="connsiteY217" fmla="*/ 78710 h 349223"/>
                <a:gd name="connsiteX218" fmla="*/ 2640586 w 2663946"/>
                <a:gd name="connsiteY218" fmla="*/ 75195 h 349223"/>
                <a:gd name="connsiteX219" fmla="*/ 2636899 w 2663946"/>
                <a:gd name="connsiteY219" fmla="*/ 71410 h 349223"/>
                <a:gd name="connsiteX220" fmla="*/ 2632966 w 2663946"/>
                <a:gd name="connsiteY220" fmla="*/ 69247 h 349223"/>
                <a:gd name="connsiteX221" fmla="*/ 2451011 w 2663946"/>
                <a:gd name="connsiteY221" fmla="*/ 69247 h 349223"/>
                <a:gd name="connsiteX222" fmla="*/ 2439459 w 2663946"/>
                <a:gd name="connsiteY222" fmla="*/ 71680 h 349223"/>
                <a:gd name="connsiteX223" fmla="*/ 2436263 w 2663946"/>
                <a:gd name="connsiteY223" fmla="*/ 75195 h 349223"/>
                <a:gd name="connsiteX224" fmla="*/ 2434051 w 2663946"/>
                <a:gd name="connsiteY224" fmla="*/ 78980 h 349223"/>
                <a:gd name="connsiteX225" fmla="*/ 2433068 w 2663946"/>
                <a:gd name="connsiteY225" fmla="*/ 81684 h 349223"/>
                <a:gd name="connsiteX226" fmla="*/ 2432084 w 2663946"/>
                <a:gd name="connsiteY226" fmla="*/ 85740 h 349223"/>
                <a:gd name="connsiteX227" fmla="*/ 2431101 w 2663946"/>
                <a:gd name="connsiteY227" fmla="*/ 92770 h 349223"/>
                <a:gd name="connsiteX228" fmla="*/ 2432084 w 2663946"/>
                <a:gd name="connsiteY228" fmla="*/ 100070 h 349223"/>
                <a:gd name="connsiteX229" fmla="*/ 2433314 w 2663946"/>
                <a:gd name="connsiteY229" fmla="*/ 103855 h 349223"/>
                <a:gd name="connsiteX230" fmla="*/ 2435526 w 2663946"/>
                <a:gd name="connsiteY230" fmla="*/ 108181 h 349223"/>
                <a:gd name="connsiteX231" fmla="*/ 2438967 w 2663946"/>
                <a:gd name="connsiteY231" fmla="*/ 112508 h 349223"/>
                <a:gd name="connsiteX232" fmla="*/ 2443391 w 2663946"/>
                <a:gd name="connsiteY232" fmla="*/ 115211 h 349223"/>
                <a:gd name="connsiteX233" fmla="*/ 2455682 w 2663946"/>
                <a:gd name="connsiteY233" fmla="*/ 112778 h 349223"/>
                <a:gd name="connsiteX234" fmla="*/ 2458877 w 2663946"/>
                <a:gd name="connsiteY234" fmla="*/ 109263 h 349223"/>
                <a:gd name="connsiteX235" fmla="*/ 2461335 w 2663946"/>
                <a:gd name="connsiteY235" fmla="*/ 104937 h 349223"/>
                <a:gd name="connsiteX236" fmla="*/ 2462318 w 2663946"/>
                <a:gd name="connsiteY236" fmla="*/ 102774 h 349223"/>
                <a:gd name="connsiteX237" fmla="*/ 2463547 w 2663946"/>
                <a:gd name="connsiteY237" fmla="*/ 98448 h 349223"/>
                <a:gd name="connsiteX238" fmla="*/ 2463056 w 2663946"/>
                <a:gd name="connsiteY238" fmla="*/ 84658 h 349223"/>
                <a:gd name="connsiteX239" fmla="*/ 2462072 w 2663946"/>
                <a:gd name="connsiteY239" fmla="*/ 81684 h 349223"/>
                <a:gd name="connsiteX240" fmla="*/ 2460844 w 2663946"/>
                <a:gd name="connsiteY240" fmla="*/ 78710 h 349223"/>
                <a:gd name="connsiteX241" fmla="*/ 2458631 w 2663946"/>
                <a:gd name="connsiteY241" fmla="*/ 75195 h 349223"/>
                <a:gd name="connsiteX242" fmla="*/ 2454944 w 2663946"/>
                <a:gd name="connsiteY242" fmla="*/ 71410 h 349223"/>
                <a:gd name="connsiteX243" fmla="*/ 2451011 w 2663946"/>
                <a:gd name="connsiteY243" fmla="*/ 69247 h 349223"/>
                <a:gd name="connsiteX244" fmla="*/ 2207965 w 2663946"/>
                <a:gd name="connsiteY244" fmla="*/ 69247 h 349223"/>
                <a:gd name="connsiteX245" fmla="*/ 2196413 w 2663946"/>
                <a:gd name="connsiteY245" fmla="*/ 71680 h 349223"/>
                <a:gd name="connsiteX246" fmla="*/ 2193217 w 2663946"/>
                <a:gd name="connsiteY246" fmla="*/ 75195 h 349223"/>
                <a:gd name="connsiteX247" fmla="*/ 2191005 w 2663946"/>
                <a:gd name="connsiteY247" fmla="*/ 78980 h 349223"/>
                <a:gd name="connsiteX248" fmla="*/ 2190022 w 2663946"/>
                <a:gd name="connsiteY248" fmla="*/ 81684 h 349223"/>
                <a:gd name="connsiteX249" fmla="*/ 2189038 w 2663946"/>
                <a:gd name="connsiteY249" fmla="*/ 85740 h 349223"/>
                <a:gd name="connsiteX250" fmla="*/ 2188055 w 2663946"/>
                <a:gd name="connsiteY250" fmla="*/ 92770 h 349223"/>
                <a:gd name="connsiteX251" fmla="*/ 2189038 w 2663946"/>
                <a:gd name="connsiteY251" fmla="*/ 100070 h 349223"/>
                <a:gd name="connsiteX252" fmla="*/ 2190268 w 2663946"/>
                <a:gd name="connsiteY252" fmla="*/ 103855 h 349223"/>
                <a:gd name="connsiteX253" fmla="*/ 2192480 w 2663946"/>
                <a:gd name="connsiteY253" fmla="*/ 108181 h 349223"/>
                <a:gd name="connsiteX254" fmla="*/ 2195921 w 2663946"/>
                <a:gd name="connsiteY254" fmla="*/ 112508 h 349223"/>
                <a:gd name="connsiteX255" fmla="*/ 2200345 w 2663946"/>
                <a:gd name="connsiteY255" fmla="*/ 115211 h 349223"/>
                <a:gd name="connsiteX256" fmla="*/ 2212636 w 2663946"/>
                <a:gd name="connsiteY256" fmla="*/ 112778 h 349223"/>
                <a:gd name="connsiteX257" fmla="*/ 2215831 w 2663946"/>
                <a:gd name="connsiteY257" fmla="*/ 109263 h 349223"/>
                <a:gd name="connsiteX258" fmla="*/ 2218289 w 2663946"/>
                <a:gd name="connsiteY258" fmla="*/ 104937 h 349223"/>
                <a:gd name="connsiteX259" fmla="*/ 2219272 w 2663946"/>
                <a:gd name="connsiteY259" fmla="*/ 102774 h 349223"/>
                <a:gd name="connsiteX260" fmla="*/ 2220501 w 2663946"/>
                <a:gd name="connsiteY260" fmla="*/ 98448 h 349223"/>
                <a:gd name="connsiteX261" fmla="*/ 2220010 w 2663946"/>
                <a:gd name="connsiteY261" fmla="*/ 84658 h 349223"/>
                <a:gd name="connsiteX262" fmla="*/ 2219026 w 2663946"/>
                <a:gd name="connsiteY262" fmla="*/ 81684 h 349223"/>
                <a:gd name="connsiteX263" fmla="*/ 2217798 w 2663946"/>
                <a:gd name="connsiteY263" fmla="*/ 78710 h 349223"/>
                <a:gd name="connsiteX264" fmla="*/ 2215585 w 2663946"/>
                <a:gd name="connsiteY264" fmla="*/ 75195 h 349223"/>
                <a:gd name="connsiteX265" fmla="*/ 2211898 w 2663946"/>
                <a:gd name="connsiteY265" fmla="*/ 71410 h 349223"/>
                <a:gd name="connsiteX266" fmla="*/ 2207965 w 2663946"/>
                <a:gd name="connsiteY266" fmla="*/ 69247 h 349223"/>
                <a:gd name="connsiteX267" fmla="*/ 2026014 w 2663946"/>
                <a:gd name="connsiteY267" fmla="*/ 69247 h 349223"/>
                <a:gd name="connsiteX268" fmla="*/ 2014462 w 2663946"/>
                <a:gd name="connsiteY268" fmla="*/ 71680 h 349223"/>
                <a:gd name="connsiteX269" fmla="*/ 2011266 w 2663946"/>
                <a:gd name="connsiteY269" fmla="*/ 75195 h 349223"/>
                <a:gd name="connsiteX270" fmla="*/ 2009054 w 2663946"/>
                <a:gd name="connsiteY270" fmla="*/ 78980 h 349223"/>
                <a:gd name="connsiteX271" fmla="*/ 2008071 w 2663946"/>
                <a:gd name="connsiteY271" fmla="*/ 81684 h 349223"/>
                <a:gd name="connsiteX272" fmla="*/ 2007087 w 2663946"/>
                <a:gd name="connsiteY272" fmla="*/ 85740 h 349223"/>
                <a:gd name="connsiteX273" fmla="*/ 2006104 w 2663946"/>
                <a:gd name="connsiteY273" fmla="*/ 92770 h 349223"/>
                <a:gd name="connsiteX274" fmla="*/ 2007087 w 2663946"/>
                <a:gd name="connsiteY274" fmla="*/ 100070 h 349223"/>
                <a:gd name="connsiteX275" fmla="*/ 2008317 w 2663946"/>
                <a:gd name="connsiteY275" fmla="*/ 103855 h 349223"/>
                <a:gd name="connsiteX276" fmla="*/ 2010529 w 2663946"/>
                <a:gd name="connsiteY276" fmla="*/ 108181 h 349223"/>
                <a:gd name="connsiteX277" fmla="*/ 2013970 w 2663946"/>
                <a:gd name="connsiteY277" fmla="*/ 112508 h 349223"/>
                <a:gd name="connsiteX278" fmla="*/ 2018394 w 2663946"/>
                <a:gd name="connsiteY278" fmla="*/ 115211 h 349223"/>
                <a:gd name="connsiteX279" fmla="*/ 2030685 w 2663946"/>
                <a:gd name="connsiteY279" fmla="*/ 112778 h 349223"/>
                <a:gd name="connsiteX280" fmla="*/ 2033880 w 2663946"/>
                <a:gd name="connsiteY280" fmla="*/ 109263 h 349223"/>
                <a:gd name="connsiteX281" fmla="*/ 2036338 w 2663946"/>
                <a:gd name="connsiteY281" fmla="*/ 104937 h 349223"/>
                <a:gd name="connsiteX282" fmla="*/ 2037321 w 2663946"/>
                <a:gd name="connsiteY282" fmla="*/ 102774 h 349223"/>
                <a:gd name="connsiteX283" fmla="*/ 2038550 w 2663946"/>
                <a:gd name="connsiteY283" fmla="*/ 98448 h 349223"/>
                <a:gd name="connsiteX284" fmla="*/ 2038059 w 2663946"/>
                <a:gd name="connsiteY284" fmla="*/ 84658 h 349223"/>
                <a:gd name="connsiteX285" fmla="*/ 2037075 w 2663946"/>
                <a:gd name="connsiteY285" fmla="*/ 81684 h 349223"/>
                <a:gd name="connsiteX286" fmla="*/ 2035847 w 2663946"/>
                <a:gd name="connsiteY286" fmla="*/ 78710 h 349223"/>
                <a:gd name="connsiteX287" fmla="*/ 2033634 w 2663946"/>
                <a:gd name="connsiteY287" fmla="*/ 75195 h 349223"/>
                <a:gd name="connsiteX288" fmla="*/ 2029947 w 2663946"/>
                <a:gd name="connsiteY288" fmla="*/ 71410 h 349223"/>
                <a:gd name="connsiteX289" fmla="*/ 2026014 w 2663946"/>
                <a:gd name="connsiteY289" fmla="*/ 69247 h 349223"/>
                <a:gd name="connsiteX290" fmla="*/ 1601090 w 2663946"/>
                <a:gd name="connsiteY290" fmla="*/ 69247 h 349223"/>
                <a:gd name="connsiteX291" fmla="*/ 1589537 w 2663946"/>
                <a:gd name="connsiteY291" fmla="*/ 71680 h 349223"/>
                <a:gd name="connsiteX292" fmla="*/ 1586342 w 2663946"/>
                <a:gd name="connsiteY292" fmla="*/ 75195 h 349223"/>
                <a:gd name="connsiteX293" fmla="*/ 1584130 w 2663946"/>
                <a:gd name="connsiteY293" fmla="*/ 78980 h 349223"/>
                <a:gd name="connsiteX294" fmla="*/ 1583147 w 2663946"/>
                <a:gd name="connsiteY294" fmla="*/ 81684 h 349223"/>
                <a:gd name="connsiteX295" fmla="*/ 1582163 w 2663946"/>
                <a:gd name="connsiteY295" fmla="*/ 85740 h 349223"/>
                <a:gd name="connsiteX296" fmla="*/ 1581180 w 2663946"/>
                <a:gd name="connsiteY296" fmla="*/ 92770 h 349223"/>
                <a:gd name="connsiteX297" fmla="*/ 1582163 w 2663946"/>
                <a:gd name="connsiteY297" fmla="*/ 100070 h 349223"/>
                <a:gd name="connsiteX298" fmla="*/ 1583393 w 2663946"/>
                <a:gd name="connsiteY298" fmla="*/ 103855 h 349223"/>
                <a:gd name="connsiteX299" fmla="*/ 1585605 w 2663946"/>
                <a:gd name="connsiteY299" fmla="*/ 108181 h 349223"/>
                <a:gd name="connsiteX300" fmla="*/ 1589046 w 2663946"/>
                <a:gd name="connsiteY300" fmla="*/ 112508 h 349223"/>
                <a:gd name="connsiteX301" fmla="*/ 1593470 w 2663946"/>
                <a:gd name="connsiteY301" fmla="*/ 115211 h 349223"/>
                <a:gd name="connsiteX302" fmla="*/ 1605761 w 2663946"/>
                <a:gd name="connsiteY302" fmla="*/ 112778 h 349223"/>
                <a:gd name="connsiteX303" fmla="*/ 1608956 w 2663946"/>
                <a:gd name="connsiteY303" fmla="*/ 109263 h 349223"/>
                <a:gd name="connsiteX304" fmla="*/ 1611414 w 2663946"/>
                <a:gd name="connsiteY304" fmla="*/ 104937 h 349223"/>
                <a:gd name="connsiteX305" fmla="*/ 1612397 w 2663946"/>
                <a:gd name="connsiteY305" fmla="*/ 102774 h 349223"/>
                <a:gd name="connsiteX306" fmla="*/ 1613626 w 2663946"/>
                <a:gd name="connsiteY306" fmla="*/ 98448 h 349223"/>
                <a:gd name="connsiteX307" fmla="*/ 1613135 w 2663946"/>
                <a:gd name="connsiteY307" fmla="*/ 84658 h 349223"/>
                <a:gd name="connsiteX308" fmla="*/ 1612151 w 2663946"/>
                <a:gd name="connsiteY308" fmla="*/ 81684 h 349223"/>
                <a:gd name="connsiteX309" fmla="*/ 1610923 w 2663946"/>
                <a:gd name="connsiteY309" fmla="*/ 78710 h 349223"/>
                <a:gd name="connsiteX310" fmla="*/ 1608710 w 2663946"/>
                <a:gd name="connsiteY310" fmla="*/ 75195 h 349223"/>
                <a:gd name="connsiteX311" fmla="*/ 1605023 w 2663946"/>
                <a:gd name="connsiteY311" fmla="*/ 71410 h 349223"/>
                <a:gd name="connsiteX312" fmla="*/ 1601090 w 2663946"/>
                <a:gd name="connsiteY312" fmla="*/ 69247 h 349223"/>
                <a:gd name="connsiteX313" fmla="*/ 1252183 w 2663946"/>
                <a:gd name="connsiteY313" fmla="*/ 69247 h 349223"/>
                <a:gd name="connsiteX314" fmla="*/ 1240630 w 2663946"/>
                <a:gd name="connsiteY314" fmla="*/ 71680 h 349223"/>
                <a:gd name="connsiteX315" fmla="*/ 1237435 w 2663946"/>
                <a:gd name="connsiteY315" fmla="*/ 75195 h 349223"/>
                <a:gd name="connsiteX316" fmla="*/ 1235223 w 2663946"/>
                <a:gd name="connsiteY316" fmla="*/ 78980 h 349223"/>
                <a:gd name="connsiteX317" fmla="*/ 1234240 w 2663946"/>
                <a:gd name="connsiteY317" fmla="*/ 81684 h 349223"/>
                <a:gd name="connsiteX318" fmla="*/ 1233256 w 2663946"/>
                <a:gd name="connsiteY318" fmla="*/ 85740 h 349223"/>
                <a:gd name="connsiteX319" fmla="*/ 1232273 w 2663946"/>
                <a:gd name="connsiteY319" fmla="*/ 92770 h 349223"/>
                <a:gd name="connsiteX320" fmla="*/ 1233256 w 2663946"/>
                <a:gd name="connsiteY320" fmla="*/ 100070 h 349223"/>
                <a:gd name="connsiteX321" fmla="*/ 1234486 w 2663946"/>
                <a:gd name="connsiteY321" fmla="*/ 103855 h 349223"/>
                <a:gd name="connsiteX322" fmla="*/ 1236698 w 2663946"/>
                <a:gd name="connsiteY322" fmla="*/ 108181 h 349223"/>
                <a:gd name="connsiteX323" fmla="*/ 1240139 w 2663946"/>
                <a:gd name="connsiteY323" fmla="*/ 112508 h 349223"/>
                <a:gd name="connsiteX324" fmla="*/ 1244563 w 2663946"/>
                <a:gd name="connsiteY324" fmla="*/ 115211 h 349223"/>
                <a:gd name="connsiteX325" fmla="*/ 1256854 w 2663946"/>
                <a:gd name="connsiteY325" fmla="*/ 112778 h 349223"/>
                <a:gd name="connsiteX326" fmla="*/ 1260049 w 2663946"/>
                <a:gd name="connsiteY326" fmla="*/ 109263 h 349223"/>
                <a:gd name="connsiteX327" fmla="*/ 1262507 w 2663946"/>
                <a:gd name="connsiteY327" fmla="*/ 104937 h 349223"/>
                <a:gd name="connsiteX328" fmla="*/ 1263490 w 2663946"/>
                <a:gd name="connsiteY328" fmla="*/ 102774 h 349223"/>
                <a:gd name="connsiteX329" fmla="*/ 1264719 w 2663946"/>
                <a:gd name="connsiteY329" fmla="*/ 98448 h 349223"/>
                <a:gd name="connsiteX330" fmla="*/ 1264228 w 2663946"/>
                <a:gd name="connsiteY330" fmla="*/ 84658 h 349223"/>
                <a:gd name="connsiteX331" fmla="*/ 1263244 w 2663946"/>
                <a:gd name="connsiteY331" fmla="*/ 81684 h 349223"/>
                <a:gd name="connsiteX332" fmla="*/ 1262016 w 2663946"/>
                <a:gd name="connsiteY332" fmla="*/ 78710 h 349223"/>
                <a:gd name="connsiteX333" fmla="*/ 1259803 w 2663946"/>
                <a:gd name="connsiteY333" fmla="*/ 75195 h 349223"/>
                <a:gd name="connsiteX334" fmla="*/ 1256116 w 2663946"/>
                <a:gd name="connsiteY334" fmla="*/ 71410 h 349223"/>
                <a:gd name="connsiteX335" fmla="*/ 1252183 w 2663946"/>
                <a:gd name="connsiteY335" fmla="*/ 69247 h 349223"/>
                <a:gd name="connsiteX336" fmla="*/ 1070232 w 2663946"/>
                <a:gd name="connsiteY336" fmla="*/ 69247 h 349223"/>
                <a:gd name="connsiteX337" fmla="*/ 1058679 w 2663946"/>
                <a:gd name="connsiteY337" fmla="*/ 71680 h 349223"/>
                <a:gd name="connsiteX338" fmla="*/ 1055484 w 2663946"/>
                <a:gd name="connsiteY338" fmla="*/ 75195 h 349223"/>
                <a:gd name="connsiteX339" fmla="*/ 1053272 w 2663946"/>
                <a:gd name="connsiteY339" fmla="*/ 78980 h 349223"/>
                <a:gd name="connsiteX340" fmla="*/ 1052289 w 2663946"/>
                <a:gd name="connsiteY340" fmla="*/ 81684 h 349223"/>
                <a:gd name="connsiteX341" fmla="*/ 1051305 w 2663946"/>
                <a:gd name="connsiteY341" fmla="*/ 85740 h 349223"/>
                <a:gd name="connsiteX342" fmla="*/ 1050322 w 2663946"/>
                <a:gd name="connsiteY342" fmla="*/ 92770 h 349223"/>
                <a:gd name="connsiteX343" fmla="*/ 1051305 w 2663946"/>
                <a:gd name="connsiteY343" fmla="*/ 100070 h 349223"/>
                <a:gd name="connsiteX344" fmla="*/ 1052535 w 2663946"/>
                <a:gd name="connsiteY344" fmla="*/ 103855 h 349223"/>
                <a:gd name="connsiteX345" fmla="*/ 1054747 w 2663946"/>
                <a:gd name="connsiteY345" fmla="*/ 108181 h 349223"/>
                <a:gd name="connsiteX346" fmla="*/ 1058188 w 2663946"/>
                <a:gd name="connsiteY346" fmla="*/ 112508 h 349223"/>
                <a:gd name="connsiteX347" fmla="*/ 1062612 w 2663946"/>
                <a:gd name="connsiteY347" fmla="*/ 115211 h 349223"/>
                <a:gd name="connsiteX348" fmla="*/ 1074903 w 2663946"/>
                <a:gd name="connsiteY348" fmla="*/ 112778 h 349223"/>
                <a:gd name="connsiteX349" fmla="*/ 1078098 w 2663946"/>
                <a:gd name="connsiteY349" fmla="*/ 109263 h 349223"/>
                <a:gd name="connsiteX350" fmla="*/ 1080556 w 2663946"/>
                <a:gd name="connsiteY350" fmla="*/ 104937 h 349223"/>
                <a:gd name="connsiteX351" fmla="*/ 1081539 w 2663946"/>
                <a:gd name="connsiteY351" fmla="*/ 102774 h 349223"/>
                <a:gd name="connsiteX352" fmla="*/ 1082768 w 2663946"/>
                <a:gd name="connsiteY352" fmla="*/ 98448 h 349223"/>
                <a:gd name="connsiteX353" fmla="*/ 1082277 w 2663946"/>
                <a:gd name="connsiteY353" fmla="*/ 84658 h 349223"/>
                <a:gd name="connsiteX354" fmla="*/ 1081293 w 2663946"/>
                <a:gd name="connsiteY354" fmla="*/ 81684 h 349223"/>
                <a:gd name="connsiteX355" fmla="*/ 1080065 w 2663946"/>
                <a:gd name="connsiteY355" fmla="*/ 78710 h 349223"/>
                <a:gd name="connsiteX356" fmla="*/ 1077852 w 2663946"/>
                <a:gd name="connsiteY356" fmla="*/ 75195 h 349223"/>
                <a:gd name="connsiteX357" fmla="*/ 1074165 w 2663946"/>
                <a:gd name="connsiteY357" fmla="*/ 71410 h 349223"/>
                <a:gd name="connsiteX358" fmla="*/ 1070232 w 2663946"/>
                <a:gd name="connsiteY358" fmla="*/ 69247 h 349223"/>
                <a:gd name="connsiteX359" fmla="*/ 903203 w 2663946"/>
                <a:gd name="connsiteY359" fmla="*/ 69247 h 349223"/>
                <a:gd name="connsiteX360" fmla="*/ 891650 w 2663946"/>
                <a:gd name="connsiteY360" fmla="*/ 71680 h 349223"/>
                <a:gd name="connsiteX361" fmla="*/ 888455 w 2663946"/>
                <a:gd name="connsiteY361" fmla="*/ 75195 h 349223"/>
                <a:gd name="connsiteX362" fmla="*/ 886243 w 2663946"/>
                <a:gd name="connsiteY362" fmla="*/ 78980 h 349223"/>
                <a:gd name="connsiteX363" fmla="*/ 885260 w 2663946"/>
                <a:gd name="connsiteY363" fmla="*/ 81684 h 349223"/>
                <a:gd name="connsiteX364" fmla="*/ 884276 w 2663946"/>
                <a:gd name="connsiteY364" fmla="*/ 85740 h 349223"/>
                <a:gd name="connsiteX365" fmla="*/ 883293 w 2663946"/>
                <a:gd name="connsiteY365" fmla="*/ 92770 h 349223"/>
                <a:gd name="connsiteX366" fmla="*/ 884276 w 2663946"/>
                <a:gd name="connsiteY366" fmla="*/ 100070 h 349223"/>
                <a:gd name="connsiteX367" fmla="*/ 885506 w 2663946"/>
                <a:gd name="connsiteY367" fmla="*/ 103855 h 349223"/>
                <a:gd name="connsiteX368" fmla="*/ 887718 w 2663946"/>
                <a:gd name="connsiteY368" fmla="*/ 108181 h 349223"/>
                <a:gd name="connsiteX369" fmla="*/ 891159 w 2663946"/>
                <a:gd name="connsiteY369" fmla="*/ 112508 h 349223"/>
                <a:gd name="connsiteX370" fmla="*/ 895583 w 2663946"/>
                <a:gd name="connsiteY370" fmla="*/ 115211 h 349223"/>
                <a:gd name="connsiteX371" fmla="*/ 907874 w 2663946"/>
                <a:gd name="connsiteY371" fmla="*/ 112778 h 349223"/>
                <a:gd name="connsiteX372" fmla="*/ 911069 w 2663946"/>
                <a:gd name="connsiteY372" fmla="*/ 109263 h 349223"/>
                <a:gd name="connsiteX373" fmla="*/ 913527 w 2663946"/>
                <a:gd name="connsiteY373" fmla="*/ 104937 h 349223"/>
                <a:gd name="connsiteX374" fmla="*/ 914510 w 2663946"/>
                <a:gd name="connsiteY374" fmla="*/ 102774 h 349223"/>
                <a:gd name="connsiteX375" fmla="*/ 915739 w 2663946"/>
                <a:gd name="connsiteY375" fmla="*/ 98448 h 349223"/>
                <a:gd name="connsiteX376" fmla="*/ 915248 w 2663946"/>
                <a:gd name="connsiteY376" fmla="*/ 84658 h 349223"/>
                <a:gd name="connsiteX377" fmla="*/ 914264 w 2663946"/>
                <a:gd name="connsiteY377" fmla="*/ 81684 h 349223"/>
                <a:gd name="connsiteX378" fmla="*/ 913036 w 2663946"/>
                <a:gd name="connsiteY378" fmla="*/ 78710 h 349223"/>
                <a:gd name="connsiteX379" fmla="*/ 910823 w 2663946"/>
                <a:gd name="connsiteY379" fmla="*/ 75195 h 349223"/>
                <a:gd name="connsiteX380" fmla="*/ 907136 w 2663946"/>
                <a:gd name="connsiteY380" fmla="*/ 71410 h 349223"/>
                <a:gd name="connsiteX381" fmla="*/ 903203 w 2663946"/>
                <a:gd name="connsiteY381" fmla="*/ 69247 h 349223"/>
                <a:gd name="connsiteX382" fmla="*/ 554297 w 2663946"/>
                <a:gd name="connsiteY382" fmla="*/ 69247 h 349223"/>
                <a:gd name="connsiteX383" fmla="*/ 542744 w 2663946"/>
                <a:gd name="connsiteY383" fmla="*/ 71680 h 349223"/>
                <a:gd name="connsiteX384" fmla="*/ 539549 w 2663946"/>
                <a:gd name="connsiteY384" fmla="*/ 75195 h 349223"/>
                <a:gd name="connsiteX385" fmla="*/ 537337 w 2663946"/>
                <a:gd name="connsiteY385" fmla="*/ 78980 h 349223"/>
                <a:gd name="connsiteX386" fmla="*/ 536353 w 2663946"/>
                <a:gd name="connsiteY386" fmla="*/ 81684 h 349223"/>
                <a:gd name="connsiteX387" fmla="*/ 535370 w 2663946"/>
                <a:gd name="connsiteY387" fmla="*/ 85740 h 349223"/>
                <a:gd name="connsiteX388" fmla="*/ 534387 w 2663946"/>
                <a:gd name="connsiteY388" fmla="*/ 92770 h 349223"/>
                <a:gd name="connsiteX389" fmla="*/ 535370 w 2663946"/>
                <a:gd name="connsiteY389" fmla="*/ 100070 h 349223"/>
                <a:gd name="connsiteX390" fmla="*/ 536599 w 2663946"/>
                <a:gd name="connsiteY390" fmla="*/ 103855 h 349223"/>
                <a:gd name="connsiteX391" fmla="*/ 538811 w 2663946"/>
                <a:gd name="connsiteY391" fmla="*/ 108181 h 349223"/>
                <a:gd name="connsiteX392" fmla="*/ 542253 w 2663946"/>
                <a:gd name="connsiteY392" fmla="*/ 112508 h 349223"/>
                <a:gd name="connsiteX393" fmla="*/ 546677 w 2663946"/>
                <a:gd name="connsiteY393" fmla="*/ 115211 h 349223"/>
                <a:gd name="connsiteX394" fmla="*/ 558967 w 2663946"/>
                <a:gd name="connsiteY394" fmla="*/ 112778 h 349223"/>
                <a:gd name="connsiteX395" fmla="*/ 562163 w 2663946"/>
                <a:gd name="connsiteY395" fmla="*/ 109263 h 349223"/>
                <a:gd name="connsiteX396" fmla="*/ 564621 w 2663946"/>
                <a:gd name="connsiteY396" fmla="*/ 104937 h 349223"/>
                <a:gd name="connsiteX397" fmla="*/ 565604 w 2663946"/>
                <a:gd name="connsiteY397" fmla="*/ 102774 h 349223"/>
                <a:gd name="connsiteX398" fmla="*/ 566833 w 2663946"/>
                <a:gd name="connsiteY398" fmla="*/ 98448 h 349223"/>
                <a:gd name="connsiteX399" fmla="*/ 566341 w 2663946"/>
                <a:gd name="connsiteY399" fmla="*/ 84658 h 349223"/>
                <a:gd name="connsiteX400" fmla="*/ 565358 w 2663946"/>
                <a:gd name="connsiteY400" fmla="*/ 81684 h 349223"/>
                <a:gd name="connsiteX401" fmla="*/ 564129 w 2663946"/>
                <a:gd name="connsiteY401" fmla="*/ 78710 h 349223"/>
                <a:gd name="connsiteX402" fmla="*/ 561917 w 2663946"/>
                <a:gd name="connsiteY402" fmla="*/ 75195 h 349223"/>
                <a:gd name="connsiteX403" fmla="*/ 558230 w 2663946"/>
                <a:gd name="connsiteY403" fmla="*/ 71410 h 349223"/>
                <a:gd name="connsiteX404" fmla="*/ 554297 w 2663946"/>
                <a:gd name="connsiteY404" fmla="*/ 69247 h 349223"/>
                <a:gd name="connsiteX405" fmla="*/ 372346 w 2663946"/>
                <a:gd name="connsiteY405" fmla="*/ 69247 h 349223"/>
                <a:gd name="connsiteX406" fmla="*/ 360793 w 2663946"/>
                <a:gd name="connsiteY406" fmla="*/ 71680 h 349223"/>
                <a:gd name="connsiteX407" fmla="*/ 357598 w 2663946"/>
                <a:gd name="connsiteY407" fmla="*/ 75195 h 349223"/>
                <a:gd name="connsiteX408" fmla="*/ 355385 w 2663946"/>
                <a:gd name="connsiteY408" fmla="*/ 78980 h 349223"/>
                <a:gd name="connsiteX409" fmla="*/ 354402 w 2663946"/>
                <a:gd name="connsiteY409" fmla="*/ 81684 h 349223"/>
                <a:gd name="connsiteX410" fmla="*/ 353419 w 2663946"/>
                <a:gd name="connsiteY410" fmla="*/ 85740 h 349223"/>
                <a:gd name="connsiteX411" fmla="*/ 352436 w 2663946"/>
                <a:gd name="connsiteY411" fmla="*/ 92770 h 349223"/>
                <a:gd name="connsiteX412" fmla="*/ 353419 w 2663946"/>
                <a:gd name="connsiteY412" fmla="*/ 100070 h 349223"/>
                <a:gd name="connsiteX413" fmla="*/ 354648 w 2663946"/>
                <a:gd name="connsiteY413" fmla="*/ 103855 h 349223"/>
                <a:gd name="connsiteX414" fmla="*/ 356860 w 2663946"/>
                <a:gd name="connsiteY414" fmla="*/ 108181 h 349223"/>
                <a:gd name="connsiteX415" fmla="*/ 360301 w 2663946"/>
                <a:gd name="connsiteY415" fmla="*/ 112508 h 349223"/>
                <a:gd name="connsiteX416" fmla="*/ 364726 w 2663946"/>
                <a:gd name="connsiteY416" fmla="*/ 115211 h 349223"/>
                <a:gd name="connsiteX417" fmla="*/ 377016 w 2663946"/>
                <a:gd name="connsiteY417" fmla="*/ 112778 h 349223"/>
                <a:gd name="connsiteX418" fmla="*/ 380212 w 2663946"/>
                <a:gd name="connsiteY418" fmla="*/ 109263 h 349223"/>
                <a:gd name="connsiteX419" fmla="*/ 382670 w 2663946"/>
                <a:gd name="connsiteY419" fmla="*/ 104937 h 349223"/>
                <a:gd name="connsiteX420" fmla="*/ 383653 w 2663946"/>
                <a:gd name="connsiteY420" fmla="*/ 102774 h 349223"/>
                <a:gd name="connsiteX421" fmla="*/ 384882 w 2663946"/>
                <a:gd name="connsiteY421" fmla="*/ 98448 h 349223"/>
                <a:gd name="connsiteX422" fmla="*/ 384390 w 2663946"/>
                <a:gd name="connsiteY422" fmla="*/ 84658 h 349223"/>
                <a:gd name="connsiteX423" fmla="*/ 383407 w 2663946"/>
                <a:gd name="connsiteY423" fmla="*/ 81684 h 349223"/>
                <a:gd name="connsiteX424" fmla="*/ 382178 w 2663946"/>
                <a:gd name="connsiteY424" fmla="*/ 78710 h 349223"/>
                <a:gd name="connsiteX425" fmla="*/ 379966 w 2663946"/>
                <a:gd name="connsiteY425" fmla="*/ 75195 h 349223"/>
                <a:gd name="connsiteX426" fmla="*/ 376279 w 2663946"/>
                <a:gd name="connsiteY426" fmla="*/ 71410 h 349223"/>
                <a:gd name="connsiteX427" fmla="*/ 372346 w 2663946"/>
                <a:gd name="connsiteY427" fmla="*/ 69247 h 349223"/>
                <a:gd name="connsiteX428" fmla="*/ 129300 w 2663946"/>
                <a:gd name="connsiteY428" fmla="*/ 69247 h 349223"/>
                <a:gd name="connsiteX429" fmla="*/ 117747 w 2663946"/>
                <a:gd name="connsiteY429" fmla="*/ 71680 h 349223"/>
                <a:gd name="connsiteX430" fmla="*/ 114552 w 2663946"/>
                <a:gd name="connsiteY430" fmla="*/ 75195 h 349223"/>
                <a:gd name="connsiteX431" fmla="*/ 112340 w 2663946"/>
                <a:gd name="connsiteY431" fmla="*/ 78980 h 349223"/>
                <a:gd name="connsiteX432" fmla="*/ 111356 w 2663946"/>
                <a:gd name="connsiteY432" fmla="*/ 81684 h 349223"/>
                <a:gd name="connsiteX433" fmla="*/ 110373 w 2663946"/>
                <a:gd name="connsiteY433" fmla="*/ 85740 h 349223"/>
                <a:gd name="connsiteX434" fmla="*/ 109390 w 2663946"/>
                <a:gd name="connsiteY434" fmla="*/ 92770 h 349223"/>
                <a:gd name="connsiteX435" fmla="*/ 110373 w 2663946"/>
                <a:gd name="connsiteY435" fmla="*/ 100070 h 349223"/>
                <a:gd name="connsiteX436" fmla="*/ 111602 w 2663946"/>
                <a:gd name="connsiteY436" fmla="*/ 103855 h 349223"/>
                <a:gd name="connsiteX437" fmla="*/ 113814 w 2663946"/>
                <a:gd name="connsiteY437" fmla="*/ 108181 h 349223"/>
                <a:gd name="connsiteX438" fmla="*/ 117256 w 2663946"/>
                <a:gd name="connsiteY438" fmla="*/ 112508 h 349223"/>
                <a:gd name="connsiteX439" fmla="*/ 121680 w 2663946"/>
                <a:gd name="connsiteY439" fmla="*/ 115211 h 349223"/>
                <a:gd name="connsiteX440" fmla="*/ 133970 w 2663946"/>
                <a:gd name="connsiteY440" fmla="*/ 112778 h 349223"/>
                <a:gd name="connsiteX441" fmla="*/ 137166 w 2663946"/>
                <a:gd name="connsiteY441" fmla="*/ 109263 h 349223"/>
                <a:gd name="connsiteX442" fmla="*/ 139624 w 2663946"/>
                <a:gd name="connsiteY442" fmla="*/ 104937 h 349223"/>
                <a:gd name="connsiteX443" fmla="*/ 140607 w 2663946"/>
                <a:gd name="connsiteY443" fmla="*/ 102774 h 349223"/>
                <a:gd name="connsiteX444" fmla="*/ 141836 w 2663946"/>
                <a:gd name="connsiteY444" fmla="*/ 98448 h 349223"/>
                <a:gd name="connsiteX445" fmla="*/ 141344 w 2663946"/>
                <a:gd name="connsiteY445" fmla="*/ 84658 h 349223"/>
                <a:gd name="connsiteX446" fmla="*/ 140361 w 2663946"/>
                <a:gd name="connsiteY446" fmla="*/ 81684 h 349223"/>
                <a:gd name="connsiteX447" fmla="*/ 139132 w 2663946"/>
                <a:gd name="connsiteY447" fmla="*/ 78710 h 349223"/>
                <a:gd name="connsiteX448" fmla="*/ 136920 w 2663946"/>
                <a:gd name="connsiteY448" fmla="*/ 75195 h 349223"/>
                <a:gd name="connsiteX449" fmla="*/ 133233 w 2663946"/>
                <a:gd name="connsiteY449" fmla="*/ 71410 h 349223"/>
                <a:gd name="connsiteX450" fmla="*/ 129300 w 2663946"/>
                <a:gd name="connsiteY450" fmla="*/ 69247 h 349223"/>
                <a:gd name="connsiteX451" fmla="*/ 33147 w 2663946"/>
                <a:gd name="connsiteY451" fmla="*/ 65311 h 349223"/>
                <a:gd name="connsiteX452" fmla="*/ 21486 w 2663946"/>
                <a:gd name="connsiteY452" fmla="*/ 73040 h 349223"/>
                <a:gd name="connsiteX453" fmla="*/ 20561 w 2663946"/>
                <a:gd name="connsiteY453" fmla="*/ 77623 h 349223"/>
                <a:gd name="connsiteX454" fmla="*/ 23801 w 2663946"/>
                <a:gd name="connsiteY454" fmla="*/ 77623 h 349223"/>
                <a:gd name="connsiteX455" fmla="*/ 42218 w 2663946"/>
                <a:gd name="connsiteY455" fmla="*/ 77623 h 349223"/>
                <a:gd name="connsiteX456" fmla="*/ 45732 w 2663946"/>
                <a:gd name="connsiteY456" fmla="*/ 77623 h 349223"/>
                <a:gd name="connsiteX457" fmla="*/ 44807 w 2663946"/>
                <a:gd name="connsiteY457" fmla="*/ 73040 h 349223"/>
                <a:gd name="connsiteX458" fmla="*/ 33147 w 2663946"/>
                <a:gd name="connsiteY458" fmla="*/ 65311 h 349223"/>
                <a:gd name="connsiteX459" fmla="*/ 2537931 w 2663946"/>
                <a:gd name="connsiteY459" fmla="*/ 57723 h 349223"/>
                <a:gd name="connsiteX460" fmla="*/ 2526271 w 2663946"/>
                <a:gd name="connsiteY460" fmla="*/ 65452 h 349223"/>
                <a:gd name="connsiteX461" fmla="*/ 2525346 w 2663946"/>
                <a:gd name="connsiteY461" fmla="*/ 70035 h 349223"/>
                <a:gd name="connsiteX462" fmla="*/ 2528586 w 2663946"/>
                <a:gd name="connsiteY462" fmla="*/ 70035 h 349223"/>
                <a:gd name="connsiteX463" fmla="*/ 2547003 w 2663946"/>
                <a:gd name="connsiteY463" fmla="*/ 70035 h 349223"/>
                <a:gd name="connsiteX464" fmla="*/ 2550517 w 2663946"/>
                <a:gd name="connsiteY464" fmla="*/ 70035 h 349223"/>
                <a:gd name="connsiteX465" fmla="*/ 2549592 w 2663946"/>
                <a:gd name="connsiteY465" fmla="*/ 65452 h 349223"/>
                <a:gd name="connsiteX466" fmla="*/ 2537931 w 2663946"/>
                <a:gd name="connsiteY466" fmla="*/ 57723 h 349223"/>
                <a:gd name="connsiteX467" fmla="*/ 2112934 w 2663946"/>
                <a:gd name="connsiteY467" fmla="*/ 57723 h 349223"/>
                <a:gd name="connsiteX468" fmla="*/ 2101274 w 2663946"/>
                <a:gd name="connsiteY468" fmla="*/ 65452 h 349223"/>
                <a:gd name="connsiteX469" fmla="*/ 2100349 w 2663946"/>
                <a:gd name="connsiteY469" fmla="*/ 70035 h 349223"/>
                <a:gd name="connsiteX470" fmla="*/ 2103589 w 2663946"/>
                <a:gd name="connsiteY470" fmla="*/ 70035 h 349223"/>
                <a:gd name="connsiteX471" fmla="*/ 2122006 w 2663946"/>
                <a:gd name="connsiteY471" fmla="*/ 70035 h 349223"/>
                <a:gd name="connsiteX472" fmla="*/ 2125520 w 2663946"/>
                <a:gd name="connsiteY472" fmla="*/ 70035 h 349223"/>
                <a:gd name="connsiteX473" fmla="*/ 2124595 w 2663946"/>
                <a:gd name="connsiteY473" fmla="*/ 65452 h 349223"/>
                <a:gd name="connsiteX474" fmla="*/ 2112934 w 2663946"/>
                <a:gd name="connsiteY474" fmla="*/ 57723 h 349223"/>
                <a:gd name="connsiteX475" fmla="*/ 1854966 w 2663946"/>
                <a:gd name="connsiteY475" fmla="*/ 57723 h 349223"/>
                <a:gd name="connsiteX476" fmla="*/ 1843306 w 2663946"/>
                <a:gd name="connsiteY476" fmla="*/ 65452 h 349223"/>
                <a:gd name="connsiteX477" fmla="*/ 1842381 w 2663946"/>
                <a:gd name="connsiteY477" fmla="*/ 70035 h 349223"/>
                <a:gd name="connsiteX478" fmla="*/ 1845621 w 2663946"/>
                <a:gd name="connsiteY478" fmla="*/ 70035 h 349223"/>
                <a:gd name="connsiteX479" fmla="*/ 1864038 w 2663946"/>
                <a:gd name="connsiteY479" fmla="*/ 70035 h 349223"/>
                <a:gd name="connsiteX480" fmla="*/ 1867552 w 2663946"/>
                <a:gd name="connsiteY480" fmla="*/ 70035 h 349223"/>
                <a:gd name="connsiteX481" fmla="*/ 1866627 w 2663946"/>
                <a:gd name="connsiteY481" fmla="*/ 65452 h 349223"/>
                <a:gd name="connsiteX482" fmla="*/ 1854966 w 2663946"/>
                <a:gd name="connsiteY482" fmla="*/ 57723 h 349223"/>
                <a:gd name="connsiteX483" fmla="*/ 1764027 w 2663946"/>
                <a:gd name="connsiteY483" fmla="*/ 57723 h 349223"/>
                <a:gd name="connsiteX484" fmla="*/ 1752367 w 2663946"/>
                <a:gd name="connsiteY484" fmla="*/ 65452 h 349223"/>
                <a:gd name="connsiteX485" fmla="*/ 1751442 w 2663946"/>
                <a:gd name="connsiteY485" fmla="*/ 70035 h 349223"/>
                <a:gd name="connsiteX486" fmla="*/ 1754682 w 2663946"/>
                <a:gd name="connsiteY486" fmla="*/ 70035 h 349223"/>
                <a:gd name="connsiteX487" fmla="*/ 1773099 w 2663946"/>
                <a:gd name="connsiteY487" fmla="*/ 70035 h 349223"/>
                <a:gd name="connsiteX488" fmla="*/ 1776613 w 2663946"/>
                <a:gd name="connsiteY488" fmla="*/ 70035 h 349223"/>
                <a:gd name="connsiteX489" fmla="*/ 1775687 w 2663946"/>
                <a:gd name="connsiteY489" fmla="*/ 65452 h 349223"/>
                <a:gd name="connsiteX490" fmla="*/ 1764027 w 2663946"/>
                <a:gd name="connsiteY490" fmla="*/ 57723 h 349223"/>
                <a:gd name="connsiteX491" fmla="*/ 1506059 w 2663946"/>
                <a:gd name="connsiteY491" fmla="*/ 57723 h 349223"/>
                <a:gd name="connsiteX492" fmla="*/ 1494399 w 2663946"/>
                <a:gd name="connsiteY492" fmla="*/ 65452 h 349223"/>
                <a:gd name="connsiteX493" fmla="*/ 1493474 w 2663946"/>
                <a:gd name="connsiteY493" fmla="*/ 70035 h 349223"/>
                <a:gd name="connsiteX494" fmla="*/ 1496714 w 2663946"/>
                <a:gd name="connsiteY494" fmla="*/ 70035 h 349223"/>
                <a:gd name="connsiteX495" fmla="*/ 1515131 w 2663946"/>
                <a:gd name="connsiteY495" fmla="*/ 70035 h 349223"/>
                <a:gd name="connsiteX496" fmla="*/ 1518645 w 2663946"/>
                <a:gd name="connsiteY496" fmla="*/ 70035 h 349223"/>
                <a:gd name="connsiteX497" fmla="*/ 1517719 w 2663946"/>
                <a:gd name="connsiteY497" fmla="*/ 65452 h 349223"/>
                <a:gd name="connsiteX498" fmla="*/ 1506059 w 2663946"/>
                <a:gd name="connsiteY498" fmla="*/ 57723 h 349223"/>
                <a:gd name="connsiteX499" fmla="*/ 1415120 w 2663946"/>
                <a:gd name="connsiteY499" fmla="*/ 57723 h 349223"/>
                <a:gd name="connsiteX500" fmla="*/ 1403460 w 2663946"/>
                <a:gd name="connsiteY500" fmla="*/ 65452 h 349223"/>
                <a:gd name="connsiteX501" fmla="*/ 1402535 w 2663946"/>
                <a:gd name="connsiteY501" fmla="*/ 70035 h 349223"/>
                <a:gd name="connsiteX502" fmla="*/ 1405775 w 2663946"/>
                <a:gd name="connsiteY502" fmla="*/ 70035 h 349223"/>
                <a:gd name="connsiteX503" fmla="*/ 1424192 w 2663946"/>
                <a:gd name="connsiteY503" fmla="*/ 70035 h 349223"/>
                <a:gd name="connsiteX504" fmla="*/ 1427706 w 2663946"/>
                <a:gd name="connsiteY504" fmla="*/ 70035 h 349223"/>
                <a:gd name="connsiteX505" fmla="*/ 1426780 w 2663946"/>
                <a:gd name="connsiteY505" fmla="*/ 65452 h 349223"/>
                <a:gd name="connsiteX506" fmla="*/ 1415120 w 2663946"/>
                <a:gd name="connsiteY506" fmla="*/ 57723 h 349223"/>
                <a:gd name="connsiteX507" fmla="*/ 1157152 w 2663946"/>
                <a:gd name="connsiteY507" fmla="*/ 57723 h 349223"/>
                <a:gd name="connsiteX508" fmla="*/ 1145492 w 2663946"/>
                <a:gd name="connsiteY508" fmla="*/ 65452 h 349223"/>
                <a:gd name="connsiteX509" fmla="*/ 1144567 w 2663946"/>
                <a:gd name="connsiteY509" fmla="*/ 70035 h 349223"/>
                <a:gd name="connsiteX510" fmla="*/ 1147807 w 2663946"/>
                <a:gd name="connsiteY510" fmla="*/ 70035 h 349223"/>
                <a:gd name="connsiteX511" fmla="*/ 1166224 w 2663946"/>
                <a:gd name="connsiteY511" fmla="*/ 70035 h 349223"/>
                <a:gd name="connsiteX512" fmla="*/ 1169738 w 2663946"/>
                <a:gd name="connsiteY512" fmla="*/ 70035 h 349223"/>
                <a:gd name="connsiteX513" fmla="*/ 1168812 w 2663946"/>
                <a:gd name="connsiteY513" fmla="*/ 65452 h 349223"/>
                <a:gd name="connsiteX514" fmla="*/ 1157152 w 2663946"/>
                <a:gd name="connsiteY514" fmla="*/ 57723 h 349223"/>
                <a:gd name="connsiteX515" fmla="*/ 732156 w 2663946"/>
                <a:gd name="connsiteY515" fmla="*/ 57723 h 349223"/>
                <a:gd name="connsiteX516" fmla="*/ 720495 w 2663946"/>
                <a:gd name="connsiteY516" fmla="*/ 65452 h 349223"/>
                <a:gd name="connsiteX517" fmla="*/ 719570 w 2663946"/>
                <a:gd name="connsiteY517" fmla="*/ 70035 h 349223"/>
                <a:gd name="connsiteX518" fmla="*/ 722810 w 2663946"/>
                <a:gd name="connsiteY518" fmla="*/ 70035 h 349223"/>
                <a:gd name="connsiteX519" fmla="*/ 741228 w 2663946"/>
                <a:gd name="connsiteY519" fmla="*/ 70035 h 349223"/>
                <a:gd name="connsiteX520" fmla="*/ 744742 w 2663946"/>
                <a:gd name="connsiteY520" fmla="*/ 70035 h 349223"/>
                <a:gd name="connsiteX521" fmla="*/ 743816 w 2663946"/>
                <a:gd name="connsiteY521" fmla="*/ 65452 h 349223"/>
                <a:gd name="connsiteX522" fmla="*/ 732156 w 2663946"/>
                <a:gd name="connsiteY522" fmla="*/ 57723 h 349223"/>
                <a:gd name="connsiteX523" fmla="*/ 641217 w 2663946"/>
                <a:gd name="connsiteY523" fmla="*/ 57723 h 349223"/>
                <a:gd name="connsiteX524" fmla="*/ 629556 w 2663946"/>
                <a:gd name="connsiteY524" fmla="*/ 65452 h 349223"/>
                <a:gd name="connsiteX525" fmla="*/ 628631 w 2663946"/>
                <a:gd name="connsiteY525" fmla="*/ 70035 h 349223"/>
                <a:gd name="connsiteX526" fmla="*/ 631871 w 2663946"/>
                <a:gd name="connsiteY526" fmla="*/ 70035 h 349223"/>
                <a:gd name="connsiteX527" fmla="*/ 650289 w 2663946"/>
                <a:gd name="connsiteY527" fmla="*/ 70035 h 349223"/>
                <a:gd name="connsiteX528" fmla="*/ 653802 w 2663946"/>
                <a:gd name="connsiteY528" fmla="*/ 70035 h 349223"/>
                <a:gd name="connsiteX529" fmla="*/ 652877 w 2663946"/>
                <a:gd name="connsiteY529" fmla="*/ 65452 h 349223"/>
                <a:gd name="connsiteX530" fmla="*/ 641217 w 2663946"/>
                <a:gd name="connsiteY530" fmla="*/ 57723 h 349223"/>
                <a:gd name="connsiteX531" fmla="*/ 459266 w 2663946"/>
                <a:gd name="connsiteY531" fmla="*/ 57723 h 349223"/>
                <a:gd name="connsiteX532" fmla="*/ 447605 w 2663946"/>
                <a:gd name="connsiteY532" fmla="*/ 65452 h 349223"/>
                <a:gd name="connsiteX533" fmla="*/ 446680 w 2663946"/>
                <a:gd name="connsiteY533" fmla="*/ 70035 h 349223"/>
                <a:gd name="connsiteX534" fmla="*/ 449920 w 2663946"/>
                <a:gd name="connsiteY534" fmla="*/ 70035 h 349223"/>
                <a:gd name="connsiteX535" fmla="*/ 468337 w 2663946"/>
                <a:gd name="connsiteY535" fmla="*/ 70035 h 349223"/>
                <a:gd name="connsiteX536" fmla="*/ 471851 w 2663946"/>
                <a:gd name="connsiteY536" fmla="*/ 70035 h 349223"/>
                <a:gd name="connsiteX537" fmla="*/ 470926 w 2663946"/>
                <a:gd name="connsiteY537" fmla="*/ 65452 h 349223"/>
                <a:gd name="connsiteX538" fmla="*/ 459266 w 2663946"/>
                <a:gd name="connsiteY538" fmla="*/ 57723 h 349223"/>
                <a:gd name="connsiteX539" fmla="*/ 2361413 w 2663946"/>
                <a:gd name="connsiteY539" fmla="*/ 53363 h 349223"/>
                <a:gd name="connsiteX540" fmla="*/ 2365469 w 2663946"/>
                <a:gd name="connsiteY540" fmla="*/ 53363 h 349223"/>
                <a:gd name="connsiteX541" fmla="*/ 2370065 w 2663946"/>
                <a:gd name="connsiteY541" fmla="*/ 55797 h 349223"/>
                <a:gd name="connsiteX542" fmla="*/ 2372229 w 2663946"/>
                <a:gd name="connsiteY542" fmla="*/ 62015 h 349223"/>
                <a:gd name="connsiteX543" fmla="*/ 2372229 w 2663946"/>
                <a:gd name="connsiteY543" fmla="*/ 62556 h 349223"/>
                <a:gd name="connsiteX544" fmla="*/ 2372229 w 2663946"/>
                <a:gd name="connsiteY544" fmla="*/ 115551 h 349223"/>
                <a:gd name="connsiteX545" fmla="*/ 2372769 w 2663946"/>
                <a:gd name="connsiteY545" fmla="*/ 116091 h 349223"/>
                <a:gd name="connsiteX546" fmla="*/ 2380069 w 2663946"/>
                <a:gd name="connsiteY546" fmla="*/ 116091 h 349223"/>
                <a:gd name="connsiteX547" fmla="*/ 2384125 w 2663946"/>
                <a:gd name="connsiteY547" fmla="*/ 117173 h 349223"/>
                <a:gd name="connsiteX548" fmla="*/ 2387910 w 2663946"/>
                <a:gd name="connsiteY548" fmla="*/ 123932 h 349223"/>
                <a:gd name="connsiteX549" fmla="*/ 2385207 w 2663946"/>
                <a:gd name="connsiteY549" fmla="*/ 129610 h 349223"/>
                <a:gd name="connsiteX550" fmla="*/ 2381151 w 2663946"/>
                <a:gd name="connsiteY550" fmla="*/ 131503 h 349223"/>
                <a:gd name="connsiteX551" fmla="*/ 2380881 w 2663946"/>
                <a:gd name="connsiteY551" fmla="*/ 131503 h 349223"/>
                <a:gd name="connsiteX552" fmla="*/ 2380610 w 2663946"/>
                <a:gd name="connsiteY552" fmla="*/ 131503 h 349223"/>
                <a:gd name="connsiteX553" fmla="*/ 2380069 w 2663946"/>
                <a:gd name="connsiteY553" fmla="*/ 131503 h 349223"/>
                <a:gd name="connsiteX554" fmla="*/ 2347894 w 2663946"/>
                <a:gd name="connsiteY554" fmla="*/ 131503 h 349223"/>
                <a:gd name="connsiteX555" fmla="*/ 2347354 w 2663946"/>
                <a:gd name="connsiteY555" fmla="*/ 131503 h 349223"/>
                <a:gd name="connsiteX556" fmla="*/ 2346542 w 2663946"/>
                <a:gd name="connsiteY556" fmla="*/ 131503 h 349223"/>
                <a:gd name="connsiteX557" fmla="*/ 2345731 w 2663946"/>
                <a:gd name="connsiteY557" fmla="*/ 131233 h 349223"/>
                <a:gd name="connsiteX558" fmla="*/ 2342216 w 2663946"/>
                <a:gd name="connsiteY558" fmla="*/ 129340 h 349223"/>
                <a:gd name="connsiteX559" fmla="*/ 2339783 w 2663946"/>
                <a:gd name="connsiteY559" fmla="*/ 123662 h 349223"/>
                <a:gd name="connsiteX560" fmla="*/ 2341946 w 2663946"/>
                <a:gd name="connsiteY560" fmla="*/ 118525 h 349223"/>
                <a:gd name="connsiteX561" fmla="*/ 2347624 w 2663946"/>
                <a:gd name="connsiteY561" fmla="*/ 116091 h 349223"/>
                <a:gd name="connsiteX562" fmla="*/ 2355465 w 2663946"/>
                <a:gd name="connsiteY562" fmla="*/ 116091 h 349223"/>
                <a:gd name="connsiteX563" fmla="*/ 2356006 w 2663946"/>
                <a:gd name="connsiteY563" fmla="*/ 115551 h 349223"/>
                <a:gd name="connsiteX564" fmla="*/ 2356006 w 2663946"/>
                <a:gd name="connsiteY564" fmla="*/ 69586 h 349223"/>
                <a:gd name="connsiteX565" fmla="*/ 2355465 w 2663946"/>
                <a:gd name="connsiteY565" fmla="*/ 69045 h 349223"/>
                <a:gd name="connsiteX566" fmla="*/ 2349517 w 2663946"/>
                <a:gd name="connsiteY566" fmla="*/ 69045 h 349223"/>
                <a:gd name="connsiteX567" fmla="*/ 2342216 w 2663946"/>
                <a:gd name="connsiteY567" fmla="*/ 64449 h 349223"/>
                <a:gd name="connsiteX568" fmla="*/ 2341946 w 2663946"/>
                <a:gd name="connsiteY568" fmla="*/ 58771 h 349223"/>
                <a:gd name="connsiteX569" fmla="*/ 2349246 w 2663946"/>
                <a:gd name="connsiteY569" fmla="*/ 53634 h 349223"/>
                <a:gd name="connsiteX570" fmla="*/ 2361413 w 2663946"/>
                <a:gd name="connsiteY570" fmla="*/ 53363 h 349223"/>
                <a:gd name="connsiteX571" fmla="*/ 2285396 w 2663946"/>
                <a:gd name="connsiteY571" fmla="*/ 53363 h 349223"/>
                <a:gd name="connsiteX572" fmla="*/ 2289452 w 2663946"/>
                <a:gd name="connsiteY572" fmla="*/ 53363 h 349223"/>
                <a:gd name="connsiteX573" fmla="*/ 2294048 w 2663946"/>
                <a:gd name="connsiteY573" fmla="*/ 55797 h 349223"/>
                <a:gd name="connsiteX574" fmla="*/ 2296212 w 2663946"/>
                <a:gd name="connsiteY574" fmla="*/ 62015 h 349223"/>
                <a:gd name="connsiteX575" fmla="*/ 2296212 w 2663946"/>
                <a:gd name="connsiteY575" fmla="*/ 62556 h 349223"/>
                <a:gd name="connsiteX576" fmla="*/ 2296212 w 2663946"/>
                <a:gd name="connsiteY576" fmla="*/ 115551 h 349223"/>
                <a:gd name="connsiteX577" fmla="*/ 2296752 w 2663946"/>
                <a:gd name="connsiteY577" fmla="*/ 116091 h 349223"/>
                <a:gd name="connsiteX578" fmla="*/ 2304052 w 2663946"/>
                <a:gd name="connsiteY578" fmla="*/ 116091 h 349223"/>
                <a:gd name="connsiteX579" fmla="*/ 2308108 w 2663946"/>
                <a:gd name="connsiteY579" fmla="*/ 117173 h 349223"/>
                <a:gd name="connsiteX580" fmla="*/ 2311893 w 2663946"/>
                <a:gd name="connsiteY580" fmla="*/ 123932 h 349223"/>
                <a:gd name="connsiteX581" fmla="*/ 2309190 w 2663946"/>
                <a:gd name="connsiteY581" fmla="*/ 129610 h 349223"/>
                <a:gd name="connsiteX582" fmla="*/ 2305134 w 2663946"/>
                <a:gd name="connsiteY582" fmla="*/ 131503 h 349223"/>
                <a:gd name="connsiteX583" fmla="*/ 2304864 w 2663946"/>
                <a:gd name="connsiteY583" fmla="*/ 131503 h 349223"/>
                <a:gd name="connsiteX584" fmla="*/ 2304593 w 2663946"/>
                <a:gd name="connsiteY584" fmla="*/ 131503 h 349223"/>
                <a:gd name="connsiteX585" fmla="*/ 2304052 w 2663946"/>
                <a:gd name="connsiteY585" fmla="*/ 131503 h 349223"/>
                <a:gd name="connsiteX586" fmla="*/ 2271877 w 2663946"/>
                <a:gd name="connsiteY586" fmla="*/ 131503 h 349223"/>
                <a:gd name="connsiteX587" fmla="*/ 2271337 w 2663946"/>
                <a:gd name="connsiteY587" fmla="*/ 131503 h 349223"/>
                <a:gd name="connsiteX588" fmla="*/ 2270525 w 2663946"/>
                <a:gd name="connsiteY588" fmla="*/ 131503 h 349223"/>
                <a:gd name="connsiteX589" fmla="*/ 2269714 w 2663946"/>
                <a:gd name="connsiteY589" fmla="*/ 131233 h 349223"/>
                <a:gd name="connsiteX590" fmla="*/ 2266199 w 2663946"/>
                <a:gd name="connsiteY590" fmla="*/ 129340 h 349223"/>
                <a:gd name="connsiteX591" fmla="*/ 2263766 w 2663946"/>
                <a:gd name="connsiteY591" fmla="*/ 123662 h 349223"/>
                <a:gd name="connsiteX592" fmla="*/ 2265929 w 2663946"/>
                <a:gd name="connsiteY592" fmla="*/ 118525 h 349223"/>
                <a:gd name="connsiteX593" fmla="*/ 2271607 w 2663946"/>
                <a:gd name="connsiteY593" fmla="*/ 116091 h 349223"/>
                <a:gd name="connsiteX594" fmla="*/ 2279448 w 2663946"/>
                <a:gd name="connsiteY594" fmla="*/ 116091 h 349223"/>
                <a:gd name="connsiteX595" fmla="*/ 2279989 w 2663946"/>
                <a:gd name="connsiteY595" fmla="*/ 115551 h 349223"/>
                <a:gd name="connsiteX596" fmla="*/ 2279989 w 2663946"/>
                <a:gd name="connsiteY596" fmla="*/ 69586 h 349223"/>
                <a:gd name="connsiteX597" fmla="*/ 2279448 w 2663946"/>
                <a:gd name="connsiteY597" fmla="*/ 69045 h 349223"/>
                <a:gd name="connsiteX598" fmla="*/ 2273500 w 2663946"/>
                <a:gd name="connsiteY598" fmla="*/ 69045 h 349223"/>
                <a:gd name="connsiteX599" fmla="*/ 2266199 w 2663946"/>
                <a:gd name="connsiteY599" fmla="*/ 64449 h 349223"/>
                <a:gd name="connsiteX600" fmla="*/ 2265929 w 2663946"/>
                <a:gd name="connsiteY600" fmla="*/ 58771 h 349223"/>
                <a:gd name="connsiteX601" fmla="*/ 2273229 w 2663946"/>
                <a:gd name="connsiteY601" fmla="*/ 53634 h 349223"/>
                <a:gd name="connsiteX602" fmla="*/ 2285396 w 2663946"/>
                <a:gd name="connsiteY602" fmla="*/ 53363 h 349223"/>
                <a:gd name="connsiteX603" fmla="*/ 1936416 w 2663946"/>
                <a:gd name="connsiteY603" fmla="*/ 53363 h 349223"/>
                <a:gd name="connsiteX604" fmla="*/ 1940472 w 2663946"/>
                <a:gd name="connsiteY604" fmla="*/ 53363 h 349223"/>
                <a:gd name="connsiteX605" fmla="*/ 1945068 w 2663946"/>
                <a:gd name="connsiteY605" fmla="*/ 55797 h 349223"/>
                <a:gd name="connsiteX606" fmla="*/ 1947232 w 2663946"/>
                <a:gd name="connsiteY606" fmla="*/ 62015 h 349223"/>
                <a:gd name="connsiteX607" fmla="*/ 1947232 w 2663946"/>
                <a:gd name="connsiteY607" fmla="*/ 62556 h 349223"/>
                <a:gd name="connsiteX608" fmla="*/ 1947232 w 2663946"/>
                <a:gd name="connsiteY608" fmla="*/ 115551 h 349223"/>
                <a:gd name="connsiteX609" fmla="*/ 1947772 w 2663946"/>
                <a:gd name="connsiteY609" fmla="*/ 116091 h 349223"/>
                <a:gd name="connsiteX610" fmla="*/ 1955072 w 2663946"/>
                <a:gd name="connsiteY610" fmla="*/ 116091 h 349223"/>
                <a:gd name="connsiteX611" fmla="*/ 1959128 w 2663946"/>
                <a:gd name="connsiteY611" fmla="*/ 117173 h 349223"/>
                <a:gd name="connsiteX612" fmla="*/ 1962913 w 2663946"/>
                <a:gd name="connsiteY612" fmla="*/ 123932 h 349223"/>
                <a:gd name="connsiteX613" fmla="*/ 1960210 w 2663946"/>
                <a:gd name="connsiteY613" fmla="*/ 129610 h 349223"/>
                <a:gd name="connsiteX614" fmla="*/ 1956154 w 2663946"/>
                <a:gd name="connsiteY614" fmla="*/ 131503 h 349223"/>
                <a:gd name="connsiteX615" fmla="*/ 1955884 w 2663946"/>
                <a:gd name="connsiteY615" fmla="*/ 131503 h 349223"/>
                <a:gd name="connsiteX616" fmla="*/ 1955613 w 2663946"/>
                <a:gd name="connsiteY616" fmla="*/ 131503 h 349223"/>
                <a:gd name="connsiteX617" fmla="*/ 1955072 w 2663946"/>
                <a:gd name="connsiteY617" fmla="*/ 131503 h 349223"/>
                <a:gd name="connsiteX618" fmla="*/ 1922897 w 2663946"/>
                <a:gd name="connsiteY618" fmla="*/ 131503 h 349223"/>
                <a:gd name="connsiteX619" fmla="*/ 1922357 w 2663946"/>
                <a:gd name="connsiteY619" fmla="*/ 131503 h 349223"/>
                <a:gd name="connsiteX620" fmla="*/ 1921545 w 2663946"/>
                <a:gd name="connsiteY620" fmla="*/ 131503 h 349223"/>
                <a:gd name="connsiteX621" fmla="*/ 1920734 w 2663946"/>
                <a:gd name="connsiteY621" fmla="*/ 131233 h 349223"/>
                <a:gd name="connsiteX622" fmla="*/ 1917219 w 2663946"/>
                <a:gd name="connsiteY622" fmla="*/ 129340 h 349223"/>
                <a:gd name="connsiteX623" fmla="*/ 1914786 w 2663946"/>
                <a:gd name="connsiteY623" fmla="*/ 123662 h 349223"/>
                <a:gd name="connsiteX624" fmla="*/ 1916949 w 2663946"/>
                <a:gd name="connsiteY624" fmla="*/ 118525 h 349223"/>
                <a:gd name="connsiteX625" fmla="*/ 1922627 w 2663946"/>
                <a:gd name="connsiteY625" fmla="*/ 116091 h 349223"/>
                <a:gd name="connsiteX626" fmla="*/ 1930468 w 2663946"/>
                <a:gd name="connsiteY626" fmla="*/ 116091 h 349223"/>
                <a:gd name="connsiteX627" fmla="*/ 1931009 w 2663946"/>
                <a:gd name="connsiteY627" fmla="*/ 115551 h 349223"/>
                <a:gd name="connsiteX628" fmla="*/ 1931009 w 2663946"/>
                <a:gd name="connsiteY628" fmla="*/ 69586 h 349223"/>
                <a:gd name="connsiteX629" fmla="*/ 1930468 w 2663946"/>
                <a:gd name="connsiteY629" fmla="*/ 69045 h 349223"/>
                <a:gd name="connsiteX630" fmla="*/ 1924520 w 2663946"/>
                <a:gd name="connsiteY630" fmla="*/ 69045 h 349223"/>
                <a:gd name="connsiteX631" fmla="*/ 1917219 w 2663946"/>
                <a:gd name="connsiteY631" fmla="*/ 64449 h 349223"/>
                <a:gd name="connsiteX632" fmla="*/ 1916949 w 2663946"/>
                <a:gd name="connsiteY632" fmla="*/ 58771 h 349223"/>
                <a:gd name="connsiteX633" fmla="*/ 1924249 w 2663946"/>
                <a:gd name="connsiteY633" fmla="*/ 53634 h 349223"/>
                <a:gd name="connsiteX634" fmla="*/ 1936416 w 2663946"/>
                <a:gd name="connsiteY634" fmla="*/ 53363 h 349223"/>
                <a:gd name="connsiteX635" fmla="*/ 1678521 w 2663946"/>
                <a:gd name="connsiteY635" fmla="*/ 53363 h 349223"/>
                <a:gd name="connsiteX636" fmla="*/ 1682577 w 2663946"/>
                <a:gd name="connsiteY636" fmla="*/ 53363 h 349223"/>
                <a:gd name="connsiteX637" fmla="*/ 1687173 w 2663946"/>
                <a:gd name="connsiteY637" fmla="*/ 55797 h 349223"/>
                <a:gd name="connsiteX638" fmla="*/ 1689336 w 2663946"/>
                <a:gd name="connsiteY638" fmla="*/ 62015 h 349223"/>
                <a:gd name="connsiteX639" fmla="*/ 1689336 w 2663946"/>
                <a:gd name="connsiteY639" fmla="*/ 62556 h 349223"/>
                <a:gd name="connsiteX640" fmla="*/ 1689336 w 2663946"/>
                <a:gd name="connsiteY640" fmla="*/ 115551 h 349223"/>
                <a:gd name="connsiteX641" fmla="*/ 1689877 w 2663946"/>
                <a:gd name="connsiteY641" fmla="*/ 116091 h 349223"/>
                <a:gd name="connsiteX642" fmla="*/ 1697177 w 2663946"/>
                <a:gd name="connsiteY642" fmla="*/ 116091 h 349223"/>
                <a:gd name="connsiteX643" fmla="*/ 1701233 w 2663946"/>
                <a:gd name="connsiteY643" fmla="*/ 117173 h 349223"/>
                <a:gd name="connsiteX644" fmla="*/ 1705018 w 2663946"/>
                <a:gd name="connsiteY644" fmla="*/ 123932 h 349223"/>
                <a:gd name="connsiteX645" fmla="*/ 1702315 w 2663946"/>
                <a:gd name="connsiteY645" fmla="*/ 129610 h 349223"/>
                <a:gd name="connsiteX646" fmla="*/ 1698259 w 2663946"/>
                <a:gd name="connsiteY646" fmla="*/ 131503 h 349223"/>
                <a:gd name="connsiteX647" fmla="*/ 1697989 w 2663946"/>
                <a:gd name="connsiteY647" fmla="*/ 131503 h 349223"/>
                <a:gd name="connsiteX648" fmla="*/ 1697718 w 2663946"/>
                <a:gd name="connsiteY648" fmla="*/ 131503 h 349223"/>
                <a:gd name="connsiteX649" fmla="*/ 1697177 w 2663946"/>
                <a:gd name="connsiteY649" fmla="*/ 131503 h 349223"/>
                <a:gd name="connsiteX650" fmla="*/ 1665002 w 2663946"/>
                <a:gd name="connsiteY650" fmla="*/ 131503 h 349223"/>
                <a:gd name="connsiteX651" fmla="*/ 1664462 w 2663946"/>
                <a:gd name="connsiteY651" fmla="*/ 131503 h 349223"/>
                <a:gd name="connsiteX652" fmla="*/ 1663650 w 2663946"/>
                <a:gd name="connsiteY652" fmla="*/ 131503 h 349223"/>
                <a:gd name="connsiteX653" fmla="*/ 1662839 w 2663946"/>
                <a:gd name="connsiteY653" fmla="*/ 131233 h 349223"/>
                <a:gd name="connsiteX654" fmla="*/ 1659324 w 2663946"/>
                <a:gd name="connsiteY654" fmla="*/ 129340 h 349223"/>
                <a:gd name="connsiteX655" fmla="*/ 1656891 w 2663946"/>
                <a:gd name="connsiteY655" fmla="*/ 123662 h 349223"/>
                <a:gd name="connsiteX656" fmla="*/ 1659054 w 2663946"/>
                <a:gd name="connsiteY656" fmla="*/ 118525 h 349223"/>
                <a:gd name="connsiteX657" fmla="*/ 1664732 w 2663946"/>
                <a:gd name="connsiteY657" fmla="*/ 116091 h 349223"/>
                <a:gd name="connsiteX658" fmla="*/ 1672573 w 2663946"/>
                <a:gd name="connsiteY658" fmla="*/ 116091 h 349223"/>
                <a:gd name="connsiteX659" fmla="*/ 1673114 w 2663946"/>
                <a:gd name="connsiteY659" fmla="*/ 115551 h 349223"/>
                <a:gd name="connsiteX660" fmla="*/ 1673114 w 2663946"/>
                <a:gd name="connsiteY660" fmla="*/ 69586 h 349223"/>
                <a:gd name="connsiteX661" fmla="*/ 1672573 w 2663946"/>
                <a:gd name="connsiteY661" fmla="*/ 69045 h 349223"/>
                <a:gd name="connsiteX662" fmla="*/ 1666625 w 2663946"/>
                <a:gd name="connsiteY662" fmla="*/ 69045 h 349223"/>
                <a:gd name="connsiteX663" fmla="*/ 1659324 w 2663946"/>
                <a:gd name="connsiteY663" fmla="*/ 64449 h 349223"/>
                <a:gd name="connsiteX664" fmla="*/ 1659054 w 2663946"/>
                <a:gd name="connsiteY664" fmla="*/ 58771 h 349223"/>
                <a:gd name="connsiteX665" fmla="*/ 1666354 w 2663946"/>
                <a:gd name="connsiteY665" fmla="*/ 53634 h 349223"/>
                <a:gd name="connsiteX666" fmla="*/ 1678521 w 2663946"/>
                <a:gd name="connsiteY666" fmla="*/ 53363 h 349223"/>
                <a:gd name="connsiteX667" fmla="*/ 1329614 w 2663946"/>
                <a:gd name="connsiteY667" fmla="*/ 53363 h 349223"/>
                <a:gd name="connsiteX668" fmla="*/ 1333670 w 2663946"/>
                <a:gd name="connsiteY668" fmla="*/ 53363 h 349223"/>
                <a:gd name="connsiteX669" fmla="*/ 1338266 w 2663946"/>
                <a:gd name="connsiteY669" fmla="*/ 55797 h 349223"/>
                <a:gd name="connsiteX670" fmla="*/ 1340429 w 2663946"/>
                <a:gd name="connsiteY670" fmla="*/ 62015 h 349223"/>
                <a:gd name="connsiteX671" fmla="*/ 1340429 w 2663946"/>
                <a:gd name="connsiteY671" fmla="*/ 62556 h 349223"/>
                <a:gd name="connsiteX672" fmla="*/ 1340429 w 2663946"/>
                <a:gd name="connsiteY672" fmla="*/ 115551 h 349223"/>
                <a:gd name="connsiteX673" fmla="*/ 1340970 w 2663946"/>
                <a:gd name="connsiteY673" fmla="*/ 116091 h 349223"/>
                <a:gd name="connsiteX674" fmla="*/ 1348270 w 2663946"/>
                <a:gd name="connsiteY674" fmla="*/ 116091 h 349223"/>
                <a:gd name="connsiteX675" fmla="*/ 1352326 w 2663946"/>
                <a:gd name="connsiteY675" fmla="*/ 117173 h 349223"/>
                <a:gd name="connsiteX676" fmla="*/ 1356111 w 2663946"/>
                <a:gd name="connsiteY676" fmla="*/ 123932 h 349223"/>
                <a:gd name="connsiteX677" fmla="*/ 1353408 w 2663946"/>
                <a:gd name="connsiteY677" fmla="*/ 129610 h 349223"/>
                <a:gd name="connsiteX678" fmla="*/ 1349352 w 2663946"/>
                <a:gd name="connsiteY678" fmla="*/ 131503 h 349223"/>
                <a:gd name="connsiteX679" fmla="*/ 1349082 w 2663946"/>
                <a:gd name="connsiteY679" fmla="*/ 131503 h 349223"/>
                <a:gd name="connsiteX680" fmla="*/ 1348811 w 2663946"/>
                <a:gd name="connsiteY680" fmla="*/ 131503 h 349223"/>
                <a:gd name="connsiteX681" fmla="*/ 1348270 w 2663946"/>
                <a:gd name="connsiteY681" fmla="*/ 131503 h 349223"/>
                <a:gd name="connsiteX682" fmla="*/ 1316095 w 2663946"/>
                <a:gd name="connsiteY682" fmla="*/ 131503 h 349223"/>
                <a:gd name="connsiteX683" fmla="*/ 1315555 w 2663946"/>
                <a:gd name="connsiteY683" fmla="*/ 131503 h 349223"/>
                <a:gd name="connsiteX684" fmla="*/ 1314743 w 2663946"/>
                <a:gd name="connsiteY684" fmla="*/ 131503 h 349223"/>
                <a:gd name="connsiteX685" fmla="*/ 1313932 w 2663946"/>
                <a:gd name="connsiteY685" fmla="*/ 131233 h 349223"/>
                <a:gd name="connsiteX686" fmla="*/ 1310417 w 2663946"/>
                <a:gd name="connsiteY686" fmla="*/ 129340 h 349223"/>
                <a:gd name="connsiteX687" fmla="*/ 1307984 w 2663946"/>
                <a:gd name="connsiteY687" fmla="*/ 123662 h 349223"/>
                <a:gd name="connsiteX688" fmla="*/ 1310147 w 2663946"/>
                <a:gd name="connsiteY688" fmla="*/ 118525 h 349223"/>
                <a:gd name="connsiteX689" fmla="*/ 1315825 w 2663946"/>
                <a:gd name="connsiteY689" fmla="*/ 116091 h 349223"/>
                <a:gd name="connsiteX690" fmla="*/ 1323666 w 2663946"/>
                <a:gd name="connsiteY690" fmla="*/ 116091 h 349223"/>
                <a:gd name="connsiteX691" fmla="*/ 1324207 w 2663946"/>
                <a:gd name="connsiteY691" fmla="*/ 115551 h 349223"/>
                <a:gd name="connsiteX692" fmla="*/ 1324207 w 2663946"/>
                <a:gd name="connsiteY692" fmla="*/ 69586 h 349223"/>
                <a:gd name="connsiteX693" fmla="*/ 1323666 w 2663946"/>
                <a:gd name="connsiteY693" fmla="*/ 69045 h 349223"/>
                <a:gd name="connsiteX694" fmla="*/ 1317718 w 2663946"/>
                <a:gd name="connsiteY694" fmla="*/ 69045 h 349223"/>
                <a:gd name="connsiteX695" fmla="*/ 1310417 w 2663946"/>
                <a:gd name="connsiteY695" fmla="*/ 64449 h 349223"/>
                <a:gd name="connsiteX696" fmla="*/ 1310147 w 2663946"/>
                <a:gd name="connsiteY696" fmla="*/ 58771 h 349223"/>
                <a:gd name="connsiteX697" fmla="*/ 1317447 w 2663946"/>
                <a:gd name="connsiteY697" fmla="*/ 53634 h 349223"/>
                <a:gd name="connsiteX698" fmla="*/ 1329614 w 2663946"/>
                <a:gd name="connsiteY698" fmla="*/ 53363 h 349223"/>
                <a:gd name="connsiteX699" fmla="*/ 980634 w 2663946"/>
                <a:gd name="connsiteY699" fmla="*/ 53363 h 349223"/>
                <a:gd name="connsiteX700" fmla="*/ 984690 w 2663946"/>
                <a:gd name="connsiteY700" fmla="*/ 53363 h 349223"/>
                <a:gd name="connsiteX701" fmla="*/ 989286 w 2663946"/>
                <a:gd name="connsiteY701" fmla="*/ 55797 h 349223"/>
                <a:gd name="connsiteX702" fmla="*/ 991449 w 2663946"/>
                <a:gd name="connsiteY702" fmla="*/ 62015 h 349223"/>
                <a:gd name="connsiteX703" fmla="*/ 991449 w 2663946"/>
                <a:gd name="connsiteY703" fmla="*/ 62556 h 349223"/>
                <a:gd name="connsiteX704" fmla="*/ 991449 w 2663946"/>
                <a:gd name="connsiteY704" fmla="*/ 115551 h 349223"/>
                <a:gd name="connsiteX705" fmla="*/ 991990 w 2663946"/>
                <a:gd name="connsiteY705" fmla="*/ 116091 h 349223"/>
                <a:gd name="connsiteX706" fmla="*/ 999290 w 2663946"/>
                <a:gd name="connsiteY706" fmla="*/ 116091 h 349223"/>
                <a:gd name="connsiteX707" fmla="*/ 1003346 w 2663946"/>
                <a:gd name="connsiteY707" fmla="*/ 117173 h 349223"/>
                <a:gd name="connsiteX708" fmla="*/ 1007131 w 2663946"/>
                <a:gd name="connsiteY708" fmla="*/ 123932 h 349223"/>
                <a:gd name="connsiteX709" fmla="*/ 1004428 w 2663946"/>
                <a:gd name="connsiteY709" fmla="*/ 129610 h 349223"/>
                <a:gd name="connsiteX710" fmla="*/ 1000372 w 2663946"/>
                <a:gd name="connsiteY710" fmla="*/ 131503 h 349223"/>
                <a:gd name="connsiteX711" fmla="*/ 1000102 w 2663946"/>
                <a:gd name="connsiteY711" fmla="*/ 131503 h 349223"/>
                <a:gd name="connsiteX712" fmla="*/ 999831 w 2663946"/>
                <a:gd name="connsiteY712" fmla="*/ 131503 h 349223"/>
                <a:gd name="connsiteX713" fmla="*/ 999290 w 2663946"/>
                <a:gd name="connsiteY713" fmla="*/ 131503 h 349223"/>
                <a:gd name="connsiteX714" fmla="*/ 967115 w 2663946"/>
                <a:gd name="connsiteY714" fmla="*/ 131503 h 349223"/>
                <a:gd name="connsiteX715" fmla="*/ 966575 w 2663946"/>
                <a:gd name="connsiteY715" fmla="*/ 131503 h 349223"/>
                <a:gd name="connsiteX716" fmla="*/ 965763 w 2663946"/>
                <a:gd name="connsiteY716" fmla="*/ 131503 h 349223"/>
                <a:gd name="connsiteX717" fmla="*/ 964952 w 2663946"/>
                <a:gd name="connsiteY717" fmla="*/ 131233 h 349223"/>
                <a:gd name="connsiteX718" fmla="*/ 961437 w 2663946"/>
                <a:gd name="connsiteY718" fmla="*/ 129340 h 349223"/>
                <a:gd name="connsiteX719" fmla="*/ 959004 w 2663946"/>
                <a:gd name="connsiteY719" fmla="*/ 123662 h 349223"/>
                <a:gd name="connsiteX720" fmla="*/ 961167 w 2663946"/>
                <a:gd name="connsiteY720" fmla="*/ 118525 h 349223"/>
                <a:gd name="connsiteX721" fmla="*/ 966845 w 2663946"/>
                <a:gd name="connsiteY721" fmla="*/ 116091 h 349223"/>
                <a:gd name="connsiteX722" fmla="*/ 974686 w 2663946"/>
                <a:gd name="connsiteY722" fmla="*/ 116091 h 349223"/>
                <a:gd name="connsiteX723" fmla="*/ 975227 w 2663946"/>
                <a:gd name="connsiteY723" fmla="*/ 115551 h 349223"/>
                <a:gd name="connsiteX724" fmla="*/ 975227 w 2663946"/>
                <a:gd name="connsiteY724" fmla="*/ 69586 h 349223"/>
                <a:gd name="connsiteX725" fmla="*/ 974686 w 2663946"/>
                <a:gd name="connsiteY725" fmla="*/ 69045 h 349223"/>
                <a:gd name="connsiteX726" fmla="*/ 968738 w 2663946"/>
                <a:gd name="connsiteY726" fmla="*/ 69045 h 349223"/>
                <a:gd name="connsiteX727" fmla="*/ 961437 w 2663946"/>
                <a:gd name="connsiteY727" fmla="*/ 64449 h 349223"/>
                <a:gd name="connsiteX728" fmla="*/ 961167 w 2663946"/>
                <a:gd name="connsiteY728" fmla="*/ 58771 h 349223"/>
                <a:gd name="connsiteX729" fmla="*/ 968467 w 2663946"/>
                <a:gd name="connsiteY729" fmla="*/ 53634 h 349223"/>
                <a:gd name="connsiteX730" fmla="*/ 980634 w 2663946"/>
                <a:gd name="connsiteY730" fmla="*/ 53363 h 349223"/>
                <a:gd name="connsiteX731" fmla="*/ 813605 w 2663946"/>
                <a:gd name="connsiteY731" fmla="*/ 53363 h 349223"/>
                <a:gd name="connsiteX732" fmla="*/ 817661 w 2663946"/>
                <a:gd name="connsiteY732" fmla="*/ 53363 h 349223"/>
                <a:gd name="connsiteX733" fmla="*/ 822257 w 2663946"/>
                <a:gd name="connsiteY733" fmla="*/ 55797 h 349223"/>
                <a:gd name="connsiteX734" fmla="*/ 824420 w 2663946"/>
                <a:gd name="connsiteY734" fmla="*/ 62015 h 349223"/>
                <a:gd name="connsiteX735" fmla="*/ 824420 w 2663946"/>
                <a:gd name="connsiteY735" fmla="*/ 62556 h 349223"/>
                <a:gd name="connsiteX736" fmla="*/ 824420 w 2663946"/>
                <a:gd name="connsiteY736" fmla="*/ 115551 h 349223"/>
                <a:gd name="connsiteX737" fmla="*/ 824961 w 2663946"/>
                <a:gd name="connsiteY737" fmla="*/ 116091 h 349223"/>
                <a:gd name="connsiteX738" fmla="*/ 832261 w 2663946"/>
                <a:gd name="connsiteY738" fmla="*/ 116091 h 349223"/>
                <a:gd name="connsiteX739" fmla="*/ 836317 w 2663946"/>
                <a:gd name="connsiteY739" fmla="*/ 117173 h 349223"/>
                <a:gd name="connsiteX740" fmla="*/ 840102 w 2663946"/>
                <a:gd name="connsiteY740" fmla="*/ 123932 h 349223"/>
                <a:gd name="connsiteX741" fmla="*/ 837399 w 2663946"/>
                <a:gd name="connsiteY741" fmla="*/ 129610 h 349223"/>
                <a:gd name="connsiteX742" fmla="*/ 833343 w 2663946"/>
                <a:gd name="connsiteY742" fmla="*/ 131503 h 349223"/>
                <a:gd name="connsiteX743" fmla="*/ 833073 w 2663946"/>
                <a:gd name="connsiteY743" fmla="*/ 131503 h 349223"/>
                <a:gd name="connsiteX744" fmla="*/ 832802 w 2663946"/>
                <a:gd name="connsiteY744" fmla="*/ 131503 h 349223"/>
                <a:gd name="connsiteX745" fmla="*/ 832261 w 2663946"/>
                <a:gd name="connsiteY745" fmla="*/ 131503 h 349223"/>
                <a:gd name="connsiteX746" fmla="*/ 800086 w 2663946"/>
                <a:gd name="connsiteY746" fmla="*/ 131503 h 349223"/>
                <a:gd name="connsiteX747" fmla="*/ 799546 w 2663946"/>
                <a:gd name="connsiteY747" fmla="*/ 131503 h 349223"/>
                <a:gd name="connsiteX748" fmla="*/ 798734 w 2663946"/>
                <a:gd name="connsiteY748" fmla="*/ 131503 h 349223"/>
                <a:gd name="connsiteX749" fmla="*/ 797923 w 2663946"/>
                <a:gd name="connsiteY749" fmla="*/ 131233 h 349223"/>
                <a:gd name="connsiteX750" fmla="*/ 794408 w 2663946"/>
                <a:gd name="connsiteY750" fmla="*/ 129340 h 349223"/>
                <a:gd name="connsiteX751" fmla="*/ 791975 w 2663946"/>
                <a:gd name="connsiteY751" fmla="*/ 123662 h 349223"/>
                <a:gd name="connsiteX752" fmla="*/ 794138 w 2663946"/>
                <a:gd name="connsiteY752" fmla="*/ 118525 h 349223"/>
                <a:gd name="connsiteX753" fmla="*/ 799816 w 2663946"/>
                <a:gd name="connsiteY753" fmla="*/ 116091 h 349223"/>
                <a:gd name="connsiteX754" fmla="*/ 807657 w 2663946"/>
                <a:gd name="connsiteY754" fmla="*/ 116091 h 349223"/>
                <a:gd name="connsiteX755" fmla="*/ 808198 w 2663946"/>
                <a:gd name="connsiteY755" fmla="*/ 115551 h 349223"/>
                <a:gd name="connsiteX756" fmla="*/ 808198 w 2663946"/>
                <a:gd name="connsiteY756" fmla="*/ 69586 h 349223"/>
                <a:gd name="connsiteX757" fmla="*/ 807657 w 2663946"/>
                <a:gd name="connsiteY757" fmla="*/ 69045 h 349223"/>
                <a:gd name="connsiteX758" fmla="*/ 801709 w 2663946"/>
                <a:gd name="connsiteY758" fmla="*/ 69045 h 349223"/>
                <a:gd name="connsiteX759" fmla="*/ 794408 w 2663946"/>
                <a:gd name="connsiteY759" fmla="*/ 64449 h 349223"/>
                <a:gd name="connsiteX760" fmla="*/ 794138 w 2663946"/>
                <a:gd name="connsiteY760" fmla="*/ 58771 h 349223"/>
                <a:gd name="connsiteX761" fmla="*/ 801438 w 2663946"/>
                <a:gd name="connsiteY761" fmla="*/ 53634 h 349223"/>
                <a:gd name="connsiteX762" fmla="*/ 813605 w 2663946"/>
                <a:gd name="connsiteY762" fmla="*/ 53363 h 349223"/>
                <a:gd name="connsiteX763" fmla="*/ 282748 w 2663946"/>
                <a:gd name="connsiteY763" fmla="*/ 53363 h 349223"/>
                <a:gd name="connsiteX764" fmla="*/ 286803 w 2663946"/>
                <a:gd name="connsiteY764" fmla="*/ 53363 h 349223"/>
                <a:gd name="connsiteX765" fmla="*/ 291400 w 2663946"/>
                <a:gd name="connsiteY765" fmla="*/ 55797 h 349223"/>
                <a:gd name="connsiteX766" fmla="*/ 293563 w 2663946"/>
                <a:gd name="connsiteY766" fmla="*/ 62015 h 349223"/>
                <a:gd name="connsiteX767" fmla="*/ 293563 w 2663946"/>
                <a:gd name="connsiteY767" fmla="*/ 62556 h 349223"/>
                <a:gd name="connsiteX768" fmla="*/ 293563 w 2663946"/>
                <a:gd name="connsiteY768" fmla="*/ 115551 h 349223"/>
                <a:gd name="connsiteX769" fmla="*/ 294104 w 2663946"/>
                <a:gd name="connsiteY769" fmla="*/ 116091 h 349223"/>
                <a:gd name="connsiteX770" fmla="*/ 301404 w 2663946"/>
                <a:gd name="connsiteY770" fmla="*/ 116091 h 349223"/>
                <a:gd name="connsiteX771" fmla="*/ 305460 w 2663946"/>
                <a:gd name="connsiteY771" fmla="*/ 117173 h 349223"/>
                <a:gd name="connsiteX772" fmla="*/ 309245 w 2663946"/>
                <a:gd name="connsiteY772" fmla="*/ 123932 h 349223"/>
                <a:gd name="connsiteX773" fmla="*/ 306541 w 2663946"/>
                <a:gd name="connsiteY773" fmla="*/ 129610 h 349223"/>
                <a:gd name="connsiteX774" fmla="*/ 302485 w 2663946"/>
                <a:gd name="connsiteY774" fmla="*/ 131503 h 349223"/>
                <a:gd name="connsiteX775" fmla="*/ 302215 w 2663946"/>
                <a:gd name="connsiteY775" fmla="*/ 131503 h 349223"/>
                <a:gd name="connsiteX776" fmla="*/ 301945 w 2663946"/>
                <a:gd name="connsiteY776" fmla="*/ 131503 h 349223"/>
                <a:gd name="connsiteX777" fmla="*/ 301404 w 2663946"/>
                <a:gd name="connsiteY777" fmla="*/ 131503 h 349223"/>
                <a:gd name="connsiteX778" fmla="*/ 269229 w 2663946"/>
                <a:gd name="connsiteY778" fmla="*/ 131503 h 349223"/>
                <a:gd name="connsiteX779" fmla="*/ 268688 w 2663946"/>
                <a:gd name="connsiteY779" fmla="*/ 131503 h 349223"/>
                <a:gd name="connsiteX780" fmla="*/ 267877 w 2663946"/>
                <a:gd name="connsiteY780" fmla="*/ 131503 h 349223"/>
                <a:gd name="connsiteX781" fmla="*/ 267066 w 2663946"/>
                <a:gd name="connsiteY781" fmla="*/ 131233 h 349223"/>
                <a:gd name="connsiteX782" fmla="*/ 263551 w 2663946"/>
                <a:gd name="connsiteY782" fmla="*/ 129340 h 349223"/>
                <a:gd name="connsiteX783" fmla="*/ 261117 w 2663946"/>
                <a:gd name="connsiteY783" fmla="*/ 123662 h 349223"/>
                <a:gd name="connsiteX784" fmla="*/ 263281 w 2663946"/>
                <a:gd name="connsiteY784" fmla="*/ 118525 h 349223"/>
                <a:gd name="connsiteX785" fmla="*/ 268958 w 2663946"/>
                <a:gd name="connsiteY785" fmla="*/ 116091 h 349223"/>
                <a:gd name="connsiteX786" fmla="*/ 276800 w 2663946"/>
                <a:gd name="connsiteY786" fmla="*/ 116091 h 349223"/>
                <a:gd name="connsiteX787" fmla="*/ 277340 w 2663946"/>
                <a:gd name="connsiteY787" fmla="*/ 115551 h 349223"/>
                <a:gd name="connsiteX788" fmla="*/ 277340 w 2663946"/>
                <a:gd name="connsiteY788" fmla="*/ 69586 h 349223"/>
                <a:gd name="connsiteX789" fmla="*/ 276800 w 2663946"/>
                <a:gd name="connsiteY789" fmla="*/ 69045 h 349223"/>
                <a:gd name="connsiteX790" fmla="*/ 270851 w 2663946"/>
                <a:gd name="connsiteY790" fmla="*/ 69045 h 349223"/>
                <a:gd name="connsiteX791" fmla="*/ 263551 w 2663946"/>
                <a:gd name="connsiteY791" fmla="*/ 64449 h 349223"/>
                <a:gd name="connsiteX792" fmla="*/ 263281 w 2663946"/>
                <a:gd name="connsiteY792" fmla="*/ 58771 h 349223"/>
                <a:gd name="connsiteX793" fmla="*/ 270581 w 2663946"/>
                <a:gd name="connsiteY793" fmla="*/ 53634 h 349223"/>
                <a:gd name="connsiteX794" fmla="*/ 282748 w 2663946"/>
                <a:gd name="connsiteY794" fmla="*/ 53363 h 349223"/>
                <a:gd name="connsiteX795" fmla="*/ 206731 w 2663946"/>
                <a:gd name="connsiteY795" fmla="*/ 53363 h 349223"/>
                <a:gd name="connsiteX796" fmla="*/ 210787 w 2663946"/>
                <a:gd name="connsiteY796" fmla="*/ 53363 h 349223"/>
                <a:gd name="connsiteX797" fmla="*/ 215383 w 2663946"/>
                <a:gd name="connsiteY797" fmla="*/ 55797 h 349223"/>
                <a:gd name="connsiteX798" fmla="*/ 217546 w 2663946"/>
                <a:gd name="connsiteY798" fmla="*/ 62015 h 349223"/>
                <a:gd name="connsiteX799" fmla="*/ 217546 w 2663946"/>
                <a:gd name="connsiteY799" fmla="*/ 62556 h 349223"/>
                <a:gd name="connsiteX800" fmla="*/ 217546 w 2663946"/>
                <a:gd name="connsiteY800" fmla="*/ 115551 h 349223"/>
                <a:gd name="connsiteX801" fmla="*/ 218087 w 2663946"/>
                <a:gd name="connsiteY801" fmla="*/ 116091 h 349223"/>
                <a:gd name="connsiteX802" fmla="*/ 225387 w 2663946"/>
                <a:gd name="connsiteY802" fmla="*/ 116091 h 349223"/>
                <a:gd name="connsiteX803" fmla="*/ 229443 w 2663946"/>
                <a:gd name="connsiteY803" fmla="*/ 117173 h 349223"/>
                <a:gd name="connsiteX804" fmla="*/ 233228 w 2663946"/>
                <a:gd name="connsiteY804" fmla="*/ 123932 h 349223"/>
                <a:gd name="connsiteX805" fmla="*/ 230524 w 2663946"/>
                <a:gd name="connsiteY805" fmla="*/ 129610 h 349223"/>
                <a:gd name="connsiteX806" fmla="*/ 226468 w 2663946"/>
                <a:gd name="connsiteY806" fmla="*/ 131503 h 349223"/>
                <a:gd name="connsiteX807" fmla="*/ 226198 w 2663946"/>
                <a:gd name="connsiteY807" fmla="*/ 131503 h 349223"/>
                <a:gd name="connsiteX808" fmla="*/ 225928 w 2663946"/>
                <a:gd name="connsiteY808" fmla="*/ 131503 h 349223"/>
                <a:gd name="connsiteX809" fmla="*/ 225387 w 2663946"/>
                <a:gd name="connsiteY809" fmla="*/ 131503 h 349223"/>
                <a:gd name="connsiteX810" fmla="*/ 193212 w 2663946"/>
                <a:gd name="connsiteY810" fmla="*/ 131503 h 349223"/>
                <a:gd name="connsiteX811" fmla="*/ 192671 w 2663946"/>
                <a:gd name="connsiteY811" fmla="*/ 131503 h 349223"/>
                <a:gd name="connsiteX812" fmla="*/ 191860 w 2663946"/>
                <a:gd name="connsiteY812" fmla="*/ 131503 h 349223"/>
                <a:gd name="connsiteX813" fmla="*/ 191049 w 2663946"/>
                <a:gd name="connsiteY813" fmla="*/ 131233 h 349223"/>
                <a:gd name="connsiteX814" fmla="*/ 187534 w 2663946"/>
                <a:gd name="connsiteY814" fmla="*/ 129340 h 349223"/>
                <a:gd name="connsiteX815" fmla="*/ 185101 w 2663946"/>
                <a:gd name="connsiteY815" fmla="*/ 123662 h 349223"/>
                <a:gd name="connsiteX816" fmla="*/ 187264 w 2663946"/>
                <a:gd name="connsiteY816" fmla="*/ 118525 h 349223"/>
                <a:gd name="connsiteX817" fmla="*/ 192942 w 2663946"/>
                <a:gd name="connsiteY817" fmla="*/ 116091 h 349223"/>
                <a:gd name="connsiteX818" fmla="*/ 200783 w 2663946"/>
                <a:gd name="connsiteY818" fmla="*/ 116091 h 349223"/>
                <a:gd name="connsiteX819" fmla="*/ 201323 w 2663946"/>
                <a:gd name="connsiteY819" fmla="*/ 115551 h 349223"/>
                <a:gd name="connsiteX820" fmla="*/ 201323 w 2663946"/>
                <a:gd name="connsiteY820" fmla="*/ 69586 h 349223"/>
                <a:gd name="connsiteX821" fmla="*/ 200783 w 2663946"/>
                <a:gd name="connsiteY821" fmla="*/ 69045 h 349223"/>
                <a:gd name="connsiteX822" fmla="*/ 194834 w 2663946"/>
                <a:gd name="connsiteY822" fmla="*/ 69045 h 349223"/>
                <a:gd name="connsiteX823" fmla="*/ 187534 w 2663946"/>
                <a:gd name="connsiteY823" fmla="*/ 64449 h 349223"/>
                <a:gd name="connsiteX824" fmla="*/ 187264 w 2663946"/>
                <a:gd name="connsiteY824" fmla="*/ 58771 h 349223"/>
                <a:gd name="connsiteX825" fmla="*/ 194564 w 2663946"/>
                <a:gd name="connsiteY825" fmla="*/ 53634 h 349223"/>
                <a:gd name="connsiteX826" fmla="*/ 206731 w 2663946"/>
                <a:gd name="connsiteY826" fmla="*/ 53363 h 349223"/>
                <a:gd name="connsiteX827" fmla="*/ 2627559 w 2663946"/>
                <a:gd name="connsiteY827" fmla="*/ 53294 h 349223"/>
                <a:gd name="connsiteX828" fmla="*/ 2639849 w 2663946"/>
                <a:gd name="connsiteY828" fmla="*/ 55457 h 349223"/>
                <a:gd name="connsiteX829" fmla="*/ 2647223 w 2663946"/>
                <a:gd name="connsiteY829" fmla="*/ 60054 h 349223"/>
                <a:gd name="connsiteX830" fmla="*/ 2650664 w 2663946"/>
                <a:gd name="connsiteY830" fmla="*/ 63298 h 349223"/>
                <a:gd name="connsiteX831" fmla="*/ 2654106 w 2663946"/>
                <a:gd name="connsiteY831" fmla="*/ 67624 h 349223"/>
                <a:gd name="connsiteX832" fmla="*/ 2656072 w 2663946"/>
                <a:gd name="connsiteY832" fmla="*/ 71139 h 349223"/>
                <a:gd name="connsiteX833" fmla="*/ 2658284 w 2663946"/>
                <a:gd name="connsiteY833" fmla="*/ 76547 h 349223"/>
                <a:gd name="connsiteX834" fmla="*/ 2659267 w 2663946"/>
                <a:gd name="connsiteY834" fmla="*/ 80062 h 349223"/>
                <a:gd name="connsiteX835" fmla="*/ 2660251 w 2663946"/>
                <a:gd name="connsiteY835" fmla="*/ 85199 h 349223"/>
                <a:gd name="connsiteX836" fmla="*/ 2660005 w 2663946"/>
                <a:gd name="connsiteY836" fmla="*/ 99529 h 349223"/>
                <a:gd name="connsiteX837" fmla="*/ 2659022 w 2663946"/>
                <a:gd name="connsiteY837" fmla="*/ 104396 h 349223"/>
                <a:gd name="connsiteX838" fmla="*/ 2657792 w 2663946"/>
                <a:gd name="connsiteY838" fmla="*/ 108181 h 349223"/>
                <a:gd name="connsiteX839" fmla="*/ 2656809 w 2663946"/>
                <a:gd name="connsiteY839" fmla="*/ 110615 h 349223"/>
                <a:gd name="connsiteX840" fmla="*/ 2654597 w 2663946"/>
                <a:gd name="connsiteY840" fmla="*/ 114941 h 349223"/>
                <a:gd name="connsiteX841" fmla="*/ 2652385 w 2663946"/>
                <a:gd name="connsiteY841" fmla="*/ 118185 h 349223"/>
                <a:gd name="connsiteX842" fmla="*/ 2648944 w 2663946"/>
                <a:gd name="connsiteY842" fmla="*/ 121971 h 349223"/>
                <a:gd name="connsiteX843" fmla="*/ 2645748 w 2663946"/>
                <a:gd name="connsiteY843" fmla="*/ 124674 h 349223"/>
                <a:gd name="connsiteX844" fmla="*/ 2640095 w 2663946"/>
                <a:gd name="connsiteY844" fmla="*/ 127919 h 349223"/>
                <a:gd name="connsiteX845" fmla="*/ 2632229 w 2663946"/>
                <a:gd name="connsiteY845" fmla="*/ 130082 h 349223"/>
                <a:gd name="connsiteX846" fmla="*/ 2631000 w 2663946"/>
                <a:gd name="connsiteY846" fmla="*/ 130353 h 349223"/>
                <a:gd name="connsiteX847" fmla="*/ 2626821 w 2663946"/>
                <a:gd name="connsiteY847" fmla="*/ 130353 h 349223"/>
                <a:gd name="connsiteX848" fmla="*/ 2626576 w 2663946"/>
                <a:gd name="connsiteY848" fmla="*/ 130353 h 349223"/>
                <a:gd name="connsiteX849" fmla="*/ 2613548 w 2663946"/>
                <a:gd name="connsiteY849" fmla="*/ 125486 h 349223"/>
                <a:gd name="connsiteX850" fmla="*/ 2608878 w 2663946"/>
                <a:gd name="connsiteY850" fmla="*/ 121430 h 349223"/>
                <a:gd name="connsiteX851" fmla="*/ 2605682 w 2663946"/>
                <a:gd name="connsiteY851" fmla="*/ 117645 h 349223"/>
                <a:gd name="connsiteX852" fmla="*/ 2603470 w 2663946"/>
                <a:gd name="connsiteY852" fmla="*/ 114130 h 349223"/>
                <a:gd name="connsiteX853" fmla="*/ 2601258 w 2663946"/>
                <a:gd name="connsiteY853" fmla="*/ 109804 h 349223"/>
                <a:gd name="connsiteX854" fmla="*/ 2600029 w 2663946"/>
                <a:gd name="connsiteY854" fmla="*/ 106829 h 349223"/>
                <a:gd name="connsiteX855" fmla="*/ 2599046 w 2663946"/>
                <a:gd name="connsiteY855" fmla="*/ 103585 h 349223"/>
                <a:gd name="connsiteX856" fmla="*/ 2597816 w 2663946"/>
                <a:gd name="connsiteY856" fmla="*/ 97907 h 349223"/>
                <a:gd name="connsiteX857" fmla="*/ 2597571 w 2663946"/>
                <a:gd name="connsiteY857" fmla="*/ 94933 h 349223"/>
                <a:gd name="connsiteX858" fmla="*/ 2597816 w 2663946"/>
                <a:gd name="connsiteY858" fmla="*/ 95203 h 349223"/>
                <a:gd name="connsiteX859" fmla="*/ 2597816 w 2663946"/>
                <a:gd name="connsiteY859" fmla="*/ 89525 h 349223"/>
                <a:gd name="connsiteX860" fmla="*/ 2597816 w 2663946"/>
                <a:gd name="connsiteY860" fmla="*/ 89255 h 349223"/>
                <a:gd name="connsiteX861" fmla="*/ 2598308 w 2663946"/>
                <a:gd name="connsiteY861" fmla="*/ 84658 h 349223"/>
                <a:gd name="connsiteX862" fmla="*/ 2599537 w 2663946"/>
                <a:gd name="connsiteY862" fmla="*/ 79251 h 349223"/>
                <a:gd name="connsiteX863" fmla="*/ 2600520 w 2663946"/>
                <a:gd name="connsiteY863" fmla="*/ 76006 h 349223"/>
                <a:gd name="connsiteX864" fmla="*/ 2602732 w 2663946"/>
                <a:gd name="connsiteY864" fmla="*/ 70869 h 349223"/>
                <a:gd name="connsiteX865" fmla="*/ 2604945 w 2663946"/>
                <a:gd name="connsiteY865" fmla="*/ 67084 h 349223"/>
                <a:gd name="connsiteX866" fmla="*/ 2607157 w 2663946"/>
                <a:gd name="connsiteY866" fmla="*/ 64109 h 349223"/>
                <a:gd name="connsiteX867" fmla="*/ 2609369 w 2663946"/>
                <a:gd name="connsiteY867" fmla="*/ 61676 h 349223"/>
                <a:gd name="connsiteX868" fmla="*/ 2614039 w 2663946"/>
                <a:gd name="connsiteY868" fmla="*/ 57891 h 349223"/>
                <a:gd name="connsiteX869" fmla="*/ 2617972 w 2663946"/>
                <a:gd name="connsiteY869" fmla="*/ 55728 h 349223"/>
                <a:gd name="connsiteX870" fmla="*/ 2627559 w 2663946"/>
                <a:gd name="connsiteY870" fmla="*/ 53294 h 349223"/>
                <a:gd name="connsiteX871" fmla="*/ 2445604 w 2663946"/>
                <a:gd name="connsiteY871" fmla="*/ 53294 h 349223"/>
                <a:gd name="connsiteX872" fmla="*/ 2457894 w 2663946"/>
                <a:gd name="connsiteY872" fmla="*/ 55457 h 349223"/>
                <a:gd name="connsiteX873" fmla="*/ 2465268 w 2663946"/>
                <a:gd name="connsiteY873" fmla="*/ 60054 h 349223"/>
                <a:gd name="connsiteX874" fmla="*/ 2468709 w 2663946"/>
                <a:gd name="connsiteY874" fmla="*/ 63298 h 349223"/>
                <a:gd name="connsiteX875" fmla="*/ 2472151 w 2663946"/>
                <a:gd name="connsiteY875" fmla="*/ 67624 h 349223"/>
                <a:gd name="connsiteX876" fmla="*/ 2474117 w 2663946"/>
                <a:gd name="connsiteY876" fmla="*/ 71139 h 349223"/>
                <a:gd name="connsiteX877" fmla="*/ 2476329 w 2663946"/>
                <a:gd name="connsiteY877" fmla="*/ 76547 h 349223"/>
                <a:gd name="connsiteX878" fmla="*/ 2477312 w 2663946"/>
                <a:gd name="connsiteY878" fmla="*/ 80062 h 349223"/>
                <a:gd name="connsiteX879" fmla="*/ 2478296 w 2663946"/>
                <a:gd name="connsiteY879" fmla="*/ 85199 h 349223"/>
                <a:gd name="connsiteX880" fmla="*/ 2478050 w 2663946"/>
                <a:gd name="connsiteY880" fmla="*/ 99529 h 349223"/>
                <a:gd name="connsiteX881" fmla="*/ 2477067 w 2663946"/>
                <a:gd name="connsiteY881" fmla="*/ 104396 h 349223"/>
                <a:gd name="connsiteX882" fmla="*/ 2475837 w 2663946"/>
                <a:gd name="connsiteY882" fmla="*/ 108181 h 349223"/>
                <a:gd name="connsiteX883" fmla="*/ 2474854 w 2663946"/>
                <a:gd name="connsiteY883" fmla="*/ 110615 h 349223"/>
                <a:gd name="connsiteX884" fmla="*/ 2472642 w 2663946"/>
                <a:gd name="connsiteY884" fmla="*/ 114941 h 349223"/>
                <a:gd name="connsiteX885" fmla="*/ 2470430 w 2663946"/>
                <a:gd name="connsiteY885" fmla="*/ 118185 h 349223"/>
                <a:gd name="connsiteX886" fmla="*/ 2466989 w 2663946"/>
                <a:gd name="connsiteY886" fmla="*/ 121971 h 349223"/>
                <a:gd name="connsiteX887" fmla="*/ 2463793 w 2663946"/>
                <a:gd name="connsiteY887" fmla="*/ 124674 h 349223"/>
                <a:gd name="connsiteX888" fmla="*/ 2458140 w 2663946"/>
                <a:gd name="connsiteY888" fmla="*/ 127919 h 349223"/>
                <a:gd name="connsiteX889" fmla="*/ 2450274 w 2663946"/>
                <a:gd name="connsiteY889" fmla="*/ 130082 h 349223"/>
                <a:gd name="connsiteX890" fmla="*/ 2449045 w 2663946"/>
                <a:gd name="connsiteY890" fmla="*/ 130353 h 349223"/>
                <a:gd name="connsiteX891" fmla="*/ 2444866 w 2663946"/>
                <a:gd name="connsiteY891" fmla="*/ 130353 h 349223"/>
                <a:gd name="connsiteX892" fmla="*/ 2444621 w 2663946"/>
                <a:gd name="connsiteY892" fmla="*/ 130353 h 349223"/>
                <a:gd name="connsiteX893" fmla="*/ 2431593 w 2663946"/>
                <a:gd name="connsiteY893" fmla="*/ 125486 h 349223"/>
                <a:gd name="connsiteX894" fmla="*/ 2426923 w 2663946"/>
                <a:gd name="connsiteY894" fmla="*/ 121430 h 349223"/>
                <a:gd name="connsiteX895" fmla="*/ 2423727 w 2663946"/>
                <a:gd name="connsiteY895" fmla="*/ 117645 h 349223"/>
                <a:gd name="connsiteX896" fmla="*/ 2421515 w 2663946"/>
                <a:gd name="connsiteY896" fmla="*/ 114130 h 349223"/>
                <a:gd name="connsiteX897" fmla="*/ 2419303 w 2663946"/>
                <a:gd name="connsiteY897" fmla="*/ 109804 h 349223"/>
                <a:gd name="connsiteX898" fmla="*/ 2418074 w 2663946"/>
                <a:gd name="connsiteY898" fmla="*/ 106829 h 349223"/>
                <a:gd name="connsiteX899" fmla="*/ 2417091 w 2663946"/>
                <a:gd name="connsiteY899" fmla="*/ 103585 h 349223"/>
                <a:gd name="connsiteX900" fmla="*/ 2415861 w 2663946"/>
                <a:gd name="connsiteY900" fmla="*/ 97907 h 349223"/>
                <a:gd name="connsiteX901" fmla="*/ 2415616 w 2663946"/>
                <a:gd name="connsiteY901" fmla="*/ 94933 h 349223"/>
                <a:gd name="connsiteX902" fmla="*/ 2415861 w 2663946"/>
                <a:gd name="connsiteY902" fmla="*/ 95203 h 349223"/>
                <a:gd name="connsiteX903" fmla="*/ 2415861 w 2663946"/>
                <a:gd name="connsiteY903" fmla="*/ 89525 h 349223"/>
                <a:gd name="connsiteX904" fmla="*/ 2415861 w 2663946"/>
                <a:gd name="connsiteY904" fmla="*/ 89255 h 349223"/>
                <a:gd name="connsiteX905" fmla="*/ 2416353 w 2663946"/>
                <a:gd name="connsiteY905" fmla="*/ 84658 h 349223"/>
                <a:gd name="connsiteX906" fmla="*/ 2417582 w 2663946"/>
                <a:gd name="connsiteY906" fmla="*/ 79251 h 349223"/>
                <a:gd name="connsiteX907" fmla="*/ 2418565 w 2663946"/>
                <a:gd name="connsiteY907" fmla="*/ 76006 h 349223"/>
                <a:gd name="connsiteX908" fmla="*/ 2420777 w 2663946"/>
                <a:gd name="connsiteY908" fmla="*/ 70869 h 349223"/>
                <a:gd name="connsiteX909" fmla="*/ 2422990 w 2663946"/>
                <a:gd name="connsiteY909" fmla="*/ 67084 h 349223"/>
                <a:gd name="connsiteX910" fmla="*/ 2425202 w 2663946"/>
                <a:gd name="connsiteY910" fmla="*/ 64109 h 349223"/>
                <a:gd name="connsiteX911" fmla="*/ 2427414 w 2663946"/>
                <a:gd name="connsiteY911" fmla="*/ 61676 h 349223"/>
                <a:gd name="connsiteX912" fmla="*/ 2432084 w 2663946"/>
                <a:gd name="connsiteY912" fmla="*/ 57891 h 349223"/>
                <a:gd name="connsiteX913" fmla="*/ 2436017 w 2663946"/>
                <a:gd name="connsiteY913" fmla="*/ 55728 h 349223"/>
                <a:gd name="connsiteX914" fmla="*/ 2445604 w 2663946"/>
                <a:gd name="connsiteY914" fmla="*/ 53294 h 349223"/>
                <a:gd name="connsiteX915" fmla="*/ 2202558 w 2663946"/>
                <a:gd name="connsiteY915" fmla="*/ 53294 h 349223"/>
                <a:gd name="connsiteX916" fmla="*/ 2214848 w 2663946"/>
                <a:gd name="connsiteY916" fmla="*/ 55457 h 349223"/>
                <a:gd name="connsiteX917" fmla="*/ 2222222 w 2663946"/>
                <a:gd name="connsiteY917" fmla="*/ 60054 h 349223"/>
                <a:gd name="connsiteX918" fmla="*/ 2225663 w 2663946"/>
                <a:gd name="connsiteY918" fmla="*/ 63298 h 349223"/>
                <a:gd name="connsiteX919" fmla="*/ 2229105 w 2663946"/>
                <a:gd name="connsiteY919" fmla="*/ 67624 h 349223"/>
                <a:gd name="connsiteX920" fmla="*/ 2231071 w 2663946"/>
                <a:gd name="connsiteY920" fmla="*/ 71139 h 349223"/>
                <a:gd name="connsiteX921" fmla="*/ 2233283 w 2663946"/>
                <a:gd name="connsiteY921" fmla="*/ 76547 h 349223"/>
                <a:gd name="connsiteX922" fmla="*/ 2234266 w 2663946"/>
                <a:gd name="connsiteY922" fmla="*/ 80062 h 349223"/>
                <a:gd name="connsiteX923" fmla="*/ 2235250 w 2663946"/>
                <a:gd name="connsiteY923" fmla="*/ 85199 h 349223"/>
                <a:gd name="connsiteX924" fmla="*/ 2235004 w 2663946"/>
                <a:gd name="connsiteY924" fmla="*/ 99529 h 349223"/>
                <a:gd name="connsiteX925" fmla="*/ 2234021 w 2663946"/>
                <a:gd name="connsiteY925" fmla="*/ 104396 h 349223"/>
                <a:gd name="connsiteX926" fmla="*/ 2232791 w 2663946"/>
                <a:gd name="connsiteY926" fmla="*/ 108181 h 349223"/>
                <a:gd name="connsiteX927" fmla="*/ 2231808 w 2663946"/>
                <a:gd name="connsiteY927" fmla="*/ 110615 h 349223"/>
                <a:gd name="connsiteX928" fmla="*/ 2229596 w 2663946"/>
                <a:gd name="connsiteY928" fmla="*/ 114941 h 349223"/>
                <a:gd name="connsiteX929" fmla="*/ 2227384 w 2663946"/>
                <a:gd name="connsiteY929" fmla="*/ 118185 h 349223"/>
                <a:gd name="connsiteX930" fmla="*/ 2223943 w 2663946"/>
                <a:gd name="connsiteY930" fmla="*/ 121971 h 349223"/>
                <a:gd name="connsiteX931" fmla="*/ 2220747 w 2663946"/>
                <a:gd name="connsiteY931" fmla="*/ 124674 h 349223"/>
                <a:gd name="connsiteX932" fmla="*/ 2215094 w 2663946"/>
                <a:gd name="connsiteY932" fmla="*/ 127919 h 349223"/>
                <a:gd name="connsiteX933" fmla="*/ 2207228 w 2663946"/>
                <a:gd name="connsiteY933" fmla="*/ 130082 h 349223"/>
                <a:gd name="connsiteX934" fmla="*/ 2205999 w 2663946"/>
                <a:gd name="connsiteY934" fmla="*/ 130353 h 349223"/>
                <a:gd name="connsiteX935" fmla="*/ 2201820 w 2663946"/>
                <a:gd name="connsiteY935" fmla="*/ 130353 h 349223"/>
                <a:gd name="connsiteX936" fmla="*/ 2201575 w 2663946"/>
                <a:gd name="connsiteY936" fmla="*/ 130353 h 349223"/>
                <a:gd name="connsiteX937" fmla="*/ 2188547 w 2663946"/>
                <a:gd name="connsiteY937" fmla="*/ 125486 h 349223"/>
                <a:gd name="connsiteX938" fmla="*/ 2183877 w 2663946"/>
                <a:gd name="connsiteY938" fmla="*/ 121430 h 349223"/>
                <a:gd name="connsiteX939" fmla="*/ 2180681 w 2663946"/>
                <a:gd name="connsiteY939" fmla="*/ 117645 h 349223"/>
                <a:gd name="connsiteX940" fmla="*/ 2178469 w 2663946"/>
                <a:gd name="connsiteY940" fmla="*/ 114130 h 349223"/>
                <a:gd name="connsiteX941" fmla="*/ 2176257 w 2663946"/>
                <a:gd name="connsiteY941" fmla="*/ 109804 h 349223"/>
                <a:gd name="connsiteX942" fmla="*/ 2175028 w 2663946"/>
                <a:gd name="connsiteY942" fmla="*/ 106829 h 349223"/>
                <a:gd name="connsiteX943" fmla="*/ 2174045 w 2663946"/>
                <a:gd name="connsiteY943" fmla="*/ 103585 h 349223"/>
                <a:gd name="connsiteX944" fmla="*/ 2172815 w 2663946"/>
                <a:gd name="connsiteY944" fmla="*/ 97907 h 349223"/>
                <a:gd name="connsiteX945" fmla="*/ 2172570 w 2663946"/>
                <a:gd name="connsiteY945" fmla="*/ 94933 h 349223"/>
                <a:gd name="connsiteX946" fmla="*/ 2172815 w 2663946"/>
                <a:gd name="connsiteY946" fmla="*/ 95203 h 349223"/>
                <a:gd name="connsiteX947" fmla="*/ 2172815 w 2663946"/>
                <a:gd name="connsiteY947" fmla="*/ 89525 h 349223"/>
                <a:gd name="connsiteX948" fmla="*/ 2172815 w 2663946"/>
                <a:gd name="connsiteY948" fmla="*/ 89255 h 349223"/>
                <a:gd name="connsiteX949" fmla="*/ 2173307 w 2663946"/>
                <a:gd name="connsiteY949" fmla="*/ 84658 h 349223"/>
                <a:gd name="connsiteX950" fmla="*/ 2174536 w 2663946"/>
                <a:gd name="connsiteY950" fmla="*/ 79251 h 349223"/>
                <a:gd name="connsiteX951" fmla="*/ 2175519 w 2663946"/>
                <a:gd name="connsiteY951" fmla="*/ 76006 h 349223"/>
                <a:gd name="connsiteX952" fmla="*/ 2177731 w 2663946"/>
                <a:gd name="connsiteY952" fmla="*/ 70869 h 349223"/>
                <a:gd name="connsiteX953" fmla="*/ 2179944 w 2663946"/>
                <a:gd name="connsiteY953" fmla="*/ 67084 h 349223"/>
                <a:gd name="connsiteX954" fmla="*/ 2182156 w 2663946"/>
                <a:gd name="connsiteY954" fmla="*/ 64109 h 349223"/>
                <a:gd name="connsiteX955" fmla="*/ 2184368 w 2663946"/>
                <a:gd name="connsiteY955" fmla="*/ 61676 h 349223"/>
                <a:gd name="connsiteX956" fmla="*/ 2189038 w 2663946"/>
                <a:gd name="connsiteY956" fmla="*/ 57891 h 349223"/>
                <a:gd name="connsiteX957" fmla="*/ 2192971 w 2663946"/>
                <a:gd name="connsiteY957" fmla="*/ 55728 h 349223"/>
                <a:gd name="connsiteX958" fmla="*/ 2202558 w 2663946"/>
                <a:gd name="connsiteY958" fmla="*/ 53294 h 349223"/>
                <a:gd name="connsiteX959" fmla="*/ 2020607 w 2663946"/>
                <a:gd name="connsiteY959" fmla="*/ 53294 h 349223"/>
                <a:gd name="connsiteX960" fmla="*/ 2032897 w 2663946"/>
                <a:gd name="connsiteY960" fmla="*/ 55457 h 349223"/>
                <a:gd name="connsiteX961" fmla="*/ 2040271 w 2663946"/>
                <a:gd name="connsiteY961" fmla="*/ 60054 h 349223"/>
                <a:gd name="connsiteX962" fmla="*/ 2043712 w 2663946"/>
                <a:gd name="connsiteY962" fmla="*/ 63298 h 349223"/>
                <a:gd name="connsiteX963" fmla="*/ 2047154 w 2663946"/>
                <a:gd name="connsiteY963" fmla="*/ 67624 h 349223"/>
                <a:gd name="connsiteX964" fmla="*/ 2049120 w 2663946"/>
                <a:gd name="connsiteY964" fmla="*/ 71139 h 349223"/>
                <a:gd name="connsiteX965" fmla="*/ 2051332 w 2663946"/>
                <a:gd name="connsiteY965" fmla="*/ 76547 h 349223"/>
                <a:gd name="connsiteX966" fmla="*/ 2052315 w 2663946"/>
                <a:gd name="connsiteY966" fmla="*/ 80062 h 349223"/>
                <a:gd name="connsiteX967" fmla="*/ 2053299 w 2663946"/>
                <a:gd name="connsiteY967" fmla="*/ 85199 h 349223"/>
                <a:gd name="connsiteX968" fmla="*/ 2053053 w 2663946"/>
                <a:gd name="connsiteY968" fmla="*/ 99529 h 349223"/>
                <a:gd name="connsiteX969" fmla="*/ 2052070 w 2663946"/>
                <a:gd name="connsiteY969" fmla="*/ 104396 h 349223"/>
                <a:gd name="connsiteX970" fmla="*/ 2050840 w 2663946"/>
                <a:gd name="connsiteY970" fmla="*/ 108181 h 349223"/>
                <a:gd name="connsiteX971" fmla="*/ 2049857 w 2663946"/>
                <a:gd name="connsiteY971" fmla="*/ 110615 h 349223"/>
                <a:gd name="connsiteX972" fmla="*/ 2047645 w 2663946"/>
                <a:gd name="connsiteY972" fmla="*/ 114941 h 349223"/>
                <a:gd name="connsiteX973" fmla="*/ 2045433 w 2663946"/>
                <a:gd name="connsiteY973" fmla="*/ 118185 h 349223"/>
                <a:gd name="connsiteX974" fmla="*/ 2041992 w 2663946"/>
                <a:gd name="connsiteY974" fmla="*/ 121971 h 349223"/>
                <a:gd name="connsiteX975" fmla="*/ 2038796 w 2663946"/>
                <a:gd name="connsiteY975" fmla="*/ 124674 h 349223"/>
                <a:gd name="connsiteX976" fmla="*/ 2033143 w 2663946"/>
                <a:gd name="connsiteY976" fmla="*/ 127919 h 349223"/>
                <a:gd name="connsiteX977" fmla="*/ 2025277 w 2663946"/>
                <a:gd name="connsiteY977" fmla="*/ 130082 h 349223"/>
                <a:gd name="connsiteX978" fmla="*/ 2024048 w 2663946"/>
                <a:gd name="connsiteY978" fmla="*/ 130353 h 349223"/>
                <a:gd name="connsiteX979" fmla="*/ 2019869 w 2663946"/>
                <a:gd name="connsiteY979" fmla="*/ 130353 h 349223"/>
                <a:gd name="connsiteX980" fmla="*/ 2019624 w 2663946"/>
                <a:gd name="connsiteY980" fmla="*/ 130353 h 349223"/>
                <a:gd name="connsiteX981" fmla="*/ 2006596 w 2663946"/>
                <a:gd name="connsiteY981" fmla="*/ 125486 h 349223"/>
                <a:gd name="connsiteX982" fmla="*/ 2001926 w 2663946"/>
                <a:gd name="connsiteY982" fmla="*/ 121430 h 349223"/>
                <a:gd name="connsiteX983" fmla="*/ 1998730 w 2663946"/>
                <a:gd name="connsiteY983" fmla="*/ 117645 h 349223"/>
                <a:gd name="connsiteX984" fmla="*/ 1996518 w 2663946"/>
                <a:gd name="connsiteY984" fmla="*/ 114130 h 349223"/>
                <a:gd name="connsiteX985" fmla="*/ 1994306 w 2663946"/>
                <a:gd name="connsiteY985" fmla="*/ 109804 h 349223"/>
                <a:gd name="connsiteX986" fmla="*/ 1993077 w 2663946"/>
                <a:gd name="connsiteY986" fmla="*/ 106829 h 349223"/>
                <a:gd name="connsiteX987" fmla="*/ 1992094 w 2663946"/>
                <a:gd name="connsiteY987" fmla="*/ 103585 h 349223"/>
                <a:gd name="connsiteX988" fmla="*/ 1990864 w 2663946"/>
                <a:gd name="connsiteY988" fmla="*/ 97907 h 349223"/>
                <a:gd name="connsiteX989" fmla="*/ 1990619 w 2663946"/>
                <a:gd name="connsiteY989" fmla="*/ 94933 h 349223"/>
                <a:gd name="connsiteX990" fmla="*/ 1990864 w 2663946"/>
                <a:gd name="connsiteY990" fmla="*/ 95203 h 349223"/>
                <a:gd name="connsiteX991" fmla="*/ 1990864 w 2663946"/>
                <a:gd name="connsiteY991" fmla="*/ 89525 h 349223"/>
                <a:gd name="connsiteX992" fmla="*/ 1990864 w 2663946"/>
                <a:gd name="connsiteY992" fmla="*/ 89255 h 349223"/>
                <a:gd name="connsiteX993" fmla="*/ 1991356 w 2663946"/>
                <a:gd name="connsiteY993" fmla="*/ 84658 h 349223"/>
                <a:gd name="connsiteX994" fmla="*/ 1992585 w 2663946"/>
                <a:gd name="connsiteY994" fmla="*/ 79251 h 349223"/>
                <a:gd name="connsiteX995" fmla="*/ 1993568 w 2663946"/>
                <a:gd name="connsiteY995" fmla="*/ 76006 h 349223"/>
                <a:gd name="connsiteX996" fmla="*/ 1995780 w 2663946"/>
                <a:gd name="connsiteY996" fmla="*/ 70869 h 349223"/>
                <a:gd name="connsiteX997" fmla="*/ 1997993 w 2663946"/>
                <a:gd name="connsiteY997" fmla="*/ 67084 h 349223"/>
                <a:gd name="connsiteX998" fmla="*/ 2000205 w 2663946"/>
                <a:gd name="connsiteY998" fmla="*/ 64109 h 349223"/>
                <a:gd name="connsiteX999" fmla="*/ 2002417 w 2663946"/>
                <a:gd name="connsiteY999" fmla="*/ 61676 h 349223"/>
                <a:gd name="connsiteX1000" fmla="*/ 2007087 w 2663946"/>
                <a:gd name="connsiteY1000" fmla="*/ 57891 h 349223"/>
                <a:gd name="connsiteX1001" fmla="*/ 2011020 w 2663946"/>
                <a:gd name="connsiteY1001" fmla="*/ 55728 h 349223"/>
                <a:gd name="connsiteX1002" fmla="*/ 2020607 w 2663946"/>
                <a:gd name="connsiteY1002" fmla="*/ 53294 h 349223"/>
                <a:gd name="connsiteX1003" fmla="*/ 1595683 w 2663946"/>
                <a:gd name="connsiteY1003" fmla="*/ 53294 h 349223"/>
                <a:gd name="connsiteX1004" fmla="*/ 1607973 w 2663946"/>
                <a:gd name="connsiteY1004" fmla="*/ 55457 h 349223"/>
                <a:gd name="connsiteX1005" fmla="*/ 1615347 w 2663946"/>
                <a:gd name="connsiteY1005" fmla="*/ 60054 h 349223"/>
                <a:gd name="connsiteX1006" fmla="*/ 1618788 w 2663946"/>
                <a:gd name="connsiteY1006" fmla="*/ 63298 h 349223"/>
                <a:gd name="connsiteX1007" fmla="*/ 1622230 w 2663946"/>
                <a:gd name="connsiteY1007" fmla="*/ 67624 h 349223"/>
                <a:gd name="connsiteX1008" fmla="*/ 1624196 w 2663946"/>
                <a:gd name="connsiteY1008" fmla="*/ 71139 h 349223"/>
                <a:gd name="connsiteX1009" fmla="*/ 1626408 w 2663946"/>
                <a:gd name="connsiteY1009" fmla="*/ 76547 h 349223"/>
                <a:gd name="connsiteX1010" fmla="*/ 1627391 w 2663946"/>
                <a:gd name="connsiteY1010" fmla="*/ 80062 h 349223"/>
                <a:gd name="connsiteX1011" fmla="*/ 1628374 w 2663946"/>
                <a:gd name="connsiteY1011" fmla="*/ 85199 h 349223"/>
                <a:gd name="connsiteX1012" fmla="*/ 1628129 w 2663946"/>
                <a:gd name="connsiteY1012" fmla="*/ 99529 h 349223"/>
                <a:gd name="connsiteX1013" fmla="*/ 1627146 w 2663946"/>
                <a:gd name="connsiteY1013" fmla="*/ 104396 h 349223"/>
                <a:gd name="connsiteX1014" fmla="*/ 1625916 w 2663946"/>
                <a:gd name="connsiteY1014" fmla="*/ 108181 h 349223"/>
                <a:gd name="connsiteX1015" fmla="*/ 1624933 w 2663946"/>
                <a:gd name="connsiteY1015" fmla="*/ 110615 h 349223"/>
                <a:gd name="connsiteX1016" fmla="*/ 1622721 w 2663946"/>
                <a:gd name="connsiteY1016" fmla="*/ 114941 h 349223"/>
                <a:gd name="connsiteX1017" fmla="*/ 1620509 w 2663946"/>
                <a:gd name="connsiteY1017" fmla="*/ 118185 h 349223"/>
                <a:gd name="connsiteX1018" fmla="*/ 1617068 w 2663946"/>
                <a:gd name="connsiteY1018" fmla="*/ 121971 h 349223"/>
                <a:gd name="connsiteX1019" fmla="*/ 1613872 w 2663946"/>
                <a:gd name="connsiteY1019" fmla="*/ 124674 h 349223"/>
                <a:gd name="connsiteX1020" fmla="*/ 1608219 w 2663946"/>
                <a:gd name="connsiteY1020" fmla="*/ 127919 h 349223"/>
                <a:gd name="connsiteX1021" fmla="*/ 1600353 w 2663946"/>
                <a:gd name="connsiteY1021" fmla="*/ 130082 h 349223"/>
                <a:gd name="connsiteX1022" fmla="*/ 1599124 w 2663946"/>
                <a:gd name="connsiteY1022" fmla="*/ 130353 h 349223"/>
                <a:gd name="connsiteX1023" fmla="*/ 1594945 w 2663946"/>
                <a:gd name="connsiteY1023" fmla="*/ 130353 h 349223"/>
                <a:gd name="connsiteX1024" fmla="*/ 1594699 w 2663946"/>
                <a:gd name="connsiteY1024" fmla="*/ 130353 h 349223"/>
                <a:gd name="connsiteX1025" fmla="*/ 1581672 w 2663946"/>
                <a:gd name="connsiteY1025" fmla="*/ 125486 h 349223"/>
                <a:gd name="connsiteX1026" fmla="*/ 1577002 w 2663946"/>
                <a:gd name="connsiteY1026" fmla="*/ 121430 h 349223"/>
                <a:gd name="connsiteX1027" fmla="*/ 1573806 w 2663946"/>
                <a:gd name="connsiteY1027" fmla="*/ 117645 h 349223"/>
                <a:gd name="connsiteX1028" fmla="*/ 1571594 w 2663946"/>
                <a:gd name="connsiteY1028" fmla="*/ 114130 h 349223"/>
                <a:gd name="connsiteX1029" fmla="*/ 1569382 w 2663946"/>
                <a:gd name="connsiteY1029" fmla="*/ 109804 h 349223"/>
                <a:gd name="connsiteX1030" fmla="*/ 1568153 w 2663946"/>
                <a:gd name="connsiteY1030" fmla="*/ 106829 h 349223"/>
                <a:gd name="connsiteX1031" fmla="*/ 1567169 w 2663946"/>
                <a:gd name="connsiteY1031" fmla="*/ 103585 h 349223"/>
                <a:gd name="connsiteX1032" fmla="*/ 1565940 w 2663946"/>
                <a:gd name="connsiteY1032" fmla="*/ 97907 h 349223"/>
                <a:gd name="connsiteX1033" fmla="*/ 1565695 w 2663946"/>
                <a:gd name="connsiteY1033" fmla="*/ 94933 h 349223"/>
                <a:gd name="connsiteX1034" fmla="*/ 1565940 w 2663946"/>
                <a:gd name="connsiteY1034" fmla="*/ 95203 h 349223"/>
                <a:gd name="connsiteX1035" fmla="*/ 1565940 w 2663946"/>
                <a:gd name="connsiteY1035" fmla="*/ 89525 h 349223"/>
                <a:gd name="connsiteX1036" fmla="*/ 1565940 w 2663946"/>
                <a:gd name="connsiteY1036" fmla="*/ 89255 h 349223"/>
                <a:gd name="connsiteX1037" fmla="*/ 1566432 w 2663946"/>
                <a:gd name="connsiteY1037" fmla="*/ 84658 h 349223"/>
                <a:gd name="connsiteX1038" fmla="*/ 1567661 w 2663946"/>
                <a:gd name="connsiteY1038" fmla="*/ 79251 h 349223"/>
                <a:gd name="connsiteX1039" fmla="*/ 1568644 w 2663946"/>
                <a:gd name="connsiteY1039" fmla="*/ 76006 h 349223"/>
                <a:gd name="connsiteX1040" fmla="*/ 1570856 w 2663946"/>
                <a:gd name="connsiteY1040" fmla="*/ 70869 h 349223"/>
                <a:gd name="connsiteX1041" fmla="*/ 1573069 w 2663946"/>
                <a:gd name="connsiteY1041" fmla="*/ 67084 h 349223"/>
                <a:gd name="connsiteX1042" fmla="*/ 1575281 w 2663946"/>
                <a:gd name="connsiteY1042" fmla="*/ 64109 h 349223"/>
                <a:gd name="connsiteX1043" fmla="*/ 1577493 w 2663946"/>
                <a:gd name="connsiteY1043" fmla="*/ 61676 h 349223"/>
                <a:gd name="connsiteX1044" fmla="*/ 1582163 w 2663946"/>
                <a:gd name="connsiteY1044" fmla="*/ 57891 h 349223"/>
                <a:gd name="connsiteX1045" fmla="*/ 1586096 w 2663946"/>
                <a:gd name="connsiteY1045" fmla="*/ 55728 h 349223"/>
                <a:gd name="connsiteX1046" fmla="*/ 1595683 w 2663946"/>
                <a:gd name="connsiteY1046" fmla="*/ 53294 h 349223"/>
                <a:gd name="connsiteX1047" fmla="*/ 1246776 w 2663946"/>
                <a:gd name="connsiteY1047" fmla="*/ 53294 h 349223"/>
                <a:gd name="connsiteX1048" fmla="*/ 1259066 w 2663946"/>
                <a:gd name="connsiteY1048" fmla="*/ 55457 h 349223"/>
                <a:gd name="connsiteX1049" fmla="*/ 1266440 w 2663946"/>
                <a:gd name="connsiteY1049" fmla="*/ 60054 h 349223"/>
                <a:gd name="connsiteX1050" fmla="*/ 1269881 w 2663946"/>
                <a:gd name="connsiteY1050" fmla="*/ 63298 h 349223"/>
                <a:gd name="connsiteX1051" fmla="*/ 1273323 w 2663946"/>
                <a:gd name="connsiteY1051" fmla="*/ 67624 h 349223"/>
                <a:gd name="connsiteX1052" fmla="*/ 1275289 w 2663946"/>
                <a:gd name="connsiteY1052" fmla="*/ 71139 h 349223"/>
                <a:gd name="connsiteX1053" fmla="*/ 1277501 w 2663946"/>
                <a:gd name="connsiteY1053" fmla="*/ 76547 h 349223"/>
                <a:gd name="connsiteX1054" fmla="*/ 1278484 w 2663946"/>
                <a:gd name="connsiteY1054" fmla="*/ 80062 h 349223"/>
                <a:gd name="connsiteX1055" fmla="*/ 1279467 w 2663946"/>
                <a:gd name="connsiteY1055" fmla="*/ 85199 h 349223"/>
                <a:gd name="connsiteX1056" fmla="*/ 1279222 w 2663946"/>
                <a:gd name="connsiteY1056" fmla="*/ 99529 h 349223"/>
                <a:gd name="connsiteX1057" fmla="*/ 1278239 w 2663946"/>
                <a:gd name="connsiteY1057" fmla="*/ 104396 h 349223"/>
                <a:gd name="connsiteX1058" fmla="*/ 1277009 w 2663946"/>
                <a:gd name="connsiteY1058" fmla="*/ 108181 h 349223"/>
                <a:gd name="connsiteX1059" fmla="*/ 1276026 w 2663946"/>
                <a:gd name="connsiteY1059" fmla="*/ 110615 h 349223"/>
                <a:gd name="connsiteX1060" fmla="*/ 1273814 w 2663946"/>
                <a:gd name="connsiteY1060" fmla="*/ 114941 h 349223"/>
                <a:gd name="connsiteX1061" fmla="*/ 1271602 w 2663946"/>
                <a:gd name="connsiteY1061" fmla="*/ 118185 h 349223"/>
                <a:gd name="connsiteX1062" fmla="*/ 1268161 w 2663946"/>
                <a:gd name="connsiteY1062" fmla="*/ 121971 h 349223"/>
                <a:gd name="connsiteX1063" fmla="*/ 1264965 w 2663946"/>
                <a:gd name="connsiteY1063" fmla="*/ 124674 h 349223"/>
                <a:gd name="connsiteX1064" fmla="*/ 1259312 w 2663946"/>
                <a:gd name="connsiteY1064" fmla="*/ 127919 h 349223"/>
                <a:gd name="connsiteX1065" fmla="*/ 1251446 w 2663946"/>
                <a:gd name="connsiteY1065" fmla="*/ 130082 h 349223"/>
                <a:gd name="connsiteX1066" fmla="*/ 1250217 w 2663946"/>
                <a:gd name="connsiteY1066" fmla="*/ 130353 h 349223"/>
                <a:gd name="connsiteX1067" fmla="*/ 1246038 w 2663946"/>
                <a:gd name="connsiteY1067" fmla="*/ 130353 h 349223"/>
                <a:gd name="connsiteX1068" fmla="*/ 1245792 w 2663946"/>
                <a:gd name="connsiteY1068" fmla="*/ 130353 h 349223"/>
                <a:gd name="connsiteX1069" fmla="*/ 1232765 w 2663946"/>
                <a:gd name="connsiteY1069" fmla="*/ 125486 h 349223"/>
                <a:gd name="connsiteX1070" fmla="*/ 1228095 w 2663946"/>
                <a:gd name="connsiteY1070" fmla="*/ 121430 h 349223"/>
                <a:gd name="connsiteX1071" fmla="*/ 1224899 w 2663946"/>
                <a:gd name="connsiteY1071" fmla="*/ 117645 h 349223"/>
                <a:gd name="connsiteX1072" fmla="*/ 1222687 w 2663946"/>
                <a:gd name="connsiteY1072" fmla="*/ 114130 h 349223"/>
                <a:gd name="connsiteX1073" fmla="*/ 1220475 w 2663946"/>
                <a:gd name="connsiteY1073" fmla="*/ 109804 h 349223"/>
                <a:gd name="connsiteX1074" fmla="*/ 1219246 w 2663946"/>
                <a:gd name="connsiteY1074" fmla="*/ 106829 h 349223"/>
                <a:gd name="connsiteX1075" fmla="*/ 1218262 w 2663946"/>
                <a:gd name="connsiteY1075" fmla="*/ 103585 h 349223"/>
                <a:gd name="connsiteX1076" fmla="*/ 1217033 w 2663946"/>
                <a:gd name="connsiteY1076" fmla="*/ 97907 h 349223"/>
                <a:gd name="connsiteX1077" fmla="*/ 1216788 w 2663946"/>
                <a:gd name="connsiteY1077" fmla="*/ 94933 h 349223"/>
                <a:gd name="connsiteX1078" fmla="*/ 1217033 w 2663946"/>
                <a:gd name="connsiteY1078" fmla="*/ 95203 h 349223"/>
                <a:gd name="connsiteX1079" fmla="*/ 1217033 w 2663946"/>
                <a:gd name="connsiteY1079" fmla="*/ 89525 h 349223"/>
                <a:gd name="connsiteX1080" fmla="*/ 1217033 w 2663946"/>
                <a:gd name="connsiteY1080" fmla="*/ 89255 h 349223"/>
                <a:gd name="connsiteX1081" fmla="*/ 1217525 w 2663946"/>
                <a:gd name="connsiteY1081" fmla="*/ 84658 h 349223"/>
                <a:gd name="connsiteX1082" fmla="*/ 1218754 w 2663946"/>
                <a:gd name="connsiteY1082" fmla="*/ 79251 h 349223"/>
                <a:gd name="connsiteX1083" fmla="*/ 1219737 w 2663946"/>
                <a:gd name="connsiteY1083" fmla="*/ 76006 h 349223"/>
                <a:gd name="connsiteX1084" fmla="*/ 1221949 w 2663946"/>
                <a:gd name="connsiteY1084" fmla="*/ 70869 h 349223"/>
                <a:gd name="connsiteX1085" fmla="*/ 1224162 w 2663946"/>
                <a:gd name="connsiteY1085" fmla="*/ 67084 h 349223"/>
                <a:gd name="connsiteX1086" fmla="*/ 1226374 w 2663946"/>
                <a:gd name="connsiteY1086" fmla="*/ 64109 h 349223"/>
                <a:gd name="connsiteX1087" fmla="*/ 1228586 w 2663946"/>
                <a:gd name="connsiteY1087" fmla="*/ 61676 h 349223"/>
                <a:gd name="connsiteX1088" fmla="*/ 1233256 w 2663946"/>
                <a:gd name="connsiteY1088" fmla="*/ 57891 h 349223"/>
                <a:gd name="connsiteX1089" fmla="*/ 1237189 w 2663946"/>
                <a:gd name="connsiteY1089" fmla="*/ 55728 h 349223"/>
                <a:gd name="connsiteX1090" fmla="*/ 1246776 w 2663946"/>
                <a:gd name="connsiteY1090" fmla="*/ 53294 h 349223"/>
                <a:gd name="connsiteX1091" fmla="*/ 1064825 w 2663946"/>
                <a:gd name="connsiteY1091" fmla="*/ 53294 h 349223"/>
                <a:gd name="connsiteX1092" fmla="*/ 1077115 w 2663946"/>
                <a:gd name="connsiteY1092" fmla="*/ 55457 h 349223"/>
                <a:gd name="connsiteX1093" fmla="*/ 1084489 w 2663946"/>
                <a:gd name="connsiteY1093" fmla="*/ 60054 h 349223"/>
                <a:gd name="connsiteX1094" fmla="*/ 1087930 w 2663946"/>
                <a:gd name="connsiteY1094" fmla="*/ 63298 h 349223"/>
                <a:gd name="connsiteX1095" fmla="*/ 1091372 w 2663946"/>
                <a:gd name="connsiteY1095" fmla="*/ 67624 h 349223"/>
                <a:gd name="connsiteX1096" fmla="*/ 1093338 w 2663946"/>
                <a:gd name="connsiteY1096" fmla="*/ 71139 h 349223"/>
                <a:gd name="connsiteX1097" fmla="*/ 1095550 w 2663946"/>
                <a:gd name="connsiteY1097" fmla="*/ 76547 h 349223"/>
                <a:gd name="connsiteX1098" fmla="*/ 1096533 w 2663946"/>
                <a:gd name="connsiteY1098" fmla="*/ 80062 h 349223"/>
                <a:gd name="connsiteX1099" fmla="*/ 1097516 w 2663946"/>
                <a:gd name="connsiteY1099" fmla="*/ 85199 h 349223"/>
                <a:gd name="connsiteX1100" fmla="*/ 1097271 w 2663946"/>
                <a:gd name="connsiteY1100" fmla="*/ 99529 h 349223"/>
                <a:gd name="connsiteX1101" fmla="*/ 1096288 w 2663946"/>
                <a:gd name="connsiteY1101" fmla="*/ 104396 h 349223"/>
                <a:gd name="connsiteX1102" fmla="*/ 1095058 w 2663946"/>
                <a:gd name="connsiteY1102" fmla="*/ 108181 h 349223"/>
                <a:gd name="connsiteX1103" fmla="*/ 1094075 w 2663946"/>
                <a:gd name="connsiteY1103" fmla="*/ 110615 h 349223"/>
                <a:gd name="connsiteX1104" fmla="*/ 1091863 w 2663946"/>
                <a:gd name="connsiteY1104" fmla="*/ 114941 h 349223"/>
                <a:gd name="connsiteX1105" fmla="*/ 1089651 w 2663946"/>
                <a:gd name="connsiteY1105" fmla="*/ 118185 h 349223"/>
                <a:gd name="connsiteX1106" fmla="*/ 1086210 w 2663946"/>
                <a:gd name="connsiteY1106" fmla="*/ 121971 h 349223"/>
                <a:gd name="connsiteX1107" fmla="*/ 1083014 w 2663946"/>
                <a:gd name="connsiteY1107" fmla="*/ 124674 h 349223"/>
                <a:gd name="connsiteX1108" fmla="*/ 1077361 w 2663946"/>
                <a:gd name="connsiteY1108" fmla="*/ 127919 h 349223"/>
                <a:gd name="connsiteX1109" fmla="*/ 1069495 w 2663946"/>
                <a:gd name="connsiteY1109" fmla="*/ 130082 h 349223"/>
                <a:gd name="connsiteX1110" fmla="*/ 1068266 w 2663946"/>
                <a:gd name="connsiteY1110" fmla="*/ 130353 h 349223"/>
                <a:gd name="connsiteX1111" fmla="*/ 1064087 w 2663946"/>
                <a:gd name="connsiteY1111" fmla="*/ 130353 h 349223"/>
                <a:gd name="connsiteX1112" fmla="*/ 1063841 w 2663946"/>
                <a:gd name="connsiteY1112" fmla="*/ 130353 h 349223"/>
                <a:gd name="connsiteX1113" fmla="*/ 1050814 w 2663946"/>
                <a:gd name="connsiteY1113" fmla="*/ 125486 h 349223"/>
                <a:gd name="connsiteX1114" fmla="*/ 1046144 w 2663946"/>
                <a:gd name="connsiteY1114" fmla="*/ 121430 h 349223"/>
                <a:gd name="connsiteX1115" fmla="*/ 1042948 w 2663946"/>
                <a:gd name="connsiteY1115" fmla="*/ 117645 h 349223"/>
                <a:gd name="connsiteX1116" fmla="*/ 1040736 w 2663946"/>
                <a:gd name="connsiteY1116" fmla="*/ 114130 h 349223"/>
                <a:gd name="connsiteX1117" fmla="*/ 1038524 w 2663946"/>
                <a:gd name="connsiteY1117" fmla="*/ 109804 h 349223"/>
                <a:gd name="connsiteX1118" fmla="*/ 1037295 w 2663946"/>
                <a:gd name="connsiteY1118" fmla="*/ 106829 h 349223"/>
                <a:gd name="connsiteX1119" fmla="*/ 1036311 w 2663946"/>
                <a:gd name="connsiteY1119" fmla="*/ 103585 h 349223"/>
                <a:gd name="connsiteX1120" fmla="*/ 1035082 w 2663946"/>
                <a:gd name="connsiteY1120" fmla="*/ 97907 h 349223"/>
                <a:gd name="connsiteX1121" fmla="*/ 1034837 w 2663946"/>
                <a:gd name="connsiteY1121" fmla="*/ 94933 h 349223"/>
                <a:gd name="connsiteX1122" fmla="*/ 1035082 w 2663946"/>
                <a:gd name="connsiteY1122" fmla="*/ 95203 h 349223"/>
                <a:gd name="connsiteX1123" fmla="*/ 1035082 w 2663946"/>
                <a:gd name="connsiteY1123" fmla="*/ 89525 h 349223"/>
                <a:gd name="connsiteX1124" fmla="*/ 1035082 w 2663946"/>
                <a:gd name="connsiteY1124" fmla="*/ 89255 h 349223"/>
                <a:gd name="connsiteX1125" fmla="*/ 1035574 w 2663946"/>
                <a:gd name="connsiteY1125" fmla="*/ 84658 h 349223"/>
                <a:gd name="connsiteX1126" fmla="*/ 1036803 w 2663946"/>
                <a:gd name="connsiteY1126" fmla="*/ 79251 h 349223"/>
                <a:gd name="connsiteX1127" fmla="*/ 1037786 w 2663946"/>
                <a:gd name="connsiteY1127" fmla="*/ 76006 h 349223"/>
                <a:gd name="connsiteX1128" fmla="*/ 1039998 w 2663946"/>
                <a:gd name="connsiteY1128" fmla="*/ 70869 h 349223"/>
                <a:gd name="connsiteX1129" fmla="*/ 1042211 w 2663946"/>
                <a:gd name="connsiteY1129" fmla="*/ 67084 h 349223"/>
                <a:gd name="connsiteX1130" fmla="*/ 1044423 w 2663946"/>
                <a:gd name="connsiteY1130" fmla="*/ 64109 h 349223"/>
                <a:gd name="connsiteX1131" fmla="*/ 1046635 w 2663946"/>
                <a:gd name="connsiteY1131" fmla="*/ 61676 h 349223"/>
                <a:gd name="connsiteX1132" fmla="*/ 1051305 w 2663946"/>
                <a:gd name="connsiteY1132" fmla="*/ 57891 h 349223"/>
                <a:gd name="connsiteX1133" fmla="*/ 1055238 w 2663946"/>
                <a:gd name="connsiteY1133" fmla="*/ 55728 h 349223"/>
                <a:gd name="connsiteX1134" fmla="*/ 1064825 w 2663946"/>
                <a:gd name="connsiteY1134" fmla="*/ 53294 h 349223"/>
                <a:gd name="connsiteX1135" fmla="*/ 897796 w 2663946"/>
                <a:gd name="connsiteY1135" fmla="*/ 53294 h 349223"/>
                <a:gd name="connsiteX1136" fmla="*/ 910086 w 2663946"/>
                <a:gd name="connsiteY1136" fmla="*/ 55457 h 349223"/>
                <a:gd name="connsiteX1137" fmla="*/ 917460 w 2663946"/>
                <a:gd name="connsiteY1137" fmla="*/ 60054 h 349223"/>
                <a:gd name="connsiteX1138" fmla="*/ 920901 w 2663946"/>
                <a:gd name="connsiteY1138" fmla="*/ 63298 h 349223"/>
                <a:gd name="connsiteX1139" fmla="*/ 924343 w 2663946"/>
                <a:gd name="connsiteY1139" fmla="*/ 67624 h 349223"/>
                <a:gd name="connsiteX1140" fmla="*/ 926309 w 2663946"/>
                <a:gd name="connsiteY1140" fmla="*/ 71139 h 349223"/>
                <a:gd name="connsiteX1141" fmla="*/ 928521 w 2663946"/>
                <a:gd name="connsiteY1141" fmla="*/ 76547 h 349223"/>
                <a:gd name="connsiteX1142" fmla="*/ 929504 w 2663946"/>
                <a:gd name="connsiteY1142" fmla="*/ 80062 h 349223"/>
                <a:gd name="connsiteX1143" fmla="*/ 930487 w 2663946"/>
                <a:gd name="connsiteY1143" fmla="*/ 85199 h 349223"/>
                <a:gd name="connsiteX1144" fmla="*/ 930242 w 2663946"/>
                <a:gd name="connsiteY1144" fmla="*/ 99529 h 349223"/>
                <a:gd name="connsiteX1145" fmla="*/ 929259 w 2663946"/>
                <a:gd name="connsiteY1145" fmla="*/ 104396 h 349223"/>
                <a:gd name="connsiteX1146" fmla="*/ 928029 w 2663946"/>
                <a:gd name="connsiteY1146" fmla="*/ 108181 h 349223"/>
                <a:gd name="connsiteX1147" fmla="*/ 927046 w 2663946"/>
                <a:gd name="connsiteY1147" fmla="*/ 110615 h 349223"/>
                <a:gd name="connsiteX1148" fmla="*/ 924834 w 2663946"/>
                <a:gd name="connsiteY1148" fmla="*/ 114941 h 349223"/>
                <a:gd name="connsiteX1149" fmla="*/ 922622 w 2663946"/>
                <a:gd name="connsiteY1149" fmla="*/ 118185 h 349223"/>
                <a:gd name="connsiteX1150" fmla="*/ 919181 w 2663946"/>
                <a:gd name="connsiteY1150" fmla="*/ 121971 h 349223"/>
                <a:gd name="connsiteX1151" fmla="*/ 915985 w 2663946"/>
                <a:gd name="connsiteY1151" fmla="*/ 124674 h 349223"/>
                <a:gd name="connsiteX1152" fmla="*/ 910332 w 2663946"/>
                <a:gd name="connsiteY1152" fmla="*/ 127919 h 349223"/>
                <a:gd name="connsiteX1153" fmla="*/ 902466 w 2663946"/>
                <a:gd name="connsiteY1153" fmla="*/ 130082 h 349223"/>
                <a:gd name="connsiteX1154" fmla="*/ 901237 w 2663946"/>
                <a:gd name="connsiteY1154" fmla="*/ 130353 h 349223"/>
                <a:gd name="connsiteX1155" fmla="*/ 897058 w 2663946"/>
                <a:gd name="connsiteY1155" fmla="*/ 130353 h 349223"/>
                <a:gd name="connsiteX1156" fmla="*/ 896812 w 2663946"/>
                <a:gd name="connsiteY1156" fmla="*/ 130353 h 349223"/>
                <a:gd name="connsiteX1157" fmla="*/ 883785 w 2663946"/>
                <a:gd name="connsiteY1157" fmla="*/ 125486 h 349223"/>
                <a:gd name="connsiteX1158" fmla="*/ 879115 w 2663946"/>
                <a:gd name="connsiteY1158" fmla="*/ 121430 h 349223"/>
                <a:gd name="connsiteX1159" fmla="*/ 875919 w 2663946"/>
                <a:gd name="connsiteY1159" fmla="*/ 117645 h 349223"/>
                <a:gd name="connsiteX1160" fmla="*/ 873707 w 2663946"/>
                <a:gd name="connsiteY1160" fmla="*/ 114130 h 349223"/>
                <a:gd name="connsiteX1161" fmla="*/ 871495 w 2663946"/>
                <a:gd name="connsiteY1161" fmla="*/ 109804 h 349223"/>
                <a:gd name="connsiteX1162" fmla="*/ 870266 w 2663946"/>
                <a:gd name="connsiteY1162" fmla="*/ 106829 h 349223"/>
                <a:gd name="connsiteX1163" fmla="*/ 869282 w 2663946"/>
                <a:gd name="connsiteY1163" fmla="*/ 103585 h 349223"/>
                <a:gd name="connsiteX1164" fmla="*/ 868053 w 2663946"/>
                <a:gd name="connsiteY1164" fmla="*/ 97907 h 349223"/>
                <a:gd name="connsiteX1165" fmla="*/ 867808 w 2663946"/>
                <a:gd name="connsiteY1165" fmla="*/ 94933 h 349223"/>
                <a:gd name="connsiteX1166" fmla="*/ 868053 w 2663946"/>
                <a:gd name="connsiteY1166" fmla="*/ 95203 h 349223"/>
                <a:gd name="connsiteX1167" fmla="*/ 868053 w 2663946"/>
                <a:gd name="connsiteY1167" fmla="*/ 89525 h 349223"/>
                <a:gd name="connsiteX1168" fmla="*/ 868053 w 2663946"/>
                <a:gd name="connsiteY1168" fmla="*/ 89255 h 349223"/>
                <a:gd name="connsiteX1169" fmla="*/ 868545 w 2663946"/>
                <a:gd name="connsiteY1169" fmla="*/ 84658 h 349223"/>
                <a:gd name="connsiteX1170" fmla="*/ 869774 w 2663946"/>
                <a:gd name="connsiteY1170" fmla="*/ 79251 h 349223"/>
                <a:gd name="connsiteX1171" fmla="*/ 870757 w 2663946"/>
                <a:gd name="connsiteY1171" fmla="*/ 76006 h 349223"/>
                <a:gd name="connsiteX1172" fmla="*/ 872969 w 2663946"/>
                <a:gd name="connsiteY1172" fmla="*/ 70869 h 349223"/>
                <a:gd name="connsiteX1173" fmla="*/ 875182 w 2663946"/>
                <a:gd name="connsiteY1173" fmla="*/ 67084 h 349223"/>
                <a:gd name="connsiteX1174" fmla="*/ 877394 w 2663946"/>
                <a:gd name="connsiteY1174" fmla="*/ 64109 h 349223"/>
                <a:gd name="connsiteX1175" fmla="*/ 879606 w 2663946"/>
                <a:gd name="connsiteY1175" fmla="*/ 61676 h 349223"/>
                <a:gd name="connsiteX1176" fmla="*/ 884276 w 2663946"/>
                <a:gd name="connsiteY1176" fmla="*/ 57891 h 349223"/>
                <a:gd name="connsiteX1177" fmla="*/ 888209 w 2663946"/>
                <a:gd name="connsiteY1177" fmla="*/ 55728 h 349223"/>
                <a:gd name="connsiteX1178" fmla="*/ 897796 w 2663946"/>
                <a:gd name="connsiteY1178" fmla="*/ 53294 h 349223"/>
                <a:gd name="connsiteX1179" fmla="*/ 548889 w 2663946"/>
                <a:gd name="connsiteY1179" fmla="*/ 53294 h 349223"/>
                <a:gd name="connsiteX1180" fmla="*/ 561180 w 2663946"/>
                <a:gd name="connsiteY1180" fmla="*/ 55457 h 349223"/>
                <a:gd name="connsiteX1181" fmla="*/ 568554 w 2663946"/>
                <a:gd name="connsiteY1181" fmla="*/ 60054 h 349223"/>
                <a:gd name="connsiteX1182" fmla="*/ 571995 w 2663946"/>
                <a:gd name="connsiteY1182" fmla="*/ 63298 h 349223"/>
                <a:gd name="connsiteX1183" fmla="*/ 575436 w 2663946"/>
                <a:gd name="connsiteY1183" fmla="*/ 67624 h 349223"/>
                <a:gd name="connsiteX1184" fmla="*/ 577403 w 2663946"/>
                <a:gd name="connsiteY1184" fmla="*/ 71139 h 349223"/>
                <a:gd name="connsiteX1185" fmla="*/ 579615 w 2663946"/>
                <a:gd name="connsiteY1185" fmla="*/ 76547 h 349223"/>
                <a:gd name="connsiteX1186" fmla="*/ 580598 w 2663946"/>
                <a:gd name="connsiteY1186" fmla="*/ 80062 h 349223"/>
                <a:gd name="connsiteX1187" fmla="*/ 581581 w 2663946"/>
                <a:gd name="connsiteY1187" fmla="*/ 85199 h 349223"/>
                <a:gd name="connsiteX1188" fmla="*/ 581336 w 2663946"/>
                <a:gd name="connsiteY1188" fmla="*/ 99529 h 349223"/>
                <a:gd name="connsiteX1189" fmla="*/ 580352 w 2663946"/>
                <a:gd name="connsiteY1189" fmla="*/ 104396 h 349223"/>
                <a:gd name="connsiteX1190" fmla="*/ 579123 w 2663946"/>
                <a:gd name="connsiteY1190" fmla="*/ 108181 h 349223"/>
                <a:gd name="connsiteX1191" fmla="*/ 578140 w 2663946"/>
                <a:gd name="connsiteY1191" fmla="*/ 110615 h 349223"/>
                <a:gd name="connsiteX1192" fmla="*/ 575928 w 2663946"/>
                <a:gd name="connsiteY1192" fmla="*/ 114941 h 349223"/>
                <a:gd name="connsiteX1193" fmla="*/ 573715 w 2663946"/>
                <a:gd name="connsiteY1193" fmla="*/ 118185 h 349223"/>
                <a:gd name="connsiteX1194" fmla="*/ 570274 w 2663946"/>
                <a:gd name="connsiteY1194" fmla="*/ 121971 h 349223"/>
                <a:gd name="connsiteX1195" fmla="*/ 567079 w 2663946"/>
                <a:gd name="connsiteY1195" fmla="*/ 124674 h 349223"/>
                <a:gd name="connsiteX1196" fmla="*/ 561425 w 2663946"/>
                <a:gd name="connsiteY1196" fmla="*/ 127919 h 349223"/>
                <a:gd name="connsiteX1197" fmla="*/ 553559 w 2663946"/>
                <a:gd name="connsiteY1197" fmla="*/ 130082 h 349223"/>
                <a:gd name="connsiteX1198" fmla="*/ 552331 w 2663946"/>
                <a:gd name="connsiteY1198" fmla="*/ 130353 h 349223"/>
                <a:gd name="connsiteX1199" fmla="*/ 548152 w 2663946"/>
                <a:gd name="connsiteY1199" fmla="*/ 130353 h 349223"/>
                <a:gd name="connsiteX1200" fmla="*/ 547906 w 2663946"/>
                <a:gd name="connsiteY1200" fmla="*/ 130353 h 349223"/>
                <a:gd name="connsiteX1201" fmla="*/ 534879 w 2663946"/>
                <a:gd name="connsiteY1201" fmla="*/ 125486 h 349223"/>
                <a:gd name="connsiteX1202" fmla="*/ 530208 w 2663946"/>
                <a:gd name="connsiteY1202" fmla="*/ 121430 h 349223"/>
                <a:gd name="connsiteX1203" fmla="*/ 527013 w 2663946"/>
                <a:gd name="connsiteY1203" fmla="*/ 117645 h 349223"/>
                <a:gd name="connsiteX1204" fmla="*/ 524801 w 2663946"/>
                <a:gd name="connsiteY1204" fmla="*/ 114130 h 349223"/>
                <a:gd name="connsiteX1205" fmla="*/ 522588 w 2663946"/>
                <a:gd name="connsiteY1205" fmla="*/ 109804 h 349223"/>
                <a:gd name="connsiteX1206" fmla="*/ 521359 w 2663946"/>
                <a:gd name="connsiteY1206" fmla="*/ 106829 h 349223"/>
                <a:gd name="connsiteX1207" fmla="*/ 520376 w 2663946"/>
                <a:gd name="connsiteY1207" fmla="*/ 103585 h 349223"/>
                <a:gd name="connsiteX1208" fmla="*/ 519147 w 2663946"/>
                <a:gd name="connsiteY1208" fmla="*/ 97907 h 349223"/>
                <a:gd name="connsiteX1209" fmla="*/ 518901 w 2663946"/>
                <a:gd name="connsiteY1209" fmla="*/ 94933 h 349223"/>
                <a:gd name="connsiteX1210" fmla="*/ 519147 w 2663946"/>
                <a:gd name="connsiteY1210" fmla="*/ 95203 h 349223"/>
                <a:gd name="connsiteX1211" fmla="*/ 519147 w 2663946"/>
                <a:gd name="connsiteY1211" fmla="*/ 89525 h 349223"/>
                <a:gd name="connsiteX1212" fmla="*/ 519147 w 2663946"/>
                <a:gd name="connsiteY1212" fmla="*/ 89255 h 349223"/>
                <a:gd name="connsiteX1213" fmla="*/ 519639 w 2663946"/>
                <a:gd name="connsiteY1213" fmla="*/ 84658 h 349223"/>
                <a:gd name="connsiteX1214" fmla="*/ 520868 w 2663946"/>
                <a:gd name="connsiteY1214" fmla="*/ 79251 h 349223"/>
                <a:gd name="connsiteX1215" fmla="*/ 521851 w 2663946"/>
                <a:gd name="connsiteY1215" fmla="*/ 76006 h 349223"/>
                <a:gd name="connsiteX1216" fmla="*/ 524063 w 2663946"/>
                <a:gd name="connsiteY1216" fmla="*/ 70869 h 349223"/>
                <a:gd name="connsiteX1217" fmla="*/ 526275 w 2663946"/>
                <a:gd name="connsiteY1217" fmla="*/ 67084 h 349223"/>
                <a:gd name="connsiteX1218" fmla="*/ 528488 w 2663946"/>
                <a:gd name="connsiteY1218" fmla="*/ 64109 h 349223"/>
                <a:gd name="connsiteX1219" fmla="*/ 530700 w 2663946"/>
                <a:gd name="connsiteY1219" fmla="*/ 61676 h 349223"/>
                <a:gd name="connsiteX1220" fmla="*/ 535370 w 2663946"/>
                <a:gd name="connsiteY1220" fmla="*/ 57891 h 349223"/>
                <a:gd name="connsiteX1221" fmla="*/ 539303 w 2663946"/>
                <a:gd name="connsiteY1221" fmla="*/ 55728 h 349223"/>
                <a:gd name="connsiteX1222" fmla="*/ 548889 w 2663946"/>
                <a:gd name="connsiteY1222" fmla="*/ 53294 h 349223"/>
                <a:gd name="connsiteX1223" fmla="*/ 366938 w 2663946"/>
                <a:gd name="connsiteY1223" fmla="*/ 53294 h 349223"/>
                <a:gd name="connsiteX1224" fmla="*/ 379228 w 2663946"/>
                <a:gd name="connsiteY1224" fmla="*/ 55457 h 349223"/>
                <a:gd name="connsiteX1225" fmla="*/ 386603 w 2663946"/>
                <a:gd name="connsiteY1225" fmla="*/ 60054 h 349223"/>
                <a:gd name="connsiteX1226" fmla="*/ 390044 w 2663946"/>
                <a:gd name="connsiteY1226" fmla="*/ 63298 h 349223"/>
                <a:gd name="connsiteX1227" fmla="*/ 393485 w 2663946"/>
                <a:gd name="connsiteY1227" fmla="*/ 67624 h 349223"/>
                <a:gd name="connsiteX1228" fmla="*/ 395452 w 2663946"/>
                <a:gd name="connsiteY1228" fmla="*/ 71139 h 349223"/>
                <a:gd name="connsiteX1229" fmla="*/ 397664 w 2663946"/>
                <a:gd name="connsiteY1229" fmla="*/ 76547 h 349223"/>
                <a:gd name="connsiteX1230" fmla="*/ 398647 w 2663946"/>
                <a:gd name="connsiteY1230" fmla="*/ 80062 h 349223"/>
                <a:gd name="connsiteX1231" fmla="*/ 399630 w 2663946"/>
                <a:gd name="connsiteY1231" fmla="*/ 85199 h 349223"/>
                <a:gd name="connsiteX1232" fmla="*/ 399384 w 2663946"/>
                <a:gd name="connsiteY1232" fmla="*/ 99529 h 349223"/>
                <a:gd name="connsiteX1233" fmla="*/ 398401 w 2663946"/>
                <a:gd name="connsiteY1233" fmla="*/ 104396 h 349223"/>
                <a:gd name="connsiteX1234" fmla="*/ 397172 w 2663946"/>
                <a:gd name="connsiteY1234" fmla="*/ 108181 h 349223"/>
                <a:gd name="connsiteX1235" fmla="*/ 396189 w 2663946"/>
                <a:gd name="connsiteY1235" fmla="*/ 110615 h 349223"/>
                <a:gd name="connsiteX1236" fmla="*/ 393977 w 2663946"/>
                <a:gd name="connsiteY1236" fmla="*/ 114941 h 349223"/>
                <a:gd name="connsiteX1237" fmla="*/ 391764 w 2663946"/>
                <a:gd name="connsiteY1237" fmla="*/ 118185 h 349223"/>
                <a:gd name="connsiteX1238" fmla="*/ 388323 w 2663946"/>
                <a:gd name="connsiteY1238" fmla="*/ 121971 h 349223"/>
                <a:gd name="connsiteX1239" fmla="*/ 385128 w 2663946"/>
                <a:gd name="connsiteY1239" fmla="*/ 124674 h 349223"/>
                <a:gd name="connsiteX1240" fmla="*/ 379474 w 2663946"/>
                <a:gd name="connsiteY1240" fmla="*/ 127919 h 349223"/>
                <a:gd name="connsiteX1241" fmla="*/ 371609 w 2663946"/>
                <a:gd name="connsiteY1241" fmla="*/ 130082 h 349223"/>
                <a:gd name="connsiteX1242" fmla="*/ 370380 w 2663946"/>
                <a:gd name="connsiteY1242" fmla="*/ 130353 h 349223"/>
                <a:gd name="connsiteX1243" fmla="*/ 366201 w 2663946"/>
                <a:gd name="connsiteY1243" fmla="*/ 130353 h 349223"/>
                <a:gd name="connsiteX1244" fmla="*/ 365955 w 2663946"/>
                <a:gd name="connsiteY1244" fmla="*/ 130353 h 349223"/>
                <a:gd name="connsiteX1245" fmla="*/ 352927 w 2663946"/>
                <a:gd name="connsiteY1245" fmla="*/ 125486 h 349223"/>
                <a:gd name="connsiteX1246" fmla="*/ 348257 w 2663946"/>
                <a:gd name="connsiteY1246" fmla="*/ 121430 h 349223"/>
                <a:gd name="connsiteX1247" fmla="*/ 345062 w 2663946"/>
                <a:gd name="connsiteY1247" fmla="*/ 117645 h 349223"/>
                <a:gd name="connsiteX1248" fmla="*/ 342850 w 2663946"/>
                <a:gd name="connsiteY1248" fmla="*/ 114130 h 349223"/>
                <a:gd name="connsiteX1249" fmla="*/ 340637 w 2663946"/>
                <a:gd name="connsiteY1249" fmla="*/ 109804 h 349223"/>
                <a:gd name="connsiteX1250" fmla="*/ 339408 w 2663946"/>
                <a:gd name="connsiteY1250" fmla="*/ 106829 h 349223"/>
                <a:gd name="connsiteX1251" fmla="*/ 338425 w 2663946"/>
                <a:gd name="connsiteY1251" fmla="*/ 103585 h 349223"/>
                <a:gd name="connsiteX1252" fmla="*/ 337196 w 2663946"/>
                <a:gd name="connsiteY1252" fmla="*/ 97907 h 349223"/>
                <a:gd name="connsiteX1253" fmla="*/ 336950 w 2663946"/>
                <a:gd name="connsiteY1253" fmla="*/ 94933 h 349223"/>
                <a:gd name="connsiteX1254" fmla="*/ 337196 w 2663946"/>
                <a:gd name="connsiteY1254" fmla="*/ 95203 h 349223"/>
                <a:gd name="connsiteX1255" fmla="*/ 337196 w 2663946"/>
                <a:gd name="connsiteY1255" fmla="*/ 89525 h 349223"/>
                <a:gd name="connsiteX1256" fmla="*/ 337196 w 2663946"/>
                <a:gd name="connsiteY1256" fmla="*/ 89255 h 349223"/>
                <a:gd name="connsiteX1257" fmla="*/ 337687 w 2663946"/>
                <a:gd name="connsiteY1257" fmla="*/ 84658 h 349223"/>
                <a:gd name="connsiteX1258" fmla="*/ 338917 w 2663946"/>
                <a:gd name="connsiteY1258" fmla="*/ 79251 h 349223"/>
                <a:gd name="connsiteX1259" fmla="*/ 339900 w 2663946"/>
                <a:gd name="connsiteY1259" fmla="*/ 76006 h 349223"/>
                <a:gd name="connsiteX1260" fmla="*/ 342112 w 2663946"/>
                <a:gd name="connsiteY1260" fmla="*/ 70869 h 349223"/>
                <a:gd name="connsiteX1261" fmla="*/ 344324 w 2663946"/>
                <a:gd name="connsiteY1261" fmla="*/ 67084 h 349223"/>
                <a:gd name="connsiteX1262" fmla="*/ 346536 w 2663946"/>
                <a:gd name="connsiteY1262" fmla="*/ 64109 h 349223"/>
                <a:gd name="connsiteX1263" fmla="*/ 348749 w 2663946"/>
                <a:gd name="connsiteY1263" fmla="*/ 61676 h 349223"/>
                <a:gd name="connsiteX1264" fmla="*/ 353419 w 2663946"/>
                <a:gd name="connsiteY1264" fmla="*/ 57891 h 349223"/>
                <a:gd name="connsiteX1265" fmla="*/ 357352 w 2663946"/>
                <a:gd name="connsiteY1265" fmla="*/ 55728 h 349223"/>
                <a:gd name="connsiteX1266" fmla="*/ 366938 w 2663946"/>
                <a:gd name="connsiteY1266" fmla="*/ 53294 h 349223"/>
                <a:gd name="connsiteX1267" fmla="*/ 123893 w 2663946"/>
                <a:gd name="connsiteY1267" fmla="*/ 53294 h 349223"/>
                <a:gd name="connsiteX1268" fmla="*/ 136183 w 2663946"/>
                <a:gd name="connsiteY1268" fmla="*/ 55457 h 349223"/>
                <a:gd name="connsiteX1269" fmla="*/ 143557 w 2663946"/>
                <a:gd name="connsiteY1269" fmla="*/ 60054 h 349223"/>
                <a:gd name="connsiteX1270" fmla="*/ 146998 w 2663946"/>
                <a:gd name="connsiteY1270" fmla="*/ 63298 h 349223"/>
                <a:gd name="connsiteX1271" fmla="*/ 150439 w 2663946"/>
                <a:gd name="connsiteY1271" fmla="*/ 67624 h 349223"/>
                <a:gd name="connsiteX1272" fmla="*/ 152406 w 2663946"/>
                <a:gd name="connsiteY1272" fmla="*/ 71139 h 349223"/>
                <a:gd name="connsiteX1273" fmla="*/ 154618 w 2663946"/>
                <a:gd name="connsiteY1273" fmla="*/ 76547 h 349223"/>
                <a:gd name="connsiteX1274" fmla="*/ 155601 w 2663946"/>
                <a:gd name="connsiteY1274" fmla="*/ 80062 h 349223"/>
                <a:gd name="connsiteX1275" fmla="*/ 156584 w 2663946"/>
                <a:gd name="connsiteY1275" fmla="*/ 85199 h 349223"/>
                <a:gd name="connsiteX1276" fmla="*/ 156339 w 2663946"/>
                <a:gd name="connsiteY1276" fmla="*/ 99529 h 349223"/>
                <a:gd name="connsiteX1277" fmla="*/ 155355 w 2663946"/>
                <a:gd name="connsiteY1277" fmla="*/ 104396 h 349223"/>
                <a:gd name="connsiteX1278" fmla="*/ 154126 w 2663946"/>
                <a:gd name="connsiteY1278" fmla="*/ 108181 h 349223"/>
                <a:gd name="connsiteX1279" fmla="*/ 153143 w 2663946"/>
                <a:gd name="connsiteY1279" fmla="*/ 110615 h 349223"/>
                <a:gd name="connsiteX1280" fmla="*/ 150931 w 2663946"/>
                <a:gd name="connsiteY1280" fmla="*/ 114941 h 349223"/>
                <a:gd name="connsiteX1281" fmla="*/ 148719 w 2663946"/>
                <a:gd name="connsiteY1281" fmla="*/ 118185 h 349223"/>
                <a:gd name="connsiteX1282" fmla="*/ 145277 w 2663946"/>
                <a:gd name="connsiteY1282" fmla="*/ 121971 h 349223"/>
                <a:gd name="connsiteX1283" fmla="*/ 142082 w 2663946"/>
                <a:gd name="connsiteY1283" fmla="*/ 124674 h 349223"/>
                <a:gd name="connsiteX1284" fmla="*/ 136428 w 2663946"/>
                <a:gd name="connsiteY1284" fmla="*/ 127919 h 349223"/>
                <a:gd name="connsiteX1285" fmla="*/ 128563 w 2663946"/>
                <a:gd name="connsiteY1285" fmla="*/ 130082 h 349223"/>
                <a:gd name="connsiteX1286" fmla="*/ 127334 w 2663946"/>
                <a:gd name="connsiteY1286" fmla="*/ 130353 h 349223"/>
                <a:gd name="connsiteX1287" fmla="*/ 123155 w 2663946"/>
                <a:gd name="connsiteY1287" fmla="*/ 130353 h 349223"/>
                <a:gd name="connsiteX1288" fmla="*/ 122909 w 2663946"/>
                <a:gd name="connsiteY1288" fmla="*/ 130353 h 349223"/>
                <a:gd name="connsiteX1289" fmla="*/ 109882 w 2663946"/>
                <a:gd name="connsiteY1289" fmla="*/ 125486 h 349223"/>
                <a:gd name="connsiteX1290" fmla="*/ 105211 w 2663946"/>
                <a:gd name="connsiteY1290" fmla="*/ 121430 h 349223"/>
                <a:gd name="connsiteX1291" fmla="*/ 102016 w 2663946"/>
                <a:gd name="connsiteY1291" fmla="*/ 117645 h 349223"/>
                <a:gd name="connsiteX1292" fmla="*/ 99804 w 2663946"/>
                <a:gd name="connsiteY1292" fmla="*/ 114130 h 349223"/>
                <a:gd name="connsiteX1293" fmla="*/ 97591 w 2663946"/>
                <a:gd name="connsiteY1293" fmla="*/ 109804 h 349223"/>
                <a:gd name="connsiteX1294" fmla="*/ 96362 w 2663946"/>
                <a:gd name="connsiteY1294" fmla="*/ 106829 h 349223"/>
                <a:gd name="connsiteX1295" fmla="*/ 95379 w 2663946"/>
                <a:gd name="connsiteY1295" fmla="*/ 103585 h 349223"/>
                <a:gd name="connsiteX1296" fmla="*/ 94150 w 2663946"/>
                <a:gd name="connsiteY1296" fmla="*/ 97907 h 349223"/>
                <a:gd name="connsiteX1297" fmla="*/ 93904 w 2663946"/>
                <a:gd name="connsiteY1297" fmla="*/ 94933 h 349223"/>
                <a:gd name="connsiteX1298" fmla="*/ 94150 w 2663946"/>
                <a:gd name="connsiteY1298" fmla="*/ 95203 h 349223"/>
                <a:gd name="connsiteX1299" fmla="*/ 94150 w 2663946"/>
                <a:gd name="connsiteY1299" fmla="*/ 89525 h 349223"/>
                <a:gd name="connsiteX1300" fmla="*/ 94150 w 2663946"/>
                <a:gd name="connsiteY1300" fmla="*/ 89255 h 349223"/>
                <a:gd name="connsiteX1301" fmla="*/ 94642 w 2663946"/>
                <a:gd name="connsiteY1301" fmla="*/ 84658 h 349223"/>
                <a:gd name="connsiteX1302" fmla="*/ 95871 w 2663946"/>
                <a:gd name="connsiteY1302" fmla="*/ 79251 h 349223"/>
                <a:gd name="connsiteX1303" fmla="*/ 96854 w 2663946"/>
                <a:gd name="connsiteY1303" fmla="*/ 76006 h 349223"/>
                <a:gd name="connsiteX1304" fmla="*/ 99066 w 2663946"/>
                <a:gd name="connsiteY1304" fmla="*/ 70869 h 349223"/>
                <a:gd name="connsiteX1305" fmla="*/ 101279 w 2663946"/>
                <a:gd name="connsiteY1305" fmla="*/ 67084 h 349223"/>
                <a:gd name="connsiteX1306" fmla="*/ 103491 w 2663946"/>
                <a:gd name="connsiteY1306" fmla="*/ 64109 h 349223"/>
                <a:gd name="connsiteX1307" fmla="*/ 105703 w 2663946"/>
                <a:gd name="connsiteY1307" fmla="*/ 61676 h 349223"/>
                <a:gd name="connsiteX1308" fmla="*/ 110373 w 2663946"/>
                <a:gd name="connsiteY1308" fmla="*/ 57891 h 349223"/>
                <a:gd name="connsiteX1309" fmla="*/ 114306 w 2663946"/>
                <a:gd name="connsiteY1309" fmla="*/ 55728 h 349223"/>
                <a:gd name="connsiteX1310" fmla="*/ 123893 w 2663946"/>
                <a:gd name="connsiteY1310" fmla="*/ 53294 h 349223"/>
                <a:gd name="connsiteX1311" fmla="*/ 33147 w 2663946"/>
                <a:gd name="connsiteY1311" fmla="*/ 52656 h 349223"/>
                <a:gd name="connsiteX1312" fmla="*/ 57942 w 2663946"/>
                <a:gd name="connsiteY1312" fmla="*/ 72865 h 349223"/>
                <a:gd name="connsiteX1313" fmla="*/ 58422 w 2663946"/>
                <a:gd name="connsiteY1313" fmla="*/ 77623 h 349223"/>
                <a:gd name="connsiteX1314" fmla="*/ 59840 w 2663946"/>
                <a:gd name="connsiteY1314" fmla="*/ 77623 h 349223"/>
                <a:gd name="connsiteX1315" fmla="*/ 66294 w 2663946"/>
                <a:gd name="connsiteY1315" fmla="*/ 83909 h 349223"/>
                <a:gd name="connsiteX1316" fmla="*/ 66294 w 2663946"/>
                <a:gd name="connsiteY1316" fmla="*/ 133631 h 349223"/>
                <a:gd name="connsiteX1317" fmla="*/ 59840 w 2663946"/>
                <a:gd name="connsiteY1317" fmla="*/ 139917 h 349223"/>
                <a:gd name="connsiteX1318" fmla="*/ 6453 w 2663946"/>
                <a:gd name="connsiteY1318" fmla="*/ 139917 h 349223"/>
                <a:gd name="connsiteX1319" fmla="*/ 0 w 2663946"/>
                <a:gd name="connsiteY1319" fmla="*/ 133631 h 349223"/>
                <a:gd name="connsiteX1320" fmla="*/ 0 w 2663946"/>
                <a:gd name="connsiteY1320" fmla="*/ 83909 h 349223"/>
                <a:gd name="connsiteX1321" fmla="*/ 6453 w 2663946"/>
                <a:gd name="connsiteY1321" fmla="*/ 77623 h 349223"/>
                <a:gd name="connsiteX1322" fmla="*/ 7288 w 2663946"/>
                <a:gd name="connsiteY1322" fmla="*/ 77623 h 349223"/>
                <a:gd name="connsiteX1323" fmla="*/ 7872 w 2663946"/>
                <a:gd name="connsiteY1323" fmla="*/ 77623 h 349223"/>
                <a:gd name="connsiteX1324" fmla="*/ 8351 w 2663946"/>
                <a:gd name="connsiteY1324" fmla="*/ 72865 h 349223"/>
                <a:gd name="connsiteX1325" fmla="*/ 33147 w 2663946"/>
                <a:gd name="connsiteY1325" fmla="*/ 52656 h 349223"/>
                <a:gd name="connsiteX1326" fmla="*/ 2537931 w 2663946"/>
                <a:gd name="connsiteY1326" fmla="*/ 45068 h 349223"/>
                <a:gd name="connsiteX1327" fmla="*/ 2562727 w 2663946"/>
                <a:gd name="connsiteY1327" fmla="*/ 65277 h 349223"/>
                <a:gd name="connsiteX1328" fmla="*/ 2563206 w 2663946"/>
                <a:gd name="connsiteY1328" fmla="*/ 70035 h 349223"/>
                <a:gd name="connsiteX1329" fmla="*/ 2564625 w 2663946"/>
                <a:gd name="connsiteY1329" fmla="*/ 70035 h 349223"/>
                <a:gd name="connsiteX1330" fmla="*/ 2571078 w 2663946"/>
                <a:gd name="connsiteY1330" fmla="*/ 76321 h 349223"/>
                <a:gd name="connsiteX1331" fmla="*/ 2571078 w 2663946"/>
                <a:gd name="connsiteY1331" fmla="*/ 126043 h 349223"/>
                <a:gd name="connsiteX1332" fmla="*/ 2564625 w 2663946"/>
                <a:gd name="connsiteY1332" fmla="*/ 132329 h 349223"/>
                <a:gd name="connsiteX1333" fmla="*/ 2511238 w 2663946"/>
                <a:gd name="connsiteY1333" fmla="*/ 132329 h 349223"/>
                <a:gd name="connsiteX1334" fmla="*/ 2504784 w 2663946"/>
                <a:gd name="connsiteY1334" fmla="*/ 126043 h 349223"/>
                <a:gd name="connsiteX1335" fmla="*/ 2504784 w 2663946"/>
                <a:gd name="connsiteY1335" fmla="*/ 76321 h 349223"/>
                <a:gd name="connsiteX1336" fmla="*/ 2511238 w 2663946"/>
                <a:gd name="connsiteY1336" fmla="*/ 70035 h 349223"/>
                <a:gd name="connsiteX1337" fmla="*/ 2512072 w 2663946"/>
                <a:gd name="connsiteY1337" fmla="*/ 70035 h 349223"/>
                <a:gd name="connsiteX1338" fmla="*/ 2512656 w 2663946"/>
                <a:gd name="connsiteY1338" fmla="*/ 70035 h 349223"/>
                <a:gd name="connsiteX1339" fmla="*/ 2513136 w 2663946"/>
                <a:gd name="connsiteY1339" fmla="*/ 65277 h 349223"/>
                <a:gd name="connsiteX1340" fmla="*/ 2537931 w 2663946"/>
                <a:gd name="connsiteY1340" fmla="*/ 45068 h 349223"/>
                <a:gd name="connsiteX1341" fmla="*/ 2112934 w 2663946"/>
                <a:gd name="connsiteY1341" fmla="*/ 45068 h 349223"/>
                <a:gd name="connsiteX1342" fmla="*/ 2137730 w 2663946"/>
                <a:gd name="connsiteY1342" fmla="*/ 65277 h 349223"/>
                <a:gd name="connsiteX1343" fmla="*/ 2138209 w 2663946"/>
                <a:gd name="connsiteY1343" fmla="*/ 70035 h 349223"/>
                <a:gd name="connsiteX1344" fmla="*/ 2139628 w 2663946"/>
                <a:gd name="connsiteY1344" fmla="*/ 70035 h 349223"/>
                <a:gd name="connsiteX1345" fmla="*/ 2146081 w 2663946"/>
                <a:gd name="connsiteY1345" fmla="*/ 76321 h 349223"/>
                <a:gd name="connsiteX1346" fmla="*/ 2146081 w 2663946"/>
                <a:gd name="connsiteY1346" fmla="*/ 126043 h 349223"/>
                <a:gd name="connsiteX1347" fmla="*/ 2139628 w 2663946"/>
                <a:gd name="connsiteY1347" fmla="*/ 132329 h 349223"/>
                <a:gd name="connsiteX1348" fmla="*/ 2086241 w 2663946"/>
                <a:gd name="connsiteY1348" fmla="*/ 132329 h 349223"/>
                <a:gd name="connsiteX1349" fmla="*/ 2079787 w 2663946"/>
                <a:gd name="connsiteY1349" fmla="*/ 126043 h 349223"/>
                <a:gd name="connsiteX1350" fmla="*/ 2079787 w 2663946"/>
                <a:gd name="connsiteY1350" fmla="*/ 76321 h 349223"/>
                <a:gd name="connsiteX1351" fmla="*/ 2086241 w 2663946"/>
                <a:gd name="connsiteY1351" fmla="*/ 70035 h 349223"/>
                <a:gd name="connsiteX1352" fmla="*/ 2087075 w 2663946"/>
                <a:gd name="connsiteY1352" fmla="*/ 70035 h 349223"/>
                <a:gd name="connsiteX1353" fmla="*/ 2087659 w 2663946"/>
                <a:gd name="connsiteY1353" fmla="*/ 70035 h 349223"/>
                <a:gd name="connsiteX1354" fmla="*/ 2088139 w 2663946"/>
                <a:gd name="connsiteY1354" fmla="*/ 65277 h 349223"/>
                <a:gd name="connsiteX1355" fmla="*/ 2112934 w 2663946"/>
                <a:gd name="connsiteY1355" fmla="*/ 45068 h 349223"/>
                <a:gd name="connsiteX1356" fmla="*/ 1854966 w 2663946"/>
                <a:gd name="connsiteY1356" fmla="*/ 45068 h 349223"/>
                <a:gd name="connsiteX1357" fmla="*/ 1879762 w 2663946"/>
                <a:gd name="connsiteY1357" fmla="*/ 65277 h 349223"/>
                <a:gd name="connsiteX1358" fmla="*/ 1880241 w 2663946"/>
                <a:gd name="connsiteY1358" fmla="*/ 70035 h 349223"/>
                <a:gd name="connsiteX1359" fmla="*/ 1881660 w 2663946"/>
                <a:gd name="connsiteY1359" fmla="*/ 70035 h 349223"/>
                <a:gd name="connsiteX1360" fmla="*/ 1888113 w 2663946"/>
                <a:gd name="connsiteY1360" fmla="*/ 76321 h 349223"/>
                <a:gd name="connsiteX1361" fmla="*/ 1888113 w 2663946"/>
                <a:gd name="connsiteY1361" fmla="*/ 126043 h 349223"/>
                <a:gd name="connsiteX1362" fmla="*/ 1881660 w 2663946"/>
                <a:gd name="connsiteY1362" fmla="*/ 132329 h 349223"/>
                <a:gd name="connsiteX1363" fmla="*/ 1828273 w 2663946"/>
                <a:gd name="connsiteY1363" fmla="*/ 132329 h 349223"/>
                <a:gd name="connsiteX1364" fmla="*/ 1821819 w 2663946"/>
                <a:gd name="connsiteY1364" fmla="*/ 126043 h 349223"/>
                <a:gd name="connsiteX1365" fmla="*/ 1821819 w 2663946"/>
                <a:gd name="connsiteY1365" fmla="*/ 76321 h 349223"/>
                <a:gd name="connsiteX1366" fmla="*/ 1828273 w 2663946"/>
                <a:gd name="connsiteY1366" fmla="*/ 70035 h 349223"/>
                <a:gd name="connsiteX1367" fmla="*/ 1829107 w 2663946"/>
                <a:gd name="connsiteY1367" fmla="*/ 70035 h 349223"/>
                <a:gd name="connsiteX1368" fmla="*/ 1829691 w 2663946"/>
                <a:gd name="connsiteY1368" fmla="*/ 70035 h 349223"/>
                <a:gd name="connsiteX1369" fmla="*/ 1830171 w 2663946"/>
                <a:gd name="connsiteY1369" fmla="*/ 65277 h 349223"/>
                <a:gd name="connsiteX1370" fmla="*/ 1854966 w 2663946"/>
                <a:gd name="connsiteY1370" fmla="*/ 45068 h 349223"/>
                <a:gd name="connsiteX1371" fmla="*/ 1764027 w 2663946"/>
                <a:gd name="connsiteY1371" fmla="*/ 45068 h 349223"/>
                <a:gd name="connsiteX1372" fmla="*/ 1788823 w 2663946"/>
                <a:gd name="connsiteY1372" fmla="*/ 65277 h 349223"/>
                <a:gd name="connsiteX1373" fmla="*/ 1789302 w 2663946"/>
                <a:gd name="connsiteY1373" fmla="*/ 70035 h 349223"/>
                <a:gd name="connsiteX1374" fmla="*/ 1790721 w 2663946"/>
                <a:gd name="connsiteY1374" fmla="*/ 70035 h 349223"/>
                <a:gd name="connsiteX1375" fmla="*/ 1797174 w 2663946"/>
                <a:gd name="connsiteY1375" fmla="*/ 76321 h 349223"/>
                <a:gd name="connsiteX1376" fmla="*/ 1797174 w 2663946"/>
                <a:gd name="connsiteY1376" fmla="*/ 126043 h 349223"/>
                <a:gd name="connsiteX1377" fmla="*/ 1790721 w 2663946"/>
                <a:gd name="connsiteY1377" fmla="*/ 132329 h 349223"/>
                <a:gd name="connsiteX1378" fmla="*/ 1737333 w 2663946"/>
                <a:gd name="connsiteY1378" fmla="*/ 132329 h 349223"/>
                <a:gd name="connsiteX1379" fmla="*/ 1730880 w 2663946"/>
                <a:gd name="connsiteY1379" fmla="*/ 126043 h 349223"/>
                <a:gd name="connsiteX1380" fmla="*/ 1730880 w 2663946"/>
                <a:gd name="connsiteY1380" fmla="*/ 76321 h 349223"/>
                <a:gd name="connsiteX1381" fmla="*/ 1737333 w 2663946"/>
                <a:gd name="connsiteY1381" fmla="*/ 70035 h 349223"/>
                <a:gd name="connsiteX1382" fmla="*/ 1738168 w 2663946"/>
                <a:gd name="connsiteY1382" fmla="*/ 70035 h 349223"/>
                <a:gd name="connsiteX1383" fmla="*/ 1738752 w 2663946"/>
                <a:gd name="connsiteY1383" fmla="*/ 70035 h 349223"/>
                <a:gd name="connsiteX1384" fmla="*/ 1739232 w 2663946"/>
                <a:gd name="connsiteY1384" fmla="*/ 65277 h 349223"/>
                <a:gd name="connsiteX1385" fmla="*/ 1764027 w 2663946"/>
                <a:gd name="connsiteY1385" fmla="*/ 45068 h 349223"/>
                <a:gd name="connsiteX1386" fmla="*/ 1506059 w 2663946"/>
                <a:gd name="connsiteY1386" fmla="*/ 45068 h 349223"/>
                <a:gd name="connsiteX1387" fmla="*/ 1530855 w 2663946"/>
                <a:gd name="connsiteY1387" fmla="*/ 65277 h 349223"/>
                <a:gd name="connsiteX1388" fmla="*/ 1531334 w 2663946"/>
                <a:gd name="connsiteY1388" fmla="*/ 70035 h 349223"/>
                <a:gd name="connsiteX1389" fmla="*/ 1532753 w 2663946"/>
                <a:gd name="connsiteY1389" fmla="*/ 70035 h 349223"/>
                <a:gd name="connsiteX1390" fmla="*/ 1539206 w 2663946"/>
                <a:gd name="connsiteY1390" fmla="*/ 76321 h 349223"/>
                <a:gd name="connsiteX1391" fmla="*/ 1539206 w 2663946"/>
                <a:gd name="connsiteY1391" fmla="*/ 126043 h 349223"/>
                <a:gd name="connsiteX1392" fmla="*/ 1532753 w 2663946"/>
                <a:gd name="connsiteY1392" fmla="*/ 132329 h 349223"/>
                <a:gd name="connsiteX1393" fmla="*/ 1479365 w 2663946"/>
                <a:gd name="connsiteY1393" fmla="*/ 132329 h 349223"/>
                <a:gd name="connsiteX1394" fmla="*/ 1472912 w 2663946"/>
                <a:gd name="connsiteY1394" fmla="*/ 126043 h 349223"/>
                <a:gd name="connsiteX1395" fmla="*/ 1472912 w 2663946"/>
                <a:gd name="connsiteY1395" fmla="*/ 76321 h 349223"/>
                <a:gd name="connsiteX1396" fmla="*/ 1479365 w 2663946"/>
                <a:gd name="connsiteY1396" fmla="*/ 70035 h 349223"/>
                <a:gd name="connsiteX1397" fmla="*/ 1480200 w 2663946"/>
                <a:gd name="connsiteY1397" fmla="*/ 70035 h 349223"/>
                <a:gd name="connsiteX1398" fmla="*/ 1480784 w 2663946"/>
                <a:gd name="connsiteY1398" fmla="*/ 70035 h 349223"/>
                <a:gd name="connsiteX1399" fmla="*/ 1481264 w 2663946"/>
                <a:gd name="connsiteY1399" fmla="*/ 65277 h 349223"/>
                <a:gd name="connsiteX1400" fmla="*/ 1506059 w 2663946"/>
                <a:gd name="connsiteY1400" fmla="*/ 45068 h 349223"/>
                <a:gd name="connsiteX1401" fmla="*/ 1415120 w 2663946"/>
                <a:gd name="connsiteY1401" fmla="*/ 45068 h 349223"/>
                <a:gd name="connsiteX1402" fmla="*/ 1439916 w 2663946"/>
                <a:gd name="connsiteY1402" fmla="*/ 65277 h 349223"/>
                <a:gd name="connsiteX1403" fmla="*/ 1440395 w 2663946"/>
                <a:gd name="connsiteY1403" fmla="*/ 70035 h 349223"/>
                <a:gd name="connsiteX1404" fmla="*/ 1441814 w 2663946"/>
                <a:gd name="connsiteY1404" fmla="*/ 70035 h 349223"/>
                <a:gd name="connsiteX1405" fmla="*/ 1448267 w 2663946"/>
                <a:gd name="connsiteY1405" fmla="*/ 76321 h 349223"/>
                <a:gd name="connsiteX1406" fmla="*/ 1448267 w 2663946"/>
                <a:gd name="connsiteY1406" fmla="*/ 126043 h 349223"/>
                <a:gd name="connsiteX1407" fmla="*/ 1441814 w 2663946"/>
                <a:gd name="connsiteY1407" fmla="*/ 132329 h 349223"/>
                <a:gd name="connsiteX1408" fmla="*/ 1388426 w 2663946"/>
                <a:gd name="connsiteY1408" fmla="*/ 132329 h 349223"/>
                <a:gd name="connsiteX1409" fmla="*/ 1381973 w 2663946"/>
                <a:gd name="connsiteY1409" fmla="*/ 126043 h 349223"/>
                <a:gd name="connsiteX1410" fmla="*/ 1381973 w 2663946"/>
                <a:gd name="connsiteY1410" fmla="*/ 76321 h 349223"/>
                <a:gd name="connsiteX1411" fmla="*/ 1388426 w 2663946"/>
                <a:gd name="connsiteY1411" fmla="*/ 70035 h 349223"/>
                <a:gd name="connsiteX1412" fmla="*/ 1389261 w 2663946"/>
                <a:gd name="connsiteY1412" fmla="*/ 70035 h 349223"/>
                <a:gd name="connsiteX1413" fmla="*/ 1389845 w 2663946"/>
                <a:gd name="connsiteY1413" fmla="*/ 70035 h 349223"/>
                <a:gd name="connsiteX1414" fmla="*/ 1390325 w 2663946"/>
                <a:gd name="connsiteY1414" fmla="*/ 65277 h 349223"/>
                <a:gd name="connsiteX1415" fmla="*/ 1415120 w 2663946"/>
                <a:gd name="connsiteY1415" fmla="*/ 45068 h 349223"/>
                <a:gd name="connsiteX1416" fmla="*/ 1157152 w 2663946"/>
                <a:gd name="connsiteY1416" fmla="*/ 45068 h 349223"/>
                <a:gd name="connsiteX1417" fmla="*/ 1181948 w 2663946"/>
                <a:gd name="connsiteY1417" fmla="*/ 65277 h 349223"/>
                <a:gd name="connsiteX1418" fmla="*/ 1182427 w 2663946"/>
                <a:gd name="connsiteY1418" fmla="*/ 70035 h 349223"/>
                <a:gd name="connsiteX1419" fmla="*/ 1183846 w 2663946"/>
                <a:gd name="connsiteY1419" fmla="*/ 70035 h 349223"/>
                <a:gd name="connsiteX1420" fmla="*/ 1190299 w 2663946"/>
                <a:gd name="connsiteY1420" fmla="*/ 76321 h 349223"/>
                <a:gd name="connsiteX1421" fmla="*/ 1190299 w 2663946"/>
                <a:gd name="connsiteY1421" fmla="*/ 126043 h 349223"/>
                <a:gd name="connsiteX1422" fmla="*/ 1183846 w 2663946"/>
                <a:gd name="connsiteY1422" fmla="*/ 132329 h 349223"/>
                <a:gd name="connsiteX1423" fmla="*/ 1130458 w 2663946"/>
                <a:gd name="connsiteY1423" fmla="*/ 132329 h 349223"/>
                <a:gd name="connsiteX1424" fmla="*/ 1124005 w 2663946"/>
                <a:gd name="connsiteY1424" fmla="*/ 126043 h 349223"/>
                <a:gd name="connsiteX1425" fmla="*/ 1124005 w 2663946"/>
                <a:gd name="connsiteY1425" fmla="*/ 76321 h 349223"/>
                <a:gd name="connsiteX1426" fmla="*/ 1130458 w 2663946"/>
                <a:gd name="connsiteY1426" fmla="*/ 70035 h 349223"/>
                <a:gd name="connsiteX1427" fmla="*/ 1131293 w 2663946"/>
                <a:gd name="connsiteY1427" fmla="*/ 70035 h 349223"/>
                <a:gd name="connsiteX1428" fmla="*/ 1131877 w 2663946"/>
                <a:gd name="connsiteY1428" fmla="*/ 70035 h 349223"/>
                <a:gd name="connsiteX1429" fmla="*/ 1132357 w 2663946"/>
                <a:gd name="connsiteY1429" fmla="*/ 65277 h 349223"/>
                <a:gd name="connsiteX1430" fmla="*/ 1157152 w 2663946"/>
                <a:gd name="connsiteY1430" fmla="*/ 45068 h 349223"/>
                <a:gd name="connsiteX1431" fmla="*/ 732156 w 2663946"/>
                <a:gd name="connsiteY1431" fmla="*/ 45068 h 349223"/>
                <a:gd name="connsiteX1432" fmla="*/ 756951 w 2663946"/>
                <a:gd name="connsiteY1432" fmla="*/ 65277 h 349223"/>
                <a:gd name="connsiteX1433" fmla="*/ 757431 w 2663946"/>
                <a:gd name="connsiteY1433" fmla="*/ 70035 h 349223"/>
                <a:gd name="connsiteX1434" fmla="*/ 758849 w 2663946"/>
                <a:gd name="connsiteY1434" fmla="*/ 70035 h 349223"/>
                <a:gd name="connsiteX1435" fmla="*/ 765303 w 2663946"/>
                <a:gd name="connsiteY1435" fmla="*/ 76321 h 349223"/>
                <a:gd name="connsiteX1436" fmla="*/ 765303 w 2663946"/>
                <a:gd name="connsiteY1436" fmla="*/ 126043 h 349223"/>
                <a:gd name="connsiteX1437" fmla="*/ 758849 w 2663946"/>
                <a:gd name="connsiteY1437" fmla="*/ 132329 h 349223"/>
                <a:gd name="connsiteX1438" fmla="*/ 705462 w 2663946"/>
                <a:gd name="connsiteY1438" fmla="*/ 132329 h 349223"/>
                <a:gd name="connsiteX1439" fmla="*/ 699009 w 2663946"/>
                <a:gd name="connsiteY1439" fmla="*/ 126043 h 349223"/>
                <a:gd name="connsiteX1440" fmla="*/ 699009 w 2663946"/>
                <a:gd name="connsiteY1440" fmla="*/ 76321 h 349223"/>
                <a:gd name="connsiteX1441" fmla="*/ 705462 w 2663946"/>
                <a:gd name="connsiteY1441" fmla="*/ 70035 h 349223"/>
                <a:gd name="connsiteX1442" fmla="*/ 706296 w 2663946"/>
                <a:gd name="connsiteY1442" fmla="*/ 70035 h 349223"/>
                <a:gd name="connsiteX1443" fmla="*/ 706881 w 2663946"/>
                <a:gd name="connsiteY1443" fmla="*/ 70035 h 349223"/>
                <a:gd name="connsiteX1444" fmla="*/ 707360 w 2663946"/>
                <a:gd name="connsiteY1444" fmla="*/ 65277 h 349223"/>
                <a:gd name="connsiteX1445" fmla="*/ 732156 w 2663946"/>
                <a:gd name="connsiteY1445" fmla="*/ 45068 h 349223"/>
                <a:gd name="connsiteX1446" fmla="*/ 641217 w 2663946"/>
                <a:gd name="connsiteY1446" fmla="*/ 45068 h 349223"/>
                <a:gd name="connsiteX1447" fmla="*/ 666012 w 2663946"/>
                <a:gd name="connsiteY1447" fmla="*/ 65277 h 349223"/>
                <a:gd name="connsiteX1448" fmla="*/ 666492 w 2663946"/>
                <a:gd name="connsiteY1448" fmla="*/ 70035 h 349223"/>
                <a:gd name="connsiteX1449" fmla="*/ 667910 w 2663946"/>
                <a:gd name="connsiteY1449" fmla="*/ 70035 h 349223"/>
                <a:gd name="connsiteX1450" fmla="*/ 674364 w 2663946"/>
                <a:gd name="connsiteY1450" fmla="*/ 76321 h 349223"/>
                <a:gd name="connsiteX1451" fmla="*/ 674364 w 2663946"/>
                <a:gd name="connsiteY1451" fmla="*/ 126043 h 349223"/>
                <a:gd name="connsiteX1452" fmla="*/ 667910 w 2663946"/>
                <a:gd name="connsiteY1452" fmla="*/ 132329 h 349223"/>
                <a:gd name="connsiteX1453" fmla="*/ 614523 w 2663946"/>
                <a:gd name="connsiteY1453" fmla="*/ 132329 h 349223"/>
                <a:gd name="connsiteX1454" fmla="*/ 608070 w 2663946"/>
                <a:gd name="connsiteY1454" fmla="*/ 126043 h 349223"/>
                <a:gd name="connsiteX1455" fmla="*/ 608070 w 2663946"/>
                <a:gd name="connsiteY1455" fmla="*/ 76321 h 349223"/>
                <a:gd name="connsiteX1456" fmla="*/ 614523 w 2663946"/>
                <a:gd name="connsiteY1456" fmla="*/ 70035 h 349223"/>
                <a:gd name="connsiteX1457" fmla="*/ 615358 w 2663946"/>
                <a:gd name="connsiteY1457" fmla="*/ 70035 h 349223"/>
                <a:gd name="connsiteX1458" fmla="*/ 615942 w 2663946"/>
                <a:gd name="connsiteY1458" fmla="*/ 70035 h 349223"/>
                <a:gd name="connsiteX1459" fmla="*/ 616422 w 2663946"/>
                <a:gd name="connsiteY1459" fmla="*/ 65277 h 349223"/>
                <a:gd name="connsiteX1460" fmla="*/ 641217 w 2663946"/>
                <a:gd name="connsiteY1460" fmla="*/ 45068 h 349223"/>
                <a:gd name="connsiteX1461" fmla="*/ 459266 w 2663946"/>
                <a:gd name="connsiteY1461" fmla="*/ 45068 h 349223"/>
                <a:gd name="connsiteX1462" fmla="*/ 484061 w 2663946"/>
                <a:gd name="connsiteY1462" fmla="*/ 65277 h 349223"/>
                <a:gd name="connsiteX1463" fmla="*/ 484541 w 2663946"/>
                <a:gd name="connsiteY1463" fmla="*/ 70035 h 349223"/>
                <a:gd name="connsiteX1464" fmla="*/ 485959 w 2663946"/>
                <a:gd name="connsiteY1464" fmla="*/ 70035 h 349223"/>
                <a:gd name="connsiteX1465" fmla="*/ 492413 w 2663946"/>
                <a:gd name="connsiteY1465" fmla="*/ 76321 h 349223"/>
                <a:gd name="connsiteX1466" fmla="*/ 492413 w 2663946"/>
                <a:gd name="connsiteY1466" fmla="*/ 126043 h 349223"/>
                <a:gd name="connsiteX1467" fmla="*/ 485959 w 2663946"/>
                <a:gd name="connsiteY1467" fmla="*/ 132329 h 349223"/>
                <a:gd name="connsiteX1468" fmla="*/ 432572 w 2663946"/>
                <a:gd name="connsiteY1468" fmla="*/ 132329 h 349223"/>
                <a:gd name="connsiteX1469" fmla="*/ 426119 w 2663946"/>
                <a:gd name="connsiteY1469" fmla="*/ 126043 h 349223"/>
                <a:gd name="connsiteX1470" fmla="*/ 426119 w 2663946"/>
                <a:gd name="connsiteY1470" fmla="*/ 76321 h 349223"/>
                <a:gd name="connsiteX1471" fmla="*/ 432572 w 2663946"/>
                <a:gd name="connsiteY1471" fmla="*/ 70035 h 349223"/>
                <a:gd name="connsiteX1472" fmla="*/ 433406 w 2663946"/>
                <a:gd name="connsiteY1472" fmla="*/ 70035 h 349223"/>
                <a:gd name="connsiteX1473" fmla="*/ 433991 w 2663946"/>
                <a:gd name="connsiteY1473" fmla="*/ 70035 h 349223"/>
                <a:gd name="connsiteX1474" fmla="*/ 434470 w 2663946"/>
                <a:gd name="connsiteY1474" fmla="*/ 65277 h 349223"/>
                <a:gd name="connsiteX1475" fmla="*/ 459266 w 2663946"/>
                <a:gd name="connsiteY1475" fmla="*/ 45068 h 349223"/>
                <a:gd name="connsiteX1476" fmla="*/ 10338 w 2663946"/>
                <a:gd name="connsiteY1476" fmla="*/ 14680 h 349223"/>
                <a:gd name="connsiteX1477" fmla="*/ 40350 w 2663946"/>
                <a:gd name="connsiteY1477" fmla="*/ 891 h 349223"/>
                <a:gd name="connsiteX1478" fmla="*/ 40891 w 2663946"/>
                <a:gd name="connsiteY1478" fmla="*/ 1431 h 349223"/>
                <a:gd name="connsiteX1479" fmla="*/ 48191 w 2663946"/>
                <a:gd name="connsiteY1479" fmla="*/ 1431 h 349223"/>
                <a:gd name="connsiteX1480" fmla="*/ 52247 w 2663946"/>
                <a:gd name="connsiteY1480" fmla="*/ 2513 h 349223"/>
                <a:gd name="connsiteX1481" fmla="*/ 56032 w 2663946"/>
                <a:gd name="connsiteY1481" fmla="*/ 9272 h 349223"/>
                <a:gd name="connsiteX1482" fmla="*/ 53328 w 2663946"/>
                <a:gd name="connsiteY1482" fmla="*/ 14950 h 349223"/>
                <a:gd name="connsiteX1483" fmla="*/ 49273 w 2663946"/>
                <a:gd name="connsiteY1483" fmla="*/ 16843 h 349223"/>
                <a:gd name="connsiteX1484" fmla="*/ 49002 w 2663946"/>
                <a:gd name="connsiteY1484" fmla="*/ 16843 h 349223"/>
                <a:gd name="connsiteX1485" fmla="*/ 48732 w 2663946"/>
                <a:gd name="connsiteY1485" fmla="*/ 16843 h 349223"/>
                <a:gd name="connsiteX1486" fmla="*/ 48191 w 2663946"/>
                <a:gd name="connsiteY1486" fmla="*/ 16843 h 349223"/>
                <a:gd name="connsiteX1487" fmla="*/ 16016 w 2663946"/>
                <a:gd name="connsiteY1487" fmla="*/ 16843 h 349223"/>
                <a:gd name="connsiteX1488" fmla="*/ 15475 w 2663946"/>
                <a:gd name="connsiteY1488" fmla="*/ 16843 h 349223"/>
                <a:gd name="connsiteX1489" fmla="*/ 14664 w 2663946"/>
                <a:gd name="connsiteY1489" fmla="*/ 16843 h 349223"/>
                <a:gd name="connsiteX1490" fmla="*/ 13853 w 2663946"/>
                <a:gd name="connsiteY1490" fmla="*/ 16573 h 349223"/>
                <a:gd name="connsiteX1491" fmla="*/ 10338 w 2663946"/>
                <a:gd name="connsiteY1491" fmla="*/ 14680 h 349223"/>
                <a:gd name="connsiteX0" fmla="*/ 2632966 w 2663946"/>
                <a:gd name="connsiteY0" fmla="*/ 288257 h 349363"/>
                <a:gd name="connsiteX1" fmla="*/ 2621414 w 2663946"/>
                <a:gd name="connsiteY1" fmla="*/ 290690 h 349363"/>
                <a:gd name="connsiteX2" fmla="*/ 2618218 w 2663946"/>
                <a:gd name="connsiteY2" fmla="*/ 294205 h 349363"/>
                <a:gd name="connsiteX3" fmla="*/ 2616006 w 2663946"/>
                <a:gd name="connsiteY3" fmla="*/ 297990 h 349363"/>
                <a:gd name="connsiteX4" fmla="*/ 2615023 w 2663946"/>
                <a:gd name="connsiteY4" fmla="*/ 300694 h 349363"/>
                <a:gd name="connsiteX5" fmla="*/ 2614039 w 2663946"/>
                <a:gd name="connsiteY5" fmla="*/ 304750 h 349363"/>
                <a:gd name="connsiteX6" fmla="*/ 2613056 w 2663946"/>
                <a:gd name="connsiteY6" fmla="*/ 311780 h 349363"/>
                <a:gd name="connsiteX7" fmla="*/ 2614039 w 2663946"/>
                <a:gd name="connsiteY7" fmla="*/ 319080 h 349363"/>
                <a:gd name="connsiteX8" fmla="*/ 2615269 w 2663946"/>
                <a:gd name="connsiteY8" fmla="*/ 322865 h 349363"/>
                <a:gd name="connsiteX9" fmla="*/ 2617481 w 2663946"/>
                <a:gd name="connsiteY9" fmla="*/ 327191 h 349363"/>
                <a:gd name="connsiteX10" fmla="*/ 2620922 w 2663946"/>
                <a:gd name="connsiteY10" fmla="*/ 331518 h 349363"/>
                <a:gd name="connsiteX11" fmla="*/ 2625346 w 2663946"/>
                <a:gd name="connsiteY11" fmla="*/ 334221 h 349363"/>
                <a:gd name="connsiteX12" fmla="*/ 2637637 w 2663946"/>
                <a:gd name="connsiteY12" fmla="*/ 331788 h 349363"/>
                <a:gd name="connsiteX13" fmla="*/ 2640832 w 2663946"/>
                <a:gd name="connsiteY13" fmla="*/ 328273 h 349363"/>
                <a:gd name="connsiteX14" fmla="*/ 2643290 w 2663946"/>
                <a:gd name="connsiteY14" fmla="*/ 323947 h 349363"/>
                <a:gd name="connsiteX15" fmla="*/ 2644273 w 2663946"/>
                <a:gd name="connsiteY15" fmla="*/ 321784 h 349363"/>
                <a:gd name="connsiteX16" fmla="*/ 2645502 w 2663946"/>
                <a:gd name="connsiteY16" fmla="*/ 317458 h 349363"/>
                <a:gd name="connsiteX17" fmla="*/ 2645011 w 2663946"/>
                <a:gd name="connsiteY17" fmla="*/ 303668 h 349363"/>
                <a:gd name="connsiteX18" fmla="*/ 2644027 w 2663946"/>
                <a:gd name="connsiteY18" fmla="*/ 300694 h 349363"/>
                <a:gd name="connsiteX19" fmla="*/ 2642799 w 2663946"/>
                <a:gd name="connsiteY19" fmla="*/ 297720 h 349363"/>
                <a:gd name="connsiteX20" fmla="*/ 2640586 w 2663946"/>
                <a:gd name="connsiteY20" fmla="*/ 294205 h 349363"/>
                <a:gd name="connsiteX21" fmla="*/ 2636899 w 2663946"/>
                <a:gd name="connsiteY21" fmla="*/ 290420 h 349363"/>
                <a:gd name="connsiteX22" fmla="*/ 2632966 w 2663946"/>
                <a:gd name="connsiteY22" fmla="*/ 288257 h 349363"/>
                <a:gd name="connsiteX23" fmla="*/ 2627559 w 2663946"/>
                <a:gd name="connsiteY23" fmla="*/ 272304 h 349363"/>
                <a:gd name="connsiteX24" fmla="*/ 2639849 w 2663946"/>
                <a:gd name="connsiteY24" fmla="*/ 274467 h 349363"/>
                <a:gd name="connsiteX25" fmla="*/ 2647223 w 2663946"/>
                <a:gd name="connsiteY25" fmla="*/ 279064 h 349363"/>
                <a:gd name="connsiteX26" fmla="*/ 2650664 w 2663946"/>
                <a:gd name="connsiteY26" fmla="*/ 282308 h 349363"/>
                <a:gd name="connsiteX27" fmla="*/ 2654106 w 2663946"/>
                <a:gd name="connsiteY27" fmla="*/ 286634 h 349363"/>
                <a:gd name="connsiteX28" fmla="*/ 2656072 w 2663946"/>
                <a:gd name="connsiteY28" fmla="*/ 290149 h 349363"/>
                <a:gd name="connsiteX29" fmla="*/ 2658284 w 2663946"/>
                <a:gd name="connsiteY29" fmla="*/ 295557 h 349363"/>
                <a:gd name="connsiteX30" fmla="*/ 2659267 w 2663946"/>
                <a:gd name="connsiteY30" fmla="*/ 299072 h 349363"/>
                <a:gd name="connsiteX31" fmla="*/ 2660251 w 2663946"/>
                <a:gd name="connsiteY31" fmla="*/ 304209 h 349363"/>
                <a:gd name="connsiteX32" fmla="*/ 2660005 w 2663946"/>
                <a:gd name="connsiteY32" fmla="*/ 318539 h 349363"/>
                <a:gd name="connsiteX33" fmla="*/ 2659022 w 2663946"/>
                <a:gd name="connsiteY33" fmla="*/ 323406 h 349363"/>
                <a:gd name="connsiteX34" fmla="*/ 2657792 w 2663946"/>
                <a:gd name="connsiteY34" fmla="*/ 327191 h 349363"/>
                <a:gd name="connsiteX35" fmla="*/ 2656809 w 2663946"/>
                <a:gd name="connsiteY35" fmla="*/ 329625 h 349363"/>
                <a:gd name="connsiteX36" fmla="*/ 2654597 w 2663946"/>
                <a:gd name="connsiteY36" fmla="*/ 333951 h 349363"/>
                <a:gd name="connsiteX37" fmla="*/ 2652385 w 2663946"/>
                <a:gd name="connsiteY37" fmla="*/ 337195 h 349363"/>
                <a:gd name="connsiteX38" fmla="*/ 2648944 w 2663946"/>
                <a:gd name="connsiteY38" fmla="*/ 340981 h 349363"/>
                <a:gd name="connsiteX39" fmla="*/ 2645748 w 2663946"/>
                <a:gd name="connsiteY39" fmla="*/ 343684 h 349363"/>
                <a:gd name="connsiteX40" fmla="*/ 2640095 w 2663946"/>
                <a:gd name="connsiteY40" fmla="*/ 346929 h 349363"/>
                <a:gd name="connsiteX41" fmla="*/ 2632229 w 2663946"/>
                <a:gd name="connsiteY41" fmla="*/ 349092 h 349363"/>
                <a:gd name="connsiteX42" fmla="*/ 2631000 w 2663946"/>
                <a:gd name="connsiteY42" fmla="*/ 349363 h 349363"/>
                <a:gd name="connsiteX43" fmla="*/ 2626821 w 2663946"/>
                <a:gd name="connsiteY43" fmla="*/ 349363 h 349363"/>
                <a:gd name="connsiteX44" fmla="*/ 2626576 w 2663946"/>
                <a:gd name="connsiteY44" fmla="*/ 349363 h 349363"/>
                <a:gd name="connsiteX45" fmla="*/ 2613548 w 2663946"/>
                <a:gd name="connsiteY45" fmla="*/ 344496 h 349363"/>
                <a:gd name="connsiteX46" fmla="*/ 2608878 w 2663946"/>
                <a:gd name="connsiteY46" fmla="*/ 340440 h 349363"/>
                <a:gd name="connsiteX47" fmla="*/ 2605682 w 2663946"/>
                <a:gd name="connsiteY47" fmla="*/ 336655 h 349363"/>
                <a:gd name="connsiteX48" fmla="*/ 2603470 w 2663946"/>
                <a:gd name="connsiteY48" fmla="*/ 333140 h 349363"/>
                <a:gd name="connsiteX49" fmla="*/ 2601258 w 2663946"/>
                <a:gd name="connsiteY49" fmla="*/ 328814 h 349363"/>
                <a:gd name="connsiteX50" fmla="*/ 2600029 w 2663946"/>
                <a:gd name="connsiteY50" fmla="*/ 325839 h 349363"/>
                <a:gd name="connsiteX51" fmla="*/ 2599046 w 2663946"/>
                <a:gd name="connsiteY51" fmla="*/ 322595 h 349363"/>
                <a:gd name="connsiteX52" fmla="*/ 2597816 w 2663946"/>
                <a:gd name="connsiteY52" fmla="*/ 316917 h 349363"/>
                <a:gd name="connsiteX53" fmla="*/ 2597571 w 2663946"/>
                <a:gd name="connsiteY53" fmla="*/ 313943 h 349363"/>
                <a:gd name="connsiteX54" fmla="*/ 2597816 w 2663946"/>
                <a:gd name="connsiteY54" fmla="*/ 314213 h 349363"/>
                <a:gd name="connsiteX55" fmla="*/ 2597816 w 2663946"/>
                <a:gd name="connsiteY55" fmla="*/ 308535 h 349363"/>
                <a:gd name="connsiteX56" fmla="*/ 2597816 w 2663946"/>
                <a:gd name="connsiteY56" fmla="*/ 308265 h 349363"/>
                <a:gd name="connsiteX57" fmla="*/ 2598308 w 2663946"/>
                <a:gd name="connsiteY57" fmla="*/ 303668 h 349363"/>
                <a:gd name="connsiteX58" fmla="*/ 2599537 w 2663946"/>
                <a:gd name="connsiteY58" fmla="*/ 298261 h 349363"/>
                <a:gd name="connsiteX59" fmla="*/ 2600520 w 2663946"/>
                <a:gd name="connsiteY59" fmla="*/ 295016 h 349363"/>
                <a:gd name="connsiteX60" fmla="*/ 2602732 w 2663946"/>
                <a:gd name="connsiteY60" fmla="*/ 289879 h 349363"/>
                <a:gd name="connsiteX61" fmla="*/ 2604945 w 2663946"/>
                <a:gd name="connsiteY61" fmla="*/ 286094 h 349363"/>
                <a:gd name="connsiteX62" fmla="*/ 2607157 w 2663946"/>
                <a:gd name="connsiteY62" fmla="*/ 283119 h 349363"/>
                <a:gd name="connsiteX63" fmla="*/ 2609369 w 2663946"/>
                <a:gd name="connsiteY63" fmla="*/ 280686 h 349363"/>
                <a:gd name="connsiteX64" fmla="*/ 2614039 w 2663946"/>
                <a:gd name="connsiteY64" fmla="*/ 276901 h 349363"/>
                <a:gd name="connsiteX65" fmla="*/ 2617972 w 2663946"/>
                <a:gd name="connsiteY65" fmla="*/ 274738 h 349363"/>
                <a:gd name="connsiteX66" fmla="*/ 2627559 w 2663946"/>
                <a:gd name="connsiteY66" fmla="*/ 272304 h 349363"/>
                <a:gd name="connsiteX67" fmla="*/ 2631061 w 2663946"/>
                <a:gd name="connsiteY67" fmla="*/ 208394 h 349363"/>
                <a:gd name="connsiteX68" fmla="*/ 2621591 w 2663946"/>
                <a:gd name="connsiteY68" fmla="*/ 217668 h 349363"/>
                <a:gd name="connsiteX69" fmla="*/ 2626545 w 2663946"/>
                <a:gd name="connsiteY69" fmla="*/ 225825 h 349363"/>
                <a:gd name="connsiteX70" fmla="*/ 2626545 w 2663946"/>
                <a:gd name="connsiteY70" fmla="*/ 234220 h 349363"/>
                <a:gd name="connsiteX71" fmla="*/ 2631061 w 2663946"/>
                <a:gd name="connsiteY71" fmla="*/ 238643 h 349363"/>
                <a:gd name="connsiteX72" fmla="*/ 2635578 w 2663946"/>
                <a:gd name="connsiteY72" fmla="*/ 234220 h 349363"/>
                <a:gd name="connsiteX73" fmla="*/ 2635578 w 2663946"/>
                <a:gd name="connsiteY73" fmla="*/ 225825 h 349363"/>
                <a:gd name="connsiteX74" fmla="*/ 2640532 w 2663946"/>
                <a:gd name="connsiteY74" fmla="*/ 217668 h 349363"/>
                <a:gd name="connsiteX75" fmla="*/ 2631061 w 2663946"/>
                <a:gd name="connsiteY75" fmla="*/ 208394 h 349363"/>
                <a:gd name="connsiteX76" fmla="*/ 2630799 w 2663946"/>
                <a:gd name="connsiteY76" fmla="*/ 169677 h 349363"/>
                <a:gd name="connsiteX77" fmla="*/ 2619139 w 2663946"/>
                <a:gd name="connsiteY77" fmla="*/ 177406 h 349363"/>
                <a:gd name="connsiteX78" fmla="*/ 2618214 w 2663946"/>
                <a:gd name="connsiteY78" fmla="*/ 181989 h 349363"/>
                <a:gd name="connsiteX79" fmla="*/ 2621454 w 2663946"/>
                <a:gd name="connsiteY79" fmla="*/ 181989 h 349363"/>
                <a:gd name="connsiteX80" fmla="*/ 2639871 w 2663946"/>
                <a:gd name="connsiteY80" fmla="*/ 181989 h 349363"/>
                <a:gd name="connsiteX81" fmla="*/ 2643385 w 2663946"/>
                <a:gd name="connsiteY81" fmla="*/ 181989 h 349363"/>
                <a:gd name="connsiteX82" fmla="*/ 2642460 w 2663946"/>
                <a:gd name="connsiteY82" fmla="*/ 177406 h 349363"/>
                <a:gd name="connsiteX83" fmla="*/ 2630799 w 2663946"/>
                <a:gd name="connsiteY83" fmla="*/ 169677 h 349363"/>
                <a:gd name="connsiteX84" fmla="*/ 2630799 w 2663946"/>
                <a:gd name="connsiteY84" fmla="*/ 157022 h 349363"/>
                <a:gd name="connsiteX85" fmla="*/ 2655595 w 2663946"/>
                <a:gd name="connsiteY85" fmla="*/ 177231 h 349363"/>
                <a:gd name="connsiteX86" fmla="*/ 2656074 w 2663946"/>
                <a:gd name="connsiteY86" fmla="*/ 181989 h 349363"/>
                <a:gd name="connsiteX87" fmla="*/ 2657493 w 2663946"/>
                <a:gd name="connsiteY87" fmla="*/ 181989 h 349363"/>
                <a:gd name="connsiteX88" fmla="*/ 2663946 w 2663946"/>
                <a:gd name="connsiteY88" fmla="*/ 188275 h 349363"/>
                <a:gd name="connsiteX89" fmla="*/ 2663946 w 2663946"/>
                <a:gd name="connsiteY89" fmla="*/ 237997 h 349363"/>
                <a:gd name="connsiteX90" fmla="*/ 2657493 w 2663946"/>
                <a:gd name="connsiteY90" fmla="*/ 244283 h 349363"/>
                <a:gd name="connsiteX91" fmla="*/ 2604106 w 2663946"/>
                <a:gd name="connsiteY91" fmla="*/ 244283 h 349363"/>
                <a:gd name="connsiteX92" fmla="*/ 2597652 w 2663946"/>
                <a:gd name="connsiteY92" fmla="*/ 237997 h 349363"/>
                <a:gd name="connsiteX93" fmla="*/ 2597652 w 2663946"/>
                <a:gd name="connsiteY93" fmla="*/ 188275 h 349363"/>
                <a:gd name="connsiteX94" fmla="*/ 2604106 w 2663946"/>
                <a:gd name="connsiteY94" fmla="*/ 181989 h 349363"/>
                <a:gd name="connsiteX95" fmla="*/ 2604940 w 2663946"/>
                <a:gd name="connsiteY95" fmla="*/ 181989 h 349363"/>
                <a:gd name="connsiteX96" fmla="*/ 2605524 w 2663946"/>
                <a:gd name="connsiteY96" fmla="*/ 181989 h 349363"/>
                <a:gd name="connsiteX97" fmla="*/ 2606004 w 2663946"/>
                <a:gd name="connsiteY97" fmla="*/ 177231 h 349363"/>
                <a:gd name="connsiteX98" fmla="*/ 2630799 w 2663946"/>
                <a:gd name="connsiteY98" fmla="*/ 157022 h 349363"/>
                <a:gd name="connsiteX99" fmla="*/ 33409 w 2663946"/>
                <a:gd name="connsiteY99" fmla="*/ 104168 h 349363"/>
                <a:gd name="connsiteX100" fmla="*/ 23938 w 2663946"/>
                <a:gd name="connsiteY100" fmla="*/ 113442 h 349363"/>
                <a:gd name="connsiteX101" fmla="*/ 28892 w 2663946"/>
                <a:gd name="connsiteY101" fmla="*/ 121599 h 349363"/>
                <a:gd name="connsiteX102" fmla="*/ 28892 w 2663946"/>
                <a:gd name="connsiteY102" fmla="*/ 129994 h 349363"/>
                <a:gd name="connsiteX103" fmla="*/ 33409 w 2663946"/>
                <a:gd name="connsiteY103" fmla="*/ 134417 h 349363"/>
                <a:gd name="connsiteX104" fmla="*/ 37926 w 2663946"/>
                <a:gd name="connsiteY104" fmla="*/ 129994 h 349363"/>
                <a:gd name="connsiteX105" fmla="*/ 37926 w 2663946"/>
                <a:gd name="connsiteY105" fmla="*/ 121599 h 349363"/>
                <a:gd name="connsiteX106" fmla="*/ 42880 w 2663946"/>
                <a:gd name="connsiteY106" fmla="*/ 113442 h 349363"/>
                <a:gd name="connsiteX107" fmla="*/ 33409 w 2663946"/>
                <a:gd name="connsiteY107" fmla="*/ 104168 h 349363"/>
                <a:gd name="connsiteX108" fmla="*/ 2538193 w 2663946"/>
                <a:gd name="connsiteY108" fmla="*/ 96580 h 349363"/>
                <a:gd name="connsiteX109" fmla="*/ 2528723 w 2663946"/>
                <a:gd name="connsiteY109" fmla="*/ 105854 h 349363"/>
                <a:gd name="connsiteX110" fmla="*/ 2533677 w 2663946"/>
                <a:gd name="connsiteY110" fmla="*/ 114011 h 349363"/>
                <a:gd name="connsiteX111" fmla="*/ 2533677 w 2663946"/>
                <a:gd name="connsiteY111" fmla="*/ 122406 h 349363"/>
                <a:gd name="connsiteX112" fmla="*/ 2538193 w 2663946"/>
                <a:gd name="connsiteY112" fmla="*/ 126829 h 349363"/>
                <a:gd name="connsiteX113" fmla="*/ 2542710 w 2663946"/>
                <a:gd name="connsiteY113" fmla="*/ 122406 h 349363"/>
                <a:gd name="connsiteX114" fmla="*/ 2542710 w 2663946"/>
                <a:gd name="connsiteY114" fmla="*/ 114011 h 349363"/>
                <a:gd name="connsiteX115" fmla="*/ 2547664 w 2663946"/>
                <a:gd name="connsiteY115" fmla="*/ 105854 h 349363"/>
                <a:gd name="connsiteX116" fmla="*/ 2538193 w 2663946"/>
                <a:gd name="connsiteY116" fmla="*/ 96580 h 349363"/>
                <a:gd name="connsiteX117" fmla="*/ 2113196 w 2663946"/>
                <a:gd name="connsiteY117" fmla="*/ 96580 h 349363"/>
                <a:gd name="connsiteX118" fmla="*/ 2103726 w 2663946"/>
                <a:gd name="connsiteY118" fmla="*/ 105854 h 349363"/>
                <a:gd name="connsiteX119" fmla="*/ 2108680 w 2663946"/>
                <a:gd name="connsiteY119" fmla="*/ 114011 h 349363"/>
                <a:gd name="connsiteX120" fmla="*/ 2108680 w 2663946"/>
                <a:gd name="connsiteY120" fmla="*/ 122406 h 349363"/>
                <a:gd name="connsiteX121" fmla="*/ 2113196 w 2663946"/>
                <a:gd name="connsiteY121" fmla="*/ 126829 h 349363"/>
                <a:gd name="connsiteX122" fmla="*/ 2117713 w 2663946"/>
                <a:gd name="connsiteY122" fmla="*/ 122406 h 349363"/>
                <a:gd name="connsiteX123" fmla="*/ 2117713 w 2663946"/>
                <a:gd name="connsiteY123" fmla="*/ 114011 h 349363"/>
                <a:gd name="connsiteX124" fmla="*/ 2122667 w 2663946"/>
                <a:gd name="connsiteY124" fmla="*/ 105854 h 349363"/>
                <a:gd name="connsiteX125" fmla="*/ 2113196 w 2663946"/>
                <a:gd name="connsiteY125" fmla="*/ 96580 h 349363"/>
                <a:gd name="connsiteX126" fmla="*/ 1855228 w 2663946"/>
                <a:gd name="connsiteY126" fmla="*/ 96580 h 349363"/>
                <a:gd name="connsiteX127" fmla="*/ 1845758 w 2663946"/>
                <a:gd name="connsiteY127" fmla="*/ 105854 h 349363"/>
                <a:gd name="connsiteX128" fmla="*/ 1850712 w 2663946"/>
                <a:gd name="connsiteY128" fmla="*/ 114011 h 349363"/>
                <a:gd name="connsiteX129" fmla="*/ 1850712 w 2663946"/>
                <a:gd name="connsiteY129" fmla="*/ 122406 h 349363"/>
                <a:gd name="connsiteX130" fmla="*/ 1855228 w 2663946"/>
                <a:gd name="connsiteY130" fmla="*/ 126829 h 349363"/>
                <a:gd name="connsiteX131" fmla="*/ 1859745 w 2663946"/>
                <a:gd name="connsiteY131" fmla="*/ 122406 h 349363"/>
                <a:gd name="connsiteX132" fmla="*/ 1859745 w 2663946"/>
                <a:gd name="connsiteY132" fmla="*/ 114011 h 349363"/>
                <a:gd name="connsiteX133" fmla="*/ 1864699 w 2663946"/>
                <a:gd name="connsiteY133" fmla="*/ 105854 h 349363"/>
                <a:gd name="connsiteX134" fmla="*/ 1855228 w 2663946"/>
                <a:gd name="connsiteY134" fmla="*/ 96580 h 349363"/>
                <a:gd name="connsiteX135" fmla="*/ 1764289 w 2663946"/>
                <a:gd name="connsiteY135" fmla="*/ 96580 h 349363"/>
                <a:gd name="connsiteX136" fmla="*/ 1754819 w 2663946"/>
                <a:gd name="connsiteY136" fmla="*/ 105854 h 349363"/>
                <a:gd name="connsiteX137" fmla="*/ 1759773 w 2663946"/>
                <a:gd name="connsiteY137" fmla="*/ 114011 h 349363"/>
                <a:gd name="connsiteX138" fmla="*/ 1759773 w 2663946"/>
                <a:gd name="connsiteY138" fmla="*/ 122406 h 349363"/>
                <a:gd name="connsiteX139" fmla="*/ 1764289 w 2663946"/>
                <a:gd name="connsiteY139" fmla="*/ 126829 h 349363"/>
                <a:gd name="connsiteX140" fmla="*/ 1768806 w 2663946"/>
                <a:gd name="connsiteY140" fmla="*/ 122406 h 349363"/>
                <a:gd name="connsiteX141" fmla="*/ 1768806 w 2663946"/>
                <a:gd name="connsiteY141" fmla="*/ 114011 h 349363"/>
                <a:gd name="connsiteX142" fmla="*/ 1773760 w 2663946"/>
                <a:gd name="connsiteY142" fmla="*/ 105854 h 349363"/>
                <a:gd name="connsiteX143" fmla="*/ 1764289 w 2663946"/>
                <a:gd name="connsiteY143" fmla="*/ 96580 h 349363"/>
                <a:gd name="connsiteX144" fmla="*/ 1506321 w 2663946"/>
                <a:gd name="connsiteY144" fmla="*/ 96580 h 349363"/>
                <a:gd name="connsiteX145" fmla="*/ 1496851 w 2663946"/>
                <a:gd name="connsiteY145" fmla="*/ 105854 h 349363"/>
                <a:gd name="connsiteX146" fmla="*/ 1501805 w 2663946"/>
                <a:gd name="connsiteY146" fmla="*/ 114011 h 349363"/>
                <a:gd name="connsiteX147" fmla="*/ 1501805 w 2663946"/>
                <a:gd name="connsiteY147" fmla="*/ 122406 h 349363"/>
                <a:gd name="connsiteX148" fmla="*/ 1506321 w 2663946"/>
                <a:gd name="connsiteY148" fmla="*/ 126829 h 349363"/>
                <a:gd name="connsiteX149" fmla="*/ 1510838 w 2663946"/>
                <a:gd name="connsiteY149" fmla="*/ 122406 h 349363"/>
                <a:gd name="connsiteX150" fmla="*/ 1510838 w 2663946"/>
                <a:gd name="connsiteY150" fmla="*/ 114011 h 349363"/>
                <a:gd name="connsiteX151" fmla="*/ 1515792 w 2663946"/>
                <a:gd name="connsiteY151" fmla="*/ 105854 h 349363"/>
                <a:gd name="connsiteX152" fmla="*/ 1506321 w 2663946"/>
                <a:gd name="connsiteY152" fmla="*/ 96580 h 349363"/>
                <a:gd name="connsiteX153" fmla="*/ 1415382 w 2663946"/>
                <a:gd name="connsiteY153" fmla="*/ 96580 h 349363"/>
                <a:gd name="connsiteX154" fmla="*/ 1405912 w 2663946"/>
                <a:gd name="connsiteY154" fmla="*/ 105854 h 349363"/>
                <a:gd name="connsiteX155" fmla="*/ 1410866 w 2663946"/>
                <a:gd name="connsiteY155" fmla="*/ 114011 h 349363"/>
                <a:gd name="connsiteX156" fmla="*/ 1410866 w 2663946"/>
                <a:gd name="connsiteY156" fmla="*/ 122406 h 349363"/>
                <a:gd name="connsiteX157" fmla="*/ 1415382 w 2663946"/>
                <a:gd name="connsiteY157" fmla="*/ 126829 h 349363"/>
                <a:gd name="connsiteX158" fmla="*/ 1419899 w 2663946"/>
                <a:gd name="connsiteY158" fmla="*/ 122406 h 349363"/>
                <a:gd name="connsiteX159" fmla="*/ 1419899 w 2663946"/>
                <a:gd name="connsiteY159" fmla="*/ 114011 h 349363"/>
                <a:gd name="connsiteX160" fmla="*/ 1424853 w 2663946"/>
                <a:gd name="connsiteY160" fmla="*/ 105854 h 349363"/>
                <a:gd name="connsiteX161" fmla="*/ 1415382 w 2663946"/>
                <a:gd name="connsiteY161" fmla="*/ 96580 h 349363"/>
                <a:gd name="connsiteX162" fmla="*/ 1157414 w 2663946"/>
                <a:gd name="connsiteY162" fmla="*/ 96580 h 349363"/>
                <a:gd name="connsiteX163" fmla="*/ 1147944 w 2663946"/>
                <a:gd name="connsiteY163" fmla="*/ 105854 h 349363"/>
                <a:gd name="connsiteX164" fmla="*/ 1152898 w 2663946"/>
                <a:gd name="connsiteY164" fmla="*/ 114011 h 349363"/>
                <a:gd name="connsiteX165" fmla="*/ 1152898 w 2663946"/>
                <a:gd name="connsiteY165" fmla="*/ 122406 h 349363"/>
                <a:gd name="connsiteX166" fmla="*/ 1157414 w 2663946"/>
                <a:gd name="connsiteY166" fmla="*/ 126829 h 349363"/>
                <a:gd name="connsiteX167" fmla="*/ 1161931 w 2663946"/>
                <a:gd name="connsiteY167" fmla="*/ 122406 h 349363"/>
                <a:gd name="connsiteX168" fmla="*/ 1161931 w 2663946"/>
                <a:gd name="connsiteY168" fmla="*/ 114011 h 349363"/>
                <a:gd name="connsiteX169" fmla="*/ 1166885 w 2663946"/>
                <a:gd name="connsiteY169" fmla="*/ 105854 h 349363"/>
                <a:gd name="connsiteX170" fmla="*/ 1157414 w 2663946"/>
                <a:gd name="connsiteY170" fmla="*/ 96580 h 349363"/>
                <a:gd name="connsiteX171" fmla="*/ 732418 w 2663946"/>
                <a:gd name="connsiteY171" fmla="*/ 96580 h 349363"/>
                <a:gd name="connsiteX172" fmla="*/ 722947 w 2663946"/>
                <a:gd name="connsiteY172" fmla="*/ 105854 h 349363"/>
                <a:gd name="connsiteX173" fmla="*/ 727901 w 2663946"/>
                <a:gd name="connsiteY173" fmla="*/ 114011 h 349363"/>
                <a:gd name="connsiteX174" fmla="*/ 727901 w 2663946"/>
                <a:gd name="connsiteY174" fmla="*/ 122406 h 349363"/>
                <a:gd name="connsiteX175" fmla="*/ 732418 w 2663946"/>
                <a:gd name="connsiteY175" fmla="*/ 126829 h 349363"/>
                <a:gd name="connsiteX176" fmla="*/ 736935 w 2663946"/>
                <a:gd name="connsiteY176" fmla="*/ 122406 h 349363"/>
                <a:gd name="connsiteX177" fmla="*/ 736935 w 2663946"/>
                <a:gd name="connsiteY177" fmla="*/ 114011 h 349363"/>
                <a:gd name="connsiteX178" fmla="*/ 741889 w 2663946"/>
                <a:gd name="connsiteY178" fmla="*/ 105854 h 349363"/>
                <a:gd name="connsiteX179" fmla="*/ 732418 w 2663946"/>
                <a:gd name="connsiteY179" fmla="*/ 96580 h 349363"/>
                <a:gd name="connsiteX180" fmla="*/ 641479 w 2663946"/>
                <a:gd name="connsiteY180" fmla="*/ 96580 h 349363"/>
                <a:gd name="connsiteX181" fmla="*/ 632008 w 2663946"/>
                <a:gd name="connsiteY181" fmla="*/ 105854 h 349363"/>
                <a:gd name="connsiteX182" fmla="*/ 636962 w 2663946"/>
                <a:gd name="connsiteY182" fmla="*/ 114011 h 349363"/>
                <a:gd name="connsiteX183" fmla="*/ 636962 w 2663946"/>
                <a:gd name="connsiteY183" fmla="*/ 122406 h 349363"/>
                <a:gd name="connsiteX184" fmla="*/ 641479 w 2663946"/>
                <a:gd name="connsiteY184" fmla="*/ 126829 h 349363"/>
                <a:gd name="connsiteX185" fmla="*/ 645996 w 2663946"/>
                <a:gd name="connsiteY185" fmla="*/ 122406 h 349363"/>
                <a:gd name="connsiteX186" fmla="*/ 645996 w 2663946"/>
                <a:gd name="connsiteY186" fmla="*/ 114011 h 349363"/>
                <a:gd name="connsiteX187" fmla="*/ 650950 w 2663946"/>
                <a:gd name="connsiteY187" fmla="*/ 105854 h 349363"/>
                <a:gd name="connsiteX188" fmla="*/ 641479 w 2663946"/>
                <a:gd name="connsiteY188" fmla="*/ 96580 h 349363"/>
                <a:gd name="connsiteX189" fmla="*/ 459528 w 2663946"/>
                <a:gd name="connsiteY189" fmla="*/ 96580 h 349363"/>
                <a:gd name="connsiteX190" fmla="*/ 450057 w 2663946"/>
                <a:gd name="connsiteY190" fmla="*/ 105854 h 349363"/>
                <a:gd name="connsiteX191" fmla="*/ 455011 w 2663946"/>
                <a:gd name="connsiteY191" fmla="*/ 114011 h 349363"/>
                <a:gd name="connsiteX192" fmla="*/ 455011 w 2663946"/>
                <a:gd name="connsiteY192" fmla="*/ 122406 h 349363"/>
                <a:gd name="connsiteX193" fmla="*/ 459528 w 2663946"/>
                <a:gd name="connsiteY193" fmla="*/ 126829 h 349363"/>
                <a:gd name="connsiteX194" fmla="*/ 464045 w 2663946"/>
                <a:gd name="connsiteY194" fmla="*/ 122406 h 349363"/>
                <a:gd name="connsiteX195" fmla="*/ 464045 w 2663946"/>
                <a:gd name="connsiteY195" fmla="*/ 114011 h 349363"/>
                <a:gd name="connsiteX196" fmla="*/ 468999 w 2663946"/>
                <a:gd name="connsiteY196" fmla="*/ 105854 h 349363"/>
                <a:gd name="connsiteX197" fmla="*/ 459528 w 2663946"/>
                <a:gd name="connsiteY197" fmla="*/ 96580 h 349363"/>
                <a:gd name="connsiteX198" fmla="*/ 2632966 w 2663946"/>
                <a:gd name="connsiteY198" fmla="*/ 69387 h 349363"/>
                <a:gd name="connsiteX199" fmla="*/ 2621414 w 2663946"/>
                <a:gd name="connsiteY199" fmla="*/ 71820 h 349363"/>
                <a:gd name="connsiteX200" fmla="*/ 2618218 w 2663946"/>
                <a:gd name="connsiteY200" fmla="*/ 75335 h 349363"/>
                <a:gd name="connsiteX201" fmla="*/ 2616006 w 2663946"/>
                <a:gd name="connsiteY201" fmla="*/ 79120 h 349363"/>
                <a:gd name="connsiteX202" fmla="*/ 2615023 w 2663946"/>
                <a:gd name="connsiteY202" fmla="*/ 81824 h 349363"/>
                <a:gd name="connsiteX203" fmla="*/ 2614039 w 2663946"/>
                <a:gd name="connsiteY203" fmla="*/ 85880 h 349363"/>
                <a:gd name="connsiteX204" fmla="*/ 2613056 w 2663946"/>
                <a:gd name="connsiteY204" fmla="*/ 92910 h 349363"/>
                <a:gd name="connsiteX205" fmla="*/ 2614039 w 2663946"/>
                <a:gd name="connsiteY205" fmla="*/ 100210 h 349363"/>
                <a:gd name="connsiteX206" fmla="*/ 2615269 w 2663946"/>
                <a:gd name="connsiteY206" fmla="*/ 103995 h 349363"/>
                <a:gd name="connsiteX207" fmla="*/ 2617481 w 2663946"/>
                <a:gd name="connsiteY207" fmla="*/ 108321 h 349363"/>
                <a:gd name="connsiteX208" fmla="*/ 2620922 w 2663946"/>
                <a:gd name="connsiteY208" fmla="*/ 112648 h 349363"/>
                <a:gd name="connsiteX209" fmla="*/ 2625346 w 2663946"/>
                <a:gd name="connsiteY209" fmla="*/ 115351 h 349363"/>
                <a:gd name="connsiteX210" fmla="*/ 2637637 w 2663946"/>
                <a:gd name="connsiteY210" fmla="*/ 112918 h 349363"/>
                <a:gd name="connsiteX211" fmla="*/ 2640832 w 2663946"/>
                <a:gd name="connsiteY211" fmla="*/ 109403 h 349363"/>
                <a:gd name="connsiteX212" fmla="*/ 2643290 w 2663946"/>
                <a:gd name="connsiteY212" fmla="*/ 105077 h 349363"/>
                <a:gd name="connsiteX213" fmla="*/ 2644273 w 2663946"/>
                <a:gd name="connsiteY213" fmla="*/ 102914 h 349363"/>
                <a:gd name="connsiteX214" fmla="*/ 2645502 w 2663946"/>
                <a:gd name="connsiteY214" fmla="*/ 98588 h 349363"/>
                <a:gd name="connsiteX215" fmla="*/ 2645011 w 2663946"/>
                <a:gd name="connsiteY215" fmla="*/ 84798 h 349363"/>
                <a:gd name="connsiteX216" fmla="*/ 2644027 w 2663946"/>
                <a:gd name="connsiteY216" fmla="*/ 81824 h 349363"/>
                <a:gd name="connsiteX217" fmla="*/ 2642799 w 2663946"/>
                <a:gd name="connsiteY217" fmla="*/ 78850 h 349363"/>
                <a:gd name="connsiteX218" fmla="*/ 2640586 w 2663946"/>
                <a:gd name="connsiteY218" fmla="*/ 75335 h 349363"/>
                <a:gd name="connsiteX219" fmla="*/ 2636899 w 2663946"/>
                <a:gd name="connsiteY219" fmla="*/ 71550 h 349363"/>
                <a:gd name="connsiteX220" fmla="*/ 2632966 w 2663946"/>
                <a:gd name="connsiteY220" fmla="*/ 69387 h 349363"/>
                <a:gd name="connsiteX221" fmla="*/ 2451011 w 2663946"/>
                <a:gd name="connsiteY221" fmla="*/ 69387 h 349363"/>
                <a:gd name="connsiteX222" fmla="*/ 2439459 w 2663946"/>
                <a:gd name="connsiteY222" fmla="*/ 71820 h 349363"/>
                <a:gd name="connsiteX223" fmla="*/ 2436263 w 2663946"/>
                <a:gd name="connsiteY223" fmla="*/ 75335 h 349363"/>
                <a:gd name="connsiteX224" fmla="*/ 2434051 w 2663946"/>
                <a:gd name="connsiteY224" fmla="*/ 79120 h 349363"/>
                <a:gd name="connsiteX225" fmla="*/ 2433068 w 2663946"/>
                <a:gd name="connsiteY225" fmla="*/ 81824 h 349363"/>
                <a:gd name="connsiteX226" fmla="*/ 2432084 w 2663946"/>
                <a:gd name="connsiteY226" fmla="*/ 85880 h 349363"/>
                <a:gd name="connsiteX227" fmla="*/ 2431101 w 2663946"/>
                <a:gd name="connsiteY227" fmla="*/ 92910 h 349363"/>
                <a:gd name="connsiteX228" fmla="*/ 2432084 w 2663946"/>
                <a:gd name="connsiteY228" fmla="*/ 100210 h 349363"/>
                <a:gd name="connsiteX229" fmla="*/ 2433314 w 2663946"/>
                <a:gd name="connsiteY229" fmla="*/ 103995 h 349363"/>
                <a:gd name="connsiteX230" fmla="*/ 2435526 w 2663946"/>
                <a:gd name="connsiteY230" fmla="*/ 108321 h 349363"/>
                <a:gd name="connsiteX231" fmla="*/ 2438967 w 2663946"/>
                <a:gd name="connsiteY231" fmla="*/ 112648 h 349363"/>
                <a:gd name="connsiteX232" fmla="*/ 2443391 w 2663946"/>
                <a:gd name="connsiteY232" fmla="*/ 115351 h 349363"/>
                <a:gd name="connsiteX233" fmla="*/ 2455682 w 2663946"/>
                <a:gd name="connsiteY233" fmla="*/ 112918 h 349363"/>
                <a:gd name="connsiteX234" fmla="*/ 2458877 w 2663946"/>
                <a:gd name="connsiteY234" fmla="*/ 109403 h 349363"/>
                <a:gd name="connsiteX235" fmla="*/ 2461335 w 2663946"/>
                <a:gd name="connsiteY235" fmla="*/ 105077 h 349363"/>
                <a:gd name="connsiteX236" fmla="*/ 2462318 w 2663946"/>
                <a:gd name="connsiteY236" fmla="*/ 102914 h 349363"/>
                <a:gd name="connsiteX237" fmla="*/ 2463547 w 2663946"/>
                <a:gd name="connsiteY237" fmla="*/ 98588 h 349363"/>
                <a:gd name="connsiteX238" fmla="*/ 2463056 w 2663946"/>
                <a:gd name="connsiteY238" fmla="*/ 84798 h 349363"/>
                <a:gd name="connsiteX239" fmla="*/ 2462072 w 2663946"/>
                <a:gd name="connsiteY239" fmla="*/ 81824 h 349363"/>
                <a:gd name="connsiteX240" fmla="*/ 2460844 w 2663946"/>
                <a:gd name="connsiteY240" fmla="*/ 78850 h 349363"/>
                <a:gd name="connsiteX241" fmla="*/ 2458631 w 2663946"/>
                <a:gd name="connsiteY241" fmla="*/ 75335 h 349363"/>
                <a:gd name="connsiteX242" fmla="*/ 2454944 w 2663946"/>
                <a:gd name="connsiteY242" fmla="*/ 71550 h 349363"/>
                <a:gd name="connsiteX243" fmla="*/ 2451011 w 2663946"/>
                <a:gd name="connsiteY243" fmla="*/ 69387 h 349363"/>
                <a:gd name="connsiteX244" fmla="*/ 2207965 w 2663946"/>
                <a:gd name="connsiteY244" fmla="*/ 69387 h 349363"/>
                <a:gd name="connsiteX245" fmla="*/ 2196413 w 2663946"/>
                <a:gd name="connsiteY245" fmla="*/ 71820 h 349363"/>
                <a:gd name="connsiteX246" fmla="*/ 2193217 w 2663946"/>
                <a:gd name="connsiteY246" fmla="*/ 75335 h 349363"/>
                <a:gd name="connsiteX247" fmla="*/ 2191005 w 2663946"/>
                <a:gd name="connsiteY247" fmla="*/ 79120 h 349363"/>
                <a:gd name="connsiteX248" fmla="*/ 2190022 w 2663946"/>
                <a:gd name="connsiteY248" fmla="*/ 81824 h 349363"/>
                <a:gd name="connsiteX249" fmla="*/ 2189038 w 2663946"/>
                <a:gd name="connsiteY249" fmla="*/ 85880 h 349363"/>
                <a:gd name="connsiteX250" fmla="*/ 2188055 w 2663946"/>
                <a:gd name="connsiteY250" fmla="*/ 92910 h 349363"/>
                <a:gd name="connsiteX251" fmla="*/ 2189038 w 2663946"/>
                <a:gd name="connsiteY251" fmla="*/ 100210 h 349363"/>
                <a:gd name="connsiteX252" fmla="*/ 2190268 w 2663946"/>
                <a:gd name="connsiteY252" fmla="*/ 103995 h 349363"/>
                <a:gd name="connsiteX253" fmla="*/ 2192480 w 2663946"/>
                <a:gd name="connsiteY253" fmla="*/ 108321 h 349363"/>
                <a:gd name="connsiteX254" fmla="*/ 2195921 w 2663946"/>
                <a:gd name="connsiteY254" fmla="*/ 112648 h 349363"/>
                <a:gd name="connsiteX255" fmla="*/ 2200345 w 2663946"/>
                <a:gd name="connsiteY255" fmla="*/ 115351 h 349363"/>
                <a:gd name="connsiteX256" fmla="*/ 2212636 w 2663946"/>
                <a:gd name="connsiteY256" fmla="*/ 112918 h 349363"/>
                <a:gd name="connsiteX257" fmla="*/ 2215831 w 2663946"/>
                <a:gd name="connsiteY257" fmla="*/ 109403 h 349363"/>
                <a:gd name="connsiteX258" fmla="*/ 2218289 w 2663946"/>
                <a:gd name="connsiteY258" fmla="*/ 105077 h 349363"/>
                <a:gd name="connsiteX259" fmla="*/ 2219272 w 2663946"/>
                <a:gd name="connsiteY259" fmla="*/ 102914 h 349363"/>
                <a:gd name="connsiteX260" fmla="*/ 2220501 w 2663946"/>
                <a:gd name="connsiteY260" fmla="*/ 98588 h 349363"/>
                <a:gd name="connsiteX261" fmla="*/ 2220010 w 2663946"/>
                <a:gd name="connsiteY261" fmla="*/ 84798 h 349363"/>
                <a:gd name="connsiteX262" fmla="*/ 2219026 w 2663946"/>
                <a:gd name="connsiteY262" fmla="*/ 81824 h 349363"/>
                <a:gd name="connsiteX263" fmla="*/ 2217798 w 2663946"/>
                <a:gd name="connsiteY263" fmla="*/ 78850 h 349363"/>
                <a:gd name="connsiteX264" fmla="*/ 2215585 w 2663946"/>
                <a:gd name="connsiteY264" fmla="*/ 75335 h 349363"/>
                <a:gd name="connsiteX265" fmla="*/ 2211898 w 2663946"/>
                <a:gd name="connsiteY265" fmla="*/ 71550 h 349363"/>
                <a:gd name="connsiteX266" fmla="*/ 2207965 w 2663946"/>
                <a:gd name="connsiteY266" fmla="*/ 69387 h 349363"/>
                <a:gd name="connsiteX267" fmla="*/ 2026014 w 2663946"/>
                <a:gd name="connsiteY267" fmla="*/ 69387 h 349363"/>
                <a:gd name="connsiteX268" fmla="*/ 2014462 w 2663946"/>
                <a:gd name="connsiteY268" fmla="*/ 71820 h 349363"/>
                <a:gd name="connsiteX269" fmla="*/ 2011266 w 2663946"/>
                <a:gd name="connsiteY269" fmla="*/ 75335 h 349363"/>
                <a:gd name="connsiteX270" fmla="*/ 2009054 w 2663946"/>
                <a:gd name="connsiteY270" fmla="*/ 79120 h 349363"/>
                <a:gd name="connsiteX271" fmla="*/ 2008071 w 2663946"/>
                <a:gd name="connsiteY271" fmla="*/ 81824 h 349363"/>
                <a:gd name="connsiteX272" fmla="*/ 2007087 w 2663946"/>
                <a:gd name="connsiteY272" fmla="*/ 85880 h 349363"/>
                <a:gd name="connsiteX273" fmla="*/ 2006104 w 2663946"/>
                <a:gd name="connsiteY273" fmla="*/ 92910 h 349363"/>
                <a:gd name="connsiteX274" fmla="*/ 2007087 w 2663946"/>
                <a:gd name="connsiteY274" fmla="*/ 100210 h 349363"/>
                <a:gd name="connsiteX275" fmla="*/ 2008317 w 2663946"/>
                <a:gd name="connsiteY275" fmla="*/ 103995 h 349363"/>
                <a:gd name="connsiteX276" fmla="*/ 2010529 w 2663946"/>
                <a:gd name="connsiteY276" fmla="*/ 108321 h 349363"/>
                <a:gd name="connsiteX277" fmla="*/ 2013970 w 2663946"/>
                <a:gd name="connsiteY277" fmla="*/ 112648 h 349363"/>
                <a:gd name="connsiteX278" fmla="*/ 2018394 w 2663946"/>
                <a:gd name="connsiteY278" fmla="*/ 115351 h 349363"/>
                <a:gd name="connsiteX279" fmla="*/ 2030685 w 2663946"/>
                <a:gd name="connsiteY279" fmla="*/ 112918 h 349363"/>
                <a:gd name="connsiteX280" fmla="*/ 2033880 w 2663946"/>
                <a:gd name="connsiteY280" fmla="*/ 109403 h 349363"/>
                <a:gd name="connsiteX281" fmla="*/ 2036338 w 2663946"/>
                <a:gd name="connsiteY281" fmla="*/ 105077 h 349363"/>
                <a:gd name="connsiteX282" fmla="*/ 2037321 w 2663946"/>
                <a:gd name="connsiteY282" fmla="*/ 102914 h 349363"/>
                <a:gd name="connsiteX283" fmla="*/ 2038550 w 2663946"/>
                <a:gd name="connsiteY283" fmla="*/ 98588 h 349363"/>
                <a:gd name="connsiteX284" fmla="*/ 2038059 w 2663946"/>
                <a:gd name="connsiteY284" fmla="*/ 84798 h 349363"/>
                <a:gd name="connsiteX285" fmla="*/ 2037075 w 2663946"/>
                <a:gd name="connsiteY285" fmla="*/ 81824 h 349363"/>
                <a:gd name="connsiteX286" fmla="*/ 2035847 w 2663946"/>
                <a:gd name="connsiteY286" fmla="*/ 78850 h 349363"/>
                <a:gd name="connsiteX287" fmla="*/ 2033634 w 2663946"/>
                <a:gd name="connsiteY287" fmla="*/ 75335 h 349363"/>
                <a:gd name="connsiteX288" fmla="*/ 2029947 w 2663946"/>
                <a:gd name="connsiteY288" fmla="*/ 71550 h 349363"/>
                <a:gd name="connsiteX289" fmla="*/ 2026014 w 2663946"/>
                <a:gd name="connsiteY289" fmla="*/ 69387 h 349363"/>
                <a:gd name="connsiteX290" fmla="*/ 1601090 w 2663946"/>
                <a:gd name="connsiteY290" fmla="*/ 69387 h 349363"/>
                <a:gd name="connsiteX291" fmla="*/ 1589537 w 2663946"/>
                <a:gd name="connsiteY291" fmla="*/ 71820 h 349363"/>
                <a:gd name="connsiteX292" fmla="*/ 1586342 w 2663946"/>
                <a:gd name="connsiteY292" fmla="*/ 75335 h 349363"/>
                <a:gd name="connsiteX293" fmla="*/ 1584130 w 2663946"/>
                <a:gd name="connsiteY293" fmla="*/ 79120 h 349363"/>
                <a:gd name="connsiteX294" fmla="*/ 1583147 w 2663946"/>
                <a:gd name="connsiteY294" fmla="*/ 81824 h 349363"/>
                <a:gd name="connsiteX295" fmla="*/ 1582163 w 2663946"/>
                <a:gd name="connsiteY295" fmla="*/ 85880 h 349363"/>
                <a:gd name="connsiteX296" fmla="*/ 1581180 w 2663946"/>
                <a:gd name="connsiteY296" fmla="*/ 92910 h 349363"/>
                <a:gd name="connsiteX297" fmla="*/ 1582163 w 2663946"/>
                <a:gd name="connsiteY297" fmla="*/ 100210 h 349363"/>
                <a:gd name="connsiteX298" fmla="*/ 1583393 w 2663946"/>
                <a:gd name="connsiteY298" fmla="*/ 103995 h 349363"/>
                <a:gd name="connsiteX299" fmla="*/ 1585605 w 2663946"/>
                <a:gd name="connsiteY299" fmla="*/ 108321 h 349363"/>
                <a:gd name="connsiteX300" fmla="*/ 1589046 w 2663946"/>
                <a:gd name="connsiteY300" fmla="*/ 112648 h 349363"/>
                <a:gd name="connsiteX301" fmla="*/ 1593470 w 2663946"/>
                <a:gd name="connsiteY301" fmla="*/ 115351 h 349363"/>
                <a:gd name="connsiteX302" fmla="*/ 1605761 w 2663946"/>
                <a:gd name="connsiteY302" fmla="*/ 112918 h 349363"/>
                <a:gd name="connsiteX303" fmla="*/ 1608956 w 2663946"/>
                <a:gd name="connsiteY303" fmla="*/ 109403 h 349363"/>
                <a:gd name="connsiteX304" fmla="*/ 1611414 w 2663946"/>
                <a:gd name="connsiteY304" fmla="*/ 105077 h 349363"/>
                <a:gd name="connsiteX305" fmla="*/ 1612397 w 2663946"/>
                <a:gd name="connsiteY305" fmla="*/ 102914 h 349363"/>
                <a:gd name="connsiteX306" fmla="*/ 1613626 w 2663946"/>
                <a:gd name="connsiteY306" fmla="*/ 98588 h 349363"/>
                <a:gd name="connsiteX307" fmla="*/ 1613135 w 2663946"/>
                <a:gd name="connsiteY307" fmla="*/ 84798 h 349363"/>
                <a:gd name="connsiteX308" fmla="*/ 1612151 w 2663946"/>
                <a:gd name="connsiteY308" fmla="*/ 81824 h 349363"/>
                <a:gd name="connsiteX309" fmla="*/ 1610923 w 2663946"/>
                <a:gd name="connsiteY309" fmla="*/ 78850 h 349363"/>
                <a:gd name="connsiteX310" fmla="*/ 1608710 w 2663946"/>
                <a:gd name="connsiteY310" fmla="*/ 75335 h 349363"/>
                <a:gd name="connsiteX311" fmla="*/ 1605023 w 2663946"/>
                <a:gd name="connsiteY311" fmla="*/ 71550 h 349363"/>
                <a:gd name="connsiteX312" fmla="*/ 1601090 w 2663946"/>
                <a:gd name="connsiteY312" fmla="*/ 69387 h 349363"/>
                <a:gd name="connsiteX313" fmla="*/ 1252183 w 2663946"/>
                <a:gd name="connsiteY313" fmla="*/ 69387 h 349363"/>
                <a:gd name="connsiteX314" fmla="*/ 1240630 w 2663946"/>
                <a:gd name="connsiteY314" fmla="*/ 71820 h 349363"/>
                <a:gd name="connsiteX315" fmla="*/ 1237435 w 2663946"/>
                <a:gd name="connsiteY315" fmla="*/ 75335 h 349363"/>
                <a:gd name="connsiteX316" fmla="*/ 1235223 w 2663946"/>
                <a:gd name="connsiteY316" fmla="*/ 79120 h 349363"/>
                <a:gd name="connsiteX317" fmla="*/ 1234240 w 2663946"/>
                <a:gd name="connsiteY317" fmla="*/ 81824 h 349363"/>
                <a:gd name="connsiteX318" fmla="*/ 1233256 w 2663946"/>
                <a:gd name="connsiteY318" fmla="*/ 85880 h 349363"/>
                <a:gd name="connsiteX319" fmla="*/ 1232273 w 2663946"/>
                <a:gd name="connsiteY319" fmla="*/ 92910 h 349363"/>
                <a:gd name="connsiteX320" fmla="*/ 1233256 w 2663946"/>
                <a:gd name="connsiteY320" fmla="*/ 100210 h 349363"/>
                <a:gd name="connsiteX321" fmla="*/ 1234486 w 2663946"/>
                <a:gd name="connsiteY321" fmla="*/ 103995 h 349363"/>
                <a:gd name="connsiteX322" fmla="*/ 1236698 w 2663946"/>
                <a:gd name="connsiteY322" fmla="*/ 108321 h 349363"/>
                <a:gd name="connsiteX323" fmla="*/ 1240139 w 2663946"/>
                <a:gd name="connsiteY323" fmla="*/ 112648 h 349363"/>
                <a:gd name="connsiteX324" fmla="*/ 1244563 w 2663946"/>
                <a:gd name="connsiteY324" fmla="*/ 115351 h 349363"/>
                <a:gd name="connsiteX325" fmla="*/ 1256854 w 2663946"/>
                <a:gd name="connsiteY325" fmla="*/ 112918 h 349363"/>
                <a:gd name="connsiteX326" fmla="*/ 1260049 w 2663946"/>
                <a:gd name="connsiteY326" fmla="*/ 109403 h 349363"/>
                <a:gd name="connsiteX327" fmla="*/ 1262507 w 2663946"/>
                <a:gd name="connsiteY327" fmla="*/ 105077 h 349363"/>
                <a:gd name="connsiteX328" fmla="*/ 1263490 w 2663946"/>
                <a:gd name="connsiteY328" fmla="*/ 102914 h 349363"/>
                <a:gd name="connsiteX329" fmla="*/ 1264719 w 2663946"/>
                <a:gd name="connsiteY329" fmla="*/ 98588 h 349363"/>
                <a:gd name="connsiteX330" fmla="*/ 1264228 w 2663946"/>
                <a:gd name="connsiteY330" fmla="*/ 84798 h 349363"/>
                <a:gd name="connsiteX331" fmla="*/ 1263244 w 2663946"/>
                <a:gd name="connsiteY331" fmla="*/ 81824 h 349363"/>
                <a:gd name="connsiteX332" fmla="*/ 1262016 w 2663946"/>
                <a:gd name="connsiteY332" fmla="*/ 78850 h 349363"/>
                <a:gd name="connsiteX333" fmla="*/ 1259803 w 2663946"/>
                <a:gd name="connsiteY333" fmla="*/ 75335 h 349363"/>
                <a:gd name="connsiteX334" fmla="*/ 1256116 w 2663946"/>
                <a:gd name="connsiteY334" fmla="*/ 71550 h 349363"/>
                <a:gd name="connsiteX335" fmla="*/ 1252183 w 2663946"/>
                <a:gd name="connsiteY335" fmla="*/ 69387 h 349363"/>
                <a:gd name="connsiteX336" fmla="*/ 1070232 w 2663946"/>
                <a:gd name="connsiteY336" fmla="*/ 69387 h 349363"/>
                <a:gd name="connsiteX337" fmla="*/ 1058679 w 2663946"/>
                <a:gd name="connsiteY337" fmla="*/ 71820 h 349363"/>
                <a:gd name="connsiteX338" fmla="*/ 1055484 w 2663946"/>
                <a:gd name="connsiteY338" fmla="*/ 75335 h 349363"/>
                <a:gd name="connsiteX339" fmla="*/ 1053272 w 2663946"/>
                <a:gd name="connsiteY339" fmla="*/ 79120 h 349363"/>
                <a:gd name="connsiteX340" fmla="*/ 1052289 w 2663946"/>
                <a:gd name="connsiteY340" fmla="*/ 81824 h 349363"/>
                <a:gd name="connsiteX341" fmla="*/ 1051305 w 2663946"/>
                <a:gd name="connsiteY341" fmla="*/ 85880 h 349363"/>
                <a:gd name="connsiteX342" fmla="*/ 1050322 w 2663946"/>
                <a:gd name="connsiteY342" fmla="*/ 92910 h 349363"/>
                <a:gd name="connsiteX343" fmla="*/ 1051305 w 2663946"/>
                <a:gd name="connsiteY343" fmla="*/ 100210 h 349363"/>
                <a:gd name="connsiteX344" fmla="*/ 1052535 w 2663946"/>
                <a:gd name="connsiteY344" fmla="*/ 103995 h 349363"/>
                <a:gd name="connsiteX345" fmla="*/ 1054747 w 2663946"/>
                <a:gd name="connsiteY345" fmla="*/ 108321 h 349363"/>
                <a:gd name="connsiteX346" fmla="*/ 1058188 w 2663946"/>
                <a:gd name="connsiteY346" fmla="*/ 112648 h 349363"/>
                <a:gd name="connsiteX347" fmla="*/ 1062612 w 2663946"/>
                <a:gd name="connsiteY347" fmla="*/ 115351 h 349363"/>
                <a:gd name="connsiteX348" fmla="*/ 1074903 w 2663946"/>
                <a:gd name="connsiteY348" fmla="*/ 112918 h 349363"/>
                <a:gd name="connsiteX349" fmla="*/ 1078098 w 2663946"/>
                <a:gd name="connsiteY349" fmla="*/ 109403 h 349363"/>
                <a:gd name="connsiteX350" fmla="*/ 1080556 w 2663946"/>
                <a:gd name="connsiteY350" fmla="*/ 105077 h 349363"/>
                <a:gd name="connsiteX351" fmla="*/ 1081539 w 2663946"/>
                <a:gd name="connsiteY351" fmla="*/ 102914 h 349363"/>
                <a:gd name="connsiteX352" fmla="*/ 1082768 w 2663946"/>
                <a:gd name="connsiteY352" fmla="*/ 98588 h 349363"/>
                <a:gd name="connsiteX353" fmla="*/ 1082277 w 2663946"/>
                <a:gd name="connsiteY353" fmla="*/ 84798 h 349363"/>
                <a:gd name="connsiteX354" fmla="*/ 1081293 w 2663946"/>
                <a:gd name="connsiteY354" fmla="*/ 81824 h 349363"/>
                <a:gd name="connsiteX355" fmla="*/ 1080065 w 2663946"/>
                <a:gd name="connsiteY355" fmla="*/ 78850 h 349363"/>
                <a:gd name="connsiteX356" fmla="*/ 1077852 w 2663946"/>
                <a:gd name="connsiteY356" fmla="*/ 75335 h 349363"/>
                <a:gd name="connsiteX357" fmla="*/ 1074165 w 2663946"/>
                <a:gd name="connsiteY357" fmla="*/ 71550 h 349363"/>
                <a:gd name="connsiteX358" fmla="*/ 1070232 w 2663946"/>
                <a:gd name="connsiteY358" fmla="*/ 69387 h 349363"/>
                <a:gd name="connsiteX359" fmla="*/ 903203 w 2663946"/>
                <a:gd name="connsiteY359" fmla="*/ 69387 h 349363"/>
                <a:gd name="connsiteX360" fmla="*/ 891650 w 2663946"/>
                <a:gd name="connsiteY360" fmla="*/ 71820 h 349363"/>
                <a:gd name="connsiteX361" fmla="*/ 888455 w 2663946"/>
                <a:gd name="connsiteY361" fmla="*/ 75335 h 349363"/>
                <a:gd name="connsiteX362" fmla="*/ 886243 w 2663946"/>
                <a:gd name="connsiteY362" fmla="*/ 79120 h 349363"/>
                <a:gd name="connsiteX363" fmla="*/ 885260 w 2663946"/>
                <a:gd name="connsiteY363" fmla="*/ 81824 h 349363"/>
                <a:gd name="connsiteX364" fmla="*/ 884276 w 2663946"/>
                <a:gd name="connsiteY364" fmla="*/ 85880 h 349363"/>
                <a:gd name="connsiteX365" fmla="*/ 883293 w 2663946"/>
                <a:gd name="connsiteY365" fmla="*/ 92910 h 349363"/>
                <a:gd name="connsiteX366" fmla="*/ 884276 w 2663946"/>
                <a:gd name="connsiteY366" fmla="*/ 100210 h 349363"/>
                <a:gd name="connsiteX367" fmla="*/ 885506 w 2663946"/>
                <a:gd name="connsiteY367" fmla="*/ 103995 h 349363"/>
                <a:gd name="connsiteX368" fmla="*/ 887718 w 2663946"/>
                <a:gd name="connsiteY368" fmla="*/ 108321 h 349363"/>
                <a:gd name="connsiteX369" fmla="*/ 891159 w 2663946"/>
                <a:gd name="connsiteY369" fmla="*/ 112648 h 349363"/>
                <a:gd name="connsiteX370" fmla="*/ 895583 w 2663946"/>
                <a:gd name="connsiteY370" fmla="*/ 115351 h 349363"/>
                <a:gd name="connsiteX371" fmla="*/ 907874 w 2663946"/>
                <a:gd name="connsiteY371" fmla="*/ 112918 h 349363"/>
                <a:gd name="connsiteX372" fmla="*/ 911069 w 2663946"/>
                <a:gd name="connsiteY372" fmla="*/ 109403 h 349363"/>
                <a:gd name="connsiteX373" fmla="*/ 913527 w 2663946"/>
                <a:gd name="connsiteY373" fmla="*/ 105077 h 349363"/>
                <a:gd name="connsiteX374" fmla="*/ 914510 w 2663946"/>
                <a:gd name="connsiteY374" fmla="*/ 102914 h 349363"/>
                <a:gd name="connsiteX375" fmla="*/ 915739 w 2663946"/>
                <a:gd name="connsiteY375" fmla="*/ 98588 h 349363"/>
                <a:gd name="connsiteX376" fmla="*/ 915248 w 2663946"/>
                <a:gd name="connsiteY376" fmla="*/ 84798 h 349363"/>
                <a:gd name="connsiteX377" fmla="*/ 914264 w 2663946"/>
                <a:gd name="connsiteY377" fmla="*/ 81824 h 349363"/>
                <a:gd name="connsiteX378" fmla="*/ 913036 w 2663946"/>
                <a:gd name="connsiteY378" fmla="*/ 78850 h 349363"/>
                <a:gd name="connsiteX379" fmla="*/ 910823 w 2663946"/>
                <a:gd name="connsiteY379" fmla="*/ 75335 h 349363"/>
                <a:gd name="connsiteX380" fmla="*/ 907136 w 2663946"/>
                <a:gd name="connsiteY380" fmla="*/ 71550 h 349363"/>
                <a:gd name="connsiteX381" fmla="*/ 903203 w 2663946"/>
                <a:gd name="connsiteY381" fmla="*/ 69387 h 349363"/>
                <a:gd name="connsiteX382" fmla="*/ 554297 w 2663946"/>
                <a:gd name="connsiteY382" fmla="*/ 69387 h 349363"/>
                <a:gd name="connsiteX383" fmla="*/ 542744 w 2663946"/>
                <a:gd name="connsiteY383" fmla="*/ 71820 h 349363"/>
                <a:gd name="connsiteX384" fmla="*/ 539549 w 2663946"/>
                <a:gd name="connsiteY384" fmla="*/ 75335 h 349363"/>
                <a:gd name="connsiteX385" fmla="*/ 537337 w 2663946"/>
                <a:gd name="connsiteY385" fmla="*/ 79120 h 349363"/>
                <a:gd name="connsiteX386" fmla="*/ 536353 w 2663946"/>
                <a:gd name="connsiteY386" fmla="*/ 81824 h 349363"/>
                <a:gd name="connsiteX387" fmla="*/ 535370 w 2663946"/>
                <a:gd name="connsiteY387" fmla="*/ 85880 h 349363"/>
                <a:gd name="connsiteX388" fmla="*/ 534387 w 2663946"/>
                <a:gd name="connsiteY388" fmla="*/ 92910 h 349363"/>
                <a:gd name="connsiteX389" fmla="*/ 535370 w 2663946"/>
                <a:gd name="connsiteY389" fmla="*/ 100210 h 349363"/>
                <a:gd name="connsiteX390" fmla="*/ 536599 w 2663946"/>
                <a:gd name="connsiteY390" fmla="*/ 103995 h 349363"/>
                <a:gd name="connsiteX391" fmla="*/ 538811 w 2663946"/>
                <a:gd name="connsiteY391" fmla="*/ 108321 h 349363"/>
                <a:gd name="connsiteX392" fmla="*/ 542253 w 2663946"/>
                <a:gd name="connsiteY392" fmla="*/ 112648 h 349363"/>
                <a:gd name="connsiteX393" fmla="*/ 546677 w 2663946"/>
                <a:gd name="connsiteY393" fmla="*/ 115351 h 349363"/>
                <a:gd name="connsiteX394" fmla="*/ 558967 w 2663946"/>
                <a:gd name="connsiteY394" fmla="*/ 112918 h 349363"/>
                <a:gd name="connsiteX395" fmla="*/ 562163 w 2663946"/>
                <a:gd name="connsiteY395" fmla="*/ 109403 h 349363"/>
                <a:gd name="connsiteX396" fmla="*/ 564621 w 2663946"/>
                <a:gd name="connsiteY396" fmla="*/ 105077 h 349363"/>
                <a:gd name="connsiteX397" fmla="*/ 565604 w 2663946"/>
                <a:gd name="connsiteY397" fmla="*/ 102914 h 349363"/>
                <a:gd name="connsiteX398" fmla="*/ 566833 w 2663946"/>
                <a:gd name="connsiteY398" fmla="*/ 98588 h 349363"/>
                <a:gd name="connsiteX399" fmla="*/ 566341 w 2663946"/>
                <a:gd name="connsiteY399" fmla="*/ 84798 h 349363"/>
                <a:gd name="connsiteX400" fmla="*/ 565358 w 2663946"/>
                <a:gd name="connsiteY400" fmla="*/ 81824 h 349363"/>
                <a:gd name="connsiteX401" fmla="*/ 564129 w 2663946"/>
                <a:gd name="connsiteY401" fmla="*/ 78850 h 349363"/>
                <a:gd name="connsiteX402" fmla="*/ 561917 w 2663946"/>
                <a:gd name="connsiteY402" fmla="*/ 75335 h 349363"/>
                <a:gd name="connsiteX403" fmla="*/ 558230 w 2663946"/>
                <a:gd name="connsiteY403" fmla="*/ 71550 h 349363"/>
                <a:gd name="connsiteX404" fmla="*/ 554297 w 2663946"/>
                <a:gd name="connsiteY404" fmla="*/ 69387 h 349363"/>
                <a:gd name="connsiteX405" fmla="*/ 372346 w 2663946"/>
                <a:gd name="connsiteY405" fmla="*/ 69387 h 349363"/>
                <a:gd name="connsiteX406" fmla="*/ 360793 w 2663946"/>
                <a:gd name="connsiteY406" fmla="*/ 71820 h 349363"/>
                <a:gd name="connsiteX407" fmla="*/ 357598 w 2663946"/>
                <a:gd name="connsiteY407" fmla="*/ 75335 h 349363"/>
                <a:gd name="connsiteX408" fmla="*/ 355385 w 2663946"/>
                <a:gd name="connsiteY408" fmla="*/ 79120 h 349363"/>
                <a:gd name="connsiteX409" fmla="*/ 354402 w 2663946"/>
                <a:gd name="connsiteY409" fmla="*/ 81824 h 349363"/>
                <a:gd name="connsiteX410" fmla="*/ 353419 w 2663946"/>
                <a:gd name="connsiteY410" fmla="*/ 85880 h 349363"/>
                <a:gd name="connsiteX411" fmla="*/ 352436 w 2663946"/>
                <a:gd name="connsiteY411" fmla="*/ 92910 h 349363"/>
                <a:gd name="connsiteX412" fmla="*/ 353419 w 2663946"/>
                <a:gd name="connsiteY412" fmla="*/ 100210 h 349363"/>
                <a:gd name="connsiteX413" fmla="*/ 354648 w 2663946"/>
                <a:gd name="connsiteY413" fmla="*/ 103995 h 349363"/>
                <a:gd name="connsiteX414" fmla="*/ 356860 w 2663946"/>
                <a:gd name="connsiteY414" fmla="*/ 108321 h 349363"/>
                <a:gd name="connsiteX415" fmla="*/ 360301 w 2663946"/>
                <a:gd name="connsiteY415" fmla="*/ 112648 h 349363"/>
                <a:gd name="connsiteX416" fmla="*/ 364726 w 2663946"/>
                <a:gd name="connsiteY416" fmla="*/ 115351 h 349363"/>
                <a:gd name="connsiteX417" fmla="*/ 377016 w 2663946"/>
                <a:gd name="connsiteY417" fmla="*/ 112918 h 349363"/>
                <a:gd name="connsiteX418" fmla="*/ 380212 w 2663946"/>
                <a:gd name="connsiteY418" fmla="*/ 109403 h 349363"/>
                <a:gd name="connsiteX419" fmla="*/ 382670 w 2663946"/>
                <a:gd name="connsiteY419" fmla="*/ 105077 h 349363"/>
                <a:gd name="connsiteX420" fmla="*/ 383653 w 2663946"/>
                <a:gd name="connsiteY420" fmla="*/ 102914 h 349363"/>
                <a:gd name="connsiteX421" fmla="*/ 384882 w 2663946"/>
                <a:gd name="connsiteY421" fmla="*/ 98588 h 349363"/>
                <a:gd name="connsiteX422" fmla="*/ 384390 w 2663946"/>
                <a:gd name="connsiteY422" fmla="*/ 84798 h 349363"/>
                <a:gd name="connsiteX423" fmla="*/ 383407 w 2663946"/>
                <a:gd name="connsiteY423" fmla="*/ 81824 h 349363"/>
                <a:gd name="connsiteX424" fmla="*/ 382178 w 2663946"/>
                <a:gd name="connsiteY424" fmla="*/ 78850 h 349363"/>
                <a:gd name="connsiteX425" fmla="*/ 379966 w 2663946"/>
                <a:gd name="connsiteY425" fmla="*/ 75335 h 349363"/>
                <a:gd name="connsiteX426" fmla="*/ 376279 w 2663946"/>
                <a:gd name="connsiteY426" fmla="*/ 71550 h 349363"/>
                <a:gd name="connsiteX427" fmla="*/ 372346 w 2663946"/>
                <a:gd name="connsiteY427" fmla="*/ 69387 h 349363"/>
                <a:gd name="connsiteX428" fmla="*/ 129300 w 2663946"/>
                <a:gd name="connsiteY428" fmla="*/ 69387 h 349363"/>
                <a:gd name="connsiteX429" fmla="*/ 117747 w 2663946"/>
                <a:gd name="connsiteY429" fmla="*/ 71820 h 349363"/>
                <a:gd name="connsiteX430" fmla="*/ 114552 w 2663946"/>
                <a:gd name="connsiteY430" fmla="*/ 75335 h 349363"/>
                <a:gd name="connsiteX431" fmla="*/ 112340 w 2663946"/>
                <a:gd name="connsiteY431" fmla="*/ 79120 h 349363"/>
                <a:gd name="connsiteX432" fmla="*/ 111356 w 2663946"/>
                <a:gd name="connsiteY432" fmla="*/ 81824 h 349363"/>
                <a:gd name="connsiteX433" fmla="*/ 110373 w 2663946"/>
                <a:gd name="connsiteY433" fmla="*/ 85880 h 349363"/>
                <a:gd name="connsiteX434" fmla="*/ 109390 w 2663946"/>
                <a:gd name="connsiteY434" fmla="*/ 92910 h 349363"/>
                <a:gd name="connsiteX435" fmla="*/ 110373 w 2663946"/>
                <a:gd name="connsiteY435" fmla="*/ 100210 h 349363"/>
                <a:gd name="connsiteX436" fmla="*/ 111602 w 2663946"/>
                <a:gd name="connsiteY436" fmla="*/ 103995 h 349363"/>
                <a:gd name="connsiteX437" fmla="*/ 113814 w 2663946"/>
                <a:gd name="connsiteY437" fmla="*/ 108321 h 349363"/>
                <a:gd name="connsiteX438" fmla="*/ 117256 w 2663946"/>
                <a:gd name="connsiteY438" fmla="*/ 112648 h 349363"/>
                <a:gd name="connsiteX439" fmla="*/ 121680 w 2663946"/>
                <a:gd name="connsiteY439" fmla="*/ 115351 h 349363"/>
                <a:gd name="connsiteX440" fmla="*/ 133970 w 2663946"/>
                <a:gd name="connsiteY440" fmla="*/ 112918 h 349363"/>
                <a:gd name="connsiteX441" fmla="*/ 137166 w 2663946"/>
                <a:gd name="connsiteY441" fmla="*/ 109403 h 349363"/>
                <a:gd name="connsiteX442" fmla="*/ 139624 w 2663946"/>
                <a:gd name="connsiteY442" fmla="*/ 105077 h 349363"/>
                <a:gd name="connsiteX443" fmla="*/ 140607 w 2663946"/>
                <a:gd name="connsiteY443" fmla="*/ 102914 h 349363"/>
                <a:gd name="connsiteX444" fmla="*/ 141836 w 2663946"/>
                <a:gd name="connsiteY444" fmla="*/ 98588 h 349363"/>
                <a:gd name="connsiteX445" fmla="*/ 141344 w 2663946"/>
                <a:gd name="connsiteY445" fmla="*/ 84798 h 349363"/>
                <a:gd name="connsiteX446" fmla="*/ 140361 w 2663946"/>
                <a:gd name="connsiteY446" fmla="*/ 81824 h 349363"/>
                <a:gd name="connsiteX447" fmla="*/ 139132 w 2663946"/>
                <a:gd name="connsiteY447" fmla="*/ 78850 h 349363"/>
                <a:gd name="connsiteX448" fmla="*/ 136920 w 2663946"/>
                <a:gd name="connsiteY448" fmla="*/ 75335 h 349363"/>
                <a:gd name="connsiteX449" fmla="*/ 133233 w 2663946"/>
                <a:gd name="connsiteY449" fmla="*/ 71550 h 349363"/>
                <a:gd name="connsiteX450" fmla="*/ 129300 w 2663946"/>
                <a:gd name="connsiteY450" fmla="*/ 69387 h 349363"/>
                <a:gd name="connsiteX451" fmla="*/ 33147 w 2663946"/>
                <a:gd name="connsiteY451" fmla="*/ 65451 h 349363"/>
                <a:gd name="connsiteX452" fmla="*/ 21486 w 2663946"/>
                <a:gd name="connsiteY452" fmla="*/ 73180 h 349363"/>
                <a:gd name="connsiteX453" fmla="*/ 20561 w 2663946"/>
                <a:gd name="connsiteY453" fmla="*/ 77763 h 349363"/>
                <a:gd name="connsiteX454" fmla="*/ 23801 w 2663946"/>
                <a:gd name="connsiteY454" fmla="*/ 77763 h 349363"/>
                <a:gd name="connsiteX455" fmla="*/ 42218 w 2663946"/>
                <a:gd name="connsiteY455" fmla="*/ 77763 h 349363"/>
                <a:gd name="connsiteX456" fmla="*/ 45732 w 2663946"/>
                <a:gd name="connsiteY456" fmla="*/ 77763 h 349363"/>
                <a:gd name="connsiteX457" fmla="*/ 44807 w 2663946"/>
                <a:gd name="connsiteY457" fmla="*/ 73180 h 349363"/>
                <a:gd name="connsiteX458" fmla="*/ 33147 w 2663946"/>
                <a:gd name="connsiteY458" fmla="*/ 65451 h 349363"/>
                <a:gd name="connsiteX459" fmla="*/ 2537931 w 2663946"/>
                <a:gd name="connsiteY459" fmla="*/ 57863 h 349363"/>
                <a:gd name="connsiteX460" fmla="*/ 2526271 w 2663946"/>
                <a:gd name="connsiteY460" fmla="*/ 65592 h 349363"/>
                <a:gd name="connsiteX461" fmla="*/ 2525346 w 2663946"/>
                <a:gd name="connsiteY461" fmla="*/ 70175 h 349363"/>
                <a:gd name="connsiteX462" fmla="*/ 2528586 w 2663946"/>
                <a:gd name="connsiteY462" fmla="*/ 70175 h 349363"/>
                <a:gd name="connsiteX463" fmla="*/ 2547003 w 2663946"/>
                <a:gd name="connsiteY463" fmla="*/ 70175 h 349363"/>
                <a:gd name="connsiteX464" fmla="*/ 2550517 w 2663946"/>
                <a:gd name="connsiteY464" fmla="*/ 70175 h 349363"/>
                <a:gd name="connsiteX465" fmla="*/ 2549592 w 2663946"/>
                <a:gd name="connsiteY465" fmla="*/ 65592 h 349363"/>
                <a:gd name="connsiteX466" fmla="*/ 2537931 w 2663946"/>
                <a:gd name="connsiteY466" fmla="*/ 57863 h 349363"/>
                <a:gd name="connsiteX467" fmla="*/ 2112934 w 2663946"/>
                <a:gd name="connsiteY467" fmla="*/ 57863 h 349363"/>
                <a:gd name="connsiteX468" fmla="*/ 2101274 w 2663946"/>
                <a:gd name="connsiteY468" fmla="*/ 65592 h 349363"/>
                <a:gd name="connsiteX469" fmla="*/ 2100349 w 2663946"/>
                <a:gd name="connsiteY469" fmla="*/ 70175 h 349363"/>
                <a:gd name="connsiteX470" fmla="*/ 2103589 w 2663946"/>
                <a:gd name="connsiteY470" fmla="*/ 70175 h 349363"/>
                <a:gd name="connsiteX471" fmla="*/ 2122006 w 2663946"/>
                <a:gd name="connsiteY471" fmla="*/ 70175 h 349363"/>
                <a:gd name="connsiteX472" fmla="*/ 2125520 w 2663946"/>
                <a:gd name="connsiteY472" fmla="*/ 70175 h 349363"/>
                <a:gd name="connsiteX473" fmla="*/ 2124595 w 2663946"/>
                <a:gd name="connsiteY473" fmla="*/ 65592 h 349363"/>
                <a:gd name="connsiteX474" fmla="*/ 2112934 w 2663946"/>
                <a:gd name="connsiteY474" fmla="*/ 57863 h 349363"/>
                <a:gd name="connsiteX475" fmla="*/ 1854966 w 2663946"/>
                <a:gd name="connsiteY475" fmla="*/ 57863 h 349363"/>
                <a:gd name="connsiteX476" fmla="*/ 1843306 w 2663946"/>
                <a:gd name="connsiteY476" fmla="*/ 65592 h 349363"/>
                <a:gd name="connsiteX477" fmla="*/ 1842381 w 2663946"/>
                <a:gd name="connsiteY477" fmla="*/ 70175 h 349363"/>
                <a:gd name="connsiteX478" fmla="*/ 1845621 w 2663946"/>
                <a:gd name="connsiteY478" fmla="*/ 70175 h 349363"/>
                <a:gd name="connsiteX479" fmla="*/ 1864038 w 2663946"/>
                <a:gd name="connsiteY479" fmla="*/ 70175 h 349363"/>
                <a:gd name="connsiteX480" fmla="*/ 1867552 w 2663946"/>
                <a:gd name="connsiteY480" fmla="*/ 70175 h 349363"/>
                <a:gd name="connsiteX481" fmla="*/ 1866627 w 2663946"/>
                <a:gd name="connsiteY481" fmla="*/ 65592 h 349363"/>
                <a:gd name="connsiteX482" fmla="*/ 1854966 w 2663946"/>
                <a:gd name="connsiteY482" fmla="*/ 57863 h 349363"/>
                <a:gd name="connsiteX483" fmla="*/ 1764027 w 2663946"/>
                <a:gd name="connsiteY483" fmla="*/ 57863 h 349363"/>
                <a:gd name="connsiteX484" fmla="*/ 1752367 w 2663946"/>
                <a:gd name="connsiteY484" fmla="*/ 65592 h 349363"/>
                <a:gd name="connsiteX485" fmla="*/ 1751442 w 2663946"/>
                <a:gd name="connsiteY485" fmla="*/ 70175 h 349363"/>
                <a:gd name="connsiteX486" fmla="*/ 1754682 w 2663946"/>
                <a:gd name="connsiteY486" fmla="*/ 70175 h 349363"/>
                <a:gd name="connsiteX487" fmla="*/ 1773099 w 2663946"/>
                <a:gd name="connsiteY487" fmla="*/ 70175 h 349363"/>
                <a:gd name="connsiteX488" fmla="*/ 1776613 w 2663946"/>
                <a:gd name="connsiteY488" fmla="*/ 70175 h 349363"/>
                <a:gd name="connsiteX489" fmla="*/ 1775687 w 2663946"/>
                <a:gd name="connsiteY489" fmla="*/ 65592 h 349363"/>
                <a:gd name="connsiteX490" fmla="*/ 1764027 w 2663946"/>
                <a:gd name="connsiteY490" fmla="*/ 57863 h 349363"/>
                <a:gd name="connsiteX491" fmla="*/ 1506059 w 2663946"/>
                <a:gd name="connsiteY491" fmla="*/ 57863 h 349363"/>
                <a:gd name="connsiteX492" fmla="*/ 1494399 w 2663946"/>
                <a:gd name="connsiteY492" fmla="*/ 65592 h 349363"/>
                <a:gd name="connsiteX493" fmla="*/ 1493474 w 2663946"/>
                <a:gd name="connsiteY493" fmla="*/ 70175 h 349363"/>
                <a:gd name="connsiteX494" fmla="*/ 1496714 w 2663946"/>
                <a:gd name="connsiteY494" fmla="*/ 70175 h 349363"/>
                <a:gd name="connsiteX495" fmla="*/ 1515131 w 2663946"/>
                <a:gd name="connsiteY495" fmla="*/ 70175 h 349363"/>
                <a:gd name="connsiteX496" fmla="*/ 1518645 w 2663946"/>
                <a:gd name="connsiteY496" fmla="*/ 70175 h 349363"/>
                <a:gd name="connsiteX497" fmla="*/ 1517719 w 2663946"/>
                <a:gd name="connsiteY497" fmla="*/ 65592 h 349363"/>
                <a:gd name="connsiteX498" fmla="*/ 1506059 w 2663946"/>
                <a:gd name="connsiteY498" fmla="*/ 57863 h 349363"/>
                <a:gd name="connsiteX499" fmla="*/ 1415120 w 2663946"/>
                <a:gd name="connsiteY499" fmla="*/ 57863 h 349363"/>
                <a:gd name="connsiteX500" fmla="*/ 1403460 w 2663946"/>
                <a:gd name="connsiteY500" fmla="*/ 65592 h 349363"/>
                <a:gd name="connsiteX501" fmla="*/ 1402535 w 2663946"/>
                <a:gd name="connsiteY501" fmla="*/ 70175 h 349363"/>
                <a:gd name="connsiteX502" fmla="*/ 1405775 w 2663946"/>
                <a:gd name="connsiteY502" fmla="*/ 70175 h 349363"/>
                <a:gd name="connsiteX503" fmla="*/ 1424192 w 2663946"/>
                <a:gd name="connsiteY503" fmla="*/ 70175 h 349363"/>
                <a:gd name="connsiteX504" fmla="*/ 1427706 w 2663946"/>
                <a:gd name="connsiteY504" fmla="*/ 70175 h 349363"/>
                <a:gd name="connsiteX505" fmla="*/ 1426780 w 2663946"/>
                <a:gd name="connsiteY505" fmla="*/ 65592 h 349363"/>
                <a:gd name="connsiteX506" fmla="*/ 1415120 w 2663946"/>
                <a:gd name="connsiteY506" fmla="*/ 57863 h 349363"/>
                <a:gd name="connsiteX507" fmla="*/ 1157152 w 2663946"/>
                <a:gd name="connsiteY507" fmla="*/ 57863 h 349363"/>
                <a:gd name="connsiteX508" fmla="*/ 1145492 w 2663946"/>
                <a:gd name="connsiteY508" fmla="*/ 65592 h 349363"/>
                <a:gd name="connsiteX509" fmla="*/ 1144567 w 2663946"/>
                <a:gd name="connsiteY509" fmla="*/ 70175 h 349363"/>
                <a:gd name="connsiteX510" fmla="*/ 1147807 w 2663946"/>
                <a:gd name="connsiteY510" fmla="*/ 70175 h 349363"/>
                <a:gd name="connsiteX511" fmla="*/ 1166224 w 2663946"/>
                <a:gd name="connsiteY511" fmla="*/ 70175 h 349363"/>
                <a:gd name="connsiteX512" fmla="*/ 1169738 w 2663946"/>
                <a:gd name="connsiteY512" fmla="*/ 70175 h 349363"/>
                <a:gd name="connsiteX513" fmla="*/ 1168812 w 2663946"/>
                <a:gd name="connsiteY513" fmla="*/ 65592 h 349363"/>
                <a:gd name="connsiteX514" fmla="*/ 1157152 w 2663946"/>
                <a:gd name="connsiteY514" fmla="*/ 57863 h 349363"/>
                <a:gd name="connsiteX515" fmla="*/ 732156 w 2663946"/>
                <a:gd name="connsiteY515" fmla="*/ 57863 h 349363"/>
                <a:gd name="connsiteX516" fmla="*/ 720495 w 2663946"/>
                <a:gd name="connsiteY516" fmla="*/ 65592 h 349363"/>
                <a:gd name="connsiteX517" fmla="*/ 719570 w 2663946"/>
                <a:gd name="connsiteY517" fmla="*/ 70175 h 349363"/>
                <a:gd name="connsiteX518" fmla="*/ 722810 w 2663946"/>
                <a:gd name="connsiteY518" fmla="*/ 70175 h 349363"/>
                <a:gd name="connsiteX519" fmla="*/ 741228 w 2663946"/>
                <a:gd name="connsiteY519" fmla="*/ 70175 h 349363"/>
                <a:gd name="connsiteX520" fmla="*/ 744742 w 2663946"/>
                <a:gd name="connsiteY520" fmla="*/ 70175 h 349363"/>
                <a:gd name="connsiteX521" fmla="*/ 743816 w 2663946"/>
                <a:gd name="connsiteY521" fmla="*/ 65592 h 349363"/>
                <a:gd name="connsiteX522" fmla="*/ 732156 w 2663946"/>
                <a:gd name="connsiteY522" fmla="*/ 57863 h 349363"/>
                <a:gd name="connsiteX523" fmla="*/ 641217 w 2663946"/>
                <a:gd name="connsiteY523" fmla="*/ 57863 h 349363"/>
                <a:gd name="connsiteX524" fmla="*/ 629556 w 2663946"/>
                <a:gd name="connsiteY524" fmla="*/ 65592 h 349363"/>
                <a:gd name="connsiteX525" fmla="*/ 628631 w 2663946"/>
                <a:gd name="connsiteY525" fmla="*/ 70175 h 349363"/>
                <a:gd name="connsiteX526" fmla="*/ 631871 w 2663946"/>
                <a:gd name="connsiteY526" fmla="*/ 70175 h 349363"/>
                <a:gd name="connsiteX527" fmla="*/ 650289 w 2663946"/>
                <a:gd name="connsiteY527" fmla="*/ 70175 h 349363"/>
                <a:gd name="connsiteX528" fmla="*/ 653802 w 2663946"/>
                <a:gd name="connsiteY528" fmla="*/ 70175 h 349363"/>
                <a:gd name="connsiteX529" fmla="*/ 652877 w 2663946"/>
                <a:gd name="connsiteY529" fmla="*/ 65592 h 349363"/>
                <a:gd name="connsiteX530" fmla="*/ 641217 w 2663946"/>
                <a:gd name="connsiteY530" fmla="*/ 57863 h 349363"/>
                <a:gd name="connsiteX531" fmla="*/ 459266 w 2663946"/>
                <a:gd name="connsiteY531" fmla="*/ 57863 h 349363"/>
                <a:gd name="connsiteX532" fmla="*/ 447605 w 2663946"/>
                <a:gd name="connsiteY532" fmla="*/ 65592 h 349363"/>
                <a:gd name="connsiteX533" fmla="*/ 446680 w 2663946"/>
                <a:gd name="connsiteY533" fmla="*/ 70175 h 349363"/>
                <a:gd name="connsiteX534" fmla="*/ 449920 w 2663946"/>
                <a:gd name="connsiteY534" fmla="*/ 70175 h 349363"/>
                <a:gd name="connsiteX535" fmla="*/ 468337 w 2663946"/>
                <a:gd name="connsiteY535" fmla="*/ 70175 h 349363"/>
                <a:gd name="connsiteX536" fmla="*/ 471851 w 2663946"/>
                <a:gd name="connsiteY536" fmla="*/ 70175 h 349363"/>
                <a:gd name="connsiteX537" fmla="*/ 470926 w 2663946"/>
                <a:gd name="connsiteY537" fmla="*/ 65592 h 349363"/>
                <a:gd name="connsiteX538" fmla="*/ 459266 w 2663946"/>
                <a:gd name="connsiteY538" fmla="*/ 57863 h 349363"/>
                <a:gd name="connsiteX539" fmla="*/ 2361413 w 2663946"/>
                <a:gd name="connsiteY539" fmla="*/ 53503 h 349363"/>
                <a:gd name="connsiteX540" fmla="*/ 2365469 w 2663946"/>
                <a:gd name="connsiteY540" fmla="*/ 53503 h 349363"/>
                <a:gd name="connsiteX541" fmla="*/ 2370065 w 2663946"/>
                <a:gd name="connsiteY541" fmla="*/ 55937 h 349363"/>
                <a:gd name="connsiteX542" fmla="*/ 2372229 w 2663946"/>
                <a:gd name="connsiteY542" fmla="*/ 62155 h 349363"/>
                <a:gd name="connsiteX543" fmla="*/ 2372229 w 2663946"/>
                <a:gd name="connsiteY543" fmla="*/ 62696 h 349363"/>
                <a:gd name="connsiteX544" fmla="*/ 2372229 w 2663946"/>
                <a:gd name="connsiteY544" fmla="*/ 115691 h 349363"/>
                <a:gd name="connsiteX545" fmla="*/ 2372769 w 2663946"/>
                <a:gd name="connsiteY545" fmla="*/ 116231 h 349363"/>
                <a:gd name="connsiteX546" fmla="*/ 2380069 w 2663946"/>
                <a:gd name="connsiteY546" fmla="*/ 116231 h 349363"/>
                <a:gd name="connsiteX547" fmla="*/ 2384125 w 2663946"/>
                <a:gd name="connsiteY547" fmla="*/ 117313 h 349363"/>
                <a:gd name="connsiteX548" fmla="*/ 2387910 w 2663946"/>
                <a:gd name="connsiteY548" fmla="*/ 124072 h 349363"/>
                <a:gd name="connsiteX549" fmla="*/ 2385207 w 2663946"/>
                <a:gd name="connsiteY549" fmla="*/ 129750 h 349363"/>
                <a:gd name="connsiteX550" fmla="*/ 2381151 w 2663946"/>
                <a:gd name="connsiteY550" fmla="*/ 131643 h 349363"/>
                <a:gd name="connsiteX551" fmla="*/ 2380881 w 2663946"/>
                <a:gd name="connsiteY551" fmla="*/ 131643 h 349363"/>
                <a:gd name="connsiteX552" fmla="*/ 2380610 w 2663946"/>
                <a:gd name="connsiteY552" fmla="*/ 131643 h 349363"/>
                <a:gd name="connsiteX553" fmla="*/ 2380069 w 2663946"/>
                <a:gd name="connsiteY553" fmla="*/ 131643 h 349363"/>
                <a:gd name="connsiteX554" fmla="*/ 2347894 w 2663946"/>
                <a:gd name="connsiteY554" fmla="*/ 131643 h 349363"/>
                <a:gd name="connsiteX555" fmla="*/ 2347354 w 2663946"/>
                <a:gd name="connsiteY555" fmla="*/ 131643 h 349363"/>
                <a:gd name="connsiteX556" fmla="*/ 2346542 w 2663946"/>
                <a:gd name="connsiteY556" fmla="*/ 131643 h 349363"/>
                <a:gd name="connsiteX557" fmla="*/ 2345731 w 2663946"/>
                <a:gd name="connsiteY557" fmla="*/ 131373 h 349363"/>
                <a:gd name="connsiteX558" fmla="*/ 2342216 w 2663946"/>
                <a:gd name="connsiteY558" fmla="*/ 129480 h 349363"/>
                <a:gd name="connsiteX559" fmla="*/ 2339783 w 2663946"/>
                <a:gd name="connsiteY559" fmla="*/ 123802 h 349363"/>
                <a:gd name="connsiteX560" fmla="*/ 2341946 w 2663946"/>
                <a:gd name="connsiteY560" fmla="*/ 118665 h 349363"/>
                <a:gd name="connsiteX561" fmla="*/ 2347624 w 2663946"/>
                <a:gd name="connsiteY561" fmla="*/ 116231 h 349363"/>
                <a:gd name="connsiteX562" fmla="*/ 2355465 w 2663946"/>
                <a:gd name="connsiteY562" fmla="*/ 116231 h 349363"/>
                <a:gd name="connsiteX563" fmla="*/ 2356006 w 2663946"/>
                <a:gd name="connsiteY563" fmla="*/ 115691 h 349363"/>
                <a:gd name="connsiteX564" fmla="*/ 2356006 w 2663946"/>
                <a:gd name="connsiteY564" fmla="*/ 69726 h 349363"/>
                <a:gd name="connsiteX565" fmla="*/ 2355465 w 2663946"/>
                <a:gd name="connsiteY565" fmla="*/ 69185 h 349363"/>
                <a:gd name="connsiteX566" fmla="*/ 2349517 w 2663946"/>
                <a:gd name="connsiteY566" fmla="*/ 69185 h 349363"/>
                <a:gd name="connsiteX567" fmla="*/ 2342216 w 2663946"/>
                <a:gd name="connsiteY567" fmla="*/ 64589 h 349363"/>
                <a:gd name="connsiteX568" fmla="*/ 2341946 w 2663946"/>
                <a:gd name="connsiteY568" fmla="*/ 58911 h 349363"/>
                <a:gd name="connsiteX569" fmla="*/ 2349246 w 2663946"/>
                <a:gd name="connsiteY569" fmla="*/ 53774 h 349363"/>
                <a:gd name="connsiteX570" fmla="*/ 2361413 w 2663946"/>
                <a:gd name="connsiteY570" fmla="*/ 53503 h 349363"/>
                <a:gd name="connsiteX571" fmla="*/ 2285396 w 2663946"/>
                <a:gd name="connsiteY571" fmla="*/ 53503 h 349363"/>
                <a:gd name="connsiteX572" fmla="*/ 2289452 w 2663946"/>
                <a:gd name="connsiteY572" fmla="*/ 53503 h 349363"/>
                <a:gd name="connsiteX573" fmla="*/ 2294048 w 2663946"/>
                <a:gd name="connsiteY573" fmla="*/ 55937 h 349363"/>
                <a:gd name="connsiteX574" fmla="*/ 2296212 w 2663946"/>
                <a:gd name="connsiteY574" fmla="*/ 62155 h 349363"/>
                <a:gd name="connsiteX575" fmla="*/ 2296212 w 2663946"/>
                <a:gd name="connsiteY575" fmla="*/ 62696 h 349363"/>
                <a:gd name="connsiteX576" fmla="*/ 2296212 w 2663946"/>
                <a:gd name="connsiteY576" fmla="*/ 115691 h 349363"/>
                <a:gd name="connsiteX577" fmla="*/ 2296752 w 2663946"/>
                <a:gd name="connsiteY577" fmla="*/ 116231 h 349363"/>
                <a:gd name="connsiteX578" fmla="*/ 2304052 w 2663946"/>
                <a:gd name="connsiteY578" fmla="*/ 116231 h 349363"/>
                <a:gd name="connsiteX579" fmla="*/ 2308108 w 2663946"/>
                <a:gd name="connsiteY579" fmla="*/ 117313 h 349363"/>
                <a:gd name="connsiteX580" fmla="*/ 2311893 w 2663946"/>
                <a:gd name="connsiteY580" fmla="*/ 124072 h 349363"/>
                <a:gd name="connsiteX581" fmla="*/ 2309190 w 2663946"/>
                <a:gd name="connsiteY581" fmla="*/ 129750 h 349363"/>
                <a:gd name="connsiteX582" fmla="*/ 2305134 w 2663946"/>
                <a:gd name="connsiteY582" fmla="*/ 131643 h 349363"/>
                <a:gd name="connsiteX583" fmla="*/ 2304864 w 2663946"/>
                <a:gd name="connsiteY583" fmla="*/ 131643 h 349363"/>
                <a:gd name="connsiteX584" fmla="*/ 2304593 w 2663946"/>
                <a:gd name="connsiteY584" fmla="*/ 131643 h 349363"/>
                <a:gd name="connsiteX585" fmla="*/ 2304052 w 2663946"/>
                <a:gd name="connsiteY585" fmla="*/ 131643 h 349363"/>
                <a:gd name="connsiteX586" fmla="*/ 2271877 w 2663946"/>
                <a:gd name="connsiteY586" fmla="*/ 131643 h 349363"/>
                <a:gd name="connsiteX587" fmla="*/ 2271337 w 2663946"/>
                <a:gd name="connsiteY587" fmla="*/ 131643 h 349363"/>
                <a:gd name="connsiteX588" fmla="*/ 2270525 w 2663946"/>
                <a:gd name="connsiteY588" fmla="*/ 131643 h 349363"/>
                <a:gd name="connsiteX589" fmla="*/ 2269714 w 2663946"/>
                <a:gd name="connsiteY589" fmla="*/ 131373 h 349363"/>
                <a:gd name="connsiteX590" fmla="*/ 2266199 w 2663946"/>
                <a:gd name="connsiteY590" fmla="*/ 129480 h 349363"/>
                <a:gd name="connsiteX591" fmla="*/ 2263766 w 2663946"/>
                <a:gd name="connsiteY591" fmla="*/ 123802 h 349363"/>
                <a:gd name="connsiteX592" fmla="*/ 2265929 w 2663946"/>
                <a:gd name="connsiteY592" fmla="*/ 118665 h 349363"/>
                <a:gd name="connsiteX593" fmla="*/ 2271607 w 2663946"/>
                <a:gd name="connsiteY593" fmla="*/ 116231 h 349363"/>
                <a:gd name="connsiteX594" fmla="*/ 2279448 w 2663946"/>
                <a:gd name="connsiteY594" fmla="*/ 116231 h 349363"/>
                <a:gd name="connsiteX595" fmla="*/ 2279989 w 2663946"/>
                <a:gd name="connsiteY595" fmla="*/ 115691 h 349363"/>
                <a:gd name="connsiteX596" fmla="*/ 2279989 w 2663946"/>
                <a:gd name="connsiteY596" fmla="*/ 69726 h 349363"/>
                <a:gd name="connsiteX597" fmla="*/ 2279448 w 2663946"/>
                <a:gd name="connsiteY597" fmla="*/ 69185 h 349363"/>
                <a:gd name="connsiteX598" fmla="*/ 2273500 w 2663946"/>
                <a:gd name="connsiteY598" fmla="*/ 69185 h 349363"/>
                <a:gd name="connsiteX599" fmla="*/ 2266199 w 2663946"/>
                <a:gd name="connsiteY599" fmla="*/ 64589 h 349363"/>
                <a:gd name="connsiteX600" fmla="*/ 2265929 w 2663946"/>
                <a:gd name="connsiteY600" fmla="*/ 58911 h 349363"/>
                <a:gd name="connsiteX601" fmla="*/ 2273229 w 2663946"/>
                <a:gd name="connsiteY601" fmla="*/ 53774 h 349363"/>
                <a:gd name="connsiteX602" fmla="*/ 2285396 w 2663946"/>
                <a:gd name="connsiteY602" fmla="*/ 53503 h 349363"/>
                <a:gd name="connsiteX603" fmla="*/ 1936416 w 2663946"/>
                <a:gd name="connsiteY603" fmla="*/ 53503 h 349363"/>
                <a:gd name="connsiteX604" fmla="*/ 1940472 w 2663946"/>
                <a:gd name="connsiteY604" fmla="*/ 53503 h 349363"/>
                <a:gd name="connsiteX605" fmla="*/ 1945068 w 2663946"/>
                <a:gd name="connsiteY605" fmla="*/ 55937 h 349363"/>
                <a:gd name="connsiteX606" fmla="*/ 1947232 w 2663946"/>
                <a:gd name="connsiteY606" fmla="*/ 62155 h 349363"/>
                <a:gd name="connsiteX607" fmla="*/ 1947232 w 2663946"/>
                <a:gd name="connsiteY607" fmla="*/ 62696 h 349363"/>
                <a:gd name="connsiteX608" fmla="*/ 1947232 w 2663946"/>
                <a:gd name="connsiteY608" fmla="*/ 115691 h 349363"/>
                <a:gd name="connsiteX609" fmla="*/ 1947772 w 2663946"/>
                <a:gd name="connsiteY609" fmla="*/ 116231 h 349363"/>
                <a:gd name="connsiteX610" fmla="*/ 1955072 w 2663946"/>
                <a:gd name="connsiteY610" fmla="*/ 116231 h 349363"/>
                <a:gd name="connsiteX611" fmla="*/ 1959128 w 2663946"/>
                <a:gd name="connsiteY611" fmla="*/ 117313 h 349363"/>
                <a:gd name="connsiteX612" fmla="*/ 1962913 w 2663946"/>
                <a:gd name="connsiteY612" fmla="*/ 124072 h 349363"/>
                <a:gd name="connsiteX613" fmla="*/ 1960210 w 2663946"/>
                <a:gd name="connsiteY613" fmla="*/ 129750 h 349363"/>
                <a:gd name="connsiteX614" fmla="*/ 1956154 w 2663946"/>
                <a:gd name="connsiteY614" fmla="*/ 131643 h 349363"/>
                <a:gd name="connsiteX615" fmla="*/ 1955884 w 2663946"/>
                <a:gd name="connsiteY615" fmla="*/ 131643 h 349363"/>
                <a:gd name="connsiteX616" fmla="*/ 1955613 w 2663946"/>
                <a:gd name="connsiteY616" fmla="*/ 131643 h 349363"/>
                <a:gd name="connsiteX617" fmla="*/ 1955072 w 2663946"/>
                <a:gd name="connsiteY617" fmla="*/ 131643 h 349363"/>
                <a:gd name="connsiteX618" fmla="*/ 1922897 w 2663946"/>
                <a:gd name="connsiteY618" fmla="*/ 131643 h 349363"/>
                <a:gd name="connsiteX619" fmla="*/ 1922357 w 2663946"/>
                <a:gd name="connsiteY619" fmla="*/ 131643 h 349363"/>
                <a:gd name="connsiteX620" fmla="*/ 1921545 w 2663946"/>
                <a:gd name="connsiteY620" fmla="*/ 131643 h 349363"/>
                <a:gd name="connsiteX621" fmla="*/ 1920734 w 2663946"/>
                <a:gd name="connsiteY621" fmla="*/ 131373 h 349363"/>
                <a:gd name="connsiteX622" fmla="*/ 1917219 w 2663946"/>
                <a:gd name="connsiteY622" fmla="*/ 129480 h 349363"/>
                <a:gd name="connsiteX623" fmla="*/ 1914786 w 2663946"/>
                <a:gd name="connsiteY623" fmla="*/ 123802 h 349363"/>
                <a:gd name="connsiteX624" fmla="*/ 1916949 w 2663946"/>
                <a:gd name="connsiteY624" fmla="*/ 118665 h 349363"/>
                <a:gd name="connsiteX625" fmla="*/ 1922627 w 2663946"/>
                <a:gd name="connsiteY625" fmla="*/ 116231 h 349363"/>
                <a:gd name="connsiteX626" fmla="*/ 1930468 w 2663946"/>
                <a:gd name="connsiteY626" fmla="*/ 116231 h 349363"/>
                <a:gd name="connsiteX627" fmla="*/ 1931009 w 2663946"/>
                <a:gd name="connsiteY627" fmla="*/ 115691 h 349363"/>
                <a:gd name="connsiteX628" fmla="*/ 1931009 w 2663946"/>
                <a:gd name="connsiteY628" fmla="*/ 69726 h 349363"/>
                <a:gd name="connsiteX629" fmla="*/ 1930468 w 2663946"/>
                <a:gd name="connsiteY629" fmla="*/ 69185 h 349363"/>
                <a:gd name="connsiteX630" fmla="*/ 1924520 w 2663946"/>
                <a:gd name="connsiteY630" fmla="*/ 69185 h 349363"/>
                <a:gd name="connsiteX631" fmla="*/ 1917219 w 2663946"/>
                <a:gd name="connsiteY631" fmla="*/ 64589 h 349363"/>
                <a:gd name="connsiteX632" fmla="*/ 1916949 w 2663946"/>
                <a:gd name="connsiteY632" fmla="*/ 58911 h 349363"/>
                <a:gd name="connsiteX633" fmla="*/ 1924249 w 2663946"/>
                <a:gd name="connsiteY633" fmla="*/ 53774 h 349363"/>
                <a:gd name="connsiteX634" fmla="*/ 1936416 w 2663946"/>
                <a:gd name="connsiteY634" fmla="*/ 53503 h 349363"/>
                <a:gd name="connsiteX635" fmla="*/ 1678521 w 2663946"/>
                <a:gd name="connsiteY635" fmla="*/ 53503 h 349363"/>
                <a:gd name="connsiteX636" fmla="*/ 1682577 w 2663946"/>
                <a:gd name="connsiteY636" fmla="*/ 53503 h 349363"/>
                <a:gd name="connsiteX637" fmla="*/ 1687173 w 2663946"/>
                <a:gd name="connsiteY637" fmla="*/ 55937 h 349363"/>
                <a:gd name="connsiteX638" fmla="*/ 1689336 w 2663946"/>
                <a:gd name="connsiteY638" fmla="*/ 62155 h 349363"/>
                <a:gd name="connsiteX639" fmla="*/ 1689336 w 2663946"/>
                <a:gd name="connsiteY639" fmla="*/ 62696 h 349363"/>
                <a:gd name="connsiteX640" fmla="*/ 1689336 w 2663946"/>
                <a:gd name="connsiteY640" fmla="*/ 115691 h 349363"/>
                <a:gd name="connsiteX641" fmla="*/ 1689877 w 2663946"/>
                <a:gd name="connsiteY641" fmla="*/ 116231 h 349363"/>
                <a:gd name="connsiteX642" fmla="*/ 1697177 w 2663946"/>
                <a:gd name="connsiteY642" fmla="*/ 116231 h 349363"/>
                <a:gd name="connsiteX643" fmla="*/ 1701233 w 2663946"/>
                <a:gd name="connsiteY643" fmla="*/ 117313 h 349363"/>
                <a:gd name="connsiteX644" fmla="*/ 1705018 w 2663946"/>
                <a:gd name="connsiteY644" fmla="*/ 124072 h 349363"/>
                <a:gd name="connsiteX645" fmla="*/ 1702315 w 2663946"/>
                <a:gd name="connsiteY645" fmla="*/ 129750 h 349363"/>
                <a:gd name="connsiteX646" fmla="*/ 1698259 w 2663946"/>
                <a:gd name="connsiteY646" fmla="*/ 131643 h 349363"/>
                <a:gd name="connsiteX647" fmla="*/ 1697989 w 2663946"/>
                <a:gd name="connsiteY647" fmla="*/ 131643 h 349363"/>
                <a:gd name="connsiteX648" fmla="*/ 1697718 w 2663946"/>
                <a:gd name="connsiteY648" fmla="*/ 131643 h 349363"/>
                <a:gd name="connsiteX649" fmla="*/ 1697177 w 2663946"/>
                <a:gd name="connsiteY649" fmla="*/ 131643 h 349363"/>
                <a:gd name="connsiteX650" fmla="*/ 1665002 w 2663946"/>
                <a:gd name="connsiteY650" fmla="*/ 131643 h 349363"/>
                <a:gd name="connsiteX651" fmla="*/ 1664462 w 2663946"/>
                <a:gd name="connsiteY651" fmla="*/ 131643 h 349363"/>
                <a:gd name="connsiteX652" fmla="*/ 1663650 w 2663946"/>
                <a:gd name="connsiteY652" fmla="*/ 131643 h 349363"/>
                <a:gd name="connsiteX653" fmla="*/ 1662839 w 2663946"/>
                <a:gd name="connsiteY653" fmla="*/ 131373 h 349363"/>
                <a:gd name="connsiteX654" fmla="*/ 1659324 w 2663946"/>
                <a:gd name="connsiteY654" fmla="*/ 129480 h 349363"/>
                <a:gd name="connsiteX655" fmla="*/ 1656891 w 2663946"/>
                <a:gd name="connsiteY655" fmla="*/ 123802 h 349363"/>
                <a:gd name="connsiteX656" fmla="*/ 1659054 w 2663946"/>
                <a:gd name="connsiteY656" fmla="*/ 118665 h 349363"/>
                <a:gd name="connsiteX657" fmla="*/ 1664732 w 2663946"/>
                <a:gd name="connsiteY657" fmla="*/ 116231 h 349363"/>
                <a:gd name="connsiteX658" fmla="*/ 1672573 w 2663946"/>
                <a:gd name="connsiteY658" fmla="*/ 116231 h 349363"/>
                <a:gd name="connsiteX659" fmla="*/ 1673114 w 2663946"/>
                <a:gd name="connsiteY659" fmla="*/ 115691 h 349363"/>
                <a:gd name="connsiteX660" fmla="*/ 1673114 w 2663946"/>
                <a:gd name="connsiteY660" fmla="*/ 69726 h 349363"/>
                <a:gd name="connsiteX661" fmla="*/ 1672573 w 2663946"/>
                <a:gd name="connsiteY661" fmla="*/ 69185 h 349363"/>
                <a:gd name="connsiteX662" fmla="*/ 1666625 w 2663946"/>
                <a:gd name="connsiteY662" fmla="*/ 69185 h 349363"/>
                <a:gd name="connsiteX663" fmla="*/ 1659324 w 2663946"/>
                <a:gd name="connsiteY663" fmla="*/ 64589 h 349363"/>
                <a:gd name="connsiteX664" fmla="*/ 1659054 w 2663946"/>
                <a:gd name="connsiteY664" fmla="*/ 58911 h 349363"/>
                <a:gd name="connsiteX665" fmla="*/ 1666354 w 2663946"/>
                <a:gd name="connsiteY665" fmla="*/ 53774 h 349363"/>
                <a:gd name="connsiteX666" fmla="*/ 1678521 w 2663946"/>
                <a:gd name="connsiteY666" fmla="*/ 53503 h 349363"/>
                <a:gd name="connsiteX667" fmla="*/ 1329614 w 2663946"/>
                <a:gd name="connsiteY667" fmla="*/ 53503 h 349363"/>
                <a:gd name="connsiteX668" fmla="*/ 1333670 w 2663946"/>
                <a:gd name="connsiteY668" fmla="*/ 53503 h 349363"/>
                <a:gd name="connsiteX669" fmla="*/ 1338266 w 2663946"/>
                <a:gd name="connsiteY669" fmla="*/ 55937 h 349363"/>
                <a:gd name="connsiteX670" fmla="*/ 1340429 w 2663946"/>
                <a:gd name="connsiteY670" fmla="*/ 62155 h 349363"/>
                <a:gd name="connsiteX671" fmla="*/ 1340429 w 2663946"/>
                <a:gd name="connsiteY671" fmla="*/ 62696 h 349363"/>
                <a:gd name="connsiteX672" fmla="*/ 1340429 w 2663946"/>
                <a:gd name="connsiteY672" fmla="*/ 115691 h 349363"/>
                <a:gd name="connsiteX673" fmla="*/ 1340970 w 2663946"/>
                <a:gd name="connsiteY673" fmla="*/ 116231 h 349363"/>
                <a:gd name="connsiteX674" fmla="*/ 1348270 w 2663946"/>
                <a:gd name="connsiteY674" fmla="*/ 116231 h 349363"/>
                <a:gd name="connsiteX675" fmla="*/ 1352326 w 2663946"/>
                <a:gd name="connsiteY675" fmla="*/ 117313 h 349363"/>
                <a:gd name="connsiteX676" fmla="*/ 1356111 w 2663946"/>
                <a:gd name="connsiteY676" fmla="*/ 124072 h 349363"/>
                <a:gd name="connsiteX677" fmla="*/ 1353408 w 2663946"/>
                <a:gd name="connsiteY677" fmla="*/ 129750 h 349363"/>
                <a:gd name="connsiteX678" fmla="*/ 1349352 w 2663946"/>
                <a:gd name="connsiteY678" fmla="*/ 131643 h 349363"/>
                <a:gd name="connsiteX679" fmla="*/ 1349082 w 2663946"/>
                <a:gd name="connsiteY679" fmla="*/ 131643 h 349363"/>
                <a:gd name="connsiteX680" fmla="*/ 1348811 w 2663946"/>
                <a:gd name="connsiteY680" fmla="*/ 131643 h 349363"/>
                <a:gd name="connsiteX681" fmla="*/ 1348270 w 2663946"/>
                <a:gd name="connsiteY681" fmla="*/ 131643 h 349363"/>
                <a:gd name="connsiteX682" fmla="*/ 1316095 w 2663946"/>
                <a:gd name="connsiteY682" fmla="*/ 131643 h 349363"/>
                <a:gd name="connsiteX683" fmla="*/ 1315555 w 2663946"/>
                <a:gd name="connsiteY683" fmla="*/ 131643 h 349363"/>
                <a:gd name="connsiteX684" fmla="*/ 1314743 w 2663946"/>
                <a:gd name="connsiteY684" fmla="*/ 131643 h 349363"/>
                <a:gd name="connsiteX685" fmla="*/ 1313932 w 2663946"/>
                <a:gd name="connsiteY685" fmla="*/ 131373 h 349363"/>
                <a:gd name="connsiteX686" fmla="*/ 1310417 w 2663946"/>
                <a:gd name="connsiteY686" fmla="*/ 129480 h 349363"/>
                <a:gd name="connsiteX687" fmla="*/ 1307984 w 2663946"/>
                <a:gd name="connsiteY687" fmla="*/ 123802 h 349363"/>
                <a:gd name="connsiteX688" fmla="*/ 1310147 w 2663946"/>
                <a:gd name="connsiteY688" fmla="*/ 118665 h 349363"/>
                <a:gd name="connsiteX689" fmla="*/ 1315825 w 2663946"/>
                <a:gd name="connsiteY689" fmla="*/ 116231 h 349363"/>
                <a:gd name="connsiteX690" fmla="*/ 1323666 w 2663946"/>
                <a:gd name="connsiteY690" fmla="*/ 116231 h 349363"/>
                <a:gd name="connsiteX691" fmla="*/ 1324207 w 2663946"/>
                <a:gd name="connsiteY691" fmla="*/ 115691 h 349363"/>
                <a:gd name="connsiteX692" fmla="*/ 1324207 w 2663946"/>
                <a:gd name="connsiteY692" fmla="*/ 69726 h 349363"/>
                <a:gd name="connsiteX693" fmla="*/ 1323666 w 2663946"/>
                <a:gd name="connsiteY693" fmla="*/ 69185 h 349363"/>
                <a:gd name="connsiteX694" fmla="*/ 1317718 w 2663946"/>
                <a:gd name="connsiteY694" fmla="*/ 69185 h 349363"/>
                <a:gd name="connsiteX695" fmla="*/ 1310417 w 2663946"/>
                <a:gd name="connsiteY695" fmla="*/ 64589 h 349363"/>
                <a:gd name="connsiteX696" fmla="*/ 1310147 w 2663946"/>
                <a:gd name="connsiteY696" fmla="*/ 58911 h 349363"/>
                <a:gd name="connsiteX697" fmla="*/ 1317447 w 2663946"/>
                <a:gd name="connsiteY697" fmla="*/ 53774 h 349363"/>
                <a:gd name="connsiteX698" fmla="*/ 1329614 w 2663946"/>
                <a:gd name="connsiteY698" fmla="*/ 53503 h 349363"/>
                <a:gd name="connsiteX699" fmla="*/ 980634 w 2663946"/>
                <a:gd name="connsiteY699" fmla="*/ 53503 h 349363"/>
                <a:gd name="connsiteX700" fmla="*/ 984690 w 2663946"/>
                <a:gd name="connsiteY700" fmla="*/ 53503 h 349363"/>
                <a:gd name="connsiteX701" fmla="*/ 989286 w 2663946"/>
                <a:gd name="connsiteY701" fmla="*/ 55937 h 349363"/>
                <a:gd name="connsiteX702" fmla="*/ 991449 w 2663946"/>
                <a:gd name="connsiteY702" fmla="*/ 62155 h 349363"/>
                <a:gd name="connsiteX703" fmla="*/ 991449 w 2663946"/>
                <a:gd name="connsiteY703" fmla="*/ 62696 h 349363"/>
                <a:gd name="connsiteX704" fmla="*/ 991449 w 2663946"/>
                <a:gd name="connsiteY704" fmla="*/ 115691 h 349363"/>
                <a:gd name="connsiteX705" fmla="*/ 991990 w 2663946"/>
                <a:gd name="connsiteY705" fmla="*/ 116231 h 349363"/>
                <a:gd name="connsiteX706" fmla="*/ 999290 w 2663946"/>
                <a:gd name="connsiteY706" fmla="*/ 116231 h 349363"/>
                <a:gd name="connsiteX707" fmla="*/ 1003346 w 2663946"/>
                <a:gd name="connsiteY707" fmla="*/ 117313 h 349363"/>
                <a:gd name="connsiteX708" fmla="*/ 1007131 w 2663946"/>
                <a:gd name="connsiteY708" fmla="*/ 124072 h 349363"/>
                <a:gd name="connsiteX709" fmla="*/ 1004428 w 2663946"/>
                <a:gd name="connsiteY709" fmla="*/ 129750 h 349363"/>
                <a:gd name="connsiteX710" fmla="*/ 1000372 w 2663946"/>
                <a:gd name="connsiteY710" fmla="*/ 131643 h 349363"/>
                <a:gd name="connsiteX711" fmla="*/ 1000102 w 2663946"/>
                <a:gd name="connsiteY711" fmla="*/ 131643 h 349363"/>
                <a:gd name="connsiteX712" fmla="*/ 999831 w 2663946"/>
                <a:gd name="connsiteY712" fmla="*/ 131643 h 349363"/>
                <a:gd name="connsiteX713" fmla="*/ 999290 w 2663946"/>
                <a:gd name="connsiteY713" fmla="*/ 131643 h 349363"/>
                <a:gd name="connsiteX714" fmla="*/ 967115 w 2663946"/>
                <a:gd name="connsiteY714" fmla="*/ 131643 h 349363"/>
                <a:gd name="connsiteX715" fmla="*/ 966575 w 2663946"/>
                <a:gd name="connsiteY715" fmla="*/ 131643 h 349363"/>
                <a:gd name="connsiteX716" fmla="*/ 965763 w 2663946"/>
                <a:gd name="connsiteY716" fmla="*/ 131643 h 349363"/>
                <a:gd name="connsiteX717" fmla="*/ 964952 w 2663946"/>
                <a:gd name="connsiteY717" fmla="*/ 131373 h 349363"/>
                <a:gd name="connsiteX718" fmla="*/ 961437 w 2663946"/>
                <a:gd name="connsiteY718" fmla="*/ 129480 h 349363"/>
                <a:gd name="connsiteX719" fmla="*/ 959004 w 2663946"/>
                <a:gd name="connsiteY719" fmla="*/ 123802 h 349363"/>
                <a:gd name="connsiteX720" fmla="*/ 961167 w 2663946"/>
                <a:gd name="connsiteY720" fmla="*/ 118665 h 349363"/>
                <a:gd name="connsiteX721" fmla="*/ 966845 w 2663946"/>
                <a:gd name="connsiteY721" fmla="*/ 116231 h 349363"/>
                <a:gd name="connsiteX722" fmla="*/ 974686 w 2663946"/>
                <a:gd name="connsiteY722" fmla="*/ 116231 h 349363"/>
                <a:gd name="connsiteX723" fmla="*/ 975227 w 2663946"/>
                <a:gd name="connsiteY723" fmla="*/ 115691 h 349363"/>
                <a:gd name="connsiteX724" fmla="*/ 975227 w 2663946"/>
                <a:gd name="connsiteY724" fmla="*/ 69726 h 349363"/>
                <a:gd name="connsiteX725" fmla="*/ 974686 w 2663946"/>
                <a:gd name="connsiteY725" fmla="*/ 69185 h 349363"/>
                <a:gd name="connsiteX726" fmla="*/ 968738 w 2663946"/>
                <a:gd name="connsiteY726" fmla="*/ 69185 h 349363"/>
                <a:gd name="connsiteX727" fmla="*/ 961437 w 2663946"/>
                <a:gd name="connsiteY727" fmla="*/ 64589 h 349363"/>
                <a:gd name="connsiteX728" fmla="*/ 961167 w 2663946"/>
                <a:gd name="connsiteY728" fmla="*/ 58911 h 349363"/>
                <a:gd name="connsiteX729" fmla="*/ 968467 w 2663946"/>
                <a:gd name="connsiteY729" fmla="*/ 53774 h 349363"/>
                <a:gd name="connsiteX730" fmla="*/ 980634 w 2663946"/>
                <a:gd name="connsiteY730" fmla="*/ 53503 h 349363"/>
                <a:gd name="connsiteX731" fmla="*/ 813605 w 2663946"/>
                <a:gd name="connsiteY731" fmla="*/ 53503 h 349363"/>
                <a:gd name="connsiteX732" fmla="*/ 817661 w 2663946"/>
                <a:gd name="connsiteY732" fmla="*/ 53503 h 349363"/>
                <a:gd name="connsiteX733" fmla="*/ 822257 w 2663946"/>
                <a:gd name="connsiteY733" fmla="*/ 55937 h 349363"/>
                <a:gd name="connsiteX734" fmla="*/ 824420 w 2663946"/>
                <a:gd name="connsiteY734" fmla="*/ 62155 h 349363"/>
                <a:gd name="connsiteX735" fmla="*/ 824420 w 2663946"/>
                <a:gd name="connsiteY735" fmla="*/ 62696 h 349363"/>
                <a:gd name="connsiteX736" fmla="*/ 824420 w 2663946"/>
                <a:gd name="connsiteY736" fmla="*/ 115691 h 349363"/>
                <a:gd name="connsiteX737" fmla="*/ 824961 w 2663946"/>
                <a:gd name="connsiteY737" fmla="*/ 116231 h 349363"/>
                <a:gd name="connsiteX738" fmla="*/ 832261 w 2663946"/>
                <a:gd name="connsiteY738" fmla="*/ 116231 h 349363"/>
                <a:gd name="connsiteX739" fmla="*/ 836317 w 2663946"/>
                <a:gd name="connsiteY739" fmla="*/ 117313 h 349363"/>
                <a:gd name="connsiteX740" fmla="*/ 840102 w 2663946"/>
                <a:gd name="connsiteY740" fmla="*/ 124072 h 349363"/>
                <a:gd name="connsiteX741" fmla="*/ 837399 w 2663946"/>
                <a:gd name="connsiteY741" fmla="*/ 129750 h 349363"/>
                <a:gd name="connsiteX742" fmla="*/ 833343 w 2663946"/>
                <a:gd name="connsiteY742" fmla="*/ 131643 h 349363"/>
                <a:gd name="connsiteX743" fmla="*/ 833073 w 2663946"/>
                <a:gd name="connsiteY743" fmla="*/ 131643 h 349363"/>
                <a:gd name="connsiteX744" fmla="*/ 832802 w 2663946"/>
                <a:gd name="connsiteY744" fmla="*/ 131643 h 349363"/>
                <a:gd name="connsiteX745" fmla="*/ 832261 w 2663946"/>
                <a:gd name="connsiteY745" fmla="*/ 131643 h 349363"/>
                <a:gd name="connsiteX746" fmla="*/ 800086 w 2663946"/>
                <a:gd name="connsiteY746" fmla="*/ 131643 h 349363"/>
                <a:gd name="connsiteX747" fmla="*/ 799546 w 2663946"/>
                <a:gd name="connsiteY747" fmla="*/ 131643 h 349363"/>
                <a:gd name="connsiteX748" fmla="*/ 798734 w 2663946"/>
                <a:gd name="connsiteY748" fmla="*/ 131643 h 349363"/>
                <a:gd name="connsiteX749" fmla="*/ 797923 w 2663946"/>
                <a:gd name="connsiteY749" fmla="*/ 131373 h 349363"/>
                <a:gd name="connsiteX750" fmla="*/ 794408 w 2663946"/>
                <a:gd name="connsiteY750" fmla="*/ 129480 h 349363"/>
                <a:gd name="connsiteX751" fmla="*/ 791975 w 2663946"/>
                <a:gd name="connsiteY751" fmla="*/ 123802 h 349363"/>
                <a:gd name="connsiteX752" fmla="*/ 794138 w 2663946"/>
                <a:gd name="connsiteY752" fmla="*/ 118665 h 349363"/>
                <a:gd name="connsiteX753" fmla="*/ 799816 w 2663946"/>
                <a:gd name="connsiteY753" fmla="*/ 116231 h 349363"/>
                <a:gd name="connsiteX754" fmla="*/ 807657 w 2663946"/>
                <a:gd name="connsiteY754" fmla="*/ 116231 h 349363"/>
                <a:gd name="connsiteX755" fmla="*/ 808198 w 2663946"/>
                <a:gd name="connsiteY755" fmla="*/ 115691 h 349363"/>
                <a:gd name="connsiteX756" fmla="*/ 808198 w 2663946"/>
                <a:gd name="connsiteY756" fmla="*/ 69726 h 349363"/>
                <a:gd name="connsiteX757" fmla="*/ 807657 w 2663946"/>
                <a:gd name="connsiteY757" fmla="*/ 69185 h 349363"/>
                <a:gd name="connsiteX758" fmla="*/ 801709 w 2663946"/>
                <a:gd name="connsiteY758" fmla="*/ 69185 h 349363"/>
                <a:gd name="connsiteX759" fmla="*/ 794408 w 2663946"/>
                <a:gd name="connsiteY759" fmla="*/ 64589 h 349363"/>
                <a:gd name="connsiteX760" fmla="*/ 794138 w 2663946"/>
                <a:gd name="connsiteY760" fmla="*/ 58911 h 349363"/>
                <a:gd name="connsiteX761" fmla="*/ 801438 w 2663946"/>
                <a:gd name="connsiteY761" fmla="*/ 53774 h 349363"/>
                <a:gd name="connsiteX762" fmla="*/ 813605 w 2663946"/>
                <a:gd name="connsiteY762" fmla="*/ 53503 h 349363"/>
                <a:gd name="connsiteX763" fmla="*/ 282748 w 2663946"/>
                <a:gd name="connsiteY763" fmla="*/ 53503 h 349363"/>
                <a:gd name="connsiteX764" fmla="*/ 286803 w 2663946"/>
                <a:gd name="connsiteY764" fmla="*/ 53503 h 349363"/>
                <a:gd name="connsiteX765" fmla="*/ 291400 w 2663946"/>
                <a:gd name="connsiteY765" fmla="*/ 55937 h 349363"/>
                <a:gd name="connsiteX766" fmla="*/ 293563 w 2663946"/>
                <a:gd name="connsiteY766" fmla="*/ 62155 h 349363"/>
                <a:gd name="connsiteX767" fmla="*/ 293563 w 2663946"/>
                <a:gd name="connsiteY767" fmla="*/ 62696 h 349363"/>
                <a:gd name="connsiteX768" fmla="*/ 293563 w 2663946"/>
                <a:gd name="connsiteY768" fmla="*/ 115691 h 349363"/>
                <a:gd name="connsiteX769" fmla="*/ 294104 w 2663946"/>
                <a:gd name="connsiteY769" fmla="*/ 116231 h 349363"/>
                <a:gd name="connsiteX770" fmla="*/ 301404 w 2663946"/>
                <a:gd name="connsiteY770" fmla="*/ 116231 h 349363"/>
                <a:gd name="connsiteX771" fmla="*/ 305460 w 2663946"/>
                <a:gd name="connsiteY771" fmla="*/ 117313 h 349363"/>
                <a:gd name="connsiteX772" fmla="*/ 309245 w 2663946"/>
                <a:gd name="connsiteY772" fmla="*/ 124072 h 349363"/>
                <a:gd name="connsiteX773" fmla="*/ 306541 w 2663946"/>
                <a:gd name="connsiteY773" fmla="*/ 129750 h 349363"/>
                <a:gd name="connsiteX774" fmla="*/ 302485 w 2663946"/>
                <a:gd name="connsiteY774" fmla="*/ 131643 h 349363"/>
                <a:gd name="connsiteX775" fmla="*/ 302215 w 2663946"/>
                <a:gd name="connsiteY775" fmla="*/ 131643 h 349363"/>
                <a:gd name="connsiteX776" fmla="*/ 301945 w 2663946"/>
                <a:gd name="connsiteY776" fmla="*/ 131643 h 349363"/>
                <a:gd name="connsiteX777" fmla="*/ 301404 w 2663946"/>
                <a:gd name="connsiteY777" fmla="*/ 131643 h 349363"/>
                <a:gd name="connsiteX778" fmla="*/ 269229 w 2663946"/>
                <a:gd name="connsiteY778" fmla="*/ 131643 h 349363"/>
                <a:gd name="connsiteX779" fmla="*/ 268688 w 2663946"/>
                <a:gd name="connsiteY779" fmla="*/ 131643 h 349363"/>
                <a:gd name="connsiteX780" fmla="*/ 267877 w 2663946"/>
                <a:gd name="connsiteY780" fmla="*/ 131643 h 349363"/>
                <a:gd name="connsiteX781" fmla="*/ 267066 w 2663946"/>
                <a:gd name="connsiteY781" fmla="*/ 131373 h 349363"/>
                <a:gd name="connsiteX782" fmla="*/ 263551 w 2663946"/>
                <a:gd name="connsiteY782" fmla="*/ 129480 h 349363"/>
                <a:gd name="connsiteX783" fmla="*/ 261117 w 2663946"/>
                <a:gd name="connsiteY783" fmla="*/ 123802 h 349363"/>
                <a:gd name="connsiteX784" fmla="*/ 263281 w 2663946"/>
                <a:gd name="connsiteY784" fmla="*/ 118665 h 349363"/>
                <a:gd name="connsiteX785" fmla="*/ 268958 w 2663946"/>
                <a:gd name="connsiteY785" fmla="*/ 116231 h 349363"/>
                <a:gd name="connsiteX786" fmla="*/ 276800 w 2663946"/>
                <a:gd name="connsiteY786" fmla="*/ 116231 h 349363"/>
                <a:gd name="connsiteX787" fmla="*/ 277340 w 2663946"/>
                <a:gd name="connsiteY787" fmla="*/ 115691 h 349363"/>
                <a:gd name="connsiteX788" fmla="*/ 277340 w 2663946"/>
                <a:gd name="connsiteY788" fmla="*/ 69726 h 349363"/>
                <a:gd name="connsiteX789" fmla="*/ 276800 w 2663946"/>
                <a:gd name="connsiteY789" fmla="*/ 69185 h 349363"/>
                <a:gd name="connsiteX790" fmla="*/ 270851 w 2663946"/>
                <a:gd name="connsiteY790" fmla="*/ 69185 h 349363"/>
                <a:gd name="connsiteX791" fmla="*/ 263551 w 2663946"/>
                <a:gd name="connsiteY791" fmla="*/ 64589 h 349363"/>
                <a:gd name="connsiteX792" fmla="*/ 263281 w 2663946"/>
                <a:gd name="connsiteY792" fmla="*/ 58911 h 349363"/>
                <a:gd name="connsiteX793" fmla="*/ 270581 w 2663946"/>
                <a:gd name="connsiteY793" fmla="*/ 53774 h 349363"/>
                <a:gd name="connsiteX794" fmla="*/ 282748 w 2663946"/>
                <a:gd name="connsiteY794" fmla="*/ 53503 h 349363"/>
                <a:gd name="connsiteX795" fmla="*/ 206731 w 2663946"/>
                <a:gd name="connsiteY795" fmla="*/ 53503 h 349363"/>
                <a:gd name="connsiteX796" fmla="*/ 210787 w 2663946"/>
                <a:gd name="connsiteY796" fmla="*/ 53503 h 349363"/>
                <a:gd name="connsiteX797" fmla="*/ 215383 w 2663946"/>
                <a:gd name="connsiteY797" fmla="*/ 55937 h 349363"/>
                <a:gd name="connsiteX798" fmla="*/ 217546 w 2663946"/>
                <a:gd name="connsiteY798" fmla="*/ 62155 h 349363"/>
                <a:gd name="connsiteX799" fmla="*/ 217546 w 2663946"/>
                <a:gd name="connsiteY799" fmla="*/ 62696 h 349363"/>
                <a:gd name="connsiteX800" fmla="*/ 217546 w 2663946"/>
                <a:gd name="connsiteY800" fmla="*/ 115691 h 349363"/>
                <a:gd name="connsiteX801" fmla="*/ 218087 w 2663946"/>
                <a:gd name="connsiteY801" fmla="*/ 116231 h 349363"/>
                <a:gd name="connsiteX802" fmla="*/ 225387 w 2663946"/>
                <a:gd name="connsiteY802" fmla="*/ 116231 h 349363"/>
                <a:gd name="connsiteX803" fmla="*/ 229443 w 2663946"/>
                <a:gd name="connsiteY803" fmla="*/ 117313 h 349363"/>
                <a:gd name="connsiteX804" fmla="*/ 233228 w 2663946"/>
                <a:gd name="connsiteY804" fmla="*/ 124072 h 349363"/>
                <a:gd name="connsiteX805" fmla="*/ 230524 w 2663946"/>
                <a:gd name="connsiteY805" fmla="*/ 129750 h 349363"/>
                <a:gd name="connsiteX806" fmla="*/ 226468 w 2663946"/>
                <a:gd name="connsiteY806" fmla="*/ 131643 h 349363"/>
                <a:gd name="connsiteX807" fmla="*/ 226198 w 2663946"/>
                <a:gd name="connsiteY807" fmla="*/ 131643 h 349363"/>
                <a:gd name="connsiteX808" fmla="*/ 225928 w 2663946"/>
                <a:gd name="connsiteY808" fmla="*/ 131643 h 349363"/>
                <a:gd name="connsiteX809" fmla="*/ 225387 w 2663946"/>
                <a:gd name="connsiteY809" fmla="*/ 131643 h 349363"/>
                <a:gd name="connsiteX810" fmla="*/ 193212 w 2663946"/>
                <a:gd name="connsiteY810" fmla="*/ 131643 h 349363"/>
                <a:gd name="connsiteX811" fmla="*/ 192671 w 2663946"/>
                <a:gd name="connsiteY811" fmla="*/ 131643 h 349363"/>
                <a:gd name="connsiteX812" fmla="*/ 191860 w 2663946"/>
                <a:gd name="connsiteY812" fmla="*/ 131643 h 349363"/>
                <a:gd name="connsiteX813" fmla="*/ 191049 w 2663946"/>
                <a:gd name="connsiteY813" fmla="*/ 131373 h 349363"/>
                <a:gd name="connsiteX814" fmla="*/ 187534 w 2663946"/>
                <a:gd name="connsiteY814" fmla="*/ 129480 h 349363"/>
                <a:gd name="connsiteX815" fmla="*/ 185101 w 2663946"/>
                <a:gd name="connsiteY815" fmla="*/ 123802 h 349363"/>
                <a:gd name="connsiteX816" fmla="*/ 187264 w 2663946"/>
                <a:gd name="connsiteY816" fmla="*/ 118665 h 349363"/>
                <a:gd name="connsiteX817" fmla="*/ 192942 w 2663946"/>
                <a:gd name="connsiteY817" fmla="*/ 116231 h 349363"/>
                <a:gd name="connsiteX818" fmla="*/ 200783 w 2663946"/>
                <a:gd name="connsiteY818" fmla="*/ 116231 h 349363"/>
                <a:gd name="connsiteX819" fmla="*/ 201323 w 2663946"/>
                <a:gd name="connsiteY819" fmla="*/ 115691 h 349363"/>
                <a:gd name="connsiteX820" fmla="*/ 201323 w 2663946"/>
                <a:gd name="connsiteY820" fmla="*/ 69726 h 349363"/>
                <a:gd name="connsiteX821" fmla="*/ 200783 w 2663946"/>
                <a:gd name="connsiteY821" fmla="*/ 69185 h 349363"/>
                <a:gd name="connsiteX822" fmla="*/ 194834 w 2663946"/>
                <a:gd name="connsiteY822" fmla="*/ 69185 h 349363"/>
                <a:gd name="connsiteX823" fmla="*/ 187534 w 2663946"/>
                <a:gd name="connsiteY823" fmla="*/ 64589 h 349363"/>
                <a:gd name="connsiteX824" fmla="*/ 187264 w 2663946"/>
                <a:gd name="connsiteY824" fmla="*/ 58911 h 349363"/>
                <a:gd name="connsiteX825" fmla="*/ 194564 w 2663946"/>
                <a:gd name="connsiteY825" fmla="*/ 53774 h 349363"/>
                <a:gd name="connsiteX826" fmla="*/ 206731 w 2663946"/>
                <a:gd name="connsiteY826" fmla="*/ 53503 h 349363"/>
                <a:gd name="connsiteX827" fmla="*/ 2627559 w 2663946"/>
                <a:gd name="connsiteY827" fmla="*/ 53434 h 349363"/>
                <a:gd name="connsiteX828" fmla="*/ 2639849 w 2663946"/>
                <a:gd name="connsiteY828" fmla="*/ 55597 h 349363"/>
                <a:gd name="connsiteX829" fmla="*/ 2647223 w 2663946"/>
                <a:gd name="connsiteY829" fmla="*/ 60194 h 349363"/>
                <a:gd name="connsiteX830" fmla="*/ 2650664 w 2663946"/>
                <a:gd name="connsiteY830" fmla="*/ 63438 h 349363"/>
                <a:gd name="connsiteX831" fmla="*/ 2654106 w 2663946"/>
                <a:gd name="connsiteY831" fmla="*/ 67764 h 349363"/>
                <a:gd name="connsiteX832" fmla="*/ 2656072 w 2663946"/>
                <a:gd name="connsiteY832" fmla="*/ 71279 h 349363"/>
                <a:gd name="connsiteX833" fmla="*/ 2658284 w 2663946"/>
                <a:gd name="connsiteY833" fmla="*/ 76687 h 349363"/>
                <a:gd name="connsiteX834" fmla="*/ 2659267 w 2663946"/>
                <a:gd name="connsiteY834" fmla="*/ 80202 h 349363"/>
                <a:gd name="connsiteX835" fmla="*/ 2660251 w 2663946"/>
                <a:gd name="connsiteY835" fmla="*/ 85339 h 349363"/>
                <a:gd name="connsiteX836" fmla="*/ 2660005 w 2663946"/>
                <a:gd name="connsiteY836" fmla="*/ 99669 h 349363"/>
                <a:gd name="connsiteX837" fmla="*/ 2659022 w 2663946"/>
                <a:gd name="connsiteY837" fmla="*/ 104536 h 349363"/>
                <a:gd name="connsiteX838" fmla="*/ 2657792 w 2663946"/>
                <a:gd name="connsiteY838" fmla="*/ 108321 h 349363"/>
                <a:gd name="connsiteX839" fmla="*/ 2656809 w 2663946"/>
                <a:gd name="connsiteY839" fmla="*/ 110755 h 349363"/>
                <a:gd name="connsiteX840" fmla="*/ 2654597 w 2663946"/>
                <a:gd name="connsiteY840" fmla="*/ 115081 h 349363"/>
                <a:gd name="connsiteX841" fmla="*/ 2652385 w 2663946"/>
                <a:gd name="connsiteY841" fmla="*/ 118325 h 349363"/>
                <a:gd name="connsiteX842" fmla="*/ 2648944 w 2663946"/>
                <a:gd name="connsiteY842" fmla="*/ 122111 h 349363"/>
                <a:gd name="connsiteX843" fmla="*/ 2645748 w 2663946"/>
                <a:gd name="connsiteY843" fmla="*/ 124814 h 349363"/>
                <a:gd name="connsiteX844" fmla="*/ 2640095 w 2663946"/>
                <a:gd name="connsiteY844" fmla="*/ 128059 h 349363"/>
                <a:gd name="connsiteX845" fmla="*/ 2632229 w 2663946"/>
                <a:gd name="connsiteY845" fmla="*/ 130222 h 349363"/>
                <a:gd name="connsiteX846" fmla="*/ 2631000 w 2663946"/>
                <a:gd name="connsiteY846" fmla="*/ 130493 h 349363"/>
                <a:gd name="connsiteX847" fmla="*/ 2626821 w 2663946"/>
                <a:gd name="connsiteY847" fmla="*/ 130493 h 349363"/>
                <a:gd name="connsiteX848" fmla="*/ 2626576 w 2663946"/>
                <a:gd name="connsiteY848" fmla="*/ 130493 h 349363"/>
                <a:gd name="connsiteX849" fmla="*/ 2613548 w 2663946"/>
                <a:gd name="connsiteY849" fmla="*/ 125626 h 349363"/>
                <a:gd name="connsiteX850" fmla="*/ 2608878 w 2663946"/>
                <a:gd name="connsiteY850" fmla="*/ 121570 h 349363"/>
                <a:gd name="connsiteX851" fmla="*/ 2605682 w 2663946"/>
                <a:gd name="connsiteY851" fmla="*/ 117785 h 349363"/>
                <a:gd name="connsiteX852" fmla="*/ 2603470 w 2663946"/>
                <a:gd name="connsiteY852" fmla="*/ 114270 h 349363"/>
                <a:gd name="connsiteX853" fmla="*/ 2601258 w 2663946"/>
                <a:gd name="connsiteY853" fmla="*/ 109944 h 349363"/>
                <a:gd name="connsiteX854" fmla="*/ 2600029 w 2663946"/>
                <a:gd name="connsiteY854" fmla="*/ 106969 h 349363"/>
                <a:gd name="connsiteX855" fmla="*/ 2599046 w 2663946"/>
                <a:gd name="connsiteY855" fmla="*/ 103725 h 349363"/>
                <a:gd name="connsiteX856" fmla="*/ 2597816 w 2663946"/>
                <a:gd name="connsiteY856" fmla="*/ 98047 h 349363"/>
                <a:gd name="connsiteX857" fmla="*/ 2597571 w 2663946"/>
                <a:gd name="connsiteY857" fmla="*/ 95073 h 349363"/>
                <a:gd name="connsiteX858" fmla="*/ 2597816 w 2663946"/>
                <a:gd name="connsiteY858" fmla="*/ 95343 h 349363"/>
                <a:gd name="connsiteX859" fmla="*/ 2597816 w 2663946"/>
                <a:gd name="connsiteY859" fmla="*/ 89665 h 349363"/>
                <a:gd name="connsiteX860" fmla="*/ 2597816 w 2663946"/>
                <a:gd name="connsiteY860" fmla="*/ 89395 h 349363"/>
                <a:gd name="connsiteX861" fmla="*/ 2598308 w 2663946"/>
                <a:gd name="connsiteY861" fmla="*/ 84798 h 349363"/>
                <a:gd name="connsiteX862" fmla="*/ 2599537 w 2663946"/>
                <a:gd name="connsiteY862" fmla="*/ 79391 h 349363"/>
                <a:gd name="connsiteX863" fmla="*/ 2600520 w 2663946"/>
                <a:gd name="connsiteY863" fmla="*/ 76146 h 349363"/>
                <a:gd name="connsiteX864" fmla="*/ 2602732 w 2663946"/>
                <a:gd name="connsiteY864" fmla="*/ 71009 h 349363"/>
                <a:gd name="connsiteX865" fmla="*/ 2604945 w 2663946"/>
                <a:gd name="connsiteY865" fmla="*/ 67224 h 349363"/>
                <a:gd name="connsiteX866" fmla="*/ 2607157 w 2663946"/>
                <a:gd name="connsiteY866" fmla="*/ 64249 h 349363"/>
                <a:gd name="connsiteX867" fmla="*/ 2609369 w 2663946"/>
                <a:gd name="connsiteY867" fmla="*/ 61816 h 349363"/>
                <a:gd name="connsiteX868" fmla="*/ 2614039 w 2663946"/>
                <a:gd name="connsiteY868" fmla="*/ 58031 h 349363"/>
                <a:gd name="connsiteX869" fmla="*/ 2617972 w 2663946"/>
                <a:gd name="connsiteY869" fmla="*/ 55868 h 349363"/>
                <a:gd name="connsiteX870" fmla="*/ 2627559 w 2663946"/>
                <a:gd name="connsiteY870" fmla="*/ 53434 h 349363"/>
                <a:gd name="connsiteX871" fmla="*/ 2445604 w 2663946"/>
                <a:gd name="connsiteY871" fmla="*/ 53434 h 349363"/>
                <a:gd name="connsiteX872" fmla="*/ 2457894 w 2663946"/>
                <a:gd name="connsiteY872" fmla="*/ 55597 h 349363"/>
                <a:gd name="connsiteX873" fmla="*/ 2465268 w 2663946"/>
                <a:gd name="connsiteY873" fmla="*/ 60194 h 349363"/>
                <a:gd name="connsiteX874" fmla="*/ 2468709 w 2663946"/>
                <a:gd name="connsiteY874" fmla="*/ 63438 h 349363"/>
                <a:gd name="connsiteX875" fmla="*/ 2472151 w 2663946"/>
                <a:gd name="connsiteY875" fmla="*/ 67764 h 349363"/>
                <a:gd name="connsiteX876" fmla="*/ 2474117 w 2663946"/>
                <a:gd name="connsiteY876" fmla="*/ 71279 h 349363"/>
                <a:gd name="connsiteX877" fmla="*/ 2476329 w 2663946"/>
                <a:gd name="connsiteY877" fmla="*/ 76687 h 349363"/>
                <a:gd name="connsiteX878" fmla="*/ 2477312 w 2663946"/>
                <a:gd name="connsiteY878" fmla="*/ 80202 h 349363"/>
                <a:gd name="connsiteX879" fmla="*/ 2478296 w 2663946"/>
                <a:gd name="connsiteY879" fmla="*/ 85339 h 349363"/>
                <a:gd name="connsiteX880" fmla="*/ 2478050 w 2663946"/>
                <a:gd name="connsiteY880" fmla="*/ 99669 h 349363"/>
                <a:gd name="connsiteX881" fmla="*/ 2477067 w 2663946"/>
                <a:gd name="connsiteY881" fmla="*/ 104536 h 349363"/>
                <a:gd name="connsiteX882" fmla="*/ 2475837 w 2663946"/>
                <a:gd name="connsiteY882" fmla="*/ 108321 h 349363"/>
                <a:gd name="connsiteX883" fmla="*/ 2474854 w 2663946"/>
                <a:gd name="connsiteY883" fmla="*/ 110755 h 349363"/>
                <a:gd name="connsiteX884" fmla="*/ 2472642 w 2663946"/>
                <a:gd name="connsiteY884" fmla="*/ 115081 h 349363"/>
                <a:gd name="connsiteX885" fmla="*/ 2470430 w 2663946"/>
                <a:gd name="connsiteY885" fmla="*/ 118325 h 349363"/>
                <a:gd name="connsiteX886" fmla="*/ 2466989 w 2663946"/>
                <a:gd name="connsiteY886" fmla="*/ 122111 h 349363"/>
                <a:gd name="connsiteX887" fmla="*/ 2463793 w 2663946"/>
                <a:gd name="connsiteY887" fmla="*/ 124814 h 349363"/>
                <a:gd name="connsiteX888" fmla="*/ 2458140 w 2663946"/>
                <a:gd name="connsiteY888" fmla="*/ 128059 h 349363"/>
                <a:gd name="connsiteX889" fmla="*/ 2450274 w 2663946"/>
                <a:gd name="connsiteY889" fmla="*/ 130222 h 349363"/>
                <a:gd name="connsiteX890" fmla="*/ 2449045 w 2663946"/>
                <a:gd name="connsiteY890" fmla="*/ 130493 h 349363"/>
                <a:gd name="connsiteX891" fmla="*/ 2444866 w 2663946"/>
                <a:gd name="connsiteY891" fmla="*/ 130493 h 349363"/>
                <a:gd name="connsiteX892" fmla="*/ 2444621 w 2663946"/>
                <a:gd name="connsiteY892" fmla="*/ 130493 h 349363"/>
                <a:gd name="connsiteX893" fmla="*/ 2431593 w 2663946"/>
                <a:gd name="connsiteY893" fmla="*/ 125626 h 349363"/>
                <a:gd name="connsiteX894" fmla="*/ 2426923 w 2663946"/>
                <a:gd name="connsiteY894" fmla="*/ 121570 h 349363"/>
                <a:gd name="connsiteX895" fmla="*/ 2423727 w 2663946"/>
                <a:gd name="connsiteY895" fmla="*/ 117785 h 349363"/>
                <a:gd name="connsiteX896" fmla="*/ 2421515 w 2663946"/>
                <a:gd name="connsiteY896" fmla="*/ 114270 h 349363"/>
                <a:gd name="connsiteX897" fmla="*/ 2419303 w 2663946"/>
                <a:gd name="connsiteY897" fmla="*/ 109944 h 349363"/>
                <a:gd name="connsiteX898" fmla="*/ 2418074 w 2663946"/>
                <a:gd name="connsiteY898" fmla="*/ 106969 h 349363"/>
                <a:gd name="connsiteX899" fmla="*/ 2417091 w 2663946"/>
                <a:gd name="connsiteY899" fmla="*/ 103725 h 349363"/>
                <a:gd name="connsiteX900" fmla="*/ 2415861 w 2663946"/>
                <a:gd name="connsiteY900" fmla="*/ 98047 h 349363"/>
                <a:gd name="connsiteX901" fmla="*/ 2415616 w 2663946"/>
                <a:gd name="connsiteY901" fmla="*/ 95073 h 349363"/>
                <a:gd name="connsiteX902" fmla="*/ 2415861 w 2663946"/>
                <a:gd name="connsiteY902" fmla="*/ 95343 h 349363"/>
                <a:gd name="connsiteX903" fmla="*/ 2415861 w 2663946"/>
                <a:gd name="connsiteY903" fmla="*/ 89665 h 349363"/>
                <a:gd name="connsiteX904" fmla="*/ 2415861 w 2663946"/>
                <a:gd name="connsiteY904" fmla="*/ 89395 h 349363"/>
                <a:gd name="connsiteX905" fmla="*/ 2416353 w 2663946"/>
                <a:gd name="connsiteY905" fmla="*/ 84798 h 349363"/>
                <a:gd name="connsiteX906" fmla="*/ 2417582 w 2663946"/>
                <a:gd name="connsiteY906" fmla="*/ 79391 h 349363"/>
                <a:gd name="connsiteX907" fmla="*/ 2418565 w 2663946"/>
                <a:gd name="connsiteY907" fmla="*/ 76146 h 349363"/>
                <a:gd name="connsiteX908" fmla="*/ 2420777 w 2663946"/>
                <a:gd name="connsiteY908" fmla="*/ 71009 h 349363"/>
                <a:gd name="connsiteX909" fmla="*/ 2422990 w 2663946"/>
                <a:gd name="connsiteY909" fmla="*/ 67224 h 349363"/>
                <a:gd name="connsiteX910" fmla="*/ 2425202 w 2663946"/>
                <a:gd name="connsiteY910" fmla="*/ 64249 h 349363"/>
                <a:gd name="connsiteX911" fmla="*/ 2427414 w 2663946"/>
                <a:gd name="connsiteY911" fmla="*/ 61816 h 349363"/>
                <a:gd name="connsiteX912" fmla="*/ 2432084 w 2663946"/>
                <a:gd name="connsiteY912" fmla="*/ 58031 h 349363"/>
                <a:gd name="connsiteX913" fmla="*/ 2436017 w 2663946"/>
                <a:gd name="connsiteY913" fmla="*/ 55868 h 349363"/>
                <a:gd name="connsiteX914" fmla="*/ 2445604 w 2663946"/>
                <a:gd name="connsiteY914" fmla="*/ 53434 h 349363"/>
                <a:gd name="connsiteX915" fmla="*/ 2202558 w 2663946"/>
                <a:gd name="connsiteY915" fmla="*/ 53434 h 349363"/>
                <a:gd name="connsiteX916" fmla="*/ 2214848 w 2663946"/>
                <a:gd name="connsiteY916" fmla="*/ 55597 h 349363"/>
                <a:gd name="connsiteX917" fmla="*/ 2222222 w 2663946"/>
                <a:gd name="connsiteY917" fmla="*/ 60194 h 349363"/>
                <a:gd name="connsiteX918" fmla="*/ 2225663 w 2663946"/>
                <a:gd name="connsiteY918" fmla="*/ 63438 h 349363"/>
                <a:gd name="connsiteX919" fmla="*/ 2229105 w 2663946"/>
                <a:gd name="connsiteY919" fmla="*/ 67764 h 349363"/>
                <a:gd name="connsiteX920" fmla="*/ 2231071 w 2663946"/>
                <a:gd name="connsiteY920" fmla="*/ 71279 h 349363"/>
                <a:gd name="connsiteX921" fmla="*/ 2233283 w 2663946"/>
                <a:gd name="connsiteY921" fmla="*/ 76687 h 349363"/>
                <a:gd name="connsiteX922" fmla="*/ 2234266 w 2663946"/>
                <a:gd name="connsiteY922" fmla="*/ 80202 h 349363"/>
                <a:gd name="connsiteX923" fmla="*/ 2235250 w 2663946"/>
                <a:gd name="connsiteY923" fmla="*/ 85339 h 349363"/>
                <a:gd name="connsiteX924" fmla="*/ 2235004 w 2663946"/>
                <a:gd name="connsiteY924" fmla="*/ 99669 h 349363"/>
                <a:gd name="connsiteX925" fmla="*/ 2234021 w 2663946"/>
                <a:gd name="connsiteY925" fmla="*/ 104536 h 349363"/>
                <a:gd name="connsiteX926" fmla="*/ 2232791 w 2663946"/>
                <a:gd name="connsiteY926" fmla="*/ 108321 h 349363"/>
                <a:gd name="connsiteX927" fmla="*/ 2231808 w 2663946"/>
                <a:gd name="connsiteY927" fmla="*/ 110755 h 349363"/>
                <a:gd name="connsiteX928" fmla="*/ 2229596 w 2663946"/>
                <a:gd name="connsiteY928" fmla="*/ 115081 h 349363"/>
                <a:gd name="connsiteX929" fmla="*/ 2227384 w 2663946"/>
                <a:gd name="connsiteY929" fmla="*/ 118325 h 349363"/>
                <a:gd name="connsiteX930" fmla="*/ 2223943 w 2663946"/>
                <a:gd name="connsiteY930" fmla="*/ 122111 h 349363"/>
                <a:gd name="connsiteX931" fmla="*/ 2220747 w 2663946"/>
                <a:gd name="connsiteY931" fmla="*/ 124814 h 349363"/>
                <a:gd name="connsiteX932" fmla="*/ 2215094 w 2663946"/>
                <a:gd name="connsiteY932" fmla="*/ 128059 h 349363"/>
                <a:gd name="connsiteX933" fmla="*/ 2207228 w 2663946"/>
                <a:gd name="connsiteY933" fmla="*/ 130222 h 349363"/>
                <a:gd name="connsiteX934" fmla="*/ 2205999 w 2663946"/>
                <a:gd name="connsiteY934" fmla="*/ 130493 h 349363"/>
                <a:gd name="connsiteX935" fmla="*/ 2201820 w 2663946"/>
                <a:gd name="connsiteY935" fmla="*/ 130493 h 349363"/>
                <a:gd name="connsiteX936" fmla="*/ 2201575 w 2663946"/>
                <a:gd name="connsiteY936" fmla="*/ 130493 h 349363"/>
                <a:gd name="connsiteX937" fmla="*/ 2188547 w 2663946"/>
                <a:gd name="connsiteY937" fmla="*/ 125626 h 349363"/>
                <a:gd name="connsiteX938" fmla="*/ 2183877 w 2663946"/>
                <a:gd name="connsiteY938" fmla="*/ 121570 h 349363"/>
                <a:gd name="connsiteX939" fmla="*/ 2180681 w 2663946"/>
                <a:gd name="connsiteY939" fmla="*/ 117785 h 349363"/>
                <a:gd name="connsiteX940" fmla="*/ 2178469 w 2663946"/>
                <a:gd name="connsiteY940" fmla="*/ 114270 h 349363"/>
                <a:gd name="connsiteX941" fmla="*/ 2176257 w 2663946"/>
                <a:gd name="connsiteY941" fmla="*/ 109944 h 349363"/>
                <a:gd name="connsiteX942" fmla="*/ 2175028 w 2663946"/>
                <a:gd name="connsiteY942" fmla="*/ 106969 h 349363"/>
                <a:gd name="connsiteX943" fmla="*/ 2174045 w 2663946"/>
                <a:gd name="connsiteY943" fmla="*/ 103725 h 349363"/>
                <a:gd name="connsiteX944" fmla="*/ 2172815 w 2663946"/>
                <a:gd name="connsiteY944" fmla="*/ 98047 h 349363"/>
                <a:gd name="connsiteX945" fmla="*/ 2172570 w 2663946"/>
                <a:gd name="connsiteY945" fmla="*/ 95073 h 349363"/>
                <a:gd name="connsiteX946" fmla="*/ 2172815 w 2663946"/>
                <a:gd name="connsiteY946" fmla="*/ 95343 h 349363"/>
                <a:gd name="connsiteX947" fmla="*/ 2172815 w 2663946"/>
                <a:gd name="connsiteY947" fmla="*/ 89665 h 349363"/>
                <a:gd name="connsiteX948" fmla="*/ 2172815 w 2663946"/>
                <a:gd name="connsiteY948" fmla="*/ 89395 h 349363"/>
                <a:gd name="connsiteX949" fmla="*/ 2173307 w 2663946"/>
                <a:gd name="connsiteY949" fmla="*/ 84798 h 349363"/>
                <a:gd name="connsiteX950" fmla="*/ 2174536 w 2663946"/>
                <a:gd name="connsiteY950" fmla="*/ 79391 h 349363"/>
                <a:gd name="connsiteX951" fmla="*/ 2175519 w 2663946"/>
                <a:gd name="connsiteY951" fmla="*/ 76146 h 349363"/>
                <a:gd name="connsiteX952" fmla="*/ 2177731 w 2663946"/>
                <a:gd name="connsiteY952" fmla="*/ 71009 h 349363"/>
                <a:gd name="connsiteX953" fmla="*/ 2179944 w 2663946"/>
                <a:gd name="connsiteY953" fmla="*/ 67224 h 349363"/>
                <a:gd name="connsiteX954" fmla="*/ 2182156 w 2663946"/>
                <a:gd name="connsiteY954" fmla="*/ 64249 h 349363"/>
                <a:gd name="connsiteX955" fmla="*/ 2184368 w 2663946"/>
                <a:gd name="connsiteY955" fmla="*/ 61816 h 349363"/>
                <a:gd name="connsiteX956" fmla="*/ 2189038 w 2663946"/>
                <a:gd name="connsiteY956" fmla="*/ 58031 h 349363"/>
                <a:gd name="connsiteX957" fmla="*/ 2192971 w 2663946"/>
                <a:gd name="connsiteY957" fmla="*/ 55868 h 349363"/>
                <a:gd name="connsiteX958" fmla="*/ 2202558 w 2663946"/>
                <a:gd name="connsiteY958" fmla="*/ 53434 h 349363"/>
                <a:gd name="connsiteX959" fmla="*/ 2020607 w 2663946"/>
                <a:gd name="connsiteY959" fmla="*/ 53434 h 349363"/>
                <a:gd name="connsiteX960" fmla="*/ 2032897 w 2663946"/>
                <a:gd name="connsiteY960" fmla="*/ 55597 h 349363"/>
                <a:gd name="connsiteX961" fmla="*/ 2040271 w 2663946"/>
                <a:gd name="connsiteY961" fmla="*/ 60194 h 349363"/>
                <a:gd name="connsiteX962" fmla="*/ 2043712 w 2663946"/>
                <a:gd name="connsiteY962" fmla="*/ 63438 h 349363"/>
                <a:gd name="connsiteX963" fmla="*/ 2047154 w 2663946"/>
                <a:gd name="connsiteY963" fmla="*/ 67764 h 349363"/>
                <a:gd name="connsiteX964" fmla="*/ 2049120 w 2663946"/>
                <a:gd name="connsiteY964" fmla="*/ 71279 h 349363"/>
                <a:gd name="connsiteX965" fmla="*/ 2051332 w 2663946"/>
                <a:gd name="connsiteY965" fmla="*/ 76687 h 349363"/>
                <a:gd name="connsiteX966" fmla="*/ 2052315 w 2663946"/>
                <a:gd name="connsiteY966" fmla="*/ 80202 h 349363"/>
                <a:gd name="connsiteX967" fmla="*/ 2053299 w 2663946"/>
                <a:gd name="connsiteY967" fmla="*/ 85339 h 349363"/>
                <a:gd name="connsiteX968" fmla="*/ 2053053 w 2663946"/>
                <a:gd name="connsiteY968" fmla="*/ 99669 h 349363"/>
                <a:gd name="connsiteX969" fmla="*/ 2052070 w 2663946"/>
                <a:gd name="connsiteY969" fmla="*/ 104536 h 349363"/>
                <a:gd name="connsiteX970" fmla="*/ 2050840 w 2663946"/>
                <a:gd name="connsiteY970" fmla="*/ 108321 h 349363"/>
                <a:gd name="connsiteX971" fmla="*/ 2049857 w 2663946"/>
                <a:gd name="connsiteY971" fmla="*/ 110755 h 349363"/>
                <a:gd name="connsiteX972" fmla="*/ 2047645 w 2663946"/>
                <a:gd name="connsiteY972" fmla="*/ 115081 h 349363"/>
                <a:gd name="connsiteX973" fmla="*/ 2045433 w 2663946"/>
                <a:gd name="connsiteY973" fmla="*/ 118325 h 349363"/>
                <a:gd name="connsiteX974" fmla="*/ 2041992 w 2663946"/>
                <a:gd name="connsiteY974" fmla="*/ 122111 h 349363"/>
                <a:gd name="connsiteX975" fmla="*/ 2038796 w 2663946"/>
                <a:gd name="connsiteY975" fmla="*/ 124814 h 349363"/>
                <a:gd name="connsiteX976" fmla="*/ 2033143 w 2663946"/>
                <a:gd name="connsiteY976" fmla="*/ 128059 h 349363"/>
                <a:gd name="connsiteX977" fmla="*/ 2025277 w 2663946"/>
                <a:gd name="connsiteY977" fmla="*/ 130222 h 349363"/>
                <a:gd name="connsiteX978" fmla="*/ 2024048 w 2663946"/>
                <a:gd name="connsiteY978" fmla="*/ 130493 h 349363"/>
                <a:gd name="connsiteX979" fmla="*/ 2019869 w 2663946"/>
                <a:gd name="connsiteY979" fmla="*/ 130493 h 349363"/>
                <a:gd name="connsiteX980" fmla="*/ 2019624 w 2663946"/>
                <a:gd name="connsiteY980" fmla="*/ 130493 h 349363"/>
                <a:gd name="connsiteX981" fmla="*/ 2006596 w 2663946"/>
                <a:gd name="connsiteY981" fmla="*/ 125626 h 349363"/>
                <a:gd name="connsiteX982" fmla="*/ 2001926 w 2663946"/>
                <a:gd name="connsiteY982" fmla="*/ 121570 h 349363"/>
                <a:gd name="connsiteX983" fmla="*/ 1998730 w 2663946"/>
                <a:gd name="connsiteY983" fmla="*/ 117785 h 349363"/>
                <a:gd name="connsiteX984" fmla="*/ 1996518 w 2663946"/>
                <a:gd name="connsiteY984" fmla="*/ 114270 h 349363"/>
                <a:gd name="connsiteX985" fmla="*/ 1994306 w 2663946"/>
                <a:gd name="connsiteY985" fmla="*/ 109944 h 349363"/>
                <a:gd name="connsiteX986" fmla="*/ 1993077 w 2663946"/>
                <a:gd name="connsiteY986" fmla="*/ 106969 h 349363"/>
                <a:gd name="connsiteX987" fmla="*/ 1992094 w 2663946"/>
                <a:gd name="connsiteY987" fmla="*/ 103725 h 349363"/>
                <a:gd name="connsiteX988" fmla="*/ 1990864 w 2663946"/>
                <a:gd name="connsiteY988" fmla="*/ 98047 h 349363"/>
                <a:gd name="connsiteX989" fmla="*/ 1990619 w 2663946"/>
                <a:gd name="connsiteY989" fmla="*/ 95073 h 349363"/>
                <a:gd name="connsiteX990" fmla="*/ 1990864 w 2663946"/>
                <a:gd name="connsiteY990" fmla="*/ 95343 h 349363"/>
                <a:gd name="connsiteX991" fmla="*/ 1990864 w 2663946"/>
                <a:gd name="connsiteY991" fmla="*/ 89665 h 349363"/>
                <a:gd name="connsiteX992" fmla="*/ 1990864 w 2663946"/>
                <a:gd name="connsiteY992" fmla="*/ 89395 h 349363"/>
                <a:gd name="connsiteX993" fmla="*/ 1991356 w 2663946"/>
                <a:gd name="connsiteY993" fmla="*/ 84798 h 349363"/>
                <a:gd name="connsiteX994" fmla="*/ 1992585 w 2663946"/>
                <a:gd name="connsiteY994" fmla="*/ 79391 h 349363"/>
                <a:gd name="connsiteX995" fmla="*/ 1993568 w 2663946"/>
                <a:gd name="connsiteY995" fmla="*/ 76146 h 349363"/>
                <a:gd name="connsiteX996" fmla="*/ 1995780 w 2663946"/>
                <a:gd name="connsiteY996" fmla="*/ 71009 h 349363"/>
                <a:gd name="connsiteX997" fmla="*/ 1997993 w 2663946"/>
                <a:gd name="connsiteY997" fmla="*/ 67224 h 349363"/>
                <a:gd name="connsiteX998" fmla="*/ 2000205 w 2663946"/>
                <a:gd name="connsiteY998" fmla="*/ 64249 h 349363"/>
                <a:gd name="connsiteX999" fmla="*/ 2002417 w 2663946"/>
                <a:gd name="connsiteY999" fmla="*/ 61816 h 349363"/>
                <a:gd name="connsiteX1000" fmla="*/ 2007087 w 2663946"/>
                <a:gd name="connsiteY1000" fmla="*/ 58031 h 349363"/>
                <a:gd name="connsiteX1001" fmla="*/ 2011020 w 2663946"/>
                <a:gd name="connsiteY1001" fmla="*/ 55868 h 349363"/>
                <a:gd name="connsiteX1002" fmla="*/ 2020607 w 2663946"/>
                <a:gd name="connsiteY1002" fmla="*/ 53434 h 349363"/>
                <a:gd name="connsiteX1003" fmla="*/ 1595683 w 2663946"/>
                <a:gd name="connsiteY1003" fmla="*/ 53434 h 349363"/>
                <a:gd name="connsiteX1004" fmla="*/ 1607973 w 2663946"/>
                <a:gd name="connsiteY1004" fmla="*/ 55597 h 349363"/>
                <a:gd name="connsiteX1005" fmla="*/ 1615347 w 2663946"/>
                <a:gd name="connsiteY1005" fmla="*/ 60194 h 349363"/>
                <a:gd name="connsiteX1006" fmla="*/ 1618788 w 2663946"/>
                <a:gd name="connsiteY1006" fmla="*/ 63438 h 349363"/>
                <a:gd name="connsiteX1007" fmla="*/ 1622230 w 2663946"/>
                <a:gd name="connsiteY1007" fmla="*/ 67764 h 349363"/>
                <a:gd name="connsiteX1008" fmla="*/ 1624196 w 2663946"/>
                <a:gd name="connsiteY1008" fmla="*/ 71279 h 349363"/>
                <a:gd name="connsiteX1009" fmla="*/ 1626408 w 2663946"/>
                <a:gd name="connsiteY1009" fmla="*/ 76687 h 349363"/>
                <a:gd name="connsiteX1010" fmla="*/ 1627391 w 2663946"/>
                <a:gd name="connsiteY1010" fmla="*/ 80202 h 349363"/>
                <a:gd name="connsiteX1011" fmla="*/ 1628374 w 2663946"/>
                <a:gd name="connsiteY1011" fmla="*/ 85339 h 349363"/>
                <a:gd name="connsiteX1012" fmla="*/ 1628129 w 2663946"/>
                <a:gd name="connsiteY1012" fmla="*/ 99669 h 349363"/>
                <a:gd name="connsiteX1013" fmla="*/ 1627146 w 2663946"/>
                <a:gd name="connsiteY1013" fmla="*/ 104536 h 349363"/>
                <a:gd name="connsiteX1014" fmla="*/ 1625916 w 2663946"/>
                <a:gd name="connsiteY1014" fmla="*/ 108321 h 349363"/>
                <a:gd name="connsiteX1015" fmla="*/ 1624933 w 2663946"/>
                <a:gd name="connsiteY1015" fmla="*/ 110755 h 349363"/>
                <a:gd name="connsiteX1016" fmla="*/ 1622721 w 2663946"/>
                <a:gd name="connsiteY1016" fmla="*/ 115081 h 349363"/>
                <a:gd name="connsiteX1017" fmla="*/ 1620509 w 2663946"/>
                <a:gd name="connsiteY1017" fmla="*/ 118325 h 349363"/>
                <a:gd name="connsiteX1018" fmla="*/ 1617068 w 2663946"/>
                <a:gd name="connsiteY1018" fmla="*/ 122111 h 349363"/>
                <a:gd name="connsiteX1019" fmla="*/ 1613872 w 2663946"/>
                <a:gd name="connsiteY1019" fmla="*/ 124814 h 349363"/>
                <a:gd name="connsiteX1020" fmla="*/ 1608219 w 2663946"/>
                <a:gd name="connsiteY1020" fmla="*/ 128059 h 349363"/>
                <a:gd name="connsiteX1021" fmla="*/ 1600353 w 2663946"/>
                <a:gd name="connsiteY1021" fmla="*/ 130222 h 349363"/>
                <a:gd name="connsiteX1022" fmla="*/ 1599124 w 2663946"/>
                <a:gd name="connsiteY1022" fmla="*/ 130493 h 349363"/>
                <a:gd name="connsiteX1023" fmla="*/ 1594945 w 2663946"/>
                <a:gd name="connsiteY1023" fmla="*/ 130493 h 349363"/>
                <a:gd name="connsiteX1024" fmla="*/ 1594699 w 2663946"/>
                <a:gd name="connsiteY1024" fmla="*/ 130493 h 349363"/>
                <a:gd name="connsiteX1025" fmla="*/ 1581672 w 2663946"/>
                <a:gd name="connsiteY1025" fmla="*/ 125626 h 349363"/>
                <a:gd name="connsiteX1026" fmla="*/ 1577002 w 2663946"/>
                <a:gd name="connsiteY1026" fmla="*/ 121570 h 349363"/>
                <a:gd name="connsiteX1027" fmla="*/ 1573806 w 2663946"/>
                <a:gd name="connsiteY1027" fmla="*/ 117785 h 349363"/>
                <a:gd name="connsiteX1028" fmla="*/ 1571594 w 2663946"/>
                <a:gd name="connsiteY1028" fmla="*/ 114270 h 349363"/>
                <a:gd name="connsiteX1029" fmla="*/ 1569382 w 2663946"/>
                <a:gd name="connsiteY1029" fmla="*/ 109944 h 349363"/>
                <a:gd name="connsiteX1030" fmla="*/ 1568153 w 2663946"/>
                <a:gd name="connsiteY1030" fmla="*/ 106969 h 349363"/>
                <a:gd name="connsiteX1031" fmla="*/ 1567169 w 2663946"/>
                <a:gd name="connsiteY1031" fmla="*/ 103725 h 349363"/>
                <a:gd name="connsiteX1032" fmla="*/ 1565940 w 2663946"/>
                <a:gd name="connsiteY1032" fmla="*/ 98047 h 349363"/>
                <a:gd name="connsiteX1033" fmla="*/ 1565695 w 2663946"/>
                <a:gd name="connsiteY1033" fmla="*/ 95073 h 349363"/>
                <a:gd name="connsiteX1034" fmla="*/ 1565940 w 2663946"/>
                <a:gd name="connsiteY1034" fmla="*/ 95343 h 349363"/>
                <a:gd name="connsiteX1035" fmla="*/ 1565940 w 2663946"/>
                <a:gd name="connsiteY1035" fmla="*/ 89665 h 349363"/>
                <a:gd name="connsiteX1036" fmla="*/ 1565940 w 2663946"/>
                <a:gd name="connsiteY1036" fmla="*/ 89395 h 349363"/>
                <a:gd name="connsiteX1037" fmla="*/ 1566432 w 2663946"/>
                <a:gd name="connsiteY1037" fmla="*/ 84798 h 349363"/>
                <a:gd name="connsiteX1038" fmla="*/ 1567661 w 2663946"/>
                <a:gd name="connsiteY1038" fmla="*/ 79391 h 349363"/>
                <a:gd name="connsiteX1039" fmla="*/ 1568644 w 2663946"/>
                <a:gd name="connsiteY1039" fmla="*/ 76146 h 349363"/>
                <a:gd name="connsiteX1040" fmla="*/ 1570856 w 2663946"/>
                <a:gd name="connsiteY1040" fmla="*/ 71009 h 349363"/>
                <a:gd name="connsiteX1041" fmla="*/ 1573069 w 2663946"/>
                <a:gd name="connsiteY1041" fmla="*/ 67224 h 349363"/>
                <a:gd name="connsiteX1042" fmla="*/ 1575281 w 2663946"/>
                <a:gd name="connsiteY1042" fmla="*/ 64249 h 349363"/>
                <a:gd name="connsiteX1043" fmla="*/ 1577493 w 2663946"/>
                <a:gd name="connsiteY1043" fmla="*/ 61816 h 349363"/>
                <a:gd name="connsiteX1044" fmla="*/ 1582163 w 2663946"/>
                <a:gd name="connsiteY1044" fmla="*/ 58031 h 349363"/>
                <a:gd name="connsiteX1045" fmla="*/ 1586096 w 2663946"/>
                <a:gd name="connsiteY1045" fmla="*/ 55868 h 349363"/>
                <a:gd name="connsiteX1046" fmla="*/ 1595683 w 2663946"/>
                <a:gd name="connsiteY1046" fmla="*/ 53434 h 349363"/>
                <a:gd name="connsiteX1047" fmla="*/ 1246776 w 2663946"/>
                <a:gd name="connsiteY1047" fmla="*/ 53434 h 349363"/>
                <a:gd name="connsiteX1048" fmla="*/ 1259066 w 2663946"/>
                <a:gd name="connsiteY1048" fmla="*/ 55597 h 349363"/>
                <a:gd name="connsiteX1049" fmla="*/ 1266440 w 2663946"/>
                <a:gd name="connsiteY1049" fmla="*/ 60194 h 349363"/>
                <a:gd name="connsiteX1050" fmla="*/ 1269881 w 2663946"/>
                <a:gd name="connsiteY1050" fmla="*/ 63438 h 349363"/>
                <a:gd name="connsiteX1051" fmla="*/ 1273323 w 2663946"/>
                <a:gd name="connsiteY1051" fmla="*/ 67764 h 349363"/>
                <a:gd name="connsiteX1052" fmla="*/ 1275289 w 2663946"/>
                <a:gd name="connsiteY1052" fmla="*/ 71279 h 349363"/>
                <a:gd name="connsiteX1053" fmla="*/ 1277501 w 2663946"/>
                <a:gd name="connsiteY1053" fmla="*/ 76687 h 349363"/>
                <a:gd name="connsiteX1054" fmla="*/ 1278484 w 2663946"/>
                <a:gd name="connsiteY1054" fmla="*/ 80202 h 349363"/>
                <a:gd name="connsiteX1055" fmla="*/ 1279467 w 2663946"/>
                <a:gd name="connsiteY1055" fmla="*/ 85339 h 349363"/>
                <a:gd name="connsiteX1056" fmla="*/ 1279222 w 2663946"/>
                <a:gd name="connsiteY1056" fmla="*/ 99669 h 349363"/>
                <a:gd name="connsiteX1057" fmla="*/ 1278239 w 2663946"/>
                <a:gd name="connsiteY1057" fmla="*/ 104536 h 349363"/>
                <a:gd name="connsiteX1058" fmla="*/ 1277009 w 2663946"/>
                <a:gd name="connsiteY1058" fmla="*/ 108321 h 349363"/>
                <a:gd name="connsiteX1059" fmla="*/ 1276026 w 2663946"/>
                <a:gd name="connsiteY1059" fmla="*/ 110755 h 349363"/>
                <a:gd name="connsiteX1060" fmla="*/ 1273814 w 2663946"/>
                <a:gd name="connsiteY1060" fmla="*/ 115081 h 349363"/>
                <a:gd name="connsiteX1061" fmla="*/ 1271602 w 2663946"/>
                <a:gd name="connsiteY1061" fmla="*/ 118325 h 349363"/>
                <a:gd name="connsiteX1062" fmla="*/ 1268161 w 2663946"/>
                <a:gd name="connsiteY1062" fmla="*/ 122111 h 349363"/>
                <a:gd name="connsiteX1063" fmla="*/ 1264965 w 2663946"/>
                <a:gd name="connsiteY1063" fmla="*/ 124814 h 349363"/>
                <a:gd name="connsiteX1064" fmla="*/ 1259312 w 2663946"/>
                <a:gd name="connsiteY1064" fmla="*/ 128059 h 349363"/>
                <a:gd name="connsiteX1065" fmla="*/ 1251446 w 2663946"/>
                <a:gd name="connsiteY1065" fmla="*/ 130222 h 349363"/>
                <a:gd name="connsiteX1066" fmla="*/ 1250217 w 2663946"/>
                <a:gd name="connsiteY1066" fmla="*/ 130493 h 349363"/>
                <a:gd name="connsiteX1067" fmla="*/ 1246038 w 2663946"/>
                <a:gd name="connsiteY1067" fmla="*/ 130493 h 349363"/>
                <a:gd name="connsiteX1068" fmla="*/ 1245792 w 2663946"/>
                <a:gd name="connsiteY1068" fmla="*/ 130493 h 349363"/>
                <a:gd name="connsiteX1069" fmla="*/ 1232765 w 2663946"/>
                <a:gd name="connsiteY1069" fmla="*/ 125626 h 349363"/>
                <a:gd name="connsiteX1070" fmla="*/ 1228095 w 2663946"/>
                <a:gd name="connsiteY1070" fmla="*/ 121570 h 349363"/>
                <a:gd name="connsiteX1071" fmla="*/ 1224899 w 2663946"/>
                <a:gd name="connsiteY1071" fmla="*/ 117785 h 349363"/>
                <a:gd name="connsiteX1072" fmla="*/ 1222687 w 2663946"/>
                <a:gd name="connsiteY1072" fmla="*/ 114270 h 349363"/>
                <a:gd name="connsiteX1073" fmla="*/ 1220475 w 2663946"/>
                <a:gd name="connsiteY1073" fmla="*/ 109944 h 349363"/>
                <a:gd name="connsiteX1074" fmla="*/ 1219246 w 2663946"/>
                <a:gd name="connsiteY1074" fmla="*/ 106969 h 349363"/>
                <a:gd name="connsiteX1075" fmla="*/ 1218262 w 2663946"/>
                <a:gd name="connsiteY1075" fmla="*/ 103725 h 349363"/>
                <a:gd name="connsiteX1076" fmla="*/ 1217033 w 2663946"/>
                <a:gd name="connsiteY1076" fmla="*/ 98047 h 349363"/>
                <a:gd name="connsiteX1077" fmla="*/ 1216788 w 2663946"/>
                <a:gd name="connsiteY1077" fmla="*/ 95073 h 349363"/>
                <a:gd name="connsiteX1078" fmla="*/ 1217033 w 2663946"/>
                <a:gd name="connsiteY1078" fmla="*/ 95343 h 349363"/>
                <a:gd name="connsiteX1079" fmla="*/ 1217033 w 2663946"/>
                <a:gd name="connsiteY1079" fmla="*/ 89665 h 349363"/>
                <a:gd name="connsiteX1080" fmla="*/ 1217033 w 2663946"/>
                <a:gd name="connsiteY1080" fmla="*/ 89395 h 349363"/>
                <a:gd name="connsiteX1081" fmla="*/ 1217525 w 2663946"/>
                <a:gd name="connsiteY1081" fmla="*/ 84798 h 349363"/>
                <a:gd name="connsiteX1082" fmla="*/ 1218754 w 2663946"/>
                <a:gd name="connsiteY1082" fmla="*/ 79391 h 349363"/>
                <a:gd name="connsiteX1083" fmla="*/ 1219737 w 2663946"/>
                <a:gd name="connsiteY1083" fmla="*/ 76146 h 349363"/>
                <a:gd name="connsiteX1084" fmla="*/ 1221949 w 2663946"/>
                <a:gd name="connsiteY1084" fmla="*/ 71009 h 349363"/>
                <a:gd name="connsiteX1085" fmla="*/ 1224162 w 2663946"/>
                <a:gd name="connsiteY1085" fmla="*/ 67224 h 349363"/>
                <a:gd name="connsiteX1086" fmla="*/ 1226374 w 2663946"/>
                <a:gd name="connsiteY1086" fmla="*/ 64249 h 349363"/>
                <a:gd name="connsiteX1087" fmla="*/ 1228586 w 2663946"/>
                <a:gd name="connsiteY1087" fmla="*/ 61816 h 349363"/>
                <a:gd name="connsiteX1088" fmla="*/ 1233256 w 2663946"/>
                <a:gd name="connsiteY1088" fmla="*/ 58031 h 349363"/>
                <a:gd name="connsiteX1089" fmla="*/ 1237189 w 2663946"/>
                <a:gd name="connsiteY1089" fmla="*/ 55868 h 349363"/>
                <a:gd name="connsiteX1090" fmla="*/ 1246776 w 2663946"/>
                <a:gd name="connsiteY1090" fmla="*/ 53434 h 349363"/>
                <a:gd name="connsiteX1091" fmla="*/ 1064825 w 2663946"/>
                <a:gd name="connsiteY1091" fmla="*/ 53434 h 349363"/>
                <a:gd name="connsiteX1092" fmla="*/ 1077115 w 2663946"/>
                <a:gd name="connsiteY1092" fmla="*/ 55597 h 349363"/>
                <a:gd name="connsiteX1093" fmla="*/ 1084489 w 2663946"/>
                <a:gd name="connsiteY1093" fmla="*/ 60194 h 349363"/>
                <a:gd name="connsiteX1094" fmla="*/ 1087930 w 2663946"/>
                <a:gd name="connsiteY1094" fmla="*/ 63438 h 349363"/>
                <a:gd name="connsiteX1095" fmla="*/ 1091372 w 2663946"/>
                <a:gd name="connsiteY1095" fmla="*/ 67764 h 349363"/>
                <a:gd name="connsiteX1096" fmla="*/ 1093338 w 2663946"/>
                <a:gd name="connsiteY1096" fmla="*/ 71279 h 349363"/>
                <a:gd name="connsiteX1097" fmla="*/ 1095550 w 2663946"/>
                <a:gd name="connsiteY1097" fmla="*/ 76687 h 349363"/>
                <a:gd name="connsiteX1098" fmla="*/ 1096533 w 2663946"/>
                <a:gd name="connsiteY1098" fmla="*/ 80202 h 349363"/>
                <a:gd name="connsiteX1099" fmla="*/ 1097516 w 2663946"/>
                <a:gd name="connsiteY1099" fmla="*/ 85339 h 349363"/>
                <a:gd name="connsiteX1100" fmla="*/ 1097271 w 2663946"/>
                <a:gd name="connsiteY1100" fmla="*/ 99669 h 349363"/>
                <a:gd name="connsiteX1101" fmla="*/ 1096288 w 2663946"/>
                <a:gd name="connsiteY1101" fmla="*/ 104536 h 349363"/>
                <a:gd name="connsiteX1102" fmla="*/ 1095058 w 2663946"/>
                <a:gd name="connsiteY1102" fmla="*/ 108321 h 349363"/>
                <a:gd name="connsiteX1103" fmla="*/ 1094075 w 2663946"/>
                <a:gd name="connsiteY1103" fmla="*/ 110755 h 349363"/>
                <a:gd name="connsiteX1104" fmla="*/ 1091863 w 2663946"/>
                <a:gd name="connsiteY1104" fmla="*/ 115081 h 349363"/>
                <a:gd name="connsiteX1105" fmla="*/ 1089651 w 2663946"/>
                <a:gd name="connsiteY1105" fmla="*/ 118325 h 349363"/>
                <a:gd name="connsiteX1106" fmla="*/ 1086210 w 2663946"/>
                <a:gd name="connsiteY1106" fmla="*/ 122111 h 349363"/>
                <a:gd name="connsiteX1107" fmla="*/ 1083014 w 2663946"/>
                <a:gd name="connsiteY1107" fmla="*/ 124814 h 349363"/>
                <a:gd name="connsiteX1108" fmla="*/ 1077361 w 2663946"/>
                <a:gd name="connsiteY1108" fmla="*/ 128059 h 349363"/>
                <a:gd name="connsiteX1109" fmla="*/ 1069495 w 2663946"/>
                <a:gd name="connsiteY1109" fmla="*/ 130222 h 349363"/>
                <a:gd name="connsiteX1110" fmla="*/ 1068266 w 2663946"/>
                <a:gd name="connsiteY1110" fmla="*/ 130493 h 349363"/>
                <a:gd name="connsiteX1111" fmla="*/ 1064087 w 2663946"/>
                <a:gd name="connsiteY1111" fmla="*/ 130493 h 349363"/>
                <a:gd name="connsiteX1112" fmla="*/ 1063841 w 2663946"/>
                <a:gd name="connsiteY1112" fmla="*/ 130493 h 349363"/>
                <a:gd name="connsiteX1113" fmla="*/ 1050814 w 2663946"/>
                <a:gd name="connsiteY1113" fmla="*/ 125626 h 349363"/>
                <a:gd name="connsiteX1114" fmla="*/ 1046144 w 2663946"/>
                <a:gd name="connsiteY1114" fmla="*/ 121570 h 349363"/>
                <a:gd name="connsiteX1115" fmla="*/ 1042948 w 2663946"/>
                <a:gd name="connsiteY1115" fmla="*/ 117785 h 349363"/>
                <a:gd name="connsiteX1116" fmla="*/ 1040736 w 2663946"/>
                <a:gd name="connsiteY1116" fmla="*/ 114270 h 349363"/>
                <a:gd name="connsiteX1117" fmla="*/ 1038524 w 2663946"/>
                <a:gd name="connsiteY1117" fmla="*/ 109944 h 349363"/>
                <a:gd name="connsiteX1118" fmla="*/ 1037295 w 2663946"/>
                <a:gd name="connsiteY1118" fmla="*/ 106969 h 349363"/>
                <a:gd name="connsiteX1119" fmla="*/ 1036311 w 2663946"/>
                <a:gd name="connsiteY1119" fmla="*/ 103725 h 349363"/>
                <a:gd name="connsiteX1120" fmla="*/ 1035082 w 2663946"/>
                <a:gd name="connsiteY1120" fmla="*/ 98047 h 349363"/>
                <a:gd name="connsiteX1121" fmla="*/ 1034837 w 2663946"/>
                <a:gd name="connsiteY1121" fmla="*/ 95073 h 349363"/>
                <a:gd name="connsiteX1122" fmla="*/ 1035082 w 2663946"/>
                <a:gd name="connsiteY1122" fmla="*/ 95343 h 349363"/>
                <a:gd name="connsiteX1123" fmla="*/ 1035082 w 2663946"/>
                <a:gd name="connsiteY1123" fmla="*/ 89665 h 349363"/>
                <a:gd name="connsiteX1124" fmla="*/ 1035082 w 2663946"/>
                <a:gd name="connsiteY1124" fmla="*/ 89395 h 349363"/>
                <a:gd name="connsiteX1125" fmla="*/ 1035574 w 2663946"/>
                <a:gd name="connsiteY1125" fmla="*/ 84798 h 349363"/>
                <a:gd name="connsiteX1126" fmla="*/ 1036803 w 2663946"/>
                <a:gd name="connsiteY1126" fmla="*/ 79391 h 349363"/>
                <a:gd name="connsiteX1127" fmla="*/ 1037786 w 2663946"/>
                <a:gd name="connsiteY1127" fmla="*/ 76146 h 349363"/>
                <a:gd name="connsiteX1128" fmla="*/ 1039998 w 2663946"/>
                <a:gd name="connsiteY1128" fmla="*/ 71009 h 349363"/>
                <a:gd name="connsiteX1129" fmla="*/ 1042211 w 2663946"/>
                <a:gd name="connsiteY1129" fmla="*/ 67224 h 349363"/>
                <a:gd name="connsiteX1130" fmla="*/ 1044423 w 2663946"/>
                <a:gd name="connsiteY1130" fmla="*/ 64249 h 349363"/>
                <a:gd name="connsiteX1131" fmla="*/ 1046635 w 2663946"/>
                <a:gd name="connsiteY1131" fmla="*/ 61816 h 349363"/>
                <a:gd name="connsiteX1132" fmla="*/ 1051305 w 2663946"/>
                <a:gd name="connsiteY1132" fmla="*/ 58031 h 349363"/>
                <a:gd name="connsiteX1133" fmla="*/ 1055238 w 2663946"/>
                <a:gd name="connsiteY1133" fmla="*/ 55868 h 349363"/>
                <a:gd name="connsiteX1134" fmla="*/ 1064825 w 2663946"/>
                <a:gd name="connsiteY1134" fmla="*/ 53434 h 349363"/>
                <a:gd name="connsiteX1135" fmla="*/ 897796 w 2663946"/>
                <a:gd name="connsiteY1135" fmla="*/ 53434 h 349363"/>
                <a:gd name="connsiteX1136" fmla="*/ 910086 w 2663946"/>
                <a:gd name="connsiteY1136" fmla="*/ 55597 h 349363"/>
                <a:gd name="connsiteX1137" fmla="*/ 917460 w 2663946"/>
                <a:gd name="connsiteY1137" fmla="*/ 60194 h 349363"/>
                <a:gd name="connsiteX1138" fmla="*/ 920901 w 2663946"/>
                <a:gd name="connsiteY1138" fmla="*/ 63438 h 349363"/>
                <a:gd name="connsiteX1139" fmla="*/ 924343 w 2663946"/>
                <a:gd name="connsiteY1139" fmla="*/ 67764 h 349363"/>
                <a:gd name="connsiteX1140" fmla="*/ 926309 w 2663946"/>
                <a:gd name="connsiteY1140" fmla="*/ 71279 h 349363"/>
                <a:gd name="connsiteX1141" fmla="*/ 928521 w 2663946"/>
                <a:gd name="connsiteY1141" fmla="*/ 76687 h 349363"/>
                <a:gd name="connsiteX1142" fmla="*/ 929504 w 2663946"/>
                <a:gd name="connsiteY1142" fmla="*/ 80202 h 349363"/>
                <a:gd name="connsiteX1143" fmla="*/ 930487 w 2663946"/>
                <a:gd name="connsiteY1143" fmla="*/ 85339 h 349363"/>
                <a:gd name="connsiteX1144" fmla="*/ 930242 w 2663946"/>
                <a:gd name="connsiteY1144" fmla="*/ 99669 h 349363"/>
                <a:gd name="connsiteX1145" fmla="*/ 929259 w 2663946"/>
                <a:gd name="connsiteY1145" fmla="*/ 104536 h 349363"/>
                <a:gd name="connsiteX1146" fmla="*/ 928029 w 2663946"/>
                <a:gd name="connsiteY1146" fmla="*/ 108321 h 349363"/>
                <a:gd name="connsiteX1147" fmla="*/ 927046 w 2663946"/>
                <a:gd name="connsiteY1147" fmla="*/ 110755 h 349363"/>
                <a:gd name="connsiteX1148" fmla="*/ 924834 w 2663946"/>
                <a:gd name="connsiteY1148" fmla="*/ 115081 h 349363"/>
                <a:gd name="connsiteX1149" fmla="*/ 922622 w 2663946"/>
                <a:gd name="connsiteY1149" fmla="*/ 118325 h 349363"/>
                <a:gd name="connsiteX1150" fmla="*/ 919181 w 2663946"/>
                <a:gd name="connsiteY1150" fmla="*/ 122111 h 349363"/>
                <a:gd name="connsiteX1151" fmla="*/ 915985 w 2663946"/>
                <a:gd name="connsiteY1151" fmla="*/ 124814 h 349363"/>
                <a:gd name="connsiteX1152" fmla="*/ 910332 w 2663946"/>
                <a:gd name="connsiteY1152" fmla="*/ 128059 h 349363"/>
                <a:gd name="connsiteX1153" fmla="*/ 902466 w 2663946"/>
                <a:gd name="connsiteY1153" fmla="*/ 130222 h 349363"/>
                <a:gd name="connsiteX1154" fmla="*/ 901237 w 2663946"/>
                <a:gd name="connsiteY1154" fmla="*/ 130493 h 349363"/>
                <a:gd name="connsiteX1155" fmla="*/ 897058 w 2663946"/>
                <a:gd name="connsiteY1155" fmla="*/ 130493 h 349363"/>
                <a:gd name="connsiteX1156" fmla="*/ 896812 w 2663946"/>
                <a:gd name="connsiteY1156" fmla="*/ 130493 h 349363"/>
                <a:gd name="connsiteX1157" fmla="*/ 883785 w 2663946"/>
                <a:gd name="connsiteY1157" fmla="*/ 125626 h 349363"/>
                <a:gd name="connsiteX1158" fmla="*/ 879115 w 2663946"/>
                <a:gd name="connsiteY1158" fmla="*/ 121570 h 349363"/>
                <a:gd name="connsiteX1159" fmla="*/ 875919 w 2663946"/>
                <a:gd name="connsiteY1159" fmla="*/ 117785 h 349363"/>
                <a:gd name="connsiteX1160" fmla="*/ 873707 w 2663946"/>
                <a:gd name="connsiteY1160" fmla="*/ 114270 h 349363"/>
                <a:gd name="connsiteX1161" fmla="*/ 871495 w 2663946"/>
                <a:gd name="connsiteY1161" fmla="*/ 109944 h 349363"/>
                <a:gd name="connsiteX1162" fmla="*/ 870266 w 2663946"/>
                <a:gd name="connsiteY1162" fmla="*/ 106969 h 349363"/>
                <a:gd name="connsiteX1163" fmla="*/ 869282 w 2663946"/>
                <a:gd name="connsiteY1163" fmla="*/ 103725 h 349363"/>
                <a:gd name="connsiteX1164" fmla="*/ 868053 w 2663946"/>
                <a:gd name="connsiteY1164" fmla="*/ 98047 h 349363"/>
                <a:gd name="connsiteX1165" fmla="*/ 867808 w 2663946"/>
                <a:gd name="connsiteY1165" fmla="*/ 95073 h 349363"/>
                <a:gd name="connsiteX1166" fmla="*/ 868053 w 2663946"/>
                <a:gd name="connsiteY1166" fmla="*/ 95343 h 349363"/>
                <a:gd name="connsiteX1167" fmla="*/ 868053 w 2663946"/>
                <a:gd name="connsiteY1167" fmla="*/ 89665 h 349363"/>
                <a:gd name="connsiteX1168" fmla="*/ 868053 w 2663946"/>
                <a:gd name="connsiteY1168" fmla="*/ 89395 h 349363"/>
                <a:gd name="connsiteX1169" fmla="*/ 868545 w 2663946"/>
                <a:gd name="connsiteY1169" fmla="*/ 84798 h 349363"/>
                <a:gd name="connsiteX1170" fmla="*/ 869774 w 2663946"/>
                <a:gd name="connsiteY1170" fmla="*/ 79391 h 349363"/>
                <a:gd name="connsiteX1171" fmla="*/ 870757 w 2663946"/>
                <a:gd name="connsiteY1171" fmla="*/ 76146 h 349363"/>
                <a:gd name="connsiteX1172" fmla="*/ 872969 w 2663946"/>
                <a:gd name="connsiteY1172" fmla="*/ 71009 h 349363"/>
                <a:gd name="connsiteX1173" fmla="*/ 875182 w 2663946"/>
                <a:gd name="connsiteY1173" fmla="*/ 67224 h 349363"/>
                <a:gd name="connsiteX1174" fmla="*/ 877394 w 2663946"/>
                <a:gd name="connsiteY1174" fmla="*/ 64249 h 349363"/>
                <a:gd name="connsiteX1175" fmla="*/ 879606 w 2663946"/>
                <a:gd name="connsiteY1175" fmla="*/ 61816 h 349363"/>
                <a:gd name="connsiteX1176" fmla="*/ 884276 w 2663946"/>
                <a:gd name="connsiteY1176" fmla="*/ 58031 h 349363"/>
                <a:gd name="connsiteX1177" fmla="*/ 888209 w 2663946"/>
                <a:gd name="connsiteY1177" fmla="*/ 55868 h 349363"/>
                <a:gd name="connsiteX1178" fmla="*/ 897796 w 2663946"/>
                <a:gd name="connsiteY1178" fmla="*/ 53434 h 349363"/>
                <a:gd name="connsiteX1179" fmla="*/ 548889 w 2663946"/>
                <a:gd name="connsiteY1179" fmla="*/ 53434 h 349363"/>
                <a:gd name="connsiteX1180" fmla="*/ 561180 w 2663946"/>
                <a:gd name="connsiteY1180" fmla="*/ 55597 h 349363"/>
                <a:gd name="connsiteX1181" fmla="*/ 568554 w 2663946"/>
                <a:gd name="connsiteY1181" fmla="*/ 60194 h 349363"/>
                <a:gd name="connsiteX1182" fmla="*/ 571995 w 2663946"/>
                <a:gd name="connsiteY1182" fmla="*/ 63438 h 349363"/>
                <a:gd name="connsiteX1183" fmla="*/ 575436 w 2663946"/>
                <a:gd name="connsiteY1183" fmla="*/ 67764 h 349363"/>
                <a:gd name="connsiteX1184" fmla="*/ 577403 w 2663946"/>
                <a:gd name="connsiteY1184" fmla="*/ 71279 h 349363"/>
                <a:gd name="connsiteX1185" fmla="*/ 579615 w 2663946"/>
                <a:gd name="connsiteY1185" fmla="*/ 76687 h 349363"/>
                <a:gd name="connsiteX1186" fmla="*/ 580598 w 2663946"/>
                <a:gd name="connsiteY1186" fmla="*/ 80202 h 349363"/>
                <a:gd name="connsiteX1187" fmla="*/ 581581 w 2663946"/>
                <a:gd name="connsiteY1187" fmla="*/ 85339 h 349363"/>
                <a:gd name="connsiteX1188" fmla="*/ 581336 w 2663946"/>
                <a:gd name="connsiteY1188" fmla="*/ 99669 h 349363"/>
                <a:gd name="connsiteX1189" fmla="*/ 580352 w 2663946"/>
                <a:gd name="connsiteY1189" fmla="*/ 104536 h 349363"/>
                <a:gd name="connsiteX1190" fmla="*/ 579123 w 2663946"/>
                <a:gd name="connsiteY1190" fmla="*/ 108321 h 349363"/>
                <a:gd name="connsiteX1191" fmla="*/ 578140 w 2663946"/>
                <a:gd name="connsiteY1191" fmla="*/ 110755 h 349363"/>
                <a:gd name="connsiteX1192" fmla="*/ 575928 w 2663946"/>
                <a:gd name="connsiteY1192" fmla="*/ 115081 h 349363"/>
                <a:gd name="connsiteX1193" fmla="*/ 573715 w 2663946"/>
                <a:gd name="connsiteY1193" fmla="*/ 118325 h 349363"/>
                <a:gd name="connsiteX1194" fmla="*/ 570274 w 2663946"/>
                <a:gd name="connsiteY1194" fmla="*/ 122111 h 349363"/>
                <a:gd name="connsiteX1195" fmla="*/ 567079 w 2663946"/>
                <a:gd name="connsiteY1195" fmla="*/ 124814 h 349363"/>
                <a:gd name="connsiteX1196" fmla="*/ 561425 w 2663946"/>
                <a:gd name="connsiteY1196" fmla="*/ 128059 h 349363"/>
                <a:gd name="connsiteX1197" fmla="*/ 553559 w 2663946"/>
                <a:gd name="connsiteY1197" fmla="*/ 130222 h 349363"/>
                <a:gd name="connsiteX1198" fmla="*/ 552331 w 2663946"/>
                <a:gd name="connsiteY1198" fmla="*/ 130493 h 349363"/>
                <a:gd name="connsiteX1199" fmla="*/ 548152 w 2663946"/>
                <a:gd name="connsiteY1199" fmla="*/ 130493 h 349363"/>
                <a:gd name="connsiteX1200" fmla="*/ 547906 w 2663946"/>
                <a:gd name="connsiteY1200" fmla="*/ 130493 h 349363"/>
                <a:gd name="connsiteX1201" fmla="*/ 534879 w 2663946"/>
                <a:gd name="connsiteY1201" fmla="*/ 125626 h 349363"/>
                <a:gd name="connsiteX1202" fmla="*/ 530208 w 2663946"/>
                <a:gd name="connsiteY1202" fmla="*/ 121570 h 349363"/>
                <a:gd name="connsiteX1203" fmla="*/ 527013 w 2663946"/>
                <a:gd name="connsiteY1203" fmla="*/ 117785 h 349363"/>
                <a:gd name="connsiteX1204" fmla="*/ 524801 w 2663946"/>
                <a:gd name="connsiteY1204" fmla="*/ 114270 h 349363"/>
                <a:gd name="connsiteX1205" fmla="*/ 522588 w 2663946"/>
                <a:gd name="connsiteY1205" fmla="*/ 109944 h 349363"/>
                <a:gd name="connsiteX1206" fmla="*/ 521359 w 2663946"/>
                <a:gd name="connsiteY1206" fmla="*/ 106969 h 349363"/>
                <a:gd name="connsiteX1207" fmla="*/ 520376 w 2663946"/>
                <a:gd name="connsiteY1207" fmla="*/ 103725 h 349363"/>
                <a:gd name="connsiteX1208" fmla="*/ 519147 w 2663946"/>
                <a:gd name="connsiteY1208" fmla="*/ 98047 h 349363"/>
                <a:gd name="connsiteX1209" fmla="*/ 518901 w 2663946"/>
                <a:gd name="connsiteY1209" fmla="*/ 95073 h 349363"/>
                <a:gd name="connsiteX1210" fmla="*/ 519147 w 2663946"/>
                <a:gd name="connsiteY1210" fmla="*/ 95343 h 349363"/>
                <a:gd name="connsiteX1211" fmla="*/ 519147 w 2663946"/>
                <a:gd name="connsiteY1211" fmla="*/ 89665 h 349363"/>
                <a:gd name="connsiteX1212" fmla="*/ 519147 w 2663946"/>
                <a:gd name="connsiteY1212" fmla="*/ 89395 h 349363"/>
                <a:gd name="connsiteX1213" fmla="*/ 519639 w 2663946"/>
                <a:gd name="connsiteY1213" fmla="*/ 84798 h 349363"/>
                <a:gd name="connsiteX1214" fmla="*/ 520868 w 2663946"/>
                <a:gd name="connsiteY1214" fmla="*/ 79391 h 349363"/>
                <a:gd name="connsiteX1215" fmla="*/ 521851 w 2663946"/>
                <a:gd name="connsiteY1215" fmla="*/ 76146 h 349363"/>
                <a:gd name="connsiteX1216" fmla="*/ 524063 w 2663946"/>
                <a:gd name="connsiteY1216" fmla="*/ 71009 h 349363"/>
                <a:gd name="connsiteX1217" fmla="*/ 526275 w 2663946"/>
                <a:gd name="connsiteY1217" fmla="*/ 67224 h 349363"/>
                <a:gd name="connsiteX1218" fmla="*/ 528488 w 2663946"/>
                <a:gd name="connsiteY1218" fmla="*/ 64249 h 349363"/>
                <a:gd name="connsiteX1219" fmla="*/ 530700 w 2663946"/>
                <a:gd name="connsiteY1219" fmla="*/ 61816 h 349363"/>
                <a:gd name="connsiteX1220" fmla="*/ 535370 w 2663946"/>
                <a:gd name="connsiteY1220" fmla="*/ 58031 h 349363"/>
                <a:gd name="connsiteX1221" fmla="*/ 539303 w 2663946"/>
                <a:gd name="connsiteY1221" fmla="*/ 55868 h 349363"/>
                <a:gd name="connsiteX1222" fmla="*/ 548889 w 2663946"/>
                <a:gd name="connsiteY1222" fmla="*/ 53434 h 349363"/>
                <a:gd name="connsiteX1223" fmla="*/ 366938 w 2663946"/>
                <a:gd name="connsiteY1223" fmla="*/ 53434 h 349363"/>
                <a:gd name="connsiteX1224" fmla="*/ 379228 w 2663946"/>
                <a:gd name="connsiteY1224" fmla="*/ 55597 h 349363"/>
                <a:gd name="connsiteX1225" fmla="*/ 386603 w 2663946"/>
                <a:gd name="connsiteY1225" fmla="*/ 60194 h 349363"/>
                <a:gd name="connsiteX1226" fmla="*/ 390044 w 2663946"/>
                <a:gd name="connsiteY1226" fmla="*/ 63438 h 349363"/>
                <a:gd name="connsiteX1227" fmla="*/ 393485 w 2663946"/>
                <a:gd name="connsiteY1227" fmla="*/ 67764 h 349363"/>
                <a:gd name="connsiteX1228" fmla="*/ 395452 w 2663946"/>
                <a:gd name="connsiteY1228" fmla="*/ 71279 h 349363"/>
                <a:gd name="connsiteX1229" fmla="*/ 397664 w 2663946"/>
                <a:gd name="connsiteY1229" fmla="*/ 76687 h 349363"/>
                <a:gd name="connsiteX1230" fmla="*/ 398647 w 2663946"/>
                <a:gd name="connsiteY1230" fmla="*/ 80202 h 349363"/>
                <a:gd name="connsiteX1231" fmla="*/ 399630 w 2663946"/>
                <a:gd name="connsiteY1231" fmla="*/ 85339 h 349363"/>
                <a:gd name="connsiteX1232" fmla="*/ 399384 w 2663946"/>
                <a:gd name="connsiteY1232" fmla="*/ 99669 h 349363"/>
                <a:gd name="connsiteX1233" fmla="*/ 398401 w 2663946"/>
                <a:gd name="connsiteY1233" fmla="*/ 104536 h 349363"/>
                <a:gd name="connsiteX1234" fmla="*/ 397172 w 2663946"/>
                <a:gd name="connsiteY1234" fmla="*/ 108321 h 349363"/>
                <a:gd name="connsiteX1235" fmla="*/ 396189 w 2663946"/>
                <a:gd name="connsiteY1235" fmla="*/ 110755 h 349363"/>
                <a:gd name="connsiteX1236" fmla="*/ 393977 w 2663946"/>
                <a:gd name="connsiteY1236" fmla="*/ 115081 h 349363"/>
                <a:gd name="connsiteX1237" fmla="*/ 391764 w 2663946"/>
                <a:gd name="connsiteY1237" fmla="*/ 118325 h 349363"/>
                <a:gd name="connsiteX1238" fmla="*/ 388323 w 2663946"/>
                <a:gd name="connsiteY1238" fmla="*/ 122111 h 349363"/>
                <a:gd name="connsiteX1239" fmla="*/ 385128 w 2663946"/>
                <a:gd name="connsiteY1239" fmla="*/ 124814 h 349363"/>
                <a:gd name="connsiteX1240" fmla="*/ 379474 w 2663946"/>
                <a:gd name="connsiteY1240" fmla="*/ 128059 h 349363"/>
                <a:gd name="connsiteX1241" fmla="*/ 371609 w 2663946"/>
                <a:gd name="connsiteY1241" fmla="*/ 130222 h 349363"/>
                <a:gd name="connsiteX1242" fmla="*/ 370380 w 2663946"/>
                <a:gd name="connsiteY1242" fmla="*/ 130493 h 349363"/>
                <a:gd name="connsiteX1243" fmla="*/ 366201 w 2663946"/>
                <a:gd name="connsiteY1243" fmla="*/ 130493 h 349363"/>
                <a:gd name="connsiteX1244" fmla="*/ 365955 w 2663946"/>
                <a:gd name="connsiteY1244" fmla="*/ 130493 h 349363"/>
                <a:gd name="connsiteX1245" fmla="*/ 352927 w 2663946"/>
                <a:gd name="connsiteY1245" fmla="*/ 125626 h 349363"/>
                <a:gd name="connsiteX1246" fmla="*/ 348257 w 2663946"/>
                <a:gd name="connsiteY1246" fmla="*/ 121570 h 349363"/>
                <a:gd name="connsiteX1247" fmla="*/ 345062 w 2663946"/>
                <a:gd name="connsiteY1247" fmla="*/ 117785 h 349363"/>
                <a:gd name="connsiteX1248" fmla="*/ 342850 w 2663946"/>
                <a:gd name="connsiteY1248" fmla="*/ 114270 h 349363"/>
                <a:gd name="connsiteX1249" fmla="*/ 340637 w 2663946"/>
                <a:gd name="connsiteY1249" fmla="*/ 109944 h 349363"/>
                <a:gd name="connsiteX1250" fmla="*/ 339408 w 2663946"/>
                <a:gd name="connsiteY1250" fmla="*/ 106969 h 349363"/>
                <a:gd name="connsiteX1251" fmla="*/ 338425 w 2663946"/>
                <a:gd name="connsiteY1251" fmla="*/ 103725 h 349363"/>
                <a:gd name="connsiteX1252" fmla="*/ 337196 w 2663946"/>
                <a:gd name="connsiteY1252" fmla="*/ 98047 h 349363"/>
                <a:gd name="connsiteX1253" fmla="*/ 336950 w 2663946"/>
                <a:gd name="connsiteY1253" fmla="*/ 95073 h 349363"/>
                <a:gd name="connsiteX1254" fmla="*/ 337196 w 2663946"/>
                <a:gd name="connsiteY1254" fmla="*/ 95343 h 349363"/>
                <a:gd name="connsiteX1255" fmla="*/ 337196 w 2663946"/>
                <a:gd name="connsiteY1255" fmla="*/ 89665 h 349363"/>
                <a:gd name="connsiteX1256" fmla="*/ 337196 w 2663946"/>
                <a:gd name="connsiteY1256" fmla="*/ 89395 h 349363"/>
                <a:gd name="connsiteX1257" fmla="*/ 337687 w 2663946"/>
                <a:gd name="connsiteY1257" fmla="*/ 84798 h 349363"/>
                <a:gd name="connsiteX1258" fmla="*/ 338917 w 2663946"/>
                <a:gd name="connsiteY1258" fmla="*/ 79391 h 349363"/>
                <a:gd name="connsiteX1259" fmla="*/ 339900 w 2663946"/>
                <a:gd name="connsiteY1259" fmla="*/ 76146 h 349363"/>
                <a:gd name="connsiteX1260" fmla="*/ 342112 w 2663946"/>
                <a:gd name="connsiteY1260" fmla="*/ 71009 h 349363"/>
                <a:gd name="connsiteX1261" fmla="*/ 344324 w 2663946"/>
                <a:gd name="connsiteY1261" fmla="*/ 67224 h 349363"/>
                <a:gd name="connsiteX1262" fmla="*/ 346536 w 2663946"/>
                <a:gd name="connsiteY1262" fmla="*/ 64249 h 349363"/>
                <a:gd name="connsiteX1263" fmla="*/ 348749 w 2663946"/>
                <a:gd name="connsiteY1263" fmla="*/ 61816 h 349363"/>
                <a:gd name="connsiteX1264" fmla="*/ 353419 w 2663946"/>
                <a:gd name="connsiteY1264" fmla="*/ 58031 h 349363"/>
                <a:gd name="connsiteX1265" fmla="*/ 357352 w 2663946"/>
                <a:gd name="connsiteY1265" fmla="*/ 55868 h 349363"/>
                <a:gd name="connsiteX1266" fmla="*/ 366938 w 2663946"/>
                <a:gd name="connsiteY1266" fmla="*/ 53434 h 349363"/>
                <a:gd name="connsiteX1267" fmla="*/ 123893 w 2663946"/>
                <a:gd name="connsiteY1267" fmla="*/ 53434 h 349363"/>
                <a:gd name="connsiteX1268" fmla="*/ 136183 w 2663946"/>
                <a:gd name="connsiteY1268" fmla="*/ 55597 h 349363"/>
                <a:gd name="connsiteX1269" fmla="*/ 143557 w 2663946"/>
                <a:gd name="connsiteY1269" fmla="*/ 60194 h 349363"/>
                <a:gd name="connsiteX1270" fmla="*/ 146998 w 2663946"/>
                <a:gd name="connsiteY1270" fmla="*/ 63438 h 349363"/>
                <a:gd name="connsiteX1271" fmla="*/ 150439 w 2663946"/>
                <a:gd name="connsiteY1271" fmla="*/ 67764 h 349363"/>
                <a:gd name="connsiteX1272" fmla="*/ 152406 w 2663946"/>
                <a:gd name="connsiteY1272" fmla="*/ 71279 h 349363"/>
                <a:gd name="connsiteX1273" fmla="*/ 154618 w 2663946"/>
                <a:gd name="connsiteY1273" fmla="*/ 76687 h 349363"/>
                <a:gd name="connsiteX1274" fmla="*/ 155601 w 2663946"/>
                <a:gd name="connsiteY1274" fmla="*/ 80202 h 349363"/>
                <a:gd name="connsiteX1275" fmla="*/ 156584 w 2663946"/>
                <a:gd name="connsiteY1275" fmla="*/ 85339 h 349363"/>
                <a:gd name="connsiteX1276" fmla="*/ 156339 w 2663946"/>
                <a:gd name="connsiteY1276" fmla="*/ 99669 h 349363"/>
                <a:gd name="connsiteX1277" fmla="*/ 155355 w 2663946"/>
                <a:gd name="connsiteY1277" fmla="*/ 104536 h 349363"/>
                <a:gd name="connsiteX1278" fmla="*/ 154126 w 2663946"/>
                <a:gd name="connsiteY1278" fmla="*/ 108321 h 349363"/>
                <a:gd name="connsiteX1279" fmla="*/ 153143 w 2663946"/>
                <a:gd name="connsiteY1279" fmla="*/ 110755 h 349363"/>
                <a:gd name="connsiteX1280" fmla="*/ 150931 w 2663946"/>
                <a:gd name="connsiteY1280" fmla="*/ 115081 h 349363"/>
                <a:gd name="connsiteX1281" fmla="*/ 148719 w 2663946"/>
                <a:gd name="connsiteY1281" fmla="*/ 118325 h 349363"/>
                <a:gd name="connsiteX1282" fmla="*/ 145277 w 2663946"/>
                <a:gd name="connsiteY1282" fmla="*/ 122111 h 349363"/>
                <a:gd name="connsiteX1283" fmla="*/ 142082 w 2663946"/>
                <a:gd name="connsiteY1283" fmla="*/ 124814 h 349363"/>
                <a:gd name="connsiteX1284" fmla="*/ 136428 w 2663946"/>
                <a:gd name="connsiteY1284" fmla="*/ 128059 h 349363"/>
                <a:gd name="connsiteX1285" fmla="*/ 128563 w 2663946"/>
                <a:gd name="connsiteY1285" fmla="*/ 130222 h 349363"/>
                <a:gd name="connsiteX1286" fmla="*/ 127334 w 2663946"/>
                <a:gd name="connsiteY1286" fmla="*/ 130493 h 349363"/>
                <a:gd name="connsiteX1287" fmla="*/ 123155 w 2663946"/>
                <a:gd name="connsiteY1287" fmla="*/ 130493 h 349363"/>
                <a:gd name="connsiteX1288" fmla="*/ 122909 w 2663946"/>
                <a:gd name="connsiteY1288" fmla="*/ 130493 h 349363"/>
                <a:gd name="connsiteX1289" fmla="*/ 109882 w 2663946"/>
                <a:gd name="connsiteY1289" fmla="*/ 125626 h 349363"/>
                <a:gd name="connsiteX1290" fmla="*/ 105211 w 2663946"/>
                <a:gd name="connsiteY1290" fmla="*/ 121570 h 349363"/>
                <a:gd name="connsiteX1291" fmla="*/ 102016 w 2663946"/>
                <a:gd name="connsiteY1291" fmla="*/ 117785 h 349363"/>
                <a:gd name="connsiteX1292" fmla="*/ 99804 w 2663946"/>
                <a:gd name="connsiteY1292" fmla="*/ 114270 h 349363"/>
                <a:gd name="connsiteX1293" fmla="*/ 97591 w 2663946"/>
                <a:gd name="connsiteY1293" fmla="*/ 109944 h 349363"/>
                <a:gd name="connsiteX1294" fmla="*/ 96362 w 2663946"/>
                <a:gd name="connsiteY1294" fmla="*/ 106969 h 349363"/>
                <a:gd name="connsiteX1295" fmla="*/ 95379 w 2663946"/>
                <a:gd name="connsiteY1295" fmla="*/ 103725 h 349363"/>
                <a:gd name="connsiteX1296" fmla="*/ 94150 w 2663946"/>
                <a:gd name="connsiteY1296" fmla="*/ 98047 h 349363"/>
                <a:gd name="connsiteX1297" fmla="*/ 93904 w 2663946"/>
                <a:gd name="connsiteY1297" fmla="*/ 95073 h 349363"/>
                <a:gd name="connsiteX1298" fmla="*/ 94150 w 2663946"/>
                <a:gd name="connsiteY1298" fmla="*/ 95343 h 349363"/>
                <a:gd name="connsiteX1299" fmla="*/ 94150 w 2663946"/>
                <a:gd name="connsiteY1299" fmla="*/ 89665 h 349363"/>
                <a:gd name="connsiteX1300" fmla="*/ 94150 w 2663946"/>
                <a:gd name="connsiteY1300" fmla="*/ 89395 h 349363"/>
                <a:gd name="connsiteX1301" fmla="*/ 94642 w 2663946"/>
                <a:gd name="connsiteY1301" fmla="*/ 84798 h 349363"/>
                <a:gd name="connsiteX1302" fmla="*/ 95871 w 2663946"/>
                <a:gd name="connsiteY1302" fmla="*/ 79391 h 349363"/>
                <a:gd name="connsiteX1303" fmla="*/ 96854 w 2663946"/>
                <a:gd name="connsiteY1303" fmla="*/ 76146 h 349363"/>
                <a:gd name="connsiteX1304" fmla="*/ 99066 w 2663946"/>
                <a:gd name="connsiteY1304" fmla="*/ 71009 h 349363"/>
                <a:gd name="connsiteX1305" fmla="*/ 101279 w 2663946"/>
                <a:gd name="connsiteY1305" fmla="*/ 67224 h 349363"/>
                <a:gd name="connsiteX1306" fmla="*/ 103491 w 2663946"/>
                <a:gd name="connsiteY1306" fmla="*/ 64249 h 349363"/>
                <a:gd name="connsiteX1307" fmla="*/ 105703 w 2663946"/>
                <a:gd name="connsiteY1307" fmla="*/ 61816 h 349363"/>
                <a:gd name="connsiteX1308" fmla="*/ 110373 w 2663946"/>
                <a:gd name="connsiteY1308" fmla="*/ 58031 h 349363"/>
                <a:gd name="connsiteX1309" fmla="*/ 114306 w 2663946"/>
                <a:gd name="connsiteY1309" fmla="*/ 55868 h 349363"/>
                <a:gd name="connsiteX1310" fmla="*/ 123893 w 2663946"/>
                <a:gd name="connsiteY1310" fmla="*/ 53434 h 349363"/>
                <a:gd name="connsiteX1311" fmla="*/ 33147 w 2663946"/>
                <a:gd name="connsiteY1311" fmla="*/ 52796 h 349363"/>
                <a:gd name="connsiteX1312" fmla="*/ 57942 w 2663946"/>
                <a:gd name="connsiteY1312" fmla="*/ 73005 h 349363"/>
                <a:gd name="connsiteX1313" fmla="*/ 58422 w 2663946"/>
                <a:gd name="connsiteY1313" fmla="*/ 77763 h 349363"/>
                <a:gd name="connsiteX1314" fmla="*/ 59840 w 2663946"/>
                <a:gd name="connsiteY1314" fmla="*/ 77763 h 349363"/>
                <a:gd name="connsiteX1315" fmla="*/ 66294 w 2663946"/>
                <a:gd name="connsiteY1315" fmla="*/ 84049 h 349363"/>
                <a:gd name="connsiteX1316" fmla="*/ 66294 w 2663946"/>
                <a:gd name="connsiteY1316" fmla="*/ 133771 h 349363"/>
                <a:gd name="connsiteX1317" fmla="*/ 59840 w 2663946"/>
                <a:gd name="connsiteY1317" fmla="*/ 140057 h 349363"/>
                <a:gd name="connsiteX1318" fmla="*/ 6453 w 2663946"/>
                <a:gd name="connsiteY1318" fmla="*/ 140057 h 349363"/>
                <a:gd name="connsiteX1319" fmla="*/ 0 w 2663946"/>
                <a:gd name="connsiteY1319" fmla="*/ 133771 h 349363"/>
                <a:gd name="connsiteX1320" fmla="*/ 0 w 2663946"/>
                <a:gd name="connsiteY1320" fmla="*/ 84049 h 349363"/>
                <a:gd name="connsiteX1321" fmla="*/ 6453 w 2663946"/>
                <a:gd name="connsiteY1321" fmla="*/ 77763 h 349363"/>
                <a:gd name="connsiteX1322" fmla="*/ 7288 w 2663946"/>
                <a:gd name="connsiteY1322" fmla="*/ 77763 h 349363"/>
                <a:gd name="connsiteX1323" fmla="*/ 7872 w 2663946"/>
                <a:gd name="connsiteY1323" fmla="*/ 77763 h 349363"/>
                <a:gd name="connsiteX1324" fmla="*/ 8351 w 2663946"/>
                <a:gd name="connsiteY1324" fmla="*/ 73005 h 349363"/>
                <a:gd name="connsiteX1325" fmla="*/ 33147 w 2663946"/>
                <a:gd name="connsiteY1325" fmla="*/ 52796 h 349363"/>
                <a:gd name="connsiteX1326" fmla="*/ 2537931 w 2663946"/>
                <a:gd name="connsiteY1326" fmla="*/ 45208 h 349363"/>
                <a:gd name="connsiteX1327" fmla="*/ 2562727 w 2663946"/>
                <a:gd name="connsiteY1327" fmla="*/ 65417 h 349363"/>
                <a:gd name="connsiteX1328" fmla="*/ 2563206 w 2663946"/>
                <a:gd name="connsiteY1328" fmla="*/ 70175 h 349363"/>
                <a:gd name="connsiteX1329" fmla="*/ 2564625 w 2663946"/>
                <a:gd name="connsiteY1329" fmla="*/ 70175 h 349363"/>
                <a:gd name="connsiteX1330" fmla="*/ 2571078 w 2663946"/>
                <a:gd name="connsiteY1330" fmla="*/ 76461 h 349363"/>
                <a:gd name="connsiteX1331" fmla="*/ 2571078 w 2663946"/>
                <a:gd name="connsiteY1331" fmla="*/ 126183 h 349363"/>
                <a:gd name="connsiteX1332" fmla="*/ 2564625 w 2663946"/>
                <a:gd name="connsiteY1332" fmla="*/ 132469 h 349363"/>
                <a:gd name="connsiteX1333" fmla="*/ 2511238 w 2663946"/>
                <a:gd name="connsiteY1333" fmla="*/ 132469 h 349363"/>
                <a:gd name="connsiteX1334" fmla="*/ 2504784 w 2663946"/>
                <a:gd name="connsiteY1334" fmla="*/ 126183 h 349363"/>
                <a:gd name="connsiteX1335" fmla="*/ 2504784 w 2663946"/>
                <a:gd name="connsiteY1335" fmla="*/ 76461 h 349363"/>
                <a:gd name="connsiteX1336" fmla="*/ 2511238 w 2663946"/>
                <a:gd name="connsiteY1336" fmla="*/ 70175 h 349363"/>
                <a:gd name="connsiteX1337" fmla="*/ 2512072 w 2663946"/>
                <a:gd name="connsiteY1337" fmla="*/ 70175 h 349363"/>
                <a:gd name="connsiteX1338" fmla="*/ 2512656 w 2663946"/>
                <a:gd name="connsiteY1338" fmla="*/ 70175 h 349363"/>
                <a:gd name="connsiteX1339" fmla="*/ 2513136 w 2663946"/>
                <a:gd name="connsiteY1339" fmla="*/ 65417 h 349363"/>
                <a:gd name="connsiteX1340" fmla="*/ 2537931 w 2663946"/>
                <a:gd name="connsiteY1340" fmla="*/ 45208 h 349363"/>
                <a:gd name="connsiteX1341" fmla="*/ 2112934 w 2663946"/>
                <a:gd name="connsiteY1341" fmla="*/ 45208 h 349363"/>
                <a:gd name="connsiteX1342" fmla="*/ 2137730 w 2663946"/>
                <a:gd name="connsiteY1342" fmla="*/ 65417 h 349363"/>
                <a:gd name="connsiteX1343" fmla="*/ 2138209 w 2663946"/>
                <a:gd name="connsiteY1343" fmla="*/ 70175 h 349363"/>
                <a:gd name="connsiteX1344" fmla="*/ 2139628 w 2663946"/>
                <a:gd name="connsiteY1344" fmla="*/ 70175 h 349363"/>
                <a:gd name="connsiteX1345" fmla="*/ 2146081 w 2663946"/>
                <a:gd name="connsiteY1345" fmla="*/ 76461 h 349363"/>
                <a:gd name="connsiteX1346" fmla="*/ 2146081 w 2663946"/>
                <a:gd name="connsiteY1346" fmla="*/ 126183 h 349363"/>
                <a:gd name="connsiteX1347" fmla="*/ 2139628 w 2663946"/>
                <a:gd name="connsiteY1347" fmla="*/ 132469 h 349363"/>
                <a:gd name="connsiteX1348" fmla="*/ 2086241 w 2663946"/>
                <a:gd name="connsiteY1348" fmla="*/ 132469 h 349363"/>
                <a:gd name="connsiteX1349" fmla="*/ 2079787 w 2663946"/>
                <a:gd name="connsiteY1349" fmla="*/ 126183 h 349363"/>
                <a:gd name="connsiteX1350" fmla="*/ 2079787 w 2663946"/>
                <a:gd name="connsiteY1350" fmla="*/ 76461 h 349363"/>
                <a:gd name="connsiteX1351" fmla="*/ 2086241 w 2663946"/>
                <a:gd name="connsiteY1351" fmla="*/ 70175 h 349363"/>
                <a:gd name="connsiteX1352" fmla="*/ 2087075 w 2663946"/>
                <a:gd name="connsiteY1352" fmla="*/ 70175 h 349363"/>
                <a:gd name="connsiteX1353" fmla="*/ 2087659 w 2663946"/>
                <a:gd name="connsiteY1353" fmla="*/ 70175 h 349363"/>
                <a:gd name="connsiteX1354" fmla="*/ 2088139 w 2663946"/>
                <a:gd name="connsiteY1354" fmla="*/ 65417 h 349363"/>
                <a:gd name="connsiteX1355" fmla="*/ 2112934 w 2663946"/>
                <a:gd name="connsiteY1355" fmla="*/ 45208 h 349363"/>
                <a:gd name="connsiteX1356" fmla="*/ 1854966 w 2663946"/>
                <a:gd name="connsiteY1356" fmla="*/ 45208 h 349363"/>
                <a:gd name="connsiteX1357" fmla="*/ 1879762 w 2663946"/>
                <a:gd name="connsiteY1357" fmla="*/ 65417 h 349363"/>
                <a:gd name="connsiteX1358" fmla="*/ 1880241 w 2663946"/>
                <a:gd name="connsiteY1358" fmla="*/ 70175 h 349363"/>
                <a:gd name="connsiteX1359" fmla="*/ 1881660 w 2663946"/>
                <a:gd name="connsiteY1359" fmla="*/ 70175 h 349363"/>
                <a:gd name="connsiteX1360" fmla="*/ 1888113 w 2663946"/>
                <a:gd name="connsiteY1360" fmla="*/ 76461 h 349363"/>
                <a:gd name="connsiteX1361" fmla="*/ 1888113 w 2663946"/>
                <a:gd name="connsiteY1361" fmla="*/ 126183 h 349363"/>
                <a:gd name="connsiteX1362" fmla="*/ 1881660 w 2663946"/>
                <a:gd name="connsiteY1362" fmla="*/ 132469 h 349363"/>
                <a:gd name="connsiteX1363" fmla="*/ 1828273 w 2663946"/>
                <a:gd name="connsiteY1363" fmla="*/ 132469 h 349363"/>
                <a:gd name="connsiteX1364" fmla="*/ 1821819 w 2663946"/>
                <a:gd name="connsiteY1364" fmla="*/ 126183 h 349363"/>
                <a:gd name="connsiteX1365" fmla="*/ 1821819 w 2663946"/>
                <a:gd name="connsiteY1365" fmla="*/ 76461 h 349363"/>
                <a:gd name="connsiteX1366" fmla="*/ 1828273 w 2663946"/>
                <a:gd name="connsiteY1366" fmla="*/ 70175 h 349363"/>
                <a:gd name="connsiteX1367" fmla="*/ 1829107 w 2663946"/>
                <a:gd name="connsiteY1367" fmla="*/ 70175 h 349363"/>
                <a:gd name="connsiteX1368" fmla="*/ 1829691 w 2663946"/>
                <a:gd name="connsiteY1368" fmla="*/ 70175 h 349363"/>
                <a:gd name="connsiteX1369" fmla="*/ 1830171 w 2663946"/>
                <a:gd name="connsiteY1369" fmla="*/ 65417 h 349363"/>
                <a:gd name="connsiteX1370" fmla="*/ 1854966 w 2663946"/>
                <a:gd name="connsiteY1370" fmla="*/ 45208 h 349363"/>
                <a:gd name="connsiteX1371" fmla="*/ 1764027 w 2663946"/>
                <a:gd name="connsiteY1371" fmla="*/ 45208 h 349363"/>
                <a:gd name="connsiteX1372" fmla="*/ 1788823 w 2663946"/>
                <a:gd name="connsiteY1372" fmla="*/ 65417 h 349363"/>
                <a:gd name="connsiteX1373" fmla="*/ 1789302 w 2663946"/>
                <a:gd name="connsiteY1373" fmla="*/ 70175 h 349363"/>
                <a:gd name="connsiteX1374" fmla="*/ 1790721 w 2663946"/>
                <a:gd name="connsiteY1374" fmla="*/ 70175 h 349363"/>
                <a:gd name="connsiteX1375" fmla="*/ 1797174 w 2663946"/>
                <a:gd name="connsiteY1375" fmla="*/ 76461 h 349363"/>
                <a:gd name="connsiteX1376" fmla="*/ 1797174 w 2663946"/>
                <a:gd name="connsiteY1376" fmla="*/ 126183 h 349363"/>
                <a:gd name="connsiteX1377" fmla="*/ 1790721 w 2663946"/>
                <a:gd name="connsiteY1377" fmla="*/ 132469 h 349363"/>
                <a:gd name="connsiteX1378" fmla="*/ 1737333 w 2663946"/>
                <a:gd name="connsiteY1378" fmla="*/ 132469 h 349363"/>
                <a:gd name="connsiteX1379" fmla="*/ 1730880 w 2663946"/>
                <a:gd name="connsiteY1379" fmla="*/ 126183 h 349363"/>
                <a:gd name="connsiteX1380" fmla="*/ 1730880 w 2663946"/>
                <a:gd name="connsiteY1380" fmla="*/ 76461 h 349363"/>
                <a:gd name="connsiteX1381" fmla="*/ 1737333 w 2663946"/>
                <a:gd name="connsiteY1381" fmla="*/ 70175 h 349363"/>
                <a:gd name="connsiteX1382" fmla="*/ 1738168 w 2663946"/>
                <a:gd name="connsiteY1382" fmla="*/ 70175 h 349363"/>
                <a:gd name="connsiteX1383" fmla="*/ 1738752 w 2663946"/>
                <a:gd name="connsiteY1383" fmla="*/ 70175 h 349363"/>
                <a:gd name="connsiteX1384" fmla="*/ 1739232 w 2663946"/>
                <a:gd name="connsiteY1384" fmla="*/ 65417 h 349363"/>
                <a:gd name="connsiteX1385" fmla="*/ 1764027 w 2663946"/>
                <a:gd name="connsiteY1385" fmla="*/ 45208 h 349363"/>
                <a:gd name="connsiteX1386" fmla="*/ 1506059 w 2663946"/>
                <a:gd name="connsiteY1386" fmla="*/ 45208 h 349363"/>
                <a:gd name="connsiteX1387" fmla="*/ 1530855 w 2663946"/>
                <a:gd name="connsiteY1387" fmla="*/ 65417 h 349363"/>
                <a:gd name="connsiteX1388" fmla="*/ 1531334 w 2663946"/>
                <a:gd name="connsiteY1388" fmla="*/ 70175 h 349363"/>
                <a:gd name="connsiteX1389" fmla="*/ 1532753 w 2663946"/>
                <a:gd name="connsiteY1389" fmla="*/ 70175 h 349363"/>
                <a:gd name="connsiteX1390" fmla="*/ 1539206 w 2663946"/>
                <a:gd name="connsiteY1390" fmla="*/ 76461 h 349363"/>
                <a:gd name="connsiteX1391" fmla="*/ 1539206 w 2663946"/>
                <a:gd name="connsiteY1391" fmla="*/ 126183 h 349363"/>
                <a:gd name="connsiteX1392" fmla="*/ 1532753 w 2663946"/>
                <a:gd name="connsiteY1392" fmla="*/ 132469 h 349363"/>
                <a:gd name="connsiteX1393" fmla="*/ 1479365 w 2663946"/>
                <a:gd name="connsiteY1393" fmla="*/ 132469 h 349363"/>
                <a:gd name="connsiteX1394" fmla="*/ 1472912 w 2663946"/>
                <a:gd name="connsiteY1394" fmla="*/ 126183 h 349363"/>
                <a:gd name="connsiteX1395" fmla="*/ 1472912 w 2663946"/>
                <a:gd name="connsiteY1395" fmla="*/ 76461 h 349363"/>
                <a:gd name="connsiteX1396" fmla="*/ 1479365 w 2663946"/>
                <a:gd name="connsiteY1396" fmla="*/ 70175 h 349363"/>
                <a:gd name="connsiteX1397" fmla="*/ 1480200 w 2663946"/>
                <a:gd name="connsiteY1397" fmla="*/ 70175 h 349363"/>
                <a:gd name="connsiteX1398" fmla="*/ 1480784 w 2663946"/>
                <a:gd name="connsiteY1398" fmla="*/ 70175 h 349363"/>
                <a:gd name="connsiteX1399" fmla="*/ 1481264 w 2663946"/>
                <a:gd name="connsiteY1399" fmla="*/ 65417 h 349363"/>
                <a:gd name="connsiteX1400" fmla="*/ 1506059 w 2663946"/>
                <a:gd name="connsiteY1400" fmla="*/ 45208 h 349363"/>
                <a:gd name="connsiteX1401" fmla="*/ 1415120 w 2663946"/>
                <a:gd name="connsiteY1401" fmla="*/ 45208 h 349363"/>
                <a:gd name="connsiteX1402" fmla="*/ 1439916 w 2663946"/>
                <a:gd name="connsiteY1402" fmla="*/ 65417 h 349363"/>
                <a:gd name="connsiteX1403" fmla="*/ 1440395 w 2663946"/>
                <a:gd name="connsiteY1403" fmla="*/ 70175 h 349363"/>
                <a:gd name="connsiteX1404" fmla="*/ 1441814 w 2663946"/>
                <a:gd name="connsiteY1404" fmla="*/ 70175 h 349363"/>
                <a:gd name="connsiteX1405" fmla="*/ 1448267 w 2663946"/>
                <a:gd name="connsiteY1405" fmla="*/ 76461 h 349363"/>
                <a:gd name="connsiteX1406" fmla="*/ 1448267 w 2663946"/>
                <a:gd name="connsiteY1406" fmla="*/ 126183 h 349363"/>
                <a:gd name="connsiteX1407" fmla="*/ 1441814 w 2663946"/>
                <a:gd name="connsiteY1407" fmla="*/ 132469 h 349363"/>
                <a:gd name="connsiteX1408" fmla="*/ 1388426 w 2663946"/>
                <a:gd name="connsiteY1408" fmla="*/ 132469 h 349363"/>
                <a:gd name="connsiteX1409" fmla="*/ 1381973 w 2663946"/>
                <a:gd name="connsiteY1409" fmla="*/ 126183 h 349363"/>
                <a:gd name="connsiteX1410" fmla="*/ 1381973 w 2663946"/>
                <a:gd name="connsiteY1410" fmla="*/ 76461 h 349363"/>
                <a:gd name="connsiteX1411" fmla="*/ 1388426 w 2663946"/>
                <a:gd name="connsiteY1411" fmla="*/ 70175 h 349363"/>
                <a:gd name="connsiteX1412" fmla="*/ 1389261 w 2663946"/>
                <a:gd name="connsiteY1412" fmla="*/ 70175 h 349363"/>
                <a:gd name="connsiteX1413" fmla="*/ 1389845 w 2663946"/>
                <a:gd name="connsiteY1413" fmla="*/ 70175 h 349363"/>
                <a:gd name="connsiteX1414" fmla="*/ 1390325 w 2663946"/>
                <a:gd name="connsiteY1414" fmla="*/ 65417 h 349363"/>
                <a:gd name="connsiteX1415" fmla="*/ 1415120 w 2663946"/>
                <a:gd name="connsiteY1415" fmla="*/ 45208 h 349363"/>
                <a:gd name="connsiteX1416" fmla="*/ 1157152 w 2663946"/>
                <a:gd name="connsiteY1416" fmla="*/ 45208 h 349363"/>
                <a:gd name="connsiteX1417" fmla="*/ 1181948 w 2663946"/>
                <a:gd name="connsiteY1417" fmla="*/ 65417 h 349363"/>
                <a:gd name="connsiteX1418" fmla="*/ 1182427 w 2663946"/>
                <a:gd name="connsiteY1418" fmla="*/ 70175 h 349363"/>
                <a:gd name="connsiteX1419" fmla="*/ 1183846 w 2663946"/>
                <a:gd name="connsiteY1419" fmla="*/ 70175 h 349363"/>
                <a:gd name="connsiteX1420" fmla="*/ 1190299 w 2663946"/>
                <a:gd name="connsiteY1420" fmla="*/ 76461 h 349363"/>
                <a:gd name="connsiteX1421" fmla="*/ 1190299 w 2663946"/>
                <a:gd name="connsiteY1421" fmla="*/ 126183 h 349363"/>
                <a:gd name="connsiteX1422" fmla="*/ 1183846 w 2663946"/>
                <a:gd name="connsiteY1422" fmla="*/ 132469 h 349363"/>
                <a:gd name="connsiteX1423" fmla="*/ 1130458 w 2663946"/>
                <a:gd name="connsiteY1423" fmla="*/ 132469 h 349363"/>
                <a:gd name="connsiteX1424" fmla="*/ 1124005 w 2663946"/>
                <a:gd name="connsiteY1424" fmla="*/ 126183 h 349363"/>
                <a:gd name="connsiteX1425" fmla="*/ 1124005 w 2663946"/>
                <a:gd name="connsiteY1425" fmla="*/ 76461 h 349363"/>
                <a:gd name="connsiteX1426" fmla="*/ 1130458 w 2663946"/>
                <a:gd name="connsiteY1426" fmla="*/ 70175 h 349363"/>
                <a:gd name="connsiteX1427" fmla="*/ 1131293 w 2663946"/>
                <a:gd name="connsiteY1427" fmla="*/ 70175 h 349363"/>
                <a:gd name="connsiteX1428" fmla="*/ 1131877 w 2663946"/>
                <a:gd name="connsiteY1428" fmla="*/ 70175 h 349363"/>
                <a:gd name="connsiteX1429" fmla="*/ 1132357 w 2663946"/>
                <a:gd name="connsiteY1429" fmla="*/ 65417 h 349363"/>
                <a:gd name="connsiteX1430" fmla="*/ 1157152 w 2663946"/>
                <a:gd name="connsiteY1430" fmla="*/ 45208 h 349363"/>
                <a:gd name="connsiteX1431" fmla="*/ 732156 w 2663946"/>
                <a:gd name="connsiteY1431" fmla="*/ 45208 h 349363"/>
                <a:gd name="connsiteX1432" fmla="*/ 756951 w 2663946"/>
                <a:gd name="connsiteY1432" fmla="*/ 65417 h 349363"/>
                <a:gd name="connsiteX1433" fmla="*/ 757431 w 2663946"/>
                <a:gd name="connsiteY1433" fmla="*/ 70175 h 349363"/>
                <a:gd name="connsiteX1434" fmla="*/ 758849 w 2663946"/>
                <a:gd name="connsiteY1434" fmla="*/ 70175 h 349363"/>
                <a:gd name="connsiteX1435" fmla="*/ 765303 w 2663946"/>
                <a:gd name="connsiteY1435" fmla="*/ 76461 h 349363"/>
                <a:gd name="connsiteX1436" fmla="*/ 765303 w 2663946"/>
                <a:gd name="connsiteY1436" fmla="*/ 126183 h 349363"/>
                <a:gd name="connsiteX1437" fmla="*/ 758849 w 2663946"/>
                <a:gd name="connsiteY1437" fmla="*/ 132469 h 349363"/>
                <a:gd name="connsiteX1438" fmla="*/ 705462 w 2663946"/>
                <a:gd name="connsiteY1438" fmla="*/ 132469 h 349363"/>
                <a:gd name="connsiteX1439" fmla="*/ 699009 w 2663946"/>
                <a:gd name="connsiteY1439" fmla="*/ 126183 h 349363"/>
                <a:gd name="connsiteX1440" fmla="*/ 699009 w 2663946"/>
                <a:gd name="connsiteY1440" fmla="*/ 76461 h 349363"/>
                <a:gd name="connsiteX1441" fmla="*/ 705462 w 2663946"/>
                <a:gd name="connsiteY1441" fmla="*/ 70175 h 349363"/>
                <a:gd name="connsiteX1442" fmla="*/ 706296 w 2663946"/>
                <a:gd name="connsiteY1442" fmla="*/ 70175 h 349363"/>
                <a:gd name="connsiteX1443" fmla="*/ 706881 w 2663946"/>
                <a:gd name="connsiteY1443" fmla="*/ 70175 h 349363"/>
                <a:gd name="connsiteX1444" fmla="*/ 707360 w 2663946"/>
                <a:gd name="connsiteY1444" fmla="*/ 65417 h 349363"/>
                <a:gd name="connsiteX1445" fmla="*/ 732156 w 2663946"/>
                <a:gd name="connsiteY1445" fmla="*/ 45208 h 349363"/>
                <a:gd name="connsiteX1446" fmla="*/ 641217 w 2663946"/>
                <a:gd name="connsiteY1446" fmla="*/ 45208 h 349363"/>
                <a:gd name="connsiteX1447" fmla="*/ 666012 w 2663946"/>
                <a:gd name="connsiteY1447" fmla="*/ 65417 h 349363"/>
                <a:gd name="connsiteX1448" fmla="*/ 666492 w 2663946"/>
                <a:gd name="connsiteY1448" fmla="*/ 70175 h 349363"/>
                <a:gd name="connsiteX1449" fmla="*/ 667910 w 2663946"/>
                <a:gd name="connsiteY1449" fmla="*/ 70175 h 349363"/>
                <a:gd name="connsiteX1450" fmla="*/ 674364 w 2663946"/>
                <a:gd name="connsiteY1450" fmla="*/ 76461 h 349363"/>
                <a:gd name="connsiteX1451" fmla="*/ 674364 w 2663946"/>
                <a:gd name="connsiteY1451" fmla="*/ 126183 h 349363"/>
                <a:gd name="connsiteX1452" fmla="*/ 667910 w 2663946"/>
                <a:gd name="connsiteY1452" fmla="*/ 132469 h 349363"/>
                <a:gd name="connsiteX1453" fmla="*/ 614523 w 2663946"/>
                <a:gd name="connsiteY1453" fmla="*/ 132469 h 349363"/>
                <a:gd name="connsiteX1454" fmla="*/ 608070 w 2663946"/>
                <a:gd name="connsiteY1454" fmla="*/ 126183 h 349363"/>
                <a:gd name="connsiteX1455" fmla="*/ 608070 w 2663946"/>
                <a:gd name="connsiteY1455" fmla="*/ 76461 h 349363"/>
                <a:gd name="connsiteX1456" fmla="*/ 614523 w 2663946"/>
                <a:gd name="connsiteY1456" fmla="*/ 70175 h 349363"/>
                <a:gd name="connsiteX1457" fmla="*/ 615358 w 2663946"/>
                <a:gd name="connsiteY1457" fmla="*/ 70175 h 349363"/>
                <a:gd name="connsiteX1458" fmla="*/ 615942 w 2663946"/>
                <a:gd name="connsiteY1458" fmla="*/ 70175 h 349363"/>
                <a:gd name="connsiteX1459" fmla="*/ 616422 w 2663946"/>
                <a:gd name="connsiteY1459" fmla="*/ 65417 h 349363"/>
                <a:gd name="connsiteX1460" fmla="*/ 641217 w 2663946"/>
                <a:gd name="connsiteY1460" fmla="*/ 45208 h 349363"/>
                <a:gd name="connsiteX1461" fmla="*/ 459266 w 2663946"/>
                <a:gd name="connsiteY1461" fmla="*/ 45208 h 349363"/>
                <a:gd name="connsiteX1462" fmla="*/ 484061 w 2663946"/>
                <a:gd name="connsiteY1462" fmla="*/ 65417 h 349363"/>
                <a:gd name="connsiteX1463" fmla="*/ 484541 w 2663946"/>
                <a:gd name="connsiteY1463" fmla="*/ 70175 h 349363"/>
                <a:gd name="connsiteX1464" fmla="*/ 485959 w 2663946"/>
                <a:gd name="connsiteY1464" fmla="*/ 70175 h 349363"/>
                <a:gd name="connsiteX1465" fmla="*/ 492413 w 2663946"/>
                <a:gd name="connsiteY1465" fmla="*/ 76461 h 349363"/>
                <a:gd name="connsiteX1466" fmla="*/ 492413 w 2663946"/>
                <a:gd name="connsiteY1466" fmla="*/ 126183 h 349363"/>
                <a:gd name="connsiteX1467" fmla="*/ 485959 w 2663946"/>
                <a:gd name="connsiteY1467" fmla="*/ 132469 h 349363"/>
                <a:gd name="connsiteX1468" fmla="*/ 432572 w 2663946"/>
                <a:gd name="connsiteY1468" fmla="*/ 132469 h 349363"/>
                <a:gd name="connsiteX1469" fmla="*/ 426119 w 2663946"/>
                <a:gd name="connsiteY1469" fmla="*/ 126183 h 349363"/>
                <a:gd name="connsiteX1470" fmla="*/ 426119 w 2663946"/>
                <a:gd name="connsiteY1470" fmla="*/ 76461 h 349363"/>
                <a:gd name="connsiteX1471" fmla="*/ 432572 w 2663946"/>
                <a:gd name="connsiteY1471" fmla="*/ 70175 h 349363"/>
                <a:gd name="connsiteX1472" fmla="*/ 433406 w 2663946"/>
                <a:gd name="connsiteY1472" fmla="*/ 70175 h 349363"/>
                <a:gd name="connsiteX1473" fmla="*/ 433991 w 2663946"/>
                <a:gd name="connsiteY1473" fmla="*/ 70175 h 349363"/>
                <a:gd name="connsiteX1474" fmla="*/ 434470 w 2663946"/>
                <a:gd name="connsiteY1474" fmla="*/ 65417 h 349363"/>
                <a:gd name="connsiteX1475" fmla="*/ 459266 w 2663946"/>
                <a:gd name="connsiteY1475" fmla="*/ 45208 h 349363"/>
                <a:gd name="connsiteX1476" fmla="*/ 13853 w 2663946"/>
                <a:gd name="connsiteY1476" fmla="*/ 16713 h 349363"/>
                <a:gd name="connsiteX1477" fmla="*/ 40350 w 2663946"/>
                <a:gd name="connsiteY1477" fmla="*/ 1031 h 349363"/>
                <a:gd name="connsiteX1478" fmla="*/ 40891 w 2663946"/>
                <a:gd name="connsiteY1478" fmla="*/ 1571 h 349363"/>
                <a:gd name="connsiteX1479" fmla="*/ 48191 w 2663946"/>
                <a:gd name="connsiteY1479" fmla="*/ 1571 h 349363"/>
                <a:gd name="connsiteX1480" fmla="*/ 52247 w 2663946"/>
                <a:gd name="connsiteY1480" fmla="*/ 2653 h 349363"/>
                <a:gd name="connsiteX1481" fmla="*/ 56032 w 2663946"/>
                <a:gd name="connsiteY1481" fmla="*/ 9412 h 349363"/>
                <a:gd name="connsiteX1482" fmla="*/ 53328 w 2663946"/>
                <a:gd name="connsiteY1482" fmla="*/ 15090 h 349363"/>
                <a:gd name="connsiteX1483" fmla="*/ 49273 w 2663946"/>
                <a:gd name="connsiteY1483" fmla="*/ 16983 h 349363"/>
                <a:gd name="connsiteX1484" fmla="*/ 49002 w 2663946"/>
                <a:gd name="connsiteY1484" fmla="*/ 16983 h 349363"/>
                <a:gd name="connsiteX1485" fmla="*/ 48732 w 2663946"/>
                <a:gd name="connsiteY1485" fmla="*/ 16983 h 349363"/>
                <a:gd name="connsiteX1486" fmla="*/ 48191 w 2663946"/>
                <a:gd name="connsiteY1486" fmla="*/ 16983 h 349363"/>
                <a:gd name="connsiteX1487" fmla="*/ 16016 w 2663946"/>
                <a:gd name="connsiteY1487" fmla="*/ 16983 h 349363"/>
                <a:gd name="connsiteX1488" fmla="*/ 15475 w 2663946"/>
                <a:gd name="connsiteY1488" fmla="*/ 16983 h 349363"/>
                <a:gd name="connsiteX1489" fmla="*/ 14664 w 2663946"/>
                <a:gd name="connsiteY1489" fmla="*/ 16983 h 349363"/>
                <a:gd name="connsiteX1490" fmla="*/ 13853 w 2663946"/>
                <a:gd name="connsiteY1490" fmla="*/ 16713 h 349363"/>
                <a:gd name="connsiteX0" fmla="*/ 2632966 w 2663946"/>
                <a:gd name="connsiteY0" fmla="*/ 288276 h 349382"/>
                <a:gd name="connsiteX1" fmla="*/ 2621414 w 2663946"/>
                <a:gd name="connsiteY1" fmla="*/ 290709 h 349382"/>
                <a:gd name="connsiteX2" fmla="*/ 2618218 w 2663946"/>
                <a:gd name="connsiteY2" fmla="*/ 294224 h 349382"/>
                <a:gd name="connsiteX3" fmla="*/ 2616006 w 2663946"/>
                <a:gd name="connsiteY3" fmla="*/ 298009 h 349382"/>
                <a:gd name="connsiteX4" fmla="*/ 2615023 w 2663946"/>
                <a:gd name="connsiteY4" fmla="*/ 300713 h 349382"/>
                <a:gd name="connsiteX5" fmla="*/ 2614039 w 2663946"/>
                <a:gd name="connsiteY5" fmla="*/ 304769 h 349382"/>
                <a:gd name="connsiteX6" fmla="*/ 2613056 w 2663946"/>
                <a:gd name="connsiteY6" fmla="*/ 311799 h 349382"/>
                <a:gd name="connsiteX7" fmla="*/ 2614039 w 2663946"/>
                <a:gd name="connsiteY7" fmla="*/ 319099 h 349382"/>
                <a:gd name="connsiteX8" fmla="*/ 2615269 w 2663946"/>
                <a:gd name="connsiteY8" fmla="*/ 322884 h 349382"/>
                <a:gd name="connsiteX9" fmla="*/ 2617481 w 2663946"/>
                <a:gd name="connsiteY9" fmla="*/ 327210 h 349382"/>
                <a:gd name="connsiteX10" fmla="*/ 2620922 w 2663946"/>
                <a:gd name="connsiteY10" fmla="*/ 331537 h 349382"/>
                <a:gd name="connsiteX11" fmla="*/ 2625346 w 2663946"/>
                <a:gd name="connsiteY11" fmla="*/ 334240 h 349382"/>
                <a:gd name="connsiteX12" fmla="*/ 2637637 w 2663946"/>
                <a:gd name="connsiteY12" fmla="*/ 331807 h 349382"/>
                <a:gd name="connsiteX13" fmla="*/ 2640832 w 2663946"/>
                <a:gd name="connsiteY13" fmla="*/ 328292 h 349382"/>
                <a:gd name="connsiteX14" fmla="*/ 2643290 w 2663946"/>
                <a:gd name="connsiteY14" fmla="*/ 323966 h 349382"/>
                <a:gd name="connsiteX15" fmla="*/ 2644273 w 2663946"/>
                <a:gd name="connsiteY15" fmla="*/ 321803 h 349382"/>
                <a:gd name="connsiteX16" fmla="*/ 2645502 w 2663946"/>
                <a:gd name="connsiteY16" fmla="*/ 317477 h 349382"/>
                <a:gd name="connsiteX17" fmla="*/ 2645011 w 2663946"/>
                <a:gd name="connsiteY17" fmla="*/ 303687 h 349382"/>
                <a:gd name="connsiteX18" fmla="*/ 2644027 w 2663946"/>
                <a:gd name="connsiteY18" fmla="*/ 300713 h 349382"/>
                <a:gd name="connsiteX19" fmla="*/ 2642799 w 2663946"/>
                <a:gd name="connsiteY19" fmla="*/ 297739 h 349382"/>
                <a:gd name="connsiteX20" fmla="*/ 2640586 w 2663946"/>
                <a:gd name="connsiteY20" fmla="*/ 294224 h 349382"/>
                <a:gd name="connsiteX21" fmla="*/ 2636899 w 2663946"/>
                <a:gd name="connsiteY21" fmla="*/ 290439 h 349382"/>
                <a:gd name="connsiteX22" fmla="*/ 2632966 w 2663946"/>
                <a:gd name="connsiteY22" fmla="*/ 288276 h 349382"/>
                <a:gd name="connsiteX23" fmla="*/ 2627559 w 2663946"/>
                <a:gd name="connsiteY23" fmla="*/ 272323 h 349382"/>
                <a:gd name="connsiteX24" fmla="*/ 2639849 w 2663946"/>
                <a:gd name="connsiteY24" fmla="*/ 274486 h 349382"/>
                <a:gd name="connsiteX25" fmla="*/ 2647223 w 2663946"/>
                <a:gd name="connsiteY25" fmla="*/ 279083 h 349382"/>
                <a:gd name="connsiteX26" fmla="*/ 2650664 w 2663946"/>
                <a:gd name="connsiteY26" fmla="*/ 282327 h 349382"/>
                <a:gd name="connsiteX27" fmla="*/ 2654106 w 2663946"/>
                <a:gd name="connsiteY27" fmla="*/ 286653 h 349382"/>
                <a:gd name="connsiteX28" fmla="*/ 2656072 w 2663946"/>
                <a:gd name="connsiteY28" fmla="*/ 290168 h 349382"/>
                <a:gd name="connsiteX29" fmla="*/ 2658284 w 2663946"/>
                <a:gd name="connsiteY29" fmla="*/ 295576 h 349382"/>
                <a:gd name="connsiteX30" fmla="*/ 2659267 w 2663946"/>
                <a:gd name="connsiteY30" fmla="*/ 299091 h 349382"/>
                <a:gd name="connsiteX31" fmla="*/ 2660251 w 2663946"/>
                <a:gd name="connsiteY31" fmla="*/ 304228 h 349382"/>
                <a:gd name="connsiteX32" fmla="*/ 2660005 w 2663946"/>
                <a:gd name="connsiteY32" fmla="*/ 318558 h 349382"/>
                <a:gd name="connsiteX33" fmla="*/ 2659022 w 2663946"/>
                <a:gd name="connsiteY33" fmla="*/ 323425 h 349382"/>
                <a:gd name="connsiteX34" fmla="*/ 2657792 w 2663946"/>
                <a:gd name="connsiteY34" fmla="*/ 327210 h 349382"/>
                <a:gd name="connsiteX35" fmla="*/ 2656809 w 2663946"/>
                <a:gd name="connsiteY35" fmla="*/ 329644 h 349382"/>
                <a:gd name="connsiteX36" fmla="*/ 2654597 w 2663946"/>
                <a:gd name="connsiteY36" fmla="*/ 333970 h 349382"/>
                <a:gd name="connsiteX37" fmla="*/ 2652385 w 2663946"/>
                <a:gd name="connsiteY37" fmla="*/ 337214 h 349382"/>
                <a:gd name="connsiteX38" fmla="*/ 2648944 w 2663946"/>
                <a:gd name="connsiteY38" fmla="*/ 341000 h 349382"/>
                <a:gd name="connsiteX39" fmla="*/ 2645748 w 2663946"/>
                <a:gd name="connsiteY39" fmla="*/ 343703 h 349382"/>
                <a:gd name="connsiteX40" fmla="*/ 2640095 w 2663946"/>
                <a:gd name="connsiteY40" fmla="*/ 346948 h 349382"/>
                <a:gd name="connsiteX41" fmla="*/ 2632229 w 2663946"/>
                <a:gd name="connsiteY41" fmla="*/ 349111 h 349382"/>
                <a:gd name="connsiteX42" fmla="*/ 2631000 w 2663946"/>
                <a:gd name="connsiteY42" fmla="*/ 349382 h 349382"/>
                <a:gd name="connsiteX43" fmla="*/ 2626821 w 2663946"/>
                <a:gd name="connsiteY43" fmla="*/ 349382 h 349382"/>
                <a:gd name="connsiteX44" fmla="*/ 2626576 w 2663946"/>
                <a:gd name="connsiteY44" fmla="*/ 349382 h 349382"/>
                <a:gd name="connsiteX45" fmla="*/ 2613548 w 2663946"/>
                <a:gd name="connsiteY45" fmla="*/ 344515 h 349382"/>
                <a:gd name="connsiteX46" fmla="*/ 2608878 w 2663946"/>
                <a:gd name="connsiteY46" fmla="*/ 340459 h 349382"/>
                <a:gd name="connsiteX47" fmla="*/ 2605682 w 2663946"/>
                <a:gd name="connsiteY47" fmla="*/ 336674 h 349382"/>
                <a:gd name="connsiteX48" fmla="*/ 2603470 w 2663946"/>
                <a:gd name="connsiteY48" fmla="*/ 333159 h 349382"/>
                <a:gd name="connsiteX49" fmla="*/ 2601258 w 2663946"/>
                <a:gd name="connsiteY49" fmla="*/ 328833 h 349382"/>
                <a:gd name="connsiteX50" fmla="*/ 2600029 w 2663946"/>
                <a:gd name="connsiteY50" fmla="*/ 325858 h 349382"/>
                <a:gd name="connsiteX51" fmla="*/ 2599046 w 2663946"/>
                <a:gd name="connsiteY51" fmla="*/ 322614 h 349382"/>
                <a:gd name="connsiteX52" fmla="*/ 2597816 w 2663946"/>
                <a:gd name="connsiteY52" fmla="*/ 316936 h 349382"/>
                <a:gd name="connsiteX53" fmla="*/ 2597571 w 2663946"/>
                <a:gd name="connsiteY53" fmla="*/ 313962 h 349382"/>
                <a:gd name="connsiteX54" fmla="*/ 2597816 w 2663946"/>
                <a:gd name="connsiteY54" fmla="*/ 314232 h 349382"/>
                <a:gd name="connsiteX55" fmla="*/ 2597816 w 2663946"/>
                <a:gd name="connsiteY55" fmla="*/ 308554 h 349382"/>
                <a:gd name="connsiteX56" fmla="*/ 2597816 w 2663946"/>
                <a:gd name="connsiteY56" fmla="*/ 308284 h 349382"/>
                <a:gd name="connsiteX57" fmla="*/ 2598308 w 2663946"/>
                <a:gd name="connsiteY57" fmla="*/ 303687 h 349382"/>
                <a:gd name="connsiteX58" fmla="*/ 2599537 w 2663946"/>
                <a:gd name="connsiteY58" fmla="*/ 298280 h 349382"/>
                <a:gd name="connsiteX59" fmla="*/ 2600520 w 2663946"/>
                <a:gd name="connsiteY59" fmla="*/ 295035 h 349382"/>
                <a:gd name="connsiteX60" fmla="*/ 2602732 w 2663946"/>
                <a:gd name="connsiteY60" fmla="*/ 289898 h 349382"/>
                <a:gd name="connsiteX61" fmla="*/ 2604945 w 2663946"/>
                <a:gd name="connsiteY61" fmla="*/ 286113 h 349382"/>
                <a:gd name="connsiteX62" fmla="*/ 2607157 w 2663946"/>
                <a:gd name="connsiteY62" fmla="*/ 283138 h 349382"/>
                <a:gd name="connsiteX63" fmla="*/ 2609369 w 2663946"/>
                <a:gd name="connsiteY63" fmla="*/ 280705 h 349382"/>
                <a:gd name="connsiteX64" fmla="*/ 2614039 w 2663946"/>
                <a:gd name="connsiteY64" fmla="*/ 276920 h 349382"/>
                <a:gd name="connsiteX65" fmla="*/ 2617972 w 2663946"/>
                <a:gd name="connsiteY65" fmla="*/ 274757 h 349382"/>
                <a:gd name="connsiteX66" fmla="*/ 2627559 w 2663946"/>
                <a:gd name="connsiteY66" fmla="*/ 272323 h 349382"/>
                <a:gd name="connsiteX67" fmla="*/ 2631061 w 2663946"/>
                <a:gd name="connsiteY67" fmla="*/ 208413 h 349382"/>
                <a:gd name="connsiteX68" fmla="*/ 2621591 w 2663946"/>
                <a:gd name="connsiteY68" fmla="*/ 217687 h 349382"/>
                <a:gd name="connsiteX69" fmla="*/ 2626545 w 2663946"/>
                <a:gd name="connsiteY69" fmla="*/ 225844 h 349382"/>
                <a:gd name="connsiteX70" fmla="*/ 2626545 w 2663946"/>
                <a:gd name="connsiteY70" fmla="*/ 234239 h 349382"/>
                <a:gd name="connsiteX71" fmla="*/ 2631061 w 2663946"/>
                <a:gd name="connsiteY71" fmla="*/ 238662 h 349382"/>
                <a:gd name="connsiteX72" fmla="*/ 2635578 w 2663946"/>
                <a:gd name="connsiteY72" fmla="*/ 234239 h 349382"/>
                <a:gd name="connsiteX73" fmla="*/ 2635578 w 2663946"/>
                <a:gd name="connsiteY73" fmla="*/ 225844 h 349382"/>
                <a:gd name="connsiteX74" fmla="*/ 2640532 w 2663946"/>
                <a:gd name="connsiteY74" fmla="*/ 217687 h 349382"/>
                <a:gd name="connsiteX75" fmla="*/ 2631061 w 2663946"/>
                <a:gd name="connsiteY75" fmla="*/ 208413 h 349382"/>
                <a:gd name="connsiteX76" fmla="*/ 2630799 w 2663946"/>
                <a:gd name="connsiteY76" fmla="*/ 169696 h 349382"/>
                <a:gd name="connsiteX77" fmla="*/ 2619139 w 2663946"/>
                <a:gd name="connsiteY77" fmla="*/ 177425 h 349382"/>
                <a:gd name="connsiteX78" fmla="*/ 2618214 w 2663946"/>
                <a:gd name="connsiteY78" fmla="*/ 182008 h 349382"/>
                <a:gd name="connsiteX79" fmla="*/ 2621454 w 2663946"/>
                <a:gd name="connsiteY79" fmla="*/ 182008 h 349382"/>
                <a:gd name="connsiteX80" fmla="*/ 2639871 w 2663946"/>
                <a:gd name="connsiteY80" fmla="*/ 182008 h 349382"/>
                <a:gd name="connsiteX81" fmla="*/ 2643385 w 2663946"/>
                <a:gd name="connsiteY81" fmla="*/ 182008 h 349382"/>
                <a:gd name="connsiteX82" fmla="*/ 2642460 w 2663946"/>
                <a:gd name="connsiteY82" fmla="*/ 177425 h 349382"/>
                <a:gd name="connsiteX83" fmla="*/ 2630799 w 2663946"/>
                <a:gd name="connsiteY83" fmla="*/ 169696 h 349382"/>
                <a:gd name="connsiteX84" fmla="*/ 2630799 w 2663946"/>
                <a:gd name="connsiteY84" fmla="*/ 157041 h 349382"/>
                <a:gd name="connsiteX85" fmla="*/ 2655595 w 2663946"/>
                <a:gd name="connsiteY85" fmla="*/ 177250 h 349382"/>
                <a:gd name="connsiteX86" fmla="*/ 2656074 w 2663946"/>
                <a:gd name="connsiteY86" fmla="*/ 182008 h 349382"/>
                <a:gd name="connsiteX87" fmla="*/ 2657493 w 2663946"/>
                <a:gd name="connsiteY87" fmla="*/ 182008 h 349382"/>
                <a:gd name="connsiteX88" fmla="*/ 2663946 w 2663946"/>
                <a:gd name="connsiteY88" fmla="*/ 188294 h 349382"/>
                <a:gd name="connsiteX89" fmla="*/ 2663946 w 2663946"/>
                <a:gd name="connsiteY89" fmla="*/ 238016 h 349382"/>
                <a:gd name="connsiteX90" fmla="*/ 2657493 w 2663946"/>
                <a:gd name="connsiteY90" fmla="*/ 244302 h 349382"/>
                <a:gd name="connsiteX91" fmla="*/ 2604106 w 2663946"/>
                <a:gd name="connsiteY91" fmla="*/ 244302 h 349382"/>
                <a:gd name="connsiteX92" fmla="*/ 2597652 w 2663946"/>
                <a:gd name="connsiteY92" fmla="*/ 238016 h 349382"/>
                <a:gd name="connsiteX93" fmla="*/ 2597652 w 2663946"/>
                <a:gd name="connsiteY93" fmla="*/ 188294 h 349382"/>
                <a:gd name="connsiteX94" fmla="*/ 2604106 w 2663946"/>
                <a:gd name="connsiteY94" fmla="*/ 182008 h 349382"/>
                <a:gd name="connsiteX95" fmla="*/ 2604940 w 2663946"/>
                <a:gd name="connsiteY95" fmla="*/ 182008 h 349382"/>
                <a:gd name="connsiteX96" fmla="*/ 2605524 w 2663946"/>
                <a:gd name="connsiteY96" fmla="*/ 182008 h 349382"/>
                <a:gd name="connsiteX97" fmla="*/ 2606004 w 2663946"/>
                <a:gd name="connsiteY97" fmla="*/ 177250 h 349382"/>
                <a:gd name="connsiteX98" fmla="*/ 2630799 w 2663946"/>
                <a:gd name="connsiteY98" fmla="*/ 157041 h 349382"/>
                <a:gd name="connsiteX99" fmla="*/ 33409 w 2663946"/>
                <a:gd name="connsiteY99" fmla="*/ 104187 h 349382"/>
                <a:gd name="connsiteX100" fmla="*/ 23938 w 2663946"/>
                <a:gd name="connsiteY100" fmla="*/ 113461 h 349382"/>
                <a:gd name="connsiteX101" fmla="*/ 28892 w 2663946"/>
                <a:gd name="connsiteY101" fmla="*/ 121618 h 349382"/>
                <a:gd name="connsiteX102" fmla="*/ 28892 w 2663946"/>
                <a:gd name="connsiteY102" fmla="*/ 130013 h 349382"/>
                <a:gd name="connsiteX103" fmla="*/ 33409 w 2663946"/>
                <a:gd name="connsiteY103" fmla="*/ 134436 h 349382"/>
                <a:gd name="connsiteX104" fmla="*/ 37926 w 2663946"/>
                <a:gd name="connsiteY104" fmla="*/ 130013 h 349382"/>
                <a:gd name="connsiteX105" fmla="*/ 37926 w 2663946"/>
                <a:gd name="connsiteY105" fmla="*/ 121618 h 349382"/>
                <a:gd name="connsiteX106" fmla="*/ 42880 w 2663946"/>
                <a:gd name="connsiteY106" fmla="*/ 113461 h 349382"/>
                <a:gd name="connsiteX107" fmla="*/ 33409 w 2663946"/>
                <a:gd name="connsiteY107" fmla="*/ 104187 h 349382"/>
                <a:gd name="connsiteX108" fmla="*/ 2538193 w 2663946"/>
                <a:gd name="connsiteY108" fmla="*/ 96599 h 349382"/>
                <a:gd name="connsiteX109" fmla="*/ 2528723 w 2663946"/>
                <a:gd name="connsiteY109" fmla="*/ 105873 h 349382"/>
                <a:gd name="connsiteX110" fmla="*/ 2533677 w 2663946"/>
                <a:gd name="connsiteY110" fmla="*/ 114030 h 349382"/>
                <a:gd name="connsiteX111" fmla="*/ 2533677 w 2663946"/>
                <a:gd name="connsiteY111" fmla="*/ 122425 h 349382"/>
                <a:gd name="connsiteX112" fmla="*/ 2538193 w 2663946"/>
                <a:gd name="connsiteY112" fmla="*/ 126848 h 349382"/>
                <a:gd name="connsiteX113" fmla="*/ 2542710 w 2663946"/>
                <a:gd name="connsiteY113" fmla="*/ 122425 h 349382"/>
                <a:gd name="connsiteX114" fmla="*/ 2542710 w 2663946"/>
                <a:gd name="connsiteY114" fmla="*/ 114030 h 349382"/>
                <a:gd name="connsiteX115" fmla="*/ 2547664 w 2663946"/>
                <a:gd name="connsiteY115" fmla="*/ 105873 h 349382"/>
                <a:gd name="connsiteX116" fmla="*/ 2538193 w 2663946"/>
                <a:gd name="connsiteY116" fmla="*/ 96599 h 349382"/>
                <a:gd name="connsiteX117" fmla="*/ 2113196 w 2663946"/>
                <a:gd name="connsiteY117" fmla="*/ 96599 h 349382"/>
                <a:gd name="connsiteX118" fmla="*/ 2103726 w 2663946"/>
                <a:gd name="connsiteY118" fmla="*/ 105873 h 349382"/>
                <a:gd name="connsiteX119" fmla="*/ 2108680 w 2663946"/>
                <a:gd name="connsiteY119" fmla="*/ 114030 h 349382"/>
                <a:gd name="connsiteX120" fmla="*/ 2108680 w 2663946"/>
                <a:gd name="connsiteY120" fmla="*/ 122425 h 349382"/>
                <a:gd name="connsiteX121" fmla="*/ 2113196 w 2663946"/>
                <a:gd name="connsiteY121" fmla="*/ 126848 h 349382"/>
                <a:gd name="connsiteX122" fmla="*/ 2117713 w 2663946"/>
                <a:gd name="connsiteY122" fmla="*/ 122425 h 349382"/>
                <a:gd name="connsiteX123" fmla="*/ 2117713 w 2663946"/>
                <a:gd name="connsiteY123" fmla="*/ 114030 h 349382"/>
                <a:gd name="connsiteX124" fmla="*/ 2122667 w 2663946"/>
                <a:gd name="connsiteY124" fmla="*/ 105873 h 349382"/>
                <a:gd name="connsiteX125" fmla="*/ 2113196 w 2663946"/>
                <a:gd name="connsiteY125" fmla="*/ 96599 h 349382"/>
                <a:gd name="connsiteX126" fmla="*/ 1855228 w 2663946"/>
                <a:gd name="connsiteY126" fmla="*/ 96599 h 349382"/>
                <a:gd name="connsiteX127" fmla="*/ 1845758 w 2663946"/>
                <a:gd name="connsiteY127" fmla="*/ 105873 h 349382"/>
                <a:gd name="connsiteX128" fmla="*/ 1850712 w 2663946"/>
                <a:gd name="connsiteY128" fmla="*/ 114030 h 349382"/>
                <a:gd name="connsiteX129" fmla="*/ 1850712 w 2663946"/>
                <a:gd name="connsiteY129" fmla="*/ 122425 h 349382"/>
                <a:gd name="connsiteX130" fmla="*/ 1855228 w 2663946"/>
                <a:gd name="connsiteY130" fmla="*/ 126848 h 349382"/>
                <a:gd name="connsiteX131" fmla="*/ 1859745 w 2663946"/>
                <a:gd name="connsiteY131" fmla="*/ 122425 h 349382"/>
                <a:gd name="connsiteX132" fmla="*/ 1859745 w 2663946"/>
                <a:gd name="connsiteY132" fmla="*/ 114030 h 349382"/>
                <a:gd name="connsiteX133" fmla="*/ 1864699 w 2663946"/>
                <a:gd name="connsiteY133" fmla="*/ 105873 h 349382"/>
                <a:gd name="connsiteX134" fmla="*/ 1855228 w 2663946"/>
                <a:gd name="connsiteY134" fmla="*/ 96599 h 349382"/>
                <a:gd name="connsiteX135" fmla="*/ 1764289 w 2663946"/>
                <a:gd name="connsiteY135" fmla="*/ 96599 h 349382"/>
                <a:gd name="connsiteX136" fmla="*/ 1754819 w 2663946"/>
                <a:gd name="connsiteY136" fmla="*/ 105873 h 349382"/>
                <a:gd name="connsiteX137" fmla="*/ 1759773 w 2663946"/>
                <a:gd name="connsiteY137" fmla="*/ 114030 h 349382"/>
                <a:gd name="connsiteX138" fmla="*/ 1759773 w 2663946"/>
                <a:gd name="connsiteY138" fmla="*/ 122425 h 349382"/>
                <a:gd name="connsiteX139" fmla="*/ 1764289 w 2663946"/>
                <a:gd name="connsiteY139" fmla="*/ 126848 h 349382"/>
                <a:gd name="connsiteX140" fmla="*/ 1768806 w 2663946"/>
                <a:gd name="connsiteY140" fmla="*/ 122425 h 349382"/>
                <a:gd name="connsiteX141" fmla="*/ 1768806 w 2663946"/>
                <a:gd name="connsiteY141" fmla="*/ 114030 h 349382"/>
                <a:gd name="connsiteX142" fmla="*/ 1773760 w 2663946"/>
                <a:gd name="connsiteY142" fmla="*/ 105873 h 349382"/>
                <a:gd name="connsiteX143" fmla="*/ 1764289 w 2663946"/>
                <a:gd name="connsiteY143" fmla="*/ 96599 h 349382"/>
                <a:gd name="connsiteX144" fmla="*/ 1506321 w 2663946"/>
                <a:gd name="connsiteY144" fmla="*/ 96599 h 349382"/>
                <a:gd name="connsiteX145" fmla="*/ 1496851 w 2663946"/>
                <a:gd name="connsiteY145" fmla="*/ 105873 h 349382"/>
                <a:gd name="connsiteX146" fmla="*/ 1501805 w 2663946"/>
                <a:gd name="connsiteY146" fmla="*/ 114030 h 349382"/>
                <a:gd name="connsiteX147" fmla="*/ 1501805 w 2663946"/>
                <a:gd name="connsiteY147" fmla="*/ 122425 h 349382"/>
                <a:gd name="connsiteX148" fmla="*/ 1506321 w 2663946"/>
                <a:gd name="connsiteY148" fmla="*/ 126848 h 349382"/>
                <a:gd name="connsiteX149" fmla="*/ 1510838 w 2663946"/>
                <a:gd name="connsiteY149" fmla="*/ 122425 h 349382"/>
                <a:gd name="connsiteX150" fmla="*/ 1510838 w 2663946"/>
                <a:gd name="connsiteY150" fmla="*/ 114030 h 349382"/>
                <a:gd name="connsiteX151" fmla="*/ 1515792 w 2663946"/>
                <a:gd name="connsiteY151" fmla="*/ 105873 h 349382"/>
                <a:gd name="connsiteX152" fmla="*/ 1506321 w 2663946"/>
                <a:gd name="connsiteY152" fmla="*/ 96599 h 349382"/>
                <a:gd name="connsiteX153" fmla="*/ 1415382 w 2663946"/>
                <a:gd name="connsiteY153" fmla="*/ 96599 h 349382"/>
                <a:gd name="connsiteX154" fmla="*/ 1405912 w 2663946"/>
                <a:gd name="connsiteY154" fmla="*/ 105873 h 349382"/>
                <a:gd name="connsiteX155" fmla="*/ 1410866 w 2663946"/>
                <a:gd name="connsiteY155" fmla="*/ 114030 h 349382"/>
                <a:gd name="connsiteX156" fmla="*/ 1410866 w 2663946"/>
                <a:gd name="connsiteY156" fmla="*/ 122425 h 349382"/>
                <a:gd name="connsiteX157" fmla="*/ 1415382 w 2663946"/>
                <a:gd name="connsiteY157" fmla="*/ 126848 h 349382"/>
                <a:gd name="connsiteX158" fmla="*/ 1419899 w 2663946"/>
                <a:gd name="connsiteY158" fmla="*/ 122425 h 349382"/>
                <a:gd name="connsiteX159" fmla="*/ 1419899 w 2663946"/>
                <a:gd name="connsiteY159" fmla="*/ 114030 h 349382"/>
                <a:gd name="connsiteX160" fmla="*/ 1424853 w 2663946"/>
                <a:gd name="connsiteY160" fmla="*/ 105873 h 349382"/>
                <a:gd name="connsiteX161" fmla="*/ 1415382 w 2663946"/>
                <a:gd name="connsiteY161" fmla="*/ 96599 h 349382"/>
                <a:gd name="connsiteX162" fmla="*/ 1157414 w 2663946"/>
                <a:gd name="connsiteY162" fmla="*/ 96599 h 349382"/>
                <a:gd name="connsiteX163" fmla="*/ 1147944 w 2663946"/>
                <a:gd name="connsiteY163" fmla="*/ 105873 h 349382"/>
                <a:gd name="connsiteX164" fmla="*/ 1152898 w 2663946"/>
                <a:gd name="connsiteY164" fmla="*/ 114030 h 349382"/>
                <a:gd name="connsiteX165" fmla="*/ 1152898 w 2663946"/>
                <a:gd name="connsiteY165" fmla="*/ 122425 h 349382"/>
                <a:gd name="connsiteX166" fmla="*/ 1157414 w 2663946"/>
                <a:gd name="connsiteY166" fmla="*/ 126848 h 349382"/>
                <a:gd name="connsiteX167" fmla="*/ 1161931 w 2663946"/>
                <a:gd name="connsiteY167" fmla="*/ 122425 h 349382"/>
                <a:gd name="connsiteX168" fmla="*/ 1161931 w 2663946"/>
                <a:gd name="connsiteY168" fmla="*/ 114030 h 349382"/>
                <a:gd name="connsiteX169" fmla="*/ 1166885 w 2663946"/>
                <a:gd name="connsiteY169" fmla="*/ 105873 h 349382"/>
                <a:gd name="connsiteX170" fmla="*/ 1157414 w 2663946"/>
                <a:gd name="connsiteY170" fmla="*/ 96599 h 349382"/>
                <a:gd name="connsiteX171" fmla="*/ 732418 w 2663946"/>
                <a:gd name="connsiteY171" fmla="*/ 96599 h 349382"/>
                <a:gd name="connsiteX172" fmla="*/ 722947 w 2663946"/>
                <a:gd name="connsiteY172" fmla="*/ 105873 h 349382"/>
                <a:gd name="connsiteX173" fmla="*/ 727901 w 2663946"/>
                <a:gd name="connsiteY173" fmla="*/ 114030 h 349382"/>
                <a:gd name="connsiteX174" fmla="*/ 727901 w 2663946"/>
                <a:gd name="connsiteY174" fmla="*/ 122425 h 349382"/>
                <a:gd name="connsiteX175" fmla="*/ 732418 w 2663946"/>
                <a:gd name="connsiteY175" fmla="*/ 126848 h 349382"/>
                <a:gd name="connsiteX176" fmla="*/ 736935 w 2663946"/>
                <a:gd name="connsiteY176" fmla="*/ 122425 h 349382"/>
                <a:gd name="connsiteX177" fmla="*/ 736935 w 2663946"/>
                <a:gd name="connsiteY177" fmla="*/ 114030 h 349382"/>
                <a:gd name="connsiteX178" fmla="*/ 741889 w 2663946"/>
                <a:gd name="connsiteY178" fmla="*/ 105873 h 349382"/>
                <a:gd name="connsiteX179" fmla="*/ 732418 w 2663946"/>
                <a:gd name="connsiteY179" fmla="*/ 96599 h 349382"/>
                <a:gd name="connsiteX180" fmla="*/ 641479 w 2663946"/>
                <a:gd name="connsiteY180" fmla="*/ 96599 h 349382"/>
                <a:gd name="connsiteX181" fmla="*/ 632008 w 2663946"/>
                <a:gd name="connsiteY181" fmla="*/ 105873 h 349382"/>
                <a:gd name="connsiteX182" fmla="*/ 636962 w 2663946"/>
                <a:gd name="connsiteY182" fmla="*/ 114030 h 349382"/>
                <a:gd name="connsiteX183" fmla="*/ 636962 w 2663946"/>
                <a:gd name="connsiteY183" fmla="*/ 122425 h 349382"/>
                <a:gd name="connsiteX184" fmla="*/ 641479 w 2663946"/>
                <a:gd name="connsiteY184" fmla="*/ 126848 h 349382"/>
                <a:gd name="connsiteX185" fmla="*/ 645996 w 2663946"/>
                <a:gd name="connsiteY185" fmla="*/ 122425 h 349382"/>
                <a:gd name="connsiteX186" fmla="*/ 645996 w 2663946"/>
                <a:gd name="connsiteY186" fmla="*/ 114030 h 349382"/>
                <a:gd name="connsiteX187" fmla="*/ 650950 w 2663946"/>
                <a:gd name="connsiteY187" fmla="*/ 105873 h 349382"/>
                <a:gd name="connsiteX188" fmla="*/ 641479 w 2663946"/>
                <a:gd name="connsiteY188" fmla="*/ 96599 h 349382"/>
                <a:gd name="connsiteX189" fmla="*/ 459528 w 2663946"/>
                <a:gd name="connsiteY189" fmla="*/ 96599 h 349382"/>
                <a:gd name="connsiteX190" fmla="*/ 450057 w 2663946"/>
                <a:gd name="connsiteY190" fmla="*/ 105873 h 349382"/>
                <a:gd name="connsiteX191" fmla="*/ 455011 w 2663946"/>
                <a:gd name="connsiteY191" fmla="*/ 114030 h 349382"/>
                <a:gd name="connsiteX192" fmla="*/ 455011 w 2663946"/>
                <a:gd name="connsiteY192" fmla="*/ 122425 h 349382"/>
                <a:gd name="connsiteX193" fmla="*/ 459528 w 2663946"/>
                <a:gd name="connsiteY193" fmla="*/ 126848 h 349382"/>
                <a:gd name="connsiteX194" fmla="*/ 464045 w 2663946"/>
                <a:gd name="connsiteY194" fmla="*/ 122425 h 349382"/>
                <a:gd name="connsiteX195" fmla="*/ 464045 w 2663946"/>
                <a:gd name="connsiteY195" fmla="*/ 114030 h 349382"/>
                <a:gd name="connsiteX196" fmla="*/ 468999 w 2663946"/>
                <a:gd name="connsiteY196" fmla="*/ 105873 h 349382"/>
                <a:gd name="connsiteX197" fmla="*/ 459528 w 2663946"/>
                <a:gd name="connsiteY197" fmla="*/ 96599 h 349382"/>
                <a:gd name="connsiteX198" fmla="*/ 2632966 w 2663946"/>
                <a:gd name="connsiteY198" fmla="*/ 69406 h 349382"/>
                <a:gd name="connsiteX199" fmla="*/ 2621414 w 2663946"/>
                <a:gd name="connsiteY199" fmla="*/ 71839 h 349382"/>
                <a:gd name="connsiteX200" fmla="*/ 2618218 w 2663946"/>
                <a:gd name="connsiteY200" fmla="*/ 75354 h 349382"/>
                <a:gd name="connsiteX201" fmla="*/ 2616006 w 2663946"/>
                <a:gd name="connsiteY201" fmla="*/ 79139 h 349382"/>
                <a:gd name="connsiteX202" fmla="*/ 2615023 w 2663946"/>
                <a:gd name="connsiteY202" fmla="*/ 81843 h 349382"/>
                <a:gd name="connsiteX203" fmla="*/ 2614039 w 2663946"/>
                <a:gd name="connsiteY203" fmla="*/ 85899 h 349382"/>
                <a:gd name="connsiteX204" fmla="*/ 2613056 w 2663946"/>
                <a:gd name="connsiteY204" fmla="*/ 92929 h 349382"/>
                <a:gd name="connsiteX205" fmla="*/ 2614039 w 2663946"/>
                <a:gd name="connsiteY205" fmla="*/ 100229 h 349382"/>
                <a:gd name="connsiteX206" fmla="*/ 2615269 w 2663946"/>
                <a:gd name="connsiteY206" fmla="*/ 104014 h 349382"/>
                <a:gd name="connsiteX207" fmla="*/ 2617481 w 2663946"/>
                <a:gd name="connsiteY207" fmla="*/ 108340 h 349382"/>
                <a:gd name="connsiteX208" fmla="*/ 2620922 w 2663946"/>
                <a:gd name="connsiteY208" fmla="*/ 112667 h 349382"/>
                <a:gd name="connsiteX209" fmla="*/ 2625346 w 2663946"/>
                <a:gd name="connsiteY209" fmla="*/ 115370 h 349382"/>
                <a:gd name="connsiteX210" fmla="*/ 2637637 w 2663946"/>
                <a:gd name="connsiteY210" fmla="*/ 112937 h 349382"/>
                <a:gd name="connsiteX211" fmla="*/ 2640832 w 2663946"/>
                <a:gd name="connsiteY211" fmla="*/ 109422 h 349382"/>
                <a:gd name="connsiteX212" fmla="*/ 2643290 w 2663946"/>
                <a:gd name="connsiteY212" fmla="*/ 105096 h 349382"/>
                <a:gd name="connsiteX213" fmla="*/ 2644273 w 2663946"/>
                <a:gd name="connsiteY213" fmla="*/ 102933 h 349382"/>
                <a:gd name="connsiteX214" fmla="*/ 2645502 w 2663946"/>
                <a:gd name="connsiteY214" fmla="*/ 98607 h 349382"/>
                <a:gd name="connsiteX215" fmla="*/ 2645011 w 2663946"/>
                <a:gd name="connsiteY215" fmla="*/ 84817 h 349382"/>
                <a:gd name="connsiteX216" fmla="*/ 2644027 w 2663946"/>
                <a:gd name="connsiteY216" fmla="*/ 81843 h 349382"/>
                <a:gd name="connsiteX217" fmla="*/ 2642799 w 2663946"/>
                <a:gd name="connsiteY217" fmla="*/ 78869 h 349382"/>
                <a:gd name="connsiteX218" fmla="*/ 2640586 w 2663946"/>
                <a:gd name="connsiteY218" fmla="*/ 75354 h 349382"/>
                <a:gd name="connsiteX219" fmla="*/ 2636899 w 2663946"/>
                <a:gd name="connsiteY219" fmla="*/ 71569 h 349382"/>
                <a:gd name="connsiteX220" fmla="*/ 2632966 w 2663946"/>
                <a:gd name="connsiteY220" fmla="*/ 69406 h 349382"/>
                <a:gd name="connsiteX221" fmla="*/ 2451011 w 2663946"/>
                <a:gd name="connsiteY221" fmla="*/ 69406 h 349382"/>
                <a:gd name="connsiteX222" fmla="*/ 2439459 w 2663946"/>
                <a:gd name="connsiteY222" fmla="*/ 71839 h 349382"/>
                <a:gd name="connsiteX223" fmla="*/ 2436263 w 2663946"/>
                <a:gd name="connsiteY223" fmla="*/ 75354 h 349382"/>
                <a:gd name="connsiteX224" fmla="*/ 2434051 w 2663946"/>
                <a:gd name="connsiteY224" fmla="*/ 79139 h 349382"/>
                <a:gd name="connsiteX225" fmla="*/ 2433068 w 2663946"/>
                <a:gd name="connsiteY225" fmla="*/ 81843 h 349382"/>
                <a:gd name="connsiteX226" fmla="*/ 2432084 w 2663946"/>
                <a:gd name="connsiteY226" fmla="*/ 85899 h 349382"/>
                <a:gd name="connsiteX227" fmla="*/ 2431101 w 2663946"/>
                <a:gd name="connsiteY227" fmla="*/ 92929 h 349382"/>
                <a:gd name="connsiteX228" fmla="*/ 2432084 w 2663946"/>
                <a:gd name="connsiteY228" fmla="*/ 100229 h 349382"/>
                <a:gd name="connsiteX229" fmla="*/ 2433314 w 2663946"/>
                <a:gd name="connsiteY229" fmla="*/ 104014 h 349382"/>
                <a:gd name="connsiteX230" fmla="*/ 2435526 w 2663946"/>
                <a:gd name="connsiteY230" fmla="*/ 108340 h 349382"/>
                <a:gd name="connsiteX231" fmla="*/ 2438967 w 2663946"/>
                <a:gd name="connsiteY231" fmla="*/ 112667 h 349382"/>
                <a:gd name="connsiteX232" fmla="*/ 2443391 w 2663946"/>
                <a:gd name="connsiteY232" fmla="*/ 115370 h 349382"/>
                <a:gd name="connsiteX233" fmla="*/ 2455682 w 2663946"/>
                <a:gd name="connsiteY233" fmla="*/ 112937 h 349382"/>
                <a:gd name="connsiteX234" fmla="*/ 2458877 w 2663946"/>
                <a:gd name="connsiteY234" fmla="*/ 109422 h 349382"/>
                <a:gd name="connsiteX235" fmla="*/ 2461335 w 2663946"/>
                <a:gd name="connsiteY235" fmla="*/ 105096 h 349382"/>
                <a:gd name="connsiteX236" fmla="*/ 2462318 w 2663946"/>
                <a:gd name="connsiteY236" fmla="*/ 102933 h 349382"/>
                <a:gd name="connsiteX237" fmla="*/ 2463547 w 2663946"/>
                <a:gd name="connsiteY237" fmla="*/ 98607 h 349382"/>
                <a:gd name="connsiteX238" fmla="*/ 2463056 w 2663946"/>
                <a:gd name="connsiteY238" fmla="*/ 84817 h 349382"/>
                <a:gd name="connsiteX239" fmla="*/ 2462072 w 2663946"/>
                <a:gd name="connsiteY239" fmla="*/ 81843 h 349382"/>
                <a:gd name="connsiteX240" fmla="*/ 2460844 w 2663946"/>
                <a:gd name="connsiteY240" fmla="*/ 78869 h 349382"/>
                <a:gd name="connsiteX241" fmla="*/ 2458631 w 2663946"/>
                <a:gd name="connsiteY241" fmla="*/ 75354 h 349382"/>
                <a:gd name="connsiteX242" fmla="*/ 2454944 w 2663946"/>
                <a:gd name="connsiteY242" fmla="*/ 71569 h 349382"/>
                <a:gd name="connsiteX243" fmla="*/ 2451011 w 2663946"/>
                <a:gd name="connsiteY243" fmla="*/ 69406 h 349382"/>
                <a:gd name="connsiteX244" fmla="*/ 2207965 w 2663946"/>
                <a:gd name="connsiteY244" fmla="*/ 69406 h 349382"/>
                <a:gd name="connsiteX245" fmla="*/ 2196413 w 2663946"/>
                <a:gd name="connsiteY245" fmla="*/ 71839 h 349382"/>
                <a:gd name="connsiteX246" fmla="*/ 2193217 w 2663946"/>
                <a:gd name="connsiteY246" fmla="*/ 75354 h 349382"/>
                <a:gd name="connsiteX247" fmla="*/ 2191005 w 2663946"/>
                <a:gd name="connsiteY247" fmla="*/ 79139 h 349382"/>
                <a:gd name="connsiteX248" fmla="*/ 2190022 w 2663946"/>
                <a:gd name="connsiteY248" fmla="*/ 81843 h 349382"/>
                <a:gd name="connsiteX249" fmla="*/ 2189038 w 2663946"/>
                <a:gd name="connsiteY249" fmla="*/ 85899 h 349382"/>
                <a:gd name="connsiteX250" fmla="*/ 2188055 w 2663946"/>
                <a:gd name="connsiteY250" fmla="*/ 92929 h 349382"/>
                <a:gd name="connsiteX251" fmla="*/ 2189038 w 2663946"/>
                <a:gd name="connsiteY251" fmla="*/ 100229 h 349382"/>
                <a:gd name="connsiteX252" fmla="*/ 2190268 w 2663946"/>
                <a:gd name="connsiteY252" fmla="*/ 104014 h 349382"/>
                <a:gd name="connsiteX253" fmla="*/ 2192480 w 2663946"/>
                <a:gd name="connsiteY253" fmla="*/ 108340 h 349382"/>
                <a:gd name="connsiteX254" fmla="*/ 2195921 w 2663946"/>
                <a:gd name="connsiteY254" fmla="*/ 112667 h 349382"/>
                <a:gd name="connsiteX255" fmla="*/ 2200345 w 2663946"/>
                <a:gd name="connsiteY255" fmla="*/ 115370 h 349382"/>
                <a:gd name="connsiteX256" fmla="*/ 2212636 w 2663946"/>
                <a:gd name="connsiteY256" fmla="*/ 112937 h 349382"/>
                <a:gd name="connsiteX257" fmla="*/ 2215831 w 2663946"/>
                <a:gd name="connsiteY257" fmla="*/ 109422 h 349382"/>
                <a:gd name="connsiteX258" fmla="*/ 2218289 w 2663946"/>
                <a:gd name="connsiteY258" fmla="*/ 105096 h 349382"/>
                <a:gd name="connsiteX259" fmla="*/ 2219272 w 2663946"/>
                <a:gd name="connsiteY259" fmla="*/ 102933 h 349382"/>
                <a:gd name="connsiteX260" fmla="*/ 2220501 w 2663946"/>
                <a:gd name="connsiteY260" fmla="*/ 98607 h 349382"/>
                <a:gd name="connsiteX261" fmla="*/ 2220010 w 2663946"/>
                <a:gd name="connsiteY261" fmla="*/ 84817 h 349382"/>
                <a:gd name="connsiteX262" fmla="*/ 2219026 w 2663946"/>
                <a:gd name="connsiteY262" fmla="*/ 81843 h 349382"/>
                <a:gd name="connsiteX263" fmla="*/ 2217798 w 2663946"/>
                <a:gd name="connsiteY263" fmla="*/ 78869 h 349382"/>
                <a:gd name="connsiteX264" fmla="*/ 2215585 w 2663946"/>
                <a:gd name="connsiteY264" fmla="*/ 75354 h 349382"/>
                <a:gd name="connsiteX265" fmla="*/ 2211898 w 2663946"/>
                <a:gd name="connsiteY265" fmla="*/ 71569 h 349382"/>
                <a:gd name="connsiteX266" fmla="*/ 2207965 w 2663946"/>
                <a:gd name="connsiteY266" fmla="*/ 69406 h 349382"/>
                <a:gd name="connsiteX267" fmla="*/ 2026014 w 2663946"/>
                <a:gd name="connsiteY267" fmla="*/ 69406 h 349382"/>
                <a:gd name="connsiteX268" fmla="*/ 2014462 w 2663946"/>
                <a:gd name="connsiteY268" fmla="*/ 71839 h 349382"/>
                <a:gd name="connsiteX269" fmla="*/ 2011266 w 2663946"/>
                <a:gd name="connsiteY269" fmla="*/ 75354 h 349382"/>
                <a:gd name="connsiteX270" fmla="*/ 2009054 w 2663946"/>
                <a:gd name="connsiteY270" fmla="*/ 79139 h 349382"/>
                <a:gd name="connsiteX271" fmla="*/ 2008071 w 2663946"/>
                <a:gd name="connsiteY271" fmla="*/ 81843 h 349382"/>
                <a:gd name="connsiteX272" fmla="*/ 2007087 w 2663946"/>
                <a:gd name="connsiteY272" fmla="*/ 85899 h 349382"/>
                <a:gd name="connsiteX273" fmla="*/ 2006104 w 2663946"/>
                <a:gd name="connsiteY273" fmla="*/ 92929 h 349382"/>
                <a:gd name="connsiteX274" fmla="*/ 2007087 w 2663946"/>
                <a:gd name="connsiteY274" fmla="*/ 100229 h 349382"/>
                <a:gd name="connsiteX275" fmla="*/ 2008317 w 2663946"/>
                <a:gd name="connsiteY275" fmla="*/ 104014 h 349382"/>
                <a:gd name="connsiteX276" fmla="*/ 2010529 w 2663946"/>
                <a:gd name="connsiteY276" fmla="*/ 108340 h 349382"/>
                <a:gd name="connsiteX277" fmla="*/ 2013970 w 2663946"/>
                <a:gd name="connsiteY277" fmla="*/ 112667 h 349382"/>
                <a:gd name="connsiteX278" fmla="*/ 2018394 w 2663946"/>
                <a:gd name="connsiteY278" fmla="*/ 115370 h 349382"/>
                <a:gd name="connsiteX279" fmla="*/ 2030685 w 2663946"/>
                <a:gd name="connsiteY279" fmla="*/ 112937 h 349382"/>
                <a:gd name="connsiteX280" fmla="*/ 2033880 w 2663946"/>
                <a:gd name="connsiteY280" fmla="*/ 109422 h 349382"/>
                <a:gd name="connsiteX281" fmla="*/ 2036338 w 2663946"/>
                <a:gd name="connsiteY281" fmla="*/ 105096 h 349382"/>
                <a:gd name="connsiteX282" fmla="*/ 2037321 w 2663946"/>
                <a:gd name="connsiteY282" fmla="*/ 102933 h 349382"/>
                <a:gd name="connsiteX283" fmla="*/ 2038550 w 2663946"/>
                <a:gd name="connsiteY283" fmla="*/ 98607 h 349382"/>
                <a:gd name="connsiteX284" fmla="*/ 2038059 w 2663946"/>
                <a:gd name="connsiteY284" fmla="*/ 84817 h 349382"/>
                <a:gd name="connsiteX285" fmla="*/ 2037075 w 2663946"/>
                <a:gd name="connsiteY285" fmla="*/ 81843 h 349382"/>
                <a:gd name="connsiteX286" fmla="*/ 2035847 w 2663946"/>
                <a:gd name="connsiteY286" fmla="*/ 78869 h 349382"/>
                <a:gd name="connsiteX287" fmla="*/ 2033634 w 2663946"/>
                <a:gd name="connsiteY287" fmla="*/ 75354 h 349382"/>
                <a:gd name="connsiteX288" fmla="*/ 2029947 w 2663946"/>
                <a:gd name="connsiteY288" fmla="*/ 71569 h 349382"/>
                <a:gd name="connsiteX289" fmla="*/ 2026014 w 2663946"/>
                <a:gd name="connsiteY289" fmla="*/ 69406 h 349382"/>
                <a:gd name="connsiteX290" fmla="*/ 1601090 w 2663946"/>
                <a:gd name="connsiteY290" fmla="*/ 69406 h 349382"/>
                <a:gd name="connsiteX291" fmla="*/ 1589537 w 2663946"/>
                <a:gd name="connsiteY291" fmla="*/ 71839 h 349382"/>
                <a:gd name="connsiteX292" fmla="*/ 1586342 w 2663946"/>
                <a:gd name="connsiteY292" fmla="*/ 75354 h 349382"/>
                <a:gd name="connsiteX293" fmla="*/ 1584130 w 2663946"/>
                <a:gd name="connsiteY293" fmla="*/ 79139 h 349382"/>
                <a:gd name="connsiteX294" fmla="*/ 1583147 w 2663946"/>
                <a:gd name="connsiteY294" fmla="*/ 81843 h 349382"/>
                <a:gd name="connsiteX295" fmla="*/ 1582163 w 2663946"/>
                <a:gd name="connsiteY295" fmla="*/ 85899 h 349382"/>
                <a:gd name="connsiteX296" fmla="*/ 1581180 w 2663946"/>
                <a:gd name="connsiteY296" fmla="*/ 92929 h 349382"/>
                <a:gd name="connsiteX297" fmla="*/ 1582163 w 2663946"/>
                <a:gd name="connsiteY297" fmla="*/ 100229 h 349382"/>
                <a:gd name="connsiteX298" fmla="*/ 1583393 w 2663946"/>
                <a:gd name="connsiteY298" fmla="*/ 104014 h 349382"/>
                <a:gd name="connsiteX299" fmla="*/ 1585605 w 2663946"/>
                <a:gd name="connsiteY299" fmla="*/ 108340 h 349382"/>
                <a:gd name="connsiteX300" fmla="*/ 1589046 w 2663946"/>
                <a:gd name="connsiteY300" fmla="*/ 112667 h 349382"/>
                <a:gd name="connsiteX301" fmla="*/ 1593470 w 2663946"/>
                <a:gd name="connsiteY301" fmla="*/ 115370 h 349382"/>
                <a:gd name="connsiteX302" fmla="*/ 1605761 w 2663946"/>
                <a:gd name="connsiteY302" fmla="*/ 112937 h 349382"/>
                <a:gd name="connsiteX303" fmla="*/ 1608956 w 2663946"/>
                <a:gd name="connsiteY303" fmla="*/ 109422 h 349382"/>
                <a:gd name="connsiteX304" fmla="*/ 1611414 w 2663946"/>
                <a:gd name="connsiteY304" fmla="*/ 105096 h 349382"/>
                <a:gd name="connsiteX305" fmla="*/ 1612397 w 2663946"/>
                <a:gd name="connsiteY305" fmla="*/ 102933 h 349382"/>
                <a:gd name="connsiteX306" fmla="*/ 1613626 w 2663946"/>
                <a:gd name="connsiteY306" fmla="*/ 98607 h 349382"/>
                <a:gd name="connsiteX307" fmla="*/ 1613135 w 2663946"/>
                <a:gd name="connsiteY307" fmla="*/ 84817 h 349382"/>
                <a:gd name="connsiteX308" fmla="*/ 1612151 w 2663946"/>
                <a:gd name="connsiteY308" fmla="*/ 81843 h 349382"/>
                <a:gd name="connsiteX309" fmla="*/ 1610923 w 2663946"/>
                <a:gd name="connsiteY309" fmla="*/ 78869 h 349382"/>
                <a:gd name="connsiteX310" fmla="*/ 1608710 w 2663946"/>
                <a:gd name="connsiteY310" fmla="*/ 75354 h 349382"/>
                <a:gd name="connsiteX311" fmla="*/ 1605023 w 2663946"/>
                <a:gd name="connsiteY311" fmla="*/ 71569 h 349382"/>
                <a:gd name="connsiteX312" fmla="*/ 1601090 w 2663946"/>
                <a:gd name="connsiteY312" fmla="*/ 69406 h 349382"/>
                <a:gd name="connsiteX313" fmla="*/ 1252183 w 2663946"/>
                <a:gd name="connsiteY313" fmla="*/ 69406 h 349382"/>
                <a:gd name="connsiteX314" fmla="*/ 1240630 w 2663946"/>
                <a:gd name="connsiteY314" fmla="*/ 71839 h 349382"/>
                <a:gd name="connsiteX315" fmla="*/ 1237435 w 2663946"/>
                <a:gd name="connsiteY315" fmla="*/ 75354 h 349382"/>
                <a:gd name="connsiteX316" fmla="*/ 1235223 w 2663946"/>
                <a:gd name="connsiteY316" fmla="*/ 79139 h 349382"/>
                <a:gd name="connsiteX317" fmla="*/ 1234240 w 2663946"/>
                <a:gd name="connsiteY317" fmla="*/ 81843 h 349382"/>
                <a:gd name="connsiteX318" fmla="*/ 1233256 w 2663946"/>
                <a:gd name="connsiteY318" fmla="*/ 85899 h 349382"/>
                <a:gd name="connsiteX319" fmla="*/ 1232273 w 2663946"/>
                <a:gd name="connsiteY319" fmla="*/ 92929 h 349382"/>
                <a:gd name="connsiteX320" fmla="*/ 1233256 w 2663946"/>
                <a:gd name="connsiteY320" fmla="*/ 100229 h 349382"/>
                <a:gd name="connsiteX321" fmla="*/ 1234486 w 2663946"/>
                <a:gd name="connsiteY321" fmla="*/ 104014 h 349382"/>
                <a:gd name="connsiteX322" fmla="*/ 1236698 w 2663946"/>
                <a:gd name="connsiteY322" fmla="*/ 108340 h 349382"/>
                <a:gd name="connsiteX323" fmla="*/ 1240139 w 2663946"/>
                <a:gd name="connsiteY323" fmla="*/ 112667 h 349382"/>
                <a:gd name="connsiteX324" fmla="*/ 1244563 w 2663946"/>
                <a:gd name="connsiteY324" fmla="*/ 115370 h 349382"/>
                <a:gd name="connsiteX325" fmla="*/ 1256854 w 2663946"/>
                <a:gd name="connsiteY325" fmla="*/ 112937 h 349382"/>
                <a:gd name="connsiteX326" fmla="*/ 1260049 w 2663946"/>
                <a:gd name="connsiteY326" fmla="*/ 109422 h 349382"/>
                <a:gd name="connsiteX327" fmla="*/ 1262507 w 2663946"/>
                <a:gd name="connsiteY327" fmla="*/ 105096 h 349382"/>
                <a:gd name="connsiteX328" fmla="*/ 1263490 w 2663946"/>
                <a:gd name="connsiteY328" fmla="*/ 102933 h 349382"/>
                <a:gd name="connsiteX329" fmla="*/ 1264719 w 2663946"/>
                <a:gd name="connsiteY329" fmla="*/ 98607 h 349382"/>
                <a:gd name="connsiteX330" fmla="*/ 1264228 w 2663946"/>
                <a:gd name="connsiteY330" fmla="*/ 84817 h 349382"/>
                <a:gd name="connsiteX331" fmla="*/ 1263244 w 2663946"/>
                <a:gd name="connsiteY331" fmla="*/ 81843 h 349382"/>
                <a:gd name="connsiteX332" fmla="*/ 1262016 w 2663946"/>
                <a:gd name="connsiteY332" fmla="*/ 78869 h 349382"/>
                <a:gd name="connsiteX333" fmla="*/ 1259803 w 2663946"/>
                <a:gd name="connsiteY333" fmla="*/ 75354 h 349382"/>
                <a:gd name="connsiteX334" fmla="*/ 1256116 w 2663946"/>
                <a:gd name="connsiteY334" fmla="*/ 71569 h 349382"/>
                <a:gd name="connsiteX335" fmla="*/ 1252183 w 2663946"/>
                <a:gd name="connsiteY335" fmla="*/ 69406 h 349382"/>
                <a:gd name="connsiteX336" fmla="*/ 1070232 w 2663946"/>
                <a:gd name="connsiteY336" fmla="*/ 69406 h 349382"/>
                <a:gd name="connsiteX337" fmla="*/ 1058679 w 2663946"/>
                <a:gd name="connsiteY337" fmla="*/ 71839 h 349382"/>
                <a:gd name="connsiteX338" fmla="*/ 1055484 w 2663946"/>
                <a:gd name="connsiteY338" fmla="*/ 75354 h 349382"/>
                <a:gd name="connsiteX339" fmla="*/ 1053272 w 2663946"/>
                <a:gd name="connsiteY339" fmla="*/ 79139 h 349382"/>
                <a:gd name="connsiteX340" fmla="*/ 1052289 w 2663946"/>
                <a:gd name="connsiteY340" fmla="*/ 81843 h 349382"/>
                <a:gd name="connsiteX341" fmla="*/ 1051305 w 2663946"/>
                <a:gd name="connsiteY341" fmla="*/ 85899 h 349382"/>
                <a:gd name="connsiteX342" fmla="*/ 1050322 w 2663946"/>
                <a:gd name="connsiteY342" fmla="*/ 92929 h 349382"/>
                <a:gd name="connsiteX343" fmla="*/ 1051305 w 2663946"/>
                <a:gd name="connsiteY343" fmla="*/ 100229 h 349382"/>
                <a:gd name="connsiteX344" fmla="*/ 1052535 w 2663946"/>
                <a:gd name="connsiteY344" fmla="*/ 104014 h 349382"/>
                <a:gd name="connsiteX345" fmla="*/ 1054747 w 2663946"/>
                <a:gd name="connsiteY345" fmla="*/ 108340 h 349382"/>
                <a:gd name="connsiteX346" fmla="*/ 1058188 w 2663946"/>
                <a:gd name="connsiteY346" fmla="*/ 112667 h 349382"/>
                <a:gd name="connsiteX347" fmla="*/ 1062612 w 2663946"/>
                <a:gd name="connsiteY347" fmla="*/ 115370 h 349382"/>
                <a:gd name="connsiteX348" fmla="*/ 1074903 w 2663946"/>
                <a:gd name="connsiteY348" fmla="*/ 112937 h 349382"/>
                <a:gd name="connsiteX349" fmla="*/ 1078098 w 2663946"/>
                <a:gd name="connsiteY349" fmla="*/ 109422 h 349382"/>
                <a:gd name="connsiteX350" fmla="*/ 1080556 w 2663946"/>
                <a:gd name="connsiteY350" fmla="*/ 105096 h 349382"/>
                <a:gd name="connsiteX351" fmla="*/ 1081539 w 2663946"/>
                <a:gd name="connsiteY351" fmla="*/ 102933 h 349382"/>
                <a:gd name="connsiteX352" fmla="*/ 1082768 w 2663946"/>
                <a:gd name="connsiteY352" fmla="*/ 98607 h 349382"/>
                <a:gd name="connsiteX353" fmla="*/ 1082277 w 2663946"/>
                <a:gd name="connsiteY353" fmla="*/ 84817 h 349382"/>
                <a:gd name="connsiteX354" fmla="*/ 1081293 w 2663946"/>
                <a:gd name="connsiteY354" fmla="*/ 81843 h 349382"/>
                <a:gd name="connsiteX355" fmla="*/ 1080065 w 2663946"/>
                <a:gd name="connsiteY355" fmla="*/ 78869 h 349382"/>
                <a:gd name="connsiteX356" fmla="*/ 1077852 w 2663946"/>
                <a:gd name="connsiteY356" fmla="*/ 75354 h 349382"/>
                <a:gd name="connsiteX357" fmla="*/ 1074165 w 2663946"/>
                <a:gd name="connsiteY357" fmla="*/ 71569 h 349382"/>
                <a:gd name="connsiteX358" fmla="*/ 1070232 w 2663946"/>
                <a:gd name="connsiteY358" fmla="*/ 69406 h 349382"/>
                <a:gd name="connsiteX359" fmla="*/ 903203 w 2663946"/>
                <a:gd name="connsiteY359" fmla="*/ 69406 h 349382"/>
                <a:gd name="connsiteX360" fmla="*/ 891650 w 2663946"/>
                <a:gd name="connsiteY360" fmla="*/ 71839 h 349382"/>
                <a:gd name="connsiteX361" fmla="*/ 888455 w 2663946"/>
                <a:gd name="connsiteY361" fmla="*/ 75354 h 349382"/>
                <a:gd name="connsiteX362" fmla="*/ 886243 w 2663946"/>
                <a:gd name="connsiteY362" fmla="*/ 79139 h 349382"/>
                <a:gd name="connsiteX363" fmla="*/ 885260 w 2663946"/>
                <a:gd name="connsiteY363" fmla="*/ 81843 h 349382"/>
                <a:gd name="connsiteX364" fmla="*/ 884276 w 2663946"/>
                <a:gd name="connsiteY364" fmla="*/ 85899 h 349382"/>
                <a:gd name="connsiteX365" fmla="*/ 883293 w 2663946"/>
                <a:gd name="connsiteY365" fmla="*/ 92929 h 349382"/>
                <a:gd name="connsiteX366" fmla="*/ 884276 w 2663946"/>
                <a:gd name="connsiteY366" fmla="*/ 100229 h 349382"/>
                <a:gd name="connsiteX367" fmla="*/ 885506 w 2663946"/>
                <a:gd name="connsiteY367" fmla="*/ 104014 h 349382"/>
                <a:gd name="connsiteX368" fmla="*/ 887718 w 2663946"/>
                <a:gd name="connsiteY368" fmla="*/ 108340 h 349382"/>
                <a:gd name="connsiteX369" fmla="*/ 891159 w 2663946"/>
                <a:gd name="connsiteY369" fmla="*/ 112667 h 349382"/>
                <a:gd name="connsiteX370" fmla="*/ 895583 w 2663946"/>
                <a:gd name="connsiteY370" fmla="*/ 115370 h 349382"/>
                <a:gd name="connsiteX371" fmla="*/ 907874 w 2663946"/>
                <a:gd name="connsiteY371" fmla="*/ 112937 h 349382"/>
                <a:gd name="connsiteX372" fmla="*/ 911069 w 2663946"/>
                <a:gd name="connsiteY372" fmla="*/ 109422 h 349382"/>
                <a:gd name="connsiteX373" fmla="*/ 913527 w 2663946"/>
                <a:gd name="connsiteY373" fmla="*/ 105096 h 349382"/>
                <a:gd name="connsiteX374" fmla="*/ 914510 w 2663946"/>
                <a:gd name="connsiteY374" fmla="*/ 102933 h 349382"/>
                <a:gd name="connsiteX375" fmla="*/ 915739 w 2663946"/>
                <a:gd name="connsiteY375" fmla="*/ 98607 h 349382"/>
                <a:gd name="connsiteX376" fmla="*/ 915248 w 2663946"/>
                <a:gd name="connsiteY376" fmla="*/ 84817 h 349382"/>
                <a:gd name="connsiteX377" fmla="*/ 914264 w 2663946"/>
                <a:gd name="connsiteY377" fmla="*/ 81843 h 349382"/>
                <a:gd name="connsiteX378" fmla="*/ 913036 w 2663946"/>
                <a:gd name="connsiteY378" fmla="*/ 78869 h 349382"/>
                <a:gd name="connsiteX379" fmla="*/ 910823 w 2663946"/>
                <a:gd name="connsiteY379" fmla="*/ 75354 h 349382"/>
                <a:gd name="connsiteX380" fmla="*/ 907136 w 2663946"/>
                <a:gd name="connsiteY380" fmla="*/ 71569 h 349382"/>
                <a:gd name="connsiteX381" fmla="*/ 903203 w 2663946"/>
                <a:gd name="connsiteY381" fmla="*/ 69406 h 349382"/>
                <a:gd name="connsiteX382" fmla="*/ 554297 w 2663946"/>
                <a:gd name="connsiteY382" fmla="*/ 69406 h 349382"/>
                <a:gd name="connsiteX383" fmla="*/ 542744 w 2663946"/>
                <a:gd name="connsiteY383" fmla="*/ 71839 h 349382"/>
                <a:gd name="connsiteX384" fmla="*/ 539549 w 2663946"/>
                <a:gd name="connsiteY384" fmla="*/ 75354 h 349382"/>
                <a:gd name="connsiteX385" fmla="*/ 537337 w 2663946"/>
                <a:gd name="connsiteY385" fmla="*/ 79139 h 349382"/>
                <a:gd name="connsiteX386" fmla="*/ 536353 w 2663946"/>
                <a:gd name="connsiteY386" fmla="*/ 81843 h 349382"/>
                <a:gd name="connsiteX387" fmla="*/ 535370 w 2663946"/>
                <a:gd name="connsiteY387" fmla="*/ 85899 h 349382"/>
                <a:gd name="connsiteX388" fmla="*/ 534387 w 2663946"/>
                <a:gd name="connsiteY388" fmla="*/ 92929 h 349382"/>
                <a:gd name="connsiteX389" fmla="*/ 535370 w 2663946"/>
                <a:gd name="connsiteY389" fmla="*/ 100229 h 349382"/>
                <a:gd name="connsiteX390" fmla="*/ 536599 w 2663946"/>
                <a:gd name="connsiteY390" fmla="*/ 104014 h 349382"/>
                <a:gd name="connsiteX391" fmla="*/ 538811 w 2663946"/>
                <a:gd name="connsiteY391" fmla="*/ 108340 h 349382"/>
                <a:gd name="connsiteX392" fmla="*/ 542253 w 2663946"/>
                <a:gd name="connsiteY392" fmla="*/ 112667 h 349382"/>
                <a:gd name="connsiteX393" fmla="*/ 546677 w 2663946"/>
                <a:gd name="connsiteY393" fmla="*/ 115370 h 349382"/>
                <a:gd name="connsiteX394" fmla="*/ 558967 w 2663946"/>
                <a:gd name="connsiteY394" fmla="*/ 112937 h 349382"/>
                <a:gd name="connsiteX395" fmla="*/ 562163 w 2663946"/>
                <a:gd name="connsiteY395" fmla="*/ 109422 h 349382"/>
                <a:gd name="connsiteX396" fmla="*/ 564621 w 2663946"/>
                <a:gd name="connsiteY396" fmla="*/ 105096 h 349382"/>
                <a:gd name="connsiteX397" fmla="*/ 565604 w 2663946"/>
                <a:gd name="connsiteY397" fmla="*/ 102933 h 349382"/>
                <a:gd name="connsiteX398" fmla="*/ 566833 w 2663946"/>
                <a:gd name="connsiteY398" fmla="*/ 98607 h 349382"/>
                <a:gd name="connsiteX399" fmla="*/ 566341 w 2663946"/>
                <a:gd name="connsiteY399" fmla="*/ 84817 h 349382"/>
                <a:gd name="connsiteX400" fmla="*/ 565358 w 2663946"/>
                <a:gd name="connsiteY400" fmla="*/ 81843 h 349382"/>
                <a:gd name="connsiteX401" fmla="*/ 564129 w 2663946"/>
                <a:gd name="connsiteY401" fmla="*/ 78869 h 349382"/>
                <a:gd name="connsiteX402" fmla="*/ 561917 w 2663946"/>
                <a:gd name="connsiteY402" fmla="*/ 75354 h 349382"/>
                <a:gd name="connsiteX403" fmla="*/ 558230 w 2663946"/>
                <a:gd name="connsiteY403" fmla="*/ 71569 h 349382"/>
                <a:gd name="connsiteX404" fmla="*/ 554297 w 2663946"/>
                <a:gd name="connsiteY404" fmla="*/ 69406 h 349382"/>
                <a:gd name="connsiteX405" fmla="*/ 372346 w 2663946"/>
                <a:gd name="connsiteY405" fmla="*/ 69406 h 349382"/>
                <a:gd name="connsiteX406" fmla="*/ 360793 w 2663946"/>
                <a:gd name="connsiteY406" fmla="*/ 71839 h 349382"/>
                <a:gd name="connsiteX407" fmla="*/ 357598 w 2663946"/>
                <a:gd name="connsiteY407" fmla="*/ 75354 h 349382"/>
                <a:gd name="connsiteX408" fmla="*/ 355385 w 2663946"/>
                <a:gd name="connsiteY408" fmla="*/ 79139 h 349382"/>
                <a:gd name="connsiteX409" fmla="*/ 354402 w 2663946"/>
                <a:gd name="connsiteY409" fmla="*/ 81843 h 349382"/>
                <a:gd name="connsiteX410" fmla="*/ 353419 w 2663946"/>
                <a:gd name="connsiteY410" fmla="*/ 85899 h 349382"/>
                <a:gd name="connsiteX411" fmla="*/ 352436 w 2663946"/>
                <a:gd name="connsiteY411" fmla="*/ 92929 h 349382"/>
                <a:gd name="connsiteX412" fmla="*/ 353419 w 2663946"/>
                <a:gd name="connsiteY412" fmla="*/ 100229 h 349382"/>
                <a:gd name="connsiteX413" fmla="*/ 354648 w 2663946"/>
                <a:gd name="connsiteY413" fmla="*/ 104014 h 349382"/>
                <a:gd name="connsiteX414" fmla="*/ 356860 w 2663946"/>
                <a:gd name="connsiteY414" fmla="*/ 108340 h 349382"/>
                <a:gd name="connsiteX415" fmla="*/ 360301 w 2663946"/>
                <a:gd name="connsiteY415" fmla="*/ 112667 h 349382"/>
                <a:gd name="connsiteX416" fmla="*/ 364726 w 2663946"/>
                <a:gd name="connsiteY416" fmla="*/ 115370 h 349382"/>
                <a:gd name="connsiteX417" fmla="*/ 377016 w 2663946"/>
                <a:gd name="connsiteY417" fmla="*/ 112937 h 349382"/>
                <a:gd name="connsiteX418" fmla="*/ 380212 w 2663946"/>
                <a:gd name="connsiteY418" fmla="*/ 109422 h 349382"/>
                <a:gd name="connsiteX419" fmla="*/ 382670 w 2663946"/>
                <a:gd name="connsiteY419" fmla="*/ 105096 h 349382"/>
                <a:gd name="connsiteX420" fmla="*/ 383653 w 2663946"/>
                <a:gd name="connsiteY420" fmla="*/ 102933 h 349382"/>
                <a:gd name="connsiteX421" fmla="*/ 384882 w 2663946"/>
                <a:gd name="connsiteY421" fmla="*/ 98607 h 349382"/>
                <a:gd name="connsiteX422" fmla="*/ 384390 w 2663946"/>
                <a:gd name="connsiteY422" fmla="*/ 84817 h 349382"/>
                <a:gd name="connsiteX423" fmla="*/ 383407 w 2663946"/>
                <a:gd name="connsiteY423" fmla="*/ 81843 h 349382"/>
                <a:gd name="connsiteX424" fmla="*/ 382178 w 2663946"/>
                <a:gd name="connsiteY424" fmla="*/ 78869 h 349382"/>
                <a:gd name="connsiteX425" fmla="*/ 379966 w 2663946"/>
                <a:gd name="connsiteY425" fmla="*/ 75354 h 349382"/>
                <a:gd name="connsiteX426" fmla="*/ 376279 w 2663946"/>
                <a:gd name="connsiteY426" fmla="*/ 71569 h 349382"/>
                <a:gd name="connsiteX427" fmla="*/ 372346 w 2663946"/>
                <a:gd name="connsiteY427" fmla="*/ 69406 h 349382"/>
                <a:gd name="connsiteX428" fmla="*/ 129300 w 2663946"/>
                <a:gd name="connsiteY428" fmla="*/ 69406 h 349382"/>
                <a:gd name="connsiteX429" fmla="*/ 117747 w 2663946"/>
                <a:gd name="connsiteY429" fmla="*/ 71839 h 349382"/>
                <a:gd name="connsiteX430" fmla="*/ 114552 w 2663946"/>
                <a:gd name="connsiteY430" fmla="*/ 75354 h 349382"/>
                <a:gd name="connsiteX431" fmla="*/ 112340 w 2663946"/>
                <a:gd name="connsiteY431" fmla="*/ 79139 h 349382"/>
                <a:gd name="connsiteX432" fmla="*/ 111356 w 2663946"/>
                <a:gd name="connsiteY432" fmla="*/ 81843 h 349382"/>
                <a:gd name="connsiteX433" fmla="*/ 110373 w 2663946"/>
                <a:gd name="connsiteY433" fmla="*/ 85899 h 349382"/>
                <a:gd name="connsiteX434" fmla="*/ 109390 w 2663946"/>
                <a:gd name="connsiteY434" fmla="*/ 92929 h 349382"/>
                <a:gd name="connsiteX435" fmla="*/ 110373 w 2663946"/>
                <a:gd name="connsiteY435" fmla="*/ 100229 h 349382"/>
                <a:gd name="connsiteX436" fmla="*/ 111602 w 2663946"/>
                <a:gd name="connsiteY436" fmla="*/ 104014 h 349382"/>
                <a:gd name="connsiteX437" fmla="*/ 113814 w 2663946"/>
                <a:gd name="connsiteY437" fmla="*/ 108340 h 349382"/>
                <a:gd name="connsiteX438" fmla="*/ 117256 w 2663946"/>
                <a:gd name="connsiteY438" fmla="*/ 112667 h 349382"/>
                <a:gd name="connsiteX439" fmla="*/ 121680 w 2663946"/>
                <a:gd name="connsiteY439" fmla="*/ 115370 h 349382"/>
                <a:gd name="connsiteX440" fmla="*/ 133970 w 2663946"/>
                <a:gd name="connsiteY440" fmla="*/ 112937 h 349382"/>
                <a:gd name="connsiteX441" fmla="*/ 137166 w 2663946"/>
                <a:gd name="connsiteY441" fmla="*/ 109422 h 349382"/>
                <a:gd name="connsiteX442" fmla="*/ 139624 w 2663946"/>
                <a:gd name="connsiteY442" fmla="*/ 105096 h 349382"/>
                <a:gd name="connsiteX443" fmla="*/ 140607 w 2663946"/>
                <a:gd name="connsiteY443" fmla="*/ 102933 h 349382"/>
                <a:gd name="connsiteX444" fmla="*/ 141836 w 2663946"/>
                <a:gd name="connsiteY444" fmla="*/ 98607 h 349382"/>
                <a:gd name="connsiteX445" fmla="*/ 141344 w 2663946"/>
                <a:gd name="connsiteY445" fmla="*/ 84817 h 349382"/>
                <a:gd name="connsiteX446" fmla="*/ 140361 w 2663946"/>
                <a:gd name="connsiteY446" fmla="*/ 81843 h 349382"/>
                <a:gd name="connsiteX447" fmla="*/ 139132 w 2663946"/>
                <a:gd name="connsiteY447" fmla="*/ 78869 h 349382"/>
                <a:gd name="connsiteX448" fmla="*/ 136920 w 2663946"/>
                <a:gd name="connsiteY448" fmla="*/ 75354 h 349382"/>
                <a:gd name="connsiteX449" fmla="*/ 133233 w 2663946"/>
                <a:gd name="connsiteY449" fmla="*/ 71569 h 349382"/>
                <a:gd name="connsiteX450" fmla="*/ 129300 w 2663946"/>
                <a:gd name="connsiteY450" fmla="*/ 69406 h 349382"/>
                <a:gd name="connsiteX451" fmla="*/ 33147 w 2663946"/>
                <a:gd name="connsiteY451" fmla="*/ 65470 h 349382"/>
                <a:gd name="connsiteX452" fmla="*/ 21486 w 2663946"/>
                <a:gd name="connsiteY452" fmla="*/ 73199 h 349382"/>
                <a:gd name="connsiteX453" fmla="*/ 20561 w 2663946"/>
                <a:gd name="connsiteY453" fmla="*/ 77782 h 349382"/>
                <a:gd name="connsiteX454" fmla="*/ 23801 w 2663946"/>
                <a:gd name="connsiteY454" fmla="*/ 77782 h 349382"/>
                <a:gd name="connsiteX455" fmla="*/ 42218 w 2663946"/>
                <a:gd name="connsiteY455" fmla="*/ 77782 h 349382"/>
                <a:gd name="connsiteX456" fmla="*/ 45732 w 2663946"/>
                <a:gd name="connsiteY456" fmla="*/ 77782 h 349382"/>
                <a:gd name="connsiteX457" fmla="*/ 44807 w 2663946"/>
                <a:gd name="connsiteY457" fmla="*/ 73199 h 349382"/>
                <a:gd name="connsiteX458" fmla="*/ 33147 w 2663946"/>
                <a:gd name="connsiteY458" fmla="*/ 65470 h 349382"/>
                <a:gd name="connsiteX459" fmla="*/ 2537931 w 2663946"/>
                <a:gd name="connsiteY459" fmla="*/ 57882 h 349382"/>
                <a:gd name="connsiteX460" fmla="*/ 2526271 w 2663946"/>
                <a:gd name="connsiteY460" fmla="*/ 65611 h 349382"/>
                <a:gd name="connsiteX461" fmla="*/ 2525346 w 2663946"/>
                <a:gd name="connsiteY461" fmla="*/ 70194 h 349382"/>
                <a:gd name="connsiteX462" fmla="*/ 2528586 w 2663946"/>
                <a:gd name="connsiteY462" fmla="*/ 70194 h 349382"/>
                <a:gd name="connsiteX463" fmla="*/ 2547003 w 2663946"/>
                <a:gd name="connsiteY463" fmla="*/ 70194 h 349382"/>
                <a:gd name="connsiteX464" fmla="*/ 2550517 w 2663946"/>
                <a:gd name="connsiteY464" fmla="*/ 70194 h 349382"/>
                <a:gd name="connsiteX465" fmla="*/ 2549592 w 2663946"/>
                <a:gd name="connsiteY465" fmla="*/ 65611 h 349382"/>
                <a:gd name="connsiteX466" fmla="*/ 2537931 w 2663946"/>
                <a:gd name="connsiteY466" fmla="*/ 57882 h 349382"/>
                <a:gd name="connsiteX467" fmla="*/ 2112934 w 2663946"/>
                <a:gd name="connsiteY467" fmla="*/ 57882 h 349382"/>
                <a:gd name="connsiteX468" fmla="*/ 2101274 w 2663946"/>
                <a:gd name="connsiteY468" fmla="*/ 65611 h 349382"/>
                <a:gd name="connsiteX469" fmla="*/ 2100349 w 2663946"/>
                <a:gd name="connsiteY469" fmla="*/ 70194 h 349382"/>
                <a:gd name="connsiteX470" fmla="*/ 2103589 w 2663946"/>
                <a:gd name="connsiteY470" fmla="*/ 70194 h 349382"/>
                <a:gd name="connsiteX471" fmla="*/ 2122006 w 2663946"/>
                <a:gd name="connsiteY471" fmla="*/ 70194 h 349382"/>
                <a:gd name="connsiteX472" fmla="*/ 2125520 w 2663946"/>
                <a:gd name="connsiteY472" fmla="*/ 70194 h 349382"/>
                <a:gd name="connsiteX473" fmla="*/ 2124595 w 2663946"/>
                <a:gd name="connsiteY473" fmla="*/ 65611 h 349382"/>
                <a:gd name="connsiteX474" fmla="*/ 2112934 w 2663946"/>
                <a:gd name="connsiteY474" fmla="*/ 57882 h 349382"/>
                <a:gd name="connsiteX475" fmla="*/ 1854966 w 2663946"/>
                <a:gd name="connsiteY475" fmla="*/ 57882 h 349382"/>
                <a:gd name="connsiteX476" fmla="*/ 1843306 w 2663946"/>
                <a:gd name="connsiteY476" fmla="*/ 65611 h 349382"/>
                <a:gd name="connsiteX477" fmla="*/ 1842381 w 2663946"/>
                <a:gd name="connsiteY477" fmla="*/ 70194 h 349382"/>
                <a:gd name="connsiteX478" fmla="*/ 1845621 w 2663946"/>
                <a:gd name="connsiteY478" fmla="*/ 70194 h 349382"/>
                <a:gd name="connsiteX479" fmla="*/ 1864038 w 2663946"/>
                <a:gd name="connsiteY479" fmla="*/ 70194 h 349382"/>
                <a:gd name="connsiteX480" fmla="*/ 1867552 w 2663946"/>
                <a:gd name="connsiteY480" fmla="*/ 70194 h 349382"/>
                <a:gd name="connsiteX481" fmla="*/ 1866627 w 2663946"/>
                <a:gd name="connsiteY481" fmla="*/ 65611 h 349382"/>
                <a:gd name="connsiteX482" fmla="*/ 1854966 w 2663946"/>
                <a:gd name="connsiteY482" fmla="*/ 57882 h 349382"/>
                <a:gd name="connsiteX483" fmla="*/ 1764027 w 2663946"/>
                <a:gd name="connsiteY483" fmla="*/ 57882 h 349382"/>
                <a:gd name="connsiteX484" fmla="*/ 1752367 w 2663946"/>
                <a:gd name="connsiteY484" fmla="*/ 65611 h 349382"/>
                <a:gd name="connsiteX485" fmla="*/ 1751442 w 2663946"/>
                <a:gd name="connsiteY485" fmla="*/ 70194 h 349382"/>
                <a:gd name="connsiteX486" fmla="*/ 1754682 w 2663946"/>
                <a:gd name="connsiteY486" fmla="*/ 70194 h 349382"/>
                <a:gd name="connsiteX487" fmla="*/ 1773099 w 2663946"/>
                <a:gd name="connsiteY487" fmla="*/ 70194 h 349382"/>
                <a:gd name="connsiteX488" fmla="*/ 1776613 w 2663946"/>
                <a:gd name="connsiteY488" fmla="*/ 70194 h 349382"/>
                <a:gd name="connsiteX489" fmla="*/ 1775687 w 2663946"/>
                <a:gd name="connsiteY489" fmla="*/ 65611 h 349382"/>
                <a:gd name="connsiteX490" fmla="*/ 1764027 w 2663946"/>
                <a:gd name="connsiteY490" fmla="*/ 57882 h 349382"/>
                <a:gd name="connsiteX491" fmla="*/ 1506059 w 2663946"/>
                <a:gd name="connsiteY491" fmla="*/ 57882 h 349382"/>
                <a:gd name="connsiteX492" fmla="*/ 1494399 w 2663946"/>
                <a:gd name="connsiteY492" fmla="*/ 65611 h 349382"/>
                <a:gd name="connsiteX493" fmla="*/ 1493474 w 2663946"/>
                <a:gd name="connsiteY493" fmla="*/ 70194 h 349382"/>
                <a:gd name="connsiteX494" fmla="*/ 1496714 w 2663946"/>
                <a:gd name="connsiteY494" fmla="*/ 70194 h 349382"/>
                <a:gd name="connsiteX495" fmla="*/ 1515131 w 2663946"/>
                <a:gd name="connsiteY495" fmla="*/ 70194 h 349382"/>
                <a:gd name="connsiteX496" fmla="*/ 1518645 w 2663946"/>
                <a:gd name="connsiteY496" fmla="*/ 70194 h 349382"/>
                <a:gd name="connsiteX497" fmla="*/ 1517719 w 2663946"/>
                <a:gd name="connsiteY497" fmla="*/ 65611 h 349382"/>
                <a:gd name="connsiteX498" fmla="*/ 1506059 w 2663946"/>
                <a:gd name="connsiteY498" fmla="*/ 57882 h 349382"/>
                <a:gd name="connsiteX499" fmla="*/ 1415120 w 2663946"/>
                <a:gd name="connsiteY499" fmla="*/ 57882 h 349382"/>
                <a:gd name="connsiteX500" fmla="*/ 1403460 w 2663946"/>
                <a:gd name="connsiteY500" fmla="*/ 65611 h 349382"/>
                <a:gd name="connsiteX501" fmla="*/ 1402535 w 2663946"/>
                <a:gd name="connsiteY501" fmla="*/ 70194 h 349382"/>
                <a:gd name="connsiteX502" fmla="*/ 1405775 w 2663946"/>
                <a:gd name="connsiteY502" fmla="*/ 70194 h 349382"/>
                <a:gd name="connsiteX503" fmla="*/ 1424192 w 2663946"/>
                <a:gd name="connsiteY503" fmla="*/ 70194 h 349382"/>
                <a:gd name="connsiteX504" fmla="*/ 1427706 w 2663946"/>
                <a:gd name="connsiteY504" fmla="*/ 70194 h 349382"/>
                <a:gd name="connsiteX505" fmla="*/ 1426780 w 2663946"/>
                <a:gd name="connsiteY505" fmla="*/ 65611 h 349382"/>
                <a:gd name="connsiteX506" fmla="*/ 1415120 w 2663946"/>
                <a:gd name="connsiteY506" fmla="*/ 57882 h 349382"/>
                <a:gd name="connsiteX507" fmla="*/ 1157152 w 2663946"/>
                <a:gd name="connsiteY507" fmla="*/ 57882 h 349382"/>
                <a:gd name="connsiteX508" fmla="*/ 1145492 w 2663946"/>
                <a:gd name="connsiteY508" fmla="*/ 65611 h 349382"/>
                <a:gd name="connsiteX509" fmla="*/ 1144567 w 2663946"/>
                <a:gd name="connsiteY509" fmla="*/ 70194 h 349382"/>
                <a:gd name="connsiteX510" fmla="*/ 1147807 w 2663946"/>
                <a:gd name="connsiteY510" fmla="*/ 70194 h 349382"/>
                <a:gd name="connsiteX511" fmla="*/ 1166224 w 2663946"/>
                <a:gd name="connsiteY511" fmla="*/ 70194 h 349382"/>
                <a:gd name="connsiteX512" fmla="*/ 1169738 w 2663946"/>
                <a:gd name="connsiteY512" fmla="*/ 70194 h 349382"/>
                <a:gd name="connsiteX513" fmla="*/ 1168812 w 2663946"/>
                <a:gd name="connsiteY513" fmla="*/ 65611 h 349382"/>
                <a:gd name="connsiteX514" fmla="*/ 1157152 w 2663946"/>
                <a:gd name="connsiteY514" fmla="*/ 57882 h 349382"/>
                <a:gd name="connsiteX515" fmla="*/ 732156 w 2663946"/>
                <a:gd name="connsiteY515" fmla="*/ 57882 h 349382"/>
                <a:gd name="connsiteX516" fmla="*/ 720495 w 2663946"/>
                <a:gd name="connsiteY516" fmla="*/ 65611 h 349382"/>
                <a:gd name="connsiteX517" fmla="*/ 719570 w 2663946"/>
                <a:gd name="connsiteY517" fmla="*/ 70194 h 349382"/>
                <a:gd name="connsiteX518" fmla="*/ 722810 w 2663946"/>
                <a:gd name="connsiteY518" fmla="*/ 70194 h 349382"/>
                <a:gd name="connsiteX519" fmla="*/ 741228 w 2663946"/>
                <a:gd name="connsiteY519" fmla="*/ 70194 h 349382"/>
                <a:gd name="connsiteX520" fmla="*/ 744742 w 2663946"/>
                <a:gd name="connsiteY520" fmla="*/ 70194 h 349382"/>
                <a:gd name="connsiteX521" fmla="*/ 743816 w 2663946"/>
                <a:gd name="connsiteY521" fmla="*/ 65611 h 349382"/>
                <a:gd name="connsiteX522" fmla="*/ 732156 w 2663946"/>
                <a:gd name="connsiteY522" fmla="*/ 57882 h 349382"/>
                <a:gd name="connsiteX523" fmla="*/ 641217 w 2663946"/>
                <a:gd name="connsiteY523" fmla="*/ 57882 h 349382"/>
                <a:gd name="connsiteX524" fmla="*/ 629556 w 2663946"/>
                <a:gd name="connsiteY524" fmla="*/ 65611 h 349382"/>
                <a:gd name="connsiteX525" fmla="*/ 628631 w 2663946"/>
                <a:gd name="connsiteY525" fmla="*/ 70194 h 349382"/>
                <a:gd name="connsiteX526" fmla="*/ 631871 w 2663946"/>
                <a:gd name="connsiteY526" fmla="*/ 70194 h 349382"/>
                <a:gd name="connsiteX527" fmla="*/ 650289 w 2663946"/>
                <a:gd name="connsiteY527" fmla="*/ 70194 h 349382"/>
                <a:gd name="connsiteX528" fmla="*/ 653802 w 2663946"/>
                <a:gd name="connsiteY528" fmla="*/ 70194 h 349382"/>
                <a:gd name="connsiteX529" fmla="*/ 652877 w 2663946"/>
                <a:gd name="connsiteY529" fmla="*/ 65611 h 349382"/>
                <a:gd name="connsiteX530" fmla="*/ 641217 w 2663946"/>
                <a:gd name="connsiteY530" fmla="*/ 57882 h 349382"/>
                <a:gd name="connsiteX531" fmla="*/ 459266 w 2663946"/>
                <a:gd name="connsiteY531" fmla="*/ 57882 h 349382"/>
                <a:gd name="connsiteX532" fmla="*/ 447605 w 2663946"/>
                <a:gd name="connsiteY532" fmla="*/ 65611 h 349382"/>
                <a:gd name="connsiteX533" fmla="*/ 446680 w 2663946"/>
                <a:gd name="connsiteY533" fmla="*/ 70194 h 349382"/>
                <a:gd name="connsiteX534" fmla="*/ 449920 w 2663946"/>
                <a:gd name="connsiteY534" fmla="*/ 70194 h 349382"/>
                <a:gd name="connsiteX535" fmla="*/ 468337 w 2663946"/>
                <a:gd name="connsiteY535" fmla="*/ 70194 h 349382"/>
                <a:gd name="connsiteX536" fmla="*/ 471851 w 2663946"/>
                <a:gd name="connsiteY536" fmla="*/ 70194 h 349382"/>
                <a:gd name="connsiteX537" fmla="*/ 470926 w 2663946"/>
                <a:gd name="connsiteY537" fmla="*/ 65611 h 349382"/>
                <a:gd name="connsiteX538" fmla="*/ 459266 w 2663946"/>
                <a:gd name="connsiteY538" fmla="*/ 57882 h 349382"/>
                <a:gd name="connsiteX539" fmla="*/ 2361413 w 2663946"/>
                <a:gd name="connsiteY539" fmla="*/ 53522 h 349382"/>
                <a:gd name="connsiteX540" fmla="*/ 2365469 w 2663946"/>
                <a:gd name="connsiteY540" fmla="*/ 53522 h 349382"/>
                <a:gd name="connsiteX541" fmla="*/ 2370065 w 2663946"/>
                <a:gd name="connsiteY541" fmla="*/ 55956 h 349382"/>
                <a:gd name="connsiteX542" fmla="*/ 2372229 w 2663946"/>
                <a:gd name="connsiteY542" fmla="*/ 62174 h 349382"/>
                <a:gd name="connsiteX543" fmla="*/ 2372229 w 2663946"/>
                <a:gd name="connsiteY543" fmla="*/ 62715 h 349382"/>
                <a:gd name="connsiteX544" fmla="*/ 2372229 w 2663946"/>
                <a:gd name="connsiteY544" fmla="*/ 115710 h 349382"/>
                <a:gd name="connsiteX545" fmla="*/ 2372769 w 2663946"/>
                <a:gd name="connsiteY545" fmla="*/ 116250 h 349382"/>
                <a:gd name="connsiteX546" fmla="*/ 2380069 w 2663946"/>
                <a:gd name="connsiteY546" fmla="*/ 116250 h 349382"/>
                <a:gd name="connsiteX547" fmla="*/ 2384125 w 2663946"/>
                <a:gd name="connsiteY547" fmla="*/ 117332 h 349382"/>
                <a:gd name="connsiteX548" fmla="*/ 2387910 w 2663946"/>
                <a:gd name="connsiteY548" fmla="*/ 124091 h 349382"/>
                <a:gd name="connsiteX549" fmla="*/ 2385207 w 2663946"/>
                <a:gd name="connsiteY549" fmla="*/ 129769 h 349382"/>
                <a:gd name="connsiteX550" fmla="*/ 2381151 w 2663946"/>
                <a:gd name="connsiteY550" fmla="*/ 131662 h 349382"/>
                <a:gd name="connsiteX551" fmla="*/ 2380881 w 2663946"/>
                <a:gd name="connsiteY551" fmla="*/ 131662 h 349382"/>
                <a:gd name="connsiteX552" fmla="*/ 2380610 w 2663946"/>
                <a:gd name="connsiteY552" fmla="*/ 131662 h 349382"/>
                <a:gd name="connsiteX553" fmla="*/ 2380069 w 2663946"/>
                <a:gd name="connsiteY553" fmla="*/ 131662 h 349382"/>
                <a:gd name="connsiteX554" fmla="*/ 2347894 w 2663946"/>
                <a:gd name="connsiteY554" fmla="*/ 131662 h 349382"/>
                <a:gd name="connsiteX555" fmla="*/ 2347354 w 2663946"/>
                <a:gd name="connsiteY555" fmla="*/ 131662 h 349382"/>
                <a:gd name="connsiteX556" fmla="*/ 2346542 w 2663946"/>
                <a:gd name="connsiteY556" fmla="*/ 131662 h 349382"/>
                <a:gd name="connsiteX557" fmla="*/ 2345731 w 2663946"/>
                <a:gd name="connsiteY557" fmla="*/ 131392 h 349382"/>
                <a:gd name="connsiteX558" fmla="*/ 2342216 w 2663946"/>
                <a:gd name="connsiteY558" fmla="*/ 129499 h 349382"/>
                <a:gd name="connsiteX559" fmla="*/ 2339783 w 2663946"/>
                <a:gd name="connsiteY559" fmla="*/ 123821 h 349382"/>
                <a:gd name="connsiteX560" fmla="*/ 2341946 w 2663946"/>
                <a:gd name="connsiteY560" fmla="*/ 118684 h 349382"/>
                <a:gd name="connsiteX561" fmla="*/ 2347624 w 2663946"/>
                <a:gd name="connsiteY561" fmla="*/ 116250 h 349382"/>
                <a:gd name="connsiteX562" fmla="*/ 2355465 w 2663946"/>
                <a:gd name="connsiteY562" fmla="*/ 116250 h 349382"/>
                <a:gd name="connsiteX563" fmla="*/ 2356006 w 2663946"/>
                <a:gd name="connsiteY563" fmla="*/ 115710 h 349382"/>
                <a:gd name="connsiteX564" fmla="*/ 2356006 w 2663946"/>
                <a:gd name="connsiteY564" fmla="*/ 69745 h 349382"/>
                <a:gd name="connsiteX565" fmla="*/ 2355465 w 2663946"/>
                <a:gd name="connsiteY565" fmla="*/ 69204 h 349382"/>
                <a:gd name="connsiteX566" fmla="*/ 2349517 w 2663946"/>
                <a:gd name="connsiteY566" fmla="*/ 69204 h 349382"/>
                <a:gd name="connsiteX567" fmla="*/ 2342216 w 2663946"/>
                <a:gd name="connsiteY567" fmla="*/ 64608 h 349382"/>
                <a:gd name="connsiteX568" fmla="*/ 2341946 w 2663946"/>
                <a:gd name="connsiteY568" fmla="*/ 58930 h 349382"/>
                <a:gd name="connsiteX569" fmla="*/ 2349246 w 2663946"/>
                <a:gd name="connsiteY569" fmla="*/ 53793 h 349382"/>
                <a:gd name="connsiteX570" fmla="*/ 2361413 w 2663946"/>
                <a:gd name="connsiteY570" fmla="*/ 53522 h 349382"/>
                <a:gd name="connsiteX571" fmla="*/ 2285396 w 2663946"/>
                <a:gd name="connsiteY571" fmla="*/ 53522 h 349382"/>
                <a:gd name="connsiteX572" fmla="*/ 2289452 w 2663946"/>
                <a:gd name="connsiteY572" fmla="*/ 53522 h 349382"/>
                <a:gd name="connsiteX573" fmla="*/ 2294048 w 2663946"/>
                <a:gd name="connsiteY573" fmla="*/ 55956 h 349382"/>
                <a:gd name="connsiteX574" fmla="*/ 2296212 w 2663946"/>
                <a:gd name="connsiteY574" fmla="*/ 62174 h 349382"/>
                <a:gd name="connsiteX575" fmla="*/ 2296212 w 2663946"/>
                <a:gd name="connsiteY575" fmla="*/ 62715 h 349382"/>
                <a:gd name="connsiteX576" fmla="*/ 2296212 w 2663946"/>
                <a:gd name="connsiteY576" fmla="*/ 115710 h 349382"/>
                <a:gd name="connsiteX577" fmla="*/ 2296752 w 2663946"/>
                <a:gd name="connsiteY577" fmla="*/ 116250 h 349382"/>
                <a:gd name="connsiteX578" fmla="*/ 2304052 w 2663946"/>
                <a:gd name="connsiteY578" fmla="*/ 116250 h 349382"/>
                <a:gd name="connsiteX579" fmla="*/ 2308108 w 2663946"/>
                <a:gd name="connsiteY579" fmla="*/ 117332 h 349382"/>
                <a:gd name="connsiteX580" fmla="*/ 2311893 w 2663946"/>
                <a:gd name="connsiteY580" fmla="*/ 124091 h 349382"/>
                <a:gd name="connsiteX581" fmla="*/ 2309190 w 2663946"/>
                <a:gd name="connsiteY581" fmla="*/ 129769 h 349382"/>
                <a:gd name="connsiteX582" fmla="*/ 2305134 w 2663946"/>
                <a:gd name="connsiteY582" fmla="*/ 131662 h 349382"/>
                <a:gd name="connsiteX583" fmla="*/ 2304864 w 2663946"/>
                <a:gd name="connsiteY583" fmla="*/ 131662 h 349382"/>
                <a:gd name="connsiteX584" fmla="*/ 2304593 w 2663946"/>
                <a:gd name="connsiteY584" fmla="*/ 131662 h 349382"/>
                <a:gd name="connsiteX585" fmla="*/ 2304052 w 2663946"/>
                <a:gd name="connsiteY585" fmla="*/ 131662 h 349382"/>
                <a:gd name="connsiteX586" fmla="*/ 2271877 w 2663946"/>
                <a:gd name="connsiteY586" fmla="*/ 131662 h 349382"/>
                <a:gd name="connsiteX587" fmla="*/ 2271337 w 2663946"/>
                <a:gd name="connsiteY587" fmla="*/ 131662 h 349382"/>
                <a:gd name="connsiteX588" fmla="*/ 2270525 w 2663946"/>
                <a:gd name="connsiteY588" fmla="*/ 131662 h 349382"/>
                <a:gd name="connsiteX589" fmla="*/ 2269714 w 2663946"/>
                <a:gd name="connsiteY589" fmla="*/ 131392 h 349382"/>
                <a:gd name="connsiteX590" fmla="*/ 2266199 w 2663946"/>
                <a:gd name="connsiteY590" fmla="*/ 129499 h 349382"/>
                <a:gd name="connsiteX591" fmla="*/ 2263766 w 2663946"/>
                <a:gd name="connsiteY591" fmla="*/ 123821 h 349382"/>
                <a:gd name="connsiteX592" fmla="*/ 2265929 w 2663946"/>
                <a:gd name="connsiteY592" fmla="*/ 118684 h 349382"/>
                <a:gd name="connsiteX593" fmla="*/ 2271607 w 2663946"/>
                <a:gd name="connsiteY593" fmla="*/ 116250 h 349382"/>
                <a:gd name="connsiteX594" fmla="*/ 2279448 w 2663946"/>
                <a:gd name="connsiteY594" fmla="*/ 116250 h 349382"/>
                <a:gd name="connsiteX595" fmla="*/ 2279989 w 2663946"/>
                <a:gd name="connsiteY595" fmla="*/ 115710 h 349382"/>
                <a:gd name="connsiteX596" fmla="*/ 2279989 w 2663946"/>
                <a:gd name="connsiteY596" fmla="*/ 69745 h 349382"/>
                <a:gd name="connsiteX597" fmla="*/ 2279448 w 2663946"/>
                <a:gd name="connsiteY597" fmla="*/ 69204 h 349382"/>
                <a:gd name="connsiteX598" fmla="*/ 2273500 w 2663946"/>
                <a:gd name="connsiteY598" fmla="*/ 69204 h 349382"/>
                <a:gd name="connsiteX599" fmla="*/ 2266199 w 2663946"/>
                <a:gd name="connsiteY599" fmla="*/ 64608 h 349382"/>
                <a:gd name="connsiteX600" fmla="*/ 2265929 w 2663946"/>
                <a:gd name="connsiteY600" fmla="*/ 58930 h 349382"/>
                <a:gd name="connsiteX601" fmla="*/ 2273229 w 2663946"/>
                <a:gd name="connsiteY601" fmla="*/ 53793 h 349382"/>
                <a:gd name="connsiteX602" fmla="*/ 2285396 w 2663946"/>
                <a:gd name="connsiteY602" fmla="*/ 53522 h 349382"/>
                <a:gd name="connsiteX603" fmla="*/ 1936416 w 2663946"/>
                <a:gd name="connsiteY603" fmla="*/ 53522 h 349382"/>
                <a:gd name="connsiteX604" fmla="*/ 1940472 w 2663946"/>
                <a:gd name="connsiteY604" fmla="*/ 53522 h 349382"/>
                <a:gd name="connsiteX605" fmla="*/ 1945068 w 2663946"/>
                <a:gd name="connsiteY605" fmla="*/ 55956 h 349382"/>
                <a:gd name="connsiteX606" fmla="*/ 1947232 w 2663946"/>
                <a:gd name="connsiteY606" fmla="*/ 62174 h 349382"/>
                <a:gd name="connsiteX607" fmla="*/ 1947232 w 2663946"/>
                <a:gd name="connsiteY607" fmla="*/ 62715 h 349382"/>
                <a:gd name="connsiteX608" fmla="*/ 1947232 w 2663946"/>
                <a:gd name="connsiteY608" fmla="*/ 115710 h 349382"/>
                <a:gd name="connsiteX609" fmla="*/ 1947772 w 2663946"/>
                <a:gd name="connsiteY609" fmla="*/ 116250 h 349382"/>
                <a:gd name="connsiteX610" fmla="*/ 1955072 w 2663946"/>
                <a:gd name="connsiteY610" fmla="*/ 116250 h 349382"/>
                <a:gd name="connsiteX611" fmla="*/ 1959128 w 2663946"/>
                <a:gd name="connsiteY611" fmla="*/ 117332 h 349382"/>
                <a:gd name="connsiteX612" fmla="*/ 1962913 w 2663946"/>
                <a:gd name="connsiteY612" fmla="*/ 124091 h 349382"/>
                <a:gd name="connsiteX613" fmla="*/ 1960210 w 2663946"/>
                <a:gd name="connsiteY613" fmla="*/ 129769 h 349382"/>
                <a:gd name="connsiteX614" fmla="*/ 1956154 w 2663946"/>
                <a:gd name="connsiteY614" fmla="*/ 131662 h 349382"/>
                <a:gd name="connsiteX615" fmla="*/ 1955884 w 2663946"/>
                <a:gd name="connsiteY615" fmla="*/ 131662 h 349382"/>
                <a:gd name="connsiteX616" fmla="*/ 1955613 w 2663946"/>
                <a:gd name="connsiteY616" fmla="*/ 131662 h 349382"/>
                <a:gd name="connsiteX617" fmla="*/ 1955072 w 2663946"/>
                <a:gd name="connsiteY617" fmla="*/ 131662 h 349382"/>
                <a:gd name="connsiteX618" fmla="*/ 1922897 w 2663946"/>
                <a:gd name="connsiteY618" fmla="*/ 131662 h 349382"/>
                <a:gd name="connsiteX619" fmla="*/ 1922357 w 2663946"/>
                <a:gd name="connsiteY619" fmla="*/ 131662 h 349382"/>
                <a:gd name="connsiteX620" fmla="*/ 1921545 w 2663946"/>
                <a:gd name="connsiteY620" fmla="*/ 131662 h 349382"/>
                <a:gd name="connsiteX621" fmla="*/ 1920734 w 2663946"/>
                <a:gd name="connsiteY621" fmla="*/ 131392 h 349382"/>
                <a:gd name="connsiteX622" fmla="*/ 1917219 w 2663946"/>
                <a:gd name="connsiteY622" fmla="*/ 129499 h 349382"/>
                <a:gd name="connsiteX623" fmla="*/ 1914786 w 2663946"/>
                <a:gd name="connsiteY623" fmla="*/ 123821 h 349382"/>
                <a:gd name="connsiteX624" fmla="*/ 1916949 w 2663946"/>
                <a:gd name="connsiteY624" fmla="*/ 118684 h 349382"/>
                <a:gd name="connsiteX625" fmla="*/ 1922627 w 2663946"/>
                <a:gd name="connsiteY625" fmla="*/ 116250 h 349382"/>
                <a:gd name="connsiteX626" fmla="*/ 1930468 w 2663946"/>
                <a:gd name="connsiteY626" fmla="*/ 116250 h 349382"/>
                <a:gd name="connsiteX627" fmla="*/ 1931009 w 2663946"/>
                <a:gd name="connsiteY627" fmla="*/ 115710 h 349382"/>
                <a:gd name="connsiteX628" fmla="*/ 1931009 w 2663946"/>
                <a:gd name="connsiteY628" fmla="*/ 69745 h 349382"/>
                <a:gd name="connsiteX629" fmla="*/ 1930468 w 2663946"/>
                <a:gd name="connsiteY629" fmla="*/ 69204 h 349382"/>
                <a:gd name="connsiteX630" fmla="*/ 1924520 w 2663946"/>
                <a:gd name="connsiteY630" fmla="*/ 69204 h 349382"/>
                <a:gd name="connsiteX631" fmla="*/ 1917219 w 2663946"/>
                <a:gd name="connsiteY631" fmla="*/ 64608 h 349382"/>
                <a:gd name="connsiteX632" fmla="*/ 1916949 w 2663946"/>
                <a:gd name="connsiteY632" fmla="*/ 58930 h 349382"/>
                <a:gd name="connsiteX633" fmla="*/ 1924249 w 2663946"/>
                <a:gd name="connsiteY633" fmla="*/ 53793 h 349382"/>
                <a:gd name="connsiteX634" fmla="*/ 1936416 w 2663946"/>
                <a:gd name="connsiteY634" fmla="*/ 53522 h 349382"/>
                <a:gd name="connsiteX635" fmla="*/ 1678521 w 2663946"/>
                <a:gd name="connsiteY635" fmla="*/ 53522 h 349382"/>
                <a:gd name="connsiteX636" fmla="*/ 1682577 w 2663946"/>
                <a:gd name="connsiteY636" fmla="*/ 53522 h 349382"/>
                <a:gd name="connsiteX637" fmla="*/ 1687173 w 2663946"/>
                <a:gd name="connsiteY637" fmla="*/ 55956 h 349382"/>
                <a:gd name="connsiteX638" fmla="*/ 1689336 w 2663946"/>
                <a:gd name="connsiteY638" fmla="*/ 62174 h 349382"/>
                <a:gd name="connsiteX639" fmla="*/ 1689336 w 2663946"/>
                <a:gd name="connsiteY639" fmla="*/ 62715 h 349382"/>
                <a:gd name="connsiteX640" fmla="*/ 1689336 w 2663946"/>
                <a:gd name="connsiteY640" fmla="*/ 115710 h 349382"/>
                <a:gd name="connsiteX641" fmla="*/ 1689877 w 2663946"/>
                <a:gd name="connsiteY641" fmla="*/ 116250 h 349382"/>
                <a:gd name="connsiteX642" fmla="*/ 1697177 w 2663946"/>
                <a:gd name="connsiteY642" fmla="*/ 116250 h 349382"/>
                <a:gd name="connsiteX643" fmla="*/ 1701233 w 2663946"/>
                <a:gd name="connsiteY643" fmla="*/ 117332 h 349382"/>
                <a:gd name="connsiteX644" fmla="*/ 1705018 w 2663946"/>
                <a:gd name="connsiteY644" fmla="*/ 124091 h 349382"/>
                <a:gd name="connsiteX645" fmla="*/ 1702315 w 2663946"/>
                <a:gd name="connsiteY645" fmla="*/ 129769 h 349382"/>
                <a:gd name="connsiteX646" fmla="*/ 1698259 w 2663946"/>
                <a:gd name="connsiteY646" fmla="*/ 131662 h 349382"/>
                <a:gd name="connsiteX647" fmla="*/ 1697989 w 2663946"/>
                <a:gd name="connsiteY647" fmla="*/ 131662 h 349382"/>
                <a:gd name="connsiteX648" fmla="*/ 1697718 w 2663946"/>
                <a:gd name="connsiteY648" fmla="*/ 131662 h 349382"/>
                <a:gd name="connsiteX649" fmla="*/ 1697177 w 2663946"/>
                <a:gd name="connsiteY649" fmla="*/ 131662 h 349382"/>
                <a:gd name="connsiteX650" fmla="*/ 1665002 w 2663946"/>
                <a:gd name="connsiteY650" fmla="*/ 131662 h 349382"/>
                <a:gd name="connsiteX651" fmla="*/ 1664462 w 2663946"/>
                <a:gd name="connsiteY651" fmla="*/ 131662 h 349382"/>
                <a:gd name="connsiteX652" fmla="*/ 1663650 w 2663946"/>
                <a:gd name="connsiteY652" fmla="*/ 131662 h 349382"/>
                <a:gd name="connsiteX653" fmla="*/ 1662839 w 2663946"/>
                <a:gd name="connsiteY653" fmla="*/ 131392 h 349382"/>
                <a:gd name="connsiteX654" fmla="*/ 1659324 w 2663946"/>
                <a:gd name="connsiteY654" fmla="*/ 129499 h 349382"/>
                <a:gd name="connsiteX655" fmla="*/ 1656891 w 2663946"/>
                <a:gd name="connsiteY655" fmla="*/ 123821 h 349382"/>
                <a:gd name="connsiteX656" fmla="*/ 1659054 w 2663946"/>
                <a:gd name="connsiteY656" fmla="*/ 118684 h 349382"/>
                <a:gd name="connsiteX657" fmla="*/ 1664732 w 2663946"/>
                <a:gd name="connsiteY657" fmla="*/ 116250 h 349382"/>
                <a:gd name="connsiteX658" fmla="*/ 1672573 w 2663946"/>
                <a:gd name="connsiteY658" fmla="*/ 116250 h 349382"/>
                <a:gd name="connsiteX659" fmla="*/ 1673114 w 2663946"/>
                <a:gd name="connsiteY659" fmla="*/ 115710 h 349382"/>
                <a:gd name="connsiteX660" fmla="*/ 1673114 w 2663946"/>
                <a:gd name="connsiteY660" fmla="*/ 69745 h 349382"/>
                <a:gd name="connsiteX661" fmla="*/ 1672573 w 2663946"/>
                <a:gd name="connsiteY661" fmla="*/ 69204 h 349382"/>
                <a:gd name="connsiteX662" fmla="*/ 1666625 w 2663946"/>
                <a:gd name="connsiteY662" fmla="*/ 69204 h 349382"/>
                <a:gd name="connsiteX663" fmla="*/ 1659324 w 2663946"/>
                <a:gd name="connsiteY663" fmla="*/ 64608 h 349382"/>
                <a:gd name="connsiteX664" fmla="*/ 1659054 w 2663946"/>
                <a:gd name="connsiteY664" fmla="*/ 58930 h 349382"/>
                <a:gd name="connsiteX665" fmla="*/ 1666354 w 2663946"/>
                <a:gd name="connsiteY665" fmla="*/ 53793 h 349382"/>
                <a:gd name="connsiteX666" fmla="*/ 1678521 w 2663946"/>
                <a:gd name="connsiteY666" fmla="*/ 53522 h 349382"/>
                <a:gd name="connsiteX667" fmla="*/ 1329614 w 2663946"/>
                <a:gd name="connsiteY667" fmla="*/ 53522 h 349382"/>
                <a:gd name="connsiteX668" fmla="*/ 1333670 w 2663946"/>
                <a:gd name="connsiteY668" fmla="*/ 53522 h 349382"/>
                <a:gd name="connsiteX669" fmla="*/ 1338266 w 2663946"/>
                <a:gd name="connsiteY669" fmla="*/ 55956 h 349382"/>
                <a:gd name="connsiteX670" fmla="*/ 1340429 w 2663946"/>
                <a:gd name="connsiteY670" fmla="*/ 62174 h 349382"/>
                <a:gd name="connsiteX671" fmla="*/ 1340429 w 2663946"/>
                <a:gd name="connsiteY671" fmla="*/ 62715 h 349382"/>
                <a:gd name="connsiteX672" fmla="*/ 1340429 w 2663946"/>
                <a:gd name="connsiteY672" fmla="*/ 115710 h 349382"/>
                <a:gd name="connsiteX673" fmla="*/ 1340970 w 2663946"/>
                <a:gd name="connsiteY673" fmla="*/ 116250 h 349382"/>
                <a:gd name="connsiteX674" fmla="*/ 1348270 w 2663946"/>
                <a:gd name="connsiteY674" fmla="*/ 116250 h 349382"/>
                <a:gd name="connsiteX675" fmla="*/ 1352326 w 2663946"/>
                <a:gd name="connsiteY675" fmla="*/ 117332 h 349382"/>
                <a:gd name="connsiteX676" fmla="*/ 1356111 w 2663946"/>
                <a:gd name="connsiteY676" fmla="*/ 124091 h 349382"/>
                <a:gd name="connsiteX677" fmla="*/ 1353408 w 2663946"/>
                <a:gd name="connsiteY677" fmla="*/ 129769 h 349382"/>
                <a:gd name="connsiteX678" fmla="*/ 1349352 w 2663946"/>
                <a:gd name="connsiteY678" fmla="*/ 131662 h 349382"/>
                <a:gd name="connsiteX679" fmla="*/ 1349082 w 2663946"/>
                <a:gd name="connsiteY679" fmla="*/ 131662 h 349382"/>
                <a:gd name="connsiteX680" fmla="*/ 1348811 w 2663946"/>
                <a:gd name="connsiteY680" fmla="*/ 131662 h 349382"/>
                <a:gd name="connsiteX681" fmla="*/ 1348270 w 2663946"/>
                <a:gd name="connsiteY681" fmla="*/ 131662 h 349382"/>
                <a:gd name="connsiteX682" fmla="*/ 1316095 w 2663946"/>
                <a:gd name="connsiteY682" fmla="*/ 131662 h 349382"/>
                <a:gd name="connsiteX683" fmla="*/ 1315555 w 2663946"/>
                <a:gd name="connsiteY683" fmla="*/ 131662 h 349382"/>
                <a:gd name="connsiteX684" fmla="*/ 1314743 w 2663946"/>
                <a:gd name="connsiteY684" fmla="*/ 131662 h 349382"/>
                <a:gd name="connsiteX685" fmla="*/ 1313932 w 2663946"/>
                <a:gd name="connsiteY685" fmla="*/ 131392 h 349382"/>
                <a:gd name="connsiteX686" fmla="*/ 1310417 w 2663946"/>
                <a:gd name="connsiteY686" fmla="*/ 129499 h 349382"/>
                <a:gd name="connsiteX687" fmla="*/ 1307984 w 2663946"/>
                <a:gd name="connsiteY687" fmla="*/ 123821 h 349382"/>
                <a:gd name="connsiteX688" fmla="*/ 1310147 w 2663946"/>
                <a:gd name="connsiteY688" fmla="*/ 118684 h 349382"/>
                <a:gd name="connsiteX689" fmla="*/ 1315825 w 2663946"/>
                <a:gd name="connsiteY689" fmla="*/ 116250 h 349382"/>
                <a:gd name="connsiteX690" fmla="*/ 1323666 w 2663946"/>
                <a:gd name="connsiteY690" fmla="*/ 116250 h 349382"/>
                <a:gd name="connsiteX691" fmla="*/ 1324207 w 2663946"/>
                <a:gd name="connsiteY691" fmla="*/ 115710 h 349382"/>
                <a:gd name="connsiteX692" fmla="*/ 1324207 w 2663946"/>
                <a:gd name="connsiteY692" fmla="*/ 69745 h 349382"/>
                <a:gd name="connsiteX693" fmla="*/ 1323666 w 2663946"/>
                <a:gd name="connsiteY693" fmla="*/ 69204 h 349382"/>
                <a:gd name="connsiteX694" fmla="*/ 1317718 w 2663946"/>
                <a:gd name="connsiteY694" fmla="*/ 69204 h 349382"/>
                <a:gd name="connsiteX695" fmla="*/ 1310417 w 2663946"/>
                <a:gd name="connsiteY695" fmla="*/ 64608 h 349382"/>
                <a:gd name="connsiteX696" fmla="*/ 1310147 w 2663946"/>
                <a:gd name="connsiteY696" fmla="*/ 58930 h 349382"/>
                <a:gd name="connsiteX697" fmla="*/ 1317447 w 2663946"/>
                <a:gd name="connsiteY697" fmla="*/ 53793 h 349382"/>
                <a:gd name="connsiteX698" fmla="*/ 1329614 w 2663946"/>
                <a:gd name="connsiteY698" fmla="*/ 53522 h 349382"/>
                <a:gd name="connsiteX699" fmla="*/ 980634 w 2663946"/>
                <a:gd name="connsiteY699" fmla="*/ 53522 h 349382"/>
                <a:gd name="connsiteX700" fmla="*/ 984690 w 2663946"/>
                <a:gd name="connsiteY700" fmla="*/ 53522 h 349382"/>
                <a:gd name="connsiteX701" fmla="*/ 989286 w 2663946"/>
                <a:gd name="connsiteY701" fmla="*/ 55956 h 349382"/>
                <a:gd name="connsiteX702" fmla="*/ 991449 w 2663946"/>
                <a:gd name="connsiteY702" fmla="*/ 62174 h 349382"/>
                <a:gd name="connsiteX703" fmla="*/ 991449 w 2663946"/>
                <a:gd name="connsiteY703" fmla="*/ 62715 h 349382"/>
                <a:gd name="connsiteX704" fmla="*/ 991449 w 2663946"/>
                <a:gd name="connsiteY704" fmla="*/ 115710 h 349382"/>
                <a:gd name="connsiteX705" fmla="*/ 991990 w 2663946"/>
                <a:gd name="connsiteY705" fmla="*/ 116250 h 349382"/>
                <a:gd name="connsiteX706" fmla="*/ 999290 w 2663946"/>
                <a:gd name="connsiteY706" fmla="*/ 116250 h 349382"/>
                <a:gd name="connsiteX707" fmla="*/ 1003346 w 2663946"/>
                <a:gd name="connsiteY707" fmla="*/ 117332 h 349382"/>
                <a:gd name="connsiteX708" fmla="*/ 1007131 w 2663946"/>
                <a:gd name="connsiteY708" fmla="*/ 124091 h 349382"/>
                <a:gd name="connsiteX709" fmla="*/ 1004428 w 2663946"/>
                <a:gd name="connsiteY709" fmla="*/ 129769 h 349382"/>
                <a:gd name="connsiteX710" fmla="*/ 1000372 w 2663946"/>
                <a:gd name="connsiteY710" fmla="*/ 131662 h 349382"/>
                <a:gd name="connsiteX711" fmla="*/ 1000102 w 2663946"/>
                <a:gd name="connsiteY711" fmla="*/ 131662 h 349382"/>
                <a:gd name="connsiteX712" fmla="*/ 999831 w 2663946"/>
                <a:gd name="connsiteY712" fmla="*/ 131662 h 349382"/>
                <a:gd name="connsiteX713" fmla="*/ 999290 w 2663946"/>
                <a:gd name="connsiteY713" fmla="*/ 131662 h 349382"/>
                <a:gd name="connsiteX714" fmla="*/ 967115 w 2663946"/>
                <a:gd name="connsiteY714" fmla="*/ 131662 h 349382"/>
                <a:gd name="connsiteX715" fmla="*/ 966575 w 2663946"/>
                <a:gd name="connsiteY715" fmla="*/ 131662 h 349382"/>
                <a:gd name="connsiteX716" fmla="*/ 965763 w 2663946"/>
                <a:gd name="connsiteY716" fmla="*/ 131662 h 349382"/>
                <a:gd name="connsiteX717" fmla="*/ 964952 w 2663946"/>
                <a:gd name="connsiteY717" fmla="*/ 131392 h 349382"/>
                <a:gd name="connsiteX718" fmla="*/ 961437 w 2663946"/>
                <a:gd name="connsiteY718" fmla="*/ 129499 h 349382"/>
                <a:gd name="connsiteX719" fmla="*/ 959004 w 2663946"/>
                <a:gd name="connsiteY719" fmla="*/ 123821 h 349382"/>
                <a:gd name="connsiteX720" fmla="*/ 961167 w 2663946"/>
                <a:gd name="connsiteY720" fmla="*/ 118684 h 349382"/>
                <a:gd name="connsiteX721" fmla="*/ 966845 w 2663946"/>
                <a:gd name="connsiteY721" fmla="*/ 116250 h 349382"/>
                <a:gd name="connsiteX722" fmla="*/ 974686 w 2663946"/>
                <a:gd name="connsiteY722" fmla="*/ 116250 h 349382"/>
                <a:gd name="connsiteX723" fmla="*/ 975227 w 2663946"/>
                <a:gd name="connsiteY723" fmla="*/ 115710 h 349382"/>
                <a:gd name="connsiteX724" fmla="*/ 975227 w 2663946"/>
                <a:gd name="connsiteY724" fmla="*/ 69745 h 349382"/>
                <a:gd name="connsiteX725" fmla="*/ 974686 w 2663946"/>
                <a:gd name="connsiteY725" fmla="*/ 69204 h 349382"/>
                <a:gd name="connsiteX726" fmla="*/ 968738 w 2663946"/>
                <a:gd name="connsiteY726" fmla="*/ 69204 h 349382"/>
                <a:gd name="connsiteX727" fmla="*/ 961437 w 2663946"/>
                <a:gd name="connsiteY727" fmla="*/ 64608 h 349382"/>
                <a:gd name="connsiteX728" fmla="*/ 961167 w 2663946"/>
                <a:gd name="connsiteY728" fmla="*/ 58930 h 349382"/>
                <a:gd name="connsiteX729" fmla="*/ 968467 w 2663946"/>
                <a:gd name="connsiteY729" fmla="*/ 53793 h 349382"/>
                <a:gd name="connsiteX730" fmla="*/ 980634 w 2663946"/>
                <a:gd name="connsiteY730" fmla="*/ 53522 h 349382"/>
                <a:gd name="connsiteX731" fmla="*/ 813605 w 2663946"/>
                <a:gd name="connsiteY731" fmla="*/ 53522 h 349382"/>
                <a:gd name="connsiteX732" fmla="*/ 817661 w 2663946"/>
                <a:gd name="connsiteY732" fmla="*/ 53522 h 349382"/>
                <a:gd name="connsiteX733" fmla="*/ 822257 w 2663946"/>
                <a:gd name="connsiteY733" fmla="*/ 55956 h 349382"/>
                <a:gd name="connsiteX734" fmla="*/ 824420 w 2663946"/>
                <a:gd name="connsiteY734" fmla="*/ 62174 h 349382"/>
                <a:gd name="connsiteX735" fmla="*/ 824420 w 2663946"/>
                <a:gd name="connsiteY735" fmla="*/ 62715 h 349382"/>
                <a:gd name="connsiteX736" fmla="*/ 824420 w 2663946"/>
                <a:gd name="connsiteY736" fmla="*/ 115710 h 349382"/>
                <a:gd name="connsiteX737" fmla="*/ 824961 w 2663946"/>
                <a:gd name="connsiteY737" fmla="*/ 116250 h 349382"/>
                <a:gd name="connsiteX738" fmla="*/ 832261 w 2663946"/>
                <a:gd name="connsiteY738" fmla="*/ 116250 h 349382"/>
                <a:gd name="connsiteX739" fmla="*/ 836317 w 2663946"/>
                <a:gd name="connsiteY739" fmla="*/ 117332 h 349382"/>
                <a:gd name="connsiteX740" fmla="*/ 840102 w 2663946"/>
                <a:gd name="connsiteY740" fmla="*/ 124091 h 349382"/>
                <a:gd name="connsiteX741" fmla="*/ 837399 w 2663946"/>
                <a:gd name="connsiteY741" fmla="*/ 129769 h 349382"/>
                <a:gd name="connsiteX742" fmla="*/ 833343 w 2663946"/>
                <a:gd name="connsiteY742" fmla="*/ 131662 h 349382"/>
                <a:gd name="connsiteX743" fmla="*/ 833073 w 2663946"/>
                <a:gd name="connsiteY743" fmla="*/ 131662 h 349382"/>
                <a:gd name="connsiteX744" fmla="*/ 832802 w 2663946"/>
                <a:gd name="connsiteY744" fmla="*/ 131662 h 349382"/>
                <a:gd name="connsiteX745" fmla="*/ 832261 w 2663946"/>
                <a:gd name="connsiteY745" fmla="*/ 131662 h 349382"/>
                <a:gd name="connsiteX746" fmla="*/ 800086 w 2663946"/>
                <a:gd name="connsiteY746" fmla="*/ 131662 h 349382"/>
                <a:gd name="connsiteX747" fmla="*/ 799546 w 2663946"/>
                <a:gd name="connsiteY747" fmla="*/ 131662 h 349382"/>
                <a:gd name="connsiteX748" fmla="*/ 798734 w 2663946"/>
                <a:gd name="connsiteY748" fmla="*/ 131662 h 349382"/>
                <a:gd name="connsiteX749" fmla="*/ 797923 w 2663946"/>
                <a:gd name="connsiteY749" fmla="*/ 131392 h 349382"/>
                <a:gd name="connsiteX750" fmla="*/ 794408 w 2663946"/>
                <a:gd name="connsiteY750" fmla="*/ 129499 h 349382"/>
                <a:gd name="connsiteX751" fmla="*/ 791975 w 2663946"/>
                <a:gd name="connsiteY751" fmla="*/ 123821 h 349382"/>
                <a:gd name="connsiteX752" fmla="*/ 794138 w 2663946"/>
                <a:gd name="connsiteY752" fmla="*/ 118684 h 349382"/>
                <a:gd name="connsiteX753" fmla="*/ 799816 w 2663946"/>
                <a:gd name="connsiteY753" fmla="*/ 116250 h 349382"/>
                <a:gd name="connsiteX754" fmla="*/ 807657 w 2663946"/>
                <a:gd name="connsiteY754" fmla="*/ 116250 h 349382"/>
                <a:gd name="connsiteX755" fmla="*/ 808198 w 2663946"/>
                <a:gd name="connsiteY755" fmla="*/ 115710 h 349382"/>
                <a:gd name="connsiteX756" fmla="*/ 808198 w 2663946"/>
                <a:gd name="connsiteY756" fmla="*/ 69745 h 349382"/>
                <a:gd name="connsiteX757" fmla="*/ 807657 w 2663946"/>
                <a:gd name="connsiteY757" fmla="*/ 69204 h 349382"/>
                <a:gd name="connsiteX758" fmla="*/ 801709 w 2663946"/>
                <a:gd name="connsiteY758" fmla="*/ 69204 h 349382"/>
                <a:gd name="connsiteX759" fmla="*/ 794408 w 2663946"/>
                <a:gd name="connsiteY759" fmla="*/ 64608 h 349382"/>
                <a:gd name="connsiteX760" fmla="*/ 794138 w 2663946"/>
                <a:gd name="connsiteY760" fmla="*/ 58930 h 349382"/>
                <a:gd name="connsiteX761" fmla="*/ 801438 w 2663946"/>
                <a:gd name="connsiteY761" fmla="*/ 53793 h 349382"/>
                <a:gd name="connsiteX762" fmla="*/ 813605 w 2663946"/>
                <a:gd name="connsiteY762" fmla="*/ 53522 h 349382"/>
                <a:gd name="connsiteX763" fmla="*/ 282748 w 2663946"/>
                <a:gd name="connsiteY763" fmla="*/ 53522 h 349382"/>
                <a:gd name="connsiteX764" fmla="*/ 286803 w 2663946"/>
                <a:gd name="connsiteY764" fmla="*/ 53522 h 349382"/>
                <a:gd name="connsiteX765" fmla="*/ 291400 w 2663946"/>
                <a:gd name="connsiteY765" fmla="*/ 55956 h 349382"/>
                <a:gd name="connsiteX766" fmla="*/ 293563 w 2663946"/>
                <a:gd name="connsiteY766" fmla="*/ 62174 h 349382"/>
                <a:gd name="connsiteX767" fmla="*/ 293563 w 2663946"/>
                <a:gd name="connsiteY767" fmla="*/ 62715 h 349382"/>
                <a:gd name="connsiteX768" fmla="*/ 293563 w 2663946"/>
                <a:gd name="connsiteY768" fmla="*/ 115710 h 349382"/>
                <a:gd name="connsiteX769" fmla="*/ 294104 w 2663946"/>
                <a:gd name="connsiteY769" fmla="*/ 116250 h 349382"/>
                <a:gd name="connsiteX770" fmla="*/ 301404 w 2663946"/>
                <a:gd name="connsiteY770" fmla="*/ 116250 h 349382"/>
                <a:gd name="connsiteX771" fmla="*/ 305460 w 2663946"/>
                <a:gd name="connsiteY771" fmla="*/ 117332 h 349382"/>
                <a:gd name="connsiteX772" fmla="*/ 309245 w 2663946"/>
                <a:gd name="connsiteY772" fmla="*/ 124091 h 349382"/>
                <a:gd name="connsiteX773" fmla="*/ 306541 w 2663946"/>
                <a:gd name="connsiteY773" fmla="*/ 129769 h 349382"/>
                <a:gd name="connsiteX774" fmla="*/ 302485 w 2663946"/>
                <a:gd name="connsiteY774" fmla="*/ 131662 h 349382"/>
                <a:gd name="connsiteX775" fmla="*/ 302215 w 2663946"/>
                <a:gd name="connsiteY775" fmla="*/ 131662 h 349382"/>
                <a:gd name="connsiteX776" fmla="*/ 301945 w 2663946"/>
                <a:gd name="connsiteY776" fmla="*/ 131662 h 349382"/>
                <a:gd name="connsiteX777" fmla="*/ 301404 w 2663946"/>
                <a:gd name="connsiteY777" fmla="*/ 131662 h 349382"/>
                <a:gd name="connsiteX778" fmla="*/ 269229 w 2663946"/>
                <a:gd name="connsiteY778" fmla="*/ 131662 h 349382"/>
                <a:gd name="connsiteX779" fmla="*/ 268688 w 2663946"/>
                <a:gd name="connsiteY779" fmla="*/ 131662 h 349382"/>
                <a:gd name="connsiteX780" fmla="*/ 267877 w 2663946"/>
                <a:gd name="connsiteY780" fmla="*/ 131662 h 349382"/>
                <a:gd name="connsiteX781" fmla="*/ 267066 w 2663946"/>
                <a:gd name="connsiteY781" fmla="*/ 131392 h 349382"/>
                <a:gd name="connsiteX782" fmla="*/ 263551 w 2663946"/>
                <a:gd name="connsiteY782" fmla="*/ 129499 h 349382"/>
                <a:gd name="connsiteX783" fmla="*/ 261117 w 2663946"/>
                <a:gd name="connsiteY783" fmla="*/ 123821 h 349382"/>
                <a:gd name="connsiteX784" fmla="*/ 263281 w 2663946"/>
                <a:gd name="connsiteY784" fmla="*/ 118684 h 349382"/>
                <a:gd name="connsiteX785" fmla="*/ 268958 w 2663946"/>
                <a:gd name="connsiteY785" fmla="*/ 116250 h 349382"/>
                <a:gd name="connsiteX786" fmla="*/ 276800 w 2663946"/>
                <a:gd name="connsiteY786" fmla="*/ 116250 h 349382"/>
                <a:gd name="connsiteX787" fmla="*/ 277340 w 2663946"/>
                <a:gd name="connsiteY787" fmla="*/ 115710 h 349382"/>
                <a:gd name="connsiteX788" fmla="*/ 277340 w 2663946"/>
                <a:gd name="connsiteY788" fmla="*/ 69745 h 349382"/>
                <a:gd name="connsiteX789" fmla="*/ 276800 w 2663946"/>
                <a:gd name="connsiteY789" fmla="*/ 69204 h 349382"/>
                <a:gd name="connsiteX790" fmla="*/ 270851 w 2663946"/>
                <a:gd name="connsiteY790" fmla="*/ 69204 h 349382"/>
                <a:gd name="connsiteX791" fmla="*/ 263551 w 2663946"/>
                <a:gd name="connsiteY791" fmla="*/ 64608 h 349382"/>
                <a:gd name="connsiteX792" fmla="*/ 263281 w 2663946"/>
                <a:gd name="connsiteY792" fmla="*/ 58930 h 349382"/>
                <a:gd name="connsiteX793" fmla="*/ 270581 w 2663946"/>
                <a:gd name="connsiteY793" fmla="*/ 53793 h 349382"/>
                <a:gd name="connsiteX794" fmla="*/ 282748 w 2663946"/>
                <a:gd name="connsiteY794" fmla="*/ 53522 h 349382"/>
                <a:gd name="connsiteX795" fmla="*/ 206731 w 2663946"/>
                <a:gd name="connsiteY795" fmla="*/ 53522 h 349382"/>
                <a:gd name="connsiteX796" fmla="*/ 210787 w 2663946"/>
                <a:gd name="connsiteY796" fmla="*/ 53522 h 349382"/>
                <a:gd name="connsiteX797" fmla="*/ 215383 w 2663946"/>
                <a:gd name="connsiteY797" fmla="*/ 55956 h 349382"/>
                <a:gd name="connsiteX798" fmla="*/ 217546 w 2663946"/>
                <a:gd name="connsiteY798" fmla="*/ 62174 h 349382"/>
                <a:gd name="connsiteX799" fmla="*/ 217546 w 2663946"/>
                <a:gd name="connsiteY799" fmla="*/ 62715 h 349382"/>
                <a:gd name="connsiteX800" fmla="*/ 217546 w 2663946"/>
                <a:gd name="connsiteY800" fmla="*/ 115710 h 349382"/>
                <a:gd name="connsiteX801" fmla="*/ 218087 w 2663946"/>
                <a:gd name="connsiteY801" fmla="*/ 116250 h 349382"/>
                <a:gd name="connsiteX802" fmla="*/ 225387 w 2663946"/>
                <a:gd name="connsiteY802" fmla="*/ 116250 h 349382"/>
                <a:gd name="connsiteX803" fmla="*/ 229443 w 2663946"/>
                <a:gd name="connsiteY803" fmla="*/ 117332 h 349382"/>
                <a:gd name="connsiteX804" fmla="*/ 233228 w 2663946"/>
                <a:gd name="connsiteY804" fmla="*/ 124091 h 349382"/>
                <a:gd name="connsiteX805" fmla="*/ 230524 w 2663946"/>
                <a:gd name="connsiteY805" fmla="*/ 129769 h 349382"/>
                <a:gd name="connsiteX806" fmla="*/ 226468 w 2663946"/>
                <a:gd name="connsiteY806" fmla="*/ 131662 h 349382"/>
                <a:gd name="connsiteX807" fmla="*/ 226198 w 2663946"/>
                <a:gd name="connsiteY807" fmla="*/ 131662 h 349382"/>
                <a:gd name="connsiteX808" fmla="*/ 225928 w 2663946"/>
                <a:gd name="connsiteY808" fmla="*/ 131662 h 349382"/>
                <a:gd name="connsiteX809" fmla="*/ 225387 w 2663946"/>
                <a:gd name="connsiteY809" fmla="*/ 131662 h 349382"/>
                <a:gd name="connsiteX810" fmla="*/ 193212 w 2663946"/>
                <a:gd name="connsiteY810" fmla="*/ 131662 h 349382"/>
                <a:gd name="connsiteX811" fmla="*/ 192671 w 2663946"/>
                <a:gd name="connsiteY811" fmla="*/ 131662 h 349382"/>
                <a:gd name="connsiteX812" fmla="*/ 191860 w 2663946"/>
                <a:gd name="connsiteY812" fmla="*/ 131662 h 349382"/>
                <a:gd name="connsiteX813" fmla="*/ 191049 w 2663946"/>
                <a:gd name="connsiteY813" fmla="*/ 131392 h 349382"/>
                <a:gd name="connsiteX814" fmla="*/ 187534 w 2663946"/>
                <a:gd name="connsiteY814" fmla="*/ 129499 h 349382"/>
                <a:gd name="connsiteX815" fmla="*/ 185101 w 2663946"/>
                <a:gd name="connsiteY815" fmla="*/ 123821 h 349382"/>
                <a:gd name="connsiteX816" fmla="*/ 187264 w 2663946"/>
                <a:gd name="connsiteY816" fmla="*/ 118684 h 349382"/>
                <a:gd name="connsiteX817" fmla="*/ 192942 w 2663946"/>
                <a:gd name="connsiteY817" fmla="*/ 116250 h 349382"/>
                <a:gd name="connsiteX818" fmla="*/ 200783 w 2663946"/>
                <a:gd name="connsiteY818" fmla="*/ 116250 h 349382"/>
                <a:gd name="connsiteX819" fmla="*/ 201323 w 2663946"/>
                <a:gd name="connsiteY819" fmla="*/ 115710 h 349382"/>
                <a:gd name="connsiteX820" fmla="*/ 201323 w 2663946"/>
                <a:gd name="connsiteY820" fmla="*/ 69745 h 349382"/>
                <a:gd name="connsiteX821" fmla="*/ 200783 w 2663946"/>
                <a:gd name="connsiteY821" fmla="*/ 69204 h 349382"/>
                <a:gd name="connsiteX822" fmla="*/ 194834 w 2663946"/>
                <a:gd name="connsiteY822" fmla="*/ 69204 h 349382"/>
                <a:gd name="connsiteX823" fmla="*/ 187534 w 2663946"/>
                <a:gd name="connsiteY823" fmla="*/ 64608 h 349382"/>
                <a:gd name="connsiteX824" fmla="*/ 187264 w 2663946"/>
                <a:gd name="connsiteY824" fmla="*/ 58930 h 349382"/>
                <a:gd name="connsiteX825" fmla="*/ 194564 w 2663946"/>
                <a:gd name="connsiteY825" fmla="*/ 53793 h 349382"/>
                <a:gd name="connsiteX826" fmla="*/ 206731 w 2663946"/>
                <a:gd name="connsiteY826" fmla="*/ 53522 h 349382"/>
                <a:gd name="connsiteX827" fmla="*/ 2627559 w 2663946"/>
                <a:gd name="connsiteY827" fmla="*/ 53453 h 349382"/>
                <a:gd name="connsiteX828" fmla="*/ 2639849 w 2663946"/>
                <a:gd name="connsiteY828" fmla="*/ 55616 h 349382"/>
                <a:gd name="connsiteX829" fmla="*/ 2647223 w 2663946"/>
                <a:gd name="connsiteY829" fmla="*/ 60213 h 349382"/>
                <a:gd name="connsiteX830" fmla="*/ 2650664 w 2663946"/>
                <a:gd name="connsiteY830" fmla="*/ 63457 h 349382"/>
                <a:gd name="connsiteX831" fmla="*/ 2654106 w 2663946"/>
                <a:gd name="connsiteY831" fmla="*/ 67783 h 349382"/>
                <a:gd name="connsiteX832" fmla="*/ 2656072 w 2663946"/>
                <a:gd name="connsiteY832" fmla="*/ 71298 h 349382"/>
                <a:gd name="connsiteX833" fmla="*/ 2658284 w 2663946"/>
                <a:gd name="connsiteY833" fmla="*/ 76706 h 349382"/>
                <a:gd name="connsiteX834" fmla="*/ 2659267 w 2663946"/>
                <a:gd name="connsiteY834" fmla="*/ 80221 h 349382"/>
                <a:gd name="connsiteX835" fmla="*/ 2660251 w 2663946"/>
                <a:gd name="connsiteY835" fmla="*/ 85358 h 349382"/>
                <a:gd name="connsiteX836" fmla="*/ 2660005 w 2663946"/>
                <a:gd name="connsiteY836" fmla="*/ 99688 h 349382"/>
                <a:gd name="connsiteX837" fmla="*/ 2659022 w 2663946"/>
                <a:gd name="connsiteY837" fmla="*/ 104555 h 349382"/>
                <a:gd name="connsiteX838" fmla="*/ 2657792 w 2663946"/>
                <a:gd name="connsiteY838" fmla="*/ 108340 h 349382"/>
                <a:gd name="connsiteX839" fmla="*/ 2656809 w 2663946"/>
                <a:gd name="connsiteY839" fmla="*/ 110774 h 349382"/>
                <a:gd name="connsiteX840" fmla="*/ 2654597 w 2663946"/>
                <a:gd name="connsiteY840" fmla="*/ 115100 h 349382"/>
                <a:gd name="connsiteX841" fmla="*/ 2652385 w 2663946"/>
                <a:gd name="connsiteY841" fmla="*/ 118344 h 349382"/>
                <a:gd name="connsiteX842" fmla="*/ 2648944 w 2663946"/>
                <a:gd name="connsiteY842" fmla="*/ 122130 h 349382"/>
                <a:gd name="connsiteX843" fmla="*/ 2645748 w 2663946"/>
                <a:gd name="connsiteY843" fmla="*/ 124833 h 349382"/>
                <a:gd name="connsiteX844" fmla="*/ 2640095 w 2663946"/>
                <a:gd name="connsiteY844" fmla="*/ 128078 h 349382"/>
                <a:gd name="connsiteX845" fmla="*/ 2632229 w 2663946"/>
                <a:gd name="connsiteY845" fmla="*/ 130241 h 349382"/>
                <a:gd name="connsiteX846" fmla="*/ 2631000 w 2663946"/>
                <a:gd name="connsiteY846" fmla="*/ 130512 h 349382"/>
                <a:gd name="connsiteX847" fmla="*/ 2626821 w 2663946"/>
                <a:gd name="connsiteY847" fmla="*/ 130512 h 349382"/>
                <a:gd name="connsiteX848" fmla="*/ 2626576 w 2663946"/>
                <a:gd name="connsiteY848" fmla="*/ 130512 h 349382"/>
                <a:gd name="connsiteX849" fmla="*/ 2613548 w 2663946"/>
                <a:gd name="connsiteY849" fmla="*/ 125645 h 349382"/>
                <a:gd name="connsiteX850" fmla="*/ 2608878 w 2663946"/>
                <a:gd name="connsiteY850" fmla="*/ 121589 h 349382"/>
                <a:gd name="connsiteX851" fmla="*/ 2605682 w 2663946"/>
                <a:gd name="connsiteY851" fmla="*/ 117804 h 349382"/>
                <a:gd name="connsiteX852" fmla="*/ 2603470 w 2663946"/>
                <a:gd name="connsiteY852" fmla="*/ 114289 h 349382"/>
                <a:gd name="connsiteX853" fmla="*/ 2601258 w 2663946"/>
                <a:gd name="connsiteY853" fmla="*/ 109963 h 349382"/>
                <a:gd name="connsiteX854" fmla="*/ 2600029 w 2663946"/>
                <a:gd name="connsiteY854" fmla="*/ 106988 h 349382"/>
                <a:gd name="connsiteX855" fmla="*/ 2599046 w 2663946"/>
                <a:gd name="connsiteY855" fmla="*/ 103744 h 349382"/>
                <a:gd name="connsiteX856" fmla="*/ 2597816 w 2663946"/>
                <a:gd name="connsiteY856" fmla="*/ 98066 h 349382"/>
                <a:gd name="connsiteX857" fmla="*/ 2597571 w 2663946"/>
                <a:gd name="connsiteY857" fmla="*/ 95092 h 349382"/>
                <a:gd name="connsiteX858" fmla="*/ 2597816 w 2663946"/>
                <a:gd name="connsiteY858" fmla="*/ 95362 h 349382"/>
                <a:gd name="connsiteX859" fmla="*/ 2597816 w 2663946"/>
                <a:gd name="connsiteY859" fmla="*/ 89684 h 349382"/>
                <a:gd name="connsiteX860" fmla="*/ 2597816 w 2663946"/>
                <a:gd name="connsiteY860" fmla="*/ 89414 h 349382"/>
                <a:gd name="connsiteX861" fmla="*/ 2598308 w 2663946"/>
                <a:gd name="connsiteY861" fmla="*/ 84817 h 349382"/>
                <a:gd name="connsiteX862" fmla="*/ 2599537 w 2663946"/>
                <a:gd name="connsiteY862" fmla="*/ 79410 h 349382"/>
                <a:gd name="connsiteX863" fmla="*/ 2600520 w 2663946"/>
                <a:gd name="connsiteY863" fmla="*/ 76165 h 349382"/>
                <a:gd name="connsiteX864" fmla="*/ 2602732 w 2663946"/>
                <a:gd name="connsiteY864" fmla="*/ 71028 h 349382"/>
                <a:gd name="connsiteX865" fmla="*/ 2604945 w 2663946"/>
                <a:gd name="connsiteY865" fmla="*/ 67243 h 349382"/>
                <a:gd name="connsiteX866" fmla="*/ 2607157 w 2663946"/>
                <a:gd name="connsiteY866" fmla="*/ 64268 h 349382"/>
                <a:gd name="connsiteX867" fmla="*/ 2609369 w 2663946"/>
                <a:gd name="connsiteY867" fmla="*/ 61835 h 349382"/>
                <a:gd name="connsiteX868" fmla="*/ 2614039 w 2663946"/>
                <a:gd name="connsiteY868" fmla="*/ 58050 h 349382"/>
                <a:gd name="connsiteX869" fmla="*/ 2617972 w 2663946"/>
                <a:gd name="connsiteY869" fmla="*/ 55887 h 349382"/>
                <a:gd name="connsiteX870" fmla="*/ 2627559 w 2663946"/>
                <a:gd name="connsiteY870" fmla="*/ 53453 h 349382"/>
                <a:gd name="connsiteX871" fmla="*/ 2445604 w 2663946"/>
                <a:gd name="connsiteY871" fmla="*/ 53453 h 349382"/>
                <a:gd name="connsiteX872" fmla="*/ 2457894 w 2663946"/>
                <a:gd name="connsiteY872" fmla="*/ 55616 h 349382"/>
                <a:gd name="connsiteX873" fmla="*/ 2465268 w 2663946"/>
                <a:gd name="connsiteY873" fmla="*/ 60213 h 349382"/>
                <a:gd name="connsiteX874" fmla="*/ 2468709 w 2663946"/>
                <a:gd name="connsiteY874" fmla="*/ 63457 h 349382"/>
                <a:gd name="connsiteX875" fmla="*/ 2472151 w 2663946"/>
                <a:gd name="connsiteY875" fmla="*/ 67783 h 349382"/>
                <a:gd name="connsiteX876" fmla="*/ 2474117 w 2663946"/>
                <a:gd name="connsiteY876" fmla="*/ 71298 h 349382"/>
                <a:gd name="connsiteX877" fmla="*/ 2476329 w 2663946"/>
                <a:gd name="connsiteY877" fmla="*/ 76706 h 349382"/>
                <a:gd name="connsiteX878" fmla="*/ 2477312 w 2663946"/>
                <a:gd name="connsiteY878" fmla="*/ 80221 h 349382"/>
                <a:gd name="connsiteX879" fmla="*/ 2478296 w 2663946"/>
                <a:gd name="connsiteY879" fmla="*/ 85358 h 349382"/>
                <a:gd name="connsiteX880" fmla="*/ 2478050 w 2663946"/>
                <a:gd name="connsiteY880" fmla="*/ 99688 h 349382"/>
                <a:gd name="connsiteX881" fmla="*/ 2477067 w 2663946"/>
                <a:gd name="connsiteY881" fmla="*/ 104555 h 349382"/>
                <a:gd name="connsiteX882" fmla="*/ 2475837 w 2663946"/>
                <a:gd name="connsiteY882" fmla="*/ 108340 h 349382"/>
                <a:gd name="connsiteX883" fmla="*/ 2474854 w 2663946"/>
                <a:gd name="connsiteY883" fmla="*/ 110774 h 349382"/>
                <a:gd name="connsiteX884" fmla="*/ 2472642 w 2663946"/>
                <a:gd name="connsiteY884" fmla="*/ 115100 h 349382"/>
                <a:gd name="connsiteX885" fmla="*/ 2470430 w 2663946"/>
                <a:gd name="connsiteY885" fmla="*/ 118344 h 349382"/>
                <a:gd name="connsiteX886" fmla="*/ 2466989 w 2663946"/>
                <a:gd name="connsiteY886" fmla="*/ 122130 h 349382"/>
                <a:gd name="connsiteX887" fmla="*/ 2463793 w 2663946"/>
                <a:gd name="connsiteY887" fmla="*/ 124833 h 349382"/>
                <a:gd name="connsiteX888" fmla="*/ 2458140 w 2663946"/>
                <a:gd name="connsiteY888" fmla="*/ 128078 h 349382"/>
                <a:gd name="connsiteX889" fmla="*/ 2450274 w 2663946"/>
                <a:gd name="connsiteY889" fmla="*/ 130241 h 349382"/>
                <a:gd name="connsiteX890" fmla="*/ 2449045 w 2663946"/>
                <a:gd name="connsiteY890" fmla="*/ 130512 h 349382"/>
                <a:gd name="connsiteX891" fmla="*/ 2444866 w 2663946"/>
                <a:gd name="connsiteY891" fmla="*/ 130512 h 349382"/>
                <a:gd name="connsiteX892" fmla="*/ 2444621 w 2663946"/>
                <a:gd name="connsiteY892" fmla="*/ 130512 h 349382"/>
                <a:gd name="connsiteX893" fmla="*/ 2431593 w 2663946"/>
                <a:gd name="connsiteY893" fmla="*/ 125645 h 349382"/>
                <a:gd name="connsiteX894" fmla="*/ 2426923 w 2663946"/>
                <a:gd name="connsiteY894" fmla="*/ 121589 h 349382"/>
                <a:gd name="connsiteX895" fmla="*/ 2423727 w 2663946"/>
                <a:gd name="connsiteY895" fmla="*/ 117804 h 349382"/>
                <a:gd name="connsiteX896" fmla="*/ 2421515 w 2663946"/>
                <a:gd name="connsiteY896" fmla="*/ 114289 h 349382"/>
                <a:gd name="connsiteX897" fmla="*/ 2419303 w 2663946"/>
                <a:gd name="connsiteY897" fmla="*/ 109963 h 349382"/>
                <a:gd name="connsiteX898" fmla="*/ 2418074 w 2663946"/>
                <a:gd name="connsiteY898" fmla="*/ 106988 h 349382"/>
                <a:gd name="connsiteX899" fmla="*/ 2417091 w 2663946"/>
                <a:gd name="connsiteY899" fmla="*/ 103744 h 349382"/>
                <a:gd name="connsiteX900" fmla="*/ 2415861 w 2663946"/>
                <a:gd name="connsiteY900" fmla="*/ 98066 h 349382"/>
                <a:gd name="connsiteX901" fmla="*/ 2415616 w 2663946"/>
                <a:gd name="connsiteY901" fmla="*/ 95092 h 349382"/>
                <a:gd name="connsiteX902" fmla="*/ 2415861 w 2663946"/>
                <a:gd name="connsiteY902" fmla="*/ 95362 h 349382"/>
                <a:gd name="connsiteX903" fmla="*/ 2415861 w 2663946"/>
                <a:gd name="connsiteY903" fmla="*/ 89684 h 349382"/>
                <a:gd name="connsiteX904" fmla="*/ 2415861 w 2663946"/>
                <a:gd name="connsiteY904" fmla="*/ 89414 h 349382"/>
                <a:gd name="connsiteX905" fmla="*/ 2416353 w 2663946"/>
                <a:gd name="connsiteY905" fmla="*/ 84817 h 349382"/>
                <a:gd name="connsiteX906" fmla="*/ 2417582 w 2663946"/>
                <a:gd name="connsiteY906" fmla="*/ 79410 h 349382"/>
                <a:gd name="connsiteX907" fmla="*/ 2418565 w 2663946"/>
                <a:gd name="connsiteY907" fmla="*/ 76165 h 349382"/>
                <a:gd name="connsiteX908" fmla="*/ 2420777 w 2663946"/>
                <a:gd name="connsiteY908" fmla="*/ 71028 h 349382"/>
                <a:gd name="connsiteX909" fmla="*/ 2422990 w 2663946"/>
                <a:gd name="connsiteY909" fmla="*/ 67243 h 349382"/>
                <a:gd name="connsiteX910" fmla="*/ 2425202 w 2663946"/>
                <a:gd name="connsiteY910" fmla="*/ 64268 h 349382"/>
                <a:gd name="connsiteX911" fmla="*/ 2427414 w 2663946"/>
                <a:gd name="connsiteY911" fmla="*/ 61835 h 349382"/>
                <a:gd name="connsiteX912" fmla="*/ 2432084 w 2663946"/>
                <a:gd name="connsiteY912" fmla="*/ 58050 h 349382"/>
                <a:gd name="connsiteX913" fmla="*/ 2436017 w 2663946"/>
                <a:gd name="connsiteY913" fmla="*/ 55887 h 349382"/>
                <a:gd name="connsiteX914" fmla="*/ 2445604 w 2663946"/>
                <a:gd name="connsiteY914" fmla="*/ 53453 h 349382"/>
                <a:gd name="connsiteX915" fmla="*/ 2202558 w 2663946"/>
                <a:gd name="connsiteY915" fmla="*/ 53453 h 349382"/>
                <a:gd name="connsiteX916" fmla="*/ 2214848 w 2663946"/>
                <a:gd name="connsiteY916" fmla="*/ 55616 h 349382"/>
                <a:gd name="connsiteX917" fmla="*/ 2222222 w 2663946"/>
                <a:gd name="connsiteY917" fmla="*/ 60213 h 349382"/>
                <a:gd name="connsiteX918" fmla="*/ 2225663 w 2663946"/>
                <a:gd name="connsiteY918" fmla="*/ 63457 h 349382"/>
                <a:gd name="connsiteX919" fmla="*/ 2229105 w 2663946"/>
                <a:gd name="connsiteY919" fmla="*/ 67783 h 349382"/>
                <a:gd name="connsiteX920" fmla="*/ 2231071 w 2663946"/>
                <a:gd name="connsiteY920" fmla="*/ 71298 h 349382"/>
                <a:gd name="connsiteX921" fmla="*/ 2233283 w 2663946"/>
                <a:gd name="connsiteY921" fmla="*/ 76706 h 349382"/>
                <a:gd name="connsiteX922" fmla="*/ 2234266 w 2663946"/>
                <a:gd name="connsiteY922" fmla="*/ 80221 h 349382"/>
                <a:gd name="connsiteX923" fmla="*/ 2235250 w 2663946"/>
                <a:gd name="connsiteY923" fmla="*/ 85358 h 349382"/>
                <a:gd name="connsiteX924" fmla="*/ 2235004 w 2663946"/>
                <a:gd name="connsiteY924" fmla="*/ 99688 h 349382"/>
                <a:gd name="connsiteX925" fmla="*/ 2234021 w 2663946"/>
                <a:gd name="connsiteY925" fmla="*/ 104555 h 349382"/>
                <a:gd name="connsiteX926" fmla="*/ 2232791 w 2663946"/>
                <a:gd name="connsiteY926" fmla="*/ 108340 h 349382"/>
                <a:gd name="connsiteX927" fmla="*/ 2231808 w 2663946"/>
                <a:gd name="connsiteY927" fmla="*/ 110774 h 349382"/>
                <a:gd name="connsiteX928" fmla="*/ 2229596 w 2663946"/>
                <a:gd name="connsiteY928" fmla="*/ 115100 h 349382"/>
                <a:gd name="connsiteX929" fmla="*/ 2227384 w 2663946"/>
                <a:gd name="connsiteY929" fmla="*/ 118344 h 349382"/>
                <a:gd name="connsiteX930" fmla="*/ 2223943 w 2663946"/>
                <a:gd name="connsiteY930" fmla="*/ 122130 h 349382"/>
                <a:gd name="connsiteX931" fmla="*/ 2220747 w 2663946"/>
                <a:gd name="connsiteY931" fmla="*/ 124833 h 349382"/>
                <a:gd name="connsiteX932" fmla="*/ 2215094 w 2663946"/>
                <a:gd name="connsiteY932" fmla="*/ 128078 h 349382"/>
                <a:gd name="connsiteX933" fmla="*/ 2207228 w 2663946"/>
                <a:gd name="connsiteY933" fmla="*/ 130241 h 349382"/>
                <a:gd name="connsiteX934" fmla="*/ 2205999 w 2663946"/>
                <a:gd name="connsiteY934" fmla="*/ 130512 h 349382"/>
                <a:gd name="connsiteX935" fmla="*/ 2201820 w 2663946"/>
                <a:gd name="connsiteY935" fmla="*/ 130512 h 349382"/>
                <a:gd name="connsiteX936" fmla="*/ 2201575 w 2663946"/>
                <a:gd name="connsiteY936" fmla="*/ 130512 h 349382"/>
                <a:gd name="connsiteX937" fmla="*/ 2188547 w 2663946"/>
                <a:gd name="connsiteY937" fmla="*/ 125645 h 349382"/>
                <a:gd name="connsiteX938" fmla="*/ 2183877 w 2663946"/>
                <a:gd name="connsiteY938" fmla="*/ 121589 h 349382"/>
                <a:gd name="connsiteX939" fmla="*/ 2180681 w 2663946"/>
                <a:gd name="connsiteY939" fmla="*/ 117804 h 349382"/>
                <a:gd name="connsiteX940" fmla="*/ 2178469 w 2663946"/>
                <a:gd name="connsiteY940" fmla="*/ 114289 h 349382"/>
                <a:gd name="connsiteX941" fmla="*/ 2176257 w 2663946"/>
                <a:gd name="connsiteY941" fmla="*/ 109963 h 349382"/>
                <a:gd name="connsiteX942" fmla="*/ 2175028 w 2663946"/>
                <a:gd name="connsiteY942" fmla="*/ 106988 h 349382"/>
                <a:gd name="connsiteX943" fmla="*/ 2174045 w 2663946"/>
                <a:gd name="connsiteY943" fmla="*/ 103744 h 349382"/>
                <a:gd name="connsiteX944" fmla="*/ 2172815 w 2663946"/>
                <a:gd name="connsiteY944" fmla="*/ 98066 h 349382"/>
                <a:gd name="connsiteX945" fmla="*/ 2172570 w 2663946"/>
                <a:gd name="connsiteY945" fmla="*/ 95092 h 349382"/>
                <a:gd name="connsiteX946" fmla="*/ 2172815 w 2663946"/>
                <a:gd name="connsiteY946" fmla="*/ 95362 h 349382"/>
                <a:gd name="connsiteX947" fmla="*/ 2172815 w 2663946"/>
                <a:gd name="connsiteY947" fmla="*/ 89684 h 349382"/>
                <a:gd name="connsiteX948" fmla="*/ 2172815 w 2663946"/>
                <a:gd name="connsiteY948" fmla="*/ 89414 h 349382"/>
                <a:gd name="connsiteX949" fmla="*/ 2173307 w 2663946"/>
                <a:gd name="connsiteY949" fmla="*/ 84817 h 349382"/>
                <a:gd name="connsiteX950" fmla="*/ 2174536 w 2663946"/>
                <a:gd name="connsiteY950" fmla="*/ 79410 h 349382"/>
                <a:gd name="connsiteX951" fmla="*/ 2175519 w 2663946"/>
                <a:gd name="connsiteY951" fmla="*/ 76165 h 349382"/>
                <a:gd name="connsiteX952" fmla="*/ 2177731 w 2663946"/>
                <a:gd name="connsiteY952" fmla="*/ 71028 h 349382"/>
                <a:gd name="connsiteX953" fmla="*/ 2179944 w 2663946"/>
                <a:gd name="connsiteY953" fmla="*/ 67243 h 349382"/>
                <a:gd name="connsiteX954" fmla="*/ 2182156 w 2663946"/>
                <a:gd name="connsiteY954" fmla="*/ 64268 h 349382"/>
                <a:gd name="connsiteX955" fmla="*/ 2184368 w 2663946"/>
                <a:gd name="connsiteY955" fmla="*/ 61835 h 349382"/>
                <a:gd name="connsiteX956" fmla="*/ 2189038 w 2663946"/>
                <a:gd name="connsiteY956" fmla="*/ 58050 h 349382"/>
                <a:gd name="connsiteX957" fmla="*/ 2192971 w 2663946"/>
                <a:gd name="connsiteY957" fmla="*/ 55887 h 349382"/>
                <a:gd name="connsiteX958" fmla="*/ 2202558 w 2663946"/>
                <a:gd name="connsiteY958" fmla="*/ 53453 h 349382"/>
                <a:gd name="connsiteX959" fmla="*/ 2020607 w 2663946"/>
                <a:gd name="connsiteY959" fmla="*/ 53453 h 349382"/>
                <a:gd name="connsiteX960" fmla="*/ 2032897 w 2663946"/>
                <a:gd name="connsiteY960" fmla="*/ 55616 h 349382"/>
                <a:gd name="connsiteX961" fmla="*/ 2040271 w 2663946"/>
                <a:gd name="connsiteY961" fmla="*/ 60213 h 349382"/>
                <a:gd name="connsiteX962" fmla="*/ 2043712 w 2663946"/>
                <a:gd name="connsiteY962" fmla="*/ 63457 h 349382"/>
                <a:gd name="connsiteX963" fmla="*/ 2047154 w 2663946"/>
                <a:gd name="connsiteY963" fmla="*/ 67783 h 349382"/>
                <a:gd name="connsiteX964" fmla="*/ 2049120 w 2663946"/>
                <a:gd name="connsiteY964" fmla="*/ 71298 h 349382"/>
                <a:gd name="connsiteX965" fmla="*/ 2051332 w 2663946"/>
                <a:gd name="connsiteY965" fmla="*/ 76706 h 349382"/>
                <a:gd name="connsiteX966" fmla="*/ 2052315 w 2663946"/>
                <a:gd name="connsiteY966" fmla="*/ 80221 h 349382"/>
                <a:gd name="connsiteX967" fmla="*/ 2053299 w 2663946"/>
                <a:gd name="connsiteY967" fmla="*/ 85358 h 349382"/>
                <a:gd name="connsiteX968" fmla="*/ 2053053 w 2663946"/>
                <a:gd name="connsiteY968" fmla="*/ 99688 h 349382"/>
                <a:gd name="connsiteX969" fmla="*/ 2052070 w 2663946"/>
                <a:gd name="connsiteY969" fmla="*/ 104555 h 349382"/>
                <a:gd name="connsiteX970" fmla="*/ 2050840 w 2663946"/>
                <a:gd name="connsiteY970" fmla="*/ 108340 h 349382"/>
                <a:gd name="connsiteX971" fmla="*/ 2049857 w 2663946"/>
                <a:gd name="connsiteY971" fmla="*/ 110774 h 349382"/>
                <a:gd name="connsiteX972" fmla="*/ 2047645 w 2663946"/>
                <a:gd name="connsiteY972" fmla="*/ 115100 h 349382"/>
                <a:gd name="connsiteX973" fmla="*/ 2045433 w 2663946"/>
                <a:gd name="connsiteY973" fmla="*/ 118344 h 349382"/>
                <a:gd name="connsiteX974" fmla="*/ 2041992 w 2663946"/>
                <a:gd name="connsiteY974" fmla="*/ 122130 h 349382"/>
                <a:gd name="connsiteX975" fmla="*/ 2038796 w 2663946"/>
                <a:gd name="connsiteY975" fmla="*/ 124833 h 349382"/>
                <a:gd name="connsiteX976" fmla="*/ 2033143 w 2663946"/>
                <a:gd name="connsiteY976" fmla="*/ 128078 h 349382"/>
                <a:gd name="connsiteX977" fmla="*/ 2025277 w 2663946"/>
                <a:gd name="connsiteY977" fmla="*/ 130241 h 349382"/>
                <a:gd name="connsiteX978" fmla="*/ 2024048 w 2663946"/>
                <a:gd name="connsiteY978" fmla="*/ 130512 h 349382"/>
                <a:gd name="connsiteX979" fmla="*/ 2019869 w 2663946"/>
                <a:gd name="connsiteY979" fmla="*/ 130512 h 349382"/>
                <a:gd name="connsiteX980" fmla="*/ 2019624 w 2663946"/>
                <a:gd name="connsiteY980" fmla="*/ 130512 h 349382"/>
                <a:gd name="connsiteX981" fmla="*/ 2006596 w 2663946"/>
                <a:gd name="connsiteY981" fmla="*/ 125645 h 349382"/>
                <a:gd name="connsiteX982" fmla="*/ 2001926 w 2663946"/>
                <a:gd name="connsiteY982" fmla="*/ 121589 h 349382"/>
                <a:gd name="connsiteX983" fmla="*/ 1998730 w 2663946"/>
                <a:gd name="connsiteY983" fmla="*/ 117804 h 349382"/>
                <a:gd name="connsiteX984" fmla="*/ 1996518 w 2663946"/>
                <a:gd name="connsiteY984" fmla="*/ 114289 h 349382"/>
                <a:gd name="connsiteX985" fmla="*/ 1994306 w 2663946"/>
                <a:gd name="connsiteY985" fmla="*/ 109963 h 349382"/>
                <a:gd name="connsiteX986" fmla="*/ 1993077 w 2663946"/>
                <a:gd name="connsiteY986" fmla="*/ 106988 h 349382"/>
                <a:gd name="connsiteX987" fmla="*/ 1992094 w 2663946"/>
                <a:gd name="connsiteY987" fmla="*/ 103744 h 349382"/>
                <a:gd name="connsiteX988" fmla="*/ 1990864 w 2663946"/>
                <a:gd name="connsiteY988" fmla="*/ 98066 h 349382"/>
                <a:gd name="connsiteX989" fmla="*/ 1990619 w 2663946"/>
                <a:gd name="connsiteY989" fmla="*/ 95092 h 349382"/>
                <a:gd name="connsiteX990" fmla="*/ 1990864 w 2663946"/>
                <a:gd name="connsiteY990" fmla="*/ 95362 h 349382"/>
                <a:gd name="connsiteX991" fmla="*/ 1990864 w 2663946"/>
                <a:gd name="connsiteY991" fmla="*/ 89684 h 349382"/>
                <a:gd name="connsiteX992" fmla="*/ 1990864 w 2663946"/>
                <a:gd name="connsiteY992" fmla="*/ 89414 h 349382"/>
                <a:gd name="connsiteX993" fmla="*/ 1991356 w 2663946"/>
                <a:gd name="connsiteY993" fmla="*/ 84817 h 349382"/>
                <a:gd name="connsiteX994" fmla="*/ 1992585 w 2663946"/>
                <a:gd name="connsiteY994" fmla="*/ 79410 h 349382"/>
                <a:gd name="connsiteX995" fmla="*/ 1993568 w 2663946"/>
                <a:gd name="connsiteY995" fmla="*/ 76165 h 349382"/>
                <a:gd name="connsiteX996" fmla="*/ 1995780 w 2663946"/>
                <a:gd name="connsiteY996" fmla="*/ 71028 h 349382"/>
                <a:gd name="connsiteX997" fmla="*/ 1997993 w 2663946"/>
                <a:gd name="connsiteY997" fmla="*/ 67243 h 349382"/>
                <a:gd name="connsiteX998" fmla="*/ 2000205 w 2663946"/>
                <a:gd name="connsiteY998" fmla="*/ 64268 h 349382"/>
                <a:gd name="connsiteX999" fmla="*/ 2002417 w 2663946"/>
                <a:gd name="connsiteY999" fmla="*/ 61835 h 349382"/>
                <a:gd name="connsiteX1000" fmla="*/ 2007087 w 2663946"/>
                <a:gd name="connsiteY1000" fmla="*/ 58050 h 349382"/>
                <a:gd name="connsiteX1001" fmla="*/ 2011020 w 2663946"/>
                <a:gd name="connsiteY1001" fmla="*/ 55887 h 349382"/>
                <a:gd name="connsiteX1002" fmla="*/ 2020607 w 2663946"/>
                <a:gd name="connsiteY1002" fmla="*/ 53453 h 349382"/>
                <a:gd name="connsiteX1003" fmla="*/ 1595683 w 2663946"/>
                <a:gd name="connsiteY1003" fmla="*/ 53453 h 349382"/>
                <a:gd name="connsiteX1004" fmla="*/ 1607973 w 2663946"/>
                <a:gd name="connsiteY1004" fmla="*/ 55616 h 349382"/>
                <a:gd name="connsiteX1005" fmla="*/ 1615347 w 2663946"/>
                <a:gd name="connsiteY1005" fmla="*/ 60213 h 349382"/>
                <a:gd name="connsiteX1006" fmla="*/ 1618788 w 2663946"/>
                <a:gd name="connsiteY1006" fmla="*/ 63457 h 349382"/>
                <a:gd name="connsiteX1007" fmla="*/ 1622230 w 2663946"/>
                <a:gd name="connsiteY1007" fmla="*/ 67783 h 349382"/>
                <a:gd name="connsiteX1008" fmla="*/ 1624196 w 2663946"/>
                <a:gd name="connsiteY1008" fmla="*/ 71298 h 349382"/>
                <a:gd name="connsiteX1009" fmla="*/ 1626408 w 2663946"/>
                <a:gd name="connsiteY1009" fmla="*/ 76706 h 349382"/>
                <a:gd name="connsiteX1010" fmla="*/ 1627391 w 2663946"/>
                <a:gd name="connsiteY1010" fmla="*/ 80221 h 349382"/>
                <a:gd name="connsiteX1011" fmla="*/ 1628374 w 2663946"/>
                <a:gd name="connsiteY1011" fmla="*/ 85358 h 349382"/>
                <a:gd name="connsiteX1012" fmla="*/ 1628129 w 2663946"/>
                <a:gd name="connsiteY1012" fmla="*/ 99688 h 349382"/>
                <a:gd name="connsiteX1013" fmla="*/ 1627146 w 2663946"/>
                <a:gd name="connsiteY1013" fmla="*/ 104555 h 349382"/>
                <a:gd name="connsiteX1014" fmla="*/ 1625916 w 2663946"/>
                <a:gd name="connsiteY1014" fmla="*/ 108340 h 349382"/>
                <a:gd name="connsiteX1015" fmla="*/ 1624933 w 2663946"/>
                <a:gd name="connsiteY1015" fmla="*/ 110774 h 349382"/>
                <a:gd name="connsiteX1016" fmla="*/ 1622721 w 2663946"/>
                <a:gd name="connsiteY1016" fmla="*/ 115100 h 349382"/>
                <a:gd name="connsiteX1017" fmla="*/ 1620509 w 2663946"/>
                <a:gd name="connsiteY1017" fmla="*/ 118344 h 349382"/>
                <a:gd name="connsiteX1018" fmla="*/ 1617068 w 2663946"/>
                <a:gd name="connsiteY1018" fmla="*/ 122130 h 349382"/>
                <a:gd name="connsiteX1019" fmla="*/ 1613872 w 2663946"/>
                <a:gd name="connsiteY1019" fmla="*/ 124833 h 349382"/>
                <a:gd name="connsiteX1020" fmla="*/ 1608219 w 2663946"/>
                <a:gd name="connsiteY1020" fmla="*/ 128078 h 349382"/>
                <a:gd name="connsiteX1021" fmla="*/ 1600353 w 2663946"/>
                <a:gd name="connsiteY1021" fmla="*/ 130241 h 349382"/>
                <a:gd name="connsiteX1022" fmla="*/ 1599124 w 2663946"/>
                <a:gd name="connsiteY1022" fmla="*/ 130512 h 349382"/>
                <a:gd name="connsiteX1023" fmla="*/ 1594945 w 2663946"/>
                <a:gd name="connsiteY1023" fmla="*/ 130512 h 349382"/>
                <a:gd name="connsiteX1024" fmla="*/ 1594699 w 2663946"/>
                <a:gd name="connsiteY1024" fmla="*/ 130512 h 349382"/>
                <a:gd name="connsiteX1025" fmla="*/ 1581672 w 2663946"/>
                <a:gd name="connsiteY1025" fmla="*/ 125645 h 349382"/>
                <a:gd name="connsiteX1026" fmla="*/ 1577002 w 2663946"/>
                <a:gd name="connsiteY1026" fmla="*/ 121589 h 349382"/>
                <a:gd name="connsiteX1027" fmla="*/ 1573806 w 2663946"/>
                <a:gd name="connsiteY1027" fmla="*/ 117804 h 349382"/>
                <a:gd name="connsiteX1028" fmla="*/ 1571594 w 2663946"/>
                <a:gd name="connsiteY1028" fmla="*/ 114289 h 349382"/>
                <a:gd name="connsiteX1029" fmla="*/ 1569382 w 2663946"/>
                <a:gd name="connsiteY1029" fmla="*/ 109963 h 349382"/>
                <a:gd name="connsiteX1030" fmla="*/ 1568153 w 2663946"/>
                <a:gd name="connsiteY1030" fmla="*/ 106988 h 349382"/>
                <a:gd name="connsiteX1031" fmla="*/ 1567169 w 2663946"/>
                <a:gd name="connsiteY1031" fmla="*/ 103744 h 349382"/>
                <a:gd name="connsiteX1032" fmla="*/ 1565940 w 2663946"/>
                <a:gd name="connsiteY1032" fmla="*/ 98066 h 349382"/>
                <a:gd name="connsiteX1033" fmla="*/ 1565695 w 2663946"/>
                <a:gd name="connsiteY1033" fmla="*/ 95092 h 349382"/>
                <a:gd name="connsiteX1034" fmla="*/ 1565940 w 2663946"/>
                <a:gd name="connsiteY1034" fmla="*/ 95362 h 349382"/>
                <a:gd name="connsiteX1035" fmla="*/ 1565940 w 2663946"/>
                <a:gd name="connsiteY1035" fmla="*/ 89684 h 349382"/>
                <a:gd name="connsiteX1036" fmla="*/ 1565940 w 2663946"/>
                <a:gd name="connsiteY1036" fmla="*/ 89414 h 349382"/>
                <a:gd name="connsiteX1037" fmla="*/ 1566432 w 2663946"/>
                <a:gd name="connsiteY1037" fmla="*/ 84817 h 349382"/>
                <a:gd name="connsiteX1038" fmla="*/ 1567661 w 2663946"/>
                <a:gd name="connsiteY1038" fmla="*/ 79410 h 349382"/>
                <a:gd name="connsiteX1039" fmla="*/ 1568644 w 2663946"/>
                <a:gd name="connsiteY1039" fmla="*/ 76165 h 349382"/>
                <a:gd name="connsiteX1040" fmla="*/ 1570856 w 2663946"/>
                <a:gd name="connsiteY1040" fmla="*/ 71028 h 349382"/>
                <a:gd name="connsiteX1041" fmla="*/ 1573069 w 2663946"/>
                <a:gd name="connsiteY1041" fmla="*/ 67243 h 349382"/>
                <a:gd name="connsiteX1042" fmla="*/ 1575281 w 2663946"/>
                <a:gd name="connsiteY1042" fmla="*/ 64268 h 349382"/>
                <a:gd name="connsiteX1043" fmla="*/ 1577493 w 2663946"/>
                <a:gd name="connsiteY1043" fmla="*/ 61835 h 349382"/>
                <a:gd name="connsiteX1044" fmla="*/ 1582163 w 2663946"/>
                <a:gd name="connsiteY1044" fmla="*/ 58050 h 349382"/>
                <a:gd name="connsiteX1045" fmla="*/ 1586096 w 2663946"/>
                <a:gd name="connsiteY1045" fmla="*/ 55887 h 349382"/>
                <a:gd name="connsiteX1046" fmla="*/ 1595683 w 2663946"/>
                <a:gd name="connsiteY1046" fmla="*/ 53453 h 349382"/>
                <a:gd name="connsiteX1047" fmla="*/ 1246776 w 2663946"/>
                <a:gd name="connsiteY1047" fmla="*/ 53453 h 349382"/>
                <a:gd name="connsiteX1048" fmla="*/ 1259066 w 2663946"/>
                <a:gd name="connsiteY1048" fmla="*/ 55616 h 349382"/>
                <a:gd name="connsiteX1049" fmla="*/ 1266440 w 2663946"/>
                <a:gd name="connsiteY1049" fmla="*/ 60213 h 349382"/>
                <a:gd name="connsiteX1050" fmla="*/ 1269881 w 2663946"/>
                <a:gd name="connsiteY1050" fmla="*/ 63457 h 349382"/>
                <a:gd name="connsiteX1051" fmla="*/ 1273323 w 2663946"/>
                <a:gd name="connsiteY1051" fmla="*/ 67783 h 349382"/>
                <a:gd name="connsiteX1052" fmla="*/ 1275289 w 2663946"/>
                <a:gd name="connsiteY1052" fmla="*/ 71298 h 349382"/>
                <a:gd name="connsiteX1053" fmla="*/ 1277501 w 2663946"/>
                <a:gd name="connsiteY1053" fmla="*/ 76706 h 349382"/>
                <a:gd name="connsiteX1054" fmla="*/ 1278484 w 2663946"/>
                <a:gd name="connsiteY1054" fmla="*/ 80221 h 349382"/>
                <a:gd name="connsiteX1055" fmla="*/ 1279467 w 2663946"/>
                <a:gd name="connsiteY1055" fmla="*/ 85358 h 349382"/>
                <a:gd name="connsiteX1056" fmla="*/ 1279222 w 2663946"/>
                <a:gd name="connsiteY1056" fmla="*/ 99688 h 349382"/>
                <a:gd name="connsiteX1057" fmla="*/ 1278239 w 2663946"/>
                <a:gd name="connsiteY1057" fmla="*/ 104555 h 349382"/>
                <a:gd name="connsiteX1058" fmla="*/ 1277009 w 2663946"/>
                <a:gd name="connsiteY1058" fmla="*/ 108340 h 349382"/>
                <a:gd name="connsiteX1059" fmla="*/ 1276026 w 2663946"/>
                <a:gd name="connsiteY1059" fmla="*/ 110774 h 349382"/>
                <a:gd name="connsiteX1060" fmla="*/ 1273814 w 2663946"/>
                <a:gd name="connsiteY1060" fmla="*/ 115100 h 349382"/>
                <a:gd name="connsiteX1061" fmla="*/ 1271602 w 2663946"/>
                <a:gd name="connsiteY1061" fmla="*/ 118344 h 349382"/>
                <a:gd name="connsiteX1062" fmla="*/ 1268161 w 2663946"/>
                <a:gd name="connsiteY1062" fmla="*/ 122130 h 349382"/>
                <a:gd name="connsiteX1063" fmla="*/ 1264965 w 2663946"/>
                <a:gd name="connsiteY1063" fmla="*/ 124833 h 349382"/>
                <a:gd name="connsiteX1064" fmla="*/ 1259312 w 2663946"/>
                <a:gd name="connsiteY1064" fmla="*/ 128078 h 349382"/>
                <a:gd name="connsiteX1065" fmla="*/ 1251446 w 2663946"/>
                <a:gd name="connsiteY1065" fmla="*/ 130241 h 349382"/>
                <a:gd name="connsiteX1066" fmla="*/ 1250217 w 2663946"/>
                <a:gd name="connsiteY1066" fmla="*/ 130512 h 349382"/>
                <a:gd name="connsiteX1067" fmla="*/ 1246038 w 2663946"/>
                <a:gd name="connsiteY1067" fmla="*/ 130512 h 349382"/>
                <a:gd name="connsiteX1068" fmla="*/ 1245792 w 2663946"/>
                <a:gd name="connsiteY1068" fmla="*/ 130512 h 349382"/>
                <a:gd name="connsiteX1069" fmla="*/ 1232765 w 2663946"/>
                <a:gd name="connsiteY1069" fmla="*/ 125645 h 349382"/>
                <a:gd name="connsiteX1070" fmla="*/ 1228095 w 2663946"/>
                <a:gd name="connsiteY1070" fmla="*/ 121589 h 349382"/>
                <a:gd name="connsiteX1071" fmla="*/ 1224899 w 2663946"/>
                <a:gd name="connsiteY1071" fmla="*/ 117804 h 349382"/>
                <a:gd name="connsiteX1072" fmla="*/ 1222687 w 2663946"/>
                <a:gd name="connsiteY1072" fmla="*/ 114289 h 349382"/>
                <a:gd name="connsiteX1073" fmla="*/ 1220475 w 2663946"/>
                <a:gd name="connsiteY1073" fmla="*/ 109963 h 349382"/>
                <a:gd name="connsiteX1074" fmla="*/ 1219246 w 2663946"/>
                <a:gd name="connsiteY1074" fmla="*/ 106988 h 349382"/>
                <a:gd name="connsiteX1075" fmla="*/ 1218262 w 2663946"/>
                <a:gd name="connsiteY1075" fmla="*/ 103744 h 349382"/>
                <a:gd name="connsiteX1076" fmla="*/ 1217033 w 2663946"/>
                <a:gd name="connsiteY1076" fmla="*/ 98066 h 349382"/>
                <a:gd name="connsiteX1077" fmla="*/ 1216788 w 2663946"/>
                <a:gd name="connsiteY1077" fmla="*/ 95092 h 349382"/>
                <a:gd name="connsiteX1078" fmla="*/ 1217033 w 2663946"/>
                <a:gd name="connsiteY1078" fmla="*/ 95362 h 349382"/>
                <a:gd name="connsiteX1079" fmla="*/ 1217033 w 2663946"/>
                <a:gd name="connsiteY1079" fmla="*/ 89684 h 349382"/>
                <a:gd name="connsiteX1080" fmla="*/ 1217033 w 2663946"/>
                <a:gd name="connsiteY1080" fmla="*/ 89414 h 349382"/>
                <a:gd name="connsiteX1081" fmla="*/ 1217525 w 2663946"/>
                <a:gd name="connsiteY1081" fmla="*/ 84817 h 349382"/>
                <a:gd name="connsiteX1082" fmla="*/ 1218754 w 2663946"/>
                <a:gd name="connsiteY1082" fmla="*/ 79410 h 349382"/>
                <a:gd name="connsiteX1083" fmla="*/ 1219737 w 2663946"/>
                <a:gd name="connsiteY1083" fmla="*/ 76165 h 349382"/>
                <a:gd name="connsiteX1084" fmla="*/ 1221949 w 2663946"/>
                <a:gd name="connsiteY1084" fmla="*/ 71028 h 349382"/>
                <a:gd name="connsiteX1085" fmla="*/ 1224162 w 2663946"/>
                <a:gd name="connsiteY1085" fmla="*/ 67243 h 349382"/>
                <a:gd name="connsiteX1086" fmla="*/ 1226374 w 2663946"/>
                <a:gd name="connsiteY1086" fmla="*/ 64268 h 349382"/>
                <a:gd name="connsiteX1087" fmla="*/ 1228586 w 2663946"/>
                <a:gd name="connsiteY1087" fmla="*/ 61835 h 349382"/>
                <a:gd name="connsiteX1088" fmla="*/ 1233256 w 2663946"/>
                <a:gd name="connsiteY1088" fmla="*/ 58050 h 349382"/>
                <a:gd name="connsiteX1089" fmla="*/ 1237189 w 2663946"/>
                <a:gd name="connsiteY1089" fmla="*/ 55887 h 349382"/>
                <a:gd name="connsiteX1090" fmla="*/ 1246776 w 2663946"/>
                <a:gd name="connsiteY1090" fmla="*/ 53453 h 349382"/>
                <a:gd name="connsiteX1091" fmla="*/ 1064825 w 2663946"/>
                <a:gd name="connsiteY1091" fmla="*/ 53453 h 349382"/>
                <a:gd name="connsiteX1092" fmla="*/ 1077115 w 2663946"/>
                <a:gd name="connsiteY1092" fmla="*/ 55616 h 349382"/>
                <a:gd name="connsiteX1093" fmla="*/ 1084489 w 2663946"/>
                <a:gd name="connsiteY1093" fmla="*/ 60213 h 349382"/>
                <a:gd name="connsiteX1094" fmla="*/ 1087930 w 2663946"/>
                <a:gd name="connsiteY1094" fmla="*/ 63457 h 349382"/>
                <a:gd name="connsiteX1095" fmla="*/ 1091372 w 2663946"/>
                <a:gd name="connsiteY1095" fmla="*/ 67783 h 349382"/>
                <a:gd name="connsiteX1096" fmla="*/ 1093338 w 2663946"/>
                <a:gd name="connsiteY1096" fmla="*/ 71298 h 349382"/>
                <a:gd name="connsiteX1097" fmla="*/ 1095550 w 2663946"/>
                <a:gd name="connsiteY1097" fmla="*/ 76706 h 349382"/>
                <a:gd name="connsiteX1098" fmla="*/ 1096533 w 2663946"/>
                <a:gd name="connsiteY1098" fmla="*/ 80221 h 349382"/>
                <a:gd name="connsiteX1099" fmla="*/ 1097516 w 2663946"/>
                <a:gd name="connsiteY1099" fmla="*/ 85358 h 349382"/>
                <a:gd name="connsiteX1100" fmla="*/ 1097271 w 2663946"/>
                <a:gd name="connsiteY1100" fmla="*/ 99688 h 349382"/>
                <a:gd name="connsiteX1101" fmla="*/ 1096288 w 2663946"/>
                <a:gd name="connsiteY1101" fmla="*/ 104555 h 349382"/>
                <a:gd name="connsiteX1102" fmla="*/ 1095058 w 2663946"/>
                <a:gd name="connsiteY1102" fmla="*/ 108340 h 349382"/>
                <a:gd name="connsiteX1103" fmla="*/ 1094075 w 2663946"/>
                <a:gd name="connsiteY1103" fmla="*/ 110774 h 349382"/>
                <a:gd name="connsiteX1104" fmla="*/ 1091863 w 2663946"/>
                <a:gd name="connsiteY1104" fmla="*/ 115100 h 349382"/>
                <a:gd name="connsiteX1105" fmla="*/ 1089651 w 2663946"/>
                <a:gd name="connsiteY1105" fmla="*/ 118344 h 349382"/>
                <a:gd name="connsiteX1106" fmla="*/ 1086210 w 2663946"/>
                <a:gd name="connsiteY1106" fmla="*/ 122130 h 349382"/>
                <a:gd name="connsiteX1107" fmla="*/ 1083014 w 2663946"/>
                <a:gd name="connsiteY1107" fmla="*/ 124833 h 349382"/>
                <a:gd name="connsiteX1108" fmla="*/ 1077361 w 2663946"/>
                <a:gd name="connsiteY1108" fmla="*/ 128078 h 349382"/>
                <a:gd name="connsiteX1109" fmla="*/ 1069495 w 2663946"/>
                <a:gd name="connsiteY1109" fmla="*/ 130241 h 349382"/>
                <a:gd name="connsiteX1110" fmla="*/ 1068266 w 2663946"/>
                <a:gd name="connsiteY1110" fmla="*/ 130512 h 349382"/>
                <a:gd name="connsiteX1111" fmla="*/ 1064087 w 2663946"/>
                <a:gd name="connsiteY1111" fmla="*/ 130512 h 349382"/>
                <a:gd name="connsiteX1112" fmla="*/ 1063841 w 2663946"/>
                <a:gd name="connsiteY1112" fmla="*/ 130512 h 349382"/>
                <a:gd name="connsiteX1113" fmla="*/ 1050814 w 2663946"/>
                <a:gd name="connsiteY1113" fmla="*/ 125645 h 349382"/>
                <a:gd name="connsiteX1114" fmla="*/ 1046144 w 2663946"/>
                <a:gd name="connsiteY1114" fmla="*/ 121589 h 349382"/>
                <a:gd name="connsiteX1115" fmla="*/ 1042948 w 2663946"/>
                <a:gd name="connsiteY1115" fmla="*/ 117804 h 349382"/>
                <a:gd name="connsiteX1116" fmla="*/ 1040736 w 2663946"/>
                <a:gd name="connsiteY1116" fmla="*/ 114289 h 349382"/>
                <a:gd name="connsiteX1117" fmla="*/ 1038524 w 2663946"/>
                <a:gd name="connsiteY1117" fmla="*/ 109963 h 349382"/>
                <a:gd name="connsiteX1118" fmla="*/ 1037295 w 2663946"/>
                <a:gd name="connsiteY1118" fmla="*/ 106988 h 349382"/>
                <a:gd name="connsiteX1119" fmla="*/ 1036311 w 2663946"/>
                <a:gd name="connsiteY1119" fmla="*/ 103744 h 349382"/>
                <a:gd name="connsiteX1120" fmla="*/ 1035082 w 2663946"/>
                <a:gd name="connsiteY1120" fmla="*/ 98066 h 349382"/>
                <a:gd name="connsiteX1121" fmla="*/ 1034837 w 2663946"/>
                <a:gd name="connsiteY1121" fmla="*/ 95092 h 349382"/>
                <a:gd name="connsiteX1122" fmla="*/ 1035082 w 2663946"/>
                <a:gd name="connsiteY1122" fmla="*/ 95362 h 349382"/>
                <a:gd name="connsiteX1123" fmla="*/ 1035082 w 2663946"/>
                <a:gd name="connsiteY1123" fmla="*/ 89684 h 349382"/>
                <a:gd name="connsiteX1124" fmla="*/ 1035082 w 2663946"/>
                <a:gd name="connsiteY1124" fmla="*/ 89414 h 349382"/>
                <a:gd name="connsiteX1125" fmla="*/ 1035574 w 2663946"/>
                <a:gd name="connsiteY1125" fmla="*/ 84817 h 349382"/>
                <a:gd name="connsiteX1126" fmla="*/ 1036803 w 2663946"/>
                <a:gd name="connsiteY1126" fmla="*/ 79410 h 349382"/>
                <a:gd name="connsiteX1127" fmla="*/ 1037786 w 2663946"/>
                <a:gd name="connsiteY1127" fmla="*/ 76165 h 349382"/>
                <a:gd name="connsiteX1128" fmla="*/ 1039998 w 2663946"/>
                <a:gd name="connsiteY1128" fmla="*/ 71028 h 349382"/>
                <a:gd name="connsiteX1129" fmla="*/ 1042211 w 2663946"/>
                <a:gd name="connsiteY1129" fmla="*/ 67243 h 349382"/>
                <a:gd name="connsiteX1130" fmla="*/ 1044423 w 2663946"/>
                <a:gd name="connsiteY1130" fmla="*/ 64268 h 349382"/>
                <a:gd name="connsiteX1131" fmla="*/ 1046635 w 2663946"/>
                <a:gd name="connsiteY1131" fmla="*/ 61835 h 349382"/>
                <a:gd name="connsiteX1132" fmla="*/ 1051305 w 2663946"/>
                <a:gd name="connsiteY1132" fmla="*/ 58050 h 349382"/>
                <a:gd name="connsiteX1133" fmla="*/ 1055238 w 2663946"/>
                <a:gd name="connsiteY1133" fmla="*/ 55887 h 349382"/>
                <a:gd name="connsiteX1134" fmla="*/ 1064825 w 2663946"/>
                <a:gd name="connsiteY1134" fmla="*/ 53453 h 349382"/>
                <a:gd name="connsiteX1135" fmla="*/ 897796 w 2663946"/>
                <a:gd name="connsiteY1135" fmla="*/ 53453 h 349382"/>
                <a:gd name="connsiteX1136" fmla="*/ 910086 w 2663946"/>
                <a:gd name="connsiteY1136" fmla="*/ 55616 h 349382"/>
                <a:gd name="connsiteX1137" fmla="*/ 917460 w 2663946"/>
                <a:gd name="connsiteY1137" fmla="*/ 60213 h 349382"/>
                <a:gd name="connsiteX1138" fmla="*/ 920901 w 2663946"/>
                <a:gd name="connsiteY1138" fmla="*/ 63457 h 349382"/>
                <a:gd name="connsiteX1139" fmla="*/ 924343 w 2663946"/>
                <a:gd name="connsiteY1139" fmla="*/ 67783 h 349382"/>
                <a:gd name="connsiteX1140" fmla="*/ 926309 w 2663946"/>
                <a:gd name="connsiteY1140" fmla="*/ 71298 h 349382"/>
                <a:gd name="connsiteX1141" fmla="*/ 928521 w 2663946"/>
                <a:gd name="connsiteY1141" fmla="*/ 76706 h 349382"/>
                <a:gd name="connsiteX1142" fmla="*/ 929504 w 2663946"/>
                <a:gd name="connsiteY1142" fmla="*/ 80221 h 349382"/>
                <a:gd name="connsiteX1143" fmla="*/ 930487 w 2663946"/>
                <a:gd name="connsiteY1143" fmla="*/ 85358 h 349382"/>
                <a:gd name="connsiteX1144" fmla="*/ 930242 w 2663946"/>
                <a:gd name="connsiteY1144" fmla="*/ 99688 h 349382"/>
                <a:gd name="connsiteX1145" fmla="*/ 929259 w 2663946"/>
                <a:gd name="connsiteY1145" fmla="*/ 104555 h 349382"/>
                <a:gd name="connsiteX1146" fmla="*/ 928029 w 2663946"/>
                <a:gd name="connsiteY1146" fmla="*/ 108340 h 349382"/>
                <a:gd name="connsiteX1147" fmla="*/ 927046 w 2663946"/>
                <a:gd name="connsiteY1147" fmla="*/ 110774 h 349382"/>
                <a:gd name="connsiteX1148" fmla="*/ 924834 w 2663946"/>
                <a:gd name="connsiteY1148" fmla="*/ 115100 h 349382"/>
                <a:gd name="connsiteX1149" fmla="*/ 922622 w 2663946"/>
                <a:gd name="connsiteY1149" fmla="*/ 118344 h 349382"/>
                <a:gd name="connsiteX1150" fmla="*/ 919181 w 2663946"/>
                <a:gd name="connsiteY1150" fmla="*/ 122130 h 349382"/>
                <a:gd name="connsiteX1151" fmla="*/ 915985 w 2663946"/>
                <a:gd name="connsiteY1151" fmla="*/ 124833 h 349382"/>
                <a:gd name="connsiteX1152" fmla="*/ 910332 w 2663946"/>
                <a:gd name="connsiteY1152" fmla="*/ 128078 h 349382"/>
                <a:gd name="connsiteX1153" fmla="*/ 902466 w 2663946"/>
                <a:gd name="connsiteY1153" fmla="*/ 130241 h 349382"/>
                <a:gd name="connsiteX1154" fmla="*/ 901237 w 2663946"/>
                <a:gd name="connsiteY1154" fmla="*/ 130512 h 349382"/>
                <a:gd name="connsiteX1155" fmla="*/ 897058 w 2663946"/>
                <a:gd name="connsiteY1155" fmla="*/ 130512 h 349382"/>
                <a:gd name="connsiteX1156" fmla="*/ 896812 w 2663946"/>
                <a:gd name="connsiteY1156" fmla="*/ 130512 h 349382"/>
                <a:gd name="connsiteX1157" fmla="*/ 883785 w 2663946"/>
                <a:gd name="connsiteY1157" fmla="*/ 125645 h 349382"/>
                <a:gd name="connsiteX1158" fmla="*/ 879115 w 2663946"/>
                <a:gd name="connsiteY1158" fmla="*/ 121589 h 349382"/>
                <a:gd name="connsiteX1159" fmla="*/ 875919 w 2663946"/>
                <a:gd name="connsiteY1159" fmla="*/ 117804 h 349382"/>
                <a:gd name="connsiteX1160" fmla="*/ 873707 w 2663946"/>
                <a:gd name="connsiteY1160" fmla="*/ 114289 h 349382"/>
                <a:gd name="connsiteX1161" fmla="*/ 871495 w 2663946"/>
                <a:gd name="connsiteY1161" fmla="*/ 109963 h 349382"/>
                <a:gd name="connsiteX1162" fmla="*/ 870266 w 2663946"/>
                <a:gd name="connsiteY1162" fmla="*/ 106988 h 349382"/>
                <a:gd name="connsiteX1163" fmla="*/ 869282 w 2663946"/>
                <a:gd name="connsiteY1163" fmla="*/ 103744 h 349382"/>
                <a:gd name="connsiteX1164" fmla="*/ 868053 w 2663946"/>
                <a:gd name="connsiteY1164" fmla="*/ 98066 h 349382"/>
                <a:gd name="connsiteX1165" fmla="*/ 867808 w 2663946"/>
                <a:gd name="connsiteY1165" fmla="*/ 95092 h 349382"/>
                <a:gd name="connsiteX1166" fmla="*/ 868053 w 2663946"/>
                <a:gd name="connsiteY1166" fmla="*/ 95362 h 349382"/>
                <a:gd name="connsiteX1167" fmla="*/ 868053 w 2663946"/>
                <a:gd name="connsiteY1167" fmla="*/ 89684 h 349382"/>
                <a:gd name="connsiteX1168" fmla="*/ 868053 w 2663946"/>
                <a:gd name="connsiteY1168" fmla="*/ 89414 h 349382"/>
                <a:gd name="connsiteX1169" fmla="*/ 868545 w 2663946"/>
                <a:gd name="connsiteY1169" fmla="*/ 84817 h 349382"/>
                <a:gd name="connsiteX1170" fmla="*/ 869774 w 2663946"/>
                <a:gd name="connsiteY1170" fmla="*/ 79410 h 349382"/>
                <a:gd name="connsiteX1171" fmla="*/ 870757 w 2663946"/>
                <a:gd name="connsiteY1171" fmla="*/ 76165 h 349382"/>
                <a:gd name="connsiteX1172" fmla="*/ 872969 w 2663946"/>
                <a:gd name="connsiteY1172" fmla="*/ 71028 h 349382"/>
                <a:gd name="connsiteX1173" fmla="*/ 875182 w 2663946"/>
                <a:gd name="connsiteY1173" fmla="*/ 67243 h 349382"/>
                <a:gd name="connsiteX1174" fmla="*/ 877394 w 2663946"/>
                <a:gd name="connsiteY1174" fmla="*/ 64268 h 349382"/>
                <a:gd name="connsiteX1175" fmla="*/ 879606 w 2663946"/>
                <a:gd name="connsiteY1175" fmla="*/ 61835 h 349382"/>
                <a:gd name="connsiteX1176" fmla="*/ 884276 w 2663946"/>
                <a:gd name="connsiteY1176" fmla="*/ 58050 h 349382"/>
                <a:gd name="connsiteX1177" fmla="*/ 888209 w 2663946"/>
                <a:gd name="connsiteY1177" fmla="*/ 55887 h 349382"/>
                <a:gd name="connsiteX1178" fmla="*/ 897796 w 2663946"/>
                <a:gd name="connsiteY1178" fmla="*/ 53453 h 349382"/>
                <a:gd name="connsiteX1179" fmla="*/ 548889 w 2663946"/>
                <a:gd name="connsiteY1179" fmla="*/ 53453 h 349382"/>
                <a:gd name="connsiteX1180" fmla="*/ 561180 w 2663946"/>
                <a:gd name="connsiteY1180" fmla="*/ 55616 h 349382"/>
                <a:gd name="connsiteX1181" fmla="*/ 568554 w 2663946"/>
                <a:gd name="connsiteY1181" fmla="*/ 60213 h 349382"/>
                <a:gd name="connsiteX1182" fmla="*/ 571995 w 2663946"/>
                <a:gd name="connsiteY1182" fmla="*/ 63457 h 349382"/>
                <a:gd name="connsiteX1183" fmla="*/ 575436 w 2663946"/>
                <a:gd name="connsiteY1183" fmla="*/ 67783 h 349382"/>
                <a:gd name="connsiteX1184" fmla="*/ 577403 w 2663946"/>
                <a:gd name="connsiteY1184" fmla="*/ 71298 h 349382"/>
                <a:gd name="connsiteX1185" fmla="*/ 579615 w 2663946"/>
                <a:gd name="connsiteY1185" fmla="*/ 76706 h 349382"/>
                <a:gd name="connsiteX1186" fmla="*/ 580598 w 2663946"/>
                <a:gd name="connsiteY1186" fmla="*/ 80221 h 349382"/>
                <a:gd name="connsiteX1187" fmla="*/ 581581 w 2663946"/>
                <a:gd name="connsiteY1187" fmla="*/ 85358 h 349382"/>
                <a:gd name="connsiteX1188" fmla="*/ 581336 w 2663946"/>
                <a:gd name="connsiteY1188" fmla="*/ 99688 h 349382"/>
                <a:gd name="connsiteX1189" fmla="*/ 580352 w 2663946"/>
                <a:gd name="connsiteY1189" fmla="*/ 104555 h 349382"/>
                <a:gd name="connsiteX1190" fmla="*/ 579123 w 2663946"/>
                <a:gd name="connsiteY1190" fmla="*/ 108340 h 349382"/>
                <a:gd name="connsiteX1191" fmla="*/ 578140 w 2663946"/>
                <a:gd name="connsiteY1191" fmla="*/ 110774 h 349382"/>
                <a:gd name="connsiteX1192" fmla="*/ 575928 w 2663946"/>
                <a:gd name="connsiteY1192" fmla="*/ 115100 h 349382"/>
                <a:gd name="connsiteX1193" fmla="*/ 573715 w 2663946"/>
                <a:gd name="connsiteY1193" fmla="*/ 118344 h 349382"/>
                <a:gd name="connsiteX1194" fmla="*/ 570274 w 2663946"/>
                <a:gd name="connsiteY1194" fmla="*/ 122130 h 349382"/>
                <a:gd name="connsiteX1195" fmla="*/ 567079 w 2663946"/>
                <a:gd name="connsiteY1195" fmla="*/ 124833 h 349382"/>
                <a:gd name="connsiteX1196" fmla="*/ 561425 w 2663946"/>
                <a:gd name="connsiteY1196" fmla="*/ 128078 h 349382"/>
                <a:gd name="connsiteX1197" fmla="*/ 553559 w 2663946"/>
                <a:gd name="connsiteY1197" fmla="*/ 130241 h 349382"/>
                <a:gd name="connsiteX1198" fmla="*/ 552331 w 2663946"/>
                <a:gd name="connsiteY1198" fmla="*/ 130512 h 349382"/>
                <a:gd name="connsiteX1199" fmla="*/ 548152 w 2663946"/>
                <a:gd name="connsiteY1199" fmla="*/ 130512 h 349382"/>
                <a:gd name="connsiteX1200" fmla="*/ 547906 w 2663946"/>
                <a:gd name="connsiteY1200" fmla="*/ 130512 h 349382"/>
                <a:gd name="connsiteX1201" fmla="*/ 534879 w 2663946"/>
                <a:gd name="connsiteY1201" fmla="*/ 125645 h 349382"/>
                <a:gd name="connsiteX1202" fmla="*/ 530208 w 2663946"/>
                <a:gd name="connsiteY1202" fmla="*/ 121589 h 349382"/>
                <a:gd name="connsiteX1203" fmla="*/ 527013 w 2663946"/>
                <a:gd name="connsiteY1203" fmla="*/ 117804 h 349382"/>
                <a:gd name="connsiteX1204" fmla="*/ 524801 w 2663946"/>
                <a:gd name="connsiteY1204" fmla="*/ 114289 h 349382"/>
                <a:gd name="connsiteX1205" fmla="*/ 522588 w 2663946"/>
                <a:gd name="connsiteY1205" fmla="*/ 109963 h 349382"/>
                <a:gd name="connsiteX1206" fmla="*/ 521359 w 2663946"/>
                <a:gd name="connsiteY1206" fmla="*/ 106988 h 349382"/>
                <a:gd name="connsiteX1207" fmla="*/ 520376 w 2663946"/>
                <a:gd name="connsiteY1207" fmla="*/ 103744 h 349382"/>
                <a:gd name="connsiteX1208" fmla="*/ 519147 w 2663946"/>
                <a:gd name="connsiteY1208" fmla="*/ 98066 h 349382"/>
                <a:gd name="connsiteX1209" fmla="*/ 518901 w 2663946"/>
                <a:gd name="connsiteY1209" fmla="*/ 95092 h 349382"/>
                <a:gd name="connsiteX1210" fmla="*/ 519147 w 2663946"/>
                <a:gd name="connsiteY1210" fmla="*/ 95362 h 349382"/>
                <a:gd name="connsiteX1211" fmla="*/ 519147 w 2663946"/>
                <a:gd name="connsiteY1211" fmla="*/ 89684 h 349382"/>
                <a:gd name="connsiteX1212" fmla="*/ 519147 w 2663946"/>
                <a:gd name="connsiteY1212" fmla="*/ 89414 h 349382"/>
                <a:gd name="connsiteX1213" fmla="*/ 519639 w 2663946"/>
                <a:gd name="connsiteY1213" fmla="*/ 84817 h 349382"/>
                <a:gd name="connsiteX1214" fmla="*/ 520868 w 2663946"/>
                <a:gd name="connsiteY1214" fmla="*/ 79410 h 349382"/>
                <a:gd name="connsiteX1215" fmla="*/ 521851 w 2663946"/>
                <a:gd name="connsiteY1215" fmla="*/ 76165 h 349382"/>
                <a:gd name="connsiteX1216" fmla="*/ 524063 w 2663946"/>
                <a:gd name="connsiteY1216" fmla="*/ 71028 h 349382"/>
                <a:gd name="connsiteX1217" fmla="*/ 526275 w 2663946"/>
                <a:gd name="connsiteY1217" fmla="*/ 67243 h 349382"/>
                <a:gd name="connsiteX1218" fmla="*/ 528488 w 2663946"/>
                <a:gd name="connsiteY1218" fmla="*/ 64268 h 349382"/>
                <a:gd name="connsiteX1219" fmla="*/ 530700 w 2663946"/>
                <a:gd name="connsiteY1219" fmla="*/ 61835 h 349382"/>
                <a:gd name="connsiteX1220" fmla="*/ 535370 w 2663946"/>
                <a:gd name="connsiteY1220" fmla="*/ 58050 h 349382"/>
                <a:gd name="connsiteX1221" fmla="*/ 539303 w 2663946"/>
                <a:gd name="connsiteY1221" fmla="*/ 55887 h 349382"/>
                <a:gd name="connsiteX1222" fmla="*/ 548889 w 2663946"/>
                <a:gd name="connsiteY1222" fmla="*/ 53453 h 349382"/>
                <a:gd name="connsiteX1223" fmla="*/ 366938 w 2663946"/>
                <a:gd name="connsiteY1223" fmla="*/ 53453 h 349382"/>
                <a:gd name="connsiteX1224" fmla="*/ 379228 w 2663946"/>
                <a:gd name="connsiteY1224" fmla="*/ 55616 h 349382"/>
                <a:gd name="connsiteX1225" fmla="*/ 386603 w 2663946"/>
                <a:gd name="connsiteY1225" fmla="*/ 60213 h 349382"/>
                <a:gd name="connsiteX1226" fmla="*/ 390044 w 2663946"/>
                <a:gd name="connsiteY1226" fmla="*/ 63457 h 349382"/>
                <a:gd name="connsiteX1227" fmla="*/ 393485 w 2663946"/>
                <a:gd name="connsiteY1227" fmla="*/ 67783 h 349382"/>
                <a:gd name="connsiteX1228" fmla="*/ 395452 w 2663946"/>
                <a:gd name="connsiteY1228" fmla="*/ 71298 h 349382"/>
                <a:gd name="connsiteX1229" fmla="*/ 397664 w 2663946"/>
                <a:gd name="connsiteY1229" fmla="*/ 76706 h 349382"/>
                <a:gd name="connsiteX1230" fmla="*/ 398647 w 2663946"/>
                <a:gd name="connsiteY1230" fmla="*/ 80221 h 349382"/>
                <a:gd name="connsiteX1231" fmla="*/ 399630 w 2663946"/>
                <a:gd name="connsiteY1231" fmla="*/ 85358 h 349382"/>
                <a:gd name="connsiteX1232" fmla="*/ 399384 w 2663946"/>
                <a:gd name="connsiteY1232" fmla="*/ 99688 h 349382"/>
                <a:gd name="connsiteX1233" fmla="*/ 398401 w 2663946"/>
                <a:gd name="connsiteY1233" fmla="*/ 104555 h 349382"/>
                <a:gd name="connsiteX1234" fmla="*/ 397172 w 2663946"/>
                <a:gd name="connsiteY1234" fmla="*/ 108340 h 349382"/>
                <a:gd name="connsiteX1235" fmla="*/ 396189 w 2663946"/>
                <a:gd name="connsiteY1235" fmla="*/ 110774 h 349382"/>
                <a:gd name="connsiteX1236" fmla="*/ 393977 w 2663946"/>
                <a:gd name="connsiteY1236" fmla="*/ 115100 h 349382"/>
                <a:gd name="connsiteX1237" fmla="*/ 391764 w 2663946"/>
                <a:gd name="connsiteY1237" fmla="*/ 118344 h 349382"/>
                <a:gd name="connsiteX1238" fmla="*/ 388323 w 2663946"/>
                <a:gd name="connsiteY1238" fmla="*/ 122130 h 349382"/>
                <a:gd name="connsiteX1239" fmla="*/ 385128 w 2663946"/>
                <a:gd name="connsiteY1239" fmla="*/ 124833 h 349382"/>
                <a:gd name="connsiteX1240" fmla="*/ 379474 w 2663946"/>
                <a:gd name="connsiteY1240" fmla="*/ 128078 h 349382"/>
                <a:gd name="connsiteX1241" fmla="*/ 371609 w 2663946"/>
                <a:gd name="connsiteY1241" fmla="*/ 130241 h 349382"/>
                <a:gd name="connsiteX1242" fmla="*/ 370380 w 2663946"/>
                <a:gd name="connsiteY1242" fmla="*/ 130512 h 349382"/>
                <a:gd name="connsiteX1243" fmla="*/ 366201 w 2663946"/>
                <a:gd name="connsiteY1243" fmla="*/ 130512 h 349382"/>
                <a:gd name="connsiteX1244" fmla="*/ 365955 w 2663946"/>
                <a:gd name="connsiteY1244" fmla="*/ 130512 h 349382"/>
                <a:gd name="connsiteX1245" fmla="*/ 352927 w 2663946"/>
                <a:gd name="connsiteY1245" fmla="*/ 125645 h 349382"/>
                <a:gd name="connsiteX1246" fmla="*/ 348257 w 2663946"/>
                <a:gd name="connsiteY1246" fmla="*/ 121589 h 349382"/>
                <a:gd name="connsiteX1247" fmla="*/ 345062 w 2663946"/>
                <a:gd name="connsiteY1247" fmla="*/ 117804 h 349382"/>
                <a:gd name="connsiteX1248" fmla="*/ 342850 w 2663946"/>
                <a:gd name="connsiteY1248" fmla="*/ 114289 h 349382"/>
                <a:gd name="connsiteX1249" fmla="*/ 340637 w 2663946"/>
                <a:gd name="connsiteY1249" fmla="*/ 109963 h 349382"/>
                <a:gd name="connsiteX1250" fmla="*/ 339408 w 2663946"/>
                <a:gd name="connsiteY1250" fmla="*/ 106988 h 349382"/>
                <a:gd name="connsiteX1251" fmla="*/ 338425 w 2663946"/>
                <a:gd name="connsiteY1251" fmla="*/ 103744 h 349382"/>
                <a:gd name="connsiteX1252" fmla="*/ 337196 w 2663946"/>
                <a:gd name="connsiteY1252" fmla="*/ 98066 h 349382"/>
                <a:gd name="connsiteX1253" fmla="*/ 336950 w 2663946"/>
                <a:gd name="connsiteY1253" fmla="*/ 95092 h 349382"/>
                <a:gd name="connsiteX1254" fmla="*/ 337196 w 2663946"/>
                <a:gd name="connsiteY1254" fmla="*/ 95362 h 349382"/>
                <a:gd name="connsiteX1255" fmla="*/ 337196 w 2663946"/>
                <a:gd name="connsiteY1255" fmla="*/ 89684 h 349382"/>
                <a:gd name="connsiteX1256" fmla="*/ 337196 w 2663946"/>
                <a:gd name="connsiteY1256" fmla="*/ 89414 h 349382"/>
                <a:gd name="connsiteX1257" fmla="*/ 337687 w 2663946"/>
                <a:gd name="connsiteY1257" fmla="*/ 84817 h 349382"/>
                <a:gd name="connsiteX1258" fmla="*/ 338917 w 2663946"/>
                <a:gd name="connsiteY1258" fmla="*/ 79410 h 349382"/>
                <a:gd name="connsiteX1259" fmla="*/ 339900 w 2663946"/>
                <a:gd name="connsiteY1259" fmla="*/ 76165 h 349382"/>
                <a:gd name="connsiteX1260" fmla="*/ 342112 w 2663946"/>
                <a:gd name="connsiteY1260" fmla="*/ 71028 h 349382"/>
                <a:gd name="connsiteX1261" fmla="*/ 344324 w 2663946"/>
                <a:gd name="connsiteY1261" fmla="*/ 67243 h 349382"/>
                <a:gd name="connsiteX1262" fmla="*/ 346536 w 2663946"/>
                <a:gd name="connsiteY1262" fmla="*/ 64268 h 349382"/>
                <a:gd name="connsiteX1263" fmla="*/ 348749 w 2663946"/>
                <a:gd name="connsiteY1263" fmla="*/ 61835 h 349382"/>
                <a:gd name="connsiteX1264" fmla="*/ 353419 w 2663946"/>
                <a:gd name="connsiteY1264" fmla="*/ 58050 h 349382"/>
                <a:gd name="connsiteX1265" fmla="*/ 357352 w 2663946"/>
                <a:gd name="connsiteY1265" fmla="*/ 55887 h 349382"/>
                <a:gd name="connsiteX1266" fmla="*/ 366938 w 2663946"/>
                <a:gd name="connsiteY1266" fmla="*/ 53453 h 349382"/>
                <a:gd name="connsiteX1267" fmla="*/ 123893 w 2663946"/>
                <a:gd name="connsiteY1267" fmla="*/ 53453 h 349382"/>
                <a:gd name="connsiteX1268" fmla="*/ 136183 w 2663946"/>
                <a:gd name="connsiteY1268" fmla="*/ 55616 h 349382"/>
                <a:gd name="connsiteX1269" fmla="*/ 143557 w 2663946"/>
                <a:gd name="connsiteY1269" fmla="*/ 60213 h 349382"/>
                <a:gd name="connsiteX1270" fmla="*/ 146998 w 2663946"/>
                <a:gd name="connsiteY1270" fmla="*/ 63457 h 349382"/>
                <a:gd name="connsiteX1271" fmla="*/ 150439 w 2663946"/>
                <a:gd name="connsiteY1271" fmla="*/ 67783 h 349382"/>
                <a:gd name="connsiteX1272" fmla="*/ 152406 w 2663946"/>
                <a:gd name="connsiteY1272" fmla="*/ 71298 h 349382"/>
                <a:gd name="connsiteX1273" fmla="*/ 154618 w 2663946"/>
                <a:gd name="connsiteY1273" fmla="*/ 76706 h 349382"/>
                <a:gd name="connsiteX1274" fmla="*/ 155601 w 2663946"/>
                <a:gd name="connsiteY1274" fmla="*/ 80221 h 349382"/>
                <a:gd name="connsiteX1275" fmla="*/ 156584 w 2663946"/>
                <a:gd name="connsiteY1275" fmla="*/ 85358 h 349382"/>
                <a:gd name="connsiteX1276" fmla="*/ 156339 w 2663946"/>
                <a:gd name="connsiteY1276" fmla="*/ 99688 h 349382"/>
                <a:gd name="connsiteX1277" fmla="*/ 155355 w 2663946"/>
                <a:gd name="connsiteY1277" fmla="*/ 104555 h 349382"/>
                <a:gd name="connsiteX1278" fmla="*/ 154126 w 2663946"/>
                <a:gd name="connsiteY1278" fmla="*/ 108340 h 349382"/>
                <a:gd name="connsiteX1279" fmla="*/ 153143 w 2663946"/>
                <a:gd name="connsiteY1279" fmla="*/ 110774 h 349382"/>
                <a:gd name="connsiteX1280" fmla="*/ 150931 w 2663946"/>
                <a:gd name="connsiteY1280" fmla="*/ 115100 h 349382"/>
                <a:gd name="connsiteX1281" fmla="*/ 148719 w 2663946"/>
                <a:gd name="connsiteY1281" fmla="*/ 118344 h 349382"/>
                <a:gd name="connsiteX1282" fmla="*/ 145277 w 2663946"/>
                <a:gd name="connsiteY1282" fmla="*/ 122130 h 349382"/>
                <a:gd name="connsiteX1283" fmla="*/ 142082 w 2663946"/>
                <a:gd name="connsiteY1283" fmla="*/ 124833 h 349382"/>
                <a:gd name="connsiteX1284" fmla="*/ 136428 w 2663946"/>
                <a:gd name="connsiteY1284" fmla="*/ 128078 h 349382"/>
                <a:gd name="connsiteX1285" fmla="*/ 128563 w 2663946"/>
                <a:gd name="connsiteY1285" fmla="*/ 130241 h 349382"/>
                <a:gd name="connsiteX1286" fmla="*/ 127334 w 2663946"/>
                <a:gd name="connsiteY1286" fmla="*/ 130512 h 349382"/>
                <a:gd name="connsiteX1287" fmla="*/ 123155 w 2663946"/>
                <a:gd name="connsiteY1287" fmla="*/ 130512 h 349382"/>
                <a:gd name="connsiteX1288" fmla="*/ 122909 w 2663946"/>
                <a:gd name="connsiteY1288" fmla="*/ 130512 h 349382"/>
                <a:gd name="connsiteX1289" fmla="*/ 109882 w 2663946"/>
                <a:gd name="connsiteY1289" fmla="*/ 125645 h 349382"/>
                <a:gd name="connsiteX1290" fmla="*/ 105211 w 2663946"/>
                <a:gd name="connsiteY1290" fmla="*/ 121589 h 349382"/>
                <a:gd name="connsiteX1291" fmla="*/ 102016 w 2663946"/>
                <a:gd name="connsiteY1291" fmla="*/ 117804 h 349382"/>
                <a:gd name="connsiteX1292" fmla="*/ 99804 w 2663946"/>
                <a:gd name="connsiteY1292" fmla="*/ 114289 h 349382"/>
                <a:gd name="connsiteX1293" fmla="*/ 97591 w 2663946"/>
                <a:gd name="connsiteY1293" fmla="*/ 109963 h 349382"/>
                <a:gd name="connsiteX1294" fmla="*/ 96362 w 2663946"/>
                <a:gd name="connsiteY1294" fmla="*/ 106988 h 349382"/>
                <a:gd name="connsiteX1295" fmla="*/ 95379 w 2663946"/>
                <a:gd name="connsiteY1295" fmla="*/ 103744 h 349382"/>
                <a:gd name="connsiteX1296" fmla="*/ 94150 w 2663946"/>
                <a:gd name="connsiteY1296" fmla="*/ 98066 h 349382"/>
                <a:gd name="connsiteX1297" fmla="*/ 93904 w 2663946"/>
                <a:gd name="connsiteY1297" fmla="*/ 95092 h 349382"/>
                <a:gd name="connsiteX1298" fmla="*/ 94150 w 2663946"/>
                <a:gd name="connsiteY1298" fmla="*/ 95362 h 349382"/>
                <a:gd name="connsiteX1299" fmla="*/ 94150 w 2663946"/>
                <a:gd name="connsiteY1299" fmla="*/ 89684 h 349382"/>
                <a:gd name="connsiteX1300" fmla="*/ 94150 w 2663946"/>
                <a:gd name="connsiteY1300" fmla="*/ 89414 h 349382"/>
                <a:gd name="connsiteX1301" fmla="*/ 94642 w 2663946"/>
                <a:gd name="connsiteY1301" fmla="*/ 84817 h 349382"/>
                <a:gd name="connsiteX1302" fmla="*/ 95871 w 2663946"/>
                <a:gd name="connsiteY1302" fmla="*/ 79410 h 349382"/>
                <a:gd name="connsiteX1303" fmla="*/ 96854 w 2663946"/>
                <a:gd name="connsiteY1303" fmla="*/ 76165 h 349382"/>
                <a:gd name="connsiteX1304" fmla="*/ 99066 w 2663946"/>
                <a:gd name="connsiteY1304" fmla="*/ 71028 h 349382"/>
                <a:gd name="connsiteX1305" fmla="*/ 101279 w 2663946"/>
                <a:gd name="connsiteY1305" fmla="*/ 67243 h 349382"/>
                <a:gd name="connsiteX1306" fmla="*/ 103491 w 2663946"/>
                <a:gd name="connsiteY1306" fmla="*/ 64268 h 349382"/>
                <a:gd name="connsiteX1307" fmla="*/ 105703 w 2663946"/>
                <a:gd name="connsiteY1307" fmla="*/ 61835 h 349382"/>
                <a:gd name="connsiteX1308" fmla="*/ 110373 w 2663946"/>
                <a:gd name="connsiteY1308" fmla="*/ 58050 h 349382"/>
                <a:gd name="connsiteX1309" fmla="*/ 114306 w 2663946"/>
                <a:gd name="connsiteY1309" fmla="*/ 55887 h 349382"/>
                <a:gd name="connsiteX1310" fmla="*/ 123893 w 2663946"/>
                <a:gd name="connsiteY1310" fmla="*/ 53453 h 349382"/>
                <a:gd name="connsiteX1311" fmla="*/ 33147 w 2663946"/>
                <a:gd name="connsiteY1311" fmla="*/ 52815 h 349382"/>
                <a:gd name="connsiteX1312" fmla="*/ 57942 w 2663946"/>
                <a:gd name="connsiteY1312" fmla="*/ 73024 h 349382"/>
                <a:gd name="connsiteX1313" fmla="*/ 58422 w 2663946"/>
                <a:gd name="connsiteY1313" fmla="*/ 77782 h 349382"/>
                <a:gd name="connsiteX1314" fmla="*/ 59840 w 2663946"/>
                <a:gd name="connsiteY1314" fmla="*/ 77782 h 349382"/>
                <a:gd name="connsiteX1315" fmla="*/ 66294 w 2663946"/>
                <a:gd name="connsiteY1315" fmla="*/ 84068 h 349382"/>
                <a:gd name="connsiteX1316" fmla="*/ 66294 w 2663946"/>
                <a:gd name="connsiteY1316" fmla="*/ 133790 h 349382"/>
                <a:gd name="connsiteX1317" fmla="*/ 59840 w 2663946"/>
                <a:gd name="connsiteY1317" fmla="*/ 140076 h 349382"/>
                <a:gd name="connsiteX1318" fmla="*/ 6453 w 2663946"/>
                <a:gd name="connsiteY1318" fmla="*/ 140076 h 349382"/>
                <a:gd name="connsiteX1319" fmla="*/ 0 w 2663946"/>
                <a:gd name="connsiteY1319" fmla="*/ 133790 h 349382"/>
                <a:gd name="connsiteX1320" fmla="*/ 0 w 2663946"/>
                <a:gd name="connsiteY1320" fmla="*/ 84068 h 349382"/>
                <a:gd name="connsiteX1321" fmla="*/ 6453 w 2663946"/>
                <a:gd name="connsiteY1321" fmla="*/ 77782 h 349382"/>
                <a:gd name="connsiteX1322" fmla="*/ 7288 w 2663946"/>
                <a:gd name="connsiteY1322" fmla="*/ 77782 h 349382"/>
                <a:gd name="connsiteX1323" fmla="*/ 7872 w 2663946"/>
                <a:gd name="connsiteY1323" fmla="*/ 77782 h 349382"/>
                <a:gd name="connsiteX1324" fmla="*/ 8351 w 2663946"/>
                <a:gd name="connsiteY1324" fmla="*/ 73024 h 349382"/>
                <a:gd name="connsiteX1325" fmla="*/ 33147 w 2663946"/>
                <a:gd name="connsiteY1325" fmla="*/ 52815 h 349382"/>
                <a:gd name="connsiteX1326" fmla="*/ 2537931 w 2663946"/>
                <a:gd name="connsiteY1326" fmla="*/ 45227 h 349382"/>
                <a:gd name="connsiteX1327" fmla="*/ 2562727 w 2663946"/>
                <a:gd name="connsiteY1327" fmla="*/ 65436 h 349382"/>
                <a:gd name="connsiteX1328" fmla="*/ 2563206 w 2663946"/>
                <a:gd name="connsiteY1328" fmla="*/ 70194 h 349382"/>
                <a:gd name="connsiteX1329" fmla="*/ 2564625 w 2663946"/>
                <a:gd name="connsiteY1329" fmla="*/ 70194 h 349382"/>
                <a:gd name="connsiteX1330" fmla="*/ 2571078 w 2663946"/>
                <a:gd name="connsiteY1330" fmla="*/ 76480 h 349382"/>
                <a:gd name="connsiteX1331" fmla="*/ 2571078 w 2663946"/>
                <a:gd name="connsiteY1331" fmla="*/ 126202 h 349382"/>
                <a:gd name="connsiteX1332" fmla="*/ 2564625 w 2663946"/>
                <a:gd name="connsiteY1332" fmla="*/ 132488 h 349382"/>
                <a:gd name="connsiteX1333" fmla="*/ 2511238 w 2663946"/>
                <a:gd name="connsiteY1333" fmla="*/ 132488 h 349382"/>
                <a:gd name="connsiteX1334" fmla="*/ 2504784 w 2663946"/>
                <a:gd name="connsiteY1334" fmla="*/ 126202 h 349382"/>
                <a:gd name="connsiteX1335" fmla="*/ 2504784 w 2663946"/>
                <a:gd name="connsiteY1335" fmla="*/ 76480 h 349382"/>
                <a:gd name="connsiteX1336" fmla="*/ 2511238 w 2663946"/>
                <a:gd name="connsiteY1336" fmla="*/ 70194 h 349382"/>
                <a:gd name="connsiteX1337" fmla="*/ 2512072 w 2663946"/>
                <a:gd name="connsiteY1337" fmla="*/ 70194 h 349382"/>
                <a:gd name="connsiteX1338" fmla="*/ 2512656 w 2663946"/>
                <a:gd name="connsiteY1338" fmla="*/ 70194 h 349382"/>
                <a:gd name="connsiteX1339" fmla="*/ 2513136 w 2663946"/>
                <a:gd name="connsiteY1339" fmla="*/ 65436 h 349382"/>
                <a:gd name="connsiteX1340" fmla="*/ 2537931 w 2663946"/>
                <a:gd name="connsiteY1340" fmla="*/ 45227 h 349382"/>
                <a:gd name="connsiteX1341" fmla="*/ 2112934 w 2663946"/>
                <a:gd name="connsiteY1341" fmla="*/ 45227 h 349382"/>
                <a:gd name="connsiteX1342" fmla="*/ 2137730 w 2663946"/>
                <a:gd name="connsiteY1342" fmla="*/ 65436 h 349382"/>
                <a:gd name="connsiteX1343" fmla="*/ 2138209 w 2663946"/>
                <a:gd name="connsiteY1343" fmla="*/ 70194 h 349382"/>
                <a:gd name="connsiteX1344" fmla="*/ 2139628 w 2663946"/>
                <a:gd name="connsiteY1344" fmla="*/ 70194 h 349382"/>
                <a:gd name="connsiteX1345" fmla="*/ 2146081 w 2663946"/>
                <a:gd name="connsiteY1345" fmla="*/ 76480 h 349382"/>
                <a:gd name="connsiteX1346" fmla="*/ 2146081 w 2663946"/>
                <a:gd name="connsiteY1346" fmla="*/ 126202 h 349382"/>
                <a:gd name="connsiteX1347" fmla="*/ 2139628 w 2663946"/>
                <a:gd name="connsiteY1347" fmla="*/ 132488 h 349382"/>
                <a:gd name="connsiteX1348" fmla="*/ 2086241 w 2663946"/>
                <a:gd name="connsiteY1348" fmla="*/ 132488 h 349382"/>
                <a:gd name="connsiteX1349" fmla="*/ 2079787 w 2663946"/>
                <a:gd name="connsiteY1349" fmla="*/ 126202 h 349382"/>
                <a:gd name="connsiteX1350" fmla="*/ 2079787 w 2663946"/>
                <a:gd name="connsiteY1350" fmla="*/ 76480 h 349382"/>
                <a:gd name="connsiteX1351" fmla="*/ 2086241 w 2663946"/>
                <a:gd name="connsiteY1351" fmla="*/ 70194 h 349382"/>
                <a:gd name="connsiteX1352" fmla="*/ 2087075 w 2663946"/>
                <a:gd name="connsiteY1352" fmla="*/ 70194 h 349382"/>
                <a:gd name="connsiteX1353" fmla="*/ 2087659 w 2663946"/>
                <a:gd name="connsiteY1353" fmla="*/ 70194 h 349382"/>
                <a:gd name="connsiteX1354" fmla="*/ 2088139 w 2663946"/>
                <a:gd name="connsiteY1354" fmla="*/ 65436 h 349382"/>
                <a:gd name="connsiteX1355" fmla="*/ 2112934 w 2663946"/>
                <a:gd name="connsiteY1355" fmla="*/ 45227 h 349382"/>
                <a:gd name="connsiteX1356" fmla="*/ 1854966 w 2663946"/>
                <a:gd name="connsiteY1356" fmla="*/ 45227 h 349382"/>
                <a:gd name="connsiteX1357" fmla="*/ 1879762 w 2663946"/>
                <a:gd name="connsiteY1357" fmla="*/ 65436 h 349382"/>
                <a:gd name="connsiteX1358" fmla="*/ 1880241 w 2663946"/>
                <a:gd name="connsiteY1358" fmla="*/ 70194 h 349382"/>
                <a:gd name="connsiteX1359" fmla="*/ 1881660 w 2663946"/>
                <a:gd name="connsiteY1359" fmla="*/ 70194 h 349382"/>
                <a:gd name="connsiteX1360" fmla="*/ 1888113 w 2663946"/>
                <a:gd name="connsiteY1360" fmla="*/ 76480 h 349382"/>
                <a:gd name="connsiteX1361" fmla="*/ 1888113 w 2663946"/>
                <a:gd name="connsiteY1361" fmla="*/ 126202 h 349382"/>
                <a:gd name="connsiteX1362" fmla="*/ 1881660 w 2663946"/>
                <a:gd name="connsiteY1362" fmla="*/ 132488 h 349382"/>
                <a:gd name="connsiteX1363" fmla="*/ 1828273 w 2663946"/>
                <a:gd name="connsiteY1363" fmla="*/ 132488 h 349382"/>
                <a:gd name="connsiteX1364" fmla="*/ 1821819 w 2663946"/>
                <a:gd name="connsiteY1364" fmla="*/ 126202 h 349382"/>
                <a:gd name="connsiteX1365" fmla="*/ 1821819 w 2663946"/>
                <a:gd name="connsiteY1365" fmla="*/ 76480 h 349382"/>
                <a:gd name="connsiteX1366" fmla="*/ 1828273 w 2663946"/>
                <a:gd name="connsiteY1366" fmla="*/ 70194 h 349382"/>
                <a:gd name="connsiteX1367" fmla="*/ 1829107 w 2663946"/>
                <a:gd name="connsiteY1367" fmla="*/ 70194 h 349382"/>
                <a:gd name="connsiteX1368" fmla="*/ 1829691 w 2663946"/>
                <a:gd name="connsiteY1368" fmla="*/ 70194 h 349382"/>
                <a:gd name="connsiteX1369" fmla="*/ 1830171 w 2663946"/>
                <a:gd name="connsiteY1369" fmla="*/ 65436 h 349382"/>
                <a:gd name="connsiteX1370" fmla="*/ 1854966 w 2663946"/>
                <a:gd name="connsiteY1370" fmla="*/ 45227 h 349382"/>
                <a:gd name="connsiteX1371" fmla="*/ 1764027 w 2663946"/>
                <a:gd name="connsiteY1371" fmla="*/ 45227 h 349382"/>
                <a:gd name="connsiteX1372" fmla="*/ 1788823 w 2663946"/>
                <a:gd name="connsiteY1372" fmla="*/ 65436 h 349382"/>
                <a:gd name="connsiteX1373" fmla="*/ 1789302 w 2663946"/>
                <a:gd name="connsiteY1373" fmla="*/ 70194 h 349382"/>
                <a:gd name="connsiteX1374" fmla="*/ 1790721 w 2663946"/>
                <a:gd name="connsiteY1374" fmla="*/ 70194 h 349382"/>
                <a:gd name="connsiteX1375" fmla="*/ 1797174 w 2663946"/>
                <a:gd name="connsiteY1375" fmla="*/ 76480 h 349382"/>
                <a:gd name="connsiteX1376" fmla="*/ 1797174 w 2663946"/>
                <a:gd name="connsiteY1376" fmla="*/ 126202 h 349382"/>
                <a:gd name="connsiteX1377" fmla="*/ 1790721 w 2663946"/>
                <a:gd name="connsiteY1377" fmla="*/ 132488 h 349382"/>
                <a:gd name="connsiteX1378" fmla="*/ 1737333 w 2663946"/>
                <a:gd name="connsiteY1378" fmla="*/ 132488 h 349382"/>
                <a:gd name="connsiteX1379" fmla="*/ 1730880 w 2663946"/>
                <a:gd name="connsiteY1379" fmla="*/ 126202 h 349382"/>
                <a:gd name="connsiteX1380" fmla="*/ 1730880 w 2663946"/>
                <a:gd name="connsiteY1380" fmla="*/ 76480 h 349382"/>
                <a:gd name="connsiteX1381" fmla="*/ 1737333 w 2663946"/>
                <a:gd name="connsiteY1381" fmla="*/ 70194 h 349382"/>
                <a:gd name="connsiteX1382" fmla="*/ 1738168 w 2663946"/>
                <a:gd name="connsiteY1382" fmla="*/ 70194 h 349382"/>
                <a:gd name="connsiteX1383" fmla="*/ 1738752 w 2663946"/>
                <a:gd name="connsiteY1383" fmla="*/ 70194 h 349382"/>
                <a:gd name="connsiteX1384" fmla="*/ 1739232 w 2663946"/>
                <a:gd name="connsiteY1384" fmla="*/ 65436 h 349382"/>
                <a:gd name="connsiteX1385" fmla="*/ 1764027 w 2663946"/>
                <a:gd name="connsiteY1385" fmla="*/ 45227 h 349382"/>
                <a:gd name="connsiteX1386" fmla="*/ 1506059 w 2663946"/>
                <a:gd name="connsiteY1386" fmla="*/ 45227 h 349382"/>
                <a:gd name="connsiteX1387" fmla="*/ 1530855 w 2663946"/>
                <a:gd name="connsiteY1387" fmla="*/ 65436 h 349382"/>
                <a:gd name="connsiteX1388" fmla="*/ 1531334 w 2663946"/>
                <a:gd name="connsiteY1388" fmla="*/ 70194 h 349382"/>
                <a:gd name="connsiteX1389" fmla="*/ 1532753 w 2663946"/>
                <a:gd name="connsiteY1389" fmla="*/ 70194 h 349382"/>
                <a:gd name="connsiteX1390" fmla="*/ 1539206 w 2663946"/>
                <a:gd name="connsiteY1390" fmla="*/ 76480 h 349382"/>
                <a:gd name="connsiteX1391" fmla="*/ 1539206 w 2663946"/>
                <a:gd name="connsiteY1391" fmla="*/ 126202 h 349382"/>
                <a:gd name="connsiteX1392" fmla="*/ 1532753 w 2663946"/>
                <a:gd name="connsiteY1392" fmla="*/ 132488 h 349382"/>
                <a:gd name="connsiteX1393" fmla="*/ 1479365 w 2663946"/>
                <a:gd name="connsiteY1393" fmla="*/ 132488 h 349382"/>
                <a:gd name="connsiteX1394" fmla="*/ 1472912 w 2663946"/>
                <a:gd name="connsiteY1394" fmla="*/ 126202 h 349382"/>
                <a:gd name="connsiteX1395" fmla="*/ 1472912 w 2663946"/>
                <a:gd name="connsiteY1395" fmla="*/ 76480 h 349382"/>
                <a:gd name="connsiteX1396" fmla="*/ 1479365 w 2663946"/>
                <a:gd name="connsiteY1396" fmla="*/ 70194 h 349382"/>
                <a:gd name="connsiteX1397" fmla="*/ 1480200 w 2663946"/>
                <a:gd name="connsiteY1397" fmla="*/ 70194 h 349382"/>
                <a:gd name="connsiteX1398" fmla="*/ 1480784 w 2663946"/>
                <a:gd name="connsiteY1398" fmla="*/ 70194 h 349382"/>
                <a:gd name="connsiteX1399" fmla="*/ 1481264 w 2663946"/>
                <a:gd name="connsiteY1399" fmla="*/ 65436 h 349382"/>
                <a:gd name="connsiteX1400" fmla="*/ 1506059 w 2663946"/>
                <a:gd name="connsiteY1400" fmla="*/ 45227 h 349382"/>
                <a:gd name="connsiteX1401" fmla="*/ 1415120 w 2663946"/>
                <a:gd name="connsiteY1401" fmla="*/ 45227 h 349382"/>
                <a:gd name="connsiteX1402" fmla="*/ 1439916 w 2663946"/>
                <a:gd name="connsiteY1402" fmla="*/ 65436 h 349382"/>
                <a:gd name="connsiteX1403" fmla="*/ 1440395 w 2663946"/>
                <a:gd name="connsiteY1403" fmla="*/ 70194 h 349382"/>
                <a:gd name="connsiteX1404" fmla="*/ 1441814 w 2663946"/>
                <a:gd name="connsiteY1404" fmla="*/ 70194 h 349382"/>
                <a:gd name="connsiteX1405" fmla="*/ 1448267 w 2663946"/>
                <a:gd name="connsiteY1405" fmla="*/ 76480 h 349382"/>
                <a:gd name="connsiteX1406" fmla="*/ 1448267 w 2663946"/>
                <a:gd name="connsiteY1406" fmla="*/ 126202 h 349382"/>
                <a:gd name="connsiteX1407" fmla="*/ 1441814 w 2663946"/>
                <a:gd name="connsiteY1407" fmla="*/ 132488 h 349382"/>
                <a:gd name="connsiteX1408" fmla="*/ 1388426 w 2663946"/>
                <a:gd name="connsiteY1408" fmla="*/ 132488 h 349382"/>
                <a:gd name="connsiteX1409" fmla="*/ 1381973 w 2663946"/>
                <a:gd name="connsiteY1409" fmla="*/ 126202 h 349382"/>
                <a:gd name="connsiteX1410" fmla="*/ 1381973 w 2663946"/>
                <a:gd name="connsiteY1410" fmla="*/ 76480 h 349382"/>
                <a:gd name="connsiteX1411" fmla="*/ 1388426 w 2663946"/>
                <a:gd name="connsiteY1411" fmla="*/ 70194 h 349382"/>
                <a:gd name="connsiteX1412" fmla="*/ 1389261 w 2663946"/>
                <a:gd name="connsiteY1412" fmla="*/ 70194 h 349382"/>
                <a:gd name="connsiteX1413" fmla="*/ 1389845 w 2663946"/>
                <a:gd name="connsiteY1413" fmla="*/ 70194 h 349382"/>
                <a:gd name="connsiteX1414" fmla="*/ 1390325 w 2663946"/>
                <a:gd name="connsiteY1414" fmla="*/ 65436 h 349382"/>
                <a:gd name="connsiteX1415" fmla="*/ 1415120 w 2663946"/>
                <a:gd name="connsiteY1415" fmla="*/ 45227 h 349382"/>
                <a:gd name="connsiteX1416" fmla="*/ 1157152 w 2663946"/>
                <a:gd name="connsiteY1416" fmla="*/ 45227 h 349382"/>
                <a:gd name="connsiteX1417" fmla="*/ 1181948 w 2663946"/>
                <a:gd name="connsiteY1417" fmla="*/ 65436 h 349382"/>
                <a:gd name="connsiteX1418" fmla="*/ 1182427 w 2663946"/>
                <a:gd name="connsiteY1418" fmla="*/ 70194 h 349382"/>
                <a:gd name="connsiteX1419" fmla="*/ 1183846 w 2663946"/>
                <a:gd name="connsiteY1419" fmla="*/ 70194 h 349382"/>
                <a:gd name="connsiteX1420" fmla="*/ 1190299 w 2663946"/>
                <a:gd name="connsiteY1420" fmla="*/ 76480 h 349382"/>
                <a:gd name="connsiteX1421" fmla="*/ 1190299 w 2663946"/>
                <a:gd name="connsiteY1421" fmla="*/ 126202 h 349382"/>
                <a:gd name="connsiteX1422" fmla="*/ 1183846 w 2663946"/>
                <a:gd name="connsiteY1422" fmla="*/ 132488 h 349382"/>
                <a:gd name="connsiteX1423" fmla="*/ 1130458 w 2663946"/>
                <a:gd name="connsiteY1423" fmla="*/ 132488 h 349382"/>
                <a:gd name="connsiteX1424" fmla="*/ 1124005 w 2663946"/>
                <a:gd name="connsiteY1424" fmla="*/ 126202 h 349382"/>
                <a:gd name="connsiteX1425" fmla="*/ 1124005 w 2663946"/>
                <a:gd name="connsiteY1425" fmla="*/ 76480 h 349382"/>
                <a:gd name="connsiteX1426" fmla="*/ 1130458 w 2663946"/>
                <a:gd name="connsiteY1426" fmla="*/ 70194 h 349382"/>
                <a:gd name="connsiteX1427" fmla="*/ 1131293 w 2663946"/>
                <a:gd name="connsiteY1427" fmla="*/ 70194 h 349382"/>
                <a:gd name="connsiteX1428" fmla="*/ 1131877 w 2663946"/>
                <a:gd name="connsiteY1428" fmla="*/ 70194 h 349382"/>
                <a:gd name="connsiteX1429" fmla="*/ 1132357 w 2663946"/>
                <a:gd name="connsiteY1429" fmla="*/ 65436 h 349382"/>
                <a:gd name="connsiteX1430" fmla="*/ 1157152 w 2663946"/>
                <a:gd name="connsiteY1430" fmla="*/ 45227 h 349382"/>
                <a:gd name="connsiteX1431" fmla="*/ 732156 w 2663946"/>
                <a:gd name="connsiteY1431" fmla="*/ 45227 h 349382"/>
                <a:gd name="connsiteX1432" fmla="*/ 756951 w 2663946"/>
                <a:gd name="connsiteY1432" fmla="*/ 65436 h 349382"/>
                <a:gd name="connsiteX1433" fmla="*/ 757431 w 2663946"/>
                <a:gd name="connsiteY1433" fmla="*/ 70194 h 349382"/>
                <a:gd name="connsiteX1434" fmla="*/ 758849 w 2663946"/>
                <a:gd name="connsiteY1434" fmla="*/ 70194 h 349382"/>
                <a:gd name="connsiteX1435" fmla="*/ 765303 w 2663946"/>
                <a:gd name="connsiteY1435" fmla="*/ 76480 h 349382"/>
                <a:gd name="connsiteX1436" fmla="*/ 765303 w 2663946"/>
                <a:gd name="connsiteY1436" fmla="*/ 126202 h 349382"/>
                <a:gd name="connsiteX1437" fmla="*/ 758849 w 2663946"/>
                <a:gd name="connsiteY1437" fmla="*/ 132488 h 349382"/>
                <a:gd name="connsiteX1438" fmla="*/ 705462 w 2663946"/>
                <a:gd name="connsiteY1438" fmla="*/ 132488 h 349382"/>
                <a:gd name="connsiteX1439" fmla="*/ 699009 w 2663946"/>
                <a:gd name="connsiteY1439" fmla="*/ 126202 h 349382"/>
                <a:gd name="connsiteX1440" fmla="*/ 699009 w 2663946"/>
                <a:gd name="connsiteY1440" fmla="*/ 76480 h 349382"/>
                <a:gd name="connsiteX1441" fmla="*/ 705462 w 2663946"/>
                <a:gd name="connsiteY1441" fmla="*/ 70194 h 349382"/>
                <a:gd name="connsiteX1442" fmla="*/ 706296 w 2663946"/>
                <a:gd name="connsiteY1442" fmla="*/ 70194 h 349382"/>
                <a:gd name="connsiteX1443" fmla="*/ 706881 w 2663946"/>
                <a:gd name="connsiteY1443" fmla="*/ 70194 h 349382"/>
                <a:gd name="connsiteX1444" fmla="*/ 707360 w 2663946"/>
                <a:gd name="connsiteY1444" fmla="*/ 65436 h 349382"/>
                <a:gd name="connsiteX1445" fmla="*/ 732156 w 2663946"/>
                <a:gd name="connsiteY1445" fmla="*/ 45227 h 349382"/>
                <a:gd name="connsiteX1446" fmla="*/ 641217 w 2663946"/>
                <a:gd name="connsiteY1446" fmla="*/ 45227 h 349382"/>
                <a:gd name="connsiteX1447" fmla="*/ 666012 w 2663946"/>
                <a:gd name="connsiteY1447" fmla="*/ 65436 h 349382"/>
                <a:gd name="connsiteX1448" fmla="*/ 666492 w 2663946"/>
                <a:gd name="connsiteY1448" fmla="*/ 70194 h 349382"/>
                <a:gd name="connsiteX1449" fmla="*/ 667910 w 2663946"/>
                <a:gd name="connsiteY1449" fmla="*/ 70194 h 349382"/>
                <a:gd name="connsiteX1450" fmla="*/ 674364 w 2663946"/>
                <a:gd name="connsiteY1450" fmla="*/ 76480 h 349382"/>
                <a:gd name="connsiteX1451" fmla="*/ 674364 w 2663946"/>
                <a:gd name="connsiteY1451" fmla="*/ 126202 h 349382"/>
                <a:gd name="connsiteX1452" fmla="*/ 667910 w 2663946"/>
                <a:gd name="connsiteY1452" fmla="*/ 132488 h 349382"/>
                <a:gd name="connsiteX1453" fmla="*/ 614523 w 2663946"/>
                <a:gd name="connsiteY1453" fmla="*/ 132488 h 349382"/>
                <a:gd name="connsiteX1454" fmla="*/ 608070 w 2663946"/>
                <a:gd name="connsiteY1454" fmla="*/ 126202 h 349382"/>
                <a:gd name="connsiteX1455" fmla="*/ 608070 w 2663946"/>
                <a:gd name="connsiteY1455" fmla="*/ 76480 h 349382"/>
                <a:gd name="connsiteX1456" fmla="*/ 614523 w 2663946"/>
                <a:gd name="connsiteY1456" fmla="*/ 70194 h 349382"/>
                <a:gd name="connsiteX1457" fmla="*/ 615358 w 2663946"/>
                <a:gd name="connsiteY1457" fmla="*/ 70194 h 349382"/>
                <a:gd name="connsiteX1458" fmla="*/ 615942 w 2663946"/>
                <a:gd name="connsiteY1458" fmla="*/ 70194 h 349382"/>
                <a:gd name="connsiteX1459" fmla="*/ 616422 w 2663946"/>
                <a:gd name="connsiteY1459" fmla="*/ 65436 h 349382"/>
                <a:gd name="connsiteX1460" fmla="*/ 641217 w 2663946"/>
                <a:gd name="connsiteY1460" fmla="*/ 45227 h 349382"/>
                <a:gd name="connsiteX1461" fmla="*/ 459266 w 2663946"/>
                <a:gd name="connsiteY1461" fmla="*/ 45227 h 349382"/>
                <a:gd name="connsiteX1462" fmla="*/ 484061 w 2663946"/>
                <a:gd name="connsiteY1462" fmla="*/ 65436 h 349382"/>
                <a:gd name="connsiteX1463" fmla="*/ 484541 w 2663946"/>
                <a:gd name="connsiteY1463" fmla="*/ 70194 h 349382"/>
                <a:gd name="connsiteX1464" fmla="*/ 485959 w 2663946"/>
                <a:gd name="connsiteY1464" fmla="*/ 70194 h 349382"/>
                <a:gd name="connsiteX1465" fmla="*/ 492413 w 2663946"/>
                <a:gd name="connsiteY1465" fmla="*/ 76480 h 349382"/>
                <a:gd name="connsiteX1466" fmla="*/ 492413 w 2663946"/>
                <a:gd name="connsiteY1466" fmla="*/ 126202 h 349382"/>
                <a:gd name="connsiteX1467" fmla="*/ 485959 w 2663946"/>
                <a:gd name="connsiteY1467" fmla="*/ 132488 h 349382"/>
                <a:gd name="connsiteX1468" fmla="*/ 432572 w 2663946"/>
                <a:gd name="connsiteY1468" fmla="*/ 132488 h 349382"/>
                <a:gd name="connsiteX1469" fmla="*/ 426119 w 2663946"/>
                <a:gd name="connsiteY1469" fmla="*/ 126202 h 349382"/>
                <a:gd name="connsiteX1470" fmla="*/ 426119 w 2663946"/>
                <a:gd name="connsiteY1470" fmla="*/ 76480 h 349382"/>
                <a:gd name="connsiteX1471" fmla="*/ 432572 w 2663946"/>
                <a:gd name="connsiteY1471" fmla="*/ 70194 h 349382"/>
                <a:gd name="connsiteX1472" fmla="*/ 433406 w 2663946"/>
                <a:gd name="connsiteY1472" fmla="*/ 70194 h 349382"/>
                <a:gd name="connsiteX1473" fmla="*/ 433991 w 2663946"/>
                <a:gd name="connsiteY1473" fmla="*/ 70194 h 349382"/>
                <a:gd name="connsiteX1474" fmla="*/ 434470 w 2663946"/>
                <a:gd name="connsiteY1474" fmla="*/ 65436 h 349382"/>
                <a:gd name="connsiteX1475" fmla="*/ 459266 w 2663946"/>
                <a:gd name="connsiteY1475" fmla="*/ 45227 h 349382"/>
                <a:gd name="connsiteX1476" fmla="*/ 14664 w 2663946"/>
                <a:gd name="connsiteY1476" fmla="*/ 17002 h 349382"/>
                <a:gd name="connsiteX1477" fmla="*/ 40350 w 2663946"/>
                <a:gd name="connsiteY1477" fmla="*/ 1050 h 349382"/>
                <a:gd name="connsiteX1478" fmla="*/ 40891 w 2663946"/>
                <a:gd name="connsiteY1478" fmla="*/ 1590 h 349382"/>
                <a:gd name="connsiteX1479" fmla="*/ 48191 w 2663946"/>
                <a:gd name="connsiteY1479" fmla="*/ 1590 h 349382"/>
                <a:gd name="connsiteX1480" fmla="*/ 52247 w 2663946"/>
                <a:gd name="connsiteY1480" fmla="*/ 2672 h 349382"/>
                <a:gd name="connsiteX1481" fmla="*/ 56032 w 2663946"/>
                <a:gd name="connsiteY1481" fmla="*/ 9431 h 349382"/>
                <a:gd name="connsiteX1482" fmla="*/ 53328 w 2663946"/>
                <a:gd name="connsiteY1482" fmla="*/ 15109 h 349382"/>
                <a:gd name="connsiteX1483" fmla="*/ 49273 w 2663946"/>
                <a:gd name="connsiteY1483" fmla="*/ 17002 h 349382"/>
                <a:gd name="connsiteX1484" fmla="*/ 49002 w 2663946"/>
                <a:gd name="connsiteY1484" fmla="*/ 17002 h 349382"/>
                <a:gd name="connsiteX1485" fmla="*/ 48732 w 2663946"/>
                <a:gd name="connsiteY1485" fmla="*/ 17002 h 349382"/>
                <a:gd name="connsiteX1486" fmla="*/ 48191 w 2663946"/>
                <a:gd name="connsiteY1486" fmla="*/ 17002 h 349382"/>
                <a:gd name="connsiteX1487" fmla="*/ 16016 w 2663946"/>
                <a:gd name="connsiteY1487" fmla="*/ 17002 h 349382"/>
                <a:gd name="connsiteX1488" fmla="*/ 15475 w 2663946"/>
                <a:gd name="connsiteY1488" fmla="*/ 17002 h 349382"/>
                <a:gd name="connsiteX1489" fmla="*/ 14664 w 2663946"/>
                <a:gd name="connsiteY1489" fmla="*/ 17002 h 349382"/>
                <a:gd name="connsiteX0" fmla="*/ 2632966 w 2663946"/>
                <a:gd name="connsiteY0" fmla="*/ 288276 h 349382"/>
                <a:gd name="connsiteX1" fmla="*/ 2621414 w 2663946"/>
                <a:gd name="connsiteY1" fmla="*/ 290709 h 349382"/>
                <a:gd name="connsiteX2" fmla="*/ 2618218 w 2663946"/>
                <a:gd name="connsiteY2" fmla="*/ 294224 h 349382"/>
                <a:gd name="connsiteX3" fmla="*/ 2616006 w 2663946"/>
                <a:gd name="connsiteY3" fmla="*/ 298009 h 349382"/>
                <a:gd name="connsiteX4" fmla="*/ 2615023 w 2663946"/>
                <a:gd name="connsiteY4" fmla="*/ 300713 h 349382"/>
                <a:gd name="connsiteX5" fmla="*/ 2614039 w 2663946"/>
                <a:gd name="connsiteY5" fmla="*/ 304769 h 349382"/>
                <a:gd name="connsiteX6" fmla="*/ 2613056 w 2663946"/>
                <a:gd name="connsiteY6" fmla="*/ 311799 h 349382"/>
                <a:gd name="connsiteX7" fmla="*/ 2614039 w 2663946"/>
                <a:gd name="connsiteY7" fmla="*/ 319099 h 349382"/>
                <a:gd name="connsiteX8" fmla="*/ 2615269 w 2663946"/>
                <a:gd name="connsiteY8" fmla="*/ 322884 h 349382"/>
                <a:gd name="connsiteX9" fmla="*/ 2617481 w 2663946"/>
                <a:gd name="connsiteY9" fmla="*/ 327210 h 349382"/>
                <a:gd name="connsiteX10" fmla="*/ 2620922 w 2663946"/>
                <a:gd name="connsiteY10" fmla="*/ 331537 h 349382"/>
                <a:gd name="connsiteX11" fmla="*/ 2625346 w 2663946"/>
                <a:gd name="connsiteY11" fmla="*/ 334240 h 349382"/>
                <a:gd name="connsiteX12" fmla="*/ 2637637 w 2663946"/>
                <a:gd name="connsiteY12" fmla="*/ 331807 h 349382"/>
                <a:gd name="connsiteX13" fmla="*/ 2640832 w 2663946"/>
                <a:gd name="connsiteY13" fmla="*/ 328292 h 349382"/>
                <a:gd name="connsiteX14" fmla="*/ 2643290 w 2663946"/>
                <a:gd name="connsiteY14" fmla="*/ 323966 h 349382"/>
                <a:gd name="connsiteX15" fmla="*/ 2644273 w 2663946"/>
                <a:gd name="connsiteY15" fmla="*/ 321803 h 349382"/>
                <a:gd name="connsiteX16" fmla="*/ 2645502 w 2663946"/>
                <a:gd name="connsiteY16" fmla="*/ 317477 h 349382"/>
                <a:gd name="connsiteX17" fmla="*/ 2645011 w 2663946"/>
                <a:gd name="connsiteY17" fmla="*/ 303687 h 349382"/>
                <a:gd name="connsiteX18" fmla="*/ 2644027 w 2663946"/>
                <a:gd name="connsiteY18" fmla="*/ 300713 h 349382"/>
                <a:gd name="connsiteX19" fmla="*/ 2642799 w 2663946"/>
                <a:gd name="connsiteY19" fmla="*/ 297739 h 349382"/>
                <a:gd name="connsiteX20" fmla="*/ 2640586 w 2663946"/>
                <a:gd name="connsiteY20" fmla="*/ 294224 h 349382"/>
                <a:gd name="connsiteX21" fmla="*/ 2636899 w 2663946"/>
                <a:gd name="connsiteY21" fmla="*/ 290439 h 349382"/>
                <a:gd name="connsiteX22" fmla="*/ 2632966 w 2663946"/>
                <a:gd name="connsiteY22" fmla="*/ 288276 h 349382"/>
                <a:gd name="connsiteX23" fmla="*/ 2627559 w 2663946"/>
                <a:gd name="connsiteY23" fmla="*/ 272323 h 349382"/>
                <a:gd name="connsiteX24" fmla="*/ 2639849 w 2663946"/>
                <a:gd name="connsiteY24" fmla="*/ 274486 h 349382"/>
                <a:gd name="connsiteX25" fmla="*/ 2647223 w 2663946"/>
                <a:gd name="connsiteY25" fmla="*/ 279083 h 349382"/>
                <a:gd name="connsiteX26" fmla="*/ 2650664 w 2663946"/>
                <a:gd name="connsiteY26" fmla="*/ 282327 h 349382"/>
                <a:gd name="connsiteX27" fmla="*/ 2654106 w 2663946"/>
                <a:gd name="connsiteY27" fmla="*/ 286653 h 349382"/>
                <a:gd name="connsiteX28" fmla="*/ 2656072 w 2663946"/>
                <a:gd name="connsiteY28" fmla="*/ 290168 h 349382"/>
                <a:gd name="connsiteX29" fmla="*/ 2658284 w 2663946"/>
                <a:gd name="connsiteY29" fmla="*/ 295576 h 349382"/>
                <a:gd name="connsiteX30" fmla="*/ 2659267 w 2663946"/>
                <a:gd name="connsiteY30" fmla="*/ 299091 h 349382"/>
                <a:gd name="connsiteX31" fmla="*/ 2660251 w 2663946"/>
                <a:gd name="connsiteY31" fmla="*/ 304228 h 349382"/>
                <a:gd name="connsiteX32" fmla="*/ 2660005 w 2663946"/>
                <a:gd name="connsiteY32" fmla="*/ 318558 h 349382"/>
                <a:gd name="connsiteX33" fmla="*/ 2659022 w 2663946"/>
                <a:gd name="connsiteY33" fmla="*/ 323425 h 349382"/>
                <a:gd name="connsiteX34" fmla="*/ 2657792 w 2663946"/>
                <a:gd name="connsiteY34" fmla="*/ 327210 h 349382"/>
                <a:gd name="connsiteX35" fmla="*/ 2656809 w 2663946"/>
                <a:gd name="connsiteY35" fmla="*/ 329644 h 349382"/>
                <a:gd name="connsiteX36" fmla="*/ 2654597 w 2663946"/>
                <a:gd name="connsiteY36" fmla="*/ 333970 h 349382"/>
                <a:gd name="connsiteX37" fmla="*/ 2652385 w 2663946"/>
                <a:gd name="connsiteY37" fmla="*/ 337214 h 349382"/>
                <a:gd name="connsiteX38" fmla="*/ 2648944 w 2663946"/>
                <a:gd name="connsiteY38" fmla="*/ 341000 h 349382"/>
                <a:gd name="connsiteX39" fmla="*/ 2645748 w 2663946"/>
                <a:gd name="connsiteY39" fmla="*/ 343703 h 349382"/>
                <a:gd name="connsiteX40" fmla="*/ 2640095 w 2663946"/>
                <a:gd name="connsiteY40" fmla="*/ 346948 h 349382"/>
                <a:gd name="connsiteX41" fmla="*/ 2632229 w 2663946"/>
                <a:gd name="connsiteY41" fmla="*/ 349111 h 349382"/>
                <a:gd name="connsiteX42" fmla="*/ 2631000 w 2663946"/>
                <a:gd name="connsiteY42" fmla="*/ 349382 h 349382"/>
                <a:gd name="connsiteX43" fmla="*/ 2626821 w 2663946"/>
                <a:gd name="connsiteY43" fmla="*/ 349382 h 349382"/>
                <a:gd name="connsiteX44" fmla="*/ 2626576 w 2663946"/>
                <a:gd name="connsiteY44" fmla="*/ 349382 h 349382"/>
                <a:gd name="connsiteX45" fmla="*/ 2613548 w 2663946"/>
                <a:gd name="connsiteY45" fmla="*/ 344515 h 349382"/>
                <a:gd name="connsiteX46" fmla="*/ 2608878 w 2663946"/>
                <a:gd name="connsiteY46" fmla="*/ 340459 h 349382"/>
                <a:gd name="connsiteX47" fmla="*/ 2605682 w 2663946"/>
                <a:gd name="connsiteY47" fmla="*/ 336674 h 349382"/>
                <a:gd name="connsiteX48" fmla="*/ 2603470 w 2663946"/>
                <a:gd name="connsiteY48" fmla="*/ 333159 h 349382"/>
                <a:gd name="connsiteX49" fmla="*/ 2601258 w 2663946"/>
                <a:gd name="connsiteY49" fmla="*/ 328833 h 349382"/>
                <a:gd name="connsiteX50" fmla="*/ 2600029 w 2663946"/>
                <a:gd name="connsiteY50" fmla="*/ 325858 h 349382"/>
                <a:gd name="connsiteX51" fmla="*/ 2599046 w 2663946"/>
                <a:gd name="connsiteY51" fmla="*/ 322614 h 349382"/>
                <a:gd name="connsiteX52" fmla="*/ 2597816 w 2663946"/>
                <a:gd name="connsiteY52" fmla="*/ 316936 h 349382"/>
                <a:gd name="connsiteX53" fmla="*/ 2597571 w 2663946"/>
                <a:gd name="connsiteY53" fmla="*/ 313962 h 349382"/>
                <a:gd name="connsiteX54" fmla="*/ 2597816 w 2663946"/>
                <a:gd name="connsiteY54" fmla="*/ 314232 h 349382"/>
                <a:gd name="connsiteX55" fmla="*/ 2597816 w 2663946"/>
                <a:gd name="connsiteY55" fmla="*/ 308554 h 349382"/>
                <a:gd name="connsiteX56" fmla="*/ 2597816 w 2663946"/>
                <a:gd name="connsiteY56" fmla="*/ 308284 h 349382"/>
                <a:gd name="connsiteX57" fmla="*/ 2598308 w 2663946"/>
                <a:gd name="connsiteY57" fmla="*/ 303687 h 349382"/>
                <a:gd name="connsiteX58" fmla="*/ 2599537 w 2663946"/>
                <a:gd name="connsiteY58" fmla="*/ 298280 h 349382"/>
                <a:gd name="connsiteX59" fmla="*/ 2600520 w 2663946"/>
                <a:gd name="connsiteY59" fmla="*/ 295035 h 349382"/>
                <a:gd name="connsiteX60" fmla="*/ 2602732 w 2663946"/>
                <a:gd name="connsiteY60" fmla="*/ 289898 h 349382"/>
                <a:gd name="connsiteX61" fmla="*/ 2604945 w 2663946"/>
                <a:gd name="connsiteY61" fmla="*/ 286113 h 349382"/>
                <a:gd name="connsiteX62" fmla="*/ 2607157 w 2663946"/>
                <a:gd name="connsiteY62" fmla="*/ 283138 h 349382"/>
                <a:gd name="connsiteX63" fmla="*/ 2609369 w 2663946"/>
                <a:gd name="connsiteY63" fmla="*/ 280705 h 349382"/>
                <a:gd name="connsiteX64" fmla="*/ 2614039 w 2663946"/>
                <a:gd name="connsiteY64" fmla="*/ 276920 h 349382"/>
                <a:gd name="connsiteX65" fmla="*/ 2617972 w 2663946"/>
                <a:gd name="connsiteY65" fmla="*/ 274757 h 349382"/>
                <a:gd name="connsiteX66" fmla="*/ 2627559 w 2663946"/>
                <a:gd name="connsiteY66" fmla="*/ 272323 h 349382"/>
                <a:gd name="connsiteX67" fmla="*/ 2631061 w 2663946"/>
                <a:gd name="connsiteY67" fmla="*/ 208413 h 349382"/>
                <a:gd name="connsiteX68" fmla="*/ 2621591 w 2663946"/>
                <a:gd name="connsiteY68" fmla="*/ 217687 h 349382"/>
                <a:gd name="connsiteX69" fmla="*/ 2626545 w 2663946"/>
                <a:gd name="connsiteY69" fmla="*/ 225844 h 349382"/>
                <a:gd name="connsiteX70" fmla="*/ 2626545 w 2663946"/>
                <a:gd name="connsiteY70" fmla="*/ 234239 h 349382"/>
                <a:gd name="connsiteX71" fmla="*/ 2631061 w 2663946"/>
                <a:gd name="connsiteY71" fmla="*/ 238662 h 349382"/>
                <a:gd name="connsiteX72" fmla="*/ 2635578 w 2663946"/>
                <a:gd name="connsiteY72" fmla="*/ 234239 h 349382"/>
                <a:gd name="connsiteX73" fmla="*/ 2635578 w 2663946"/>
                <a:gd name="connsiteY73" fmla="*/ 225844 h 349382"/>
                <a:gd name="connsiteX74" fmla="*/ 2640532 w 2663946"/>
                <a:gd name="connsiteY74" fmla="*/ 217687 h 349382"/>
                <a:gd name="connsiteX75" fmla="*/ 2631061 w 2663946"/>
                <a:gd name="connsiteY75" fmla="*/ 208413 h 349382"/>
                <a:gd name="connsiteX76" fmla="*/ 2630799 w 2663946"/>
                <a:gd name="connsiteY76" fmla="*/ 169696 h 349382"/>
                <a:gd name="connsiteX77" fmla="*/ 2619139 w 2663946"/>
                <a:gd name="connsiteY77" fmla="*/ 177425 h 349382"/>
                <a:gd name="connsiteX78" fmla="*/ 2618214 w 2663946"/>
                <a:gd name="connsiteY78" fmla="*/ 182008 h 349382"/>
                <a:gd name="connsiteX79" fmla="*/ 2621454 w 2663946"/>
                <a:gd name="connsiteY79" fmla="*/ 182008 h 349382"/>
                <a:gd name="connsiteX80" fmla="*/ 2639871 w 2663946"/>
                <a:gd name="connsiteY80" fmla="*/ 182008 h 349382"/>
                <a:gd name="connsiteX81" fmla="*/ 2643385 w 2663946"/>
                <a:gd name="connsiteY81" fmla="*/ 182008 h 349382"/>
                <a:gd name="connsiteX82" fmla="*/ 2642460 w 2663946"/>
                <a:gd name="connsiteY82" fmla="*/ 177425 h 349382"/>
                <a:gd name="connsiteX83" fmla="*/ 2630799 w 2663946"/>
                <a:gd name="connsiteY83" fmla="*/ 169696 h 349382"/>
                <a:gd name="connsiteX84" fmla="*/ 2630799 w 2663946"/>
                <a:gd name="connsiteY84" fmla="*/ 157041 h 349382"/>
                <a:gd name="connsiteX85" fmla="*/ 2655595 w 2663946"/>
                <a:gd name="connsiteY85" fmla="*/ 177250 h 349382"/>
                <a:gd name="connsiteX86" fmla="*/ 2656074 w 2663946"/>
                <a:gd name="connsiteY86" fmla="*/ 182008 h 349382"/>
                <a:gd name="connsiteX87" fmla="*/ 2657493 w 2663946"/>
                <a:gd name="connsiteY87" fmla="*/ 182008 h 349382"/>
                <a:gd name="connsiteX88" fmla="*/ 2663946 w 2663946"/>
                <a:gd name="connsiteY88" fmla="*/ 188294 h 349382"/>
                <a:gd name="connsiteX89" fmla="*/ 2663946 w 2663946"/>
                <a:gd name="connsiteY89" fmla="*/ 238016 h 349382"/>
                <a:gd name="connsiteX90" fmla="*/ 2657493 w 2663946"/>
                <a:gd name="connsiteY90" fmla="*/ 244302 h 349382"/>
                <a:gd name="connsiteX91" fmla="*/ 2604106 w 2663946"/>
                <a:gd name="connsiteY91" fmla="*/ 244302 h 349382"/>
                <a:gd name="connsiteX92" fmla="*/ 2597652 w 2663946"/>
                <a:gd name="connsiteY92" fmla="*/ 238016 h 349382"/>
                <a:gd name="connsiteX93" fmla="*/ 2597652 w 2663946"/>
                <a:gd name="connsiteY93" fmla="*/ 188294 h 349382"/>
                <a:gd name="connsiteX94" fmla="*/ 2604106 w 2663946"/>
                <a:gd name="connsiteY94" fmla="*/ 182008 h 349382"/>
                <a:gd name="connsiteX95" fmla="*/ 2604940 w 2663946"/>
                <a:gd name="connsiteY95" fmla="*/ 182008 h 349382"/>
                <a:gd name="connsiteX96" fmla="*/ 2605524 w 2663946"/>
                <a:gd name="connsiteY96" fmla="*/ 182008 h 349382"/>
                <a:gd name="connsiteX97" fmla="*/ 2606004 w 2663946"/>
                <a:gd name="connsiteY97" fmla="*/ 177250 h 349382"/>
                <a:gd name="connsiteX98" fmla="*/ 2630799 w 2663946"/>
                <a:gd name="connsiteY98" fmla="*/ 157041 h 349382"/>
                <a:gd name="connsiteX99" fmla="*/ 33409 w 2663946"/>
                <a:gd name="connsiteY99" fmla="*/ 104187 h 349382"/>
                <a:gd name="connsiteX100" fmla="*/ 23938 w 2663946"/>
                <a:gd name="connsiteY100" fmla="*/ 113461 h 349382"/>
                <a:gd name="connsiteX101" fmla="*/ 28892 w 2663946"/>
                <a:gd name="connsiteY101" fmla="*/ 121618 h 349382"/>
                <a:gd name="connsiteX102" fmla="*/ 28892 w 2663946"/>
                <a:gd name="connsiteY102" fmla="*/ 130013 h 349382"/>
                <a:gd name="connsiteX103" fmla="*/ 33409 w 2663946"/>
                <a:gd name="connsiteY103" fmla="*/ 134436 h 349382"/>
                <a:gd name="connsiteX104" fmla="*/ 37926 w 2663946"/>
                <a:gd name="connsiteY104" fmla="*/ 130013 h 349382"/>
                <a:gd name="connsiteX105" fmla="*/ 37926 w 2663946"/>
                <a:gd name="connsiteY105" fmla="*/ 121618 h 349382"/>
                <a:gd name="connsiteX106" fmla="*/ 42880 w 2663946"/>
                <a:gd name="connsiteY106" fmla="*/ 113461 h 349382"/>
                <a:gd name="connsiteX107" fmla="*/ 33409 w 2663946"/>
                <a:gd name="connsiteY107" fmla="*/ 104187 h 349382"/>
                <a:gd name="connsiteX108" fmla="*/ 2538193 w 2663946"/>
                <a:gd name="connsiteY108" fmla="*/ 96599 h 349382"/>
                <a:gd name="connsiteX109" fmla="*/ 2528723 w 2663946"/>
                <a:gd name="connsiteY109" fmla="*/ 105873 h 349382"/>
                <a:gd name="connsiteX110" fmla="*/ 2533677 w 2663946"/>
                <a:gd name="connsiteY110" fmla="*/ 114030 h 349382"/>
                <a:gd name="connsiteX111" fmla="*/ 2533677 w 2663946"/>
                <a:gd name="connsiteY111" fmla="*/ 122425 h 349382"/>
                <a:gd name="connsiteX112" fmla="*/ 2538193 w 2663946"/>
                <a:gd name="connsiteY112" fmla="*/ 126848 h 349382"/>
                <a:gd name="connsiteX113" fmla="*/ 2542710 w 2663946"/>
                <a:gd name="connsiteY113" fmla="*/ 122425 h 349382"/>
                <a:gd name="connsiteX114" fmla="*/ 2542710 w 2663946"/>
                <a:gd name="connsiteY114" fmla="*/ 114030 h 349382"/>
                <a:gd name="connsiteX115" fmla="*/ 2547664 w 2663946"/>
                <a:gd name="connsiteY115" fmla="*/ 105873 h 349382"/>
                <a:gd name="connsiteX116" fmla="*/ 2538193 w 2663946"/>
                <a:gd name="connsiteY116" fmla="*/ 96599 h 349382"/>
                <a:gd name="connsiteX117" fmla="*/ 2113196 w 2663946"/>
                <a:gd name="connsiteY117" fmla="*/ 96599 h 349382"/>
                <a:gd name="connsiteX118" fmla="*/ 2103726 w 2663946"/>
                <a:gd name="connsiteY118" fmla="*/ 105873 h 349382"/>
                <a:gd name="connsiteX119" fmla="*/ 2108680 w 2663946"/>
                <a:gd name="connsiteY119" fmla="*/ 114030 h 349382"/>
                <a:gd name="connsiteX120" fmla="*/ 2108680 w 2663946"/>
                <a:gd name="connsiteY120" fmla="*/ 122425 h 349382"/>
                <a:gd name="connsiteX121" fmla="*/ 2113196 w 2663946"/>
                <a:gd name="connsiteY121" fmla="*/ 126848 h 349382"/>
                <a:gd name="connsiteX122" fmla="*/ 2117713 w 2663946"/>
                <a:gd name="connsiteY122" fmla="*/ 122425 h 349382"/>
                <a:gd name="connsiteX123" fmla="*/ 2117713 w 2663946"/>
                <a:gd name="connsiteY123" fmla="*/ 114030 h 349382"/>
                <a:gd name="connsiteX124" fmla="*/ 2122667 w 2663946"/>
                <a:gd name="connsiteY124" fmla="*/ 105873 h 349382"/>
                <a:gd name="connsiteX125" fmla="*/ 2113196 w 2663946"/>
                <a:gd name="connsiteY125" fmla="*/ 96599 h 349382"/>
                <a:gd name="connsiteX126" fmla="*/ 1855228 w 2663946"/>
                <a:gd name="connsiteY126" fmla="*/ 96599 h 349382"/>
                <a:gd name="connsiteX127" fmla="*/ 1845758 w 2663946"/>
                <a:gd name="connsiteY127" fmla="*/ 105873 h 349382"/>
                <a:gd name="connsiteX128" fmla="*/ 1850712 w 2663946"/>
                <a:gd name="connsiteY128" fmla="*/ 114030 h 349382"/>
                <a:gd name="connsiteX129" fmla="*/ 1850712 w 2663946"/>
                <a:gd name="connsiteY129" fmla="*/ 122425 h 349382"/>
                <a:gd name="connsiteX130" fmla="*/ 1855228 w 2663946"/>
                <a:gd name="connsiteY130" fmla="*/ 126848 h 349382"/>
                <a:gd name="connsiteX131" fmla="*/ 1859745 w 2663946"/>
                <a:gd name="connsiteY131" fmla="*/ 122425 h 349382"/>
                <a:gd name="connsiteX132" fmla="*/ 1859745 w 2663946"/>
                <a:gd name="connsiteY132" fmla="*/ 114030 h 349382"/>
                <a:gd name="connsiteX133" fmla="*/ 1864699 w 2663946"/>
                <a:gd name="connsiteY133" fmla="*/ 105873 h 349382"/>
                <a:gd name="connsiteX134" fmla="*/ 1855228 w 2663946"/>
                <a:gd name="connsiteY134" fmla="*/ 96599 h 349382"/>
                <a:gd name="connsiteX135" fmla="*/ 1764289 w 2663946"/>
                <a:gd name="connsiteY135" fmla="*/ 96599 h 349382"/>
                <a:gd name="connsiteX136" fmla="*/ 1754819 w 2663946"/>
                <a:gd name="connsiteY136" fmla="*/ 105873 h 349382"/>
                <a:gd name="connsiteX137" fmla="*/ 1759773 w 2663946"/>
                <a:gd name="connsiteY137" fmla="*/ 114030 h 349382"/>
                <a:gd name="connsiteX138" fmla="*/ 1759773 w 2663946"/>
                <a:gd name="connsiteY138" fmla="*/ 122425 h 349382"/>
                <a:gd name="connsiteX139" fmla="*/ 1764289 w 2663946"/>
                <a:gd name="connsiteY139" fmla="*/ 126848 h 349382"/>
                <a:gd name="connsiteX140" fmla="*/ 1768806 w 2663946"/>
                <a:gd name="connsiteY140" fmla="*/ 122425 h 349382"/>
                <a:gd name="connsiteX141" fmla="*/ 1768806 w 2663946"/>
                <a:gd name="connsiteY141" fmla="*/ 114030 h 349382"/>
                <a:gd name="connsiteX142" fmla="*/ 1773760 w 2663946"/>
                <a:gd name="connsiteY142" fmla="*/ 105873 h 349382"/>
                <a:gd name="connsiteX143" fmla="*/ 1764289 w 2663946"/>
                <a:gd name="connsiteY143" fmla="*/ 96599 h 349382"/>
                <a:gd name="connsiteX144" fmla="*/ 1506321 w 2663946"/>
                <a:gd name="connsiteY144" fmla="*/ 96599 h 349382"/>
                <a:gd name="connsiteX145" fmla="*/ 1496851 w 2663946"/>
                <a:gd name="connsiteY145" fmla="*/ 105873 h 349382"/>
                <a:gd name="connsiteX146" fmla="*/ 1501805 w 2663946"/>
                <a:gd name="connsiteY146" fmla="*/ 114030 h 349382"/>
                <a:gd name="connsiteX147" fmla="*/ 1501805 w 2663946"/>
                <a:gd name="connsiteY147" fmla="*/ 122425 h 349382"/>
                <a:gd name="connsiteX148" fmla="*/ 1506321 w 2663946"/>
                <a:gd name="connsiteY148" fmla="*/ 126848 h 349382"/>
                <a:gd name="connsiteX149" fmla="*/ 1510838 w 2663946"/>
                <a:gd name="connsiteY149" fmla="*/ 122425 h 349382"/>
                <a:gd name="connsiteX150" fmla="*/ 1510838 w 2663946"/>
                <a:gd name="connsiteY150" fmla="*/ 114030 h 349382"/>
                <a:gd name="connsiteX151" fmla="*/ 1515792 w 2663946"/>
                <a:gd name="connsiteY151" fmla="*/ 105873 h 349382"/>
                <a:gd name="connsiteX152" fmla="*/ 1506321 w 2663946"/>
                <a:gd name="connsiteY152" fmla="*/ 96599 h 349382"/>
                <a:gd name="connsiteX153" fmla="*/ 1415382 w 2663946"/>
                <a:gd name="connsiteY153" fmla="*/ 96599 h 349382"/>
                <a:gd name="connsiteX154" fmla="*/ 1405912 w 2663946"/>
                <a:gd name="connsiteY154" fmla="*/ 105873 h 349382"/>
                <a:gd name="connsiteX155" fmla="*/ 1410866 w 2663946"/>
                <a:gd name="connsiteY155" fmla="*/ 114030 h 349382"/>
                <a:gd name="connsiteX156" fmla="*/ 1410866 w 2663946"/>
                <a:gd name="connsiteY156" fmla="*/ 122425 h 349382"/>
                <a:gd name="connsiteX157" fmla="*/ 1415382 w 2663946"/>
                <a:gd name="connsiteY157" fmla="*/ 126848 h 349382"/>
                <a:gd name="connsiteX158" fmla="*/ 1419899 w 2663946"/>
                <a:gd name="connsiteY158" fmla="*/ 122425 h 349382"/>
                <a:gd name="connsiteX159" fmla="*/ 1419899 w 2663946"/>
                <a:gd name="connsiteY159" fmla="*/ 114030 h 349382"/>
                <a:gd name="connsiteX160" fmla="*/ 1424853 w 2663946"/>
                <a:gd name="connsiteY160" fmla="*/ 105873 h 349382"/>
                <a:gd name="connsiteX161" fmla="*/ 1415382 w 2663946"/>
                <a:gd name="connsiteY161" fmla="*/ 96599 h 349382"/>
                <a:gd name="connsiteX162" fmla="*/ 1157414 w 2663946"/>
                <a:gd name="connsiteY162" fmla="*/ 96599 h 349382"/>
                <a:gd name="connsiteX163" fmla="*/ 1147944 w 2663946"/>
                <a:gd name="connsiteY163" fmla="*/ 105873 h 349382"/>
                <a:gd name="connsiteX164" fmla="*/ 1152898 w 2663946"/>
                <a:gd name="connsiteY164" fmla="*/ 114030 h 349382"/>
                <a:gd name="connsiteX165" fmla="*/ 1152898 w 2663946"/>
                <a:gd name="connsiteY165" fmla="*/ 122425 h 349382"/>
                <a:gd name="connsiteX166" fmla="*/ 1157414 w 2663946"/>
                <a:gd name="connsiteY166" fmla="*/ 126848 h 349382"/>
                <a:gd name="connsiteX167" fmla="*/ 1161931 w 2663946"/>
                <a:gd name="connsiteY167" fmla="*/ 122425 h 349382"/>
                <a:gd name="connsiteX168" fmla="*/ 1161931 w 2663946"/>
                <a:gd name="connsiteY168" fmla="*/ 114030 h 349382"/>
                <a:gd name="connsiteX169" fmla="*/ 1166885 w 2663946"/>
                <a:gd name="connsiteY169" fmla="*/ 105873 h 349382"/>
                <a:gd name="connsiteX170" fmla="*/ 1157414 w 2663946"/>
                <a:gd name="connsiteY170" fmla="*/ 96599 h 349382"/>
                <a:gd name="connsiteX171" fmla="*/ 732418 w 2663946"/>
                <a:gd name="connsiteY171" fmla="*/ 96599 h 349382"/>
                <a:gd name="connsiteX172" fmla="*/ 722947 w 2663946"/>
                <a:gd name="connsiteY172" fmla="*/ 105873 h 349382"/>
                <a:gd name="connsiteX173" fmla="*/ 727901 w 2663946"/>
                <a:gd name="connsiteY173" fmla="*/ 114030 h 349382"/>
                <a:gd name="connsiteX174" fmla="*/ 727901 w 2663946"/>
                <a:gd name="connsiteY174" fmla="*/ 122425 h 349382"/>
                <a:gd name="connsiteX175" fmla="*/ 732418 w 2663946"/>
                <a:gd name="connsiteY175" fmla="*/ 126848 h 349382"/>
                <a:gd name="connsiteX176" fmla="*/ 736935 w 2663946"/>
                <a:gd name="connsiteY176" fmla="*/ 122425 h 349382"/>
                <a:gd name="connsiteX177" fmla="*/ 736935 w 2663946"/>
                <a:gd name="connsiteY177" fmla="*/ 114030 h 349382"/>
                <a:gd name="connsiteX178" fmla="*/ 741889 w 2663946"/>
                <a:gd name="connsiteY178" fmla="*/ 105873 h 349382"/>
                <a:gd name="connsiteX179" fmla="*/ 732418 w 2663946"/>
                <a:gd name="connsiteY179" fmla="*/ 96599 h 349382"/>
                <a:gd name="connsiteX180" fmla="*/ 641479 w 2663946"/>
                <a:gd name="connsiteY180" fmla="*/ 96599 h 349382"/>
                <a:gd name="connsiteX181" fmla="*/ 632008 w 2663946"/>
                <a:gd name="connsiteY181" fmla="*/ 105873 h 349382"/>
                <a:gd name="connsiteX182" fmla="*/ 636962 w 2663946"/>
                <a:gd name="connsiteY182" fmla="*/ 114030 h 349382"/>
                <a:gd name="connsiteX183" fmla="*/ 636962 w 2663946"/>
                <a:gd name="connsiteY183" fmla="*/ 122425 h 349382"/>
                <a:gd name="connsiteX184" fmla="*/ 641479 w 2663946"/>
                <a:gd name="connsiteY184" fmla="*/ 126848 h 349382"/>
                <a:gd name="connsiteX185" fmla="*/ 645996 w 2663946"/>
                <a:gd name="connsiteY185" fmla="*/ 122425 h 349382"/>
                <a:gd name="connsiteX186" fmla="*/ 645996 w 2663946"/>
                <a:gd name="connsiteY186" fmla="*/ 114030 h 349382"/>
                <a:gd name="connsiteX187" fmla="*/ 650950 w 2663946"/>
                <a:gd name="connsiteY187" fmla="*/ 105873 h 349382"/>
                <a:gd name="connsiteX188" fmla="*/ 641479 w 2663946"/>
                <a:gd name="connsiteY188" fmla="*/ 96599 h 349382"/>
                <a:gd name="connsiteX189" fmla="*/ 459528 w 2663946"/>
                <a:gd name="connsiteY189" fmla="*/ 96599 h 349382"/>
                <a:gd name="connsiteX190" fmla="*/ 450057 w 2663946"/>
                <a:gd name="connsiteY190" fmla="*/ 105873 h 349382"/>
                <a:gd name="connsiteX191" fmla="*/ 455011 w 2663946"/>
                <a:gd name="connsiteY191" fmla="*/ 114030 h 349382"/>
                <a:gd name="connsiteX192" fmla="*/ 455011 w 2663946"/>
                <a:gd name="connsiteY192" fmla="*/ 122425 h 349382"/>
                <a:gd name="connsiteX193" fmla="*/ 459528 w 2663946"/>
                <a:gd name="connsiteY193" fmla="*/ 126848 h 349382"/>
                <a:gd name="connsiteX194" fmla="*/ 464045 w 2663946"/>
                <a:gd name="connsiteY194" fmla="*/ 122425 h 349382"/>
                <a:gd name="connsiteX195" fmla="*/ 464045 w 2663946"/>
                <a:gd name="connsiteY195" fmla="*/ 114030 h 349382"/>
                <a:gd name="connsiteX196" fmla="*/ 468999 w 2663946"/>
                <a:gd name="connsiteY196" fmla="*/ 105873 h 349382"/>
                <a:gd name="connsiteX197" fmla="*/ 459528 w 2663946"/>
                <a:gd name="connsiteY197" fmla="*/ 96599 h 349382"/>
                <a:gd name="connsiteX198" fmla="*/ 2632966 w 2663946"/>
                <a:gd name="connsiteY198" fmla="*/ 69406 h 349382"/>
                <a:gd name="connsiteX199" fmla="*/ 2621414 w 2663946"/>
                <a:gd name="connsiteY199" fmla="*/ 71839 h 349382"/>
                <a:gd name="connsiteX200" fmla="*/ 2618218 w 2663946"/>
                <a:gd name="connsiteY200" fmla="*/ 75354 h 349382"/>
                <a:gd name="connsiteX201" fmla="*/ 2616006 w 2663946"/>
                <a:gd name="connsiteY201" fmla="*/ 79139 h 349382"/>
                <a:gd name="connsiteX202" fmla="*/ 2615023 w 2663946"/>
                <a:gd name="connsiteY202" fmla="*/ 81843 h 349382"/>
                <a:gd name="connsiteX203" fmla="*/ 2614039 w 2663946"/>
                <a:gd name="connsiteY203" fmla="*/ 85899 h 349382"/>
                <a:gd name="connsiteX204" fmla="*/ 2613056 w 2663946"/>
                <a:gd name="connsiteY204" fmla="*/ 92929 h 349382"/>
                <a:gd name="connsiteX205" fmla="*/ 2614039 w 2663946"/>
                <a:gd name="connsiteY205" fmla="*/ 100229 h 349382"/>
                <a:gd name="connsiteX206" fmla="*/ 2615269 w 2663946"/>
                <a:gd name="connsiteY206" fmla="*/ 104014 h 349382"/>
                <a:gd name="connsiteX207" fmla="*/ 2617481 w 2663946"/>
                <a:gd name="connsiteY207" fmla="*/ 108340 h 349382"/>
                <a:gd name="connsiteX208" fmla="*/ 2620922 w 2663946"/>
                <a:gd name="connsiteY208" fmla="*/ 112667 h 349382"/>
                <a:gd name="connsiteX209" fmla="*/ 2625346 w 2663946"/>
                <a:gd name="connsiteY209" fmla="*/ 115370 h 349382"/>
                <a:gd name="connsiteX210" fmla="*/ 2637637 w 2663946"/>
                <a:gd name="connsiteY210" fmla="*/ 112937 h 349382"/>
                <a:gd name="connsiteX211" fmla="*/ 2640832 w 2663946"/>
                <a:gd name="connsiteY211" fmla="*/ 109422 h 349382"/>
                <a:gd name="connsiteX212" fmla="*/ 2643290 w 2663946"/>
                <a:gd name="connsiteY212" fmla="*/ 105096 h 349382"/>
                <a:gd name="connsiteX213" fmla="*/ 2644273 w 2663946"/>
                <a:gd name="connsiteY213" fmla="*/ 102933 h 349382"/>
                <a:gd name="connsiteX214" fmla="*/ 2645502 w 2663946"/>
                <a:gd name="connsiteY214" fmla="*/ 98607 h 349382"/>
                <a:gd name="connsiteX215" fmla="*/ 2645011 w 2663946"/>
                <a:gd name="connsiteY215" fmla="*/ 84817 h 349382"/>
                <a:gd name="connsiteX216" fmla="*/ 2644027 w 2663946"/>
                <a:gd name="connsiteY216" fmla="*/ 81843 h 349382"/>
                <a:gd name="connsiteX217" fmla="*/ 2642799 w 2663946"/>
                <a:gd name="connsiteY217" fmla="*/ 78869 h 349382"/>
                <a:gd name="connsiteX218" fmla="*/ 2640586 w 2663946"/>
                <a:gd name="connsiteY218" fmla="*/ 75354 h 349382"/>
                <a:gd name="connsiteX219" fmla="*/ 2636899 w 2663946"/>
                <a:gd name="connsiteY219" fmla="*/ 71569 h 349382"/>
                <a:gd name="connsiteX220" fmla="*/ 2632966 w 2663946"/>
                <a:gd name="connsiteY220" fmla="*/ 69406 h 349382"/>
                <a:gd name="connsiteX221" fmla="*/ 2451011 w 2663946"/>
                <a:gd name="connsiteY221" fmla="*/ 69406 h 349382"/>
                <a:gd name="connsiteX222" fmla="*/ 2439459 w 2663946"/>
                <a:gd name="connsiteY222" fmla="*/ 71839 h 349382"/>
                <a:gd name="connsiteX223" fmla="*/ 2436263 w 2663946"/>
                <a:gd name="connsiteY223" fmla="*/ 75354 h 349382"/>
                <a:gd name="connsiteX224" fmla="*/ 2434051 w 2663946"/>
                <a:gd name="connsiteY224" fmla="*/ 79139 h 349382"/>
                <a:gd name="connsiteX225" fmla="*/ 2433068 w 2663946"/>
                <a:gd name="connsiteY225" fmla="*/ 81843 h 349382"/>
                <a:gd name="connsiteX226" fmla="*/ 2432084 w 2663946"/>
                <a:gd name="connsiteY226" fmla="*/ 85899 h 349382"/>
                <a:gd name="connsiteX227" fmla="*/ 2431101 w 2663946"/>
                <a:gd name="connsiteY227" fmla="*/ 92929 h 349382"/>
                <a:gd name="connsiteX228" fmla="*/ 2432084 w 2663946"/>
                <a:gd name="connsiteY228" fmla="*/ 100229 h 349382"/>
                <a:gd name="connsiteX229" fmla="*/ 2433314 w 2663946"/>
                <a:gd name="connsiteY229" fmla="*/ 104014 h 349382"/>
                <a:gd name="connsiteX230" fmla="*/ 2435526 w 2663946"/>
                <a:gd name="connsiteY230" fmla="*/ 108340 h 349382"/>
                <a:gd name="connsiteX231" fmla="*/ 2438967 w 2663946"/>
                <a:gd name="connsiteY231" fmla="*/ 112667 h 349382"/>
                <a:gd name="connsiteX232" fmla="*/ 2443391 w 2663946"/>
                <a:gd name="connsiteY232" fmla="*/ 115370 h 349382"/>
                <a:gd name="connsiteX233" fmla="*/ 2455682 w 2663946"/>
                <a:gd name="connsiteY233" fmla="*/ 112937 h 349382"/>
                <a:gd name="connsiteX234" fmla="*/ 2458877 w 2663946"/>
                <a:gd name="connsiteY234" fmla="*/ 109422 h 349382"/>
                <a:gd name="connsiteX235" fmla="*/ 2461335 w 2663946"/>
                <a:gd name="connsiteY235" fmla="*/ 105096 h 349382"/>
                <a:gd name="connsiteX236" fmla="*/ 2462318 w 2663946"/>
                <a:gd name="connsiteY236" fmla="*/ 102933 h 349382"/>
                <a:gd name="connsiteX237" fmla="*/ 2463547 w 2663946"/>
                <a:gd name="connsiteY237" fmla="*/ 98607 h 349382"/>
                <a:gd name="connsiteX238" fmla="*/ 2463056 w 2663946"/>
                <a:gd name="connsiteY238" fmla="*/ 84817 h 349382"/>
                <a:gd name="connsiteX239" fmla="*/ 2462072 w 2663946"/>
                <a:gd name="connsiteY239" fmla="*/ 81843 h 349382"/>
                <a:gd name="connsiteX240" fmla="*/ 2460844 w 2663946"/>
                <a:gd name="connsiteY240" fmla="*/ 78869 h 349382"/>
                <a:gd name="connsiteX241" fmla="*/ 2458631 w 2663946"/>
                <a:gd name="connsiteY241" fmla="*/ 75354 h 349382"/>
                <a:gd name="connsiteX242" fmla="*/ 2454944 w 2663946"/>
                <a:gd name="connsiteY242" fmla="*/ 71569 h 349382"/>
                <a:gd name="connsiteX243" fmla="*/ 2451011 w 2663946"/>
                <a:gd name="connsiteY243" fmla="*/ 69406 h 349382"/>
                <a:gd name="connsiteX244" fmla="*/ 2207965 w 2663946"/>
                <a:gd name="connsiteY244" fmla="*/ 69406 h 349382"/>
                <a:gd name="connsiteX245" fmla="*/ 2196413 w 2663946"/>
                <a:gd name="connsiteY245" fmla="*/ 71839 h 349382"/>
                <a:gd name="connsiteX246" fmla="*/ 2193217 w 2663946"/>
                <a:gd name="connsiteY246" fmla="*/ 75354 h 349382"/>
                <a:gd name="connsiteX247" fmla="*/ 2191005 w 2663946"/>
                <a:gd name="connsiteY247" fmla="*/ 79139 h 349382"/>
                <a:gd name="connsiteX248" fmla="*/ 2190022 w 2663946"/>
                <a:gd name="connsiteY248" fmla="*/ 81843 h 349382"/>
                <a:gd name="connsiteX249" fmla="*/ 2189038 w 2663946"/>
                <a:gd name="connsiteY249" fmla="*/ 85899 h 349382"/>
                <a:gd name="connsiteX250" fmla="*/ 2188055 w 2663946"/>
                <a:gd name="connsiteY250" fmla="*/ 92929 h 349382"/>
                <a:gd name="connsiteX251" fmla="*/ 2189038 w 2663946"/>
                <a:gd name="connsiteY251" fmla="*/ 100229 h 349382"/>
                <a:gd name="connsiteX252" fmla="*/ 2190268 w 2663946"/>
                <a:gd name="connsiteY252" fmla="*/ 104014 h 349382"/>
                <a:gd name="connsiteX253" fmla="*/ 2192480 w 2663946"/>
                <a:gd name="connsiteY253" fmla="*/ 108340 h 349382"/>
                <a:gd name="connsiteX254" fmla="*/ 2195921 w 2663946"/>
                <a:gd name="connsiteY254" fmla="*/ 112667 h 349382"/>
                <a:gd name="connsiteX255" fmla="*/ 2200345 w 2663946"/>
                <a:gd name="connsiteY255" fmla="*/ 115370 h 349382"/>
                <a:gd name="connsiteX256" fmla="*/ 2212636 w 2663946"/>
                <a:gd name="connsiteY256" fmla="*/ 112937 h 349382"/>
                <a:gd name="connsiteX257" fmla="*/ 2215831 w 2663946"/>
                <a:gd name="connsiteY257" fmla="*/ 109422 h 349382"/>
                <a:gd name="connsiteX258" fmla="*/ 2218289 w 2663946"/>
                <a:gd name="connsiteY258" fmla="*/ 105096 h 349382"/>
                <a:gd name="connsiteX259" fmla="*/ 2219272 w 2663946"/>
                <a:gd name="connsiteY259" fmla="*/ 102933 h 349382"/>
                <a:gd name="connsiteX260" fmla="*/ 2220501 w 2663946"/>
                <a:gd name="connsiteY260" fmla="*/ 98607 h 349382"/>
                <a:gd name="connsiteX261" fmla="*/ 2220010 w 2663946"/>
                <a:gd name="connsiteY261" fmla="*/ 84817 h 349382"/>
                <a:gd name="connsiteX262" fmla="*/ 2219026 w 2663946"/>
                <a:gd name="connsiteY262" fmla="*/ 81843 h 349382"/>
                <a:gd name="connsiteX263" fmla="*/ 2217798 w 2663946"/>
                <a:gd name="connsiteY263" fmla="*/ 78869 h 349382"/>
                <a:gd name="connsiteX264" fmla="*/ 2215585 w 2663946"/>
                <a:gd name="connsiteY264" fmla="*/ 75354 h 349382"/>
                <a:gd name="connsiteX265" fmla="*/ 2211898 w 2663946"/>
                <a:gd name="connsiteY265" fmla="*/ 71569 h 349382"/>
                <a:gd name="connsiteX266" fmla="*/ 2207965 w 2663946"/>
                <a:gd name="connsiteY266" fmla="*/ 69406 h 349382"/>
                <a:gd name="connsiteX267" fmla="*/ 2026014 w 2663946"/>
                <a:gd name="connsiteY267" fmla="*/ 69406 h 349382"/>
                <a:gd name="connsiteX268" fmla="*/ 2014462 w 2663946"/>
                <a:gd name="connsiteY268" fmla="*/ 71839 h 349382"/>
                <a:gd name="connsiteX269" fmla="*/ 2011266 w 2663946"/>
                <a:gd name="connsiteY269" fmla="*/ 75354 h 349382"/>
                <a:gd name="connsiteX270" fmla="*/ 2009054 w 2663946"/>
                <a:gd name="connsiteY270" fmla="*/ 79139 h 349382"/>
                <a:gd name="connsiteX271" fmla="*/ 2008071 w 2663946"/>
                <a:gd name="connsiteY271" fmla="*/ 81843 h 349382"/>
                <a:gd name="connsiteX272" fmla="*/ 2007087 w 2663946"/>
                <a:gd name="connsiteY272" fmla="*/ 85899 h 349382"/>
                <a:gd name="connsiteX273" fmla="*/ 2006104 w 2663946"/>
                <a:gd name="connsiteY273" fmla="*/ 92929 h 349382"/>
                <a:gd name="connsiteX274" fmla="*/ 2007087 w 2663946"/>
                <a:gd name="connsiteY274" fmla="*/ 100229 h 349382"/>
                <a:gd name="connsiteX275" fmla="*/ 2008317 w 2663946"/>
                <a:gd name="connsiteY275" fmla="*/ 104014 h 349382"/>
                <a:gd name="connsiteX276" fmla="*/ 2010529 w 2663946"/>
                <a:gd name="connsiteY276" fmla="*/ 108340 h 349382"/>
                <a:gd name="connsiteX277" fmla="*/ 2013970 w 2663946"/>
                <a:gd name="connsiteY277" fmla="*/ 112667 h 349382"/>
                <a:gd name="connsiteX278" fmla="*/ 2018394 w 2663946"/>
                <a:gd name="connsiteY278" fmla="*/ 115370 h 349382"/>
                <a:gd name="connsiteX279" fmla="*/ 2030685 w 2663946"/>
                <a:gd name="connsiteY279" fmla="*/ 112937 h 349382"/>
                <a:gd name="connsiteX280" fmla="*/ 2033880 w 2663946"/>
                <a:gd name="connsiteY280" fmla="*/ 109422 h 349382"/>
                <a:gd name="connsiteX281" fmla="*/ 2036338 w 2663946"/>
                <a:gd name="connsiteY281" fmla="*/ 105096 h 349382"/>
                <a:gd name="connsiteX282" fmla="*/ 2037321 w 2663946"/>
                <a:gd name="connsiteY282" fmla="*/ 102933 h 349382"/>
                <a:gd name="connsiteX283" fmla="*/ 2038550 w 2663946"/>
                <a:gd name="connsiteY283" fmla="*/ 98607 h 349382"/>
                <a:gd name="connsiteX284" fmla="*/ 2038059 w 2663946"/>
                <a:gd name="connsiteY284" fmla="*/ 84817 h 349382"/>
                <a:gd name="connsiteX285" fmla="*/ 2037075 w 2663946"/>
                <a:gd name="connsiteY285" fmla="*/ 81843 h 349382"/>
                <a:gd name="connsiteX286" fmla="*/ 2035847 w 2663946"/>
                <a:gd name="connsiteY286" fmla="*/ 78869 h 349382"/>
                <a:gd name="connsiteX287" fmla="*/ 2033634 w 2663946"/>
                <a:gd name="connsiteY287" fmla="*/ 75354 h 349382"/>
                <a:gd name="connsiteX288" fmla="*/ 2029947 w 2663946"/>
                <a:gd name="connsiteY288" fmla="*/ 71569 h 349382"/>
                <a:gd name="connsiteX289" fmla="*/ 2026014 w 2663946"/>
                <a:gd name="connsiteY289" fmla="*/ 69406 h 349382"/>
                <a:gd name="connsiteX290" fmla="*/ 1601090 w 2663946"/>
                <a:gd name="connsiteY290" fmla="*/ 69406 h 349382"/>
                <a:gd name="connsiteX291" fmla="*/ 1589537 w 2663946"/>
                <a:gd name="connsiteY291" fmla="*/ 71839 h 349382"/>
                <a:gd name="connsiteX292" fmla="*/ 1586342 w 2663946"/>
                <a:gd name="connsiteY292" fmla="*/ 75354 h 349382"/>
                <a:gd name="connsiteX293" fmla="*/ 1584130 w 2663946"/>
                <a:gd name="connsiteY293" fmla="*/ 79139 h 349382"/>
                <a:gd name="connsiteX294" fmla="*/ 1583147 w 2663946"/>
                <a:gd name="connsiteY294" fmla="*/ 81843 h 349382"/>
                <a:gd name="connsiteX295" fmla="*/ 1582163 w 2663946"/>
                <a:gd name="connsiteY295" fmla="*/ 85899 h 349382"/>
                <a:gd name="connsiteX296" fmla="*/ 1581180 w 2663946"/>
                <a:gd name="connsiteY296" fmla="*/ 92929 h 349382"/>
                <a:gd name="connsiteX297" fmla="*/ 1582163 w 2663946"/>
                <a:gd name="connsiteY297" fmla="*/ 100229 h 349382"/>
                <a:gd name="connsiteX298" fmla="*/ 1583393 w 2663946"/>
                <a:gd name="connsiteY298" fmla="*/ 104014 h 349382"/>
                <a:gd name="connsiteX299" fmla="*/ 1585605 w 2663946"/>
                <a:gd name="connsiteY299" fmla="*/ 108340 h 349382"/>
                <a:gd name="connsiteX300" fmla="*/ 1589046 w 2663946"/>
                <a:gd name="connsiteY300" fmla="*/ 112667 h 349382"/>
                <a:gd name="connsiteX301" fmla="*/ 1593470 w 2663946"/>
                <a:gd name="connsiteY301" fmla="*/ 115370 h 349382"/>
                <a:gd name="connsiteX302" fmla="*/ 1605761 w 2663946"/>
                <a:gd name="connsiteY302" fmla="*/ 112937 h 349382"/>
                <a:gd name="connsiteX303" fmla="*/ 1608956 w 2663946"/>
                <a:gd name="connsiteY303" fmla="*/ 109422 h 349382"/>
                <a:gd name="connsiteX304" fmla="*/ 1611414 w 2663946"/>
                <a:gd name="connsiteY304" fmla="*/ 105096 h 349382"/>
                <a:gd name="connsiteX305" fmla="*/ 1612397 w 2663946"/>
                <a:gd name="connsiteY305" fmla="*/ 102933 h 349382"/>
                <a:gd name="connsiteX306" fmla="*/ 1613626 w 2663946"/>
                <a:gd name="connsiteY306" fmla="*/ 98607 h 349382"/>
                <a:gd name="connsiteX307" fmla="*/ 1613135 w 2663946"/>
                <a:gd name="connsiteY307" fmla="*/ 84817 h 349382"/>
                <a:gd name="connsiteX308" fmla="*/ 1612151 w 2663946"/>
                <a:gd name="connsiteY308" fmla="*/ 81843 h 349382"/>
                <a:gd name="connsiteX309" fmla="*/ 1610923 w 2663946"/>
                <a:gd name="connsiteY309" fmla="*/ 78869 h 349382"/>
                <a:gd name="connsiteX310" fmla="*/ 1608710 w 2663946"/>
                <a:gd name="connsiteY310" fmla="*/ 75354 h 349382"/>
                <a:gd name="connsiteX311" fmla="*/ 1605023 w 2663946"/>
                <a:gd name="connsiteY311" fmla="*/ 71569 h 349382"/>
                <a:gd name="connsiteX312" fmla="*/ 1601090 w 2663946"/>
                <a:gd name="connsiteY312" fmla="*/ 69406 h 349382"/>
                <a:gd name="connsiteX313" fmla="*/ 1252183 w 2663946"/>
                <a:gd name="connsiteY313" fmla="*/ 69406 h 349382"/>
                <a:gd name="connsiteX314" fmla="*/ 1240630 w 2663946"/>
                <a:gd name="connsiteY314" fmla="*/ 71839 h 349382"/>
                <a:gd name="connsiteX315" fmla="*/ 1237435 w 2663946"/>
                <a:gd name="connsiteY315" fmla="*/ 75354 h 349382"/>
                <a:gd name="connsiteX316" fmla="*/ 1235223 w 2663946"/>
                <a:gd name="connsiteY316" fmla="*/ 79139 h 349382"/>
                <a:gd name="connsiteX317" fmla="*/ 1234240 w 2663946"/>
                <a:gd name="connsiteY317" fmla="*/ 81843 h 349382"/>
                <a:gd name="connsiteX318" fmla="*/ 1233256 w 2663946"/>
                <a:gd name="connsiteY318" fmla="*/ 85899 h 349382"/>
                <a:gd name="connsiteX319" fmla="*/ 1232273 w 2663946"/>
                <a:gd name="connsiteY319" fmla="*/ 92929 h 349382"/>
                <a:gd name="connsiteX320" fmla="*/ 1233256 w 2663946"/>
                <a:gd name="connsiteY320" fmla="*/ 100229 h 349382"/>
                <a:gd name="connsiteX321" fmla="*/ 1234486 w 2663946"/>
                <a:gd name="connsiteY321" fmla="*/ 104014 h 349382"/>
                <a:gd name="connsiteX322" fmla="*/ 1236698 w 2663946"/>
                <a:gd name="connsiteY322" fmla="*/ 108340 h 349382"/>
                <a:gd name="connsiteX323" fmla="*/ 1240139 w 2663946"/>
                <a:gd name="connsiteY323" fmla="*/ 112667 h 349382"/>
                <a:gd name="connsiteX324" fmla="*/ 1244563 w 2663946"/>
                <a:gd name="connsiteY324" fmla="*/ 115370 h 349382"/>
                <a:gd name="connsiteX325" fmla="*/ 1256854 w 2663946"/>
                <a:gd name="connsiteY325" fmla="*/ 112937 h 349382"/>
                <a:gd name="connsiteX326" fmla="*/ 1260049 w 2663946"/>
                <a:gd name="connsiteY326" fmla="*/ 109422 h 349382"/>
                <a:gd name="connsiteX327" fmla="*/ 1262507 w 2663946"/>
                <a:gd name="connsiteY327" fmla="*/ 105096 h 349382"/>
                <a:gd name="connsiteX328" fmla="*/ 1263490 w 2663946"/>
                <a:gd name="connsiteY328" fmla="*/ 102933 h 349382"/>
                <a:gd name="connsiteX329" fmla="*/ 1264719 w 2663946"/>
                <a:gd name="connsiteY329" fmla="*/ 98607 h 349382"/>
                <a:gd name="connsiteX330" fmla="*/ 1264228 w 2663946"/>
                <a:gd name="connsiteY330" fmla="*/ 84817 h 349382"/>
                <a:gd name="connsiteX331" fmla="*/ 1263244 w 2663946"/>
                <a:gd name="connsiteY331" fmla="*/ 81843 h 349382"/>
                <a:gd name="connsiteX332" fmla="*/ 1262016 w 2663946"/>
                <a:gd name="connsiteY332" fmla="*/ 78869 h 349382"/>
                <a:gd name="connsiteX333" fmla="*/ 1259803 w 2663946"/>
                <a:gd name="connsiteY333" fmla="*/ 75354 h 349382"/>
                <a:gd name="connsiteX334" fmla="*/ 1256116 w 2663946"/>
                <a:gd name="connsiteY334" fmla="*/ 71569 h 349382"/>
                <a:gd name="connsiteX335" fmla="*/ 1252183 w 2663946"/>
                <a:gd name="connsiteY335" fmla="*/ 69406 h 349382"/>
                <a:gd name="connsiteX336" fmla="*/ 1070232 w 2663946"/>
                <a:gd name="connsiteY336" fmla="*/ 69406 h 349382"/>
                <a:gd name="connsiteX337" fmla="*/ 1058679 w 2663946"/>
                <a:gd name="connsiteY337" fmla="*/ 71839 h 349382"/>
                <a:gd name="connsiteX338" fmla="*/ 1055484 w 2663946"/>
                <a:gd name="connsiteY338" fmla="*/ 75354 h 349382"/>
                <a:gd name="connsiteX339" fmla="*/ 1053272 w 2663946"/>
                <a:gd name="connsiteY339" fmla="*/ 79139 h 349382"/>
                <a:gd name="connsiteX340" fmla="*/ 1052289 w 2663946"/>
                <a:gd name="connsiteY340" fmla="*/ 81843 h 349382"/>
                <a:gd name="connsiteX341" fmla="*/ 1051305 w 2663946"/>
                <a:gd name="connsiteY341" fmla="*/ 85899 h 349382"/>
                <a:gd name="connsiteX342" fmla="*/ 1050322 w 2663946"/>
                <a:gd name="connsiteY342" fmla="*/ 92929 h 349382"/>
                <a:gd name="connsiteX343" fmla="*/ 1051305 w 2663946"/>
                <a:gd name="connsiteY343" fmla="*/ 100229 h 349382"/>
                <a:gd name="connsiteX344" fmla="*/ 1052535 w 2663946"/>
                <a:gd name="connsiteY344" fmla="*/ 104014 h 349382"/>
                <a:gd name="connsiteX345" fmla="*/ 1054747 w 2663946"/>
                <a:gd name="connsiteY345" fmla="*/ 108340 h 349382"/>
                <a:gd name="connsiteX346" fmla="*/ 1058188 w 2663946"/>
                <a:gd name="connsiteY346" fmla="*/ 112667 h 349382"/>
                <a:gd name="connsiteX347" fmla="*/ 1062612 w 2663946"/>
                <a:gd name="connsiteY347" fmla="*/ 115370 h 349382"/>
                <a:gd name="connsiteX348" fmla="*/ 1074903 w 2663946"/>
                <a:gd name="connsiteY348" fmla="*/ 112937 h 349382"/>
                <a:gd name="connsiteX349" fmla="*/ 1078098 w 2663946"/>
                <a:gd name="connsiteY349" fmla="*/ 109422 h 349382"/>
                <a:gd name="connsiteX350" fmla="*/ 1080556 w 2663946"/>
                <a:gd name="connsiteY350" fmla="*/ 105096 h 349382"/>
                <a:gd name="connsiteX351" fmla="*/ 1081539 w 2663946"/>
                <a:gd name="connsiteY351" fmla="*/ 102933 h 349382"/>
                <a:gd name="connsiteX352" fmla="*/ 1082768 w 2663946"/>
                <a:gd name="connsiteY352" fmla="*/ 98607 h 349382"/>
                <a:gd name="connsiteX353" fmla="*/ 1082277 w 2663946"/>
                <a:gd name="connsiteY353" fmla="*/ 84817 h 349382"/>
                <a:gd name="connsiteX354" fmla="*/ 1081293 w 2663946"/>
                <a:gd name="connsiteY354" fmla="*/ 81843 h 349382"/>
                <a:gd name="connsiteX355" fmla="*/ 1080065 w 2663946"/>
                <a:gd name="connsiteY355" fmla="*/ 78869 h 349382"/>
                <a:gd name="connsiteX356" fmla="*/ 1077852 w 2663946"/>
                <a:gd name="connsiteY356" fmla="*/ 75354 h 349382"/>
                <a:gd name="connsiteX357" fmla="*/ 1074165 w 2663946"/>
                <a:gd name="connsiteY357" fmla="*/ 71569 h 349382"/>
                <a:gd name="connsiteX358" fmla="*/ 1070232 w 2663946"/>
                <a:gd name="connsiteY358" fmla="*/ 69406 h 349382"/>
                <a:gd name="connsiteX359" fmla="*/ 903203 w 2663946"/>
                <a:gd name="connsiteY359" fmla="*/ 69406 h 349382"/>
                <a:gd name="connsiteX360" fmla="*/ 891650 w 2663946"/>
                <a:gd name="connsiteY360" fmla="*/ 71839 h 349382"/>
                <a:gd name="connsiteX361" fmla="*/ 888455 w 2663946"/>
                <a:gd name="connsiteY361" fmla="*/ 75354 h 349382"/>
                <a:gd name="connsiteX362" fmla="*/ 886243 w 2663946"/>
                <a:gd name="connsiteY362" fmla="*/ 79139 h 349382"/>
                <a:gd name="connsiteX363" fmla="*/ 885260 w 2663946"/>
                <a:gd name="connsiteY363" fmla="*/ 81843 h 349382"/>
                <a:gd name="connsiteX364" fmla="*/ 884276 w 2663946"/>
                <a:gd name="connsiteY364" fmla="*/ 85899 h 349382"/>
                <a:gd name="connsiteX365" fmla="*/ 883293 w 2663946"/>
                <a:gd name="connsiteY365" fmla="*/ 92929 h 349382"/>
                <a:gd name="connsiteX366" fmla="*/ 884276 w 2663946"/>
                <a:gd name="connsiteY366" fmla="*/ 100229 h 349382"/>
                <a:gd name="connsiteX367" fmla="*/ 885506 w 2663946"/>
                <a:gd name="connsiteY367" fmla="*/ 104014 h 349382"/>
                <a:gd name="connsiteX368" fmla="*/ 887718 w 2663946"/>
                <a:gd name="connsiteY368" fmla="*/ 108340 h 349382"/>
                <a:gd name="connsiteX369" fmla="*/ 891159 w 2663946"/>
                <a:gd name="connsiteY369" fmla="*/ 112667 h 349382"/>
                <a:gd name="connsiteX370" fmla="*/ 895583 w 2663946"/>
                <a:gd name="connsiteY370" fmla="*/ 115370 h 349382"/>
                <a:gd name="connsiteX371" fmla="*/ 907874 w 2663946"/>
                <a:gd name="connsiteY371" fmla="*/ 112937 h 349382"/>
                <a:gd name="connsiteX372" fmla="*/ 911069 w 2663946"/>
                <a:gd name="connsiteY372" fmla="*/ 109422 h 349382"/>
                <a:gd name="connsiteX373" fmla="*/ 913527 w 2663946"/>
                <a:gd name="connsiteY373" fmla="*/ 105096 h 349382"/>
                <a:gd name="connsiteX374" fmla="*/ 914510 w 2663946"/>
                <a:gd name="connsiteY374" fmla="*/ 102933 h 349382"/>
                <a:gd name="connsiteX375" fmla="*/ 915739 w 2663946"/>
                <a:gd name="connsiteY375" fmla="*/ 98607 h 349382"/>
                <a:gd name="connsiteX376" fmla="*/ 915248 w 2663946"/>
                <a:gd name="connsiteY376" fmla="*/ 84817 h 349382"/>
                <a:gd name="connsiteX377" fmla="*/ 914264 w 2663946"/>
                <a:gd name="connsiteY377" fmla="*/ 81843 h 349382"/>
                <a:gd name="connsiteX378" fmla="*/ 913036 w 2663946"/>
                <a:gd name="connsiteY378" fmla="*/ 78869 h 349382"/>
                <a:gd name="connsiteX379" fmla="*/ 910823 w 2663946"/>
                <a:gd name="connsiteY379" fmla="*/ 75354 h 349382"/>
                <a:gd name="connsiteX380" fmla="*/ 907136 w 2663946"/>
                <a:gd name="connsiteY380" fmla="*/ 71569 h 349382"/>
                <a:gd name="connsiteX381" fmla="*/ 903203 w 2663946"/>
                <a:gd name="connsiteY381" fmla="*/ 69406 h 349382"/>
                <a:gd name="connsiteX382" fmla="*/ 554297 w 2663946"/>
                <a:gd name="connsiteY382" fmla="*/ 69406 h 349382"/>
                <a:gd name="connsiteX383" fmla="*/ 542744 w 2663946"/>
                <a:gd name="connsiteY383" fmla="*/ 71839 h 349382"/>
                <a:gd name="connsiteX384" fmla="*/ 539549 w 2663946"/>
                <a:gd name="connsiteY384" fmla="*/ 75354 h 349382"/>
                <a:gd name="connsiteX385" fmla="*/ 537337 w 2663946"/>
                <a:gd name="connsiteY385" fmla="*/ 79139 h 349382"/>
                <a:gd name="connsiteX386" fmla="*/ 536353 w 2663946"/>
                <a:gd name="connsiteY386" fmla="*/ 81843 h 349382"/>
                <a:gd name="connsiteX387" fmla="*/ 535370 w 2663946"/>
                <a:gd name="connsiteY387" fmla="*/ 85899 h 349382"/>
                <a:gd name="connsiteX388" fmla="*/ 534387 w 2663946"/>
                <a:gd name="connsiteY388" fmla="*/ 92929 h 349382"/>
                <a:gd name="connsiteX389" fmla="*/ 535370 w 2663946"/>
                <a:gd name="connsiteY389" fmla="*/ 100229 h 349382"/>
                <a:gd name="connsiteX390" fmla="*/ 536599 w 2663946"/>
                <a:gd name="connsiteY390" fmla="*/ 104014 h 349382"/>
                <a:gd name="connsiteX391" fmla="*/ 538811 w 2663946"/>
                <a:gd name="connsiteY391" fmla="*/ 108340 h 349382"/>
                <a:gd name="connsiteX392" fmla="*/ 542253 w 2663946"/>
                <a:gd name="connsiteY392" fmla="*/ 112667 h 349382"/>
                <a:gd name="connsiteX393" fmla="*/ 546677 w 2663946"/>
                <a:gd name="connsiteY393" fmla="*/ 115370 h 349382"/>
                <a:gd name="connsiteX394" fmla="*/ 558967 w 2663946"/>
                <a:gd name="connsiteY394" fmla="*/ 112937 h 349382"/>
                <a:gd name="connsiteX395" fmla="*/ 562163 w 2663946"/>
                <a:gd name="connsiteY395" fmla="*/ 109422 h 349382"/>
                <a:gd name="connsiteX396" fmla="*/ 564621 w 2663946"/>
                <a:gd name="connsiteY396" fmla="*/ 105096 h 349382"/>
                <a:gd name="connsiteX397" fmla="*/ 565604 w 2663946"/>
                <a:gd name="connsiteY397" fmla="*/ 102933 h 349382"/>
                <a:gd name="connsiteX398" fmla="*/ 566833 w 2663946"/>
                <a:gd name="connsiteY398" fmla="*/ 98607 h 349382"/>
                <a:gd name="connsiteX399" fmla="*/ 566341 w 2663946"/>
                <a:gd name="connsiteY399" fmla="*/ 84817 h 349382"/>
                <a:gd name="connsiteX400" fmla="*/ 565358 w 2663946"/>
                <a:gd name="connsiteY400" fmla="*/ 81843 h 349382"/>
                <a:gd name="connsiteX401" fmla="*/ 564129 w 2663946"/>
                <a:gd name="connsiteY401" fmla="*/ 78869 h 349382"/>
                <a:gd name="connsiteX402" fmla="*/ 561917 w 2663946"/>
                <a:gd name="connsiteY402" fmla="*/ 75354 h 349382"/>
                <a:gd name="connsiteX403" fmla="*/ 558230 w 2663946"/>
                <a:gd name="connsiteY403" fmla="*/ 71569 h 349382"/>
                <a:gd name="connsiteX404" fmla="*/ 554297 w 2663946"/>
                <a:gd name="connsiteY404" fmla="*/ 69406 h 349382"/>
                <a:gd name="connsiteX405" fmla="*/ 372346 w 2663946"/>
                <a:gd name="connsiteY405" fmla="*/ 69406 h 349382"/>
                <a:gd name="connsiteX406" fmla="*/ 360793 w 2663946"/>
                <a:gd name="connsiteY406" fmla="*/ 71839 h 349382"/>
                <a:gd name="connsiteX407" fmla="*/ 357598 w 2663946"/>
                <a:gd name="connsiteY407" fmla="*/ 75354 h 349382"/>
                <a:gd name="connsiteX408" fmla="*/ 355385 w 2663946"/>
                <a:gd name="connsiteY408" fmla="*/ 79139 h 349382"/>
                <a:gd name="connsiteX409" fmla="*/ 354402 w 2663946"/>
                <a:gd name="connsiteY409" fmla="*/ 81843 h 349382"/>
                <a:gd name="connsiteX410" fmla="*/ 353419 w 2663946"/>
                <a:gd name="connsiteY410" fmla="*/ 85899 h 349382"/>
                <a:gd name="connsiteX411" fmla="*/ 352436 w 2663946"/>
                <a:gd name="connsiteY411" fmla="*/ 92929 h 349382"/>
                <a:gd name="connsiteX412" fmla="*/ 353419 w 2663946"/>
                <a:gd name="connsiteY412" fmla="*/ 100229 h 349382"/>
                <a:gd name="connsiteX413" fmla="*/ 354648 w 2663946"/>
                <a:gd name="connsiteY413" fmla="*/ 104014 h 349382"/>
                <a:gd name="connsiteX414" fmla="*/ 356860 w 2663946"/>
                <a:gd name="connsiteY414" fmla="*/ 108340 h 349382"/>
                <a:gd name="connsiteX415" fmla="*/ 360301 w 2663946"/>
                <a:gd name="connsiteY415" fmla="*/ 112667 h 349382"/>
                <a:gd name="connsiteX416" fmla="*/ 364726 w 2663946"/>
                <a:gd name="connsiteY416" fmla="*/ 115370 h 349382"/>
                <a:gd name="connsiteX417" fmla="*/ 377016 w 2663946"/>
                <a:gd name="connsiteY417" fmla="*/ 112937 h 349382"/>
                <a:gd name="connsiteX418" fmla="*/ 380212 w 2663946"/>
                <a:gd name="connsiteY418" fmla="*/ 109422 h 349382"/>
                <a:gd name="connsiteX419" fmla="*/ 382670 w 2663946"/>
                <a:gd name="connsiteY419" fmla="*/ 105096 h 349382"/>
                <a:gd name="connsiteX420" fmla="*/ 383653 w 2663946"/>
                <a:gd name="connsiteY420" fmla="*/ 102933 h 349382"/>
                <a:gd name="connsiteX421" fmla="*/ 384882 w 2663946"/>
                <a:gd name="connsiteY421" fmla="*/ 98607 h 349382"/>
                <a:gd name="connsiteX422" fmla="*/ 384390 w 2663946"/>
                <a:gd name="connsiteY422" fmla="*/ 84817 h 349382"/>
                <a:gd name="connsiteX423" fmla="*/ 383407 w 2663946"/>
                <a:gd name="connsiteY423" fmla="*/ 81843 h 349382"/>
                <a:gd name="connsiteX424" fmla="*/ 382178 w 2663946"/>
                <a:gd name="connsiteY424" fmla="*/ 78869 h 349382"/>
                <a:gd name="connsiteX425" fmla="*/ 379966 w 2663946"/>
                <a:gd name="connsiteY425" fmla="*/ 75354 h 349382"/>
                <a:gd name="connsiteX426" fmla="*/ 376279 w 2663946"/>
                <a:gd name="connsiteY426" fmla="*/ 71569 h 349382"/>
                <a:gd name="connsiteX427" fmla="*/ 372346 w 2663946"/>
                <a:gd name="connsiteY427" fmla="*/ 69406 h 349382"/>
                <a:gd name="connsiteX428" fmla="*/ 129300 w 2663946"/>
                <a:gd name="connsiteY428" fmla="*/ 69406 h 349382"/>
                <a:gd name="connsiteX429" fmla="*/ 117747 w 2663946"/>
                <a:gd name="connsiteY429" fmla="*/ 71839 h 349382"/>
                <a:gd name="connsiteX430" fmla="*/ 114552 w 2663946"/>
                <a:gd name="connsiteY430" fmla="*/ 75354 h 349382"/>
                <a:gd name="connsiteX431" fmla="*/ 112340 w 2663946"/>
                <a:gd name="connsiteY431" fmla="*/ 79139 h 349382"/>
                <a:gd name="connsiteX432" fmla="*/ 111356 w 2663946"/>
                <a:gd name="connsiteY432" fmla="*/ 81843 h 349382"/>
                <a:gd name="connsiteX433" fmla="*/ 110373 w 2663946"/>
                <a:gd name="connsiteY433" fmla="*/ 85899 h 349382"/>
                <a:gd name="connsiteX434" fmla="*/ 109390 w 2663946"/>
                <a:gd name="connsiteY434" fmla="*/ 92929 h 349382"/>
                <a:gd name="connsiteX435" fmla="*/ 110373 w 2663946"/>
                <a:gd name="connsiteY435" fmla="*/ 100229 h 349382"/>
                <a:gd name="connsiteX436" fmla="*/ 111602 w 2663946"/>
                <a:gd name="connsiteY436" fmla="*/ 104014 h 349382"/>
                <a:gd name="connsiteX437" fmla="*/ 113814 w 2663946"/>
                <a:gd name="connsiteY437" fmla="*/ 108340 h 349382"/>
                <a:gd name="connsiteX438" fmla="*/ 117256 w 2663946"/>
                <a:gd name="connsiteY438" fmla="*/ 112667 h 349382"/>
                <a:gd name="connsiteX439" fmla="*/ 121680 w 2663946"/>
                <a:gd name="connsiteY439" fmla="*/ 115370 h 349382"/>
                <a:gd name="connsiteX440" fmla="*/ 133970 w 2663946"/>
                <a:gd name="connsiteY440" fmla="*/ 112937 h 349382"/>
                <a:gd name="connsiteX441" fmla="*/ 137166 w 2663946"/>
                <a:gd name="connsiteY441" fmla="*/ 109422 h 349382"/>
                <a:gd name="connsiteX442" fmla="*/ 139624 w 2663946"/>
                <a:gd name="connsiteY442" fmla="*/ 105096 h 349382"/>
                <a:gd name="connsiteX443" fmla="*/ 140607 w 2663946"/>
                <a:gd name="connsiteY443" fmla="*/ 102933 h 349382"/>
                <a:gd name="connsiteX444" fmla="*/ 141836 w 2663946"/>
                <a:gd name="connsiteY444" fmla="*/ 98607 h 349382"/>
                <a:gd name="connsiteX445" fmla="*/ 141344 w 2663946"/>
                <a:gd name="connsiteY445" fmla="*/ 84817 h 349382"/>
                <a:gd name="connsiteX446" fmla="*/ 140361 w 2663946"/>
                <a:gd name="connsiteY446" fmla="*/ 81843 h 349382"/>
                <a:gd name="connsiteX447" fmla="*/ 139132 w 2663946"/>
                <a:gd name="connsiteY447" fmla="*/ 78869 h 349382"/>
                <a:gd name="connsiteX448" fmla="*/ 136920 w 2663946"/>
                <a:gd name="connsiteY448" fmla="*/ 75354 h 349382"/>
                <a:gd name="connsiteX449" fmla="*/ 133233 w 2663946"/>
                <a:gd name="connsiteY449" fmla="*/ 71569 h 349382"/>
                <a:gd name="connsiteX450" fmla="*/ 129300 w 2663946"/>
                <a:gd name="connsiteY450" fmla="*/ 69406 h 349382"/>
                <a:gd name="connsiteX451" fmla="*/ 33147 w 2663946"/>
                <a:gd name="connsiteY451" fmla="*/ 65470 h 349382"/>
                <a:gd name="connsiteX452" fmla="*/ 21486 w 2663946"/>
                <a:gd name="connsiteY452" fmla="*/ 73199 h 349382"/>
                <a:gd name="connsiteX453" fmla="*/ 20561 w 2663946"/>
                <a:gd name="connsiteY453" fmla="*/ 77782 h 349382"/>
                <a:gd name="connsiteX454" fmla="*/ 23801 w 2663946"/>
                <a:gd name="connsiteY454" fmla="*/ 77782 h 349382"/>
                <a:gd name="connsiteX455" fmla="*/ 42218 w 2663946"/>
                <a:gd name="connsiteY455" fmla="*/ 77782 h 349382"/>
                <a:gd name="connsiteX456" fmla="*/ 45732 w 2663946"/>
                <a:gd name="connsiteY456" fmla="*/ 77782 h 349382"/>
                <a:gd name="connsiteX457" fmla="*/ 44807 w 2663946"/>
                <a:gd name="connsiteY457" fmla="*/ 73199 h 349382"/>
                <a:gd name="connsiteX458" fmla="*/ 33147 w 2663946"/>
                <a:gd name="connsiteY458" fmla="*/ 65470 h 349382"/>
                <a:gd name="connsiteX459" fmla="*/ 2537931 w 2663946"/>
                <a:gd name="connsiteY459" fmla="*/ 57882 h 349382"/>
                <a:gd name="connsiteX460" fmla="*/ 2526271 w 2663946"/>
                <a:gd name="connsiteY460" fmla="*/ 65611 h 349382"/>
                <a:gd name="connsiteX461" fmla="*/ 2525346 w 2663946"/>
                <a:gd name="connsiteY461" fmla="*/ 70194 h 349382"/>
                <a:gd name="connsiteX462" fmla="*/ 2528586 w 2663946"/>
                <a:gd name="connsiteY462" fmla="*/ 70194 h 349382"/>
                <a:gd name="connsiteX463" fmla="*/ 2547003 w 2663946"/>
                <a:gd name="connsiteY463" fmla="*/ 70194 h 349382"/>
                <a:gd name="connsiteX464" fmla="*/ 2550517 w 2663946"/>
                <a:gd name="connsiteY464" fmla="*/ 70194 h 349382"/>
                <a:gd name="connsiteX465" fmla="*/ 2549592 w 2663946"/>
                <a:gd name="connsiteY465" fmla="*/ 65611 h 349382"/>
                <a:gd name="connsiteX466" fmla="*/ 2537931 w 2663946"/>
                <a:gd name="connsiteY466" fmla="*/ 57882 h 349382"/>
                <a:gd name="connsiteX467" fmla="*/ 2112934 w 2663946"/>
                <a:gd name="connsiteY467" fmla="*/ 57882 h 349382"/>
                <a:gd name="connsiteX468" fmla="*/ 2101274 w 2663946"/>
                <a:gd name="connsiteY468" fmla="*/ 65611 h 349382"/>
                <a:gd name="connsiteX469" fmla="*/ 2100349 w 2663946"/>
                <a:gd name="connsiteY469" fmla="*/ 70194 h 349382"/>
                <a:gd name="connsiteX470" fmla="*/ 2103589 w 2663946"/>
                <a:gd name="connsiteY470" fmla="*/ 70194 h 349382"/>
                <a:gd name="connsiteX471" fmla="*/ 2122006 w 2663946"/>
                <a:gd name="connsiteY471" fmla="*/ 70194 h 349382"/>
                <a:gd name="connsiteX472" fmla="*/ 2125520 w 2663946"/>
                <a:gd name="connsiteY472" fmla="*/ 70194 h 349382"/>
                <a:gd name="connsiteX473" fmla="*/ 2124595 w 2663946"/>
                <a:gd name="connsiteY473" fmla="*/ 65611 h 349382"/>
                <a:gd name="connsiteX474" fmla="*/ 2112934 w 2663946"/>
                <a:gd name="connsiteY474" fmla="*/ 57882 h 349382"/>
                <a:gd name="connsiteX475" fmla="*/ 1854966 w 2663946"/>
                <a:gd name="connsiteY475" fmla="*/ 57882 h 349382"/>
                <a:gd name="connsiteX476" fmla="*/ 1843306 w 2663946"/>
                <a:gd name="connsiteY476" fmla="*/ 65611 h 349382"/>
                <a:gd name="connsiteX477" fmla="*/ 1842381 w 2663946"/>
                <a:gd name="connsiteY477" fmla="*/ 70194 h 349382"/>
                <a:gd name="connsiteX478" fmla="*/ 1845621 w 2663946"/>
                <a:gd name="connsiteY478" fmla="*/ 70194 h 349382"/>
                <a:gd name="connsiteX479" fmla="*/ 1864038 w 2663946"/>
                <a:gd name="connsiteY479" fmla="*/ 70194 h 349382"/>
                <a:gd name="connsiteX480" fmla="*/ 1867552 w 2663946"/>
                <a:gd name="connsiteY480" fmla="*/ 70194 h 349382"/>
                <a:gd name="connsiteX481" fmla="*/ 1866627 w 2663946"/>
                <a:gd name="connsiteY481" fmla="*/ 65611 h 349382"/>
                <a:gd name="connsiteX482" fmla="*/ 1854966 w 2663946"/>
                <a:gd name="connsiteY482" fmla="*/ 57882 h 349382"/>
                <a:gd name="connsiteX483" fmla="*/ 1764027 w 2663946"/>
                <a:gd name="connsiteY483" fmla="*/ 57882 h 349382"/>
                <a:gd name="connsiteX484" fmla="*/ 1752367 w 2663946"/>
                <a:gd name="connsiteY484" fmla="*/ 65611 h 349382"/>
                <a:gd name="connsiteX485" fmla="*/ 1751442 w 2663946"/>
                <a:gd name="connsiteY485" fmla="*/ 70194 h 349382"/>
                <a:gd name="connsiteX486" fmla="*/ 1754682 w 2663946"/>
                <a:gd name="connsiteY486" fmla="*/ 70194 h 349382"/>
                <a:gd name="connsiteX487" fmla="*/ 1773099 w 2663946"/>
                <a:gd name="connsiteY487" fmla="*/ 70194 h 349382"/>
                <a:gd name="connsiteX488" fmla="*/ 1776613 w 2663946"/>
                <a:gd name="connsiteY488" fmla="*/ 70194 h 349382"/>
                <a:gd name="connsiteX489" fmla="*/ 1775687 w 2663946"/>
                <a:gd name="connsiteY489" fmla="*/ 65611 h 349382"/>
                <a:gd name="connsiteX490" fmla="*/ 1764027 w 2663946"/>
                <a:gd name="connsiteY490" fmla="*/ 57882 h 349382"/>
                <a:gd name="connsiteX491" fmla="*/ 1506059 w 2663946"/>
                <a:gd name="connsiteY491" fmla="*/ 57882 h 349382"/>
                <a:gd name="connsiteX492" fmla="*/ 1494399 w 2663946"/>
                <a:gd name="connsiteY492" fmla="*/ 65611 h 349382"/>
                <a:gd name="connsiteX493" fmla="*/ 1493474 w 2663946"/>
                <a:gd name="connsiteY493" fmla="*/ 70194 h 349382"/>
                <a:gd name="connsiteX494" fmla="*/ 1496714 w 2663946"/>
                <a:gd name="connsiteY494" fmla="*/ 70194 h 349382"/>
                <a:gd name="connsiteX495" fmla="*/ 1515131 w 2663946"/>
                <a:gd name="connsiteY495" fmla="*/ 70194 h 349382"/>
                <a:gd name="connsiteX496" fmla="*/ 1518645 w 2663946"/>
                <a:gd name="connsiteY496" fmla="*/ 70194 h 349382"/>
                <a:gd name="connsiteX497" fmla="*/ 1517719 w 2663946"/>
                <a:gd name="connsiteY497" fmla="*/ 65611 h 349382"/>
                <a:gd name="connsiteX498" fmla="*/ 1506059 w 2663946"/>
                <a:gd name="connsiteY498" fmla="*/ 57882 h 349382"/>
                <a:gd name="connsiteX499" fmla="*/ 1415120 w 2663946"/>
                <a:gd name="connsiteY499" fmla="*/ 57882 h 349382"/>
                <a:gd name="connsiteX500" fmla="*/ 1403460 w 2663946"/>
                <a:gd name="connsiteY500" fmla="*/ 65611 h 349382"/>
                <a:gd name="connsiteX501" fmla="*/ 1402535 w 2663946"/>
                <a:gd name="connsiteY501" fmla="*/ 70194 h 349382"/>
                <a:gd name="connsiteX502" fmla="*/ 1405775 w 2663946"/>
                <a:gd name="connsiteY502" fmla="*/ 70194 h 349382"/>
                <a:gd name="connsiteX503" fmla="*/ 1424192 w 2663946"/>
                <a:gd name="connsiteY503" fmla="*/ 70194 h 349382"/>
                <a:gd name="connsiteX504" fmla="*/ 1427706 w 2663946"/>
                <a:gd name="connsiteY504" fmla="*/ 70194 h 349382"/>
                <a:gd name="connsiteX505" fmla="*/ 1426780 w 2663946"/>
                <a:gd name="connsiteY505" fmla="*/ 65611 h 349382"/>
                <a:gd name="connsiteX506" fmla="*/ 1415120 w 2663946"/>
                <a:gd name="connsiteY506" fmla="*/ 57882 h 349382"/>
                <a:gd name="connsiteX507" fmla="*/ 1157152 w 2663946"/>
                <a:gd name="connsiteY507" fmla="*/ 57882 h 349382"/>
                <a:gd name="connsiteX508" fmla="*/ 1145492 w 2663946"/>
                <a:gd name="connsiteY508" fmla="*/ 65611 h 349382"/>
                <a:gd name="connsiteX509" fmla="*/ 1144567 w 2663946"/>
                <a:gd name="connsiteY509" fmla="*/ 70194 h 349382"/>
                <a:gd name="connsiteX510" fmla="*/ 1147807 w 2663946"/>
                <a:gd name="connsiteY510" fmla="*/ 70194 h 349382"/>
                <a:gd name="connsiteX511" fmla="*/ 1166224 w 2663946"/>
                <a:gd name="connsiteY511" fmla="*/ 70194 h 349382"/>
                <a:gd name="connsiteX512" fmla="*/ 1169738 w 2663946"/>
                <a:gd name="connsiteY512" fmla="*/ 70194 h 349382"/>
                <a:gd name="connsiteX513" fmla="*/ 1168812 w 2663946"/>
                <a:gd name="connsiteY513" fmla="*/ 65611 h 349382"/>
                <a:gd name="connsiteX514" fmla="*/ 1157152 w 2663946"/>
                <a:gd name="connsiteY514" fmla="*/ 57882 h 349382"/>
                <a:gd name="connsiteX515" fmla="*/ 732156 w 2663946"/>
                <a:gd name="connsiteY515" fmla="*/ 57882 h 349382"/>
                <a:gd name="connsiteX516" fmla="*/ 720495 w 2663946"/>
                <a:gd name="connsiteY516" fmla="*/ 65611 h 349382"/>
                <a:gd name="connsiteX517" fmla="*/ 719570 w 2663946"/>
                <a:gd name="connsiteY517" fmla="*/ 70194 h 349382"/>
                <a:gd name="connsiteX518" fmla="*/ 722810 w 2663946"/>
                <a:gd name="connsiteY518" fmla="*/ 70194 h 349382"/>
                <a:gd name="connsiteX519" fmla="*/ 741228 w 2663946"/>
                <a:gd name="connsiteY519" fmla="*/ 70194 h 349382"/>
                <a:gd name="connsiteX520" fmla="*/ 744742 w 2663946"/>
                <a:gd name="connsiteY520" fmla="*/ 70194 h 349382"/>
                <a:gd name="connsiteX521" fmla="*/ 743816 w 2663946"/>
                <a:gd name="connsiteY521" fmla="*/ 65611 h 349382"/>
                <a:gd name="connsiteX522" fmla="*/ 732156 w 2663946"/>
                <a:gd name="connsiteY522" fmla="*/ 57882 h 349382"/>
                <a:gd name="connsiteX523" fmla="*/ 641217 w 2663946"/>
                <a:gd name="connsiteY523" fmla="*/ 57882 h 349382"/>
                <a:gd name="connsiteX524" fmla="*/ 629556 w 2663946"/>
                <a:gd name="connsiteY524" fmla="*/ 65611 h 349382"/>
                <a:gd name="connsiteX525" fmla="*/ 628631 w 2663946"/>
                <a:gd name="connsiteY525" fmla="*/ 70194 h 349382"/>
                <a:gd name="connsiteX526" fmla="*/ 631871 w 2663946"/>
                <a:gd name="connsiteY526" fmla="*/ 70194 h 349382"/>
                <a:gd name="connsiteX527" fmla="*/ 650289 w 2663946"/>
                <a:gd name="connsiteY527" fmla="*/ 70194 h 349382"/>
                <a:gd name="connsiteX528" fmla="*/ 653802 w 2663946"/>
                <a:gd name="connsiteY528" fmla="*/ 70194 h 349382"/>
                <a:gd name="connsiteX529" fmla="*/ 652877 w 2663946"/>
                <a:gd name="connsiteY529" fmla="*/ 65611 h 349382"/>
                <a:gd name="connsiteX530" fmla="*/ 641217 w 2663946"/>
                <a:gd name="connsiteY530" fmla="*/ 57882 h 349382"/>
                <a:gd name="connsiteX531" fmla="*/ 459266 w 2663946"/>
                <a:gd name="connsiteY531" fmla="*/ 57882 h 349382"/>
                <a:gd name="connsiteX532" fmla="*/ 447605 w 2663946"/>
                <a:gd name="connsiteY532" fmla="*/ 65611 h 349382"/>
                <a:gd name="connsiteX533" fmla="*/ 446680 w 2663946"/>
                <a:gd name="connsiteY533" fmla="*/ 70194 h 349382"/>
                <a:gd name="connsiteX534" fmla="*/ 449920 w 2663946"/>
                <a:gd name="connsiteY534" fmla="*/ 70194 h 349382"/>
                <a:gd name="connsiteX535" fmla="*/ 468337 w 2663946"/>
                <a:gd name="connsiteY535" fmla="*/ 70194 h 349382"/>
                <a:gd name="connsiteX536" fmla="*/ 471851 w 2663946"/>
                <a:gd name="connsiteY536" fmla="*/ 70194 h 349382"/>
                <a:gd name="connsiteX537" fmla="*/ 470926 w 2663946"/>
                <a:gd name="connsiteY537" fmla="*/ 65611 h 349382"/>
                <a:gd name="connsiteX538" fmla="*/ 459266 w 2663946"/>
                <a:gd name="connsiteY538" fmla="*/ 57882 h 349382"/>
                <a:gd name="connsiteX539" fmla="*/ 2361413 w 2663946"/>
                <a:gd name="connsiteY539" fmla="*/ 53522 h 349382"/>
                <a:gd name="connsiteX540" fmla="*/ 2365469 w 2663946"/>
                <a:gd name="connsiteY540" fmla="*/ 53522 h 349382"/>
                <a:gd name="connsiteX541" fmla="*/ 2370065 w 2663946"/>
                <a:gd name="connsiteY541" fmla="*/ 55956 h 349382"/>
                <a:gd name="connsiteX542" fmla="*/ 2372229 w 2663946"/>
                <a:gd name="connsiteY542" fmla="*/ 62174 h 349382"/>
                <a:gd name="connsiteX543" fmla="*/ 2372229 w 2663946"/>
                <a:gd name="connsiteY543" fmla="*/ 62715 h 349382"/>
                <a:gd name="connsiteX544" fmla="*/ 2372229 w 2663946"/>
                <a:gd name="connsiteY544" fmla="*/ 115710 h 349382"/>
                <a:gd name="connsiteX545" fmla="*/ 2372769 w 2663946"/>
                <a:gd name="connsiteY545" fmla="*/ 116250 h 349382"/>
                <a:gd name="connsiteX546" fmla="*/ 2380069 w 2663946"/>
                <a:gd name="connsiteY546" fmla="*/ 116250 h 349382"/>
                <a:gd name="connsiteX547" fmla="*/ 2384125 w 2663946"/>
                <a:gd name="connsiteY547" fmla="*/ 117332 h 349382"/>
                <a:gd name="connsiteX548" fmla="*/ 2387910 w 2663946"/>
                <a:gd name="connsiteY548" fmla="*/ 124091 h 349382"/>
                <a:gd name="connsiteX549" fmla="*/ 2385207 w 2663946"/>
                <a:gd name="connsiteY549" fmla="*/ 129769 h 349382"/>
                <a:gd name="connsiteX550" fmla="*/ 2381151 w 2663946"/>
                <a:gd name="connsiteY550" fmla="*/ 131662 h 349382"/>
                <a:gd name="connsiteX551" fmla="*/ 2380881 w 2663946"/>
                <a:gd name="connsiteY551" fmla="*/ 131662 h 349382"/>
                <a:gd name="connsiteX552" fmla="*/ 2380610 w 2663946"/>
                <a:gd name="connsiteY552" fmla="*/ 131662 h 349382"/>
                <a:gd name="connsiteX553" fmla="*/ 2380069 w 2663946"/>
                <a:gd name="connsiteY553" fmla="*/ 131662 h 349382"/>
                <a:gd name="connsiteX554" fmla="*/ 2347894 w 2663946"/>
                <a:gd name="connsiteY554" fmla="*/ 131662 h 349382"/>
                <a:gd name="connsiteX555" fmla="*/ 2347354 w 2663946"/>
                <a:gd name="connsiteY555" fmla="*/ 131662 h 349382"/>
                <a:gd name="connsiteX556" fmla="*/ 2346542 w 2663946"/>
                <a:gd name="connsiteY556" fmla="*/ 131662 h 349382"/>
                <a:gd name="connsiteX557" fmla="*/ 2345731 w 2663946"/>
                <a:gd name="connsiteY557" fmla="*/ 131392 h 349382"/>
                <a:gd name="connsiteX558" fmla="*/ 2342216 w 2663946"/>
                <a:gd name="connsiteY558" fmla="*/ 129499 h 349382"/>
                <a:gd name="connsiteX559" fmla="*/ 2339783 w 2663946"/>
                <a:gd name="connsiteY559" fmla="*/ 123821 h 349382"/>
                <a:gd name="connsiteX560" fmla="*/ 2341946 w 2663946"/>
                <a:gd name="connsiteY560" fmla="*/ 118684 h 349382"/>
                <a:gd name="connsiteX561" fmla="*/ 2347624 w 2663946"/>
                <a:gd name="connsiteY561" fmla="*/ 116250 h 349382"/>
                <a:gd name="connsiteX562" fmla="*/ 2355465 w 2663946"/>
                <a:gd name="connsiteY562" fmla="*/ 116250 h 349382"/>
                <a:gd name="connsiteX563" fmla="*/ 2356006 w 2663946"/>
                <a:gd name="connsiteY563" fmla="*/ 115710 h 349382"/>
                <a:gd name="connsiteX564" fmla="*/ 2356006 w 2663946"/>
                <a:gd name="connsiteY564" fmla="*/ 69745 h 349382"/>
                <a:gd name="connsiteX565" fmla="*/ 2355465 w 2663946"/>
                <a:gd name="connsiteY565" fmla="*/ 69204 h 349382"/>
                <a:gd name="connsiteX566" fmla="*/ 2349517 w 2663946"/>
                <a:gd name="connsiteY566" fmla="*/ 69204 h 349382"/>
                <a:gd name="connsiteX567" fmla="*/ 2342216 w 2663946"/>
                <a:gd name="connsiteY567" fmla="*/ 64608 h 349382"/>
                <a:gd name="connsiteX568" fmla="*/ 2341946 w 2663946"/>
                <a:gd name="connsiteY568" fmla="*/ 58930 h 349382"/>
                <a:gd name="connsiteX569" fmla="*/ 2349246 w 2663946"/>
                <a:gd name="connsiteY569" fmla="*/ 53793 h 349382"/>
                <a:gd name="connsiteX570" fmla="*/ 2361413 w 2663946"/>
                <a:gd name="connsiteY570" fmla="*/ 53522 h 349382"/>
                <a:gd name="connsiteX571" fmla="*/ 2285396 w 2663946"/>
                <a:gd name="connsiteY571" fmla="*/ 53522 h 349382"/>
                <a:gd name="connsiteX572" fmla="*/ 2289452 w 2663946"/>
                <a:gd name="connsiteY572" fmla="*/ 53522 h 349382"/>
                <a:gd name="connsiteX573" fmla="*/ 2294048 w 2663946"/>
                <a:gd name="connsiteY573" fmla="*/ 55956 h 349382"/>
                <a:gd name="connsiteX574" fmla="*/ 2296212 w 2663946"/>
                <a:gd name="connsiteY574" fmla="*/ 62174 h 349382"/>
                <a:gd name="connsiteX575" fmla="*/ 2296212 w 2663946"/>
                <a:gd name="connsiteY575" fmla="*/ 62715 h 349382"/>
                <a:gd name="connsiteX576" fmla="*/ 2296212 w 2663946"/>
                <a:gd name="connsiteY576" fmla="*/ 115710 h 349382"/>
                <a:gd name="connsiteX577" fmla="*/ 2296752 w 2663946"/>
                <a:gd name="connsiteY577" fmla="*/ 116250 h 349382"/>
                <a:gd name="connsiteX578" fmla="*/ 2304052 w 2663946"/>
                <a:gd name="connsiteY578" fmla="*/ 116250 h 349382"/>
                <a:gd name="connsiteX579" fmla="*/ 2308108 w 2663946"/>
                <a:gd name="connsiteY579" fmla="*/ 117332 h 349382"/>
                <a:gd name="connsiteX580" fmla="*/ 2311893 w 2663946"/>
                <a:gd name="connsiteY580" fmla="*/ 124091 h 349382"/>
                <a:gd name="connsiteX581" fmla="*/ 2309190 w 2663946"/>
                <a:gd name="connsiteY581" fmla="*/ 129769 h 349382"/>
                <a:gd name="connsiteX582" fmla="*/ 2305134 w 2663946"/>
                <a:gd name="connsiteY582" fmla="*/ 131662 h 349382"/>
                <a:gd name="connsiteX583" fmla="*/ 2304864 w 2663946"/>
                <a:gd name="connsiteY583" fmla="*/ 131662 h 349382"/>
                <a:gd name="connsiteX584" fmla="*/ 2304593 w 2663946"/>
                <a:gd name="connsiteY584" fmla="*/ 131662 h 349382"/>
                <a:gd name="connsiteX585" fmla="*/ 2304052 w 2663946"/>
                <a:gd name="connsiteY585" fmla="*/ 131662 h 349382"/>
                <a:gd name="connsiteX586" fmla="*/ 2271877 w 2663946"/>
                <a:gd name="connsiteY586" fmla="*/ 131662 h 349382"/>
                <a:gd name="connsiteX587" fmla="*/ 2271337 w 2663946"/>
                <a:gd name="connsiteY587" fmla="*/ 131662 h 349382"/>
                <a:gd name="connsiteX588" fmla="*/ 2270525 w 2663946"/>
                <a:gd name="connsiteY588" fmla="*/ 131662 h 349382"/>
                <a:gd name="connsiteX589" fmla="*/ 2269714 w 2663946"/>
                <a:gd name="connsiteY589" fmla="*/ 131392 h 349382"/>
                <a:gd name="connsiteX590" fmla="*/ 2266199 w 2663946"/>
                <a:gd name="connsiteY590" fmla="*/ 129499 h 349382"/>
                <a:gd name="connsiteX591" fmla="*/ 2263766 w 2663946"/>
                <a:gd name="connsiteY591" fmla="*/ 123821 h 349382"/>
                <a:gd name="connsiteX592" fmla="*/ 2265929 w 2663946"/>
                <a:gd name="connsiteY592" fmla="*/ 118684 h 349382"/>
                <a:gd name="connsiteX593" fmla="*/ 2271607 w 2663946"/>
                <a:gd name="connsiteY593" fmla="*/ 116250 h 349382"/>
                <a:gd name="connsiteX594" fmla="*/ 2279448 w 2663946"/>
                <a:gd name="connsiteY594" fmla="*/ 116250 h 349382"/>
                <a:gd name="connsiteX595" fmla="*/ 2279989 w 2663946"/>
                <a:gd name="connsiteY595" fmla="*/ 115710 h 349382"/>
                <a:gd name="connsiteX596" fmla="*/ 2279989 w 2663946"/>
                <a:gd name="connsiteY596" fmla="*/ 69745 h 349382"/>
                <a:gd name="connsiteX597" fmla="*/ 2279448 w 2663946"/>
                <a:gd name="connsiteY597" fmla="*/ 69204 h 349382"/>
                <a:gd name="connsiteX598" fmla="*/ 2273500 w 2663946"/>
                <a:gd name="connsiteY598" fmla="*/ 69204 h 349382"/>
                <a:gd name="connsiteX599" fmla="*/ 2266199 w 2663946"/>
                <a:gd name="connsiteY599" fmla="*/ 64608 h 349382"/>
                <a:gd name="connsiteX600" fmla="*/ 2265929 w 2663946"/>
                <a:gd name="connsiteY600" fmla="*/ 58930 h 349382"/>
                <a:gd name="connsiteX601" fmla="*/ 2273229 w 2663946"/>
                <a:gd name="connsiteY601" fmla="*/ 53793 h 349382"/>
                <a:gd name="connsiteX602" fmla="*/ 2285396 w 2663946"/>
                <a:gd name="connsiteY602" fmla="*/ 53522 h 349382"/>
                <a:gd name="connsiteX603" fmla="*/ 1936416 w 2663946"/>
                <a:gd name="connsiteY603" fmla="*/ 53522 h 349382"/>
                <a:gd name="connsiteX604" fmla="*/ 1940472 w 2663946"/>
                <a:gd name="connsiteY604" fmla="*/ 53522 h 349382"/>
                <a:gd name="connsiteX605" fmla="*/ 1945068 w 2663946"/>
                <a:gd name="connsiteY605" fmla="*/ 55956 h 349382"/>
                <a:gd name="connsiteX606" fmla="*/ 1947232 w 2663946"/>
                <a:gd name="connsiteY606" fmla="*/ 62174 h 349382"/>
                <a:gd name="connsiteX607" fmla="*/ 1947232 w 2663946"/>
                <a:gd name="connsiteY607" fmla="*/ 62715 h 349382"/>
                <a:gd name="connsiteX608" fmla="*/ 1947232 w 2663946"/>
                <a:gd name="connsiteY608" fmla="*/ 115710 h 349382"/>
                <a:gd name="connsiteX609" fmla="*/ 1947772 w 2663946"/>
                <a:gd name="connsiteY609" fmla="*/ 116250 h 349382"/>
                <a:gd name="connsiteX610" fmla="*/ 1955072 w 2663946"/>
                <a:gd name="connsiteY610" fmla="*/ 116250 h 349382"/>
                <a:gd name="connsiteX611" fmla="*/ 1959128 w 2663946"/>
                <a:gd name="connsiteY611" fmla="*/ 117332 h 349382"/>
                <a:gd name="connsiteX612" fmla="*/ 1962913 w 2663946"/>
                <a:gd name="connsiteY612" fmla="*/ 124091 h 349382"/>
                <a:gd name="connsiteX613" fmla="*/ 1960210 w 2663946"/>
                <a:gd name="connsiteY613" fmla="*/ 129769 h 349382"/>
                <a:gd name="connsiteX614" fmla="*/ 1956154 w 2663946"/>
                <a:gd name="connsiteY614" fmla="*/ 131662 h 349382"/>
                <a:gd name="connsiteX615" fmla="*/ 1955884 w 2663946"/>
                <a:gd name="connsiteY615" fmla="*/ 131662 h 349382"/>
                <a:gd name="connsiteX616" fmla="*/ 1955613 w 2663946"/>
                <a:gd name="connsiteY616" fmla="*/ 131662 h 349382"/>
                <a:gd name="connsiteX617" fmla="*/ 1955072 w 2663946"/>
                <a:gd name="connsiteY617" fmla="*/ 131662 h 349382"/>
                <a:gd name="connsiteX618" fmla="*/ 1922897 w 2663946"/>
                <a:gd name="connsiteY618" fmla="*/ 131662 h 349382"/>
                <a:gd name="connsiteX619" fmla="*/ 1922357 w 2663946"/>
                <a:gd name="connsiteY619" fmla="*/ 131662 h 349382"/>
                <a:gd name="connsiteX620" fmla="*/ 1921545 w 2663946"/>
                <a:gd name="connsiteY620" fmla="*/ 131662 h 349382"/>
                <a:gd name="connsiteX621" fmla="*/ 1920734 w 2663946"/>
                <a:gd name="connsiteY621" fmla="*/ 131392 h 349382"/>
                <a:gd name="connsiteX622" fmla="*/ 1917219 w 2663946"/>
                <a:gd name="connsiteY622" fmla="*/ 129499 h 349382"/>
                <a:gd name="connsiteX623" fmla="*/ 1914786 w 2663946"/>
                <a:gd name="connsiteY623" fmla="*/ 123821 h 349382"/>
                <a:gd name="connsiteX624" fmla="*/ 1916949 w 2663946"/>
                <a:gd name="connsiteY624" fmla="*/ 118684 h 349382"/>
                <a:gd name="connsiteX625" fmla="*/ 1922627 w 2663946"/>
                <a:gd name="connsiteY625" fmla="*/ 116250 h 349382"/>
                <a:gd name="connsiteX626" fmla="*/ 1930468 w 2663946"/>
                <a:gd name="connsiteY626" fmla="*/ 116250 h 349382"/>
                <a:gd name="connsiteX627" fmla="*/ 1931009 w 2663946"/>
                <a:gd name="connsiteY627" fmla="*/ 115710 h 349382"/>
                <a:gd name="connsiteX628" fmla="*/ 1931009 w 2663946"/>
                <a:gd name="connsiteY628" fmla="*/ 69745 h 349382"/>
                <a:gd name="connsiteX629" fmla="*/ 1930468 w 2663946"/>
                <a:gd name="connsiteY629" fmla="*/ 69204 h 349382"/>
                <a:gd name="connsiteX630" fmla="*/ 1924520 w 2663946"/>
                <a:gd name="connsiteY630" fmla="*/ 69204 h 349382"/>
                <a:gd name="connsiteX631" fmla="*/ 1917219 w 2663946"/>
                <a:gd name="connsiteY631" fmla="*/ 64608 h 349382"/>
                <a:gd name="connsiteX632" fmla="*/ 1916949 w 2663946"/>
                <a:gd name="connsiteY632" fmla="*/ 58930 h 349382"/>
                <a:gd name="connsiteX633" fmla="*/ 1924249 w 2663946"/>
                <a:gd name="connsiteY633" fmla="*/ 53793 h 349382"/>
                <a:gd name="connsiteX634" fmla="*/ 1936416 w 2663946"/>
                <a:gd name="connsiteY634" fmla="*/ 53522 h 349382"/>
                <a:gd name="connsiteX635" fmla="*/ 1678521 w 2663946"/>
                <a:gd name="connsiteY635" fmla="*/ 53522 h 349382"/>
                <a:gd name="connsiteX636" fmla="*/ 1682577 w 2663946"/>
                <a:gd name="connsiteY636" fmla="*/ 53522 h 349382"/>
                <a:gd name="connsiteX637" fmla="*/ 1687173 w 2663946"/>
                <a:gd name="connsiteY637" fmla="*/ 55956 h 349382"/>
                <a:gd name="connsiteX638" fmla="*/ 1689336 w 2663946"/>
                <a:gd name="connsiteY638" fmla="*/ 62174 h 349382"/>
                <a:gd name="connsiteX639" fmla="*/ 1689336 w 2663946"/>
                <a:gd name="connsiteY639" fmla="*/ 62715 h 349382"/>
                <a:gd name="connsiteX640" fmla="*/ 1689336 w 2663946"/>
                <a:gd name="connsiteY640" fmla="*/ 115710 h 349382"/>
                <a:gd name="connsiteX641" fmla="*/ 1689877 w 2663946"/>
                <a:gd name="connsiteY641" fmla="*/ 116250 h 349382"/>
                <a:gd name="connsiteX642" fmla="*/ 1697177 w 2663946"/>
                <a:gd name="connsiteY642" fmla="*/ 116250 h 349382"/>
                <a:gd name="connsiteX643" fmla="*/ 1701233 w 2663946"/>
                <a:gd name="connsiteY643" fmla="*/ 117332 h 349382"/>
                <a:gd name="connsiteX644" fmla="*/ 1705018 w 2663946"/>
                <a:gd name="connsiteY644" fmla="*/ 124091 h 349382"/>
                <a:gd name="connsiteX645" fmla="*/ 1702315 w 2663946"/>
                <a:gd name="connsiteY645" fmla="*/ 129769 h 349382"/>
                <a:gd name="connsiteX646" fmla="*/ 1698259 w 2663946"/>
                <a:gd name="connsiteY646" fmla="*/ 131662 h 349382"/>
                <a:gd name="connsiteX647" fmla="*/ 1697989 w 2663946"/>
                <a:gd name="connsiteY647" fmla="*/ 131662 h 349382"/>
                <a:gd name="connsiteX648" fmla="*/ 1697718 w 2663946"/>
                <a:gd name="connsiteY648" fmla="*/ 131662 h 349382"/>
                <a:gd name="connsiteX649" fmla="*/ 1697177 w 2663946"/>
                <a:gd name="connsiteY649" fmla="*/ 131662 h 349382"/>
                <a:gd name="connsiteX650" fmla="*/ 1665002 w 2663946"/>
                <a:gd name="connsiteY650" fmla="*/ 131662 h 349382"/>
                <a:gd name="connsiteX651" fmla="*/ 1664462 w 2663946"/>
                <a:gd name="connsiteY651" fmla="*/ 131662 h 349382"/>
                <a:gd name="connsiteX652" fmla="*/ 1663650 w 2663946"/>
                <a:gd name="connsiteY652" fmla="*/ 131662 h 349382"/>
                <a:gd name="connsiteX653" fmla="*/ 1662839 w 2663946"/>
                <a:gd name="connsiteY653" fmla="*/ 131392 h 349382"/>
                <a:gd name="connsiteX654" fmla="*/ 1659324 w 2663946"/>
                <a:gd name="connsiteY654" fmla="*/ 129499 h 349382"/>
                <a:gd name="connsiteX655" fmla="*/ 1656891 w 2663946"/>
                <a:gd name="connsiteY655" fmla="*/ 123821 h 349382"/>
                <a:gd name="connsiteX656" fmla="*/ 1659054 w 2663946"/>
                <a:gd name="connsiteY656" fmla="*/ 118684 h 349382"/>
                <a:gd name="connsiteX657" fmla="*/ 1664732 w 2663946"/>
                <a:gd name="connsiteY657" fmla="*/ 116250 h 349382"/>
                <a:gd name="connsiteX658" fmla="*/ 1672573 w 2663946"/>
                <a:gd name="connsiteY658" fmla="*/ 116250 h 349382"/>
                <a:gd name="connsiteX659" fmla="*/ 1673114 w 2663946"/>
                <a:gd name="connsiteY659" fmla="*/ 115710 h 349382"/>
                <a:gd name="connsiteX660" fmla="*/ 1673114 w 2663946"/>
                <a:gd name="connsiteY660" fmla="*/ 69745 h 349382"/>
                <a:gd name="connsiteX661" fmla="*/ 1672573 w 2663946"/>
                <a:gd name="connsiteY661" fmla="*/ 69204 h 349382"/>
                <a:gd name="connsiteX662" fmla="*/ 1666625 w 2663946"/>
                <a:gd name="connsiteY662" fmla="*/ 69204 h 349382"/>
                <a:gd name="connsiteX663" fmla="*/ 1659324 w 2663946"/>
                <a:gd name="connsiteY663" fmla="*/ 64608 h 349382"/>
                <a:gd name="connsiteX664" fmla="*/ 1659054 w 2663946"/>
                <a:gd name="connsiteY664" fmla="*/ 58930 h 349382"/>
                <a:gd name="connsiteX665" fmla="*/ 1666354 w 2663946"/>
                <a:gd name="connsiteY665" fmla="*/ 53793 h 349382"/>
                <a:gd name="connsiteX666" fmla="*/ 1678521 w 2663946"/>
                <a:gd name="connsiteY666" fmla="*/ 53522 h 349382"/>
                <a:gd name="connsiteX667" fmla="*/ 1329614 w 2663946"/>
                <a:gd name="connsiteY667" fmla="*/ 53522 h 349382"/>
                <a:gd name="connsiteX668" fmla="*/ 1333670 w 2663946"/>
                <a:gd name="connsiteY668" fmla="*/ 53522 h 349382"/>
                <a:gd name="connsiteX669" fmla="*/ 1338266 w 2663946"/>
                <a:gd name="connsiteY669" fmla="*/ 55956 h 349382"/>
                <a:gd name="connsiteX670" fmla="*/ 1340429 w 2663946"/>
                <a:gd name="connsiteY670" fmla="*/ 62174 h 349382"/>
                <a:gd name="connsiteX671" fmla="*/ 1340429 w 2663946"/>
                <a:gd name="connsiteY671" fmla="*/ 62715 h 349382"/>
                <a:gd name="connsiteX672" fmla="*/ 1340429 w 2663946"/>
                <a:gd name="connsiteY672" fmla="*/ 115710 h 349382"/>
                <a:gd name="connsiteX673" fmla="*/ 1340970 w 2663946"/>
                <a:gd name="connsiteY673" fmla="*/ 116250 h 349382"/>
                <a:gd name="connsiteX674" fmla="*/ 1348270 w 2663946"/>
                <a:gd name="connsiteY674" fmla="*/ 116250 h 349382"/>
                <a:gd name="connsiteX675" fmla="*/ 1352326 w 2663946"/>
                <a:gd name="connsiteY675" fmla="*/ 117332 h 349382"/>
                <a:gd name="connsiteX676" fmla="*/ 1356111 w 2663946"/>
                <a:gd name="connsiteY676" fmla="*/ 124091 h 349382"/>
                <a:gd name="connsiteX677" fmla="*/ 1353408 w 2663946"/>
                <a:gd name="connsiteY677" fmla="*/ 129769 h 349382"/>
                <a:gd name="connsiteX678" fmla="*/ 1349352 w 2663946"/>
                <a:gd name="connsiteY678" fmla="*/ 131662 h 349382"/>
                <a:gd name="connsiteX679" fmla="*/ 1349082 w 2663946"/>
                <a:gd name="connsiteY679" fmla="*/ 131662 h 349382"/>
                <a:gd name="connsiteX680" fmla="*/ 1348811 w 2663946"/>
                <a:gd name="connsiteY680" fmla="*/ 131662 h 349382"/>
                <a:gd name="connsiteX681" fmla="*/ 1348270 w 2663946"/>
                <a:gd name="connsiteY681" fmla="*/ 131662 h 349382"/>
                <a:gd name="connsiteX682" fmla="*/ 1316095 w 2663946"/>
                <a:gd name="connsiteY682" fmla="*/ 131662 h 349382"/>
                <a:gd name="connsiteX683" fmla="*/ 1315555 w 2663946"/>
                <a:gd name="connsiteY683" fmla="*/ 131662 h 349382"/>
                <a:gd name="connsiteX684" fmla="*/ 1314743 w 2663946"/>
                <a:gd name="connsiteY684" fmla="*/ 131662 h 349382"/>
                <a:gd name="connsiteX685" fmla="*/ 1313932 w 2663946"/>
                <a:gd name="connsiteY685" fmla="*/ 131392 h 349382"/>
                <a:gd name="connsiteX686" fmla="*/ 1310417 w 2663946"/>
                <a:gd name="connsiteY686" fmla="*/ 129499 h 349382"/>
                <a:gd name="connsiteX687" fmla="*/ 1307984 w 2663946"/>
                <a:gd name="connsiteY687" fmla="*/ 123821 h 349382"/>
                <a:gd name="connsiteX688" fmla="*/ 1310147 w 2663946"/>
                <a:gd name="connsiteY688" fmla="*/ 118684 h 349382"/>
                <a:gd name="connsiteX689" fmla="*/ 1315825 w 2663946"/>
                <a:gd name="connsiteY689" fmla="*/ 116250 h 349382"/>
                <a:gd name="connsiteX690" fmla="*/ 1323666 w 2663946"/>
                <a:gd name="connsiteY690" fmla="*/ 116250 h 349382"/>
                <a:gd name="connsiteX691" fmla="*/ 1324207 w 2663946"/>
                <a:gd name="connsiteY691" fmla="*/ 115710 h 349382"/>
                <a:gd name="connsiteX692" fmla="*/ 1324207 w 2663946"/>
                <a:gd name="connsiteY692" fmla="*/ 69745 h 349382"/>
                <a:gd name="connsiteX693" fmla="*/ 1323666 w 2663946"/>
                <a:gd name="connsiteY693" fmla="*/ 69204 h 349382"/>
                <a:gd name="connsiteX694" fmla="*/ 1317718 w 2663946"/>
                <a:gd name="connsiteY694" fmla="*/ 69204 h 349382"/>
                <a:gd name="connsiteX695" fmla="*/ 1310417 w 2663946"/>
                <a:gd name="connsiteY695" fmla="*/ 64608 h 349382"/>
                <a:gd name="connsiteX696" fmla="*/ 1310147 w 2663946"/>
                <a:gd name="connsiteY696" fmla="*/ 58930 h 349382"/>
                <a:gd name="connsiteX697" fmla="*/ 1317447 w 2663946"/>
                <a:gd name="connsiteY697" fmla="*/ 53793 h 349382"/>
                <a:gd name="connsiteX698" fmla="*/ 1329614 w 2663946"/>
                <a:gd name="connsiteY698" fmla="*/ 53522 h 349382"/>
                <a:gd name="connsiteX699" fmla="*/ 980634 w 2663946"/>
                <a:gd name="connsiteY699" fmla="*/ 53522 h 349382"/>
                <a:gd name="connsiteX700" fmla="*/ 984690 w 2663946"/>
                <a:gd name="connsiteY700" fmla="*/ 53522 h 349382"/>
                <a:gd name="connsiteX701" fmla="*/ 989286 w 2663946"/>
                <a:gd name="connsiteY701" fmla="*/ 55956 h 349382"/>
                <a:gd name="connsiteX702" fmla="*/ 991449 w 2663946"/>
                <a:gd name="connsiteY702" fmla="*/ 62174 h 349382"/>
                <a:gd name="connsiteX703" fmla="*/ 991449 w 2663946"/>
                <a:gd name="connsiteY703" fmla="*/ 62715 h 349382"/>
                <a:gd name="connsiteX704" fmla="*/ 991449 w 2663946"/>
                <a:gd name="connsiteY704" fmla="*/ 115710 h 349382"/>
                <a:gd name="connsiteX705" fmla="*/ 991990 w 2663946"/>
                <a:gd name="connsiteY705" fmla="*/ 116250 h 349382"/>
                <a:gd name="connsiteX706" fmla="*/ 999290 w 2663946"/>
                <a:gd name="connsiteY706" fmla="*/ 116250 h 349382"/>
                <a:gd name="connsiteX707" fmla="*/ 1003346 w 2663946"/>
                <a:gd name="connsiteY707" fmla="*/ 117332 h 349382"/>
                <a:gd name="connsiteX708" fmla="*/ 1007131 w 2663946"/>
                <a:gd name="connsiteY708" fmla="*/ 124091 h 349382"/>
                <a:gd name="connsiteX709" fmla="*/ 1004428 w 2663946"/>
                <a:gd name="connsiteY709" fmla="*/ 129769 h 349382"/>
                <a:gd name="connsiteX710" fmla="*/ 1000372 w 2663946"/>
                <a:gd name="connsiteY710" fmla="*/ 131662 h 349382"/>
                <a:gd name="connsiteX711" fmla="*/ 1000102 w 2663946"/>
                <a:gd name="connsiteY711" fmla="*/ 131662 h 349382"/>
                <a:gd name="connsiteX712" fmla="*/ 999831 w 2663946"/>
                <a:gd name="connsiteY712" fmla="*/ 131662 h 349382"/>
                <a:gd name="connsiteX713" fmla="*/ 999290 w 2663946"/>
                <a:gd name="connsiteY713" fmla="*/ 131662 h 349382"/>
                <a:gd name="connsiteX714" fmla="*/ 967115 w 2663946"/>
                <a:gd name="connsiteY714" fmla="*/ 131662 h 349382"/>
                <a:gd name="connsiteX715" fmla="*/ 966575 w 2663946"/>
                <a:gd name="connsiteY715" fmla="*/ 131662 h 349382"/>
                <a:gd name="connsiteX716" fmla="*/ 965763 w 2663946"/>
                <a:gd name="connsiteY716" fmla="*/ 131662 h 349382"/>
                <a:gd name="connsiteX717" fmla="*/ 964952 w 2663946"/>
                <a:gd name="connsiteY717" fmla="*/ 131392 h 349382"/>
                <a:gd name="connsiteX718" fmla="*/ 961437 w 2663946"/>
                <a:gd name="connsiteY718" fmla="*/ 129499 h 349382"/>
                <a:gd name="connsiteX719" fmla="*/ 959004 w 2663946"/>
                <a:gd name="connsiteY719" fmla="*/ 123821 h 349382"/>
                <a:gd name="connsiteX720" fmla="*/ 961167 w 2663946"/>
                <a:gd name="connsiteY720" fmla="*/ 118684 h 349382"/>
                <a:gd name="connsiteX721" fmla="*/ 966845 w 2663946"/>
                <a:gd name="connsiteY721" fmla="*/ 116250 h 349382"/>
                <a:gd name="connsiteX722" fmla="*/ 974686 w 2663946"/>
                <a:gd name="connsiteY722" fmla="*/ 116250 h 349382"/>
                <a:gd name="connsiteX723" fmla="*/ 975227 w 2663946"/>
                <a:gd name="connsiteY723" fmla="*/ 115710 h 349382"/>
                <a:gd name="connsiteX724" fmla="*/ 975227 w 2663946"/>
                <a:gd name="connsiteY724" fmla="*/ 69745 h 349382"/>
                <a:gd name="connsiteX725" fmla="*/ 974686 w 2663946"/>
                <a:gd name="connsiteY725" fmla="*/ 69204 h 349382"/>
                <a:gd name="connsiteX726" fmla="*/ 968738 w 2663946"/>
                <a:gd name="connsiteY726" fmla="*/ 69204 h 349382"/>
                <a:gd name="connsiteX727" fmla="*/ 961437 w 2663946"/>
                <a:gd name="connsiteY727" fmla="*/ 64608 h 349382"/>
                <a:gd name="connsiteX728" fmla="*/ 961167 w 2663946"/>
                <a:gd name="connsiteY728" fmla="*/ 58930 h 349382"/>
                <a:gd name="connsiteX729" fmla="*/ 968467 w 2663946"/>
                <a:gd name="connsiteY729" fmla="*/ 53793 h 349382"/>
                <a:gd name="connsiteX730" fmla="*/ 980634 w 2663946"/>
                <a:gd name="connsiteY730" fmla="*/ 53522 h 349382"/>
                <a:gd name="connsiteX731" fmla="*/ 813605 w 2663946"/>
                <a:gd name="connsiteY731" fmla="*/ 53522 h 349382"/>
                <a:gd name="connsiteX732" fmla="*/ 817661 w 2663946"/>
                <a:gd name="connsiteY732" fmla="*/ 53522 h 349382"/>
                <a:gd name="connsiteX733" fmla="*/ 822257 w 2663946"/>
                <a:gd name="connsiteY733" fmla="*/ 55956 h 349382"/>
                <a:gd name="connsiteX734" fmla="*/ 824420 w 2663946"/>
                <a:gd name="connsiteY734" fmla="*/ 62174 h 349382"/>
                <a:gd name="connsiteX735" fmla="*/ 824420 w 2663946"/>
                <a:gd name="connsiteY735" fmla="*/ 62715 h 349382"/>
                <a:gd name="connsiteX736" fmla="*/ 824420 w 2663946"/>
                <a:gd name="connsiteY736" fmla="*/ 115710 h 349382"/>
                <a:gd name="connsiteX737" fmla="*/ 824961 w 2663946"/>
                <a:gd name="connsiteY737" fmla="*/ 116250 h 349382"/>
                <a:gd name="connsiteX738" fmla="*/ 832261 w 2663946"/>
                <a:gd name="connsiteY738" fmla="*/ 116250 h 349382"/>
                <a:gd name="connsiteX739" fmla="*/ 836317 w 2663946"/>
                <a:gd name="connsiteY739" fmla="*/ 117332 h 349382"/>
                <a:gd name="connsiteX740" fmla="*/ 840102 w 2663946"/>
                <a:gd name="connsiteY740" fmla="*/ 124091 h 349382"/>
                <a:gd name="connsiteX741" fmla="*/ 837399 w 2663946"/>
                <a:gd name="connsiteY741" fmla="*/ 129769 h 349382"/>
                <a:gd name="connsiteX742" fmla="*/ 833343 w 2663946"/>
                <a:gd name="connsiteY742" fmla="*/ 131662 h 349382"/>
                <a:gd name="connsiteX743" fmla="*/ 833073 w 2663946"/>
                <a:gd name="connsiteY743" fmla="*/ 131662 h 349382"/>
                <a:gd name="connsiteX744" fmla="*/ 832802 w 2663946"/>
                <a:gd name="connsiteY744" fmla="*/ 131662 h 349382"/>
                <a:gd name="connsiteX745" fmla="*/ 832261 w 2663946"/>
                <a:gd name="connsiteY745" fmla="*/ 131662 h 349382"/>
                <a:gd name="connsiteX746" fmla="*/ 800086 w 2663946"/>
                <a:gd name="connsiteY746" fmla="*/ 131662 h 349382"/>
                <a:gd name="connsiteX747" fmla="*/ 799546 w 2663946"/>
                <a:gd name="connsiteY747" fmla="*/ 131662 h 349382"/>
                <a:gd name="connsiteX748" fmla="*/ 798734 w 2663946"/>
                <a:gd name="connsiteY748" fmla="*/ 131662 h 349382"/>
                <a:gd name="connsiteX749" fmla="*/ 797923 w 2663946"/>
                <a:gd name="connsiteY749" fmla="*/ 131392 h 349382"/>
                <a:gd name="connsiteX750" fmla="*/ 794408 w 2663946"/>
                <a:gd name="connsiteY750" fmla="*/ 129499 h 349382"/>
                <a:gd name="connsiteX751" fmla="*/ 791975 w 2663946"/>
                <a:gd name="connsiteY751" fmla="*/ 123821 h 349382"/>
                <a:gd name="connsiteX752" fmla="*/ 794138 w 2663946"/>
                <a:gd name="connsiteY752" fmla="*/ 118684 h 349382"/>
                <a:gd name="connsiteX753" fmla="*/ 799816 w 2663946"/>
                <a:gd name="connsiteY753" fmla="*/ 116250 h 349382"/>
                <a:gd name="connsiteX754" fmla="*/ 807657 w 2663946"/>
                <a:gd name="connsiteY754" fmla="*/ 116250 h 349382"/>
                <a:gd name="connsiteX755" fmla="*/ 808198 w 2663946"/>
                <a:gd name="connsiteY755" fmla="*/ 115710 h 349382"/>
                <a:gd name="connsiteX756" fmla="*/ 808198 w 2663946"/>
                <a:gd name="connsiteY756" fmla="*/ 69745 h 349382"/>
                <a:gd name="connsiteX757" fmla="*/ 807657 w 2663946"/>
                <a:gd name="connsiteY757" fmla="*/ 69204 h 349382"/>
                <a:gd name="connsiteX758" fmla="*/ 801709 w 2663946"/>
                <a:gd name="connsiteY758" fmla="*/ 69204 h 349382"/>
                <a:gd name="connsiteX759" fmla="*/ 794408 w 2663946"/>
                <a:gd name="connsiteY759" fmla="*/ 64608 h 349382"/>
                <a:gd name="connsiteX760" fmla="*/ 794138 w 2663946"/>
                <a:gd name="connsiteY760" fmla="*/ 58930 h 349382"/>
                <a:gd name="connsiteX761" fmla="*/ 801438 w 2663946"/>
                <a:gd name="connsiteY761" fmla="*/ 53793 h 349382"/>
                <a:gd name="connsiteX762" fmla="*/ 813605 w 2663946"/>
                <a:gd name="connsiteY762" fmla="*/ 53522 h 349382"/>
                <a:gd name="connsiteX763" fmla="*/ 282748 w 2663946"/>
                <a:gd name="connsiteY763" fmla="*/ 53522 h 349382"/>
                <a:gd name="connsiteX764" fmla="*/ 286803 w 2663946"/>
                <a:gd name="connsiteY764" fmla="*/ 53522 h 349382"/>
                <a:gd name="connsiteX765" fmla="*/ 291400 w 2663946"/>
                <a:gd name="connsiteY765" fmla="*/ 55956 h 349382"/>
                <a:gd name="connsiteX766" fmla="*/ 293563 w 2663946"/>
                <a:gd name="connsiteY766" fmla="*/ 62174 h 349382"/>
                <a:gd name="connsiteX767" fmla="*/ 293563 w 2663946"/>
                <a:gd name="connsiteY767" fmla="*/ 62715 h 349382"/>
                <a:gd name="connsiteX768" fmla="*/ 293563 w 2663946"/>
                <a:gd name="connsiteY768" fmla="*/ 115710 h 349382"/>
                <a:gd name="connsiteX769" fmla="*/ 294104 w 2663946"/>
                <a:gd name="connsiteY769" fmla="*/ 116250 h 349382"/>
                <a:gd name="connsiteX770" fmla="*/ 301404 w 2663946"/>
                <a:gd name="connsiteY770" fmla="*/ 116250 h 349382"/>
                <a:gd name="connsiteX771" fmla="*/ 305460 w 2663946"/>
                <a:gd name="connsiteY771" fmla="*/ 117332 h 349382"/>
                <a:gd name="connsiteX772" fmla="*/ 309245 w 2663946"/>
                <a:gd name="connsiteY772" fmla="*/ 124091 h 349382"/>
                <a:gd name="connsiteX773" fmla="*/ 306541 w 2663946"/>
                <a:gd name="connsiteY773" fmla="*/ 129769 h 349382"/>
                <a:gd name="connsiteX774" fmla="*/ 302485 w 2663946"/>
                <a:gd name="connsiteY774" fmla="*/ 131662 h 349382"/>
                <a:gd name="connsiteX775" fmla="*/ 302215 w 2663946"/>
                <a:gd name="connsiteY775" fmla="*/ 131662 h 349382"/>
                <a:gd name="connsiteX776" fmla="*/ 301945 w 2663946"/>
                <a:gd name="connsiteY776" fmla="*/ 131662 h 349382"/>
                <a:gd name="connsiteX777" fmla="*/ 301404 w 2663946"/>
                <a:gd name="connsiteY777" fmla="*/ 131662 h 349382"/>
                <a:gd name="connsiteX778" fmla="*/ 269229 w 2663946"/>
                <a:gd name="connsiteY778" fmla="*/ 131662 h 349382"/>
                <a:gd name="connsiteX779" fmla="*/ 268688 w 2663946"/>
                <a:gd name="connsiteY779" fmla="*/ 131662 h 349382"/>
                <a:gd name="connsiteX780" fmla="*/ 267877 w 2663946"/>
                <a:gd name="connsiteY780" fmla="*/ 131662 h 349382"/>
                <a:gd name="connsiteX781" fmla="*/ 267066 w 2663946"/>
                <a:gd name="connsiteY781" fmla="*/ 131392 h 349382"/>
                <a:gd name="connsiteX782" fmla="*/ 263551 w 2663946"/>
                <a:gd name="connsiteY782" fmla="*/ 129499 h 349382"/>
                <a:gd name="connsiteX783" fmla="*/ 261117 w 2663946"/>
                <a:gd name="connsiteY783" fmla="*/ 123821 h 349382"/>
                <a:gd name="connsiteX784" fmla="*/ 263281 w 2663946"/>
                <a:gd name="connsiteY784" fmla="*/ 118684 h 349382"/>
                <a:gd name="connsiteX785" fmla="*/ 268958 w 2663946"/>
                <a:gd name="connsiteY785" fmla="*/ 116250 h 349382"/>
                <a:gd name="connsiteX786" fmla="*/ 276800 w 2663946"/>
                <a:gd name="connsiteY786" fmla="*/ 116250 h 349382"/>
                <a:gd name="connsiteX787" fmla="*/ 277340 w 2663946"/>
                <a:gd name="connsiteY787" fmla="*/ 115710 h 349382"/>
                <a:gd name="connsiteX788" fmla="*/ 277340 w 2663946"/>
                <a:gd name="connsiteY788" fmla="*/ 69745 h 349382"/>
                <a:gd name="connsiteX789" fmla="*/ 276800 w 2663946"/>
                <a:gd name="connsiteY789" fmla="*/ 69204 h 349382"/>
                <a:gd name="connsiteX790" fmla="*/ 270851 w 2663946"/>
                <a:gd name="connsiteY790" fmla="*/ 69204 h 349382"/>
                <a:gd name="connsiteX791" fmla="*/ 263551 w 2663946"/>
                <a:gd name="connsiteY791" fmla="*/ 64608 h 349382"/>
                <a:gd name="connsiteX792" fmla="*/ 263281 w 2663946"/>
                <a:gd name="connsiteY792" fmla="*/ 58930 h 349382"/>
                <a:gd name="connsiteX793" fmla="*/ 270581 w 2663946"/>
                <a:gd name="connsiteY793" fmla="*/ 53793 h 349382"/>
                <a:gd name="connsiteX794" fmla="*/ 282748 w 2663946"/>
                <a:gd name="connsiteY794" fmla="*/ 53522 h 349382"/>
                <a:gd name="connsiteX795" fmla="*/ 206731 w 2663946"/>
                <a:gd name="connsiteY795" fmla="*/ 53522 h 349382"/>
                <a:gd name="connsiteX796" fmla="*/ 210787 w 2663946"/>
                <a:gd name="connsiteY796" fmla="*/ 53522 h 349382"/>
                <a:gd name="connsiteX797" fmla="*/ 215383 w 2663946"/>
                <a:gd name="connsiteY797" fmla="*/ 55956 h 349382"/>
                <a:gd name="connsiteX798" fmla="*/ 217546 w 2663946"/>
                <a:gd name="connsiteY798" fmla="*/ 62174 h 349382"/>
                <a:gd name="connsiteX799" fmla="*/ 217546 w 2663946"/>
                <a:gd name="connsiteY799" fmla="*/ 62715 h 349382"/>
                <a:gd name="connsiteX800" fmla="*/ 217546 w 2663946"/>
                <a:gd name="connsiteY800" fmla="*/ 115710 h 349382"/>
                <a:gd name="connsiteX801" fmla="*/ 218087 w 2663946"/>
                <a:gd name="connsiteY801" fmla="*/ 116250 h 349382"/>
                <a:gd name="connsiteX802" fmla="*/ 225387 w 2663946"/>
                <a:gd name="connsiteY802" fmla="*/ 116250 h 349382"/>
                <a:gd name="connsiteX803" fmla="*/ 229443 w 2663946"/>
                <a:gd name="connsiteY803" fmla="*/ 117332 h 349382"/>
                <a:gd name="connsiteX804" fmla="*/ 233228 w 2663946"/>
                <a:gd name="connsiteY804" fmla="*/ 124091 h 349382"/>
                <a:gd name="connsiteX805" fmla="*/ 230524 w 2663946"/>
                <a:gd name="connsiteY805" fmla="*/ 129769 h 349382"/>
                <a:gd name="connsiteX806" fmla="*/ 226468 w 2663946"/>
                <a:gd name="connsiteY806" fmla="*/ 131662 h 349382"/>
                <a:gd name="connsiteX807" fmla="*/ 226198 w 2663946"/>
                <a:gd name="connsiteY807" fmla="*/ 131662 h 349382"/>
                <a:gd name="connsiteX808" fmla="*/ 225928 w 2663946"/>
                <a:gd name="connsiteY808" fmla="*/ 131662 h 349382"/>
                <a:gd name="connsiteX809" fmla="*/ 225387 w 2663946"/>
                <a:gd name="connsiteY809" fmla="*/ 131662 h 349382"/>
                <a:gd name="connsiteX810" fmla="*/ 193212 w 2663946"/>
                <a:gd name="connsiteY810" fmla="*/ 131662 h 349382"/>
                <a:gd name="connsiteX811" fmla="*/ 192671 w 2663946"/>
                <a:gd name="connsiteY811" fmla="*/ 131662 h 349382"/>
                <a:gd name="connsiteX812" fmla="*/ 191860 w 2663946"/>
                <a:gd name="connsiteY812" fmla="*/ 131662 h 349382"/>
                <a:gd name="connsiteX813" fmla="*/ 191049 w 2663946"/>
                <a:gd name="connsiteY813" fmla="*/ 131392 h 349382"/>
                <a:gd name="connsiteX814" fmla="*/ 187534 w 2663946"/>
                <a:gd name="connsiteY814" fmla="*/ 129499 h 349382"/>
                <a:gd name="connsiteX815" fmla="*/ 185101 w 2663946"/>
                <a:gd name="connsiteY815" fmla="*/ 123821 h 349382"/>
                <a:gd name="connsiteX816" fmla="*/ 187264 w 2663946"/>
                <a:gd name="connsiteY816" fmla="*/ 118684 h 349382"/>
                <a:gd name="connsiteX817" fmla="*/ 192942 w 2663946"/>
                <a:gd name="connsiteY817" fmla="*/ 116250 h 349382"/>
                <a:gd name="connsiteX818" fmla="*/ 200783 w 2663946"/>
                <a:gd name="connsiteY818" fmla="*/ 116250 h 349382"/>
                <a:gd name="connsiteX819" fmla="*/ 201323 w 2663946"/>
                <a:gd name="connsiteY819" fmla="*/ 115710 h 349382"/>
                <a:gd name="connsiteX820" fmla="*/ 201323 w 2663946"/>
                <a:gd name="connsiteY820" fmla="*/ 69745 h 349382"/>
                <a:gd name="connsiteX821" fmla="*/ 200783 w 2663946"/>
                <a:gd name="connsiteY821" fmla="*/ 69204 h 349382"/>
                <a:gd name="connsiteX822" fmla="*/ 194834 w 2663946"/>
                <a:gd name="connsiteY822" fmla="*/ 69204 h 349382"/>
                <a:gd name="connsiteX823" fmla="*/ 187534 w 2663946"/>
                <a:gd name="connsiteY823" fmla="*/ 64608 h 349382"/>
                <a:gd name="connsiteX824" fmla="*/ 187264 w 2663946"/>
                <a:gd name="connsiteY824" fmla="*/ 58930 h 349382"/>
                <a:gd name="connsiteX825" fmla="*/ 194564 w 2663946"/>
                <a:gd name="connsiteY825" fmla="*/ 53793 h 349382"/>
                <a:gd name="connsiteX826" fmla="*/ 206731 w 2663946"/>
                <a:gd name="connsiteY826" fmla="*/ 53522 h 349382"/>
                <a:gd name="connsiteX827" fmla="*/ 2627559 w 2663946"/>
                <a:gd name="connsiteY827" fmla="*/ 53453 h 349382"/>
                <a:gd name="connsiteX828" fmla="*/ 2639849 w 2663946"/>
                <a:gd name="connsiteY828" fmla="*/ 55616 h 349382"/>
                <a:gd name="connsiteX829" fmla="*/ 2647223 w 2663946"/>
                <a:gd name="connsiteY829" fmla="*/ 60213 h 349382"/>
                <a:gd name="connsiteX830" fmla="*/ 2650664 w 2663946"/>
                <a:gd name="connsiteY830" fmla="*/ 63457 h 349382"/>
                <a:gd name="connsiteX831" fmla="*/ 2654106 w 2663946"/>
                <a:gd name="connsiteY831" fmla="*/ 67783 h 349382"/>
                <a:gd name="connsiteX832" fmla="*/ 2656072 w 2663946"/>
                <a:gd name="connsiteY832" fmla="*/ 71298 h 349382"/>
                <a:gd name="connsiteX833" fmla="*/ 2658284 w 2663946"/>
                <a:gd name="connsiteY833" fmla="*/ 76706 h 349382"/>
                <a:gd name="connsiteX834" fmla="*/ 2659267 w 2663946"/>
                <a:gd name="connsiteY834" fmla="*/ 80221 h 349382"/>
                <a:gd name="connsiteX835" fmla="*/ 2660251 w 2663946"/>
                <a:gd name="connsiteY835" fmla="*/ 85358 h 349382"/>
                <a:gd name="connsiteX836" fmla="*/ 2660005 w 2663946"/>
                <a:gd name="connsiteY836" fmla="*/ 99688 h 349382"/>
                <a:gd name="connsiteX837" fmla="*/ 2659022 w 2663946"/>
                <a:gd name="connsiteY837" fmla="*/ 104555 h 349382"/>
                <a:gd name="connsiteX838" fmla="*/ 2657792 w 2663946"/>
                <a:gd name="connsiteY838" fmla="*/ 108340 h 349382"/>
                <a:gd name="connsiteX839" fmla="*/ 2656809 w 2663946"/>
                <a:gd name="connsiteY839" fmla="*/ 110774 h 349382"/>
                <a:gd name="connsiteX840" fmla="*/ 2654597 w 2663946"/>
                <a:gd name="connsiteY840" fmla="*/ 115100 h 349382"/>
                <a:gd name="connsiteX841" fmla="*/ 2652385 w 2663946"/>
                <a:gd name="connsiteY841" fmla="*/ 118344 h 349382"/>
                <a:gd name="connsiteX842" fmla="*/ 2648944 w 2663946"/>
                <a:gd name="connsiteY842" fmla="*/ 122130 h 349382"/>
                <a:gd name="connsiteX843" fmla="*/ 2645748 w 2663946"/>
                <a:gd name="connsiteY843" fmla="*/ 124833 h 349382"/>
                <a:gd name="connsiteX844" fmla="*/ 2640095 w 2663946"/>
                <a:gd name="connsiteY844" fmla="*/ 128078 h 349382"/>
                <a:gd name="connsiteX845" fmla="*/ 2632229 w 2663946"/>
                <a:gd name="connsiteY845" fmla="*/ 130241 h 349382"/>
                <a:gd name="connsiteX846" fmla="*/ 2631000 w 2663946"/>
                <a:gd name="connsiteY846" fmla="*/ 130512 h 349382"/>
                <a:gd name="connsiteX847" fmla="*/ 2626821 w 2663946"/>
                <a:gd name="connsiteY847" fmla="*/ 130512 h 349382"/>
                <a:gd name="connsiteX848" fmla="*/ 2626576 w 2663946"/>
                <a:gd name="connsiteY848" fmla="*/ 130512 h 349382"/>
                <a:gd name="connsiteX849" fmla="*/ 2613548 w 2663946"/>
                <a:gd name="connsiteY849" fmla="*/ 125645 h 349382"/>
                <a:gd name="connsiteX850" fmla="*/ 2608878 w 2663946"/>
                <a:gd name="connsiteY850" fmla="*/ 121589 h 349382"/>
                <a:gd name="connsiteX851" fmla="*/ 2605682 w 2663946"/>
                <a:gd name="connsiteY851" fmla="*/ 117804 h 349382"/>
                <a:gd name="connsiteX852" fmla="*/ 2603470 w 2663946"/>
                <a:gd name="connsiteY852" fmla="*/ 114289 h 349382"/>
                <a:gd name="connsiteX853" fmla="*/ 2601258 w 2663946"/>
                <a:gd name="connsiteY853" fmla="*/ 109963 h 349382"/>
                <a:gd name="connsiteX854" fmla="*/ 2600029 w 2663946"/>
                <a:gd name="connsiteY854" fmla="*/ 106988 h 349382"/>
                <a:gd name="connsiteX855" fmla="*/ 2599046 w 2663946"/>
                <a:gd name="connsiteY855" fmla="*/ 103744 h 349382"/>
                <a:gd name="connsiteX856" fmla="*/ 2597816 w 2663946"/>
                <a:gd name="connsiteY856" fmla="*/ 98066 h 349382"/>
                <a:gd name="connsiteX857" fmla="*/ 2597571 w 2663946"/>
                <a:gd name="connsiteY857" fmla="*/ 95092 h 349382"/>
                <a:gd name="connsiteX858" fmla="*/ 2597816 w 2663946"/>
                <a:gd name="connsiteY858" fmla="*/ 95362 h 349382"/>
                <a:gd name="connsiteX859" fmla="*/ 2597816 w 2663946"/>
                <a:gd name="connsiteY859" fmla="*/ 89684 h 349382"/>
                <a:gd name="connsiteX860" fmla="*/ 2597816 w 2663946"/>
                <a:gd name="connsiteY860" fmla="*/ 89414 h 349382"/>
                <a:gd name="connsiteX861" fmla="*/ 2598308 w 2663946"/>
                <a:gd name="connsiteY861" fmla="*/ 84817 h 349382"/>
                <a:gd name="connsiteX862" fmla="*/ 2599537 w 2663946"/>
                <a:gd name="connsiteY862" fmla="*/ 79410 h 349382"/>
                <a:gd name="connsiteX863" fmla="*/ 2600520 w 2663946"/>
                <a:gd name="connsiteY863" fmla="*/ 76165 h 349382"/>
                <a:gd name="connsiteX864" fmla="*/ 2602732 w 2663946"/>
                <a:gd name="connsiteY864" fmla="*/ 71028 h 349382"/>
                <a:gd name="connsiteX865" fmla="*/ 2604945 w 2663946"/>
                <a:gd name="connsiteY865" fmla="*/ 67243 h 349382"/>
                <a:gd name="connsiteX866" fmla="*/ 2607157 w 2663946"/>
                <a:gd name="connsiteY866" fmla="*/ 64268 h 349382"/>
                <a:gd name="connsiteX867" fmla="*/ 2609369 w 2663946"/>
                <a:gd name="connsiteY867" fmla="*/ 61835 h 349382"/>
                <a:gd name="connsiteX868" fmla="*/ 2614039 w 2663946"/>
                <a:gd name="connsiteY868" fmla="*/ 58050 h 349382"/>
                <a:gd name="connsiteX869" fmla="*/ 2617972 w 2663946"/>
                <a:gd name="connsiteY869" fmla="*/ 55887 h 349382"/>
                <a:gd name="connsiteX870" fmla="*/ 2627559 w 2663946"/>
                <a:gd name="connsiteY870" fmla="*/ 53453 h 349382"/>
                <a:gd name="connsiteX871" fmla="*/ 2445604 w 2663946"/>
                <a:gd name="connsiteY871" fmla="*/ 53453 h 349382"/>
                <a:gd name="connsiteX872" fmla="*/ 2457894 w 2663946"/>
                <a:gd name="connsiteY872" fmla="*/ 55616 h 349382"/>
                <a:gd name="connsiteX873" fmla="*/ 2465268 w 2663946"/>
                <a:gd name="connsiteY873" fmla="*/ 60213 h 349382"/>
                <a:gd name="connsiteX874" fmla="*/ 2468709 w 2663946"/>
                <a:gd name="connsiteY874" fmla="*/ 63457 h 349382"/>
                <a:gd name="connsiteX875" fmla="*/ 2472151 w 2663946"/>
                <a:gd name="connsiteY875" fmla="*/ 67783 h 349382"/>
                <a:gd name="connsiteX876" fmla="*/ 2474117 w 2663946"/>
                <a:gd name="connsiteY876" fmla="*/ 71298 h 349382"/>
                <a:gd name="connsiteX877" fmla="*/ 2476329 w 2663946"/>
                <a:gd name="connsiteY877" fmla="*/ 76706 h 349382"/>
                <a:gd name="connsiteX878" fmla="*/ 2477312 w 2663946"/>
                <a:gd name="connsiteY878" fmla="*/ 80221 h 349382"/>
                <a:gd name="connsiteX879" fmla="*/ 2478296 w 2663946"/>
                <a:gd name="connsiteY879" fmla="*/ 85358 h 349382"/>
                <a:gd name="connsiteX880" fmla="*/ 2478050 w 2663946"/>
                <a:gd name="connsiteY880" fmla="*/ 99688 h 349382"/>
                <a:gd name="connsiteX881" fmla="*/ 2477067 w 2663946"/>
                <a:gd name="connsiteY881" fmla="*/ 104555 h 349382"/>
                <a:gd name="connsiteX882" fmla="*/ 2475837 w 2663946"/>
                <a:gd name="connsiteY882" fmla="*/ 108340 h 349382"/>
                <a:gd name="connsiteX883" fmla="*/ 2474854 w 2663946"/>
                <a:gd name="connsiteY883" fmla="*/ 110774 h 349382"/>
                <a:gd name="connsiteX884" fmla="*/ 2472642 w 2663946"/>
                <a:gd name="connsiteY884" fmla="*/ 115100 h 349382"/>
                <a:gd name="connsiteX885" fmla="*/ 2470430 w 2663946"/>
                <a:gd name="connsiteY885" fmla="*/ 118344 h 349382"/>
                <a:gd name="connsiteX886" fmla="*/ 2466989 w 2663946"/>
                <a:gd name="connsiteY886" fmla="*/ 122130 h 349382"/>
                <a:gd name="connsiteX887" fmla="*/ 2463793 w 2663946"/>
                <a:gd name="connsiteY887" fmla="*/ 124833 h 349382"/>
                <a:gd name="connsiteX888" fmla="*/ 2458140 w 2663946"/>
                <a:gd name="connsiteY888" fmla="*/ 128078 h 349382"/>
                <a:gd name="connsiteX889" fmla="*/ 2450274 w 2663946"/>
                <a:gd name="connsiteY889" fmla="*/ 130241 h 349382"/>
                <a:gd name="connsiteX890" fmla="*/ 2449045 w 2663946"/>
                <a:gd name="connsiteY890" fmla="*/ 130512 h 349382"/>
                <a:gd name="connsiteX891" fmla="*/ 2444866 w 2663946"/>
                <a:gd name="connsiteY891" fmla="*/ 130512 h 349382"/>
                <a:gd name="connsiteX892" fmla="*/ 2444621 w 2663946"/>
                <a:gd name="connsiteY892" fmla="*/ 130512 h 349382"/>
                <a:gd name="connsiteX893" fmla="*/ 2431593 w 2663946"/>
                <a:gd name="connsiteY893" fmla="*/ 125645 h 349382"/>
                <a:gd name="connsiteX894" fmla="*/ 2426923 w 2663946"/>
                <a:gd name="connsiteY894" fmla="*/ 121589 h 349382"/>
                <a:gd name="connsiteX895" fmla="*/ 2423727 w 2663946"/>
                <a:gd name="connsiteY895" fmla="*/ 117804 h 349382"/>
                <a:gd name="connsiteX896" fmla="*/ 2421515 w 2663946"/>
                <a:gd name="connsiteY896" fmla="*/ 114289 h 349382"/>
                <a:gd name="connsiteX897" fmla="*/ 2419303 w 2663946"/>
                <a:gd name="connsiteY897" fmla="*/ 109963 h 349382"/>
                <a:gd name="connsiteX898" fmla="*/ 2418074 w 2663946"/>
                <a:gd name="connsiteY898" fmla="*/ 106988 h 349382"/>
                <a:gd name="connsiteX899" fmla="*/ 2417091 w 2663946"/>
                <a:gd name="connsiteY899" fmla="*/ 103744 h 349382"/>
                <a:gd name="connsiteX900" fmla="*/ 2415861 w 2663946"/>
                <a:gd name="connsiteY900" fmla="*/ 98066 h 349382"/>
                <a:gd name="connsiteX901" fmla="*/ 2415616 w 2663946"/>
                <a:gd name="connsiteY901" fmla="*/ 95092 h 349382"/>
                <a:gd name="connsiteX902" fmla="*/ 2415861 w 2663946"/>
                <a:gd name="connsiteY902" fmla="*/ 95362 h 349382"/>
                <a:gd name="connsiteX903" fmla="*/ 2415861 w 2663946"/>
                <a:gd name="connsiteY903" fmla="*/ 89684 h 349382"/>
                <a:gd name="connsiteX904" fmla="*/ 2415861 w 2663946"/>
                <a:gd name="connsiteY904" fmla="*/ 89414 h 349382"/>
                <a:gd name="connsiteX905" fmla="*/ 2416353 w 2663946"/>
                <a:gd name="connsiteY905" fmla="*/ 84817 h 349382"/>
                <a:gd name="connsiteX906" fmla="*/ 2417582 w 2663946"/>
                <a:gd name="connsiteY906" fmla="*/ 79410 h 349382"/>
                <a:gd name="connsiteX907" fmla="*/ 2418565 w 2663946"/>
                <a:gd name="connsiteY907" fmla="*/ 76165 h 349382"/>
                <a:gd name="connsiteX908" fmla="*/ 2420777 w 2663946"/>
                <a:gd name="connsiteY908" fmla="*/ 71028 h 349382"/>
                <a:gd name="connsiteX909" fmla="*/ 2422990 w 2663946"/>
                <a:gd name="connsiteY909" fmla="*/ 67243 h 349382"/>
                <a:gd name="connsiteX910" fmla="*/ 2425202 w 2663946"/>
                <a:gd name="connsiteY910" fmla="*/ 64268 h 349382"/>
                <a:gd name="connsiteX911" fmla="*/ 2427414 w 2663946"/>
                <a:gd name="connsiteY911" fmla="*/ 61835 h 349382"/>
                <a:gd name="connsiteX912" fmla="*/ 2432084 w 2663946"/>
                <a:gd name="connsiteY912" fmla="*/ 58050 h 349382"/>
                <a:gd name="connsiteX913" fmla="*/ 2436017 w 2663946"/>
                <a:gd name="connsiteY913" fmla="*/ 55887 h 349382"/>
                <a:gd name="connsiteX914" fmla="*/ 2445604 w 2663946"/>
                <a:gd name="connsiteY914" fmla="*/ 53453 h 349382"/>
                <a:gd name="connsiteX915" fmla="*/ 2202558 w 2663946"/>
                <a:gd name="connsiteY915" fmla="*/ 53453 h 349382"/>
                <a:gd name="connsiteX916" fmla="*/ 2214848 w 2663946"/>
                <a:gd name="connsiteY916" fmla="*/ 55616 h 349382"/>
                <a:gd name="connsiteX917" fmla="*/ 2222222 w 2663946"/>
                <a:gd name="connsiteY917" fmla="*/ 60213 h 349382"/>
                <a:gd name="connsiteX918" fmla="*/ 2225663 w 2663946"/>
                <a:gd name="connsiteY918" fmla="*/ 63457 h 349382"/>
                <a:gd name="connsiteX919" fmla="*/ 2229105 w 2663946"/>
                <a:gd name="connsiteY919" fmla="*/ 67783 h 349382"/>
                <a:gd name="connsiteX920" fmla="*/ 2231071 w 2663946"/>
                <a:gd name="connsiteY920" fmla="*/ 71298 h 349382"/>
                <a:gd name="connsiteX921" fmla="*/ 2233283 w 2663946"/>
                <a:gd name="connsiteY921" fmla="*/ 76706 h 349382"/>
                <a:gd name="connsiteX922" fmla="*/ 2234266 w 2663946"/>
                <a:gd name="connsiteY922" fmla="*/ 80221 h 349382"/>
                <a:gd name="connsiteX923" fmla="*/ 2235250 w 2663946"/>
                <a:gd name="connsiteY923" fmla="*/ 85358 h 349382"/>
                <a:gd name="connsiteX924" fmla="*/ 2235004 w 2663946"/>
                <a:gd name="connsiteY924" fmla="*/ 99688 h 349382"/>
                <a:gd name="connsiteX925" fmla="*/ 2234021 w 2663946"/>
                <a:gd name="connsiteY925" fmla="*/ 104555 h 349382"/>
                <a:gd name="connsiteX926" fmla="*/ 2232791 w 2663946"/>
                <a:gd name="connsiteY926" fmla="*/ 108340 h 349382"/>
                <a:gd name="connsiteX927" fmla="*/ 2231808 w 2663946"/>
                <a:gd name="connsiteY927" fmla="*/ 110774 h 349382"/>
                <a:gd name="connsiteX928" fmla="*/ 2229596 w 2663946"/>
                <a:gd name="connsiteY928" fmla="*/ 115100 h 349382"/>
                <a:gd name="connsiteX929" fmla="*/ 2227384 w 2663946"/>
                <a:gd name="connsiteY929" fmla="*/ 118344 h 349382"/>
                <a:gd name="connsiteX930" fmla="*/ 2223943 w 2663946"/>
                <a:gd name="connsiteY930" fmla="*/ 122130 h 349382"/>
                <a:gd name="connsiteX931" fmla="*/ 2220747 w 2663946"/>
                <a:gd name="connsiteY931" fmla="*/ 124833 h 349382"/>
                <a:gd name="connsiteX932" fmla="*/ 2215094 w 2663946"/>
                <a:gd name="connsiteY932" fmla="*/ 128078 h 349382"/>
                <a:gd name="connsiteX933" fmla="*/ 2207228 w 2663946"/>
                <a:gd name="connsiteY933" fmla="*/ 130241 h 349382"/>
                <a:gd name="connsiteX934" fmla="*/ 2205999 w 2663946"/>
                <a:gd name="connsiteY934" fmla="*/ 130512 h 349382"/>
                <a:gd name="connsiteX935" fmla="*/ 2201820 w 2663946"/>
                <a:gd name="connsiteY935" fmla="*/ 130512 h 349382"/>
                <a:gd name="connsiteX936" fmla="*/ 2201575 w 2663946"/>
                <a:gd name="connsiteY936" fmla="*/ 130512 h 349382"/>
                <a:gd name="connsiteX937" fmla="*/ 2188547 w 2663946"/>
                <a:gd name="connsiteY937" fmla="*/ 125645 h 349382"/>
                <a:gd name="connsiteX938" fmla="*/ 2183877 w 2663946"/>
                <a:gd name="connsiteY938" fmla="*/ 121589 h 349382"/>
                <a:gd name="connsiteX939" fmla="*/ 2180681 w 2663946"/>
                <a:gd name="connsiteY939" fmla="*/ 117804 h 349382"/>
                <a:gd name="connsiteX940" fmla="*/ 2178469 w 2663946"/>
                <a:gd name="connsiteY940" fmla="*/ 114289 h 349382"/>
                <a:gd name="connsiteX941" fmla="*/ 2176257 w 2663946"/>
                <a:gd name="connsiteY941" fmla="*/ 109963 h 349382"/>
                <a:gd name="connsiteX942" fmla="*/ 2175028 w 2663946"/>
                <a:gd name="connsiteY942" fmla="*/ 106988 h 349382"/>
                <a:gd name="connsiteX943" fmla="*/ 2174045 w 2663946"/>
                <a:gd name="connsiteY943" fmla="*/ 103744 h 349382"/>
                <a:gd name="connsiteX944" fmla="*/ 2172815 w 2663946"/>
                <a:gd name="connsiteY944" fmla="*/ 98066 h 349382"/>
                <a:gd name="connsiteX945" fmla="*/ 2172570 w 2663946"/>
                <a:gd name="connsiteY945" fmla="*/ 95092 h 349382"/>
                <a:gd name="connsiteX946" fmla="*/ 2172815 w 2663946"/>
                <a:gd name="connsiteY946" fmla="*/ 95362 h 349382"/>
                <a:gd name="connsiteX947" fmla="*/ 2172815 w 2663946"/>
                <a:gd name="connsiteY947" fmla="*/ 89684 h 349382"/>
                <a:gd name="connsiteX948" fmla="*/ 2172815 w 2663946"/>
                <a:gd name="connsiteY948" fmla="*/ 89414 h 349382"/>
                <a:gd name="connsiteX949" fmla="*/ 2173307 w 2663946"/>
                <a:gd name="connsiteY949" fmla="*/ 84817 h 349382"/>
                <a:gd name="connsiteX950" fmla="*/ 2174536 w 2663946"/>
                <a:gd name="connsiteY950" fmla="*/ 79410 h 349382"/>
                <a:gd name="connsiteX951" fmla="*/ 2175519 w 2663946"/>
                <a:gd name="connsiteY951" fmla="*/ 76165 h 349382"/>
                <a:gd name="connsiteX952" fmla="*/ 2177731 w 2663946"/>
                <a:gd name="connsiteY952" fmla="*/ 71028 h 349382"/>
                <a:gd name="connsiteX953" fmla="*/ 2179944 w 2663946"/>
                <a:gd name="connsiteY953" fmla="*/ 67243 h 349382"/>
                <a:gd name="connsiteX954" fmla="*/ 2182156 w 2663946"/>
                <a:gd name="connsiteY954" fmla="*/ 64268 h 349382"/>
                <a:gd name="connsiteX955" fmla="*/ 2184368 w 2663946"/>
                <a:gd name="connsiteY955" fmla="*/ 61835 h 349382"/>
                <a:gd name="connsiteX956" fmla="*/ 2189038 w 2663946"/>
                <a:gd name="connsiteY956" fmla="*/ 58050 h 349382"/>
                <a:gd name="connsiteX957" fmla="*/ 2192971 w 2663946"/>
                <a:gd name="connsiteY957" fmla="*/ 55887 h 349382"/>
                <a:gd name="connsiteX958" fmla="*/ 2202558 w 2663946"/>
                <a:gd name="connsiteY958" fmla="*/ 53453 h 349382"/>
                <a:gd name="connsiteX959" fmla="*/ 2020607 w 2663946"/>
                <a:gd name="connsiteY959" fmla="*/ 53453 h 349382"/>
                <a:gd name="connsiteX960" fmla="*/ 2032897 w 2663946"/>
                <a:gd name="connsiteY960" fmla="*/ 55616 h 349382"/>
                <a:gd name="connsiteX961" fmla="*/ 2040271 w 2663946"/>
                <a:gd name="connsiteY961" fmla="*/ 60213 h 349382"/>
                <a:gd name="connsiteX962" fmla="*/ 2043712 w 2663946"/>
                <a:gd name="connsiteY962" fmla="*/ 63457 h 349382"/>
                <a:gd name="connsiteX963" fmla="*/ 2047154 w 2663946"/>
                <a:gd name="connsiteY963" fmla="*/ 67783 h 349382"/>
                <a:gd name="connsiteX964" fmla="*/ 2049120 w 2663946"/>
                <a:gd name="connsiteY964" fmla="*/ 71298 h 349382"/>
                <a:gd name="connsiteX965" fmla="*/ 2051332 w 2663946"/>
                <a:gd name="connsiteY965" fmla="*/ 76706 h 349382"/>
                <a:gd name="connsiteX966" fmla="*/ 2052315 w 2663946"/>
                <a:gd name="connsiteY966" fmla="*/ 80221 h 349382"/>
                <a:gd name="connsiteX967" fmla="*/ 2053299 w 2663946"/>
                <a:gd name="connsiteY967" fmla="*/ 85358 h 349382"/>
                <a:gd name="connsiteX968" fmla="*/ 2053053 w 2663946"/>
                <a:gd name="connsiteY968" fmla="*/ 99688 h 349382"/>
                <a:gd name="connsiteX969" fmla="*/ 2052070 w 2663946"/>
                <a:gd name="connsiteY969" fmla="*/ 104555 h 349382"/>
                <a:gd name="connsiteX970" fmla="*/ 2050840 w 2663946"/>
                <a:gd name="connsiteY970" fmla="*/ 108340 h 349382"/>
                <a:gd name="connsiteX971" fmla="*/ 2049857 w 2663946"/>
                <a:gd name="connsiteY971" fmla="*/ 110774 h 349382"/>
                <a:gd name="connsiteX972" fmla="*/ 2047645 w 2663946"/>
                <a:gd name="connsiteY972" fmla="*/ 115100 h 349382"/>
                <a:gd name="connsiteX973" fmla="*/ 2045433 w 2663946"/>
                <a:gd name="connsiteY973" fmla="*/ 118344 h 349382"/>
                <a:gd name="connsiteX974" fmla="*/ 2041992 w 2663946"/>
                <a:gd name="connsiteY974" fmla="*/ 122130 h 349382"/>
                <a:gd name="connsiteX975" fmla="*/ 2038796 w 2663946"/>
                <a:gd name="connsiteY975" fmla="*/ 124833 h 349382"/>
                <a:gd name="connsiteX976" fmla="*/ 2033143 w 2663946"/>
                <a:gd name="connsiteY976" fmla="*/ 128078 h 349382"/>
                <a:gd name="connsiteX977" fmla="*/ 2025277 w 2663946"/>
                <a:gd name="connsiteY977" fmla="*/ 130241 h 349382"/>
                <a:gd name="connsiteX978" fmla="*/ 2024048 w 2663946"/>
                <a:gd name="connsiteY978" fmla="*/ 130512 h 349382"/>
                <a:gd name="connsiteX979" fmla="*/ 2019869 w 2663946"/>
                <a:gd name="connsiteY979" fmla="*/ 130512 h 349382"/>
                <a:gd name="connsiteX980" fmla="*/ 2019624 w 2663946"/>
                <a:gd name="connsiteY980" fmla="*/ 130512 h 349382"/>
                <a:gd name="connsiteX981" fmla="*/ 2006596 w 2663946"/>
                <a:gd name="connsiteY981" fmla="*/ 125645 h 349382"/>
                <a:gd name="connsiteX982" fmla="*/ 2001926 w 2663946"/>
                <a:gd name="connsiteY982" fmla="*/ 121589 h 349382"/>
                <a:gd name="connsiteX983" fmla="*/ 1998730 w 2663946"/>
                <a:gd name="connsiteY983" fmla="*/ 117804 h 349382"/>
                <a:gd name="connsiteX984" fmla="*/ 1996518 w 2663946"/>
                <a:gd name="connsiteY984" fmla="*/ 114289 h 349382"/>
                <a:gd name="connsiteX985" fmla="*/ 1994306 w 2663946"/>
                <a:gd name="connsiteY985" fmla="*/ 109963 h 349382"/>
                <a:gd name="connsiteX986" fmla="*/ 1993077 w 2663946"/>
                <a:gd name="connsiteY986" fmla="*/ 106988 h 349382"/>
                <a:gd name="connsiteX987" fmla="*/ 1992094 w 2663946"/>
                <a:gd name="connsiteY987" fmla="*/ 103744 h 349382"/>
                <a:gd name="connsiteX988" fmla="*/ 1990864 w 2663946"/>
                <a:gd name="connsiteY988" fmla="*/ 98066 h 349382"/>
                <a:gd name="connsiteX989" fmla="*/ 1990619 w 2663946"/>
                <a:gd name="connsiteY989" fmla="*/ 95092 h 349382"/>
                <a:gd name="connsiteX990" fmla="*/ 1990864 w 2663946"/>
                <a:gd name="connsiteY990" fmla="*/ 95362 h 349382"/>
                <a:gd name="connsiteX991" fmla="*/ 1990864 w 2663946"/>
                <a:gd name="connsiteY991" fmla="*/ 89684 h 349382"/>
                <a:gd name="connsiteX992" fmla="*/ 1990864 w 2663946"/>
                <a:gd name="connsiteY992" fmla="*/ 89414 h 349382"/>
                <a:gd name="connsiteX993" fmla="*/ 1991356 w 2663946"/>
                <a:gd name="connsiteY993" fmla="*/ 84817 h 349382"/>
                <a:gd name="connsiteX994" fmla="*/ 1992585 w 2663946"/>
                <a:gd name="connsiteY994" fmla="*/ 79410 h 349382"/>
                <a:gd name="connsiteX995" fmla="*/ 1993568 w 2663946"/>
                <a:gd name="connsiteY995" fmla="*/ 76165 h 349382"/>
                <a:gd name="connsiteX996" fmla="*/ 1995780 w 2663946"/>
                <a:gd name="connsiteY996" fmla="*/ 71028 h 349382"/>
                <a:gd name="connsiteX997" fmla="*/ 1997993 w 2663946"/>
                <a:gd name="connsiteY997" fmla="*/ 67243 h 349382"/>
                <a:gd name="connsiteX998" fmla="*/ 2000205 w 2663946"/>
                <a:gd name="connsiteY998" fmla="*/ 64268 h 349382"/>
                <a:gd name="connsiteX999" fmla="*/ 2002417 w 2663946"/>
                <a:gd name="connsiteY999" fmla="*/ 61835 h 349382"/>
                <a:gd name="connsiteX1000" fmla="*/ 2007087 w 2663946"/>
                <a:gd name="connsiteY1000" fmla="*/ 58050 h 349382"/>
                <a:gd name="connsiteX1001" fmla="*/ 2011020 w 2663946"/>
                <a:gd name="connsiteY1001" fmla="*/ 55887 h 349382"/>
                <a:gd name="connsiteX1002" fmla="*/ 2020607 w 2663946"/>
                <a:gd name="connsiteY1002" fmla="*/ 53453 h 349382"/>
                <a:gd name="connsiteX1003" fmla="*/ 1595683 w 2663946"/>
                <a:gd name="connsiteY1003" fmla="*/ 53453 h 349382"/>
                <a:gd name="connsiteX1004" fmla="*/ 1607973 w 2663946"/>
                <a:gd name="connsiteY1004" fmla="*/ 55616 h 349382"/>
                <a:gd name="connsiteX1005" fmla="*/ 1615347 w 2663946"/>
                <a:gd name="connsiteY1005" fmla="*/ 60213 h 349382"/>
                <a:gd name="connsiteX1006" fmla="*/ 1618788 w 2663946"/>
                <a:gd name="connsiteY1006" fmla="*/ 63457 h 349382"/>
                <a:gd name="connsiteX1007" fmla="*/ 1622230 w 2663946"/>
                <a:gd name="connsiteY1007" fmla="*/ 67783 h 349382"/>
                <a:gd name="connsiteX1008" fmla="*/ 1624196 w 2663946"/>
                <a:gd name="connsiteY1008" fmla="*/ 71298 h 349382"/>
                <a:gd name="connsiteX1009" fmla="*/ 1626408 w 2663946"/>
                <a:gd name="connsiteY1009" fmla="*/ 76706 h 349382"/>
                <a:gd name="connsiteX1010" fmla="*/ 1627391 w 2663946"/>
                <a:gd name="connsiteY1010" fmla="*/ 80221 h 349382"/>
                <a:gd name="connsiteX1011" fmla="*/ 1628374 w 2663946"/>
                <a:gd name="connsiteY1011" fmla="*/ 85358 h 349382"/>
                <a:gd name="connsiteX1012" fmla="*/ 1628129 w 2663946"/>
                <a:gd name="connsiteY1012" fmla="*/ 99688 h 349382"/>
                <a:gd name="connsiteX1013" fmla="*/ 1627146 w 2663946"/>
                <a:gd name="connsiteY1013" fmla="*/ 104555 h 349382"/>
                <a:gd name="connsiteX1014" fmla="*/ 1625916 w 2663946"/>
                <a:gd name="connsiteY1014" fmla="*/ 108340 h 349382"/>
                <a:gd name="connsiteX1015" fmla="*/ 1624933 w 2663946"/>
                <a:gd name="connsiteY1015" fmla="*/ 110774 h 349382"/>
                <a:gd name="connsiteX1016" fmla="*/ 1622721 w 2663946"/>
                <a:gd name="connsiteY1016" fmla="*/ 115100 h 349382"/>
                <a:gd name="connsiteX1017" fmla="*/ 1620509 w 2663946"/>
                <a:gd name="connsiteY1017" fmla="*/ 118344 h 349382"/>
                <a:gd name="connsiteX1018" fmla="*/ 1617068 w 2663946"/>
                <a:gd name="connsiteY1018" fmla="*/ 122130 h 349382"/>
                <a:gd name="connsiteX1019" fmla="*/ 1613872 w 2663946"/>
                <a:gd name="connsiteY1019" fmla="*/ 124833 h 349382"/>
                <a:gd name="connsiteX1020" fmla="*/ 1608219 w 2663946"/>
                <a:gd name="connsiteY1020" fmla="*/ 128078 h 349382"/>
                <a:gd name="connsiteX1021" fmla="*/ 1600353 w 2663946"/>
                <a:gd name="connsiteY1021" fmla="*/ 130241 h 349382"/>
                <a:gd name="connsiteX1022" fmla="*/ 1599124 w 2663946"/>
                <a:gd name="connsiteY1022" fmla="*/ 130512 h 349382"/>
                <a:gd name="connsiteX1023" fmla="*/ 1594945 w 2663946"/>
                <a:gd name="connsiteY1023" fmla="*/ 130512 h 349382"/>
                <a:gd name="connsiteX1024" fmla="*/ 1594699 w 2663946"/>
                <a:gd name="connsiteY1024" fmla="*/ 130512 h 349382"/>
                <a:gd name="connsiteX1025" fmla="*/ 1581672 w 2663946"/>
                <a:gd name="connsiteY1025" fmla="*/ 125645 h 349382"/>
                <a:gd name="connsiteX1026" fmla="*/ 1577002 w 2663946"/>
                <a:gd name="connsiteY1026" fmla="*/ 121589 h 349382"/>
                <a:gd name="connsiteX1027" fmla="*/ 1573806 w 2663946"/>
                <a:gd name="connsiteY1027" fmla="*/ 117804 h 349382"/>
                <a:gd name="connsiteX1028" fmla="*/ 1571594 w 2663946"/>
                <a:gd name="connsiteY1028" fmla="*/ 114289 h 349382"/>
                <a:gd name="connsiteX1029" fmla="*/ 1569382 w 2663946"/>
                <a:gd name="connsiteY1029" fmla="*/ 109963 h 349382"/>
                <a:gd name="connsiteX1030" fmla="*/ 1568153 w 2663946"/>
                <a:gd name="connsiteY1030" fmla="*/ 106988 h 349382"/>
                <a:gd name="connsiteX1031" fmla="*/ 1567169 w 2663946"/>
                <a:gd name="connsiteY1031" fmla="*/ 103744 h 349382"/>
                <a:gd name="connsiteX1032" fmla="*/ 1565940 w 2663946"/>
                <a:gd name="connsiteY1032" fmla="*/ 98066 h 349382"/>
                <a:gd name="connsiteX1033" fmla="*/ 1565695 w 2663946"/>
                <a:gd name="connsiteY1033" fmla="*/ 95092 h 349382"/>
                <a:gd name="connsiteX1034" fmla="*/ 1565940 w 2663946"/>
                <a:gd name="connsiteY1034" fmla="*/ 95362 h 349382"/>
                <a:gd name="connsiteX1035" fmla="*/ 1565940 w 2663946"/>
                <a:gd name="connsiteY1035" fmla="*/ 89684 h 349382"/>
                <a:gd name="connsiteX1036" fmla="*/ 1565940 w 2663946"/>
                <a:gd name="connsiteY1036" fmla="*/ 89414 h 349382"/>
                <a:gd name="connsiteX1037" fmla="*/ 1566432 w 2663946"/>
                <a:gd name="connsiteY1037" fmla="*/ 84817 h 349382"/>
                <a:gd name="connsiteX1038" fmla="*/ 1567661 w 2663946"/>
                <a:gd name="connsiteY1038" fmla="*/ 79410 h 349382"/>
                <a:gd name="connsiteX1039" fmla="*/ 1568644 w 2663946"/>
                <a:gd name="connsiteY1039" fmla="*/ 76165 h 349382"/>
                <a:gd name="connsiteX1040" fmla="*/ 1570856 w 2663946"/>
                <a:gd name="connsiteY1040" fmla="*/ 71028 h 349382"/>
                <a:gd name="connsiteX1041" fmla="*/ 1573069 w 2663946"/>
                <a:gd name="connsiteY1041" fmla="*/ 67243 h 349382"/>
                <a:gd name="connsiteX1042" fmla="*/ 1575281 w 2663946"/>
                <a:gd name="connsiteY1042" fmla="*/ 64268 h 349382"/>
                <a:gd name="connsiteX1043" fmla="*/ 1577493 w 2663946"/>
                <a:gd name="connsiteY1043" fmla="*/ 61835 h 349382"/>
                <a:gd name="connsiteX1044" fmla="*/ 1582163 w 2663946"/>
                <a:gd name="connsiteY1044" fmla="*/ 58050 h 349382"/>
                <a:gd name="connsiteX1045" fmla="*/ 1586096 w 2663946"/>
                <a:gd name="connsiteY1045" fmla="*/ 55887 h 349382"/>
                <a:gd name="connsiteX1046" fmla="*/ 1595683 w 2663946"/>
                <a:gd name="connsiteY1046" fmla="*/ 53453 h 349382"/>
                <a:gd name="connsiteX1047" fmla="*/ 1246776 w 2663946"/>
                <a:gd name="connsiteY1047" fmla="*/ 53453 h 349382"/>
                <a:gd name="connsiteX1048" fmla="*/ 1259066 w 2663946"/>
                <a:gd name="connsiteY1048" fmla="*/ 55616 h 349382"/>
                <a:gd name="connsiteX1049" fmla="*/ 1266440 w 2663946"/>
                <a:gd name="connsiteY1049" fmla="*/ 60213 h 349382"/>
                <a:gd name="connsiteX1050" fmla="*/ 1269881 w 2663946"/>
                <a:gd name="connsiteY1050" fmla="*/ 63457 h 349382"/>
                <a:gd name="connsiteX1051" fmla="*/ 1273323 w 2663946"/>
                <a:gd name="connsiteY1051" fmla="*/ 67783 h 349382"/>
                <a:gd name="connsiteX1052" fmla="*/ 1275289 w 2663946"/>
                <a:gd name="connsiteY1052" fmla="*/ 71298 h 349382"/>
                <a:gd name="connsiteX1053" fmla="*/ 1277501 w 2663946"/>
                <a:gd name="connsiteY1053" fmla="*/ 76706 h 349382"/>
                <a:gd name="connsiteX1054" fmla="*/ 1278484 w 2663946"/>
                <a:gd name="connsiteY1054" fmla="*/ 80221 h 349382"/>
                <a:gd name="connsiteX1055" fmla="*/ 1279467 w 2663946"/>
                <a:gd name="connsiteY1055" fmla="*/ 85358 h 349382"/>
                <a:gd name="connsiteX1056" fmla="*/ 1279222 w 2663946"/>
                <a:gd name="connsiteY1056" fmla="*/ 99688 h 349382"/>
                <a:gd name="connsiteX1057" fmla="*/ 1278239 w 2663946"/>
                <a:gd name="connsiteY1057" fmla="*/ 104555 h 349382"/>
                <a:gd name="connsiteX1058" fmla="*/ 1277009 w 2663946"/>
                <a:gd name="connsiteY1058" fmla="*/ 108340 h 349382"/>
                <a:gd name="connsiteX1059" fmla="*/ 1276026 w 2663946"/>
                <a:gd name="connsiteY1059" fmla="*/ 110774 h 349382"/>
                <a:gd name="connsiteX1060" fmla="*/ 1273814 w 2663946"/>
                <a:gd name="connsiteY1060" fmla="*/ 115100 h 349382"/>
                <a:gd name="connsiteX1061" fmla="*/ 1271602 w 2663946"/>
                <a:gd name="connsiteY1061" fmla="*/ 118344 h 349382"/>
                <a:gd name="connsiteX1062" fmla="*/ 1268161 w 2663946"/>
                <a:gd name="connsiteY1062" fmla="*/ 122130 h 349382"/>
                <a:gd name="connsiteX1063" fmla="*/ 1264965 w 2663946"/>
                <a:gd name="connsiteY1063" fmla="*/ 124833 h 349382"/>
                <a:gd name="connsiteX1064" fmla="*/ 1259312 w 2663946"/>
                <a:gd name="connsiteY1064" fmla="*/ 128078 h 349382"/>
                <a:gd name="connsiteX1065" fmla="*/ 1251446 w 2663946"/>
                <a:gd name="connsiteY1065" fmla="*/ 130241 h 349382"/>
                <a:gd name="connsiteX1066" fmla="*/ 1250217 w 2663946"/>
                <a:gd name="connsiteY1066" fmla="*/ 130512 h 349382"/>
                <a:gd name="connsiteX1067" fmla="*/ 1246038 w 2663946"/>
                <a:gd name="connsiteY1067" fmla="*/ 130512 h 349382"/>
                <a:gd name="connsiteX1068" fmla="*/ 1245792 w 2663946"/>
                <a:gd name="connsiteY1068" fmla="*/ 130512 h 349382"/>
                <a:gd name="connsiteX1069" fmla="*/ 1232765 w 2663946"/>
                <a:gd name="connsiteY1069" fmla="*/ 125645 h 349382"/>
                <a:gd name="connsiteX1070" fmla="*/ 1228095 w 2663946"/>
                <a:gd name="connsiteY1070" fmla="*/ 121589 h 349382"/>
                <a:gd name="connsiteX1071" fmla="*/ 1224899 w 2663946"/>
                <a:gd name="connsiteY1071" fmla="*/ 117804 h 349382"/>
                <a:gd name="connsiteX1072" fmla="*/ 1222687 w 2663946"/>
                <a:gd name="connsiteY1072" fmla="*/ 114289 h 349382"/>
                <a:gd name="connsiteX1073" fmla="*/ 1220475 w 2663946"/>
                <a:gd name="connsiteY1073" fmla="*/ 109963 h 349382"/>
                <a:gd name="connsiteX1074" fmla="*/ 1219246 w 2663946"/>
                <a:gd name="connsiteY1074" fmla="*/ 106988 h 349382"/>
                <a:gd name="connsiteX1075" fmla="*/ 1218262 w 2663946"/>
                <a:gd name="connsiteY1075" fmla="*/ 103744 h 349382"/>
                <a:gd name="connsiteX1076" fmla="*/ 1217033 w 2663946"/>
                <a:gd name="connsiteY1076" fmla="*/ 98066 h 349382"/>
                <a:gd name="connsiteX1077" fmla="*/ 1216788 w 2663946"/>
                <a:gd name="connsiteY1077" fmla="*/ 95092 h 349382"/>
                <a:gd name="connsiteX1078" fmla="*/ 1217033 w 2663946"/>
                <a:gd name="connsiteY1078" fmla="*/ 95362 h 349382"/>
                <a:gd name="connsiteX1079" fmla="*/ 1217033 w 2663946"/>
                <a:gd name="connsiteY1079" fmla="*/ 89684 h 349382"/>
                <a:gd name="connsiteX1080" fmla="*/ 1217033 w 2663946"/>
                <a:gd name="connsiteY1080" fmla="*/ 89414 h 349382"/>
                <a:gd name="connsiteX1081" fmla="*/ 1217525 w 2663946"/>
                <a:gd name="connsiteY1081" fmla="*/ 84817 h 349382"/>
                <a:gd name="connsiteX1082" fmla="*/ 1218754 w 2663946"/>
                <a:gd name="connsiteY1082" fmla="*/ 79410 h 349382"/>
                <a:gd name="connsiteX1083" fmla="*/ 1219737 w 2663946"/>
                <a:gd name="connsiteY1083" fmla="*/ 76165 h 349382"/>
                <a:gd name="connsiteX1084" fmla="*/ 1221949 w 2663946"/>
                <a:gd name="connsiteY1084" fmla="*/ 71028 h 349382"/>
                <a:gd name="connsiteX1085" fmla="*/ 1224162 w 2663946"/>
                <a:gd name="connsiteY1085" fmla="*/ 67243 h 349382"/>
                <a:gd name="connsiteX1086" fmla="*/ 1226374 w 2663946"/>
                <a:gd name="connsiteY1086" fmla="*/ 64268 h 349382"/>
                <a:gd name="connsiteX1087" fmla="*/ 1228586 w 2663946"/>
                <a:gd name="connsiteY1087" fmla="*/ 61835 h 349382"/>
                <a:gd name="connsiteX1088" fmla="*/ 1233256 w 2663946"/>
                <a:gd name="connsiteY1088" fmla="*/ 58050 h 349382"/>
                <a:gd name="connsiteX1089" fmla="*/ 1237189 w 2663946"/>
                <a:gd name="connsiteY1089" fmla="*/ 55887 h 349382"/>
                <a:gd name="connsiteX1090" fmla="*/ 1246776 w 2663946"/>
                <a:gd name="connsiteY1090" fmla="*/ 53453 h 349382"/>
                <a:gd name="connsiteX1091" fmla="*/ 1064825 w 2663946"/>
                <a:gd name="connsiteY1091" fmla="*/ 53453 h 349382"/>
                <a:gd name="connsiteX1092" fmla="*/ 1077115 w 2663946"/>
                <a:gd name="connsiteY1092" fmla="*/ 55616 h 349382"/>
                <a:gd name="connsiteX1093" fmla="*/ 1084489 w 2663946"/>
                <a:gd name="connsiteY1093" fmla="*/ 60213 h 349382"/>
                <a:gd name="connsiteX1094" fmla="*/ 1087930 w 2663946"/>
                <a:gd name="connsiteY1094" fmla="*/ 63457 h 349382"/>
                <a:gd name="connsiteX1095" fmla="*/ 1091372 w 2663946"/>
                <a:gd name="connsiteY1095" fmla="*/ 67783 h 349382"/>
                <a:gd name="connsiteX1096" fmla="*/ 1093338 w 2663946"/>
                <a:gd name="connsiteY1096" fmla="*/ 71298 h 349382"/>
                <a:gd name="connsiteX1097" fmla="*/ 1095550 w 2663946"/>
                <a:gd name="connsiteY1097" fmla="*/ 76706 h 349382"/>
                <a:gd name="connsiteX1098" fmla="*/ 1096533 w 2663946"/>
                <a:gd name="connsiteY1098" fmla="*/ 80221 h 349382"/>
                <a:gd name="connsiteX1099" fmla="*/ 1097516 w 2663946"/>
                <a:gd name="connsiteY1099" fmla="*/ 85358 h 349382"/>
                <a:gd name="connsiteX1100" fmla="*/ 1097271 w 2663946"/>
                <a:gd name="connsiteY1100" fmla="*/ 99688 h 349382"/>
                <a:gd name="connsiteX1101" fmla="*/ 1096288 w 2663946"/>
                <a:gd name="connsiteY1101" fmla="*/ 104555 h 349382"/>
                <a:gd name="connsiteX1102" fmla="*/ 1095058 w 2663946"/>
                <a:gd name="connsiteY1102" fmla="*/ 108340 h 349382"/>
                <a:gd name="connsiteX1103" fmla="*/ 1094075 w 2663946"/>
                <a:gd name="connsiteY1103" fmla="*/ 110774 h 349382"/>
                <a:gd name="connsiteX1104" fmla="*/ 1091863 w 2663946"/>
                <a:gd name="connsiteY1104" fmla="*/ 115100 h 349382"/>
                <a:gd name="connsiteX1105" fmla="*/ 1089651 w 2663946"/>
                <a:gd name="connsiteY1105" fmla="*/ 118344 h 349382"/>
                <a:gd name="connsiteX1106" fmla="*/ 1086210 w 2663946"/>
                <a:gd name="connsiteY1106" fmla="*/ 122130 h 349382"/>
                <a:gd name="connsiteX1107" fmla="*/ 1083014 w 2663946"/>
                <a:gd name="connsiteY1107" fmla="*/ 124833 h 349382"/>
                <a:gd name="connsiteX1108" fmla="*/ 1077361 w 2663946"/>
                <a:gd name="connsiteY1108" fmla="*/ 128078 h 349382"/>
                <a:gd name="connsiteX1109" fmla="*/ 1069495 w 2663946"/>
                <a:gd name="connsiteY1109" fmla="*/ 130241 h 349382"/>
                <a:gd name="connsiteX1110" fmla="*/ 1068266 w 2663946"/>
                <a:gd name="connsiteY1110" fmla="*/ 130512 h 349382"/>
                <a:gd name="connsiteX1111" fmla="*/ 1064087 w 2663946"/>
                <a:gd name="connsiteY1111" fmla="*/ 130512 h 349382"/>
                <a:gd name="connsiteX1112" fmla="*/ 1063841 w 2663946"/>
                <a:gd name="connsiteY1112" fmla="*/ 130512 h 349382"/>
                <a:gd name="connsiteX1113" fmla="*/ 1050814 w 2663946"/>
                <a:gd name="connsiteY1113" fmla="*/ 125645 h 349382"/>
                <a:gd name="connsiteX1114" fmla="*/ 1046144 w 2663946"/>
                <a:gd name="connsiteY1114" fmla="*/ 121589 h 349382"/>
                <a:gd name="connsiteX1115" fmla="*/ 1042948 w 2663946"/>
                <a:gd name="connsiteY1115" fmla="*/ 117804 h 349382"/>
                <a:gd name="connsiteX1116" fmla="*/ 1040736 w 2663946"/>
                <a:gd name="connsiteY1116" fmla="*/ 114289 h 349382"/>
                <a:gd name="connsiteX1117" fmla="*/ 1038524 w 2663946"/>
                <a:gd name="connsiteY1117" fmla="*/ 109963 h 349382"/>
                <a:gd name="connsiteX1118" fmla="*/ 1037295 w 2663946"/>
                <a:gd name="connsiteY1118" fmla="*/ 106988 h 349382"/>
                <a:gd name="connsiteX1119" fmla="*/ 1036311 w 2663946"/>
                <a:gd name="connsiteY1119" fmla="*/ 103744 h 349382"/>
                <a:gd name="connsiteX1120" fmla="*/ 1035082 w 2663946"/>
                <a:gd name="connsiteY1120" fmla="*/ 98066 h 349382"/>
                <a:gd name="connsiteX1121" fmla="*/ 1034837 w 2663946"/>
                <a:gd name="connsiteY1121" fmla="*/ 95092 h 349382"/>
                <a:gd name="connsiteX1122" fmla="*/ 1035082 w 2663946"/>
                <a:gd name="connsiteY1122" fmla="*/ 95362 h 349382"/>
                <a:gd name="connsiteX1123" fmla="*/ 1035082 w 2663946"/>
                <a:gd name="connsiteY1123" fmla="*/ 89684 h 349382"/>
                <a:gd name="connsiteX1124" fmla="*/ 1035082 w 2663946"/>
                <a:gd name="connsiteY1124" fmla="*/ 89414 h 349382"/>
                <a:gd name="connsiteX1125" fmla="*/ 1035574 w 2663946"/>
                <a:gd name="connsiteY1125" fmla="*/ 84817 h 349382"/>
                <a:gd name="connsiteX1126" fmla="*/ 1036803 w 2663946"/>
                <a:gd name="connsiteY1126" fmla="*/ 79410 h 349382"/>
                <a:gd name="connsiteX1127" fmla="*/ 1037786 w 2663946"/>
                <a:gd name="connsiteY1127" fmla="*/ 76165 h 349382"/>
                <a:gd name="connsiteX1128" fmla="*/ 1039998 w 2663946"/>
                <a:gd name="connsiteY1128" fmla="*/ 71028 h 349382"/>
                <a:gd name="connsiteX1129" fmla="*/ 1042211 w 2663946"/>
                <a:gd name="connsiteY1129" fmla="*/ 67243 h 349382"/>
                <a:gd name="connsiteX1130" fmla="*/ 1044423 w 2663946"/>
                <a:gd name="connsiteY1130" fmla="*/ 64268 h 349382"/>
                <a:gd name="connsiteX1131" fmla="*/ 1046635 w 2663946"/>
                <a:gd name="connsiteY1131" fmla="*/ 61835 h 349382"/>
                <a:gd name="connsiteX1132" fmla="*/ 1051305 w 2663946"/>
                <a:gd name="connsiteY1132" fmla="*/ 58050 h 349382"/>
                <a:gd name="connsiteX1133" fmla="*/ 1055238 w 2663946"/>
                <a:gd name="connsiteY1133" fmla="*/ 55887 h 349382"/>
                <a:gd name="connsiteX1134" fmla="*/ 1064825 w 2663946"/>
                <a:gd name="connsiteY1134" fmla="*/ 53453 h 349382"/>
                <a:gd name="connsiteX1135" fmla="*/ 897796 w 2663946"/>
                <a:gd name="connsiteY1135" fmla="*/ 53453 h 349382"/>
                <a:gd name="connsiteX1136" fmla="*/ 910086 w 2663946"/>
                <a:gd name="connsiteY1136" fmla="*/ 55616 h 349382"/>
                <a:gd name="connsiteX1137" fmla="*/ 917460 w 2663946"/>
                <a:gd name="connsiteY1137" fmla="*/ 60213 h 349382"/>
                <a:gd name="connsiteX1138" fmla="*/ 920901 w 2663946"/>
                <a:gd name="connsiteY1138" fmla="*/ 63457 h 349382"/>
                <a:gd name="connsiteX1139" fmla="*/ 924343 w 2663946"/>
                <a:gd name="connsiteY1139" fmla="*/ 67783 h 349382"/>
                <a:gd name="connsiteX1140" fmla="*/ 926309 w 2663946"/>
                <a:gd name="connsiteY1140" fmla="*/ 71298 h 349382"/>
                <a:gd name="connsiteX1141" fmla="*/ 928521 w 2663946"/>
                <a:gd name="connsiteY1141" fmla="*/ 76706 h 349382"/>
                <a:gd name="connsiteX1142" fmla="*/ 929504 w 2663946"/>
                <a:gd name="connsiteY1142" fmla="*/ 80221 h 349382"/>
                <a:gd name="connsiteX1143" fmla="*/ 930487 w 2663946"/>
                <a:gd name="connsiteY1143" fmla="*/ 85358 h 349382"/>
                <a:gd name="connsiteX1144" fmla="*/ 930242 w 2663946"/>
                <a:gd name="connsiteY1144" fmla="*/ 99688 h 349382"/>
                <a:gd name="connsiteX1145" fmla="*/ 929259 w 2663946"/>
                <a:gd name="connsiteY1145" fmla="*/ 104555 h 349382"/>
                <a:gd name="connsiteX1146" fmla="*/ 928029 w 2663946"/>
                <a:gd name="connsiteY1146" fmla="*/ 108340 h 349382"/>
                <a:gd name="connsiteX1147" fmla="*/ 927046 w 2663946"/>
                <a:gd name="connsiteY1147" fmla="*/ 110774 h 349382"/>
                <a:gd name="connsiteX1148" fmla="*/ 924834 w 2663946"/>
                <a:gd name="connsiteY1148" fmla="*/ 115100 h 349382"/>
                <a:gd name="connsiteX1149" fmla="*/ 922622 w 2663946"/>
                <a:gd name="connsiteY1149" fmla="*/ 118344 h 349382"/>
                <a:gd name="connsiteX1150" fmla="*/ 919181 w 2663946"/>
                <a:gd name="connsiteY1150" fmla="*/ 122130 h 349382"/>
                <a:gd name="connsiteX1151" fmla="*/ 915985 w 2663946"/>
                <a:gd name="connsiteY1151" fmla="*/ 124833 h 349382"/>
                <a:gd name="connsiteX1152" fmla="*/ 910332 w 2663946"/>
                <a:gd name="connsiteY1152" fmla="*/ 128078 h 349382"/>
                <a:gd name="connsiteX1153" fmla="*/ 902466 w 2663946"/>
                <a:gd name="connsiteY1153" fmla="*/ 130241 h 349382"/>
                <a:gd name="connsiteX1154" fmla="*/ 901237 w 2663946"/>
                <a:gd name="connsiteY1154" fmla="*/ 130512 h 349382"/>
                <a:gd name="connsiteX1155" fmla="*/ 897058 w 2663946"/>
                <a:gd name="connsiteY1155" fmla="*/ 130512 h 349382"/>
                <a:gd name="connsiteX1156" fmla="*/ 896812 w 2663946"/>
                <a:gd name="connsiteY1156" fmla="*/ 130512 h 349382"/>
                <a:gd name="connsiteX1157" fmla="*/ 883785 w 2663946"/>
                <a:gd name="connsiteY1157" fmla="*/ 125645 h 349382"/>
                <a:gd name="connsiteX1158" fmla="*/ 879115 w 2663946"/>
                <a:gd name="connsiteY1158" fmla="*/ 121589 h 349382"/>
                <a:gd name="connsiteX1159" fmla="*/ 875919 w 2663946"/>
                <a:gd name="connsiteY1159" fmla="*/ 117804 h 349382"/>
                <a:gd name="connsiteX1160" fmla="*/ 873707 w 2663946"/>
                <a:gd name="connsiteY1160" fmla="*/ 114289 h 349382"/>
                <a:gd name="connsiteX1161" fmla="*/ 871495 w 2663946"/>
                <a:gd name="connsiteY1161" fmla="*/ 109963 h 349382"/>
                <a:gd name="connsiteX1162" fmla="*/ 870266 w 2663946"/>
                <a:gd name="connsiteY1162" fmla="*/ 106988 h 349382"/>
                <a:gd name="connsiteX1163" fmla="*/ 869282 w 2663946"/>
                <a:gd name="connsiteY1163" fmla="*/ 103744 h 349382"/>
                <a:gd name="connsiteX1164" fmla="*/ 868053 w 2663946"/>
                <a:gd name="connsiteY1164" fmla="*/ 98066 h 349382"/>
                <a:gd name="connsiteX1165" fmla="*/ 867808 w 2663946"/>
                <a:gd name="connsiteY1165" fmla="*/ 95092 h 349382"/>
                <a:gd name="connsiteX1166" fmla="*/ 868053 w 2663946"/>
                <a:gd name="connsiteY1166" fmla="*/ 95362 h 349382"/>
                <a:gd name="connsiteX1167" fmla="*/ 868053 w 2663946"/>
                <a:gd name="connsiteY1167" fmla="*/ 89684 h 349382"/>
                <a:gd name="connsiteX1168" fmla="*/ 868053 w 2663946"/>
                <a:gd name="connsiteY1168" fmla="*/ 89414 h 349382"/>
                <a:gd name="connsiteX1169" fmla="*/ 868545 w 2663946"/>
                <a:gd name="connsiteY1169" fmla="*/ 84817 h 349382"/>
                <a:gd name="connsiteX1170" fmla="*/ 869774 w 2663946"/>
                <a:gd name="connsiteY1170" fmla="*/ 79410 h 349382"/>
                <a:gd name="connsiteX1171" fmla="*/ 870757 w 2663946"/>
                <a:gd name="connsiteY1171" fmla="*/ 76165 h 349382"/>
                <a:gd name="connsiteX1172" fmla="*/ 872969 w 2663946"/>
                <a:gd name="connsiteY1172" fmla="*/ 71028 h 349382"/>
                <a:gd name="connsiteX1173" fmla="*/ 875182 w 2663946"/>
                <a:gd name="connsiteY1173" fmla="*/ 67243 h 349382"/>
                <a:gd name="connsiteX1174" fmla="*/ 877394 w 2663946"/>
                <a:gd name="connsiteY1174" fmla="*/ 64268 h 349382"/>
                <a:gd name="connsiteX1175" fmla="*/ 879606 w 2663946"/>
                <a:gd name="connsiteY1175" fmla="*/ 61835 h 349382"/>
                <a:gd name="connsiteX1176" fmla="*/ 884276 w 2663946"/>
                <a:gd name="connsiteY1176" fmla="*/ 58050 h 349382"/>
                <a:gd name="connsiteX1177" fmla="*/ 888209 w 2663946"/>
                <a:gd name="connsiteY1177" fmla="*/ 55887 h 349382"/>
                <a:gd name="connsiteX1178" fmla="*/ 897796 w 2663946"/>
                <a:gd name="connsiteY1178" fmla="*/ 53453 h 349382"/>
                <a:gd name="connsiteX1179" fmla="*/ 548889 w 2663946"/>
                <a:gd name="connsiteY1179" fmla="*/ 53453 h 349382"/>
                <a:gd name="connsiteX1180" fmla="*/ 561180 w 2663946"/>
                <a:gd name="connsiteY1180" fmla="*/ 55616 h 349382"/>
                <a:gd name="connsiteX1181" fmla="*/ 568554 w 2663946"/>
                <a:gd name="connsiteY1181" fmla="*/ 60213 h 349382"/>
                <a:gd name="connsiteX1182" fmla="*/ 571995 w 2663946"/>
                <a:gd name="connsiteY1182" fmla="*/ 63457 h 349382"/>
                <a:gd name="connsiteX1183" fmla="*/ 575436 w 2663946"/>
                <a:gd name="connsiteY1183" fmla="*/ 67783 h 349382"/>
                <a:gd name="connsiteX1184" fmla="*/ 577403 w 2663946"/>
                <a:gd name="connsiteY1184" fmla="*/ 71298 h 349382"/>
                <a:gd name="connsiteX1185" fmla="*/ 579615 w 2663946"/>
                <a:gd name="connsiteY1185" fmla="*/ 76706 h 349382"/>
                <a:gd name="connsiteX1186" fmla="*/ 580598 w 2663946"/>
                <a:gd name="connsiteY1186" fmla="*/ 80221 h 349382"/>
                <a:gd name="connsiteX1187" fmla="*/ 581581 w 2663946"/>
                <a:gd name="connsiteY1187" fmla="*/ 85358 h 349382"/>
                <a:gd name="connsiteX1188" fmla="*/ 581336 w 2663946"/>
                <a:gd name="connsiteY1188" fmla="*/ 99688 h 349382"/>
                <a:gd name="connsiteX1189" fmla="*/ 580352 w 2663946"/>
                <a:gd name="connsiteY1189" fmla="*/ 104555 h 349382"/>
                <a:gd name="connsiteX1190" fmla="*/ 579123 w 2663946"/>
                <a:gd name="connsiteY1190" fmla="*/ 108340 h 349382"/>
                <a:gd name="connsiteX1191" fmla="*/ 578140 w 2663946"/>
                <a:gd name="connsiteY1191" fmla="*/ 110774 h 349382"/>
                <a:gd name="connsiteX1192" fmla="*/ 575928 w 2663946"/>
                <a:gd name="connsiteY1192" fmla="*/ 115100 h 349382"/>
                <a:gd name="connsiteX1193" fmla="*/ 573715 w 2663946"/>
                <a:gd name="connsiteY1193" fmla="*/ 118344 h 349382"/>
                <a:gd name="connsiteX1194" fmla="*/ 570274 w 2663946"/>
                <a:gd name="connsiteY1194" fmla="*/ 122130 h 349382"/>
                <a:gd name="connsiteX1195" fmla="*/ 567079 w 2663946"/>
                <a:gd name="connsiteY1195" fmla="*/ 124833 h 349382"/>
                <a:gd name="connsiteX1196" fmla="*/ 561425 w 2663946"/>
                <a:gd name="connsiteY1196" fmla="*/ 128078 h 349382"/>
                <a:gd name="connsiteX1197" fmla="*/ 553559 w 2663946"/>
                <a:gd name="connsiteY1197" fmla="*/ 130241 h 349382"/>
                <a:gd name="connsiteX1198" fmla="*/ 552331 w 2663946"/>
                <a:gd name="connsiteY1198" fmla="*/ 130512 h 349382"/>
                <a:gd name="connsiteX1199" fmla="*/ 548152 w 2663946"/>
                <a:gd name="connsiteY1199" fmla="*/ 130512 h 349382"/>
                <a:gd name="connsiteX1200" fmla="*/ 547906 w 2663946"/>
                <a:gd name="connsiteY1200" fmla="*/ 130512 h 349382"/>
                <a:gd name="connsiteX1201" fmla="*/ 534879 w 2663946"/>
                <a:gd name="connsiteY1201" fmla="*/ 125645 h 349382"/>
                <a:gd name="connsiteX1202" fmla="*/ 530208 w 2663946"/>
                <a:gd name="connsiteY1202" fmla="*/ 121589 h 349382"/>
                <a:gd name="connsiteX1203" fmla="*/ 527013 w 2663946"/>
                <a:gd name="connsiteY1203" fmla="*/ 117804 h 349382"/>
                <a:gd name="connsiteX1204" fmla="*/ 524801 w 2663946"/>
                <a:gd name="connsiteY1204" fmla="*/ 114289 h 349382"/>
                <a:gd name="connsiteX1205" fmla="*/ 522588 w 2663946"/>
                <a:gd name="connsiteY1205" fmla="*/ 109963 h 349382"/>
                <a:gd name="connsiteX1206" fmla="*/ 521359 w 2663946"/>
                <a:gd name="connsiteY1206" fmla="*/ 106988 h 349382"/>
                <a:gd name="connsiteX1207" fmla="*/ 520376 w 2663946"/>
                <a:gd name="connsiteY1207" fmla="*/ 103744 h 349382"/>
                <a:gd name="connsiteX1208" fmla="*/ 519147 w 2663946"/>
                <a:gd name="connsiteY1208" fmla="*/ 98066 h 349382"/>
                <a:gd name="connsiteX1209" fmla="*/ 518901 w 2663946"/>
                <a:gd name="connsiteY1209" fmla="*/ 95092 h 349382"/>
                <a:gd name="connsiteX1210" fmla="*/ 519147 w 2663946"/>
                <a:gd name="connsiteY1210" fmla="*/ 95362 h 349382"/>
                <a:gd name="connsiteX1211" fmla="*/ 519147 w 2663946"/>
                <a:gd name="connsiteY1211" fmla="*/ 89684 h 349382"/>
                <a:gd name="connsiteX1212" fmla="*/ 519147 w 2663946"/>
                <a:gd name="connsiteY1212" fmla="*/ 89414 h 349382"/>
                <a:gd name="connsiteX1213" fmla="*/ 519639 w 2663946"/>
                <a:gd name="connsiteY1213" fmla="*/ 84817 h 349382"/>
                <a:gd name="connsiteX1214" fmla="*/ 520868 w 2663946"/>
                <a:gd name="connsiteY1214" fmla="*/ 79410 h 349382"/>
                <a:gd name="connsiteX1215" fmla="*/ 521851 w 2663946"/>
                <a:gd name="connsiteY1215" fmla="*/ 76165 h 349382"/>
                <a:gd name="connsiteX1216" fmla="*/ 524063 w 2663946"/>
                <a:gd name="connsiteY1216" fmla="*/ 71028 h 349382"/>
                <a:gd name="connsiteX1217" fmla="*/ 526275 w 2663946"/>
                <a:gd name="connsiteY1217" fmla="*/ 67243 h 349382"/>
                <a:gd name="connsiteX1218" fmla="*/ 528488 w 2663946"/>
                <a:gd name="connsiteY1218" fmla="*/ 64268 h 349382"/>
                <a:gd name="connsiteX1219" fmla="*/ 530700 w 2663946"/>
                <a:gd name="connsiteY1219" fmla="*/ 61835 h 349382"/>
                <a:gd name="connsiteX1220" fmla="*/ 535370 w 2663946"/>
                <a:gd name="connsiteY1220" fmla="*/ 58050 h 349382"/>
                <a:gd name="connsiteX1221" fmla="*/ 539303 w 2663946"/>
                <a:gd name="connsiteY1221" fmla="*/ 55887 h 349382"/>
                <a:gd name="connsiteX1222" fmla="*/ 548889 w 2663946"/>
                <a:gd name="connsiteY1222" fmla="*/ 53453 h 349382"/>
                <a:gd name="connsiteX1223" fmla="*/ 366938 w 2663946"/>
                <a:gd name="connsiteY1223" fmla="*/ 53453 h 349382"/>
                <a:gd name="connsiteX1224" fmla="*/ 379228 w 2663946"/>
                <a:gd name="connsiteY1224" fmla="*/ 55616 h 349382"/>
                <a:gd name="connsiteX1225" fmla="*/ 386603 w 2663946"/>
                <a:gd name="connsiteY1225" fmla="*/ 60213 h 349382"/>
                <a:gd name="connsiteX1226" fmla="*/ 390044 w 2663946"/>
                <a:gd name="connsiteY1226" fmla="*/ 63457 h 349382"/>
                <a:gd name="connsiteX1227" fmla="*/ 393485 w 2663946"/>
                <a:gd name="connsiteY1227" fmla="*/ 67783 h 349382"/>
                <a:gd name="connsiteX1228" fmla="*/ 395452 w 2663946"/>
                <a:gd name="connsiteY1228" fmla="*/ 71298 h 349382"/>
                <a:gd name="connsiteX1229" fmla="*/ 397664 w 2663946"/>
                <a:gd name="connsiteY1229" fmla="*/ 76706 h 349382"/>
                <a:gd name="connsiteX1230" fmla="*/ 398647 w 2663946"/>
                <a:gd name="connsiteY1230" fmla="*/ 80221 h 349382"/>
                <a:gd name="connsiteX1231" fmla="*/ 399630 w 2663946"/>
                <a:gd name="connsiteY1231" fmla="*/ 85358 h 349382"/>
                <a:gd name="connsiteX1232" fmla="*/ 399384 w 2663946"/>
                <a:gd name="connsiteY1232" fmla="*/ 99688 h 349382"/>
                <a:gd name="connsiteX1233" fmla="*/ 398401 w 2663946"/>
                <a:gd name="connsiteY1233" fmla="*/ 104555 h 349382"/>
                <a:gd name="connsiteX1234" fmla="*/ 397172 w 2663946"/>
                <a:gd name="connsiteY1234" fmla="*/ 108340 h 349382"/>
                <a:gd name="connsiteX1235" fmla="*/ 396189 w 2663946"/>
                <a:gd name="connsiteY1235" fmla="*/ 110774 h 349382"/>
                <a:gd name="connsiteX1236" fmla="*/ 393977 w 2663946"/>
                <a:gd name="connsiteY1236" fmla="*/ 115100 h 349382"/>
                <a:gd name="connsiteX1237" fmla="*/ 391764 w 2663946"/>
                <a:gd name="connsiteY1237" fmla="*/ 118344 h 349382"/>
                <a:gd name="connsiteX1238" fmla="*/ 388323 w 2663946"/>
                <a:gd name="connsiteY1238" fmla="*/ 122130 h 349382"/>
                <a:gd name="connsiteX1239" fmla="*/ 385128 w 2663946"/>
                <a:gd name="connsiteY1239" fmla="*/ 124833 h 349382"/>
                <a:gd name="connsiteX1240" fmla="*/ 379474 w 2663946"/>
                <a:gd name="connsiteY1240" fmla="*/ 128078 h 349382"/>
                <a:gd name="connsiteX1241" fmla="*/ 371609 w 2663946"/>
                <a:gd name="connsiteY1241" fmla="*/ 130241 h 349382"/>
                <a:gd name="connsiteX1242" fmla="*/ 370380 w 2663946"/>
                <a:gd name="connsiteY1242" fmla="*/ 130512 h 349382"/>
                <a:gd name="connsiteX1243" fmla="*/ 366201 w 2663946"/>
                <a:gd name="connsiteY1243" fmla="*/ 130512 h 349382"/>
                <a:gd name="connsiteX1244" fmla="*/ 365955 w 2663946"/>
                <a:gd name="connsiteY1244" fmla="*/ 130512 h 349382"/>
                <a:gd name="connsiteX1245" fmla="*/ 352927 w 2663946"/>
                <a:gd name="connsiteY1245" fmla="*/ 125645 h 349382"/>
                <a:gd name="connsiteX1246" fmla="*/ 348257 w 2663946"/>
                <a:gd name="connsiteY1246" fmla="*/ 121589 h 349382"/>
                <a:gd name="connsiteX1247" fmla="*/ 345062 w 2663946"/>
                <a:gd name="connsiteY1247" fmla="*/ 117804 h 349382"/>
                <a:gd name="connsiteX1248" fmla="*/ 342850 w 2663946"/>
                <a:gd name="connsiteY1248" fmla="*/ 114289 h 349382"/>
                <a:gd name="connsiteX1249" fmla="*/ 340637 w 2663946"/>
                <a:gd name="connsiteY1249" fmla="*/ 109963 h 349382"/>
                <a:gd name="connsiteX1250" fmla="*/ 339408 w 2663946"/>
                <a:gd name="connsiteY1250" fmla="*/ 106988 h 349382"/>
                <a:gd name="connsiteX1251" fmla="*/ 338425 w 2663946"/>
                <a:gd name="connsiteY1251" fmla="*/ 103744 h 349382"/>
                <a:gd name="connsiteX1252" fmla="*/ 337196 w 2663946"/>
                <a:gd name="connsiteY1252" fmla="*/ 98066 h 349382"/>
                <a:gd name="connsiteX1253" fmla="*/ 336950 w 2663946"/>
                <a:gd name="connsiteY1253" fmla="*/ 95092 h 349382"/>
                <a:gd name="connsiteX1254" fmla="*/ 337196 w 2663946"/>
                <a:gd name="connsiteY1254" fmla="*/ 95362 h 349382"/>
                <a:gd name="connsiteX1255" fmla="*/ 337196 w 2663946"/>
                <a:gd name="connsiteY1255" fmla="*/ 89684 h 349382"/>
                <a:gd name="connsiteX1256" fmla="*/ 337196 w 2663946"/>
                <a:gd name="connsiteY1256" fmla="*/ 89414 h 349382"/>
                <a:gd name="connsiteX1257" fmla="*/ 337687 w 2663946"/>
                <a:gd name="connsiteY1257" fmla="*/ 84817 h 349382"/>
                <a:gd name="connsiteX1258" fmla="*/ 338917 w 2663946"/>
                <a:gd name="connsiteY1258" fmla="*/ 79410 h 349382"/>
                <a:gd name="connsiteX1259" fmla="*/ 339900 w 2663946"/>
                <a:gd name="connsiteY1259" fmla="*/ 76165 h 349382"/>
                <a:gd name="connsiteX1260" fmla="*/ 342112 w 2663946"/>
                <a:gd name="connsiteY1260" fmla="*/ 71028 h 349382"/>
                <a:gd name="connsiteX1261" fmla="*/ 344324 w 2663946"/>
                <a:gd name="connsiteY1261" fmla="*/ 67243 h 349382"/>
                <a:gd name="connsiteX1262" fmla="*/ 346536 w 2663946"/>
                <a:gd name="connsiteY1262" fmla="*/ 64268 h 349382"/>
                <a:gd name="connsiteX1263" fmla="*/ 348749 w 2663946"/>
                <a:gd name="connsiteY1263" fmla="*/ 61835 h 349382"/>
                <a:gd name="connsiteX1264" fmla="*/ 353419 w 2663946"/>
                <a:gd name="connsiteY1264" fmla="*/ 58050 h 349382"/>
                <a:gd name="connsiteX1265" fmla="*/ 357352 w 2663946"/>
                <a:gd name="connsiteY1265" fmla="*/ 55887 h 349382"/>
                <a:gd name="connsiteX1266" fmla="*/ 366938 w 2663946"/>
                <a:gd name="connsiteY1266" fmla="*/ 53453 h 349382"/>
                <a:gd name="connsiteX1267" fmla="*/ 123893 w 2663946"/>
                <a:gd name="connsiteY1267" fmla="*/ 53453 h 349382"/>
                <a:gd name="connsiteX1268" fmla="*/ 136183 w 2663946"/>
                <a:gd name="connsiteY1268" fmla="*/ 55616 h 349382"/>
                <a:gd name="connsiteX1269" fmla="*/ 143557 w 2663946"/>
                <a:gd name="connsiteY1269" fmla="*/ 60213 h 349382"/>
                <a:gd name="connsiteX1270" fmla="*/ 146998 w 2663946"/>
                <a:gd name="connsiteY1270" fmla="*/ 63457 h 349382"/>
                <a:gd name="connsiteX1271" fmla="*/ 150439 w 2663946"/>
                <a:gd name="connsiteY1271" fmla="*/ 67783 h 349382"/>
                <a:gd name="connsiteX1272" fmla="*/ 152406 w 2663946"/>
                <a:gd name="connsiteY1272" fmla="*/ 71298 h 349382"/>
                <a:gd name="connsiteX1273" fmla="*/ 154618 w 2663946"/>
                <a:gd name="connsiteY1273" fmla="*/ 76706 h 349382"/>
                <a:gd name="connsiteX1274" fmla="*/ 155601 w 2663946"/>
                <a:gd name="connsiteY1274" fmla="*/ 80221 h 349382"/>
                <a:gd name="connsiteX1275" fmla="*/ 156584 w 2663946"/>
                <a:gd name="connsiteY1275" fmla="*/ 85358 h 349382"/>
                <a:gd name="connsiteX1276" fmla="*/ 156339 w 2663946"/>
                <a:gd name="connsiteY1276" fmla="*/ 99688 h 349382"/>
                <a:gd name="connsiteX1277" fmla="*/ 155355 w 2663946"/>
                <a:gd name="connsiteY1277" fmla="*/ 104555 h 349382"/>
                <a:gd name="connsiteX1278" fmla="*/ 154126 w 2663946"/>
                <a:gd name="connsiteY1278" fmla="*/ 108340 h 349382"/>
                <a:gd name="connsiteX1279" fmla="*/ 153143 w 2663946"/>
                <a:gd name="connsiteY1279" fmla="*/ 110774 h 349382"/>
                <a:gd name="connsiteX1280" fmla="*/ 150931 w 2663946"/>
                <a:gd name="connsiteY1280" fmla="*/ 115100 h 349382"/>
                <a:gd name="connsiteX1281" fmla="*/ 148719 w 2663946"/>
                <a:gd name="connsiteY1281" fmla="*/ 118344 h 349382"/>
                <a:gd name="connsiteX1282" fmla="*/ 145277 w 2663946"/>
                <a:gd name="connsiteY1282" fmla="*/ 122130 h 349382"/>
                <a:gd name="connsiteX1283" fmla="*/ 142082 w 2663946"/>
                <a:gd name="connsiteY1283" fmla="*/ 124833 h 349382"/>
                <a:gd name="connsiteX1284" fmla="*/ 136428 w 2663946"/>
                <a:gd name="connsiteY1284" fmla="*/ 128078 h 349382"/>
                <a:gd name="connsiteX1285" fmla="*/ 128563 w 2663946"/>
                <a:gd name="connsiteY1285" fmla="*/ 130241 h 349382"/>
                <a:gd name="connsiteX1286" fmla="*/ 127334 w 2663946"/>
                <a:gd name="connsiteY1286" fmla="*/ 130512 h 349382"/>
                <a:gd name="connsiteX1287" fmla="*/ 123155 w 2663946"/>
                <a:gd name="connsiteY1287" fmla="*/ 130512 h 349382"/>
                <a:gd name="connsiteX1288" fmla="*/ 122909 w 2663946"/>
                <a:gd name="connsiteY1288" fmla="*/ 130512 h 349382"/>
                <a:gd name="connsiteX1289" fmla="*/ 109882 w 2663946"/>
                <a:gd name="connsiteY1289" fmla="*/ 125645 h 349382"/>
                <a:gd name="connsiteX1290" fmla="*/ 105211 w 2663946"/>
                <a:gd name="connsiteY1290" fmla="*/ 121589 h 349382"/>
                <a:gd name="connsiteX1291" fmla="*/ 102016 w 2663946"/>
                <a:gd name="connsiteY1291" fmla="*/ 117804 h 349382"/>
                <a:gd name="connsiteX1292" fmla="*/ 99804 w 2663946"/>
                <a:gd name="connsiteY1292" fmla="*/ 114289 h 349382"/>
                <a:gd name="connsiteX1293" fmla="*/ 97591 w 2663946"/>
                <a:gd name="connsiteY1293" fmla="*/ 109963 h 349382"/>
                <a:gd name="connsiteX1294" fmla="*/ 96362 w 2663946"/>
                <a:gd name="connsiteY1294" fmla="*/ 106988 h 349382"/>
                <a:gd name="connsiteX1295" fmla="*/ 95379 w 2663946"/>
                <a:gd name="connsiteY1295" fmla="*/ 103744 h 349382"/>
                <a:gd name="connsiteX1296" fmla="*/ 94150 w 2663946"/>
                <a:gd name="connsiteY1296" fmla="*/ 98066 h 349382"/>
                <a:gd name="connsiteX1297" fmla="*/ 93904 w 2663946"/>
                <a:gd name="connsiteY1297" fmla="*/ 95092 h 349382"/>
                <a:gd name="connsiteX1298" fmla="*/ 94150 w 2663946"/>
                <a:gd name="connsiteY1298" fmla="*/ 95362 h 349382"/>
                <a:gd name="connsiteX1299" fmla="*/ 94150 w 2663946"/>
                <a:gd name="connsiteY1299" fmla="*/ 89684 h 349382"/>
                <a:gd name="connsiteX1300" fmla="*/ 94150 w 2663946"/>
                <a:gd name="connsiteY1300" fmla="*/ 89414 h 349382"/>
                <a:gd name="connsiteX1301" fmla="*/ 94642 w 2663946"/>
                <a:gd name="connsiteY1301" fmla="*/ 84817 h 349382"/>
                <a:gd name="connsiteX1302" fmla="*/ 95871 w 2663946"/>
                <a:gd name="connsiteY1302" fmla="*/ 79410 h 349382"/>
                <a:gd name="connsiteX1303" fmla="*/ 96854 w 2663946"/>
                <a:gd name="connsiteY1303" fmla="*/ 76165 h 349382"/>
                <a:gd name="connsiteX1304" fmla="*/ 99066 w 2663946"/>
                <a:gd name="connsiteY1304" fmla="*/ 71028 h 349382"/>
                <a:gd name="connsiteX1305" fmla="*/ 101279 w 2663946"/>
                <a:gd name="connsiteY1305" fmla="*/ 67243 h 349382"/>
                <a:gd name="connsiteX1306" fmla="*/ 103491 w 2663946"/>
                <a:gd name="connsiteY1306" fmla="*/ 64268 h 349382"/>
                <a:gd name="connsiteX1307" fmla="*/ 105703 w 2663946"/>
                <a:gd name="connsiteY1307" fmla="*/ 61835 h 349382"/>
                <a:gd name="connsiteX1308" fmla="*/ 110373 w 2663946"/>
                <a:gd name="connsiteY1308" fmla="*/ 58050 h 349382"/>
                <a:gd name="connsiteX1309" fmla="*/ 114306 w 2663946"/>
                <a:gd name="connsiteY1309" fmla="*/ 55887 h 349382"/>
                <a:gd name="connsiteX1310" fmla="*/ 123893 w 2663946"/>
                <a:gd name="connsiteY1310" fmla="*/ 53453 h 349382"/>
                <a:gd name="connsiteX1311" fmla="*/ 33147 w 2663946"/>
                <a:gd name="connsiteY1311" fmla="*/ 52815 h 349382"/>
                <a:gd name="connsiteX1312" fmla="*/ 57942 w 2663946"/>
                <a:gd name="connsiteY1312" fmla="*/ 73024 h 349382"/>
                <a:gd name="connsiteX1313" fmla="*/ 58422 w 2663946"/>
                <a:gd name="connsiteY1313" fmla="*/ 77782 h 349382"/>
                <a:gd name="connsiteX1314" fmla="*/ 59840 w 2663946"/>
                <a:gd name="connsiteY1314" fmla="*/ 77782 h 349382"/>
                <a:gd name="connsiteX1315" fmla="*/ 66294 w 2663946"/>
                <a:gd name="connsiteY1315" fmla="*/ 84068 h 349382"/>
                <a:gd name="connsiteX1316" fmla="*/ 66294 w 2663946"/>
                <a:gd name="connsiteY1316" fmla="*/ 133790 h 349382"/>
                <a:gd name="connsiteX1317" fmla="*/ 59840 w 2663946"/>
                <a:gd name="connsiteY1317" fmla="*/ 140076 h 349382"/>
                <a:gd name="connsiteX1318" fmla="*/ 6453 w 2663946"/>
                <a:gd name="connsiteY1318" fmla="*/ 140076 h 349382"/>
                <a:gd name="connsiteX1319" fmla="*/ 0 w 2663946"/>
                <a:gd name="connsiteY1319" fmla="*/ 133790 h 349382"/>
                <a:gd name="connsiteX1320" fmla="*/ 0 w 2663946"/>
                <a:gd name="connsiteY1320" fmla="*/ 84068 h 349382"/>
                <a:gd name="connsiteX1321" fmla="*/ 6453 w 2663946"/>
                <a:gd name="connsiteY1321" fmla="*/ 77782 h 349382"/>
                <a:gd name="connsiteX1322" fmla="*/ 7288 w 2663946"/>
                <a:gd name="connsiteY1322" fmla="*/ 77782 h 349382"/>
                <a:gd name="connsiteX1323" fmla="*/ 7872 w 2663946"/>
                <a:gd name="connsiteY1323" fmla="*/ 77782 h 349382"/>
                <a:gd name="connsiteX1324" fmla="*/ 8351 w 2663946"/>
                <a:gd name="connsiteY1324" fmla="*/ 73024 h 349382"/>
                <a:gd name="connsiteX1325" fmla="*/ 33147 w 2663946"/>
                <a:gd name="connsiteY1325" fmla="*/ 52815 h 349382"/>
                <a:gd name="connsiteX1326" fmla="*/ 2537931 w 2663946"/>
                <a:gd name="connsiteY1326" fmla="*/ 45227 h 349382"/>
                <a:gd name="connsiteX1327" fmla="*/ 2562727 w 2663946"/>
                <a:gd name="connsiteY1327" fmla="*/ 65436 h 349382"/>
                <a:gd name="connsiteX1328" fmla="*/ 2563206 w 2663946"/>
                <a:gd name="connsiteY1328" fmla="*/ 70194 h 349382"/>
                <a:gd name="connsiteX1329" fmla="*/ 2564625 w 2663946"/>
                <a:gd name="connsiteY1329" fmla="*/ 70194 h 349382"/>
                <a:gd name="connsiteX1330" fmla="*/ 2571078 w 2663946"/>
                <a:gd name="connsiteY1330" fmla="*/ 76480 h 349382"/>
                <a:gd name="connsiteX1331" fmla="*/ 2571078 w 2663946"/>
                <a:gd name="connsiteY1331" fmla="*/ 126202 h 349382"/>
                <a:gd name="connsiteX1332" fmla="*/ 2564625 w 2663946"/>
                <a:gd name="connsiteY1332" fmla="*/ 132488 h 349382"/>
                <a:gd name="connsiteX1333" fmla="*/ 2511238 w 2663946"/>
                <a:gd name="connsiteY1333" fmla="*/ 132488 h 349382"/>
                <a:gd name="connsiteX1334" fmla="*/ 2504784 w 2663946"/>
                <a:gd name="connsiteY1334" fmla="*/ 126202 h 349382"/>
                <a:gd name="connsiteX1335" fmla="*/ 2504784 w 2663946"/>
                <a:gd name="connsiteY1335" fmla="*/ 76480 h 349382"/>
                <a:gd name="connsiteX1336" fmla="*/ 2511238 w 2663946"/>
                <a:gd name="connsiteY1336" fmla="*/ 70194 h 349382"/>
                <a:gd name="connsiteX1337" fmla="*/ 2512072 w 2663946"/>
                <a:gd name="connsiteY1337" fmla="*/ 70194 h 349382"/>
                <a:gd name="connsiteX1338" fmla="*/ 2512656 w 2663946"/>
                <a:gd name="connsiteY1338" fmla="*/ 70194 h 349382"/>
                <a:gd name="connsiteX1339" fmla="*/ 2513136 w 2663946"/>
                <a:gd name="connsiteY1339" fmla="*/ 65436 h 349382"/>
                <a:gd name="connsiteX1340" fmla="*/ 2537931 w 2663946"/>
                <a:gd name="connsiteY1340" fmla="*/ 45227 h 349382"/>
                <a:gd name="connsiteX1341" fmla="*/ 2112934 w 2663946"/>
                <a:gd name="connsiteY1341" fmla="*/ 45227 h 349382"/>
                <a:gd name="connsiteX1342" fmla="*/ 2137730 w 2663946"/>
                <a:gd name="connsiteY1342" fmla="*/ 65436 h 349382"/>
                <a:gd name="connsiteX1343" fmla="*/ 2138209 w 2663946"/>
                <a:gd name="connsiteY1343" fmla="*/ 70194 h 349382"/>
                <a:gd name="connsiteX1344" fmla="*/ 2139628 w 2663946"/>
                <a:gd name="connsiteY1344" fmla="*/ 70194 h 349382"/>
                <a:gd name="connsiteX1345" fmla="*/ 2146081 w 2663946"/>
                <a:gd name="connsiteY1345" fmla="*/ 76480 h 349382"/>
                <a:gd name="connsiteX1346" fmla="*/ 2146081 w 2663946"/>
                <a:gd name="connsiteY1346" fmla="*/ 126202 h 349382"/>
                <a:gd name="connsiteX1347" fmla="*/ 2139628 w 2663946"/>
                <a:gd name="connsiteY1347" fmla="*/ 132488 h 349382"/>
                <a:gd name="connsiteX1348" fmla="*/ 2086241 w 2663946"/>
                <a:gd name="connsiteY1348" fmla="*/ 132488 h 349382"/>
                <a:gd name="connsiteX1349" fmla="*/ 2079787 w 2663946"/>
                <a:gd name="connsiteY1349" fmla="*/ 126202 h 349382"/>
                <a:gd name="connsiteX1350" fmla="*/ 2079787 w 2663946"/>
                <a:gd name="connsiteY1350" fmla="*/ 76480 h 349382"/>
                <a:gd name="connsiteX1351" fmla="*/ 2086241 w 2663946"/>
                <a:gd name="connsiteY1351" fmla="*/ 70194 h 349382"/>
                <a:gd name="connsiteX1352" fmla="*/ 2087075 w 2663946"/>
                <a:gd name="connsiteY1352" fmla="*/ 70194 h 349382"/>
                <a:gd name="connsiteX1353" fmla="*/ 2087659 w 2663946"/>
                <a:gd name="connsiteY1353" fmla="*/ 70194 h 349382"/>
                <a:gd name="connsiteX1354" fmla="*/ 2088139 w 2663946"/>
                <a:gd name="connsiteY1354" fmla="*/ 65436 h 349382"/>
                <a:gd name="connsiteX1355" fmla="*/ 2112934 w 2663946"/>
                <a:gd name="connsiteY1355" fmla="*/ 45227 h 349382"/>
                <a:gd name="connsiteX1356" fmla="*/ 1854966 w 2663946"/>
                <a:gd name="connsiteY1356" fmla="*/ 45227 h 349382"/>
                <a:gd name="connsiteX1357" fmla="*/ 1879762 w 2663946"/>
                <a:gd name="connsiteY1357" fmla="*/ 65436 h 349382"/>
                <a:gd name="connsiteX1358" fmla="*/ 1880241 w 2663946"/>
                <a:gd name="connsiteY1358" fmla="*/ 70194 h 349382"/>
                <a:gd name="connsiteX1359" fmla="*/ 1881660 w 2663946"/>
                <a:gd name="connsiteY1359" fmla="*/ 70194 h 349382"/>
                <a:gd name="connsiteX1360" fmla="*/ 1888113 w 2663946"/>
                <a:gd name="connsiteY1360" fmla="*/ 76480 h 349382"/>
                <a:gd name="connsiteX1361" fmla="*/ 1888113 w 2663946"/>
                <a:gd name="connsiteY1361" fmla="*/ 126202 h 349382"/>
                <a:gd name="connsiteX1362" fmla="*/ 1881660 w 2663946"/>
                <a:gd name="connsiteY1362" fmla="*/ 132488 h 349382"/>
                <a:gd name="connsiteX1363" fmla="*/ 1828273 w 2663946"/>
                <a:gd name="connsiteY1363" fmla="*/ 132488 h 349382"/>
                <a:gd name="connsiteX1364" fmla="*/ 1821819 w 2663946"/>
                <a:gd name="connsiteY1364" fmla="*/ 126202 h 349382"/>
                <a:gd name="connsiteX1365" fmla="*/ 1821819 w 2663946"/>
                <a:gd name="connsiteY1365" fmla="*/ 76480 h 349382"/>
                <a:gd name="connsiteX1366" fmla="*/ 1828273 w 2663946"/>
                <a:gd name="connsiteY1366" fmla="*/ 70194 h 349382"/>
                <a:gd name="connsiteX1367" fmla="*/ 1829107 w 2663946"/>
                <a:gd name="connsiteY1367" fmla="*/ 70194 h 349382"/>
                <a:gd name="connsiteX1368" fmla="*/ 1829691 w 2663946"/>
                <a:gd name="connsiteY1368" fmla="*/ 70194 h 349382"/>
                <a:gd name="connsiteX1369" fmla="*/ 1830171 w 2663946"/>
                <a:gd name="connsiteY1369" fmla="*/ 65436 h 349382"/>
                <a:gd name="connsiteX1370" fmla="*/ 1854966 w 2663946"/>
                <a:gd name="connsiteY1370" fmla="*/ 45227 h 349382"/>
                <a:gd name="connsiteX1371" fmla="*/ 1764027 w 2663946"/>
                <a:gd name="connsiteY1371" fmla="*/ 45227 h 349382"/>
                <a:gd name="connsiteX1372" fmla="*/ 1788823 w 2663946"/>
                <a:gd name="connsiteY1372" fmla="*/ 65436 h 349382"/>
                <a:gd name="connsiteX1373" fmla="*/ 1789302 w 2663946"/>
                <a:gd name="connsiteY1373" fmla="*/ 70194 h 349382"/>
                <a:gd name="connsiteX1374" fmla="*/ 1790721 w 2663946"/>
                <a:gd name="connsiteY1374" fmla="*/ 70194 h 349382"/>
                <a:gd name="connsiteX1375" fmla="*/ 1797174 w 2663946"/>
                <a:gd name="connsiteY1375" fmla="*/ 76480 h 349382"/>
                <a:gd name="connsiteX1376" fmla="*/ 1797174 w 2663946"/>
                <a:gd name="connsiteY1376" fmla="*/ 126202 h 349382"/>
                <a:gd name="connsiteX1377" fmla="*/ 1790721 w 2663946"/>
                <a:gd name="connsiteY1377" fmla="*/ 132488 h 349382"/>
                <a:gd name="connsiteX1378" fmla="*/ 1737333 w 2663946"/>
                <a:gd name="connsiteY1378" fmla="*/ 132488 h 349382"/>
                <a:gd name="connsiteX1379" fmla="*/ 1730880 w 2663946"/>
                <a:gd name="connsiteY1379" fmla="*/ 126202 h 349382"/>
                <a:gd name="connsiteX1380" fmla="*/ 1730880 w 2663946"/>
                <a:gd name="connsiteY1380" fmla="*/ 76480 h 349382"/>
                <a:gd name="connsiteX1381" fmla="*/ 1737333 w 2663946"/>
                <a:gd name="connsiteY1381" fmla="*/ 70194 h 349382"/>
                <a:gd name="connsiteX1382" fmla="*/ 1738168 w 2663946"/>
                <a:gd name="connsiteY1382" fmla="*/ 70194 h 349382"/>
                <a:gd name="connsiteX1383" fmla="*/ 1738752 w 2663946"/>
                <a:gd name="connsiteY1383" fmla="*/ 70194 h 349382"/>
                <a:gd name="connsiteX1384" fmla="*/ 1739232 w 2663946"/>
                <a:gd name="connsiteY1384" fmla="*/ 65436 h 349382"/>
                <a:gd name="connsiteX1385" fmla="*/ 1764027 w 2663946"/>
                <a:gd name="connsiteY1385" fmla="*/ 45227 h 349382"/>
                <a:gd name="connsiteX1386" fmla="*/ 1506059 w 2663946"/>
                <a:gd name="connsiteY1386" fmla="*/ 45227 h 349382"/>
                <a:gd name="connsiteX1387" fmla="*/ 1530855 w 2663946"/>
                <a:gd name="connsiteY1387" fmla="*/ 65436 h 349382"/>
                <a:gd name="connsiteX1388" fmla="*/ 1531334 w 2663946"/>
                <a:gd name="connsiteY1388" fmla="*/ 70194 h 349382"/>
                <a:gd name="connsiteX1389" fmla="*/ 1532753 w 2663946"/>
                <a:gd name="connsiteY1389" fmla="*/ 70194 h 349382"/>
                <a:gd name="connsiteX1390" fmla="*/ 1539206 w 2663946"/>
                <a:gd name="connsiteY1390" fmla="*/ 76480 h 349382"/>
                <a:gd name="connsiteX1391" fmla="*/ 1539206 w 2663946"/>
                <a:gd name="connsiteY1391" fmla="*/ 126202 h 349382"/>
                <a:gd name="connsiteX1392" fmla="*/ 1532753 w 2663946"/>
                <a:gd name="connsiteY1392" fmla="*/ 132488 h 349382"/>
                <a:gd name="connsiteX1393" fmla="*/ 1479365 w 2663946"/>
                <a:gd name="connsiteY1393" fmla="*/ 132488 h 349382"/>
                <a:gd name="connsiteX1394" fmla="*/ 1472912 w 2663946"/>
                <a:gd name="connsiteY1394" fmla="*/ 126202 h 349382"/>
                <a:gd name="connsiteX1395" fmla="*/ 1472912 w 2663946"/>
                <a:gd name="connsiteY1395" fmla="*/ 76480 h 349382"/>
                <a:gd name="connsiteX1396" fmla="*/ 1479365 w 2663946"/>
                <a:gd name="connsiteY1396" fmla="*/ 70194 h 349382"/>
                <a:gd name="connsiteX1397" fmla="*/ 1480200 w 2663946"/>
                <a:gd name="connsiteY1397" fmla="*/ 70194 h 349382"/>
                <a:gd name="connsiteX1398" fmla="*/ 1480784 w 2663946"/>
                <a:gd name="connsiteY1398" fmla="*/ 70194 h 349382"/>
                <a:gd name="connsiteX1399" fmla="*/ 1481264 w 2663946"/>
                <a:gd name="connsiteY1399" fmla="*/ 65436 h 349382"/>
                <a:gd name="connsiteX1400" fmla="*/ 1506059 w 2663946"/>
                <a:gd name="connsiteY1400" fmla="*/ 45227 h 349382"/>
                <a:gd name="connsiteX1401" fmla="*/ 1415120 w 2663946"/>
                <a:gd name="connsiteY1401" fmla="*/ 45227 h 349382"/>
                <a:gd name="connsiteX1402" fmla="*/ 1439916 w 2663946"/>
                <a:gd name="connsiteY1402" fmla="*/ 65436 h 349382"/>
                <a:gd name="connsiteX1403" fmla="*/ 1440395 w 2663946"/>
                <a:gd name="connsiteY1403" fmla="*/ 70194 h 349382"/>
                <a:gd name="connsiteX1404" fmla="*/ 1441814 w 2663946"/>
                <a:gd name="connsiteY1404" fmla="*/ 70194 h 349382"/>
                <a:gd name="connsiteX1405" fmla="*/ 1448267 w 2663946"/>
                <a:gd name="connsiteY1405" fmla="*/ 76480 h 349382"/>
                <a:gd name="connsiteX1406" fmla="*/ 1448267 w 2663946"/>
                <a:gd name="connsiteY1406" fmla="*/ 126202 h 349382"/>
                <a:gd name="connsiteX1407" fmla="*/ 1441814 w 2663946"/>
                <a:gd name="connsiteY1407" fmla="*/ 132488 h 349382"/>
                <a:gd name="connsiteX1408" fmla="*/ 1388426 w 2663946"/>
                <a:gd name="connsiteY1408" fmla="*/ 132488 h 349382"/>
                <a:gd name="connsiteX1409" fmla="*/ 1381973 w 2663946"/>
                <a:gd name="connsiteY1409" fmla="*/ 126202 h 349382"/>
                <a:gd name="connsiteX1410" fmla="*/ 1381973 w 2663946"/>
                <a:gd name="connsiteY1410" fmla="*/ 76480 h 349382"/>
                <a:gd name="connsiteX1411" fmla="*/ 1388426 w 2663946"/>
                <a:gd name="connsiteY1411" fmla="*/ 70194 h 349382"/>
                <a:gd name="connsiteX1412" fmla="*/ 1389261 w 2663946"/>
                <a:gd name="connsiteY1412" fmla="*/ 70194 h 349382"/>
                <a:gd name="connsiteX1413" fmla="*/ 1389845 w 2663946"/>
                <a:gd name="connsiteY1413" fmla="*/ 70194 h 349382"/>
                <a:gd name="connsiteX1414" fmla="*/ 1390325 w 2663946"/>
                <a:gd name="connsiteY1414" fmla="*/ 65436 h 349382"/>
                <a:gd name="connsiteX1415" fmla="*/ 1415120 w 2663946"/>
                <a:gd name="connsiteY1415" fmla="*/ 45227 h 349382"/>
                <a:gd name="connsiteX1416" fmla="*/ 1157152 w 2663946"/>
                <a:gd name="connsiteY1416" fmla="*/ 45227 h 349382"/>
                <a:gd name="connsiteX1417" fmla="*/ 1181948 w 2663946"/>
                <a:gd name="connsiteY1417" fmla="*/ 65436 h 349382"/>
                <a:gd name="connsiteX1418" fmla="*/ 1182427 w 2663946"/>
                <a:gd name="connsiteY1418" fmla="*/ 70194 h 349382"/>
                <a:gd name="connsiteX1419" fmla="*/ 1183846 w 2663946"/>
                <a:gd name="connsiteY1419" fmla="*/ 70194 h 349382"/>
                <a:gd name="connsiteX1420" fmla="*/ 1190299 w 2663946"/>
                <a:gd name="connsiteY1420" fmla="*/ 76480 h 349382"/>
                <a:gd name="connsiteX1421" fmla="*/ 1190299 w 2663946"/>
                <a:gd name="connsiteY1421" fmla="*/ 126202 h 349382"/>
                <a:gd name="connsiteX1422" fmla="*/ 1183846 w 2663946"/>
                <a:gd name="connsiteY1422" fmla="*/ 132488 h 349382"/>
                <a:gd name="connsiteX1423" fmla="*/ 1130458 w 2663946"/>
                <a:gd name="connsiteY1423" fmla="*/ 132488 h 349382"/>
                <a:gd name="connsiteX1424" fmla="*/ 1124005 w 2663946"/>
                <a:gd name="connsiteY1424" fmla="*/ 126202 h 349382"/>
                <a:gd name="connsiteX1425" fmla="*/ 1124005 w 2663946"/>
                <a:gd name="connsiteY1425" fmla="*/ 76480 h 349382"/>
                <a:gd name="connsiteX1426" fmla="*/ 1130458 w 2663946"/>
                <a:gd name="connsiteY1426" fmla="*/ 70194 h 349382"/>
                <a:gd name="connsiteX1427" fmla="*/ 1131293 w 2663946"/>
                <a:gd name="connsiteY1427" fmla="*/ 70194 h 349382"/>
                <a:gd name="connsiteX1428" fmla="*/ 1131877 w 2663946"/>
                <a:gd name="connsiteY1428" fmla="*/ 70194 h 349382"/>
                <a:gd name="connsiteX1429" fmla="*/ 1132357 w 2663946"/>
                <a:gd name="connsiteY1429" fmla="*/ 65436 h 349382"/>
                <a:gd name="connsiteX1430" fmla="*/ 1157152 w 2663946"/>
                <a:gd name="connsiteY1430" fmla="*/ 45227 h 349382"/>
                <a:gd name="connsiteX1431" fmla="*/ 732156 w 2663946"/>
                <a:gd name="connsiteY1431" fmla="*/ 45227 h 349382"/>
                <a:gd name="connsiteX1432" fmla="*/ 756951 w 2663946"/>
                <a:gd name="connsiteY1432" fmla="*/ 65436 h 349382"/>
                <a:gd name="connsiteX1433" fmla="*/ 757431 w 2663946"/>
                <a:gd name="connsiteY1433" fmla="*/ 70194 h 349382"/>
                <a:gd name="connsiteX1434" fmla="*/ 758849 w 2663946"/>
                <a:gd name="connsiteY1434" fmla="*/ 70194 h 349382"/>
                <a:gd name="connsiteX1435" fmla="*/ 765303 w 2663946"/>
                <a:gd name="connsiteY1435" fmla="*/ 76480 h 349382"/>
                <a:gd name="connsiteX1436" fmla="*/ 765303 w 2663946"/>
                <a:gd name="connsiteY1436" fmla="*/ 126202 h 349382"/>
                <a:gd name="connsiteX1437" fmla="*/ 758849 w 2663946"/>
                <a:gd name="connsiteY1437" fmla="*/ 132488 h 349382"/>
                <a:gd name="connsiteX1438" fmla="*/ 705462 w 2663946"/>
                <a:gd name="connsiteY1438" fmla="*/ 132488 h 349382"/>
                <a:gd name="connsiteX1439" fmla="*/ 699009 w 2663946"/>
                <a:gd name="connsiteY1439" fmla="*/ 126202 h 349382"/>
                <a:gd name="connsiteX1440" fmla="*/ 699009 w 2663946"/>
                <a:gd name="connsiteY1440" fmla="*/ 76480 h 349382"/>
                <a:gd name="connsiteX1441" fmla="*/ 705462 w 2663946"/>
                <a:gd name="connsiteY1441" fmla="*/ 70194 h 349382"/>
                <a:gd name="connsiteX1442" fmla="*/ 706296 w 2663946"/>
                <a:gd name="connsiteY1442" fmla="*/ 70194 h 349382"/>
                <a:gd name="connsiteX1443" fmla="*/ 706881 w 2663946"/>
                <a:gd name="connsiteY1443" fmla="*/ 70194 h 349382"/>
                <a:gd name="connsiteX1444" fmla="*/ 707360 w 2663946"/>
                <a:gd name="connsiteY1444" fmla="*/ 65436 h 349382"/>
                <a:gd name="connsiteX1445" fmla="*/ 732156 w 2663946"/>
                <a:gd name="connsiteY1445" fmla="*/ 45227 h 349382"/>
                <a:gd name="connsiteX1446" fmla="*/ 641217 w 2663946"/>
                <a:gd name="connsiteY1446" fmla="*/ 45227 h 349382"/>
                <a:gd name="connsiteX1447" fmla="*/ 666012 w 2663946"/>
                <a:gd name="connsiteY1447" fmla="*/ 65436 h 349382"/>
                <a:gd name="connsiteX1448" fmla="*/ 666492 w 2663946"/>
                <a:gd name="connsiteY1448" fmla="*/ 70194 h 349382"/>
                <a:gd name="connsiteX1449" fmla="*/ 667910 w 2663946"/>
                <a:gd name="connsiteY1449" fmla="*/ 70194 h 349382"/>
                <a:gd name="connsiteX1450" fmla="*/ 674364 w 2663946"/>
                <a:gd name="connsiteY1450" fmla="*/ 76480 h 349382"/>
                <a:gd name="connsiteX1451" fmla="*/ 674364 w 2663946"/>
                <a:gd name="connsiteY1451" fmla="*/ 126202 h 349382"/>
                <a:gd name="connsiteX1452" fmla="*/ 667910 w 2663946"/>
                <a:gd name="connsiteY1452" fmla="*/ 132488 h 349382"/>
                <a:gd name="connsiteX1453" fmla="*/ 614523 w 2663946"/>
                <a:gd name="connsiteY1453" fmla="*/ 132488 h 349382"/>
                <a:gd name="connsiteX1454" fmla="*/ 608070 w 2663946"/>
                <a:gd name="connsiteY1454" fmla="*/ 126202 h 349382"/>
                <a:gd name="connsiteX1455" fmla="*/ 608070 w 2663946"/>
                <a:gd name="connsiteY1455" fmla="*/ 76480 h 349382"/>
                <a:gd name="connsiteX1456" fmla="*/ 614523 w 2663946"/>
                <a:gd name="connsiteY1456" fmla="*/ 70194 h 349382"/>
                <a:gd name="connsiteX1457" fmla="*/ 615358 w 2663946"/>
                <a:gd name="connsiteY1457" fmla="*/ 70194 h 349382"/>
                <a:gd name="connsiteX1458" fmla="*/ 615942 w 2663946"/>
                <a:gd name="connsiteY1458" fmla="*/ 70194 h 349382"/>
                <a:gd name="connsiteX1459" fmla="*/ 616422 w 2663946"/>
                <a:gd name="connsiteY1459" fmla="*/ 65436 h 349382"/>
                <a:gd name="connsiteX1460" fmla="*/ 641217 w 2663946"/>
                <a:gd name="connsiteY1460" fmla="*/ 45227 h 349382"/>
                <a:gd name="connsiteX1461" fmla="*/ 459266 w 2663946"/>
                <a:gd name="connsiteY1461" fmla="*/ 45227 h 349382"/>
                <a:gd name="connsiteX1462" fmla="*/ 484061 w 2663946"/>
                <a:gd name="connsiteY1462" fmla="*/ 65436 h 349382"/>
                <a:gd name="connsiteX1463" fmla="*/ 484541 w 2663946"/>
                <a:gd name="connsiteY1463" fmla="*/ 70194 h 349382"/>
                <a:gd name="connsiteX1464" fmla="*/ 485959 w 2663946"/>
                <a:gd name="connsiteY1464" fmla="*/ 70194 h 349382"/>
                <a:gd name="connsiteX1465" fmla="*/ 492413 w 2663946"/>
                <a:gd name="connsiteY1465" fmla="*/ 76480 h 349382"/>
                <a:gd name="connsiteX1466" fmla="*/ 492413 w 2663946"/>
                <a:gd name="connsiteY1466" fmla="*/ 126202 h 349382"/>
                <a:gd name="connsiteX1467" fmla="*/ 485959 w 2663946"/>
                <a:gd name="connsiteY1467" fmla="*/ 132488 h 349382"/>
                <a:gd name="connsiteX1468" fmla="*/ 432572 w 2663946"/>
                <a:gd name="connsiteY1468" fmla="*/ 132488 h 349382"/>
                <a:gd name="connsiteX1469" fmla="*/ 426119 w 2663946"/>
                <a:gd name="connsiteY1469" fmla="*/ 126202 h 349382"/>
                <a:gd name="connsiteX1470" fmla="*/ 426119 w 2663946"/>
                <a:gd name="connsiteY1470" fmla="*/ 76480 h 349382"/>
                <a:gd name="connsiteX1471" fmla="*/ 432572 w 2663946"/>
                <a:gd name="connsiteY1471" fmla="*/ 70194 h 349382"/>
                <a:gd name="connsiteX1472" fmla="*/ 433406 w 2663946"/>
                <a:gd name="connsiteY1472" fmla="*/ 70194 h 349382"/>
                <a:gd name="connsiteX1473" fmla="*/ 433991 w 2663946"/>
                <a:gd name="connsiteY1473" fmla="*/ 70194 h 349382"/>
                <a:gd name="connsiteX1474" fmla="*/ 434470 w 2663946"/>
                <a:gd name="connsiteY1474" fmla="*/ 65436 h 349382"/>
                <a:gd name="connsiteX1475" fmla="*/ 459266 w 2663946"/>
                <a:gd name="connsiteY1475" fmla="*/ 45227 h 349382"/>
                <a:gd name="connsiteX1476" fmla="*/ 15475 w 2663946"/>
                <a:gd name="connsiteY1476" fmla="*/ 17002 h 349382"/>
                <a:gd name="connsiteX1477" fmla="*/ 40350 w 2663946"/>
                <a:gd name="connsiteY1477" fmla="*/ 1050 h 349382"/>
                <a:gd name="connsiteX1478" fmla="*/ 40891 w 2663946"/>
                <a:gd name="connsiteY1478" fmla="*/ 1590 h 349382"/>
                <a:gd name="connsiteX1479" fmla="*/ 48191 w 2663946"/>
                <a:gd name="connsiteY1479" fmla="*/ 1590 h 349382"/>
                <a:gd name="connsiteX1480" fmla="*/ 52247 w 2663946"/>
                <a:gd name="connsiteY1480" fmla="*/ 2672 h 349382"/>
                <a:gd name="connsiteX1481" fmla="*/ 56032 w 2663946"/>
                <a:gd name="connsiteY1481" fmla="*/ 9431 h 349382"/>
                <a:gd name="connsiteX1482" fmla="*/ 53328 w 2663946"/>
                <a:gd name="connsiteY1482" fmla="*/ 15109 h 349382"/>
                <a:gd name="connsiteX1483" fmla="*/ 49273 w 2663946"/>
                <a:gd name="connsiteY1483" fmla="*/ 17002 h 349382"/>
                <a:gd name="connsiteX1484" fmla="*/ 49002 w 2663946"/>
                <a:gd name="connsiteY1484" fmla="*/ 17002 h 349382"/>
                <a:gd name="connsiteX1485" fmla="*/ 48732 w 2663946"/>
                <a:gd name="connsiteY1485" fmla="*/ 17002 h 349382"/>
                <a:gd name="connsiteX1486" fmla="*/ 48191 w 2663946"/>
                <a:gd name="connsiteY1486" fmla="*/ 17002 h 349382"/>
                <a:gd name="connsiteX1487" fmla="*/ 16016 w 2663946"/>
                <a:gd name="connsiteY1487" fmla="*/ 17002 h 349382"/>
                <a:gd name="connsiteX1488" fmla="*/ 15475 w 2663946"/>
                <a:gd name="connsiteY1488" fmla="*/ 17002 h 349382"/>
                <a:gd name="connsiteX0" fmla="*/ 2632966 w 2663946"/>
                <a:gd name="connsiteY0" fmla="*/ 288276 h 349382"/>
                <a:gd name="connsiteX1" fmla="*/ 2621414 w 2663946"/>
                <a:gd name="connsiteY1" fmla="*/ 290709 h 349382"/>
                <a:gd name="connsiteX2" fmla="*/ 2618218 w 2663946"/>
                <a:gd name="connsiteY2" fmla="*/ 294224 h 349382"/>
                <a:gd name="connsiteX3" fmla="*/ 2616006 w 2663946"/>
                <a:gd name="connsiteY3" fmla="*/ 298009 h 349382"/>
                <a:gd name="connsiteX4" fmla="*/ 2615023 w 2663946"/>
                <a:gd name="connsiteY4" fmla="*/ 300713 h 349382"/>
                <a:gd name="connsiteX5" fmla="*/ 2614039 w 2663946"/>
                <a:gd name="connsiteY5" fmla="*/ 304769 h 349382"/>
                <a:gd name="connsiteX6" fmla="*/ 2613056 w 2663946"/>
                <a:gd name="connsiteY6" fmla="*/ 311799 h 349382"/>
                <a:gd name="connsiteX7" fmla="*/ 2614039 w 2663946"/>
                <a:gd name="connsiteY7" fmla="*/ 319099 h 349382"/>
                <a:gd name="connsiteX8" fmla="*/ 2615269 w 2663946"/>
                <a:gd name="connsiteY8" fmla="*/ 322884 h 349382"/>
                <a:gd name="connsiteX9" fmla="*/ 2617481 w 2663946"/>
                <a:gd name="connsiteY9" fmla="*/ 327210 h 349382"/>
                <a:gd name="connsiteX10" fmla="*/ 2620922 w 2663946"/>
                <a:gd name="connsiteY10" fmla="*/ 331537 h 349382"/>
                <a:gd name="connsiteX11" fmla="*/ 2625346 w 2663946"/>
                <a:gd name="connsiteY11" fmla="*/ 334240 h 349382"/>
                <a:gd name="connsiteX12" fmla="*/ 2637637 w 2663946"/>
                <a:gd name="connsiteY12" fmla="*/ 331807 h 349382"/>
                <a:gd name="connsiteX13" fmla="*/ 2640832 w 2663946"/>
                <a:gd name="connsiteY13" fmla="*/ 328292 h 349382"/>
                <a:gd name="connsiteX14" fmla="*/ 2643290 w 2663946"/>
                <a:gd name="connsiteY14" fmla="*/ 323966 h 349382"/>
                <a:gd name="connsiteX15" fmla="*/ 2644273 w 2663946"/>
                <a:gd name="connsiteY15" fmla="*/ 321803 h 349382"/>
                <a:gd name="connsiteX16" fmla="*/ 2645502 w 2663946"/>
                <a:gd name="connsiteY16" fmla="*/ 317477 h 349382"/>
                <a:gd name="connsiteX17" fmla="*/ 2645011 w 2663946"/>
                <a:gd name="connsiteY17" fmla="*/ 303687 h 349382"/>
                <a:gd name="connsiteX18" fmla="*/ 2644027 w 2663946"/>
                <a:gd name="connsiteY18" fmla="*/ 300713 h 349382"/>
                <a:gd name="connsiteX19" fmla="*/ 2642799 w 2663946"/>
                <a:gd name="connsiteY19" fmla="*/ 297739 h 349382"/>
                <a:gd name="connsiteX20" fmla="*/ 2640586 w 2663946"/>
                <a:gd name="connsiteY20" fmla="*/ 294224 h 349382"/>
                <a:gd name="connsiteX21" fmla="*/ 2636899 w 2663946"/>
                <a:gd name="connsiteY21" fmla="*/ 290439 h 349382"/>
                <a:gd name="connsiteX22" fmla="*/ 2632966 w 2663946"/>
                <a:gd name="connsiteY22" fmla="*/ 288276 h 349382"/>
                <a:gd name="connsiteX23" fmla="*/ 2627559 w 2663946"/>
                <a:gd name="connsiteY23" fmla="*/ 272323 h 349382"/>
                <a:gd name="connsiteX24" fmla="*/ 2639849 w 2663946"/>
                <a:gd name="connsiteY24" fmla="*/ 274486 h 349382"/>
                <a:gd name="connsiteX25" fmla="*/ 2647223 w 2663946"/>
                <a:gd name="connsiteY25" fmla="*/ 279083 h 349382"/>
                <a:gd name="connsiteX26" fmla="*/ 2650664 w 2663946"/>
                <a:gd name="connsiteY26" fmla="*/ 282327 h 349382"/>
                <a:gd name="connsiteX27" fmla="*/ 2654106 w 2663946"/>
                <a:gd name="connsiteY27" fmla="*/ 286653 h 349382"/>
                <a:gd name="connsiteX28" fmla="*/ 2656072 w 2663946"/>
                <a:gd name="connsiteY28" fmla="*/ 290168 h 349382"/>
                <a:gd name="connsiteX29" fmla="*/ 2658284 w 2663946"/>
                <a:gd name="connsiteY29" fmla="*/ 295576 h 349382"/>
                <a:gd name="connsiteX30" fmla="*/ 2659267 w 2663946"/>
                <a:gd name="connsiteY30" fmla="*/ 299091 h 349382"/>
                <a:gd name="connsiteX31" fmla="*/ 2660251 w 2663946"/>
                <a:gd name="connsiteY31" fmla="*/ 304228 h 349382"/>
                <a:gd name="connsiteX32" fmla="*/ 2660005 w 2663946"/>
                <a:gd name="connsiteY32" fmla="*/ 318558 h 349382"/>
                <a:gd name="connsiteX33" fmla="*/ 2659022 w 2663946"/>
                <a:gd name="connsiteY33" fmla="*/ 323425 h 349382"/>
                <a:gd name="connsiteX34" fmla="*/ 2657792 w 2663946"/>
                <a:gd name="connsiteY34" fmla="*/ 327210 h 349382"/>
                <a:gd name="connsiteX35" fmla="*/ 2656809 w 2663946"/>
                <a:gd name="connsiteY35" fmla="*/ 329644 h 349382"/>
                <a:gd name="connsiteX36" fmla="*/ 2654597 w 2663946"/>
                <a:gd name="connsiteY36" fmla="*/ 333970 h 349382"/>
                <a:gd name="connsiteX37" fmla="*/ 2652385 w 2663946"/>
                <a:gd name="connsiteY37" fmla="*/ 337214 h 349382"/>
                <a:gd name="connsiteX38" fmla="*/ 2648944 w 2663946"/>
                <a:gd name="connsiteY38" fmla="*/ 341000 h 349382"/>
                <a:gd name="connsiteX39" fmla="*/ 2645748 w 2663946"/>
                <a:gd name="connsiteY39" fmla="*/ 343703 h 349382"/>
                <a:gd name="connsiteX40" fmla="*/ 2640095 w 2663946"/>
                <a:gd name="connsiteY40" fmla="*/ 346948 h 349382"/>
                <a:gd name="connsiteX41" fmla="*/ 2632229 w 2663946"/>
                <a:gd name="connsiteY41" fmla="*/ 349111 h 349382"/>
                <a:gd name="connsiteX42" fmla="*/ 2631000 w 2663946"/>
                <a:gd name="connsiteY42" fmla="*/ 349382 h 349382"/>
                <a:gd name="connsiteX43" fmla="*/ 2626821 w 2663946"/>
                <a:gd name="connsiteY43" fmla="*/ 349382 h 349382"/>
                <a:gd name="connsiteX44" fmla="*/ 2626576 w 2663946"/>
                <a:gd name="connsiteY44" fmla="*/ 349382 h 349382"/>
                <a:gd name="connsiteX45" fmla="*/ 2613548 w 2663946"/>
                <a:gd name="connsiteY45" fmla="*/ 344515 h 349382"/>
                <a:gd name="connsiteX46" fmla="*/ 2608878 w 2663946"/>
                <a:gd name="connsiteY46" fmla="*/ 340459 h 349382"/>
                <a:gd name="connsiteX47" fmla="*/ 2605682 w 2663946"/>
                <a:gd name="connsiteY47" fmla="*/ 336674 h 349382"/>
                <a:gd name="connsiteX48" fmla="*/ 2603470 w 2663946"/>
                <a:gd name="connsiteY48" fmla="*/ 333159 h 349382"/>
                <a:gd name="connsiteX49" fmla="*/ 2601258 w 2663946"/>
                <a:gd name="connsiteY49" fmla="*/ 328833 h 349382"/>
                <a:gd name="connsiteX50" fmla="*/ 2600029 w 2663946"/>
                <a:gd name="connsiteY50" fmla="*/ 325858 h 349382"/>
                <a:gd name="connsiteX51" fmla="*/ 2599046 w 2663946"/>
                <a:gd name="connsiteY51" fmla="*/ 322614 h 349382"/>
                <a:gd name="connsiteX52" fmla="*/ 2597816 w 2663946"/>
                <a:gd name="connsiteY52" fmla="*/ 316936 h 349382"/>
                <a:gd name="connsiteX53" fmla="*/ 2597571 w 2663946"/>
                <a:gd name="connsiteY53" fmla="*/ 313962 h 349382"/>
                <a:gd name="connsiteX54" fmla="*/ 2597816 w 2663946"/>
                <a:gd name="connsiteY54" fmla="*/ 314232 h 349382"/>
                <a:gd name="connsiteX55" fmla="*/ 2597816 w 2663946"/>
                <a:gd name="connsiteY55" fmla="*/ 308554 h 349382"/>
                <a:gd name="connsiteX56" fmla="*/ 2597816 w 2663946"/>
                <a:gd name="connsiteY56" fmla="*/ 308284 h 349382"/>
                <a:gd name="connsiteX57" fmla="*/ 2598308 w 2663946"/>
                <a:gd name="connsiteY57" fmla="*/ 303687 h 349382"/>
                <a:gd name="connsiteX58" fmla="*/ 2599537 w 2663946"/>
                <a:gd name="connsiteY58" fmla="*/ 298280 h 349382"/>
                <a:gd name="connsiteX59" fmla="*/ 2600520 w 2663946"/>
                <a:gd name="connsiteY59" fmla="*/ 295035 h 349382"/>
                <a:gd name="connsiteX60" fmla="*/ 2602732 w 2663946"/>
                <a:gd name="connsiteY60" fmla="*/ 289898 h 349382"/>
                <a:gd name="connsiteX61" fmla="*/ 2604945 w 2663946"/>
                <a:gd name="connsiteY61" fmla="*/ 286113 h 349382"/>
                <a:gd name="connsiteX62" fmla="*/ 2607157 w 2663946"/>
                <a:gd name="connsiteY62" fmla="*/ 283138 h 349382"/>
                <a:gd name="connsiteX63" fmla="*/ 2609369 w 2663946"/>
                <a:gd name="connsiteY63" fmla="*/ 280705 h 349382"/>
                <a:gd name="connsiteX64" fmla="*/ 2614039 w 2663946"/>
                <a:gd name="connsiteY64" fmla="*/ 276920 h 349382"/>
                <a:gd name="connsiteX65" fmla="*/ 2617972 w 2663946"/>
                <a:gd name="connsiteY65" fmla="*/ 274757 h 349382"/>
                <a:gd name="connsiteX66" fmla="*/ 2627559 w 2663946"/>
                <a:gd name="connsiteY66" fmla="*/ 272323 h 349382"/>
                <a:gd name="connsiteX67" fmla="*/ 2631061 w 2663946"/>
                <a:gd name="connsiteY67" fmla="*/ 208413 h 349382"/>
                <a:gd name="connsiteX68" fmla="*/ 2621591 w 2663946"/>
                <a:gd name="connsiteY68" fmla="*/ 217687 h 349382"/>
                <a:gd name="connsiteX69" fmla="*/ 2626545 w 2663946"/>
                <a:gd name="connsiteY69" fmla="*/ 225844 h 349382"/>
                <a:gd name="connsiteX70" fmla="*/ 2626545 w 2663946"/>
                <a:gd name="connsiteY70" fmla="*/ 234239 h 349382"/>
                <a:gd name="connsiteX71" fmla="*/ 2631061 w 2663946"/>
                <a:gd name="connsiteY71" fmla="*/ 238662 h 349382"/>
                <a:gd name="connsiteX72" fmla="*/ 2635578 w 2663946"/>
                <a:gd name="connsiteY72" fmla="*/ 234239 h 349382"/>
                <a:gd name="connsiteX73" fmla="*/ 2635578 w 2663946"/>
                <a:gd name="connsiteY73" fmla="*/ 225844 h 349382"/>
                <a:gd name="connsiteX74" fmla="*/ 2640532 w 2663946"/>
                <a:gd name="connsiteY74" fmla="*/ 217687 h 349382"/>
                <a:gd name="connsiteX75" fmla="*/ 2631061 w 2663946"/>
                <a:gd name="connsiteY75" fmla="*/ 208413 h 349382"/>
                <a:gd name="connsiteX76" fmla="*/ 2630799 w 2663946"/>
                <a:gd name="connsiteY76" fmla="*/ 169696 h 349382"/>
                <a:gd name="connsiteX77" fmla="*/ 2619139 w 2663946"/>
                <a:gd name="connsiteY77" fmla="*/ 177425 h 349382"/>
                <a:gd name="connsiteX78" fmla="*/ 2618214 w 2663946"/>
                <a:gd name="connsiteY78" fmla="*/ 182008 h 349382"/>
                <a:gd name="connsiteX79" fmla="*/ 2621454 w 2663946"/>
                <a:gd name="connsiteY79" fmla="*/ 182008 h 349382"/>
                <a:gd name="connsiteX80" fmla="*/ 2639871 w 2663946"/>
                <a:gd name="connsiteY80" fmla="*/ 182008 h 349382"/>
                <a:gd name="connsiteX81" fmla="*/ 2643385 w 2663946"/>
                <a:gd name="connsiteY81" fmla="*/ 182008 h 349382"/>
                <a:gd name="connsiteX82" fmla="*/ 2642460 w 2663946"/>
                <a:gd name="connsiteY82" fmla="*/ 177425 h 349382"/>
                <a:gd name="connsiteX83" fmla="*/ 2630799 w 2663946"/>
                <a:gd name="connsiteY83" fmla="*/ 169696 h 349382"/>
                <a:gd name="connsiteX84" fmla="*/ 2630799 w 2663946"/>
                <a:gd name="connsiteY84" fmla="*/ 157041 h 349382"/>
                <a:gd name="connsiteX85" fmla="*/ 2655595 w 2663946"/>
                <a:gd name="connsiteY85" fmla="*/ 177250 h 349382"/>
                <a:gd name="connsiteX86" fmla="*/ 2656074 w 2663946"/>
                <a:gd name="connsiteY86" fmla="*/ 182008 h 349382"/>
                <a:gd name="connsiteX87" fmla="*/ 2657493 w 2663946"/>
                <a:gd name="connsiteY87" fmla="*/ 182008 h 349382"/>
                <a:gd name="connsiteX88" fmla="*/ 2663946 w 2663946"/>
                <a:gd name="connsiteY88" fmla="*/ 188294 h 349382"/>
                <a:gd name="connsiteX89" fmla="*/ 2663946 w 2663946"/>
                <a:gd name="connsiteY89" fmla="*/ 238016 h 349382"/>
                <a:gd name="connsiteX90" fmla="*/ 2657493 w 2663946"/>
                <a:gd name="connsiteY90" fmla="*/ 244302 h 349382"/>
                <a:gd name="connsiteX91" fmla="*/ 2604106 w 2663946"/>
                <a:gd name="connsiteY91" fmla="*/ 244302 h 349382"/>
                <a:gd name="connsiteX92" fmla="*/ 2597652 w 2663946"/>
                <a:gd name="connsiteY92" fmla="*/ 238016 h 349382"/>
                <a:gd name="connsiteX93" fmla="*/ 2597652 w 2663946"/>
                <a:gd name="connsiteY93" fmla="*/ 188294 h 349382"/>
                <a:gd name="connsiteX94" fmla="*/ 2604106 w 2663946"/>
                <a:gd name="connsiteY94" fmla="*/ 182008 h 349382"/>
                <a:gd name="connsiteX95" fmla="*/ 2604940 w 2663946"/>
                <a:gd name="connsiteY95" fmla="*/ 182008 h 349382"/>
                <a:gd name="connsiteX96" fmla="*/ 2605524 w 2663946"/>
                <a:gd name="connsiteY96" fmla="*/ 182008 h 349382"/>
                <a:gd name="connsiteX97" fmla="*/ 2606004 w 2663946"/>
                <a:gd name="connsiteY97" fmla="*/ 177250 h 349382"/>
                <a:gd name="connsiteX98" fmla="*/ 2630799 w 2663946"/>
                <a:gd name="connsiteY98" fmla="*/ 157041 h 349382"/>
                <a:gd name="connsiteX99" fmla="*/ 33409 w 2663946"/>
                <a:gd name="connsiteY99" fmla="*/ 104187 h 349382"/>
                <a:gd name="connsiteX100" fmla="*/ 23938 w 2663946"/>
                <a:gd name="connsiteY100" fmla="*/ 113461 h 349382"/>
                <a:gd name="connsiteX101" fmla="*/ 28892 w 2663946"/>
                <a:gd name="connsiteY101" fmla="*/ 121618 h 349382"/>
                <a:gd name="connsiteX102" fmla="*/ 28892 w 2663946"/>
                <a:gd name="connsiteY102" fmla="*/ 130013 h 349382"/>
                <a:gd name="connsiteX103" fmla="*/ 33409 w 2663946"/>
                <a:gd name="connsiteY103" fmla="*/ 134436 h 349382"/>
                <a:gd name="connsiteX104" fmla="*/ 37926 w 2663946"/>
                <a:gd name="connsiteY104" fmla="*/ 130013 h 349382"/>
                <a:gd name="connsiteX105" fmla="*/ 37926 w 2663946"/>
                <a:gd name="connsiteY105" fmla="*/ 121618 h 349382"/>
                <a:gd name="connsiteX106" fmla="*/ 42880 w 2663946"/>
                <a:gd name="connsiteY106" fmla="*/ 113461 h 349382"/>
                <a:gd name="connsiteX107" fmla="*/ 33409 w 2663946"/>
                <a:gd name="connsiteY107" fmla="*/ 104187 h 349382"/>
                <a:gd name="connsiteX108" fmla="*/ 2538193 w 2663946"/>
                <a:gd name="connsiteY108" fmla="*/ 96599 h 349382"/>
                <a:gd name="connsiteX109" fmla="*/ 2528723 w 2663946"/>
                <a:gd name="connsiteY109" fmla="*/ 105873 h 349382"/>
                <a:gd name="connsiteX110" fmla="*/ 2533677 w 2663946"/>
                <a:gd name="connsiteY110" fmla="*/ 114030 h 349382"/>
                <a:gd name="connsiteX111" fmla="*/ 2533677 w 2663946"/>
                <a:gd name="connsiteY111" fmla="*/ 122425 h 349382"/>
                <a:gd name="connsiteX112" fmla="*/ 2538193 w 2663946"/>
                <a:gd name="connsiteY112" fmla="*/ 126848 h 349382"/>
                <a:gd name="connsiteX113" fmla="*/ 2542710 w 2663946"/>
                <a:gd name="connsiteY113" fmla="*/ 122425 h 349382"/>
                <a:gd name="connsiteX114" fmla="*/ 2542710 w 2663946"/>
                <a:gd name="connsiteY114" fmla="*/ 114030 h 349382"/>
                <a:gd name="connsiteX115" fmla="*/ 2547664 w 2663946"/>
                <a:gd name="connsiteY115" fmla="*/ 105873 h 349382"/>
                <a:gd name="connsiteX116" fmla="*/ 2538193 w 2663946"/>
                <a:gd name="connsiteY116" fmla="*/ 96599 h 349382"/>
                <a:gd name="connsiteX117" fmla="*/ 2113196 w 2663946"/>
                <a:gd name="connsiteY117" fmla="*/ 96599 h 349382"/>
                <a:gd name="connsiteX118" fmla="*/ 2103726 w 2663946"/>
                <a:gd name="connsiteY118" fmla="*/ 105873 h 349382"/>
                <a:gd name="connsiteX119" fmla="*/ 2108680 w 2663946"/>
                <a:gd name="connsiteY119" fmla="*/ 114030 h 349382"/>
                <a:gd name="connsiteX120" fmla="*/ 2108680 w 2663946"/>
                <a:gd name="connsiteY120" fmla="*/ 122425 h 349382"/>
                <a:gd name="connsiteX121" fmla="*/ 2113196 w 2663946"/>
                <a:gd name="connsiteY121" fmla="*/ 126848 h 349382"/>
                <a:gd name="connsiteX122" fmla="*/ 2117713 w 2663946"/>
                <a:gd name="connsiteY122" fmla="*/ 122425 h 349382"/>
                <a:gd name="connsiteX123" fmla="*/ 2117713 w 2663946"/>
                <a:gd name="connsiteY123" fmla="*/ 114030 h 349382"/>
                <a:gd name="connsiteX124" fmla="*/ 2122667 w 2663946"/>
                <a:gd name="connsiteY124" fmla="*/ 105873 h 349382"/>
                <a:gd name="connsiteX125" fmla="*/ 2113196 w 2663946"/>
                <a:gd name="connsiteY125" fmla="*/ 96599 h 349382"/>
                <a:gd name="connsiteX126" fmla="*/ 1855228 w 2663946"/>
                <a:gd name="connsiteY126" fmla="*/ 96599 h 349382"/>
                <a:gd name="connsiteX127" fmla="*/ 1845758 w 2663946"/>
                <a:gd name="connsiteY127" fmla="*/ 105873 h 349382"/>
                <a:gd name="connsiteX128" fmla="*/ 1850712 w 2663946"/>
                <a:gd name="connsiteY128" fmla="*/ 114030 h 349382"/>
                <a:gd name="connsiteX129" fmla="*/ 1850712 w 2663946"/>
                <a:gd name="connsiteY129" fmla="*/ 122425 h 349382"/>
                <a:gd name="connsiteX130" fmla="*/ 1855228 w 2663946"/>
                <a:gd name="connsiteY130" fmla="*/ 126848 h 349382"/>
                <a:gd name="connsiteX131" fmla="*/ 1859745 w 2663946"/>
                <a:gd name="connsiteY131" fmla="*/ 122425 h 349382"/>
                <a:gd name="connsiteX132" fmla="*/ 1859745 w 2663946"/>
                <a:gd name="connsiteY132" fmla="*/ 114030 h 349382"/>
                <a:gd name="connsiteX133" fmla="*/ 1864699 w 2663946"/>
                <a:gd name="connsiteY133" fmla="*/ 105873 h 349382"/>
                <a:gd name="connsiteX134" fmla="*/ 1855228 w 2663946"/>
                <a:gd name="connsiteY134" fmla="*/ 96599 h 349382"/>
                <a:gd name="connsiteX135" fmla="*/ 1764289 w 2663946"/>
                <a:gd name="connsiteY135" fmla="*/ 96599 h 349382"/>
                <a:gd name="connsiteX136" fmla="*/ 1754819 w 2663946"/>
                <a:gd name="connsiteY136" fmla="*/ 105873 h 349382"/>
                <a:gd name="connsiteX137" fmla="*/ 1759773 w 2663946"/>
                <a:gd name="connsiteY137" fmla="*/ 114030 h 349382"/>
                <a:gd name="connsiteX138" fmla="*/ 1759773 w 2663946"/>
                <a:gd name="connsiteY138" fmla="*/ 122425 h 349382"/>
                <a:gd name="connsiteX139" fmla="*/ 1764289 w 2663946"/>
                <a:gd name="connsiteY139" fmla="*/ 126848 h 349382"/>
                <a:gd name="connsiteX140" fmla="*/ 1768806 w 2663946"/>
                <a:gd name="connsiteY140" fmla="*/ 122425 h 349382"/>
                <a:gd name="connsiteX141" fmla="*/ 1768806 w 2663946"/>
                <a:gd name="connsiteY141" fmla="*/ 114030 h 349382"/>
                <a:gd name="connsiteX142" fmla="*/ 1773760 w 2663946"/>
                <a:gd name="connsiteY142" fmla="*/ 105873 h 349382"/>
                <a:gd name="connsiteX143" fmla="*/ 1764289 w 2663946"/>
                <a:gd name="connsiteY143" fmla="*/ 96599 h 349382"/>
                <a:gd name="connsiteX144" fmla="*/ 1506321 w 2663946"/>
                <a:gd name="connsiteY144" fmla="*/ 96599 h 349382"/>
                <a:gd name="connsiteX145" fmla="*/ 1496851 w 2663946"/>
                <a:gd name="connsiteY145" fmla="*/ 105873 h 349382"/>
                <a:gd name="connsiteX146" fmla="*/ 1501805 w 2663946"/>
                <a:gd name="connsiteY146" fmla="*/ 114030 h 349382"/>
                <a:gd name="connsiteX147" fmla="*/ 1501805 w 2663946"/>
                <a:gd name="connsiteY147" fmla="*/ 122425 h 349382"/>
                <a:gd name="connsiteX148" fmla="*/ 1506321 w 2663946"/>
                <a:gd name="connsiteY148" fmla="*/ 126848 h 349382"/>
                <a:gd name="connsiteX149" fmla="*/ 1510838 w 2663946"/>
                <a:gd name="connsiteY149" fmla="*/ 122425 h 349382"/>
                <a:gd name="connsiteX150" fmla="*/ 1510838 w 2663946"/>
                <a:gd name="connsiteY150" fmla="*/ 114030 h 349382"/>
                <a:gd name="connsiteX151" fmla="*/ 1515792 w 2663946"/>
                <a:gd name="connsiteY151" fmla="*/ 105873 h 349382"/>
                <a:gd name="connsiteX152" fmla="*/ 1506321 w 2663946"/>
                <a:gd name="connsiteY152" fmla="*/ 96599 h 349382"/>
                <a:gd name="connsiteX153" fmla="*/ 1415382 w 2663946"/>
                <a:gd name="connsiteY153" fmla="*/ 96599 h 349382"/>
                <a:gd name="connsiteX154" fmla="*/ 1405912 w 2663946"/>
                <a:gd name="connsiteY154" fmla="*/ 105873 h 349382"/>
                <a:gd name="connsiteX155" fmla="*/ 1410866 w 2663946"/>
                <a:gd name="connsiteY155" fmla="*/ 114030 h 349382"/>
                <a:gd name="connsiteX156" fmla="*/ 1410866 w 2663946"/>
                <a:gd name="connsiteY156" fmla="*/ 122425 h 349382"/>
                <a:gd name="connsiteX157" fmla="*/ 1415382 w 2663946"/>
                <a:gd name="connsiteY157" fmla="*/ 126848 h 349382"/>
                <a:gd name="connsiteX158" fmla="*/ 1419899 w 2663946"/>
                <a:gd name="connsiteY158" fmla="*/ 122425 h 349382"/>
                <a:gd name="connsiteX159" fmla="*/ 1419899 w 2663946"/>
                <a:gd name="connsiteY159" fmla="*/ 114030 h 349382"/>
                <a:gd name="connsiteX160" fmla="*/ 1424853 w 2663946"/>
                <a:gd name="connsiteY160" fmla="*/ 105873 h 349382"/>
                <a:gd name="connsiteX161" fmla="*/ 1415382 w 2663946"/>
                <a:gd name="connsiteY161" fmla="*/ 96599 h 349382"/>
                <a:gd name="connsiteX162" fmla="*/ 1157414 w 2663946"/>
                <a:gd name="connsiteY162" fmla="*/ 96599 h 349382"/>
                <a:gd name="connsiteX163" fmla="*/ 1147944 w 2663946"/>
                <a:gd name="connsiteY163" fmla="*/ 105873 h 349382"/>
                <a:gd name="connsiteX164" fmla="*/ 1152898 w 2663946"/>
                <a:gd name="connsiteY164" fmla="*/ 114030 h 349382"/>
                <a:gd name="connsiteX165" fmla="*/ 1152898 w 2663946"/>
                <a:gd name="connsiteY165" fmla="*/ 122425 h 349382"/>
                <a:gd name="connsiteX166" fmla="*/ 1157414 w 2663946"/>
                <a:gd name="connsiteY166" fmla="*/ 126848 h 349382"/>
                <a:gd name="connsiteX167" fmla="*/ 1161931 w 2663946"/>
                <a:gd name="connsiteY167" fmla="*/ 122425 h 349382"/>
                <a:gd name="connsiteX168" fmla="*/ 1161931 w 2663946"/>
                <a:gd name="connsiteY168" fmla="*/ 114030 h 349382"/>
                <a:gd name="connsiteX169" fmla="*/ 1166885 w 2663946"/>
                <a:gd name="connsiteY169" fmla="*/ 105873 h 349382"/>
                <a:gd name="connsiteX170" fmla="*/ 1157414 w 2663946"/>
                <a:gd name="connsiteY170" fmla="*/ 96599 h 349382"/>
                <a:gd name="connsiteX171" fmla="*/ 732418 w 2663946"/>
                <a:gd name="connsiteY171" fmla="*/ 96599 h 349382"/>
                <a:gd name="connsiteX172" fmla="*/ 722947 w 2663946"/>
                <a:gd name="connsiteY172" fmla="*/ 105873 h 349382"/>
                <a:gd name="connsiteX173" fmla="*/ 727901 w 2663946"/>
                <a:gd name="connsiteY173" fmla="*/ 114030 h 349382"/>
                <a:gd name="connsiteX174" fmla="*/ 727901 w 2663946"/>
                <a:gd name="connsiteY174" fmla="*/ 122425 h 349382"/>
                <a:gd name="connsiteX175" fmla="*/ 732418 w 2663946"/>
                <a:gd name="connsiteY175" fmla="*/ 126848 h 349382"/>
                <a:gd name="connsiteX176" fmla="*/ 736935 w 2663946"/>
                <a:gd name="connsiteY176" fmla="*/ 122425 h 349382"/>
                <a:gd name="connsiteX177" fmla="*/ 736935 w 2663946"/>
                <a:gd name="connsiteY177" fmla="*/ 114030 h 349382"/>
                <a:gd name="connsiteX178" fmla="*/ 741889 w 2663946"/>
                <a:gd name="connsiteY178" fmla="*/ 105873 h 349382"/>
                <a:gd name="connsiteX179" fmla="*/ 732418 w 2663946"/>
                <a:gd name="connsiteY179" fmla="*/ 96599 h 349382"/>
                <a:gd name="connsiteX180" fmla="*/ 641479 w 2663946"/>
                <a:gd name="connsiteY180" fmla="*/ 96599 h 349382"/>
                <a:gd name="connsiteX181" fmla="*/ 632008 w 2663946"/>
                <a:gd name="connsiteY181" fmla="*/ 105873 h 349382"/>
                <a:gd name="connsiteX182" fmla="*/ 636962 w 2663946"/>
                <a:gd name="connsiteY182" fmla="*/ 114030 h 349382"/>
                <a:gd name="connsiteX183" fmla="*/ 636962 w 2663946"/>
                <a:gd name="connsiteY183" fmla="*/ 122425 h 349382"/>
                <a:gd name="connsiteX184" fmla="*/ 641479 w 2663946"/>
                <a:gd name="connsiteY184" fmla="*/ 126848 h 349382"/>
                <a:gd name="connsiteX185" fmla="*/ 645996 w 2663946"/>
                <a:gd name="connsiteY185" fmla="*/ 122425 h 349382"/>
                <a:gd name="connsiteX186" fmla="*/ 645996 w 2663946"/>
                <a:gd name="connsiteY186" fmla="*/ 114030 h 349382"/>
                <a:gd name="connsiteX187" fmla="*/ 650950 w 2663946"/>
                <a:gd name="connsiteY187" fmla="*/ 105873 h 349382"/>
                <a:gd name="connsiteX188" fmla="*/ 641479 w 2663946"/>
                <a:gd name="connsiteY188" fmla="*/ 96599 h 349382"/>
                <a:gd name="connsiteX189" fmla="*/ 459528 w 2663946"/>
                <a:gd name="connsiteY189" fmla="*/ 96599 h 349382"/>
                <a:gd name="connsiteX190" fmla="*/ 450057 w 2663946"/>
                <a:gd name="connsiteY190" fmla="*/ 105873 h 349382"/>
                <a:gd name="connsiteX191" fmla="*/ 455011 w 2663946"/>
                <a:gd name="connsiteY191" fmla="*/ 114030 h 349382"/>
                <a:gd name="connsiteX192" fmla="*/ 455011 w 2663946"/>
                <a:gd name="connsiteY192" fmla="*/ 122425 h 349382"/>
                <a:gd name="connsiteX193" fmla="*/ 459528 w 2663946"/>
                <a:gd name="connsiteY193" fmla="*/ 126848 h 349382"/>
                <a:gd name="connsiteX194" fmla="*/ 464045 w 2663946"/>
                <a:gd name="connsiteY194" fmla="*/ 122425 h 349382"/>
                <a:gd name="connsiteX195" fmla="*/ 464045 w 2663946"/>
                <a:gd name="connsiteY195" fmla="*/ 114030 h 349382"/>
                <a:gd name="connsiteX196" fmla="*/ 468999 w 2663946"/>
                <a:gd name="connsiteY196" fmla="*/ 105873 h 349382"/>
                <a:gd name="connsiteX197" fmla="*/ 459528 w 2663946"/>
                <a:gd name="connsiteY197" fmla="*/ 96599 h 349382"/>
                <a:gd name="connsiteX198" fmla="*/ 2632966 w 2663946"/>
                <a:gd name="connsiteY198" fmla="*/ 69406 h 349382"/>
                <a:gd name="connsiteX199" fmla="*/ 2621414 w 2663946"/>
                <a:gd name="connsiteY199" fmla="*/ 71839 h 349382"/>
                <a:gd name="connsiteX200" fmla="*/ 2618218 w 2663946"/>
                <a:gd name="connsiteY200" fmla="*/ 75354 h 349382"/>
                <a:gd name="connsiteX201" fmla="*/ 2616006 w 2663946"/>
                <a:gd name="connsiteY201" fmla="*/ 79139 h 349382"/>
                <a:gd name="connsiteX202" fmla="*/ 2615023 w 2663946"/>
                <a:gd name="connsiteY202" fmla="*/ 81843 h 349382"/>
                <a:gd name="connsiteX203" fmla="*/ 2614039 w 2663946"/>
                <a:gd name="connsiteY203" fmla="*/ 85899 h 349382"/>
                <a:gd name="connsiteX204" fmla="*/ 2613056 w 2663946"/>
                <a:gd name="connsiteY204" fmla="*/ 92929 h 349382"/>
                <a:gd name="connsiteX205" fmla="*/ 2614039 w 2663946"/>
                <a:gd name="connsiteY205" fmla="*/ 100229 h 349382"/>
                <a:gd name="connsiteX206" fmla="*/ 2615269 w 2663946"/>
                <a:gd name="connsiteY206" fmla="*/ 104014 h 349382"/>
                <a:gd name="connsiteX207" fmla="*/ 2617481 w 2663946"/>
                <a:gd name="connsiteY207" fmla="*/ 108340 h 349382"/>
                <a:gd name="connsiteX208" fmla="*/ 2620922 w 2663946"/>
                <a:gd name="connsiteY208" fmla="*/ 112667 h 349382"/>
                <a:gd name="connsiteX209" fmla="*/ 2625346 w 2663946"/>
                <a:gd name="connsiteY209" fmla="*/ 115370 h 349382"/>
                <a:gd name="connsiteX210" fmla="*/ 2637637 w 2663946"/>
                <a:gd name="connsiteY210" fmla="*/ 112937 h 349382"/>
                <a:gd name="connsiteX211" fmla="*/ 2640832 w 2663946"/>
                <a:gd name="connsiteY211" fmla="*/ 109422 h 349382"/>
                <a:gd name="connsiteX212" fmla="*/ 2643290 w 2663946"/>
                <a:gd name="connsiteY212" fmla="*/ 105096 h 349382"/>
                <a:gd name="connsiteX213" fmla="*/ 2644273 w 2663946"/>
                <a:gd name="connsiteY213" fmla="*/ 102933 h 349382"/>
                <a:gd name="connsiteX214" fmla="*/ 2645502 w 2663946"/>
                <a:gd name="connsiteY214" fmla="*/ 98607 h 349382"/>
                <a:gd name="connsiteX215" fmla="*/ 2645011 w 2663946"/>
                <a:gd name="connsiteY215" fmla="*/ 84817 h 349382"/>
                <a:gd name="connsiteX216" fmla="*/ 2644027 w 2663946"/>
                <a:gd name="connsiteY216" fmla="*/ 81843 h 349382"/>
                <a:gd name="connsiteX217" fmla="*/ 2642799 w 2663946"/>
                <a:gd name="connsiteY217" fmla="*/ 78869 h 349382"/>
                <a:gd name="connsiteX218" fmla="*/ 2640586 w 2663946"/>
                <a:gd name="connsiteY218" fmla="*/ 75354 h 349382"/>
                <a:gd name="connsiteX219" fmla="*/ 2636899 w 2663946"/>
                <a:gd name="connsiteY219" fmla="*/ 71569 h 349382"/>
                <a:gd name="connsiteX220" fmla="*/ 2632966 w 2663946"/>
                <a:gd name="connsiteY220" fmla="*/ 69406 h 349382"/>
                <a:gd name="connsiteX221" fmla="*/ 2451011 w 2663946"/>
                <a:gd name="connsiteY221" fmla="*/ 69406 h 349382"/>
                <a:gd name="connsiteX222" fmla="*/ 2439459 w 2663946"/>
                <a:gd name="connsiteY222" fmla="*/ 71839 h 349382"/>
                <a:gd name="connsiteX223" fmla="*/ 2436263 w 2663946"/>
                <a:gd name="connsiteY223" fmla="*/ 75354 h 349382"/>
                <a:gd name="connsiteX224" fmla="*/ 2434051 w 2663946"/>
                <a:gd name="connsiteY224" fmla="*/ 79139 h 349382"/>
                <a:gd name="connsiteX225" fmla="*/ 2433068 w 2663946"/>
                <a:gd name="connsiteY225" fmla="*/ 81843 h 349382"/>
                <a:gd name="connsiteX226" fmla="*/ 2432084 w 2663946"/>
                <a:gd name="connsiteY226" fmla="*/ 85899 h 349382"/>
                <a:gd name="connsiteX227" fmla="*/ 2431101 w 2663946"/>
                <a:gd name="connsiteY227" fmla="*/ 92929 h 349382"/>
                <a:gd name="connsiteX228" fmla="*/ 2432084 w 2663946"/>
                <a:gd name="connsiteY228" fmla="*/ 100229 h 349382"/>
                <a:gd name="connsiteX229" fmla="*/ 2433314 w 2663946"/>
                <a:gd name="connsiteY229" fmla="*/ 104014 h 349382"/>
                <a:gd name="connsiteX230" fmla="*/ 2435526 w 2663946"/>
                <a:gd name="connsiteY230" fmla="*/ 108340 h 349382"/>
                <a:gd name="connsiteX231" fmla="*/ 2438967 w 2663946"/>
                <a:gd name="connsiteY231" fmla="*/ 112667 h 349382"/>
                <a:gd name="connsiteX232" fmla="*/ 2443391 w 2663946"/>
                <a:gd name="connsiteY232" fmla="*/ 115370 h 349382"/>
                <a:gd name="connsiteX233" fmla="*/ 2455682 w 2663946"/>
                <a:gd name="connsiteY233" fmla="*/ 112937 h 349382"/>
                <a:gd name="connsiteX234" fmla="*/ 2458877 w 2663946"/>
                <a:gd name="connsiteY234" fmla="*/ 109422 h 349382"/>
                <a:gd name="connsiteX235" fmla="*/ 2461335 w 2663946"/>
                <a:gd name="connsiteY235" fmla="*/ 105096 h 349382"/>
                <a:gd name="connsiteX236" fmla="*/ 2462318 w 2663946"/>
                <a:gd name="connsiteY236" fmla="*/ 102933 h 349382"/>
                <a:gd name="connsiteX237" fmla="*/ 2463547 w 2663946"/>
                <a:gd name="connsiteY237" fmla="*/ 98607 h 349382"/>
                <a:gd name="connsiteX238" fmla="*/ 2463056 w 2663946"/>
                <a:gd name="connsiteY238" fmla="*/ 84817 h 349382"/>
                <a:gd name="connsiteX239" fmla="*/ 2462072 w 2663946"/>
                <a:gd name="connsiteY239" fmla="*/ 81843 h 349382"/>
                <a:gd name="connsiteX240" fmla="*/ 2460844 w 2663946"/>
                <a:gd name="connsiteY240" fmla="*/ 78869 h 349382"/>
                <a:gd name="connsiteX241" fmla="*/ 2458631 w 2663946"/>
                <a:gd name="connsiteY241" fmla="*/ 75354 h 349382"/>
                <a:gd name="connsiteX242" fmla="*/ 2454944 w 2663946"/>
                <a:gd name="connsiteY242" fmla="*/ 71569 h 349382"/>
                <a:gd name="connsiteX243" fmla="*/ 2451011 w 2663946"/>
                <a:gd name="connsiteY243" fmla="*/ 69406 h 349382"/>
                <a:gd name="connsiteX244" fmla="*/ 2207965 w 2663946"/>
                <a:gd name="connsiteY244" fmla="*/ 69406 h 349382"/>
                <a:gd name="connsiteX245" fmla="*/ 2196413 w 2663946"/>
                <a:gd name="connsiteY245" fmla="*/ 71839 h 349382"/>
                <a:gd name="connsiteX246" fmla="*/ 2193217 w 2663946"/>
                <a:gd name="connsiteY246" fmla="*/ 75354 h 349382"/>
                <a:gd name="connsiteX247" fmla="*/ 2191005 w 2663946"/>
                <a:gd name="connsiteY247" fmla="*/ 79139 h 349382"/>
                <a:gd name="connsiteX248" fmla="*/ 2190022 w 2663946"/>
                <a:gd name="connsiteY248" fmla="*/ 81843 h 349382"/>
                <a:gd name="connsiteX249" fmla="*/ 2189038 w 2663946"/>
                <a:gd name="connsiteY249" fmla="*/ 85899 h 349382"/>
                <a:gd name="connsiteX250" fmla="*/ 2188055 w 2663946"/>
                <a:gd name="connsiteY250" fmla="*/ 92929 h 349382"/>
                <a:gd name="connsiteX251" fmla="*/ 2189038 w 2663946"/>
                <a:gd name="connsiteY251" fmla="*/ 100229 h 349382"/>
                <a:gd name="connsiteX252" fmla="*/ 2190268 w 2663946"/>
                <a:gd name="connsiteY252" fmla="*/ 104014 h 349382"/>
                <a:gd name="connsiteX253" fmla="*/ 2192480 w 2663946"/>
                <a:gd name="connsiteY253" fmla="*/ 108340 h 349382"/>
                <a:gd name="connsiteX254" fmla="*/ 2195921 w 2663946"/>
                <a:gd name="connsiteY254" fmla="*/ 112667 h 349382"/>
                <a:gd name="connsiteX255" fmla="*/ 2200345 w 2663946"/>
                <a:gd name="connsiteY255" fmla="*/ 115370 h 349382"/>
                <a:gd name="connsiteX256" fmla="*/ 2212636 w 2663946"/>
                <a:gd name="connsiteY256" fmla="*/ 112937 h 349382"/>
                <a:gd name="connsiteX257" fmla="*/ 2215831 w 2663946"/>
                <a:gd name="connsiteY257" fmla="*/ 109422 h 349382"/>
                <a:gd name="connsiteX258" fmla="*/ 2218289 w 2663946"/>
                <a:gd name="connsiteY258" fmla="*/ 105096 h 349382"/>
                <a:gd name="connsiteX259" fmla="*/ 2219272 w 2663946"/>
                <a:gd name="connsiteY259" fmla="*/ 102933 h 349382"/>
                <a:gd name="connsiteX260" fmla="*/ 2220501 w 2663946"/>
                <a:gd name="connsiteY260" fmla="*/ 98607 h 349382"/>
                <a:gd name="connsiteX261" fmla="*/ 2220010 w 2663946"/>
                <a:gd name="connsiteY261" fmla="*/ 84817 h 349382"/>
                <a:gd name="connsiteX262" fmla="*/ 2219026 w 2663946"/>
                <a:gd name="connsiteY262" fmla="*/ 81843 h 349382"/>
                <a:gd name="connsiteX263" fmla="*/ 2217798 w 2663946"/>
                <a:gd name="connsiteY263" fmla="*/ 78869 h 349382"/>
                <a:gd name="connsiteX264" fmla="*/ 2215585 w 2663946"/>
                <a:gd name="connsiteY264" fmla="*/ 75354 h 349382"/>
                <a:gd name="connsiteX265" fmla="*/ 2211898 w 2663946"/>
                <a:gd name="connsiteY265" fmla="*/ 71569 h 349382"/>
                <a:gd name="connsiteX266" fmla="*/ 2207965 w 2663946"/>
                <a:gd name="connsiteY266" fmla="*/ 69406 h 349382"/>
                <a:gd name="connsiteX267" fmla="*/ 2026014 w 2663946"/>
                <a:gd name="connsiteY267" fmla="*/ 69406 h 349382"/>
                <a:gd name="connsiteX268" fmla="*/ 2014462 w 2663946"/>
                <a:gd name="connsiteY268" fmla="*/ 71839 h 349382"/>
                <a:gd name="connsiteX269" fmla="*/ 2011266 w 2663946"/>
                <a:gd name="connsiteY269" fmla="*/ 75354 h 349382"/>
                <a:gd name="connsiteX270" fmla="*/ 2009054 w 2663946"/>
                <a:gd name="connsiteY270" fmla="*/ 79139 h 349382"/>
                <a:gd name="connsiteX271" fmla="*/ 2008071 w 2663946"/>
                <a:gd name="connsiteY271" fmla="*/ 81843 h 349382"/>
                <a:gd name="connsiteX272" fmla="*/ 2007087 w 2663946"/>
                <a:gd name="connsiteY272" fmla="*/ 85899 h 349382"/>
                <a:gd name="connsiteX273" fmla="*/ 2006104 w 2663946"/>
                <a:gd name="connsiteY273" fmla="*/ 92929 h 349382"/>
                <a:gd name="connsiteX274" fmla="*/ 2007087 w 2663946"/>
                <a:gd name="connsiteY274" fmla="*/ 100229 h 349382"/>
                <a:gd name="connsiteX275" fmla="*/ 2008317 w 2663946"/>
                <a:gd name="connsiteY275" fmla="*/ 104014 h 349382"/>
                <a:gd name="connsiteX276" fmla="*/ 2010529 w 2663946"/>
                <a:gd name="connsiteY276" fmla="*/ 108340 h 349382"/>
                <a:gd name="connsiteX277" fmla="*/ 2013970 w 2663946"/>
                <a:gd name="connsiteY277" fmla="*/ 112667 h 349382"/>
                <a:gd name="connsiteX278" fmla="*/ 2018394 w 2663946"/>
                <a:gd name="connsiteY278" fmla="*/ 115370 h 349382"/>
                <a:gd name="connsiteX279" fmla="*/ 2030685 w 2663946"/>
                <a:gd name="connsiteY279" fmla="*/ 112937 h 349382"/>
                <a:gd name="connsiteX280" fmla="*/ 2033880 w 2663946"/>
                <a:gd name="connsiteY280" fmla="*/ 109422 h 349382"/>
                <a:gd name="connsiteX281" fmla="*/ 2036338 w 2663946"/>
                <a:gd name="connsiteY281" fmla="*/ 105096 h 349382"/>
                <a:gd name="connsiteX282" fmla="*/ 2037321 w 2663946"/>
                <a:gd name="connsiteY282" fmla="*/ 102933 h 349382"/>
                <a:gd name="connsiteX283" fmla="*/ 2038550 w 2663946"/>
                <a:gd name="connsiteY283" fmla="*/ 98607 h 349382"/>
                <a:gd name="connsiteX284" fmla="*/ 2038059 w 2663946"/>
                <a:gd name="connsiteY284" fmla="*/ 84817 h 349382"/>
                <a:gd name="connsiteX285" fmla="*/ 2037075 w 2663946"/>
                <a:gd name="connsiteY285" fmla="*/ 81843 h 349382"/>
                <a:gd name="connsiteX286" fmla="*/ 2035847 w 2663946"/>
                <a:gd name="connsiteY286" fmla="*/ 78869 h 349382"/>
                <a:gd name="connsiteX287" fmla="*/ 2033634 w 2663946"/>
                <a:gd name="connsiteY287" fmla="*/ 75354 h 349382"/>
                <a:gd name="connsiteX288" fmla="*/ 2029947 w 2663946"/>
                <a:gd name="connsiteY288" fmla="*/ 71569 h 349382"/>
                <a:gd name="connsiteX289" fmla="*/ 2026014 w 2663946"/>
                <a:gd name="connsiteY289" fmla="*/ 69406 h 349382"/>
                <a:gd name="connsiteX290" fmla="*/ 1601090 w 2663946"/>
                <a:gd name="connsiteY290" fmla="*/ 69406 h 349382"/>
                <a:gd name="connsiteX291" fmla="*/ 1589537 w 2663946"/>
                <a:gd name="connsiteY291" fmla="*/ 71839 h 349382"/>
                <a:gd name="connsiteX292" fmla="*/ 1586342 w 2663946"/>
                <a:gd name="connsiteY292" fmla="*/ 75354 h 349382"/>
                <a:gd name="connsiteX293" fmla="*/ 1584130 w 2663946"/>
                <a:gd name="connsiteY293" fmla="*/ 79139 h 349382"/>
                <a:gd name="connsiteX294" fmla="*/ 1583147 w 2663946"/>
                <a:gd name="connsiteY294" fmla="*/ 81843 h 349382"/>
                <a:gd name="connsiteX295" fmla="*/ 1582163 w 2663946"/>
                <a:gd name="connsiteY295" fmla="*/ 85899 h 349382"/>
                <a:gd name="connsiteX296" fmla="*/ 1581180 w 2663946"/>
                <a:gd name="connsiteY296" fmla="*/ 92929 h 349382"/>
                <a:gd name="connsiteX297" fmla="*/ 1582163 w 2663946"/>
                <a:gd name="connsiteY297" fmla="*/ 100229 h 349382"/>
                <a:gd name="connsiteX298" fmla="*/ 1583393 w 2663946"/>
                <a:gd name="connsiteY298" fmla="*/ 104014 h 349382"/>
                <a:gd name="connsiteX299" fmla="*/ 1585605 w 2663946"/>
                <a:gd name="connsiteY299" fmla="*/ 108340 h 349382"/>
                <a:gd name="connsiteX300" fmla="*/ 1589046 w 2663946"/>
                <a:gd name="connsiteY300" fmla="*/ 112667 h 349382"/>
                <a:gd name="connsiteX301" fmla="*/ 1593470 w 2663946"/>
                <a:gd name="connsiteY301" fmla="*/ 115370 h 349382"/>
                <a:gd name="connsiteX302" fmla="*/ 1605761 w 2663946"/>
                <a:gd name="connsiteY302" fmla="*/ 112937 h 349382"/>
                <a:gd name="connsiteX303" fmla="*/ 1608956 w 2663946"/>
                <a:gd name="connsiteY303" fmla="*/ 109422 h 349382"/>
                <a:gd name="connsiteX304" fmla="*/ 1611414 w 2663946"/>
                <a:gd name="connsiteY304" fmla="*/ 105096 h 349382"/>
                <a:gd name="connsiteX305" fmla="*/ 1612397 w 2663946"/>
                <a:gd name="connsiteY305" fmla="*/ 102933 h 349382"/>
                <a:gd name="connsiteX306" fmla="*/ 1613626 w 2663946"/>
                <a:gd name="connsiteY306" fmla="*/ 98607 h 349382"/>
                <a:gd name="connsiteX307" fmla="*/ 1613135 w 2663946"/>
                <a:gd name="connsiteY307" fmla="*/ 84817 h 349382"/>
                <a:gd name="connsiteX308" fmla="*/ 1612151 w 2663946"/>
                <a:gd name="connsiteY308" fmla="*/ 81843 h 349382"/>
                <a:gd name="connsiteX309" fmla="*/ 1610923 w 2663946"/>
                <a:gd name="connsiteY309" fmla="*/ 78869 h 349382"/>
                <a:gd name="connsiteX310" fmla="*/ 1608710 w 2663946"/>
                <a:gd name="connsiteY310" fmla="*/ 75354 h 349382"/>
                <a:gd name="connsiteX311" fmla="*/ 1605023 w 2663946"/>
                <a:gd name="connsiteY311" fmla="*/ 71569 h 349382"/>
                <a:gd name="connsiteX312" fmla="*/ 1601090 w 2663946"/>
                <a:gd name="connsiteY312" fmla="*/ 69406 h 349382"/>
                <a:gd name="connsiteX313" fmla="*/ 1252183 w 2663946"/>
                <a:gd name="connsiteY313" fmla="*/ 69406 h 349382"/>
                <a:gd name="connsiteX314" fmla="*/ 1240630 w 2663946"/>
                <a:gd name="connsiteY314" fmla="*/ 71839 h 349382"/>
                <a:gd name="connsiteX315" fmla="*/ 1237435 w 2663946"/>
                <a:gd name="connsiteY315" fmla="*/ 75354 h 349382"/>
                <a:gd name="connsiteX316" fmla="*/ 1235223 w 2663946"/>
                <a:gd name="connsiteY316" fmla="*/ 79139 h 349382"/>
                <a:gd name="connsiteX317" fmla="*/ 1234240 w 2663946"/>
                <a:gd name="connsiteY317" fmla="*/ 81843 h 349382"/>
                <a:gd name="connsiteX318" fmla="*/ 1233256 w 2663946"/>
                <a:gd name="connsiteY318" fmla="*/ 85899 h 349382"/>
                <a:gd name="connsiteX319" fmla="*/ 1232273 w 2663946"/>
                <a:gd name="connsiteY319" fmla="*/ 92929 h 349382"/>
                <a:gd name="connsiteX320" fmla="*/ 1233256 w 2663946"/>
                <a:gd name="connsiteY320" fmla="*/ 100229 h 349382"/>
                <a:gd name="connsiteX321" fmla="*/ 1234486 w 2663946"/>
                <a:gd name="connsiteY321" fmla="*/ 104014 h 349382"/>
                <a:gd name="connsiteX322" fmla="*/ 1236698 w 2663946"/>
                <a:gd name="connsiteY322" fmla="*/ 108340 h 349382"/>
                <a:gd name="connsiteX323" fmla="*/ 1240139 w 2663946"/>
                <a:gd name="connsiteY323" fmla="*/ 112667 h 349382"/>
                <a:gd name="connsiteX324" fmla="*/ 1244563 w 2663946"/>
                <a:gd name="connsiteY324" fmla="*/ 115370 h 349382"/>
                <a:gd name="connsiteX325" fmla="*/ 1256854 w 2663946"/>
                <a:gd name="connsiteY325" fmla="*/ 112937 h 349382"/>
                <a:gd name="connsiteX326" fmla="*/ 1260049 w 2663946"/>
                <a:gd name="connsiteY326" fmla="*/ 109422 h 349382"/>
                <a:gd name="connsiteX327" fmla="*/ 1262507 w 2663946"/>
                <a:gd name="connsiteY327" fmla="*/ 105096 h 349382"/>
                <a:gd name="connsiteX328" fmla="*/ 1263490 w 2663946"/>
                <a:gd name="connsiteY328" fmla="*/ 102933 h 349382"/>
                <a:gd name="connsiteX329" fmla="*/ 1264719 w 2663946"/>
                <a:gd name="connsiteY329" fmla="*/ 98607 h 349382"/>
                <a:gd name="connsiteX330" fmla="*/ 1264228 w 2663946"/>
                <a:gd name="connsiteY330" fmla="*/ 84817 h 349382"/>
                <a:gd name="connsiteX331" fmla="*/ 1263244 w 2663946"/>
                <a:gd name="connsiteY331" fmla="*/ 81843 h 349382"/>
                <a:gd name="connsiteX332" fmla="*/ 1262016 w 2663946"/>
                <a:gd name="connsiteY332" fmla="*/ 78869 h 349382"/>
                <a:gd name="connsiteX333" fmla="*/ 1259803 w 2663946"/>
                <a:gd name="connsiteY333" fmla="*/ 75354 h 349382"/>
                <a:gd name="connsiteX334" fmla="*/ 1256116 w 2663946"/>
                <a:gd name="connsiteY334" fmla="*/ 71569 h 349382"/>
                <a:gd name="connsiteX335" fmla="*/ 1252183 w 2663946"/>
                <a:gd name="connsiteY335" fmla="*/ 69406 h 349382"/>
                <a:gd name="connsiteX336" fmla="*/ 1070232 w 2663946"/>
                <a:gd name="connsiteY336" fmla="*/ 69406 h 349382"/>
                <a:gd name="connsiteX337" fmla="*/ 1058679 w 2663946"/>
                <a:gd name="connsiteY337" fmla="*/ 71839 h 349382"/>
                <a:gd name="connsiteX338" fmla="*/ 1055484 w 2663946"/>
                <a:gd name="connsiteY338" fmla="*/ 75354 h 349382"/>
                <a:gd name="connsiteX339" fmla="*/ 1053272 w 2663946"/>
                <a:gd name="connsiteY339" fmla="*/ 79139 h 349382"/>
                <a:gd name="connsiteX340" fmla="*/ 1052289 w 2663946"/>
                <a:gd name="connsiteY340" fmla="*/ 81843 h 349382"/>
                <a:gd name="connsiteX341" fmla="*/ 1051305 w 2663946"/>
                <a:gd name="connsiteY341" fmla="*/ 85899 h 349382"/>
                <a:gd name="connsiteX342" fmla="*/ 1050322 w 2663946"/>
                <a:gd name="connsiteY342" fmla="*/ 92929 h 349382"/>
                <a:gd name="connsiteX343" fmla="*/ 1051305 w 2663946"/>
                <a:gd name="connsiteY343" fmla="*/ 100229 h 349382"/>
                <a:gd name="connsiteX344" fmla="*/ 1052535 w 2663946"/>
                <a:gd name="connsiteY344" fmla="*/ 104014 h 349382"/>
                <a:gd name="connsiteX345" fmla="*/ 1054747 w 2663946"/>
                <a:gd name="connsiteY345" fmla="*/ 108340 h 349382"/>
                <a:gd name="connsiteX346" fmla="*/ 1058188 w 2663946"/>
                <a:gd name="connsiteY346" fmla="*/ 112667 h 349382"/>
                <a:gd name="connsiteX347" fmla="*/ 1062612 w 2663946"/>
                <a:gd name="connsiteY347" fmla="*/ 115370 h 349382"/>
                <a:gd name="connsiteX348" fmla="*/ 1074903 w 2663946"/>
                <a:gd name="connsiteY348" fmla="*/ 112937 h 349382"/>
                <a:gd name="connsiteX349" fmla="*/ 1078098 w 2663946"/>
                <a:gd name="connsiteY349" fmla="*/ 109422 h 349382"/>
                <a:gd name="connsiteX350" fmla="*/ 1080556 w 2663946"/>
                <a:gd name="connsiteY350" fmla="*/ 105096 h 349382"/>
                <a:gd name="connsiteX351" fmla="*/ 1081539 w 2663946"/>
                <a:gd name="connsiteY351" fmla="*/ 102933 h 349382"/>
                <a:gd name="connsiteX352" fmla="*/ 1082768 w 2663946"/>
                <a:gd name="connsiteY352" fmla="*/ 98607 h 349382"/>
                <a:gd name="connsiteX353" fmla="*/ 1082277 w 2663946"/>
                <a:gd name="connsiteY353" fmla="*/ 84817 h 349382"/>
                <a:gd name="connsiteX354" fmla="*/ 1081293 w 2663946"/>
                <a:gd name="connsiteY354" fmla="*/ 81843 h 349382"/>
                <a:gd name="connsiteX355" fmla="*/ 1080065 w 2663946"/>
                <a:gd name="connsiteY355" fmla="*/ 78869 h 349382"/>
                <a:gd name="connsiteX356" fmla="*/ 1077852 w 2663946"/>
                <a:gd name="connsiteY356" fmla="*/ 75354 h 349382"/>
                <a:gd name="connsiteX357" fmla="*/ 1074165 w 2663946"/>
                <a:gd name="connsiteY357" fmla="*/ 71569 h 349382"/>
                <a:gd name="connsiteX358" fmla="*/ 1070232 w 2663946"/>
                <a:gd name="connsiteY358" fmla="*/ 69406 h 349382"/>
                <a:gd name="connsiteX359" fmla="*/ 903203 w 2663946"/>
                <a:gd name="connsiteY359" fmla="*/ 69406 h 349382"/>
                <a:gd name="connsiteX360" fmla="*/ 891650 w 2663946"/>
                <a:gd name="connsiteY360" fmla="*/ 71839 h 349382"/>
                <a:gd name="connsiteX361" fmla="*/ 888455 w 2663946"/>
                <a:gd name="connsiteY361" fmla="*/ 75354 h 349382"/>
                <a:gd name="connsiteX362" fmla="*/ 886243 w 2663946"/>
                <a:gd name="connsiteY362" fmla="*/ 79139 h 349382"/>
                <a:gd name="connsiteX363" fmla="*/ 885260 w 2663946"/>
                <a:gd name="connsiteY363" fmla="*/ 81843 h 349382"/>
                <a:gd name="connsiteX364" fmla="*/ 884276 w 2663946"/>
                <a:gd name="connsiteY364" fmla="*/ 85899 h 349382"/>
                <a:gd name="connsiteX365" fmla="*/ 883293 w 2663946"/>
                <a:gd name="connsiteY365" fmla="*/ 92929 h 349382"/>
                <a:gd name="connsiteX366" fmla="*/ 884276 w 2663946"/>
                <a:gd name="connsiteY366" fmla="*/ 100229 h 349382"/>
                <a:gd name="connsiteX367" fmla="*/ 885506 w 2663946"/>
                <a:gd name="connsiteY367" fmla="*/ 104014 h 349382"/>
                <a:gd name="connsiteX368" fmla="*/ 887718 w 2663946"/>
                <a:gd name="connsiteY368" fmla="*/ 108340 h 349382"/>
                <a:gd name="connsiteX369" fmla="*/ 891159 w 2663946"/>
                <a:gd name="connsiteY369" fmla="*/ 112667 h 349382"/>
                <a:gd name="connsiteX370" fmla="*/ 895583 w 2663946"/>
                <a:gd name="connsiteY370" fmla="*/ 115370 h 349382"/>
                <a:gd name="connsiteX371" fmla="*/ 907874 w 2663946"/>
                <a:gd name="connsiteY371" fmla="*/ 112937 h 349382"/>
                <a:gd name="connsiteX372" fmla="*/ 911069 w 2663946"/>
                <a:gd name="connsiteY372" fmla="*/ 109422 h 349382"/>
                <a:gd name="connsiteX373" fmla="*/ 913527 w 2663946"/>
                <a:gd name="connsiteY373" fmla="*/ 105096 h 349382"/>
                <a:gd name="connsiteX374" fmla="*/ 914510 w 2663946"/>
                <a:gd name="connsiteY374" fmla="*/ 102933 h 349382"/>
                <a:gd name="connsiteX375" fmla="*/ 915739 w 2663946"/>
                <a:gd name="connsiteY375" fmla="*/ 98607 h 349382"/>
                <a:gd name="connsiteX376" fmla="*/ 915248 w 2663946"/>
                <a:gd name="connsiteY376" fmla="*/ 84817 h 349382"/>
                <a:gd name="connsiteX377" fmla="*/ 914264 w 2663946"/>
                <a:gd name="connsiteY377" fmla="*/ 81843 h 349382"/>
                <a:gd name="connsiteX378" fmla="*/ 913036 w 2663946"/>
                <a:gd name="connsiteY378" fmla="*/ 78869 h 349382"/>
                <a:gd name="connsiteX379" fmla="*/ 910823 w 2663946"/>
                <a:gd name="connsiteY379" fmla="*/ 75354 h 349382"/>
                <a:gd name="connsiteX380" fmla="*/ 907136 w 2663946"/>
                <a:gd name="connsiteY380" fmla="*/ 71569 h 349382"/>
                <a:gd name="connsiteX381" fmla="*/ 903203 w 2663946"/>
                <a:gd name="connsiteY381" fmla="*/ 69406 h 349382"/>
                <a:gd name="connsiteX382" fmla="*/ 554297 w 2663946"/>
                <a:gd name="connsiteY382" fmla="*/ 69406 h 349382"/>
                <a:gd name="connsiteX383" fmla="*/ 542744 w 2663946"/>
                <a:gd name="connsiteY383" fmla="*/ 71839 h 349382"/>
                <a:gd name="connsiteX384" fmla="*/ 539549 w 2663946"/>
                <a:gd name="connsiteY384" fmla="*/ 75354 h 349382"/>
                <a:gd name="connsiteX385" fmla="*/ 537337 w 2663946"/>
                <a:gd name="connsiteY385" fmla="*/ 79139 h 349382"/>
                <a:gd name="connsiteX386" fmla="*/ 536353 w 2663946"/>
                <a:gd name="connsiteY386" fmla="*/ 81843 h 349382"/>
                <a:gd name="connsiteX387" fmla="*/ 535370 w 2663946"/>
                <a:gd name="connsiteY387" fmla="*/ 85899 h 349382"/>
                <a:gd name="connsiteX388" fmla="*/ 534387 w 2663946"/>
                <a:gd name="connsiteY388" fmla="*/ 92929 h 349382"/>
                <a:gd name="connsiteX389" fmla="*/ 535370 w 2663946"/>
                <a:gd name="connsiteY389" fmla="*/ 100229 h 349382"/>
                <a:gd name="connsiteX390" fmla="*/ 536599 w 2663946"/>
                <a:gd name="connsiteY390" fmla="*/ 104014 h 349382"/>
                <a:gd name="connsiteX391" fmla="*/ 538811 w 2663946"/>
                <a:gd name="connsiteY391" fmla="*/ 108340 h 349382"/>
                <a:gd name="connsiteX392" fmla="*/ 542253 w 2663946"/>
                <a:gd name="connsiteY392" fmla="*/ 112667 h 349382"/>
                <a:gd name="connsiteX393" fmla="*/ 546677 w 2663946"/>
                <a:gd name="connsiteY393" fmla="*/ 115370 h 349382"/>
                <a:gd name="connsiteX394" fmla="*/ 558967 w 2663946"/>
                <a:gd name="connsiteY394" fmla="*/ 112937 h 349382"/>
                <a:gd name="connsiteX395" fmla="*/ 562163 w 2663946"/>
                <a:gd name="connsiteY395" fmla="*/ 109422 h 349382"/>
                <a:gd name="connsiteX396" fmla="*/ 564621 w 2663946"/>
                <a:gd name="connsiteY396" fmla="*/ 105096 h 349382"/>
                <a:gd name="connsiteX397" fmla="*/ 565604 w 2663946"/>
                <a:gd name="connsiteY397" fmla="*/ 102933 h 349382"/>
                <a:gd name="connsiteX398" fmla="*/ 566833 w 2663946"/>
                <a:gd name="connsiteY398" fmla="*/ 98607 h 349382"/>
                <a:gd name="connsiteX399" fmla="*/ 566341 w 2663946"/>
                <a:gd name="connsiteY399" fmla="*/ 84817 h 349382"/>
                <a:gd name="connsiteX400" fmla="*/ 565358 w 2663946"/>
                <a:gd name="connsiteY400" fmla="*/ 81843 h 349382"/>
                <a:gd name="connsiteX401" fmla="*/ 564129 w 2663946"/>
                <a:gd name="connsiteY401" fmla="*/ 78869 h 349382"/>
                <a:gd name="connsiteX402" fmla="*/ 561917 w 2663946"/>
                <a:gd name="connsiteY402" fmla="*/ 75354 h 349382"/>
                <a:gd name="connsiteX403" fmla="*/ 558230 w 2663946"/>
                <a:gd name="connsiteY403" fmla="*/ 71569 h 349382"/>
                <a:gd name="connsiteX404" fmla="*/ 554297 w 2663946"/>
                <a:gd name="connsiteY404" fmla="*/ 69406 h 349382"/>
                <a:gd name="connsiteX405" fmla="*/ 372346 w 2663946"/>
                <a:gd name="connsiteY405" fmla="*/ 69406 h 349382"/>
                <a:gd name="connsiteX406" fmla="*/ 360793 w 2663946"/>
                <a:gd name="connsiteY406" fmla="*/ 71839 h 349382"/>
                <a:gd name="connsiteX407" fmla="*/ 357598 w 2663946"/>
                <a:gd name="connsiteY407" fmla="*/ 75354 h 349382"/>
                <a:gd name="connsiteX408" fmla="*/ 355385 w 2663946"/>
                <a:gd name="connsiteY408" fmla="*/ 79139 h 349382"/>
                <a:gd name="connsiteX409" fmla="*/ 354402 w 2663946"/>
                <a:gd name="connsiteY409" fmla="*/ 81843 h 349382"/>
                <a:gd name="connsiteX410" fmla="*/ 353419 w 2663946"/>
                <a:gd name="connsiteY410" fmla="*/ 85899 h 349382"/>
                <a:gd name="connsiteX411" fmla="*/ 352436 w 2663946"/>
                <a:gd name="connsiteY411" fmla="*/ 92929 h 349382"/>
                <a:gd name="connsiteX412" fmla="*/ 353419 w 2663946"/>
                <a:gd name="connsiteY412" fmla="*/ 100229 h 349382"/>
                <a:gd name="connsiteX413" fmla="*/ 354648 w 2663946"/>
                <a:gd name="connsiteY413" fmla="*/ 104014 h 349382"/>
                <a:gd name="connsiteX414" fmla="*/ 356860 w 2663946"/>
                <a:gd name="connsiteY414" fmla="*/ 108340 h 349382"/>
                <a:gd name="connsiteX415" fmla="*/ 360301 w 2663946"/>
                <a:gd name="connsiteY415" fmla="*/ 112667 h 349382"/>
                <a:gd name="connsiteX416" fmla="*/ 364726 w 2663946"/>
                <a:gd name="connsiteY416" fmla="*/ 115370 h 349382"/>
                <a:gd name="connsiteX417" fmla="*/ 377016 w 2663946"/>
                <a:gd name="connsiteY417" fmla="*/ 112937 h 349382"/>
                <a:gd name="connsiteX418" fmla="*/ 380212 w 2663946"/>
                <a:gd name="connsiteY418" fmla="*/ 109422 h 349382"/>
                <a:gd name="connsiteX419" fmla="*/ 382670 w 2663946"/>
                <a:gd name="connsiteY419" fmla="*/ 105096 h 349382"/>
                <a:gd name="connsiteX420" fmla="*/ 383653 w 2663946"/>
                <a:gd name="connsiteY420" fmla="*/ 102933 h 349382"/>
                <a:gd name="connsiteX421" fmla="*/ 384882 w 2663946"/>
                <a:gd name="connsiteY421" fmla="*/ 98607 h 349382"/>
                <a:gd name="connsiteX422" fmla="*/ 384390 w 2663946"/>
                <a:gd name="connsiteY422" fmla="*/ 84817 h 349382"/>
                <a:gd name="connsiteX423" fmla="*/ 383407 w 2663946"/>
                <a:gd name="connsiteY423" fmla="*/ 81843 h 349382"/>
                <a:gd name="connsiteX424" fmla="*/ 382178 w 2663946"/>
                <a:gd name="connsiteY424" fmla="*/ 78869 h 349382"/>
                <a:gd name="connsiteX425" fmla="*/ 379966 w 2663946"/>
                <a:gd name="connsiteY425" fmla="*/ 75354 h 349382"/>
                <a:gd name="connsiteX426" fmla="*/ 376279 w 2663946"/>
                <a:gd name="connsiteY426" fmla="*/ 71569 h 349382"/>
                <a:gd name="connsiteX427" fmla="*/ 372346 w 2663946"/>
                <a:gd name="connsiteY427" fmla="*/ 69406 h 349382"/>
                <a:gd name="connsiteX428" fmla="*/ 129300 w 2663946"/>
                <a:gd name="connsiteY428" fmla="*/ 69406 h 349382"/>
                <a:gd name="connsiteX429" fmla="*/ 117747 w 2663946"/>
                <a:gd name="connsiteY429" fmla="*/ 71839 h 349382"/>
                <a:gd name="connsiteX430" fmla="*/ 114552 w 2663946"/>
                <a:gd name="connsiteY430" fmla="*/ 75354 h 349382"/>
                <a:gd name="connsiteX431" fmla="*/ 112340 w 2663946"/>
                <a:gd name="connsiteY431" fmla="*/ 79139 h 349382"/>
                <a:gd name="connsiteX432" fmla="*/ 111356 w 2663946"/>
                <a:gd name="connsiteY432" fmla="*/ 81843 h 349382"/>
                <a:gd name="connsiteX433" fmla="*/ 110373 w 2663946"/>
                <a:gd name="connsiteY433" fmla="*/ 85899 h 349382"/>
                <a:gd name="connsiteX434" fmla="*/ 109390 w 2663946"/>
                <a:gd name="connsiteY434" fmla="*/ 92929 h 349382"/>
                <a:gd name="connsiteX435" fmla="*/ 110373 w 2663946"/>
                <a:gd name="connsiteY435" fmla="*/ 100229 h 349382"/>
                <a:gd name="connsiteX436" fmla="*/ 111602 w 2663946"/>
                <a:gd name="connsiteY436" fmla="*/ 104014 h 349382"/>
                <a:gd name="connsiteX437" fmla="*/ 113814 w 2663946"/>
                <a:gd name="connsiteY437" fmla="*/ 108340 h 349382"/>
                <a:gd name="connsiteX438" fmla="*/ 117256 w 2663946"/>
                <a:gd name="connsiteY438" fmla="*/ 112667 h 349382"/>
                <a:gd name="connsiteX439" fmla="*/ 121680 w 2663946"/>
                <a:gd name="connsiteY439" fmla="*/ 115370 h 349382"/>
                <a:gd name="connsiteX440" fmla="*/ 133970 w 2663946"/>
                <a:gd name="connsiteY440" fmla="*/ 112937 h 349382"/>
                <a:gd name="connsiteX441" fmla="*/ 137166 w 2663946"/>
                <a:gd name="connsiteY441" fmla="*/ 109422 h 349382"/>
                <a:gd name="connsiteX442" fmla="*/ 139624 w 2663946"/>
                <a:gd name="connsiteY442" fmla="*/ 105096 h 349382"/>
                <a:gd name="connsiteX443" fmla="*/ 140607 w 2663946"/>
                <a:gd name="connsiteY443" fmla="*/ 102933 h 349382"/>
                <a:gd name="connsiteX444" fmla="*/ 141836 w 2663946"/>
                <a:gd name="connsiteY444" fmla="*/ 98607 h 349382"/>
                <a:gd name="connsiteX445" fmla="*/ 141344 w 2663946"/>
                <a:gd name="connsiteY445" fmla="*/ 84817 h 349382"/>
                <a:gd name="connsiteX446" fmla="*/ 140361 w 2663946"/>
                <a:gd name="connsiteY446" fmla="*/ 81843 h 349382"/>
                <a:gd name="connsiteX447" fmla="*/ 139132 w 2663946"/>
                <a:gd name="connsiteY447" fmla="*/ 78869 h 349382"/>
                <a:gd name="connsiteX448" fmla="*/ 136920 w 2663946"/>
                <a:gd name="connsiteY448" fmla="*/ 75354 h 349382"/>
                <a:gd name="connsiteX449" fmla="*/ 133233 w 2663946"/>
                <a:gd name="connsiteY449" fmla="*/ 71569 h 349382"/>
                <a:gd name="connsiteX450" fmla="*/ 129300 w 2663946"/>
                <a:gd name="connsiteY450" fmla="*/ 69406 h 349382"/>
                <a:gd name="connsiteX451" fmla="*/ 33147 w 2663946"/>
                <a:gd name="connsiteY451" fmla="*/ 65470 h 349382"/>
                <a:gd name="connsiteX452" fmla="*/ 21486 w 2663946"/>
                <a:gd name="connsiteY452" fmla="*/ 73199 h 349382"/>
                <a:gd name="connsiteX453" fmla="*/ 20561 w 2663946"/>
                <a:gd name="connsiteY453" fmla="*/ 77782 h 349382"/>
                <a:gd name="connsiteX454" fmla="*/ 23801 w 2663946"/>
                <a:gd name="connsiteY454" fmla="*/ 77782 h 349382"/>
                <a:gd name="connsiteX455" fmla="*/ 42218 w 2663946"/>
                <a:gd name="connsiteY455" fmla="*/ 77782 h 349382"/>
                <a:gd name="connsiteX456" fmla="*/ 45732 w 2663946"/>
                <a:gd name="connsiteY456" fmla="*/ 77782 h 349382"/>
                <a:gd name="connsiteX457" fmla="*/ 44807 w 2663946"/>
                <a:gd name="connsiteY457" fmla="*/ 73199 h 349382"/>
                <a:gd name="connsiteX458" fmla="*/ 33147 w 2663946"/>
                <a:gd name="connsiteY458" fmla="*/ 65470 h 349382"/>
                <a:gd name="connsiteX459" fmla="*/ 2537931 w 2663946"/>
                <a:gd name="connsiteY459" fmla="*/ 57882 h 349382"/>
                <a:gd name="connsiteX460" fmla="*/ 2526271 w 2663946"/>
                <a:gd name="connsiteY460" fmla="*/ 65611 h 349382"/>
                <a:gd name="connsiteX461" fmla="*/ 2525346 w 2663946"/>
                <a:gd name="connsiteY461" fmla="*/ 70194 h 349382"/>
                <a:gd name="connsiteX462" fmla="*/ 2528586 w 2663946"/>
                <a:gd name="connsiteY462" fmla="*/ 70194 h 349382"/>
                <a:gd name="connsiteX463" fmla="*/ 2547003 w 2663946"/>
                <a:gd name="connsiteY463" fmla="*/ 70194 h 349382"/>
                <a:gd name="connsiteX464" fmla="*/ 2550517 w 2663946"/>
                <a:gd name="connsiteY464" fmla="*/ 70194 h 349382"/>
                <a:gd name="connsiteX465" fmla="*/ 2549592 w 2663946"/>
                <a:gd name="connsiteY465" fmla="*/ 65611 h 349382"/>
                <a:gd name="connsiteX466" fmla="*/ 2537931 w 2663946"/>
                <a:gd name="connsiteY466" fmla="*/ 57882 h 349382"/>
                <a:gd name="connsiteX467" fmla="*/ 2112934 w 2663946"/>
                <a:gd name="connsiteY467" fmla="*/ 57882 h 349382"/>
                <a:gd name="connsiteX468" fmla="*/ 2101274 w 2663946"/>
                <a:gd name="connsiteY468" fmla="*/ 65611 h 349382"/>
                <a:gd name="connsiteX469" fmla="*/ 2100349 w 2663946"/>
                <a:gd name="connsiteY469" fmla="*/ 70194 h 349382"/>
                <a:gd name="connsiteX470" fmla="*/ 2103589 w 2663946"/>
                <a:gd name="connsiteY470" fmla="*/ 70194 h 349382"/>
                <a:gd name="connsiteX471" fmla="*/ 2122006 w 2663946"/>
                <a:gd name="connsiteY471" fmla="*/ 70194 h 349382"/>
                <a:gd name="connsiteX472" fmla="*/ 2125520 w 2663946"/>
                <a:gd name="connsiteY472" fmla="*/ 70194 h 349382"/>
                <a:gd name="connsiteX473" fmla="*/ 2124595 w 2663946"/>
                <a:gd name="connsiteY473" fmla="*/ 65611 h 349382"/>
                <a:gd name="connsiteX474" fmla="*/ 2112934 w 2663946"/>
                <a:gd name="connsiteY474" fmla="*/ 57882 h 349382"/>
                <a:gd name="connsiteX475" fmla="*/ 1854966 w 2663946"/>
                <a:gd name="connsiteY475" fmla="*/ 57882 h 349382"/>
                <a:gd name="connsiteX476" fmla="*/ 1843306 w 2663946"/>
                <a:gd name="connsiteY476" fmla="*/ 65611 h 349382"/>
                <a:gd name="connsiteX477" fmla="*/ 1842381 w 2663946"/>
                <a:gd name="connsiteY477" fmla="*/ 70194 h 349382"/>
                <a:gd name="connsiteX478" fmla="*/ 1845621 w 2663946"/>
                <a:gd name="connsiteY478" fmla="*/ 70194 h 349382"/>
                <a:gd name="connsiteX479" fmla="*/ 1864038 w 2663946"/>
                <a:gd name="connsiteY479" fmla="*/ 70194 h 349382"/>
                <a:gd name="connsiteX480" fmla="*/ 1867552 w 2663946"/>
                <a:gd name="connsiteY480" fmla="*/ 70194 h 349382"/>
                <a:gd name="connsiteX481" fmla="*/ 1866627 w 2663946"/>
                <a:gd name="connsiteY481" fmla="*/ 65611 h 349382"/>
                <a:gd name="connsiteX482" fmla="*/ 1854966 w 2663946"/>
                <a:gd name="connsiteY482" fmla="*/ 57882 h 349382"/>
                <a:gd name="connsiteX483" fmla="*/ 1764027 w 2663946"/>
                <a:gd name="connsiteY483" fmla="*/ 57882 h 349382"/>
                <a:gd name="connsiteX484" fmla="*/ 1752367 w 2663946"/>
                <a:gd name="connsiteY484" fmla="*/ 65611 h 349382"/>
                <a:gd name="connsiteX485" fmla="*/ 1751442 w 2663946"/>
                <a:gd name="connsiteY485" fmla="*/ 70194 h 349382"/>
                <a:gd name="connsiteX486" fmla="*/ 1754682 w 2663946"/>
                <a:gd name="connsiteY486" fmla="*/ 70194 h 349382"/>
                <a:gd name="connsiteX487" fmla="*/ 1773099 w 2663946"/>
                <a:gd name="connsiteY487" fmla="*/ 70194 h 349382"/>
                <a:gd name="connsiteX488" fmla="*/ 1776613 w 2663946"/>
                <a:gd name="connsiteY488" fmla="*/ 70194 h 349382"/>
                <a:gd name="connsiteX489" fmla="*/ 1775687 w 2663946"/>
                <a:gd name="connsiteY489" fmla="*/ 65611 h 349382"/>
                <a:gd name="connsiteX490" fmla="*/ 1764027 w 2663946"/>
                <a:gd name="connsiteY490" fmla="*/ 57882 h 349382"/>
                <a:gd name="connsiteX491" fmla="*/ 1506059 w 2663946"/>
                <a:gd name="connsiteY491" fmla="*/ 57882 h 349382"/>
                <a:gd name="connsiteX492" fmla="*/ 1494399 w 2663946"/>
                <a:gd name="connsiteY492" fmla="*/ 65611 h 349382"/>
                <a:gd name="connsiteX493" fmla="*/ 1493474 w 2663946"/>
                <a:gd name="connsiteY493" fmla="*/ 70194 h 349382"/>
                <a:gd name="connsiteX494" fmla="*/ 1496714 w 2663946"/>
                <a:gd name="connsiteY494" fmla="*/ 70194 h 349382"/>
                <a:gd name="connsiteX495" fmla="*/ 1515131 w 2663946"/>
                <a:gd name="connsiteY495" fmla="*/ 70194 h 349382"/>
                <a:gd name="connsiteX496" fmla="*/ 1518645 w 2663946"/>
                <a:gd name="connsiteY496" fmla="*/ 70194 h 349382"/>
                <a:gd name="connsiteX497" fmla="*/ 1517719 w 2663946"/>
                <a:gd name="connsiteY497" fmla="*/ 65611 h 349382"/>
                <a:gd name="connsiteX498" fmla="*/ 1506059 w 2663946"/>
                <a:gd name="connsiteY498" fmla="*/ 57882 h 349382"/>
                <a:gd name="connsiteX499" fmla="*/ 1415120 w 2663946"/>
                <a:gd name="connsiteY499" fmla="*/ 57882 h 349382"/>
                <a:gd name="connsiteX500" fmla="*/ 1403460 w 2663946"/>
                <a:gd name="connsiteY500" fmla="*/ 65611 h 349382"/>
                <a:gd name="connsiteX501" fmla="*/ 1402535 w 2663946"/>
                <a:gd name="connsiteY501" fmla="*/ 70194 h 349382"/>
                <a:gd name="connsiteX502" fmla="*/ 1405775 w 2663946"/>
                <a:gd name="connsiteY502" fmla="*/ 70194 h 349382"/>
                <a:gd name="connsiteX503" fmla="*/ 1424192 w 2663946"/>
                <a:gd name="connsiteY503" fmla="*/ 70194 h 349382"/>
                <a:gd name="connsiteX504" fmla="*/ 1427706 w 2663946"/>
                <a:gd name="connsiteY504" fmla="*/ 70194 h 349382"/>
                <a:gd name="connsiteX505" fmla="*/ 1426780 w 2663946"/>
                <a:gd name="connsiteY505" fmla="*/ 65611 h 349382"/>
                <a:gd name="connsiteX506" fmla="*/ 1415120 w 2663946"/>
                <a:gd name="connsiteY506" fmla="*/ 57882 h 349382"/>
                <a:gd name="connsiteX507" fmla="*/ 1157152 w 2663946"/>
                <a:gd name="connsiteY507" fmla="*/ 57882 h 349382"/>
                <a:gd name="connsiteX508" fmla="*/ 1145492 w 2663946"/>
                <a:gd name="connsiteY508" fmla="*/ 65611 h 349382"/>
                <a:gd name="connsiteX509" fmla="*/ 1144567 w 2663946"/>
                <a:gd name="connsiteY509" fmla="*/ 70194 h 349382"/>
                <a:gd name="connsiteX510" fmla="*/ 1147807 w 2663946"/>
                <a:gd name="connsiteY510" fmla="*/ 70194 h 349382"/>
                <a:gd name="connsiteX511" fmla="*/ 1166224 w 2663946"/>
                <a:gd name="connsiteY511" fmla="*/ 70194 h 349382"/>
                <a:gd name="connsiteX512" fmla="*/ 1169738 w 2663946"/>
                <a:gd name="connsiteY512" fmla="*/ 70194 h 349382"/>
                <a:gd name="connsiteX513" fmla="*/ 1168812 w 2663946"/>
                <a:gd name="connsiteY513" fmla="*/ 65611 h 349382"/>
                <a:gd name="connsiteX514" fmla="*/ 1157152 w 2663946"/>
                <a:gd name="connsiteY514" fmla="*/ 57882 h 349382"/>
                <a:gd name="connsiteX515" fmla="*/ 732156 w 2663946"/>
                <a:gd name="connsiteY515" fmla="*/ 57882 h 349382"/>
                <a:gd name="connsiteX516" fmla="*/ 720495 w 2663946"/>
                <a:gd name="connsiteY516" fmla="*/ 65611 h 349382"/>
                <a:gd name="connsiteX517" fmla="*/ 719570 w 2663946"/>
                <a:gd name="connsiteY517" fmla="*/ 70194 h 349382"/>
                <a:gd name="connsiteX518" fmla="*/ 722810 w 2663946"/>
                <a:gd name="connsiteY518" fmla="*/ 70194 h 349382"/>
                <a:gd name="connsiteX519" fmla="*/ 741228 w 2663946"/>
                <a:gd name="connsiteY519" fmla="*/ 70194 h 349382"/>
                <a:gd name="connsiteX520" fmla="*/ 744742 w 2663946"/>
                <a:gd name="connsiteY520" fmla="*/ 70194 h 349382"/>
                <a:gd name="connsiteX521" fmla="*/ 743816 w 2663946"/>
                <a:gd name="connsiteY521" fmla="*/ 65611 h 349382"/>
                <a:gd name="connsiteX522" fmla="*/ 732156 w 2663946"/>
                <a:gd name="connsiteY522" fmla="*/ 57882 h 349382"/>
                <a:gd name="connsiteX523" fmla="*/ 641217 w 2663946"/>
                <a:gd name="connsiteY523" fmla="*/ 57882 h 349382"/>
                <a:gd name="connsiteX524" fmla="*/ 629556 w 2663946"/>
                <a:gd name="connsiteY524" fmla="*/ 65611 h 349382"/>
                <a:gd name="connsiteX525" fmla="*/ 628631 w 2663946"/>
                <a:gd name="connsiteY525" fmla="*/ 70194 h 349382"/>
                <a:gd name="connsiteX526" fmla="*/ 631871 w 2663946"/>
                <a:gd name="connsiteY526" fmla="*/ 70194 h 349382"/>
                <a:gd name="connsiteX527" fmla="*/ 650289 w 2663946"/>
                <a:gd name="connsiteY527" fmla="*/ 70194 h 349382"/>
                <a:gd name="connsiteX528" fmla="*/ 653802 w 2663946"/>
                <a:gd name="connsiteY528" fmla="*/ 70194 h 349382"/>
                <a:gd name="connsiteX529" fmla="*/ 652877 w 2663946"/>
                <a:gd name="connsiteY529" fmla="*/ 65611 h 349382"/>
                <a:gd name="connsiteX530" fmla="*/ 641217 w 2663946"/>
                <a:gd name="connsiteY530" fmla="*/ 57882 h 349382"/>
                <a:gd name="connsiteX531" fmla="*/ 459266 w 2663946"/>
                <a:gd name="connsiteY531" fmla="*/ 57882 h 349382"/>
                <a:gd name="connsiteX532" fmla="*/ 447605 w 2663946"/>
                <a:gd name="connsiteY532" fmla="*/ 65611 h 349382"/>
                <a:gd name="connsiteX533" fmla="*/ 446680 w 2663946"/>
                <a:gd name="connsiteY533" fmla="*/ 70194 h 349382"/>
                <a:gd name="connsiteX534" fmla="*/ 449920 w 2663946"/>
                <a:gd name="connsiteY534" fmla="*/ 70194 h 349382"/>
                <a:gd name="connsiteX535" fmla="*/ 468337 w 2663946"/>
                <a:gd name="connsiteY535" fmla="*/ 70194 h 349382"/>
                <a:gd name="connsiteX536" fmla="*/ 471851 w 2663946"/>
                <a:gd name="connsiteY536" fmla="*/ 70194 h 349382"/>
                <a:gd name="connsiteX537" fmla="*/ 470926 w 2663946"/>
                <a:gd name="connsiteY537" fmla="*/ 65611 h 349382"/>
                <a:gd name="connsiteX538" fmla="*/ 459266 w 2663946"/>
                <a:gd name="connsiteY538" fmla="*/ 57882 h 349382"/>
                <a:gd name="connsiteX539" fmla="*/ 2361413 w 2663946"/>
                <a:gd name="connsiteY539" fmla="*/ 53522 h 349382"/>
                <a:gd name="connsiteX540" fmla="*/ 2365469 w 2663946"/>
                <a:gd name="connsiteY540" fmla="*/ 53522 h 349382"/>
                <a:gd name="connsiteX541" fmla="*/ 2370065 w 2663946"/>
                <a:gd name="connsiteY541" fmla="*/ 55956 h 349382"/>
                <a:gd name="connsiteX542" fmla="*/ 2372229 w 2663946"/>
                <a:gd name="connsiteY542" fmla="*/ 62174 h 349382"/>
                <a:gd name="connsiteX543" fmla="*/ 2372229 w 2663946"/>
                <a:gd name="connsiteY543" fmla="*/ 62715 h 349382"/>
                <a:gd name="connsiteX544" fmla="*/ 2372229 w 2663946"/>
                <a:gd name="connsiteY544" fmla="*/ 115710 h 349382"/>
                <a:gd name="connsiteX545" fmla="*/ 2372769 w 2663946"/>
                <a:gd name="connsiteY545" fmla="*/ 116250 h 349382"/>
                <a:gd name="connsiteX546" fmla="*/ 2380069 w 2663946"/>
                <a:gd name="connsiteY546" fmla="*/ 116250 h 349382"/>
                <a:gd name="connsiteX547" fmla="*/ 2384125 w 2663946"/>
                <a:gd name="connsiteY547" fmla="*/ 117332 h 349382"/>
                <a:gd name="connsiteX548" fmla="*/ 2387910 w 2663946"/>
                <a:gd name="connsiteY548" fmla="*/ 124091 h 349382"/>
                <a:gd name="connsiteX549" fmla="*/ 2385207 w 2663946"/>
                <a:gd name="connsiteY549" fmla="*/ 129769 h 349382"/>
                <a:gd name="connsiteX550" fmla="*/ 2381151 w 2663946"/>
                <a:gd name="connsiteY550" fmla="*/ 131662 h 349382"/>
                <a:gd name="connsiteX551" fmla="*/ 2380881 w 2663946"/>
                <a:gd name="connsiteY551" fmla="*/ 131662 h 349382"/>
                <a:gd name="connsiteX552" fmla="*/ 2380610 w 2663946"/>
                <a:gd name="connsiteY552" fmla="*/ 131662 h 349382"/>
                <a:gd name="connsiteX553" fmla="*/ 2380069 w 2663946"/>
                <a:gd name="connsiteY553" fmla="*/ 131662 h 349382"/>
                <a:gd name="connsiteX554" fmla="*/ 2347894 w 2663946"/>
                <a:gd name="connsiteY554" fmla="*/ 131662 h 349382"/>
                <a:gd name="connsiteX555" fmla="*/ 2347354 w 2663946"/>
                <a:gd name="connsiteY555" fmla="*/ 131662 h 349382"/>
                <a:gd name="connsiteX556" fmla="*/ 2346542 w 2663946"/>
                <a:gd name="connsiteY556" fmla="*/ 131662 h 349382"/>
                <a:gd name="connsiteX557" fmla="*/ 2345731 w 2663946"/>
                <a:gd name="connsiteY557" fmla="*/ 131392 h 349382"/>
                <a:gd name="connsiteX558" fmla="*/ 2342216 w 2663946"/>
                <a:gd name="connsiteY558" fmla="*/ 129499 h 349382"/>
                <a:gd name="connsiteX559" fmla="*/ 2339783 w 2663946"/>
                <a:gd name="connsiteY559" fmla="*/ 123821 h 349382"/>
                <a:gd name="connsiteX560" fmla="*/ 2341946 w 2663946"/>
                <a:gd name="connsiteY560" fmla="*/ 118684 h 349382"/>
                <a:gd name="connsiteX561" fmla="*/ 2347624 w 2663946"/>
                <a:gd name="connsiteY561" fmla="*/ 116250 h 349382"/>
                <a:gd name="connsiteX562" fmla="*/ 2355465 w 2663946"/>
                <a:gd name="connsiteY562" fmla="*/ 116250 h 349382"/>
                <a:gd name="connsiteX563" fmla="*/ 2356006 w 2663946"/>
                <a:gd name="connsiteY563" fmla="*/ 115710 h 349382"/>
                <a:gd name="connsiteX564" fmla="*/ 2356006 w 2663946"/>
                <a:gd name="connsiteY564" fmla="*/ 69745 h 349382"/>
                <a:gd name="connsiteX565" fmla="*/ 2355465 w 2663946"/>
                <a:gd name="connsiteY565" fmla="*/ 69204 h 349382"/>
                <a:gd name="connsiteX566" fmla="*/ 2349517 w 2663946"/>
                <a:gd name="connsiteY566" fmla="*/ 69204 h 349382"/>
                <a:gd name="connsiteX567" fmla="*/ 2342216 w 2663946"/>
                <a:gd name="connsiteY567" fmla="*/ 64608 h 349382"/>
                <a:gd name="connsiteX568" fmla="*/ 2341946 w 2663946"/>
                <a:gd name="connsiteY568" fmla="*/ 58930 h 349382"/>
                <a:gd name="connsiteX569" fmla="*/ 2349246 w 2663946"/>
                <a:gd name="connsiteY569" fmla="*/ 53793 h 349382"/>
                <a:gd name="connsiteX570" fmla="*/ 2361413 w 2663946"/>
                <a:gd name="connsiteY570" fmla="*/ 53522 h 349382"/>
                <a:gd name="connsiteX571" fmla="*/ 2285396 w 2663946"/>
                <a:gd name="connsiteY571" fmla="*/ 53522 h 349382"/>
                <a:gd name="connsiteX572" fmla="*/ 2289452 w 2663946"/>
                <a:gd name="connsiteY572" fmla="*/ 53522 h 349382"/>
                <a:gd name="connsiteX573" fmla="*/ 2294048 w 2663946"/>
                <a:gd name="connsiteY573" fmla="*/ 55956 h 349382"/>
                <a:gd name="connsiteX574" fmla="*/ 2296212 w 2663946"/>
                <a:gd name="connsiteY574" fmla="*/ 62174 h 349382"/>
                <a:gd name="connsiteX575" fmla="*/ 2296212 w 2663946"/>
                <a:gd name="connsiteY575" fmla="*/ 62715 h 349382"/>
                <a:gd name="connsiteX576" fmla="*/ 2296212 w 2663946"/>
                <a:gd name="connsiteY576" fmla="*/ 115710 h 349382"/>
                <a:gd name="connsiteX577" fmla="*/ 2296752 w 2663946"/>
                <a:gd name="connsiteY577" fmla="*/ 116250 h 349382"/>
                <a:gd name="connsiteX578" fmla="*/ 2304052 w 2663946"/>
                <a:gd name="connsiteY578" fmla="*/ 116250 h 349382"/>
                <a:gd name="connsiteX579" fmla="*/ 2308108 w 2663946"/>
                <a:gd name="connsiteY579" fmla="*/ 117332 h 349382"/>
                <a:gd name="connsiteX580" fmla="*/ 2311893 w 2663946"/>
                <a:gd name="connsiteY580" fmla="*/ 124091 h 349382"/>
                <a:gd name="connsiteX581" fmla="*/ 2309190 w 2663946"/>
                <a:gd name="connsiteY581" fmla="*/ 129769 h 349382"/>
                <a:gd name="connsiteX582" fmla="*/ 2305134 w 2663946"/>
                <a:gd name="connsiteY582" fmla="*/ 131662 h 349382"/>
                <a:gd name="connsiteX583" fmla="*/ 2304864 w 2663946"/>
                <a:gd name="connsiteY583" fmla="*/ 131662 h 349382"/>
                <a:gd name="connsiteX584" fmla="*/ 2304593 w 2663946"/>
                <a:gd name="connsiteY584" fmla="*/ 131662 h 349382"/>
                <a:gd name="connsiteX585" fmla="*/ 2304052 w 2663946"/>
                <a:gd name="connsiteY585" fmla="*/ 131662 h 349382"/>
                <a:gd name="connsiteX586" fmla="*/ 2271877 w 2663946"/>
                <a:gd name="connsiteY586" fmla="*/ 131662 h 349382"/>
                <a:gd name="connsiteX587" fmla="*/ 2271337 w 2663946"/>
                <a:gd name="connsiteY587" fmla="*/ 131662 h 349382"/>
                <a:gd name="connsiteX588" fmla="*/ 2270525 w 2663946"/>
                <a:gd name="connsiteY588" fmla="*/ 131662 h 349382"/>
                <a:gd name="connsiteX589" fmla="*/ 2269714 w 2663946"/>
                <a:gd name="connsiteY589" fmla="*/ 131392 h 349382"/>
                <a:gd name="connsiteX590" fmla="*/ 2266199 w 2663946"/>
                <a:gd name="connsiteY590" fmla="*/ 129499 h 349382"/>
                <a:gd name="connsiteX591" fmla="*/ 2263766 w 2663946"/>
                <a:gd name="connsiteY591" fmla="*/ 123821 h 349382"/>
                <a:gd name="connsiteX592" fmla="*/ 2265929 w 2663946"/>
                <a:gd name="connsiteY592" fmla="*/ 118684 h 349382"/>
                <a:gd name="connsiteX593" fmla="*/ 2271607 w 2663946"/>
                <a:gd name="connsiteY593" fmla="*/ 116250 h 349382"/>
                <a:gd name="connsiteX594" fmla="*/ 2279448 w 2663946"/>
                <a:gd name="connsiteY594" fmla="*/ 116250 h 349382"/>
                <a:gd name="connsiteX595" fmla="*/ 2279989 w 2663946"/>
                <a:gd name="connsiteY595" fmla="*/ 115710 h 349382"/>
                <a:gd name="connsiteX596" fmla="*/ 2279989 w 2663946"/>
                <a:gd name="connsiteY596" fmla="*/ 69745 h 349382"/>
                <a:gd name="connsiteX597" fmla="*/ 2279448 w 2663946"/>
                <a:gd name="connsiteY597" fmla="*/ 69204 h 349382"/>
                <a:gd name="connsiteX598" fmla="*/ 2273500 w 2663946"/>
                <a:gd name="connsiteY598" fmla="*/ 69204 h 349382"/>
                <a:gd name="connsiteX599" fmla="*/ 2266199 w 2663946"/>
                <a:gd name="connsiteY599" fmla="*/ 64608 h 349382"/>
                <a:gd name="connsiteX600" fmla="*/ 2265929 w 2663946"/>
                <a:gd name="connsiteY600" fmla="*/ 58930 h 349382"/>
                <a:gd name="connsiteX601" fmla="*/ 2273229 w 2663946"/>
                <a:gd name="connsiteY601" fmla="*/ 53793 h 349382"/>
                <a:gd name="connsiteX602" fmla="*/ 2285396 w 2663946"/>
                <a:gd name="connsiteY602" fmla="*/ 53522 h 349382"/>
                <a:gd name="connsiteX603" fmla="*/ 1936416 w 2663946"/>
                <a:gd name="connsiteY603" fmla="*/ 53522 h 349382"/>
                <a:gd name="connsiteX604" fmla="*/ 1940472 w 2663946"/>
                <a:gd name="connsiteY604" fmla="*/ 53522 h 349382"/>
                <a:gd name="connsiteX605" fmla="*/ 1945068 w 2663946"/>
                <a:gd name="connsiteY605" fmla="*/ 55956 h 349382"/>
                <a:gd name="connsiteX606" fmla="*/ 1947232 w 2663946"/>
                <a:gd name="connsiteY606" fmla="*/ 62174 h 349382"/>
                <a:gd name="connsiteX607" fmla="*/ 1947232 w 2663946"/>
                <a:gd name="connsiteY607" fmla="*/ 62715 h 349382"/>
                <a:gd name="connsiteX608" fmla="*/ 1947232 w 2663946"/>
                <a:gd name="connsiteY608" fmla="*/ 115710 h 349382"/>
                <a:gd name="connsiteX609" fmla="*/ 1947772 w 2663946"/>
                <a:gd name="connsiteY609" fmla="*/ 116250 h 349382"/>
                <a:gd name="connsiteX610" fmla="*/ 1955072 w 2663946"/>
                <a:gd name="connsiteY610" fmla="*/ 116250 h 349382"/>
                <a:gd name="connsiteX611" fmla="*/ 1959128 w 2663946"/>
                <a:gd name="connsiteY611" fmla="*/ 117332 h 349382"/>
                <a:gd name="connsiteX612" fmla="*/ 1962913 w 2663946"/>
                <a:gd name="connsiteY612" fmla="*/ 124091 h 349382"/>
                <a:gd name="connsiteX613" fmla="*/ 1960210 w 2663946"/>
                <a:gd name="connsiteY613" fmla="*/ 129769 h 349382"/>
                <a:gd name="connsiteX614" fmla="*/ 1956154 w 2663946"/>
                <a:gd name="connsiteY614" fmla="*/ 131662 h 349382"/>
                <a:gd name="connsiteX615" fmla="*/ 1955884 w 2663946"/>
                <a:gd name="connsiteY615" fmla="*/ 131662 h 349382"/>
                <a:gd name="connsiteX616" fmla="*/ 1955613 w 2663946"/>
                <a:gd name="connsiteY616" fmla="*/ 131662 h 349382"/>
                <a:gd name="connsiteX617" fmla="*/ 1955072 w 2663946"/>
                <a:gd name="connsiteY617" fmla="*/ 131662 h 349382"/>
                <a:gd name="connsiteX618" fmla="*/ 1922897 w 2663946"/>
                <a:gd name="connsiteY618" fmla="*/ 131662 h 349382"/>
                <a:gd name="connsiteX619" fmla="*/ 1922357 w 2663946"/>
                <a:gd name="connsiteY619" fmla="*/ 131662 h 349382"/>
                <a:gd name="connsiteX620" fmla="*/ 1921545 w 2663946"/>
                <a:gd name="connsiteY620" fmla="*/ 131662 h 349382"/>
                <a:gd name="connsiteX621" fmla="*/ 1920734 w 2663946"/>
                <a:gd name="connsiteY621" fmla="*/ 131392 h 349382"/>
                <a:gd name="connsiteX622" fmla="*/ 1917219 w 2663946"/>
                <a:gd name="connsiteY622" fmla="*/ 129499 h 349382"/>
                <a:gd name="connsiteX623" fmla="*/ 1914786 w 2663946"/>
                <a:gd name="connsiteY623" fmla="*/ 123821 h 349382"/>
                <a:gd name="connsiteX624" fmla="*/ 1916949 w 2663946"/>
                <a:gd name="connsiteY624" fmla="*/ 118684 h 349382"/>
                <a:gd name="connsiteX625" fmla="*/ 1922627 w 2663946"/>
                <a:gd name="connsiteY625" fmla="*/ 116250 h 349382"/>
                <a:gd name="connsiteX626" fmla="*/ 1930468 w 2663946"/>
                <a:gd name="connsiteY626" fmla="*/ 116250 h 349382"/>
                <a:gd name="connsiteX627" fmla="*/ 1931009 w 2663946"/>
                <a:gd name="connsiteY627" fmla="*/ 115710 h 349382"/>
                <a:gd name="connsiteX628" fmla="*/ 1931009 w 2663946"/>
                <a:gd name="connsiteY628" fmla="*/ 69745 h 349382"/>
                <a:gd name="connsiteX629" fmla="*/ 1930468 w 2663946"/>
                <a:gd name="connsiteY629" fmla="*/ 69204 h 349382"/>
                <a:gd name="connsiteX630" fmla="*/ 1924520 w 2663946"/>
                <a:gd name="connsiteY630" fmla="*/ 69204 h 349382"/>
                <a:gd name="connsiteX631" fmla="*/ 1917219 w 2663946"/>
                <a:gd name="connsiteY631" fmla="*/ 64608 h 349382"/>
                <a:gd name="connsiteX632" fmla="*/ 1916949 w 2663946"/>
                <a:gd name="connsiteY632" fmla="*/ 58930 h 349382"/>
                <a:gd name="connsiteX633" fmla="*/ 1924249 w 2663946"/>
                <a:gd name="connsiteY633" fmla="*/ 53793 h 349382"/>
                <a:gd name="connsiteX634" fmla="*/ 1936416 w 2663946"/>
                <a:gd name="connsiteY634" fmla="*/ 53522 h 349382"/>
                <a:gd name="connsiteX635" fmla="*/ 1678521 w 2663946"/>
                <a:gd name="connsiteY635" fmla="*/ 53522 h 349382"/>
                <a:gd name="connsiteX636" fmla="*/ 1682577 w 2663946"/>
                <a:gd name="connsiteY636" fmla="*/ 53522 h 349382"/>
                <a:gd name="connsiteX637" fmla="*/ 1687173 w 2663946"/>
                <a:gd name="connsiteY637" fmla="*/ 55956 h 349382"/>
                <a:gd name="connsiteX638" fmla="*/ 1689336 w 2663946"/>
                <a:gd name="connsiteY638" fmla="*/ 62174 h 349382"/>
                <a:gd name="connsiteX639" fmla="*/ 1689336 w 2663946"/>
                <a:gd name="connsiteY639" fmla="*/ 62715 h 349382"/>
                <a:gd name="connsiteX640" fmla="*/ 1689336 w 2663946"/>
                <a:gd name="connsiteY640" fmla="*/ 115710 h 349382"/>
                <a:gd name="connsiteX641" fmla="*/ 1689877 w 2663946"/>
                <a:gd name="connsiteY641" fmla="*/ 116250 h 349382"/>
                <a:gd name="connsiteX642" fmla="*/ 1697177 w 2663946"/>
                <a:gd name="connsiteY642" fmla="*/ 116250 h 349382"/>
                <a:gd name="connsiteX643" fmla="*/ 1701233 w 2663946"/>
                <a:gd name="connsiteY643" fmla="*/ 117332 h 349382"/>
                <a:gd name="connsiteX644" fmla="*/ 1705018 w 2663946"/>
                <a:gd name="connsiteY644" fmla="*/ 124091 h 349382"/>
                <a:gd name="connsiteX645" fmla="*/ 1702315 w 2663946"/>
                <a:gd name="connsiteY645" fmla="*/ 129769 h 349382"/>
                <a:gd name="connsiteX646" fmla="*/ 1698259 w 2663946"/>
                <a:gd name="connsiteY646" fmla="*/ 131662 h 349382"/>
                <a:gd name="connsiteX647" fmla="*/ 1697989 w 2663946"/>
                <a:gd name="connsiteY647" fmla="*/ 131662 h 349382"/>
                <a:gd name="connsiteX648" fmla="*/ 1697718 w 2663946"/>
                <a:gd name="connsiteY648" fmla="*/ 131662 h 349382"/>
                <a:gd name="connsiteX649" fmla="*/ 1697177 w 2663946"/>
                <a:gd name="connsiteY649" fmla="*/ 131662 h 349382"/>
                <a:gd name="connsiteX650" fmla="*/ 1665002 w 2663946"/>
                <a:gd name="connsiteY650" fmla="*/ 131662 h 349382"/>
                <a:gd name="connsiteX651" fmla="*/ 1664462 w 2663946"/>
                <a:gd name="connsiteY651" fmla="*/ 131662 h 349382"/>
                <a:gd name="connsiteX652" fmla="*/ 1663650 w 2663946"/>
                <a:gd name="connsiteY652" fmla="*/ 131662 h 349382"/>
                <a:gd name="connsiteX653" fmla="*/ 1662839 w 2663946"/>
                <a:gd name="connsiteY653" fmla="*/ 131392 h 349382"/>
                <a:gd name="connsiteX654" fmla="*/ 1659324 w 2663946"/>
                <a:gd name="connsiteY654" fmla="*/ 129499 h 349382"/>
                <a:gd name="connsiteX655" fmla="*/ 1656891 w 2663946"/>
                <a:gd name="connsiteY655" fmla="*/ 123821 h 349382"/>
                <a:gd name="connsiteX656" fmla="*/ 1659054 w 2663946"/>
                <a:gd name="connsiteY656" fmla="*/ 118684 h 349382"/>
                <a:gd name="connsiteX657" fmla="*/ 1664732 w 2663946"/>
                <a:gd name="connsiteY657" fmla="*/ 116250 h 349382"/>
                <a:gd name="connsiteX658" fmla="*/ 1672573 w 2663946"/>
                <a:gd name="connsiteY658" fmla="*/ 116250 h 349382"/>
                <a:gd name="connsiteX659" fmla="*/ 1673114 w 2663946"/>
                <a:gd name="connsiteY659" fmla="*/ 115710 h 349382"/>
                <a:gd name="connsiteX660" fmla="*/ 1673114 w 2663946"/>
                <a:gd name="connsiteY660" fmla="*/ 69745 h 349382"/>
                <a:gd name="connsiteX661" fmla="*/ 1672573 w 2663946"/>
                <a:gd name="connsiteY661" fmla="*/ 69204 h 349382"/>
                <a:gd name="connsiteX662" fmla="*/ 1666625 w 2663946"/>
                <a:gd name="connsiteY662" fmla="*/ 69204 h 349382"/>
                <a:gd name="connsiteX663" fmla="*/ 1659324 w 2663946"/>
                <a:gd name="connsiteY663" fmla="*/ 64608 h 349382"/>
                <a:gd name="connsiteX664" fmla="*/ 1659054 w 2663946"/>
                <a:gd name="connsiteY664" fmla="*/ 58930 h 349382"/>
                <a:gd name="connsiteX665" fmla="*/ 1666354 w 2663946"/>
                <a:gd name="connsiteY665" fmla="*/ 53793 h 349382"/>
                <a:gd name="connsiteX666" fmla="*/ 1678521 w 2663946"/>
                <a:gd name="connsiteY666" fmla="*/ 53522 h 349382"/>
                <a:gd name="connsiteX667" fmla="*/ 1329614 w 2663946"/>
                <a:gd name="connsiteY667" fmla="*/ 53522 h 349382"/>
                <a:gd name="connsiteX668" fmla="*/ 1333670 w 2663946"/>
                <a:gd name="connsiteY668" fmla="*/ 53522 h 349382"/>
                <a:gd name="connsiteX669" fmla="*/ 1338266 w 2663946"/>
                <a:gd name="connsiteY669" fmla="*/ 55956 h 349382"/>
                <a:gd name="connsiteX670" fmla="*/ 1340429 w 2663946"/>
                <a:gd name="connsiteY670" fmla="*/ 62174 h 349382"/>
                <a:gd name="connsiteX671" fmla="*/ 1340429 w 2663946"/>
                <a:gd name="connsiteY671" fmla="*/ 62715 h 349382"/>
                <a:gd name="connsiteX672" fmla="*/ 1340429 w 2663946"/>
                <a:gd name="connsiteY672" fmla="*/ 115710 h 349382"/>
                <a:gd name="connsiteX673" fmla="*/ 1340970 w 2663946"/>
                <a:gd name="connsiteY673" fmla="*/ 116250 h 349382"/>
                <a:gd name="connsiteX674" fmla="*/ 1348270 w 2663946"/>
                <a:gd name="connsiteY674" fmla="*/ 116250 h 349382"/>
                <a:gd name="connsiteX675" fmla="*/ 1352326 w 2663946"/>
                <a:gd name="connsiteY675" fmla="*/ 117332 h 349382"/>
                <a:gd name="connsiteX676" fmla="*/ 1356111 w 2663946"/>
                <a:gd name="connsiteY676" fmla="*/ 124091 h 349382"/>
                <a:gd name="connsiteX677" fmla="*/ 1353408 w 2663946"/>
                <a:gd name="connsiteY677" fmla="*/ 129769 h 349382"/>
                <a:gd name="connsiteX678" fmla="*/ 1349352 w 2663946"/>
                <a:gd name="connsiteY678" fmla="*/ 131662 h 349382"/>
                <a:gd name="connsiteX679" fmla="*/ 1349082 w 2663946"/>
                <a:gd name="connsiteY679" fmla="*/ 131662 h 349382"/>
                <a:gd name="connsiteX680" fmla="*/ 1348811 w 2663946"/>
                <a:gd name="connsiteY680" fmla="*/ 131662 h 349382"/>
                <a:gd name="connsiteX681" fmla="*/ 1348270 w 2663946"/>
                <a:gd name="connsiteY681" fmla="*/ 131662 h 349382"/>
                <a:gd name="connsiteX682" fmla="*/ 1316095 w 2663946"/>
                <a:gd name="connsiteY682" fmla="*/ 131662 h 349382"/>
                <a:gd name="connsiteX683" fmla="*/ 1315555 w 2663946"/>
                <a:gd name="connsiteY683" fmla="*/ 131662 h 349382"/>
                <a:gd name="connsiteX684" fmla="*/ 1314743 w 2663946"/>
                <a:gd name="connsiteY684" fmla="*/ 131662 h 349382"/>
                <a:gd name="connsiteX685" fmla="*/ 1313932 w 2663946"/>
                <a:gd name="connsiteY685" fmla="*/ 131392 h 349382"/>
                <a:gd name="connsiteX686" fmla="*/ 1310417 w 2663946"/>
                <a:gd name="connsiteY686" fmla="*/ 129499 h 349382"/>
                <a:gd name="connsiteX687" fmla="*/ 1307984 w 2663946"/>
                <a:gd name="connsiteY687" fmla="*/ 123821 h 349382"/>
                <a:gd name="connsiteX688" fmla="*/ 1310147 w 2663946"/>
                <a:gd name="connsiteY688" fmla="*/ 118684 h 349382"/>
                <a:gd name="connsiteX689" fmla="*/ 1315825 w 2663946"/>
                <a:gd name="connsiteY689" fmla="*/ 116250 h 349382"/>
                <a:gd name="connsiteX690" fmla="*/ 1323666 w 2663946"/>
                <a:gd name="connsiteY690" fmla="*/ 116250 h 349382"/>
                <a:gd name="connsiteX691" fmla="*/ 1324207 w 2663946"/>
                <a:gd name="connsiteY691" fmla="*/ 115710 h 349382"/>
                <a:gd name="connsiteX692" fmla="*/ 1324207 w 2663946"/>
                <a:gd name="connsiteY692" fmla="*/ 69745 h 349382"/>
                <a:gd name="connsiteX693" fmla="*/ 1323666 w 2663946"/>
                <a:gd name="connsiteY693" fmla="*/ 69204 h 349382"/>
                <a:gd name="connsiteX694" fmla="*/ 1317718 w 2663946"/>
                <a:gd name="connsiteY694" fmla="*/ 69204 h 349382"/>
                <a:gd name="connsiteX695" fmla="*/ 1310417 w 2663946"/>
                <a:gd name="connsiteY695" fmla="*/ 64608 h 349382"/>
                <a:gd name="connsiteX696" fmla="*/ 1310147 w 2663946"/>
                <a:gd name="connsiteY696" fmla="*/ 58930 h 349382"/>
                <a:gd name="connsiteX697" fmla="*/ 1317447 w 2663946"/>
                <a:gd name="connsiteY697" fmla="*/ 53793 h 349382"/>
                <a:gd name="connsiteX698" fmla="*/ 1329614 w 2663946"/>
                <a:gd name="connsiteY698" fmla="*/ 53522 h 349382"/>
                <a:gd name="connsiteX699" fmla="*/ 980634 w 2663946"/>
                <a:gd name="connsiteY699" fmla="*/ 53522 h 349382"/>
                <a:gd name="connsiteX700" fmla="*/ 984690 w 2663946"/>
                <a:gd name="connsiteY700" fmla="*/ 53522 h 349382"/>
                <a:gd name="connsiteX701" fmla="*/ 989286 w 2663946"/>
                <a:gd name="connsiteY701" fmla="*/ 55956 h 349382"/>
                <a:gd name="connsiteX702" fmla="*/ 991449 w 2663946"/>
                <a:gd name="connsiteY702" fmla="*/ 62174 h 349382"/>
                <a:gd name="connsiteX703" fmla="*/ 991449 w 2663946"/>
                <a:gd name="connsiteY703" fmla="*/ 62715 h 349382"/>
                <a:gd name="connsiteX704" fmla="*/ 991449 w 2663946"/>
                <a:gd name="connsiteY704" fmla="*/ 115710 h 349382"/>
                <a:gd name="connsiteX705" fmla="*/ 991990 w 2663946"/>
                <a:gd name="connsiteY705" fmla="*/ 116250 h 349382"/>
                <a:gd name="connsiteX706" fmla="*/ 999290 w 2663946"/>
                <a:gd name="connsiteY706" fmla="*/ 116250 h 349382"/>
                <a:gd name="connsiteX707" fmla="*/ 1003346 w 2663946"/>
                <a:gd name="connsiteY707" fmla="*/ 117332 h 349382"/>
                <a:gd name="connsiteX708" fmla="*/ 1007131 w 2663946"/>
                <a:gd name="connsiteY708" fmla="*/ 124091 h 349382"/>
                <a:gd name="connsiteX709" fmla="*/ 1004428 w 2663946"/>
                <a:gd name="connsiteY709" fmla="*/ 129769 h 349382"/>
                <a:gd name="connsiteX710" fmla="*/ 1000372 w 2663946"/>
                <a:gd name="connsiteY710" fmla="*/ 131662 h 349382"/>
                <a:gd name="connsiteX711" fmla="*/ 1000102 w 2663946"/>
                <a:gd name="connsiteY711" fmla="*/ 131662 h 349382"/>
                <a:gd name="connsiteX712" fmla="*/ 999831 w 2663946"/>
                <a:gd name="connsiteY712" fmla="*/ 131662 h 349382"/>
                <a:gd name="connsiteX713" fmla="*/ 999290 w 2663946"/>
                <a:gd name="connsiteY713" fmla="*/ 131662 h 349382"/>
                <a:gd name="connsiteX714" fmla="*/ 967115 w 2663946"/>
                <a:gd name="connsiteY714" fmla="*/ 131662 h 349382"/>
                <a:gd name="connsiteX715" fmla="*/ 966575 w 2663946"/>
                <a:gd name="connsiteY715" fmla="*/ 131662 h 349382"/>
                <a:gd name="connsiteX716" fmla="*/ 965763 w 2663946"/>
                <a:gd name="connsiteY716" fmla="*/ 131662 h 349382"/>
                <a:gd name="connsiteX717" fmla="*/ 964952 w 2663946"/>
                <a:gd name="connsiteY717" fmla="*/ 131392 h 349382"/>
                <a:gd name="connsiteX718" fmla="*/ 961437 w 2663946"/>
                <a:gd name="connsiteY718" fmla="*/ 129499 h 349382"/>
                <a:gd name="connsiteX719" fmla="*/ 959004 w 2663946"/>
                <a:gd name="connsiteY719" fmla="*/ 123821 h 349382"/>
                <a:gd name="connsiteX720" fmla="*/ 961167 w 2663946"/>
                <a:gd name="connsiteY720" fmla="*/ 118684 h 349382"/>
                <a:gd name="connsiteX721" fmla="*/ 966845 w 2663946"/>
                <a:gd name="connsiteY721" fmla="*/ 116250 h 349382"/>
                <a:gd name="connsiteX722" fmla="*/ 974686 w 2663946"/>
                <a:gd name="connsiteY722" fmla="*/ 116250 h 349382"/>
                <a:gd name="connsiteX723" fmla="*/ 975227 w 2663946"/>
                <a:gd name="connsiteY723" fmla="*/ 115710 h 349382"/>
                <a:gd name="connsiteX724" fmla="*/ 975227 w 2663946"/>
                <a:gd name="connsiteY724" fmla="*/ 69745 h 349382"/>
                <a:gd name="connsiteX725" fmla="*/ 974686 w 2663946"/>
                <a:gd name="connsiteY725" fmla="*/ 69204 h 349382"/>
                <a:gd name="connsiteX726" fmla="*/ 968738 w 2663946"/>
                <a:gd name="connsiteY726" fmla="*/ 69204 h 349382"/>
                <a:gd name="connsiteX727" fmla="*/ 961437 w 2663946"/>
                <a:gd name="connsiteY727" fmla="*/ 64608 h 349382"/>
                <a:gd name="connsiteX728" fmla="*/ 961167 w 2663946"/>
                <a:gd name="connsiteY728" fmla="*/ 58930 h 349382"/>
                <a:gd name="connsiteX729" fmla="*/ 968467 w 2663946"/>
                <a:gd name="connsiteY729" fmla="*/ 53793 h 349382"/>
                <a:gd name="connsiteX730" fmla="*/ 980634 w 2663946"/>
                <a:gd name="connsiteY730" fmla="*/ 53522 h 349382"/>
                <a:gd name="connsiteX731" fmla="*/ 813605 w 2663946"/>
                <a:gd name="connsiteY731" fmla="*/ 53522 h 349382"/>
                <a:gd name="connsiteX732" fmla="*/ 817661 w 2663946"/>
                <a:gd name="connsiteY732" fmla="*/ 53522 h 349382"/>
                <a:gd name="connsiteX733" fmla="*/ 822257 w 2663946"/>
                <a:gd name="connsiteY733" fmla="*/ 55956 h 349382"/>
                <a:gd name="connsiteX734" fmla="*/ 824420 w 2663946"/>
                <a:gd name="connsiteY734" fmla="*/ 62174 h 349382"/>
                <a:gd name="connsiteX735" fmla="*/ 824420 w 2663946"/>
                <a:gd name="connsiteY735" fmla="*/ 62715 h 349382"/>
                <a:gd name="connsiteX736" fmla="*/ 824420 w 2663946"/>
                <a:gd name="connsiteY736" fmla="*/ 115710 h 349382"/>
                <a:gd name="connsiteX737" fmla="*/ 824961 w 2663946"/>
                <a:gd name="connsiteY737" fmla="*/ 116250 h 349382"/>
                <a:gd name="connsiteX738" fmla="*/ 832261 w 2663946"/>
                <a:gd name="connsiteY738" fmla="*/ 116250 h 349382"/>
                <a:gd name="connsiteX739" fmla="*/ 836317 w 2663946"/>
                <a:gd name="connsiteY739" fmla="*/ 117332 h 349382"/>
                <a:gd name="connsiteX740" fmla="*/ 840102 w 2663946"/>
                <a:gd name="connsiteY740" fmla="*/ 124091 h 349382"/>
                <a:gd name="connsiteX741" fmla="*/ 837399 w 2663946"/>
                <a:gd name="connsiteY741" fmla="*/ 129769 h 349382"/>
                <a:gd name="connsiteX742" fmla="*/ 833343 w 2663946"/>
                <a:gd name="connsiteY742" fmla="*/ 131662 h 349382"/>
                <a:gd name="connsiteX743" fmla="*/ 833073 w 2663946"/>
                <a:gd name="connsiteY743" fmla="*/ 131662 h 349382"/>
                <a:gd name="connsiteX744" fmla="*/ 832802 w 2663946"/>
                <a:gd name="connsiteY744" fmla="*/ 131662 h 349382"/>
                <a:gd name="connsiteX745" fmla="*/ 832261 w 2663946"/>
                <a:gd name="connsiteY745" fmla="*/ 131662 h 349382"/>
                <a:gd name="connsiteX746" fmla="*/ 800086 w 2663946"/>
                <a:gd name="connsiteY746" fmla="*/ 131662 h 349382"/>
                <a:gd name="connsiteX747" fmla="*/ 799546 w 2663946"/>
                <a:gd name="connsiteY747" fmla="*/ 131662 h 349382"/>
                <a:gd name="connsiteX748" fmla="*/ 798734 w 2663946"/>
                <a:gd name="connsiteY748" fmla="*/ 131662 h 349382"/>
                <a:gd name="connsiteX749" fmla="*/ 797923 w 2663946"/>
                <a:gd name="connsiteY749" fmla="*/ 131392 h 349382"/>
                <a:gd name="connsiteX750" fmla="*/ 794408 w 2663946"/>
                <a:gd name="connsiteY750" fmla="*/ 129499 h 349382"/>
                <a:gd name="connsiteX751" fmla="*/ 791975 w 2663946"/>
                <a:gd name="connsiteY751" fmla="*/ 123821 h 349382"/>
                <a:gd name="connsiteX752" fmla="*/ 794138 w 2663946"/>
                <a:gd name="connsiteY752" fmla="*/ 118684 h 349382"/>
                <a:gd name="connsiteX753" fmla="*/ 799816 w 2663946"/>
                <a:gd name="connsiteY753" fmla="*/ 116250 h 349382"/>
                <a:gd name="connsiteX754" fmla="*/ 807657 w 2663946"/>
                <a:gd name="connsiteY754" fmla="*/ 116250 h 349382"/>
                <a:gd name="connsiteX755" fmla="*/ 808198 w 2663946"/>
                <a:gd name="connsiteY755" fmla="*/ 115710 h 349382"/>
                <a:gd name="connsiteX756" fmla="*/ 808198 w 2663946"/>
                <a:gd name="connsiteY756" fmla="*/ 69745 h 349382"/>
                <a:gd name="connsiteX757" fmla="*/ 807657 w 2663946"/>
                <a:gd name="connsiteY757" fmla="*/ 69204 h 349382"/>
                <a:gd name="connsiteX758" fmla="*/ 801709 w 2663946"/>
                <a:gd name="connsiteY758" fmla="*/ 69204 h 349382"/>
                <a:gd name="connsiteX759" fmla="*/ 794408 w 2663946"/>
                <a:gd name="connsiteY759" fmla="*/ 64608 h 349382"/>
                <a:gd name="connsiteX760" fmla="*/ 794138 w 2663946"/>
                <a:gd name="connsiteY760" fmla="*/ 58930 h 349382"/>
                <a:gd name="connsiteX761" fmla="*/ 801438 w 2663946"/>
                <a:gd name="connsiteY761" fmla="*/ 53793 h 349382"/>
                <a:gd name="connsiteX762" fmla="*/ 813605 w 2663946"/>
                <a:gd name="connsiteY762" fmla="*/ 53522 h 349382"/>
                <a:gd name="connsiteX763" fmla="*/ 282748 w 2663946"/>
                <a:gd name="connsiteY763" fmla="*/ 53522 h 349382"/>
                <a:gd name="connsiteX764" fmla="*/ 286803 w 2663946"/>
                <a:gd name="connsiteY764" fmla="*/ 53522 h 349382"/>
                <a:gd name="connsiteX765" fmla="*/ 291400 w 2663946"/>
                <a:gd name="connsiteY765" fmla="*/ 55956 h 349382"/>
                <a:gd name="connsiteX766" fmla="*/ 293563 w 2663946"/>
                <a:gd name="connsiteY766" fmla="*/ 62174 h 349382"/>
                <a:gd name="connsiteX767" fmla="*/ 293563 w 2663946"/>
                <a:gd name="connsiteY767" fmla="*/ 62715 h 349382"/>
                <a:gd name="connsiteX768" fmla="*/ 293563 w 2663946"/>
                <a:gd name="connsiteY768" fmla="*/ 115710 h 349382"/>
                <a:gd name="connsiteX769" fmla="*/ 294104 w 2663946"/>
                <a:gd name="connsiteY769" fmla="*/ 116250 h 349382"/>
                <a:gd name="connsiteX770" fmla="*/ 301404 w 2663946"/>
                <a:gd name="connsiteY770" fmla="*/ 116250 h 349382"/>
                <a:gd name="connsiteX771" fmla="*/ 305460 w 2663946"/>
                <a:gd name="connsiteY771" fmla="*/ 117332 h 349382"/>
                <a:gd name="connsiteX772" fmla="*/ 309245 w 2663946"/>
                <a:gd name="connsiteY772" fmla="*/ 124091 h 349382"/>
                <a:gd name="connsiteX773" fmla="*/ 306541 w 2663946"/>
                <a:gd name="connsiteY773" fmla="*/ 129769 h 349382"/>
                <a:gd name="connsiteX774" fmla="*/ 302485 w 2663946"/>
                <a:gd name="connsiteY774" fmla="*/ 131662 h 349382"/>
                <a:gd name="connsiteX775" fmla="*/ 302215 w 2663946"/>
                <a:gd name="connsiteY775" fmla="*/ 131662 h 349382"/>
                <a:gd name="connsiteX776" fmla="*/ 301945 w 2663946"/>
                <a:gd name="connsiteY776" fmla="*/ 131662 h 349382"/>
                <a:gd name="connsiteX777" fmla="*/ 301404 w 2663946"/>
                <a:gd name="connsiteY777" fmla="*/ 131662 h 349382"/>
                <a:gd name="connsiteX778" fmla="*/ 269229 w 2663946"/>
                <a:gd name="connsiteY778" fmla="*/ 131662 h 349382"/>
                <a:gd name="connsiteX779" fmla="*/ 268688 w 2663946"/>
                <a:gd name="connsiteY779" fmla="*/ 131662 h 349382"/>
                <a:gd name="connsiteX780" fmla="*/ 267877 w 2663946"/>
                <a:gd name="connsiteY780" fmla="*/ 131662 h 349382"/>
                <a:gd name="connsiteX781" fmla="*/ 267066 w 2663946"/>
                <a:gd name="connsiteY781" fmla="*/ 131392 h 349382"/>
                <a:gd name="connsiteX782" fmla="*/ 263551 w 2663946"/>
                <a:gd name="connsiteY782" fmla="*/ 129499 h 349382"/>
                <a:gd name="connsiteX783" fmla="*/ 261117 w 2663946"/>
                <a:gd name="connsiteY783" fmla="*/ 123821 h 349382"/>
                <a:gd name="connsiteX784" fmla="*/ 263281 w 2663946"/>
                <a:gd name="connsiteY784" fmla="*/ 118684 h 349382"/>
                <a:gd name="connsiteX785" fmla="*/ 268958 w 2663946"/>
                <a:gd name="connsiteY785" fmla="*/ 116250 h 349382"/>
                <a:gd name="connsiteX786" fmla="*/ 276800 w 2663946"/>
                <a:gd name="connsiteY786" fmla="*/ 116250 h 349382"/>
                <a:gd name="connsiteX787" fmla="*/ 277340 w 2663946"/>
                <a:gd name="connsiteY787" fmla="*/ 115710 h 349382"/>
                <a:gd name="connsiteX788" fmla="*/ 277340 w 2663946"/>
                <a:gd name="connsiteY788" fmla="*/ 69745 h 349382"/>
                <a:gd name="connsiteX789" fmla="*/ 276800 w 2663946"/>
                <a:gd name="connsiteY789" fmla="*/ 69204 h 349382"/>
                <a:gd name="connsiteX790" fmla="*/ 270851 w 2663946"/>
                <a:gd name="connsiteY790" fmla="*/ 69204 h 349382"/>
                <a:gd name="connsiteX791" fmla="*/ 263551 w 2663946"/>
                <a:gd name="connsiteY791" fmla="*/ 64608 h 349382"/>
                <a:gd name="connsiteX792" fmla="*/ 263281 w 2663946"/>
                <a:gd name="connsiteY792" fmla="*/ 58930 h 349382"/>
                <a:gd name="connsiteX793" fmla="*/ 270581 w 2663946"/>
                <a:gd name="connsiteY793" fmla="*/ 53793 h 349382"/>
                <a:gd name="connsiteX794" fmla="*/ 282748 w 2663946"/>
                <a:gd name="connsiteY794" fmla="*/ 53522 h 349382"/>
                <a:gd name="connsiteX795" fmla="*/ 206731 w 2663946"/>
                <a:gd name="connsiteY795" fmla="*/ 53522 h 349382"/>
                <a:gd name="connsiteX796" fmla="*/ 210787 w 2663946"/>
                <a:gd name="connsiteY796" fmla="*/ 53522 h 349382"/>
                <a:gd name="connsiteX797" fmla="*/ 215383 w 2663946"/>
                <a:gd name="connsiteY797" fmla="*/ 55956 h 349382"/>
                <a:gd name="connsiteX798" fmla="*/ 217546 w 2663946"/>
                <a:gd name="connsiteY798" fmla="*/ 62174 h 349382"/>
                <a:gd name="connsiteX799" fmla="*/ 217546 w 2663946"/>
                <a:gd name="connsiteY799" fmla="*/ 62715 h 349382"/>
                <a:gd name="connsiteX800" fmla="*/ 217546 w 2663946"/>
                <a:gd name="connsiteY800" fmla="*/ 115710 h 349382"/>
                <a:gd name="connsiteX801" fmla="*/ 218087 w 2663946"/>
                <a:gd name="connsiteY801" fmla="*/ 116250 h 349382"/>
                <a:gd name="connsiteX802" fmla="*/ 225387 w 2663946"/>
                <a:gd name="connsiteY802" fmla="*/ 116250 h 349382"/>
                <a:gd name="connsiteX803" fmla="*/ 229443 w 2663946"/>
                <a:gd name="connsiteY803" fmla="*/ 117332 h 349382"/>
                <a:gd name="connsiteX804" fmla="*/ 233228 w 2663946"/>
                <a:gd name="connsiteY804" fmla="*/ 124091 h 349382"/>
                <a:gd name="connsiteX805" fmla="*/ 230524 w 2663946"/>
                <a:gd name="connsiteY805" fmla="*/ 129769 h 349382"/>
                <a:gd name="connsiteX806" fmla="*/ 226468 w 2663946"/>
                <a:gd name="connsiteY806" fmla="*/ 131662 h 349382"/>
                <a:gd name="connsiteX807" fmla="*/ 226198 w 2663946"/>
                <a:gd name="connsiteY807" fmla="*/ 131662 h 349382"/>
                <a:gd name="connsiteX808" fmla="*/ 225928 w 2663946"/>
                <a:gd name="connsiteY808" fmla="*/ 131662 h 349382"/>
                <a:gd name="connsiteX809" fmla="*/ 225387 w 2663946"/>
                <a:gd name="connsiteY809" fmla="*/ 131662 h 349382"/>
                <a:gd name="connsiteX810" fmla="*/ 193212 w 2663946"/>
                <a:gd name="connsiteY810" fmla="*/ 131662 h 349382"/>
                <a:gd name="connsiteX811" fmla="*/ 192671 w 2663946"/>
                <a:gd name="connsiteY811" fmla="*/ 131662 h 349382"/>
                <a:gd name="connsiteX812" fmla="*/ 191860 w 2663946"/>
                <a:gd name="connsiteY812" fmla="*/ 131662 h 349382"/>
                <a:gd name="connsiteX813" fmla="*/ 191049 w 2663946"/>
                <a:gd name="connsiteY813" fmla="*/ 131392 h 349382"/>
                <a:gd name="connsiteX814" fmla="*/ 187534 w 2663946"/>
                <a:gd name="connsiteY814" fmla="*/ 129499 h 349382"/>
                <a:gd name="connsiteX815" fmla="*/ 185101 w 2663946"/>
                <a:gd name="connsiteY815" fmla="*/ 123821 h 349382"/>
                <a:gd name="connsiteX816" fmla="*/ 187264 w 2663946"/>
                <a:gd name="connsiteY816" fmla="*/ 118684 h 349382"/>
                <a:gd name="connsiteX817" fmla="*/ 192942 w 2663946"/>
                <a:gd name="connsiteY817" fmla="*/ 116250 h 349382"/>
                <a:gd name="connsiteX818" fmla="*/ 200783 w 2663946"/>
                <a:gd name="connsiteY818" fmla="*/ 116250 h 349382"/>
                <a:gd name="connsiteX819" fmla="*/ 201323 w 2663946"/>
                <a:gd name="connsiteY819" fmla="*/ 115710 h 349382"/>
                <a:gd name="connsiteX820" fmla="*/ 201323 w 2663946"/>
                <a:gd name="connsiteY820" fmla="*/ 69745 h 349382"/>
                <a:gd name="connsiteX821" fmla="*/ 200783 w 2663946"/>
                <a:gd name="connsiteY821" fmla="*/ 69204 h 349382"/>
                <a:gd name="connsiteX822" fmla="*/ 194834 w 2663946"/>
                <a:gd name="connsiteY822" fmla="*/ 69204 h 349382"/>
                <a:gd name="connsiteX823" fmla="*/ 187534 w 2663946"/>
                <a:gd name="connsiteY823" fmla="*/ 64608 h 349382"/>
                <a:gd name="connsiteX824" fmla="*/ 187264 w 2663946"/>
                <a:gd name="connsiteY824" fmla="*/ 58930 h 349382"/>
                <a:gd name="connsiteX825" fmla="*/ 194564 w 2663946"/>
                <a:gd name="connsiteY825" fmla="*/ 53793 h 349382"/>
                <a:gd name="connsiteX826" fmla="*/ 206731 w 2663946"/>
                <a:gd name="connsiteY826" fmla="*/ 53522 h 349382"/>
                <a:gd name="connsiteX827" fmla="*/ 2627559 w 2663946"/>
                <a:gd name="connsiteY827" fmla="*/ 53453 h 349382"/>
                <a:gd name="connsiteX828" fmla="*/ 2639849 w 2663946"/>
                <a:gd name="connsiteY828" fmla="*/ 55616 h 349382"/>
                <a:gd name="connsiteX829" fmla="*/ 2647223 w 2663946"/>
                <a:gd name="connsiteY829" fmla="*/ 60213 h 349382"/>
                <a:gd name="connsiteX830" fmla="*/ 2650664 w 2663946"/>
                <a:gd name="connsiteY830" fmla="*/ 63457 h 349382"/>
                <a:gd name="connsiteX831" fmla="*/ 2654106 w 2663946"/>
                <a:gd name="connsiteY831" fmla="*/ 67783 h 349382"/>
                <a:gd name="connsiteX832" fmla="*/ 2656072 w 2663946"/>
                <a:gd name="connsiteY832" fmla="*/ 71298 h 349382"/>
                <a:gd name="connsiteX833" fmla="*/ 2658284 w 2663946"/>
                <a:gd name="connsiteY833" fmla="*/ 76706 h 349382"/>
                <a:gd name="connsiteX834" fmla="*/ 2659267 w 2663946"/>
                <a:gd name="connsiteY834" fmla="*/ 80221 h 349382"/>
                <a:gd name="connsiteX835" fmla="*/ 2660251 w 2663946"/>
                <a:gd name="connsiteY835" fmla="*/ 85358 h 349382"/>
                <a:gd name="connsiteX836" fmla="*/ 2660005 w 2663946"/>
                <a:gd name="connsiteY836" fmla="*/ 99688 h 349382"/>
                <a:gd name="connsiteX837" fmla="*/ 2659022 w 2663946"/>
                <a:gd name="connsiteY837" fmla="*/ 104555 h 349382"/>
                <a:gd name="connsiteX838" fmla="*/ 2657792 w 2663946"/>
                <a:gd name="connsiteY838" fmla="*/ 108340 h 349382"/>
                <a:gd name="connsiteX839" fmla="*/ 2656809 w 2663946"/>
                <a:gd name="connsiteY839" fmla="*/ 110774 h 349382"/>
                <a:gd name="connsiteX840" fmla="*/ 2654597 w 2663946"/>
                <a:gd name="connsiteY840" fmla="*/ 115100 h 349382"/>
                <a:gd name="connsiteX841" fmla="*/ 2652385 w 2663946"/>
                <a:gd name="connsiteY841" fmla="*/ 118344 h 349382"/>
                <a:gd name="connsiteX842" fmla="*/ 2648944 w 2663946"/>
                <a:gd name="connsiteY842" fmla="*/ 122130 h 349382"/>
                <a:gd name="connsiteX843" fmla="*/ 2645748 w 2663946"/>
                <a:gd name="connsiteY843" fmla="*/ 124833 h 349382"/>
                <a:gd name="connsiteX844" fmla="*/ 2640095 w 2663946"/>
                <a:gd name="connsiteY844" fmla="*/ 128078 h 349382"/>
                <a:gd name="connsiteX845" fmla="*/ 2632229 w 2663946"/>
                <a:gd name="connsiteY845" fmla="*/ 130241 h 349382"/>
                <a:gd name="connsiteX846" fmla="*/ 2631000 w 2663946"/>
                <a:gd name="connsiteY846" fmla="*/ 130512 h 349382"/>
                <a:gd name="connsiteX847" fmla="*/ 2626821 w 2663946"/>
                <a:gd name="connsiteY847" fmla="*/ 130512 h 349382"/>
                <a:gd name="connsiteX848" fmla="*/ 2626576 w 2663946"/>
                <a:gd name="connsiteY848" fmla="*/ 130512 h 349382"/>
                <a:gd name="connsiteX849" fmla="*/ 2613548 w 2663946"/>
                <a:gd name="connsiteY849" fmla="*/ 125645 h 349382"/>
                <a:gd name="connsiteX850" fmla="*/ 2608878 w 2663946"/>
                <a:gd name="connsiteY850" fmla="*/ 121589 h 349382"/>
                <a:gd name="connsiteX851" fmla="*/ 2605682 w 2663946"/>
                <a:gd name="connsiteY851" fmla="*/ 117804 h 349382"/>
                <a:gd name="connsiteX852" fmla="*/ 2603470 w 2663946"/>
                <a:gd name="connsiteY852" fmla="*/ 114289 h 349382"/>
                <a:gd name="connsiteX853" fmla="*/ 2601258 w 2663946"/>
                <a:gd name="connsiteY853" fmla="*/ 109963 h 349382"/>
                <a:gd name="connsiteX854" fmla="*/ 2600029 w 2663946"/>
                <a:gd name="connsiteY854" fmla="*/ 106988 h 349382"/>
                <a:gd name="connsiteX855" fmla="*/ 2599046 w 2663946"/>
                <a:gd name="connsiteY855" fmla="*/ 103744 h 349382"/>
                <a:gd name="connsiteX856" fmla="*/ 2597816 w 2663946"/>
                <a:gd name="connsiteY856" fmla="*/ 98066 h 349382"/>
                <a:gd name="connsiteX857" fmla="*/ 2597571 w 2663946"/>
                <a:gd name="connsiteY857" fmla="*/ 95092 h 349382"/>
                <a:gd name="connsiteX858" fmla="*/ 2597816 w 2663946"/>
                <a:gd name="connsiteY858" fmla="*/ 95362 h 349382"/>
                <a:gd name="connsiteX859" fmla="*/ 2597816 w 2663946"/>
                <a:gd name="connsiteY859" fmla="*/ 89684 h 349382"/>
                <a:gd name="connsiteX860" fmla="*/ 2597816 w 2663946"/>
                <a:gd name="connsiteY860" fmla="*/ 89414 h 349382"/>
                <a:gd name="connsiteX861" fmla="*/ 2598308 w 2663946"/>
                <a:gd name="connsiteY861" fmla="*/ 84817 h 349382"/>
                <a:gd name="connsiteX862" fmla="*/ 2599537 w 2663946"/>
                <a:gd name="connsiteY862" fmla="*/ 79410 h 349382"/>
                <a:gd name="connsiteX863" fmla="*/ 2600520 w 2663946"/>
                <a:gd name="connsiteY863" fmla="*/ 76165 h 349382"/>
                <a:gd name="connsiteX864" fmla="*/ 2602732 w 2663946"/>
                <a:gd name="connsiteY864" fmla="*/ 71028 h 349382"/>
                <a:gd name="connsiteX865" fmla="*/ 2604945 w 2663946"/>
                <a:gd name="connsiteY865" fmla="*/ 67243 h 349382"/>
                <a:gd name="connsiteX866" fmla="*/ 2607157 w 2663946"/>
                <a:gd name="connsiteY866" fmla="*/ 64268 h 349382"/>
                <a:gd name="connsiteX867" fmla="*/ 2609369 w 2663946"/>
                <a:gd name="connsiteY867" fmla="*/ 61835 h 349382"/>
                <a:gd name="connsiteX868" fmla="*/ 2614039 w 2663946"/>
                <a:gd name="connsiteY868" fmla="*/ 58050 h 349382"/>
                <a:gd name="connsiteX869" fmla="*/ 2617972 w 2663946"/>
                <a:gd name="connsiteY869" fmla="*/ 55887 h 349382"/>
                <a:gd name="connsiteX870" fmla="*/ 2627559 w 2663946"/>
                <a:gd name="connsiteY870" fmla="*/ 53453 h 349382"/>
                <a:gd name="connsiteX871" fmla="*/ 2445604 w 2663946"/>
                <a:gd name="connsiteY871" fmla="*/ 53453 h 349382"/>
                <a:gd name="connsiteX872" fmla="*/ 2457894 w 2663946"/>
                <a:gd name="connsiteY872" fmla="*/ 55616 h 349382"/>
                <a:gd name="connsiteX873" fmla="*/ 2465268 w 2663946"/>
                <a:gd name="connsiteY873" fmla="*/ 60213 h 349382"/>
                <a:gd name="connsiteX874" fmla="*/ 2468709 w 2663946"/>
                <a:gd name="connsiteY874" fmla="*/ 63457 h 349382"/>
                <a:gd name="connsiteX875" fmla="*/ 2472151 w 2663946"/>
                <a:gd name="connsiteY875" fmla="*/ 67783 h 349382"/>
                <a:gd name="connsiteX876" fmla="*/ 2474117 w 2663946"/>
                <a:gd name="connsiteY876" fmla="*/ 71298 h 349382"/>
                <a:gd name="connsiteX877" fmla="*/ 2476329 w 2663946"/>
                <a:gd name="connsiteY877" fmla="*/ 76706 h 349382"/>
                <a:gd name="connsiteX878" fmla="*/ 2477312 w 2663946"/>
                <a:gd name="connsiteY878" fmla="*/ 80221 h 349382"/>
                <a:gd name="connsiteX879" fmla="*/ 2478296 w 2663946"/>
                <a:gd name="connsiteY879" fmla="*/ 85358 h 349382"/>
                <a:gd name="connsiteX880" fmla="*/ 2478050 w 2663946"/>
                <a:gd name="connsiteY880" fmla="*/ 99688 h 349382"/>
                <a:gd name="connsiteX881" fmla="*/ 2477067 w 2663946"/>
                <a:gd name="connsiteY881" fmla="*/ 104555 h 349382"/>
                <a:gd name="connsiteX882" fmla="*/ 2475837 w 2663946"/>
                <a:gd name="connsiteY882" fmla="*/ 108340 h 349382"/>
                <a:gd name="connsiteX883" fmla="*/ 2474854 w 2663946"/>
                <a:gd name="connsiteY883" fmla="*/ 110774 h 349382"/>
                <a:gd name="connsiteX884" fmla="*/ 2472642 w 2663946"/>
                <a:gd name="connsiteY884" fmla="*/ 115100 h 349382"/>
                <a:gd name="connsiteX885" fmla="*/ 2470430 w 2663946"/>
                <a:gd name="connsiteY885" fmla="*/ 118344 h 349382"/>
                <a:gd name="connsiteX886" fmla="*/ 2466989 w 2663946"/>
                <a:gd name="connsiteY886" fmla="*/ 122130 h 349382"/>
                <a:gd name="connsiteX887" fmla="*/ 2463793 w 2663946"/>
                <a:gd name="connsiteY887" fmla="*/ 124833 h 349382"/>
                <a:gd name="connsiteX888" fmla="*/ 2458140 w 2663946"/>
                <a:gd name="connsiteY888" fmla="*/ 128078 h 349382"/>
                <a:gd name="connsiteX889" fmla="*/ 2450274 w 2663946"/>
                <a:gd name="connsiteY889" fmla="*/ 130241 h 349382"/>
                <a:gd name="connsiteX890" fmla="*/ 2449045 w 2663946"/>
                <a:gd name="connsiteY890" fmla="*/ 130512 h 349382"/>
                <a:gd name="connsiteX891" fmla="*/ 2444866 w 2663946"/>
                <a:gd name="connsiteY891" fmla="*/ 130512 h 349382"/>
                <a:gd name="connsiteX892" fmla="*/ 2444621 w 2663946"/>
                <a:gd name="connsiteY892" fmla="*/ 130512 h 349382"/>
                <a:gd name="connsiteX893" fmla="*/ 2431593 w 2663946"/>
                <a:gd name="connsiteY893" fmla="*/ 125645 h 349382"/>
                <a:gd name="connsiteX894" fmla="*/ 2426923 w 2663946"/>
                <a:gd name="connsiteY894" fmla="*/ 121589 h 349382"/>
                <a:gd name="connsiteX895" fmla="*/ 2423727 w 2663946"/>
                <a:gd name="connsiteY895" fmla="*/ 117804 h 349382"/>
                <a:gd name="connsiteX896" fmla="*/ 2421515 w 2663946"/>
                <a:gd name="connsiteY896" fmla="*/ 114289 h 349382"/>
                <a:gd name="connsiteX897" fmla="*/ 2419303 w 2663946"/>
                <a:gd name="connsiteY897" fmla="*/ 109963 h 349382"/>
                <a:gd name="connsiteX898" fmla="*/ 2418074 w 2663946"/>
                <a:gd name="connsiteY898" fmla="*/ 106988 h 349382"/>
                <a:gd name="connsiteX899" fmla="*/ 2417091 w 2663946"/>
                <a:gd name="connsiteY899" fmla="*/ 103744 h 349382"/>
                <a:gd name="connsiteX900" fmla="*/ 2415861 w 2663946"/>
                <a:gd name="connsiteY900" fmla="*/ 98066 h 349382"/>
                <a:gd name="connsiteX901" fmla="*/ 2415616 w 2663946"/>
                <a:gd name="connsiteY901" fmla="*/ 95092 h 349382"/>
                <a:gd name="connsiteX902" fmla="*/ 2415861 w 2663946"/>
                <a:gd name="connsiteY902" fmla="*/ 95362 h 349382"/>
                <a:gd name="connsiteX903" fmla="*/ 2415861 w 2663946"/>
                <a:gd name="connsiteY903" fmla="*/ 89684 h 349382"/>
                <a:gd name="connsiteX904" fmla="*/ 2415861 w 2663946"/>
                <a:gd name="connsiteY904" fmla="*/ 89414 h 349382"/>
                <a:gd name="connsiteX905" fmla="*/ 2416353 w 2663946"/>
                <a:gd name="connsiteY905" fmla="*/ 84817 h 349382"/>
                <a:gd name="connsiteX906" fmla="*/ 2417582 w 2663946"/>
                <a:gd name="connsiteY906" fmla="*/ 79410 h 349382"/>
                <a:gd name="connsiteX907" fmla="*/ 2418565 w 2663946"/>
                <a:gd name="connsiteY907" fmla="*/ 76165 h 349382"/>
                <a:gd name="connsiteX908" fmla="*/ 2420777 w 2663946"/>
                <a:gd name="connsiteY908" fmla="*/ 71028 h 349382"/>
                <a:gd name="connsiteX909" fmla="*/ 2422990 w 2663946"/>
                <a:gd name="connsiteY909" fmla="*/ 67243 h 349382"/>
                <a:gd name="connsiteX910" fmla="*/ 2425202 w 2663946"/>
                <a:gd name="connsiteY910" fmla="*/ 64268 h 349382"/>
                <a:gd name="connsiteX911" fmla="*/ 2427414 w 2663946"/>
                <a:gd name="connsiteY911" fmla="*/ 61835 h 349382"/>
                <a:gd name="connsiteX912" fmla="*/ 2432084 w 2663946"/>
                <a:gd name="connsiteY912" fmla="*/ 58050 h 349382"/>
                <a:gd name="connsiteX913" fmla="*/ 2436017 w 2663946"/>
                <a:gd name="connsiteY913" fmla="*/ 55887 h 349382"/>
                <a:gd name="connsiteX914" fmla="*/ 2445604 w 2663946"/>
                <a:gd name="connsiteY914" fmla="*/ 53453 h 349382"/>
                <a:gd name="connsiteX915" fmla="*/ 2202558 w 2663946"/>
                <a:gd name="connsiteY915" fmla="*/ 53453 h 349382"/>
                <a:gd name="connsiteX916" fmla="*/ 2214848 w 2663946"/>
                <a:gd name="connsiteY916" fmla="*/ 55616 h 349382"/>
                <a:gd name="connsiteX917" fmla="*/ 2222222 w 2663946"/>
                <a:gd name="connsiteY917" fmla="*/ 60213 h 349382"/>
                <a:gd name="connsiteX918" fmla="*/ 2225663 w 2663946"/>
                <a:gd name="connsiteY918" fmla="*/ 63457 h 349382"/>
                <a:gd name="connsiteX919" fmla="*/ 2229105 w 2663946"/>
                <a:gd name="connsiteY919" fmla="*/ 67783 h 349382"/>
                <a:gd name="connsiteX920" fmla="*/ 2231071 w 2663946"/>
                <a:gd name="connsiteY920" fmla="*/ 71298 h 349382"/>
                <a:gd name="connsiteX921" fmla="*/ 2233283 w 2663946"/>
                <a:gd name="connsiteY921" fmla="*/ 76706 h 349382"/>
                <a:gd name="connsiteX922" fmla="*/ 2234266 w 2663946"/>
                <a:gd name="connsiteY922" fmla="*/ 80221 h 349382"/>
                <a:gd name="connsiteX923" fmla="*/ 2235250 w 2663946"/>
                <a:gd name="connsiteY923" fmla="*/ 85358 h 349382"/>
                <a:gd name="connsiteX924" fmla="*/ 2235004 w 2663946"/>
                <a:gd name="connsiteY924" fmla="*/ 99688 h 349382"/>
                <a:gd name="connsiteX925" fmla="*/ 2234021 w 2663946"/>
                <a:gd name="connsiteY925" fmla="*/ 104555 h 349382"/>
                <a:gd name="connsiteX926" fmla="*/ 2232791 w 2663946"/>
                <a:gd name="connsiteY926" fmla="*/ 108340 h 349382"/>
                <a:gd name="connsiteX927" fmla="*/ 2231808 w 2663946"/>
                <a:gd name="connsiteY927" fmla="*/ 110774 h 349382"/>
                <a:gd name="connsiteX928" fmla="*/ 2229596 w 2663946"/>
                <a:gd name="connsiteY928" fmla="*/ 115100 h 349382"/>
                <a:gd name="connsiteX929" fmla="*/ 2227384 w 2663946"/>
                <a:gd name="connsiteY929" fmla="*/ 118344 h 349382"/>
                <a:gd name="connsiteX930" fmla="*/ 2223943 w 2663946"/>
                <a:gd name="connsiteY930" fmla="*/ 122130 h 349382"/>
                <a:gd name="connsiteX931" fmla="*/ 2220747 w 2663946"/>
                <a:gd name="connsiteY931" fmla="*/ 124833 h 349382"/>
                <a:gd name="connsiteX932" fmla="*/ 2215094 w 2663946"/>
                <a:gd name="connsiteY932" fmla="*/ 128078 h 349382"/>
                <a:gd name="connsiteX933" fmla="*/ 2207228 w 2663946"/>
                <a:gd name="connsiteY933" fmla="*/ 130241 h 349382"/>
                <a:gd name="connsiteX934" fmla="*/ 2205999 w 2663946"/>
                <a:gd name="connsiteY934" fmla="*/ 130512 h 349382"/>
                <a:gd name="connsiteX935" fmla="*/ 2201820 w 2663946"/>
                <a:gd name="connsiteY935" fmla="*/ 130512 h 349382"/>
                <a:gd name="connsiteX936" fmla="*/ 2201575 w 2663946"/>
                <a:gd name="connsiteY936" fmla="*/ 130512 h 349382"/>
                <a:gd name="connsiteX937" fmla="*/ 2188547 w 2663946"/>
                <a:gd name="connsiteY937" fmla="*/ 125645 h 349382"/>
                <a:gd name="connsiteX938" fmla="*/ 2183877 w 2663946"/>
                <a:gd name="connsiteY938" fmla="*/ 121589 h 349382"/>
                <a:gd name="connsiteX939" fmla="*/ 2180681 w 2663946"/>
                <a:gd name="connsiteY939" fmla="*/ 117804 h 349382"/>
                <a:gd name="connsiteX940" fmla="*/ 2178469 w 2663946"/>
                <a:gd name="connsiteY940" fmla="*/ 114289 h 349382"/>
                <a:gd name="connsiteX941" fmla="*/ 2176257 w 2663946"/>
                <a:gd name="connsiteY941" fmla="*/ 109963 h 349382"/>
                <a:gd name="connsiteX942" fmla="*/ 2175028 w 2663946"/>
                <a:gd name="connsiteY942" fmla="*/ 106988 h 349382"/>
                <a:gd name="connsiteX943" fmla="*/ 2174045 w 2663946"/>
                <a:gd name="connsiteY943" fmla="*/ 103744 h 349382"/>
                <a:gd name="connsiteX944" fmla="*/ 2172815 w 2663946"/>
                <a:gd name="connsiteY944" fmla="*/ 98066 h 349382"/>
                <a:gd name="connsiteX945" fmla="*/ 2172570 w 2663946"/>
                <a:gd name="connsiteY945" fmla="*/ 95092 h 349382"/>
                <a:gd name="connsiteX946" fmla="*/ 2172815 w 2663946"/>
                <a:gd name="connsiteY946" fmla="*/ 95362 h 349382"/>
                <a:gd name="connsiteX947" fmla="*/ 2172815 w 2663946"/>
                <a:gd name="connsiteY947" fmla="*/ 89684 h 349382"/>
                <a:gd name="connsiteX948" fmla="*/ 2172815 w 2663946"/>
                <a:gd name="connsiteY948" fmla="*/ 89414 h 349382"/>
                <a:gd name="connsiteX949" fmla="*/ 2173307 w 2663946"/>
                <a:gd name="connsiteY949" fmla="*/ 84817 h 349382"/>
                <a:gd name="connsiteX950" fmla="*/ 2174536 w 2663946"/>
                <a:gd name="connsiteY950" fmla="*/ 79410 h 349382"/>
                <a:gd name="connsiteX951" fmla="*/ 2175519 w 2663946"/>
                <a:gd name="connsiteY951" fmla="*/ 76165 h 349382"/>
                <a:gd name="connsiteX952" fmla="*/ 2177731 w 2663946"/>
                <a:gd name="connsiteY952" fmla="*/ 71028 h 349382"/>
                <a:gd name="connsiteX953" fmla="*/ 2179944 w 2663946"/>
                <a:gd name="connsiteY953" fmla="*/ 67243 h 349382"/>
                <a:gd name="connsiteX954" fmla="*/ 2182156 w 2663946"/>
                <a:gd name="connsiteY954" fmla="*/ 64268 h 349382"/>
                <a:gd name="connsiteX955" fmla="*/ 2184368 w 2663946"/>
                <a:gd name="connsiteY955" fmla="*/ 61835 h 349382"/>
                <a:gd name="connsiteX956" fmla="*/ 2189038 w 2663946"/>
                <a:gd name="connsiteY956" fmla="*/ 58050 h 349382"/>
                <a:gd name="connsiteX957" fmla="*/ 2192971 w 2663946"/>
                <a:gd name="connsiteY957" fmla="*/ 55887 h 349382"/>
                <a:gd name="connsiteX958" fmla="*/ 2202558 w 2663946"/>
                <a:gd name="connsiteY958" fmla="*/ 53453 h 349382"/>
                <a:gd name="connsiteX959" fmla="*/ 2020607 w 2663946"/>
                <a:gd name="connsiteY959" fmla="*/ 53453 h 349382"/>
                <a:gd name="connsiteX960" fmla="*/ 2032897 w 2663946"/>
                <a:gd name="connsiteY960" fmla="*/ 55616 h 349382"/>
                <a:gd name="connsiteX961" fmla="*/ 2040271 w 2663946"/>
                <a:gd name="connsiteY961" fmla="*/ 60213 h 349382"/>
                <a:gd name="connsiteX962" fmla="*/ 2043712 w 2663946"/>
                <a:gd name="connsiteY962" fmla="*/ 63457 h 349382"/>
                <a:gd name="connsiteX963" fmla="*/ 2047154 w 2663946"/>
                <a:gd name="connsiteY963" fmla="*/ 67783 h 349382"/>
                <a:gd name="connsiteX964" fmla="*/ 2049120 w 2663946"/>
                <a:gd name="connsiteY964" fmla="*/ 71298 h 349382"/>
                <a:gd name="connsiteX965" fmla="*/ 2051332 w 2663946"/>
                <a:gd name="connsiteY965" fmla="*/ 76706 h 349382"/>
                <a:gd name="connsiteX966" fmla="*/ 2052315 w 2663946"/>
                <a:gd name="connsiteY966" fmla="*/ 80221 h 349382"/>
                <a:gd name="connsiteX967" fmla="*/ 2053299 w 2663946"/>
                <a:gd name="connsiteY967" fmla="*/ 85358 h 349382"/>
                <a:gd name="connsiteX968" fmla="*/ 2053053 w 2663946"/>
                <a:gd name="connsiteY968" fmla="*/ 99688 h 349382"/>
                <a:gd name="connsiteX969" fmla="*/ 2052070 w 2663946"/>
                <a:gd name="connsiteY969" fmla="*/ 104555 h 349382"/>
                <a:gd name="connsiteX970" fmla="*/ 2050840 w 2663946"/>
                <a:gd name="connsiteY970" fmla="*/ 108340 h 349382"/>
                <a:gd name="connsiteX971" fmla="*/ 2049857 w 2663946"/>
                <a:gd name="connsiteY971" fmla="*/ 110774 h 349382"/>
                <a:gd name="connsiteX972" fmla="*/ 2047645 w 2663946"/>
                <a:gd name="connsiteY972" fmla="*/ 115100 h 349382"/>
                <a:gd name="connsiteX973" fmla="*/ 2045433 w 2663946"/>
                <a:gd name="connsiteY973" fmla="*/ 118344 h 349382"/>
                <a:gd name="connsiteX974" fmla="*/ 2041992 w 2663946"/>
                <a:gd name="connsiteY974" fmla="*/ 122130 h 349382"/>
                <a:gd name="connsiteX975" fmla="*/ 2038796 w 2663946"/>
                <a:gd name="connsiteY975" fmla="*/ 124833 h 349382"/>
                <a:gd name="connsiteX976" fmla="*/ 2033143 w 2663946"/>
                <a:gd name="connsiteY976" fmla="*/ 128078 h 349382"/>
                <a:gd name="connsiteX977" fmla="*/ 2025277 w 2663946"/>
                <a:gd name="connsiteY977" fmla="*/ 130241 h 349382"/>
                <a:gd name="connsiteX978" fmla="*/ 2024048 w 2663946"/>
                <a:gd name="connsiteY978" fmla="*/ 130512 h 349382"/>
                <a:gd name="connsiteX979" fmla="*/ 2019869 w 2663946"/>
                <a:gd name="connsiteY979" fmla="*/ 130512 h 349382"/>
                <a:gd name="connsiteX980" fmla="*/ 2019624 w 2663946"/>
                <a:gd name="connsiteY980" fmla="*/ 130512 h 349382"/>
                <a:gd name="connsiteX981" fmla="*/ 2006596 w 2663946"/>
                <a:gd name="connsiteY981" fmla="*/ 125645 h 349382"/>
                <a:gd name="connsiteX982" fmla="*/ 2001926 w 2663946"/>
                <a:gd name="connsiteY982" fmla="*/ 121589 h 349382"/>
                <a:gd name="connsiteX983" fmla="*/ 1998730 w 2663946"/>
                <a:gd name="connsiteY983" fmla="*/ 117804 h 349382"/>
                <a:gd name="connsiteX984" fmla="*/ 1996518 w 2663946"/>
                <a:gd name="connsiteY984" fmla="*/ 114289 h 349382"/>
                <a:gd name="connsiteX985" fmla="*/ 1994306 w 2663946"/>
                <a:gd name="connsiteY985" fmla="*/ 109963 h 349382"/>
                <a:gd name="connsiteX986" fmla="*/ 1993077 w 2663946"/>
                <a:gd name="connsiteY986" fmla="*/ 106988 h 349382"/>
                <a:gd name="connsiteX987" fmla="*/ 1992094 w 2663946"/>
                <a:gd name="connsiteY987" fmla="*/ 103744 h 349382"/>
                <a:gd name="connsiteX988" fmla="*/ 1990864 w 2663946"/>
                <a:gd name="connsiteY988" fmla="*/ 98066 h 349382"/>
                <a:gd name="connsiteX989" fmla="*/ 1990619 w 2663946"/>
                <a:gd name="connsiteY989" fmla="*/ 95092 h 349382"/>
                <a:gd name="connsiteX990" fmla="*/ 1990864 w 2663946"/>
                <a:gd name="connsiteY990" fmla="*/ 95362 h 349382"/>
                <a:gd name="connsiteX991" fmla="*/ 1990864 w 2663946"/>
                <a:gd name="connsiteY991" fmla="*/ 89684 h 349382"/>
                <a:gd name="connsiteX992" fmla="*/ 1990864 w 2663946"/>
                <a:gd name="connsiteY992" fmla="*/ 89414 h 349382"/>
                <a:gd name="connsiteX993" fmla="*/ 1991356 w 2663946"/>
                <a:gd name="connsiteY993" fmla="*/ 84817 h 349382"/>
                <a:gd name="connsiteX994" fmla="*/ 1992585 w 2663946"/>
                <a:gd name="connsiteY994" fmla="*/ 79410 h 349382"/>
                <a:gd name="connsiteX995" fmla="*/ 1993568 w 2663946"/>
                <a:gd name="connsiteY995" fmla="*/ 76165 h 349382"/>
                <a:gd name="connsiteX996" fmla="*/ 1995780 w 2663946"/>
                <a:gd name="connsiteY996" fmla="*/ 71028 h 349382"/>
                <a:gd name="connsiteX997" fmla="*/ 1997993 w 2663946"/>
                <a:gd name="connsiteY997" fmla="*/ 67243 h 349382"/>
                <a:gd name="connsiteX998" fmla="*/ 2000205 w 2663946"/>
                <a:gd name="connsiteY998" fmla="*/ 64268 h 349382"/>
                <a:gd name="connsiteX999" fmla="*/ 2002417 w 2663946"/>
                <a:gd name="connsiteY999" fmla="*/ 61835 h 349382"/>
                <a:gd name="connsiteX1000" fmla="*/ 2007087 w 2663946"/>
                <a:gd name="connsiteY1000" fmla="*/ 58050 h 349382"/>
                <a:gd name="connsiteX1001" fmla="*/ 2011020 w 2663946"/>
                <a:gd name="connsiteY1001" fmla="*/ 55887 h 349382"/>
                <a:gd name="connsiteX1002" fmla="*/ 2020607 w 2663946"/>
                <a:gd name="connsiteY1002" fmla="*/ 53453 h 349382"/>
                <a:gd name="connsiteX1003" fmla="*/ 1595683 w 2663946"/>
                <a:gd name="connsiteY1003" fmla="*/ 53453 h 349382"/>
                <a:gd name="connsiteX1004" fmla="*/ 1607973 w 2663946"/>
                <a:gd name="connsiteY1004" fmla="*/ 55616 h 349382"/>
                <a:gd name="connsiteX1005" fmla="*/ 1615347 w 2663946"/>
                <a:gd name="connsiteY1005" fmla="*/ 60213 h 349382"/>
                <a:gd name="connsiteX1006" fmla="*/ 1618788 w 2663946"/>
                <a:gd name="connsiteY1006" fmla="*/ 63457 h 349382"/>
                <a:gd name="connsiteX1007" fmla="*/ 1622230 w 2663946"/>
                <a:gd name="connsiteY1007" fmla="*/ 67783 h 349382"/>
                <a:gd name="connsiteX1008" fmla="*/ 1624196 w 2663946"/>
                <a:gd name="connsiteY1008" fmla="*/ 71298 h 349382"/>
                <a:gd name="connsiteX1009" fmla="*/ 1626408 w 2663946"/>
                <a:gd name="connsiteY1009" fmla="*/ 76706 h 349382"/>
                <a:gd name="connsiteX1010" fmla="*/ 1627391 w 2663946"/>
                <a:gd name="connsiteY1010" fmla="*/ 80221 h 349382"/>
                <a:gd name="connsiteX1011" fmla="*/ 1628374 w 2663946"/>
                <a:gd name="connsiteY1011" fmla="*/ 85358 h 349382"/>
                <a:gd name="connsiteX1012" fmla="*/ 1628129 w 2663946"/>
                <a:gd name="connsiteY1012" fmla="*/ 99688 h 349382"/>
                <a:gd name="connsiteX1013" fmla="*/ 1627146 w 2663946"/>
                <a:gd name="connsiteY1013" fmla="*/ 104555 h 349382"/>
                <a:gd name="connsiteX1014" fmla="*/ 1625916 w 2663946"/>
                <a:gd name="connsiteY1014" fmla="*/ 108340 h 349382"/>
                <a:gd name="connsiteX1015" fmla="*/ 1624933 w 2663946"/>
                <a:gd name="connsiteY1015" fmla="*/ 110774 h 349382"/>
                <a:gd name="connsiteX1016" fmla="*/ 1622721 w 2663946"/>
                <a:gd name="connsiteY1016" fmla="*/ 115100 h 349382"/>
                <a:gd name="connsiteX1017" fmla="*/ 1620509 w 2663946"/>
                <a:gd name="connsiteY1017" fmla="*/ 118344 h 349382"/>
                <a:gd name="connsiteX1018" fmla="*/ 1617068 w 2663946"/>
                <a:gd name="connsiteY1018" fmla="*/ 122130 h 349382"/>
                <a:gd name="connsiteX1019" fmla="*/ 1613872 w 2663946"/>
                <a:gd name="connsiteY1019" fmla="*/ 124833 h 349382"/>
                <a:gd name="connsiteX1020" fmla="*/ 1608219 w 2663946"/>
                <a:gd name="connsiteY1020" fmla="*/ 128078 h 349382"/>
                <a:gd name="connsiteX1021" fmla="*/ 1600353 w 2663946"/>
                <a:gd name="connsiteY1021" fmla="*/ 130241 h 349382"/>
                <a:gd name="connsiteX1022" fmla="*/ 1599124 w 2663946"/>
                <a:gd name="connsiteY1022" fmla="*/ 130512 h 349382"/>
                <a:gd name="connsiteX1023" fmla="*/ 1594945 w 2663946"/>
                <a:gd name="connsiteY1023" fmla="*/ 130512 h 349382"/>
                <a:gd name="connsiteX1024" fmla="*/ 1594699 w 2663946"/>
                <a:gd name="connsiteY1024" fmla="*/ 130512 h 349382"/>
                <a:gd name="connsiteX1025" fmla="*/ 1581672 w 2663946"/>
                <a:gd name="connsiteY1025" fmla="*/ 125645 h 349382"/>
                <a:gd name="connsiteX1026" fmla="*/ 1577002 w 2663946"/>
                <a:gd name="connsiteY1026" fmla="*/ 121589 h 349382"/>
                <a:gd name="connsiteX1027" fmla="*/ 1573806 w 2663946"/>
                <a:gd name="connsiteY1027" fmla="*/ 117804 h 349382"/>
                <a:gd name="connsiteX1028" fmla="*/ 1571594 w 2663946"/>
                <a:gd name="connsiteY1028" fmla="*/ 114289 h 349382"/>
                <a:gd name="connsiteX1029" fmla="*/ 1569382 w 2663946"/>
                <a:gd name="connsiteY1029" fmla="*/ 109963 h 349382"/>
                <a:gd name="connsiteX1030" fmla="*/ 1568153 w 2663946"/>
                <a:gd name="connsiteY1030" fmla="*/ 106988 h 349382"/>
                <a:gd name="connsiteX1031" fmla="*/ 1567169 w 2663946"/>
                <a:gd name="connsiteY1031" fmla="*/ 103744 h 349382"/>
                <a:gd name="connsiteX1032" fmla="*/ 1565940 w 2663946"/>
                <a:gd name="connsiteY1032" fmla="*/ 98066 h 349382"/>
                <a:gd name="connsiteX1033" fmla="*/ 1565695 w 2663946"/>
                <a:gd name="connsiteY1033" fmla="*/ 95092 h 349382"/>
                <a:gd name="connsiteX1034" fmla="*/ 1565940 w 2663946"/>
                <a:gd name="connsiteY1034" fmla="*/ 95362 h 349382"/>
                <a:gd name="connsiteX1035" fmla="*/ 1565940 w 2663946"/>
                <a:gd name="connsiteY1035" fmla="*/ 89684 h 349382"/>
                <a:gd name="connsiteX1036" fmla="*/ 1565940 w 2663946"/>
                <a:gd name="connsiteY1036" fmla="*/ 89414 h 349382"/>
                <a:gd name="connsiteX1037" fmla="*/ 1566432 w 2663946"/>
                <a:gd name="connsiteY1037" fmla="*/ 84817 h 349382"/>
                <a:gd name="connsiteX1038" fmla="*/ 1567661 w 2663946"/>
                <a:gd name="connsiteY1038" fmla="*/ 79410 h 349382"/>
                <a:gd name="connsiteX1039" fmla="*/ 1568644 w 2663946"/>
                <a:gd name="connsiteY1039" fmla="*/ 76165 h 349382"/>
                <a:gd name="connsiteX1040" fmla="*/ 1570856 w 2663946"/>
                <a:gd name="connsiteY1040" fmla="*/ 71028 h 349382"/>
                <a:gd name="connsiteX1041" fmla="*/ 1573069 w 2663946"/>
                <a:gd name="connsiteY1041" fmla="*/ 67243 h 349382"/>
                <a:gd name="connsiteX1042" fmla="*/ 1575281 w 2663946"/>
                <a:gd name="connsiteY1042" fmla="*/ 64268 h 349382"/>
                <a:gd name="connsiteX1043" fmla="*/ 1577493 w 2663946"/>
                <a:gd name="connsiteY1043" fmla="*/ 61835 h 349382"/>
                <a:gd name="connsiteX1044" fmla="*/ 1582163 w 2663946"/>
                <a:gd name="connsiteY1044" fmla="*/ 58050 h 349382"/>
                <a:gd name="connsiteX1045" fmla="*/ 1586096 w 2663946"/>
                <a:gd name="connsiteY1045" fmla="*/ 55887 h 349382"/>
                <a:gd name="connsiteX1046" fmla="*/ 1595683 w 2663946"/>
                <a:gd name="connsiteY1046" fmla="*/ 53453 h 349382"/>
                <a:gd name="connsiteX1047" fmla="*/ 1246776 w 2663946"/>
                <a:gd name="connsiteY1047" fmla="*/ 53453 h 349382"/>
                <a:gd name="connsiteX1048" fmla="*/ 1259066 w 2663946"/>
                <a:gd name="connsiteY1048" fmla="*/ 55616 h 349382"/>
                <a:gd name="connsiteX1049" fmla="*/ 1266440 w 2663946"/>
                <a:gd name="connsiteY1049" fmla="*/ 60213 h 349382"/>
                <a:gd name="connsiteX1050" fmla="*/ 1269881 w 2663946"/>
                <a:gd name="connsiteY1050" fmla="*/ 63457 h 349382"/>
                <a:gd name="connsiteX1051" fmla="*/ 1273323 w 2663946"/>
                <a:gd name="connsiteY1051" fmla="*/ 67783 h 349382"/>
                <a:gd name="connsiteX1052" fmla="*/ 1275289 w 2663946"/>
                <a:gd name="connsiteY1052" fmla="*/ 71298 h 349382"/>
                <a:gd name="connsiteX1053" fmla="*/ 1277501 w 2663946"/>
                <a:gd name="connsiteY1053" fmla="*/ 76706 h 349382"/>
                <a:gd name="connsiteX1054" fmla="*/ 1278484 w 2663946"/>
                <a:gd name="connsiteY1054" fmla="*/ 80221 h 349382"/>
                <a:gd name="connsiteX1055" fmla="*/ 1279467 w 2663946"/>
                <a:gd name="connsiteY1055" fmla="*/ 85358 h 349382"/>
                <a:gd name="connsiteX1056" fmla="*/ 1279222 w 2663946"/>
                <a:gd name="connsiteY1056" fmla="*/ 99688 h 349382"/>
                <a:gd name="connsiteX1057" fmla="*/ 1278239 w 2663946"/>
                <a:gd name="connsiteY1057" fmla="*/ 104555 h 349382"/>
                <a:gd name="connsiteX1058" fmla="*/ 1277009 w 2663946"/>
                <a:gd name="connsiteY1058" fmla="*/ 108340 h 349382"/>
                <a:gd name="connsiteX1059" fmla="*/ 1276026 w 2663946"/>
                <a:gd name="connsiteY1059" fmla="*/ 110774 h 349382"/>
                <a:gd name="connsiteX1060" fmla="*/ 1273814 w 2663946"/>
                <a:gd name="connsiteY1060" fmla="*/ 115100 h 349382"/>
                <a:gd name="connsiteX1061" fmla="*/ 1271602 w 2663946"/>
                <a:gd name="connsiteY1061" fmla="*/ 118344 h 349382"/>
                <a:gd name="connsiteX1062" fmla="*/ 1268161 w 2663946"/>
                <a:gd name="connsiteY1062" fmla="*/ 122130 h 349382"/>
                <a:gd name="connsiteX1063" fmla="*/ 1264965 w 2663946"/>
                <a:gd name="connsiteY1063" fmla="*/ 124833 h 349382"/>
                <a:gd name="connsiteX1064" fmla="*/ 1259312 w 2663946"/>
                <a:gd name="connsiteY1064" fmla="*/ 128078 h 349382"/>
                <a:gd name="connsiteX1065" fmla="*/ 1251446 w 2663946"/>
                <a:gd name="connsiteY1065" fmla="*/ 130241 h 349382"/>
                <a:gd name="connsiteX1066" fmla="*/ 1250217 w 2663946"/>
                <a:gd name="connsiteY1066" fmla="*/ 130512 h 349382"/>
                <a:gd name="connsiteX1067" fmla="*/ 1246038 w 2663946"/>
                <a:gd name="connsiteY1067" fmla="*/ 130512 h 349382"/>
                <a:gd name="connsiteX1068" fmla="*/ 1245792 w 2663946"/>
                <a:gd name="connsiteY1068" fmla="*/ 130512 h 349382"/>
                <a:gd name="connsiteX1069" fmla="*/ 1232765 w 2663946"/>
                <a:gd name="connsiteY1069" fmla="*/ 125645 h 349382"/>
                <a:gd name="connsiteX1070" fmla="*/ 1228095 w 2663946"/>
                <a:gd name="connsiteY1070" fmla="*/ 121589 h 349382"/>
                <a:gd name="connsiteX1071" fmla="*/ 1224899 w 2663946"/>
                <a:gd name="connsiteY1071" fmla="*/ 117804 h 349382"/>
                <a:gd name="connsiteX1072" fmla="*/ 1222687 w 2663946"/>
                <a:gd name="connsiteY1072" fmla="*/ 114289 h 349382"/>
                <a:gd name="connsiteX1073" fmla="*/ 1220475 w 2663946"/>
                <a:gd name="connsiteY1073" fmla="*/ 109963 h 349382"/>
                <a:gd name="connsiteX1074" fmla="*/ 1219246 w 2663946"/>
                <a:gd name="connsiteY1074" fmla="*/ 106988 h 349382"/>
                <a:gd name="connsiteX1075" fmla="*/ 1218262 w 2663946"/>
                <a:gd name="connsiteY1075" fmla="*/ 103744 h 349382"/>
                <a:gd name="connsiteX1076" fmla="*/ 1217033 w 2663946"/>
                <a:gd name="connsiteY1076" fmla="*/ 98066 h 349382"/>
                <a:gd name="connsiteX1077" fmla="*/ 1216788 w 2663946"/>
                <a:gd name="connsiteY1077" fmla="*/ 95092 h 349382"/>
                <a:gd name="connsiteX1078" fmla="*/ 1217033 w 2663946"/>
                <a:gd name="connsiteY1078" fmla="*/ 95362 h 349382"/>
                <a:gd name="connsiteX1079" fmla="*/ 1217033 w 2663946"/>
                <a:gd name="connsiteY1079" fmla="*/ 89684 h 349382"/>
                <a:gd name="connsiteX1080" fmla="*/ 1217033 w 2663946"/>
                <a:gd name="connsiteY1080" fmla="*/ 89414 h 349382"/>
                <a:gd name="connsiteX1081" fmla="*/ 1217525 w 2663946"/>
                <a:gd name="connsiteY1081" fmla="*/ 84817 h 349382"/>
                <a:gd name="connsiteX1082" fmla="*/ 1218754 w 2663946"/>
                <a:gd name="connsiteY1082" fmla="*/ 79410 h 349382"/>
                <a:gd name="connsiteX1083" fmla="*/ 1219737 w 2663946"/>
                <a:gd name="connsiteY1083" fmla="*/ 76165 h 349382"/>
                <a:gd name="connsiteX1084" fmla="*/ 1221949 w 2663946"/>
                <a:gd name="connsiteY1084" fmla="*/ 71028 h 349382"/>
                <a:gd name="connsiteX1085" fmla="*/ 1224162 w 2663946"/>
                <a:gd name="connsiteY1085" fmla="*/ 67243 h 349382"/>
                <a:gd name="connsiteX1086" fmla="*/ 1226374 w 2663946"/>
                <a:gd name="connsiteY1086" fmla="*/ 64268 h 349382"/>
                <a:gd name="connsiteX1087" fmla="*/ 1228586 w 2663946"/>
                <a:gd name="connsiteY1087" fmla="*/ 61835 h 349382"/>
                <a:gd name="connsiteX1088" fmla="*/ 1233256 w 2663946"/>
                <a:gd name="connsiteY1088" fmla="*/ 58050 h 349382"/>
                <a:gd name="connsiteX1089" fmla="*/ 1237189 w 2663946"/>
                <a:gd name="connsiteY1089" fmla="*/ 55887 h 349382"/>
                <a:gd name="connsiteX1090" fmla="*/ 1246776 w 2663946"/>
                <a:gd name="connsiteY1090" fmla="*/ 53453 h 349382"/>
                <a:gd name="connsiteX1091" fmla="*/ 1064825 w 2663946"/>
                <a:gd name="connsiteY1091" fmla="*/ 53453 h 349382"/>
                <a:gd name="connsiteX1092" fmla="*/ 1077115 w 2663946"/>
                <a:gd name="connsiteY1092" fmla="*/ 55616 h 349382"/>
                <a:gd name="connsiteX1093" fmla="*/ 1084489 w 2663946"/>
                <a:gd name="connsiteY1093" fmla="*/ 60213 h 349382"/>
                <a:gd name="connsiteX1094" fmla="*/ 1087930 w 2663946"/>
                <a:gd name="connsiteY1094" fmla="*/ 63457 h 349382"/>
                <a:gd name="connsiteX1095" fmla="*/ 1091372 w 2663946"/>
                <a:gd name="connsiteY1095" fmla="*/ 67783 h 349382"/>
                <a:gd name="connsiteX1096" fmla="*/ 1093338 w 2663946"/>
                <a:gd name="connsiteY1096" fmla="*/ 71298 h 349382"/>
                <a:gd name="connsiteX1097" fmla="*/ 1095550 w 2663946"/>
                <a:gd name="connsiteY1097" fmla="*/ 76706 h 349382"/>
                <a:gd name="connsiteX1098" fmla="*/ 1096533 w 2663946"/>
                <a:gd name="connsiteY1098" fmla="*/ 80221 h 349382"/>
                <a:gd name="connsiteX1099" fmla="*/ 1097516 w 2663946"/>
                <a:gd name="connsiteY1099" fmla="*/ 85358 h 349382"/>
                <a:gd name="connsiteX1100" fmla="*/ 1097271 w 2663946"/>
                <a:gd name="connsiteY1100" fmla="*/ 99688 h 349382"/>
                <a:gd name="connsiteX1101" fmla="*/ 1096288 w 2663946"/>
                <a:gd name="connsiteY1101" fmla="*/ 104555 h 349382"/>
                <a:gd name="connsiteX1102" fmla="*/ 1095058 w 2663946"/>
                <a:gd name="connsiteY1102" fmla="*/ 108340 h 349382"/>
                <a:gd name="connsiteX1103" fmla="*/ 1094075 w 2663946"/>
                <a:gd name="connsiteY1103" fmla="*/ 110774 h 349382"/>
                <a:gd name="connsiteX1104" fmla="*/ 1091863 w 2663946"/>
                <a:gd name="connsiteY1104" fmla="*/ 115100 h 349382"/>
                <a:gd name="connsiteX1105" fmla="*/ 1089651 w 2663946"/>
                <a:gd name="connsiteY1105" fmla="*/ 118344 h 349382"/>
                <a:gd name="connsiteX1106" fmla="*/ 1086210 w 2663946"/>
                <a:gd name="connsiteY1106" fmla="*/ 122130 h 349382"/>
                <a:gd name="connsiteX1107" fmla="*/ 1083014 w 2663946"/>
                <a:gd name="connsiteY1107" fmla="*/ 124833 h 349382"/>
                <a:gd name="connsiteX1108" fmla="*/ 1077361 w 2663946"/>
                <a:gd name="connsiteY1108" fmla="*/ 128078 h 349382"/>
                <a:gd name="connsiteX1109" fmla="*/ 1069495 w 2663946"/>
                <a:gd name="connsiteY1109" fmla="*/ 130241 h 349382"/>
                <a:gd name="connsiteX1110" fmla="*/ 1068266 w 2663946"/>
                <a:gd name="connsiteY1110" fmla="*/ 130512 h 349382"/>
                <a:gd name="connsiteX1111" fmla="*/ 1064087 w 2663946"/>
                <a:gd name="connsiteY1111" fmla="*/ 130512 h 349382"/>
                <a:gd name="connsiteX1112" fmla="*/ 1063841 w 2663946"/>
                <a:gd name="connsiteY1112" fmla="*/ 130512 h 349382"/>
                <a:gd name="connsiteX1113" fmla="*/ 1050814 w 2663946"/>
                <a:gd name="connsiteY1113" fmla="*/ 125645 h 349382"/>
                <a:gd name="connsiteX1114" fmla="*/ 1046144 w 2663946"/>
                <a:gd name="connsiteY1114" fmla="*/ 121589 h 349382"/>
                <a:gd name="connsiteX1115" fmla="*/ 1042948 w 2663946"/>
                <a:gd name="connsiteY1115" fmla="*/ 117804 h 349382"/>
                <a:gd name="connsiteX1116" fmla="*/ 1040736 w 2663946"/>
                <a:gd name="connsiteY1116" fmla="*/ 114289 h 349382"/>
                <a:gd name="connsiteX1117" fmla="*/ 1038524 w 2663946"/>
                <a:gd name="connsiteY1117" fmla="*/ 109963 h 349382"/>
                <a:gd name="connsiteX1118" fmla="*/ 1037295 w 2663946"/>
                <a:gd name="connsiteY1118" fmla="*/ 106988 h 349382"/>
                <a:gd name="connsiteX1119" fmla="*/ 1036311 w 2663946"/>
                <a:gd name="connsiteY1119" fmla="*/ 103744 h 349382"/>
                <a:gd name="connsiteX1120" fmla="*/ 1035082 w 2663946"/>
                <a:gd name="connsiteY1120" fmla="*/ 98066 h 349382"/>
                <a:gd name="connsiteX1121" fmla="*/ 1034837 w 2663946"/>
                <a:gd name="connsiteY1121" fmla="*/ 95092 h 349382"/>
                <a:gd name="connsiteX1122" fmla="*/ 1035082 w 2663946"/>
                <a:gd name="connsiteY1122" fmla="*/ 95362 h 349382"/>
                <a:gd name="connsiteX1123" fmla="*/ 1035082 w 2663946"/>
                <a:gd name="connsiteY1123" fmla="*/ 89684 h 349382"/>
                <a:gd name="connsiteX1124" fmla="*/ 1035082 w 2663946"/>
                <a:gd name="connsiteY1124" fmla="*/ 89414 h 349382"/>
                <a:gd name="connsiteX1125" fmla="*/ 1035574 w 2663946"/>
                <a:gd name="connsiteY1125" fmla="*/ 84817 h 349382"/>
                <a:gd name="connsiteX1126" fmla="*/ 1036803 w 2663946"/>
                <a:gd name="connsiteY1126" fmla="*/ 79410 h 349382"/>
                <a:gd name="connsiteX1127" fmla="*/ 1037786 w 2663946"/>
                <a:gd name="connsiteY1127" fmla="*/ 76165 h 349382"/>
                <a:gd name="connsiteX1128" fmla="*/ 1039998 w 2663946"/>
                <a:gd name="connsiteY1128" fmla="*/ 71028 h 349382"/>
                <a:gd name="connsiteX1129" fmla="*/ 1042211 w 2663946"/>
                <a:gd name="connsiteY1129" fmla="*/ 67243 h 349382"/>
                <a:gd name="connsiteX1130" fmla="*/ 1044423 w 2663946"/>
                <a:gd name="connsiteY1130" fmla="*/ 64268 h 349382"/>
                <a:gd name="connsiteX1131" fmla="*/ 1046635 w 2663946"/>
                <a:gd name="connsiteY1131" fmla="*/ 61835 h 349382"/>
                <a:gd name="connsiteX1132" fmla="*/ 1051305 w 2663946"/>
                <a:gd name="connsiteY1132" fmla="*/ 58050 h 349382"/>
                <a:gd name="connsiteX1133" fmla="*/ 1055238 w 2663946"/>
                <a:gd name="connsiteY1133" fmla="*/ 55887 h 349382"/>
                <a:gd name="connsiteX1134" fmla="*/ 1064825 w 2663946"/>
                <a:gd name="connsiteY1134" fmla="*/ 53453 h 349382"/>
                <a:gd name="connsiteX1135" fmla="*/ 897796 w 2663946"/>
                <a:gd name="connsiteY1135" fmla="*/ 53453 h 349382"/>
                <a:gd name="connsiteX1136" fmla="*/ 910086 w 2663946"/>
                <a:gd name="connsiteY1136" fmla="*/ 55616 h 349382"/>
                <a:gd name="connsiteX1137" fmla="*/ 917460 w 2663946"/>
                <a:gd name="connsiteY1137" fmla="*/ 60213 h 349382"/>
                <a:gd name="connsiteX1138" fmla="*/ 920901 w 2663946"/>
                <a:gd name="connsiteY1138" fmla="*/ 63457 h 349382"/>
                <a:gd name="connsiteX1139" fmla="*/ 924343 w 2663946"/>
                <a:gd name="connsiteY1139" fmla="*/ 67783 h 349382"/>
                <a:gd name="connsiteX1140" fmla="*/ 926309 w 2663946"/>
                <a:gd name="connsiteY1140" fmla="*/ 71298 h 349382"/>
                <a:gd name="connsiteX1141" fmla="*/ 928521 w 2663946"/>
                <a:gd name="connsiteY1141" fmla="*/ 76706 h 349382"/>
                <a:gd name="connsiteX1142" fmla="*/ 929504 w 2663946"/>
                <a:gd name="connsiteY1142" fmla="*/ 80221 h 349382"/>
                <a:gd name="connsiteX1143" fmla="*/ 930487 w 2663946"/>
                <a:gd name="connsiteY1143" fmla="*/ 85358 h 349382"/>
                <a:gd name="connsiteX1144" fmla="*/ 930242 w 2663946"/>
                <a:gd name="connsiteY1144" fmla="*/ 99688 h 349382"/>
                <a:gd name="connsiteX1145" fmla="*/ 929259 w 2663946"/>
                <a:gd name="connsiteY1145" fmla="*/ 104555 h 349382"/>
                <a:gd name="connsiteX1146" fmla="*/ 928029 w 2663946"/>
                <a:gd name="connsiteY1146" fmla="*/ 108340 h 349382"/>
                <a:gd name="connsiteX1147" fmla="*/ 927046 w 2663946"/>
                <a:gd name="connsiteY1147" fmla="*/ 110774 h 349382"/>
                <a:gd name="connsiteX1148" fmla="*/ 924834 w 2663946"/>
                <a:gd name="connsiteY1148" fmla="*/ 115100 h 349382"/>
                <a:gd name="connsiteX1149" fmla="*/ 922622 w 2663946"/>
                <a:gd name="connsiteY1149" fmla="*/ 118344 h 349382"/>
                <a:gd name="connsiteX1150" fmla="*/ 919181 w 2663946"/>
                <a:gd name="connsiteY1150" fmla="*/ 122130 h 349382"/>
                <a:gd name="connsiteX1151" fmla="*/ 915985 w 2663946"/>
                <a:gd name="connsiteY1151" fmla="*/ 124833 h 349382"/>
                <a:gd name="connsiteX1152" fmla="*/ 910332 w 2663946"/>
                <a:gd name="connsiteY1152" fmla="*/ 128078 h 349382"/>
                <a:gd name="connsiteX1153" fmla="*/ 902466 w 2663946"/>
                <a:gd name="connsiteY1153" fmla="*/ 130241 h 349382"/>
                <a:gd name="connsiteX1154" fmla="*/ 901237 w 2663946"/>
                <a:gd name="connsiteY1154" fmla="*/ 130512 h 349382"/>
                <a:gd name="connsiteX1155" fmla="*/ 897058 w 2663946"/>
                <a:gd name="connsiteY1155" fmla="*/ 130512 h 349382"/>
                <a:gd name="connsiteX1156" fmla="*/ 896812 w 2663946"/>
                <a:gd name="connsiteY1156" fmla="*/ 130512 h 349382"/>
                <a:gd name="connsiteX1157" fmla="*/ 883785 w 2663946"/>
                <a:gd name="connsiteY1157" fmla="*/ 125645 h 349382"/>
                <a:gd name="connsiteX1158" fmla="*/ 879115 w 2663946"/>
                <a:gd name="connsiteY1158" fmla="*/ 121589 h 349382"/>
                <a:gd name="connsiteX1159" fmla="*/ 875919 w 2663946"/>
                <a:gd name="connsiteY1159" fmla="*/ 117804 h 349382"/>
                <a:gd name="connsiteX1160" fmla="*/ 873707 w 2663946"/>
                <a:gd name="connsiteY1160" fmla="*/ 114289 h 349382"/>
                <a:gd name="connsiteX1161" fmla="*/ 871495 w 2663946"/>
                <a:gd name="connsiteY1161" fmla="*/ 109963 h 349382"/>
                <a:gd name="connsiteX1162" fmla="*/ 870266 w 2663946"/>
                <a:gd name="connsiteY1162" fmla="*/ 106988 h 349382"/>
                <a:gd name="connsiteX1163" fmla="*/ 869282 w 2663946"/>
                <a:gd name="connsiteY1163" fmla="*/ 103744 h 349382"/>
                <a:gd name="connsiteX1164" fmla="*/ 868053 w 2663946"/>
                <a:gd name="connsiteY1164" fmla="*/ 98066 h 349382"/>
                <a:gd name="connsiteX1165" fmla="*/ 867808 w 2663946"/>
                <a:gd name="connsiteY1165" fmla="*/ 95092 h 349382"/>
                <a:gd name="connsiteX1166" fmla="*/ 868053 w 2663946"/>
                <a:gd name="connsiteY1166" fmla="*/ 95362 h 349382"/>
                <a:gd name="connsiteX1167" fmla="*/ 868053 w 2663946"/>
                <a:gd name="connsiteY1167" fmla="*/ 89684 h 349382"/>
                <a:gd name="connsiteX1168" fmla="*/ 868053 w 2663946"/>
                <a:gd name="connsiteY1168" fmla="*/ 89414 h 349382"/>
                <a:gd name="connsiteX1169" fmla="*/ 868545 w 2663946"/>
                <a:gd name="connsiteY1169" fmla="*/ 84817 h 349382"/>
                <a:gd name="connsiteX1170" fmla="*/ 869774 w 2663946"/>
                <a:gd name="connsiteY1170" fmla="*/ 79410 h 349382"/>
                <a:gd name="connsiteX1171" fmla="*/ 870757 w 2663946"/>
                <a:gd name="connsiteY1171" fmla="*/ 76165 h 349382"/>
                <a:gd name="connsiteX1172" fmla="*/ 872969 w 2663946"/>
                <a:gd name="connsiteY1172" fmla="*/ 71028 h 349382"/>
                <a:gd name="connsiteX1173" fmla="*/ 875182 w 2663946"/>
                <a:gd name="connsiteY1173" fmla="*/ 67243 h 349382"/>
                <a:gd name="connsiteX1174" fmla="*/ 877394 w 2663946"/>
                <a:gd name="connsiteY1174" fmla="*/ 64268 h 349382"/>
                <a:gd name="connsiteX1175" fmla="*/ 879606 w 2663946"/>
                <a:gd name="connsiteY1175" fmla="*/ 61835 h 349382"/>
                <a:gd name="connsiteX1176" fmla="*/ 884276 w 2663946"/>
                <a:gd name="connsiteY1176" fmla="*/ 58050 h 349382"/>
                <a:gd name="connsiteX1177" fmla="*/ 888209 w 2663946"/>
                <a:gd name="connsiteY1177" fmla="*/ 55887 h 349382"/>
                <a:gd name="connsiteX1178" fmla="*/ 897796 w 2663946"/>
                <a:gd name="connsiteY1178" fmla="*/ 53453 h 349382"/>
                <a:gd name="connsiteX1179" fmla="*/ 548889 w 2663946"/>
                <a:gd name="connsiteY1179" fmla="*/ 53453 h 349382"/>
                <a:gd name="connsiteX1180" fmla="*/ 561180 w 2663946"/>
                <a:gd name="connsiteY1180" fmla="*/ 55616 h 349382"/>
                <a:gd name="connsiteX1181" fmla="*/ 568554 w 2663946"/>
                <a:gd name="connsiteY1181" fmla="*/ 60213 h 349382"/>
                <a:gd name="connsiteX1182" fmla="*/ 571995 w 2663946"/>
                <a:gd name="connsiteY1182" fmla="*/ 63457 h 349382"/>
                <a:gd name="connsiteX1183" fmla="*/ 575436 w 2663946"/>
                <a:gd name="connsiteY1183" fmla="*/ 67783 h 349382"/>
                <a:gd name="connsiteX1184" fmla="*/ 577403 w 2663946"/>
                <a:gd name="connsiteY1184" fmla="*/ 71298 h 349382"/>
                <a:gd name="connsiteX1185" fmla="*/ 579615 w 2663946"/>
                <a:gd name="connsiteY1185" fmla="*/ 76706 h 349382"/>
                <a:gd name="connsiteX1186" fmla="*/ 580598 w 2663946"/>
                <a:gd name="connsiteY1186" fmla="*/ 80221 h 349382"/>
                <a:gd name="connsiteX1187" fmla="*/ 581581 w 2663946"/>
                <a:gd name="connsiteY1187" fmla="*/ 85358 h 349382"/>
                <a:gd name="connsiteX1188" fmla="*/ 581336 w 2663946"/>
                <a:gd name="connsiteY1188" fmla="*/ 99688 h 349382"/>
                <a:gd name="connsiteX1189" fmla="*/ 580352 w 2663946"/>
                <a:gd name="connsiteY1189" fmla="*/ 104555 h 349382"/>
                <a:gd name="connsiteX1190" fmla="*/ 579123 w 2663946"/>
                <a:gd name="connsiteY1190" fmla="*/ 108340 h 349382"/>
                <a:gd name="connsiteX1191" fmla="*/ 578140 w 2663946"/>
                <a:gd name="connsiteY1191" fmla="*/ 110774 h 349382"/>
                <a:gd name="connsiteX1192" fmla="*/ 575928 w 2663946"/>
                <a:gd name="connsiteY1192" fmla="*/ 115100 h 349382"/>
                <a:gd name="connsiteX1193" fmla="*/ 573715 w 2663946"/>
                <a:gd name="connsiteY1193" fmla="*/ 118344 h 349382"/>
                <a:gd name="connsiteX1194" fmla="*/ 570274 w 2663946"/>
                <a:gd name="connsiteY1194" fmla="*/ 122130 h 349382"/>
                <a:gd name="connsiteX1195" fmla="*/ 567079 w 2663946"/>
                <a:gd name="connsiteY1195" fmla="*/ 124833 h 349382"/>
                <a:gd name="connsiteX1196" fmla="*/ 561425 w 2663946"/>
                <a:gd name="connsiteY1196" fmla="*/ 128078 h 349382"/>
                <a:gd name="connsiteX1197" fmla="*/ 553559 w 2663946"/>
                <a:gd name="connsiteY1197" fmla="*/ 130241 h 349382"/>
                <a:gd name="connsiteX1198" fmla="*/ 552331 w 2663946"/>
                <a:gd name="connsiteY1198" fmla="*/ 130512 h 349382"/>
                <a:gd name="connsiteX1199" fmla="*/ 548152 w 2663946"/>
                <a:gd name="connsiteY1199" fmla="*/ 130512 h 349382"/>
                <a:gd name="connsiteX1200" fmla="*/ 547906 w 2663946"/>
                <a:gd name="connsiteY1200" fmla="*/ 130512 h 349382"/>
                <a:gd name="connsiteX1201" fmla="*/ 534879 w 2663946"/>
                <a:gd name="connsiteY1201" fmla="*/ 125645 h 349382"/>
                <a:gd name="connsiteX1202" fmla="*/ 530208 w 2663946"/>
                <a:gd name="connsiteY1202" fmla="*/ 121589 h 349382"/>
                <a:gd name="connsiteX1203" fmla="*/ 527013 w 2663946"/>
                <a:gd name="connsiteY1203" fmla="*/ 117804 h 349382"/>
                <a:gd name="connsiteX1204" fmla="*/ 524801 w 2663946"/>
                <a:gd name="connsiteY1204" fmla="*/ 114289 h 349382"/>
                <a:gd name="connsiteX1205" fmla="*/ 522588 w 2663946"/>
                <a:gd name="connsiteY1205" fmla="*/ 109963 h 349382"/>
                <a:gd name="connsiteX1206" fmla="*/ 521359 w 2663946"/>
                <a:gd name="connsiteY1206" fmla="*/ 106988 h 349382"/>
                <a:gd name="connsiteX1207" fmla="*/ 520376 w 2663946"/>
                <a:gd name="connsiteY1207" fmla="*/ 103744 h 349382"/>
                <a:gd name="connsiteX1208" fmla="*/ 519147 w 2663946"/>
                <a:gd name="connsiteY1208" fmla="*/ 98066 h 349382"/>
                <a:gd name="connsiteX1209" fmla="*/ 518901 w 2663946"/>
                <a:gd name="connsiteY1209" fmla="*/ 95092 h 349382"/>
                <a:gd name="connsiteX1210" fmla="*/ 519147 w 2663946"/>
                <a:gd name="connsiteY1210" fmla="*/ 95362 h 349382"/>
                <a:gd name="connsiteX1211" fmla="*/ 519147 w 2663946"/>
                <a:gd name="connsiteY1211" fmla="*/ 89684 h 349382"/>
                <a:gd name="connsiteX1212" fmla="*/ 519147 w 2663946"/>
                <a:gd name="connsiteY1212" fmla="*/ 89414 h 349382"/>
                <a:gd name="connsiteX1213" fmla="*/ 519639 w 2663946"/>
                <a:gd name="connsiteY1213" fmla="*/ 84817 h 349382"/>
                <a:gd name="connsiteX1214" fmla="*/ 520868 w 2663946"/>
                <a:gd name="connsiteY1214" fmla="*/ 79410 h 349382"/>
                <a:gd name="connsiteX1215" fmla="*/ 521851 w 2663946"/>
                <a:gd name="connsiteY1215" fmla="*/ 76165 h 349382"/>
                <a:gd name="connsiteX1216" fmla="*/ 524063 w 2663946"/>
                <a:gd name="connsiteY1216" fmla="*/ 71028 h 349382"/>
                <a:gd name="connsiteX1217" fmla="*/ 526275 w 2663946"/>
                <a:gd name="connsiteY1217" fmla="*/ 67243 h 349382"/>
                <a:gd name="connsiteX1218" fmla="*/ 528488 w 2663946"/>
                <a:gd name="connsiteY1218" fmla="*/ 64268 h 349382"/>
                <a:gd name="connsiteX1219" fmla="*/ 530700 w 2663946"/>
                <a:gd name="connsiteY1219" fmla="*/ 61835 h 349382"/>
                <a:gd name="connsiteX1220" fmla="*/ 535370 w 2663946"/>
                <a:gd name="connsiteY1220" fmla="*/ 58050 h 349382"/>
                <a:gd name="connsiteX1221" fmla="*/ 539303 w 2663946"/>
                <a:gd name="connsiteY1221" fmla="*/ 55887 h 349382"/>
                <a:gd name="connsiteX1222" fmla="*/ 548889 w 2663946"/>
                <a:gd name="connsiteY1222" fmla="*/ 53453 h 349382"/>
                <a:gd name="connsiteX1223" fmla="*/ 366938 w 2663946"/>
                <a:gd name="connsiteY1223" fmla="*/ 53453 h 349382"/>
                <a:gd name="connsiteX1224" fmla="*/ 379228 w 2663946"/>
                <a:gd name="connsiteY1224" fmla="*/ 55616 h 349382"/>
                <a:gd name="connsiteX1225" fmla="*/ 386603 w 2663946"/>
                <a:gd name="connsiteY1225" fmla="*/ 60213 h 349382"/>
                <a:gd name="connsiteX1226" fmla="*/ 390044 w 2663946"/>
                <a:gd name="connsiteY1226" fmla="*/ 63457 h 349382"/>
                <a:gd name="connsiteX1227" fmla="*/ 393485 w 2663946"/>
                <a:gd name="connsiteY1227" fmla="*/ 67783 h 349382"/>
                <a:gd name="connsiteX1228" fmla="*/ 395452 w 2663946"/>
                <a:gd name="connsiteY1228" fmla="*/ 71298 h 349382"/>
                <a:gd name="connsiteX1229" fmla="*/ 397664 w 2663946"/>
                <a:gd name="connsiteY1229" fmla="*/ 76706 h 349382"/>
                <a:gd name="connsiteX1230" fmla="*/ 398647 w 2663946"/>
                <a:gd name="connsiteY1230" fmla="*/ 80221 h 349382"/>
                <a:gd name="connsiteX1231" fmla="*/ 399630 w 2663946"/>
                <a:gd name="connsiteY1231" fmla="*/ 85358 h 349382"/>
                <a:gd name="connsiteX1232" fmla="*/ 399384 w 2663946"/>
                <a:gd name="connsiteY1232" fmla="*/ 99688 h 349382"/>
                <a:gd name="connsiteX1233" fmla="*/ 398401 w 2663946"/>
                <a:gd name="connsiteY1233" fmla="*/ 104555 h 349382"/>
                <a:gd name="connsiteX1234" fmla="*/ 397172 w 2663946"/>
                <a:gd name="connsiteY1234" fmla="*/ 108340 h 349382"/>
                <a:gd name="connsiteX1235" fmla="*/ 396189 w 2663946"/>
                <a:gd name="connsiteY1235" fmla="*/ 110774 h 349382"/>
                <a:gd name="connsiteX1236" fmla="*/ 393977 w 2663946"/>
                <a:gd name="connsiteY1236" fmla="*/ 115100 h 349382"/>
                <a:gd name="connsiteX1237" fmla="*/ 391764 w 2663946"/>
                <a:gd name="connsiteY1237" fmla="*/ 118344 h 349382"/>
                <a:gd name="connsiteX1238" fmla="*/ 388323 w 2663946"/>
                <a:gd name="connsiteY1238" fmla="*/ 122130 h 349382"/>
                <a:gd name="connsiteX1239" fmla="*/ 385128 w 2663946"/>
                <a:gd name="connsiteY1239" fmla="*/ 124833 h 349382"/>
                <a:gd name="connsiteX1240" fmla="*/ 379474 w 2663946"/>
                <a:gd name="connsiteY1240" fmla="*/ 128078 h 349382"/>
                <a:gd name="connsiteX1241" fmla="*/ 371609 w 2663946"/>
                <a:gd name="connsiteY1241" fmla="*/ 130241 h 349382"/>
                <a:gd name="connsiteX1242" fmla="*/ 370380 w 2663946"/>
                <a:gd name="connsiteY1242" fmla="*/ 130512 h 349382"/>
                <a:gd name="connsiteX1243" fmla="*/ 366201 w 2663946"/>
                <a:gd name="connsiteY1243" fmla="*/ 130512 h 349382"/>
                <a:gd name="connsiteX1244" fmla="*/ 365955 w 2663946"/>
                <a:gd name="connsiteY1244" fmla="*/ 130512 h 349382"/>
                <a:gd name="connsiteX1245" fmla="*/ 352927 w 2663946"/>
                <a:gd name="connsiteY1245" fmla="*/ 125645 h 349382"/>
                <a:gd name="connsiteX1246" fmla="*/ 348257 w 2663946"/>
                <a:gd name="connsiteY1246" fmla="*/ 121589 h 349382"/>
                <a:gd name="connsiteX1247" fmla="*/ 345062 w 2663946"/>
                <a:gd name="connsiteY1247" fmla="*/ 117804 h 349382"/>
                <a:gd name="connsiteX1248" fmla="*/ 342850 w 2663946"/>
                <a:gd name="connsiteY1248" fmla="*/ 114289 h 349382"/>
                <a:gd name="connsiteX1249" fmla="*/ 340637 w 2663946"/>
                <a:gd name="connsiteY1249" fmla="*/ 109963 h 349382"/>
                <a:gd name="connsiteX1250" fmla="*/ 339408 w 2663946"/>
                <a:gd name="connsiteY1250" fmla="*/ 106988 h 349382"/>
                <a:gd name="connsiteX1251" fmla="*/ 338425 w 2663946"/>
                <a:gd name="connsiteY1251" fmla="*/ 103744 h 349382"/>
                <a:gd name="connsiteX1252" fmla="*/ 337196 w 2663946"/>
                <a:gd name="connsiteY1252" fmla="*/ 98066 h 349382"/>
                <a:gd name="connsiteX1253" fmla="*/ 336950 w 2663946"/>
                <a:gd name="connsiteY1253" fmla="*/ 95092 h 349382"/>
                <a:gd name="connsiteX1254" fmla="*/ 337196 w 2663946"/>
                <a:gd name="connsiteY1254" fmla="*/ 95362 h 349382"/>
                <a:gd name="connsiteX1255" fmla="*/ 337196 w 2663946"/>
                <a:gd name="connsiteY1255" fmla="*/ 89684 h 349382"/>
                <a:gd name="connsiteX1256" fmla="*/ 337196 w 2663946"/>
                <a:gd name="connsiteY1256" fmla="*/ 89414 h 349382"/>
                <a:gd name="connsiteX1257" fmla="*/ 337687 w 2663946"/>
                <a:gd name="connsiteY1257" fmla="*/ 84817 h 349382"/>
                <a:gd name="connsiteX1258" fmla="*/ 338917 w 2663946"/>
                <a:gd name="connsiteY1258" fmla="*/ 79410 h 349382"/>
                <a:gd name="connsiteX1259" fmla="*/ 339900 w 2663946"/>
                <a:gd name="connsiteY1259" fmla="*/ 76165 h 349382"/>
                <a:gd name="connsiteX1260" fmla="*/ 342112 w 2663946"/>
                <a:gd name="connsiteY1260" fmla="*/ 71028 h 349382"/>
                <a:gd name="connsiteX1261" fmla="*/ 344324 w 2663946"/>
                <a:gd name="connsiteY1261" fmla="*/ 67243 h 349382"/>
                <a:gd name="connsiteX1262" fmla="*/ 346536 w 2663946"/>
                <a:gd name="connsiteY1262" fmla="*/ 64268 h 349382"/>
                <a:gd name="connsiteX1263" fmla="*/ 348749 w 2663946"/>
                <a:gd name="connsiteY1263" fmla="*/ 61835 h 349382"/>
                <a:gd name="connsiteX1264" fmla="*/ 353419 w 2663946"/>
                <a:gd name="connsiteY1264" fmla="*/ 58050 h 349382"/>
                <a:gd name="connsiteX1265" fmla="*/ 357352 w 2663946"/>
                <a:gd name="connsiteY1265" fmla="*/ 55887 h 349382"/>
                <a:gd name="connsiteX1266" fmla="*/ 366938 w 2663946"/>
                <a:gd name="connsiteY1266" fmla="*/ 53453 h 349382"/>
                <a:gd name="connsiteX1267" fmla="*/ 123893 w 2663946"/>
                <a:gd name="connsiteY1267" fmla="*/ 53453 h 349382"/>
                <a:gd name="connsiteX1268" fmla="*/ 136183 w 2663946"/>
                <a:gd name="connsiteY1268" fmla="*/ 55616 h 349382"/>
                <a:gd name="connsiteX1269" fmla="*/ 143557 w 2663946"/>
                <a:gd name="connsiteY1269" fmla="*/ 60213 h 349382"/>
                <a:gd name="connsiteX1270" fmla="*/ 146998 w 2663946"/>
                <a:gd name="connsiteY1270" fmla="*/ 63457 h 349382"/>
                <a:gd name="connsiteX1271" fmla="*/ 150439 w 2663946"/>
                <a:gd name="connsiteY1271" fmla="*/ 67783 h 349382"/>
                <a:gd name="connsiteX1272" fmla="*/ 152406 w 2663946"/>
                <a:gd name="connsiteY1272" fmla="*/ 71298 h 349382"/>
                <a:gd name="connsiteX1273" fmla="*/ 154618 w 2663946"/>
                <a:gd name="connsiteY1273" fmla="*/ 76706 h 349382"/>
                <a:gd name="connsiteX1274" fmla="*/ 155601 w 2663946"/>
                <a:gd name="connsiteY1274" fmla="*/ 80221 h 349382"/>
                <a:gd name="connsiteX1275" fmla="*/ 156584 w 2663946"/>
                <a:gd name="connsiteY1275" fmla="*/ 85358 h 349382"/>
                <a:gd name="connsiteX1276" fmla="*/ 156339 w 2663946"/>
                <a:gd name="connsiteY1276" fmla="*/ 99688 h 349382"/>
                <a:gd name="connsiteX1277" fmla="*/ 155355 w 2663946"/>
                <a:gd name="connsiteY1277" fmla="*/ 104555 h 349382"/>
                <a:gd name="connsiteX1278" fmla="*/ 154126 w 2663946"/>
                <a:gd name="connsiteY1278" fmla="*/ 108340 h 349382"/>
                <a:gd name="connsiteX1279" fmla="*/ 153143 w 2663946"/>
                <a:gd name="connsiteY1279" fmla="*/ 110774 h 349382"/>
                <a:gd name="connsiteX1280" fmla="*/ 150931 w 2663946"/>
                <a:gd name="connsiteY1280" fmla="*/ 115100 h 349382"/>
                <a:gd name="connsiteX1281" fmla="*/ 148719 w 2663946"/>
                <a:gd name="connsiteY1281" fmla="*/ 118344 h 349382"/>
                <a:gd name="connsiteX1282" fmla="*/ 145277 w 2663946"/>
                <a:gd name="connsiteY1282" fmla="*/ 122130 h 349382"/>
                <a:gd name="connsiteX1283" fmla="*/ 142082 w 2663946"/>
                <a:gd name="connsiteY1283" fmla="*/ 124833 h 349382"/>
                <a:gd name="connsiteX1284" fmla="*/ 136428 w 2663946"/>
                <a:gd name="connsiteY1284" fmla="*/ 128078 h 349382"/>
                <a:gd name="connsiteX1285" fmla="*/ 128563 w 2663946"/>
                <a:gd name="connsiteY1285" fmla="*/ 130241 h 349382"/>
                <a:gd name="connsiteX1286" fmla="*/ 127334 w 2663946"/>
                <a:gd name="connsiteY1286" fmla="*/ 130512 h 349382"/>
                <a:gd name="connsiteX1287" fmla="*/ 123155 w 2663946"/>
                <a:gd name="connsiteY1287" fmla="*/ 130512 h 349382"/>
                <a:gd name="connsiteX1288" fmla="*/ 122909 w 2663946"/>
                <a:gd name="connsiteY1288" fmla="*/ 130512 h 349382"/>
                <a:gd name="connsiteX1289" fmla="*/ 109882 w 2663946"/>
                <a:gd name="connsiteY1289" fmla="*/ 125645 h 349382"/>
                <a:gd name="connsiteX1290" fmla="*/ 105211 w 2663946"/>
                <a:gd name="connsiteY1290" fmla="*/ 121589 h 349382"/>
                <a:gd name="connsiteX1291" fmla="*/ 102016 w 2663946"/>
                <a:gd name="connsiteY1291" fmla="*/ 117804 h 349382"/>
                <a:gd name="connsiteX1292" fmla="*/ 99804 w 2663946"/>
                <a:gd name="connsiteY1292" fmla="*/ 114289 h 349382"/>
                <a:gd name="connsiteX1293" fmla="*/ 97591 w 2663946"/>
                <a:gd name="connsiteY1293" fmla="*/ 109963 h 349382"/>
                <a:gd name="connsiteX1294" fmla="*/ 96362 w 2663946"/>
                <a:gd name="connsiteY1294" fmla="*/ 106988 h 349382"/>
                <a:gd name="connsiteX1295" fmla="*/ 95379 w 2663946"/>
                <a:gd name="connsiteY1295" fmla="*/ 103744 h 349382"/>
                <a:gd name="connsiteX1296" fmla="*/ 94150 w 2663946"/>
                <a:gd name="connsiteY1296" fmla="*/ 98066 h 349382"/>
                <a:gd name="connsiteX1297" fmla="*/ 93904 w 2663946"/>
                <a:gd name="connsiteY1297" fmla="*/ 95092 h 349382"/>
                <a:gd name="connsiteX1298" fmla="*/ 94150 w 2663946"/>
                <a:gd name="connsiteY1298" fmla="*/ 95362 h 349382"/>
                <a:gd name="connsiteX1299" fmla="*/ 94150 w 2663946"/>
                <a:gd name="connsiteY1299" fmla="*/ 89684 h 349382"/>
                <a:gd name="connsiteX1300" fmla="*/ 94150 w 2663946"/>
                <a:gd name="connsiteY1300" fmla="*/ 89414 h 349382"/>
                <a:gd name="connsiteX1301" fmla="*/ 94642 w 2663946"/>
                <a:gd name="connsiteY1301" fmla="*/ 84817 h 349382"/>
                <a:gd name="connsiteX1302" fmla="*/ 95871 w 2663946"/>
                <a:gd name="connsiteY1302" fmla="*/ 79410 h 349382"/>
                <a:gd name="connsiteX1303" fmla="*/ 96854 w 2663946"/>
                <a:gd name="connsiteY1303" fmla="*/ 76165 h 349382"/>
                <a:gd name="connsiteX1304" fmla="*/ 99066 w 2663946"/>
                <a:gd name="connsiteY1304" fmla="*/ 71028 h 349382"/>
                <a:gd name="connsiteX1305" fmla="*/ 101279 w 2663946"/>
                <a:gd name="connsiteY1305" fmla="*/ 67243 h 349382"/>
                <a:gd name="connsiteX1306" fmla="*/ 103491 w 2663946"/>
                <a:gd name="connsiteY1306" fmla="*/ 64268 h 349382"/>
                <a:gd name="connsiteX1307" fmla="*/ 105703 w 2663946"/>
                <a:gd name="connsiteY1307" fmla="*/ 61835 h 349382"/>
                <a:gd name="connsiteX1308" fmla="*/ 110373 w 2663946"/>
                <a:gd name="connsiteY1308" fmla="*/ 58050 h 349382"/>
                <a:gd name="connsiteX1309" fmla="*/ 114306 w 2663946"/>
                <a:gd name="connsiteY1309" fmla="*/ 55887 h 349382"/>
                <a:gd name="connsiteX1310" fmla="*/ 123893 w 2663946"/>
                <a:gd name="connsiteY1310" fmla="*/ 53453 h 349382"/>
                <a:gd name="connsiteX1311" fmla="*/ 33147 w 2663946"/>
                <a:gd name="connsiteY1311" fmla="*/ 52815 h 349382"/>
                <a:gd name="connsiteX1312" fmla="*/ 57942 w 2663946"/>
                <a:gd name="connsiteY1312" fmla="*/ 73024 h 349382"/>
                <a:gd name="connsiteX1313" fmla="*/ 58422 w 2663946"/>
                <a:gd name="connsiteY1313" fmla="*/ 77782 h 349382"/>
                <a:gd name="connsiteX1314" fmla="*/ 59840 w 2663946"/>
                <a:gd name="connsiteY1314" fmla="*/ 77782 h 349382"/>
                <a:gd name="connsiteX1315" fmla="*/ 66294 w 2663946"/>
                <a:gd name="connsiteY1315" fmla="*/ 84068 h 349382"/>
                <a:gd name="connsiteX1316" fmla="*/ 66294 w 2663946"/>
                <a:gd name="connsiteY1316" fmla="*/ 133790 h 349382"/>
                <a:gd name="connsiteX1317" fmla="*/ 59840 w 2663946"/>
                <a:gd name="connsiteY1317" fmla="*/ 140076 h 349382"/>
                <a:gd name="connsiteX1318" fmla="*/ 6453 w 2663946"/>
                <a:gd name="connsiteY1318" fmla="*/ 140076 h 349382"/>
                <a:gd name="connsiteX1319" fmla="*/ 0 w 2663946"/>
                <a:gd name="connsiteY1319" fmla="*/ 133790 h 349382"/>
                <a:gd name="connsiteX1320" fmla="*/ 0 w 2663946"/>
                <a:gd name="connsiteY1320" fmla="*/ 84068 h 349382"/>
                <a:gd name="connsiteX1321" fmla="*/ 6453 w 2663946"/>
                <a:gd name="connsiteY1321" fmla="*/ 77782 h 349382"/>
                <a:gd name="connsiteX1322" fmla="*/ 7288 w 2663946"/>
                <a:gd name="connsiteY1322" fmla="*/ 77782 h 349382"/>
                <a:gd name="connsiteX1323" fmla="*/ 7872 w 2663946"/>
                <a:gd name="connsiteY1323" fmla="*/ 77782 h 349382"/>
                <a:gd name="connsiteX1324" fmla="*/ 8351 w 2663946"/>
                <a:gd name="connsiteY1324" fmla="*/ 73024 h 349382"/>
                <a:gd name="connsiteX1325" fmla="*/ 33147 w 2663946"/>
                <a:gd name="connsiteY1325" fmla="*/ 52815 h 349382"/>
                <a:gd name="connsiteX1326" fmla="*/ 2537931 w 2663946"/>
                <a:gd name="connsiteY1326" fmla="*/ 45227 h 349382"/>
                <a:gd name="connsiteX1327" fmla="*/ 2562727 w 2663946"/>
                <a:gd name="connsiteY1327" fmla="*/ 65436 h 349382"/>
                <a:gd name="connsiteX1328" fmla="*/ 2563206 w 2663946"/>
                <a:gd name="connsiteY1328" fmla="*/ 70194 h 349382"/>
                <a:gd name="connsiteX1329" fmla="*/ 2564625 w 2663946"/>
                <a:gd name="connsiteY1329" fmla="*/ 70194 h 349382"/>
                <a:gd name="connsiteX1330" fmla="*/ 2571078 w 2663946"/>
                <a:gd name="connsiteY1330" fmla="*/ 76480 h 349382"/>
                <a:gd name="connsiteX1331" fmla="*/ 2571078 w 2663946"/>
                <a:gd name="connsiteY1331" fmla="*/ 126202 h 349382"/>
                <a:gd name="connsiteX1332" fmla="*/ 2564625 w 2663946"/>
                <a:gd name="connsiteY1332" fmla="*/ 132488 h 349382"/>
                <a:gd name="connsiteX1333" fmla="*/ 2511238 w 2663946"/>
                <a:gd name="connsiteY1333" fmla="*/ 132488 h 349382"/>
                <a:gd name="connsiteX1334" fmla="*/ 2504784 w 2663946"/>
                <a:gd name="connsiteY1334" fmla="*/ 126202 h 349382"/>
                <a:gd name="connsiteX1335" fmla="*/ 2504784 w 2663946"/>
                <a:gd name="connsiteY1335" fmla="*/ 76480 h 349382"/>
                <a:gd name="connsiteX1336" fmla="*/ 2511238 w 2663946"/>
                <a:gd name="connsiteY1336" fmla="*/ 70194 h 349382"/>
                <a:gd name="connsiteX1337" fmla="*/ 2512072 w 2663946"/>
                <a:gd name="connsiteY1337" fmla="*/ 70194 h 349382"/>
                <a:gd name="connsiteX1338" fmla="*/ 2512656 w 2663946"/>
                <a:gd name="connsiteY1338" fmla="*/ 70194 h 349382"/>
                <a:gd name="connsiteX1339" fmla="*/ 2513136 w 2663946"/>
                <a:gd name="connsiteY1339" fmla="*/ 65436 h 349382"/>
                <a:gd name="connsiteX1340" fmla="*/ 2537931 w 2663946"/>
                <a:gd name="connsiteY1340" fmla="*/ 45227 h 349382"/>
                <a:gd name="connsiteX1341" fmla="*/ 2112934 w 2663946"/>
                <a:gd name="connsiteY1341" fmla="*/ 45227 h 349382"/>
                <a:gd name="connsiteX1342" fmla="*/ 2137730 w 2663946"/>
                <a:gd name="connsiteY1342" fmla="*/ 65436 h 349382"/>
                <a:gd name="connsiteX1343" fmla="*/ 2138209 w 2663946"/>
                <a:gd name="connsiteY1343" fmla="*/ 70194 h 349382"/>
                <a:gd name="connsiteX1344" fmla="*/ 2139628 w 2663946"/>
                <a:gd name="connsiteY1344" fmla="*/ 70194 h 349382"/>
                <a:gd name="connsiteX1345" fmla="*/ 2146081 w 2663946"/>
                <a:gd name="connsiteY1345" fmla="*/ 76480 h 349382"/>
                <a:gd name="connsiteX1346" fmla="*/ 2146081 w 2663946"/>
                <a:gd name="connsiteY1346" fmla="*/ 126202 h 349382"/>
                <a:gd name="connsiteX1347" fmla="*/ 2139628 w 2663946"/>
                <a:gd name="connsiteY1347" fmla="*/ 132488 h 349382"/>
                <a:gd name="connsiteX1348" fmla="*/ 2086241 w 2663946"/>
                <a:gd name="connsiteY1348" fmla="*/ 132488 h 349382"/>
                <a:gd name="connsiteX1349" fmla="*/ 2079787 w 2663946"/>
                <a:gd name="connsiteY1349" fmla="*/ 126202 h 349382"/>
                <a:gd name="connsiteX1350" fmla="*/ 2079787 w 2663946"/>
                <a:gd name="connsiteY1350" fmla="*/ 76480 h 349382"/>
                <a:gd name="connsiteX1351" fmla="*/ 2086241 w 2663946"/>
                <a:gd name="connsiteY1351" fmla="*/ 70194 h 349382"/>
                <a:gd name="connsiteX1352" fmla="*/ 2087075 w 2663946"/>
                <a:gd name="connsiteY1352" fmla="*/ 70194 h 349382"/>
                <a:gd name="connsiteX1353" fmla="*/ 2087659 w 2663946"/>
                <a:gd name="connsiteY1353" fmla="*/ 70194 h 349382"/>
                <a:gd name="connsiteX1354" fmla="*/ 2088139 w 2663946"/>
                <a:gd name="connsiteY1354" fmla="*/ 65436 h 349382"/>
                <a:gd name="connsiteX1355" fmla="*/ 2112934 w 2663946"/>
                <a:gd name="connsiteY1355" fmla="*/ 45227 h 349382"/>
                <a:gd name="connsiteX1356" fmla="*/ 1854966 w 2663946"/>
                <a:gd name="connsiteY1356" fmla="*/ 45227 h 349382"/>
                <a:gd name="connsiteX1357" fmla="*/ 1879762 w 2663946"/>
                <a:gd name="connsiteY1357" fmla="*/ 65436 h 349382"/>
                <a:gd name="connsiteX1358" fmla="*/ 1880241 w 2663946"/>
                <a:gd name="connsiteY1358" fmla="*/ 70194 h 349382"/>
                <a:gd name="connsiteX1359" fmla="*/ 1881660 w 2663946"/>
                <a:gd name="connsiteY1359" fmla="*/ 70194 h 349382"/>
                <a:gd name="connsiteX1360" fmla="*/ 1888113 w 2663946"/>
                <a:gd name="connsiteY1360" fmla="*/ 76480 h 349382"/>
                <a:gd name="connsiteX1361" fmla="*/ 1888113 w 2663946"/>
                <a:gd name="connsiteY1361" fmla="*/ 126202 h 349382"/>
                <a:gd name="connsiteX1362" fmla="*/ 1881660 w 2663946"/>
                <a:gd name="connsiteY1362" fmla="*/ 132488 h 349382"/>
                <a:gd name="connsiteX1363" fmla="*/ 1828273 w 2663946"/>
                <a:gd name="connsiteY1363" fmla="*/ 132488 h 349382"/>
                <a:gd name="connsiteX1364" fmla="*/ 1821819 w 2663946"/>
                <a:gd name="connsiteY1364" fmla="*/ 126202 h 349382"/>
                <a:gd name="connsiteX1365" fmla="*/ 1821819 w 2663946"/>
                <a:gd name="connsiteY1365" fmla="*/ 76480 h 349382"/>
                <a:gd name="connsiteX1366" fmla="*/ 1828273 w 2663946"/>
                <a:gd name="connsiteY1366" fmla="*/ 70194 h 349382"/>
                <a:gd name="connsiteX1367" fmla="*/ 1829107 w 2663946"/>
                <a:gd name="connsiteY1367" fmla="*/ 70194 h 349382"/>
                <a:gd name="connsiteX1368" fmla="*/ 1829691 w 2663946"/>
                <a:gd name="connsiteY1368" fmla="*/ 70194 h 349382"/>
                <a:gd name="connsiteX1369" fmla="*/ 1830171 w 2663946"/>
                <a:gd name="connsiteY1369" fmla="*/ 65436 h 349382"/>
                <a:gd name="connsiteX1370" fmla="*/ 1854966 w 2663946"/>
                <a:gd name="connsiteY1370" fmla="*/ 45227 h 349382"/>
                <a:gd name="connsiteX1371" fmla="*/ 1764027 w 2663946"/>
                <a:gd name="connsiteY1371" fmla="*/ 45227 h 349382"/>
                <a:gd name="connsiteX1372" fmla="*/ 1788823 w 2663946"/>
                <a:gd name="connsiteY1372" fmla="*/ 65436 h 349382"/>
                <a:gd name="connsiteX1373" fmla="*/ 1789302 w 2663946"/>
                <a:gd name="connsiteY1373" fmla="*/ 70194 h 349382"/>
                <a:gd name="connsiteX1374" fmla="*/ 1790721 w 2663946"/>
                <a:gd name="connsiteY1374" fmla="*/ 70194 h 349382"/>
                <a:gd name="connsiteX1375" fmla="*/ 1797174 w 2663946"/>
                <a:gd name="connsiteY1375" fmla="*/ 76480 h 349382"/>
                <a:gd name="connsiteX1376" fmla="*/ 1797174 w 2663946"/>
                <a:gd name="connsiteY1376" fmla="*/ 126202 h 349382"/>
                <a:gd name="connsiteX1377" fmla="*/ 1790721 w 2663946"/>
                <a:gd name="connsiteY1377" fmla="*/ 132488 h 349382"/>
                <a:gd name="connsiteX1378" fmla="*/ 1737333 w 2663946"/>
                <a:gd name="connsiteY1378" fmla="*/ 132488 h 349382"/>
                <a:gd name="connsiteX1379" fmla="*/ 1730880 w 2663946"/>
                <a:gd name="connsiteY1379" fmla="*/ 126202 h 349382"/>
                <a:gd name="connsiteX1380" fmla="*/ 1730880 w 2663946"/>
                <a:gd name="connsiteY1380" fmla="*/ 76480 h 349382"/>
                <a:gd name="connsiteX1381" fmla="*/ 1737333 w 2663946"/>
                <a:gd name="connsiteY1381" fmla="*/ 70194 h 349382"/>
                <a:gd name="connsiteX1382" fmla="*/ 1738168 w 2663946"/>
                <a:gd name="connsiteY1382" fmla="*/ 70194 h 349382"/>
                <a:gd name="connsiteX1383" fmla="*/ 1738752 w 2663946"/>
                <a:gd name="connsiteY1383" fmla="*/ 70194 h 349382"/>
                <a:gd name="connsiteX1384" fmla="*/ 1739232 w 2663946"/>
                <a:gd name="connsiteY1384" fmla="*/ 65436 h 349382"/>
                <a:gd name="connsiteX1385" fmla="*/ 1764027 w 2663946"/>
                <a:gd name="connsiteY1385" fmla="*/ 45227 h 349382"/>
                <a:gd name="connsiteX1386" fmla="*/ 1506059 w 2663946"/>
                <a:gd name="connsiteY1386" fmla="*/ 45227 h 349382"/>
                <a:gd name="connsiteX1387" fmla="*/ 1530855 w 2663946"/>
                <a:gd name="connsiteY1387" fmla="*/ 65436 h 349382"/>
                <a:gd name="connsiteX1388" fmla="*/ 1531334 w 2663946"/>
                <a:gd name="connsiteY1388" fmla="*/ 70194 h 349382"/>
                <a:gd name="connsiteX1389" fmla="*/ 1532753 w 2663946"/>
                <a:gd name="connsiteY1389" fmla="*/ 70194 h 349382"/>
                <a:gd name="connsiteX1390" fmla="*/ 1539206 w 2663946"/>
                <a:gd name="connsiteY1390" fmla="*/ 76480 h 349382"/>
                <a:gd name="connsiteX1391" fmla="*/ 1539206 w 2663946"/>
                <a:gd name="connsiteY1391" fmla="*/ 126202 h 349382"/>
                <a:gd name="connsiteX1392" fmla="*/ 1532753 w 2663946"/>
                <a:gd name="connsiteY1392" fmla="*/ 132488 h 349382"/>
                <a:gd name="connsiteX1393" fmla="*/ 1479365 w 2663946"/>
                <a:gd name="connsiteY1393" fmla="*/ 132488 h 349382"/>
                <a:gd name="connsiteX1394" fmla="*/ 1472912 w 2663946"/>
                <a:gd name="connsiteY1394" fmla="*/ 126202 h 349382"/>
                <a:gd name="connsiteX1395" fmla="*/ 1472912 w 2663946"/>
                <a:gd name="connsiteY1395" fmla="*/ 76480 h 349382"/>
                <a:gd name="connsiteX1396" fmla="*/ 1479365 w 2663946"/>
                <a:gd name="connsiteY1396" fmla="*/ 70194 h 349382"/>
                <a:gd name="connsiteX1397" fmla="*/ 1480200 w 2663946"/>
                <a:gd name="connsiteY1397" fmla="*/ 70194 h 349382"/>
                <a:gd name="connsiteX1398" fmla="*/ 1480784 w 2663946"/>
                <a:gd name="connsiteY1398" fmla="*/ 70194 h 349382"/>
                <a:gd name="connsiteX1399" fmla="*/ 1481264 w 2663946"/>
                <a:gd name="connsiteY1399" fmla="*/ 65436 h 349382"/>
                <a:gd name="connsiteX1400" fmla="*/ 1506059 w 2663946"/>
                <a:gd name="connsiteY1400" fmla="*/ 45227 h 349382"/>
                <a:gd name="connsiteX1401" fmla="*/ 1415120 w 2663946"/>
                <a:gd name="connsiteY1401" fmla="*/ 45227 h 349382"/>
                <a:gd name="connsiteX1402" fmla="*/ 1439916 w 2663946"/>
                <a:gd name="connsiteY1402" fmla="*/ 65436 h 349382"/>
                <a:gd name="connsiteX1403" fmla="*/ 1440395 w 2663946"/>
                <a:gd name="connsiteY1403" fmla="*/ 70194 h 349382"/>
                <a:gd name="connsiteX1404" fmla="*/ 1441814 w 2663946"/>
                <a:gd name="connsiteY1404" fmla="*/ 70194 h 349382"/>
                <a:gd name="connsiteX1405" fmla="*/ 1448267 w 2663946"/>
                <a:gd name="connsiteY1405" fmla="*/ 76480 h 349382"/>
                <a:gd name="connsiteX1406" fmla="*/ 1448267 w 2663946"/>
                <a:gd name="connsiteY1406" fmla="*/ 126202 h 349382"/>
                <a:gd name="connsiteX1407" fmla="*/ 1441814 w 2663946"/>
                <a:gd name="connsiteY1407" fmla="*/ 132488 h 349382"/>
                <a:gd name="connsiteX1408" fmla="*/ 1388426 w 2663946"/>
                <a:gd name="connsiteY1408" fmla="*/ 132488 h 349382"/>
                <a:gd name="connsiteX1409" fmla="*/ 1381973 w 2663946"/>
                <a:gd name="connsiteY1409" fmla="*/ 126202 h 349382"/>
                <a:gd name="connsiteX1410" fmla="*/ 1381973 w 2663946"/>
                <a:gd name="connsiteY1410" fmla="*/ 76480 h 349382"/>
                <a:gd name="connsiteX1411" fmla="*/ 1388426 w 2663946"/>
                <a:gd name="connsiteY1411" fmla="*/ 70194 h 349382"/>
                <a:gd name="connsiteX1412" fmla="*/ 1389261 w 2663946"/>
                <a:gd name="connsiteY1412" fmla="*/ 70194 h 349382"/>
                <a:gd name="connsiteX1413" fmla="*/ 1389845 w 2663946"/>
                <a:gd name="connsiteY1413" fmla="*/ 70194 h 349382"/>
                <a:gd name="connsiteX1414" fmla="*/ 1390325 w 2663946"/>
                <a:gd name="connsiteY1414" fmla="*/ 65436 h 349382"/>
                <a:gd name="connsiteX1415" fmla="*/ 1415120 w 2663946"/>
                <a:gd name="connsiteY1415" fmla="*/ 45227 h 349382"/>
                <a:gd name="connsiteX1416" fmla="*/ 1157152 w 2663946"/>
                <a:gd name="connsiteY1416" fmla="*/ 45227 h 349382"/>
                <a:gd name="connsiteX1417" fmla="*/ 1181948 w 2663946"/>
                <a:gd name="connsiteY1417" fmla="*/ 65436 h 349382"/>
                <a:gd name="connsiteX1418" fmla="*/ 1182427 w 2663946"/>
                <a:gd name="connsiteY1418" fmla="*/ 70194 h 349382"/>
                <a:gd name="connsiteX1419" fmla="*/ 1183846 w 2663946"/>
                <a:gd name="connsiteY1419" fmla="*/ 70194 h 349382"/>
                <a:gd name="connsiteX1420" fmla="*/ 1190299 w 2663946"/>
                <a:gd name="connsiteY1420" fmla="*/ 76480 h 349382"/>
                <a:gd name="connsiteX1421" fmla="*/ 1190299 w 2663946"/>
                <a:gd name="connsiteY1421" fmla="*/ 126202 h 349382"/>
                <a:gd name="connsiteX1422" fmla="*/ 1183846 w 2663946"/>
                <a:gd name="connsiteY1422" fmla="*/ 132488 h 349382"/>
                <a:gd name="connsiteX1423" fmla="*/ 1130458 w 2663946"/>
                <a:gd name="connsiteY1423" fmla="*/ 132488 h 349382"/>
                <a:gd name="connsiteX1424" fmla="*/ 1124005 w 2663946"/>
                <a:gd name="connsiteY1424" fmla="*/ 126202 h 349382"/>
                <a:gd name="connsiteX1425" fmla="*/ 1124005 w 2663946"/>
                <a:gd name="connsiteY1425" fmla="*/ 76480 h 349382"/>
                <a:gd name="connsiteX1426" fmla="*/ 1130458 w 2663946"/>
                <a:gd name="connsiteY1426" fmla="*/ 70194 h 349382"/>
                <a:gd name="connsiteX1427" fmla="*/ 1131293 w 2663946"/>
                <a:gd name="connsiteY1427" fmla="*/ 70194 h 349382"/>
                <a:gd name="connsiteX1428" fmla="*/ 1131877 w 2663946"/>
                <a:gd name="connsiteY1428" fmla="*/ 70194 h 349382"/>
                <a:gd name="connsiteX1429" fmla="*/ 1132357 w 2663946"/>
                <a:gd name="connsiteY1429" fmla="*/ 65436 h 349382"/>
                <a:gd name="connsiteX1430" fmla="*/ 1157152 w 2663946"/>
                <a:gd name="connsiteY1430" fmla="*/ 45227 h 349382"/>
                <a:gd name="connsiteX1431" fmla="*/ 732156 w 2663946"/>
                <a:gd name="connsiteY1431" fmla="*/ 45227 h 349382"/>
                <a:gd name="connsiteX1432" fmla="*/ 756951 w 2663946"/>
                <a:gd name="connsiteY1432" fmla="*/ 65436 h 349382"/>
                <a:gd name="connsiteX1433" fmla="*/ 757431 w 2663946"/>
                <a:gd name="connsiteY1433" fmla="*/ 70194 h 349382"/>
                <a:gd name="connsiteX1434" fmla="*/ 758849 w 2663946"/>
                <a:gd name="connsiteY1434" fmla="*/ 70194 h 349382"/>
                <a:gd name="connsiteX1435" fmla="*/ 765303 w 2663946"/>
                <a:gd name="connsiteY1435" fmla="*/ 76480 h 349382"/>
                <a:gd name="connsiteX1436" fmla="*/ 765303 w 2663946"/>
                <a:gd name="connsiteY1436" fmla="*/ 126202 h 349382"/>
                <a:gd name="connsiteX1437" fmla="*/ 758849 w 2663946"/>
                <a:gd name="connsiteY1437" fmla="*/ 132488 h 349382"/>
                <a:gd name="connsiteX1438" fmla="*/ 705462 w 2663946"/>
                <a:gd name="connsiteY1438" fmla="*/ 132488 h 349382"/>
                <a:gd name="connsiteX1439" fmla="*/ 699009 w 2663946"/>
                <a:gd name="connsiteY1439" fmla="*/ 126202 h 349382"/>
                <a:gd name="connsiteX1440" fmla="*/ 699009 w 2663946"/>
                <a:gd name="connsiteY1440" fmla="*/ 76480 h 349382"/>
                <a:gd name="connsiteX1441" fmla="*/ 705462 w 2663946"/>
                <a:gd name="connsiteY1441" fmla="*/ 70194 h 349382"/>
                <a:gd name="connsiteX1442" fmla="*/ 706296 w 2663946"/>
                <a:gd name="connsiteY1442" fmla="*/ 70194 h 349382"/>
                <a:gd name="connsiteX1443" fmla="*/ 706881 w 2663946"/>
                <a:gd name="connsiteY1443" fmla="*/ 70194 h 349382"/>
                <a:gd name="connsiteX1444" fmla="*/ 707360 w 2663946"/>
                <a:gd name="connsiteY1444" fmla="*/ 65436 h 349382"/>
                <a:gd name="connsiteX1445" fmla="*/ 732156 w 2663946"/>
                <a:gd name="connsiteY1445" fmla="*/ 45227 h 349382"/>
                <a:gd name="connsiteX1446" fmla="*/ 641217 w 2663946"/>
                <a:gd name="connsiteY1446" fmla="*/ 45227 h 349382"/>
                <a:gd name="connsiteX1447" fmla="*/ 666012 w 2663946"/>
                <a:gd name="connsiteY1447" fmla="*/ 65436 h 349382"/>
                <a:gd name="connsiteX1448" fmla="*/ 666492 w 2663946"/>
                <a:gd name="connsiteY1448" fmla="*/ 70194 h 349382"/>
                <a:gd name="connsiteX1449" fmla="*/ 667910 w 2663946"/>
                <a:gd name="connsiteY1449" fmla="*/ 70194 h 349382"/>
                <a:gd name="connsiteX1450" fmla="*/ 674364 w 2663946"/>
                <a:gd name="connsiteY1450" fmla="*/ 76480 h 349382"/>
                <a:gd name="connsiteX1451" fmla="*/ 674364 w 2663946"/>
                <a:gd name="connsiteY1451" fmla="*/ 126202 h 349382"/>
                <a:gd name="connsiteX1452" fmla="*/ 667910 w 2663946"/>
                <a:gd name="connsiteY1452" fmla="*/ 132488 h 349382"/>
                <a:gd name="connsiteX1453" fmla="*/ 614523 w 2663946"/>
                <a:gd name="connsiteY1453" fmla="*/ 132488 h 349382"/>
                <a:gd name="connsiteX1454" fmla="*/ 608070 w 2663946"/>
                <a:gd name="connsiteY1454" fmla="*/ 126202 h 349382"/>
                <a:gd name="connsiteX1455" fmla="*/ 608070 w 2663946"/>
                <a:gd name="connsiteY1455" fmla="*/ 76480 h 349382"/>
                <a:gd name="connsiteX1456" fmla="*/ 614523 w 2663946"/>
                <a:gd name="connsiteY1456" fmla="*/ 70194 h 349382"/>
                <a:gd name="connsiteX1457" fmla="*/ 615358 w 2663946"/>
                <a:gd name="connsiteY1457" fmla="*/ 70194 h 349382"/>
                <a:gd name="connsiteX1458" fmla="*/ 615942 w 2663946"/>
                <a:gd name="connsiteY1458" fmla="*/ 70194 h 349382"/>
                <a:gd name="connsiteX1459" fmla="*/ 616422 w 2663946"/>
                <a:gd name="connsiteY1459" fmla="*/ 65436 h 349382"/>
                <a:gd name="connsiteX1460" fmla="*/ 641217 w 2663946"/>
                <a:gd name="connsiteY1460" fmla="*/ 45227 h 349382"/>
                <a:gd name="connsiteX1461" fmla="*/ 459266 w 2663946"/>
                <a:gd name="connsiteY1461" fmla="*/ 45227 h 349382"/>
                <a:gd name="connsiteX1462" fmla="*/ 484061 w 2663946"/>
                <a:gd name="connsiteY1462" fmla="*/ 65436 h 349382"/>
                <a:gd name="connsiteX1463" fmla="*/ 484541 w 2663946"/>
                <a:gd name="connsiteY1463" fmla="*/ 70194 h 349382"/>
                <a:gd name="connsiteX1464" fmla="*/ 485959 w 2663946"/>
                <a:gd name="connsiteY1464" fmla="*/ 70194 h 349382"/>
                <a:gd name="connsiteX1465" fmla="*/ 492413 w 2663946"/>
                <a:gd name="connsiteY1465" fmla="*/ 76480 h 349382"/>
                <a:gd name="connsiteX1466" fmla="*/ 492413 w 2663946"/>
                <a:gd name="connsiteY1466" fmla="*/ 126202 h 349382"/>
                <a:gd name="connsiteX1467" fmla="*/ 485959 w 2663946"/>
                <a:gd name="connsiteY1467" fmla="*/ 132488 h 349382"/>
                <a:gd name="connsiteX1468" fmla="*/ 432572 w 2663946"/>
                <a:gd name="connsiteY1468" fmla="*/ 132488 h 349382"/>
                <a:gd name="connsiteX1469" fmla="*/ 426119 w 2663946"/>
                <a:gd name="connsiteY1469" fmla="*/ 126202 h 349382"/>
                <a:gd name="connsiteX1470" fmla="*/ 426119 w 2663946"/>
                <a:gd name="connsiteY1470" fmla="*/ 76480 h 349382"/>
                <a:gd name="connsiteX1471" fmla="*/ 432572 w 2663946"/>
                <a:gd name="connsiteY1471" fmla="*/ 70194 h 349382"/>
                <a:gd name="connsiteX1472" fmla="*/ 433406 w 2663946"/>
                <a:gd name="connsiteY1472" fmla="*/ 70194 h 349382"/>
                <a:gd name="connsiteX1473" fmla="*/ 433991 w 2663946"/>
                <a:gd name="connsiteY1473" fmla="*/ 70194 h 349382"/>
                <a:gd name="connsiteX1474" fmla="*/ 434470 w 2663946"/>
                <a:gd name="connsiteY1474" fmla="*/ 65436 h 349382"/>
                <a:gd name="connsiteX1475" fmla="*/ 459266 w 2663946"/>
                <a:gd name="connsiteY1475" fmla="*/ 45227 h 349382"/>
                <a:gd name="connsiteX1476" fmla="*/ 15475 w 2663946"/>
                <a:gd name="connsiteY1476" fmla="*/ 17002 h 349382"/>
                <a:gd name="connsiteX1477" fmla="*/ 40350 w 2663946"/>
                <a:gd name="connsiteY1477" fmla="*/ 1050 h 349382"/>
                <a:gd name="connsiteX1478" fmla="*/ 40891 w 2663946"/>
                <a:gd name="connsiteY1478" fmla="*/ 1590 h 349382"/>
                <a:gd name="connsiteX1479" fmla="*/ 48191 w 2663946"/>
                <a:gd name="connsiteY1479" fmla="*/ 1590 h 349382"/>
                <a:gd name="connsiteX1480" fmla="*/ 52247 w 2663946"/>
                <a:gd name="connsiteY1480" fmla="*/ 2672 h 349382"/>
                <a:gd name="connsiteX1481" fmla="*/ 56032 w 2663946"/>
                <a:gd name="connsiteY1481" fmla="*/ 9431 h 349382"/>
                <a:gd name="connsiteX1482" fmla="*/ 53328 w 2663946"/>
                <a:gd name="connsiteY1482" fmla="*/ 15109 h 349382"/>
                <a:gd name="connsiteX1483" fmla="*/ 49273 w 2663946"/>
                <a:gd name="connsiteY1483" fmla="*/ 17002 h 349382"/>
                <a:gd name="connsiteX1484" fmla="*/ 49002 w 2663946"/>
                <a:gd name="connsiteY1484" fmla="*/ 17002 h 349382"/>
                <a:gd name="connsiteX1485" fmla="*/ 48732 w 2663946"/>
                <a:gd name="connsiteY1485" fmla="*/ 17002 h 349382"/>
                <a:gd name="connsiteX1486" fmla="*/ 16016 w 2663946"/>
                <a:gd name="connsiteY1486" fmla="*/ 17002 h 349382"/>
                <a:gd name="connsiteX1487" fmla="*/ 15475 w 2663946"/>
                <a:gd name="connsiteY1487" fmla="*/ 17002 h 349382"/>
                <a:gd name="connsiteX0" fmla="*/ 2632966 w 2663946"/>
                <a:gd name="connsiteY0" fmla="*/ 288276 h 349382"/>
                <a:gd name="connsiteX1" fmla="*/ 2621414 w 2663946"/>
                <a:gd name="connsiteY1" fmla="*/ 290709 h 349382"/>
                <a:gd name="connsiteX2" fmla="*/ 2618218 w 2663946"/>
                <a:gd name="connsiteY2" fmla="*/ 294224 h 349382"/>
                <a:gd name="connsiteX3" fmla="*/ 2616006 w 2663946"/>
                <a:gd name="connsiteY3" fmla="*/ 298009 h 349382"/>
                <a:gd name="connsiteX4" fmla="*/ 2615023 w 2663946"/>
                <a:gd name="connsiteY4" fmla="*/ 300713 h 349382"/>
                <a:gd name="connsiteX5" fmla="*/ 2614039 w 2663946"/>
                <a:gd name="connsiteY5" fmla="*/ 304769 h 349382"/>
                <a:gd name="connsiteX6" fmla="*/ 2613056 w 2663946"/>
                <a:gd name="connsiteY6" fmla="*/ 311799 h 349382"/>
                <a:gd name="connsiteX7" fmla="*/ 2614039 w 2663946"/>
                <a:gd name="connsiteY7" fmla="*/ 319099 h 349382"/>
                <a:gd name="connsiteX8" fmla="*/ 2615269 w 2663946"/>
                <a:gd name="connsiteY8" fmla="*/ 322884 h 349382"/>
                <a:gd name="connsiteX9" fmla="*/ 2617481 w 2663946"/>
                <a:gd name="connsiteY9" fmla="*/ 327210 h 349382"/>
                <a:gd name="connsiteX10" fmla="*/ 2620922 w 2663946"/>
                <a:gd name="connsiteY10" fmla="*/ 331537 h 349382"/>
                <a:gd name="connsiteX11" fmla="*/ 2625346 w 2663946"/>
                <a:gd name="connsiteY11" fmla="*/ 334240 h 349382"/>
                <a:gd name="connsiteX12" fmla="*/ 2637637 w 2663946"/>
                <a:gd name="connsiteY12" fmla="*/ 331807 h 349382"/>
                <a:gd name="connsiteX13" fmla="*/ 2640832 w 2663946"/>
                <a:gd name="connsiteY13" fmla="*/ 328292 h 349382"/>
                <a:gd name="connsiteX14" fmla="*/ 2643290 w 2663946"/>
                <a:gd name="connsiteY14" fmla="*/ 323966 h 349382"/>
                <a:gd name="connsiteX15" fmla="*/ 2644273 w 2663946"/>
                <a:gd name="connsiteY15" fmla="*/ 321803 h 349382"/>
                <a:gd name="connsiteX16" fmla="*/ 2645502 w 2663946"/>
                <a:gd name="connsiteY16" fmla="*/ 317477 h 349382"/>
                <a:gd name="connsiteX17" fmla="*/ 2645011 w 2663946"/>
                <a:gd name="connsiteY17" fmla="*/ 303687 h 349382"/>
                <a:gd name="connsiteX18" fmla="*/ 2644027 w 2663946"/>
                <a:gd name="connsiteY18" fmla="*/ 300713 h 349382"/>
                <a:gd name="connsiteX19" fmla="*/ 2642799 w 2663946"/>
                <a:gd name="connsiteY19" fmla="*/ 297739 h 349382"/>
                <a:gd name="connsiteX20" fmla="*/ 2640586 w 2663946"/>
                <a:gd name="connsiteY20" fmla="*/ 294224 h 349382"/>
                <a:gd name="connsiteX21" fmla="*/ 2636899 w 2663946"/>
                <a:gd name="connsiteY21" fmla="*/ 290439 h 349382"/>
                <a:gd name="connsiteX22" fmla="*/ 2632966 w 2663946"/>
                <a:gd name="connsiteY22" fmla="*/ 288276 h 349382"/>
                <a:gd name="connsiteX23" fmla="*/ 2627559 w 2663946"/>
                <a:gd name="connsiteY23" fmla="*/ 272323 h 349382"/>
                <a:gd name="connsiteX24" fmla="*/ 2639849 w 2663946"/>
                <a:gd name="connsiteY24" fmla="*/ 274486 h 349382"/>
                <a:gd name="connsiteX25" fmla="*/ 2647223 w 2663946"/>
                <a:gd name="connsiteY25" fmla="*/ 279083 h 349382"/>
                <a:gd name="connsiteX26" fmla="*/ 2650664 w 2663946"/>
                <a:gd name="connsiteY26" fmla="*/ 282327 h 349382"/>
                <a:gd name="connsiteX27" fmla="*/ 2654106 w 2663946"/>
                <a:gd name="connsiteY27" fmla="*/ 286653 h 349382"/>
                <a:gd name="connsiteX28" fmla="*/ 2656072 w 2663946"/>
                <a:gd name="connsiteY28" fmla="*/ 290168 h 349382"/>
                <a:gd name="connsiteX29" fmla="*/ 2658284 w 2663946"/>
                <a:gd name="connsiteY29" fmla="*/ 295576 h 349382"/>
                <a:gd name="connsiteX30" fmla="*/ 2659267 w 2663946"/>
                <a:gd name="connsiteY30" fmla="*/ 299091 h 349382"/>
                <a:gd name="connsiteX31" fmla="*/ 2660251 w 2663946"/>
                <a:gd name="connsiteY31" fmla="*/ 304228 h 349382"/>
                <a:gd name="connsiteX32" fmla="*/ 2660005 w 2663946"/>
                <a:gd name="connsiteY32" fmla="*/ 318558 h 349382"/>
                <a:gd name="connsiteX33" fmla="*/ 2659022 w 2663946"/>
                <a:gd name="connsiteY33" fmla="*/ 323425 h 349382"/>
                <a:gd name="connsiteX34" fmla="*/ 2657792 w 2663946"/>
                <a:gd name="connsiteY34" fmla="*/ 327210 h 349382"/>
                <a:gd name="connsiteX35" fmla="*/ 2656809 w 2663946"/>
                <a:gd name="connsiteY35" fmla="*/ 329644 h 349382"/>
                <a:gd name="connsiteX36" fmla="*/ 2654597 w 2663946"/>
                <a:gd name="connsiteY36" fmla="*/ 333970 h 349382"/>
                <a:gd name="connsiteX37" fmla="*/ 2652385 w 2663946"/>
                <a:gd name="connsiteY37" fmla="*/ 337214 h 349382"/>
                <a:gd name="connsiteX38" fmla="*/ 2648944 w 2663946"/>
                <a:gd name="connsiteY38" fmla="*/ 341000 h 349382"/>
                <a:gd name="connsiteX39" fmla="*/ 2645748 w 2663946"/>
                <a:gd name="connsiteY39" fmla="*/ 343703 h 349382"/>
                <a:gd name="connsiteX40" fmla="*/ 2640095 w 2663946"/>
                <a:gd name="connsiteY40" fmla="*/ 346948 h 349382"/>
                <a:gd name="connsiteX41" fmla="*/ 2632229 w 2663946"/>
                <a:gd name="connsiteY41" fmla="*/ 349111 h 349382"/>
                <a:gd name="connsiteX42" fmla="*/ 2631000 w 2663946"/>
                <a:gd name="connsiteY42" fmla="*/ 349382 h 349382"/>
                <a:gd name="connsiteX43" fmla="*/ 2626821 w 2663946"/>
                <a:gd name="connsiteY43" fmla="*/ 349382 h 349382"/>
                <a:gd name="connsiteX44" fmla="*/ 2626576 w 2663946"/>
                <a:gd name="connsiteY44" fmla="*/ 349382 h 349382"/>
                <a:gd name="connsiteX45" fmla="*/ 2613548 w 2663946"/>
                <a:gd name="connsiteY45" fmla="*/ 344515 h 349382"/>
                <a:gd name="connsiteX46" fmla="*/ 2608878 w 2663946"/>
                <a:gd name="connsiteY46" fmla="*/ 340459 h 349382"/>
                <a:gd name="connsiteX47" fmla="*/ 2605682 w 2663946"/>
                <a:gd name="connsiteY47" fmla="*/ 336674 h 349382"/>
                <a:gd name="connsiteX48" fmla="*/ 2603470 w 2663946"/>
                <a:gd name="connsiteY48" fmla="*/ 333159 h 349382"/>
                <a:gd name="connsiteX49" fmla="*/ 2601258 w 2663946"/>
                <a:gd name="connsiteY49" fmla="*/ 328833 h 349382"/>
                <a:gd name="connsiteX50" fmla="*/ 2600029 w 2663946"/>
                <a:gd name="connsiteY50" fmla="*/ 325858 h 349382"/>
                <a:gd name="connsiteX51" fmla="*/ 2599046 w 2663946"/>
                <a:gd name="connsiteY51" fmla="*/ 322614 h 349382"/>
                <a:gd name="connsiteX52" fmla="*/ 2597816 w 2663946"/>
                <a:gd name="connsiteY52" fmla="*/ 316936 h 349382"/>
                <a:gd name="connsiteX53" fmla="*/ 2597571 w 2663946"/>
                <a:gd name="connsiteY53" fmla="*/ 313962 h 349382"/>
                <a:gd name="connsiteX54" fmla="*/ 2597816 w 2663946"/>
                <a:gd name="connsiteY54" fmla="*/ 314232 h 349382"/>
                <a:gd name="connsiteX55" fmla="*/ 2597816 w 2663946"/>
                <a:gd name="connsiteY55" fmla="*/ 308554 h 349382"/>
                <a:gd name="connsiteX56" fmla="*/ 2597816 w 2663946"/>
                <a:gd name="connsiteY56" fmla="*/ 308284 h 349382"/>
                <a:gd name="connsiteX57" fmla="*/ 2598308 w 2663946"/>
                <a:gd name="connsiteY57" fmla="*/ 303687 h 349382"/>
                <a:gd name="connsiteX58" fmla="*/ 2599537 w 2663946"/>
                <a:gd name="connsiteY58" fmla="*/ 298280 h 349382"/>
                <a:gd name="connsiteX59" fmla="*/ 2600520 w 2663946"/>
                <a:gd name="connsiteY59" fmla="*/ 295035 h 349382"/>
                <a:gd name="connsiteX60" fmla="*/ 2602732 w 2663946"/>
                <a:gd name="connsiteY60" fmla="*/ 289898 h 349382"/>
                <a:gd name="connsiteX61" fmla="*/ 2604945 w 2663946"/>
                <a:gd name="connsiteY61" fmla="*/ 286113 h 349382"/>
                <a:gd name="connsiteX62" fmla="*/ 2607157 w 2663946"/>
                <a:gd name="connsiteY62" fmla="*/ 283138 h 349382"/>
                <a:gd name="connsiteX63" fmla="*/ 2609369 w 2663946"/>
                <a:gd name="connsiteY63" fmla="*/ 280705 h 349382"/>
                <a:gd name="connsiteX64" fmla="*/ 2614039 w 2663946"/>
                <a:gd name="connsiteY64" fmla="*/ 276920 h 349382"/>
                <a:gd name="connsiteX65" fmla="*/ 2617972 w 2663946"/>
                <a:gd name="connsiteY65" fmla="*/ 274757 h 349382"/>
                <a:gd name="connsiteX66" fmla="*/ 2627559 w 2663946"/>
                <a:gd name="connsiteY66" fmla="*/ 272323 h 349382"/>
                <a:gd name="connsiteX67" fmla="*/ 2631061 w 2663946"/>
                <a:gd name="connsiteY67" fmla="*/ 208413 h 349382"/>
                <a:gd name="connsiteX68" fmla="*/ 2621591 w 2663946"/>
                <a:gd name="connsiteY68" fmla="*/ 217687 h 349382"/>
                <a:gd name="connsiteX69" fmla="*/ 2626545 w 2663946"/>
                <a:gd name="connsiteY69" fmla="*/ 225844 h 349382"/>
                <a:gd name="connsiteX70" fmla="*/ 2626545 w 2663946"/>
                <a:gd name="connsiteY70" fmla="*/ 234239 h 349382"/>
                <a:gd name="connsiteX71" fmla="*/ 2631061 w 2663946"/>
                <a:gd name="connsiteY71" fmla="*/ 238662 h 349382"/>
                <a:gd name="connsiteX72" fmla="*/ 2635578 w 2663946"/>
                <a:gd name="connsiteY72" fmla="*/ 234239 h 349382"/>
                <a:gd name="connsiteX73" fmla="*/ 2635578 w 2663946"/>
                <a:gd name="connsiteY73" fmla="*/ 225844 h 349382"/>
                <a:gd name="connsiteX74" fmla="*/ 2640532 w 2663946"/>
                <a:gd name="connsiteY74" fmla="*/ 217687 h 349382"/>
                <a:gd name="connsiteX75" fmla="*/ 2631061 w 2663946"/>
                <a:gd name="connsiteY75" fmla="*/ 208413 h 349382"/>
                <a:gd name="connsiteX76" fmla="*/ 2630799 w 2663946"/>
                <a:gd name="connsiteY76" fmla="*/ 169696 h 349382"/>
                <a:gd name="connsiteX77" fmla="*/ 2619139 w 2663946"/>
                <a:gd name="connsiteY77" fmla="*/ 177425 h 349382"/>
                <a:gd name="connsiteX78" fmla="*/ 2618214 w 2663946"/>
                <a:gd name="connsiteY78" fmla="*/ 182008 h 349382"/>
                <a:gd name="connsiteX79" fmla="*/ 2621454 w 2663946"/>
                <a:gd name="connsiteY79" fmla="*/ 182008 h 349382"/>
                <a:gd name="connsiteX80" fmla="*/ 2639871 w 2663946"/>
                <a:gd name="connsiteY80" fmla="*/ 182008 h 349382"/>
                <a:gd name="connsiteX81" fmla="*/ 2643385 w 2663946"/>
                <a:gd name="connsiteY81" fmla="*/ 182008 h 349382"/>
                <a:gd name="connsiteX82" fmla="*/ 2642460 w 2663946"/>
                <a:gd name="connsiteY82" fmla="*/ 177425 h 349382"/>
                <a:gd name="connsiteX83" fmla="*/ 2630799 w 2663946"/>
                <a:gd name="connsiteY83" fmla="*/ 169696 h 349382"/>
                <a:gd name="connsiteX84" fmla="*/ 2630799 w 2663946"/>
                <a:gd name="connsiteY84" fmla="*/ 157041 h 349382"/>
                <a:gd name="connsiteX85" fmla="*/ 2655595 w 2663946"/>
                <a:gd name="connsiteY85" fmla="*/ 177250 h 349382"/>
                <a:gd name="connsiteX86" fmla="*/ 2656074 w 2663946"/>
                <a:gd name="connsiteY86" fmla="*/ 182008 h 349382"/>
                <a:gd name="connsiteX87" fmla="*/ 2657493 w 2663946"/>
                <a:gd name="connsiteY87" fmla="*/ 182008 h 349382"/>
                <a:gd name="connsiteX88" fmla="*/ 2663946 w 2663946"/>
                <a:gd name="connsiteY88" fmla="*/ 188294 h 349382"/>
                <a:gd name="connsiteX89" fmla="*/ 2663946 w 2663946"/>
                <a:gd name="connsiteY89" fmla="*/ 238016 h 349382"/>
                <a:gd name="connsiteX90" fmla="*/ 2657493 w 2663946"/>
                <a:gd name="connsiteY90" fmla="*/ 244302 h 349382"/>
                <a:gd name="connsiteX91" fmla="*/ 2604106 w 2663946"/>
                <a:gd name="connsiteY91" fmla="*/ 244302 h 349382"/>
                <a:gd name="connsiteX92" fmla="*/ 2597652 w 2663946"/>
                <a:gd name="connsiteY92" fmla="*/ 238016 h 349382"/>
                <a:gd name="connsiteX93" fmla="*/ 2597652 w 2663946"/>
                <a:gd name="connsiteY93" fmla="*/ 188294 h 349382"/>
                <a:gd name="connsiteX94" fmla="*/ 2604106 w 2663946"/>
                <a:gd name="connsiteY94" fmla="*/ 182008 h 349382"/>
                <a:gd name="connsiteX95" fmla="*/ 2604940 w 2663946"/>
                <a:gd name="connsiteY95" fmla="*/ 182008 h 349382"/>
                <a:gd name="connsiteX96" fmla="*/ 2605524 w 2663946"/>
                <a:gd name="connsiteY96" fmla="*/ 182008 h 349382"/>
                <a:gd name="connsiteX97" fmla="*/ 2606004 w 2663946"/>
                <a:gd name="connsiteY97" fmla="*/ 177250 h 349382"/>
                <a:gd name="connsiteX98" fmla="*/ 2630799 w 2663946"/>
                <a:gd name="connsiteY98" fmla="*/ 157041 h 349382"/>
                <a:gd name="connsiteX99" fmla="*/ 33409 w 2663946"/>
                <a:gd name="connsiteY99" fmla="*/ 104187 h 349382"/>
                <a:gd name="connsiteX100" fmla="*/ 23938 w 2663946"/>
                <a:gd name="connsiteY100" fmla="*/ 113461 h 349382"/>
                <a:gd name="connsiteX101" fmla="*/ 28892 w 2663946"/>
                <a:gd name="connsiteY101" fmla="*/ 121618 h 349382"/>
                <a:gd name="connsiteX102" fmla="*/ 28892 w 2663946"/>
                <a:gd name="connsiteY102" fmla="*/ 130013 h 349382"/>
                <a:gd name="connsiteX103" fmla="*/ 33409 w 2663946"/>
                <a:gd name="connsiteY103" fmla="*/ 134436 h 349382"/>
                <a:gd name="connsiteX104" fmla="*/ 37926 w 2663946"/>
                <a:gd name="connsiteY104" fmla="*/ 130013 h 349382"/>
                <a:gd name="connsiteX105" fmla="*/ 37926 w 2663946"/>
                <a:gd name="connsiteY105" fmla="*/ 121618 h 349382"/>
                <a:gd name="connsiteX106" fmla="*/ 42880 w 2663946"/>
                <a:gd name="connsiteY106" fmla="*/ 113461 h 349382"/>
                <a:gd name="connsiteX107" fmla="*/ 33409 w 2663946"/>
                <a:gd name="connsiteY107" fmla="*/ 104187 h 349382"/>
                <a:gd name="connsiteX108" fmla="*/ 2538193 w 2663946"/>
                <a:gd name="connsiteY108" fmla="*/ 96599 h 349382"/>
                <a:gd name="connsiteX109" fmla="*/ 2528723 w 2663946"/>
                <a:gd name="connsiteY109" fmla="*/ 105873 h 349382"/>
                <a:gd name="connsiteX110" fmla="*/ 2533677 w 2663946"/>
                <a:gd name="connsiteY110" fmla="*/ 114030 h 349382"/>
                <a:gd name="connsiteX111" fmla="*/ 2533677 w 2663946"/>
                <a:gd name="connsiteY111" fmla="*/ 122425 h 349382"/>
                <a:gd name="connsiteX112" fmla="*/ 2538193 w 2663946"/>
                <a:gd name="connsiteY112" fmla="*/ 126848 h 349382"/>
                <a:gd name="connsiteX113" fmla="*/ 2542710 w 2663946"/>
                <a:gd name="connsiteY113" fmla="*/ 122425 h 349382"/>
                <a:gd name="connsiteX114" fmla="*/ 2542710 w 2663946"/>
                <a:gd name="connsiteY114" fmla="*/ 114030 h 349382"/>
                <a:gd name="connsiteX115" fmla="*/ 2547664 w 2663946"/>
                <a:gd name="connsiteY115" fmla="*/ 105873 h 349382"/>
                <a:gd name="connsiteX116" fmla="*/ 2538193 w 2663946"/>
                <a:gd name="connsiteY116" fmla="*/ 96599 h 349382"/>
                <a:gd name="connsiteX117" fmla="*/ 2113196 w 2663946"/>
                <a:gd name="connsiteY117" fmla="*/ 96599 h 349382"/>
                <a:gd name="connsiteX118" fmla="*/ 2103726 w 2663946"/>
                <a:gd name="connsiteY118" fmla="*/ 105873 h 349382"/>
                <a:gd name="connsiteX119" fmla="*/ 2108680 w 2663946"/>
                <a:gd name="connsiteY119" fmla="*/ 114030 h 349382"/>
                <a:gd name="connsiteX120" fmla="*/ 2108680 w 2663946"/>
                <a:gd name="connsiteY120" fmla="*/ 122425 h 349382"/>
                <a:gd name="connsiteX121" fmla="*/ 2113196 w 2663946"/>
                <a:gd name="connsiteY121" fmla="*/ 126848 h 349382"/>
                <a:gd name="connsiteX122" fmla="*/ 2117713 w 2663946"/>
                <a:gd name="connsiteY122" fmla="*/ 122425 h 349382"/>
                <a:gd name="connsiteX123" fmla="*/ 2117713 w 2663946"/>
                <a:gd name="connsiteY123" fmla="*/ 114030 h 349382"/>
                <a:gd name="connsiteX124" fmla="*/ 2122667 w 2663946"/>
                <a:gd name="connsiteY124" fmla="*/ 105873 h 349382"/>
                <a:gd name="connsiteX125" fmla="*/ 2113196 w 2663946"/>
                <a:gd name="connsiteY125" fmla="*/ 96599 h 349382"/>
                <a:gd name="connsiteX126" fmla="*/ 1855228 w 2663946"/>
                <a:gd name="connsiteY126" fmla="*/ 96599 h 349382"/>
                <a:gd name="connsiteX127" fmla="*/ 1845758 w 2663946"/>
                <a:gd name="connsiteY127" fmla="*/ 105873 h 349382"/>
                <a:gd name="connsiteX128" fmla="*/ 1850712 w 2663946"/>
                <a:gd name="connsiteY128" fmla="*/ 114030 h 349382"/>
                <a:gd name="connsiteX129" fmla="*/ 1850712 w 2663946"/>
                <a:gd name="connsiteY129" fmla="*/ 122425 h 349382"/>
                <a:gd name="connsiteX130" fmla="*/ 1855228 w 2663946"/>
                <a:gd name="connsiteY130" fmla="*/ 126848 h 349382"/>
                <a:gd name="connsiteX131" fmla="*/ 1859745 w 2663946"/>
                <a:gd name="connsiteY131" fmla="*/ 122425 h 349382"/>
                <a:gd name="connsiteX132" fmla="*/ 1859745 w 2663946"/>
                <a:gd name="connsiteY132" fmla="*/ 114030 h 349382"/>
                <a:gd name="connsiteX133" fmla="*/ 1864699 w 2663946"/>
                <a:gd name="connsiteY133" fmla="*/ 105873 h 349382"/>
                <a:gd name="connsiteX134" fmla="*/ 1855228 w 2663946"/>
                <a:gd name="connsiteY134" fmla="*/ 96599 h 349382"/>
                <a:gd name="connsiteX135" fmla="*/ 1764289 w 2663946"/>
                <a:gd name="connsiteY135" fmla="*/ 96599 h 349382"/>
                <a:gd name="connsiteX136" fmla="*/ 1754819 w 2663946"/>
                <a:gd name="connsiteY136" fmla="*/ 105873 h 349382"/>
                <a:gd name="connsiteX137" fmla="*/ 1759773 w 2663946"/>
                <a:gd name="connsiteY137" fmla="*/ 114030 h 349382"/>
                <a:gd name="connsiteX138" fmla="*/ 1759773 w 2663946"/>
                <a:gd name="connsiteY138" fmla="*/ 122425 h 349382"/>
                <a:gd name="connsiteX139" fmla="*/ 1764289 w 2663946"/>
                <a:gd name="connsiteY139" fmla="*/ 126848 h 349382"/>
                <a:gd name="connsiteX140" fmla="*/ 1768806 w 2663946"/>
                <a:gd name="connsiteY140" fmla="*/ 122425 h 349382"/>
                <a:gd name="connsiteX141" fmla="*/ 1768806 w 2663946"/>
                <a:gd name="connsiteY141" fmla="*/ 114030 h 349382"/>
                <a:gd name="connsiteX142" fmla="*/ 1773760 w 2663946"/>
                <a:gd name="connsiteY142" fmla="*/ 105873 h 349382"/>
                <a:gd name="connsiteX143" fmla="*/ 1764289 w 2663946"/>
                <a:gd name="connsiteY143" fmla="*/ 96599 h 349382"/>
                <a:gd name="connsiteX144" fmla="*/ 1506321 w 2663946"/>
                <a:gd name="connsiteY144" fmla="*/ 96599 h 349382"/>
                <a:gd name="connsiteX145" fmla="*/ 1496851 w 2663946"/>
                <a:gd name="connsiteY145" fmla="*/ 105873 h 349382"/>
                <a:gd name="connsiteX146" fmla="*/ 1501805 w 2663946"/>
                <a:gd name="connsiteY146" fmla="*/ 114030 h 349382"/>
                <a:gd name="connsiteX147" fmla="*/ 1501805 w 2663946"/>
                <a:gd name="connsiteY147" fmla="*/ 122425 h 349382"/>
                <a:gd name="connsiteX148" fmla="*/ 1506321 w 2663946"/>
                <a:gd name="connsiteY148" fmla="*/ 126848 h 349382"/>
                <a:gd name="connsiteX149" fmla="*/ 1510838 w 2663946"/>
                <a:gd name="connsiteY149" fmla="*/ 122425 h 349382"/>
                <a:gd name="connsiteX150" fmla="*/ 1510838 w 2663946"/>
                <a:gd name="connsiteY150" fmla="*/ 114030 h 349382"/>
                <a:gd name="connsiteX151" fmla="*/ 1515792 w 2663946"/>
                <a:gd name="connsiteY151" fmla="*/ 105873 h 349382"/>
                <a:gd name="connsiteX152" fmla="*/ 1506321 w 2663946"/>
                <a:gd name="connsiteY152" fmla="*/ 96599 h 349382"/>
                <a:gd name="connsiteX153" fmla="*/ 1415382 w 2663946"/>
                <a:gd name="connsiteY153" fmla="*/ 96599 h 349382"/>
                <a:gd name="connsiteX154" fmla="*/ 1405912 w 2663946"/>
                <a:gd name="connsiteY154" fmla="*/ 105873 h 349382"/>
                <a:gd name="connsiteX155" fmla="*/ 1410866 w 2663946"/>
                <a:gd name="connsiteY155" fmla="*/ 114030 h 349382"/>
                <a:gd name="connsiteX156" fmla="*/ 1410866 w 2663946"/>
                <a:gd name="connsiteY156" fmla="*/ 122425 h 349382"/>
                <a:gd name="connsiteX157" fmla="*/ 1415382 w 2663946"/>
                <a:gd name="connsiteY157" fmla="*/ 126848 h 349382"/>
                <a:gd name="connsiteX158" fmla="*/ 1419899 w 2663946"/>
                <a:gd name="connsiteY158" fmla="*/ 122425 h 349382"/>
                <a:gd name="connsiteX159" fmla="*/ 1419899 w 2663946"/>
                <a:gd name="connsiteY159" fmla="*/ 114030 h 349382"/>
                <a:gd name="connsiteX160" fmla="*/ 1424853 w 2663946"/>
                <a:gd name="connsiteY160" fmla="*/ 105873 h 349382"/>
                <a:gd name="connsiteX161" fmla="*/ 1415382 w 2663946"/>
                <a:gd name="connsiteY161" fmla="*/ 96599 h 349382"/>
                <a:gd name="connsiteX162" fmla="*/ 1157414 w 2663946"/>
                <a:gd name="connsiteY162" fmla="*/ 96599 h 349382"/>
                <a:gd name="connsiteX163" fmla="*/ 1147944 w 2663946"/>
                <a:gd name="connsiteY163" fmla="*/ 105873 h 349382"/>
                <a:gd name="connsiteX164" fmla="*/ 1152898 w 2663946"/>
                <a:gd name="connsiteY164" fmla="*/ 114030 h 349382"/>
                <a:gd name="connsiteX165" fmla="*/ 1152898 w 2663946"/>
                <a:gd name="connsiteY165" fmla="*/ 122425 h 349382"/>
                <a:gd name="connsiteX166" fmla="*/ 1157414 w 2663946"/>
                <a:gd name="connsiteY166" fmla="*/ 126848 h 349382"/>
                <a:gd name="connsiteX167" fmla="*/ 1161931 w 2663946"/>
                <a:gd name="connsiteY167" fmla="*/ 122425 h 349382"/>
                <a:gd name="connsiteX168" fmla="*/ 1161931 w 2663946"/>
                <a:gd name="connsiteY168" fmla="*/ 114030 h 349382"/>
                <a:gd name="connsiteX169" fmla="*/ 1166885 w 2663946"/>
                <a:gd name="connsiteY169" fmla="*/ 105873 h 349382"/>
                <a:gd name="connsiteX170" fmla="*/ 1157414 w 2663946"/>
                <a:gd name="connsiteY170" fmla="*/ 96599 h 349382"/>
                <a:gd name="connsiteX171" fmla="*/ 732418 w 2663946"/>
                <a:gd name="connsiteY171" fmla="*/ 96599 h 349382"/>
                <a:gd name="connsiteX172" fmla="*/ 722947 w 2663946"/>
                <a:gd name="connsiteY172" fmla="*/ 105873 h 349382"/>
                <a:gd name="connsiteX173" fmla="*/ 727901 w 2663946"/>
                <a:gd name="connsiteY173" fmla="*/ 114030 h 349382"/>
                <a:gd name="connsiteX174" fmla="*/ 727901 w 2663946"/>
                <a:gd name="connsiteY174" fmla="*/ 122425 h 349382"/>
                <a:gd name="connsiteX175" fmla="*/ 732418 w 2663946"/>
                <a:gd name="connsiteY175" fmla="*/ 126848 h 349382"/>
                <a:gd name="connsiteX176" fmla="*/ 736935 w 2663946"/>
                <a:gd name="connsiteY176" fmla="*/ 122425 h 349382"/>
                <a:gd name="connsiteX177" fmla="*/ 736935 w 2663946"/>
                <a:gd name="connsiteY177" fmla="*/ 114030 h 349382"/>
                <a:gd name="connsiteX178" fmla="*/ 741889 w 2663946"/>
                <a:gd name="connsiteY178" fmla="*/ 105873 h 349382"/>
                <a:gd name="connsiteX179" fmla="*/ 732418 w 2663946"/>
                <a:gd name="connsiteY179" fmla="*/ 96599 h 349382"/>
                <a:gd name="connsiteX180" fmla="*/ 641479 w 2663946"/>
                <a:gd name="connsiteY180" fmla="*/ 96599 h 349382"/>
                <a:gd name="connsiteX181" fmla="*/ 632008 w 2663946"/>
                <a:gd name="connsiteY181" fmla="*/ 105873 h 349382"/>
                <a:gd name="connsiteX182" fmla="*/ 636962 w 2663946"/>
                <a:gd name="connsiteY182" fmla="*/ 114030 h 349382"/>
                <a:gd name="connsiteX183" fmla="*/ 636962 w 2663946"/>
                <a:gd name="connsiteY183" fmla="*/ 122425 h 349382"/>
                <a:gd name="connsiteX184" fmla="*/ 641479 w 2663946"/>
                <a:gd name="connsiteY184" fmla="*/ 126848 h 349382"/>
                <a:gd name="connsiteX185" fmla="*/ 645996 w 2663946"/>
                <a:gd name="connsiteY185" fmla="*/ 122425 h 349382"/>
                <a:gd name="connsiteX186" fmla="*/ 645996 w 2663946"/>
                <a:gd name="connsiteY186" fmla="*/ 114030 h 349382"/>
                <a:gd name="connsiteX187" fmla="*/ 650950 w 2663946"/>
                <a:gd name="connsiteY187" fmla="*/ 105873 h 349382"/>
                <a:gd name="connsiteX188" fmla="*/ 641479 w 2663946"/>
                <a:gd name="connsiteY188" fmla="*/ 96599 h 349382"/>
                <a:gd name="connsiteX189" fmla="*/ 459528 w 2663946"/>
                <a:gd name="connsiteY189" fmla="*/ 96599 h 349382"/>
                <a:gd name="connsiteX190" fmla="*/ 450057 w 2663946"/>
                <a:gd name="connsiteY190" fmla="*/ 105873 h 349382"/>
                <a:gd name="connsiteX191" fmla="*/ 455011 w 2663946"/>
                <a:gd name="connsiteY191" fmla="*/ 114030 h 349382"/>
                <a:gd name="connsiteX192" fmla="*/ 455011 w 2663946"/>
                <a:gd name="connsiteY192" fmla="*/ 122425 h 349382"/>
                <a:gd name="connsiteX193" fmla="*/ 459528 w 2663946"/>
                <a:gd name="connsiteY193" fmla="*/ 126848 h 349382"/>
                <a:gd name="connsiteX194" fmla="*/ 464045 w 2663946"/>
                <a:gd name="connsiteY194" fmla="*/ 122425 h 349382"/>
                <a:gd name="connsiteX195" fmla="*/ 464045 w 2663946"/>
                <a:gd name="connsiteY195" fmla="*/ 114030 h 349382"/>
                <a:gd name="connsiteX196" fmla="*/ 468999 w 2663946"/>
                <a:gd name="connsiteY196" fmla="*/ 105873 h 349382"/>
                <a:gd name="connsiteX197" fmla="*/ 459528 w 2663946"/>
                <a:gd name="connsiteY197" fmla="*/ 96599 h 349382"/>
                <a:gd name="connsiteX198" fmla="*/ 2632966 w 2663946"/>
                <a:gd name="connsiteY198" fmla="*/ 69406 h 349382"/>
                <a:gd name="connsiteX199" fmla="*/ 2621414 w 2663946"/>
                <a:gd name="connsiteY199" fmla="*/ 71839 h 349382"/>
                <a:gd name="connsiteX200" fmla="*/ 2618218 w 2663946"/>
                <a:gd name="connsiteY200" fmla="*/ 75354 h 349382"/>
                <a:gd name="connsiteX201" fmla="*/ 2616006 w 2663946"/>
                <a:gd name="connsiteY201" fmla="*/ 79139 h 349382"/>
                <a:gd name="connsiteX202" fmla="*/ 2615023 w 2663946"/>
                <a:gd name="connsiteY202" fmla="*/ 81843 h 349382"/>
                <a:gd name="connsiteX203" fmla="*/ 2614039 w 2663946"/>
                <a:gd name="connsiteY203" fmla="*/ 85899 h 349382"/>
                <a:gd name="connsiteX204" fmla="*/ 2613056 w 2663946"/>
                <a:gd name="connsiteY204" fmla="*/ 92929 h 349382"/>
                <a:gd name="connsiteX205" fmla="*/ 2614039 w 2663946"/>
                <a:gd name="connsiteY205" fmla="*/ 100229 h 349382"/>
                <a:gd name="connsiteX206" fmla="*/ 2615269 w 2663946"/>
                <a:gd name="connsiteY206" fmla="*/ 104014 h 349382"/>
                <a:gd name="connsiteX207" fmla="*/ 2617481 w 2663946"/>
                <a:gd name="connsiteY207" fmla="*/ 108340 h 349382"/>
                <a:gd name="connsiteX208" fmla="*/ 2620922 w 2663946"/>
                <a:gd name="connsiteY208" fmla="*/ 112667 h 349382"/>
                <a:gd name="connsiteX209" fmla="*/ 2625346 w 2663946"/>
                <a:gd name="connsiteY209" fmla="*/ 115370 h 349382"/>
                <a:gd name="connsiteX210" fmla="*/ 2637637 w 2663946"/>
                <a:gd name="connsiteY210" fmla="*/ 112937 h 349382"/>
                <a:gd name="connsiteX211" fmla="*/ 2640832 w 2663946"/>
                <a:gd name="connsiteY211" fmla="*/ 109422 h 349382"/>
                <a:gd name="connsiteX212" fmla="*/ 2643290 w 2663946"/>
                <a:gd name="connsiteY212" fmla="*/ 105096 h 349382"/>
                <a:gd name="connsiteX213" fmla="*/ 2644273 w 2663946"/>
                <a:gd name="connsiteY213" fmla="*/ 102933 h 349382"/>
                <a:gd name="connsiteX214" fmla="*/ 2645502 w 2663946"/>
                <a:gd name="connsiteY214" fmla="*/ 98607 h 349382"/>
                <a:gd name="connsiteX215" fmla="*/ 2645011 w 2663946"/>
                <a:gd name="connsiteY215" fmla="*/ 84817 h 349382"/>
                <a:gd name="connsiteX216" fmla="*/ 2644027 w 2663946"/>
                <a:gd name="connsiteY216" fmla="*/ 81843 h 349382"/>
                <a:gd name="connsiteX217" fmla="*/ 2642799 w 2663946"/>
                <a:gd name="connsiteY217" fmla="*/ 78869 h 349382"/>
                <a:gd name="connsiteX218" fmla="*/ 2640586 w 2663946"/>
                <a:gd name="connsiteY218" fmla="*/ 75354 h 349382"/>
                <a:gd name="connsiteX219" fmla="*/ 2636899 w 2663946"/>
                <a:gd name="connsiteY219" fmla="*/ 71569 h 349382"/>
                <a:gd name="connsiteX220" fmla="*/ 2632966 w 2663946"/>
                <a:gd name="connsiteY220" fmla="*/ 69406 h 349382"/>
                <a:gd name="connsiteX221" fmla="*/ 2451011 w 2663946"/>
                <a:gd name="connsiteY221" fmla="*/ 69406 h 349382"/>
                <a:gd name="connsiteX222" fmla="*/ 2439459 w 2663946"/>
                <a:gd name="connsiteY222" fmla="*/ 71839 h 349382"/>
                <a:gd name="connsiteX223" fmla="*/ 2436263 w 2663946"/>
                <a:gd name="connsiteY223" fmla="*/ 75354 h 349382"/>
                <a:gd name="connsiteX224" fmla="*/ 2434051 w 2663946"/>
                <a:gd name="connsiteY224" fmla="*/ 79139 h 349382"/>
                <a:gd name="connsiteX225" fmla="*/ 2433068 w 2663946"/>
                <a:gd name="connsiteY225" fmla="*/ 81843 h 349382"/>
                <a:gd name="connsiteX226" fmla="*/ 2432084 w 2663946"/>
                <a:gd name="connsiteY226" fmla="*/ 85899 h 349382"/>
                <a:gd name="connsiteX227" fmla="*/ 2431101 w 2663946"/>
                <a:gd name="connsiteY227" fmla="*/ 92929 h 349382"/>
                <a:gd name="connsiteX228" fmla="*/ 2432084 w 2663946"/>
                <a:gd name="connsiteY228" fmla="*/ 100229 h 349382"/>
                <a:gd name="connsiteX229" fmla="*/ 2433314 w 2663946"/>
                <a:gd name="connsiteY229" fmla="*/ 104014 h 349382"/>
                <a:gd name="connsiteX230" fmla="*/ 2435526 w 2663946"/>
                <a:gd name="connsiteY230" fmla="*/ 108340 h 349382"/>
                <a:gd name="connsiteX231" fmla="*/ 2438967 w 2663946"/>
                <a:gd name="connsiteY231" fmla="*/ 112667 h 349382"/>
                <a:gd name="connsiteX232" fmla="*/ 2443391 w 2663946"/>
                <a:gd name="connsiteY232" fmla="*/ 115370 h 349382"/>
                <a:gd name="connsiteX233" fmla="*/ 2455682 w 2663946"/>
                <a:gd name="connsiteY233" fmla="*/ 112937 h 349382"/>
                <a:gd name="connsiteX234" fmla="*/ 2458877 w 2663946"/>
                <a:gd name="connsiteY234" fmla="*/ 109422 h 349382"/>
                <a:gd name="connsiteX235" fmla="*/ 2461335 w 2663946"/>
                <a:gd name="connsiteY235" fmla="*/ 105096 h 349382"/>
                <a:gd name="connsiteX236" fmla="*/ 2462318 w 2663946"/>
                <a:gd name="connsiteY236" fmla="*/ 102933 h 349382"/>
                <a:gd name="connsiteX237" fmla="*/ 2463547 w 2663946"/>
                <a:gd name="connsiteY237" fmla="*/ 98607 h 349382"/>
                <a:gd name="connsiteX238" fmla="*/ 2463056 w 2663946"/>
                <a:gd name="connsiteY238" fmla="*/ 84817 h 349382"/>
                <a:gd name="connsiteX239" fmla="*/ 2462072 w 2663946"/>
                <a:gd name="connsiteY239" fmla="*/ 81843 h 349382"/>
                <a:gd name="connsiteX240" fmla="*/ 2460844 w 2663946"/>
                <a:gd name="connsiteY240" fmla="*/ 78869 h 349382"/>
                <a:gd name="connsiteX241" fmla="*/ 2458631 w 2663946"/>
                <a:gd name="connsiteY241" fmla="*/ 75354 h 349382"/>
                <a:gd name="connsiteX242" fmla="*/ 2454944 w 2663946"/>
                <a:gd name="connsiteY242" fmla="*/ 71569 h 349382"/>
                <a:gd name="connsiteX243" fmla="*/ 2451011 w 2663946"/>
                <a:gd name="connsiteY243" fmla="*/ 69406 h 349382"/>
                <a:gd name="connsiteX244" fmla="*/ 2207965 w 2663946"/>
                <a:gd name="connsiteY244" fmla="*/ 69406 h 349382"/>
                <a:gd name="connsiteX245" fmla="*/ 2196413 w 2663946"/>
                <a:gd name="connsiteY245" fmla="*/ 71839 h 349382"/>
                <a:gd name="connsiteX246" fmla="*/ 2193217 w 2663946"/>
                <a:gd name="connsiteY246" fmla="*/ 75354 h 349382"/>
                <a:gd name="connsiteX247" fmla="*/ 2191005 w 2663946"/>
                <a:gd name="connsiteY247" fmla="*/ 79139 h 349382"/>
                <a:gd name="connsiteX248" fmla="*/ 2190022 w 2663946"/>
                <a:gd name="connsiteY248" fmla="*/ 81843 h 349382"/>
                <a:gd name="connsiteX249" fmla="*/ 2189038 w 2663946"/>
                <a:gd name="connsiteY249" fmla="*/ 85899 h 349382"/>
                <a:gd name="connsiteX250" fmla="*/ 2188055 w 2663946"/>
                <a:gd name="connsiteY250" fmla="*/ 92929 h 349382"/>
                <a:gd name="connsiteX251" fmla="*/ 2189038 w 2663946"/>
                <a:gd name="connsiteY251" fmla="*/ 100229 h 349382"/>
                <a:gd name="connsiteX252" fmla="*/ 2190268 w 2663946"/>
                <a:gd name="connsiteY252" fmla="*/ 104014 h 349382"/>
                <a:gd name="connsiteX253" fmla="*/ 2192480 w 2663946"/>
                <a:gd name="connsiteY253" fmla="*/ 108340 h 349382"/>
                <a:gd name="connsiteX254" fmla="*/ 2195921 w 2663946"/>
                <a:gd name="connsiteY254" fmla="*/ 112667 h 349382"/>
                <a:gd name="connsiteX255" fmla="*/ 2200345 w 2663946"/>
                <a:gd name="connsiteY255" fmla="*/ 115370 h 349382"/>
                <a:gd name="connsiteX256" fmla="*/ 2212636 w 2663946"/>
                <a:gd name="connsiteY256" fmla="*/ 112937 h 349382"/>
                <a:gd name="connsiteX257" fmla="*/ 2215831 w 2663946"/>
                <a:gd name="connsiteY257" fmla="*/ 109422 h 349382"/>
                <a:gd name="connsiteX258" fmla="*/ 2218289 w 2663946"/>
                <a:gd name="connsiteY258" fmla="*/ 105096 h 349382"/>
                <a:gd name="connsiteX259" fmla="*/ 2219272 w 2663946"/>
                <a:gd name="connsiteY259" fmla="*/ 102933 h 349382"/>
                <a:gd name="connsiteX260" fmla="*/ 2220501 w 2663946"/>
                <a:gd name="connsiteY260" fmla="*/ 98607 h 349382"/>
                <a:gd name="connsiteX261" fmla="*/ 2220010 w 2663946"/>
                <a:gd name="connsiteY261" fmla="*/ 84817 h 349382"/>
                <a:gd name="connsiteX262" fmla="*/ 2219026 w 2663946"/>
                <a:gd name="connsiteY262" fmla="*/ 81843 h 349382"/>
                <a:gd name="connsiteX263" fmla="*/ 2217798 w 2663946"/>
                <a:gd name="connsiteY263" fmla="*/ 78869 h 349382"/>
                <a:gd name="connsiteX264" fmla="*/ 2215585 w 2663946"/>
                <a:gd name="connsiteY264" fmla="*/ 75354 h 349382"/>
                <a:gd name="connsiteX265" fmla="*/ 2211898 w 2663946"/>
                <a:gd name="connsiteY265" fmla="*/ 71569 h 349382"/>
                <a:gd name="connsiteX266" fmla="*/ 2207965 w 2663946"/>
                <a:gd name="connsiteY266" fmla="*/ 69406 h 349382"/>
                <a:gd name="connsiteX267" fmla="*/ 2026014 w 2663946"/>
                <a:gd name="connsiteY267" fmla="*/ 69406 h 349382"/>
                <a:gd name="connsiteX268" fmla="*/ 2014462 w 2663946"/>
                <a:gd name="connsiteY268" fmla="*/ 71839 h 349382"/>
                <a:gd name="connsiteX269" fmla="*/ 2011266 w 2663946"/>
                <a:gd name="connsiteY269" fmla="*/ 75354 h 349382"/>
                <a:gd name="connsiteX270" fmla="*/ 2009054 w 2663946"/>
                <a:gd name="connsiteY270" fmla="*/ 79139 h 349382"/>
                <a:gd name="connsiteX271" fmla="*/ 2008071 w 2663946"/>
                <a:gd name="connsiteY271" fmla="*/ 81843 h 349382"/>
                <a:gd name="connsiteX272" fmla="*/ 2007087 w 2663946"/>
                <a:gd name="connsiteY272" fmla="*/ 85899 h 349382"/>
                <a:gd name="connsiteX273" fmla="*/ 2006104 w 2663946"/>
                <a:gd name="connsiteY273" fmla="*/ 92929 h 349382"/>
                <a:gd name="connsiteX274" fmla="*/ 2007087 w 2663946"/>
                <a:gd name="connsiteY274" fmla="*/ 100229 h 349382"/>
                <a:gd name="connsiteX275" fmla="*/ 2008317 w 2663946"/>
                <a:gd name="connsiteY275" fmla="*/ 104014 h 349382"/>
                <a:gd name="connsiteX276" fmla="*/ 2010529 w 2663946"/>
                <a:gd name="connsiteY276" fmla="*/ 108340 h 349382"/>
                <a:gd name="connsiteX277" fmla="*/ 2013970 w 2663946"/>
                <a:gd name="connsiteY277" fmla="*/ 112667 h 349382"/>
                <a:gd name="connsiteX278" fmla="*/ 2018394 w 2663946"/>
                <a:gd name="connsiteY278" fmla="*/ 115370 h 349382"/>
                <a:gd name="connsiteX279" fmla="*/ 2030685 w 2663946"/>
                <a:gd name="connsiteY279" fmla="*/ 112937 h 349382"/>
                <a:gd name="connsiteX280" fmla="*/ 2033880 w 2663946"/>
                <a:gd name="connsiteY280" fmla="*/ 109422 h 349382"/>
                <a:gd name="connsiteX281" fmla="*/ 2036338 w 2663946"/>
                <a:gd name="connsiteY281" fmla="*/ 105096 h 349382"/>
                <a:gd name="connsiteX282" fmla="*/ 2037321 w 2663946"/>
                <a:gd name="connsiteY282" fmla="*/ 102933 h 349382"/>
                <a:gd name="connsiteX283" fmla="*/ 2038550 w 2663946"/>
                <a:gd name="connsiteY283" fmla="*/ 98607 h 349382"/>
                <a:gd name="connsiteX284" fmla="*/ 2038059 w 2663946"/>
                <a:gd name="connsiteY284" fmla="*/ 84817 h 349382"/>
                <a:gd name="connsiteX285" fmla="*/ 2037075 w 2663946"/>
                <a:gd name="connsiteY285" fmla="*/ 81843 h 349382"/>
                <a:gd name="connsiteX286" fmla="*/ 2035847 w 2663946"/>
                <a:gd name="connsiteY286" fmla="*/ 78869 h 349382"/>
                <a:gd name="connsiteX287" fmla="*/ 2033634 w 2663946"/>
                <a:gd name="connsiteY287" fmla="*/ 75354 h 349382"/>
                <a:gd name="connsiteX288" fmla="*/ 2029947 w 2663946"/>
                <a:gd name="connsiteY288" fmla="*/ 71569 h 349382"/>
                <a:gd name="connsiteX289" fmla="*/ 2026014 w 2663946"/>
                <a:gd name="connsiteY289" fmla="*/ 69406 h 349382"/>
                <a:gd name="connsiteX290" fmla="*/ 1601090 w 2663946"/>
                <a:gd name="connsiteY290" fmla="*/ 69406 h 349382"/>
                <a:gd name="connsiteX291" fmla="*/ 1589537 w 2663946"/>
                <a:gd name="connsiteY291" fmla="*/ 71839 h 349382"/>
                <a:gd name="connsiteX292" fmla="*/ 1586342 w 2663946"/>
                <a:gd name="connsiteY292" fmla="*/ 75354 h 349382"/>
                <a:gd name="connsiteX293" fmla="*/ 1584130 w 2663946"/>
                <a:gd name="connsiteY293" fmla="*/ 79139 h 349382"/>
                <a:gd name="connsiteX294" fmla="*/ 1583147 w 2663946"/>
                <a:gd name="connsiteY294" fmla="*/ 81843 h 349382"/>
                <a:gd name="connsiteX295" fmla="*/ 1582163 w 2663946"/>
                <a:gd name="connsiteY295" fmla="*/ 85899 h 349382"/>
                <a:gd name="connsiteX296" fmla="*/ 1581180 w 2663946"/>
                <a:gd name="connsiteY296" fmla="*/ 92929 h 349382"/>
                <a:gd name="connsiteX297" fmla="*/ 1582163 w 2663946"/>
                <a:gd name="connsiteY297" fmla="*/ 100229 h 349382"/>
                <a:gd name="connsiteX298" fmla="*/ 1583393 w 2663946"/>
                <a:gd name="connsiteY298" fmla="*/ 104014 h 349382"/>
                <a:gd name="connsiteX299" fmla="*/ 1585605 w 2663946"/>
                <a:gd name="connsiteY299" fmla="*/ 108340 h 349382"/>
                <a:gd name="connsiteX300" fmla="*/ 1589046 w 2663946"/>
                <a:gd name="connsiteY300" fmla="*/ 112667 h 349382"/>
                <a:gd name="connsiteX301" fmla="*/ 1593470 w 2663946"/>
                <a:gd name="connsiteY301" fmla="*/ 115370 h 349382"/>
                <a:gd name="connsiteX302" fmla="*/ 1605761 w 2663946"/>
                <a:gd name="connsiteY302" fmla="*/ 112937 h 349382"/>
                <a:gd name="connsiteX303" fmla="*/ 1608956 w 2663946"/>
                <a:gd name="connsiteY303" fmla="*/ 109422 h 349382"/>
                <a:gd name="connsiteX304" fmla="*/ 1611414 w 2663946"/>
                <a:gd name="connsiteY304" fmla="*/ 105096 h 349382"/>
                <a:gd name="connsiteX305" fmla="*/ 1612397 w 2663946"/>
                <a:gd name="connsiteY305" fmla="*/ 102933 h 349382"/>
                <a:gd name="connsiteX306" fmla="*/ 1613626 w 2663946"/>
                <a:gd name="connsiteY306" fmla="*/ 98607 h 349382"/>
                <a:gd name="connsiteX307" fmla="*/ 1613135 w 2663946"/>
                <a:gd name="connsiteY307" fmla="*/ 84817 h 349382"/>
                <a:gd name="connsiteX308" fmla="*/ 1612151 w 2663946"/>
                <a:gd name="connsiteY308" fmla="*/ 81843 h 349382"/>
                <a:gd name="connsiteX309" fmla="*/ 1610923 w 2663946"/>
                <a:gd name="connsiteY309" fmla="*/ 78869 h 349382"/>
                <a:gd name="connsiteX310" fmla="*/ 1608710 w 2663946"/>
                <a:gd name="connsiteY310" fmla="*/ 75354 h 349382"/>
                <a:gd name="connsiteX311" fmla="*/ 1605023 w 2663946"/>
                <a:gd name="connsiteY311" fmla="*/ 71569 h 349382"/>
                <a:gd name="connsiteX312" fmla="*/ 1601090 w 2663946"/>
                <a:gd name="connsiteY312" fmla="*/ 69406 h 349382"/>
                <a:gd name="connsiteX313" fmla="*/ 1252183 w 2663946"/>
                <a:gd name="connsiteY313" fmla="*/ 69406 h 349382"/>
                <a:gd name="connsiteX314" fmla="*/ 1240630 w 2663946"/>
                <a:gd name="connsiteY314" fmla="*/ 71839 h 349382"/>
                <a:gd name="connsiteX315" fmla="*/ 1237435 w 2663946"/>
                <a:gd name="connsiteY315" fmla="*/ 75354 h 349382"/>
                <a:gd name="connsiteX316" fmla="*/ 1235223 w 2663946"/>
                <a:gd name="connsiteY316" fmla="*/ 79139 h 349382"/>
                <a:gd name="connsiteX317" fmla="*/ 1234240 w 2663946"/>
                <a:gd name="connsiteY317" fmla="*/ 81843 h 349382"/>
                <a:gd name="connsiteX318" fmla="*/ 1233256 w 2663946"/>
                <a:gd name="connsiteY318" fmla="*/ 85899 h 349382"/>
                <a:gd name="connsiteX319" fmla="*/ 1232273 w 2663946"/>
                <a:gd name="connsiteY319" fmla="*/ 92929 h 349382"/>
                <a:gd name="connsiteX320" fmla="*/ 1233256 w 2663946"/>
                <a:gd name="connsiteY320" fmla="*/ 100229 h 349382"/>
                <a:gd name="connsiteX321" fmla="*/ 1234486 w 2663946"/>
                <a:gd name="connsiteY321" fmla="*/ 104014 h 349382"/>
                <a:gd name="connsiteX322" fmla="*/ 1236698 w 2663946"/>
                <a:gd name="connsiteY322" fmla="*/ 108340 h 349382"/>
                <a:gd name="connsiteX323" fmla="*/ 1240139 w 2663946"/>
                <a:gd name="connsiteY323" fmla="*/ 112667 h 349382"/>
                <a:gd name="connsiteX324" fmla="*/ 1244563 w 2663946"/>
                <a:gd name="connsiteY324" fmla="*/ 115370 h 349382"/>
                <a:gd name="connsiteX325" fmla="*/ 1256854 w 2663946"/>
                <a:gd name="connsiteY325" fmla="*/ 112937 h 349382"/>
                <a:gd name="connsiteX326" fmla="*/ 1260049 w 2663946"/>
                <a:gd name="connsiteY326" fmla="*/ 109422 h 349382"/>
                <a:gd name="connsiteX327" fmla="*/ 1262507 w 2663946"/>
                <a:gd name="connsiteY327" fmla="*/ 105096 h 349382"/>
                <a:gd name="connsiteX328" fmla="*/ 1263490 w 2663946"/>
                <a:gd name="connsiteY328" fmla="*/ 102933 h 349382"/>
                <a:gd name="connsiteX329" fmla="*/ 1264719 w 2663946"/>
                <a:gd name="connsiteY329" fmla="*/ 98607 h 349382"/>
                <a:gd name="connsiteX330" fmla="*/ 1264228 w 2663946"/>
                <a:gd name="connsiteY330" fmla="*/ 84817 h 349382"/>
                <a:gd name="connsiteX331" fmla="*/ 1263244 w 2663946"/>
                <a:gd name="connsiteY331" fmla="*/ 81843 h 349382"/>
                <a:gd name="connsiteX332" fmla="*/ 1262016 w 2663946"/>
                <a:gd name="connsiteY332" fmla="*/ 78869 h 349382"/>
                <a:gd name="connsiteX333" fmla="*/ 1259803 w 2663946"/>
                <a:gd name="connsiteY333" fmla="*/ 75354 h 349382"/>
                <a:gd name="connsiteX334" fmla="*/ 1256116 w 2663946"/>
                <a:gd name="connsiteY334" fmla="*/ 71569 h 349382"/>
                <a:gd name="connsiteX335" fmla="*/ 1252183 w 2663946"/>
                <a:gd name="connsiteY335" fmla="*/ 69406 h 349382"/>
                <a:gd name="connsiteX336" fmla="*/ 1070232 w 2663946"/>
                <a:gd name="connsiteY336" fmla="*/ 69406 h 349382"/>
                <a:gd name="connsiteX337" fmla="*/ 1058679 w 2663946"/>
                <a:gd name="connsiteY337" fmla="*/ 71839 h 349382"/>
                <a:gd name="connsiteX338" fmla="*/ 1055484 w 2663946"/>
                <a:gd name="connsiteY338" fmla="*/ 75354 h 349382"/>
                <a:gd name="connsiteX339" fmla="*/ 1053272 w 2663946"/>
                <a:gd name="connsiteY339" fmla="*/ 79139 h 349382"/>
                <a:gd name="connsiteX340" fmla="*/ 1052289 w 2663946"/>
                <a:gd name="connsiteY340" fmla="*/ 81843 h 349382"/>
                <a:gd name="connsiteX341" fmla="*/ 1051305 w 2663946"/>
                <a:gd name="connsiteY341" fmla="*/ 85899 h 349382"/>
                <a:gd name="connsiteX342" fmla="*/ 1050322 w 2663946"/>
                <a:gd name="connsiteY342" fmla="*/ 92929 h 349382"/>
                <a:gd name="connsiteX343" fmla="*/ 1051305 w 2663946"/>
                <a:gd name="connsiteY343" fmla="*/ 100229 h 349382"/>
                <a:gd name="connsiteX344" fmla="*/ 1052535 w 2663946"/>
                <a:gd name="connsiteY344" fmla="*/ 104014 h 349382"/>
                <a:gd name="connsiteX345" fmla="*/ 1054747 w 2663946"/>
                <a:gd name="connsiteY345" fmla="*/ 108340 h 349382"/>
                <a:gd name="connsiteX346" fmla="*/ 1058188 w 2663946"/>
                <a:gd name="connsiteY346" fmla="*/ 112667 h 349382"/>
                <a:gd name="connsiteX347" fmla="*/ 1062612 w 2663946"/>
                <a:gd name="connsiteY347" fmla="*/ 115370 h 349382"/>
                <a:gd name="connsiteX348" fmla="*/ 1074903 w 2663946"/>
                <a:gd name="connsiteY348" fmla="*/ 112937 h 349382"/>
                <a:gd name="connsiteX349" fmla="*/ 1078098 w 2663946"/>
                <a:gd name="connsiteY349" fmla="*/ 109422 h 349382"/>
                <a:gd name="connsiteX350" fmla="*/ 1080556 w 2663946"/>
                <a:gd name="connsiteY350" fmla="*/ 105096 h 349382"/>
                <a:gd name="connsiteX351" fmla="*/ 1081539 w 2663946"/>
                <a:gd name="connsiteY351" fmla="*/ 102933 h 349382"/>
                <a:gd name="connsiteX352" fmla="*/ 1082768 w 2663946"/>
                <a:gd name="connsiteY352" fmla="*/ 98607 h 349382"/>
                <a:gd name="connsiteX353" fmla="*/ 1082277 w 2663946"/>
                <a:gd name="connsiteY353" fmla="*/ 84817 h 349382"/>
                <a:gd name="connsiteX354" fmla="*/ 1081293 w 2663946"/>
                <a:gd name="connsiteY354" fmla="*/ 81843 h 349382"/>
                <a:gd name="connsiteX355" fmla="*/ 1080065 w 2663946"/>
                <a:gd name="connsiteY355" fmla="*/ 78869 h 349382"/>
                <a:gd name="connsiteX356" fmla="*/ 1077852 w 2663946"/>
                <a:gd name="connsiteY356" fmla="*/ 75354 h 349382"/>
                <a:gd name="connsiteX357" fmla="*/ 1074165 w 2663946"/>
                <a:gd name="connsiteY357" fmla="*/ 71569 h 349382"/>
                <a:gd name="connsiteX358" fmla="*/ 1070232 w 2663946"/>
                <a:gd name="connsiteY358" fmla="*/ 69406 h 349382"/>
                <a:gd name="connsiteX359" fmla="*/ 903203 w 2663946"/>
                <a:gd name="connsiteY359" fmla="*/ 69406 h 349382"/>
                <a:gd name="connsiteX360" fmla="*/ 891650 w 2663946"/>
                <a:gd name="connsiteY360" fmla="*/ 71839 h 349382"/>
                <a:gd name="connsiteX361" fmla="*/ 888455 w 2663946"/>
                <a:gd name="connsiteY361" fmla="*/ 75354 h 349382"/>
                <a:gd name="connsiteX362" fmla="*/ 886243 w 2663946"/>
                <a:gd name="connsiteY362" fmla="*/ 79139 h 349382"/>
                <a:gd name="connsiteX363" fmla="*/ 885260 w 2663946"/>
                <a:gd name="connsiteY363" fmla="*/ 81843 h 349382"/>
                <a:gd name="connsiteX364" fmla="*/ 884276 w 2663946"/>
                <a:gd name="connsiteY364" fmla="*/ 85899 h 349382"/>
                <a:gd name="connsiteX365" fmla="*/ 883293 w 2663946"/>
                <a:gd name="connsiteY365" fmla="*/ 92929 h 349382"/>
                <a:gd name="connsiteX366" fmla="*/ 884276 w 2663946"/>
                <a:gd name="connsiteY366" fmla="*/ 100229 h 349382"/>
                <a:gd name="connsiteX367" fmla="*/ 885506 w 2663946"/>
                <a:gd name="connsiteY367" fmla="*/ 104014 h 349382"/>
                <a:gd name="connsiteX368" fmla="*/ 887718 w 2663946"/>
                <a:gd name="connsiteY368" fmla="*/ 108340 h 349382"/>
                <a:gd name="connsiteX369" fmla="*/ 891159 w 2663946"/>
                <a:gd name="connsiteY369" fmla="*/ 112667 h 349382"/>
                <a:gd name="connsiteX370" fmla="*/ 895583 w 2663946"/>
                <a:gd name="connsiteY370" fmla="*/ 115370 h 349382"/>
                <a:gd name="connsiteX371" fmla="*/ 907874 w 2663946"/>
                <a:gd name="connsiteY371" fmla="*/ 112937 h 349382"/>
                <a:gd name="connsiteX372" fmla="*/ 911069 w 2663946"/>
                <a:gd name="connsiteY372" fmla="*/ 109422 h 349382"/>
                <a:gd name="connsiteX373" fmla="*/ 913527 w 2663946"/>
                <a:gd name="connsiteY373" fmla="*/ 105096 h 349382"/>
                <a:gd name="connsiteX374" fmla="*/ 914510 w 2663946"/>
                <a:gd name="connsiteY374" fmla="*/ 102933 h 349382"/>
                <a:gd name="connsiteX375" fmla="*/ 915739 w 2663946"/>
                <a:gd name="connsiteY375" fmla="*/ 98607 h 349382"/>
                <a:gd name="connsiteX376" fmla="*/ 915248 w 2663946"/>
                <a:gd name="connsiteY376" fmla="*/ 84817 h 349382"/>
                <a:gd name="connsiteX377" fmla="*/ 914264 w 2663946"/>
                <a:gd name="connsiteY377" fmla="*/ 81843 h 349382"/>
                <a:gd name="connsiteX378" fmla="*/ 913036 w 2663946"/>
                <a:gd name="connsiteY378" fmla="*/ 78869 h 349382"/>
                <a:gd name="connsiteX379" fmla="*/ 910823 w 2663946"/>
                <a:gd name="connsiteY379" fmla="*/ 75354 h 349382"/>
                <a:gd name="connsiteX380" fmla="*/ 907136 w 2663946"/>
                <a:gd name="connsiteY380" fmla="*/ 71569 h 349382"/>
                <a:gd name="connsiteX381" fmla="*/ 903203 w 2663946"/>
                <a:gd name="connsiteY381" fmla="*/ 69406 h 349382"/>
                <a:gd name="connsiteX382" fmla="*/ 554297 w 2663946"/>
                <a:gd name="connsiteY382" fmla="*/ 69406 h 349382"/>
                <a:gd name="connsiteX383" fmla="*/ 542744 w 2663946"/>
                <a:gd name="connsiteY383" fmla="*/ 71839 h 349382"/>
                <a:gd name="connsiteX384" fmla="*/ 539549 w 2663946"/>
                <a:gd name="connsiteY384" fmla="*/ 75354 h 349382"/>
                <a:gd name="connsiteX385" fmla="*/ 537337 w 2663946"/>
                <a:gd name="connsiteY385" fmla="*/ 79139 h 349382"/>
                <a:gd name="connsiteX386" fmla="*/ 536353 w 2663946"/>
                <a:gd name="connsiteY386" fmla="*/ 81843 h 349382"/>
                <a:gd name="connsiteX387" fmla="*/ 535370 w 2663946"/>
                <a:gd name="connsiteY387" fmla="*/ 85899 h 349382"/>
                <a:gd name="connsiteX388" fmla="*/ 534387 w 2663946"/>
                <a:gd name="connsiteY388" fmla="*/ 92929 h 349382"/>
                <a:gd name="connsiteX389" fmla="*/ 535370 w 2663946"/>
                <a:gd name="connsiteY389" fmla="*/ 100229 h 349382"/>
                <a:gd name="connsiteX390" fmla="*/ 536599 w 2663946"/>
                <a:gd name="connsiteY390" fmla="*/ 104014 h 349382"/>
                <a:gd name="connsiteX391" fmla="*/ 538811 w 2663946"/>
                <a:gd name="connsiteY391" fmla="*/ 108340 h 349382"/>
                <a:gd name="connsiteX392" fmla="*/ 542253 w 2663946"/>
                <a:gd name="connsiteY392" fmla="*/ 112667 h 349382"/>
                <a:gd name="connsiteX393" fmla="*/ 546677 w 2663946"/>
                <a:gd name="connsiteY393" fmla="*/ 115370 h 349382"/>
                <a:gd name="connsiteX394" fmla="*/ 558967 w 2663946"/>
                <a:gd name="connsiteY394" fmla="*/ 112937 h 349382"/>
                <a:gd name="connsiteX395" fmla="*/ 562163 w 2663946"/>
                <a:gd name="connsiteY395" fmla="*/ 109422 h 349382"/>
                <a:gd name="connsiteX396" fmla="*/ 564621 w 2663946"/>
                <a:gd name="connsiteY396" fmla="*/ 105096 h 349382"/>
                <a:gd name="connsiteX397" fmla="*/ 565604 w 2663946"/>
                <a:gd name="connsiteY397" fmla="*/ 102933 h 349382"/>
                <a:gd name="connsiteX398" fmla="*/ 566833 w 2663946"/>
                <a:gd name="connsiteY398" fmla="*/ 98607 h 349382"/>
                <a:gd name="connsiteX399" fmla="*/ 566341 w 2663946"/>
                <a:gd name="connsiteY399" fmla="*/ 84817 h 349382"/>
                <a:gd name="connsiteX400" fmla="*/ 565358 w 2663946"/>
                <a:gd name="connsiteY400" fmla="*/ 81843 h 349382"/>
                <a:gd name="connsiteX401" fmla="*/ 564129 w 2663946"/>
                <a:gd name="connsiteY401" fmla="*/ 78869 h 349382"/>
                <a:gd name="connsiteX402" fmla="*/ 561917 w 2663946"/>
                <a:gd name="connsiteY402" fmla="*/ 75354 h 349382"/>
                <a:gd name="connsiteX403" fmla="*/ 558230 w 2663946"/>
                <a:gd name="connsiteY403" fmla="*/ 71569 h 349382"/>
                <a:gd name="connsiteX404" fmla="*/ 554297 w 2663946"/>
                <a:gd name="connsiteY404" fmla="*/ 69406 h 349382"/>
                <a:gd name="connsiteX405" fmla="*/ 372346 w 2663946"/>
                <a:gd name="connsiteY405" fmla="*/ 69406 h 349382"/>
                <a:gd name="connsiteX406" fmla="*/ 360793 w 2663946"/>
                <a:gd name="connsiteY406" fmla="*/ 71839 h 349382"/>
                <a:gd name="connsiteX407" fmla="*/ 357598 w 2663946"/>
                <a:gd name="connsiteY407" fmla="*/ 75354 h 349382"/>
                <a:gd name="connsiteX408" fmla="*/ 355385 w 2663946"/>
                <a:gd name="connsiteY408" fmla="*/ 79139 h 349382"/>
                <a:gd name="connsiteX409" fmla="*/ 354402 w 2663946"/>
                <a:gd name="connsiteY409" fmla="*/ 81843 h 349382"/>
                <a:gd name="connsiteX410" fmla="*/ 353419 w 2663946"/>
                <a:gd name="connsiteY410" fmla="*/ 85899 h 349382"/>
                <a:gd name="connsiteX411" fmla="*/ 352436 w 2663946"/>
                <a:gd name="connsiteY411" fmla="*/ 92929 h 349382"/>
                <a:gd name="connsiteX412" fmla="*/ 353419 w 2663946"/>
                <a:gd name="connsiteY412" fmla="*/ 100229 h 349382"/>
                <a:gd name="connsiteX413" fmla="*/ 354648 w 2663946"/>
                <a:gd name="connsiteY413" fmla="*/ 104014 h 349382"/>
                <a:gd name="connsiteX414" fmla="*/ 356860 w 2663946"/>
                <a:gd name="connsiteY414" fmla="*/ 108340 h 349382"/>
                <a:gd name="connsiteX415" fmla="*/ 360301 w 2663946"/>
                <a:gd name="connsiteY415" fmla="*/ 112667 h 349382"/>
                <a:gd name="connsiteX416" fmla="*/ 364726 w 2663946"/>
                <a:gd name="connsiteY416" fmla="*/ 115370 h 349382"/>
                <a:gd name="connsiteX417" fmla="*/ 377016 w 2663946"/>
                <a:gd name="connsiteY417" fmla="*/ 112937 h 349382"/>
                <a:gd name="connsiteX418" fmla="*/ 380212 w 2663946"/>
                <a:gd name="connsiteY418" fmla="*/ 109422 h 349382"/>
                <a:gd name="connsiteX419" fmla="*/ 382670 w 2663946"/>
                <a:gd name="connsiteY419" fmla="*/ 105096 h 349382"/>
                <a:gd name="connsiteX420" fmla="*/ 383653 w 2663946"/>
                <a:gd name="connsiteY420" fmla="*/ 102933 h 349382"/>
                <a:gd name="connsiteX421" fmla="*/ 384882 w 2663946"/>
                <a:gd name="connsiteY421" fmla="*/ 98607 h 349382"/>
                <a:gd name="connsiteX422" fmla="*/ 384390 w 2663946"/>
                <a:gd name="connsiteY422" fmla="*/ 84817 h 349382"/>
                <a:gd name="connsiteX423" fmla="*/ 383407 w 2663946"/>
                <a:gd name="connsiteY423" fmla="*/ 81843 h 349382"/>
                <a:gd name="connsiteX424" fmla="*/ 382178 w 2663946"/>
                <a:gd name="connsiteY424" fmla="*/ 78869 h 349382"/>
                <a:gd name="connsiteX425" fmla="*/ 379966 w 2663946"/>
                <a:gd name="connsiteY425" fmla="*/ 75354 h 349382"/>
                <a:gd name="connsiteX426" fmla="*/ 376279 w 2663946"/>
                <a:gd name="connsiteY426" fmla="*/ 71569 h 349382"/>
                <a:gd name="connsiteX427" fmla="*/ 372346 w 2663946"/>
                <a:gd name="connsiteY427" fmla="*/ 69406 h 349382"/>
                <a:gd name="connsiteX428" fmla="*/ 129300 w 2663946"/>
                <a:gd name="connsiteY428" fmla="*/ 69406 h 349382"/>
                <a:gd name="connsiteX429" fmla="*/ 117747 w 2663946"/>
                <a:gd name="connsiteY429" fmla="*/ 71839 h 349382"/>
                <a:gd name="connsiteX430" fmla="*/ 114552 w 2663946"/>
                <a:gd name="connsiteY430" fmla="*/ 75354 h 349382"/>
                <a:gd name="connsiteX431" fmla="*/ 112340 w 2663946"/>
                <a:gd name="connsiteY431" fmla="*/ 79139 h 349382"/>
                <a:gd name="connsiteX432" fmla="*/ 111356 w 2663946"/>
                <a:gd name="connsiteY432" fmla="*/ 81843 h 349382"/>
                <a:gd name="connsiteX433" fmla="*/ 110373 w 2663946"/>
                <a:gd name="connsiteY433" fmla="*/ 85899 h 349382"/>
                <a:gd name="connsiteX434" fmla="*/ 109390 w 2663946"/>
                <a:gd name="connsiteY434" fmla="*/ 92929 h 349382"/>
                <a:gd name="connsiteX435" fmla="*/ 110373 w 2663946"/>
                <a:gd name="connsiteY435" fmla="*/ 100229 h 349382"/>
                <a:gd name="connsiteX436" fmla="*/ 111602 w 2663946"/>
                <a:gd name="connsiteY436" fmla="*/ 104014 h 349382"/>
                <a:gd name="connsiteX437" fmla="*/ 113814 w 2663946"/>
                <a:gd name="connsiteY437" fmla="*/ 108340 h 349382"/>
                <a:gd name="connsiteX438" fmla="*/ 117256 w 2663946"/>
                <a:gd name="connsiteY438" fmla="*/ 112667 h 349382"/>
                <a:gd name="connsiteX439" fmla="*/ 121680 w 2663946"/>
                <a:gd name="connsiteY439" fmla="*/ 115370 h 349382"/>
                <a:gd name="connsiteX440" fmla="*/ 133970 w 2663946"/>
                <a:gd name="connsiteY440" fmla="*/ 112937 h 349382"/>
                <a:gd name="connsiteX441" fmla="*/ 137166 w 2663946"/>
                <a:gd name="connsiteY441" fmla="*/ 109422 h 349382"/>
                <a:gd name="connsiteX442" fmla="*/ 139624 w 2663946"/>
                <a:gd name="connsiteY442" fmla="*/ 105096 h 349382"/>
                <a:gd name="connsiteX443" fmla="*/ 140607 w 2663946"/>
                <a:gd name="connsiteY443" fmla="*/ 102933 h 349382"/>
                <a:gd name="connsiteX444" fmla="*/ 141836 w 2663946"/>
                <a:gd name="connsiteY444" fmla="*/ 98607 h 349382"/>
                <a:gd name="connsiteX445" fmla="*/ 141344 w 2663946"/>
                <a:gd name="connsiteY445" fmla="*/ 84817 h 349382"/>
                <a:gd name="connsiteX446" fmla="*/ 140361 w 2663946"/>
                <a:gd name="connsiteY446" fmla="*/ 81843 h 349382"/>
                <a:gd name="connsiteX447" fmla="*/ 139132 w 2663946"/>
                <a:gd name="connsiteY447" fmla="*/ 78869 h 349382"/>
                <a:gd name="connsiteX448" fmla="*/ 136920 w 2663946"/>
                <a:gd name="connsiteY448" fmla="*/ 75354 h 349382"/>
                <a:gd name="connsiteX449" fmla="*/ 133233 w 2663946"/>
                <a:gd name="connsiteY449" fmla="*/ 71569 h 349382"/>
                <a:gd name="connsiteX450" fmla="*/ 129300 w 2663946"/>
                <a:gd name="connsiteY450" fmla="*/ 69406 h 349382"/>
                <a:gd name="connsiteX451" fmla="*/ 33147 w 2663946"/>
                <a:gd name="connsiteY451" fmla="*/ 65470 h 349382"/>
                <a:gd name="connsiteX452" fmla="*/ 21486 w 2663946"/>
                <a:gd name="connsiteY452" fmla="*/ 73199 h 349382"/>
                <a:gd name="connsiteX453" fmla="*/ 20561 w 2663946"/>
                <a:gd name="connsiteY453" fmla="*/ 77782 h 349382"/>
                <a:gd name="connsiteX454" fmla="*/ 23801 w 2663946"/>
                <a:gd name="connsiteY454" fmla="*/ 77782 h 349382"/>
                <a:gd name="connsiteX455" fmla="*/ 42218 w 2663946"/>
                <a:gd name="connsiteY455" fmla="*/ 77782 h 349382"/>
                <a:gd name="connsiteX456" fmla="*/ 45732 w 2663946"/>
                <a:gd name="connsiteY456" fmla="*/ 77782 h 349382"/>
                <a:gd name="connsiteX457" fmla="*/ 44807 w 2663946"/>
                <a:gd name="connsiteY457" fmla="*/ 73199 h 349382"/>
                <a:gd name="connsiteX458" fmla="*/ 33147 w 2663946"/>
                <a:gd name="connsiteY458" fmla="*/ 65470 h 349382"/>
                <a:gd name="connsiteX459" fmla="*/ 2537931 w 2663946"/>
                <a:gd name="connsiteY459" fmla="*/ 57882 h 349382"/>
                <a:gd name="connsiteX460" fmla="*/ 2526271 w 2663946"/>
                <a:gd name="connsiteY460" fmla="*/ 65611 h 349382"/>
                <a:gd name="connsiteX461" fmla="*/ 2525346 w 2663946"/>
                <a:gd name="connsiteY461" fmla="*/ 70194 h 349382"/>
                <a:gd name="connsiteX462" fmla="*/ 2528586 w 2663946"/>
                <a:gd name="connsiteY462" fmla="*/ 70194 h 349382"/>
                <a:gd name="connsiteX463" fmla="*/ 2547003 w 2663946"/>
                <a:gd name="connsiteY463" fmla="*/ 70194 h 349382"/>
                <a:gd name="connsiteX464" fmla="*/ 2550517 w 2663946"/>
                <a:gd name="connsiteY464" fmla="*/ 70194 h 349382"/>
                <a:gd name="connsiteX465" fmla="*/ 2549592 w 2663946"/>
                <a:gd name="connsiteY465" fmla="*/ 65611 h 349382"/>
                <a:gd name="connsiteX466" fmla="*/ 2537931 w 2663946"/>
                <a:gd name="connsiteY466" fmla="*/ 57882 h 349382"/>
                <a:gd name="connsiteX467" fmla="*/ 2112934 w 2663946"/>
                <a:gd name="connsiteY467" fmla="*/ 57882 h 349382"/>
                <a:gd name="connsiteX468" fmla="*/ 2101274 w 2663946"/>
                <a:gd name="connsiteY468" fmla="*/ 65611 h 349382"/>
                <a:gd name="connsiteX469" fmla="*/ 2100349 w 2663946"/>
                <a:gd name="connsiteY469" fmla="*/ 70194 h 349382"/>
                <a:gd name="connsiteX470" fmla="*/ 2103589 w 2663946"/>
                <a:gd name="connsiteY470" fmla="*/ 70194 h 349382"/>
                <a:gd name="connsiteX471" fmla="*/ 2122006 w 2663946"/>
                <a:gd name="connsiteY471" fmla="*/ 70194 h 349382"/>
                <a:gd name="connsiteX472" fmla="*/ 2125520 w 2663946"/>
                <a:gd name="connsiteY472" fmla="*/ 70194 h 349382"/>
                <a:gd name="connsiteX473" fmla="*/ 2124595 w 2663946"/>
                <a:gd name="connsiteY473" fmla="*/ 65611 h 349382"/>
                <a:gd name="connsiteX474" fmla="*/ 2112934 w 2663946"/>
                <a:gd name="connsiteY474" fmla="*/ 57882 h 349382"/>
                <a:gd name="connsiteX475" fmla="*/ 1854966 w 2663946"/>
                <a:gd name="connsiteY475" fmla="*/ 57882 h 349382"/>
                <a:gd name="connsiteX476" fmla="*/ 1843306 w 2663946"/>
                <a:gd name="connsiteY476" fmla="*/ 65611 h 349382"/>
                <a:gd name="connsiteX477" fmla="*/ 1842381 w 2663946"/>
                <a:gd name="connsiteY477" fmla="*/ 70194 h 349382"/>
                <a:gd name="connsiteX478" fmla="*/ 1845621 w 2663946"/>
                <a:gd name="connsiteY478" fmla="*/ 70194 h 349382"/>
                <a:gd name="connsiteX479" fmla="*/ 1864038 w 2663946"/>
                <a:gd name="connsiteY479" fmla="*/ 70194 h 349382"/>
                <a:gd name="connsiteX480" fmla="*/ 1867552 w 2663946"/>
                <a:gd name="connsiteY480" fmla="*/ 70194 h 349382"/>
                <a:gd name="connsiteX481" fmla="*/ 1866627 w 2663946"/>
                <a:gd name="connsiteY481" fmla="*/ 65611 h 349382"/>
                <a:gd name="connsiteX482" fmla="*/ 1854966 w 2663946"/>
                <a:gd name="connsiteY482" fmla="*/ 57882 h 349382"/>
                <a:gd name="connsiteX483" fmla="*/ 1764027 w 2663946"/>
                <a:gd name="connsiteY483" fmla="*/ 57882 h 349382"/>
                <a:gd name="connsiteX484" fmla="*/ 1752367 w 2663946"/>
                <a:gd name="connsiteY484" fmla="*/ 65611 h 349382"/>
                <a:gd name="connsiteX485" fmla="*/ 1751442 w 2663946"/>
                <a:gd name="connsiteY485" fmla="*/ 70194 h 349382"/>
                <a:gd name="connsiteX486" fmla="*/ 1754682 w 2663946"/>
                <a:gd name="connsiteY486" fmla="*/ 70194 h 349382"/>
                <a:gd name="connsiteX487" fmla="*/ 1773099 w 2663946"/>
                <a:gd name="connsiteY487" fmla="*/ 70194 h 349382"/>
                <a:gd name="connsiteX488" fmla="*/ 1776613 w 2663946"/>
                <a:gd name="connsiteY488" fmla="*/ 70194 h 349382"/>
                <a:gd name="connsiteX489" fmla="*/ 1775687 w 2663946"/>
                <a:gd name="connsiteY489" fmla="*/ 65611 h 349382"/>
                <a:gd name="connsiteX490" fmla="*/ 1764027 w 2663946"/>
                <a:gd name="connsiteY490" fmla="*/ 57882 h 349382"/>
                <a:gd name="connsiteX491" fmla="*/ 1506059 w 2663946"/>
                <a:gd name="connsiteY491" fmla="*/ 57882 h 349382"/>
                <a:gd name="connsiteX492" fmla="*/ 1494399 w 2663946"/>
                <a:gd name="connsiteY492" fmla="*/ 65611 h 349382"/>
                <a:gd name="connsiteX493" fmla="*/ 1493474 w 2663946"/>
                <a:gd name="connsiteY493" fmla="*/ 70194 h 349382"/>
                <a:gd name="connsiteX494" fmla="*/ 1496714 w 2663946"/>
                <a:gd name="connsiteY494" fmla="*/ 70194 h 349382"/>
                <a:gd name="connsiteX495" fmla="*/ 1515131 w 2663946"/>
                <a:gd name="connsiteY495" fmla="*/ 70194 h 349382"/>
                <a:gd name="connsiteX496" fmla="*/ 1518645 w 2663946"/>
                <a:gd name="connsiteY496" fmla="*/ 70194 h 349382"/>
                <a:gd name="connsiteX497" fmla="*/ 1517719 w 2663946"/>
                <a:gd name="connsiteY497" fmla="*/ 65611 h 349382"/>
                <a:gd name="connsiteX498" fmla="*/ 1506059 w 2663946"/>
                <a:gd name="connsiteY498" fmla="*/ 57882 h 349382"/>
                <a:gd name="connsiteX499" fmla="*/ 1415120 w 2663946"/>
                <a:gd name="connsiteY499" fmla="*/ 57882 h 349382"/>
                <a:gd name="connsiteX500" fmla="*/ 1403460 w 2663946"/>
                <a:gd name="connsiteY500" fmla="*/ 65611 h 349382"/>
                <a:gd name="connsiteX501" fmla="*/ 1402535 w 2663946"/>
                <a:gd name="connsiteY501" fmla="*/ 70194 h 349382"/>
                <a:gd name="connsiteX502" fmla="*/ 1405775 w 2663946"/>
                <a:gd name="connsiteY502" fmla="*/ 70194 h 349382"/>
                <a:gd name="connsiteX503" fmla="*/ 1424192 w 2663946"/>
                <a:gd name="connsiteY503" fmla="*/ 70194 h 349382"/>
                <a:gd name="connsiteX504" fmla="*/ 1427706 w 2663946"/>
                <a:gd name="connsiteY504" fmla="*/ 70194 h 349382"/>
                <a:gd name="connsiteX505" fmla="*/ 1426780 w 2663946"/>
                <a:gd name="connsiteY505" fmla="*/ 65611 h 349382"/>
                <a:gd name="connsiteX506" fmla="*/ 1415120 w 2663946"/>
                <a:gd name="connsiteY506" fmla="*/ 57882 h 349382"/>
                <a:gd name="connsiteX507" fmla="*/ 1157152 w 2663946"/>
                <a:gd name="connsiteY507" fmla="*/ 57882 h 349382"/>
                <a:gd name="connsiteX508" fmla="*/ 1145492 w 2663946"/>
                <a:gd name="connsiteY508" fmla="*/ 65611 h 349382"/>
                <a:gd name="connsiteX509" fmla="*/ 1144567 w 2663946"/>
                <a:gd name="connsiteY509" fmla="*/ 70194 h 349382"/>
                <a:gd name="connsiteX510" fmla="*/ 1147807 w 2663946"/>
                <a:gd name="connsiteY510" fmla="*/ 70194 h 349382"/>
                <a:gd name="connsiteX511" fmla="*/ 1166224 w 2663946"/>
                <a:gd name="connsiteY511" fmla="*/ 70194 h 349382"/>
                <a:gd name="connsiteX512" fmla="*/ 1169738 w 2663946"/>
                <a:gd name="connsiteY512" fmla="*/ 70194 h 349382"/>
                <a:gd name="connsiteX513" fmla="*/ 1168812 w 2663946"/>
                <a:gd name="connsiteY513" fmla="*/ 65611 h 349382"/>
                <a:gd name="connsiteX514" fmla="*/ 1157152 w 2663946"/>
                <a:gd name="connsiteY514" fmla="*/ 57882 h 349382"/>
                <a:gd name="connsiteX515" fmla="*/ 732156 w 2663946"/>
                <a:gd name="connsiteY515" fmla="*/ 57882 h 349382"/>
                <a:gd name="connsiteX516" fmla="*/ 720495 w 2663946"/>
                <a:gd name="connsiteY516" fmla="*/ 65611 h 349382"/>
                <a:gd name="connsiteX517" fmla="*/ 719570 w 2663946"/>
                <a:gd name="connsiteY517" fmla="*/ 70194 h 349382"/>
                <a:gd name="connsiteX518" fmla="*/ 722810 w 2663946"/>
                <a:gd name="connsiteY518" fmla="*/ 70194 h 349382"/>
                <a:gd name="connsiteX519" fmla="*/ 741228 w 2663946"/>
                <a:gd name="connsiteY519" fmla="*/ 70194 h 349382"/>
                <a:gd name="connsiteX520" fmla="*/ 744742 w 2663946"/>
                <a:gd name="connsiteY520" fmla="*/ 70194 h 349382"/>
                <a:gd name="connsiteX521" fmla="*/ 743816 w 2663946"/>
                <a:gd name="connsiteY521" fmla="*/ 65611 h 349382"/>
                <a:gd name="connsiteX522" fmla="*/ 732156 w 2663946"/>
                <a:gd name="connsiteY522" fmla="*/ 57882 h 349382"/>
                <a:gd name="connsiteX523" fmla="*/ 641217 w 2663946"/>
                <a:gd name="connsiteY523" fmla="*/ 57882 h 349382"/>
                <a:gd name="connsiteX524" fmla="*/ 629556 w 2663946"/>
                <a:gd name="connsiteY524" fmla="*/ 65611 h 349382"/>
                <a:gd name="connsiteX525" fmla="*/ 628631 w 2663946"/>
                <a:gd name="connsiteY525" fmla="*/ 70194 h 349382"/>
                <a:gd name="connsiteX526" fmla="*/ 631871 w 2663946"/>
                <a:gd name="connsiteY526" fmla="*/ 70194 h 349382"/>
                <a:gd name="connsiteX527" fmla="*/ 650289 w 2663946"/>
                <a:gd name="connsiteY527" fmla="*/ 70194 h 349382"/>
                <a:gd name="connsiteX528" fmla="*/ 653802 w 2663946"/>
                <a:gd name="connsiteY528" fmla="*/ 70194 h 349382"/>
                <a:gd name="connsiteX529" fmla="*/ 652877 w 2663946"/>
                <a:gd name="connsiteY529" fmla="*/ 65611 h 349382"/>
                <a:gd name="connsiteX530" fmla="*/ 641217 w 2663946"/>
                <a:gd name="connsiteY530" fmla="*/ 57882 h 349382"/>
                <a:gd name="connsiteX531" fmla="*/ 459266 w 2663946"/>
                <a:gd name="connsiteY531" fmla="*/ 57882 h 349382"/>
                <a:gd name="connsiteX532" fmla="*/ 447605 w 2663946"/>
                <a:gd name="connsiteY532" fmla="*/ 65611 h 349382"/>
                <a:gd name="connsiteX533" fmla="*/ 446680 w 2663946"/>
                <a:gd name="connsiteY533" fmla="*/ 70194 h 349382"/>
                <a:gd name="connsiteX534" fmla="*/ 449920 w 2663946"/>
                <a:gd name="connsiteY534" fmla="*/ 70194 h 349382"/>
                <a:gd name="connsiteX535" fmla="*/ 468337 w 2663946"/>
                <a:gd name="connsiteY535" fmla="*/ 70194 h 349382"/>
                <a:gd name="connsiteX536" fmla="*/ 471851 w 2663946"/>
                <a:gd name="connsiteY536" fmla="*/ 70194 h 349382"/>
                <a:gd name="connsiteX537" fmla="*/ 470926 w 2663946"/>
                <a:gd name="connsiteY537" fmla="*/ 65611 h 349382"/>
                <a:gd name="connsiteX538" fmla="*/ 459266 w 2663946"/>
                <a:gd name="connsiteY538" fmla="*/ 57882 h 349382"/>
                <a:gd name="connsiteX539" fmla="*/ 2361413 w 2663946"/>
                <a:gd name="connsiteY539" fmla="*/ 53522 h 349382"/>
                <a:gd name="connsiteX540" fmla="*/ 2365469 w 2663946"/>
                <a:gd name="connsiteY540" fmla="*/ 53522 h 349382"/>
                <a:gd name="connsiteX541" fmla="*/ 2370065 w 2663946"/>
                <a:gd name="connsiteY541" fmla="*/ 55956 h 349382"/>
                <a:gd name="connsiteX542" fmla="*/ 2372229 w 2663946"/>
                <a:gd name="connsiteY542" fmla="*/ 62174 h 349382"/>
                <a:gd name="connsiteX543" fmla="*/ 2372229 w 2663946"/>
                <a:gd name="connsiteY543" fmla="*/ 62715 h 349382"/>
                <a:gd name="connsiteX544" fmla="*/ 2372229 w 2663946"/>
                <a:gd name="connsiteY544" fmla="*/ 115710 h 349382"/>
                <a:gd name="connsiteX545" fmla="*/ 2372769 w 2663946"/>
                <a:gd name="connsiteY545" fmla="*/ 116250 h 349382"/>
                <a:gd name="connsiteX546" fmla="*/ 2380069 w 2663946"/>
                <a:gd name="connsiteY546" fmla="*/ 116250 h 349382"/>
                <a:gd name="connsiteX547" fmla="*/ 2384125 w 2663946"/>
                <a:gd name="connsiteY547" fmla="*/ 117332 h 349382"/>
                <a:gd name="connsiteX548" fmla="*/ 2387910 w 2663946"/>
                <a:gd name="connsiteY548" fmla="*/ 124091 h 349382"/>
                <a:gd name="connsiteX549" fmla="*/ 2385207 w 2663946"/>
                <a:gd name="connsiteY549" fmla="*/ 129769 h 349382"/>
                <a:gd name="connsiteX550" fmla="*/ 2381151 w 2663946"/>
                <a:gd name="connsiteY550" fmla="*/ 131662 h 349382"/>
                <a:gd name="connsiteX551" fmla="*/ 2380881 w 2663946"/>
                <a:gd name="connsiteY551" fmla="*/ 131662 h 349382"/>
                <a:gd name="connsiteX552" fmla="*/ 2380610 w 2663946"/>
                <a:gd name="connsiteY552" fmla="*/ 131662 h 349382"/>
                <a:gd name="connsiteX553" fmla="*/ 2380069 w 2663946"/>
                <a:gd name="connsiteY553" fmla="*/ 131662 h 349382"/>
                <a:gd name="connsiteX554" fmla="*/ 2347894 w 2663946"/>
                <a:gd name="connsiteY554" fmla="*/ 131662 h 349382"/>
                <a:gd name="connsiteX555" fmla="*/ 2347354 w 2663946"/>
                <a:gd name="connsiteY555" fmla="*/ 131662 h 349382"/>
                <a:gd name="connsiteX556" fmla="*/ 2346542 w 2663946"/>
                <a:gd name="connsiteY556" fmla="*/ 131662 h 349382"/>
                <a:gd name="connsiteX557" fmla="*/ 2345731 w 2663946"/>
                <a:gd name="connsiteY557" fmla="*/ 131392 h 349382"/>
                <a:gd name="connsiteX558" fmla="*/ 2342216 w 2663946"/>
                <a:gd name="connsiteY558" fmla="*/ 129499 h 349382"/>
                <a:gd name="connsiteX559" fmla="*/ 2339783 w 2663946"/>
                <a:gd name="connsiteY559" fmla="*/ 123821 h 349382"/>
                <a:gd name="connsiteX560" fmla="*/ 2341946 w 2663946"/>
                <a:gd name="connsiteY560" fmla="*/ 118684 h 349382"/>
                <a:gd name="connsiteX561" fmla="*/ 2347624 w 2663946"/>
                <a:gd name="connsiteY561" fmla="*/ 116250 h 349382"/>
                <a:gd name="connsiteX562" fmla="*/ 2355465 w 2663946"/>
                <a:gd name="connsiteY562" fmla="*/ 116250 h 349382"/>
                <a:gd name="connsiteX563" fmla="*/ 2356006 w 2663946"/>
                <a:gd name="connsiteY563" fmla="*/ 115710 h 349382"/>
                <a:gd name="connsiteX564" fmla="*/ 2356006 w 2663946"/>
                <a:gd name="connsiteY564" fmla="*/ 69745 h 349382"/>
                <a:gd name="connsiteX565" fmla="*/ 2355465 w 2663946"/>
                <a:gd name="connsiteY565" fmla="*/ 69204 h 349382"/>
                <a:gd name="connsiteX566" fmla="*/ 2349517 w 2663946"/>
                <a:gd name="connsiteY566" fmla="*/ 69204 h 349382"/>
                <a:gd name="connsiteX567" fmla="*/ 2342216 w 2663946"/>
                <a:gd name="connsiteY567" fmla="*/ 64608 h 349382"/>
                <a:gd name="connsiteX568" fmla="*/ 2341946 w 2663946"/>
                <a:gd name="connsiteY568" fmla="*/ 58930 h 349382"/>
                <a:gd name="connsiteX569" fmla="*/ 2349246 w 2663946"/>
                <a:gd name="connsiteY569" fmla="*/ 53793 h 349382"/>
                <a:gd name="connsiteX570" fmla="*/ 2361413 w 2663946"/>
                <a:gd name="connsiteY570" fmla="*/ 53522 h 349382"/>
                <a:gd name="connsiteX571" fmla="*/ 2285396 w 2663946"/>
                <a:gd name="connsiteY571" fmla="*/ 53522 h 349382"/>
                <a:gd name="connsiteX572" fmla="*/ 2289452 w 2663946"/>
                <a:gd name="connsiteY572" fmla="*/ 53522 h 349382"/>
                <a:gd name="connsiteX573" fmla="*/ 2294048 w 2663946"/>
                <a:gd name="connsiteY573" fmla="*/ 55956 h 349382"/>
                <a:gd name="connsiteX574" fmla="*/ 2296212 w 2663946"/>
                <a:gd name="connsiteY574" fmla="*/ 62174 h 349382"/>
                <a:gd name="connsiteX575" fmla="*/ 2296212 w 2663946"/>
                <a:gd name="connsiteY575" fmla="*/ 62715 h 349382"/>
                <a:gd name="connsiteX576" fmla="*/ 2296212 w 2663946"/>
                <a:gd name="connsiteY576" fmla="*/ 115710 h 349382"/>
                <a:gd name="connsiteX577" fmla="*/ 2296752 w 2663946"/>
                <a:gd name="connsiteY577" fmla="*/ 116250 h 349382"/>
                <a:gd name="connsiteX578" fmla="*/ 2304052 w 2663946"/>
                <a:gd name="connsiteY578" fmla="*/ 116250 h 349382"/>
                <a:gd name="connsiteX579" fmla="*/ 2308108 w 2663946"/>
                <a:gd name="connsiteY579" fmla="*/ 117332 h 349382"/>
                <a:gd name="connsiteX580" fmla="*/ 2311893 w 2663946"/>
                <a:gd name="connsiteY580" fmla="*/ 124091 h 349382"/>
                <a:gd name="connsiteX581" fmla="*/ 2309190 w 2663946"/>
                <a:gd name="connsiteY581" fmla="*/ 129769 h 349382"/>
                <a:gd name="connsiteX582" fmla="*/ 2305134 w 2663946"/>
                <a:gd name="connsiteY582" fmla="*/ 131662 h 349382"/>
                <a:gd name="connsiteX583" fmla="*/ 2304864 w 2663946"/>
                <a:gd name="connsiteY583" fmla="*/ 131662 h 349382"/>
                <a:gd name="connsiteX584" fmla="*/ 2304593 w 2663946"/>
                <a:gd name="connsiteY584" fmla="*/ 131662 h 349382"/>
                <a:gd name="connsiteX585" fmla="*/ 2304052 w 2663946"/>
                <a:gd name="connsiteY585" fmla="*/ 131662 h 349382"/>
                <a:gd name="connsiteX586" fmla="*/ 2271877 w 2663946"/>
                <a:gd name="connsiteY586" fmla="*/ 131662 h 349382"/>
                <a:gd name="connsiteX587" fmla="*/ 2271337 w 2663946"/>
                <a:gd name="connsiteY587" fmla="*/ 131662 h 349382"/>
                <a:gd name="connsiteX588" fmla="*/ 2270525 w 2663946"/>
                <a:gd name="connsiteY588" fmla="*/ 131662 h 349382"/>
                <a:gd name="connsiteX589" fmla="*/ 2269714 w 2663946"/>
                <a:gd name="connsiteY589" fmla="*/ 131392 h 349382"/>
                <a:gd name="connsiteX590" fmla="*/ 2266199 w 2663946"/>
                <a:gd name="connsiteY590" fmla="*/ 129499 h 349382"/>
                <a:gd name="connsiteX591" fmla="*/ 2263766 w 2663946"/>
                <a:gd name="connsiteY591" fmla="*/ 123821 h 349382"/>
                <a:gd name="connsiteX592" fmla="*/ 2265929 w 2663946"/>
                <a:gd name="connsiteY592" fmla="*/ 118684 h 349382"/>
                <a:gd name="connsiteX593" fmla="*/ 2271607 w 2663946"/>
                <a:gd name="connsiteY593" fmla="*/ 116250 h 349382"/>
                <a:gd name="connsiteX594" fmla="*/ 2279448 w 2663946"/>
                <a:gd name="connsiteY594" fmla="*/ 116250 h 349382"/>
                <a:gd name="connsiteX595" fmla="*/ 2279989 w 2663946"/>
                <a:gd name="connsiteY595" fmla="*/ 115710 h 349382"/>
                <a:gd name="connsiteX596" fmla="*/ 2279989 w 2663946"/>
                <a:gd name="connsiteY596" fmla="*/ 69745 h 349382"/>
                <a:gd name="connsiteX597" fmla="*/ 2279448 w 2663946"/>
                <a:gd name="connsiteY597" fmla="*/ 69204 h 349382"/>
                <a:gd name="connsiteX598" fmla="*/ 2273500 w 2663946"/>
                <a:gd name="connsiteY598" fmla="*/ 69204 h 349382"/>
                <a:gd name="connsiteX599" fmla="*/ 2266199 w 2663946"/>
                <a:gd name="connsiteY599" fmla="*/ 64608 h 349382"/>
                <a:gd name="connsiteX600" fmla="*/ 2265929 w 2663946"/>
                <a:gd name="connsiteY600" fmla="*/ 58930 h 349382"/>
                <a:gd name="connsiteX601" fmla="*/ 2273229 w 2663946"/>
                <a:gd name="connsiteY601" fmla="*/ 53793 h 349382"/>
                <a:gd name="connsiteX602" fmla="*/ 2285396 w 2663946"/>
                <a:gd name="connsiteY602" fmla="*/ 53522 h 349382"/>
                <a:gd name="connsiteX603" fmla="*/ 1936416 w 2663946"/>
                <a:gd name="connsiteY603" fmla="*/ 53522 h 349382"/>
                <a:gd name="connsiteX604" fmla="*/ 1940472 w 2663946"/>
                <a:gd name="connsiteY604" fmla="*/ 53522 h 349382"/>
                <a:gd name="connsiteX605" fmla="*/ 1945068 w 2663946"/>
                <a:gd name="connsiteY605" fmla="*/ 55956 h 349382"/>
                <a:gd name="connsiteX606" fmla="*/ 1947232 w 2663946"/>
                <a:gd name="connsiteY606" fmla="*/ 62174 h 349382"/>
                <a:gd name="connsiteX607" fmla="*/ 1947232 w 2663946"/>
                <a:gd name="connsiteY607" fmla="*/ 62715 h 349382"/>
                <a:gd name="connsiteX608" fmla="*/ 1947232 w 2663946"/>
                <a:gd name="connsiteY608" fmla="*/ 115710 h 349382"/>
                <a:gd name="connsiteX609" fmla="*/ 1947772 w 2663946"/>
                <a:gd name="connsiteY609" fmla="*/ 116250 h 349382"/>
                <a:gd name="connsiteX610" fmla="*/ 1955072 w 2663946"/>
                <a:gd name="connsiteY610" fmla="*/ 116250 h 349382"/>
                <a:gd name="connsiteX611" fmla="*/ 1959128 w 2663946"/>
                <a:gd name="connsiteY611" fmla="*/ 117332 h 349382"/>
                <a:gd name="connsiteX612" fmla="*/ 1962913 w 2663946"/>
                <a:gd name="connsiteY612" fmla="*/ 124091 h 349382"/>
                <a:gd name="connsiteX613" fmla="*/ 1960210 w 2663946"/>
                <a:gd name="connsiteY613" fmla="*/ 129769 h 349382"/>
                <a:gd name="connsiteX614" fmla="*/ 1956154 w 2663946"/>
                <a:gd name="connsiteY614" fmla="*/ 131662 h 349382"/>
                <a:gd name="connsiteX615" fmla="*/ 1955884 w 2663946"/>
                <a:gd name="connsiteY615" fmla="*/ 131662 h 349382"/>
                <a:gd name="connsiteX616" fmla="*/ 1955613 w 2663946"/>
                <a:gd name="connsiteY616" fmla="*/ 131662 h 349382"/>
                <a:gd name="connsiteX617" fmla="*/ 1955072 w 2663946"/>
                <a:gd name="connsiteY617" fmla="*/ 131662 h 349382"/>
                <a:gd name="connsiteX618" fmla="*/ 1922897 w 2663946"/>
                <a:gd name="connsiteY618" fmla="*/ 131662 h 349382"/>
                <a:gd name="connsiteX619" fmla="*/ 1922357 w 2663946"/>
                <a:gd name="connsiteY619" fmla="*/ 131662 h 349382"/>
                <a:gd name="connsiteX620" fmla="*/ 1921545 w 2663946"/>
                <a:gd name="connsiteY620" fmla="*/ 131662 h 349382"/>
                <a:gd name="connsiteX621" fmla="*/ 1920734 w 2663946"/>
                <a:gd name="connsiteY621" fmla="*/ 131392 h 349382"/>
                <a:gd name="connsiteX622" fmla="*/ 1917219 w 2663946"/>
                <a:gd name="connsiteY622" fmla="*/ 129499 h 349382"/>
                <a:gd name="connsiteX623" fmla="*/ 1914786 w 2663946"/>
                <a:gd name="connsiteY623" fmla="*/ 123821 h 349382"/>
                <a:gd name="connsiteX624" fmla="*/ 1916949 w 2663946"/>
                <a:gd name="connsiteY624" fmla="*/ 118684 h 349382"/>
                <a:gd name="connsiteX625" fmla="*/ 1922627 w 2663946"/>
                <a:gd name="connsiteY625" fmla="*/ 116250 h 349382"/>
                <a:gd name="connsiteX626" fmla="*/ 1930468 w 2663946"/>
                <a:gd name="connsiteY626" fmla="*/ 116250 h 349382"/>
                <a:gd name="connsiteX627" fmla="*/ 1931009 w 2663946"/>
                <a:gd name="connsiteY627" fmla="*/ 115710 h 349382"/>
                <a:gd name="connsiteX628" fmla="*/ 1931009 w 2663946"/>
                <a:gd name="connsiteY628" fmla="*/ 69745 h 349382"/>
                <a:gd name="connsiteX629" fmla="*/ 1930468 w 2663946"/>
                <a:gd name="connsiteY629" fmla="*/ 69204 h 349382"/>
                <a:gd name="connsiteX630" fmla="*/ 1924520 w 2663946"/>
                <a:gd name="connsiteY630" fmla="*/ 69204 h 349382"/>
                <a:gd name="connsiteX631" fmla="*/ 1917219 w 2663946"/>
                <a:gd name="connsiteY631" fmla="*/ 64608 h 349382"/>
                <a:gd name="connsiteX632" fmla="*/ 1916949 w 2663946"/>
                <a:gd name="connsiteY632" fmla="*/ 58930 h 349382"/>
                <a:gd name="connsiteX633" fmla="*/ 1924249 w 2663946"/>
                <a:gd name="connsiteY633" fmla="*/ 53793 h 349382"/>
                <a:gd name="connsiteX634" fmla="*/ 1936416 w 2663946"/>
                <a:gd name="connsiteY634" fmla="*/ 53522 h 349382"/>
                <a:gd name="connsiteX635" fmla="*/ 1678521 w 2663946"/>
                <a:gd name="connsiteY635" fmla="*/ 53522 h 349382"/>
                <a:gd name="connsiteX636" fmla="*/ 1682577 w 2663946"/>
                <a:gd name="connsiteY636" fmla="*/ 53522 h 349382"/>
                <a:gd name="connsiteX637" fmla="*/ 1687173 w 2663946"/>
                <a:gd name="connsiteY637" fmla="*/ 55956 h 349382"/>
                <a:gd name="connsiteX638" fmla="*/ 1689336 w 2663946"/>
                <a:gd name="connsiteY638" fmla="*/ 62174 h 349382"/>
                <a:gd name="connsiteX639" fmla="*/ 1689336 w 2663946"/>
                <a:gd name="connsiteY639" fmla="*/ 62715 h 349382"/>
                <a:gd name="connsiteX640" fmla="*/ 1689336 w 2663946"/>
                <a:gd name="connsiteY640" fmla="*/ 115710 h 349382"/>
                <a:gd name="connsiteX641" fmla="*/ 1689877 w 2663946"/>
                <a:gd name="connsiteY641" fmla="*/ 116250 h 349382"/>
                <a:gd name="connsiteX642" fmla="*/ 1697177 w 2663946"/>
                <a:gd name="connsiteY642" fmla="*/ 116250 h 349382"/>
                <a:gd name="connsiteX643" fmla="*/ 1701233 w 2663946"/>
                <a:gd name="connsiteY643" fmla="*/ 117332 h 349382"/>
                <a:gd name="connsiteX644" fmla="*/ 1705018 w 2663946"/>
                <a:gd name="connsiteY644" fmla="*/ 124091 h 349382"/>
                <a:gd name="connsiteX645" fmla="*/ 1702315 w 2663946"/>
                <a:gd name="connsiteY645" fmla="*/ 129769 h 349382"/>
                <a:gd name="connsiteX646" fmla="*/ 1698259 w 2663946"/>
                <a:gd name="connsiteY646" fmla="*/ 131662 h 349382"/>
                <a:gd name="connsiteX647" fmla="*/ 1697989 w 2663946"/>
                <a:gd name="connsiteY647" fmla="*/ 131662 h 349382"/>
                <a:gd name="connsiteX648" fmla="*/ 1697718 w 2663946"/>
                <a:gd name="connsiteY648" fmla="*/ 131662 h 349382"/>
                <a:gd name="connsiteX649" fmla="*/ 1697177 w 2663946"/>
                <a:gd name="connsiteY649" fmla="*/ 131662 h 349382"/>
                <a:gd name="connsiteX650" fmla="*/ 1665002 w 2663946"/>
                <a:gd name="connsiteY650" fmla="*/ 131662 h 349382"/>
                <a:gd name="connsiteX651" fmla="*/ 1664462 w 2663946"/>
                <a:gd name="connsiteY651" fmla="*/ 131662 h 349382"/>
                <a:gd name="connsiteX652" fmla="*/ 1663650 w 2663946"/>
                <a:gd name="connsiteY652" fmla="*/ 131662 h 349382"/>
                <a:gd name="connsiteX653" fmla="*/ 1662839 w 2663946"/>
                <a:gd name="connsiteY653" fmla="*/ 131392 h 349382"/>
                <a:gd name="connsiteX654" fmla="*/ 1659324 w 2663946"/>
                <a:gd name="connsiteY654" fmla="*/ 129499 h 349382"/>
                <a:gd name="connsiteX655" fmla="*/ 1656891 w 2663946"/>
                <a:gd name="connsiteY655" fmla="*/ 123821 h 349382"/>
                <a:gd name="connsiteX656" fmla="*/ 1659054 w 2663946"/>
                <a:gd name="connsiteY656" fmla="*/ 118684 h 349382"/>
                <a:gd name="connsiteX657" fmla="*/ 1664732 w 2663946"/>
                <a:gd name="connsiteY657" fmla="*/ 116250 h 349382"/>
                <a:gd name="connsiteX658" fmla="*/ 1672573 w 2663946"/>
                <a:gd name="connsiteY658" fmla="*/ 116250 h 349382"/>
                <a:gd name="connsiteX659" fmla="*/ 1673114 w 2663946"/>
                <a:gd name="connsiteY659" fmla="*/ 115710 h 349382"/>
                <a:gd name="connsiteX660" fmla="*/ 1673114 w 2663946"/>
                <a:gd name="connsiteY660" fmla="*/ 69745 h 349382"/>
                <a:gd name="connsiteX661" fmla="*/ 1672573 w 2663946"/>
                <a:gd name="connsiteY661" fmla="*/ 69204 h 349382"/>
                <a:gd name="connsiteX662" fmla="*/ 1666625 w 2663946"/>
                <a:gd name="connsiteY662" fmla="*/ 69204 h 349382"/>
                <a:gd name="connsiteX663" fmla="*/ 1659324 w 2663946"/>
                <a:gd name="connsiteY663" fmla="*/ 64608 h 349382"/>
                <a:gd name="connsiteX664" fmla="*/ 1659054 w 2663946"/>
                <a:gd name="connsiteY664" fmla="*/ 58930 h 349382"/>
                <a:gd name="connsiteX665" fmla="*/ 1666354 w 2663946"/>
                <a:gd name="connsiteY665" fmla="*/ 53793 h 349382"/>
                <a:gd name="connsiteX666" fmla="*/ 1678521 w 2663946"/>
                <a:gd name="connsiteY666" fmla="*/ 53522 h 349382"/>
                <a:gd name="connsiteX667" fmla="*/ 1329614 w 2663946"/>
                <a:gd name="connsiteY667" fmla="*/ 53522 h 349382"/>
                <a:gd name="connsiteX668" fmla="*/ 1333670 w 2663946"/>
                <a:gd name="connsiteY668" fmla="*/ 53522 h 349382"/>
                <a:gd name="connsiteX669" fmla="*/ 1338266 w 2663946"/>
                <a:gd name="connsiteY669" fmla="*/ 55956 h 349382"/>
                <a:gd name="connsiteX670" fmla="*/ 1340429 w 2663946"/>
                <a:gd name="connsiteY670" fmla="*/ 62174 h 349382"/>
                <a:gd name="connsiteX671" fmla="*/ 1340429 w 2663946"/>
                <a:gd name="connsiteY671" fmla="*/ 62715 h 349382"/>
                <a:gd name="connsiteX672" fmla="*/ 1340429 w 2663946"/>
                <a:gd name="connsiteY672" fmla="*/ 115710 h 349382"/>
                <a:gd name="connsiteX673" fmla="*/ 1340970 w 2663946"/>
                <a:gd name="connsiteY673" fmla="*/ 116250 h 349382"/>
                <a:gd name="connsiteX674" fmla="*/ 1348270 w 2663946"/>
                <a:gd name="connsiteY674" fmla="*/ 116250 h 349382"/>
                <a:gd name="connsiteX675" fmla="*/ 1352326 w 2663946"/>
                <a:gd name="connsiteY675" fmla="*/ 117332 h 349382"/>
                <a:gd name="connsiteX676" fmla="*/ 1356111 w 2663946"/>
                <a:gd name="connsiteY676" fmla="*/ 124091 h 349382"/>
                <a:gd name="connsiteX677" fmla="*/ 1353408 w 2663946"/>
                <a:gd name="connsiteY677" fmla="*/ 129769 h 349382"/>
                <a:gd name="connsiteX678" fmla="*/ 1349352 w 2663946"/>
                <a:gd name="connsiteY678" fmla="*/ 131662 h 349382"/>
                <a:gd name="connsiteX679" fmla="*/ 1349082 w 2663946"/>
                <a:gd name="connsiteY679" fmla="*/ 131662 h 349382"/>
                <a:gd name="connsiteX680" fmla="*/ 1348811 w 2663946"/>
                <a:gd name="connsiteY680" fmla="*/ 131662 h 349382"/>
                <a:gd name="connsiteX681" fmla="*/ 1348270 w 2663946"/>
                <a:gd name="connsiteY681" fmla="*/ 131662 h 349382"/>
                <a:gd name="connsiteX682" fmla="*/ 1316095 w 2663946"/>
                <a:gd name="connsiteY682" fmla="*/ 131662 h 349382"/>
                <a:gd name="connsiteX683" fmla="*/ 1315555 w 2663946"/>
                <a:gd name="connsiteY683" fmla="*/ 131662 h 349382"/>
                <a:gd name="connsiteX684" fmla="*/ 1314743 w 2663946"/>
                <a:gd name="connsiteY684" fmla="*/ 131662 h 349382"/>
                <a:gd name="connsiteX685" fmla="*/ 1313932 w 2663946"/>
                <a:gd name="connsiteY685" fmla="*/ 131392 h 349382"/>
                <a:gd name="connsiteX686" fmla="*/ 1310417 w 2663946"/>
                <a:gd name="connsiteY686" fmla="*/ 129499 h 349382"/>
                <a:gd name="connsiteX687" fmla="*/ 1307984 w 2663946"/>
                <a:gd name="connsiteY687" fmla="*/ 123821 h 349382"/>
                <a:gd name="connsiteX688" fmla="*/ 1310147 w 2663946"/>
                <a:gd name="connsiteY688" fmla="*/ 118684 h 349382"/>
                <a:gd name="connsiteX689" fmla="*/ 1315825 w 2663946"/>
                <a:gd name="connsiteY689" fmla="*/ 116250 h 349382"/>
                <a:gd name="connsiteX690" fmla="*/ 1323666 w 2663946"/>
                <a:gd name="connsiteY690" fmla="*/ 116250 h 349382"/>
                <a:gd name="connsiteX691" fmla="*/ 1324207 w 2663946"/>
                <a:gd name="connsiteY691" fmla="*/ 115710 h 349382"/>
                <a:gd name="connsiteX692" fmla="*/ 1324207 w 2663946"/>
                <a:gd name="connsiteY692" fmla="*/ 69745 h 349382"/>
                <a:gd name="connsiteX693" fmla="*/ 1323666 w 2663946"/>
                <a:gd name="connsiteY693" fmla="*/ 69204 h 349382"/>
                <a:gd name="connsiteX694" fmla="*/ 1317718 w 2663946"/>
                <a:gd name="connsiteY694" fmla="*/ 69204 h 349382"/>
                <a:gd name="connsiteX695" fmla="*/ 1310417 w 2663946"/>
                <a:gd name="connsiteY695" fmla="*/ 64608 h 349382"/>
                <a:gd name="connsiteX696" fmla="*/ 1310147 w 2663946"/>
                <a:gd name="connsiteY696" fmla="*/ 58930 h 349382"/>
                <a:gd name="connsiteX697" fmla="*/ 1317447 w 2663946"/>
                <a:gd name="connsiteY697" fmla="*/ 53793 h 349382"/>
                <a:gd name="connsiteX698" fmla="*/ 1329614 w 2663946"/>
                <a:gd name="connsiteY698" fmla="*/ 53522 h 349382"/>
                <a:gd name="connsiteX699" fmla="*/ 980634 w 2663946"/>
                <a:gd name="connsiteY699" fmla="*/ 53522 h 349382"/>
                <a:gd name="connsiteX700" fmla="*/ 984690 w 2663946"/>
                <a:gd name="connsiteY700" fmla="*/ 53522 h 349382"/>
                <a:gd name="connsiteX701" fmla="*/ 989286 w 2663946"/>
                <a:gd name="connsiteY701" fmla="*/ 55956 h 349382"/>
                <a:gd name="connsiteX702" fmla="*/ 991449 w 2663946"/>
                <a:gd name="connsiteY702" fmla="*/ 62174 h 349382"/>
                <a:gd name="connsiteX703" fmla="*/ 991449 w 2663946"/>
                <a:gd name="connsiteY703" fmla="*/ 62715 h 349382"/>
                <a:gd name="connsiteX704" fmla="*/ 991449 w 2663946"/>
                <a:gd name="connsiteY704" fmla="*/ 115710 h 349382"/>
                <a:gd name="connsiteX705" fmla="*/ 991990 w 2663946"/>
                <a:gd name="connsiteY705" fmla="*/ 116250 h 349382"/>
                <a:gd name="connsiteX706" fmla="*/ 999290 w 2663946"/>
                <a:gd name="connsiteY706" fmla="*/ 116250 h 349382"/>
                <a:gd name="connsiteX707" fmla="*/ 1003346 w 2663946"/>
                <a:gd name="connsiteY707" fmla="*/ 117332 h 349382"/>
                <a:gd name="connsiteX708" fmla="*/ 1007131 w 2663946"/>
                <a:gd name="connsiteY708" fmla="*/ 124091 h 349382"/>
                <a:gd name="connsiteX709" fmla="*/ 1004428 w 2663946"/>
                <a:gd name="connsiteY709" fmla="*/ 129769 h 349382"/>
                <a:gd name="connsiteX710" fmla="*/ 1000372 w 2663946"/>
                <a:gd name="connsiteY710" fmla="*/ 131662 h 349382"/>
                <a:gd name="connsiteX711" fmla="*/ 1000102 w 2663946"/>
                <a:gd name="connsiteY711" fmla="*/ 131662 h 349382"/>
                <a:gd name="connsiteX712" fmla="*/ 999831 w 2663946"/>
                <a:gd name="connsiteY712" fmla="*/ 131662 h 349382"/>
                <a:gd name="connsiteX713" fmla="*/ 999290 w 2663946"/>
                <a:gd name="connsiteY713" fmla="*/ 131662 h 349382"/>
                <a:gd name="connsiteX714" fmla="*/ 967115 w 2663946"/>
                <a:gd name="connsiteY714" fmla="*/ 131662 h 349382"/>
                <a:gd name="connsiteX715" fmla="*/ 966575 w 2663946"/>
                <a:gd name="connsiteY715" fmla="*/ 131662 h 349382"/>
                <a:gd name="connsiteX716" fmla="*/ 965763 w 2663946"/>
                <a:gd name="connsiteY716" fmla="*/ 131662 h 349382"/>
                <a:gd name="connsiteX717" fmla="*/ 964952 w 2663946"/>
                <a:gd name="connsiteY717" fmla="*/ 131392 h 349382"/>
                <a:gd name="connsiteX718" fmla="*/ 961437 w 2663946"/>
                <a:gd name="connsiteY718" fmla="*/ 129499 h 349382"/>
                <a:gd name="connsiteX719" fmla="*/ 959004 w 2663946"/>
                <a:gd name="connsiteY719" fmla="*/ 123821 h 349382"/>
                <a:gd name="connsiteX720" fmla="*/ 961167 w 2663946"/>
                <a:gd name="connsiteY720" fmla="*/ 118684 h 349382"/>
                <a:gd name="connsiteX721" fmla="*/ 966845 w 2663946"/>
                <a:gd name="connsiteY721" fmla="*/ 116250 h 349382"/>
                <a:gd name="connsiteX722" fmla="*/ 974686 w 2663946"/>
                <a:gd name="connsiteY722" fmla="*/ 116250 h 349382"/>
                <a:gd name="connsiteX723" fmla="*/ 975227 w 2663946"/>
                <a:gd name="connsiteY723" fmla="*/ 115710 h 349382"/>
                <a:gd name="connsiteX724" fmla="*/ 975227 w 2663946"/>
                <a:gd name="connsiteY724" fmla="*/ 69745 h 349382"/>
                <a:gd name="connsiteX725" fmla="*/ 974686 w 2663946"/>
                <a:gd name="connsiteY725" fmla="*/ 69204 h 349382"/>
                <a:gd name="connsiteX726" fmla="*/ 968738 w 2663946"/>
                <a:gd name="connsiteY726" fmla="*/ 69204 h 349382"/>
                <a:gd name="connsiteX727" fmla="*/ 961437 w 2663946"/>
                <a:gd name="connsiteY727" fmla="*/ 64608 h 349382"/>
                <a:gd name="connsiteX728" fmla="*/ 961167 w 2663946"/>
                <a:gd name="connsiteY728" fmla="*/ 58930 h 349382"/>
                <a:gd name="connsiteX729" fmla="*/ 968467 w 2663946"/>
                <a:gd name="connsiteY729" fmla="*/ 53793 h 349382"/>
                <a:gd name="connsiteX730" fmla="*/ 980634 w 2663946"/>
                <a:gd name="connsiteY730" fmla="*/ 53522 h 349382"/>
                <a:gd name="connsiteX731" fmla="*/ 813605 w 2663946"/>
                <a:gd name="connsiteY731" fmla="*/ 53522 h 349382"/>
                <a:gd name="connsiteX732" fmla="*/ 817661 w 2663946"/>
                <a:gd name="connsiteY732" fmla="*/ 53522 h 349382"/>
                <a:gd name="connsiteX733" fmla="*/ 822257 w 2663946"/>
                <a:gd name="connsiteY733" fmla="*/ 55956 h 349382"/>
                <a:gd name="connsiteX734" fmla="*/ 824420 w 2663946"/>
                <a:gd name="connsiteY734" fmla="*/ 62174 h 349382"/>
                <a:gd name="connsiteX735" fmla="*/ 824420 w 2663946"/>
                <a:gd name="connsiteY735" fmla="*/ 62715 h 349382"/>
                <a:gd name="connsiteX736" fmla="*/ 824420 w 2663946"/>
                <a:gd name="connsiteY736" fmla="*/ 115710 h 349382"/>
                <a:gd name="connsiteX737" fmla="*/ 824961 w 2663946"/>
                <a:gd name="connsiteY737" fmla="*/ 116250 h 349382"/>
                <a:gd name="connsiteX738" fmla="*/ 832261 w 2663946"/>
                <a:gd name="connsiteY738" fmla="*/ 116250 h 349382"/>
                <a:gd name="connsiteX739" fmla="*/ 836317 w 2663946"/>
                <a:gd name="connsiteY739" fmla="*/ 117332 h 349382"/>
                <a:gd name="connsiteX740" fmla="*/ 840102 w 2663946"/>
                <a:gd name="connsiteY740" fmla="*/ 124091 h 349382"/>
                <a:gd name="connsiteX741" fmla="*/ 837399 w 2663946"/>
                <a:gd name="connsiteY741" fmla="*/ 129769 h 349382"/>
                <a:gd name="connsiteX742" fmla="*/ 833343 w 2663946"/>
                <a:gd name="connsiteY742" fmla="*/ 131662 h 349382"/>
                <a:gd name="connsiteX743" fmla="*/ 833073 w 2663946"/>
                <a:gd name="connsiteY743" fmla="*/ 131662 h 349382"/>
                <a:gd name="connsiteX744" fmla="*/ 832802 w 2663946"/>
                <a:gd name="connsiteY744" fmla="*/ 131662 h 349382"/>
                <a:gd name="connsiteX745" fmla="*/ 832261 w 2663946"/>
                <a:gd name="connsiteY745" fmla="*/ 131662 h 349382"/>
                <a:gd name="connsiteX746" fmla="*/ 800086 w 2663946"/>
                <a:gd name="connsiteY746" fmla="*/ 131662 h 349382"/>
                <a:gd name="connsiteX747" fmla="*/ 799546 w 2663946"/>
                <a:gd name="connsiteY747" fmla="*/ 131662 h 349382"/>
                <a:gd name="connsiteX748" fmla="*/ 798734 w 2663946"/>
                <a:gd name="connsiteY748" fmla="*/ 131662 h 349382"/>
                <a:gd name="connsiteX749" fmla="*/ 797923 w 2663946"/>
                <a:gd name="connsiteY749" fmla="*/ 131392 h 349382"/>
                <a:gd name="connsiteX750" fmla="*/ 794408 w 2663946"/>
                <a:gd name="connsiteY750" fmla="*/ 129499 h 349382"/>
                <a:gd name="connsiteX751" fmla="*/ 791975 w 2663946"/>
                <a:gd name="connsiteY751" fmla="*/ 123821 h 349382"/>
                <a:gd name="connsiteX752" fmla="*/ 794138 w 2663946"/>
                <a:gd name="connsiteY752" fmla="*/ 118684 h 349382"/>
                <a:gd name="connsiteX753" fmla="*/ 799816 w 2663946"/>
                <a:gd name="connsiteY753" fmla="*/ 116250 h 349382"/>
                <a:gd name="connsiteX754" fmla="*/ 807657 w 2663946"/>
                <a:gd name="connsiteY754" fmla="*/ 116250 h 349382"/>
                <a:gd name="connsiteX755" fmla="*/ 808198 w 2663946"/>
                <a:gd name="connsiteY755" fmla="*/ 115710 h 349382"/>
                <a:gd name="connsiteX756" fmla="*/ 808198 w 2663946"/>
                <a:gd name="connsiteY756" fmla="*/ 69745 h 349382"/>
                <a:gd name="connsiteX757" fmla="*/ 807657 w 2663946"/>
                <a:gd name="connsiteY757" fmla="*/ 69204 h 349382"/>
                <a:gd name="connsiteX758" fmla="*/ 801709 w 2663946"/>
                <a:gd name="connsiteY758" fmla="*/ 69204 h 349382"/>
                <a:gd name="connsiteX759" fmla="*/ 794408 w 2663946"/>
                <a:gd name="connsiteY759" fmla="*/ 64608 h 349382"/>
                <a:gd name="connsiteX760" fmla="*/ 794138 w 2663946"/>
                <a:gd name="connsiteY760" fmla="*/ 58930 h 349382"/>
                <a:gd name="connsiteX761" fmla="*/ 801438 w 2663946"/>
                <a:gd name="connsiteY761" fmla="*/ 53793 h 349382"/>
                <a:gd name="connsiteX762" fmla="*/ 813605 w 2663946"/>
                <a:gd name="connsiteY762" fmla="*/ 53522 h 349382"/>
                <a:gd name="connsiteX763" fmla="*/ 282748 w 2663946"/>
                <a:gd name="connsiteY763" fmla="*/ 53522 h 349382"/>
                <a:gd name="connsiteX764" fmla="*/ 286803 w 2663946"/>
                <a:gd name="connsiteY764" fmla="*/ 53522 h 349382"/>
                <a:gd name="connsiteX765" fmla="*/ 291400 w 2663946"/>
                <a:gd name="connsiteY765" fmla="*/ 55956 h 349382"/>
                <a:gd name="connsiteX766" fmla="*/ 293563 w 2663946"/>
                <a:gd name="connsiteY766" fmla="*/ 62174 h 349382"/>
                <a:gd name="connsiteX767" fmla="*/ 293563 w 2663946"/>
                <a:gd name="connsiteY767" fmla="*/ 62715 h 349382"/>
                <a:gd name="connsiteX768" fmla="*/ 293563 w 2663946"/>
                <a:gd name="connsiteY768" fmla="*/ 115710 h 349382"/>
                <a:gd name="connsiteX769" fmla="*/ 294104 w 2663946"/>
                <a:gd name="connsiteY769" fmla="*/ 116250 h 349382"/>
                <a:gd name="connsiteX770" fmla="*/ 301404 w 2663946"/>
                <a:gd name="connsiteY770" fmla="*/ 116250 h 349382"/>
                <a:gd name="connsiteX771" fmla="*/ 305460 w 2663946"/>
                <a:gd name="connsiteY771" fmla="*/ 117332 h 349382"/>
                <a:gd name="connsiteX772" fmla="*/ 309245 w 2663946"/>
                <a:gd name="connsiteY772" fmla="*/ 124091 h 349382"/>
                <a:gd name="connsiteX773" fmla="*/ 306541 w 2663946"/>
                <a:gd name="connsiteY773" fmla="*/ 129769 h 349382"/>
                <a:gd name="connsiteX774" fmla="*/ 302485 w 2663946"/>
                <a:gd name="connsiteY774" fmla="*/ 131662 h 349382"/>
                <a:gd name="connsiteX775" fmla="*/ 302215 w 2663946"/>
                <a:gd name="connsiteY775" fmla="*/ 131662 h 349382"/>
                <a:gd name="connsiteX776" fmla="*/ 301945 w 2663946"/>
                <a:gd name="connsiteY776" fmla="*/ 131662 h 349382"/>
                <a:gd name="connsiteX777" fmla="*/ 301404 w 2663946"/>
                <a:gd name="connsiteY777" fmla="*/ 131662 h 349382"/>
                <a:gd name="connsiteX778" fmla="*/ 269229 w 2663946"/>
                <a:gd name="connsiteY778" fmla="*/ 131662 h 349382"/>
                <a:gd name="connsiteX779" fmla="*/ 268688 w 2663946"/>
                <a:gd name="connsiteY779" fmla="*/ 131662 h 349382"/>
                <a:gd name="connsiteX780" fmla="*/ 267877 w 2663946"/>
                <a:gd name="connsiteY780" fmla="*/ 131662 h 349382"/>
                <a:gd name="connsiteX781" fmla="*/ 267066 w 2663946"/>
                <a:gd name="connsiteY781" fmla="*/ 131392 h 349382"/>
                <a:gd name="connsiteX782" fmla="*/ 263551 w 2663946"/>
                <a:gd name="connsiteY782" fmla="*/ 129499 h 349382"/>
                <a:gd name="connsiteX783" fmla="*/ 261117 w 2663946"/>
                <a:gd name="connsiteY783" fmla="*/ 123821 h 349382"/>
                <a:gd name="connsiteX784" fmla="*/ 263281 w 2663946"/>
                <a:gd name="connsiteY784" fmla="*/ 118684 h 349382"/>
                <a:gd name="connsiteX785" fmla="*/ 268958 w 2663946"/>
                <a:gd name="connsiteY785" fmla="*/ 116250 h 349382"/>
                <a:gd name="connsiteX786" fmla="*/ 276800 w 2663946"/>
                <a:gd name="connsiteY786" fmla="*/ 116250 h 349382"/>
                <a:gd name="connsiteX787" fmla="*/ 277340 w 2663946"/>
                <a:gd name="connsiteY787" fmla="*/ 115710 h 349382"/>
                <a:gd name="connsiteX788" fmla="*/ 277340 w 2663946"/>
                <a:gd name="connsiteY788" fmla="*/ 69745 h 349382"/>
                <a:gd name="connsiteX789" fmla="*/ 276800 w 2663946"/>
                <a:gd name="connsiteY789" fmla="*/ 69204 h 349382"/>
                <a:gd name="connsiteX790" fmla="*/ 270851 w 2663946"/>
                <a:gd name="connsiteY790" fmla="*/ 69204 h 349382"/>
                <a:gd name="connsiteX791" fmla="*/ 263551 w 2663946"/>
                <a:gd name="connsiteY791" fmla="*/ 64608 h 349382"/>
                <a:gd name="connsiteX792" fmla="*/ 263281 w 2663946"/>
                <a:gd name="connsiteY792" fmla="*/ 58930 h 349382"/>
                <a:gd name="connsiteX793" fmla="*/ 270581 w 2663946"/>
                <a:gd name="connsiteY793" fmla="*/ 53793 h 349382"/>
                <a:gd name="connsiteX794" fmla="*/ 282748 w 2663946"/>
                <a:gd name="connsiteY794" fmla="*/ 53522 h 349382"/>
                <a:gd name="connsiteX795" fmla="*/ 206731 w 2663946"/>
                <a:gd name="connsiteY795" fmla="*/ 53522 h 349382"/>
                <a:gd name="connsiteX796" fmla="*/ 210787 w 2663946"/>
                <a:gd name="connsiteY796" fmla="*/ 53522 h 349382"/>
                <a:gd name="connsiteX797" fmla="*/ 215383 w 2663946"/>
                <a:gd name="connsiteY797" fmla="*/ 55956 h 349382"/>
                <a:gd name="connsiteX798" fmla="*/ 217546 w 2663946"/>
                <a:gd name="connsiteY798" fmla="*/ 62174 h 349382"/>
                <a:gd name="connsiteX799" fmla="*/ 217546 w 2663946"/>
                <a:gd name="connsiteY799" fmla="*/ 62715 h 349382"/>
                <a:gd name="connsiteX800" fmla="*/ 217546 w 2663946"/>
                <a:gd name="connsiteY800" fmla="*/ 115710 h 349382"/>
                <a:gd name="connsiteX801" fmla="*/ 218087 w 2663946"/>
                <a:gd name="connsiteY801" fmla="*/ 116250 h 349382"/>
                <a:gd name="connsiteX802" fmla="*/ 225387 w 2663946"/>
                <a:gd name="connsiteY802" fmla="*/ 116250 h 349382"/>
                <a:gd name="connsiteX803" fmla="*/ 229443 w 2663946"/>
                <a:gd name="connsiteY803" fmla="*/ 117332 h 349382"/>
                <a:gd name="connsiteX804" fmla="*/ 233228 w 2663946"/>
                <a:gd name="connsiteY804" fmla="*/ 124091 h 349382"/>
                <a:gd name="connsiteX805" fmla="*/ 230524 w 2663946"/>
                <a:gd name="connsiteY805" fmla="*/ 129769 h 349382"/>
                <a:gd name="connsiteX806" fmla="*/ 226468 w 2663946"/>
                <a:gd name="connsiteY806" fmla="*/ 131662 h 349382"/>
                <a:gd name="connsiteX807" fmla="*/ 226198 w 2663946"/>
                <a:gd name="connsiteY807" fmla="*/ 131662 h 349382"/>
                <a:gd name="connsiteX808" fmla="*/ 225928 w 2663946"/>
                <a:gd name="connsiteY808" fmla="*/ 131662 h 349382"/>
                <a:gd name="connsiteX809" fmla="*/ 225387 w 2663946"/>
                <a:gd name="connsiteY809" fmla="*/ 131662 h 349382"/>
                <a:gd name="connsiteX810" fmla="*/ 193212 w 2663946"/>
                <a:gd name="connsiteY810" fmla="*/ 131662 h 349382"/>
                <a:gd name="connsiteX811" fmla="*/ 192671 w 2663946"/>
                <a:gd name="connsiteY811" fmla="*/ 131662 h 349382"/>
                <a:gd name="connsiteX812" fmla="*/ 191860 w 2663946"/>
                <a:gd name="connsiteY812" fmla="*/ 131662 h 349382"/>
                <a:gd name="connsiteX813" fmla="*/ 191049 w 2663946"/>
                <a:gd name="connsiteY813" fmla="*/ 131392 h 349382"/>
                <a:gd name="connsiteX814" fmla="*/ 187534 w 2663946"/>
                <a:gd name="connsiteY814" fmla="*/ 129499 h 349382"/>
                <a:gd name="connsiteX815" fmla="*/ 185101 w 2663946"/>
                <a:gd name="connsiteY815" fmla="*/ 123821 h 349382"/>
                <a:gd name="connsiteX816" fmla="*/ 187264 w 2663946"/>
                <a:gd name="connsiteY816" fmla="*/ 118684 h 349382"/>
                <a:gd name="connsiteX817" fmla="*/ 192942 w 2663946"/>
                <a:gd name="connsiteY817" fmla="*/ 116250 h 349382"/>
                <a:gd name="connsiteX818" fmla="*/ 200783 w 2663946"/>
                <a:gd name="connsiteY818" fmla="*/ 116250 h 349382"/>
                <a:gd name="connsiteX819" fmla="*/ 201323 w 2663946"/>
                <a:gd name="connsiteY819" fmla="*/ 115710 h 349382"/>
                <a:gd name="connsiteX820" fmla="*/ 201323 w 2663946"/>
                <a:gd name="connsiteY820" fmla="*/ 69745 h 349382"/>
                <a:gd name="connsiteX821" fmla="*/ 200783 w 2663946"/>
                <a:gd name="connsiteY821" fmla="*/ 69204 h 349382"/>
                <a:gd name="connsiteX822" fmla="*/ 194834 w 2663946"/>
                <a:gd name="connsiteY822" fmla="*/ 69204 h 349382"/>
                <a:gd name="connsiteX823" fmla="*/ 187534 w 2663946"/>
                <a:gd name="connsiteY823" fmla="*/ 64608 h 349382"/>
                <a:gd name="connsiteX824" fmla="*/ 187264 w 2663946"/>
                <a:gd name="connsiteY824" fmla="*/ 58930 h 349382"/>
                <a:gd name="connsiteX825" fmla="*/ 194564 w 2663946"/>
                <a:gd name="connsiteY825" fmla="*/ 53793 h 349382"/>
                <a:gd name="connsiteX826" fmla="*/ 206731 w 2663946"/>
                <a:gd name="connsiteY826" fmla="*/ 53522 h 349382"/>
                <a:gd name="connsiteX827" fmla="*/ 2627559 w 2663946"/>
                <a:gd name="connsiteY827" fmla="*/ 53453 h 349382"/>
                <a:gd name="connsiteX828" fmla="*/ 2639849 w 2663946"/>
                <a:gd name="connsiteY828" fmla="*/ 55616 h 349382"/>
                <a:gd name="connsiteX829" fmla="*/ 2647223 w 2663946"/>
                <a:gd name="connsiteY829" fmla="*/ 60213 h 349382"/>
                <a:gd name="connsiteX830" fmla="*/ 2650664 w 2663946"/>
                <a:gd name="connsiteY830" fmla="*/ 63457 h 349382"/>
                <a:gd name="connsiteX831" fmla="*/ 2654106 w 2663946"/>
                <a:gd name="connsiteY831" fmla="*/ 67783 h 349382"/>
                <a:gd name="connsiteX832" fmla="*/ 2656072 w 2663946"/>
                <a:gd name="connsiteY832" fmla="*/ 71298 h 349382"/>
                <a:gd name="connsiteX833" fmla="*/ 2658284 w 2663946"/>
                <a:gd name="connsiteY833" fmla="*/ 76706 h 349382"/>
                <a:gd name="connsiteX834" fmla="*/ 2659267 w 2663946"/>
                <a:gd name="connsiteY834" fmla="*/ 80221 h 349382"/>
                <a:gd name="connsiteX835" fmla="*/ 2660251 w 2663946"/>
                <a:gd name="connsiteY835" fmla="*/ 85358 h 349382"/>
                <a:gd name="connsiteX836" fmla="*/ 2660005 w 2663946"/>
                <a:gd name="connsiteY836" fmla="*/ 99688 h 349382"/>
                <a:gd name="connsiteX837" fmla="*/ 2659022 w 2663946"/>
                <a:gd name="connsiteY837" fmla="*/ 104555 h 349382"/>
                <a:gd name="connsiteX838" fmla="*/ 2657792 w 2663946"/>
                <a:gd name="connsiteY838" fmla="*/ 108340 h 349382"/>
                <a:gd name="connsiteX839" fmla="*/ 2656809 w 2663946"/>
                <a:gd name="connsiteY839" fmla="*/ 110774 h 349382"/>
                <a:gd name="connsiteX840" fmla="*/ 2654597 w 2663946"/>
                <a:gd name="connsiteY840" fmla="*/ 115100 h 349382"/>
                <a:gd name="connsiteX841" fmla="*/ 2652385 w 2663946"/>
                <a:gd name="connsiteY841" fmla="*/ 118344 h 349382"/>
                <a:gd name="connsiteX842" fmla="*/ 2648944 w 2663946"/>
                <a:gd name="connsiteY842" fmla="*/ 122130 h 349382"/>
                <a:gd name="connsiteX843" fmla="*/ 2645748 w 2663946"/>
                <a:gd name="connsiteY843" fmla="*/ 124833 h 349382"/>
                <a:gd name="connsiteX844" fmla="*/ 2640095 w 2663946"/>
                <a:gd name="connsiteY844" fmla="*/ 128078 h 349382"/>
                <a:gd name="connsiteX845" fmla="*/ 2632229 w 2663946"/>
                <a:gd name="connsiteY845" fmla="*/ 130241 h 349382"/>
                <a:gd name="connsiteX846" fmla="*/ 2631000 w 2663946"/>
                <a:gd name="connsiteY846" fmla="*/ 130512 h 349382"/>
                <a:gd name="connsiteX847" fmla="*/ 2626821 w 2663946"/>
                <a:gd name="connsiteY847" fmla="*/ 130512 h 349382"/>
                <a:gd name="connsiteX848" fmla="*/ 2626576 w 2663946"/>
                <a:gd name="connsiteY848" fmla="*/ 130512 h 349382"/>
                <a:gd name="connsiteX849" fmla="*/ 2613548 w 2663946"/>
                <a:gd name="connsiteY849" fmla="*/ 125645 h 349382"/>
                <a:gd name="connsiteX850" fmla="*/ 2608878 w 2663946"/>
                <a:gd name="connsiteY850" fmla="*/ 121589 h 349382"/>
                <a:gd name="connsiteX851" fmla="*/ 2605682 w 2663946"/>
                <a:gd name="connsiteY851" fmla="*/ 117804 h 349382"/>
                <a:gd name="connsiteX852" fmla="*/ 2603470 w 2663946"/>
                <a:gd name="connsiteY852" fmla="*/ 114289 h 349382"/>
                <a:gd name="connsiteX853" fmla="*/ 2601258 w 2663946"/>
                <a:gd name="connsiteY853" fmla="*/ 109963 h 349382"/>
                <a:gd name="connsiteX854" fmla="*/ 2600029 w 2663946"/>
                <a:gd name="connsiteY854" fmla="*/ 106988 h 349382"/>
                <a:gd name="connsiteX855" fmla="*/ 2599046 w 2663946"/>
                <a:gd name="connsiteY855" fmla="*/ 103744 h 349382"/>
                <a:gd name="connsiteX856" fmla="*/ 2597816 w 2663946"/>
                <a:gd name="connsiteY856" fmla="*/ 98066 h 349382"/>
                <a:gd name="connsiteX857" fmla="*/ 2597571 w 2663946"/>
                <a:gd name="connsiteY857" fmla="*/ 95092 h 349382"/>
                <a:gd name="connsiteX858" fmla="*/ 2597816 w 2663946"/>
                <a:gd name="connsiteY858" fmla="*/ 95362 h 349382"/>
                <a:gd name="connsiteX859" fmla="*/ 2597816 w 2663946"/>
                <a:gd name="connsiteY859" fmla="*/ 89684 h 349382"/>
                <a:gd name="connsiteX860" fmla="*/ 2597816 w 2663946"/>
                <a:gd name="connsiteY860" fmla="*/ 89414 h 349382"/>
                <a:gd name="connsiteX861" fmla="*/ 2598308 w 2663946"/>
                <a:gd name="connsiteY861" fmla="*/ 84817 h 349382"/>
                <a:gd name="connsiteX862" fmla="*/ 2599537 w 2663946"/>
                <a:gd name="connsiteY862" fmla="*/ 79410 h 349382"/>
                <a:gd name="connsiteX863" fmla="*/ 2600520 w 2663946"/>
                <a:gd name="connsiteY863" fmla="*/ 76165 h 349382"/>
                <a:gd name="connsiteX864" fmla="*/ 2602732 w 2663946"/>
                <a:gd name="connsiteY864" fmla="*/ 71028 h 349382"/>
                <a:gd name="connsiteX865" fmla="*/ 2604945 w 2663946"/>
                <a:gd name="connsiteY865" fmla="*/ 67243 h 349382"/>
                <a:gd name="connsiteX866" fmla="*/ 2607157 w 2663946"/>
                <a:gd name="connsiteY866" fmla="*/ 64268 h 349382"/>
                <a:gd name="connsiteX867" fmla="*/ 2609369 w 2663946"/>
                <a:gd name="connsiteY867" fmla="*/ 61835 h 349382"/>
                <a:gd name="connsiteX868" fmla="*/ 2614039 w 2663946"/>
                <a:gd name="connsiteY868" fmla="*/ 58050 h 349382"/>
                <a:gd name="connsiteX869" fmla="*/ 2617972 w 2663946"/>
                <a:gd name="connsiteY869" fmla="*/ 55887 h 349382"/>
                <a:gd name="connsiteX870" fmla="*/ 2627559 w 2663946"/>
                <a:gd name="connsiteY870" fmla="*/ 53453 h 349382"/>
                <a:gd name="connsiteX871" fmla="*/ 2445604 w 2663946"/>
                <a:gd name="connsiteY871" fmla="*/ 53453 h 349382"/>
                <a:gd name="connsiteX872" fmla="*/ 2457894 w 2663946"/>
                <a:gd name="connsiteY872" fmla="*/ 55616 h 349382"/>
                <a:gd name="connsiteX873" fmla="*/ 2465268 w 2663946"/>
                <a:gd name="connsiteY873" fmla="*/ 60213 h 349382"/>
                <a:gd name="connsiteX874" fmla="*/ 2468709 w 2663946"/>
                <a:gd name="connsiteY874" fmla="*/ 63457 h 349382"/>
                <a:gd name="connsiteX875" fmla="*/ 2472151 w 2663946"/>
                <a:gd name="connsiteY875" fmla="*/ 67783 h 349382"/>
                <a:gd name="connsiteX876" fmla="*/ 2474117 w 2663946"/>
                <a:gd name="connsiteY876" fmla="*/ 71298 h 349382"/>
                <a:gd name="connsiteX877" fmla="*/ 2476329 w 2663946"/>
                <a:gd name="connsiteY877" fmla="*/ 76706 h 349382"/>
                <a:gd name="connsiteX878" fmla="*/ 2477312 w 2663946"/>
                <a:gd name="connsiteY878" fmla="*/ 80221 h 349382"/>
                <a:gd name="connsiteX879" fmla="*/ 2478296 w 2663946"/>
                <a:gd name="connsiteY879" fmla="*/ 85358 h 349382"/>
                <a:gd name="connsiteX880" fmla="*/ 2478050 w 2663946"/>
                <a:gd name="connsiteY880" fmla="*/ 99688 h 349382"/>
                <a:gd name="connsiteX881" fmla="*/ 2477067 w 2663946"/>
                <a:gd name="connsiteY881" fmla="*/ 104555 h 349382"/>
                <a:gd name="connsiteX882" fmla="*/ 2475837 w 2663946"/>
                <a:gd name="connsiteY882" fmla="*/ 108340 h 349382"/>
                <a:gd name="connsiteX883" fmla="*/ 2474854 w 2663946"/>
                <a:gd name="connsiteY883" fmla="*/ 110774 h 349382"/>
                <a:gd name="connsiteX884" fmla="*/ 2472642 w 2663946"/>
                <a:gd name="connsiteY884" fmla="*/ 115100 h 349382"/>
                <a:gd name="connsiteX885" fmla="*/ 2470430 w 2663946"/>
                <a:gd name="connsiteY885" fmla="*/ 118344 h 349382"/>
                <a:gd name="connsiteX886" fmla="*/ 2466989 w 2663946"/>
                <a:gd name="connsiteY886" fmla="*/ 122130 h 349382"/>
                <a:gd name="connsiteX887" fmla="*/ 2463793 w 2663946"/>
                <a:gd name="connsiteY887" fmla="*/ 124833 h 349382"/>
                <a:gd name="connsiteX888" fmla="*/ 2458140 w 2663946"/>
                <a:gd name="connsiteY888" fmla="*/ 128078 h 349382"/>
                <a:gd name="connsiteX889" fmla="*/ 2450274 w 2663946"/>
                <a:gd name="connsiteY889" fmla="*/ 130241 h 349382"/>
                <a:gd name="connsiteX890" fmla="*/ 2449045 w 2663946"/>
                <a:gd name="connsiteY890" fmla="*/ 130512 h 349382"/>
                <a:gd name="connsiteX891" fmla="*/ 2444866 w 2663946"/>
                <a:gd name="connsiteY891" fmla="*/ 130512 h 349382"/>
                <a:gd name="connsiteX892" fmla="*/ 2444621 w 2663946"/>
                <a:gd name="connsiteY892" fmla="*/ 130512 h 349382"/>
                <a:gd name="connsiteX893" fmla="*/ 2431593 w 2663946"/>
                <a:gd name="connsiteY893" fmla="*/ 125645 h 349382"/>
                <a:gd name="connsiteX894" fmla="*/ 2426923 w 2663946"/>
                <a:gd name="connsiteY894" fmla="*/ 121589 h 349382"/>
                <a:gd name="connsiteX895" fmla="*/ 2423727 w 2663946"/>
                <a:gd name="connsiteY895" fmla="*/ 117804 h 349382"/>
                <a:gd name="connsiteX896" fmla="*/ 2421515 w 2663946"/>
                <a:gd name="connsiteY896" fmla="*/ 114289 h 349382"/>
                <a:gd name="connsiteX897" fmla="*/ 2419303 w 2663946"/>
                <a:gd name="connsiteY897" fmla="*/ 109963 h 349382"/>
                <a:gd name="connsiteX898" fmla="*/ 2418074 w 2663946"/>
                <a:gd name="connsiteY898" fmla="*/ 106988 h 349382"/>
                <a:gd name="connsiteX899" fmla="*/ 2417091 w 2663946"/>
                <a:gd name="connsiteY899" fmla="*/ 103744 h 349382"/>
                <a:gd name="connsiteX900" fmla="*/ 2415861 w 2663946"/>
                <a:gd name="connsiteY900" fmla="*/ 98066 h 349382"/>
                <a:gd name="connsiteX901" fmla="*/ 2415616 w 2663946"/>
                <a:gd name="connsiteY901" fmla="*/ 95092 h 349382"/>
                <a:gd name="connsiteX902" fmla="*/ 2415861 w 2663946"/>
                <a:gd name="connsiteY902" fmla="*/ 95362 h 349382"/>
                <a:gd name="connsiteX903" fmla="*/ 2415861 w 2663946"/>
                <a:gd name="connsiteY903" fmla="*/ 89684 h 349382"/>
                <a:gd name="connsiteX904" fmla="*/ 2415861 w 2663946"/>
                <a:gd name="connsiteY904" fmla="*/ 89414 h 349382"/>
                <a:gd name="connsiteX905" fmla="*/ 2416353 w 2663946"/>
                <a:gd name="connsiteY905" fmla="*/ 84817 h 349382"/>
                <a:gd name="connsiteX906" fmla="*/ 2417582 w 2663946"/>
                <a:gd name="connsiteY906" fmla="*/ 79410 h 349382"/>
                <a:gd name="connsiteX907" fmla="*/ 2418565 w 2663946"/>
                <a:gd name="connsiteY907" fmla="*/ 76165 h 349382"/>
                <a:gd name="connsiteX908" fmla="*/ 2420777 w 2663946"/>
                <a:gd name="connsiteY908" fmla="*/ 71028 h 349382"/>
                <a:gd name="connsiteX909" fmla="*/ 2422990 w 2663946"/>
                <a:gd name="connsiteY909" fmla="*/ 67243 h 349382"/>
                <a:gd name="connsiteX910" fmla="*/ 2425202 w 2663946"/>
                <a:gd name="connsiteY910" fmla="*/ 64268 h 349382"/>
                <a:gd name="connsiteX911" fmla="*/ 2427414 w 2663946"/>
                <a:gd name="connsiteY911" fmla="*/ 61835 h 349382"/>
                <a:gd name="connsiteX912" fmla="*/ 2432084 w 2663946"/>
                <a:gd name="connsiteY912" fmla="*/ 58050 h 349382"/>
                <a:gd name="connsiteX913" fmla="*/ 2436017 w 2663946"/>
                <a:gd name="connsiteY913" fmla="*/ 55887 h 349382"/>
                <a:gd name="connsiteX914" fmla="*/ 2445604 w 2663946"/>
                <a:gd name="connsiteY914" fmla="*/ 53453 h 349382"/>
                <a:gd name="connsiteX915" fmla="*/ 2202558 w 2663946"/>
                <a:gd name="connsiteY915" fmla="*/ 53453 h 349382"/>
                <a:gd name="connsiteX916" fmla="*/ 2214848 w 2663946"/>
                <a:gd name="connsiteY916" fmla="*/ 55616 h 349382"/>
                <a:gd name="connsiteX917" fmla="*/ 2222222 w 2663946"/>
                <a:gd name="connsiteY917" fmla="*/ 60213 h 349382"/>
                <a:gd name="connsiteX918" fmla="*/ 2225663 w 2663946"/>
                <a:gd name="connsiteY918" fmla="*/ 63457 h 349382"/>
                <a:gd name="connsiteX919" fmla="*/ 2229105 w 2663946"/>
                <a:gd name="connsiteY919" fmla="*/ 67783 h 349382"/>
                <a:gd name="connsiteX920" fmla="*/ 2231071 w 2663946"/>
                <a:gd name="connsiteY920" fmla="*/ 71298 h 349382"/>
                <a:gd name="connsiteX921" fmla="*/ 2233283 w 2663946"/>
                <a:gd name="connsiteY921" fmla="*/ 76706 h 349382"/>
                <a:gd name="connsiteX922" fmla="*/ 2234266 w 2663946"/>
                <a:gd name="connsiteY922" fmla="*/ 80221 h 349382"/>
                <a:gd name="connsiteX923" fmla="*/ 2235250 w 2663946"/>
                <a:gd name="connsiteY923" fmla="*/ 85358 h 349382"/>
                <a:gd name="connsiteX924" fmla="*/ 2235004 w 2663946"/>
                <a:gd name="connsiteY924" fmla="*/ 99688 h 349382"/>
                <a:gd name="connsiteX925" fmla="*/ 2234021 w 2663946"/>
                <a:gd name="connsiteY925" fmla="*/ 104555 h 349382"/>
                <a:gd name="connsiteX926" fmla="*/ 2232791 w 2663946"/>
                <a:gd name="connsiteY926" fmla="*/ 108340 h 349382"/>
                <a:gd name="connsiteX927" fmla="*/ 2231808 w 2663946"/>
                <a:gd name="connsiteY927" fmla="*/ 110774 h 349382"/>
                <a:gd name="connsiteX928" fmla="*/ 2229596 w 2663946"/>
                <a:gd name="connsiteY928" fmla="*/ 115100 h 349382"/>
                <a:gd name="connsiteX929" fmla="*/ 2227384 w 2663946"/>
                <a:gd name="connsiteY929" fmla="*/ 118344 h 349382"/>
                <a:gd name="connsiteX930" fmla="*/ 2223943 w 2663946"/>
                <a:gd name="connsiteY930" fmla="*/ 122130 h 349382"/>
                <a:gd name="connsiteX931" fmla="*/ 2220747 w 2663946"/>
                <a:gd name="connsiteY931" fmla="*/ 124833 h 349382"/>
                <a:gd name="connsiteX932" fmla="*/ 2215094 w 2663946"/>
                <a:gd name="connsiteY932" fmla="*/ 128078 h 349382"/>
                <a:gd name="connsiteX933" fmla="*/ 2207228 w 2663946"/>
                <a:gd name="connsiteY933" fmla="*/ 130241 h 349382"/>
                <a:gd name="connsiteX934" fmla="*/ 2205999 w 2663946"/>
                <a:gd name="connsiteY934" fmla="*/ 130512 h 349382"/>
                <a:gd name="connsiteX935" fmla="*/ 2201820 w 2663946"/>
                <a:gd name="connsiteY935" fmla="*/ 130512 h 349382"/>
                <a:gd name="connsiteX936" fmla="*/ 2201575 w 2663946"/>
                <a:gd name="connsiteY936" fmla="*/ 130512 h 349382"/>
                <a:gd name="connsiteX937" fmla="*/ 2188547 w 2663946"/>
                <a:gd name="connsiteY937" fmla="*/ 125645 h 349382"/>
                <a:gd name="connsiteX938" fmla="*/ 2183877 w 2663946"/>
                <a:gd name="connsiteY938" fmla="*/ 121589 h 349382"/>
                <a:gd name="connsiteX939" fmla="*/ 2180681 w 2663946"/>
                <a:gd name="connsiteY939" fmla="*/ 117804 h 349382"/>
                <a:gd name="connsiteX940" fmla="*/ 2178469 w 2663946"/>
                <a:gd name="connsiteY940" fmla="*/ 114289 h 349382"/>
                <a:gd name="connsiteX941" fmla="*/ 2176257 w 2663946"/>
                <a:gd name="connsiteY941" fmla="*/ 109963 h 349382"/>
                <a:gd name="connsiteX942" fmla="*/ 2175028 w 2663946"/>
                <a:gd name="connsiteY942" fmla="*/ 106988 h 349382"/>
                <a:gd name="connsiteX943" fmla="*/ 2174045 w 2663946"/>
                <a:gd name="connsiteY943" fmla="*/ 103744 h 349382"/>
                <a:gd name="connsiteX944" fmla="*/ 2172815 w 2663946"/>
                <a:gd name="connsiteY944" fmla="*/ 98066 h 349382"/>
                <a:gd name="connsiteX945" fmla="*/ 2172570 w 2663946"/>
                <a:gd name="connsiteY945" fmla="*/ 95092 h 349382"/>
                <a:gd name="connsiteX946" fmla="*/ 2172815 w 2663946"/>
                <a:gd name="connsiteY946" fmla="*/ 95362 h 349382"/>
                <a:gd name="connsiteX947" fmla="*/ 2172815 w 2663946"/>
                <a:gd name="connsiteY947" fmla="*/ 89684 h 349382"/>
                <a:gd name="connsiteX948" fmla="*/ 2172815 w 2663946"/>
                <a:gd name="connsiteY948" fmla="*/ 89414 h 349382"/>
                <a:gd name="connsiteX949" fmla="*/ 2173307 w 2663946"/>
                <a:gd name="connsiteY949" fmla="*/ 84817 h 349382"/>
                <a:gd name="connsiteX950" fmla="*/ 2174536 w 2663946"/>
                <a:gd name="connsiteY950" fmla="*/ 79410 h 349382"/>
                <a:gd name="connsiteX951" fmla="*/ 2175519 w 2663946"/>
                <a:gd name="connsiteY951" fmla="*/ 76165 h 349382"/>
                <a:gd name="connsiteX952" fmla="*/ 2177731 w 2663946"/>
                <a:gd name="connsiteY952" fmla="*/ 71028 h 349382"/>
                <a:gd name="connsiteX953" fmla="*/ 2179944 w 2663946"/>
                <a:gd name="connsiteY953" fmla="*/ 67243 h 349382"/>
                <a:gd name="connsiteX954" fmla="*/ 2182156 w 2663946"/>
                <a:gd name="connsiteY954" fmla="*/ 64268 h 349382"/>
                <a:gd name="connsiteX955" fmla="*/ 2184368 w 2663946"/>
                <a:gd name="connsiteY955" fmla="*/ 61835 h 349382"/>
                <a:gd name="connsiteX956" fmla="*/ 2189038 w 2663946"/>
                <a:gd name="connsiteY956" fmla="*/ 58050 h 349382"/>
                <a:gd name="connsiteX957" fmla="*/ 2192971 w 2663946"/>
                <a:gd name="connsiteY957" fmla="*/ 55887 h 349382"/>
                <a:gd name="connsiteX958" fmla="*/ 2202558 w 2663946"/>
                <a:gd name="connsiteY958" fmla="*/ 53453 h 349382"/>
                <a:gd name="connsiteX959" fmla="*/ 2020607 w 2663946"/>
                <a:gd name="connsiteY959" fmla="*/ 53453 h 349382"/>
                <a:gd name="connsiteX960" fmla="*/ 2032897 w 2663946"/>
                <a:gd name="connsiteY960" fmla="*/ 55616 h 349382"/>
                <a:gd name="connsiteX961" fmla="*/ 2040271 w 2663946"/>
                <a:gd name="connsiteY961" fmla="*/ 60213 h 349382"/>
                <a:gd name="connsiteX962" fmla="*/ 2043712 w 2663946"/>
                <a:gd name="connsiteY962" fmla="*/ 63457 h 349382"/>
                <a:gd name="connsiteX963" fmla="*/ 2047154 w 2663946"/>
                <a:gd name="connsiteY963" fmla="*/ 67783 h 349382"/>
                <a:gd name="connsiteX964" fmla="*/ 2049120 w 2663946"/>
                <a:gd name="connsiteY964" fmla="*/ 71298 h 349382"/>
                <a:gd name="connsiteX965" fmla="*/ 2051332 w 2663946"/>
                <a:gd name="connsiteY965" fmla="*/ 76706 h 349382"/>
                <a:gd name="connsiteX966" fmla="*/ 2052315 w 2663946"/>
                <a:gd name="connsiteY966" fmla="*/ 80221 h 349382"/>
                <a:gd name="connsiteX967" fmla="*/ 2053299 w 2663946"/>
                <a:gd name="connsiteY967" fmla="*/ 85358 h 349382"/>
                <a:gd name="connsiteX968" fmla="*/ 2053053 w 2663946"/>
                <a:gd name="connsiteY968" fmla="*/ 99688 h 349382"/>
                <a:gd name="connsiteX969" fmla="*/ 2052070 w 2663946"/>
                <a:gd name="connsiteY969" fmla="*/ 104555 h 349382"/>
                <a:gd name="connsiteX970" fmla="*/ 2050840 w 2663946"/>
                <a:gd name="connsiteY970" fmla="*/ 108340 h 349382"/>
                <a:gd name="connsiteX971" fmla="*/ 2049857 w 2663946"/>
                <a:gd name="connsiteY971" fmla="*/ 110774 h 349382"/>
                <a:gd name="connsiteX972" fmla="*/ 2047645 w 2663946"/>
                <a:gd name="connsiteY972" fmla="*/ 115100 h 349382"/>
                <a:gd name="connsiteX973" fmla="*/ 2045433 w 2663946"/>
                <a:gd name="connsiteY973" fmla="*/ 118344 h 349382"/>
                <a:gd name="connsiteX974" fmla="*/ 2041992 w 2663946"/>
                <a:gd name="connsiteY974" fmla="*/ 122130 h 349382"/>
                <a:gd name="connsiteX975" fmla="*/ 2038796 w 2663946"/>
                <a:gd name="connsiteY975" fmla="*/ 124833 h 349382"/>
                <a:gd name="connsiteX976" fmla="*/ 2033143 w 2663946"/>
                <a:gd name="connsiteY976" fmla="*/ 128078 h 349382"/>
                <a:gd name="connsiteX977" fmla="*/ 2025277 w 2663946"/>
                <a:gd name="connsiteY977" fmla="*/ 130241 h 349382"/>
                <a:gd name="connsiteX978" fmla="*/ 2024048 w 2663946"/>
                <a:gd name="connsiteY978" fmla="*/ 130512 h 349382"/>
                <a:gd name="connsiteX979" fmla="*/ 2019869 w 2663946"/>
                <a:gd name="connsiteY979" fmla="*/ 130512 h 349382"/>
                <a:gd name="connsiteX980" fmla="*/ 2019624 w 2663946"/>
                <a:gd name="connsiteY980" fmla="*/ 130512 h 349382"/>
                <a:gd name="connsiteX981" fmla="*/ 2006596 w 2663946"/>
                <a:gd name="connsiteY981" fmla="*/ 125645 h 349382"/>
                <a:gd name="connsiteX982" fmla="*/ 2001926 w 2663946"/>
                <a:gd name="connsiteY982" fmla="*/ 121589 h 349382"/>
                <a:gd name="connsiteX983" fmla="*/ 1998730 w 2663946"/>
                <a:gd name="connsiteY983" fmla="*/ 117804 h 349382"/>
                <a:gd name="connsiteX984" fmla="*/ 1996518 w 2663946"/>
                <a:gd name="connsiteY984" fmla="*/ 114289 h 349382"/>
                <a:gd name="connsiteX985" fmla="*/ 1994306 w 2663946"/>
                <a:gd name="connsiteY985" fmla="*/ 109963 h 349382"/>
                <a:gd name="connsiteX986" fmla="*/ 1993077 w 2663946"/>
                <a:gd name="connsiteY986" fmla="*/ 106988 h 349382"/>
                <a:gd name="connsiteX987" fmla="*/ 1992094 w 2663946"/>
                <a:gd name="connsiteY987" fmla="*/ 103744 h 349382"/>
                <a:gd name="connsiteX988" fmla="*/ 1990864 w 2663946"/>
                <a:gd name="connsiteY988" fmla="*/ 98066 h 349382"/>
                <a:gd name="connsiteX989" fmla="*/ 1990619 w 2663946"/>
                <a:gd name="connsiteY989" fmla="*/ 95092 h 349382"/>
                <a:gd name="connsiteX990" fmla="*/ 1990864 w 2663946"/>
                <a:gd name="connsiteY990" fmla="*/ 95362 h 349382"/>
                <a:gd name="connsiteX991" fmla="*/ 1990864 w 2663946"/>
                <a:gd name="connsiteY991" fmla="*/ 89684 h 349382"/>
                <a:gd name="connsiteX992" fmla="*/ 1990864 w 2663946"/>
                <a:gd name="connsiteY992" fmla="*/ 89414 h 349382"/>
                <a:gd name="connsiteX993" fmla="*/ 1991356 w 2663946"/>
                <a:gd name="connsiteY993" fmla="*/ 84817 h 349382"/>
                <a:gd name="connsiteX994" fmla="*/ 1992585 w 2663946"/>
                <a:gd name="connsiteY994" fmla="*/ 79410 h 349382"/>
                <a:gd name="connsiteX995" fmla="*/ 1993568 w 2663946"/>
                <a:gd name="connsiteY995" fmla="*/ 76165 h 349382"/>
                <a:gd name="connsiteX996" fmla="*/ 1995780 w 2663946"/>
                <a:gd name="connsiteY996" fmla="*/ 71028 h 349382"/>
                <a:gd name="connsiteX997" fmla="*/ 1997993 w 2663946"/>
                <a:gd name="connsiteY997" fmla="*/ 67243 h 349382"/>
                <a:gd name="connsiteX998" fmla="*/ 2000205 w 2663946"/>
                <a:gd name="connsiteY998" fmla="*/ 64268 h 349382"/>
                <a:gd name="connsiteX999" fmla="*/ 2002417 w 2663946"/>
                <a:gd name="connsiteY999" fmla="*/ 61835 h 349382"/>
                <a:gd name="connsiteX1000" fmla="*/ 2007087 w 2663946"/>
                <a:gd name="connsiteY1000" fmla="*/ 58050 h 349382"/>
                <a:gd name="connsiteX1001" fmla="*/ 2011020 w 2663946"/>
                <a:gd name="connsiteY1001" fmla="*/ 55887 h 349382"/>
                <a:gd name="connsiteX1002" fmla="*/ 2020607 w 2663946"/>
                <a:gd name="connsiteY1002" fmla="*/ 53453 h 349382"/>
                <a:gd name="connsiteX1003" fmla="*/ 1595683 w 2663946"/>
                <a:gd name="connsiteY1003" fmla="*/ 53453 h 349382"/>
                <a:gd name="connsiteX1004" fmla="*/ 1607973 w 2663946"/>
                <a:gd name="connsiteY1004" fmla="*/ 55616 h 349382"/>
                <a:gd name="connsiteX1005" fmla="*/ 1615347 w 2663946"/>
                <a:gd name="connsiteY1005" fmla="*/ 60213 h 349382"/>
                <a:gd name="connsiteX1006" fmla="*/ 1618788 w 2663946"/>
                <a:gd name="connsiteY1006" fmla="*/ 63457 h 349382"/>
                <a:gd name="connsiteX1007" fmla="*/ 1622230 w 2663946"/>
                <a:gd name="connsiteY1007" fmla="*/ 67783 h 349382"/>
                <a:gd name="connsiteX1008" fmla="*/ 1624196 w 2663946"/>
                <a:gd name="connsiteY1008" fmla="*/ 71298 h 349382"/>
                <a:gd name="connsiteX1009" fmla="*/ 1626408 w 2663946"/>
                <a:gd name="connsiteY1009" fmla="*/ 76706 h 349382"/>
                <a:gd name="connsiteX1010" fmla="*/ 1627391 w 2663946"/>
                <a:gd name="connsiteY1010" fmla="*/ 80221 h 349382"/>
                <a:gd name="connsiteX1011" fmla="*/ 1628374 w 2663946"/>
                <a:gd name="connsiteY1011" fmla="*/ 85358 h 349382"/>
                <a:gd name="connsiteX1012" fmla="*/ 1628129 w 2663946"/>
                <a:gd name="connsiteY1012" fmla="*/ 99688 h 349382"/>
                <a:gd name="connsiteX1013" fmla="*/ 1627146 w 2663946"/>
                <a:gd name="connsiteY1013" fmla="*/ 104555 h 349382"/>
                <a:gd name="connsiteX1014" fmla="*/ 1625916 w 2663946"/>
                <a:gd name="connsiteY1014" fmla="*/ 108340 h 349382"/>
                <a:gd name="connsiteX1015" fmla="*/ 1624933 w 2663946"/>
                <a:gd name="connsiteY1015" fmla="*/ 110774 h 349382"/>
                <a:gd name="connsiteX1016" fmla="*/ 1622721 w 2663946"/>
                <a:gd name="connsiteY1016" fmla="*/ 115100 h 349382"/>
                <a:gd name="connsiteX1017" fmla="*/ 1620509 w 2663946"/>
                <a:gd name="connsiteY1017" fmla="*/ 118344 h 349382"/>
                <a:gd name="connsiteX1018" fmla="*/ 1617068 w 2663946"/>
                <a:gd name="connsiteY1018" fmla="*/ 122130 h 349382"/>
                <a:gd name="connsiteX1019" fmla="*/ 1613872 w 2663946"/>
                <a:gd name="connsiteY1019" fmla="*/ 124833 h 349382"/>
                <a:gd name="connsiteX1020" fmla="*/ 1608219 w 2663946"/>
                <a:gd name="connsiteY1020" fmla="*/ 128078 h 349382"/>
                <a:gd name="connsiteX1021" fmla="*/ 1600353 w 2663946"/>
                <a:gd name="connsiteY1021" fmla="*/ 130241 h 349382"/>
                <a:gd name="connsiteX1022" fmla="*/ 1599124 w 2663946"/>
                <a:gd name="connsiteY1022" fmla="*/ 130512 h 349382"/>
                <a:gd name="connsiteX1023" fmla="*/ 1594945 w 2663946"/>
                <a:gd name="connsiteY1023" fmla="*/ 130512 h 349382"/>
                <a:gd name="connsiteX1024" fmla="*/ 1594699 w 2663946"/>
                <a:gd name="connsiteY1024" fmla="*/ 130512 h 349382"/>
                <a:gd name="connsiteX1025" fmla="*/ 1581672 w 2663946"/>
                <a:gd name="connsiteY1025" fmla="*/ 125645 h 349382"/>
                <a:gd name="connsiteX1026" fmla="*/ 1577002 w 2663946"/>
                <a:gd name="connsiteY1026" fmla="*/ 121589 h 349382"/>
                <a:gd name="connsiteX1027" fmla="*/ 1573806 w 2663946"/>
                <a:gd name="connsiteY1027" fmla="*/ 117804 h 349382"/>
                <a:gd name="connsiteX1028" fmla="*/ 1571594 w 2663946"/>
                <a:gd name="connsiteY1028" fmla="*/ 114289 h 349382"/>
                <a:gd name="connsiteX1029" fmla="*/ 1569382 w 2663946"/>
                <a:gd name="connsiteY1029" fmla="*/ 109963 h 349382"/>
                <a:gd name="connsiteX1030" fmla="*/ 1568153 w 2663946"/>
                <a:gd name="connsiteY1030" fmla="*/ 106988 h 349382"/>
                <a:gd name="connsiteX1031" fmla="*/ 1567169 w 2663946"/>
                <a:gd name="connsiteY1031" fmla="*/ 103744 h 349382"/>
                <a:gd name="connsiteX1032" fmla="*/ 1565940 w 2663946"/>
                <a:gd name="connsiteY1032" fmla="*/ 98066 h 349382"/>
                <a:gd name="connsiteX1033" fmla="*/ 1565695 w 2663946"/>
                <a:gd name="connsiteY1033" fmla="*/ 95092 h 349382"/>
                <a:gd name="connsiteX1034" fmla="*/ 1565940 w 2663946"/>
                <a:gd name="connsiteY1034" fmla="*/ 95362 h 349382"/>
                <a:gd name="connsiteX1035" fmla="*/ 1565940 w 2663946"/>
                <a:gd name="connsiteY1035" fmla="*/ 89684 h 349382"/>
                <a:gd name="connsiteX1036" fmla="*/ 1565940 w 2663946"/>
                <a:gd name="connsiteY1036" fmla="*/ 89414 h 349382"/>
                <a:gd name="connsiteX1037" fmla="*/ 1566432 w 2663946"/>
                <a:gd name="connsiteY1037" fmla="*/ 84817 h 349382"/>
                <a:gd name="connsiteX1038" fmla="*/ 1567661 w 2663946"/>
                <a:gd name="connsiteY1038" fmla="*/ 79410 h 349382"/>
                <a:gd name="connsiteX1039" fmla="*/ 1568644 w 2663946"/>
                <a:gd name="connsiteY1039" fmla="*/ 76165 h 349382"/>
                <a:gd name="connsiteX1040" fmla="*/ 1570856 w 2663946"/>
                <a:gd name="connsiteY1040" fmla="*/ 71028 h 349382"/>
                <a:gd name="connsiteX1041" fmla="*/ 1573069 w 2663946"/>
                <a:gd name="connsiteY1041" fmla="*/ 67243 h 349382"/>
                <a:gd name="connsiteX1042" fmla="*/ 1575281 w 2663946"/>
                <a:gd name="connsiteY1042" fmla="*/ 64268 h 349382"/>
                <a:gd name="connsiteX1043" fmla="*/ 1577493 w 2663946"/>
                <a:gd name="connsiteY1043" fmla="*/ 61835 h 349382"/>
                <a:gd name="connsiteX1044" fmla="*/ 1582163 w 2663946"/>
                <a:gd name="connsiteY1044" fmla="*/ 58050 h 349382"/>
                <a:gd name="connsiteX1045" fmla="*/ 1586096 w 2663946"/>
                <a:gd name="connsiteY1045" fmla="*/ 55887 h 349382"/>
                <a:gd name="connsiteX1046" fmla="*/ 1595683 w 2663946"/>
                <a:gd name="connsiteY1046" fmla="*/ 53453 h 349382"/>
                <a:gd name="connsiteX1047" fmla="*/ 1246776 w 2663946"/>
                <a:gd name="connsiteY1047" fmla="*/ 53453 h 349382"/>
                <a:gd name="connsiteX1048" fmla="*/ 1259066 w 2663946"/>
                <a:gd name="connsiteY1048" fmla="*/ 55616 h 349382"/>
                <a:gd name="connsiteX1049" fmla="*/ 1266440 w 2663946"/>
                <a:gd name="connsiteY1049" fmla="*/ 60213 h 349382"/>
                <a:gd name="connsiteX1050" fmla="*/ 1269881 w 2663946"/>
                <a:gd name="connsiteY1050" fmla="*/ 63457 h 349382"/>
                <a:gd name="connsiteX1051" fmla="*/ 1273323 w 2663946"/>
                <a:gd name="connsiteY1051" fmla="*/ 67783 h 349382"/>
                <a:gd name="connsiteX1052" fmla="*/ 1275289 w 2663946"/>
                <a:gd name="connsiteY1052" fmla="*/ 71298 h 349382"/>
                <a:gd name="connsiteX1053" fmla="*/ 1277501 w 2663946"/>
                <a:gd name="connsiteY1053" fmla="*/ 76706 h 349382"/>
                <a:gd name="connsiteX1054" fmla="*/ 1278484 w 2663946"/>
                <a:gd name="connsiteY1054" fmla="*/ 80221 h 349382"/>
                <a:gd name="connsiteX1055" fmla="*/ 1279467 w 2663946"/>
                <a:gd name="connsiteY1055" fmla="*/ 85358 h 349382"/>
                <a:gd name="connsiteX1056" fmla="*/ 1279222 w 2663946"/>
                <a:gd name="connsiteY1056" fmla="*/ 99688 h 349382"/>
                <a:gd name="connsiteX1057" fmla="*/ 1278239 w 2663946"/>
                <a:gd name="connsiteY1057" fmla="*/ 104555 h 349382"/>
                <a:gd name="connsiteX1058" fmla="*/ 1277009 w 2663946"/>
                <a:gd name="connsiteY1058" fmla="*/ 108340 h 349382"/>
                <a:gd name="connsiteX1059" fmla="*/ 1276026 w 2663946"/>
                <a:gd name="connsiteY1059" fmla="*/ 110774 h 349382"/>
                <a:gd name="connsiteX1060" fmla="*/ 1273814 w 2663946"/>
                <a:gd name="connsiteY1060" fmla="*/ 115100 h 349382"/>
                <a:gd name="connsiteX1061" fmla="*/ 1271602 w 2663946"/>
                <a:gd name="connsiteY1061" fmla="*/ 118344 h 349382"/>
                <a:gd name="connsiteX1062" fmla="*/ 1268161 w 2663946"/>
                <a:gd name="connsiteY1062" fmla="*/ 122130 h 349382"/>
                <a:gd name="connsiteX1063" fmla="*/ 1264965 w 2663946"/>
                <a:gd name="connsiteY1063" fmla="*/ 124833 h 349382"/>
                <a:gd name="connsiteX1064" fmla="*/ 1259312 w 2663946"/>
                <a:gd name="connsiteY1064" fmla="*/ 128078 h 349382"/>
                <a:gd name="connsiteX1065" fmla="*/ 1251446 w 2663946"/>
                <a:gd name="connsiteY1065" fmla="*/ 130241 h 349382"/>
                <a:gd name="connsiteX1066" fmla="*/ 1250217 w 2663946"/>
                <a:gd name="connsiteY1066" fmla="*/ 130512 h 349382"/>
                <a:gd name="connsiteX1067" fmla="*/ 1246038 w 2663946"/>
                <a:gd name="connsiteY1067" fmla="*/ 130512 h 349382"/>
                <a:gd name="connsiteX1068" fmla="*/ 1245792 w 2663946"/>
                <a:gd name="connsiteY1068" fmla="*/ 130512 h 349382"/>
                <a:gd name="connsiteX1069" fmla="*/ 1232765 w 2663946"/>
                <a:gd name="connsiteY1069" fmla="*/ 125645 h 349382"/>
                <a:gd name="connsiteX1070" fmla="*/ 1228095 w 2663946"/>
                <a:gd name="connsiteY1070" fmla="*/ 121589 h 349382"/>
                <a:gd name="connsiteX1071" fmla="*/ 1224899 w 2663946"/>
                <a:gd name="connsiteY1071" fmla="*/ 117804 h 349382"/>
                <a:gd name="connsiteX1072" fmla="*/ 1222687 w 2663946"/>
                <a:gd name="connsiteY1072" fmla="*/ 114289 h 349382"/>
                <a:gd name="connsiteX1073" fmla="*/ 1220475 w 2663946"/>
                <a:gd name="connsiteY1073" fmla="*/ 109963 h 349382"/>
                <a:gd name="connsiteX1074" fmla="*/ 1219246 w 2663946"/>
                <a:gd name="connsiteY1074" fmla="*/ 106988 h 349382"/>
                <a:gd name="connsiteX1075" fmla="*/ 1218262 w 2663946"/>
                <a:gd name="connsiteY1075" fmla="*/ 103744 h 349382"/>
                <a:gd name="connsiteX1076" fmla="*/ 1217033 w 2663946"/>
                <a:gd name="connsiteY1076" fmla="*/ 98066 h 349382"/>
                <a:gd name="connsiteX1077" fmla="*/ 1216788 w 2663946"/>
                <a:gd name="connsiteY1077" fmla="*/ 95092 h 349382"/>
                <a:gd name="connsiteX1078" fmla="*/ 1217033 w 2663946"/>
                <a:gd name="connsiteY1078" fmla="*/ 95362 h 349382"/>
                <a:gd name="connsiteX1079" fmla="*/ 1217033 w 2663946"/>
                <a:gd name="connsiteY1079" fmla="*/ 89684 h 349382"/>
                <a:gd name="connsiteX1080" fmla="*/ 1217033 w 2663946"/>
                <a:gd name="connsiteY1080" fmla="*/ 89414 h 349382"/>
                <a:gd name="connsiteX1081" fmla="*/ 1217525 w 2663946"/>
                <a:gd name="connsiteY1081" fmla="*/ 84817 h 349382"/>
                <a:gd name="connsiteX1082" fmla="*/ 1218754 w 2663946"/>
                <a:gd name="connsiteY1082" fmla="*/ 79410 h 349382"/>
                <a:gd name="connsiteX1083" fmla="*/ 1219737 w 2663946"/>
                <a:gd name="connsiteY1083" fmla="*/ 76165 h 349382"/>
                <a:gd name="connsiteX1084" fmla="*/ 1221949 w 2663946"/>
                <a:gd name="connsiteY1084" fmla="*/ 71028 h 349382"/>
                <a:gd name="connsiteX1085" fmla="*/ 1224162 w 2663946"/>
                <a:gd name="connsiteY1085" fmla="*/ 67243 h 349382"/>
                <a:gd name="connsiteX1086" fmla="*/ 1226374 w 2663946"/>
                <a:gd name="connsiteY1086" fmla="*/ 64268 h 349382"/>
                <a:gd name="connsiteX1087" fmla="*/ 1228586 w 2663946"/>
                <a:gd name="connsiteY1087" fmla="*/ 61835 h 349382"/>
                <a:gd name="connsiteX1088" fmla="*/ 1233256 w 2663946"/>
                <a:gd name="connsiteY1088" fmla="*/ 58050 h 349382"/>
                <a:gd name="connsiteX1089" fmla="*/ 1237189 w 2663946"/>
                <a:gd name="connsiteY1089" fmla="*/ 55887 h 349382"/>
                <a:gd name="connsiteX1090" fmla="*/ 1246776 w 2663946"/>
                <a:gd name="connsiteY1090" fmla="*/ 53453 h 349382"/>
                <a:gd name="connsiteX1091" fmla="*/ 1064825 w 2663946"/>
                <a:gd name="connsiteY1091" fmla="*/ 53453 h 349382"/>
                <a:gd name="connsiteX1092" fmla="*/ 1077115 w 2663946"/>
                <a:gd name="connsiteY1092" fmla="*/ 55616 h 349382"/>
                <a:gd name="connsiteX1093" fmla="*/ 1084489 w 2663946"/>
                <a:gd name="connsiteY1093" fmla="*/ 60213 h 349382"/>
                <a:gd name="connsiteX1094" fmla="*/ 1087930 w 2663946"/>
                <a:gd name="connsiteY1094" fmla="*/ 63457 h 349382"/>
                <a:gd name="connsiteX1095" fmla="*/ 1091372 w 2663946"/>
                <a:gd name="connsiteY1095" fmla="*/ 67783 h 349382"/>
                <a:gd name="connsiteX1096" fmla="*/ 1093338 w 2663946"/>
                <a:gd name="connsiteY1096" fmla="*/ 71298 h 349382"/>
                <a:gd name="connsiteX1097" fmla="*/ 1095550 w 2663946"/>
                <a:gd name="connsiteY1097" fmla="*/ 76706 h 349382"/>
                <a:gd name="connsiteX1098" fmla="*/ 1096533 w 2663946"/>
                <a:gd name="connsiteY1098" fmla="*/ 80221 h 349382"/>
                <a:gd name="connsiteX1099" fmla="*/ 1097516 w 2663946"/>
                <a:gd name="connsiteY1099" fmla="*/ 85358 h 349382"/>
                <a:gd name="connsiteX1100" fmla="*/ 1097271 w 2663946"/>
                <a:gd name="connsiteY1100" fmla="*/ 99688 h 349382"/>
                <a:gd name="connsiteX1101" fmla="*/ 1096288 w 2663946"/>
                <a:gd name="connsiteY1101" fmla="*/ 104555 h 349382"/>
                <a:gd name="connsiteX1102" fmla="*/ 1095058 w 2663946"/>
                <a:gd name="connsiteY1102" fmla="*/ 108340 h 349382"/>
                <a:gd name="connsiteX1103" fmla="*/ 1094075 w 2663946"/>
                <a:gd name="connsiteY1103" fmla="*/ 110774 h 349382"/>
                <a:gd name="connsiteX1104" fmla="*/ 1091863 w 2663946"/>
                <a:gd name="connsiteY1104" fmla="*/ 115100 h 349382"/>
                <a:gd name="connsiteX1105" fmla="*/ 1089651 w 2663946"/>
                <a:gd name="connsiteY1105" fmla="*/ 118344 h 349382"/>
                <a:gd name="connsiteX1106" fmla="*/ 1086210 w 2663946"/>
                <a:gd name="connsiteY1106" fmla="*/ 122130 h 349382"/>
                <a:gd name="connsiteX1107" fmla="*/ 1083014 w 2663946"/>
                <a:gd name="connsiteY1107" fmla="*/ 124833 h 349382"/>
                <a:gd name="connsiteX1108" fmla="*/ 1077361 w 2663946"/>
                <a:gd name="connsiteY1108" fmla="*/ 128078 h 349382"/>
                <a:gd name="connsiteX1109" fmla="*/ 1069495 w 2663946"/>
                <a:gd name="connsiteY1109" fmla="*/ 130241 h 349382"/>
                <a:gd name="connsiteX1110" fmla="*/ 1068266 w 2663946"/>
                <a:gd name="connsiteY1110" fmla="*/ 130512 h 349382"/>
                <a:gd name="connsiteX1111" fmla="*/ 1064087 w 2663946"/>
                <a:gd name="connsiteY1111" fmla="*/ 130512 h 349382"/>
                <a:gd name="connsiteX1112" fmla="*/ 1063841 w 2663946"/>
                <a:gd name="connsiteY1112" fmla="*/ 130512 h 349382"/>
                <a:gd name="connsiteX1113" fmla="*/ 1050814 w 2663946"/>
                <a:gd name="connsiteY1113" fmla="*/ 125645 h 349382"/>
                <a:gd name="connsiteX1114" fmla="*/ 1046144 w 2663946"/>
                <a:gd name="connsiteY1114" fmla="*/ 121589 h 349382"/>
                <a:gd name="connsiteX1115" fmla="*/ 1042948 w 2663946"/>
                <a:gd name="connsiteY1115" fmla="*/ 117804 h 349382"/>
                <a:gd name="connsiteX1116" fmla="*/ 1040736 w 2663946"/>
                <a:gd name="connsiteY1116" fmla="*/ 114289 h 349382"/>
                <a:gd name="connsiteX1117" fmla="*/ 1038524 w 2663946"/>
                <a:gd name="connsiteY1117" fmla="*/ 109963 h 349382"/>
                <a:gd name="connsiteX1118" fmla="*/ 1037295 w 2663946"/>
                <a:gd name="connsiteY1118" fmla="*/ 106988 h 349382"/>
                <a:gd name="connsiteX1119" fmla="*/ 1036311 w 2663946"/>
                <a:gd name="connsiteY1119" fmla="*/ 103744 h 349382"/>
                <a:gd name="connsiteX1120" fmla="*/ 1035082 w 2663946"/>
                <a:gd name="connsiteY1120" fmla="*/ 98066 h 349382"/>
                <a:gd name="connsiteX1121" fmla="*/ 1034837 w 2663946"/>
                <a:gd name="connsiteY1121" fmla="*/ 95092 h 349382"/>
                <a:gd name="connsiteX1122" fmla="*/ 1035082 w 2663946"/>
                <a:gd name="connsiteY1122" fmla="*/ 95362 h 349382"/>
                <a:gd name="connsiteX1123" fmla="*/ 1035082 w 2663946"/>
                <a:gd name="connsiteY1123" fmla="*/ 89684 h 349382"/>
                <a:gd name="connsiteX1124" fmla="*/ 1035082 w 2663946"/>
                <a:gd name="connsiteY1124" fmla="*/ 89414 h 349382"/>
                <a:gd name="connsiteX1125" fmla="*/ 1035574 w 2663946"/>
                <a:gd name="connsiteY1125" fmla="*/ 84817 h 349382"/>
                <a:gd name="connsiteX1126" fmla="*/ 1036803 w 2663946"/>
                <a:gd name="connsiteY1126" fmla="*/ 79410 h 349382"/>
                <a:gd name="connsiteX1127" fmla="*/ 1037786 w 2663946"/>
                <a:gd name="connsiteY1127" fmla="*/ 76165 h 349382"/>
                <a:gd name="connsiteX1128" fmla="*/ 1039998 w 2663946"/>
                <a:gd name="connsiteY1128" fmla="*/ 71028 h 349382"/>
                <a:gd name="connsiteX1129" fmla="*/ 1042211 w 2663946"/>
                <a:gd name="connsiteY1129" fmla="*/ 67243 h 349382"/>
                <a:gd name="connsiteX1130" fmla="*/ 1044423 w 2663946"/>
                <a:gd name="connsiteY1130" fmla="*/ 64268 h 349382"/>
                <a:gd name="connsiteX1131" fmla="*/ 1046635 w 2663946"/>
                <a:gd name="connsiteY1131" fmla="*/ 61835 h 349382"/>
                <a:gd name="connsiteX1132" fmla="*/ 1051305 w 2663946"/>
                <a:gd name="connsiteY1132" fmla="*/ 58050 h 349382"/>
                <a:gd name="connsiteX1133" fmla="*/ 1055238 w 2663946"/>
                <a:gd name="connsiteY1133" fmla="*/ 55887 h 349382"/>
                <a:gd name="connsiteX1134" fmla="*/ 1064825 w 2663946"/>
                <a:gd name="connsiteY1134" fmla="*/ 53453 h 349382"/>
                <a:gd name="connsiteX1135" fmla="*/ 897796 w 2663946"/>
                <a:gd name="connsiteY1135" fmla="*/ 53453 h 349382"/>
                <a:gd name="connsiteX1136" fmla="*/ 910086 w 2663946"/>
                <a:gd name="connsiteY1136" fmla="*/ 55616 h 349382"/>
                <a:gd name="connsiteX1137" fmla="*/ 917460 w 2663946"/>
                <a:gd name="connsiteY1137" fmla="*/ 60213 h 349382"/>
                <a:gd name="connsiteX1138" fmla="*/ 920901 w 2663946"/>
                <a:gd name="connsiteY1138" fmla="*/ 63457 h 349382"/>
                <a:gd name="connsiteX1139" fmla="*/ 924343 w 2663946"/>
                <a:gd name="connsiteY1139" fmla="*/ 67783 h 349382"/>
                <a:gd name="connsiteX1140" fmla="*/ 926309 w 2663946"/>
                <a:gd name="connsiteY1140" fmla="*/ 71298 h 349382"/>
                <a:gd name="connsiteX1141" fmla="*/ 928521 w 2663946"/>
                <a:gd name="connsiteY1141" fmla="*/ 76706 h 349382"/>
                <a:gd name="connsiteX1142" fmla="*/ 929504 w 2663946"/>
                <a:gd name="connsiteY1142" fmla="*/ 80221 h 349382"/>
                <a:gd name="connsiteX1143" fmla="*/ 930487 w 2663946"/>
                <a:gd name="connsiteY1143" fmla="*/ 85358 h 349382"/>
                <a:gd name="connsiteX1144" fmla="*/ 930242 w 2663946"/>
                <a:gd name="connsiteY1144" fmla="*/ 99688 h 349382"/>
                <a:gd name="connsiteX1145" fmla="*/ 929259 w 2663946"/>
                <a:gd name="connsiteY1145" fmla="*/ 104555 h 349382"/>
                <a:gd name="connsiteX1146" fmla="*/ 928029 w 2663946"/>
                <a:gd name="connsiteY1146" fmla="*/ 108340 h 349382"/>
                <a:gd name="connsiteX1147" fmla="*/ 927046 w 2663946"/>
                <a:gd name="connsiteY1147" fmla="*/ 110774 h 349382"/>
                <a:gd name="connsiteX1148" fmla="*/ 924834 w 2663946"/>
                <a:gd name="connsiteY1148" fmla="*/ 115100 h 349382"/>
                <a:gd name="connsiteX1149" fmla="*/ 922622 w 2663946"/>
                <a:gd name="connsiteY1149" fmla="*/ 118344 h 349382"/>
                <a:gd name="connsiteX1150" fmla="*/ 919181 w 2663946"/>
                <a:gd name="connsiteY1150" fmla="*/ 122130 h 349382"/>
                <a:gd name="connsiteX1151" fmla="*/ 915985 w 2663946"/>
                <a:gd name="connsiteY1151" fmla="*/ 124833 h 349382"/>
                <a:gd name="connsiteX1152" fmla="*/ 910332 w 2663946"/>
                <a:gd name="connsiteY1152" fmla="*/ 128078 h 349382"/>
                <a:gd name="connsiteX1153" fmla="*/ 902466 w 2663946"/>
                <a:gd name="connsiteY1153" fmla="*/ 130241 h 349382"/>
                <a:gd name="connsiteX1154" fmla="*/ 901237 w 2663946"/>
                <a:gd name="connsiteY1154" fmla="*/ 130512 h 349382"/>
                <a:gd name="connsiteX1155" fmla="*/ 897058 w 2663946"/>
                <a:gd name="connsiteY1155" fmla="*/ 130512 h 349382"/>
                <a:gd name="connsiteX1156" fmla="*/ 896812 w 2663946"/>
                <a:gd name="connsiteY1156" fmla="*/ 130512 h 349382"/>
                <a:gd name="connsiteX1157" fmla="*/ 883785 w 2663946"/>
                <a:gd name="connsiteY1157" fmla="*/ 125645 h 349382"/>
                <a:gd name="connsiteX1158" fmla="*/ 879115 w 2663946"/>
                <a:gd name="connsiteY1158" fmla="*/ 121589 h 349382"/>
                <a:gd name="connsiteX1159" fmla="*/ 875919 w 2663946"/>
                <a:gd name="connsiteY1159" fmla="*/ 117804 h 349382"/>
                <a:gd name="connsiteX1160" fmla="*/ 873707 w 2663946"/>
                <a:gd name="connsiteY1160" fmla="*/ 114289 h 349382"/>
                <a:gd name="connsiteX1161" fmla="*/ 871495 w 2663946"/>
                <a:gd name="connsiteY1161" fmla="*/ 109963 h 349382"/>
                <a:gd name="connsiteX1162" fmla="*/ 870266 w 2663946"/>
                <a:gd name="connsiteY1162" fmla="*/ 106988 h 349382"/>
                <a:gd name="connsiteX1163" fmla="*/ 869282 w 2663946"/>
                <a:gd name="connsiteY1163" fmla="*/ 103744 h 349382"/>
                <a:gd name="connsiteX1164" fmla="*/ 868053 w 2663946"/>
                <a:gd name="connsiteY1164" fmla="*/ 98066 h 349382"/>
                <a:gd name="connsiteX1165" fmla="*/ 867808 w 2663946"/>
                <a:gd name="connsiteY1165" fmla="*/ 95092 h 349382"/>
                <a:gd name="connsiteX1166" fmla="*/ 868053 w 2663946"/>
                <a:gd name="connsiteY1166" fmla="*/ 95362 h 349382"/>
                <a:gd name="connsiteX1167" fmla="*/ 868053 w 2663946"/>
                <a:gd name="connsiteY1167" fmla="*/ 89684 h 349382"/>
                <a:gd name="connsiteX1168" fmla="*/ 868053 w 2663946"/>
                <a:gd name="connsiteY1168" fmla="*/ 89414 h 349382"/>
                <a:gd name="connsiteX1169" fmla="*/ 868545 w 2663946"/>
                <a:gd name="connsiteY1169" fmla="*/ 84817 h 349382"/>
                <a:gd name="connsiteX1170" fmla="*/ 869774 w 2663946"/>
                <a:gd name="connsiteY1170" fmla="*/ 79410 h 349382"/>
                <a:gd name="connsiteX1171" fmla="*/ 870757 w 2663946"/>
                <a:gd name="connsiteY1171" fmla="*/ 76165 h 349382"/>
                <a:gd name="connsiteX1172" fmla="*/ 872969 w 2663946"/>
                <a:gd name="connsiteY1172" fmla="*/ 71028 h 349382"/>
                <a:gd name="connsiteX1173" fmla="*/ 875182 w 2663946"/>
                <a:gd name="connsiteY1173" fmla="*/ 67243 h 349382"/>
                <a:gd name="connsiteX1174" fmla="*/ 877394 w 2663946"/>
                <a:gd name="connsiteY1174" fmla="*/ 64268 h 349382"/>
                <a:gd name="connsiteX1175" fmla="*/ 879606 w 2663946"/>
                <a:gd name="connsiteY1175" fmla="*/ 61835 h 349382"/>
                <a:gd name="connsiteX1176" fmla="*/ 884276 w 2663946"/>
                <a:gd name="connsiteY1176" fmla="*/ 58050 h 349382"/>
                <a:gd name="connsiteX1177" fmla="*/ 888209 w 2663946"/>
                <a:gd name="connsiteY1177" fmla="*/ 55887 h 349382"/>
                <a:gd name="connsiteX1178" fmla="*/ 897796 w 2663946"/>
                <a:gd name="connsiteY1178" fmla="*/ 53453 h 349382"/>
                <a:gd name="connsiteX1179" fmla="*/ 548889 w 2663946"/>
                <a:gd name="connsiteY1179" fmla="*/ 53453 h 349382"/>
                <a:gd name="connsiteX1180" fmla="*/ 561180 w 2663946"/>
                <a:gd name="connsiteY1180" fmla="*/ 55616 h 349382"/>
                <a:gd name="connsiteX1181" fmla="*/ 568554 w 2663946"/>
                <a:gd name="connsiteY1181" fmla="*/ 60213 h 349382"/>
                <a:gd name="connsiteX1182" fmla="*/ 571995 w 2663946"/>
                <a:gd name="connsiteY1182" fmla="*/ 63457 h 349382"/>
                <a:gd name="connsiteX1183" fmla="*/ 575436 w 2663946"/>
                <a:gd name="connsiteY1183" fmla="*/ 67783 h 349382"/>
                <a:gd name="connsiteX1184" fmla="*/ 577403 w 2663946"/>
                <a:gd name="connsiteY1184" fmla="*/ 71298 h 349382"/>
                <a:gd name="connsiteX1185" fmla="*/ 579615 w 2663946"/>
                <a:gd name="connsiteY1185" fmla="*/ 76706 h 349382"/>
                <a:gd name="connsiteX1186" fmla="*/ 580598 w 2663946"/>
                <a:gd name="connsiteY1186" fmla="*/ 80221 h 349382"/>
                <a:gd name="connsiteX1187" fmla="*/ 581581 w 2663946"/>
                <a:gd name="connsiteY1187" fmla="*/ 85358 h 349382"/>
                <a:gd name="connsiteX1188" fmla="*/ 581336 w 2663946"/>
                <a:gd name="connsiteY1188" fmla="*/ 99688 h 349382"/>
                <a:gd name="connsiteX1189" fmla="*/ 580352 w 2663946"/>
                <a:gd name="connsiteY1189" fmla="*/ 104555 h 349382"/>
                <a:gd name="connsiteX1190" fmla="*/ 579123 w 2663946"/>
                <a:gd name="connsiteY1190" fmla="*/ 108340 h 349382"/>
                <a:gd name="connsiteX1191" fmla="*/ 578140 w 2663946"/>
                <a:gd name="connsiteY1191" fmla="*/ 110774 h 349382"/>
                <a:gd name="connsiteX1192" fmla="*/ 575928 w 2663946"/>
                <a:gd name="connsiteY1192" fmla="*/ 115100 h 349382"/>
                <a:gd name="connsiteX1193" fmla="*/ 573715 w 2663946"/>
                <a:gd name="connsiteY1193" fmla="*/ 118344 h 349382"/>
                <a:gd name="connsiteX1194" fmla="*/ 570274 w 2663946"/>
                <a:gd name="connsiteY1194" fmla="*/ 122130 h 349382"/>
                <a:gd name="connsiteX1195" fmla="*/ 567079 w 2663946"/>
                <a:gd name="connsiteY1195" fmla="*/ 124833 h 349382"/>
                <a:gd name="connsiteX1196" fmla="*/ 561425 w 2663946"/>
                <a:gd name="connsiteY1196" fmla="*/ 128078 h 349382"/>
                <a:gd name="connsiteX1197" fmla="*/ 553559 w 2663946"/>
                <a:gd name="connsiteY1197" fmla="*/ 130241 h 349382"/>
                <a:gd name="connsiteX1198" fmla="*/ 552331 w 2663946"/>
                <a:gd name="connsiteY1198" fmla="*/ 130512 h 349382"/>
                <a:gd name="connsiteX1199" fmla="*/ 548152 w 2663946"/>
                <a:gd name="connsiteY1199" fmla="*/ 130512 h 349382"/>
                <a:gd name="connsiteX1200" fmla="*/ 547906 w 2663946"/>
                <a:gd name="connsiteY1200" fmla="*/ 130512 h 349382"/>
                <a:gd name="connsiteX1201" fmla="*/ 534879 w 2663946"/>
                <a:gd name="connsiteY1201" fmla="*/ 125645 h 349382"/>
                <a:gd name="connsiteX1202" fmla="*/ 530208 w 2663946"/>
                <a:gd name="connsiteY1202" fmla="*/ 121589 h 349382"/>
                <a:gd name="connsiteX1203" fmla="*/ 527013 w 2663946"/>
                <a:gd name="connsiteY1203" fmla="*/ 117804 h 349382"/>
                <a:gd name="connsiteX1204" fmla="*/ 524801 w 2663946"/>
                <a:gd name="connsiteY1204" fmla="*/ 114289 h 349382"/>
                <a:gd name="connsiteX1205" fmla="*/ 522588 w 2663946"/>
                <a:gd name="connsiteY1205" fmla="*/ 109963 h 349382"/>
                <a:gd name="connsiteX1206" fmla="*/ 521359 w 2663946"/>
                <a:gd name="connsiteY1206" fmla="*/ 106988 h 349382"/>
                <a:gd name="connsiteX1207" fmla="*/ 520376 w 2663946"/>
                <a:gd name="connsiteY1207" fmla="*/ 103744 h 349382"/>
                <a:gd name="connsiteX1208" fmla="*/ 519147 w 2663946"/>
                <a:gd name="connsiteY1208" fmla="*/ 98066 h 349382"/>
                <a:gd name="connsiteX1209" fmla="*/ 518901 w 2663946"/>
                <a:gd name="connsiteY1209" fmla="*/ 95092 h 349382"/>
                <a:gd name="connsiteX1210" fmla="*/ 519147 w 2663946"/>
                <a:gd name="connsiteY1210" fmla="*/ 95362 h 349382"/>
                <a:gd name="connsiteX1211" fmla="*/ 519147 w 2663946"/>
                <a:gd name="connsiteY1211" fmla="*/ 89684 h 349382"/>
                <a:gd name="connsiteX1212" fmla="*/ 519147 w 2663946"/>
                <a:gd name="connsiteY1212" fmla="*/ 89414 h 349382"/>
                <a:gd name="connsiteX1213" fmla="*/ 519639 w 2663946"/>
                <a:gd name="connsiteY1213" fmla="*/ 84817 h 349382"/>
                <a:gd name="connsiteX1214" fmla="*/ 520868 w 2663946"/>
                <a:gd name="connsiteY1214" fmla="*/ 79410 h 349382"/>
                <a:gd name="connsiteX1215" fmla="*/ 521851 w 2663946"/>
                <a:gd name="connsiteY1215" fmla="*/ 76165 h 349382"/>
                <a:gd name="connsiteX1216" fmla="*/ 524063 w 2663946"/>
                <a:gd name="connsiteY1216" fmla="*/ 71028 h 349382"/>
                <a:gd name="connsiteX1217" fmla="*/ 526275 w 2663946"/>
                <a:gd name="connsiteY1217" fmla="*/ 67243 h 349382"/>
                <a:gd name="connsiteX1218" fmla="*/ 528488 w 2663946"/>
                <a:gd name="connsiteY1218" fmla="*/ 64268 h 349382"/>
                <a:gd name="connsiteX1219" fmla="*/ 530700 w 2663946"/>
                <a:gd name="connsiteY1219" fmla="*/ 61835 h 349382"/>
                <a:gd name="connsiteX1220" fmla="*/ 535370 w 2663946"/>
                <a:gd name="connsiteY1220" fmla="*/ 58050 h 349382"/>
                <a:gd name="connsiteX1221" fmla="*/ 539303 w 2663946"/>
                <a:gd name="connsiteY1221" fmla="*/ 55887 h 349382"/>
                <a:gd name="connsiteX1222" fmla="*/ 548889 w 2663946"/>
                <a:gd name="connsiteY1222" fmla="*/ 53453 h 349382"/>
                <a:gd name="connsiteX1223" fmla="*/ 366938 w 2663946"/>
                <a:gd name="connsiteY1223" fmla="*/ 53453 h 349382"/>
                <a:gd name="connsiteX1224" fmla="*/ 379228 w 2663946"/>
                <a:gd name="connsiteY1224" fmla="*/ 55616 h 349382"/>
                <a:gd name="connsiteX1225" fmla="*/ 386603 w 2663946"/>
                <a:gd name="connsiteY1225" fmla="*/ 60213 h 349382"/>
                <a:gd name="connsiteX1226" fmla="*/ 390044 w 2663946"/>
                <a:gd name="connsiteY1226" fmla="*/ 63457 h 349382"/>
                <a:gd name="connsiteX1227" fmla="*/ 393485 w 2663946"/>
                <a:gd name="connsiteY1227" fmla="*/ 67783 h 349382"/>
                <a:gd name="connsiteX1228" fmla="*/ 395452 w 2663946"/>
                <a:gd name="connsiteY1228" fmla="*/ 71298 h 349382"/>
                <a:gd name="connsiteX1229" fmla="*/ 397664 w 2663946"/>
                <a:gd name="connsiteY1229" fmla="*/ 76706 h 349382"/>
                <a:gd name="connsiteX1230" fmla="*/ 398647 w 2663946"/>
                <a:gd name="connsiteY1230" fmla="*/ 80221 h 349382"/>
                <a:gd name="connsiteX1231" fmla="*/ 399630 w 2663946"/>
                <a:gd name="connsiteY1231" fmla="*/ 85358 h 349382"/>
                <a:gd name="connsiteX1232" fmla="*/ 399384 w 2663946"/>
                <a:gd name="connsiteY1232" fmla="*/ 99688 h 349382"/>
                <a:gd name="connsiteX1233" fmla="*/ 398401 w 2663946"/>
                <a:gd name="connsiteY1233" fmla="*/ 104555 h 349382"/>
                <a:gd name="connsiteX1234" fmla="*/ 397172 w 2663946"/>
                <a:gd name="connsiteY1234" fmla="*/ 108340 h 349382"/>
                <a:gd name="connsiteX1235" fmla="*/ 396189 w 2663946"/>
                <a:gd name="connsiteY1235" fmla="*/ 110774 h 349382"/>
                <a:gd name="connsiteX1236" fmla="*/ 393977 w 2663946"/>
                <a:gd name="connsiteY1236" fmla="*/ 115100 h 349382"/>
                <a:gd name="connsiteX1237" fmla="*/ 391764 w 2663946"/>
                <a:gd name="connsiteY1237" fmla="*/ 118344 h 349382"/>
                <a:gd name="connsiteX1238" fmla="*/ 388323 w 2663946"/>
                <a:gd name="connsiteY1238" fmla="*/ 122130 h 349382"/>
                <a:gd name="connsiteX1239" fmla="*/ 385128 w 2663946"/>
                <a:gd name="connsiteY1239" fmla="*/ 124833 h 349382"/>
                <a:gd name="connsiteX1240" fmla="*/ 379474 w 2663946"/>
                <a:gd name="connsiteY1240" fmla="*/ 128078 h 349382"/>
                <a:gd name="connsiteX1241" fmla="*/ 371609 w 2663946"/>
                <a:gd name="connsiteY1241" fmla="*/ 130241 h 349382"/>
                <a:gd name="connsiteX1242" fmla="*/ 370380 w 2663946"/>
                <a:gd name="connsiteY1242" fmla="*/ 130512 h 349382"/>
                <a:gd name="connsiteX1243" fmla="*/ 366201 w 2663946"/>
                <a:gd name="connsiteY1243" fmla="*/ 130512 h 349382"/>
                <a:gd name="connsiteX1244" fmla="*/ 365955 w 2663946"/>
                <a:gd name="connsiteY1244" fmla="*/ 130512 h 349382"/>
                <a:gd name="connsiteX1245" fmla="*/ 352927 w 2663946"/>
                <a:gd name="connsiteY1245" fmla="*/ 125645 h 349382"/>
                <a:gd name="connsiteX1246" fmla="*/ 348257 w 2663946"/>
                <a:gd name="connsiteY1246" fmla="*/ 121589 h 349382"/>
                <a:gd name="connsiteX1247" fmla="*/ 345062 w 2663946"/>
                <a:gd name="connsiteY1247" fmla="*/ 117804 h 349382"/>
                <a:gd name="connsiteX1248" fmla="*/ 342850 w 2663946"/>
                <a:gd name="connsiteY1248" fmla="*/ 114289 h 349382"/>
                <a:gd name="connsiteX1249" fmla="*/ 340637 w 2663946"/>
                <a:gd name="connsiteY1249" fmla="*/ 109963 h 349382"/>
                <a:gd name="connsiteX1250" fmla="*/ 339408 w 2663946"/>
                <a:gd name="connsiteY1250" fmla="*/ 106988 h 349382"/>
                <a:gd name="connsiteX1251" fmla="*/ 338425 w 2663946"/>
                <a:gd name="connsiteY1251" fmla="*/ 103744 h 349382"/>
                <a:gd name="connsiteX1252" fmla="*/ 337196 w 2663946"/>
                <a:gd name="connsiteY1252" fmla="*/ 98066 h 349382"/>
                <a:gd name="connsiteX1253" fmla="*/ 336950 w 2663946"/>
                <a:gd name="connsiteY1253" fmla="*/ 95092 h 349382"/>
                <a:gd name="connsiteX1254" fmla="*/ 337196 w 2663946"/>
                <a:gd name="connsiteY1254" fmla="*/ 95362 h 349382"/>
                <a:gd name="connsiteX1255" fmla="*/ 337196 w 2663946"/>
                <a:gd name="connsiteY1255" fmla="*/ 89684 h 349382"/>
                <a:gd name="connsiteX1256" fmla="*/ 337196 w 2663946"/>
                <a:gd name="connsiteY1256" fmla="*/ 89414 h 349382"/>
                <a:gd name="connsiteX1257" fmla="*/ 337687 w 2663946"/>
                <a:gd name="connsiteY1257" fmla="*/ 84817 h 349382"/>
                <a:gd name="connsiteX1258" fmla="*/ 338917 w 2663946"/>
                <a:gd name="connsiteY1258" fmla="*/ 79410 h 349382"/>
                <a:gd name="connsiteX1259" fmla="*/ 339900 w 2663946"/>
                <a:gd name="connsiteY1259" fmla="*/ 76165 h 349382"/>
                <a:gd name="connsiteX1260" fmla="*/ 342112 w 2663946"/>
                <a:gd name="connsiteY1260" fmla="*/ 71028 h 349382"/>
                <a:gd name="connsiteX1261" fmla="*/ 344324 w 2663946"/>
                <a:gd name="connsiteY1261" fmla="*/ 67243 h 349382"/>
                <a:gd name="connsiteX1262" fmla="*/ 346536 w 2663946"/>
                <a:gd name="connsiteY1262" fmla="*/ 64268 h 349382"/>
                <a:gd name="connsiteX1263" fmla="*/ 348749 w 2663946"/>
                <a:gd name="connsiteY1263" fmla="*/ 61835 h 349382"/>
                <a:gd name="connsiteX1264" fmla="*/ 353419 w 2663946"/>
                <a:gd name="connsiteY1264" fmla="*/ 58050 h 349382"/>
                <a:gd name="connsiteX1265" fmla="*/ 357352 w 2663946"/>
                <a:gd name="connsiteY1265" fmla="*/ 55887 h 349382"/>
                <a:gd name="connsiteX1266" fmla="*/ 366938 w 2663946"/>
                <a:gd name="connsiteY1266" fmla="*/ 53453 h 349382"/>
                <a:gd name="connsiteX1267" fmla="*/ 123893 w 2663946"/>
                <a:gd name="connsiteY1267" fmla="*/ 53453 h 349382"/>
                <a:gd name="connsiteX1268" fmla="*/ 136183 w 2663946"/>
                <a:gd name="connsiteY1268" fmla="*/ 55616 h 349382"/>
                <a:gd name="connsiteX1269" fmla="*/ 143557 w 2663946"/>
                <a:gd name="connsiteY1269" fmla="*/ 60213 h 349382"/>
                <a:gd name="connsiteX1270" fmla="*/ 146998 w 2663946"/>
                <a:gd name="connsiteY1270" fmla="*/ 63457 h 349382"/>
                <a:gd name="connsiteX1271" fmla="*/ 150439 w 2663946"/>
                <a:gd name="connsiteY1271" fmla="*/ 67783 h 349382"/>
                <a:gd name="connsiteX1272" fmla="*/ 152406 w 2663946"/>
                <a:gd name="connsiteY1272" fmla="*/ 71298 h 349382"/>
                <a:gd name="connsiteX1273" fmla="*/ 154618 w 2663946"/>
                <a:gd name="connsiteY1273" fmla="*/ 76706 h 349382"/>
                <a:gd name="connsiteX1274" fmla="*/ 155601 w 2663946"/>
                <a:gd name="connsiteY1274" fmla="*/ 80221 h 349382"/>
                <a:gd name="connsiteX1275" fmla="*/ 156584 w 2663946"/>
                <a:gd name="connsiteY1275" fmla="*/ 85358 h 349382"/>
                <a:gd name="connsiteX1276" fmla="*/ 156339 w 2663946"/>
                <a:gd name="connsiteY1276" fmla="*/ 99688 h 349382"/>
                <a:gd name="connsiteX1277" fmla="*/ 155355 w 2663946"/>
                <a:gd name="connsiteY1277" fmla="*/ 104555 h 349382"/>
                <a:gd name="connsiteX1278" fmla="*/ 154126 w 2663946"/>
                <a:gd name="connsiteY1278" fmla="*/ 108340 h 349382"/>
                <a:gd name="connsiteX1279" fmla="*/ 153143 w 2663946"/>
                <a:gd name="connsiteY1279" fmla="*/ 110774 h 349382"/>
                <a:gd name="connsiteX1280" fmla="*/ 150931 w 2663946"/>
                <a:gd name="connsiteY1280" fmla="*/ 115100 h 349382"/>
                <a:gd name="connsiteX1281" fmla="*/ 148719 w 2663946"/>
                <a:gd name="connsiteY1281" fmla="*/ 118344 h 349382"/>
                <a:gd name="connsiteX1282" fmla="*/ 145277 w 2663946"/>
                <a:gd name="connsiteY1282" fmla="*/ 122130 h 349382"/>
                <a:gd name="connsiteX1283" fmla="*/ 142082 w 2663946"/>
                <a:gd name="connsiteY1283" fmla="*/ 124833 h 349382"/>
                <a:gd name="connsiteX1284" fmla="*/ 136428 w 2663946"/>
                <a:gd name="connsiteY1284" fmla="*/ 128078 h 349382"/>
                <a:gd name="connsiteX1285" fmla="*/ 128563 w 2663946"/>
                <a:gd name="connsiteY1285" fmla="*/ 130241 h 349382"/>
                <a:gd name="connsiteX1286" fmla="*/ 127334 w 2663946"/>
                <a:gd name="connsiteY1286" fmla="*/ 130512 h 349382"/>
                <a:gd name="connsiteX1287" fmla="*/ 123155 w 2663946"/>
                <a:gd name="connsiteY1287" fmla="*/ 130512 h 349382"/>
                <a:gd name="connsiteX1288" fmla="*/ 122909 w 2663946"/>
                <a:gd name="connsiteY1288" fmla="*/ 130512 h 349382"/>
                <a:gd name="connsiteX1289" fmla="*/ 109882 w 2663946"/>
                <a:gd name="connsiteY1289" fmla="*/ 125645 h 349382"/>
                <a:gd name="connsiteX1290" fmla="*/ 105211 w 2663946"/>
                <a:gd name="connsiteY1290" fmla="*/ 121589 h 349382"/>
                <a:gd name="connsiteX1291" fmla="*/ 102016 w 2663946"/>
                <a:gd name="connsiteY1291" fmla="*/ 117804 h 349382"/>
                <a:gd name="connsiteX1292" fmla="*/ 99804 w 2663946"/>
                <a:gd name="connsiteY1292" fmla="*/ 114289 h 349382"/>
                <a:gd name="connsiteX1293" fmla="*/ 97591 w 2663946"/>
                <a:gd name="connsiteY1293" fmla="*/ 109963 h 349382"/>
                <a:gd name="connsiteX1294" fmla="*/ 96362 w 2663946"/>
                <a:gd name="connsiteY1294" fmla="*/ 106988 h 349382"/>
                <a:gd name="connsiteX1295" fmla="*/ 95379 w 2663946"/>
                <a:gd name="connsiteY1295" fmla="*/ 103744 h 349382"/>
                <a:gd name="connsiteX1296" fmla="*/ 94150 w 2663946"/>
                <a:gd name="connsiteY1296" fmla="*/ 98066 h 349382"/>
                <a:gd name="connsiteX1297" fmla="*/ 93904 w 2663946"/>
                <a:gd name="connsiteY1297" fmla="*/ 95092 h 349382"/>
                <a:gd name="connsiteX1298" fmla="*/ 94150 w 2663946"/>
                <a:gd name="connsiteY1298" fmla="*/ 95362 h 349382"/>
                <a:gd name="connsiteX1299" fmla="*/ 94150 w 2663946"/>
                <a:gd name="connsiteY1299" fmla="*/ 89684 h 349382"/>
                <a:gd name="connsiteX1300" fmla="*/ 94150 w 2663946"/>
                <a:gd name="connsiteY1300" fmla="*/ 89414 h 349382"/>
                <a:gd name="connsiteX1301" fmla="*/ 94642 w 2663946"/>
                <a:gd name="connsiteY1301" fmla="*/ 84817 h 349382"/>
                <a:gd name="connsiteX1302" fmla="*/ 95871 w 2663946"/>
                <a:gd name="connsiteY1302" fmla="*/ 79410 h 349382"/>
                <a:gd name="connsiteX1303" fmla="*/ 96854 w 2663946"/>
                <a:gd name="connsiteY1303" fmla="*/ 76165 h 349382"/>
                <a:gd name="connsiteX1304" fmla="*/ 99066 w 2663946"/>
                <a:gd name="connsiteY1304" fmla="*/ 71028 h 349382"/>
                <a:gd name="connsiteX1305" fmla="*/ 101279 w 2663946"/>
                <a:gd name="connsiteY1305" fmla="*/ 67243 h 349382"/>
                <a:gd name="connsiteX1306" fmla="*/ 103491 w 2663946"/>
                <a:gd name="connsiteY1306" fmla="*/ 64268 h 349382"/>
                <a:gd name="connsiteX1307" fmla="*/ 105703 w 2663946"/>
                <a:gd name="connsiteY1307" fmla="*/ 61835 h 349382"/>
                <a:gd name="connsiteX1308" fmla="*/ 110373 w 2663946"/>
                <a:gd name="connsiteY1308" fmla="*/ 58050 h 349382"/>
                <a:gd name="connsiteX1309" fmla="*/ 114306 w 2663946"/>
                <a:gd name="connsiteY1309" fmla="*/ 55887 h 349382"/>
                <a:gd name="connsiteX1310" fmla="*/ 123893 w 2663946"/>
                <a:gd name="connsiteY1310" fmla="*/ 53453 h 349382"/>
                <a:gd name="connsiteX1311" fmla="*/ 33147 w 2663946"/>
                <a:gd name="connsiteY1311" fmla="*/ 52815 h 349382"/>
                <a:gd name="connsiteX1312" fmla="*/ 57942 w 2663946"/>
                <a:gd name="connsiteY1312" fmla="*/ 73024 h 349382"/>
                <a:gd name="connsiteX1313" fmla="*/ 58422 w 2663946"/>
                <a:gd name="connsiteY1313" fmla="*/ 77782 h 349382"/>
                <a:gd name="connsiteX1314" fmla="*/ 59840 w 2663946"/>
                <a:gd name="connsiteY1314" fmla="*/ 77782 h 349382"/>
                <a:gd name="connsiteX1315" fmla="*/ 66294 w 2663946"/>
                <a:gd name="connsiteY1315" fmla="*/ 84068 h 349382"/>
                <a:gd name="connsiteX1316" fmla="*/ 66294 w 2663946"/>
                <a:gd name="connsiteY1316" fmla="*/ 133790 h 349382"/>
                <a:gd name="connsiteX1317" fmla="*/ 59840 w 2663946"/>
                <a:gd name="connsiteY1317" fmla="*/ 140076 h 349382"/>
                <a:gd name="connsiteX1318" fmla="*/ 6453 w 2663946"/>
                <a:gd name="connsiteY1318" fmla="*/ 140076 h 349382"/>
                <a:gd name="connsiteX1319" fmla="*/ 0 w 2663946"/>
                <a:gd name="connsiteY1319" fmla="*/ 133790 h 349382"/>
                <a:gd name="connsiteX1320" fmla="*/ 0 w 2663946"/>
                <a:gd name="connsiteY1320" fmla="*/ 84068 h 349382"/>
                <a:gd name="connsiteX1321" fmla="*/ 6453 w 2663946"/>
                <a:gd name="connsiteY1321" fmla="*/ 77782 h 349382"/>
                <a:gd name="connsiteX1322" fmla="*/ 7288 w 2663946"/>
                <a:gd name="connsiteY1322" fmla="*/ 77782 h 349382"/>
                <a:gd name="connsiteX1323" fmla="*/ 7872 w 2663946"/>
                <a:gd name="connsiteY1323" fmla="*/ 77782 h 349382"/>
                <a:gd name="connsiteX1324" fmla="*/ 8351 w 2663946"/>
                <a:gd name="connsiteY1324" fmla="*/ 73024 h 349382"/>
                <a:gd name="connsiteX1325" fmla="*/ 33147 w 2663946"/>
                <a:gd name="connsiteY1325" fmla="*/ 52815 h 349382"/>
                <a:gd name="connsiteX1326" fmla="*/ 2537931 w 2663946"/>
                <a:gd name="connsiteY1326" fmla="*/ 45227 h 349382"/>
                <a:gd name="connsiteX1327" fmla="*/ 2562727 w 2663946"/>
                <a:gd name="connsiteY1327" fmla="*/ 65436 h 349382"/>
                <a:gd name="connsiteX1328" fmla="*/ 2563206 w 2663946"/>
                <a:gd name="connsiteY1328" fmla="*/ 70194 h 349382"/>
                <a:gd name="connsiteX1329" fmla="*/ 2564625 w 2663946"/>
                <a:gd name="connsiteY1329" fmla="*/ 70194 h 349382"/>
                <a:gd name="connsiteX1330" fmla="*/ 2571078 w 2663946"/>
                <a:gd name="connsiteY1330" fmla="*/ 76480 h 349382"/>
                <a:gd name="connsiteX1331" fmla="*/ 2571078 w 2663946"/>
                <a:gd name="connsiteY1331" fmla="*/ 126202 h 349382"/>
                <a:gd name="connsiteX1332" fmla="*/ 2564625 w 2663946"/>
                <a:gd name="connsiteY1332" fmla="*/ 132488 h 349382"/>
                <a:gd name="connsiteX1333" fmla="*/ 2511238 w 2663946"/>
                <a:gd name="connsiteY1333" fmla="*/ 132488 h 349382"/>
                <a:gd name="connsiteX1334" fmla="*/ 2504784 w 2663946"/>
                <a:gd name="connsiteY1334" fmla="*/ 126202 h 349382"/>
                <a:gd name="connsiteX1335" fmla="*/ 2504784 w 2663946"/>
                <a:gd name="connsiteY1335" fmla="*/ 76480 h 349382"/>
                <a:gd name="connsiteX1336" fmla="*/ 2511238 w 2663946"/>
                <a:gd name="connsiteY1336" fmla="*/ 70194 h 349382"/>
                <a:gd name="connsiteX1337" fmla="*/ 2512072 w 2663946"/>
                <a:gd name="connsiteY1337" fmla="*/ 70194 h 349382"/>
                <a:gd name="connsiteX1338" fmla="*/ 2512656 w 2663946"/>
                <a:gd name="connsiteY1338" fmla="*/ 70194 h 349382"/>
                <a:gd name="connsiteX1339" fmla="*/ 2513136 w 2663946"/>
                <a:gd name="connsiteY1339" fmla="*/ 65436 h 349382"/>
                <a:gd name="connsiteX1340" fmla="*/ 2537931 w 2663946"/>
                <a:gd name="connsiteY1340" fmla="*/ 45227 h 349382"/>
                <a:gd name="connsiteX1341" fmla="*/ 2112934 w 2663946"/>
                <a:gd name="connsiteY1341" fmla="*/ 45227 h 349382"/>
                <a:gd name="connsiteX1342" fmla="*/ 2137730 w 2663946"/>
                <a:gd name="connsiteY1342" fmla="*/ 65436 h 349382"/>
                <a:gd name="connsiteX1343" fmla="*/ 2138209 w 2663946"/>
                <a:gd name="connsiteY1343" fmla="*/ 70194 h 349382"/>
                <a:gd name="connsiteX1344" fmla="*/ 2139628 w 2663946"/>
                <a:gd name="connsiteY1344" fmla="*/ 70194 h 349382"/>
                <a:gd name="connsiteX1345" fmla="*/ 2146081 w 2663946"/>
                <a:gd name="connsiteY1345" fmla="*/ 76480 h 349382"/>
                <a:gd name="connsiteX1346" fmla="*/ 2146081 w 2663946"/>
                <a:gd name="connsiteY1346" fmla="*/ 126202 h 349382"/>
                <a:gd name="connsiteX1347" fmla="*/ 2139628 w 2663946"/>
                <a:gd name="connsiteY1347" fmla="*/ 132488 h 349382"/>
                <a:gd name="connsiteX1348" fmla="*/ 2086241 w 2663946"/>
                <a:gd name="connsiteY1348" fmla="*/ 132488 h 349382"/>
                <a:gd name="connsiteX1349" fmla="*/ 2079787 w 2663946"/>
                <a:gd name="connsiteY1349" fmla="*/ 126202 h 349382"/>
                <a:gd name="connsiteX1350" fmla="*/ 2079787 w 2663946"/>
                <a:gd name="connsiteY1350" fmla="*/ 76480 h 349382"/>
                <a:gd name="connsiteX1351" fmla="*/ 2086241 w 2663946"/>
                <a:gd name="connsiteY1351" fmla="*/ 70194 h 349382"/>
                <a:gd name="connsiteX1352" fmla="*/ 2087075 w 2663946"/>
                <a:gd name="connsiteY1352" fmla="*/ 70194 h 349382"/>
                <a:gd name="connsiteX1353" fmla="*/ 2087659 w 2663946"/>
                <a:gd name="connsiteY1353" fmla="*/ 70194 h 349382"/>
                <a:gd name="connsiteX1354" fmla="*/ 2088139 w 2663946"/>
                <a:gd name="connsiteY1354" fmla="*/ 65436 h 349382"/>
                <a:gd name="connsiteX1355" fmla="*/ 2112934 w 2663946"/>
                <a:gd name="connsiteY1355" fmla="*/ 45227 h 349382"/>
                <a:gd name="connsiteX1356" fmla="*/ 1854966 w 2663946"/>
                <a:gd name="connsiteY1356" fmla="*/ 45227 h 349382"/>
                <a:gd name="connsiteX1357" fmla="*/ 1879762 w 2663946"/>
                <a:gd name="connsiteY1357" fmla="*/ 65436 h 349382"/>
                <a:gd name="connsiteX1358" fmla="*/ 1880241 w 2663946"/>
                <a:gd name="connsiteY1358" fmla="*/ 70194 h 349382"/>
                <a:gd name="connsiteX1359" fmla="*/ 1881660 w 2663946"/>
                <a:gd name="connsiteY1359" fmla="*/ 70194 h 349382"/>
                <a:gd name="connsiteX1360" fmla="*/ 1888113 w 2663946"/>
                <a:gd name="connsiteY1360" fmla="*/ 76480 h 349382"/>
                <a:gd name="connsiteX1361" fmla="*/ 1888113 w 2663946"/>
                <a:gd name="connsiteY1361" fmla="*/ 126202 h 349382"/>
                <a:gd name="connsiteX1362" fmla="*/ 1881660 w 2663946"/>
                <a:gd name="connsiteY1362" fmla="*/ 132488 h 349382"/>
                <a:gd name="connsiteX1363" fmla="*/ 1828273 w 2663946"/>
                <a:gd name="connsiteY1363" fmla="*/ 132488 h 349382"/>
                <a:gd name="connsiteX1364" fmla="*/ 1821819 w 2663946"/>
                <a:gd name="connsiteY1364" fmla="*/ 126202 h 349382"/>
                <a:gd name="connsiteX1365" fmla="*/ 1821819 w 2663946"/>
                <a:gd name="connsiteY1365" fmla="*/ 76480 h 349382"/>
                <a:gd name="connsiteX1366" fmla="*/ 1828273 w 2663946"/>
                <a:gd name="connsiteY1366" fmla="*/ 70194 h 349382"/>
                <a:gd name="connsiteX1367" fmla="*/ 1829107 w 2663946"/>
                <a:gd name="connsiteY1367" fmla="*/ 70194 h 349382"/>
                <a:gd name="connsiteX1368" fmla="*/ 1829691 w 2663946"/>
                <a:gd name="connsiteY1368" fmla="*/ 70194 h 349382"/>
                <a:gd name="connsiteX1369" fmla="*/ 1830171 w 2663946"/>
                <a:gd name="connsiteY1369" fmla="*/ 65436 h 349382"/>
                <a:gd name="connsiteX1370" fmla="*/ 1854966 w 2663946"/>
                <a:gd name="connsiteY1370" fmla="*/ 45227 h 349382"/>
                <a:gd name="connsiteX1371" fmla="*/ 1764027 w 2663946"/>
                <a:gd name="connsiteY1371" fmla="*/ 45227 h 349382"/>
                <a:gd name="connsiteX1372" fmla="*/ 1788823 w 2663946"/>
                <a:gd name="connsiteY1372" fmla="*/ 65436 h 349382"/>
                <a:gd name="connsiteX1373" fmla="*/ 1789302 w 2663946"/>
                <a:gd name="connsiteY1373" fmla="*/ 70194 h 349382"/>
                <a:gd name="connsiteX1374" fmla="*/ 1790721 w 2663946"/>
                <a:gd name="connsiteY1374" fmla="*/ 70194 h 349382"/>
                <a:gd name="connsiteX1375" fmla="*/ 1797174 w 2663946"/>
                <a:gd name="connsiteY1375" fmla="*/ 76480 h 349382"/>
                <a:gd name="connsiteX1376" fmla="*/ 1797174 w 2663946"/>
                <a:gd name="connsiteY1376" fmla="*/ 126202 h 349382"/>
                <a:gd name="connsiteX1377" fmla="*/ 1790721 w 2663946"/>
                <a:gd name="connsiteY1377" fmla="*/ 132488 h 349382"/>
                <a:gd name="connsiteX1378" fmla="*/ 1737333 w 2663946"/>
                <a:gd name="connsiteY1378" fmla="*/ 132488 h 349382"/>
                <a:gd name="connsiteX1379" fmla="*/ 1730880 w 2663946"/>
                <a:gd name="connsiteY1379" fmla="*/ 126202 h 349382"/>
                <a:gd name="connsiteX1380" fmla="*/ 1730880 w 2663946"/>
                <a:gd name="connsiteY1380" fmla="*/ 76480 h 349382"/>
                <a:gd name="connsiteX1381" fmla="*/ 1737333 w 2663946"/>
                <a:gd name="connsiteY1381" fmla="*/ 70194 h 349382"/>
                <a:gd name="connsiteX1382" fmla="*/ 1738168 w 2663946"/>
                <a:gd name="connsiteY1382" fmla="*/ 70194 h 349382"/>
                <a:gd name="connsiteX1383" fmla="*/ 1738752 w 2663946"/>
                <a:gd name="connsiteY1383" fmla="*/ 70194 h 349382"/>
                <a:gd name="connsiteX1384" fmla="*/ 1739232 w 2663946"/>
                <a:gd name="connsiteY1384" fmla="*/ 65436 h 349382"/>
                <a:gd name="connsiteX1385" fmla="*/ 1764027 w 2663946"/>
                <a:gd name="connsiteY1385" fmla="*/ 45227 h 349382"/>
                <a:gd name="connsiteX1386" fmla="*/ 1506059 w 2663946"/>
                <a:gd name="connsiteY1386" fmla="*/ 45227 h 349382"/>
                <a:gd name="connsiteX1387" fmla="*/ 1530855 w 2663946"/>
                <a:gd name="connsiteY1387" fmla="*/ 65436 h 349382"/>
                <a:gd name="connsiteX1388" fmla="*/ 1531334 w 2663946"/>
                <a:gd name="connsiteY1388" fmla="*/ 70194 h 349382"/>
                <a:gd name="connsiteX1389" fmla="*/ 1532753 w 2663946"/>
                <a:gd name="connsiteY1389" fmla="*/ 70194 h 349382"/>
                <a:gd name="connsiteX1390" fmla="*/ 1539206 w 2663946"/>
                <a:gd name="connsiteY1390" fmla="*/ 76480 h 349382"/>
                <a:gd name="connsiteX1391" fmla="*/ 1539206 w 2663946"/>
                <a:gd name="connsiteY1391" fmla="*/ 126202 h 349382"/>
                <a:gd name="connsiteX1392" fmla="*/ 1532753 w 2663946"/>
                <a:gd name="connsiteY1392" fmla="*/ 132488 h 349382"/>
                <a:gd name="connsiteX1393" fmla="*/ 1479365 w 2663946"/>
                <a:gd name="connsiteY1393" fmla="*/ 132488 h 349382"/>
                <a:gd name="connsiteX1394" fmla="*/ 1472912 w 2663946"/>
                <a:gd name="connsiteY1394" fmla="*/ 126202 h 349382"/>
                <a:gd name="connsiteX1395" fmla="*/ 1472912 w 2663946"/>
                <a:gd name="connsiteY1395" fmla="*/ 76480 h 349382"/>
                <a:gd name="connsiteX1396" fmla="*/ 1479365 w 2663946"/>
                <a:gd name="connsiteY1396" fmla="*/ 70194 h 349382"/>
                <a:gd name="connsiteX1397" fmla="*/ 1480200 w 2663946"/>
                <a:gd name="connsiteY1397" fmla="*/ 70194 h 349382"/>
                <a:gd name="connsiteX1398" fmla="*/ 1480784 w 2663946"/>
                <a:gd name="connsiteY1398" fmla="*/ 70194 h 349382"/>
                <a:gd name="connsiteX1399" fmla="*/ 1481264 w 2663946"/>
                <a:gd name="connsiteY1399" fmla="*/ 65436 h 349382"/>
                <a:gd name="connsiteX1400" fmla="*/ 1506059 w 2663946"/>
                <a:gd name="connsiteY1400" fmla="*/ 45227 h 349382"/>
                <a:gd name="connsiteX1401" fmla="*/ 1415120 w 2663946"/>
                <a:gd name="connsiteY1401" fmla="*/ 45227 h 349382"/>
                <a:gd name="connsiteX1402" fmla="*/ 1439916 w 2663946"/>
                <a:gd name="connsiteY1402" fmla="*/ 65436 h 349382"/>
                <a:gd name="connsiteX1403" fmla="*/ 1440395 w 2663946"/>
                <a:gd name="connsiteY1403" fmla="*/ 70194 h 349382"/>
                <a:gd name="connsiteX1404" fmla="*/ 1441814 w 2663946"/>
                <a:gd name="connsiteY1404" fmla="*/ 70194 h 349382"/>
                <a:gd name="connsiteX1405" fmla="*/ 1448267 w 2663946"/>
                <a:gd name="connsiteY1405" fmla="*/ 76480 h 349382"/>
                <a:gd name="connsiteX1406" fmla="*/ 1448267 w 2663946"/>
                <a:gd name="connsiteY1406" fmla="*/ 126202 h 349382"/>
                <a:gd name="connsiteX1407" fmla="*/ 1441814 w 2663946"/>
                <a:gd name="connsiteY1407" fmla="*/ 132488 h 349382"/>
                <a:gd name="connsiteX1408" fmla="*/ 1388426 w 2663946"/>
                <a:gd name="connsiteY1408" fmla="*/ 132488 h 349382"/>
                <a:gd name="connsiteX1409" fmla="*/ 1381973 w 2663946"/>
                <a:gd name="connsiteY1409" fmla="*/ 126202 h 349382"/>
                <a:gd name="connsiteX1410" fmla="*/ 1381973 w 2663946"/>
                <a:gd name="connsiteY1410" fmla="*/ 76480 h 349382"/>
                <a:gd name="connsiteX1411" fmla="*/ 1388426 w 2663946"/>
                <a:gd name="connsiteY1411" fmla="*/ 70194 h 349382"/>
                <a:gd name="connsiteX1412" fmla="*/ 1389261 w 2663946"/>
                <a:gd name="connsiteY1412" fmla="*/ 70194 h 349382"/>
                <a:gd name="connsiteX1413" fmla="*/ 1389845 w 2663946"/>
                <a:gd name="connsiteY1413" fmla="*/ 70194 h 349382"/>
                <a:gd name="connsiteX1414" fmla="*/ 1390325 w 2663946"/>
                <a:gd name="connsiteY1414" fmla="*/ 65436 h 349382"/>
                <a:gd name="connsiteX1415" fmla="*/ 1415120 w 2663946"/>
                <a:gd name="connsiteY1415" fmla="*/ 45227 h 349382"/>
                <a:gd name="connsiteX1416" fmla="*/ 1157152 w 2663946"/>
                <a:gd name="connsiteY1416" fmla="*/ 45227 h 349382"/>
                <a:gd name="connsiteX1417" fmla="*/ 1181948 w 2663946"/>
                <a:gd name="connsiteY1417" fmla="*/ 65436 h 349382"/>
                <a:gd name="connsiteX1418" fmla="*/ 1182427 w 2663946"/>
                <a:gd name="connsiteY1418" fmla="*/ 70194 h 349382"/>
                <a:gd name="connsiteX1419" fmla="*/ 1183846 w 2663946"/>
                <a:gd name="connsiteY1419" fmla="*/ 70194 h 349382"/>
                <a:gd name="connsiteX1420" fmla="*/ 1190299 w 2663946"/>
                <a:gd name="connsiteY1420" fmla="*/ 76480 h 349382"/>
                <a:gd name="connsiteX1421" fmla="*/ 1190299 w 2663946"/>
                <a:gd name="connsiteY1421" fmla="*/ 126202 h 349382"/>
                <a:gd name="connsiteX1422" fmla="*/ 1183846 w 2663946"/>
                <a:gd name="connsiteY1422" fmla="*/ 132488 h 349382"/>
                <a:gd name="connsiteX1423" fmla="*/ 1130458 w 2663946"/>
                <a:gd name="connsiteY1423" fmla="*/ 132488 h 349382"/>
                <a:gd name="connsiteX1424" fmla="*/ 1124005 w 2663946"/>
                <a:gd name="connsiteY1424" fmla="*/ 126202 h 349382"/>
                <a:gd name="connsiteX1425" fmla="*/ 1124005 w 2663946"/>
                <a:gd name="connsiteY1425" fmla="*/ 76480 h 349382"/>
                <a:gd name="connsiteX1426" fmla="*/ 1130458 w 2663946"/>
                <a:gd name="connsiteY1426" fmla="*/ 70194 h 349382"/>
                <a:gd name="connsiteX1427" fmla="*/ 1131293 w 2663946"/>
                <a:gd name="connsiteY1427" fmla="*/ 70194 h 349382"/>
                <a:gd name="connsiteX1428" fmla="*/ 1131877 w 2663946"/>
                <a:gd name="connsiteY1428" fmla="*/ 70194 h 349382"/>
                <a:gd name="connsiteX1429" fmla="*/ 1132357 w 2663946"/>
                <a:gd name="connsiteY1429" fmla="*/ 65436 h 349382"/>
                <a:gd name="connsiteX1430" fmla="*/ 1157152 w 2663946"/>
                <a:gd name="connsiteY1430" fmla="*/ 45227 h 349382"/>
                <a:gd name="connsiteX1431" fmla="*/ 732156 w 2663946"/>
                <a:gd name="connsiteY1431" fmla="*/ 45227 h 349382"/>
                <a:gd name="connsiteX1432" fmla="*/ 756951 w 2663946"/>
                <a:gd name="connsiteY1432" fmla="*/ 65436 h 349382"/>
                <a:gd name="connsiteX1433" fmla="*/ 757431 w 2663946"/>
                <a:gd name="connsiteY1433" fmla="*/ 70194 h 349382"/>
                <a:gd name="connsiteX1434" fmla="*/ 758849 w 2663946"/>
                <a:gd name="connsiteY1434" fmla="*/ 70194 h 349382"/>
                <a:gd name="connsiteX1435" fmla="*/ 765303 w 2663946"/>
                <a:gd name="connsiteY1435" fmla="*/ 76480 h 349382"/>
                <a:gd name="connsiteX1436" fmla="*/ 765303 w 2663946"/>
                <a:gd name="connsiteY1436" fmla="*/ 126202 h 349382"/>
                <a:gd name="connsiteX1437" fmla="*/ 758849 w 2663946"/>
                <a:gd name="connsiteY1437" fmla="*/ 132488 h 349382"/>
                <a:gd name="connsiteX1438" fmla="*/ 705462 w 2663946"/>
                <a:gd name="connsiteY1438" fmla="*/ 132488 h 349382"/>
                <a:gd name="connsiteX1439" fmla="*/ 699009 w 2663946"/>
                <a:gd name="connsiteY1439" fmla="*/ 126202 h 349382"/>
                <a:gd name="connsiteX1440" fmla="*/ 699009 w 2663946"/>
                <a:gd name="connsiteY1440" fmla="*/ 76480 h 349382"/>
                <a:gd name="connsiteX1441" fmla="*/ 705462 w 2663946"/>
                <a:gd name="connsiteY1441" fmla="*/ 70194 h 349382"/>
                <a:gd name="connsiteX1442" fmla="*/ 706296 w 2663946"/>
                <a:gd name="connsiteY1442" fmla="*/ 70194 h 349382"/>
                <a:gd name="connsiteX1443" fmla="*/ 706881 w 2663946"/>
                <a:gd name="connsiteY1443" fmla="*/ 70194 h 349382"/>
                <a:gd name="connsiteX1444" fmla="*/ 707360 w 2663946"/>
                <a:gd name="connsiteY1444" fmla="*/ 65436 h 349382"/>
                <a:gd name="connsiteX1445" fmla="*/ 732156 w 2663946"/>
                <a:gd name="connsiteY1445" fmla="*/ 45227 h 349382"/>
                <a:gd name="connsiteX1446" fmla="*/ 641217 w 2663946"/>
                <a:gd name="connsiteY1446" fmla="*/ 45227 h 349382"/>
                <a:gd name="connsiteX1447" fmla="*/ 666012 w 2663946"/>
                <a:gd name="connsiteY1447" fmla="*/ 65436 h 349382"/>
                <a:gd name="connsiteX1448" fmla="*/ 666492 w 2663946"/>
                <a:gd name="connsiteY1448" fmla="*/ 70194 h 349382"/>
                <a:gd name="connsiteX1449" fmla="*/ 667910 w 2663946"/>
                <a:gd name="connsiteY1449" fmla="*/ 70194 h 349382"/>
                <a:gd name="connsiteX1450" fmla="*/ 674364 w 2663946"/>
                <a:gd name="connsiteY1450" fmla="*/ 76480 h 349382"/>
                <a:gd name="connsiteX1451" fmla="*/ 674364 w 2663946"/>
                <a:gd name="connsiteY1451" fmla="*/ 126202 h 349382"/>
                <a:gd name="connsiteX1452" fmla="*/ 667910 w 2663946"/>
                <a:gd name="connsiteY1452" fmla="*/ 132488 h 349382"/>
                <a:gd name="connsiteX1453" fmla="*/ 614523 w 2663946"/>
                <a:gd name="connsiteY1453" fmla="*/ 132488 h 349382"/>
                <a:gd name="connsiteX1454" fmla="*/ 608070 w 2663946"/>
                <a:gd name="connsiteY1454" fmla="*/ 126202 h 349382"/>
                <a:gd name="connsiteX1455" fmla="*/ 608070 w 2663946"/>
                <a:gd name="connsiteY1455" fmla="*/ 76480 h 349382"/>
                <a:gd name="connsiteX1456" fmla="*/ 614523 w 2663946"/>
                <a:gd name="connsiteY1456" fmla="*/ 70194 h 349382"/>
                <a:gd name="connsiteX1457" fmla="*/ 615358 w 2663946"/>
                <a:gd name="connsiteY1457" fmla="*/ 70194 h 349382"/>
                <a:gd name="connsiteX1458" fmla="*/ 615942 w 2663946"/>
                <a:gd name="connsiteY1458" fmla="*/ 70194 h 349382"/>
                <a:gd name="connsiteX1459" fmla="*/ 616422 w 2663946"/>
                <a:gd name="connsiteY1459" fmla="*/ 65436 h 349382"/>
                <a:gd name="connsiteX1460" fmla="*/ 641217 w 2663946"/>
                <a:gd name="connsiteY1460" fmla="*/ 45227 h 349382"/>
                <a:gd name="connsiteX1461" fmla="*/ 459266 w 2663946"/>
                <a:gd name="connsiteY1461" fmla="*/ 45227 h 349382"/>
                <a:gd name="connsiteX1462" fmla="*/ 484061 w 2663946"/>
                <a:gd name="connsiteY1462" fmla="*/ 65436 h 349382"/>
                <a:gd name="connsiteX1463" fmla="*/ 484541 w 2663946"/>
                <a:gd name="connsiteY1463" fmla="*/ 70194 h 349382"/>
                <a:gd name="connsiteX1464" fmla="*/ 485959 w 2663946"/>
                <a:gd name="connsiteY1464" fmla="*/ 70194 h 349382"/>
                <a:gd name="connsiteX1465" fmla="*/ 492413 w 2663946"/>
                <a:gd name="connsiteY1465" fmla="*/ 76480 h 349382"/>
                <a:gd name="connsiteX1466" fmla="*/ 492413 w 2663946"/>
                <a:gd name="connsiteY1466" fmla="*/ 126202 h 349382"/>
                <a:gd name="connsiteX1467" fmla="*/ 485959 w 2663946"/>
                <a:gd name="connsiteY1467" fmla="*/ 132488 h 349382"/>
                <a:gd name="connsiteX1468" fmla="*/ 432572 w 2663946"/>
                <a:gd name="connsiteY1468" fmla="*/ 132488 h 349382"/>
                <a:gd name="connsiteX1469" fmla="*/ 426119 w 2663946"/>
                <a:gd name="connsiteY1469" fmla="*/ 126202 h 349382"/>
                <a:gd name="connsiteX1470" fmla="*/ 426119 w 2663946"/>
                <a:gd name="connsiteY1470" fmla="*/ 76480 h 349382"/>
                <a:gd name="connsiteX1471" fmla="*/ 432572 w 2663946"/>
                <a:gd name="connsiteY1471" fmla="*/ 70194 h 349382"/>
                <a:gd name="connsiteX1472" fmla="*/ 433406 w 2663946"/>
                <a:gd name="connsiteY1472" fmla="*/ 70194 h 349382"/>
                <a:gd name="connsiteX1473" fmla="*/ 433991 w 2663946"/>
                <a:gd name="connsiteY1473" fmla="*/ 70194 h 349382"/>
                <a:gd name="connsiteX1474" fmla="*/ 434470 w 2663946"/>
                <a:gd name="connsiteY1474" fmla="*/ 65436 h 349382"/>
                <a:gd name="connsiteX1475" fmla="*/ 459266 w 2663946"/>
                <a:gd name="connsiteY1475" fmla="*/ 45227 h 349382"/>
                <a:gd name="connsiteX1476" fmla="*/ 15475 w 2663946"/>
                <a:gd name="connsiteY1476" fmla="*/ 17002 h 349382"/>
                <a:gd name="connsiteX1477" fmla="*/ 40350 w 2663946"/>
                <a:gd name="connsiteY1477" fmla="*/ 1050 h 349382"/>
                <a:gd name="connsiteX1478" fmla="*/ 40891 w 2663946"/>
                <a:gd name="connsiteY1478" fmla="*/ 1590 h 349382"/>
                <a:gd name="connsiteX1479" fmla="*/ 48191 w 2663946"/>
                <a:gd name="connsiteY1479" fmla="*/ 1590 h 349382"/>
                <a:gd name="connsiteX1480" fmla="*/ 52247 w 2663946"/>
                <a:gd name="connsiteY1480" fmla="*/ 2672 h 349382"/>
                <a:gd name="connsiteX1481" fmla="*/ 56032 w 2663946"/>
                <a:gd name="connsiteY1481" fmla="*/ 9431 h 349382"/>
                <a:gd name="connsiteX1482" fmla="*/ 53328 w 2663946"/>
                <a:gd name="connsiteY1482" fmla="*/ 15109 h 349382"/>
                <a:gd name="connsiteX1483" fmla="*/ 49273 w 2663946"/>
                <a:gd name="connsiteY1483" fmla="*/ 17002 h 349382"/>
                <a:gd name="connsiteX1484" fmla="*/ 49002 w 2663946"/>
                <a:gd name="connsiteY1484" fmla="*/ 17002 h 349382"/>
                <a:gd name="connsiteX1485" fmla="*/ 16016 w 2663946"/>
                <a:gd name="connsiteY1485" fmla="*/ 17002 h 349382"/>
                <a:gd name="connsiteX1486" fmla="*/ 15475 w 2663946"/>
                <a:gd name="connsiteY1486" fmla="*/ 17002 h 349382"/>
                <a:gd name="connsiteX0" fmla="*/ 2632966 w 2663946"/>
                <a:gd name="connsiteY0" fmla="*/ 288276 h 349382"/>
                <a:gd name="connsiteX1" fmla="*/ 2621414 w 2663946"/>
                <a:gd name="connsiteY1" fmla="*/ 290709 h 349382"/>
                <a:gd name="connsiteX2" fmla="*/ 2618218 w 2663946"/>
                <a:gd name="connsiteY2" fmla="*/ 294224 h 349382"/>
                <a:gd name="connsiteX3" fmla="*/ 2616006 w 2663946"/>
                <a:gd name="connsiteY3" fmla="*/ 298009 h 349382"/>
                <a:gd name="connsiteX4" fmla="*/ 2615023 w 2663946"/>
                <a:gd name="connsiteY4" fmla="*/ 300713 h 349382"/>
                <a:gd name="connsiteX5" fmla="*/ 2614039 w 2663946"/>
                <a:gd name="connsiteY5" fmla="*/ 304769 h 349382"/>
                <a:gd name="connsiteX6" fmla="*/ 2613056 w 2663946"/>
                <a:gd name="connsiteY6" fmla="*/ 311799 h 349382"/>
                <a:gd name="connsiteX7" fmla="*/ 2614039 w 2663946"/>
                <a:gd name="connsiteY7" fmla="*/ 319099 h 349382"/>
                <a:gd name="connsiteX8" fmla="*/ 2615269 w 2663946"/>
                <a:gd name="connsiteY8" fmla="*/ 322884 h 349382"/>
                <a:gd name="connsiteX9" fmla="*/ 2617481 w 2663946"/>
                <a:gd name="connsiteY9" fmla="*/ 327210 h 349382"/>
                <a:gd name="connsiteX10" fmla="*/ 2620922 w 2663946"/>
                <a:gd name="connsiteY10" fmla="*/ 331537 h 349382"/>
                <a:gd name="connsiteX11" fmla="*/ 2625346 w 2663946"/>
                <a:gd name="connsiteY11" fmla="*/ 334240 h 349382"/>
                <a:gd name="connsiteX12" fmla="*/ 2637637 w 2663946"/>
                <a:gd name="connsiteY12" fmla="*/ 331807 h 349382"/>
                <a:gd name="connsiteX13" fmla="*/ 2640832 w 2663946"/>
                <a:gd name="connsiteY13" fmla="*/ 328292 h 349382"/>
                <a:gd name="connsiteX14" fmla="*/ 2643290 w 2663946"/>
                <a:gd name="connsiteY14" fmla="*/ 323966 h 349382"/>
                <a:gd name="connsiteX15" fmla="*/ 2644273 w 2663946"/>
                <a:gd name="connsiteY15" fmla="*/ 321803 h 349382"/>
                <a:gd name="connsiteX16" fmla="*/ 2645502 w 2663946"/>
                <a:gd name="connsiteY16" fmla="*/ 317477 h 349382"/>
                <a:gd name="connsiteX17" fmla="*/ 2645011 w 2663946"/>
                <a:gd name="connsiteY17" fmla="*/ 303687 h 349382"/>
                <a:gd name="connsiteX18" fmla="*/ 2644027 w 2663946"/>
                <a:gd name="connsiteY18" fmla="*/ 300713 h 349382"/>
                <a:gd name="connsiteX19" fmla="*/ 2642799 w 2663946"/>
                <a:gd name="connsiteY19" fmla="*/ 297739 h 349382"/>
                <a:gd name="connsiteX20" fmla="*/ 2640586 w 2663946"/>
                <a:gd name="connsiteY20" fmla="*/ 294224 h 349382"/>
                <a:gd name="connsiteX21" fmla="*/ 2636899 w 2663946"/>
                <a:gd name="connsiteY21" fmla="*/ 290439 h 349382"/>
                <a:gd name="connsiteX22" fmla="*/ 2632966 w 2663946"/>
                <a:gd name="connsiteY22" fmla="*/ 288276 h 349382"/>
                <a:gd name="connsiteX23" fmla="*/ 2627559 w 2663946"/>
                <a:gd name="connsiteY23" fmla="*/ 272323 h 349382"/>
                <a:gd name="connsiteX24" fmla="*/ 2639849 w 2663946"/>
                <a:gd name="connsiteY24" fmla="*/ 274486 h 349382"/>
                <a:gd name="connsiteX25" fmla="*/ 2647223 w 2663946"/>
                <a:gd name="connsiteY25" fmla="*/ 279083 h 349382"/>
                <a:gd name="connsiteX26" fmla="*/ 2650664 w 2663946"/>
                <a:gd name="connsiteY26" fmla="*/ 282327 h 349382"/>
                <a:gd name="connsiteX27" fmla="*/ 2654106 w 2663946"/>
                <a:gd name="connsiteY27" fmla="*/ 286653 h 349382"/>
                <a:gd name="connsiteX28" fmla="*/ 2656072 w 2663946"/>
                <a:gd name="connsiteY28" fmla="*/ 290168 h 349382"/>
                <a:gd name="connsiteX29" fmla="*/ 2658284 w 2663946"/>
                <a:gd name="connsiteY29" fmla="*/ 295576 h 349382"/>
                <a:gd name="connsiteX30" fmla="*/ 2659267 w 2663946"/>
                <a:gd name="connsiteY30" fmla="*/ 299091 h 349382"/>
                <a:gd name="connsiteX31" fmla="*/ 2660251 w 2663946"/>
                <a:gd name="connsiteY31" fmla="*/ 304228 h 349382"/>
                <a:gd name="connsiteX32" fmla="*/ 2660005 w 2663946"/>
                <a:gd name="connsiteY32" fmla="*/ 318558 h 349382"/>
                <a:gd name="connsiteX33" fmla="*/ 2659022 w 2663946"/>
                <a:gd name="connsiteY33" fmla="*/ 323425 h 349382"/>
                <a:gd name="connsiteX34" fmla="*/ 2657792 w 2663946"/>
                <a:gd name="connsiteY34" fmla="*/ 327210 h 349382"/>
                <a:gd name="connsiteX35" fmla="*/ 2656809 w 2663946"/>
                <a:gd name="connsiteY35" fmla="*/ 329644 h 349382"/>
                <a:gd name="connsiteX36" fmla="*/ 2654597 w 2663946"/>
                <a:gd name="connsiteY36" fmla="*/ 333970 h 349382"/>
                <a:gd name="connsiteX37" fmla="*/ 2652385 w 2663946"/>
                <a:gd name="connsiteY37" fmla="*/ 337214 h 349382"/>
                <a:gd name="connsiteX38" fmla="*/ 2648944 w 2663946"/>
                <a:gd name="connsiteY38" fmla="*/ 341000 h 349382"/>
                <a:gd name="connsiteX39" fmla="*/ 2645748 w 2663946"/>
                <a:gd name="connsiteY39" fmla="*/ 343703 h 349382"/>
                <a:gd name="connsiteX40" fmla="*/ 2640095 w 2663946"/>
                <a:gd name="connsiteY40" fmla="*/ 346948 h 349382"/>
                <a:gd name="connsiteX41" fmla="*/ 2632229 w 2663946"/>
                <a:gd name="connsiteY41" fmla="*/ 349111 h 349382"/>
                <a:gd name="connsiteX42" fmla="*/ 2631000 w 2663946"/>
                <a:gd name="connsiteY42" fmla="*/ 349382 h 349382"/>
                <a:gd name="connsiteX43" fmla="*/ 2626821 w 2663946"/>
                <a:gd name="connsiteY43" fmla="*/ 349382 h 349382"/>
                <a:gd name="connsiteX44" fmla="*/ 2626576 w 2663946"/>
                <a:gd name="connsiteY44" fmla="*/ 349382 h 349382"/>
                <a:gd name="connsiteX45" fmla="*/ 2613548 w 2663946"/>
                <a:gd name="connsiteY45" fmla="*/ 344515 h 349382"/>
                <a:gd name="connsiteX46" fmla="*/ 2608878 w 2663946"/>
                <a:gd name="connsiteY46" fmla="*/ 340459 h 349382"/>
                <a:gd name="connsiteX47" fmla="*/ 2605682 w 2663946"/>
                <a:gd name="connsiteY47" fmla="*/ 336674 h 349382"/>
                <a:gd name="connsiteX48" fmla="*/ 2603470 w 2663946"/>
                <a:gd name="connsiteY48" fmla="*/ 333159 h 349382"/>
                <a:gd name="connsiteX49" fmla="*/ 2601258 w 2663946"/>
                <a:gd name="connsiteY49" fmla="*/ 328833 h 349382"/>
                <a:gd name="connsiteX50" fmla="*/ 2600029 w 2663946"/>
                <a:gd name="connsiteY50" fmla="*/ 325858 h 349382"/>
                <a:gd name="connsiteX51" fmla="*/ 2599046 w 2663946"/>
                <a:gd name="connsiteY51" fmla="*/ 322614 h 349382"/>
                <a:gd name="connsiteX52" fmla="*/ 2597816 w 2663946"/>
                <a:gd name="connsiteY52" fmla="*/ 316936 h 349382"/>
                <a:gd name="connsiteX53" fmla="*/ 2597571 w 2663946"/>
                <a:gd name="connsiteY53" fmla="*/ 313962 h 349382"/>
                <a:gd name="connsiteX54" fmla="*/ 2597816 w 2663946"/>
                <a:gd name="connsiteY54" fmla="*/ 314232 h 349382"/>
                <a:gd name="connsiteX55" fmla="*/ 2597816 w 2663946"/>
                <a:gd name="connsiteY55" fmla="*/ 308554 h 349382"/>
                <a:gd name="connsiteX56" fmla="*/ 2597816 w 2663946"/>
                <a:gd name="connsiteY56" fmla="*/ 308284 h 349382"/>
                <a:gd name="connsiteX57" fmla="*/ 2598308 w 2663946"/>
                <a:gd name="connsiteY57" fmla="*/ 303687 h 349382"/>
                <a:gd name="connsiteX58" fmla="*/ 2599537 w 2663946"/>
                <a:gd name="connsiteY58" fmla="*/ 298280 h 349382"/>
                <a:gd name="connsiteX59" fmla="*/ 2600520 w 2663946"/>
                <a:gd name="connsiteY59" fmla="*/ 295035 h 349382"/>
                <a:gd name="connsiteX60" fmla="*/ 2602732 w 2663946"/>
                <a:gd name="connsiteY60" fmla="*/ 289898 h 349382"/>
                <a:gd name="connsiteX61" fmla="*/ 2604945 w 2663946"/>
                <a:gd name="connsiteY61" fmla="*/ 286113 h 349382"/>
                <a:gd name="connsiteX62" fmla="*/ 2607157 w 2663946"/>
                <a:gd name="connsiteY62" fmla="*/ 283138 h 349382"/>
                <a:gd name="connsiteX63" fmla="*/ 2609369 w 2663946"/>
                <a:gd name="connsiteY63" fmla="*/ 280705 h 349382"/>
                <a:gd name="connsiteX64" fmla="*/ 2614039 w 2663946"/>
                <a:gd name="connsiteY64" fmla="*/ 276920 h 349382"/>
                <a:gd name="connsiteX65" fmla="*/ 2617972 w 2663946"/>
                <a:gd name="connsiteY65" fmla="*/ 274757 h 349382"/>
                <a:gd name="connsiteX66" fmla="*/ 2627559 w 2663946"/>
                <a:gd name="connsiteY66" fmla="*/ 272323 h 349382"/>
                <a:gd name="connsiteX67" fmla="*/ 2631061 w 2663946"/>
                <a:gd name="connsiteY67" fmla="*/ 208413 h 349382"/>
                <a:gd name="connsiteX68" fmla="*/ 2621591 w 2663946"/>
                <a:gd name="connsiteY68" fmla="*/ 217687 h 349382"/>
                <a:gd name="connsiteX69" fmla="*/ 2626545 w 2663946"/>
                <a:gd name="connsiteY69" fmla="*/ 225844 h 349382"/>
                <a:gd name="connsiteX70" fmla="*/ 2626545 w 2663946"/>
                <a:gd name="connsiteY70" fmla="*/ 234239 h 349382"/>
                <a:gd name="connsiteX71" fmla="*/ 2631061 w 2663946"/>
                <a:gd name="connsiteY71" fmla="*/ 238662 h 349382"/>
                <a:gd name="connsiteX72" fmla="*/ 2635578 w 2663946"/>
                <a:gd name="connsiteY72" fmla="*/ 234239 h 349382"/>
                <a:gd name="connsiteX73" fmla="*/ 2635578 w 2663946"/>
                <a:gd name="connsiteY73" fmla="*/ 225844 h 349382"/>
                <a:gd name="connsiteX74" fmla="*/ 2640532 w 2663946"/>
                <a:gd name="connsiteY74" fmla="*/ 217687 h 349382"/>
                <a:gd name="connsiteX75" fmla="*/ 2631061 w 2663946"/>
                <a:gd name="connsiteY75" fmla="*/ 208413 h 349382"/>
                <a:gd name="connsiteX76" fmla="*/ 2630799 w 2663946"/>
                <a:gd name="connsiteY76" fmla="*/ 169696 h 349382"/>
                <a:gd name="connsiteX77" fmla="*/ 2619139 w 2663946"/>
                <a:gd name="connsiteY77" fmla="*/ 177425 h 349382"/>
                <a:gd name="connsiteX78" fmla="*/ 2618214 w 2663946"/>
                <a:gd name="connsiteY78" fmla="*/ 182008 h 349382"/>
                <a:gd name="connsiteX79" fmla="*/ 2621454 w 2663946"/>
                <a:gd name="connsiteY79" fmla="*/ 182008 h 349382"/>
                <a:gd name="connsiteX80" fmla="*/ 2639871 w 2663946"/>
                <a:gd name="connsiteY80" fmla="*/ 182008 h 349382"/>
                <a:gd name="connsiteX81" fmla="*/ 2643385 w 2663946"/>
                <a:gd name="connsiteY81" fmla="*/ 182008 h 349382"/>
                <a:gd name="connsiteX82" fmla="*/ 2642460 w 2663946"/>
                <a:gd name="connsiteY82" fmla="*/ 177425 h 349382"/>
                <a:gd name="connsiteX83" fmla="*/ 2630799 w 2663946"/>
                <a:gd name="connsiteY83" fmla="*/ 169696 h 349382"/>
                <a:gd name="connsiteX84" fmla="*/ 2630799 w 2663946"/>
                <a:gd name="connsiteY84" fmla="*/ 157041 h 349382"/>
                <a:gd name="connsiteX85" fmla="*/ 2655595 w 2663946"/>
                <a:gd name="connsiteY85" fmla="*/ 177250 h 349382"/>
                <a:gd name="connsiteX86" fmla="*/ 2656074 w 2663946"/>
                <a:gd name="connsiteY86" fmla="*/ 182008 h 349382"/>
                <a:gd name="connsiteX87" fmla="*/ 2657493 w 2663946"/>
                <a:gd name="connsiteY87" fmla="*/ 182008 h 349382"/>
                <a:gd name="connsiteX88" fmla="*/ 2663946 w 2663946"/>
                <a:gd name="connsiteY88" fmla="*/ 188294 h 349382"/>
                <a:gd name="connsiteX89" fmla="*/ 2663946 w 2663946"/>
                <a:gd name="connsiteY89" fmla="*/ 238016 h 349382"/>
                <a:gd name="connsiteX90" fmla="*/ 2657493 w 2663946"/>
                <a:gd name="connsiteY90" fmla="*/ 244302 h 349382"/>
                <a:gd name="connsiteX91" fmla="*/ 2604106 w 2663946"/>
                <a:gd name="connsiteY91" fmla="*/ 244302 h 349382"/>
                <a:gd name="connsiteX92" fmla="*/ 2597652 w 2663946"/>
                <a:gd name="connsiteY92" fmla="*/ 238016 h 349382"/>
                <a:gd name="connsiteX93" fmla="*/ 2597652 w 2663946"/>
                <a:gd name="connsiteY93" fmla="*/ 188294 h 349382"/>
                <a:gd name="connsiteX94" fmla="*/ 2604106 w 2663946"/>
                <a:gd name="connsiteY94" fmla="*/ 182008 h 349382"/>
                <a:gd name="connsiteX95" fmla="*/ 2604940 w 2663946"/>
                <a:gd name="connsiteY95" fmla="*/ 182008 h 349382"/>
                <a:gd name="connsiteX96" fmla="*/ 2605524 w 2663946"/>
                <a:gd name="connsiteY96" fmla="*/ 182008 h 349382"/>
                <a:gd name="connsiteX97" fmla="*/ 2606004 w 2663946"/>
                <a:gd name="connsiteY97" fmla="*/ 177250 h 349382"/>
                <a:gd name="connsiteX98" fmla="*/ 2630799 w 2663946"/>
                <a:gd name="connsiteY98" fmla="*/ 157041 h 349382"/>
                <a:gd name="connsiteX99" fmla="*/ 33409 w 2663946"/>
                <a:gd name="connsiteY99" fmla="*/ 104187 h 349382"/>
                <a:gd name="connsiteX100" fmla="*/ 23938 w 2663946"/>
                <a:gd name="connsiteY100" fmla="*/ 113461 h 349382"/>
                <a:gd name="connsiteX101" fmla="*/ 28892 w 2663946"/>
                <a:gd name="connsiteY101" fmla="*/ 121618 h 349382"/>
                <a:gd name="connsiteX102" fmla="*/ 28892 w 2663946"/>
                <a:gd name="connsiteY102" fmla="*/ 130013 h 349382"/>
                <a:gd name="connsiteX103" fmla="*/ 33409 w 2663946"/>
                <a:gd name="connsiteY103" fmla="*/ 134436 h 349382"/>
                <a:gd name="connsiteX104" fmla="*/ 37926 w 2663946"/>
                <a:gd name="connsiteY104" fmla="*/ 130013 h 349382"/>
                <a:gd name="connsiteX105" fmla="*/ 37926 w 2663946"/>
                <a:gd name="connsiteY105" fmla="*/ 121618 h 349382"/>
                <a:gd name="connsiteX106" fmla="*/ 42880 w 2663946"/>
                <a:gd name="connsiteY106" fmla="*/ 113461 h 349382"/>
                <a:gd name="connsiteX107" fmla="*/ 33409 w 2663946"/>
                <a:gd name="connsiteY107" fmla="*/ 104187 h 349382"/>
                <a:gd name="connsiteX108" fmla="*/ 2538193 w 2663946"/>
                <a:gd name="connsiteY108" fmla="*/ 96599 h 349382"/>
                <a:gd name="connsiteX109" fmla="*/ 2528723 w 2663946"/>
                <a:gd name="connsiteY109" fmla="*/ 105873 h 349382"/>
                <a:gd name="connsiteX110" fmla="*/ 2533677 w 2663946"/>
                <a:gd name="connsiteY110" fmla="*/ 114030 h 349382"/>
                <a:gd name="connsiteX111" fmla="*/ 2533677 w 2663946"/>
                <a:gd name="connsiteY111" fmla="*/ 122425 h 349382"/>
                <a:gd name="connsiteX112" fmla="*/ 2538193 w 2663946"/>
                <a:gd name="connsiteY112" fmla="*/ 126848 h 349382"/>
                <a:gd name="connsiteX113" fmla="*/ 2542710 w 2663946"/>
                <a:gd name="connsiteY113" fmla="*/ 122425 h 349382"/>
                <a:gd name="connsiteX114" fmla="*/ 2542710 w 2663946"/>
                <a:gd name="connsiteY114" fmla="*/ 114030 h 349382"/>
                <a:gd name="connsiteX115" fmla="*/ 2547664 w 2663946"/>
                <a:gd name="connsiteY115" fmla="*/ 105873 h 349382"/>
                <a:gd name="connsiteX116" fmla="*/ 2538193 w 2663946"/>
                <a:gd name="connsiteY116" fmla="*/ 96599 h 349382"/>
                <a:gd name="connsiteX117" fmla="*/ 2113196 w 2663946"/>
                <a:gd name="connsiteY117" fmla="*/ 96599 h 349382"/>
                <a:gd name="connsiteX118" fmla="*/ 2103726 w 2663946"/>
                <a:gd name="connsiteY118" fmla="*/ 105873 h 349382"/>
                <a:gd name="connsiteX119" fmla="*/ 2108680 w 2663946"/>
                <a:gd name="connsiteY119" fmla="*/ 114030 h 349382"/>
                <a:gd name="connsiteX120" fmla="*/ 2108680 w 2663946"/>
                <a:gd name="connsiteY120" fmla="*/ 122425 h 349382"/>
                <a:gd name="connsiteX121" fmla="*/ 2113196 w 2663946"/>
                <a:gd name="connsiteY121" fmla="*/ 126848 h 349382"/>
                <a:gd name="connsiteX122" fmla="*/ 2117713 w 2663946"/>
                <a:gd name="connsiteY122" fmla="*/ 122425 h 349382"/>
                <a:gd name="connsiteX123" fmla="*/ 2117713 w 2663946"/>
                <a:gd name="connsiteY123" fmla="*/ 114030 h 349382"/>
                <a:gd name="connsiteX124" fmla="*/ 2122667 w 2663946"/>
                <a:gd name="connsiteY124" fmla="*/ 105873 h 349382"/>
                <a:gd name="connsiteX125" fmla="*/ 2113196 w 2663946"/>
                <a:gd name="connsiteY125" fmla="*/ 96599 h 349382"/>
                <a:gd name="connsiteX126" fmla="*/ 1855228 w 2663946"/>
                <a:gd name="connsiteY126" fmla="*/ 96599 h 349382"/>
                <a:gd name="connsiteX127" fmla="*/ 1845758 w 2663946"/>
                <a:gd name="connsiteY127" fmla="*/ 105873 h 349382"/>
                <a:gd name="connsiteX128" fmla="*/ 1850712 w 2663946"/>
                <a:gd name="connsiteY128" fmla="*/ 114030 h 349382"/>
                <a:gd name="connsiteX129" fmla="*/ 1850712 w 2663946"/>
                <a:gd name="connsiteY129" fmla="*/ 122425 h 349382"/>
                <a:gd name="connsiteX130" fmla="*/ 1855228 w 2663946"/>
                <a:gd name="connsiteY130" fmla="*/ 126848 h 349382"/>
                <a:gd name="connsiteX131" fmla="*/ 1859745 w 2663946"/>
                <a:gd name="connsiteY131" fmla="*/ 122425 h 349382"/>
                <a:gd name="connsiteX132" fmla="*/ 1859745 w 2663946"/>
                <a:gd name="connsiteY132" fmla="*/ 114030 h 349382"/>
                <a:gd name="connsiteX133" fmla="*/ 1864699 w 2663946"/>
                <a:gd name="connsiteY133" fmla="*/ 105873 h 349382"/>
                <a:gd name="connsiteX134" fmla="*/ 1855228 w 2663946"/>
                <a:gd name="connsiteY134" fmla="*/ 96599 h 349382"/>
                <a:gd name="connsiteX135" fmla="*/ 1764289 w 2663946"/>
                <a:gd name="connsiteY135" fmla="*/ 96599 h 349382"/>
                <a:gd name="connsiteX136" fmla="*/ 1754819 w 2663946"/>
                <a:gd name="connsiteY136" fmla="*/ 105873 h 349382"/>
                <a:gd name="connsiteX137" fmla="*/ 1759773 w 2663946"/>
                <a:gd name="connsiteY137" fmla="*/ 114030 h 349382"/>
                <a:gd name="connsiteX138" fmla="*/ 1759773 w 2663946"/>
                <a:gd name="connsiteY138" fmla="*/ 122425 h 349382"/>
                <a:gd name="connsiteX139" fmla="*/ 1764289 w 2663946"/>
                <a:gd name="connsiteY139" fmla="*/ 126848 h 349382"/>
                <a:gd name="connsiteX140" fmla="*/ 1768806 w 2663946"/>
                <a:gd name="connsiteY140" fmla="*/ 122425 h 349382"/>
                <a:gd name="connsiteX141" fmla="*/ 1768806 w 2663946"/>
                <a:gd name="connsiteY141" fmla="*/ 114030 h 349382"/>
                <a:gd name="connsiteX142" fmla="*/ 1773760 w 2663946"/>
                <a:gd name="connsiteY142" fmla="*/ 105873 h 349382"/>
                <a:gd name="connsiteX143" fmla="*/ 1764289 w 2663946"/>
                <a:gd name="connsiteY143" fmla="*/ 96599 h 349382"/>
                <a:gd name="connsiteX144" fmla="*/ 1506321 w 2663946"/>
                <a:gd name="connsiteY144" fmla="*/ 96599 h 349382"/>
                <a:gd name="connsiteX145" fmla="*/ 1496851 w 2663946"/>
                <a:gd name="connsiteY145" fmla="*/ 105873 h 349382"/>
                <a:gd name="connsiteX146" fmla="*/ 1501805 w 2663946"/>
                <a:gd name="connsiteY146" fmla="*/ 114030 h 349382"/>
                <a:gd name="connsiteX147" fmla="*/ 1501805 w 2663946"/>
                <a:gd name="connsiteY147" fmla="*/ 122425 h 349382"/>
                <a:gd name="connsiteX148" fmla="*/ 1506321 w 2663946"/>
                <a:gd name="connsiteY148" fmla="*/ 126848 h 349382"/>
                <a:gd name="connsiteX149" fmla="*/ 1510838 w 2663946"/>
                <a:gd name="connsiteY149" fmla="*/ 122425 h 349382"/>
                <a:gd name="connsiteX150" fmla="*/ 1510838 w 2663946"/>
                <a:gd name="connsiteY150" fmla="*/ 114030 h 349382"/>
                <a:gd name="connsiteX151" fmla="*/ 1515792 w 2663946"/>
                <a:gd name="connsiteY151" fmla="*/ 105873 h 349382"/>
                <a:gd name="connsiteX152" fmla="*/ 1506321 w 2663946"/>
                <a:gd name="connsiteY152" fmla="*/ 96599 h 349382"/>
                <a:gd name="connsiteX153" fmla="*/ 1415382 w 2663946"/>
                <a:gd name="connsiteY153" fmla="*/ 96599 h 349382"/>
                <a:gd name="connsiteX154" fmla="*/ 1405912 w 2663946"/>
                <a:gd name="connsiteY154" fmla="*/ 105873 h 349382"/>
                <a:gd name="connsiteX155" fmla="*/ 1410866 w 2663946"/>
                <a:gd name="connsiteY155" fmla="*/ 114030 h 349382"/>
                <a:gd name="connsiteX156" fmla="*/ 1410866 w 2663946"/>
                <a:gd name="connsiteY156" fmla="*/ 122425 h 349382"/>
                <a:gd name="connsiteX157" fmla="*/ 1415382 w 2663946"/>
                <a:gd name="connsiteY157" fmla="*/ 126848 h 349382"/>
                <a:gd name="connsiteX158" fmla="*/ 1419899 w 2663946"/>
                <a:gd name="connsiteY158" fmla="*/ 122425 h 349382"/>
                <a:gd name="connsiteX159" fmla="*/ 1419899 w 2663946"/>
                <a:gd name="connsiteY159" fmla="*/ 114030 h 349382"/>
                <a:gd name="connsiteX160" fmla="*/ 1424853 w 2663946"/>
                <a:gd name="connsiteY160" fmla="*/ 105873 h 349382"/>
                <a:gd name="connsiteX161" fmla="*/ 1415382 w 2663946"/>
                <a:gd name="connsiteY161" fmla="*/ 96599 h 349382"/>
                <a:gd name="connsiteX162" fmla="*/ 1157414 w 2663946"/>
                <a:gd name="connsiteY162" fmla="*/ 96599 h 349382"/>
                <a:gd name="connsiteX163" fmla="*/ 1147944 w 2663946"/>
                <a:gd name="connsiteY163" fmla="*/ 105873 h 349382"/>
                <a:gd name="connsiteX164" fmla="*/ 1152898 w 2663946"/>
                <a:gd name="connsiteY164" fmla="*/ 114030 h 349382"/>
                <a:gd name="connsiteX165" fmla="*/ 1152898 w 2663946"/>
                <a:gd name="connsiteY165" fmla="*/ 122425 h 349382"/>
                <a:gd name="connsiteX166" fmla="*/ 1157414 w 2663946"/>
                <a:gd name="connsiteY166" fmla="*/ 126848 h 349382"/>
                <a:gd name="connsiteX167" fmla="*/ 1161931 w 2663946"/>
                <a:gd name="connsiteY167" fmla="*/ 122425 h 349382"/>
                <a:gd name="connsiteX168" fmla="*/ 1161931 w 2663946"/>
                <a:gd name="connsiteY168" fmla="*/ 114030 h 349382"/>
                <a:gd name="connsiteX169" fmla="*/ 1166885 w 2663946"/>
                <a:gd name="connsiteY169" fmla="*/ 105873 h 349382"/>
                <a:gd name="connsiteX170" fmla="*/ 1157414 w 2663946"/>
                <a:gd name="connsiteY170" fmla="*/ 96599 h 349382"/>
                <a:gd name="connsiteX171" fmla="*/ 732418 w 2663946"/>
                <a:gd name="connsiteY171" fmla="*/ 96599 h 349382"/>
                <a:gd name="connsiteX172" fmla="*/ 722947 w 2663946"/>
                <a:gd name="connsiteY172" fmla="*/ 105873 h 349382"/>
                <a:gd name="connsiteX173" fmla="*/ 727901 w 2663946"/>
                <a:gd name="connsiteY173" fmla="*/ 114030 h 349382"/>
                <a:gd name="connsiteX174" fmla="*/ 727901 w 2663946"/>
                <a:gd name="connsiteY174" fmla="*/ 122425 h 349382"/>
                <a:gd name="connsiteX175" fmla="*/ 732418 w 2663946"/>
                <a:gd name="connsiteY175" fmla="*/ 126848 h 349382"/>
                <a:gd name="connsiteX176" fmla="*/ 736935 w 2663946"/>
                <a:gd name="connsiteY176" fmla="*/ 122425 h 349382"/>
                <a:gd name="connsiteX177" fmla="*/ 736935 w 2663946"/>
                <a:gd name="connsiteY177" fmla="*/ 114030 h 349382"/>
                <a:gd name="connsiteX178" fmla="*/ 741889 w 2663946"/>
                <a:gd name="connsiteY178" fmla="*/ 105873 h 349382"/>
                <a:gd name="connsiteX179" fmla="*/ 732418 w 2663946"/>
                <a:gd name="connsiteY179" fmla="*/ 96599 h 349382"/>
                <a:gd name="connsiteX180" fmla="*/ 641479 w 2663946"/>
                <a:gd name="connsiteY180" fmla="*/ 96599 h 349382"/>
                <a:gd name="connsiteX181" fmla="*/ 632008 w 2663946"/>
                <a:gd name="connsiteY181" fmla="*/ 105873 h 349382"/>
                <a:gd name="connsiteX182" fmla="*/ 636962 w 2663946"/>
                <a:gd name="connsiteY182" fmla="*/ 114030 h 349382"/>
                <a:gd name="connsiteX183" fmla="*/ 636962 w 2663946"/>
                <a:gd name="connsiteY183" fmla="*/ 122425 h 349382"/>
                <a:gd name="connsiteX184" fmla="*/ 641479 w 2663946"/>
                <a:gd name="connsiteY184" fmla="*/ 126848 h 349382"/>
                <a:gd name="connsiteX185" fmla="*/ 645996 w 2663946"/>
                <a:gd name="connsiteY185" fmla="*/ 122425 h 349382"/>
                <a:gd name="connsiteX186" fmla="*/ 645996 w 2663946"/>
                <a:gd name="connsiteY186" fmla="*/ 114030 h 349382"/>
                <a:gd name="connsiteX187" fmla="*/ 650950 w 2663946"/>
                <a:gd name="connsiteY187" fmla="*/ 105873 h 349382"/>
                <a:gd name="connsiteX188" fmla="*/ 641479 w 2663946"/>
                <a:gd name="connsiteY188" fmla="*/ 96599 h 349382"/>
                <a:gd name="connsiteX189" fmla="*/ 459528 w 2663946"/>
                <a:gd name="connsiteY189" fmla="*/ 96599 h 349382"/>
                <a:gd name="connsiteX190" fmla="*/ 450057 w 2663946"/>
                <a:gd name="connsiteY190" fmla="*/ 105873 h 349382"/>
                <a:gd name="connsiteX191" fmla="*/ 455011 w 2663946"/>
                <a:gd name="connsiteY191" fmla="*/ 114030 h 349382"/>
                <a:gd name="connsiteX192" fmla="*/ 455011 w 2663946"/>
                <a:gd name="connsiteY192" fmla="*/ 122425 h 349382"/>
                <a:gd name="connsiteX193" fmla="*/ 459528 w 2663946"/>
                <a:gd name="connsiteY193" fmla="*/ 126848 h 349382"/>
                <a:gd name="connsiteX194" fmla="*/ 464045 w 2663946"/>
                <a:gd name="connsiteY194" fmla="*/ 122425 h 349382"/>
                <a:gd name="connsiteX195" fmla="*/ 464045 w 2663946"/>
                <a:gd name="connsiteY195" fmla="*/ 114030 h 349382"/>
                <a:gd name="connsiteX196" fmla="*/ 468999 w 2663946"/>
                <a:gd name="connsiteY196" fmla="*/ 105873 h 349382"/>
                <a:gd name="connsiteX197" fmla="*/ 459528 w 2663946"/>
                <a:gd name="connsiteY197" fmla="*/ 96599 h 349382"/>
                <a:gd name="connsiteX198" fmla="*/ 2632966 w 2663946"/>
                <a:gd name="connsiteY198" fmla="*/ 69406 h 349382"/>
                <a:gd name="connsiteX199" fmla="*/ 2621414 w 2663946"/>
                <a:gd name="connsiteY199" fmla="*/ 71839 h 349382"/>
                <a:gd name="connsiteX200" fmla="*/ 2618218 w 2663946"/>
                <a:gd name="connsiteY200" fmla="*/ 75354 h 349382"/>
                <a:gd name="connsiteX201" fmla="*/ 2616006 w 2663946"/>
                <a:gd name="connsiteY201" fmla="*/ 79139 h 349382"/>
                <a:gd name="connsiteX202" fmla="*/ 2615023 w 2663946"/>
                <a:gd name="connsiteY202" fmla="*/ 81843 h 349382"/>
                <a:gd name="connsiteX203" fmla="*/ 2614039 w 2663946"/>
                <a:gd name="connsiteY203" fmla="*/ 85899 h 349382"/>
                <a:gd name="connsiteX204" fmla="*/ 2613056 w 2663946"/>
                <a:gd name="connsiteY204" fmla="*/ 92929 h 349382"/>
                <a:gd name="connsiteX205" fmla="*/ 2614039 w 2663946"/>
                <a:gd name="connsiteY205" fmla="*/ 100229 h 349382"/>
                <a:gd name="connsiteX206" fmla="*/ 2615269 w 2663946"/>
                <a:gd name="connsiteY206" fmla="*/ 104014 h 349382"/>
                <a:gd name="connsiteX207" fmla="*/ 2617481 w 2663946"/>
                <a:gd name="connsiteY207" fmla="*/ 108340 h 349382"/>
                <a:gd name="connsiteX208" fmla="*/ 2620922 w 2663946"/>
                <a:gd name="connsiteY208" fmla="*/ 112667 h 349382"/>
                <a:gd name="connsiteX209" fmla="*/ 2625346 w 2663946"/>
                <a:gd name="connsiteY209" fmla="*/ 115370 h 349382"/>
                <a:gd name="connsiteX210" fmla="*/ 2637637 w 2663946"/>
                <a:gd name="connsiteY210" fmla="*/ 112937 h 349382"/>
                <a:gd name="connsiteX211" fmla="*/ 2640832 w 2663946"/>
                <a:gd name="connsiteY211" fmla="*/ 109422 h 349382"/>
                <a:gd name="connsiteX212" fmla="*/ 2643290 w 2663946"/>
                <a:gd name="connsiteY212" fmla="*/ 105096 h 349382"/>
                <a:gd name="connsiteX213" fmla="*/ 2644273 w 2663946"/>
                <a:gd name="connsiteY213" fmla="*/ 102933 h 349382"/>
                <a:gd name="connsiteX214" fmla="*/ 2645502 w 2663946"/>
                <a:gd name="connsiteY214" fmla="*/ 98607 h 349382"/>
                <a:gd name="connsiteX215" fmla="*/ 2645011 w 2663946"/>
                <a:gd name="connsiteY215" fmla="*/ 84817 h 349382"/>
                <a:gd name="connsiteX216" fmla="*/ 2644027 w 2663946"/>
                <a:gd name="connsiteY216" fmla="*/ 81843 h 349382"/>
                <a:gd name="connsiteX217" fmla="*/ 2642799 w 2663946"/>
                <a:gd name="connsiteY217" fmla="*/ 78869 h 349382"/>
                <a:gd name="connsiteX218" fmla="*/ 2640586 w 2663946"/>
                <a:gd name="connsiteY218" fmla="*/ 75354 h 349382"/>
                <a:gd name="connsiteX219" fmla="*/ 2636899 w 2663946"/>
                <a:gd name="connsiteY219" fmla="*/ 71569 h 349382"/>
                <a:gd name="connsiteX220" fmla="*/ 2632966 w 2663946"/>
                <a:gd name="connsiteY220" fmla="*/ 69406 h 349382"/>
                <a:gd name="connsiteX221" fmla="*/ 2451011 w 2663946"/>
                <a:gd name="connsiteY221" fmla="*/ 69406 h 349382"/>
                <a:gd name="connsiteX222" fmla="*/ 2439459 w 2663946"/>
                <a:gd name="connsiteY222" fmla="*/ 71839 h 349382"/>
                <a:gd name="connsiteX223" fmla="*/ 2436263 w 2663946"/>
                <a:gd name="connsiteY223" fmla="*/ 75354 h 349382"/>
                <a:gd name="connsiteX224" fmla="*/ 2434051 w 2663946"/>
                <a:gd name="connsiteY224" fmla="*/ 79139 h 349382"/>
                <a:gd name="connsiteX225" fmla="*/ 2433068 w 2663946"/>
                <a:gd name="connsiteY225" fmla="*/ 81843 h 349382"/>
                <a:gd name="connsiteX226" fmla="*/ 2432084 w 2663946"/>
                <a:gd name="connsiteY226" fmla="*/ 85899 h 349382"/>
                <a:gd name="connsiteX227" fmla="*/ 2431101 w 2663946"/>
                <a:gd name="connsiteY227" fmla="*/ 92929 h 349382"/>
                <a:gd name="connsiteX228" fmla="*/ 2432084 w 2663946"/>
                <a:gd name="connsiteY228" fmla="*/ 100229 h 349382"/>
                <a:gd name="connsiteX229" fmla="*/ 2433314 w 2663946"/>
                <a:gd name="connsiteY229" fmla="*/ 104014 h 349382"/>
                <a:gd name="connsiteX230" fmla="*/ 2435526 w 2663946"/>
                <a:gd name="connsiteY230" fmla="*/ 108340 h 349382"/>
                <a:gd name="connsiteX231" fmla="*/ 2438967 w 2663946"/>
                <a:gd name="connsiteY231" fmla="*/ 112667 h 349382"/>
                <a:gd name="connsiteX232" fmla="*/ 2443391 w 2663946"/>
                <a:gd name="connsiteY232" fmla="*/ 115370 h 349382"/>
                <a:gd name="connsiteX233" fmla="*/ 2455682 w 2663946"/>
                <a:gd name="connsiteY233" fmla="*/ 112937 h 349382"/>
                <a:gd name="connsiteX234" fmla="*/ 2458877 w 2663946"/>
                <a:gd name="connsiteY234" fmla="*/ 109422 h 349382"/>
                <a:gd name="connsiteX235" fmla="*/ 2461335 w 2663946"/>
                <a:gd name="connsiteY235" fmla="*/ 105096 h 349382"/>
                <a:gd name="connsiteX236" fmla="*/ 2462318 w 2663946"/>
                <a:gd name="connsiteY236" fmla="*/ 102933 h 349382"/>
                <a:gd name="connsiteX237" fmla="*/ 2463547 w 2663946"/>
                <a:gd name="connsiteY237" fmla="*/ 98607 h 349382"/>
                <a:gd name="connsiteX238" fmla="*/ 2463056 w 2663946"/>
                <a:gd name="connsiteY238" fmla="*/ 84817 h 349382"/>
                <a:gd name="connsiteX239" fmla="*/ 2462072 w 2663946"/>
                <a:gd name="connsiteY239" fmla="*/ 81843 h 349382"/>
                <a:gd name="connsiteX240" fmla="*/ 2460844 w 2663946"/>
                <a:gd name="connsiteY240" fmla="*/ 78869 h 349382"/>
                <a:gd name="connsiteX241" fmla="*/ 2458631 w 2663946"/>
                <a:gd name="connsiteY241" fmla="*/ 75354 h 349382"/>
                <a:gd name="connsiteX242" fmla="*/ 2454944 w 2663946"/>
                <a:gd name="connsiteY242" fmla="*/ 71569 h 349382"/>
                <a:gd name="connsiteX243" fmla="*/ 2451011 w 2663946"/>
                <a:gd name="connsiteY243" fmla="*/ 69406 h 349382"/>
                <a:gd name="connsiteX244" fmla="*/ 2207965 w 2663946"/>
                <a:gd name="connsiteY244" fmla="*/ 69406 h 349382"/>
                <a:gd name="connsiteX245" fmla="*/ 2196413 w 2663946"/>
                <a:gd name="connsiteY245" fmla="*/ 71839 h 349382"/>
                <a:gd name="connsiteX246" fmla="*/ 2193217 w 2663946"/>
                <a:gd name="connsiteY246" fmla="*/ 75354 h 349382"/>
                <a:gd name="connsiteX247" fmla="*/ 2191005 w 2663946"/>
                <a:gd name="connsiteY247" fmla="*/ 79139 h 349382"/>
                <a:gd name="connsiteX248" fmla="*/ 2190022 w 2663946"/>
                <a:gd name="connsiteY248" fmla="*/ 81843 h 349382"/>
                <a:gd name="connsiteX249" fmla="*/ 2189038 w 2663946"/>
                <a:gd name="connsiteY249" fmla="*/ 85899 h 349382"/>
                <a:gd name="connsiteX250" fmla="*/ 2188055 w 2663946"/>
                <a:gd name="connsiteY250" fmla="*/ 92929 h 349382"/>
                <a:gd name="connsiteX251" fmla="*/ 2189038 w 2663946"/>
                <a:gd name="connsiteY251" fmla="*/ 100229 h 349382"/>
                <a:gd name="connsiteX252" fmla="*/ 2190268 w 2663946"/>
                <a:gd name="connsiteY252" fmla="*/ 104014 h 349382"/>
                <a:gd name="connsiteX253" fmla="*/ 2192480 w 2663946"/>
                <a:gd name="connsiteY253" fmla="*/ 108340 h 349382"/>
                <a:gd name="connsiteX254" fmla="*/ 2195921 w 2663946"/>
                <a:gd name="connsiteY254" fmla="*/ 112667 h 349382"/>
                <a:gd name="connsiteX255" fmla="*/ 2200345 w 2663946"/>
                <a:gd name="connsiteY255" fmla="*/ 115370 h 349382"/>
                <a:gd name="connsiteX256" fmla="*/ 2212636 w 2663946"/>
                <a:gd name="connsiteY256" fmla="*/ 112937 h 349382"/>
                <a:gd name="connsiteX257" fmla="*/ 2215831 w 2663946"/>
                <a:gd name="connsiteY257" fmla="*/ 109422 h 349382"/>
                <a:gd name="connsiteX258" fmla="*/ 2218289 w 2663946"/>
                <a:gd name="connsiteY258" fmla="*/ 105096 h 349382"/>
                <a:gd name="connsiteX259" fmla="*/ 2219272 w 2663946"/>
                <a:gd name="connsiteY259" fmla="*/ 102933 h 349382"/>
                <a:gd name="connsiteX260" fmla="*/ 2220501 w 2663946"/>
                <a:gd name="connsiteY260" fmla="*/ 98607 h 349382"/>
                <a:gd name="connsiteX261" fmla="*/ 2220010 w 2663946"/>
                <a:gd name="connsiteY261" fmla="*/ 84817 h 349382"/>
                <a:gd name="connsiteX262" fmla="*/ 2219026 w 2663946"/>
                <a:gd name="connsiteY262" fmla="*/ 81843 h 349382"/>
                <a:gd name="connsiteX263" fmla="*/ 2217798 w 2663946"/>
                <a:gd name="connsiteY263" fmla="*/ 78869 h 349382"/>
                <a:gd name="connsiteX264" fmla="*/ 2215585 w 2663946"/>
                <a:gd name="connsiteY264" fmla="*/ 75354 h 349382"/>
                <a:gd name="connsiteX265" fmla="*/ 2211898 w 2663946"/>
                <a:gd name="connsiteY265" fmla="*/ 71569 h 349382"/>
                <a:gd name="connsiteX266" fmla="*/ 2207965 w 2663946"/>
                <a:gd name="connsiteY266" fmla="*/ 69406 h 349382"/>
                <a:gd name="connsiteX267" fmla="*/ 2026014 w 2663946"/>
                <a:gd name="connsiteY267" fmla="*/ 69406 h 349382"/>
                <a:gd name="connsiteX268" fmla="*/ 2014462 w 2663946"/>
                <a:gd name="connsiteY268" fmla="*/ 71839 h 349382"/>
                <a:gd name="connsiteX269" fmla="*/ 2011266 w 2663946"/>
                <a:gd name="connsiteY269" fmla="*/ 75354 h 349382"/>
                <a:gd name="connsiteX270" fmla="*/ 2009054 w 2663946"/>
                <a:gd name="connsiteY270" fmla="*/ 79139 h 349382"/>
                <a:gd name="connsiteX271" fmla="*/ 2008071 w 2663946"/>
                <a:gd name="connsiteY271" fmla="*/ 81843 h 349382"/>
                <a:gd name="connsiteX272" fmla="*/ 2007087 w 2663946"/>
                <a:gd name="connsiteY272" fmla="*/ 85899 h 349382"/>
                <a:gd name="connsiteX273" fmla="*/ 2006104 w 2663946"/>
                <a:gd name="connsiteY273" fmla="*/ 92929 h 349382"/>
                <a:gd name="connsiteX274" fmla="*/ 2007087 w 2663946"/>
                <a:gd name="connsiteY274" fmla="*/ 100229 h 349382"/>
                <a:gd name="connsiteX275" fmla="*/ 2008317 w 2663946"/>
                <a:gd name="connsiteY275" fmla="*/ 104014 h 349382"/>
                <a:gd name="connsiteX276" fmla="*/ 2010529 w 2663946"/>
                <a:gd name="connsiteY276" fmla="*/ 108340 h 349382"/>
                <a:gd name="connsiteX277" fmla="*/ 2013970 w 2663946"/>
                <a:gd name="connsiteY277" fmla="*/ 112667 h 349382"/>
                <a:gd name="connsiteX278" fmla="*/ 2018394 w 2663946"/>
                <a:gd name="connsiteY278" fmla="*/ 115370 h 349382"/>
                <a:gd name="connsiteX279" fmla="*/ 2030685 w 2663946"/>
                <a:gd name="connsiteY279" fmla="*/ 112937 h 349382"/>
                <a:gd name="connsiteX280" fmla="*/ 2033880 w 2663946"/>
                <a:gd name="connsiteY280" fmla="*/ 109422 h 349382"/>
                <a:gd name="connsiteX281" fmla="*/ 2036338 w 2663946"/>
                <a:gd name="connsiteY281" fmla="*/ 105096 h 349382"/>
                <a:gd name="connsiteX282" fmla="*/ 2037321 w 2663946"/>
                <a:gd name="connsiteY282" fmla="*/ 102933 h 349382"/>
                <a:gd name="connsiteX283" fmla="*/ 2038550 w 2663946"/>
                <a:gd name="connsiteY283" fmla="*/ 98607 h 349382"/>
                <a:gd name="connsiteX284" fmla="*/ 2038059 w 2663946"/>
                <a:gd name="connsiteY284" fmla="*/ 84817 h 349382"/>
                <a:gd name="connsiteX285" fmla="*/ 2037075 w 2663946"/>
                <a:gd name="connsiteY285" fmla="*/ 81843 h 349382"/>
                <a:gd name="connsiteX286" fmla="*/ 2035847 w 2663946"/>
                <a:gd name="connsiteY286" fmla="*/ 78869 h 349382"/>
                <a:gd name="connsiteX287" fmla="*/ 2033634 w 2663946"/>
                <a:gd name="connsiteY287" fmla="*/ 75354 h 349382"/>
                <a:gd name="connsiteX288" fmla="*/ 2029947 w 2663946"/>
                <a:gd name="connsiteY288" fmla="*/ 71569 h 349382"/>
                <a:gd name="connsiteX289" fmla="*/ 2026014 w 2663946"/>
                <a:gd name="connsiteY289" fmla="*/ 69406 h 349382"/>
                <a:gd name="connsiteX290" fmla="*/ 1601090 w 2663946"/>
                <a:gd name="connsiteY290" fmla="*/ 69406 h 349382"/>
                <a:gd name="connsiteX291" fmla="*/ 1589537 w 2663946"/>
                <a:gd name="connsiteY291" fmla="*/ 71839 h 349382"/>
                <a:gd name="connsiteX292" fmla="*/ 1586342 w 2663946"/>
                <a:gd name="connsiteY292" fmla="*/ 75354 h 349382"/>
                <a:gd name="connsiteX293" fmla="*/ 1584130 w 2663946"/>
                <a:gd name="connsiteY293" fmla="*/ 79139 h 349382"/>
                <a:gd name="connsiteX294" fmla="*/ 1583147 w 2663946"/>
                <a:gd name="connsiteY294" fmla="*/ 81843 h 349382"/>
                <a:gd name="connsiteX295" fmla="*/ 1582163 w 2663946"/>
                <a:gd name="connsiteY295" fmla="*/ 85899 h 349382"/>
                <a:gd name="connsiteX296" fmla="*/ 1581180 w 2663946"/>
                <a:gd name="connsiteY296" fmla="*/ 92929 h 349382"/>
                <a:gd name="connsiteX297" fmla="*/ 1582163 w 2663946"/>
                <a:gd name="connsiteY297" fmla="*/ 100229 h 349382"/>
                <a:gd name="connsiteX298" fmla="*/ 1583393 w 2663946"/>
                <a:gd name="connsiteY298" fmla="*/ 104014 h 349382"/>
                <a:gd name="connsiteX299" fmla="*/ 1585605 w 2663946"/>
                <a:gd name="connsiteY299" fmla="*/ 108340 h 349382"/>
                <a:gd name="connsiteX300" fmla="*/ 1589046 w 2663946"/>
                <a:gd name="connsiteY300" fmla="*/ 112667 h 349382"/>
                <a:gd name="connsiteX301" fmla="*/ 1593470 w 2663946"/>
                <a:gd name="connsiteY301" fmla="*/ 115370 h 349382"/>
                <a:gd name="connsiteX302" fmla="*/ 1605761 w 2663946"/>
                <a:gd name="connsiteY302" fmla="*/ 112937 h 349382"/>
                <a:gd name="connsiteX303" fmla="*/ 1608956 w 2663946"/>
                <a:gd name="connsiteY303" fmla="*/ 109422 h 349382"/>
                <a:gd name="connsiteX304" fmla="*/ 1611414 w 2663946"/>
                <a:gd name="connsiteY304" fmla="*/ 105096 h 349382"/>
                <a:gd name="connsiteX305" fmla="*/ 1612397 w 2663946"/>
                <a:gd name="connsiteY305" fmla="*/ 102933 h 349382"/>
                <a:gd name="connsiteX306" fmla="*/ 1613626 w 2663946"/>
                <a:gd name="connsiteY306" fmla="*/ 98607 h 349382"/>
                <a:gd name="connsiteX307" fmla="*/ 1613135 w 2663946"/>
                <a:gd name="connsiteY307" fmla="*/ 84817 h 349382"/>
                <a:gd name="connsiteX308" fmla="*/ 1612151 w 2663946"/>
                <a:gd name="connsiteY308" fmla="*/ 81843 h 349382"/>
                <a:gd name="connsiteX309" fmla="*/ 1610923 w 2663946"/>
                <a:gd name="connsiteY309" fmla="*/ 78869 h 349382"/>
                <a:gd name="connsiteX310" fmla="*/ 1608710 w 2663946"/>
                <a:gd name="connsiteY310" fmla="*/ 75354 h 349382"/>
                <a:gd name="connsiteX311" fmla="*/ 1605023 w 2663946"/>
                <a:gd name="connsiteY311" fmla="*/ 71569 h 349382"/>
                <a:gd name="connsiteX312" fmla="*/ 1601090 w 2663946"/>
                <a:gd name="connsiteY312" fmla="*/ 69406 h 349382"/>
                <a:gd name="connsiteX313" fmla="*/ 1252183 w 2663946"/>
                <a:gd name="connsiteY313" fmla="*/ 69406 h 349382"/>
                <a:gd name="connsiteX314" fmla="*/ 1240630 w 2663946"/>
                <a:gd name="connsiteY314" fmla="*/ 71839 h 349382"/>
                <a:gd name="connsiteX315" fmla="*/ 1237435 w 2663946"/>
                <a:gd name="connsiteY315" fmla="*/ 75354 h 349382"/>
                <a:gd name="connsiteX316" fmla="*/ 1235223 w 2663946"/>
                <a:gd name="connsiteY316" fmla="*/ 79139 h 349382"/>
                <a:gd name="connsiteX317" fmla="*/ 1234240 w 2663946"/>
                <a:gd name="connsiteY317" fmla="*/ 81843 h 349382"/>
                <a:gd name="connsiteX318" fmla="*/ 1233256 w 2663946"/>
                <a:gd name="connsiteY318" fmla="*/ 85899 h 349382"/>
                <a:gd name="connsiteX319" fmla="*/ 1232273 w 2663946"/>
                <a:gd name="connsiteY319" fmla="*/ 92929 h 349382"/>
                <a:gd name="connsiteX320" fmla="*/ 1233256 w 2663946"/>
                <a:gd name="connsiteY320" fmla="*/ 100229 h 349382"/>
                <a:gd name="connsiteX321" fmla="*/ 1234486 w 2663946"/>
                <a:gd name="connsiteY321" fmla="*/ 104014 h 349382"/>
                <a:gd name="connsiteX322" fmla="*/ 1236698 w 2663946"/>
                <a:gd name="connsiteY322" fmla="*/ 108340 h 349382"/>
                <a:gd name="connsiteX323" fmla="*/ 1240139 w 2663946"/>
                <a:gd name="connsiteY323" fmla="*/ 112667 h 349382"/>
                <a:gd name="connsiteX324" fmla="*/ 1244563 w 2663946"/>
                <a:gd name="connsiteY324" fmla="*/ 115370 h 349382"/>
                <a:gd name="connsiteX325" fmla="*/ 1256854 w 2663946"/>
                <a:gd name="connsiteY325" fmla="*/ 112937 h 349382"/>
                <a:gd name="connsiteX326" fmla="*/ 1260049 w 2663946"/>
                <a:gd name="connsiteY326" fmla="*/ 109422 h 349382"/>
                <a:gd name="connsiteX327" fmla="*/ 1262507 w 2663946"/>
                <a:gd name="connsiteY327" fmla="*/ 105096 h 349382"/>
                <a:gd name="connsiteX328" fmla="*/ 1263490 w 2663946"/>
                <a:gd name="connsiteY328" fmla="*/ 102933 h 349382"/>
                <a:gd name="connsiteX329" fmla="*/ 1264719 w 2663946"/>
                <a:gd name="connsiteY329" fmla="*/ 98607 h 349382"/>
                <a:gd name="connsiteX330" fmla="*/ 1264228 w 2663946"/>
                <a:gd name="connsiteY330" fmla="*/ 84817 h 349382"/>
                <a:gd name="connsiteX331" fmla="*/ 1263244 w 2663946"/>
                <a:gd name="connsiteY331" fmla="*/ 81843 h 349382"/>
                <a:gd name="connsiteX332" fmla="*/ 1262016 w 2663946"/>
                <a:gd name="connsiteY332" fmla="*/ 78869 h 349382"/>
                <a:gd name="connsiteX333" fmla="*/ 1259803 w 2663946"/>
                <a:gd name="connsiteY333" fmla="*/ 75354 h 349382"/>
                <a:gd name="connsiteX334" fmla="*/ 1256116 w 2663946"/>
                <a:gd name="connsiteY334" fmla="*/ 71569 h 349382"/>
                <a:gd name="connsiteX335" fmla="*/ 1252183 w 2663946"/>
                <a:gd name="connsiteY335" fmla="*/ 69406 h 349382"/>
                <a:gd name="connsiteX336" fmla="*/ 1070232 w 2663946"/>
                <a:gd name="connsiteY336" fmla="*/ 69406 h 349382"/>
                <a:gd name="connsiteX337" fmla="*/ 1058679 w 2663946"/>
                <a:gd name="connsiteY337" fmla="*/ 71839 h 349382"/>
                <a:gd name="connsiteX338" fmla="*/ 1055484 w 2663946"/>
                <a:gd name="connsiteY338" fmla="*/ 75354 h 349382"/>
                <a:gd name="connsiteX339" fmla="*/ 1053272 w 2663946"/>
                <a:gd name="connsiteY339" fmla="*/ 79139 h 349382"/>
                <a:gd name="connsiteX340" fmla="*/ 1052289 w 2663946"/>
                <a:gd name="connsiteY340" fmla="*/ 81843 h 349382"/>
                <a:gd name="connsiteX341" fmla="*/ 1051305 w 2663946"/>
                <a:gd name="connsiteY341" fmla="*/ 85899 h 349382"/>
                <a:gd name="connsiteX342" fmla="*/ 1050322 w 2663946"/>
                <a:gd name="connsiteY342" fmla="*/ 92929 h 349382"/>
                <a:gd name="connsiteX343" fmla="*/ 1051305 w 2663946"/>
                <a:gd name="connsiteY343" fmla="*/ 100229 h 349382"/>
                <a:gd name="connsiteX344" fmla="*/ 1052535 w 2663946"/>
                <a:gd name="connsiteY344" fmla="*/ 104014 h 349382"/>
                <a:gd name="connsiteX345" fmla="*/ 1054747 w 2663946"/>
                <a:gd name="connsiteY345" fmla="*/ 108340 h 349382"/>
                <a:gd name="connsiteX346" fmla="*/ 1058188 w 2663946"/>
                <a:gd name="connsiteY346" fmla="*/ 112667 h 349382"/>
                <a:gd name="connsiteX347" fmla="*/ 1062612 w 2663946"/>
                <a:gd name="connsiteY347" fmla="*/ 115370 h 349382"/>
                <a:gd name="connsiteX348" fmla="*/ 1074903 w 2663946"/>
                <a:gd name="connsiteY348" fmla="*/ 112937 h 349382"/>
                <a:gd name="connsiteX349" fmla="*/ 1078098 w 2663946"/>
                <a:gd name="connsiteY349" fmla="*/ 109422 h 349382"/>
                <a:gd name="connsiteX350" fmla="*/ 1080556 w 2663946"/>
                <a:gd name="connsiteY350" fmla="*/ 105096 h 349382"/>
                <a:gd name="connsiteX351" fmla="*/ 1081539 w 2663946"/>
                <a:gd name="connsiteY351" fmla="*/ 102933 h 349382"/>
                <a:gd name="connsiteX352" fmla="*/ 1082768 w 2663946"/>
                <a:gd name="connsiteY352" fmla="*/ 98607 h 349382"/>
                <a:gd name="connsiteX353" fmla="*/ 1082277 w 2663946"/>
                <a:gd name="connsiteY353" fmla="*/ 84817 h 349382"/>
                <a:gd name="connsiteX354" fmla="*/ 1081293 w 2663946"/>
                <a:gd name="connsiteY354" fmla="*/ 81843 h 349382"/>
                <a:gd name="connsiteX355" fmla="*/ 1080065 w 2663946"/>
                <a:gd name="connsiteY355" fmla="*/ 78869 h 349382"/>
                <a:gd name="connsiteX356" fmla="*/ 1077852 w 2663946"/>
                <a:gd name="connsiteY356" fmla="*/ 75354 h 349382"/>
                <a:gd name="connsiteX357" fmla="*/ 1074165 w 2663946"/>
                <a:gd name="connsiteY357" fmla="*/ 71569 h 349382"/>
                <a:gd name="connsiteX358" fmla="*/ 1070232 w 2663946"/>
                <a:gd name="connsiteY358" fmla="*/ 69406 h 349382"/>
                <a:gd name="connsiteX359" fmla="*/ 903203 w 2663946"/>
                <a:gd name="connsiteY359" fmla="*/ 69406 h 349382"/>
                <a:gd name="connsiteX360" fmla="*/ 891650 w 2663946"/>
                <a:gd name="connsiteY360" fmla="*/ 71839 h 349382"/>
                <a:gd name="connsiteX361" fmla="*/ 888455 w 2663946"/>
                <a:gd name="connsiteY361" fmla="*/ 75354 h 349382"/>
                <a:gd name="connsiteX362" fmla="*/ 886243 w 2663946"/>
                <a:gd name="connsiteY362" fmla="*/ 79139 h 349382"/>
                <a:gd name="connsiteX363" fmla="*/ 885260 w 2663946"/>
                <a:gd name="connsiteY363" fmla="*/ 81843 h 349382"/>
                <a:gd name="connsiteX364" fmla="*/ 884276 w 2663946"/>
                <a:gd name="connsiteY364" fmla="*/ 85899 h 349382"/>
                <a:gd name="connsiteX365" fmla="*/ 883293 w 2663946"/>
                <a:gd name="connsiteY365" fmla="*/ 92929 h 349382"/>
                <a:gd name="connsiteX366" fmla="*/ 884276 w 2663946"/>
                <a:gd name="connsiteY366" fmla="*/ 100229 h 349382"/>
                <a:gd name="connsiteX367" fmla="*/ 885506 w 2663946"/>
                <a:gd name="connsiteY367" fmla="*/ 104014 h 349382"/>
                <a:gd name="connsiteX368" fmla="*/ 887718 w 2663946"/>
                <a:gd name="connsiteY368" fmla="*/ 108340 h 349382"/>
                <a:gd name="connsiteX369" fmla="*/ 891159 w 2663946"/>
                <a:gd name="connsiteY369" fmla="*/ 112667 h 349382"/>
                <a:gd name="connsiteX370" fmla="*/ 895583 w 2663946"/>
                <a:gd name="connsiteY370" fmla="*/ 115370 h 349382"/>
                <a:gd name="connsiteX371" fmla="*/ 907874 w 2663946"/>
                <a:gd name="connsiteY371" fmla="*/ 112937 h 349382"/>
                <a:gd name="connsiteX372" fmla="*/ 911069 w 2663946"/>
                <a:gd name="connsiteY372" fmla="*/ 109422 h 349382"/>
                <a:gd name="connsiteX373" fmla="*/ 913527 w 2663946"/>
                <a:gd name="connsiteY373" fmla="*/ 105096 h 349382"/>
                <a:gd name="connsiteX374" fmla="*/ 914510 w 2663946"/>
                <a:gd name="connsiteY374" fmla="*/ 102933 h 349382"/>
                <a:gd name="connsiteX375" fmla="*/ 915739 w 2663946"/>
                <a:gd name="connsiteY375" fmla="*/ 98607 h 349382"/>
                <a:gd name="connsiteX376" fmla="*/ 915248 w 2663946"/>
                <a:gd name="connsiteY376" fmla="*/ 84817 h 349382"/>
                <a:gd name="connsiteX377" fmla="*/ 914264 w 2663946"/>
                <a:gd name="connsiteY377" fmla="*/ 81843 h 349382"/>
                <a:gd name="connsiteX378" fmla="*/ 913036 w 2663946"/>
                <a:gd name="connsiteY378" fmla="*/ 78869 h 349382"/>
                <a:gd name="connsiteX379" fmla="*/ 910823 w 2663946"/>
                <a:gd name="connsiteY379" fmla="*/ 75354 h 349382"/>
                <a:gd name="connsiteX380" fmla="*/ 907136 w 2663946"/>
                <a:gd name="connsiteY380" fmla="*/ 71569 h 349382"/>
                <a:gd name="connsiteX381" fmla="*/ 903203 w 2663946"/>
                <a:gd name="connsiteY381" fmla="*/ 69406 h 349382"/>
                <a:gd name="connsiteX382" fmla="*/ 554297 w 2663946"/>
                <a:gd name="connsiteY382" fmla="*/ 69406 h 349382"/>
                <a:gd name="connsiteX383" fmla="*/ 542744 w 2663946"/>
                <a:gd name="connsiteY383" fmla="*/ 71839 h 349382"/>
                <a:gd name="connsiteX384" fmla="*/ 539549 w 2663946"/>
                <a:gd name="connsiteY384" fmla="*/ 75354 h 349382"/>
                <a:gd name="connsiteX385" fmla="*/ 537337 w 2663946"/>
                <a:gd name="connsiteY385" fmla="*/ 79139 h 349382"/>
                <a:gd name="connsiteX386" fmla="*/ 536353 w 2663946"/>
                <a:gd name="connsiteY386" fmla="*/ 81843 h 349382"/>
                <a:gd name="connsiteX387" fmla="*/ 535370 w 2663946"/>
                <a:gd name="connsiteY387" fmla="*/ 85899 h 349382"/>
                <a:gd name="connsiteX388" fmla="*/ 534387 w 2663946"/>
                <a:gd name="connsiteY388" fmla="*/ 92929 h 349382"/>
                <a:gd name="connsiteX389" fmla="*/ 535370 w 2663946"/>
                <a:gd name="connsiteY389" fmla="*/ 100229 h 349382"/>
                <a:gd name="connsiteX390" fmla="*/ 536599 w 2663946"/>
                <a:gd name="connsiteY390" fmla="*/ 104014 h 349382"/>
                <a:gd name="connsiteX391" fmla="*/ 538811 w 2663946"/>
                <a:gd name="connsiteY391" fmla="*/ 108340 h 349382"/>
                <a:gd name="connsiteX392" fmla="*/ 542253 w 2663946"/>
                <a:gd name="connsiteY392" fmla="*/ 112667 h 349382"/>
                <a:gd name="connsiteX393" fmla="*/ 546677 w 2663946"/>
                <a:gd name="connsiteY393" fmla="*/ 115370 h 349382"/>
                <a:gd name="connsiteX394" fmla="*/ 558967 w 2663946"/>
                <a:gd name="connsiteY394" fmla="*/ 112937 h 349382"/>
                <a:gd name="connsiteX395" fmla="*/ 562163 w 2663946"/>
                <a:gd name="connsiteY395" fmla="*/ 109422 h 349382"/>
                <a:gd name="connsiteX396" fmla="*/ 564621 w 2663946"/>
                <a:gd name="connsiteY396" fmla="*/ 105096 h 349382"/>
                <a:gd name="connsiteX397" fmla="*/ 565604 w 2663946"/>
                <a:gd name="connsiteY397" fmla="*/ 102933 h 349382"/>
                <a:gd name="connsiteX398" fmla="*/ 566833 w 2663946"/>
                <a:gd name="connsiteY398" fmla="*/ 98607 h 349382"/>
                <a:gd name="connsiteX399" fmla="*/ 566341 w 2663946"/>
                <a:gd name="connsiteY399" fmla="*/ 84817 h 349382"/>
                <a:gd name="connsiteX400" fmla="*/ 565358 w 2663946"/>
                <a:gd name="connsiteY400" fmla="*/ 81843 h 349382"/>
                <a:gd name="connsiteX401" fmla="*/ 564129 w 2663946"/>
                <a:gd name="connsiteY401" fmla="*/ 78869 h 349382"/>
                <a:gd name="connsiteX402" fmla="*/ 561917 w 2663946"/>
                <a:gd name="connsiteY402" fmla="*/ 75354 h 349382"/>
                <a:gd name="connsiteX403" fmla="*/ 558230 w 2663946"/>
                <a:gd name="connsiteY403" fmla="*/ 71569 h 349382"/>
                <a:gd name="connsiteX404" fmla="*/ 554297 w 2663946"/>
                <a:gd name="connsiteY404" fmla="*/ 69406 h 349382"/>
                <a:gd name="connsiteX405" fmla="*/ 372346 w 2663946"/>
                <a:gd name="connsiteY405" fmla="*/ 69406 h 349382"/>
                <a:gd name="connsiteX406" fmla="*/ 360793 w 2663946"/>
                <a:gd name="connsiteY406" fmla="*/ 71839 h 349382"/>
                <a:gd name="connsiteX407" fmla="*/ 357598 w 2663946"/>
                <a:gd name="connsiteY407" fmla="*/ 75354 h 349382"/>
                <a:gd name="connsiteX408" fmla="*/ 355385 w 2663946"/>
                <a:gd name="connsiteY408" fmla="*/ 79139 h 349382"/>
                <a:gd name="connsiteX409" fmla="*/ 354402 w 2663946"/>
                <a:gd name="connsiteY409" fmla="*/ 81843 h 349382"/>
                <a:gd name="connsiteX410" fmla="*/ 353419 w 2663946"/>
                <a:gd name="connsiteY410" fmla="*/ 85899 h 349382"/>
                <a:gd name="connsiteX411" fmla="*/ 352436 w 2663946"/>
                <a:gd name="connsiteY411" fmla="*/ 92929 h 349382"/>
                <a:gd name="connsiteX412" fmla="*/ 353419 w 2663946"/>
                <a:gd name="connsiteY412" fmla="*/ 100229 h 349382"/>
                <a:gd name="connsiteX413" fmla="*/ 354648 w 2663946"/>
                <a:gd name="connsiteY413" fmla="*/ 104014 h 349382"/>
                <a:gd name="connsiteX414" fmla="*/ 356860 w 2663946"/>
                <a:gd name="connsiteY414" fmla="*/ 108340 h 349382"/>
                <a:gd name="connsiteX415" fmla="*/ 360301 w 2663946"/>
                <a:gd name="connsiteY415" fmla="*/ 112667 h 349382"/>
                <a:gd name="connsiteX416" fmla="*/ 364726 w 2663946"/>
                <a:gd name="connsiteY416" fmla="*/ 115370 h 349382"/>
                <a:gd name="connsiteX417" fmla="*/ 377016 w 2663946"/>
                <a:gd name="connsiteY417" fmla="*/ 112937 h 349382"/>
                <a:gd name="connsiteX418" fmla="*/ 380212 w 2663946"/>
                <a:gd name="connsiteY418" fmla="*/ 109422 h 349382"/>
                <a:gd name="connsiteX419" fmla="*/ 382670 w 2663946"/>
                <a:gd name="connsiteY419" fmla="*/ 105096 h 349382"/>
                <a:gd name="connsiteX420" fmla="*/ 383653 w 2663946"/>
                <a:gd name="connsiteY420" fmla="*/ 102933 h 349382"/>
                <a:gd name="connsiteX421" fmla="*/ 384882 w 2663946"/>
                <a:gd name="connsiteY421" fmla="*/ 98607 h 349382"/>
                <a:gd name="connsiteX422" fmla="*/ 384390 w 2663946"/>
                <a:gd name="connsiteY422" fmla="*/ 84817 h 349382"/>
                <a:gd name="connsiteX423" fmla="*/ 383407 w 2663946"/>
                <a:gd name="connsiteY423" fmla="*/ 81843 h 349382"/>
                <a:gd name="connsiteX424" fmla="*/ 382178 w 2663946"/>
                <a:gd name="connsiteY424" fmla="*/ 78869 h 349382"/>
                <a:gd name="connsiteX425" fmla="*/ 379966 w 2663946"/>
                <a:gd name="connsiteY425" fmla="*/ 75354 h 349382"/>
                <a:gd name="connsiteX426" fmla="*/ 376279 w 2663946"/>
                <a:gd name="connsiteY426" fmla="*/ 71569 h 349382"/>
                <a:gd name="connsiteX427" fmla="*/ 372346 w 2663946"/>
                <a:gd name="connsiteY427" fmla="*/ 69406 h 349382"/>
                <a:gd name="connsiteX428" fmla="*/ 129300 w 2663946"/>
                <a:gd name="connsiteY428" fmla="*/ 69406 h 349382"/>
                <a:gd name="connsiteX429" fmla="*/ 117747 w 2663946"/>
                <a:gd name="connsiteY429" fmla="*/ 71839 h 349382"/>
                <a:gd name="connsiteX430" fmla="*/ 114552 w 2663946"/>
                <a:gd name="connsiteY430" fmla="*/ 75354 h 349382"/>
                <a:gd name="connsiteX431" fmla="*/ 112340 w 2663946"/>
                <a:gd name="connsiteY431" fmla="*/ 79139 h 349382"/>
                <a:gd name="connsiteX432" fmla="*/ 111356 w 2663946"/>
                <a:gd name="connsiteY432" fmla="*/ 81843 h 349382"/>
                <a:gd name="connsiteX433" fmla="*/ 110373 w 2663946"/>
                <a:gd name="connsiteY433" fmla="*/ 85899 h 349382"/>
                <a:gd name="connsiteX434" fmla="*/ 109390 w 2663946"/>
                <a:gd name="connsiteY434" fmla="*/ 92929 h 349382"/>
                <a:gd name="connsiteX435" fmla="*/ 110373 w 2663946"/>
                <a:gd name="connsiteY435" fmla="*/ 100229 h 349382"/>
                <a:gd name="connsiteX436" fmla="*/ 111602 w 2663946"/>
                <a:gd name="connsiteY436" fmla="*/ 104014 h 349382"/>
                <a:gd name="connsiteX437" fmla="*/ 113814 w 2663946"/>
                <a:gd name="connsiteY437" fmla="*/ 108340 h 349382"/>
                <a:gd name="connsiteX438" fmla="*/ 117256 w 2663946"/>
                <a:gd name="connsiteY438" fmla="*/ 112667 h 349382"/>
                <a:gd name="connsiteX439" fmla="*/ 121680 w 2663946"/>
                <a:gd name="connsiteY439" fmla="*/ 115370 h 349382"/>
                <a:gd name="connsiteX440" fmla="*/ 133970 w 2663946"/>
                <a:gd name="connsiteY440" fmla="*/ 112937 h 349382"/>
                <a:gd name="connsiteX441" fmla="*/ 137166 w 2663946"/>
                <a:gd name="connsiteY441" fmla="*/ 109422 h 349382"/>
                <a:gd name="connsiteX442" fmla="*/ 139624 w 2663946"/>
                <a:gd name="connsiteY442" fmla="*/ 105096 h 349382"/>
                <a:gd name="connsiteX443" fmla="*/ 140607 w 2663946"/>
                <a:gd name="connsiteY443" fmla="*/ 102933 h 349382"/>
                <a:gd name="connsiteX444" fmla="*/ 141836 w 2663946"/>
                <a:gd name="connsiteY444" fmla="*/ 98607 h 349382"/>
                <a:gd name="connsiteX445" fmla="*/ 141344 w 2663946"/>
                <a:gd name="connsiteY445" fmla="*/ 84817 h 349382"/>
                <a:gd name="connsiteX446" fmla="*/ 140361 w 2663946"/>
                <a:gd name="connsiteY446" fmla="*/ 81843 h 349382"/>
                <a:gd name="connsiteX447" fmla="*/ 139132 w 2663946"/>
                <a:gd name="connsiteY447" fmla="*/ 78869 h 349382"/>
                <a:gd name="connsiteX448" fmla="*/ 136920 w 2663946"/>
                <a:gd name="connsiteY448" fmla="*/ 75354 h 349382"/>
                <a:gd name="connsiteX449" fmla="*/ 133233 w 2663946"/>
                <a:gd name="connsiteY449" fmla="*/ 71569 h 349382"/>
                <a:gd name="connsiteX450" fmla="*/ 129300 w 2663946"/>
                <a:gd name="connsiteY450" fmla="*/ 69406 h 349382"/>
                <a:gd name="connsiteX451" fmla="*/ 33147 w 2663946"/>
                <a:gd name="connsiteY451" fmla="*/ 65470 h 349382"/>
                <a:gd name="connsiteX452" fmla="*/ 21486 w 2663946"/>
                <a:gd name="connsiteY452" fmla="*/ 73199 h 349382"/>
                <a:gd name="connsiteX453" fmla="*/ 20561 w 2663946"/>
                <a:gd name="connsiteY453" fmla="*/ 77782 h 349382"/>
                <a:gd name="connsiteX454" fmla="*/ 23801 w 2663946"/>
                <a:gd name="connsiteY454" fmla="*/ 77782 h 349382"/>
                <a:gd name="connsiteX455" fmla="*/ 42218 w 2663946"/>
                <a:gd name="connsiteY455" fmla="*/ 77782 h 349382"/>
                <a:gd name="connsiteX456" fmla="*/ 45732 w 2663946"/>
                <a:gd name="connsiteY456" fmla="*/ 77782 h 349382"/>
                <a:gd name="connsiteX457" fmla="*/ 44807 w 2663946"/>
                <a:gd name="connsiteY457" fmla="*/ 73199 h 349382"/>
                <a:gd name="connsiteX458" fmla="*/ 33147 w 2663946"/>
                <a:gd name="connsiteY458" fmla="*/ 65470 h 349382"/>
                <a:gd name="connsiteX459" fmla="*/ 2537931 w 2663946"/>
                <a:gd name="connsiteY459" fmla="*/ 57882 h 349382"/>
                <a:gd name="connsiteX460" fmla="*/ 2526271 w 2663946"/>
                <a:gd name="connsiteY460" fmla="*/ 65611 h 349382"/>
                <a:gd name="connsiteX461" fmla="*/ 2525346 w 2663946"/>
                <a:gd name="connsiteY461" fmla="*/ 70194 h 349382"/>
                <a:gd name="connsiteX462" fmla="*/ 2528586 w 2663946"/>
                <a:gd name="connsiteY462" fmla="*/ 70194 h 349382"/>
                <a:gd name="connsiteX463" fmla="*/ 2547003 w 2663946"/>
                <a:gd name="connsiteY463" fmla="*/ 70194 h 349382"/>
                <a:gd name="connsiteX464" fmla="*/ 2550517 w 2663946"/>
                <a:gd name="connsiteY464" fmla="*/ 70194 h 349382"/>
                <a:gd name="connsiteX465" fmla="*/ 2549592 w 2663946"/>
                <a:gd name="connsiteY465" fmla="*/ 65611 h 349382"/>
                <a:gd name="connsiteX466" fmla="*/ 2537931 w 2663946"/>
                <a:gd name="connsiteY466" fmla="*/ 57882 h 349382"/>
                <a:gd name="connsiteX467" fmla="*/ 2112934 w 2663946"/>
                <a:gd name="connsiteY467" fmla="*/ 57882 h 349382"/>
                <a:gd name="connsiteX468" fmla="*/ 2101274 w 2663946"/>
                <a:gd name="connsiteY468" fmla="*/ 65611 h 349382"/>
                <a:gd name="connsiteX469" fmla="*/ 2100349 w 2663946"/>
                <a:gd name="connsiteY469" fmla="*/ 70194 h 349382"/>
                <a:gd name="connsiteX470" fmla="*/ 2103589 w 2663946"/>
                <a:gd name="connsiteY470" fmla="*/ 70194 h 349382"/>
                <a:gd name="connsiteX471" fmla="*/ 2122006 w 2663946"/>
                <a:gd name="connsiteY471" fmla="*/ 70194 h 349382"/>
                <a:gd name="connsiteX472" fmla="*/ 2125520 w 2663946"/>
                <a:gd name="connsiteY472" fmla="*/ 70194 h 349382"/>
                <a:gd name="connsiteX473" fmla="*/ 2124595 w 2663946"/>
                <a:gd name="connsiteY473" fmla="*/ 65611 h 349382"/>
                <a:gd name="connsiteX474" fmla="*/ 2112934 w 2663946"/>
                <a:gd name="connsiteY474" fmla="*/ 57882 h 349382"/>
                <a:gd name="connsiteX475" fmla="*/ 1854966 w 2663946"/>
                <a:gd name="connsiteY475" fmla="*/ 57882 h 349382"/>
                <a:gd name="connsiteX476" fmla="*/ 1843306 w 2663946"/>
                <a:gd name="connsiteY476" fmla="*/ 65611 h 349382"/>
                <a:gd name="connsiteX477" fmla="*/ 1842381 w 2663946"/>
                <a:gd name="connsiteY477" fmla="*/ 70194 h 349382"/>
                <a:gd name="connsiteX478" fmla="*/ 1845621 w 2663946"/>
                <a:gd name="connsiteY478" fmla="*/ 70194 h 349382"/>
                <a:gd name="connsiteX479" fmla="*/ 1864038 w 2663946"/>
                <a:gd name="connsiteY479" fmla="*/ 70194 h 349382"/>
                <a:gd name="connsiteX480" fmla="*/ 1867552 w 2663946"/>
                <a:gd name="connsiteY480" fmla="*/ 70194 h 349382"/>
                <a:gd name="connsiteX481" fmla="*/ 1866627 w 2663946"/>
                <a:gd name="connsiteY481" fmla="*/ 65611 h 349382"/>
                <a:gd name="connsiteX482" fmla="*/ 1854966 w 2663946"/>
                <a:gd name="connsiteY482" fmla="*/ 57882 h 349382"/>
                <a:gd name="connsiteX483" fmla="*/ 1764027 w 2663946"/>
                <a:gd name="connsiteY483" fmla="*/ 57882 h 349382"/>
                <a:gd name="connsiteX484" fmla="*/ 1752367 w 2663946"/>
                <a:gd name="connsiteY484" fmla="*/ 65611 h 349382"/>
                <a:gd name="connsiteX485" fmla="*/ 1751442 w 2663946"/>
                <a:gd name="connsiteY485" fmla="*/ 70194 h 349382"/>
                <a:gd name="connsiteX486" fmla="*/ 1754682 w 2663946"/>
                <a:gd name="connsiteY486" fmla="*/ 70194 h 349382"/>
                <a:gd name="connsiteX487" fmla="*/ 1773099 w 2663946"/>
                <a:gd name="connsiteY487" fmla="*/ 70194 h 349382"/>
                <a:gd name="connsiteX488" fmla="*/ 1776613 w 2663946"/>
                <a:gd name="connsiteY488" fmla="*/ 70194 h 349382"/>
                <a:gd name="connsiteX489" fmla="*/ 1775687 w 2663946"/>
                <a:gd name="connsiteY489" fmla="*/ 65611 h 349382"/>
                <a:gd name="connsiteX490" fmla="*/ 1764027 w 2663946"/>
                <a:gd name="connsiteY490" fmla="*/ 57882 h 349382"/>
                <a:gd name="connsiteX491" fmla="*/ 1506059 w 2663946"/>
                <a:gd name="connsiteY491" fmla="*/ 57882 h 349382"/>
                <a:gd name="connsiteX492" fmla="*/ 1494399 w 2663946"/>
                <a:gd name="connsiteY492" fmla="*/ 65611 h 349382"/>
                <a:gd name="connsiteX493" fmla="*/ 1493474 w 2663946"/>
                <a:gd name="connsiteY493" fmla="*/ 70194 h 349382"/>
                <a:gd name="connsiteX494" fmla="*/ 1496714 w 2663946"/>
                <a:gd name="connsiteY494" fmla="*/ 70194 h 349382"/>
                <a:gd name="connsiteX495" fmla="*/ 1515131 w 2663946"/>
                <a:gd name="connsiteY495" fmla="*/ 70194 h 349382"/>
                <a:gd name="connsiteX496" fmla="*/ 1518645 w 2663946"/>
                <a:gd name="connsiteY496" fmla="*/ 70194 h 349382"/>
                <a:gd name="connsiteX497" fmla="*/ 1517719 w 2663946"/>
                <a:gd name="connsiteY497" fmla="*/ 65611 h 349382"/>
                <a:gd name="connsiteX498" fmla="*/ 1506059 w 2663946"/>
                <a:gd name="connsiteY498" fmla="*/ 57882 h 349382"/>
                <a:gd name="connsiteX499" fmla="*/ 1415120 w 2663946"/>
                <a:gd name="connsiteY499" fmla="*/ 57882 h 349382"/>
                <a:gd name="connsiteX500" fmla="*/ 1403460 w 2663946"/>
                <a:gd name="connsiteY500" fmla="*/ 65611 h 349382"/>
                <a:gd name="connsiteX501" fmla="*/ 1402535 w 2663946"/>
                <a:gd name="connsiteY501" fmla="*/ 70194 h 349382"/>
                <a:gd name="connsiteX502" fmla="*/ 1405775 w 2663946"/>
                <a:gd name="connsiteY502" fmla="*/ 70194 h 349382"/>
                <a:gd name="connsiteX503" fmla="*/ 1424192 w 2663946"/>
                <a:gd name="connsiteY503" fmla="*/ 70194 h 349382"/>
                <a:gd name="connsiteX504" fmla="*/ 1427706 w 2663946"/>
                <a:gd name="connsiteY504" fmla="*/ 70194 h 349382"/>
                <a:gd name="connsiteX505" fmla="*/ 1426780 w 2663946"/>
                <a:gd name="connsiteY505" fmla="*/ 65611 h 349382"/>
                <a:gd name="connsiteX506" fmla="*/ 1415120 w 2663946"/>
                <a:gd name="connsiteY506" fmla="*/ 57882 h 349382"/>
                <a:gd name="connsiteX507" fmla="*/ 1157152 w 2663946"/>
                <a:gd name="connsiteY507" fmla="*/ 57882 h 349382"/>
                <a:gd name="connsiteX508" fmla="*/ 1145492 w 2663946"/>
                <a:gd name="connsiteY508" fmla="*/ 65611 h 349382"/>
                <a:gd name="connsiteX509" fmla="*/ 1144567 w 2663946"/>
                <a:gd name="connsiteY509" fmla="*/ 70194 h 349382"/>
                <a:gd name="connsiteX510" fmla="*/ 1147807 w 2663946"/>
                <a:gd name="connsiteY510" fmla="*/ 70194 h 349382"/>
                <a:gd name="connsiteX511" fmla="*/ 1166224 w 2663946"/>
                <a:gd name="connsiteY511" fmla="*/ 70194 h 349382"/>
                <a:gd name="connsiteX512" fmla="*/ 1169738 w 2663946"/>
                <a:gd name="connsiteY512" fmla="*/ 70194 h 349382"/>
                <a:gd name="connsiteX513" fmla="*/ 1168812 w 2663946"/>
                <a:gd name="connsiteY513" fmla="*/ 65611 h 349382"/>
                <a:gd name="connsiteX514" fmla="*/ 1157152 w 2663946"/>
                <a:gd name="connsiteY514" fmla="*/ 57882 h 349382"/>
                <a:gd name="connsiteX515" fmla="*/ 732156 w 2663946"/>
                <a:gd name="connsiteY515" fmla="*/ 57882 h 349382"/>
                <a:gd name="connsiteX516" fmla="*/ 720495 w 2663946"/>
                <a:gd name="connsiteY516" fmla="*/ 65611 h 349382"/>
                <a:gd name="connsiteX517" fmla="*/ 719570 w 2663946"/>
                <a:gd name="connsiteY517" fmla="*/ 70194 h 349382"/>
                <a:gd name="connsiteX518" fmla="*/ 722810 w 2663946"/>
                <a:gd name="connsiteY518" fmla="*/ 70194 h 349382"/>
                <a:gd name="connsiteX519" fmla="*/ 741228 w 2663946"/>
                <a:gd name="connsiteY519" fmla="*/ 70194 h 349382"/>
                <a:gd name="connsiteX520" fmla="*/ 744742 w 2663946"/>
                <a:gd name="connsiteY520" fmla="*/ 70194 h 349382"/>
                <a:gd name="connsiteX521" fmla="*/ 743816 w 2663946"/>
                <a:gd name="connsiteY521" fmla="*/ 65611 h 349382"/>
                <a:gd name="connsiteX522" fmla="*/ 732156 w 2663946"/>
                <a:gd name="connsiteY522" fmla="*/ 57882 h 349382"/>
                <a:gd name="connsiteX523" fmla="*/ 641217 w 2663946"/>
                <a:gd name="connsiteY523" fmla="*/ 57882 h 349382"/>
                <a:gd name="connsiteX524" fmla="*/ 629556 w 2663946"/>
                <a:gd name="connsiteY524" fmla="*/ 65611 h 349382"/>
                <a:gd name="connsiteX525" fmla="*/ 628631 w 2663946"/>
                <a:gd name="connsiteY525" fmla="*/ 70194 h 349382"/>
                <a:gd name="connsiteX526" fmla="*/ 631871 w 2663946"/>
                <a:gd name="connsiteY526" fmla="*/ 70194 h 349382"/>
                <a:gd name="connsiteX527" fmla="*/ 650289 w 2663946"/>
                <a:gd name="connsiteY527" fmla="*/ 70194 h 349382"/>
                <a:gd name="connsiteX528" fmla="*/ 653802 w 2663946"/>
                <a:gd name="connsiteY528" fmla="*/ 70194 h 349382"/>
                <a:gd name="connsiteX529" fmla="*/ 652877 w 2663946"/>
                <a:gd name="connsiteY529" fmla="*/ 65611 h 349382"/>
                <a:gd name="connsiteX530" fmla="*/ 641217 w 2663946"/>
                <a:gd name="connsiteY530" fmla="*/ 57882 h 349382"/>
                <a:gd name="connsiteX531" fmla="*/ 459266 w 2663946"/>
                <a:gd name="connsiteY531" fmla="*/ 57882 h 349382"/>
                <a:gd name="connsiteX532" fmla="*/ 447605 w 2663946"/>
                <a:gd name="connsiteY532" fmla="*/ 65611 h 349382"/>
                <a:gd name="connsiteX533" fmla="*/ 446680 w 2663946"/>
                <a:gd name="connsiteY533" fmla="*/ 70194 h 349382"/>
                <a:gd name="connsiteX534" fmla="*/ 449920 w 2663946"/>
                <a:gd name="connsiteY534" fmla="*/ 70194 h 349382"/>
                <a:gd name="connsiteX535" fmla="*/ 468337 w 2663946"/>
                <a:gd name="connsiteY535" fmla="*/ 70194 h 349382"/>
                <a:gd name="connsiteX536" fmla="*/ 471851 w 2663946"/>
                <a:gd name="connsiteY536" fmla="*/ 70194 h 349382"/>
                <a:gd name="connsiteX537" fmla="*/ 470926 w 2663946"/>
                <a:gd name="connsiteY537" fmla="*/ 65611 h 349382"/>
                <a:gd name="connsiteX538" fmla="*/ 459266 w 2663946"/>
                <a:gd name="connsiteY538" fmla="*/ 57882 h 349382"/>
                <a:gd name="connsiteX539" fmla="*/ 2361413 w 2663946"/>
                <a:gd name="connsiteY539" fmla="*/ 53522 h 349382"/>
                <a:gd name="connsiteX540" fmla="*/ 2365469 w 2663946"/>
                <a:gd name="connsiteY540" fmla="*/ 53522 h 349382"/>
                <a:gd name="connsiteX541" fmla="*/ 2370065 w 2663946"/>
                <a:gd name="connsiteY541" fmla="*/ 55956 h 349382"/>
                <a:gd name="connsiteX542" fmla="*/ 2372229 w 2663946"/>
                <a:gd name="connsiteY542" fmla="*/ 62174 h 349382"/>
                <a:gd name="connsiteX543" fmla="*/ 2372229 w 2663946"/>
                <a:gd name="connsiteY543" fmla="*/ 62715 h 349382"/>
                <a:gd name="connsiteX544" fmla="*/ 2372229 w 2663946"/>
                <a:gd name="connsiteY544" fmla="*/ 115710 h 349382"/>
                <a:gd name="connsiteX545" fmla="*/ 2372769 w 2663946"/>
                <a:gd name="connsiteY545" fmla="*/ 116250 h 349382"/>
                <a:gd name="connsiteX546" fmla="*/ 2380069 w 2663946"/>
                <a:gd name="connsiteY546" fmla="*/ 116250 h 349382"/>
                <a:gd name="connsiteX547" fmla="*/ 2384125 w 2663946"/>
                <a:gd name="connsiteY547" fmla="*/ 117332 h 349382"/>
                <a:gd name="connsiteX548" fmla="*/ 2387910 w 2663946"/>
                <a:gd name="connsiteY548" fmla="*/ 124091 h 349382"/>
                <a:gd name="connsiteX549" fmla="*/ 2385207 w 2663946"/>
                <a:gd name="connsiteY549" fmla="*/ 129769 h 349382"/>
                <a:gd name="connsiteX550" fmla="*/ 2381151 w 2663946"/>
                <a:gd name="connsiteY550" fmla="*/ 131662 h 349382"/>
                <a:gd name="connsiteX551" fmla="*/ 2380881 w 2663946"/>
                <a:gd name="connsiteY551" fmla="*/ 131662 h 349382"/>
                <a:gd name="connsiteX552" fmla="*/ 2380610 w 2663946"/>
                <a:gd name="connsiteY552" fmla="*/ 131662 h 349382"/>
                <a:gd name="connsiteX553" fmla="*/ 2380069 w 2663946"/>
                <a:gd name="connsiteY553" fmla="*/ 131662 h 349382"/>
                <a:gd name="connsiteX554" fmla="*/ 2347894 w 2663946"/>
                <a:gd name="connsiteY554" fmla="*/ 131662 h 349382"/>
                <a:gd name="connsiteX555" fmla="*/ 2347354 w 2663946"/>
                <a:gd name="connsiteY555" fmla="*/ 131662 h 349382"/>
                <a:gd name="connsiteX556" fmla="*/ 2346542 w 2663946"/>
                <a:gd name="connsiteY556" fmla="*/ 131662 h 349382"/>
                <a:gd name="connsiteX557" fmla="*/ 2345731 w 2663946"/>
                <a:gd name="connsiteY557" fmla="*/ 131392 h 349382"/>
                <a:gd name="connsiteX558" fmla="*/ 2342216 w 2663946"/>
                <a:gd name="connsiteY558" fmla="*/ 129499 h 349382"/>
                <a:gd name="connsiteX559" fmla="*/ 2339783 w 2663946"/>
                <a:gd name="connsiteY559" fmla="*/ 123821 h 349382"/>
                <a:gd name="connsiteX560" fmla="*/ 2341946 w 2663946"/>
                <a:gd name="connsiteY560" fmla="*/ 118684 h 349382"/>
                <a:gd name="connsiteX561" fmla="*/ 2347624 w 2663946"/>
                <a:gd name="connsiteY561" fmla="*/ 116250 h 349382"/>
                <a:gd name="connsiteX562" fmla="*/ 2355465 w 2663946"/>
                <a:gd name="connsiteY562" fmla="*/ 116250 h 349382"/>
                <a:gd name="connsiteX563" fmla="*/ 2356006 w 2663946"/>
                <a:gd name="connsiteY563" fmla="*/ 115710 h 349382"/>
                <a:gd name="connsiteX564" fmla="*/ 2356006 w 2663946"/>
                <a:gd name="connsiteY564" fmla="*/ 69745 h 349382"/>
                <a:gd name="connsiteX565" fmla="*/ 2355465 w 2663946"/>
                <a:gd name="connsiteY565" fmla="*/ 69204 h 349382"/>
                <a:gd name="connsiteX566" fmla="*/ 2349517 w 2663946"/>
                <a:gd name="connsiteY566" fmla="*/ 69204 h 349382"/>
                <a:gd name="connsiteX567" fmla="*/ 2342216 w 2663946"/>
                <a:gd name="connsiteY567" fmla="*/ 64608 h 349382"/>
                <a:gd name="connsiteX568" fmla="*/ 2341946 w 2663946"/>
                <a:gd name="connsiteY568" fmla="*/ 58930 h 349382"/>
                <a:gd name="connsiteX569" fmla="*/ 2349246 w 2663946"/>
                <a:gd name="connsiteY569" fmla="*/ 53793 h 349382"/>
                <a:gd name="connsiteX570" fmla="*/ 2361413 w 2663946"/>
                <a:gd name="connsiteY570" fmla="*/ 53522 h 349382"/>
                <a:gd name="connsiteX571" fmla="*/ 2285396 w 2663946"/>
                <a:gd name="connsiteY571" fmla="*/ 53522 h 349382"/>
                <a:gd name="connsiteX572" fmla="*/ 2289452 w 2663946"/>
                <a:gd name="connsiteY572" fmla="*/ 53522 h 349382"/>
                <a:gd name="connsiteX573" fmla="*/ 2294048 w 2663946"/>
                <a:gd name="connsiteY573" fmla="*/ 55956 h 349382"/>
                <a:gd name="connsiteX574" fmla="*/ 2296212 w 2663946"/>
                <a:gd name="connsiteY574" fmla="*/ 62174 h 349382"/>
                <a:gd name="connsiteX575" fmla="*/ 2296212 w 2663946"/>
                <a:gd name="connsiteY575" fmla="*/ 62715 h 349382"/>
                <a:gd name="connsiteX576" fmla="*/ 2296212 w 2663946"/>
                <a:gd name="connsiteY576" fmla="*/ 115710 h 349382"/>
                <a:gd name="connsiteX577" fmla="*/ 2296752 w 2663946"/>
                <a:gd name="connsiteY577" fmla="*/ 116250 h 349382"/>
                <a:gd name="connsiteX578" fmla="*/ 2304052 w 2663946"/>
                <a:gd name="connsiteY578" fmla="*/ 116250 h 349382"/>
                <a:gd name="connsiteX579" fmla="*/ 2308108 w 2663946"/>
                <a:gd name="connsiteY579" fmla="*/ 117332 h 349382"/>
                <a:gd name="connsiteX580" fmla="*/ 2311893 w 2663946"/>
                <a:gd name="connsiteY580" fmla="*/ 124091 h 349382"/>
                <a:gd name="connsiteX581" fmla="*/ 2309190 w 2663946"/>
                <a:gd name="connsiteY581" fmla="*/ 129769 h 349382"/>
                <a:gd name="connsiteX582" fmla="*/ 2305134 w 2663946"/>
                <a:gd name="connsiteY582" fmla="*/ 131662 h 349382"/>
                <a:gd name="connsiteX583" fmla="*/ 2304864 w 2663946"/>
                <a:gd name="connsiteY583" fmla="*/ 131662 h 349382"/>
                <a:gd name="connsiteX584" fmla="*/ 2304593 w 2663946"/>
                <a:gd name="connsiteY584" fmla="*/ 131662 h 349382"/>
                <a:gd name="connsiteX585" fmla="*/ 2304052 w 2663946"/>
                <a:gd name="connsiteY585" fmla="*/ 131662 h 349382"/>
                <a:gd name="connsiteX586" fmla="*/ 2271877 w 2663946"/>
                <a:gd name="connsiteY586" fmla="*/ 131662 h 349382"/>
                <a:gd name="connsiteX587" fmla="*/ 2271337 w 2663946"/>
                <a:gd name="connsiteY587" fmla="*/ 131662 h 349382"/>
                <a:gd name="connsiteX588" fmla="*/ 2270525 w 2663946"/>
                <a:gd name="connsiteY588" fmla="*/ 131662 h 349382"/>
                <a:gd name="connsiteX589" fmla="*/ 2269714 w 2663946"/>
                <a:gd name="connsiteY589" fmla="*/ 131392 h 349382"/>
                <a:gd name="connsiteX590" fmla="*/ 2266199 w 2663946"/>
                <a:gd name="connsiteY590" fmla="*/ 129499 h 349382"/>
                <a:gd name="connsiteX591" fmla="*/ 2263766 w 2663946"/>
                <a:gd name="connsiteY591" fmla="*/ 123821 h 349382"/>
                <a:gd name="connsiteX592" fmla="*/ 2265929 w 2663946"/>
                <a:gd name="connsiteY592" fmla="*/ 118684 h 349382"/>
                <a:gd name="connsiteX593" fmla="*/ 2271607 w 2663946"/>
                <a:gd name="connsiteY593" fmla="*/ 116250 h 349382"/>
                <a:gd name="connsiteX594" fmla="*/ 2279448 w 2663946"/>
                <a:gd name="connsiteY594" fmla="*/ 116250 h 349382"/>
                <a:gd name="connsiteX595" fmla="*/ 2279989 w 2663946"/>
                <a:gd name="connsiteY595" fmla="*/ 115710 h 349382"/>
                <a:gd name="connsiteX596" fmla="*/ 2279989 w 2663946"/>
                <a:gd name="connsiteY596" fmla="*/ 69745 h 349382"/>
                <a:gd name="connsiteX597" fmla="*/ 2279448 w 2663946"/>
                <a:gd name="connsiteY597" fmla="*/ 69204 h 349382"/>
                <a:gd name="connsiteX598" fmla="*/ 2273500 w 2663946"/>
                <a:gd name="connsiteY598" fmla="*/ 69204 h 349382"/>
                <a:gd name="connsiteX599" fmla="*/ 2266199 w 2663946"/>
                <a:gd name="connsiteY599" fmla="*/ 64608 h 349382"/>
                <a:gd name="connsiteX600" fmla="*/ 2265929 w 2663946"/>
                <a:gd name="connsiteY600" fmla="*/ 58930 h 349382"/>
                <a:gd name="connsiteX601" fmla="*/ 2273229 w 2663946"/>
                <a:gd name="connsiteY601" fmla="*/ 53793 h 349382"/>
                <a:gd name="connsiteX602" fmla="*/ 2285396 w 2663946"/>
                <a:gd name="connsiteY602" fmla="*/ 53522 h 349382"/>
                <a:gd name="connsiteX603" fmla="*/ 1936416 w 2663946"/>
                <a:gd name="connsiteY603" fmla="*/ 53522 h 349382"/>
                <a:gd name="connsiteX604" fmla="*/ 1940472 w 2663946"/>
                <a:gd name="connsiteY604" fmla="*/ 53522 h 349382"/>
                <a:gd name="connsiteX605" fmla="*/ 1945068 w 2663946"/>
                <a:gd name="connsiteY605" fmla="*/ 55956 h 349382"/>
                <a:gd name="connsiteX606" fmla="*/ 1947232 w 2663946"/>
                <a:gd name="connsiteY606" fmla="*/ 62174 h 349382"/>
                <a:gd name="connsiteX607" fmla="*/ 1947232 w 2663946"/>
                <a:gd name="connsiteY607" fmla="*/ 62715 h 349382"/>
                <a:gd name="connsiteX608" fmla="*/ 1947232 w 2663946"/>
                <a:gd name="connsiteY608" fmla="*/ 115710 h 349382"/>
                <a:gd name="connsiteX609" fmla="*/ 1947772 w 2663946"/>
                <a:gd name="connsiteY609" fmla="*/ 116250 h 349382"/>
                <a:gd name="connsiteX610" fmla="*/ 1955072 w 2663946"/>
                <a:gd name="connsiteY610" fmla="*/ 116250 h 349382"/>
                <a:gd name="connsiteX611" fmla="*/ 1959128 w 2663946"/>
                <a:gd name="connsiteY611" fmla="*/ 117332 h 349382"/>
                <a:gd name="connsiteX612" fmla="*/ 1962913 w 2663946"/>
                <a:gd name="connsiteY612" fmla="*/ 124091 h 349382"/>
                <a:gd name="connsiteX613" fmla="*/ 1960210 w 2663946"/>
                <a:gd name="connsiteY613" fmla="*/ 129769 h 349382"/>
                <a:gd name="connsiteX614" fmla="*/ 1956154 w 2663946"/>
                <a:gd name="connsiteY614" fmla="*/ 131662 h 349382"/>
                <a:gd name="connsiteX615" fmla="*/ 1955884 w 2663946"/>
                <a:gd name="connsiteY615" fmla="*/ 131662 h 349382"/>
                <a:gd name="connsiteX616" fmla="*/ 1955613 w 2663946"/>
                <a:gd name="connsiteY616" fmla="*/ 131662 h 349382"/>
                <a:gd name="connsiteX617" fmla="*/ 1955072 w 2663946"/>
                <a:gd name="connsiteY617" fmla="*/ 131662 h 349382"/>
                <a:gd name="connsiteX618" fmla="*/ 1922897 w 2663946"/>
                <a:gd name="connsiteY618" fmla="*/ 131662 h 349382"/>
                <a:gd name="connsiteX619" fmla="*/ 1922357 w 2663946"/>
                <a:gd name="connsiteY619" fmla="*/ 131662 h 349382"/>
                <a:gd name="connsiteX620" fmla="*/ 1921545 w 2663946"/>
                <a:gd name="connsiteY620" fmla="*/ 131662 h 349382"/>
                <a:gd name="connsiteX621" fmla="*/ 1920734 w 2663946"/>
                <a:gd name="connsiteY621" fmla="*/ 131392 h 349382"/>
                <a:gd name="connsiteX622" fmla="*/ 1917219 w 2663946"/>
                <a:gd name="connsiteY622" fmla="*/ 129499 h 349382"/>
                <a:gd name="connsiteX623" fmla="*/ 1914786 w 2663946"/>
                <a:gd name="connsiteY623" fmla="*/ 123821 h 349382"/>
                <a:gd name="connsiteX624" fmla="*/ 1916949 w 2663946"/>
                <a:gd name="connsiteY624" fmla="*/ 118684 h 349382"/>
                <a:gd name="connsiteX625" fmla="*/ 1922627 w 2663946"/>
                <a:gd name="connsiteY625" fmla="*/ 116250 h 349382"/>
                <a:gd name="connsiteX626" fmla="*/ 1930468 w 2663946"/>
                <a:gd name="connsiteY626" fmla="*/ 116250 h 349382"/>
                <a:gd name="connsiteX627" fmla="*/ 1931009 w 2663946"/>
                <a:gd name="connsiteY627" fmla="*/ 115710 h 349382"/>
                <a:gd name="connsiteX628" fmla="*/ 1931009 w 2663946"/>
                <a:gd name="connsiteY628" fmla="*/ 69745 h 349382"/>
                <a:gd name="connsiteX629" fmla="*/ 1930468 w 2663946"/>
                <a:gd name="connsiteY629" fmla="*/ 69204 h 349382"/>
                <a:gd name="connsiteX630" fmla="*/ 1924520 w 2663946"/>
                <a:gd name="connsiteY630" fmla="*/ 69204 h 349382"/>
                <a:gd name="connsiteX631" fmla="*/ 1917219 w 2663946"/>
                <a:gd name="connsiteY631" fmla="*/ 64608 h 349382"/>
                <a:gd name="connsiteX632" fmla="*/ 1916949 w 2663946"/>
                <a:gd name="connsiteY632" fmla="*/ 58930 h 349382"/>
                <a:gd name="connsiteX633" fmla="*/ 1924249 w 2663946"/>
                <a:gd name="connsiteY633" fmla="*/ 53793 h 349382"/>
                <a:gd name="connsiteX634" fmla="*/ 1936416 w 2663946"/>
                <a:gd name="connsiteY634" fmla="*/ 53522 h 349382"/>
                <a:gd name="connsiteX635" fmla="*/ 1678521 w 2663946"/>
                <a:gd name="connsiteY635" fmla="*/ 53522 h 349382"/>
                <a:gd name="connsiteX636" fmla="*/ 1682577 w 2663946"/>
                <a:gd name="connsiteY636" fmla="*/ 53522 h 349382"/>
                <a:gd name="connsiteX637" fmla="*/ 1687173 w 2663946"/>
                <a:gd name="connsiteY637" fmla="*/ 55956 h 349382"/>
                <a:gd name="connsiteX638" fmla="*/ 1689336 w 2663946"/>
                <a:gd name="connsiteY638" fmla="*/ 62174 h 349382"/>
                <a:gd name="connsiteX639" fmla="*/ 1689336 w 2663946"/>
                <a:gd name="connsiteY639" fmla="*/ 62715 h 349382"/>
                <a:gd name="connsiteX640" fmla="*/ 1689336 w 2663946"/>
                <a:gd name="connsiteY640" fmla="*/ 115710 h 349382"/>
                <a:gd name="connsiteX641" fmla="*/ 1689877 w 2663946"/>
                <a:gd name="connsiteY641" fmla="*/ 116250 h 349382"/>
                <a:gd name="connsiteX642" fmla="*/ 1697177 w 2663946"/>
                <a:gd name="connsiteY642" fmla="*/ 116250 h 349382"/>
                <a:gd name="connsiteX643" fmla="*/ 1701233 w 2663946"/>
                <a:gd name="connsiteY643" fmla="*/ 117332 h 349382"/>
                <a:gd name="connsiteX644" fmla="*/ 1705018 w 2663946"/>
                <a:gd name="connsiteY644" fmla="*/ 124091 h 349382"/>
                <a:gd name="connsiteX645" fmla="*/ 1702315 w 2663946"/>
                <a:gd name="connsiteY645" fmla="*/ 129769 h 349382"/>
                <a:gd name="connsiteX646" fmla="*/ 1698259 w 2663946"/>
                <a:gd name="connsiteY646" fmla="*/ 131662 h 349382"/>
                <a:gd name="connsiteX647" fmla="*/ 1697989 w 2663946"/>
                <a:gd name="connsiteY647" fmla="*/ 131662 h 349382"/>
                <a:gd name="connsiteX648" fmla="*/ 1697718 w 2663946"/>
                <a:gd name="connsiteY648" fmla="*/ 131662 h 349382"/>
                <a:gd name="connsiteX649" fmla="*/ 1697177 w 2663946"/>
                <a:gd name="connsiteY649" fmla="*/ 131662 h 349382"/>
                <a:gd name="connsiteX650" fmla="*/ 1665002 w 2663946"/>
                <a:gd name="connsiteY650" fmla="*/ 131662 h 349382"/>
                <a:gd name="connsiteX651" fmla="*/ 1664462 w 2663946"/>
                <a:gd name="connsiteY651" fmla="*/ 131662 h 349382"/>
                <a:gd name="connsiteX652" fmla="*/ 1663650 w 2663946"/>
                <a:gd name="connsiteY652" fmla="*/ 131662 h 349382"/>
                <a:gd name="connsiteX653" fmla="*/ 1662839 w 2663946"/>
                <a:gd name="connsiteY653" fmla="*/ 131392 h 349382"/>
                <a:gd name="connsiteX654" fmla="*/ 1659324 w 2663946"/>
                <a:gd name="connsiteY654" fmla="*/ 129499 h 349382"/>
                <a:gd name="connsiteX655" fmla="*/ 1656891 w 2663946"/>
                <a:gd name="connsiteY655" fmla="*/ 123821 h 349382"/>
                <a:gd name="connsiteX656" fmla="*/ 1659054 w 2663946"/>
                <a:gd name="connsiteY656" fmla="*/ 118684 h 349382"/>
                <a:gd name="connsiteX657" fmla="*/ 1664732 w 2663946"/>
                <a:gd name="connsiteY657" fmla="*/ 116250 h 349382"/>
                <a:gd name="connsiteX658" fmla="*/ 1672573 w 2663946"/>
                <a:gd name="connsiteY658" fmla="*/ 116250 h 349382"/>
                <a:gd name="connsiteX659" fmla="*/ 1673114 w 2663946"/>
                <a:gd name="connsiteY659" fmla="*/ 115710 h 349382"/>
                <a:gd name="connsiteX660" fmla="*/ 1673114 w 2663946"/>
                <a:gd name="connsiteY660" fmla="*/ 69745 h 349382"/>
                <a:gd name="connsiteX661" fmla="*/ 1672573 w 2663946"/>
                <a:gd name="connsiteY661" fmla="*/ 69204 h 349382"/>
                <a:gd name="connsiteX662" fmla="*/ 1666625 w 2663946"/>
                <a:gd name="connsiteY662" fmla="*/ 69204 h 349382"/>
                <a:gd name="connsiteX663" fmla="*/ 1659324 w 2663946"/>
                <a:gd name="connsiteY663" fmla="*/ 64608 h 349382"/>
                <a:gd name="connsiteX664" fmla="*/ 1659054 w 2663946"/>
                <a:gd name="connsiteY664" fmla="*/ 58930 h 349382"/>
                <a:gd name="connsiteX665" fmla="*/ 1666354 w 2663946"/>
                <a:gd name="connsiteY665" fmla="*/ 53793 h 349382"/>
                <a:gd name="connsiteX666" fmla="*/ 1678521 w 2663946"/>
                <a:gd name="connsiteY666" fmla="*/ 53522 h 349382"/>
                <a:gd name="connsiteX667" fmla="*/ 1329614 w 2663946"/>
                <a:gd name="connsiteY667" fmla="*/ 53522 h 349382"/>
                <a:gd name="connsiteX668" fmla="*/ 1333670 w 2663946"/>
                <a:gd name="connsiteY668" fmla="*/ 53522 h 349382"/>
                <a:gd name="connsiteX669" fmla="*/ 1338266 w 2663946"/>
                <a:gd name="connsiteY669" fmla="*/ 55956 h 349382"/>
                <a:gd name="connsiteX670" fmla="*/ 1340429 w 2663946"/>
                <a:gd name="connsiteY670" fmla="*/ 62174 h 349382"/>
                <a:gd name="connsiteX671" fmla="*/ 1340429 w 2663946"/>
                <a:gd name="connsiteY671" fmla="*/ 62715 h 349382"/>
                <a:gd name="connsiteX672" fmla="*/ 1340429 w 2663946"/>
                <a:gd name="connsiteY672" fmla="*/ 115710 h 349382"/>
                <a:gd name="connsiteX673" fmla="*/ 1340970 w 2663946"/>
                <a:gd name="connsiteY673" fmla="*/ 116250 h 349382"/>
                <a:gd name="connsiteX674" fmla="*/ 1348270 w 2663946"/>
                <a:gd name="connsiteY674" fmla="*/ 116250 h 349382"/>
                <a:gd name="connsiteX675" fmla="*/ 1352326 w 2663946"/>
                <a:gd name="connsiteY675" fmla="*/ 117332 h 349382"/>
                <a:gd name="connsiteX676" fmla="*/ 1356111 w 2663946"/>
                <a:gd name="connsiteY676" fmla="*/ 124091 h 349382"/>
                <a:gd name="connsiteX677" fmla="*/ 1353408 w 2663946"/>
                <a:gd name="connsiteY677" fmla="*/ 129769 h 349382"/>
                <a:gd name="connsiteX678" fmla="*/ 1349352 w 2663946"/>
                <a:gd name="connsiteY678" fmla="*/ 131662 h 349382"/>
                <a:gd name="connsiteX679" fmla="*/ 1349082 w 2663946"/>
                <a:gd name="connsiteY679" fmla="*/ 131662 h 349382"/>
                <a:gd name="connsiteX680" fmla="*/ 1348811 w 2663946"/>
                <a:gd name="connsiteY680" fmla="*/ 131662 h 349382"/>
                <a:gd name="connsiteX681" fmla="*/ 1348270 w 2663946"/>
                <a:gd name="connsiteY681" fmla="*/ 131662 h 349382"/>
                <a:gd name="connsiteX682" fmla="*/ 1316095 w 2663946"/>
                <a:gd name="connsiteY682" fmla="*/ 131662 h 349382"/>
                <a:gd name="connsiteX683" fmla="*/ 1315555 w 2663946"/>
                <a:gd name="connsiteY683" fmla="*/ 131662 h 349382"/>
                <a:gd name="connsiteX684" fmla="*/ 1314743 w 2663946"/>
                <a:gd name="connsiteY684" fmla="*/ 131662 h 349382"/>
                <a:gd name="connsiteX685" fmla="*/ 1313932 w 2663946"/>
                <a:gd name="connsiteY685" fmla="*/ 131392 h 349382"/>
                <a:gd name="connsiteX686" fmla="*/ 1310417 w 2663946"/>
                <a:gd name="connsiteY686" fmla="*/ 129499 h 349382"/>
                <a:gd name="connsiteX687" fmla="*/ 1307984 w 2663946"/>
                <a:gd name="connsiteY687" fmla="*/ 123821 h 349382"/>
                <a:gd name="connsiteX688" fmla="*/ 1310147 w 2663946"/>
                <a:gd name="connsiteY688" fmla="*/ 118684 h 349382"/>
                <a:gd name="connsiteX689" fmla="*/ 1315825 w 2663946"/>
                <a:gd name="connsiteY689" fmla="*/ 116250 h 349382"/>
                <a:gd name="connsiteX690" fmla="*/ 1323666 w 2663946"/>
                <a:gd name="connsiteY690" fmla="*/ 116250 h 349382"/>
                <a:gd name="connsiteX691" fmla="*/ 1324207 w 2663946"/>
                <a:gd name="connsiteY691" fmla="*/ 115710 h 349382"/>
                <a:gd name="connsiteX692" fmla="*/ 1324207 w 2663946"/>
                <a:gd name="connsiteY692" fmla="*/ 69745 h 349382"/>
                <a:gd name="connsiteX693" fmla="*/ 1323666 w 2663946"/>
                <a:gd name="connsiteY693" fmla="*/ 69204 h 349382"/>
                <a:gd name="connsiteX694" fmla="*/ 1317718 w 2663946"/>
                <a:gd name="connsiteY694" fmla="*/ 69204 h 349382"/>
                <a:gd name="connsiteX695" fmla="*/ 1310417 w 2663946"/>
                <a:gd name="connsiteY695" fmla="*/ 64608 h 349382"/>
                <a:gd name="connsiteX696" fmla="*/ 1310147 w 2663946"/>
                <a:gd name="connsiteY696" fmla="*/ 58930 h 349382"/>
                <a:gd name="connsiteX697" fmla="*/ 1317447 w 2663946"/>
                <a:gd name="connsiteY697" fmla="*/ 53793 h 349382"/>
                <a:gd name="connsiteX698" fmla="*/ 1329614 w 2663946"/>
                <a:gd name="connsiteY698" fmla="*/ 53522 h 349382"/>
                <a:gd name="connsiteX699" fmla="*/ 980634 w 2663946"/>
                <a:gd name="connsiteY699" fmla="*/ 53522 h 349382"/>
                <a:gd name="connsiteX700" fmla="*/ 984690 w 2663946"/>
                <a:gd name="connsiteY700" fmla="*/ 53522 h 349382"/>
                <a:gd name="connsiteX701" fmla="*/ 989286 w 2663946"/>
                <a:gd name="connsiteY701" fmla="*/ 55956 h 349382"/>
                <a:gd name="connsiteX702" fmla="*/ 991449 w 2663946"/>
                <a:gd name="connsiteY702" fmla="*/ 62174 h 349382"/>
                <a:gd name="connsiteX703" fmla="*/ 991449 w 2663946"/>
                <a:gd name="connsiteY703" fmla="*/ 62715 h 349382"/>
                <a:gd name="connsiteX704" fmla="*/ 991449 w 2663946"/>
                <a:gd name="connsiteY704" fmla="*/ 115710 h 349382"/>
                <a:gd name="connsiteX705" fmla="*/ 991990 w 2663946"/>
                <a:gd name="connsiteY705" fmla="*/ 116250 h 349382"/>
                <a:gd name="connsiteX706" fmla="*/ 999290 w 2663946"/>
                <a:gd name="connsiteY706" fmla="*/ 116250 h 349382"/>
                <a:gd name="connsiteX707" fmla="*/ 1003346 w 2663946"/>
                <a:gd name="connsiteY707" fmla="*/ 117332 h 349382"/>
                <a:gd name="connsiteX708" fmla="*/ 1007131 w 2663946"/>
                <a:gd name="connsiteY708" fmla="*/ 124091 h 349382"/>
                <a:gd name="connsiteX709" fmla="*/ 1004428 w 2663946"/>
                <a:gd name="connsiteY709" fmla="*/ 129769 h 349382"/>
                <a:gd name="connsiteX710" fmla="*/ 1000372 w 2663946"/>
                <a:gd name="connsiteY710" fmla="*/ 131662 h 349382"/>
                <a:gd name="connsiteX711" fmla="*/ 1000102 w 2663946"/>
                <a:gd name="connsiteY711" fmla="*/ 131662 h 349382"/>
                <a:gd name="connsiteX712" fmla="*/ 999831 w 2663946"/>
                <a:gd name="connsiteY712" fmla="*/ 131662 h 349382"/>
                <a:gd name="connsiteX713" fmla="*/ 999290 w 2663946"/>
                <a:gd name="connsiteY713" fmla="*/ 131662 h 349382"/>
                <a:gd name="connsiteX714" fmla="*/ 967115 w 2663946"/>
                <a:gd name="connsiteY714" fmla="*/ 131662 h 349382"/>
                <a:gd name="connsiteX715" fmla="*/ 966575 w 2663946"/>
                <a:gd name="connsiteY715" fmla="*/ 131662 h 349382"/>
                <a:gd name="connsiteX716" fmla="*/ 965763 w 2663946"/>
                <a:gd name="connsiteY716" fmla="*/ 131662 h 349382"/>
                <a:gd name="connsiteX717" fmla="*/ 964952 w 2663946"/>
                <a:gd name="connsiteY717" fmla="*/ 131392 h 349382"/>
                <a:gd name="connsiteX718" fmla="*/ 961437 w 2663946"/>
                <a:gd name="connsiteY718" fmla="*/ 129499 h 349382"/>
                <a:gd name="connsiteX719" fmla="*/ 959004 w 2663946"/>
                <a:gd name="connsiteY719" fmla="*/ 123821 h 349382"/>
                <a:gd name="connsiteX720" fmla="*/ 961167 w 2663946"/>
                <a:gd name="connsiteY720" fmla="*/ 118684 h 349382"/>
                <a:gd name="connsiteX721" fmla="*/ 966845 w 2663946"/>
                <a:gd name="connsiteY721" fmla="*/ 116250 h 349382"/>
                <a:gd name="connsiteX722" fmla="*/ 974686 w 2663946"/>
                <a:gd name="connsiteY722" fmla="*/ 116250 h 349382"/>
                <a:gd name="connsiteX723" fmla="*/ 975227 w 2663946"/>
                <a:gd name="connsiteY723" fmla="*/ 115710 h 349382"/>
                <a:gd name="connsiteX724" fmla="*/ 975227 w 2663946"/>
                <a:gd name="connsiteY724" fmla="*/ 69745 h 349382"/>
                <a:gd name="connsiteX725" fmla="*/ 974686 w 2663946"/>
                <a:gd name="connsiteY725" fmla="*/ 69204 h 349382"/>
                <a:gd name="connsiteX726" fmla="*/ 968738 w 2663946"/>
                <a:gd name="connsiteY726" fmla="*/ 69204 h 349382"/>
                <a:gd name="connsiteX727" fmla="*/ 961437 w 2663946"/>
                <a:gd name="connsiteY727" fmla="*/ 64608 h 349382"/>
                <a:gd name="connsiteX728" fmla="*/ 961167 w 2663946"/>
                <a:gd name="connsiteY728" fmla="*/ 58930 h 349382"/>
                <a:gd name="connsiteX729" fmla="*/ 968467 w 2663946"/>
                <a:gd name="connsiteY729" fmla="*/ 53793 h 349382"/>
                <a:gd name="connsiteX730" fmla="*/ 980634 w 2663946"/>
                <a:gd name="connsiteY730" fmla="*/ 53522 h 349382"/>
                <a:gd name="connsiteX731" fmla="*/ 813605 w 2663946"/>
                <a:gd name="connsiteY731" fmla="*/ 53522 h 349382"/>
                <a:gd name="connsiteX732" fmla="*/ 817661 w 2663946"/>
                <a:gd name="connsiteY732" fmla="*/ 53522 h 349382"/>
                <a:gd name="connsiteX733" fmla="*/ 822257 w 2663946"/>
                <a:gd name="connsiteY733" fmla="*/ 55956 h 349382"/>
                <a:gd name="connsiteX734" fmla="*/ 824420 w 2663946"/>
                <a:gd name="connsiteY734" fmla="*/ 62174 h 349382"/>
                <a:gd name="connsiteX735" fmla="*/ 824420 w 2663946"/>
                <a:gd name="connsiteY735" fmla="*/ 62715 h 349382"/>
                <a:gd name="connsiteX736" fmla="*/ 824420 w 2663946"/>
                <a:gd name="connsiteY736" fmla="*/ 115710 h 349382"/>
                <a:gd name="connsiteX737" fmla="*/ 824961 w 2663946"/>
                <a:gd name="connsiteY737" fmla="*/ 116250 h 349382"/>
                <a:gd name="connsiteX738" fmla="*/ 832261 w 2663946"/>
                <a:gd name="connsiteY738" fmla="*/ 116250 h 349382"/>
                <a:gd name="connsiteX739" fmla="*/ 836317 w 2663946"/>
                <a:gd name="connsiteY739" fmla="*/ 117332 h 349382"/>
                <a:gd name="connsiteX740" fmla="*/ 840102 w 2663946"/>
                <a:gd name="connsiteY740" fmla="*/ 124091 h 349382"/>
                <a:gd name="connsiteX741" fmla="*/ 837399 w 2663946"/>
                <a:gd name="connsiteY741" fmla="*/ 129769 h 349382"/>
                <a:gd name="connsiteX742" fmla="*/ 833343 w 2663946"/>
                <a:gd name="connsiteY742" fmla="*/ 131662 h 349382"/>
                <a:gd name="connsiteX743" fmla="*/ 833073 w 2663946"/>
                <a:gd name="connsiteY743" fmla="*/ 131662 h 349382"/>
                <a:gd name="connsiteX744" fmla="*/ 832802 w 2663946"/>
                <a:gd name="connsiteY744" fmla="*/ 131662 h 349382"/>
                <a:gd name="connsiteX745" fmla="*/ 832261 w 2663946"/>
                <a:gd name="connsiteY745" fmla="*/ 131662 h 349382"/>
                <a:gd name="connsiteX746" fmla="*/ 800086 w 2663946"/>
                <a:gd name="connsiteY746" fmla="*/ 131662 h 349382"/>
                <a:gd name="connsiteX747" fmla="*/ 799546 w 2663946"/>
                <a:gd name="connsiteY747" fmla="*/ 131662 h 349382"/>
                <a:gd name="connsiteX748" fmla="*/ 798734 w 2663946"/>
                <a:gd name="connsiteY748" fmla="*/ 131662 h 349382"/>
                <a:gd name="connsiteX749" fmla="*/ 797923 w 2663946"/>
                <a:gd name="connsiteY749" fmla="*/ 131392 h 349382"/>
                <a:gd name="connsiteX750" fmla="*/ 794408 w 2663946"/>
                <a:gd name="connsiteY750" fmla="*/ 129499 h 349382"/>
                <a:gd name="connsiteX751" fmla="*/ 791975 w 2663946"/>
                <a:gd name="connsiteY751" fmla="*/ 123821 h 349382"/>
                <a:gd name="connsiteX752" fmla="*/ 794138 w 2663946"/>
                <a:gd name="connsiteY752" fmla="*/ 118684 h 349382"/>
                <a:gd name="connsiteX753" fmla="*/ 799816 w 2663946"/>
                <a:gd name="connsiteY753" fmla="*/ 116250 h 349382"/>
                <a:gd name="connsiteX754" fmla="*/ 807657 w 2663946"/>
                <a:gd name="connsiteY754" fmla="*/ 116250 h 349382"/>
                <a:gd name="connsiteX755" fmla="*/ 808198 w 2663946"/>
                <a:gd name="connsiteY755" fmla="*/ 115710 h 349382"/>
                <a:gd name="connsiteX756" fmla="*/ 808198 w 2663946"/>
                <a:gd name="connsiteY756" fmla="*/ 69745 h 349382"/>
                <a:gd name="connsiteX757" fmla="*/ 807657 w 2663946"/>
                <a:gd name="connsiteY757" fmla="*/ 69204 h 349382"/>
                <a:gd name="connsiteX758" fmla="*/ 801709 w 2663946"/>
                <a:gd name="connsiteY758" fmla="*/ 69204 h 349382"/>
                <a:gd name="connsiteX759" fmla="*/ 794408 w 2663946"/>
                <a:gd name="connsiteY759" fmla="*/ 64608 h 349382"/>
                <a:gd name="connsiteX760" fmla="*/ 794138 w 2663946"/>
                <a:gd name="connsiteY760" fmla="*/ 58930 h 349382"/>
                <a:gd name="connsiteX761" fmla="*/ 801438 w 2663946"/>
                <a:gd name="connsiteY761" fmla="*/ 53793 h 349382"/>
                <a:gd name="connsiteX762" fmla="*/ 813605 w 2663946"/>
                <a:gd name="connsiteY762" fmla="*/ 53522 h 349382"/>
                <a:gd name="connsiteX763" fmla="*/ 282748 w 2663946"/>
                <a:gd name="connsiteY763" fmla="*/ 53522 h 349382"/>
                <a:gd name="connsiteX764" fmla="*/ 286803 w 2663946"/>
                <a:gd name="connsiteY764" fmla="*/ 53522 h 349382"/>
                <a:gd name="connsiteX765" fmla="*/ 291400 w 2663946"/>
                <a:gd name="connsiteY765" fmla="*/ 55956 h 349382"/>
                <a:gd name="connsiteX766" fmla="*/ 293563 w 2663946"/>
                <a:gd name="connsiteY766" fmla="*/ 62174 h 349382"/>
                <a:gd name="connsiteX767" fmla="*/ 293563 w 2663946"/>
                <a:gd name="connsiteY767" fmla="*/ 62715 h 349382"/>
                <a:gd name="connsiteX768" fmla="*/ 293563 w 2663946"/>
                <a:gd name="connsiteY768" fmla="*/ 115710 h 349382"/>
                <a:gd name="connsiteX769" fmla="*/ 294104 w 2663946"/>
                <a:gd name="connsiteY769" fmla="*/ 116250 h 349382"/>
                <a:gd name="connsiteX770" fmla="*/ 301404 w 2663946"/>
                <a:gd name="connsiteY770" fmla="*/ 116250 h 349382"/>
                <a:gd name="connsiteX771" fmla="*/ 305460 w 2663946"/>
                <a:gd name="connsiteY771" fmla="*/ 117332 h 349382"/>
                <a:gd name="connsiteX772" fmla="*/ 309245 w 2663946"/>
                <a:gd name="connsiteY772" fmla="*/ 124091 h 349382"/>
                <a:gd name="connsiteX773" fmla="*/ 306541 w 2663946"/>
                <a:gd name="connsiteY773" fmla="*/ 129769 h 349382"/>
                <a:gd name="connsiteX774" fmla="*/ 302485 w 2663946"/>
                <a:gd name="connsiteY774" fmla="*/ 131662 h 349382"/>
                <a:gd name="connsiteX775" fmla="*/ 302215 w 2663946"/>
                <a:gd name="connsiteY775" fmla="*/ 131662 h 349382"/>
                <a:gd name="connsiteX776" fmla="*/ 301945 w 2663946"/>
                <a:gd name="connsiteY776" fmla="*/ 131662 h 349382"/>
                <a:gd name="connsiteX777" fmla="*/ 301404 w 2663946"/>
                <a:gd name="connsiteY777" fmla="*/ 131662 h 349382"/>
                <a:gd name="connsiteX778" fmla="*/ 269229 w 2663946"/>
                <a:gd name="connsiteY778" fmla="*/ 131662 h 349382"/>
                <a:gd name="connsiteX779" fmla="*/ 268688 w 2663946"/>
                <a:gd name="connsiteY779" fmla="*/ 131662 h 349382"/>
                <a:gd name="connsiteX780" fmla="*/ 267877 w 2663946"/>
                <a:gd name="connsiteY780" fmla="*/ 131662 h 349382"/>
                <a:gd name="connsiteX781" fmla="*/ 267066 w 2663946"/>
                <a:gd name="connsiteY781" fmla="*/ 131392 h 349382"/>
                <a:gd name="connsiteX782" fmla="*/ 263551 w 2663946"/>
                <a:gd name="connsiteY782" fmla="*/ 129499 h 349382"/>
                <a:gd name="connsiteX783" fmla="*/ 261117 w 2663946"/>
                <a:gd name="connsiteY783" fmla="*/ 123821 h 349382"/>
                <a:gd name="connsiteX784" fmla="*/ 263281 w 2663946"/>
                <a:gd name="connsiteY784" fmla="*/ 118684 h 349382"/>
                <a:gd name="connsiteX785" fmla="*/ 268958 w 2663946"/>
                <a:gd name="connsiteY785" fmla="*/ 116250 h 349382"/>
                <a:gd name="connsiteX786" fmla="*/ 276800 w 2663946"/>
                <a:gd name="connsiteY786" fmla="*/ 116250 h 349382"/>
                <a:gd name="connsiteX787" fmla="*/ 277340 w 2663946"/>
                <a:gd name="connsiteY787" fmla="*/ 115710 h 349382"/>
                <a:gd name="connsiteX788" fmla="*/ 277340 w 2663946"/>
                <a:gd name="connsiteY788" fmla="*/ 69745 h 349382"/>
                <a:gd name="connsiteX789" fmla="*/ 276800 w 2663946"/>
                <a:gd name="connsiteY789" fmla="*/ 69204 h 349382"/>
                <a:gd name="connsiteX790" fmla="*/ 270851 w 2663946"/>
                <a:gd name="connsiteY790" fmla="*/ 69204 h 349382"/>
                <a:gd name="connsiteX791" fmla="*/ 263551 w 2663946"/>
                <a:gd name="connsiteY791" fmla="*/ 64608 h 349382"/>
                <a:gd name="connsiteX792" fmla="*/ 263281 w 2663946"/>
                <a:gd name="connsiteY792" fmla="*/ 58930 h 349382"/>
                <a:gd name="connsiteX793" fmla="*/ 270581 w 2663946"/>
                <a:gd name="connsiteY793" fmla="*/ 53793 h 349382"/>
                <a:gd name="connsiteX794" fmla="*/ 282748 w 2663946"/>
                <a:gd name="connsiteY794" fmla="*/ 53522 h 349382"/>
                <a:gd name="connsiteX795" fmla="*/ 206731 w 2663946"/>
                <a:gd name="connsiteY795" fmla="*/ 53522 h 349382"/>
                <a:gd name="connsiteX796" fmla="*/ 210787 w 2663946"/>
                <a:gd name="connsiteY796" fmla="*/ 53522 h 349382"/>
                <a:gd name="connsiteX797" fmla="*/ 215383 w 2663946"/>
                <a:gd name="connsiteY797" fmla="*/ 55956 h 349382"/>
                <a:gd name="connsiteX798" fmla="*/ 217546 w 2663946"/>
                <a:gd name="connsiteY798" fmla="*/ 62174 h 349382"/>
                <a:gd name="connsiteX799" fmla="*/ 217546 w 2663946"/>
                <a:gd name="connsiteY799" fmla="*/ 62715 h 349382"/>
                <a:gd name="connsiteX800" fmla="*/ 217546 w 2663946"/>
                <a:gd name="connsiteY800" fmla="*/ 115710 h 349382"/>
                <a:gd name="connsiteX801" fmla="*/ 218087 w 2663946"/>
                <a:gd name="connsiteY801" fmla="*/ 116250 h 349382"/>
                <a:gd name="connsiteX802" fmla="*/ 225387 w 2663946"/>
                <a:gd name="connsiteY802" fmla="*/ 116250 h 349382"/>
                <a:gd name="connsiteX803" fmla="*/ 229443 w 2663946"/>
                <a:gd name="connsiteY803" fmla="*/ 117332 h 349382"/>
                <a:gd name="connsiteX804" fmla="*/ 233228 w 2663946"/>
                <a:gd name="connsiteY804" fmla="*/ 124091 h 349382"/>
                <a:gd name="connsiteX805" fmla="*/ 230524 w 2663946"/>
                <a:gd name="connsiteY805" fmla="*/ 129769 h 349382"/>
                <a:gd name="connsiteX806" fmla="*/ 226468 w 2663946"/>
                <a:gd name="connsiteY806" fmla="*/ 131662 h 349382"/>
                <a:gd name="connsiteX807" fmla="*/ 226198 w 2663946"/>
                <a:gd name="connsiteY807" fmla="*/ 131662 h 349382"/>
                <a:gd name="connsiteX808" fmla="*/ 225928 w 2663946"/>
                <a:gd name="connsiteY808" fmla="*/ 131662 h 349382"/>
                <a:gd name="connsiteX809" fmla="*/ 225387 w 2663946"/>
                <a:gd name="connsiteY809" fmla="*/ 131662 h 349382"/>
                <a:gd name="connsiteX810" fmla="*/ 193212 w 2663946"/>
                <a:gd name="connsiteY810" fmla="*/ 131662 h 349382"/>
                <a:gd name="connsiteX811" fmla="*/ 192671 w 2663946"/>
                <a:gd name="connsiteY811" fmla="*/ 131662 h 349382"/>
                <a:gd name="connsiteX812" fmla="*/ 191860 w 2663946"/>
                <a:gd name="connsiteY812" fmla="*/ 131662 h 349382"/>
                <a:gd name="connsiteX813" fmla="*/ 191049 w 2663946"/>
                <a:gd name="connsiteY813" fmla="*/ 131392 h 349382"/>
                <a:gd name="connsiteX814" fmla="*/ 187534 w 2663946"/>
                <a:gd name="connsiteY814" fmla="*/ 129499 h 349382"/>
                <a:gd name="connsiteX815" fmla="*/ 185101 w 2663946"/>
                <a:gd name="connsiteY815" fmla="*/ 123821 h 349382"/>
                <a:gd name="connsiteX816" fmla="*/ 187264 w 2663946"/>
                <a:gd name="connsiteY816" fmla="*/ 118684 h 349382"/>
                <a:gd name="connsiteX817" fmla="*/ 192942 w 2663946"/>
                <a:gd name="connsiteY817" fmla="*/ 116250 h 349382"/>
                <a:gd name="connsiteX818" fmla="*/ 200783 w 2663946"/>
                <a:gd name="connsiteY818" fmla="*/ 116250 h 349382"/>
                <a:gd name="connsiteX819" fmla="*/ 201323 w 2663946"/>
                <a:gd name="connsiteY819" fmla="*/ 115710 h 349382"/>
                <a:gd name="connsiteX820" fmla="*/ 201323 w 2663946"/>
                <a:gd name="connsiteY820" fmla="*/ 69745 h 349382"/>
                <a:gd name="connsiteX821" fmla="*/ 200783 w 2663946"/>
                <a:gd name="connsiteY821" fmla="*/ 69204 h 349382"/>
                <a:gd name="connsiteX822" fmla="*/ 194834 w 2663946"/>
                <a:gd name="connsiteY822" fmla="*/ 69204 h 349382"/>
                <a:gd name="connsiteX823" fmla="*/ 187534 w 2663946"/>
                <a:gd name="connsiteY823" fmla="*/ 64608 h 349382"/>
                <a:gd name="connsiteX824" fmla="*/ 187264 w 2663946"/>
                <a:gd name="connsiteY824" fmla="*/ 58930 h 349382"/>
                <a:gd name="connsiteX825" fmla="*/ 194564 w 2663946"/>
                <a:gd name="connsiteY825" fmla="*/ 53793 h 349382"/>
                <a:gd name="connsiteX826" fmla="*/ 206731 w 2663946"/>
                <a:gd name="connsiteY826" fmla="*/ 53522 h 349382"/>
                <a:gd name="connsiteX827" fmla="*/ 2627559 w 2663946"/>
                <a:gd name="connsiteY827" fmla="*/ 53453 h 349382"/>
                <a:gd name="connsiteX828" fmla="*/ 2639849 w 2663946"/>
                <a:gd name="connsiteY828" fmla="*/ 55616 h 349382"/>
                <a:gd name="connsiteX829" fmla="*/ 2647223 w 2663946"/>
                <a:gd name="connsiteY829" fmla="*/ 60213 h 349382"/>
                <a:gd name="connsiteX830" fmla="*/ 2650664 w 2663946"/>
                <a:gd name="connsiteY830" fmla="*/ 63457 h 349382"/>
                <a:gd name="connsiteX831" fmla="*/ 2654106 w 2663946"/>
                <a:gd name="connsiteY831" fmla="*/ 67783 h 349382"/>
                <a:gd name="connsiteX832" fmla="*/ 2656072 w 2663946"/>
                <a:gd name="connsiteY832" fmla="*/ 71298 h 349382"/>
                <a:gd name="connsiteX833" fmla="*/ 2658284 w 2663946"/>
                <a:gd name="connsiteY833" fmla="*/ 76706 h 349382"/>
                <a:gd name="connsiteX834" fmla="*/ 2659267 w 2663946"/>
                <a:gd name="connsiteY834" fmla="*/ 80221 h 349382"/>
                <a:gd name="connsiteX835" fmla="*/ 2660251 w 2663946"/>
                <a:gd name="connsiteY835" fmla="*/ 85358 h 349382"/>
                <a:gd name="connsiteX836" fmla="*/ 2660005 w 2663946"/>
                <a:gd name="connsiteY836" fmla="*/ 99688 h 349382"/>
                <a:gd name="connsiteX837" fmla="*/ 2659022 w 2663946"/>
                <a:gd name="connsiteY837" fmla="*/ 104555 h 349382"/>
                <a:gd name="connsiteX838" fmla="*/ 2657792 w 2663946"/>
                <a:gd name="connsiteY838" fmla="*/ 108340 h 349382"/>
                <a:gd name="connsiteX839" fmla="*/ 2656809 w 2663946"/>
                <a:gd name="connsiteY839" fmla="*/ 110774 h 349382"/>
                <a:gd name="connsiteX840" fmla="*/ 2654597 w 2663946"/>
                <a:gd name="connsiteY840" fmla="*/ 115100 h 349382"/>
                <a:gd name="connsiteX841" fmla="*/ 2652385 w 2663946"/>
                <a:gd name="connsiteY841" fmla="*/ 118344 h 349382"/>
                <a:gd name="connsiteX842" fmla="*/ 2648944 w 2663946"/>
                <a:gd name="connsiteY842" fmla="*/ 122130 h 349382"/>
                <a:gd name="connsiteX843" fmla="*/ 2645748 w 2663946"/>
                <a:gd name="connsiteY843" fmla="*/ 124833 h 349382"/>
                <a:gd name="connsiteX844" fmla="*/ 2640095 w 2663946"/>
                <a:gd name="connsiteY844" fmla="*/ 128078 h 349382"/>
                <a:gd name="connsiteX845" fmla="*/ 2632229 w 2663946"/>
                <a:gd name="connsiteY845" fmla="*/ 130241 h 349382"/>
                <a:gd name="connsiteX846" fmla="*/ 2631000 w 2663946"/>
                <a:gd name="connsiteY846" fmla="*/ 130512 h 349382"/>
                <a:gd name="connsiteX847" fmla="*/ 2626821 w 2663946"/>
                <a:gd name="connsiteY847" fmla="*/ 130512 h 349382"/>
                <a:gd name="connsiteX848" fmla="*/ 2626576 w 2663946"/>
                <a:gd name="connsiteY848" fmla="*/ 130512 h 349382"/>
                <a:gd name="connsiteX849" fmla="*/ 2613548 w 2663946"/>
                <a:gd name="connsiteY849" fmla="*/ 125645 h 349382"/>
                <a:gd name="connsiteX850" fmla="*/ 2608878 w 2663946"/>
                <a:gd name="connsiteY850" fmla="*/ 121589 h 349382"/>
                <a:gd name="connsiteX851" fmla="*/ 2605682 w 2663946"/>
                <a:gd name="connsiteY851" fmla="*/ 117804 h 349382"/>
                <a:gd name="connsiteX852" fmla="*/ 2603470 w 2663946"/>
                <a:gd name="connsiteY852" fmla="*/ 114289 h 349382"/>
                <a:gd name="connsiteX853" fmla="*/ 2601258 w 2663946"/>
                <a:gd name="connsiteY853" fmla="*/ 109963 h 349382"/>
                <a:gd name="connsiteX854" fmla="*/ 2600029 w 2663946"/>
                <a:gd name="connsiteY854" fmla="*/ 106988 h 349382"/>
                <a:gd name="connsiteX855" fmla="*/ 2599046 w 2663946"/>
                <a:gd name="connsiteY855" fmla="*/ 103744 h 349382"/>
                <a:gd name="connsiteX856" fmla="*/ 2597816 w 2663946"/>
                <a:gd name="connsiteY856" fmla="*/ 98066 h 349382"/>
                <a:gd name="connsiteX857" fmla="*/ 2597571 w 2663946"/>
                <a:gd name="connsiteY857" fmla="*/ 95092 h 349382"/>
                <a:gd name="connsiteX858" fmla="*/ 2597816 w 2663946"/>
                <a:gd name="connsiteY858" fmla="*/ 95362 h 349382"/>
                <a:gd name="connsiteX859" fmla="*/ 2597816 w 2663946"/>
                <a:gd name="connsiteY859" fmla="*/ 89684 h 349382"/>
                <a:gd name="connsiteX860" fmla="*/ 2597816 w 2663946"/>
                <a:gd name="connsiteY860" fmla="*/ 89414 h 349382"/>
                <a:gd name="connsiteX861" fmla="*/ 2598308 w 2663946"/>
                <a:gd name="connsiteY861" fmla="*/ 84817 h 349382"/>
                <a:gd name="connsiteX862" fmla="*/ 2599537 w 2663946"/>
                <a:gd name="connsiteY862" fmla="*/ 79410 h 349382"/>
                <a:gd name="connsiteX863" fmla="*/ 2600520 w 2663946"/>
                <a:gd name="connsiteY863" fmla="*/ 76165 h 349382"/>
                <a:gd name="connsiteX864" fmla="*/ 2602732 w 2663946"/>
                <a:gd name="connsiteY864" fmla="*/ 71028 h 349382"/>
                <a:gd name="connsiteX865" fmla="*/ 2604945 w 2663946"/>
                <a:gd name="connsiteY865" fmla="*/ 67243 h 349382"/>
                <a:gd name="connsiteX866" fmla="*/ 2607157 w 2663946"/>
                <a:gd name="connsiteY866" fmla="*/ 64268 h 349382"/>
                <a:gd name="connsiteX867" fmla="*/ 2609369 w 2663946"/>
                <a:gd name="connsiteY867" fmla="*/ 61835 h 349382"/>
                <a:gd name="connsiteX868" fmla="*/ 2614039 w 2663946"/>
                <a:gd name="connsiteY868" fmla="*/ 58050 h 349382"/>
                <a:gd name="connsiteX869" fmla="*/ 2617972 w 2663946"/>
                <a:gd name="connsiteY869" fmla="*/ 55887 h 349382"/>
                <a:gd name="connsiteX870" fmla="*/ 2627559 w 2663946"/>
                <a:gd name="connsiteY870" fmla="*/ 53453 h 349382"/>
                <a:gd name="connsiteX871" fmla="*/ 2445604 w 2663946"/>
                <a:gd name="connsiteY871" fmla="*/ 53453 h 349382"/>
                <a:gd name="connsiteX872" fmla="*/ 2457894 w 2663946"/>
                <a:gd name="connsiteY872" fmla="*/ 55616 h 349382"/>
                <a:gd name="connsiteX873" fmla="*/ 2465268 w 2663946"/>
                <a:gd name="connsiteY873" fmla="*/ 60213 h 349382"/>
                <a:gd name="connsiteX874" fmla="*/ 2468709 w 2663946"/>
                <a:gd name="connsiteY874" fmla="*/ 63457 h 349382"/>
                <a:gd name="connsiteX875" fmla="*/ 2472151 w 2663946"/>
                <a:gd name="connsiteY875" fmla="*/ 67783 h 349382"/>
                <a:gd name="connsiteX876" fmla="*/ 2474117 w 2663946"/>
                <a:gd name="connsiteY876" fmla="*/ 71298 h 349382"/>
                <a:gd name="connsiteX877" fmla="*/ 2476329 w 2663946"/>
                <a:gd name="connsiteY877" fmla="*/ 76706 h 349382"/>
                <a:gd name="connsiteX878" fmla="*/ 2477312 w 2663946"/>
                <a:gd name="connsiteY878" fmla="*/ 80221 h 349382"/>
                <a:gd name="connsiteX879" fmla="*/ 2478296 w 2663946"/>
                <a:gd name="connsiteY879" fmla="*/ 85358 h 349382"/>
                <a:gd name="connsiteX880" fmla="*/ 2478050 w 2663946"/>
                <a:gd name="connsiteY880" fmla="*/ 99688 h 349382"/>
                <a:gd name="connsiteX881" fmla="*/ 2477067 w 2663946"/>
                <a:gd name="connsiteY881" fmla="*/ 104555 h 349382"/>
                <a:gd name="connsiteX882" fmla="*/ 2475837 w 2663946"/>
                <a:gd name="connsiteY882" fmla="*/ 108340 h 349382"/>
                <a:gd name="connsiteX883" fmla="*/ 2474854 w 2663946"/>
                <a:gd name="connsiteY883" fmla="*/ 110774 h 349382"/>
                <a:gd name="connsiteX884" fmla="*/ 2472642 w 2663946"/>
                <a:gd name="connsiteY884" fmla="*/ 115100 h 349382"/>
                <a:gd name="connsiteX885" fmla="*/ 2470430 w 2663946"/>
                <a:gd name="connsiteY885" fmla="*/ 118344 h 349382"/>
                <a:gd name="connsiteX886" fmla="*/ 2466989 w 2663946"/>
                <a:gd name="connsiteY886" fmla="*/ 122130 h 349382"/>
                <a:gd name="connsiteX887" fmla="*/ 2463793 w 2663946"/>
                <a:gd name="connsiteY887" fmla="*/ 124833 h 349382"/>
                <a:gd name="connsiteX888" fmla="*/ 2458140 w 2663946"/>
                <a:gd name="connsiteY888" fmla="*/ 128078 h 349382"/>
                <a:gd name="connsiteX889" fmla="*/ 2450274 w 2663946"/>
                <a:gd name="connsiteY889" fmla="*/ 130241 h 349382"/>
                <a:gd name="connsiteX890" fmla="*/ 2449045 w 2663946"/>
                <a:gd name="connsiteY890" fmla="*/ 130512 h 349382"/>
                <a:gd name="connsiteX891" fmla="*/ 2444866 w 2663946"/>
                <a:gd name="connsiteY891" fmla="*/ 130512 h 349382"/>
                <a:gd name="connsiteX892" fmla="*/ 2444621 w 2663946"/>
                <a:gd name="connsiteY892" fmla="*/ 130512 h 349382"/>
                <a:gd name="connsiteX893" fmla="*/ 2431593 w 2663946"/>
                <a:gd name="connsiteY893" fmla="*/ 125645 h 349382"/>
                <a:gd name="connsiteX894" fmla="*/ 2426923 w 2663946"/>
                <a:gd name="connsiteY894" fmla="*/ 121589 h 349382"/>
                <a:gd name="connsiteX895" fmla="*/ 2423727 w 2663946"/>
                <a:gd name="connsiteY895" fmla="*/ 117804 h 349382"/>
                <a:gd name="connsiteX896" fmla="*/ 2421515 w 2663946"/>
                <a:gd name="connsiteY896" fmla="*/ 114289 h 349382"/>
                <a:gd name="connsiteX897" fmla="*/ 2419303 w 2663946"/>
                <a:gd name="connsiteY897" fmla="*/ 109963 h 349382"/>
                <a:gd name="connsiteX898" fmla="*/ 2418074 w 2663946"/>
                <a:gd name="connsiteY898" fmla="*/ 106988 h 349382"/>
                <a:gd name="connsiteX899" fmla="*/ 2417091 w 2663946"/>
                <a:gd name="connsiteY899" fmla="*/ 103744 h 349382"/>
                <a:gd name="connsiteX900" fmla="*/ 2415861 w 2663946"/>
                <a:gd name="connsiteY900" fmla="*/ 98066 h 349382"/>
                <a:gd name="connsiteX901" fmla="*/ 2415616 w 2663946"/>
                <a:gd name="connsiteY901" fmla="*/ 95092 h 349382"/>
                <a:gd name="connsiteX902" fmla="*/ 2415861 w 2663946"/>
                <a:gd name="connsiteY902" fmla="*/ 95362 h 349382"/>
                <a:gd name="connsiteX903" fmla="*/ 2415861 w 2663946"/>
                <a:gd name="connsiteY903" fmla="*/ 89684 h 349382"/>
                <a:gd name="connsiteX904" fmla="*/ 2415861 w 2663946"/>
                <a:gd name="connsiteY904" fmla="*/ 89414 h 349382"/>
                <a:gd name="connsiteX905" fmla="*/ 2416353 w 2663946"/>
                <a:gd name="connsiteY905" fmla="*/ 84817 h 349382"/>
                <a:gd name="connsiteX906" fmla="*/ 2417582 w 2663946"/>
                <a:gd name="connsiteY906" fmla="*/ 79410 h 349382"/>
                <a:gd name="connsiteX907" fmla="*/ 2418565 w 2663946"/>
                <a:gd name="connsiteY907" fmla="*/ 76165 h 349382"/>
                <a:gd name="connsiteX908" fmla="*/ 2420777 w 2663946"/>
                <a:gd name="connsiteY908" fmla="*/ 71028 h 349382"/>
                <a:gd name="connsiteX909" fmla="*/ 2422990 w 2663946"/>
                <a:gd name="connsiteY909" fmla="*/ 67243 h 349382"/>
                <a:gd name="connsiteX910" fmla="*/ 2425202 w 2663946"/>
                <a:gd name="connsiteY910" fmla="*/ 64268 h 349382"/>
                <a:gd name="connsiteX911" fmla="*/ 2427414 w 2663946"/>
                <a:gd name="connsiteY911" fmla="*/ 61835 h 349382"/>
                <a:gd name="connsiteX912" fmla="*/ 2432084 w 2663946"/>
                <a:gd name="connsiteY912" fmla="*/ 58050 h 349382"/>
                <a:gd name="connsiteX913" fmla="*/ 2436017 w 2663946"/>
                <a:gd name="connsiteY913" fmla="*/ 55887 h 349382"/>
                <a:gd name="connsiteX914" fmla="*/ 2445604 w 2663946"/>
                <a:gd name="connsiteY914" fmla="*/ 53453 h 349382"/>
                <a:gd name="connsiteX915" fmla="*/ 2202558 w 2663946"/>
                <a:gd name="connsiteY915" fmla="*/ 53453 h 349382"/>
                <a:gd name="connsiteX916" fmla="*/ 2214848 w 2663946"/>
                <a:gd name="connsiteY916" fmla="*/ 55616 h 349382"/>
                <a:gd name="connsiteX917" fmla="*/ 2222222 w 2663946"/>
                <a:gd name="connsiteY917" fmla="*/ 60213 h 349382"/>
                <a:gd name="connsiteX918" fmla="*/ 2225663 w 2663946"/>
                <a:gd name="connsiteY918" fmla="*/ 63457 h 349382"/>
                <a:gd name="connsiteX919" fmla="*/ 2229105 w 2663946"/>
                <a:gd name="connsiteY919" fmla="*/ 67783 h 349382"/>
                <a:gd name="connsiteX920" fmla="*/ 2231071 w 2663946"/>
                <a:gd name="connsiteY920" fmla="*/ 71298 h 349382"/>
                <a:gd name="connsiteX921" fmla="*/ 2233283 w 2663946"/>
                <a:gd name="connsiteY921" fmla="*/ 76706 h 349382"/>
                <a:gd name="connsiteX922" fmla="*/ 2234266 w 2663946"/>
                <a:gd name="connsiteY922" fmla="*/ 80221 h 349382"/>
                <a:gd name="connsiteX923" fmla="*/ 2235250 w 2663946"/>
                <a:gd name="connsiteY923" fmla="*/ 85358 h 349382"/>
                <a:gd name="connsiteX924" fmla="*/ 2235004 w 2663946"/>
                <a:gd name="connsiteY924" fmla="*/ 99688 h 349382"/>
                <a:gd name="connsiteX925" fmla="*/ 2234021 w 2663946"/>
                <a:gd name="connsiteY925" fmla="*/ 104555 h 349382"/>
                <a:gd name="connsiteX926" fmla="*/ 2232791 w 2663946"/>
                <a:gd name="connsiteY926" fmla="*/ 108340 h 349382"/>
                <a:gd name="connsiteX927" fmla="*/ 2231808 w 2663946"/>
                <a:gd name="connsiteY927" fmla="*/ 110774 h 349382"/>
                <a:gd name="connsiteX928" fmla="*/ 2229596 w 2663946"/>
                <a:gd name="connsiteY928" fmla="*/ 115100 h 349382"/>
                <a:gd name="connsiteX929" fmla="*/ 2227384 w 2663946"/>
                <a:gd name="connsiteY929" fmla="*/ 118344 h 349382"/>
                <a:gd name="connsiteX930" fmla="*/ 2223943 w 2663946"/>
                <a:gd name="connsiteY930" fmla="*/ 122130 h 349382"/>
                <a:gd name="connsiteX931" fmla="*/ 2220747 w 2663946"/>
                <a:gd name="connsiteY931" fmla="*/ 124833 h 349382"/>
                <a:gd name="connsiteX932" fmla="*/ 2215094 w 2663946"/>
                <a:gd name="connsiteY932" fmla="*/ 128078 h 349382"/>
                <a:gd name="connsiteX933" fmla="*/ 2207228 w 2663946"/>
                <a:gd name="connsiteY933" fmla="*/ 130241 h 349382"/>
                <a:gd name="connsiteX934" fmla="*/ 2205999 w 2663946"/>
                <a:gd name="connsiteY934" fmla="*/ 130512 h 349382"/>
                <a:gd name="connsiteX935" fmla="*/ 2201820 w 2663946"/>
                <a:gd name="connsiteY935" fmla="*/ 130512 h 349382"/>
                <a:gd name="connsiteX936" fmla="*/ 2201575 w 2663946"/>
                <a:gd name="connsiteY936" fmla="*/ 130512 h 349382"/>
                <a:gd name="connsiteX937" fmla="*/ 2188547 w 2663946"/>
                <a:gd name="connsiteY937" fmla="*/ 125645 h 349382"/>
                <a:gd name="connsiteX938" fmla="*/ 2183877 w 2663946"/>
                <a:gd name="connsiteY938" fmla="*/ 121589 h 349382"/>
                <a:gd name="connsiteX939" fmla="*/ 2180681 w 2663946"/>
                <a:gd name="connsiteY939" fmla="*/ 117804 h 349382"/>
                <a:gd name="connsiteX940" fmla="*/ 2178469 w 2663946"/>
                <a:gd name="connsiteY940" fmla="*/ 114289 h 349382"/>
                <a:gd name="connsiteX941" fmla="*/ 2176257 w 2663946"/>
                <a:gd name="connsiteY941" fmla="*/ 109963 h 349382"/>
                <a:gd name="connsiteX942" fmla="*/ 2175028 w 2663946"/>
                <a:gd name="connsiteY942" fmla="*/ 106988 h 349382"/>
                <a:gd name="connsiteX943" fmla="*/ 2174045 w 2663946"/>
                <a:gd name="connsiteY943" fmla="*/ 103744 h 349382"/>
                <a:gd name="connsiteX944" fmla="*/ 2172815 w 2663946"/>
                <a:gd name="connsiteY944" fmla="*/ 98066 h 349382"/>
                <a:gd name="connsiteX945" fmla="*/ 2172570 w 2663946"/>
                <a:gd name="connsiteY945" fmla="*/ 95092 h 349382"/>
                <a:gd name="connsiteX946" fmla="*/ 2172815 w 2663946"/>
                <a:gd name="connsiteY946" fmla="*/ 95362 h 349382"/>
                <a:gd name="connsiteX947" fmla="*/ 2172815 w 2663946"/>
                <a:gd name="connsiteY947" fmla="*/ 89684 h 349382"/>
                <a:gd name="connsiteX948" fmla="*/ 2172815 w 2663946"/>
                <a:gd name="connsiteY948" fmla="*/ 89414 h 349382"/>
                <a:gd name="connsiteX949" fmla="*/ 2173307 w 2663946"/>
                <a:gd name="connsiteY949" fmla="*/ 84817 h 349382"/>
                <a:gd name="connsiteX950" fmla="*/ 2174536 w 2663946"/>
                <a:gd name="connsiteY950" fmla="*/ 79410 h 349382"/>
                <a:gd name="connsiteX951" fmla="*/ 2175519 w 2663946"/>
                <a:gd name="connsiteY951" fmla="*/ 76165 h 349382"/>
                <a:gd name="connsiteX952" fmla="*/ 2177731 w 2663946"/>
                <a:gd name="connsiteY952" fmla="*/ 71028 h 349382"/>
                <a:gd name="connsiteX953" fmla="*/ 2179944 w 2663946"/>
                <a:gd name="connsiteY953" fmla="*/ 67243 h 349382"/>
                <a:gd name="connsiteX954" fmla="*/ 2182156 w 2663946"/>
                <a:gd name="connsiteY954" fmla="*/ 64268 h 349382"/>
                <a:gd name="connsiteX955" fmla="*/ 2184368 w 2663946"/>
                <a:gd name="connsiteY955" fmla="*/ 61835 h 349382"/>
                <a:gd name="connsiteX956" fmla="*/ 2189038 w 2663946"/>
                <a:gd name="connsiteY956" fmla="*/ 58050 h 349382"/>
                <a:gd name="connsiteX957" fmla="*/ 2192971 w 2663946"/>
                <a:gd name="connsiteY957" fmla="*/ 55887 h 349382"/>
                <a:gd name="connsiteX958" fmla="*/ 2202558 w 2663946"/>
                <a:gd name="connsiteY958" fmla="*/ 53453 h 349382"/>
                <a:gd name="connsiteX959" fmla="*/ 2020607 w 2663946"/>
                <a:gd name="connsiteY959" fmla="*/ 53453 h 349382"/>
                <a:gd name="connsiteX960" fmla="*/ 2032897 w 2663946"/>
                <a:gd name="connsiteY960" fmla="*/ 55616 h 349382"/>
                <a:gd name="connsiteX961" fmla="*/ 2040271 w 2663946"/>
                <a:gd name="connsiteY961" fmla="*/ 60213 h 349382"/>
                <a:gd name="connsiteX962" fmla="*/ 2043712 w 2663946"/>
                <a:gd name="connsiteY962" fmla="*/ 63457 h 349382"/>
                <a:gd name="connsiteX963" fmla="*/ 2047154 w 2663946"/>
                <a:gd name="connsiteY963" fmla="*/ 67783 h 349382"/>
                <a:gd name="connsiteX964" fmla="*/ 2049120 w 2663946"/>
                <a:gd name="connsiteY964" fmla="*/ 71298 h 349382"/>
                <a:gd name="connsiteX965" fmla="*/ 2051332 w 2663946"/>
                <a:gd name="connsiteY965" fmla="*/ 76706 h 349382"/>
                <a:gd name="connsiteX966" fmla="*/ 2052315 w 2663946"/>
                <a:gd name="connsiteY966" fmla="*/ 80221 h 349382"/>
                <a:gd name="connsiteX967" fmla="*/ 2053299 w 2663946"/>
                <a:gd name="connsiteY967" fmla="*/ 85358 h 349382"/>
                <a:gd name="connsiteX968" fmla="*/ 2053053 w 2663946"/>
                <a:gd name="connsiteY968" fmla="*/ 99688 h 349382"/>
                <a:gd name="connsiteX969" fmla="*/ 2052070 w 2663946"/>
                <a:gd name="connsiteY969" fmla="*/ 104555 h 349382"/>
                <a:gd name="connsiteX970" fmla="*/ 2050840 w 2663946"/>
                <a:gd name="connsiteY970" fmla="*/ 108340 h 349382"/>
                <a:gd name="connsiteX971" fmla="*/ 2049857 w 2663946"/>
                <a:gd name="connsiteY971" fmla="*/ 110774 h 349382"/>
                <a:gd name="connsiteX972" fmla="*/ 2047645 w 2663946"/>
                <a:gd name="connsiteY972" fmla="*/ 115100 h 349382"/>
                <a:gd name="connsiteX973" fmla="*/ 2045433 w 2663946"/>
                <a:gd name="connsiteY973" fmla="*/ 118344 h 349382"/>
                <a:gd name="connsiteX974" fmla="*/ 2041992 w 2663946"/>
                <a:gd name="connsiteY974" fmla="*/ 122130 h 349382"/>
                <a:gd name="connsiteX975" fmla="*/ 2038796 w 2663946"/>
                <a:gd name="connsiteY975" fmla="*/ 124833 h 349382"/>
                <a:gd name="connsiteX976" fmla="*/ 2033143 w 2663946"/>
                <a:gd name="connsiteY976" fmla="*/ 128078 h 349382"/>
                <a:gd name="connsiteX977" fmla="*/ 2025277 w 2663946"/>
                <a:gd name="connsiteY977" fmla="*/ 130241 h 349382"/>
                <a:gd name="connsiteX978" fmla="*/ 2024048 w 2663946"/>
                <a:gd name="connsiteY978" fmla="*/ 130512 h 349382"/>
                <a:gd name="connsiteX979" fmla="*/ 2019869 w 2663946"/>
                <a:gd name="connsiteY979" fmla="*/ 130512 h 349382"/>
                <a:gd name="connsiteX980" fmla="*/ 2019624 w 2663946"/>
                <a:gd name="connsiteY980" fmla="*/ 130512 h 349382"/>
                <a:gd name="connsiteX981" fmla="*/ 2006596 w 2663946"/>
                <a:gd name="connsiteY981" fmla="*/ 125645 h 349382"/>
                <a:gd name="connsiteX982" fmla="*/ 2001926 w 2663946"/>
                <a:gd name="connsiteY982" fmla="*/ 121589 h 349382"/>
                <a:gd name="connsiteX983" fmla="*/ 1998730 w 2663946"/>
                <a:gd name="connsiteY983" fmla="*/ 117804 h 349382"/>
                <a:gd name="connsiteX984" fmla="*/ 1996518 w 2663946"/>
                <a:gd name="connsiteY984" fmla="*/ 114289 h 349382"/>
                <a:gd name="connsiteX985" fmla="*/ 1994306 w 2663946"/>
                <a:gd name="connsiteY985" fmla="*/ 109963 h 349382"/>
                <a:gd name="connsiteX986" fmla="*/ 1993077 w 2663946"/>
                <a:gd name="connsiteY986" fmla="*/ 106988 h 349382"/>
                <a:gd name="connsiteX987" fmla="*/ 1992094 w 2663946"/>
                <a:gd name="connsiteY987" fmla="*/ 103744 h 349382"/>
                <a:gd name="connsiteX988" fmla="*/ 1990864 w 2663946"/>
                <a:gd name="connsiteY988" fmla="*/ 98066 h 349382"/>
                <a:gd name="connsiteX989" fmla="*/ 1990619 w 2663946"/>
                <a:gd name="connsiteY989" fmla="*/ 95092 h 349382"/>
                <a:gd name="connsiteX990" fmla="*/ 1990864 w 2663946"/>
                <a:gd name="connsiteY990" fmla="*/ 95362 h 349382"/>
                <a:gd name="connsiteX991" fmla="*/ 1990864 w 2663946"/>
                <a:gd name="connsiteY991" fmla="*/ 89684 h 349382"/>
                <a:gd name="connsiteX992" fmla="*/ 1990864 w 2663946"/>
                <a:gd name="connsiteY992" fmla="*/ 89414 h 349382"/>
                <a:gd name="connsiteX993" fmla="*/ 1991356 w 2663946"/>
                <a:gd name="connsiteY993" fmla="*/ 84817 h 349382"/>
                <a:gd name="connsiteX994" fmla="*/ 1992585 w 2663946"/>
                <a:gd name="connsiteY994" fmla="*/ 79410 h 349382"/>
                <a:gd name="connsiteX995" fmla="*/ 1993568 w 2663946"/>
                <a:gd name="connsiteY995" fmla="*/ 76165 h 349382"/>
                <a:gd name="connsiteX996" fmla="*/ 1995780 w 2663946"/>
                <a:gd name="connsiteY996" fmla="*/ 71028 h 349382"/>
                <a:gd name="connsiteX997" fmla="*/ 1997993 w 2663946"/>
                <a:gd name="connsiteY997" fmla="*/ 67243 h 349382"/>
                <a:gd name="connsiteX998" fmla="*/ 2000205 w 2663946"/>
                <a:gd name="connsiteY998" fmla="*/ 64268 h 349382"/>
                <a:gd name="connsiteX999" fmla="*/ 2002417 w 2663946"/>
                <a:gd name="connsiteY999" fmla="*/ 61835 h 349382"/>
                <a:gd name="connsiteX1000" fmla="*/ 2007087 w 2663946"/>
                <a:gd name="connsiteY1000" fmla="*/ 58050 h 349382"/>
                <a:gd name="connsiteX1001" fmla="*/ 2011020 w 2663946"/>
                <a:gd name="connsiteY1001" fmla="*/ 55887 h 349382"/>
                <a:gd name="connsiteX1002" fmla="*/ 2020607 w 2663946"/>
                <a:gd name="connsiteY1002" fmla="*/ 53453 h 349382"/>
                <a:gd name="connsiteX1003" fmla="*/ 1595683 w 2663946"/>
                <a:gd name="connsiteY1003" fmla="*/ 53453 h 349382"/>
                <a:gd name="connsiteX1004" fmla="*/ 1607973 w 2663946"/>
                <a:gd name="connsiteY1004" fmla="*/ 55616 h 349382"/>
                <a:gd name="connsiteX1005" fmla="*/ 1615347 w 2663946"/>
                <a:gd name="connsiteY1005" fmla="*/ 60213 h 349382"/>
                <a:gd name="connsiteX1006" fmla="*/ 1618788 w 2663946"/>
                <a:gd name="connsiteY1006" fmla="*/ 63457 h 349382"/>
                <a:gd name="connsiteX1007" fmla="*/ 1622230 w 2663946"/>
                <a:gd name="connsiteY1007" fmla="*/ 67783 h 349382"/>
                <a:gd name="connsiteX1008" fmla="*/ 1624196 w 2663946"/>
                <a:gd name="connsiteY1008" fmla="*/ 71298 h 349382"/>
                <a:gd name="connsiteX1009" fmla="*/ 1626408 w 2663946"/>
                <a:gd name="connsiteY1009" fmla="*/ 76706 h 349382"/>
                <a:gd name="connsiteX1010" fmla="*/ 1627391 w 2663946"/>
                <a:gd name="connsiteY1010" fmla="*/ 80221 h 349382"/>
                <a:gd name="connsiteX1011" fmla="*/ 1628374 w 2663946"/>
                <a:gd name="connsiteY1011" fmla="*/ 85358 h 349382"/>
                <a:gd name="connsiteX1012" fmla="*/ 1628129 w 2663946"/>
                <a:gd name="connsiteY1012" fmla="*/ 99688 h 349382"/>
                <a:gd name="connsiteX1013" fmla="*/ 1627146 w 2663946"/>
                <a:gd name="connsiteY1013" fmla="*/ 104555 h 349382"/>
                <a:gd name="connsiteX1014" fmla="*/ 1625916 w 2663946"/>
                <a:gd name="connsiteY1014" fmla="*/ 108340 h 349382"/>
                <a:gd name="connsiteX1015" fmla="*/ 1624933 w 2663946"/>
                <a:gd name="connsiteY1015" fmla="*/ 110774 h 349382"/>
                <a:gd name="connsiteX1016" fmla="*/ 1622721 w 2663946"/>
                <a:gd name="connsiteY1016" fmla="*/ 115100 h 349382"/>
                <a:gd name="connsiteX1017" fmla="*/ 1620509 w 2663946"/>
                <a:gd name="connsiteY1017" fmla="*/ 118344 h 349382"/>
                <a:gd name="connsiteX1018" fmla="*/ 1617068 w 2663946"/>
                <a:gd name="connsiteY1018" fmla="*/ 122130 h 349382"/>
                <a:gd name="connsiteX1019" fmla="*/ 1613872 w 2663946"/>
                <a:gd name="connsiteY1019" fmla="*/ 124833 h 349382"/>
                <a:gd name="connsiteX1020" fmla="*/ 1608219 w 2663946"/>
                <a:gd name="connsiteY1020" fmla="*/ 128078 h 349382"/>
                <a:gd name="connsiteX1021" fmla="*/ 1600353 w 2663946"/>
                <a:gd name="connsiteY1021" fmla="*/ 130241 h 349382"/>
                <a:gd name="connsiteX1022" fmla="*/ 1599124 w 2663946"/>
                <a:gd name="connsiteY1022" fmla="*/ 130512 h 349382"/>
                <a:gd name="connsiteX1023" fmla="*/ 1594945 w 2663946"/>
                <a:gd name="connsiteY1023" fmla="*/ 130512 h 349382"/>
                <a:gd name="connsiteX1024" fmla="*/ 1594699 w 2663946"/>
                <a:gd name="connsiteY1024" fmla="*/ 130512 h 349382"/>
                <a:gd name="connsiteX1025" fmla="*/ 1581672 w 2663946"/>
                <a:gd name="connsiteY1025" fmla="*/ 125645 h 349382"/>
                <a:gd name="connsiteX1026" fmla="*/ 1577002 w 2663946"/>
                <a:gd name="connsiteY1026" fmla="*/ 121589 h 349382"/>
                <a:gd name="connsiteX1027" fmla="*/ 1573806 w 2663946"/>
                <a:gd name="connsiteY1027" fmla="*/ 117804 h 349382"/>
                <a:gd name="connsiteX1028" fmla="*/ 1571594 w 2663946"/>
                <a:gd name="connsiteY1028" fmla="*/ 114289 h 349382"/>
                <a:gd name="connsiteX1029" fmla="*/ 1569382 w 2663946"/>
                <a:gd name="connsiteY1029" fmla="*/ 109963 h 349382"/>
                <a:gd name="connsiteX1030" fmla="*/ 1568153 w 2663946"/>
                <a:gd name="connsiteY1030" fmla="*/ 106988 h 349382"/>
                <a:gd name="connsiteX1031" fmla="*/ 1567169 w 2663946"/>
                <a:gd name="connsiteY1031" fmla="*/ 103744 h 349382"/>
                <a:gd name="connsiteX1032" fmla="*/ 1565940 w 2663946"/>
                <a:gd name="connsiteY1032" fmla="*/ 98066 h 349382"/>
                <a:gd name="connsiteX1033" fmla="*/ 1565695 w 2663946"/>
                <a:gd name="connsiteY1033" fmla="*/ 95092 h 349382"/>
                <a:gd name="connsiteX1034" fmla="*/ 1565940 w 2663946"/>
                <a:gd name="connsiteY1034" fmla="*/ 95362 h 349382"/>
                <a:gd name="connsiteX1035" fmla="*/ 1565940 w 2663946"/>
                <a:gd name="connsiteY1035" fmla="*/ 89684 h 349382"/>
                <a:gd name="connsiteX1036" fmla="*/ 1565940 w 2663946"/>
                <a:gd name="connsiteY1036" fmla="*/ 89414 h 349382"/>
                <a:gd name="connsiteX1037" fmla="*/ 1566432 w 2663946"/>
                <a:gd name="connsiteY1037" fmla="*/ 84817 h 349382"/>
                <a:gd name="connsiteX1038" fmla="*/ 1567661 w 2663946"/>
                <a:gd name="connsiteY1038" fmla="*/ 79410 h 349382"/>
                <a:gd name="connsiteX1039" fmla="*/ 1568644 w 2663946"/>
                <a:gd name="connsiteY1039" fmla="*/ 76165 h 349382"/>
                <a:gd name="connsiteX1040" fmla="*/ 1570856 w 2663946"/>
                <a:gd name="connsiteY1040" fmla="*/ 71028 h 349382"/>
                <a:gd name="connsiteX1041" fmla="*/ 1573069 w 2663946"/>
                <a:gd name="connsiteY1041" fmla="*/ 67243 h 349382"/>
                <a:gd name="connsiteX1042" fmla="*/ 1575281 w 2663946"/>
                <a:gd name="connsiteY1042" fmla="*/ 64268 h 349382"/>
                <a:gd name="connsiteX1043" fmla="*/ 1577493 w 2663946"/>
                <a:gd name="connsiteY1043" fmla="*/ 61835 h 349382"/>
                <a:gd name="connsiteX1044" fmla="*/ 1582163 w 2663946"/>
                <a:gd name="connsiteY1044" fmla="*/ 58050 h 349382"/>
                <a:gd name="connsiteX1045" fmla="*/ 1586096 w 2663946"/>
                <a:gd name="connsiteY1045" fmla="*/ 55887 h 349382"/>
                <a:gd name="connsiteX1046" fmla="*/ 1595683 w 2663946"/>
                <a:gd name="connsiteY1046" fmla="*/ 53453 h 349382"/>
                <a:gd name="connsiteX1047" fmla="*/ 1246776 w 2663946"/>
                <a:gd name="connsiteY1047" fmla="*/ 53453 h 349382"/>
                <a:gd name="connsiteX1048" fmla="*/ 1259066 w 2663946"/>
                <a:gd name="connsiteY1048" fmla="*/ 55616 h 349382"/>
                <a:gd name="connsiteX1049" fmla="*/ 1266440 w 2663946"/>
                <a:gd name="connsiteY1049" fmla="*/ 60213 h 349382"/>
                <a:gd name="connsiteX1050" fmla="*/ 1269881 w 2663946"/>
                <a:gd name="connsiteY1050" fmla="*/ 63457 h 349382"/>
                <a:gd name="connsiteX1051" fmla="*/ 1273323 w 2663946"/>
                <a:gd name="connsiteY1051" fmla="*/ 67783 h 349382"/>
                <a:gd name="connsiteX1052" fmla="*/ 1275289 w 2663946"/>
                <a:gd name="connsiteY1052" fmla="*/ 71298 h 349382"/>
                <a:gd name="connsiteX1053" fmla="*/ 1277501 w 2663946"/>
                <a:gd name="connsiteY1053" fmla="*/ 76706 h 349382"/>
                <a:gd name="connsiteX1054" fmla="*/ 1278484 w 2663946"/>
                <a:gd name="connsiteY1054" fmla="*/ 80221 h 349382"/>
                <a:gd name="connsiteX1055" fmla="*/ 1279467 w 2663946"/>
                <a:gd name="connsiteY1055" fmla="*/ 85358 h 349382"/>
                <a:gd name="connsiteX1056" fmla="*/ 1279222 w 2663946"/>
                <a:gd name="connsiteY1056" fmla="*/ 99688 h 349382"/>
                <a:gd name="connsiteX1057" fmla="*/ 1278239 w 2663946"/>
                <a:gd name="connsiteY1057" fmla="*/ 104555 h 349382"/>
                <a:gd name="connsiteX1058" fmla="*/ 1277009 w 2663946"/>
                <a:gd name="connsiteY1058" fmla="*/ 108340 h 349382"/>
                <a:gd name="connsiteX1059" fmla="*/ 1276026 w 2663946"/>
                <a:gd name="connsiteY1059" fmla="*/ 110774 h 349382"/>
                <a:gd name="connsiteX1060" fmla="*/ 1273814 w 2663946"/>
                <a:gd name="connsiteY1060" fmla="*/ 115100 h 349382"/>
                <a:gd name="connsiteX1061" fmla="*/ 1271602 w 2663946"/>
                <a:gd name="connsiteY1061" fmla="*/ 118344 h 349382"/>
                <a:gd name="connsiteX1062" fmla="*/ 1268161 w 2663946"/>
                <a:gd name="connsiteY1062" fmla="*/ 122130 h 349382"/>
                <a:gd name="connsiteX1063" fmla="*/ 1264965 w 2663946"/>
                <a:gd name="connsiteY1063" fmla="*/ 124833 h 349382"/>
                <a:gd name="connsiteX1064" fmla="*/ 1259312 w 2663946"/>
                <a:gd name="connsiteY1064" fmla="*/ 128078 h 349382"/>
                <a:gd name="connsiteX1065" fmla="*/ 1251446 w 2663946"/>
                <a:gd name="connsiteY1065" fmla="*/ 130241 h 349382"/>
                <a:gd name="connsiteX1066" fmla="*/ 1250217 w 2663946"/>
                <a:gd name="connsiteY1066" fmla="*/ 130512 h 349382"/>
                <a:gd name="connsiteX1067" fmla="*/ 1246038 w 2663946"/>
                <a:gd name="connsiteY1067" fmla="*/ 130512 h 349382"/>
                <a:gd name="connsiteX1068" fmla="*/ 1245792 w 2663946"/>
                <a:gd name="connsiteY1068" fmla="*/ 130512 h 349382"/>
                <a:gd name="connsiteX1069" fmla="*/ 1232765 w 2663946"/>
                <a:gd name="connsiteY1069" fmla="*/ 125645 h 349382"/>
                <a:gd name="connsiteX1070" fmla="*/ 1228095 w 2663946"/>
                <a:gd name="connsiteY1070" fmla="*/ 121589 h 349382"/>
                <a:gd name="connsiteX1071" fmla="*/ 1224899 w 2663946"/>
                <a:gd name="connsiteY1071" fmla="*/ 117804 h 349382"/>
                <a:gd name="connsiteX1072" fmla="*/ 1222687 w 2663946"/>
                <a:gd name="connsiteY1072" fmla="*/ 114289 h 349382"/>
                <a:gd name="connsiteX1073" fmla="*/ 1220475 w 2663946"/>
                <a:gd name="connsiteY1073" fmla="*/ 109963 h 349382"/>
                <a:gd name="connsiteX1074" fmla="*/ 1219246 w 2663946"/>
                <a:gd name="connsiteY1074" fmla="*/ 106988 h 349382"/>
                <a:gd name="connsiteX1075" fmla="*/ 1218262 w 2663946"/>
                <a:gd name="connsiteY1075" fmla="*/ 103744 h 349382"/>
                <a:gd name="connsiteX1076" fmla="*/ 1217033 w 2663946"/>
                <a:gd name="connsiteY1076" fmla="*/ 98066 h 349382"/>
                <a:gd name="connsiteX1077" fmla="*/ 1216788 w 2663946"/>
                <a:gd name="connsiteY1077" fmla="*/ 95092 h 349382"/>
                <a:gd name="connsiteX1078" fmla="*/ 1217033 w 2663946"/>
                <a:gd name="connsiteY1078" fmla="*/ 95362 h 349382"/>
                <a:gd name="connsiteX1079" fmla="*/ 1217033 w 2663946"/>
                <a:gd name="connsiteY1079" fmla="*/ 89684 h 349382"/>
                <a:gd name="connsiteX1080" fmla="*/ 1217033 w 2663946"/>
                <a:gd name="connsiteY1080" fmla="*/ 89414 h 349382"/>
                <a:gd name="connsiteX1081" fmla="*/ 1217525 w 2663946"/>
                <a:gd name="connsiteY1081" fmla="*/ 84817 h 349382"/>
                <a:gd name="connsiteX1082" fmla="*/ 1218754 w 2663946"/>
                <a:gd name="connsiteY1082" fmla="*/ 79410 h 349382"/>
                <a:gd name="connsiteX1083" fmla="*/ 1219737 w 2663946"/>
                <a:gd name="connsiteY1083" fmla="*/ 76165 h 349382"/>
                <a:gd name="connsiteX1084" fmla="*/ 1221949 w 2663946"/>
                <a:gd name="connsiteY1084" fmla="*/ 71028 h 349382"/>
                <a:gd name="connsiteX1085" fmla="*/ 1224162 w 2663946"/>
                <a:gd name="connsiteY1085" fmla="*/ 67243 h 349382"/>
                <a:gd name="connsiteX1086" fmla="*/ 1226374 w 2663946"/>
                <a:gd name="connsiteY1086" fmla="*/ 64268 h 349382"/>
                <a:gd name="connsiteX1087" fmla="*/ 1228586 w 2663946"/>
                <a:gd name="connsiteY1087" fmla="*/ 61835 h 349382"/>
                <a:gd name="connsiteX1088" fmla="*/ 1233256 w 2663946"/>
                <a:gd name="connsiteY1088" fmla="*/ 58050 h 349382"/>
                <a:gd name="connsiteX1089" fmla="*/ 1237189 w 2663946"/>
                <a:gd name="connsiteY1089" fmla="*/ 55887 h 349382"/>
                <a:gd name="connsiteX1090" fmla="*/ 1246776 w 2663946"/>
                <a:gd name="connsiteY1090" fmla="*/ 53453 h 349382"/>
                <a:gd name="connsiteX1091" fmla="*/ 1064825 w 2663946"/>
                <a:gd name="connsiteY1091" fmla="*/ 53453 h 349382"/>
                <a:gd name="connsiteX1092" fmla="*/ 1077115 w 2663946"/>
                <a:gd name="connsiteY1092" fmla="*/ 55616 h 349382"/>
                <a:gd name="connsiteX1093" fmla="*/ 1084489 w 2663946"/>
                <a:gd name="connsiteY1093" fmla="*/ 60213 h 349382"/>
                <a:gd name="connsiteX1094" fmla="*/ 1087930 w 2663946"/>
                <a:gd name="connsiteY1094" fmla="*/ 63457 h 349382"/>
                <a:gd name="connsiteX1095" fmla="*/ 1091372 w 2663946"/>
                <a:gd name="connsiteY1095" fmla="*/ 67783 h 349382"/>
                <a:gd name="connsiteX1096" fmla="*/ 1093338 w 2663946"/>
                <a:gd name="connsiteY1096" fmla="*/ 71298 h 349382"/>
                <a:gd name="connsiteX1097" fmla="*/ 1095550 w 2663946"/>
                <a:gd name="connsiteY1097" fmla="*/ 76706 h 349382"/>
                <a:gd name="connsiteX1098" fmla="*/ 1096533 w 2663946"/>
                <a:gd name="connsiteY1098" fmla="*/ 80221 h 349382"/>
                <a:gd name="connsiteX1099" fmla="*/ 1097516 w 2663946"/>
                <a:gd name="connsiteY1099" fmla="*/ 85358 h 349382"/>
                <a:gd name="connsiteX1100" fmla="*/ 1097271 w 2663946"/>
                <a:gd name="connsiteY1100" fmla="*/ 99688 h 349382"/>
                <a:gd name="connsiteX1101" fmla="*/ 1096288 w 2663946"/>
                <a:gd name="connsiteY1101" fmla="*/ 104555 h 349382"/>
                <a:gd name="connsiteX1102" fmla="*/ 1095058 w 2663946"/>
                <a:gd name="connsiteY1102" fmla="*/ 108340 h 349382"/>
                <a:gd name="connsiteX1103" fmla="*/ 1094075 w 2663946"/>
                <a:gd name="connsiteY1103" fmla="*/ 110774 h 349382"/>
                <a:gd name="connsiteX1104" fmla="*/ 1091863 w 2663946"/>
                <a:gd name="connsiteY1104" fmla="*/ 115100 h 349382"/>
                <a:gd name="connsiteX1105" fmla="*/ 1089651 w 2663946"/>
                <a:gd name="connsiteY1105" fmla="*/ 118344 h 349382"/>
                <a:gd name="connsiteX1106" fmla="*/ 1086210 w 2663946"/>
                <a:gd name="connsiteY1106" fmla="*/ 122130 h 349382"/>
                <a:gd name="connsiteX1107" fmla="*/ 1083014 w 2663946"/>
                <a:gd name="connsiteY1107" fmla="*/ 124833 h 349382"/>
                <a:gd name="connsiteX1108" fmla="*/ 1077361 w 2663946"/>
                <a:gd name="connsiteY1108" fmla="*/ 128078 h 349382"/>
                <a:gd name="connsiteX1109" fmla="*/ 1069495 w 2663946"/>
                <a:gd name="connsiteY1109" fmla="*/ 130241 h 349382"/>
                <a:gd name="connsiteX1110" fmla="*/ 1068266 w 2663946"/>
                <a:gd name="connsiteY1110" fmla="*/ 130512 h 349382"/>
                <a:gd name="connsiteX1111" fmla="*/ 1064087 w 2663946"/>
                <a:gd name="connsiteY1111" fmla="*/ 130512 h 349382"/>
                <a:gd name="connsiteX1112" fmla="*/ 1063841 w 2663946"/>
                <a:gd name="connsiteY1112" fmla="*/ 130512 h 349382"/>
                <a:gd name="connsiteX1113" fmla="*/ 1050814 w 2663946"/>
                <a:gd name="connsiteY1113" fmla="*/ 125645 h 349382"/>
                <a:gd name="connsiteX1114" fmla="*/ 1046144 w 2663946"/>
                <a:gd name="connsiteY1114" fmla="*/ 121589 h 349382"/>
                <a:gd name="connsiteX1115" fmla="*/ 1042948 w 2663946"/>
                <a:gd name="connsiteY1115" fmla="*/ 117804 h 349382"/>
                <a:gd name="connsiteX1116" fmla="*/ 1040736 w 2663946"/>
                <a:gd name="connsiteY1116" fmla="*/ 114289 h 349382"/>
                <a:gd name="connsiteX1117" fmla="*/ 1038524 w 2663946"/>
                <a:gd name="connsiteY1117" fmla="*/ 109963 h 349382"/>
                <a:gd name="connsiteX1118" fmla="*/ 1037295 w 2663946"/>
                <a:gd name="connsiteY1118" fmla="*/ 106988 h 349382"/>
                <a:gd name="connsiteX1119" fmla="*/ 1036311 w 2663946"/>
                <a:gd name="connsiteY1119" fmla="*/ 103744 h 349382"/>
                <a:gd name="connsiteX1120" fmla="*/ 1035082 w 2663946"/>
                <a:gd name="connsiteY1120" fmla="*/ 98066 h 349382"/>
                <a:gd name="connsiteX1121" fmla="*/ 1034837 w 2663946"/>
                <a:gd name="connsiteY1121" fmla="*/ 95092 h 349382"/>
                <a:gd name="connsiteX1122" fmla="*/ 1035082 w 2663946"/>
                <a:gd name="connsiteY1122" fmla="*/ 95362 h 349382"/>
                <a:gd name="connsiteX1123" fmla="*/ 1035082 w 2663946"/>
                <a:gd name="connsiteY1123" fmla="*/ 89684 h 349382"/>
                <a:gd name="connsiteX1124" fmla="*/ 1035082 w 2663946"/>
                <a:gd name="connsiteY1124" fmla="*/ 89414 h 349382"/>
                <a:gd name="connsiteX1125" fmla="*/ 1035574 w 2663946"/>
                <a:gd name="connsiteY1125" fmla="*/ 84817 h 349382"/>
                <a:gd name="connsiteX1126" fmla="*/ 1036803 w 2663946"/>
                <a:gd name="connsiteY1126" fmla="*/ 79410 h 349382"/>
                <a:gd name="connsiteX1127" fmla="*/ 1037786 w 2663946"/>
                <a:gd name="connsiteY1127" fmla="*/ 76165 h 349382"/>
                <a:gd name="connsiteX1128" fmla="*/ 1039998 w 2663946"/>
                <a:gd name="connsiteY1128" fmla="*/ 71028 h 349382"/>
                <a:gd name="connsiteX1129" fmla="*/ 1042211 w 2663946"/>
                <a:gd name="connsiteY1129" fmla="*/ 67243 h 349382"/>
                <a:gd name="connsiteX1130" fmla="*/ 1044423 w 2663946"/>
                <a:gd name="connsiteY1130" fmla="*/ 64268 h 349382"/>
                <a:gd name="connsiteX1131" fmla="*/ 1046635 w 2663946"/>
                <a:gd name="connsiteY1131" fmla="*/ 61835 h 349382"/>
                <a:gd name="connsiteX1132" fmla="*/ 1051305 w 2663946"/>
                <a:gd name="connsiteY1132" fmla="*/ 58050 h 349382"/>
                <a:gd name="connsiteX1133" fmla="*/ 1055238 w 2663946"/>
                <a:gd name="connsiteY1133" fmla="*/ 55887 h 349382"/>
                <a:gd name="connsiteX1134" fmla="*/ 1064825 w 2663946"/>
                <a:gd name="connsiteY1134" fmla="*/ 53453 h 349382"/>
                <a:gd name="connsiteX1135" fmla="*/ 897796 w 2663946"/>
                <a:gd name="connsiteY1135" fmla="*/ 53453 h 349382"/>
                <a:gd name="connsiteX1136" fmla="*/ 910086 w 2663946"/>
                <a:gd name="connsiteY1136" fmla="*/ 55616 h 349382"/>
                <a:gd name="connsiteX1137" fmla="*/ 917460 w 2663946"/>
                <a:gd name="connsiteY1137" fmla="*/ 60213 h 349382"/>
                <a:gd name="connsiteX1138" fmla="*/ 920901 w 2663946"/>
                <a:gd name="connsiteY1138" fmla="*/ 63457 h 349382"/>
                <a:gd name="connsiteX1139" fmla="*/ 924343 w 2663946"/>
                <a:gd name="connsiteY1139" fmla="*/ 67783 h 349382"/>
                <a:gd name="connsiteX1140" fmla="*/ 926309 w 2663946"/>
                <a:gd name="connsiteY1140" fmla="*/ 71298 h 349382"/>
                <a:gd name="connsiteX1141" fmla="*/ 928521 w 2663946"/>
                <a:gd name="connsiteY1141" fmla="*/ 76706 h 349382"/>
                <a:gd name="connsiteX1142" fmla="*/ 929504 w 2663946"/>
                <a:gd name="connsiteY1142" fmla="*/ 80221 h 349382"/>
                <a:gd name="connsiteX1143" fmla="*/ 930487 w 2663946"/>
                <a:gd name="connsiteY1143" fmla="*/ 85358 h 349382"/>
                <a:gd name="connsiteX1144" fmla="*/ 930242 w 2663946"/>
                <a:gd name="connsiteY1144" fmla="*/ 99688 h 349382"/>
                <a:gd name="connsiteX1145" fmla="*/ 929259 w 2663946"/>
                <a:gd name="connsiteY1145" fmla="*/ 104555 h 349382"/>
                <a:gd name="connsiteX1146" fmla="*/ 928029 w 2663946"/>
                <a:gd name="connsiteY1146" fmla="*/ 108340 h 349382"/>
                <a:gd name="connsiteX1147" fmla="*/ 927046 w 2663946"/>
                <a:gd name="connsiteY1147" fmla="*/ 110774 h 349382"/>
                <a:gd name="connsiteX1148" fmla="*/ 924834 w 2663946"/>
                <a:gd name="connsiteY1148" fmla="*/ 115100 h 349382"/>
                <a:gd name="connsiteX1149" fmla="*/ 922622 w 2663946"/>
                <a:gd name="connsiteY1149" fmla="*/ 118344 h 349382"/>
                <a:gd name="connsiteX1150" fmla="*/ 919181 w 2663946"/>
                <a:gd name="connsiteY1150" fmla="*/ 122130 h 349382"/>
                <a:gd name="connsiteX1151" fmla="*/ 915985 w 2663946"/>
                <a:gd name="connsiteY1151" fmla="*/ 124833 h 349382"/>
                <a:gd name="connsiteX1152" fmla="*/ 910332 w 2663946"/>
                <a:gd name="connsiteY1152" fmla="*/ 128078 h 349382"/>
                <a:gd name="connsiteX1153" fmla="*/ 902466 w 2663946"/>
                <a:gd name="connsiteY1153" fmla="*/ 130241 h 349382"/>
                <a:gd name="connsiteX1154" fmla="*/ 901237 w 2663946"/>
                <a:gd name="connsiteY1154" fmla="*/ 130512 h 349382"/>
                <a:gd name="connsiteX1155" fmla="*/ 897058 w 2663946"/>
                <a:gd name="connsiteY1155" fmla="*/ 130512 h 349382"/>
                <a:gd name="connsiteX1156" fmla="*/ 896812 w 2663946"/>
                <a:gd name="connsiteY1156" fmla="*/ 130512 h 349382"/>
                <a:gd name="connsiteX1157" fmla="*/ 883785 w 2663946"/>
                <a:gd name="connsiteY1157" fmla="*/ 125645 h 349382"/>
                <a:gd name="connsiteX1158" fmla="*/ 879115 w 2663946"/>
                <a:gd name="connsiteY1158" fmla="*/ 121589 h 349382"/>
                <a:gd name="connsiteX1159" fmla="*/ 875919 w 2663946"/>
                <a:gd name="connsiteY1159" fmla="*/ 117804 h 349382"/>
                <a:gd name="connsiteX1160" fmla="*/ 873707 w 2663946"/>
                <a:gd name="connsiteY1160" fmla="*/ 114289 h 349382"/>
                <a:gd name="connsiteX1161" fmla="*/ 871495 w 2663946"/>
                <a:gd name="connsiteY1161" fmla="*/ 109963 h 349382"/>
                <a:gd name="connsiteX1162" fmla="*/ 870266 w 2663946"/>
                <a:gd name="connsiteY1162" fmla="*/ 106988 h 349382"/>
                <a:gd name="connsiteX1163" fmla="*/ 869282 w 2663946"/>
                <a:gd name="connsiteY1163" fmla="*/ 103744 h 349382"/>
                <a:gd name="connsiteX1164" fmla="*/ 868053 w 2663946"/>
                <a:gd name="connsiteY1164" fmla="*/ 98066 h 349382"/>
                <a:gd name="connsiteX1165" fmla="*/ 867808 w 2663946"/>
                <a:gd name="connsiteY1165" fmla="*/ 95092 h 349382"/>
                <a:gd name="connsiteX1166" fmla="*/ 868053 w 2663946"/>
                <a:gd name="connsiteY1166" fmla="*/ 95362 h 349382"/>
                <a:gd name="connsiteX1167" fmla="*/ 868053 w 2663946"/>
                <a:gd name="connsiteY1167" fmla="*/ 89684 h 349382"/>
                <a:gd name="connsiteX1168" fmla="*/ 868053 w 2663946"/>
                <a:gd name="connsiteY1168" fmla="*/ 89414 h 349382"/>
                <a:gd name="connsiteX1169" fmla="*/ 868545 w 2663946"/>
                <a:gd name="connsiteY1169" fmla="*/ 84817 h 349382"/>
                <a:gd name="connsiteX1170" fmla="*/ 869774 w 2663946"/>
                <a:gd name="connsiteY1170" fmla="*/ 79410 h 349382"/>
                <a:gd name="connsiteX1171" fmla="*/ 870757 w 2663946"/>
                <a:gd name="connsiteY1171" fmla="*/ 76165 h 349382"/>
                <a:gd name="connsiteX1172" fmla="*/ 872969 w 2663946"/>
                <a:gd name="connsiteY1172" fmla="*/ 71028 h 349382"/>
                <a:gd name="connsiteX1173" fmla="*/ 875182 w 2663946"/>
                <a:gd name="connsiteY1173" fmla="*/ 67243 h 349382"/>
                <a:gd name="connsiteX1174" fmla="*/ 877394 w 2663946"/>
                <a:gd name="connsiteY1174" fmla="*/ 64268 h 349382"/>
                <a:gd name="connsiteX1175" fmla="*/ 879606 w 2663946"/>
                <a:gd name="connsiteY1175" fmla="*/ 61835 h 349382"/>
                <a:gd name="connsiteX1176" fmla="*/ 884276 w 2663946"/>
                <a:gd name="connsiteY1176" fmla="*/ 58050 h 349382"/>
                <a:gd name="connsiteX1177" fmla="*/ 888209 w 2663946"/>
                <a:gd name="connsiteY1177" fmla="*/ 55887 h 349382"/>
                <a:gd name="connsiteX1178" fmla="*/ 897796 w 2663946"/>
                <a:gd name="connsiteY1178" fmla="*/ 53453 h 349382"/>
                <a:gd name="connsiteX1179" fmla="*/ 548889 w 2663946"/>
                <a:gd name="connsiteY1179" fmla="*/ 53453 h 349382"/>
                <a:gd name="connsiteX1180" fmla="*/ 561180 w 2663946"/>
                <a:gd name="connsiteY1180" fmla="*/ 55616 h 349382"/>
                <a:gd name="connsiteX1181" fmla="*/ 568554 w 2663946"/>
                <a:gd name="connsiteY1181" fmla="*/ 60213 h 349382"/>
                <a:gd name="connsiteX1182" fmla="*/ 571995 w 2663946"/>
                <a:gd name="connsiteY1182" fmla="*/ 63457 h 349382"/>
                <a:gd name="connsiteX1183" fmla="*/ 575436 w 2663946"/>
                <a:gd name="connsiteY1183" fmla="*/ 67783 h 349382"/>
                <a:gd name="connsiteX1184" fmla="*/ 577403 w 2663946"/>
                <a:gd name="connsiteY1184" fmla="*/ 71298 h 349382"/>
                <a:gd name="connsiteX1185" fmla="*/ 579615 w 2663946"/>
                <a:gd name="connsiteY1185" fmla="*/ 76706 h 349382"/>
                <a:gd name="connsiteX1186" fmla="*/ 580598 w 2663946"/>
                <a:gd name="connsiteY1186" fmla="*/ 80221 h 349382"/>
                <a:gd name="connsiteX1187" fmla="*/ 581581 w 2663946"/>
                <a:gd name="connsiteY1187" fmla="*/ 85358 h 349382"/>
                <a:gd name="connsiteX1188" fmla="*/ 581336 w 2663946"/>
                <a:gd name="connsiteY1188" fmla="*/ 99688 h 349382"/>
                <a:gd name="connsiteX1189" fmla="*/ 580352 w 2663946"/>
                <a:gd name="connsiteY1189" fmla="*/ 104555 h 349382"/>
                <a:gd name="connsiteX1190" fmla="*/ 579123 w 2663946"/>
                <a:gd name="connsiteY1190" fmla="*/ 108340 h 349382"/>
                <a:gd name="connsiteX1191" fmla="*/ 578140 w 2663946"/>
                <a:gd name="connsiteY1191" fmla="*/ 110774 h 349382"/>
                <a:gd name="connsiteX1192" fmla="*/ 575928 w 2663946"/>
                <a:gd name="connsiteY1192" fmla="*/ 115100 h 349382"/>
                <a:gd name="connsiteX1193" fmla="*/ 573715 w 2663946"/>
                <a:gd name="connsiteY1193" fmla="*/ 118344 h 349382"/>
                <a:gd name="connsiteX1194" fmla="*/ 570274 w 2663946"/>
                <a:gd name="connsiteY1194" fmla="*/ 122130 h 349382"/>
                <a:gd name="connsiteX1195" fmla="*/ 567079 w 2663946"/>
                <a:gd name="connsiteY1195" fmla="*/ 124833 h 349382"/>
                <a:gd name="connsiteX1196" fmla="*/ 561425 w 2663946"/>
                <a:gd name="connsiteY1196" fmla="*/ 128078 h 349382"/>
                <a:gd name="connsiteX1197" fmla="*/ 553559 w 2663946"/>
                <a:gd name="connsiteY1197" fmla="*/ 130241 h 349382"/>
                <a:gd name="connsiteX1198" fmla="*/ 552331 w 2663946"/>
                <a:gd name="connsiteY1198" fmla="*/ 130512 h 349382"/>
                <a:gd name="connsiteX1199" fmla="*/ 548152 w 2663946"/>
                <a:gd name="connsiteY1199" fmla="*/ 130512 h 349382"/>
                <a:gd name="connsiteX1200" fmla="*/ 547906 w 2663946"/>
                <a:gd name="connsiteY1200" fmla="*/ 130512 h 349382"/>
                <a:gd name="connsiteX1201" fmla="*/ 534879 w 2663946"/>
                <a:gd name="connsiteY1201" fmla="*/ 125645 h 349382"/>
                <a:gd name="connsiteX1202" fmla="*/ 530208 w 2663946"/>
                <a:gd name="connsiteY1202" fmla="*/ 121589 h 349382"/>
                <a:gd name="connsiteX1203" fmla="*/ 527013 w 2663946"/>
                <a:gd name="connsiteY1203" fmla="*/ 117804 h 349382"/>
                <a:gd name="connsiteX1204" fmla="*/ 524801 w 2663946"/>
                <a:gd name="connsiteY1204" fmla="*/ 114289 h 349382"/>
                <a:gd name="connsiteX1205" fmla="*/ 522588 w 2663946"/>
                <a:gd name="connsiteY1205" fmla="*/ 109963 h 349382"/>
                <a:gd name="connsiteX1206" fmla="*/ 521359 w 2663946"/>
                <a:gd name="connsiteY1206" fmla="*/ 106988 h 349382"/>
                <a:gd name="connsiteX1207" fmla="*/ 520376 w 2663946"/>
                <a:gd name="connsiteY1207" fmla="*/ 103744 h 349382"/>
                <a:gd name="connsiteX1208" fmla="*/ 519147 w 2663946"/>
                <a:gd name="connsiteY1208" fmla="*/ 98066 h 349382"/>
                <a:gd name="connsiteX1209" fmla="*/ 518901 w 2663946"/>
                <a:gd name="connsiteY1209" fmla="*/ 95092 h 349382"/>
                <a:gd name="connsiteX1210" fmla="*/ 519147 w 2663946"/>
                <a:gd name="connsiteY1210" fmla="*/ 95362 h 349382"/>
                <a:gd name="connsiteX1211" fmla="*/ 519147 w 2663946"/>
                <a:gd name="connsiteY1211" fmla="*/ 89684 h 349382"/>
                <a:gd name="connsiteX1212" fmla="*/ 519147 w 2663946"/>
                <a:gd name="connsiteY1212" fmla="*/ 89414 h 349382"/>
                <a:gd name="connsiteX1213" fmla="*/ 519639 w 2663946"/>
                <a:gd name="connsiteY1213" fmla="*/ 84817 h 349382"/>
                <a:gd name="connsiteX1214" fmla="*/ 520868 w 2663946"/>
                <a:gd name="connsiteY1214" fmla="*/ 79410 h 349382"/>
                <a:gd name="connsiteX1215" fmla="*/ 521851 w 2663946"/>
                <a:gd name="connsiteY1215" fmla="*/ 76165 h 349382"/>
                <a:gd name="connsiteX1216" fmla="*/ 524063 w 2663946"/>
                <a:gd name="connsiteY1216" fmla="*/ 71028 h 349382"/>
                <a:gd name="connsiteX1217" fmla="*/ 526275 w 2663946"/>
                <a:gd name="connsiteY1217" fmla="*/ 67243 h 349382"/>
                <a:gd name="connsiteX1218" fmla="*/ 528488 w 2663946"/>
                <a:gd name="connsiteY1218" fmla="*/ 64268 h 349382"/>
                <a:gd name="connsiteX1219" fmla="*/ 530700 w 2663946"/>
                <a:gd name="connsiteY1219" fmla="*/ 61835 h 349382"/>
                <a:gd name="connsiteX1220" fmla="*/ 535370 w 2663946"/>
                <a:gd name="connsiteY1220" fmla="*/ 58050 h 349382"/>
                <a:gd name="connsiteX1221" fmla="*/ 539303 w 2663946"/>
                <a:gd name="connsiteY1221" fmla="*/ 55887 h 349382"/>
                <a:gd name="connsiteX1222" fmla="*/ 548889 w 2663946"/>
                <a:gd name="connsiteY1222" fmla="*/ 53453 h 349382"/>
                <a:gd name="connsiteX1223" fmla="*/ 366938 w 2663946"/>
                <a:gd name="connsiteY1223" fmla="*/ 53453 h 349382"/>
                <a:gd name="connsiteX1224" fmla="*/ 379228 w 2663946"/>
                <a:gd name="connsiteY1224" fmla="*/ 55616 h 349382"/>
                <a:gd name="connsiteX1225" fmla="*/ 386603 w 2663946"/>
                <a:gd name="connsiteY1225" fmla="*/ 60213 h 349382"/>
                <a:gd name="connsiteX1226" fmla="*/ 390044 w 2663946"/>
                <a:gd name="connsiteY1226" fmla="*/ 63457 h 349382"/>
                <a:gd name="connsiteX1227" fmla="*/ 393485 w 2663946"/>
                <a:gd name="connsiteY1227" fmla="*/ 67783 h 349382"/>
                <a:gd name="connsiteX1228" fmla="*/ 395452 w 2663946"/>
                <a:gd name="connsiteY1228" fmla="*/ 71298 h 349382"/>
                <a:gd name="connsiteX1229" fmla="*/ 397664 w 2663946"/>
                <a:gd name="connsiteY1229" fmla="*/ 76706 h 349382"/>
                <a:gd name="connsiteX1230" fmla="*/ 398647 w 2663946"/>
                <a:gd name="connsiteY1230" fmla="*/ 80221 h 349382"/>
                <a:gd name="connsiteX1231" fmla="*/ 399630 w 2663946"/>
                <a:gd name="connsiteY1231" fmla="*/ 85358 h 349382"/>
                <a:gd name="connsiteX1232" fmla="*/ 399384 w 2663946"/>
                <a:gd name="connsiteY1232" fmla="*/ 99688 h 349382"/>
                <a:gd name="connsiteX1233" fmla="*/ 398401 w 2663946"/>
                <a:gd name="connsiteY1233" fmla="*/ 104555 h 349382"/>
                <a:gd name="connsiteX1234" fmla="*/ 397172 w 2663946"/>
                <a:gd name="connsiteY1234" fmla="*/ 108340 h 349382"/>
                <a:gd name="connsiteX1235" fmla="*/ 396189 w 2663946"/>
                <a:gd name="connsiteY1235" fmla="*/ 110774 h 349382"/>
                <a:gd name="connsiteX1236" fmla="*/ 393977 w 2663946"/>
                <a:gd name="connsiteY1236" fmla="*/ 115100 h 349382"/>
                <a:gd name="connsiteX1237" fmla="*/ 391764 w 2663946"/>
                <a:gd name="connsiteY1237" fmla="*/ 118344 h 349382"/>
                <a:gd name="connsiteX1238" fmla="*/ 388323 w 2663946"/>
                <a:gd name="connsiteY1238" fmla="*/ 122130 h 349382"/>
                <a:gd name="connsiteX1239" fmla="*/ 385128 w 2663946"/>
                <a:gd name="connsiteY1239" fmla="*/ 124833 h 349382"/>
                <a:gd name="connsiteX1240" fmla="*/ 379474 w 2663946"/>
                <a:gd name="connsiteY1240" fmla="*/ 128078 h 349382"/>
                <a:gd name="connsiteX1241" fmla="*/ 371609 w 2663946"/>
                <a:gd name="connsiteY1241" fmla="*/ 130241 h 349382"/>
                <a:gd name="connsiteX1242" fmla="*/ 370380 w 2663946"/>
                <a:gd name="connsiteY1242" fmla="*/ 130512 h 349382"/>
                <a:gd name="connsiteX1243" fmla="*/ 366201 w 2663946"/>
                <a:gd name="connsiteY1243" fmla="*/ 130512 h 349382"/>
                <a:gd name="connsiteX1244" fmla="*/ 365955 w 2663946"/>
                <a:gd name="connsiteY1244" fmla="*/ 130512 h 349382"/>
                <a:gd name="connsiteX1245" fmla="*/ 352927 w 2663946"/>
                <a:gd name="connsiteY1245" fmla="*/ 125645 h 349382"/>
                <a:gd name="connsiteX1246" fmla="*/ 348257 w 2663946"/>
                <a:gd name="connsiteY1246" fmla="*/ 121589 h 349382"/>
                <a:gd name="connsiteX1247" fmla="*/ 345062 w 2663946"/>
                <a:gd name="connsiteY1247" fmla="*/ 117804 h 349382"/>
                <a:gd name="connsiteX1248" fmla="*/ 342850 w 2663946"/>
                <a:gd name="connsiteY1248" fmla="*/ 114289 h 349382"/>
                <a:gd name="connsiteX1249" fmla="*/ 340637 w 2663946"/>
                <a:gd name="connsiteY1249" fmla="*/ 109963 h 349382"/>
                <a:gd name="connsiteX1250" fmla="*/ 339408 w 2663946"/>
                <a:gd name="connsiteY1250" fmla="*/ 106988 h 349382"/>
                <a:gd name="connsiteX1251" fmla="*/ 338425 w 2663946"/>
                <a:gd name="connsiteY1251" fmla="*/ 103744 h 349382"/>
                <a:gd name="connsiteX1252" fmla="*/ 337196 w 2663946"/>
                <a:gd name="connsiteY1252" fmla="*/ 98066 h 349382"/>
                <a:gd name="connsiteX1253" fmla="*/ 336950 w 2663946"/>
                <a:gd name="connsiteY1253" fmla="*/ 95092 h 349382"/>
                <a:gd name="connsiteX1254" fmla="*/ 337196 w 2663946"/>
                <a:gd name="connsiteY1254" fmla="*/ 95362 h 349382"/>
                <a:gd name="connsiteX1255" fmla="*/ 337196 w 2663946"/>
                <a:gd name="connsiteY1255" fmla="*/ 89684 h 349382"/>
                <a:gd name="connsiteX1256" fmla="*/ 337196 w 2663946"/>
                <a:gd name="connsiteY1256" fmla="*/ 89414 h 349382"/>
                <a:gd name="connsiteX1257" fmla="*/ 337687 w 2663946"/>
                <a:gd name="connsiteY1257" fmla="*/ 84817 h 349382"/>
                <a:gd name="connsiteX1258" fmla="*/ 338917 w 2663946"/>
                <a:gd name="connsiteY1258" fmla="*/ 79410 h 349382"/>
                <a:gd name="connsiteX1259" fmla="*/ 339900 w 2663946"/>
                <a:gd name="connsiteY1259" fmla="*/ 76165 h 349382"/>
                <a:gd name="connsiteX1260" fmla="*/ 342112 w 2663946"/>
                <a:gd name="connsiteY1260" fmla="*/ 71028 h 349382"/>
                <a:gd name="connsiteX1261" fmla="*/ 344324 w 2663946"/>
                <a:gd name="connsiteY1261" fmla="*/ 67243 h 349382"/>
                <a:gd name="connsiteX1262" fmla="*/ 346536 w 2663946"/>
                <a:gd name="connsiteY1262" fmla="*/ 64268 h 349382"/>
                <a:gd name="connsiteX1263" fmla="*/ 348749 w 2663946"/>
                <a:gd name="connsiteY1263" fmla="*/ 61835 h 349382"/>
                <a:gd name="connsiteX1264" fmla="*/ 353419 w 2663946"/>
                <a:gd name="connsiteY1264" fmla="*/ 58050 h 349382"/>
                <a:gd name="connsiteX1265" fmla="*/ 357352 w 2663946"/>
                <a:gd name="connsiteY1265" fmla="*/ 55887 h 349382"/>
                <a:gd name="connsiteX1266" fmla="*/ 366938 w 2663946"/>
                <a:gd name="connsiteY1266" fmla="*/ 53453 h 349382"/>
                <a:gd name="connsiteX1267" fmla="*/ 123893 w 2663946"/>
                <a:gd name="connsiteY1267" fmla="*/ 53453 h 349382"/>
                <a:gd name="connsiteX1268" fmla="*/ 136183 w 2663946"/>
                <a:gd name="connsiteY1268" fmla="*/ 55616 h 349382"/>
                <a:gd name="connsiteX1269" fmla="*/ 143557 w 2663946"/>
                <a:gd name="connsiteY1269" fmla="*/ 60213 h 349382"/>
                <a:gd name="connsiteX1270" fmla="*/ 146998 w 2663946"/>
                <a:gd name="connsiteY1270" fmla="*/ 63457 h 349382"/>
                <a:gd name="connsiteX1271" fmla="*/ 150439 w 2663946"/>
                <a:gd name="connsiteY1271" fmla="*/ 67783 h 349382"/>
                <a:gd name="connsiteX1272" fmla="*/ 152406 w 2663946"/>
                <a:gd name="connsiteY1272" fmla="*/ 71298 h 349382"/>
                <a:gd name="connsiteX1273" fmla="*/ 154618 w 2663946"/>
                <a:gd name="connsiteY1273" fmla="*/ 76706 h 349382"/>
                <a:gd name="connsiteX1274" fmla="*/ 155601 w 2663946"/>
                <a:gd name="connsiteY1274" fmla="*/ 80221 h 349382"/>
                <a:gd name="connsiteX1275" fmla="*/ 156584 w 2663946"/>
                <a:gd name="connsiteY1275" fmla="*/ 85358 h 349382"/>
                <a:gd name="connsiteX1276" fmla="*/ 156339 w 2663946"/>
                <a:gd name="connsiteY1276" fmla="*/ 99688 h 349382"/>
                <a:gd name="connsiteX1277" fmla="*/ 155355 w 2663946"/>
                <a:gd name="connsiteY1277" fmla="*/ 104555 h 349382"/>
                <a:gd name="connsiteX1278" fmla="*/ 154126 w 2663946"/>
                <a:gd name="connsiteY1278" fmla="*/ 108340 h 349382"/>
                <a:gd name="connsiteX1279" fmla="*/ 153143 w 2663946"/>
                <a:gd name="connsiteY1279" fmla="*/ 110774 h 349382"/>
                <a:gd name="connsiteX1280" fmla="*/ 150931 w 2663946"/>
                <a:gd name="connsiteY1280" fmla="*/ 115100 h 349382"/>
                <a:gd name="connsiteX1281" fmla="*/ 148719 w 2663946"/>
                <a:gd name="connsiteY1281" fmla="*/ 118344 h 349382"/>
                <a:gd name="connsiteX1282" fmla="*/ 145277 w 2663946"/>
                <a:gd name="connsiteY1282" fmla="*/ 122130 h 349382"/>
                <a:gd name="connsiteX1283" fmla="*/ 142082 w 2663946"/>
                <a:gd name="connsiteY1283" fmla="*/ 124833 h 349382"/>
                <a:gd name="connsiteX1284" fmla="*/ 136428 w 2663946"/>
                <a:gd name="connsiteY1284" fmla="*/ 128078 h 349382"/>
                <a:gd name="connsiteX1285" fmla="*/ 128563 w 2663946"/>
                <a:gd name="connsiteY1285" fmla="*/ 130241 h 349382"/>
                <a:gd name="connsiteX1286" fmla="*/ 127334 w 2663946"/>
                <a:gd name="connsiteY1286" fmla="*/ 130512 h 349382"/>
                <a:gd name="connsiteX1287" fmla="*/ 123155 w 2663946"/>
                <a:gd name="connsiteY1287" fmla="*/ 130512 h 349382"/>
                <a:gd name="connsiteX1288" fmla="*/ 122909 w 2663946"/>
                <a:gd name="connsiteY1288" fmla="*/ 130512 h 349382"/>
                <a:gd name="connsiteX1289" fmla="*/ 109882 w 2663946"/>
                <a:gd name="connsiteY1289" fmla="*/ 125645 h 349382"/>
                <a:gd name="connsiteX1290" fmla="*/ 105211 w 2663946"/>
                <a:gd name="connsiteY1290" fmla="*/ 121589 h 349382"/>
                <a:gd name="connsiteX1291" fmla="*/ 102016 w 2663946"/>
                <a:gd name="connsiteY1291" fmla="*/ 117804 h 349382"/>
                <a:gd name="connsiteX1292" fmla="*/ 99804 w 2663946"/>
                <a:gd name="connsiteY1292" fmla="*/ 114289 h 349382"/>
                <a:gd name="connsiteX1293" fmla="*/ 97591 w 2663946"/>
                <a:gd name="connsiteY1293" fmla="*/ 109963 h 349382"/>
                <a:gd name="connsiteX1294" fmla="*/ 96362 w 2663946"/>
                <a:gd name="connsiteY1294" fmla="*/ 106988 h 349382"/>
                <a:gd name="connsiteX1295" fmla="*/ 95379 w 2663946"/>
                <a:gd name="connsiteY1295" fmla="*/ 103744 h 349382"/>
                <a:gd name="connsiteX1296" fmla="*/ 94150 w 2663946"/>
                <a:gd name="connsiteY1296" fmla="*/ 98066 h 349382"/>
                <a:gd name="connsiteX1297" fmla="*/ 93904 w 2663946"/>
                <a:gd name="connsiteY1297" fmla="*/ 95092 h 349382"/>
                <a:gd name="connsiteX1298" fmla="*/ 94150 w 2663946"/>
                <a:gd name="connsiteY1298" fmla="*/ 95362 h 349382"/>
                <a:gd name="connsiteX1299" fmla="*/ 94150 w 2663946"/>
                <a:gd name="connsiteY1299" fmla="*/ 89684 h 349382"/>
                <a:gd name="connsiteX1300" fmla="*/ 94150 w 2663946"/>
                <a:gd name="connsiteY1300" fmla="*/ 89414 h 349382"/>
                <a:gd name="connsiteX1301" fmla="*/ 94642 w 2663946"/>
                <a:gd name="connsiteY1301" fmla="*/ 84817 h 349382"/>
                <a:gd name="connsiteX1302" fmla="*/ 95871 w 2663946"/>
                <a:gd name="connsiteY1302" fmla="*/ 79410 h 349382"/>
                <a:gd name="connsiteX1303" fmla="*/ 96854 w 2663946"/>
                <a:gd name="connsiteY1303" fmla="*/ 76165 h 349382"/>
                <a:gd name="connsiteX1304" fmla="*/ 99066 w 2663946"/>
                <a:gd name="connsiteY1304" fmla="*/ 71028 h 349382"/>
                <a:gd name="connsiteX1305" fmla="*/ 101279 w 2663946"/>
                <a:gd name="connsiteY1305" fmla="*/ 67243 h 349382"/>
                <a:gd name="connsiteX1306" fmla="*/ 103491 w 2663946"/>
                <a:gd name="connsiteY1306" fmla="*/ 64268 h 349382"/>
                <a:gd name="connsiteX1307" fmla="*/ 105703 w 2663946"/>
                <a:gd name="connsiteY1307" fmla="*/ 61835 h 349382"/>
                <a:gd name="connsiteX1308" fmla="*/ 110373 w 2663946"/>
                <a:gd name="connsiteY1308" fmla="*/ 58050 h 349382"/>
                <a:gd name="connsiteX1309" fmla="*/ 114306 w 2663946"/>
                <a:gd name="connsiteY1309" fmla="*/ 55887 h 349382"/>
                <a:gd name="connsiteX1310" fmla="*/ 123893 w 2663946"/>
                <a:gd name="connsiteY1310" fmla="*/ 53453 h 349382"/>
                <a:gd name="connsiteX1311" fmla="*/ 33147 w 2663946"/>
                <a:gd name="connsiteY1311" fmla="*/ 52815 h 349382"/>
                <a:gd name="connsiteX1312" fmla="*/ 57942 w 2663946"/>
                <a:gd name="connsiteY1312" fmla="*/ 73024 h 349382"/>
                <a:gd name="connsiteX1313" fmla="*/ 58422 w 2663946"/>
                <a:gd name="connsiteY1313" fmla="*/ 77782 h 349382"/>
                <a:gd name="connsiteX1314" fmla="*/ 59840 w 2663946"/>
                <a:gd name="connsiteY1314" fmla="*/ 77782 h 349382"/>
                <a:gd name="connsiteX1315" fmla="*/ 66294 w 2663946"/>
                <a:gd name="connsiteY1315" fmla="*/ 84068 h 349382"/>
                <a:gd name="connsiteX1316" fmla="*/ 66294 w 2663946"/>
                <a:gd name="connsiteY1316" fmla="*/ 133790 h 349382"/>
                <a:gd name="connsiteX1317" fmla="*/ 59840 w 2663946"/>
                <a:gd name="connsiteY1317" fmla="*/ 140076 h 349382"/>
                <a:gd name="connsiteX1318" fmla="*/ 6453 w 2663946"/>
                <a:gd name="connsiteY1318" fmla="*/ 140076 h 349382"/>
                <a:gd name="connsiteX1319" fmla="*/ 0 w 2663946"/>
                <a:gd name="connsiteY1319" fmla="*/ 133790 h 349382"/>
                <a:gd name="connsiteX1320" fmla="*/ 0 w 2663946"/>
                <a:gd name="connsiteY1320" fmla="*/ 84068 h 349382"/>
                <a:gd name="connsiteX1321" fmla="*/ 6453 w 2663946"/>
                <a:gd name="connsiteY1321" fmla="*/ 77782 h 349382"/>
                <a:gd name="connsiteX1322" fmla="*/ 7288 w 2663946"/>
                <a:gd name="connsiteY1322" fmla="*/ 77782 h 349382"/>
                <a:gd name="connsiteX1323" fmla="*/ 7872 w 2663946"/>
                <a:gd name="connsiteY1323" fmla="*/ 77782 h 349382"/>
                <a:gd name="connsiteX1324" fmla="*/ 8351 w 2663946"/>
                <a:gd name="connsiteY1324" fmla="*/ 73024 h 349382"/>
                <a:gd name="connsiteX1325" fmla="*/ 33147 w 2663946"/>
                <a:gd name="connsiteY1325" fmla="*/ 52815 h 349382"/>
                <a:gd name="connsiteX1326" fmla="*/ 2537931 w 2663946"/>
                <a:gd name="connsiteY1326" fmla="*/ 45227 h 349382"/>
                <a:gd name="connsiteX1327" fmla="*/ 2562727 w 2663946"/>
                <a:gd name="connsiteY1327" fmla="*/ 65436 h 349382"/>
                <a:gd name="connsiteX1328" fmla="*/ 2563206 w 2663946"/>
                <a:gd name="connsiteY1328" fmla="*/ 70194 h 349382"/>
                <a:gd name="connsiteX1329" fmla="*/ 2564625 w 2663946"/>
                <a:gd name="connsiteY1329" fmla="*/ 70194 h 349382"/>
                <a:gd name="connsiteX1330" fmla="*/ 2571078 w 2663946"/>
                <a:gd name="connsiteY1330" fmla="*/ 76480 h 349382"/>
                <a:gd name="connsiteX1331" fmla="*/ 2571078 w 2663946"/>
                <a:gd name="connsiteY1331" fmla="*/ 126202 h 349382"/>
                <a:gd name="connsiteX1332" fmla="*/ 2564625 w 2663946"/>
                <a:gd name="connsiteY1332" fmla="*/ 132488 h 349382"/>
                <a:gd name="connsiteX1333" fmla="*/ 2511238 w 2663946"/>
                <a:gd name="connsiteY1333" fmla="*/ 132488 h 349382"/>
                <a:gd name="connsiteX1334" fmla="*/ 2504784 w 2663946"/>
                <a:gd name="connsiteY1334" fmla="*/ 126202 h 349382"/>
                <a:gd name="connsiteX1335" fmla="*/ 2504784 w 2663946"/>
                <a:gd name="connsiteY1335" fmla="*/ 76480 h 349382"/>
                <a:gd name="connsiteX1336" fmla="*/ 2511238 w 2663946"/>
                <a:gd name="connsiteY1336" fmla="*/ 70194 h 349382"/>
                <a:gd name="connsiteX1337" fmla="*/ 2512072 w 2663946"/>
                <a:gd name="connsiteY1337" fmla="*/ 70194 h 349382"/>
                <a:gd name="connsiteX1338" fmla="*/ 2512656 w 2663946"/>
                <a:gd name="connsiteY1338" fmla="*/ 70194 h 349382"/>
                <a:gd name="connsiteX1339" fmla="*/ 2513136 w 2663946"/>
                <a:gd name="connsiteY1339" fmla="*/ 65436 h 349382"/>
                <a:gd name="connsiteX1340" fmla="*/ 2537931 w 2663946"/>
                <a:gd name="connsiteY1340" fmla="*/ 45227 h 349382"/>
                <a:gd name="connsiteX1341" fmla="*/ 2112934 w 2663946"/>
                <a:gd name="connsiteY1341" fmla="*/ 45227 h 349382"/>
                <a:gd name="connsiteX1342" fmla="*/ 2137730 w 2663946"/>
                <a:gd name="connsiteY1342" fmla="*/ 65436 h 349382"/>
                <a:gd name="connsiteX1343" fmla="*/ 2138209 w 2663946"/>
                <a:gd name="connsiteY1343" fmla="*/ 70194 h 349382"/>
                <a:gd name="connsiteX1344" fmla="*/ 2139628 w 2663946"/>
                <a:gd name="connsiteY1344" fmla="*/ 70194 h 349382"/>
                <a:gd name="connsiteX1345" fmla="*/ 2146081 w 2663946"/>
                <a:gd name="connsiteY1345" fmla="*/ 76480 h 349382"/>
                <a:gd name="connsiteX1346" fmla="*/ 2146081 w 2663946"/>
                <a:gd name="connsiteY1346" fmla="*/ 126202 h 349382"/>
                <a:gd name="connsiteX1347" fmla="*/ 2139628 w 2663946"/>
                <a:gd name="connsiteY1347" fmla="*/ 132488 h 349382"/>
                <a:gd name="connsiteX1348" fmla="*/ 2086241 w 2663946"/>
                <a:gd name="connsiteY1348" fmla="*/ 132488 h 349382"/>
                <a:gd name="connsiteX1349" fmla="*/ 2079787 w 2663946"/>
                <a:gd name="connsiteY1349" fmla="*/ 126202 h 349382"/>
                <a:gd name="connsiteX1350" fmla="*/ 2079787 w 2663946"/>
                <a:gd name="connsiteY1350" fmla="*/ 76480 h 349382"/>
                <a:gd name="connsiteX1351" fmla="*/ 2086241 w 2663946"/>
                <a:gd name="connsiteY1351" fmla="*/ 70194 h 349382"/>
                <a:gd name="connsiteX1352" fmla="*/ 2087075 w 2663946"/>
                <a:gd name="connsiteY1352" fmla="*/ 70194 h 349382"/>
                <a:gd name="connsiteX1353" fmla="*/ 2087659 w 2663946"/>
                <a:gd name="connsiteY1353" fmla="*/ 70194 h 349382"/>
                <a:gd name="connsiteX1354" fmla="*/ 2088139 w 2663946"/>
                <a:gd name="connsiteY1354" fmla="*/ 65436 h 349382"/>
                <a:gd name="connsiteX1355" fmla="*/ 2112934 w 2663946"/>
                <a:gd name="connsiteY1355" fmla="*/ 45227 h 349382"/>
                <a:gd name="connsiteX1356" fmla="*/ 1854966 w 2663946"/>
                <a:gd name="connsiteY1356" fmla="*/ 45227 h 349382"/>
                <a:gd name="connsiteX1357" fmla="*/ 1879762 w 2663946"/>
                <a:gd name="connsiteY1357" fmla="*/ 65436 h 349382"/>
                <a:gd name="connsiteX1358" fmla="*/ 1880241 w 2663946"/>
                <a:gd name="connsiteY1358" fmla="*/ 70194 h 349382"/>
                <a:gd name="connsiteX1359" fmla="*/ 1881660 w 2663946"/>
                <a:gd name="connsiteY1359" fmla="*/ 70194 h 349382"/>
                <a:gd name="connsiteX1360" fmla="*/ 1888113 w 2663946"/>
                <a:gd name="connsiteY1360" fmla="*/ 76480 h 349382"/>
                <a:gd name="connsiteX1361" fmla="*/ 1888113 w 2663946"/>
                <a:gd name="connsiteY1361" fmla="*/ 126202 h 349382"/>
                <a:gd name="connsiteX1362" fmla="*/ 1881660 w 2663946"/>
                <a:gd name="connsiteY1362" fmla="*/ 132488 h 349382"/>
                <a:gd name="connsiteX1363" fmla="*/ 1828273 w 2663946"/>
                <a:gd name="connsiteY1363" fmla="*/ 132488 h 349382"/>
                <a:gd name="connsiteX1364" fmla="*/ 1821819 w 2663946"/>
                <a:gd name="connsiteY1364" fmla="*/ 126202 h 349382"/>
                <a:gd name="connsiteX1365" fmla="*/ 1821819 w 2663946"/>
                <a:gd name="connsiteY1365" fmla="*/ 76480 h 349382"/>
                <a:gd name="connsiteX1366" fmla="*/ 1828273 w 2663946"/>
                <a:gd name="connsiteY1366" fmla="*/ 70194 h 349382"/>
                <a:gd name="connsiteX1367" fmla="*/ 1829107 w 2663946"/>
                <a:gd name="connsiteY1367" fmla="*/ 70194 h 349382"/>
                <a:gd name="connsiteX1368" fmla="*/ 1829691 w 2663946"/>
                <a:gd name="connsiteY1368" fmla="*/ 70194 h 349382"/>
                <a:gd name="connsiteX1369" fmla="*/ 1830171 w 2663946"/>
                <a:gd name="connsiteY1369" fmla="*/ 65436 h 349382"/>
                <a:gd name="connsiteX1370" fmla="*/ 1854966 w 2663946"/>
                <a:gd name="connsiteY1370" fmla="*/ 45227 h 349382"/>
                <a:gd name="connsiteX1371" fmla="*/ 1764027 w 2663946"/>
                <a:gd name="connsiteY1371" fmla="*/ 45227 h 349382"/>
                <a:gd name="connsiteX1372" fmla="*/ 1788823 w 2663946"/>
                <a:gd name="connsiteY1372" fmla="*/ 65436 h 349382"/>
                <a:gd name="connsiteX1373" fmla="*/ 1789302 w 2663946"/>
                <a:gd name="connsiteY1373" fmla="*/ 70194 h 349382"/>
                <a:gd name="connsiteX1374" fmla="*/ 1790721 w 2663946"/>
                <a:gd name="connsiteY1374" fmla="*/ 70194 h 349382"/>
                <a:gd name="connsiteX1375" fmla="*/ 1797174 w 2663946"/>
                <a:gd name="connsiteY1375" fmla="*/ 76480 h 349382"/>
                <a:gd name="connsiteX1376" fmla="*/ 1797174 w 2663946"/>
                <a:gd name="connsiteY1376" fmla="*/ 126202 h 349382"/>
                <a:gd name="connsiteX1377" fmla="*/ 1790721 w 2663946"/>
                <a:gd name="connsiteY1377" fmla="*/ 132488 h 349382"/>
                <a:gd name="connsiteX1378" fmla="*/ 1737333 w 2663946"/>
                <a:gd name="connsiteY1378" fmla="*/ 132488 h 349382"/>
                <a:gd name="connsiteX1379" fmla="*/ 1730880 w 2663946"/>
                <a:gd name="connsiteY1379" fmla="*/ 126202 h 349382"/>
                <a:gd name="connsiteX1380" fmla="*/ 1730880 w 2663946"/>
                <a:gd name="connsiteY1380" fmla="*/ 76480 h 349382"/>
                <a:gd name="connsiteX1381" fmla="*/ 1737333 w 2663946"/>
                <a:gd name="connsiteY1381" fmla="*/ 70194 h 349382"/>
                <a:gd name="connsiteX1382" fmla="*/ 1738168 w 2663946"/>
                <a:gd name="connsiteY1382" fmla="*/ 70194 h 349382"/>
                <a:gd name="connsiteX1383" fmla="*/ 1738752 w 2663946"/>
                <a:gd name="connsiteY1383" fmla="*/ 70194 h 349382"/>
                <a:gd name="connsiteX1384" fmla="*/ 1739232 w 2663946"/>
                <a:gd name="connsiteY1384" fmla="*/ 65436 h 349382"/>
                <a:gd name="connsiteX1385" fmla="*/ 1764027 w 2663946"/>
                <a:gd name="connsiteY1385" fmla="*/ 45227 h 349382"/>
                <a:gd name="connsiteX1386" fmla="*/ 1506059 w 2663946"/>
                <a:gd name="connsiteY1386" fmla="*/ 45227 h 349382"/>
                <a:gd name="connsiteX1387" fmla="*/ 1530855 w 2663946"/>
                <a:gd name="connsiteY1387" fmla="*/ 65436 h 349382"/>
                <a:gd name="connsiteX1388" fmla="*/ 1531334 w 2663946"/>
                <a:gd name="connsiteY1388" fmla="*/ 70194 h 349382"/>
                <a:gd name="connsiteX1389" fmla="*/ 1532753 w 2663946"/>
                <a:gd name="connsiteY1389" fmla="*/ 70194 h 349382"/>
                <a:gd name="connsiteX1390" fmla="*/ 1539206 w 2663946"/>
                <a:gd name="connsiteY1390" fmla="*/ 76480 h 349382"/>
                <a:gd name="connsiteX1391" fmla="*/ 1539206 w 2663946"/>
                <a:gd name="connsiteY1391" fmla="*/ 126202 h 349382"/>
                <a:gd name="connsiteX1392" fmla="*/ 1532753 w 2663946"/>
                <a:gd name="connsiteY1392" fmla="*/ 132488 h 349382"/>
                <a:gd name="connsiteX1393" fmla="*/ 1479365 w 2663946"/>
                <a:gd name="connsiteY1393" fmla="*/ 132488 h 349382"/>
                <a:gd name="connsiteX1394" fmla="*/ 1472912 w 2663946"/>
                <a:gd name="connsiteY1394" fmla="*/ 126202 h 349382"/>
                <a:gd name="connsiteX1395" fmla="*/ 1472912 w 2663946"/>
                <a:gd name="connsiteY1395" fmla="*/ 76480 h 349382"/>
                <a:gd name="connsiteX1396" fmla="*/ 1479365 w 2663946"/>
                <a:gd name="connsiteY1396" fmla="*/ 70194 h 349382"/>
                <a:gd name="connsiteX1397" fmla="*/ 1480200 w 2663946"/>
                <a:gd name="connsiteY1397" fmla="*/ 70194 h 349382"/>
                <a:gd name="connsiteX1398" fmla="*/ 1480784 w 2663946"/>
                <a:gd name="connsiteY1398" fmla="*/ 70194 h 349382"/>
                <a:gd name="connsiteX1399" fmla="*/ 1481264 w 2663946"/>
                <a:gd name="connsiteY1399" fmla="*/ 65436 h 349382"/>
                <a:gd name="connsiteX1400" fmla="*/ 1506059 w 2663946"/>
                <a:gd name="connsiteY1400" fmla="*/ 45227 h 349382"/>
                <a:gd name="connsiteX1401" fmla="*/ 1415120 w 2663946"/>
                <a:gd name="connsiteY1401" fmla="*/ 45227 h 349382"/>
                <a:gd name="connsiteX1402" fmla="*/ 1439916 w 2663946"/>
                <a:gd name="connsiteY1402" fmla="*/ 65436 h 349382"/>
                <a:gd name="connsiteX1403" fmla="*/ 1440395 w 2663946"/>
                <a:gd name="connsiteY1403" fmla="*/ 70194 h 349382"/>
                <a:gd name="connsiteX1404" fmla="*/ 1441814 w 2663946"/>
                <a:gd name="connsiteY1404" fmla="*/ 70194 h 349382"/>
                <a:gd name="connsiteX1405" fmla="*/ 1448267 w 2663946"/>
                <a:gd name="connsiteY1405" fmla="*/ 76480 h 349382"/>
                <a:gd name="connsiteX1406" fmla="*/ 1448267 w 2663946"/>
                <a:gd name="connsiteY1406" fmla="*/ 126202 h 349382"/>
                <a:gd name="connsiteX1407" fmla="*/ 1441814 w 2663946"/>
                <a:gd name="connsiteY1407" fmla="*/ 132488 h 349382"/>
                <a:gd name="connsiteX1408" fmla="*/ 1388426 w 2663946"/>
                <a:gd name="connsiteY1408" fmla="*/ 132488 h 349382"/>
                <a:gd name="connsiteX1409" fmla="*/ 1381973 w 2663946"/>
                <a:gd name="connsiteY1409" fmla="*/ 126202 h 349382"/>
                <a:gd name="connsiteX1410" fmla="*/ 1381973 w 2663946"/>
                <a:gd name="connsiteY1410" fmla="*/ 76480 h 349382"/>
                <a:gd name="connsiteX1411" fmla="*/ 1388426 w 2663946"/>
                <a:gd name="connsiteY1411" fmla="*/ 70194 h 349382"/>
                <a:gd name="connsiteX1412" fmla="*/ 1389261 w 2663946"/>
                <a:gd name="connsiteY1412" fmla="*/ 70194 h 349382"/>
                <a:gd name="connsiteX1413" fmla="*/ 1389845 w 2663946"/>
                <a:gd name="connsiteY1413" fmla="*/ 70194 h 349382"/>
                <a:gd name="connsiteX1414" fmla="*/ 1390325 w 2663946"/>
                <a:gd name="connsiteY1414" fmla="*/ 65436 h 349382"/>
                <a:gd name="connsiteX1415" fmla="*/ 1415120 w 2663946"/>
                <a:gd name="connsiteY1415" fmla="*/ 45227 h 349382"/>
                <a:gd name="connsiteX1416" fmla="*/ 1157152 w 2663946"/>
                <a:gd name="connsiteY1416" fmla="*/ 45227 h 349382"/>
                <a:gd name="connsiteX1417" fmla="*/ 1181948 w 2663946"/>
                <a:gd name="connsiteY1417" fmla="*/ 65436 h 349382"/>
                <a:gd name="connsiteX1418" fmla="*/ 1182427 w 2663946"/>
                <a:gd name="connsiteY1418" fmla="*/ 70194 h 349382"/>
                <a:gd name="connsiteX1419" fmla="*/ 1183846 w 2663946"/>
                <a:gd name="connsiteY1419" fmla="*/ 70194 h 349382"/>
                <a:gd name="connsiteX1420" fmla="*/ 1190299 w 2663946"/>
                <a:gd name="connsiteY1420" fmla="*/ 76480 h 349382"/>
                <a:gd name="connsiteX1421" fmla="*/ 1190299 w 2663946"/>
                <a:gd name="connsiteY1421" fmla="*/ 126202 h 349382"/>
                <a:gd name="connsiteX1422" fmla="*/ 1183846 w 2663946"/>
                <a:gd name="connsiteY1422" fmla="*/ 132488 h 349382"/>
                <a:gd name="connsiteX1423" fmla="*/ 1130458 w 2663946"/>
                <a:gd name="connsiteY1423" fmla="*/ 132488 h 349382"/>
                <a:gd name="connsiteX1424" fmla="*/ 1124005 w 2663946"/>
                <a:gd name="connsiteY1424" fmla="*/ 126202 h 349382"/>
                <a:gd name="connsiteX1425" fmla="*/ 1124005 w 2663946"/>
                <a:gd name="connsiteY1425" fmla="*/ 76480 h 349382"/>
                <a:gd name="connsiteX1426" fmla="*/ 1130458 w 2663946"/>
                <a:gd name="connsiteY1426" fmla="*/ 70194 h 349382"/>
                <a:gd name="connsiteX1427" fmla="*/ 1131293 w 2663946"/>
                <a:gd name="connsiteY1427" fmla="*/ 70194 h 349382"/>
                <a:gd name="connsiteX1428" fmla="*/ 1131877 w 2663946"/>
                <a:gd name="connsiteY1428" fmla="*/ 70194 h 349382"/>
                <a:gd name="connsiteX1429" fmla="*/ 1132357 w 2663946"/>
                <a:gd name="connsiteY1429" fmla="*/ 65436 h 349382"/>
                <a:gd name="connsiteX1430" fmla="*/ 1157152 w 2663946"/>
                <a:gd name="connsiteY1430" fmla="*/ 45227 h 349382"/>
                <a:gd name="connsiteX1431" fmla="*/ 732156 w 2663946"/>
                <a:gd name="connsiteY1431" fmla="*/ 45227 h 349382"/>
                <a:gd name="connsiteX1432" fmla="*/ 756951 w 2663946"/>
                <a:gd name="connsiteY1432" fmla="*/ 65436 h 349382"/>
                <a:gd name="connsiteX1433" fmla="*/ 757431 w 2663946"/>
                <a:gd name="connsiteY1433" fmla="*/ 70194 h 349382"/>
                <a:gd name="connsiteX1434" fmla="*/ 758849 w 2663946"/>
                <a:gd name="connsiteY1434" fmla="*/ 70194 h 349382"/>
                <a:gd name="connsiteX1435" fmla="*/ 765303 w 2663946"/>
                <a:gd name="connsiteY1435" fmla="*/ 76480 h 349382"/>
                <a:gd name="connsiteX1436" fmla="*/ 765303 w 2663946"/>
                <a:gd name="connsiteY1436" fmla="*/ 126202 h 349382"/>
                <a:gd name="connsiteX1437" fmla="*/ 758849 w 2663946"/>
                <a:gd name="connsiteY1437" fmla="*/ 132488 h 349382"/>
                <a:gd name="connsiteX1438" fmla="*/ 705462 w 2663946"/>
                <a:gd name="connsiteY1438" fmla="*/ 132488 h 349382"/>
                <a:gd name="connsiteX1439" fmla="*/ 699009 w 2663946"/>
                <a:gd name="connsiteY1439" fmla="*/ 126202 h 349382"/>
                <a:gd name="connsiteX1440" fmla="*/ 699009 w 2663946"/>
                <a:gd name="connsiteY1440" fmla="*/ 76480 h 349382"/>
                <a:gd name="connsiteX1441" fmla="*/ 705462 w 2663946"/>
                <a:gd name="connsiteY1441" fmla="*/ 70194 h 349382"/>
                <a:gd name="connsiteX1442" fmla="*/ 706296 w 2663946"/>
                <a:gd name="connsiteY1442" fmla="*/ 70194 h 349382"/>
                <a:gd name="connsiteX1443" fmla="*/ 706881 w 2663946"/>
                <a:gd name="connsiteY1443" fmla="*/ 70194 h 349382"/>
                <a:gd name="connsiteX1444" fmla="*/ 707360 w 2663946"/>
                <a:gd name="connsiteY1444" fmla="*/ 65436 h 349382"/>
                <a:gd name="connsiteX1445" fmla="*/ 732156 w 2663946"/>
                <a:gd name="connsiteY1445" fmla="*/ 45227 h 349382"/>
                <a:gd name="connsiteX1446" fmla="*/ 641217 w 2663946"/>
                <a:gd name="connsiteY1446" fmla="*/ 45227 h 349382"/>
                <a:gd name="connsiteX1447" fmla="*/ 666012 w 2663946"/>
                <a:gd name="connsiteY1447" fmla="*/ 65436 h 349382"/>
                <a:gd name="connsiteX1448" fmla="*/ 666492 w 2663946"/>
                <a:gd name="connsiteY1448" fmla="*/ 70194 h 349382"/>
                <a:gd name="connsiteX1449" fmla="*/ 667910 w 2663946"/>
                <a:gd name="connsiteY1449" fmla="*/ 70194 h 349382"/>
                <a:gd name="connsiteX1450" fmla="*/ 674364 w 2663946"/>
                <a:gd name="connsiteY1450" fmla="*/ 76480 h 349382"/>
                <a:gd name="connsiteX1451" fmla="*/ 674364 w 2663946"/>
                <a:gd name="connsiteY1451" fmla="*/ 126202 h 349382"/>
                <a:gd name="connsiteX1452" fmla="*/ 667910 w 2663946"/>
                <a:gd name="connsiteY1452" fmla="*/ 132488 h 349382"/>
                <a:gd name="connsiteX1453" fmla="*/ 614523 w 2663946"/>
                <a:gd name="connsiteY1453" fmla="*/ 132488 h 349382"/>
                <a:gd name="connsiteX1454" fmla="*/ 608070 w 2663946"/>
                <a:gd name="connsiteY1454" fmla="*/ 126202 h 349382"/>
                <a:gd name="connsiteX1455" fmla="*/ 608070 w 2663946"/>
                <a:gd name="connsiteY1455" fmla="*/ 76480 h 349382"/>
                <a:gd name="connsiteX1456" fmla="*/ 614523 w 2663946"/>
                <a:gd name="connsiteY1456" fmla="*/ 70194 h 349382"/>
                <a:gd name="connsiteX1457" fmla="*/ 615358 w 2663946"/>
                <a:gd name="connsiteY1457" fmla="*/ 70194 h 349382"/>
                <a:gd name="connsiteX1458" fmla="*/ 615942 w 2663946"/>
                <a:gd name="connsiteY1458" fmla="*/ 70194 h 349382"/>
                <a:gd name="connsiteX1459" fmla="*/ 616422 w 2663946"/>
                <a:gd name="connsiteY1459" fmla="*/ 65436 h 349382"/>
                <a:gd name="connsiteX1460" fmla="*/ 641217 w 2663946"/>
                <a:gd name="connsiteY1460" fmla="*/ 45227 h 349382"/>
                <a:gd name="connsiteX1461" fmla="*/ 459266 w 2663946"/>
                <a:gd name="connsiteY1461" fmla="*/ 45227 h 349382"/>
                <a:gd name="connsiteX1462" fmla="*/ 484061 w 2663946"/>
                <a:gd name="connsiteY1462" fmla="*/ 65436 h 349382"/>
                <a:gd name="connsiteX1463" fmla="*/ 484541 w 2663946"/>
                <a:gd name="connsiteY1463" fmla="*/ 70194 h 349382"/>
                <a:gd name="connsiteX1464" fmla="*/ 485959 w 2663946"/>
                <a:gd name="connsiteY1464" fmla="*/ 70194 h 349382"/>
                <a:gd name="connsiteX1465" fmla="*/ 492413 w 2663946"/>
                <a:gd name="connsiteY1465" fmla="*/ 76480 h 349382"/>
                <a:gd name="connsiteX1466" fmla="*/ 492413 w 2663946"/>
                <a:gd name="connsiteY1466" fmla="*/ 126202 h 349382"/>
                <a:gd name="connsiteX1467" fmla="*/ 485959 w 2663946"/>
                <a:gd name="connsiteY1467" fmla="*/ 132488 h 349382"/>
                <a:gd name="connsiteX1468" fmla="*/ 432572 w 2663946"/>
                <a:gd name="connsiteY1468" fmla="*/ 132488 h 349382"/>
                <a:gd name="connsiteX1469" fmla="*/ 426119 w 2663946"/>
                <a:gd name="connsiteY1469" fmla="*/ 126202 h 349382"/>
                <a:gd name="connsiteX1470" fmla="*/ 426119 w 2663946"/>
                <a:gd name="connsiteY1470" fmla="*/ 76480 h 349382"/>
                <a:gd name="connsiteX1471" fmla="*/ 432572 w 2663946"/>
                <a:gd name="connsiteY1471" fmla="*/ 70194 h 349382"/>
                <a:gd name="connsiteX1472" fmla="*/ 433406 w 2663946"/>
                <a:gd name="connsiteY1472" fmla="*/ 70194 h 349382"/>
                <a:gd name="connsiteX1473" fmla="*/ 433991 w 2663946"/>
                <a:gd name="connsiteY1473" fmla="*/ 70194 h 349382"/>
                <a:gd name="connsiteX1474" fmla="*/ 434470 w 2663946"/>
                <a:gd name="connsiteY1474" fmla="*/ 65436 h 349382"/>
                <a:gd name="connsiteX1475" fmla="*/ 459266 w 2663946"/>
                <a:gd name="connsiteY1475" fmla="*/ 45227 h 349382"/>
                <a:gd name="connsiteX1476" fmla="*/ 15475 w 2663946"/>
                <a:gd name="connsiteY1476" fmla="*/ 17002 h 349382"/>
                <a:gd name="connsiteX1477" fmla="*/ 40350 w 2663946"/>
                <a:gd name="connsiteY1477" fmla="*/ 1050 h 349382"/>
                <a:gd name="connsiteX1478" fmla="*/ 40891 w 2663946"/>
                <a:gd name="connsiteY1478" fmla="*/ 1590 h 349382"/>
                <a:gd name="connsiteX1479" fmla="*/ 48191 w 2663946"/>
                <a:gd name="connsiteY1479" fmla="*/ 1590 h 349382"/>
                <a:gd name="connsiteX1480" fmla="*/ 52247 w 2663946"/>
                <a:gd name="connsiteY1480" fmla="*/ 2672 h 349382"/>
                <a:gd name="connsiteX1481" fmla="*/ 56032 w 2663946"/>
                <a:gd name="connsiteY1481" fmla="*/ 9431 h 349382"/>
                <a:gd name="connsiteX1482" fmla="*/ 53328 w 2663946"/>
                <a:gd name="connsiteY1482" fmla="*/ 15109 h 349382"/>
                <a:gd name="connsiteX1483" fmla="*/ 49273 w 2663946"/>
                <a:gd name="connsiteY1483" fmla="*/ 17002 h 349382"/>
                <a:gd name="connsiteX1484" fmla="*/ 16016 w 2663946"/>
                <a:gd name="connsiteY1484" fmla="*/ 17002 h 349382"/>
                <a:gd name="connsiteX1485" fmla="*/ 15475 w 2663946"/>
                <a:gd name="connsiteY1485" fmla="*/ 17002 h 349382"/>
                <a:gd name="connsiteX0" fmla="*/ 2632966 w 2663946"/>
                <a:gd name="connsiteY0" fmla="*/ 288276 h 349382"/>
                <a:gd name="connsiteX1" fmla="*/ 2621414 w 2663946"/>
                <a:gd name="connsiteY1" fmla="*/ 290709 h 349382"/>
                <a:gd name="connsiteX2" fmla="*/ 2618218 w 2663946"/>
                <a:gd name="connsiteY2" fmla="*/ 294224 h 349382"/>
                <a:gd name="connsiteX3" fmla="*/ 2616006 w 2663946"/>
                <a:gd name="connsiteY3" fmla="*/ 298009 h 349382"/>
                <a:gd name="connsiteX4" fmla="*/ 2615023 w 2663946"/>
                <a:gd name="connsiteY4" fmla="*/ 300713 h 349382"/>
                <a:gd name="connsiteX5" fmla="*/ 2614039 w 2663946"/>
                <a:gd name="connsiteY5" fmla="*/ 304769 h 349382"/>
                <a:gd name="connsiteX6" fmla="*/ 2613056 w 2663946"/>
                <a:gd name="connsiteY6" fmla="*/ 311799 h 349382"/>
                <a:gd name="connsiteX7" fmla="*/ 2614039 w 2663946"/>
                <a:gd name="connsiteY7" fmla="*/ 319099 h 349382"/>
                <a:gd name="connsiteX8" fmla="*/ 2615269 w 2663946"/>
                <a:gd name="connsiteY8" fmla="*/ 322884 h 349382"/>
                <a:gd name="connsiteX9" fmla="*/ 2617481 w 2663946"/>
                <a:gd name="connsiteY9" fmla="*/ 327210 h 349382"/>
                <a:gd name="connsiteX10" fmla="*/ 2620922 w 2663946"/>
                <a:gd name="connsiteY10" fmla="*/ 331537 h 349382"/>
                <a:gd name="connsiteX11" fmla="*/ 2625346 w 2663946"/>
                <a:gd name="connsiteY11" fmla="*/ 334240 h 349382"/>
                <a:gd name="connsiteX12" fmla="*/ 2637637 w 2663946"/>
                <a:gd name="connsiteY12" fmla="*/ 331807 h 349382"/>
                <a:gd name="connsiteX13" fmla="*/ 2640832 w 2663946"/>
                <a:gd name="connsiteY13" fmla="*/ 328292 h 349382"/>
                <a:gd name="connsiteX14" fmla="*/ 2643290 w 2663946"/>
                <a:gd name="connsiteY14" fmla="*/ 323966 h 349382"/>
                <a:gd name="connsiteX15" fmla="*/ 2644273 w 2663946"/>
                <a:gd name="connsiteY15" fmla="*/ 321803 h 349382"/>
                <a:gd name="connsiteX16" fmla="*/ 2645502 w 2663946"/>
                <a:gd name="connsiteY16" fmla="*/ 317477 h 349382"/>
                <a:gd name="connsiteX17" fmla="*/ 2645011 w 2663946"/>
                <a:gd name="connsiteY17" fmla="*/ 303687 h 349382"/>
                <a:gd name="connsiteX18" fmla="*/ 2644027 w 2663946"/>
                <a:gd name="connsiteY18" fmla="*/ 300713 h 349382"/>
                <a:gd name="connsiteX19" fmla="*/ 2642799 w 2663946"/>
                <a:gd name="connsiteY19" fmla="*/ 297739 h 349382"/>
                <a:gd name="connsiteX20" fmla="*/ 2640586 w 2663946"/>
                <a:gd name="connsiteY20" fmla="*/ 294224 h 349382"/>
                <a:gd name="connsiteX21" fmla="*/ 2636899 w 2663946"/>
                <a:gd name="connsiteY21" fmla="*/ 290439 h 349382"/>
                <a:gd name="connsiteX22" fmla="*/ 2632966 w 2663946"/>
                <a:gd name="connsiteY22" fmla="*/ 288276 h 349382"/>
                <a:gd name="connsiteX23" fmla="*/ 2627559 w 2663946"/>
                <a:gd name="connsiteY23" fmla="*/ 272323 h 349382"/>
                <a:gd name="connsiteX24" fmla="*/ 2639849 w 2663946"/>
                <a:gd name="connsiteY24" fmla="*/ 274486 h 349382"/>
                <a:gd name="connsiteX25" fmla="*/ 2647223 w 2663946"/>
                <a:gd name="connsiteY25" fmla="*/ 279083 h 349382"/>
                <a:gd name="connsiteX26" fmla="*/ 2650664 w 2663946"/>
                <a:gd name="connsiteY26" fmla="*/ 282327 h 349382"/>
                <a:gd name="connsiteX27" fmla="*/ 2654106 w 2663946"/>
                <a:gd name="connsiteY27" fmla="*/ 286653 h 349382"/>
                <a:gd name="connsiteX28" fmla="*/ 2656072 w 2663946"/>
                <a:gd name="connsiteY28" fmla="*/ 290168 h 349382"/>
                <a:gd name="connsiteX29" fmla="*/ 2658284 w 2663946"/>
                <a:gd name="connsiteY29" fmla="*/ 295576 h 349382"/>
                <a:gd name="connsiteX30" fmla="*/ 2659267 w 2663946"/>
                <a:gd name="connsiteY30" fmla="*/ 299091 h 349382"/>
                <a:gd name="connsiteX31" fmla="*/ 2660251 w 2663946"/>
                <a:gd name="connsiteY31" fmla="*/ 304228 h 349382"/>
                <a:gd name="connsiteX32" fmla="*/ 2660005 w 2663946"/>
                <a:gd name="connsiteY32" fmla="*/ 318558 h 349382"/>
                <a:gd name="connsiteX33" fmla="*/ 2659022 w 2663946"/>
                <a:gd name="connsiteY33" fmla="*/ 323425 h 349382"/>
                <a:gd name="connsiteX34" fmla="*/ 2657792 w 2663946"/>
                <a:gd name="connsiteY34" fmla="*/ 327210 h 349382"/>
                <a:gd name="connsiteX35" fmla="*/ 2656809 w 2663946"/>
                <a:gd name="connsiteY35" fmla="*/ 329644 h 349382"/>
                <a:gd name="connsiteX36" fmla="*/ 2654597 w 2663946"/>
                <a:gd name="connsiteY36" fmla="*/ 333970 h 349382"/>
                <a:gd name="connsiteX37" fmla="*/ 2652385 w 2663946"/>
                <a:gd name="connsiteY37" fmla="*/ 337214 h 349382"/>
                <a:gd name="connsiteX38" fmla="*/ 2648944 w 2663946"/>
                <a:gd name="connsiteY38" fmla="*/ 341000 h 349382"/>
                <a:gd name="connsiteX39" fmla="*/ 2645748 w 2663946"/>
                <a:gd name="connsiteY39" fmla="*/ 343703 h 349382"/>
                <a:gd name="connsiteX40" fmla="*/ 2640095 w 2663946"/>
                <a:gd name="connsiteY40" fmla="*/ 346948 h 349382"/>
                <a:gd name="connsiteX41" fmla="*/ 2632229 w 2663946"/>
                <a:gd name="connsiteY41" fmla="*/ 349111 h 349382"/>
                <a:gd name="connsiteX42" fmla="*/ 2631000 w 2663946"/>
                <a:gd name="connsiteY42" fmla="*/ 349382 h 349382"/>
                <a:gd name="connsiteX43" fmla="*/ 2626821 w 2663946"/>
                <a:gd name="connsiteY43" fmla="*/ 349382 h 349382"/>
                <a:gd name="connsiteX44" fmla="*/ 2626576 w 2663946"/>
                <a:gd name="connsiteY44" fmla="*/ 349382 h 349382"/>
                <a:gd name="connsiteX45" fmla="*/ 2613548 w 2663946"/>
                <a:gd name="connsiteY45" fmla="*/ 344515 h 349382"/>
                <a:gd name="connsiteX46" fmla="*/ 2608878 w 2663946"/>
                <a:gd name="connsiteY46" fmla="*/ 340459 h 349382"/>
                <a:gd name="connsiteX47" fmla="*/ 2605682 w 2663946"/>
                <a:gd name="connsiteY47" fmla="*/ 336674 h 349382"/>
                <a:gd name="connsiteX48" fmla="*/ 2603470 w 2663946"/>
                <a:gd name="connsiteY48" fmla="*/ 333159 h 349382"/>
                <a:gd name="connsiteX49" fmla="*/ 2601258 w 2663946"/>
                <a:gd name="connsiteY49" fmla="*/ 328833 h 349382"/>
                <a:gd name="connsiteX50" fmla="*/ 2600029 w 2663946"/>
                <a:gd name="connsiteY50" fmla="*/ 325858 h 349382"/>
                <a:gd name="connsiteX51" fmla="*/ 2599046 w 2663946"/>
                <a:gd name="connsiteY51" fmla="*/ 322614 h 349382"/>
                <a:gd name="connsiteX52" fmla="*/ 2597816 w 2663946"/>
                <a:gd name="connsiteY52" fmla="*/ 316936 h 349382"/>
                <a:gd name="connsiteX53" fmla="*/ 2597571 w 2663946"/>
                <a:gd name="connsiteY53" fmla="*/ 313962 h 349382"/>
                <a:gd name="connsiteX54" fmla="*/ 2597816 w 2663946"/>
                <a:gd name="connsiteY54" fmla="*/ 314232 h 349382"/>
                <a:gd name="connsiteX55" fmla="*/ 2597816 w 2663946"/>
                <a:gd name="connsiteY55" fmla="*/ 308554 h 349382"/>
                <a:gd name="connsiteX56" fmla="*/ 2597816 w 2663946"/>
                <a:gd name="connsiteY56" fmla="*/ 308284 h 349382"/>
                <a:gd name="connsiteX57" fmla="*/ 2598308 w 2663946"/>
                <a:gd name="connsiteY57" fmla="*/ 303687 h 349382"/>
                <a:gd name="connsiteX58" fmla="*/ 2599537 w 2663946"/>
                <a:gd name="connsiteY58" fmla="*/ 298280 h 349382"/>
                <a:gd name="connsiteX59" fmla="*/ 2600520 w 2663946"/>
                <a:gd name="connsiteY59" fmla="*/ 295035 h 349382"/>
                <a:gd name="connsiteX60" fmla="*/ 2602732 w 2663946"/>
                <a:gd name="connsiteY60" fmla="*/ 289898 h 349382"/>
                <a:gd name="connsiteX61" fmla="*/ 2604945 w 2663946"/>
                <a:gd name="connsiteY61" fmla="*/ 286113 h 349382"/>
                <a:gd name="connsiteX62" fmla="*/ 2607157 w 2663946"/>
                <a:gd name="connsiteY62" fmla="*/ 283138 h 349382"/>
                <a:gd name="connsiteX63" fmla="*/ 2609369 w 2663946"/>
                <a:gd name="connsiteY63" fmla="*/ 280705 h 349382"/>
                <a:gd name="connsiteX64" fmla="*/ 2614039 w 2663946"/>
                <a:gd name="connsiteY64" fmla="*/ 276920 h 349382"/>
                <a:gd name="connsiteX65" fmla="*/ 2617972 w 2663946"/>
                <a:gd name="connsiteY65" fmla="*/ 274757 h 349382"/>
                <a:gd name="connsiteX66" fmla="*/ 2627559 w 2663946"/>
                <a:gd name="connsiteY66" fmla="*/ 272323 h 349382"/>
                <a:gd name="connsiteX67" fmla="*/ 2631061 w 2663946"/>
                <a:gd name="connsiteY67" fmla="*/ 208413 h 349382"/>
                <a:gd name="connsiteX68" fmla="*/ 2621591 w 2663946"/>
                <a:gd name="connsiteY68" fmla="*/ 217687 h 349382"/>
                <a:gd name="connsiteX69" fmla="*/ 2626545 w 2663946"/>
                <a:gd name="connsiteY69" fmla="*/ 225844 h 349382"/>
                <a:gd name="connsiteX70" fmla="*/ 2626545 w 2663946"/>
                <a:gd name="connsiteY70" fmla="*/ 234239 h 349382"/>
                <a:gd name="connsiteX71" fmla="*/ 2631061 w 2663946"/>
                <a:gd name="connsiteY71" fmla="*/ 238662 h 349382"/>
                <a:gd name="connsiteX72" fmla="*/ 2635578 w 2663946"/>
                <a:gd name="connsiteY72" fmla="*/ 234239 h 349382"/>
                <a:gd name="connsiteX73" fmla="*/ 2635578 w 2663946"/>
                <a:gd name="connsiteY73" fmla="*/ 225844 h 349382"/>
                <a:gd name="connsiteX74" fmla="*/ 2640532 w 2663946"/>
                <a:gd name="connsiteY74" fmla="*/ 217687 h 349382"/>
                <a:gd name="connsiteX75" fmla="*/ 2631061 w 2663946"/>
                <a:gd name="connsiteY75" fmla="*/ 208413 h 349382"/>
                <a:gd name="connsiteX76" fmla="*/ 2630799 w 2663946"/>
                <a:gd name="connsiteY76" fmla="*/ 169696 h 349382"/>
                <a:gd name="connsiteX77" fmla="*/ 2619139 w 2663946"/>
                <a:gd name="connsiteY77" fmla="*/ 177425 h 349382"/>
                <a:gd name="connsiteX78" fmla="*/ 2618214 w 2663946"/>
                <a:gd name="connsiteY78" fmla="*/ 182008 h 349382"/>
                <a:gd name="connsiteX79" fmla="*/ 2621454 w 2663946"/>
                <a:gd name="connsiteY79" fmla="*/ 182008 h 349382"/>
                <a:gd name="connsiteX80" fmla="*/ 2639871 w 2663946"/>
                <a:gd name="connsiteY80" fmla="*/ 182008 h 349382"/>
                <a:gd name="connsiteX81" fmla="*/ 2643385 w 2663946"/>
                <a:gd name="connsiteY81" fmla="*/ 182008 h 349382"/>
                <a:gd name="connsiteX82" fmla="*/ 2642460 w 2663946"/>
                <a:gd name="connsiteY82" fmla="*/ 177425 h 349382"/>
                <a:gd name="connsiteX83" fmla="*/ 2630799 w 2663946"/>
                <a:gd name="connsiteY83" fmla="*/ 169696 h 349382"/>
                <a:gd name="connsiteX84" fmla="*/ 2630799 w 2663946"/>
                <a:gd name="connsiteY84" fmla="*/ 157041 h 349382"/>
                <a:gd name="connsiteX85" fmla="*/ 2655595 w 2663946"/>
                <a:gd name="connsiteY85" fmla="*/ 177250 h 349382"/>
                <a:gd name="connsiteX86" fmla="*/ 2656074 w 2663946"/>
                <a:gd name="connsiteY86" fmla="*/ 182008 h 349382"/>
                <a:gd name="connsiteX87" fmla="*/ 2657493 w 2663946"/>
                <a:gd name="connsiteY87" fmla="*/ 182008 h 349382"/>
                <a:gd name="connsiteX88" fmla="*/ 2663946 w 2663946"/>
                <a:gd name="connsiteY88" fmla="*/ 188294 h 349382"/>
                <a:gd name="connsiteX89" fmla="*/ 2663946 w 2663946"/>
                <a:gd name="connsiteY89" fmla="*/ 238016 h 349382"/>
                <a:gd name="connsiteX90" fmla="*/ 2657493 w 2663946"/>
                <a:gd name="connsiteY90" fmla="*/ 244302 h 349382"/>
                <a:gd name="connsiteX91" fmla="*/ 2604106 w 2663946"/>
                <a:gd name="connsiteY91" fmla="*/ 244302 h 349382"/>
                <a:gd name="connsiteX92" fmla="*/ 2597652 w 2663946"/>
                <a:gd name="connsiteY92" fmla="*/ 238016 h 349382"/>
                <a:gd name="connsiteX93" fmla="*/ 2597652 w 2663946"/>
                <a:gd name="connsiteY93" fmla="*/ 188294 h 349382"/>
                <a:gd name="connsiteX94" fmla="*/ 2604106 w 2663946"/>
                <a:gd name="connsiteY94" fmla="*/ 182008 h 349382"/>
                <a:gd name="connsiteX95" fmla="*/ 2604940 w 2663946"/>
                <a:gd name="connsiteY95" fmla="*/ 182008 h 349382"/>
                <a:gd name="connsiteX96" fmla="*/ 2605524 w 2663946"/>
                <a:gd name="connsiteY96" fmla="*/ 182008 h 349382"/>
                <a:gd name="connsiteX97" fmla="*/ 2606004 w 2663946"/>
                <a:gd name="connsiteY97" fmla="*/ 177250 h 349382"/>
                <a:gd name="connsiteX98" fmla="*/ 2630799 w 2663946"/>
                <a:gd name="connsiteY98" fmla="*/ 157041 h 349382"/>
                <a:gd name="connsiteX99" fmla="*/ 33409 w 2663946"/>
                <a:gd name="connsiteY99" fmla="*/ 104187 h 349382"/>
                <a:gd name="connsiteX100" fmla="*/ 23938 w 2663946"/>
                <a:gd name="connsiteY100" fmla="*/ 113461 h 349382"/>
                <a:gd name="connsiteX101" fmla="*/ 28892 w 2663946"/>
                <a:gd name="connsiteY101" fmla="*/ 121618 h 349382"/>
                <a:gd name="connsiteX102" fmla="*/ 28892 w 2663946"/>
                <a:gd name="connsiteY102" fmla="*/ 130013 h 349382"/>
                <a:gd name="connsiteX103" fmla="*/ 33409 w 2663946"/>
                <a:gd name="connsiteY103" fmla="*/ 134436 h 349382"/>
                <a:gd name="connsiteX104" fmla="*/ 37926 w 2663946"/>
                <a:gd name="connsiteY104" fmla="*/ 130013 h 349382"/>
                <a:gd name="connsiteX105" fmla="*/ 37926 w 2663946"/>
                <a:gd name="connsiteY105" fmla="*/ 121618 h 349382"/>
                <a:gd name="connsiteX106" fmla="*/ 42880 w 2663946"/>
                <a:gd name="connsiteY106" fmla="*/ 113461 h 349382"/>
                <a:gd name="connsiteX107" fmla="*/ 33409 w 2663946"/>
                <a:gd name="connsiteY107" fmla="*/ 104187 h 349382"/>
                <a:gd name="connsiteX108" fmla="*/ 2538193 w 2663946"/>
                <a:gd name="connsiteY108" fmla="*/ 96599 h 349382"/>
                <a:gd name="connsiteX109" fmla="*/ 2528723 w 2663946"/>
                <a:gd name="connsiteY109" fmla="*/ 105873 h 349382"/>
                <a:gd name="connsiteX110" fmla="*/ 2533677 w 2663946"/>
                <a:gd name="connsiteY110" fmla="*/ 114030 h 349382"/>
                <a:gd name="connsiteX111" fmla="*/ 2533677 w 2663946"/>
                <a:gd name="connsiteY111" fmla="*/ 122425 h 349382"/>
                <a:gd name="connsiteX112" fmla="*/ 2538193 w 2663946"/>
                <a:gd name="connsiteY112" fmla="*/ 126848 h 349382"/>
                <a:gd name="connsiteX113" fmla="*/ 2542710 w 2663946"/>
                <a:gd name="connsiteY113" fmla="*/ 122425 h 349382"/>
                <a:gd name="connsiteX114" fmla="*/ 2542710 w 2663946"/>
                <a:gd name="connsiteY114" fmla="*/ 114030 h 349382"/>
                <a:gd name="connsiteX115" fmla="*/ 2547664 w 2663946"/>
                <a:gd name="connsiteY115" fmla="*/ 105873 h 349382"/>
                <a:gd name="connsiteX116" fmla="*/ 2538193 w 2663946"/>
                <a:gd name="connsiteY116" fmla="*/ 96599 h 349382"/>
                <a:gd name="connsiteX117" fmla="*/ 2113196 w 2663946"/>
                <a:gd name="connsiteY117" fmla="*/ 96599 h 349382"/>
                <a:gd name="connsiteX118" fmla="*/ 2103726 w 2663946"/>
                <a:gd name="connsiteY118" fmla="*/ 105873 h 349382"/>
                <a:gd name="connsiteX119" fmla="*/ 2108680 w 2663946"/>
                <a:gd name="connsiteY119" fmla="*/ 114030 h 349382"/>
                <a:gd name="connsiteX120" fmla="*/ 2108680 w 2663946"/>
                <a:gd name="connsiteY120" fmla="*/ 122425 h 349382"/>
                <a:gd name="connsiteX121" fmla="*/ 2113196 w 2663946"/>
                <a:gd name="connsiteY121" fmla="*/ 126848 h 349382"/>
                <a:gd name="connsiteX122" fmla="*/ 2117713 w 2663946"/>
                <a:gd name="connsiteY122" fmla="*/ 122425 h 349382"/>
                <a:gd name="connsiteX123" fmla="*/ 2117713 w 2663946"/>
                <a:gd name="connsiteY123" fmla="*/ 114030 h 349382"/>
                <a:gd name="connsiteX124" fmla="*/ 2122667 w 2663946"/>
                <a:gd name="connsiteY124" fmla="*/ 105873 h 349382"/>
                <a:gd name="connsiteX125" fmla="*/ 2113196 w 2663946"/>
                <a:gd name="connsiteY125" fmla="*/ 96599 h 349382"/>
                <a:gd name="connsiteX126" fmla="*/ 1855228 w 2663946"/>
                <a:gd name="connsiteY126" fmla="*/ 96599 h 349382"/>
                <a:gd name="connsiteX127" fmla="*/ 1845758 w 2663946"/>
                <a:gd name="connsiteY127" fmla="*/ 105873 h 349382"/>
                <a:gd name="connsiteX128" fmla="*/ 1850712 w 2663946"/>
                <a:gd name="connsiteY128" fmla="*/ 114030 h 349382"/>
                <a:gd name="connsiteX129" fmla="*/ 1850712 w 2663946"/>
                <a:gd name="connsiteY129" fmla="*/ 122425 h 349382"/>
                <a:gd name="connsiteX130" fmla="*/ 1855228 w 2663946"/>
                <a:gd name="connsiteY130" fmla="*/ 126848 h 349382"/>
                <a:gd name="connsiteX131" fmla="*/ 1859745 w 2663946"/>
                <a:gd name="connsiteY131" fmla="*/ 122425 h 349382"/>
                <a:gd name="connsiteX132" fmla="*/ 1859745 w 2663946"/>
                <a:gd name="connsiteY132" fmla="*/ 114030 h 349382"/>
                <a:gd name="connsiteX133" fmla="*/ 1864699 w 2663946"/>
                <a:gd name="connsiteY133" fmla="*/ 105873 h 349382"/>
                <a:gd name="connsiteX134" fmla="*/ 1855228 w 2663946"/>
                <a:gd name="connsiteY134" fmla="*/ 96599 h 349382"/>
                <a:gd name="connsiteX135" fmla="*/ 1764289 w 2663946"/>
                <a:gd name="connsiteY135" fmla="*/ 96599 h 349382"/>
                <a:gd name="connsiteX136" fmla="*/ 1754819 w 2663946"/>
                <a:gd name="connsiteY136" fmla="*/ 105873 h 349382"/>
                <a:gd name="connsiteX137" fmla="*/ 1759773 w 2663946"/>
                <a:gd name="connsiteY137" fmla="*/ 114030 h 349382"/>
                <a:gd name="connsiteX138" fmla="*/ 1759773 w 2663946"/>
                <a:gd name="connsiteY138" fmla="*/ 122425 h 349382"/>
                <a:gd name="connsiteX139" fmla="*/ 1764289 w 2663946"/>
                <a:gd name="connsiteY139" fmla="*/ 126848 h 349382"/>
                <a:gd name="connsiteX140" fmla="*/ 1768806 w 2663946"/>
                <a:gd name="connsiteY140" fmla="*/ 122425 h 349382"/>
                <a:gd name="connsiteX141" fmla="*/ 1768806 w 2663946"/>
                <a:gd name="connsiteY141" fmla="*/ 114030 h 349382"/>
                <a:gd name="connsiteX142" fmla="*/ 1773760 w 2663946"/>
                <a:gd name="connsiteY142" fmla="*/ 105873 h 349382"/>
                <a:gd name="connsiteX143" fmla="*/ 1764289 w 2663946"/>
                <a:gd name="connsiteY143" fmla="*/ 96599 h 349382"/>
                <a:gd name="connsiteX144" fmla="*/ 1506321 w 2663946"/>
                <a:gd name="connsiteY144" fmla="*/ 96599 h 349382"/>
                <a:gd name="connsiteX145" fmla="*/ 1496851 w 2663946"/>
                <a:gd name="connsiteY145" fmla="*/ 105873 h 349382"/>
                <a:gd name="connsiteX146" fmla="*/ 1501805 w 2663946"/>
                <a:gd name="connsiteY146" fmla="*/ 114030 h 349382"/>
                <a:gd name="connsiteX147" fmla="*/ 1501805 w 2663946"/>
                <a:gd name="connsiteY147" fmla="*/ 122425 h 349382"/>
                <a:gd name="connsiteX148" fmla="*/ 1506321 w 2663946"/>
                <a:gd name="connsiteY148" fmla="*/ 126848 h 349382"/>
                <a:gd name="connsiteX149" fmla="*/ 1510838 w 2663946"/>
                <a:gd name="connsiteY149" fmla="*/ 122425 h 349382"/>
                <a:gd name="connsiteX150" fmla="*/ 1510838 w 2663946"/>
                <a:gd name="connsiteY150" fmla="*/ 114030 h 349382"/>
                <a:gd name="connsiteX151" fmla="*/ 1515792 w 2663946"/>
                <a:gd name="connsiteY151" fmla="*/ 105873 h 349382"/>
                <a:gd name="connsiteX152" fmla="*/ 1506321 w 2663946"/>
                <a:gd name="connsiteY152" fmla="*/ 96599 h 349382"/>
                <a:gd name="connsiteX153" fmla="*/ 1415382 w 2663946"/>
                <a:gd name="connsiteY153" fmla="*/ 96599 h 349382"/>
                <a:gd name="connsiteX154" fmla="*/ 1405912 w 2663946"/>
                <a:gd name="connsiteY154" fmla="*/ 105873 h 349382"/>
                <a:gd name="connsiteX155" fmla="*/ 1410866 w 2663946"/>
                <a:gd name="connsiteY155" fmla="*/ 114030 h 349382"/>
                <a:gd name="connsiteX156" fmla="*/ 1410866 w 2663946"/>
                <a:gd name="connsiteY156" fmla="*/ 122425 h 349382"/>
                <a:gd name="connsiteX157" fmla="*/ 1415382 w 2663946"/>
                <a:gd name="connsiteY157" fmla="*/ 126848 h 349382"/>
                <a:gd name="connsiteX158" fmla="*/ 1419899 w 2663946"/>
                <a:gd name="connsiteY158" fmla="*/ 122425 h 349382"/>
                <a:gd name="connsiteX159" fmla="*/ 1419899 w 2663946"/>
                <a:gd name="connsiteY159" fmla="*/ 114030 h 349382"/>
                <a:gd name="connsiteX160" fmla="*/ 1424853 w 2663946"/>
                <a:gd name="connsiteY160" fmla="*/ 105873 h 349382"/>
                <a:gd name="connsiteX161" fmla="*/ 1415382 w 2663946"/>
                <a:gd name="connsiteY161" fmla="*/ 96599 h 349382"/>
                <a:gd name="connsiteX162" fmla="*/ 1157414 w 2663946"/>
                <a:gd name="connsiteY162" fmla="*/ 96599 h 349382"/>
                <a:gd name="connsiteX163" fmla="*/ 1147944 w 2663946"/>
                <a:gd name="connsiteY163" fmla="*/ 105873 h 349382"/>
                <a:gd name="connsiteX164" fmla="*/ 1152898 w 2663946"/>
                <a:gd name="connsiteY164" fmla="*/ 114030 h 349382"/>
                <a:gd name="connsiteX165" fmla="*/ 1152898 w 2663946"/>
                <a:gd name="connsiteY165" fmla="*/ 122425 h 349382"/>
                <a:gd name="connsiteX166" fmla="*/ 1157414 w 2663946"/>
                <a:gd name="connsiteY166" fmla="*/ 126848 h 349382"/>
                <a:gd name="connsiteX167" fmla="*/ 1161931 w 2663946"/>
                <a:gd name="connsiteY167" fmla="*/ 122425 h 349382"/>
                <a:gd name="connsiteX168" fmla="*/ 1161931 w 2663946"/>
                <a:gd name="connsiteY168" fmla="*/ 114030 h 349382"/>
                <a:gd name="connsiteX169" fmla="*/ 1166885 w 2663946"/>
                <a:gd name="connsiteY169" fmla="*/ 105873 h 349382"/>
                <a:gd name="connsiteX170" fmla="*/ 1157414 w 2663946"/>
                <a:gd name="connsiteY170" fmla="*/ 96599 h 349382"/>
                <a:gd name="connsiteX171" fmla="*/ 732418 w 2663946"/>
                <a:gd name="connsiteY171" fmla="*/ 96599 h 349382"/>
                <a:gd name="connsiteX172" fmla="*/ 722947 w 2663946"/>
                <a:gd name="connsiteY172" fmla="*/ 105873 h 349382"/>
                <a:gd name="connsiteX173" fmla="*/ 727901 w 2663946"/>
                <a:gd name="connsiteY173" fmla="*/ 114030 h 349382"/>
                <a:gd name="connsiteX174" fmla="*/ 727901 w 2663946"/>
                <a:gd name="connsiteY174" fmla="*/ 122425 h 349382"/>
                <a:gd name="connsiteX175" fmla="*/ 732418 w 2663946"/>
                <a:gd name="connsiteY175" fmla="*/ 126848 h 349382"/>
                <a:gd name="connsiteX176" fmla="*/ 736935 w 2663946"/>
                <a:gd name="connsiteY176" fmla="*/ 122425 h 349382"/>
                <a:gd name="connsiteX177" fmla="*/ 736935 w 2663946"/>
                <a:gd name="connsiteY177" fmla="*/ 114030 h 349382"/>
                <a:gd name="connsiteX178" fmla="*/ 741889 w 2663946"/>
                <a:gd name="connsiteY178" fmla="*/ 105873 h 349382"/>
                <a:gd name="connsiteX179" fmla="*/ 732418 w 2663946"/>
                <a:gd name="connsiteY179" fmla="*/ 96599 h 349382"/>
                <a:gd name="connsiteX180" fmla="*/ 641479 w 2663946"/>
                <a:gd name="connsiteY180" fmla="*/ 96599 h 349382"/>
                <a:gd name="connsiteX181" fmla="*/ 632008 w 2663946"/>
                <a:gd name="connsiteY181" fmla="*/ 105873 h 349382"/>
                <a:gd name="connsiteX182" fmla="*/ 636962 w 2663946"/>
                <a:gd name="connsiteY182" fmla="*/ 114030 h 349382"/>
                <a:gd name="connsiteX183" fmla="*/ 636962 w 2663946"/>
                <a:gd name="connsiteY183" fmla="*/ 122425 h 349382"/>
                <a:gd name="connsiteX184" fmla="*/ 641479 w 2663946"/>
                <a:gd name="connsiteY184" fmla="*/ 126848 h 349382"/>
                <a:gd name="connsiteX185" fmla="*/ 645996 w 2663946"/>
                <a:gd name="connsiteY185" fmla="*/ 122425 h 349382"/>
                <a:gd name="connsiteX186" fmla="*/ 645996 w 2663946"/>
                <a:gd name="connsiteY186" fmla="*/ 114030 h 349382"/>
                <a:gd name="connsiteX187" fmla="*/ 650950 w 2663946"/>
                <a:gd name="connsiteY187" fmla="*/ 105873 h 349382"/>
                <a:gd name="connsiteX188" fmla="*/ 641479 w 2663946"/>
                <a:gd name="connsiteY188" fmla="*/ 96599 h 349382"/>
                <a:gd name="connsiteX189" fmla="*/ 459528 w 2663946"/>
                <a:gd name="connsiteY189" fmla="*/ 96599 h 349382"/>
                <a:gd name="connsiteX190" fmla="*/ 450057 w 2663946"/>
                <a:gd name="connsiteY190" fmla="*/ 105873 h 349382"/>
                <a:gd name="connsiteX191" fmla="*/ 455011 w 2663946"/>
                <a:gd name="connsiteY191" fmla="*/ 114030 h 349382"/>
                <a:gd name="connsiteX192" fmla="*/ 455011 w 2663946"/>
                <a:gd name="connsiteY192" fmla="*/ 122425 h 349382"/>
                <a:gd name="connsiteX193" fmla="*/ 459528 w 2663946"/>
                <a:gd name="connsiteY193" fmla="*/ 126848 h 349382"/>
                <a:gd name="connsiteX194" fmla="*/ 464045 w 2663946"/>
                <a:gd name="connsiteY194" fmla="*/ 122425 h 349382"/>
                <a:gd name="connsiteX195" fmla="*/ 464045 w 2663946"/>
                <a:gd name="connsiteY195" fmla="*/ 114030 h 349382"/>
                <a:gd name="connsiteX196" fmla="*/ 468999 w 2663946"/>
                <a:gd name="connsiteY196" fmla="*/ 105873 h 349382"/>
                <a:gd name="connsiteX197" fmla="*/ 459528 w 2663946"/>
                <a:gd name="connsiteY197" fmla="*/ 96599 h 349382"/>
                <a:gd name="connsiteX198" fmla="*/ 2632966 w 2663946"/>
                <a:gd name="connsiteY198" fmla="*/ 69406 h 349382"/>
                <a:gd name="connsiteX199" fmla="*/ 2621414 w 2663946"/>
                <a:gd name="connsiteY199" fmla="*/ 71839 h 349382"/>
                <a:gd name="connsiteX200" fmla="*/ 2618218 w 2663946"/>
                <a:gd name="connsiteY200" fmla="*/ 75354 h 349382"/>
                <a:gd name="connsiteX201" fmla="*/ 2616006 w 2663946"/>
                <a:gd name="connsiteY201" fmla="*/ 79139 h 349382"/>
                <a:gd name="connsiteX202" fmla="*/ 2615023 w 2663946"/>
                <a:gd name="connsiteY202" fmla="*/ 81843 h 349382"/>
                <a:gd name="connsiteX203" fmla="*/ 2614039 w 2663946"/>
                <a:gd name="connsiteY203" fmla="*/ 85899 h 349382"/>
                <a:gd name="connsiteX204" fmla="*/ 2613056 w 2663946"/>
                <a:gd name="connsiteY204" fmla="*/ 92929 h 349382"/>
                <a:gd name="connsiteX205" fmla="*/ 2614039 w 2663946"/>
                <a:gd name="connsiteY205" fmla="*/ 100229 h 349382"/>
                <a:gd name="connsiteX206" fmla="*/ 2615269 w 2663946"/>
                <a:gd name="connsiteY206" fmla="*/ 104014 h 349382"/>
                <a:gd name="connsiteX207" fmla="*/ 2617481 w 2663946"/>
                <a:gd name="connsiteY207" fmla="*/ 108340 h 349382"/>
                <a:gd name="connsiteX208" fmla="*/ 2620922 w 2663946"/>
                <a:gd name="connsiteY208" fmla="*/ 112667 h 349382"/>
                <a:gd name="connsiteX209" fmla="*/ 2625346 w 2663946"/>
                <a:gd name="connsiteY209" fmla="*/ 115370 h 349382"/>
                <a:gd name="connsiteX210" fmla="*/ 2637637 w 2663946"/>
                <a:gd name="connsiteY210" fmla="*/ 112937 h 349382"/>
                <a:gd name="connsiteX211" fmla="*/ 2640832 w 2663946"/>
                <a:gd name="connsiteY211" fmla="*/ 109422 h 349382"/>
                <a:gd name="connsiteX212" fmla="*/ 2643290 w 2663946"/>
                <a:gd name="connsiteY212" fmla="*/ 105096 h 349382"/>
                <a:gd name="connsiteX213" fmla="*/ 2644273 w 2663946"/>
                <a:gd name="connsiteY213" fmla="*/ 102933 h 349382"/>
                <a:gd name="connsiteX214" fmla="*/ 2645502 w 2663946"/>
                <a:gd name="connsiteY214" fmla="*/ 98607 h 349382"/>
                <a:gd name="connsiteX215" fmla="*/ 2645011 w 2663946"/>
                <a:gd name="connsiteY215" fmla="*/ 84817 h 349382"/>
                <a:gd name="connsiteX216" fmla="*/ 2644027 w 2663946"/>
                <a:gd name="connsiteY216" fmla="*/ 81843 h 349382"/>
                <a:gd name="connsiteX217" fmla="*/ 2642799 w 2663946"/>
                <a:gd name="connsiteY217" fmla="*/ 78869 h 349382"/>
                <a:gd name="connsiteX218" fmla="*/ 2640586 w 2663946"/>
                <a:gd name="connsiteY218" fmla="*/ 75354 h 349382"/>
                <a:gd name="connsiteX219" fmla="*/ 2636899 w 2663946"/>
                <a:gd name="connsiteY219" fmla="*/ 71569 h 349382"/>
                <a:gd name="connsiteX220" fmla="*/ 2632966 w 2663946"/>
                <a:gd name="connsiteY220" fmla="*/ 69406 h 349382"/>
                <a:gd name="connsiteX221" fmla="*/ 2451011 w 2663946"/>
                <a:gd name="connsiteY221" fmla="*/ 69406 h 349382"/>
                <a:gd name="connsiteX222" fmla="*/ 2439459 w 2663946"/>
                <a:gd name="connsiteY222" fmla="*/ 71839 h 349382"/>
                <a:gd name="connsiteX223" fmla="*/ 2436263 w 2663946"/>
                <a:gd name="connsiteY223" fmla="*/ 75354 h 349382"/>
                <a:gd name="connsiteX224" fmla="*/ 2434051 w 2663946"/>
                <a:gd name="connsiteY224" fmla="*/ 79139 h 349382"/>
                <a:gd name="connsiteX225" fmla="*/ 2433068 w 2663946"/>
                <a:gd name="connsiteY225" fmla="*/ 81843 h 349382"/>
                <a:gd name="connsiteX226" fmla="*/ 2432084 w 2663946"/>
                <a:gd name="connsiteY226" fmla="*/ 85899 h 349382"/>
                <a:gd name="connsiteX227" fmla="*/ 2431101 w 2663946"/>
                <a:gd name="connsiteY227" fmla="*/ 92929 h 349382"/>
                <a:gd name="connsiteX228" fmla="*/ 2432084 w 2663946"/>
                <a:gd name="connsiteY228" fmla="*/ 100229 h 349382"/>
                <a:gd name="connsiteX229" fmla="*/ 2433314 w 2663946"/>
                <a:gd name="connsiteY229" fmla="*/ 104014 h 349382"/>
                <a:gd name="connsiteX230" fmla="*/ 2435526 w 2663946"/>
                <a:gd name="connsiteY230" fmla="*/ 108340 h 349382"/>
                <a:gd name="connsiteX231" fmla="*/ 2438967 w 2663946"/>
                <a:gd name="connsiteY231" fmla="*/ 112667 h 349382"/>
                <a:gd name="connsiteX232" fmla="*/ 2443391 w 2663946"/>
                <a:gd name="connsiteY232" fmla="*/ 115370 h 349382"/>
                <a:gd name="connsiteX233" fmla="*/ 2455682 w 2663946"/>
                <a:gd name="connsiteY233" fmla="*/ 112937 h 349382"/>
                <a:gd name="connsiteX234" fmla="*/ 2458877 w 2663946"/>
                <a:gd name="connsiteY234" fmla="*/ 109422 h 349382"/>
                <a:gd name="connsiteX235" fmla="*/ 2461335 w 2663946"/>
                <a:gd name="connsiteY235" fmla="*/ 105096 h 349382"/>
                <a:gd name="connsiteX236" fmla="*/ 2462318 w 2663946"/>
                <a:gd name="connsiteY236" fmla="*/ 102933 h 349382"/>
                <a:gd name="connsiteX237" fmla="*/ 2463547 w 2663946"/>
                <a:gd name="connsiteY237" fmla="*/ 98607 h 349382"/>
                <a:gd name="connsiteX238" fmla="*/ 2463056 w 2663946"/>
                <a:gd name="connsiteY238" fmla="*/ 84817 h 349382"/>
                <a:gd name="connsiteX239" fmla="*/ 2462072 w 2663946"/>
                <a:gd name="connsiteY239" fmla="*/ 81843 h 349382"/>
                <a:gd name="connsiteX240" fmla="*/ 2460844 w 2663946"/>
                <a:gd name="connsiteY240" fmla="*/ 78869 h 349382"/>
                <a:gd name="connsiteX241" fmla="*/ 2458631 w 2663946"/>
                <a:gd name="connsiteY241" fmla="*/ 75354 h 349382"/>
                <a:gd name="connsiteX242" fmla="*/ 2454944 w 2663946"/>
                <a:gd name="connsiteY242" fmla="*/ 71569 h 349382"/>
                <a:gd name="connsiteX243" fmla="*/ 2451011 w 2663946"/>
                <a:gd name="connsiteY243" fmla="*/ 69406 h 349382"/>
                <a:gd name="connsiteX244" fmla="*/ 2207965 w 2663946"/>
                <a:gd name="connsiteY244" fmla="*/ 69406 h 349382"/>
                <a:gd name="connsiteX245" fmla="*/ 2196413 w 2663946"/>
                <a:gd name="connsiteY245" fmla="*/ 71839 h 349382"/>
                <a:gd name="connsiteX246" fmla="*/ 2193217 w 2663946"/>
                <a:gd name="connsiteY246" fmla="*/ 75354 h 349382"/>
                <a:gd name="connsiteX247" fmla="*/ 2191005 w 2663946"/>
                <a:gd name="connsiteY247" fmla="*/ 79139 h 349382"/>
                <a:gd name="connsiteX248" fmla="*/ 2190022 w 2663946"/>
                <a:gd name="connsiteY248" fmla="*/ 81843 h 349382"/>
                <a:gd name="connsiteX249" fmla="*/ 2189038 w 2663946"/>
                <a:gd name="connsiteY249" fmla="*/ 85899 h 349382"/>
                <a:gd name="connsiteX250" fmla="*/ 2188055 w 2663946"/>
                <a:gd name="connsiteY250" fmla="*/ 92929 h 349382"/>
                <a:gd name="connsiteX251" fmla="*/ 2189038 w 2663946"/>
                <a:gd name="connsiteY251" fmla="*/ 100229 h 349382"/>
                <a:gd name="connsiteX252" fmla="*/ 2190268 w 2663946"/>
                <a:gd name="connsiteY252" fmla="*/ 104014 h 349382"/>
                <a:gd name="connsiteX253" fmla="*/ 2192480 w 2663946"/>
                <a:gd name="connsiteY253" fmla="*/ 108340 h 349382"/>
                <a:gd name="connsiteX254" fmla="*/ 2195921 w 2663946"/>
                <a:gd name="connsiteY254" fmla="*/ 112667 h 349382"/>
                <a:gd name="connsiteX255" fmla="*/ 2200345 w 2663946"/>
                <a:gd name="connsiteY255" fmla="*/ 115370 h 349382"/>
                <a:gd name="connsiteX256" fmla="*/ 2212636 w 2663946"/>
                <a:gd name="connsiteY256" fmla="*/ 112937 h 349382"/>
                <a:gd name="connsiteX257" fmla="*/ 2215831 w 2663946"/>
                <a:gd name="connsiteY257" fmla="*/ 109422 h 349382"/>
                <a:gd name="connsiteX258" fmla="*/ 2218289 w 2663946"/>
                <a:gd name="connsiteY258" fmla="*/ 105096 h 349382"/>
                <a:gd name="connsiteX259" fmla="*/ 2219272 w 2663946"/>
                <a:gd name="connsiteY259" fmla="*/ 102933 h 349382"/>
                <a:gd name="connsiteX260" fmla="*/ 2220501 w 2663946"/>
                <a:gd name="connsiteY260" fmla="*/ 98607 h 349382"/>
                <a:gd name="connsiteX261" fmla="*/ 2220010 w 2663946"/>
                <a:gd name="connsiteY261" fmla="*/ 84817 h 349382"/>
                <a:gd name="connsiteX262" fmla="*/ 2219026 w 2663946"/>
                <a:gd name="connsiteY262" fmla="*/ 81843 h 349382"/>
                <a:gd name="connsiteX263" fmla="*/ 2217798 w 2663946"/>
                <a:gd name="connsiteY263" fmla="*/ 78869 h 349382"/>
                <a:gd name="connsiteX264" fmla="*/ 2215585 w 2663946"/>
                <a:gd name="connsiteY264" fmla="*/ 75354 h 349382"/>
                <a:gd name="connsiteX265" fmla="*/ 2211898 w 2663946"/>
                <a:gd name="connsiteY265" fmla="*/ 71569 h 349382"/>
                <a:gd name="connsiteX266" fmla="*/ 2207965 w 2663946"/>
                <a:gd name="connsiteY266" fmla="*/ 69406 h 349382"/>
                <a:gd name="connsiteX267" fmla="*/ 2026014 w 2663946"/>
                <a:gd name="connsiteY267" fmla="*/ 69406 h 349382"/>
                <a:gd name="connsiteX268" fmla="*/ 2014462 w 2663946"/>
                <a:gd name="connsiteY268" fmla="*/ 71839 h 349382"/>
                <a:gd name="connsiteX269" fmla="*/ 2011266 w 2663946"/>
                <a:gd name="connsiteY269" fmla="*/ 75354 h 349382"/>
                <a:gd name="connsiteX270" fmla="*/ 2009054 w 2663946"/>
                <a:gd name="connsiteY270" fmla="*/ 79139 h 349382"/>
                <a:gd name="connsiteX271" fmla="*/ 2008071 w 2663946"/>
                <a:gd name="connsiteY271" fmla="*/ 81843 h 349382"/>
                <a:gd name="connsiteX272" fmla="*/ 2007087 w 2663946"/>
                <a:gd name="connsiteY272" fmla="*/ 85899 h 349382"/>
                <a:gd name="connsiteX273" fmla="*/ 2006104 w 2663946"/>
                <a:gd name="connsiteY273" fmla="*/ 92929 h 349382"/>
                <a:gd name="connsiteX274" fmla="*/ 2007087 w 2663946"/>
                <a:gd name="connsiteY274" fmla="*/ 100229 h 349382"/>
                <a:gd name="connsiteX275" fmla="*/ 2008317 w 2663946"/>
                <a:gd name="connsiteY275" fmla="*/ 104014 h 349382"/>
                <a:gd name="connsiteX276" fmla="*/ 2010529 w 2663946"/>
                <a:gd name="connsiteY276" fmla="*/ 108340 h 349382"/>
                <a:gd name="connsiteX277" fmla="*/ 2013970 w 2663946"/>
                <a:gd name="connsiteY277" fmla="*/ 112667 h 349382"/>
                <a:gd name="connsiteX278" fmla="*/ 2018394 w 2663946"/>
                <a:gd name="connsiteY278" fmla="*/ 115370 h 349382"/>
                <a:gd name="connsiteX279" fmla="*/ 2030685 w 2663946"/>
                <a:gd name="connsiteY279" fmla="*/ 112937 h 349382"/>
                <a:gd name="connsiteX280" fmla="*/ 2033880 w 2663946"/>
                <a:gd name="connsiteY280" fmla="*/ 109422 h 349382"/>
                <a:gd name="connsiteX281" fmla="*/ 2036338 w 2663946"/>
                <a:gd name="connsiteY281" fmla="*/ 105096 h 349382"/>
                <a:gd name="connsiteX282" fmla="*/ 2037321 w 2663946"/>
                <a:gd name="connsiteY282" fmla="*/ 102933 h 349382"/>
                <a:gd name="connsiteX283" fmla="*/ 2038550 w 2663946"/>
                <a:gd name="connsiteY283" fmla="*/ 98607 h 349382"/>
                <a:gd name="connsiteX284" fmla="*/ 2038059 w 2663946"/>
                <a:gd name="connsiteY284" fmla="*/ 84817 h 349382"/>
                <a:gd name="connsiteX285" fmla="*/ 2037075 w 2663946"/>
                <a:gd name="connsiteY285" fmla="*/ 81843 h 349382"/>
                <a:gd name="connsiteX286" fmla="*/ 2035847 w 2663946"/>
                <a:gd name="connsiteY286" fmla="*/ 78869 h 349382"/>
                <a:gd name="connsiteX287" fmla="*/ 2033634 w 2663946"/>
                <a:gd name="connsiteY287" fmla="*/ 75354 h 349382"/>
                <a:gd name="connsiteX288" fmla="*/ 2029947 w 2663946"/>
                <a:gd name="connsiteY288" fmla="*/ 71569 h 349382"/>
                <a:gd name="connsiteX289" fmla="*/ 2026014 w 2663946"/>
                <a:gd name="connsiteY289" fmla="*/ 69406 h 349382"/>
                <a:gd name="connsiteX290" fmla="*/ 1601090 w 2663946"/>
                <a:gd name="connsiteY290" fmla="*/ 69406 h 349382"/>
                <a:gd name="connsiteX291" fmla="*/ 1589537 w 2663946"/>
                <a:gd name="connsiteY291" fmla="*/ 71839 h 349382"/>
                <a:gd name="connsiteX292" fmla="*/ 1586342 w 2663946"/>
                <a:gd name="connsiteY292" fmla="*/ 75354 h 349382"/>
                <a:gd name="connsiteX293" fmla="*/ 1584130 w 2663946"/>
                <a:gd name="connsiteY293" fmla="*/ 79139 h 349382"/>
                <a:gd name="connsiteX294" fmla="*/ 1583147 w 2663946"/>
                <a:gd name="connsiteY294" fmla="*/ 81843 h 349382"/>
                <a:gd name="connsiteX295" fmla="*/ 1582163 w 2663946"/>
                <a:gd name="connsiteY295" fmla="*/ 85899 h 349382"/>
                <a:gd name="connsiteX296" fmla="*/ 1581180 w 2663946"/>
                <a:gd name="connsiteY296" fmla="*/ 92929 h 349382"/>
                <a:gd name="connsiteX297" fmla="*/ 1582163 w 2663946"/>
                <a:gd name="connsiteY297" fmla="*/ 100229 h 349382"/>
                <a:gd name="connsiteX298" fmla="*/ 1583393 w 2663946"/>
                <a:gd name="connsiteY298" fmla="*/ 104014 h 349382"/>
                <a:gd name="connsiteX299" fmla="*/ 1585605 w 2663946"/>
                <a:gd name="connsiteY299" fmla="*/ 108340 h 349382"/>
                <a:gd name="connsiteX300" fmla="*/ 1589046 w 2663946"/>
                <a:gd name="connsiteY300" fmla="*/ 112667 h 349382"/>
                <a:gd name="connsiteX301" fmla="*/ 1593470 w 2663946"/>
                <a:gd name="connsiteY301" fmla="*/ 115370 h 349382"/>
                <a:gd name="connsiteX302" fmla="*/ 1605761 w 2663946"/>
                <a:gd name="connsiteY302" fmla="*/ 112937 h 349382"/>
                <a:gd name="connsiteX303" fmla="*/ 1608956 w 2663946"/>
                <a:gd name="connsiteY303" fmla="*/ 109422 h 349382"/>
                <a:gd name="connsiteX304" fmla="*/ 1611414 w 2663946"/>
                <a:gd name="connsiteY304" fmla="*/ 105096 h 349382"/>
                <a:gd name="connsiteX305" fmla="*/ 1612397 w 2663946"/>
                <a:gd name="connsiteY305" fmla="*/ 102933 h 349382"/>
                <a:gd name="connsiteX306" fmla="*/ 1613626 w 2663946"/>
                <a:gd name="connsiteY306" fmla="*/ 98607 h 349382"/>
                <a:gd name="connsiteX307" fmla="*/ 1613135 w 2663946"/>
                <a:gd name="connsiteY307" fmla="*/ 84817 h 349382"/>
                <a:gd name="connsiteX308" fmla="*/ 1612151 w 2663946"/>
                <a:gd name="connsiteY308" fmla="*/ 81843 h 349382"/>
                <a:gd name="connsiteX309" fmla="*/ 1610923 w 2663946"/>
                <a:gd name="connsiteY309" fmla="*/ 78869 h 349382"/>
                <a:gd name="connsiteX310" fmla="*/ 1608710 w 2663946"/>
                <a:gd name="connsiteY310" fmla="*/ 75354 h 349382"/>
                <a:gd name="connsiteX311" fmla="*/ 1605023 w 2663946"/>
                <a:gd name="connsiteY311" fmla="*/ 71569 h 349382"/>
                <a:gd name="connsiteX312" fmla="*/ 1601090 w 2663946"/>
                <a:gd name="connsiteY312" fmla="*/ 69406 h 349382"/>
                <a:gd name="connsiteX313" fmla="*/ 1252183 w 2663946"/>
                <a:gd name="connsiteY313" fmla="*/ 69406 h 349382"/>
                <a:gd name="connsiteX314" fmla="*/ 1240630 w 2663946"/>
                <a:gd name="connsiteY314" fmla="*/ 71839 h 349382"/>
                <a:gd name="connsiteX315" fmla="*/ 1237435 w 2663946"/>
                <a:gd name="connsiteY315" fmla="*/ 75354 h 349382"/>
                <a:gd name="connsiteX316" fmla="*/ 1235223 w 2663946"/>
                <a:gd name="connsiteY316" fmla="*/ 79139 h 349382"/>
                <a:gd name="connsiteX317" fmla="*/ 1234240 w 2663946"/>
                <a:gd name="connsiteY317" fmla="*/ 81843 h 349382"/>
                <a:gd name="connsiteX318" fmla="*/ 1233256 w 2663946"/>
                <a:gd name="connsiteY318" fmla="*/ 85899 h 349382"/>
                <a:gd name="connsiteX319" fmla="*/ 1232273 w 2663946"/>
                <a:gd name="connsiteY319" fmla="*/ 92929 h 349382"/>
                <a:gd name="connsiteX320" fmla="*/ 1233256 w 2663946"/>
                <a:gd name="connsiteY320" fmla="*/ 100229 h 349382"/>
                <a:gd name="connsiteX321" fmla="*/ 1234486 w 2663946"/>
                <a:gd name="connsiteY321" fmla="*/ 104014 h 349382"/>
                <a:gd name="connsiteX322" fmla="*/ 1236698 w 2663946"/>
                <a:gd name="connsiteY322" fmla="*/ 108340 h 349382"/>
                <a:gd name="connsiteX323" fmla="*/ 1240139 w 2663946"/>
                <a:gd name="connsiteY323" fmla="*/ 112667 h 349382"/>
                <a:gd name="connsiteX324" fmla="*/ 1244563 w 2663946"/>
                <a:gd name="connsiteY324" fmla="*/ 115370 h 349382"/>
                <a:gd name="connsiteX325" fmla="*/ 1256854 w 2663946"/>
                <a:gd name="connsiteY325" fmla="*/ 112937 h 349382"/>
                <a:gd name="connsiteX326" fmla="*/ 1260049 w 2663946"/>
                <a:gd name="connsiteY326" fmla="*/ 109422 h 349382"/>
                <a:gd name="connsiteX327" fmla="*/ 1262507 w 2663946"/>
                <a:gd name="connsiteY327" fmla="*/ 105096 h 349382"/>
                <a:gd name="connsiteX328" fmla="*/ 1263490 w 2663946"/>
                <a:gd name="connsiteY328" fmla="*/ 102933 h 349382"/>
                <a:gd name="connsiteX329" fmla="*/ 1264719 w 2663946"/>
                <a:gd name="connsiteY329" fmla="*/ 98607 h 349382"/>
                <a:gd name="connsiteX330" fmla="*/ 1264228 w 2663946"/>
                <a:gd name="connsiteY330" fmla="*/ 84817 h 349382"/>
                <a:gd name="connsiteX331" fmla="*/ 1263244 w 2663946"/>
                <a:gd name="connsiteY331" fmla="*/ 81843 h 349382"/>
                <a:gd name="connsiteX332" fmla="*/ 1262016 w 2663946"/>
                <a:gd name="connsiteY332" fmla="*/ 78869 h 349382"/>
                <a:gd name="connsiteX333" fmla="*/ 1259803 w 2663946"/>
                <a:gd name="connsiteY333" fmla="*/ 75354 h 349382"/>
                <a:gd name="connsiteX334" fmla="*/ 1256116 w 2663946"/>
                <a:gd name="connsiteY334" fmla="*/ 71569 h 349382"/>
                <a:gd name="connsiteX335" fmla="*/ 1252183 w 2663946"/>
                <a:gd name="connsiteY335" fmla="*/ 69406 h 349382"/>
                <a:gd name="connsiteX336" fmla="*/ 1070232 w 2663946"/>
                <a:gd name="connsiteY336" fmla="*/ 69406 h 349382"/>
                <a:gd name="connsiteX337" fmla="*/ 1058679 w 2663946"/>
                <a:gd name="connsiteY337" fmla="*/ 71839 h 349382"/>
                <a:gd name="connsiteX338" fmla="*/ 1055484 w 2663946"/>
                <a:gd name="connsiteY338" fmla="*/ 75354 h 349382"/>
                <a:gd name="connsiteX339" fmla="*/ 1053272 w 2663946"/>
                <a:gd name="connsiteY339" fmla="*/ 79139 h 349382"/>
                <a:gd name="connsiteX340" fmla="*/ 1052289 w 2663946"/>
                <a:gd name="connsiteY340" fmla="*/ 81843 h 349382"/>
                <a:gd name="connsiteX341" fmla="*/ 1051305 w 2663946"/>
                <a:gd name="connsiteY341" fmla="*/ 85899 h 349382"/>
                <a:gd name="connsiteX342" fmla="*/ 1050322 w 2663946"/>
                <a:gd name="connsiteY342" fmla="*/ 92929 h 349382"/>
                <a:gd name="connsiteX343" fmla="*/ 1051305 w 2663946"/>
                <a:gd name="connsiteY343" fmla="*/ 100229 h 349382"/>
                <a:gd name="connsiteX344" fmla="*/ 1052535 w 2663946"/>
                <a:gd name="connsiteY344" fmla="*/ 104014 h 349382"/>
                <a:gd name="connsiteX345" fmla="*/ 1054747 w 2663946"/>
                <a:gd name="connsiteY345" fmla="*/ 108340 h 349382"/>
                <a:gd name="connsiteX346" fmla="*/ 1058188 w 2663946"/>
                <a:gd name="connsiteY346" fmla="*/ 112667 h 349382"/>
                <a:gd name="connsiteX347" fmla="*/ 1062612 w 2663946"/>
                <a:gd name="connsiteY347" fmla="*/ 115370 h 349382"/>
                <a:gd name="connsiteX348" fmla="*/ 1074903 w 2663946"/>
                <a:gd name="connsiteY348" fmla="*/ 112937 h 349382"/>
                <a:gd name="connsiteX349" fmla="*/ 1078098 w 2663946"/>
                <a:gd name="connsiteY349" fmla="*/ 109422 h 349382"/>
                <a:gd name="connsiteX350" fmla="*/ 1080556 w 2663946"/>
                <a:gd name="connsiteY350" fmla="*/ 105096 h 349382"/>
                <a:gd name="connsiteX351" fmla="*/ 1081539 w 2663946"/>
                <a:gd name="connsiteY351" fmla="*/ 102933 h 349382"/>
                <a:gd name="connsiteX352" fmla="*/ 1082768 w 2663946"/>
                <a:gd name="connsiteY352" fmla="*/ 98607 h 349382"/>
                <a:gd name="connsiteX353" fmla="*/ 1082277 w 2663946"/>
                <a:gd name="connsiteY353" fmla="*/ 84817 h 349382"/>
                <a:gd name="connsiteX354" fmla="*/ 1081293 w 2663946"/>
                <a:gd name="connsiteY354" fmla="*/ 81843 h 349382"/>
                <a:gd name="connsiteX355" fmla="*/ 1080065 w 2663946"/>
                <a:gd name="connsiteY355" fmla="*/ 78869 h 349382"/>
                <a:gd name="connsiteX356" fmla="*/ 1077852 w 2663946"/>
                <a:gd name="connsiteY356" fmla="*/ 75354 h 349382"/>
                <a:gd name="connsiteX357" fmla="*/ 1074165 w 2663946"/>
                <a:gd name="connsiteY357" fmla="*/ 71569 h 349382"/>
                <a:gd name="connsiteX358" fmla="*/ 1070232 w 2663946"/>
                <a:gd name="connsiteY358" fmla="*/ 69406 h 349382"/>
                <a:gd name="connsiteX359" fmla="*/ 903203 w 2663946"/>
                <a:gd name="connsiteY359" fmla="*/ 69406 h 349382"/>
                <a:gd name="connsiteX360" fmla="*/ 891650 w 2663946"/>
                <a:gd name="connsiteY360" fmla="*/ 71839 h 349382"/>
                <a:gd name="connsiteX361" fmla="*/ 888455 w 2663946"/>
                <a:gd name="connsiteY361" fmla="*/ 75354 h 349382"/>
                <a:gd name="connsiteX362" fmla="*/ 886243 w 2663946"/>
                <a:gd name="connsiteY362" fmla="*/ 79139 h 349382"/>
                <a:gd name="connsiteX363" fmla="*/ 885260 w 2663946"/>
                <a:gd name="connsiteY363" fmla="*/ 81843 h 349382"/>
                <a:gd name="connsiteX364" fmla="*/ 884276 w 2663946"/>
                <a:gd name="connsiteY364" fmla="*/ 85899 h 349382"/>
                <a:gd name="connsiteX365" fmla="*/ 883293 w 2663946"/>
                <a:gd name="connsiteY365" fmla="*/ 92929 h 349382"/>
                <a:gd name="connsiteX366" fmla="*/ 884276 w 2663946"/>
                <a:gd name="connsiteY366" fmla="*/ 100229 h 349382"/>
                <a:gd name="connsiteX367" fmla="*/ 885506 w 2663946"/>
                <a:gd name="connsiteY367" fmla="*/ 104014 h 349382"/>
                <a:gd name="connsiteX368" fmla="*/ 887718 w 2663946"/>
                <a:gd name="connsiteY368" fmla="*/ 108340 h 349382"/>
                <a:gd name="connsiteX369" fmla="*/ 891159 w 2663946"/>
                <a:gd name="connsiteY369" fmla="*/ 112667 h 349382"/>
                <a:gd name="connsiteX370" fmla="*/ 895583 w 2663946"/>
                <a:gd name="connsiteY370" fmla="*/ 115370 h 349382"/>
                <a:gd name="connsiteX371" fmla="*/ 907874 w 2663946"/>
                <a:gd name="connsiteY371" fmla="*/ 112937 h 349382"/>
                <a:gd name="connsiteX372" fmla="*/ 911069 w 2663946"/>
                <a:gd name="connsiteY372" fmla="*/ 109422 h 349382"/>
                <a:gd name="connsiteX373" fmla="*/ 913527 w 2663946"/>
                <a:gd name="connsiteY373" fmla="*/ 105096 h 349382"/>
                <a:gd name="connsiteX374" fmla="*/ 914510 w 2663946"/>
                <a:gd name="connsiteY374" fmla="*/ 102933 h 349382"/>
                <a:gd name="connsiteX375" fmla="*/ 915739 w 2663946"/>
                <a:gd name="connsiteY375" fmla="*/ 98607 h 349382"/>
                <a:gd name="connsiteX376" fmla="*/ 915248 w 2663946"/>
                <a:gd name="connsiteY376" fmla="*/ 84817 h 349382"/>
                <a:gd name="connsiteX377" fmla="*/ 914264 w 2663946"/>
                <a:gd name="connsiteY377" fmla="*/ 81843 h 349382"/>
                <a:gd name="connsiteX378" fmla="*/ 913036 w 2663946"/>
                <a:gd name="connsiteY378" fmla="*/ 78869 h 349382"/>
                <a:gd name="connsiteX379" fmla="*/ 910823 w 2663946"/>
                <a:gd name="connsiteY379" fmla="*/ 75354 h 349382"/>
                <a:gd name="connsiteX380" fmla="*/ 907136 w 2663946"/>
                <a:gd name="connsiteY380" fmla="*/ 71569 h 349382"/>
                <a:gd name="connsiteX381" fmla="*/ 903203 w 2663946"/>
                <a:gd name="connsiteY381" fmla="*/ 69406 h 349382"/>
                <a:gd name="connsiteX382" fmla="*/ 554297 w 2663946"/>
                <a:gd name="connsiteY382" fmla="*/ 69406 h 349382"/>
                <a:gd name="connsiteX383" fmla="*/ 542744 w 2663946"/>
                <a:gd name="connsiteY383" fmla="*/ 71839 h 349382"/>
                <a:gd name="connsiteX384" fmla="*/ 539549 w 2663946"/>
                <a:gd name="connsiteY384" fmla="*/ 75354 h 349382"/>
                <a:gd name="connsiteX385" fmla="*/ 537337 w 2663946"/>
                <a:gd name="connsiteY385" fmla="*/ 79139 h 349382"/>
                <a:gd name="connsiteX386" fmla="*/ 536353 w 2663946"/>
                <a:gd name="connsiteY386" fmla="*/ 81843 h 349382"/>
                <a:gd name="connsiteX387" fmla="*/ 535370 w 2663946"/>
                <a:gd name="connsiteY387" fmla="*/ 85899 h 349382"/>
                <a:gd name="connsiteX388" fmla="*/ 534387 w 2663946"/>
                <a:gd name="connsiteY388" fmla="*/ 92929 h 349382"/>
                <a:gd name="connsiteX389" fmla="*/ 535370 w 2663946"/>
                <a:gd name="connsiteY389" fmla="*/ 100229 h 349382"/>
                <a:gd name="connsiteX390" fmla="*/ 536599 w 2663946"/>
                <a:gd name="connsiteY390" fmla="*/ 104014 h 349382"/>
                <a:gd name="connsiteX391" fmla="*/ 538811 w 2663946"/>
                <a:gd name="connsiteY391" fmla="*/ 108340 h 349382"/>
                <a:gd name="connsiteX392" fmla="*/ 542253 w 2663946"/>
                <a:gd name="connsiteY392" fmla="*/ 112667 h 349382"/>
                <a:gd name="connsiteX393" fmla="*/ 546677 w 2663946"/>
                <a:gd name="connsiteY393" fmla="*/ 115370 h 349382"/>
                <a:gd name="connsiteX394" fmla="*/ 558967 w 2663946"/>
                <a:gd name="connsiteY394" fmla="*/ 112937 h 349382"/>
                <a:gd name="connsiteX395" fmla="*/ 562163 w 2663946"/>
                <a:gd name="connsiteY395" fmla="*/ 109422 h 349382"/>
                <a:gd name="connsiteX396" fmla="*/ 564621 w 2663946"/>
                <a:gd name="connsiteY396" fmla="*/ 105096 h 349382"/>
                <a:gd name="connsiteX397" fmla="*/ 565604 w 2663946"/>
                <a:gd name="connsiteY397" fmla="*/ 102933 h 349382"/>
                <a:gd name="connsiteX398" fmla="*/ 566833 w 2663946"/>
                <a:gd name="connsiteY398" fmla="*/ 98607 h 349382"/>
                <a:gd name="connsiteX399" fmla="*/ 566341 w 2663946"/>
                <a:gd name="connsiteY399" fmla="*/ 84817 h 349382"/>
                <a:gd name="connsiteX400" fmla="*/ 565358 w 2663946"/>
                <a:gd name="connsiteY400" fmla="*/ 81843 h 349382"/>
                <a:gd name="connsiteX401" fmla="*/ 564129 w 2663946"/>
                <a:gd name="connsiteY401" fmla="*/ 78869 h 349382"/>
                <a:gd name="connsiteX402" fmla="*/ 561917 w 2663946"/>
                <a:gd name="connsiteY402" fmla="*/ 75354 h 349382"/>
                <a:gd name="connsiteX403" fmla="*/ 558230 w 2663946"/>
                <a:gd name="connsiteY403" fmla="*/ 71569 h 349382"/>
                <a:gd name="connsiteX404" fmla="*/ 554297 w 2663946"/>
                <a:gd name="connsiteY404" fmla="*/ 69406 h 349382"/>
                <a:gd name="connsiteX405" fmla="*/ 372346 w 2663946"/>
                <a:gd name="connsiteY405" fmla="*/ 69406 h 349382"/>
                <a:gd name="connsiteX406" fmla="*/ 360793 w 2663946"/>
                <a:gd name="connsiteY406" fmla="*/ 71839 h 349382"/>
                <a:gd name="connsiteX407" fmla="*/ 357598 w 2663946"/>
                <a:gd name="connsiteY407" fmla="*/ 75354 h 349382"/>
                <a:gd name="connsiteX408" fmla="*/ 355385 w 2663946"/>
                <a:gd name="connsiteY408" fmla="*/ 79139 h 349382"/>
                <a:gd name="connsiteX409" fmla="*/ 354402 w 2663946"/>
                <a:gd name="connsiteY409" fmla="*/ 81843 h 349382"/>
                <a:gd name="connsiteX410" fmla="*/ 353419 w 2663946"/>
                <a:gd name="connsiteY410" fmla="*/ 85899 h 349382"/>
                <a:gd name="connsiteX411" fmla="*/ 352436 w 2663946"/>
                <a:gd name="connsiteY411" fmla="*/ 92929 h 349382"/>
                <a:gd name="connsiteX412" fmla="*/ 353419 w 2663946"/>
                <a:gd name="connsiteY412" fmla="*/ 100229 h 349382"/>
                <a:gd name="connsiteX413" fmla="*/ 354648 w 2663946"/>
                <a:gd name="connsiteY413" fmla="*/ 104014 h 349382"/>
                <a:gd name="connsiteX414" fmla="*/ 356860 w 2663946"/>
                <a:gd name="connsiteY414" fmla="*/ 108340 h 349382"/>
                <a:gd name="connsiteX415" fmla="*/ 360301 w 2663946"/>
                <a:gd name="connsiteY415" fmla="*/ 112667 h 349382"/>
                <a:gd name="connsiteX416" fmla="*/ 364726 w 2663946"/>
                <a:gd name="connsiteY416" fmla="*/ 115370 h 349382"/>
                <a:gd name="connsiteX417" fmla="*/ 377016 w 2663946"/>
                <a:gd name="connsiteY417" fmla="*/ 112937 h 349382"/>
                <a:gd name="connsiteX418" fmla="*/ 380212 w 2663946"/>
                <a:gd name="connsiteY418" fmla="*/ 109422 h 349382"/>
                <a:gd name="connsiteX419" fmla="*/ 382670 w 2663946"/>
                <a:gd name="connsiteY419" fmla="*/ 105096 h 349382"/>
                <a:gd name="connsiteX420" fmla="*/ 383653 w 2663946"/>
                <a:gd name="connsiteY420" fmla="*/ 102933 h 349382"/>
                <a:gd name="connsiteX421" fmla="*/ 384882 w 2663946"/>
                <a:gd name="connsiteY421" fmla="*/ 98607 h 349382"/>
                <a:gd name="connsiteX422" fmla="*/ 384390 w 2663946"/>
                <a:gd name="connsiteY422" fmla="*/ 84817 h 349382"/>
                <a:gd name="connsiteX423" fmla="*/ 383407 w 2663946"/>
                <a:gd name="connsiteY423" fmla="*/ 81843 h 349382"/>
                <a:gd name="connsiteX424" fmla="*/ 382178 w 2663946"/>
                <a:gd name="connsiteY424" fmla="*/ 78869 h 349382"/>
                <a:gd name="connsiteX425" fmla="*/ 379966 w 2663946"/>
                <a:gd name="connsiteY425" fmla="*/ 75354 h 349382"/>
                <a:gd name="connsiteX426" fmla="*/ 376279 w 2663946"/>
                <a:gd name="connsiteY426" fmla="*/ 71569 h 349382"/>
                <a:gd name="connsiteX427" fmla="*/ 372346 w 2663946"/>
                <a:gd name="connsiteY427" fmla="*/ 69406 h 349382"/>
                <a:gd name="connsiteX428" fmla="*/ 129300 w 2663946"/>
                <a:gd name="connsiteY428" fmla="*/ 69406 h 349382"/>
                <a:gd name="connsiteX429" fmla="*/ 117747 w 2663946"/>
                <a:gd name="connsiteY429" fmla="*/ 71839 h 349382"/>
                <a:gd name="connsiteX430" fmla="*/ 114552 w 2663946"/>
                <a:gd name="connsiteY430" fmla="*/ 75354 h 349382"/>
                <a:gd name="connsiteX431" fmla="*/ 112340 w 2663946"/>
                <a:gd name="connsiteY431" fmla="*/ 79139 h 349382"/>
                <a:gd name="connsiteX432" fmla="*/ 111356 w 2663946"/>
                <a:gd name="connsiteY432" fmla="*/ 81843 h 349382"/>
                <a:gd name="connsiteX433" fmla="*/ 110373 w 2663946"/>
                <a:gd name="connsiteY433" fmla="*/ 85899 h 349382"/>
                <a:gd name="connsiteX434" fmla="*/ 109390 w 2663946"/>
                <a:gd name="connsiteY434" fmla="*/ 92929 h 349382"/>
                <a:gd name="connsiteX435" fmla="*/ 110373 w 2663946"/>
                <a:gd name="connsiteY435" fmla="*/ 100229 h 349382"/>
                <a:gd name="connsiteX436" fmla="*/ 111602 w 2663946"/>
                <a:gd name="connsiteY436" fmla="*/ 104014 h 349382"/>
                <a:gd name="connsiteX437" fmla="*/ 113814 w 2663946"/>
                <a:gd name="connsiteY437" fmla="*/ 108340 h 349382"/>
                <a:gd name="connsiteX438" fmla="*/ 117256 w 2663946"/>
                <a:gd name="connsiteY438" fmla="*/ 112667 h 349382"/>
                <a:gd name="connsiteX439" fmla="*/ 121680 w 2663946"/>
                <a:gd name="connsiteY439" fmla="*/ 115370 h 349382"/>
                <a:gd name="connsiteX440" fmla="*/ 133970 w 2663946"/>
                <a:gd name="connsiteY440" fmla="*/ 112937 h 349382"/>
                <a:gd name="connsiteX441" fmla="*/ 137166 w 2663946"/>
                <a:gd name="connsiteY441" fmla="*/ 109422 h 349382"/>
                <a:gd name="connsiteX442" fmla="*/ 139624 w 2663946"/>
                <a:gd name="connsiteY442" fmla="*/ 105096 h 349382"/>
                <a:gd name="connsiteX443" fmla="*/ 140607 w 2663946"/>
                <a:gd name="connsiteY443" fmla="*/ 102933 h 349382"/>
                <a:gd name="connsiteX444" fmla="*/ 141836 w 2663946"/>
                <a:gd name="connsiteY444" fmla="*/ 98607 h 349382"/>
                <a:gd name="connsiteX445" fmla="*/ 141344 w 2663946"/>
                <a:gd name="connsiteY445" fmla="*/ 84817 h 349382"/>
                <a:gd name="connsiteX446" fmla="*/ 140361 w 2663946"/>
                <a:gd name="connsiteY446" fmla="*/ 81843 h 349382"/>
                <a:gd name="connsiteX447" fmla="*/ 139132 w 2663946"/>
                <a:gd name="connsiteY447" fmla="*/ 78869 h 349382"/>
                <a:gd name="connsiteX448" fmla="*/ 136920 w 2663946"/>
                <a:gd name="connsiteY448" fmla="*/ 75354 h 349382"/>
                <a:gd name="connsiteX449" fmla="*/ 133233 w 2663946"/>
                <a:gd name="connsiteY449" fmla="*/ 71569 h 349382"/>
                <a:gd name="connsiteX450" fmla="*/ 129300 w 2663946"/>
                <a:gd name="connsiteY450" fmla="*/ 69406 h 349382"/>
                <a:gd name="connsiteX451" fmla="*/ 33147 w 2663946"/>
                <a:gd name="connsiteY451" fmla="*/ 65470 h 349382"/>
                <a:gd name="connsiteX452" fmla="*/ 21486 w 2663946"/>
                <a:gd name="connsiteY452" fmla="*/ 73199 h 349382"/>
                <a:gd name="connsiteX453" fmla="*/ 20561 w 2663946"/>
                <a:gd name="connsiteY453" fmla="*/ 77782 h 349382"/>
                <a:gd name="connsiteX454" fmla="*/ 23801 w 2663946"/>
                <a:gd name="connsiteY454" fmla="*/ 77782 h 349382"/>
                <a:gd name="connsiteX455" fmla="*/ 42218 w 2663946"/>
                <a:gd name="connsiteY455" fmla="*/ 77782 h 349382"/>
                <a:gd name="connsiteX456" fmla="*/ 45732 w 2663946"/>
                <a:gd name="connsiteY456" fmla="*/ 77782 h 349382"/>
                <a:gd name="connsiteX457" fmla="*/ 44807 w 2663946"/>
                <a:gd name="connsiteY457" fmla="*/ 73199 h 349382"/>
                <a:gd name="connsiteX458" fmla="*/ 33147 w 2663946"/>
                <a:gd name="connsiteY458" fmla="*/ 65470 h 349382"/>
                <a:gd name="connsiteX459" fmla="*/ 2537931 w 2663946"/>
                <a:gd name="connsiteY459" fmla="*/ 57882 h 349382"/>
                <a:gd name="connsiteX460" fmla="*/ 2526271 w 2663946"/>
                <a:gd name="connsiteY460" fmla="*/ 65611 h 349382"/>
                <a:gd name="connsiteX461" fmla="*/ 2525346 w 2663946"/>
                <a:gd name="connsiteY461" fmla="*/ 70194 h 349382"/>
                <a:gd name="connsiteX462" fmla="*/ 2528586 w 2663946"/>
                <a:gd name="connsiteY462" fmla="*/ 70194 h 349382"/>
                <a:gd name="connsiteX463" fmla="*/ 2547003 w 2663946"/>
                <a:gd name="connsiteY463" fmla="*/ 70194 h 349382"/>
                <a:gd name="connsiteX464" fmla="*/ 2550517 w 2663946"/>
                <a:gd name="connsiteY464" fmla="*/ 70194 h 349382"/>
                <a:gd name="connsiteX465" fmla="*/ 2549592 w 2663946"/>
                <a:gd name="connsiteY465" fmla="*/ 65611 h 349382"/>
                <a:gd name="connsiteX466" fmla="*/ 2537931 w 2663946"/>
                <a:gd name="connsiteY466" fmla="*/ 57882 h 349382"/>
                <a:gd name="connsiteX467" fmla="*/ 2112934 w 2663946"/>
                <a:gd name="connsiteY467" fmla="*/ 57882 h 349382"/>
                <a:gd name="connsiteX468" fmla="*/ 2101274 w 2663946"/>
                <a:gd name="connsiteY468" fmla="*/ 65611 h 349382"/>
                <a:gd name="connsiteX469" fmla="*/ 2100349 w 2663946"/>
                <a:gd name="connsiteY469" fmla="*/ 70194 h 349382"/>
                <a:gd name="connsiteX470" fmla="*/ 2103589 w 2663946"/>
                <a:gd name="connsiteY470" fmla="*/ 70194 h 349382"/>
                <a:gd name="connsiteX471" fmla="*/ 2122006 w 2663946"/>
                <a:gd name="connsiteY471" fmla="*/ 70194 h 349382"/>
                <a:gd name="connsiteX472" fmla="*/ 2125520 w 2663946"/>
                <a:gd name="connsiteY472" fmla="*/ 70194 h 349382"/>
                <a:gd name="connsiteX473" fmla="*/ 2124595 w 2663946"/>
                <a:gd name="connsiteY473" fmla="*/ 65611 h 349382"/>
                <a:gd name="connsiteX474" fmla="*/ 2112934 w 2663946"/>
                <a:gd name="connsiteY474" fmla="*/ 57882 h 349382"/>
                <a:gd name="connsiteX475" fmla="*/ 1854966 w 2663946"/>
                <a:gd name="connsiteY475" fmla="*/ 57882 h 349382"/>
                <a:gd name="connsiteX476" fmla="*/ 1843306 w 2663946"/>
                <a:gd name="connsiteY476" fmla="*/ 65611 h 349382"/>
                <a:gd name="connsiteX477" fmla="*/ 1842381 w 2663946"/>
                <a:gd name="connsiteY477" fmla="*/ 70194 h 349382"/>
                <a:gd name="connsiteX478" fmla="*/ 1845621 w 2663946"/>
                <a:gd name="connsiteY478" fmla="*/ 70194 h 349382"/>
                <a:gd name="connsiteX479" fmla="*/ 1864038 w 2663946"/>
                <a:gd name="connsiteY479" fmla="*/ 70194 h 349382"/>
                <a:gd name="connsiteX480" fmla="*/ 1867552 w 2663946"/>
                <a:gd name="connsiteY480" fmla="*/ 70194 h 349382"/>
                <a:gd name="connsiteX481" fmla="*/ 1866627 w 2663946"/>
                <a:gd name="connsiteY481" fmla="*/ 65611 h 349382"/>
                <a:gd name="connsiteX482" fmla="*/ 1854966 w 2663946"/>
                <a:gd name="connsiteY482" fmla="*/ 57882 h 349382"/>
                <a:gd name="connsiteX483" fmla="*/ 1764027 w 2663946"/>
                <a:gd name="connsiteY483" fmla="*/ 57882 h 349382"/>
                <a:gd name="connsiteX484" fmla="*/ 1752367 w 2663946"/>
                <a:gd name="connsiteY484" fmla="*/ 65611 h 349382"/>
                <a:gd name="connsiteX485" fmla="*/ 1751442 w 2663946"/>
                <a:gd name="connsiteY485" fmla="*/ 70194 h 349382"/>
                <a:gd name="connsiteX486" fmla="*/ 1754682 w 2663946"/>
                <a:gd name="connsiteY486" fmla="*/ 70194 h 349382"/>
                <a:gd name="connsiteX487" fmla="*/ 1773099 w 2663946"/>
                <a:gd name="connsiteY487" fmla="*/ 70194 h 349382"/>
                <a:gd name="connsiteX488" fmla="*/ 1776613 w 2663946"/>
                <a:gd name="connsiteY488" fmla="*/ 70194 h 349382"/>
                <a:gd name="connsiteX489" fmla="*/ 1775687 w 2663946"/>
                <a:gd name="connsiteY489" fmla="*/ 65611 h 349382"/>
                <a:gd name="connsiteX490" fmla="*/ 1764027 w 2663946"/>
                <a:gd name="connsiteY490" fmla="*/ 57882 h 349382"/>
                <a:gd name="connsiteX491" fmla="*/ 1506059 w 2663946"/>
                <a:gd name="connsiteY491" fmla="*/ 57882 h 349382"/>
                <a:gd name="connsiteX492" fmla="*/ 1494399 w 2663946"/>
                <a:gd name="connsiteY492" fmla="*/ 65611 h 349382"/>
                <a:gd name="connsiteX493" fmla="*/ 1493474 w 2663946"/>
                <a:gd name="connsiteY493" fmla="*/ 70194 h 349382"/>
                <a:gd name="connsiteX494" fmla="*/ 1496714 w 2663946"/>
                <a:gd name="connsiteY494" fmla="*/ 70194 h 349382"/>
                <a:gd name="connsiteX495" fmla="*/ 1515131 w 2663946"/>
                <a:gd name="connsiteY495" fmla="*/ 70194 h 349382"/>
                <a:gd name="connsiteX496" fmla="*/ 1518645 w 2663946"/>
                <a:gd name="connsiteY496" fmla="*/ 70194 h 349382"/>
                <a:gd name="connsiteX497" fmla="*/ 1517719 w 2663946"/>
                <a:gd name="connsiteY497" fmla="*/ 65611 h 349382"/>
                <a:gd name="connsiteX498" fmla="*/ 1506059 w 2663946"/>
                <a:gd name="connsiteY498" fmla="*/ 57882 h 349382"/>
                <a:gd name="connsiteX499" fmla="*/ 1415120 w 2663946"/>
                <a:gd name="connsiteY499" fmla="*/ 57882 h 349382"/>
                <a:gd name="connsiteX500" fmla="*/ 1403460 w 2663946"/>
                <a:gd name="connsiteY500" fmla="*/ 65611 h 349382"/>
                <a:gd name="connsiteX501" fmla="*/ 1402535 w 2663946"/>
                <a:gd name="connsiteY501" fmla="*/ 70194 h 349382"/>
                <a:gd name="connsiteX502" fmla="*/ 1405775 w 2663946"/>
                <a:gd name="connsiteY502" fmla="*/ 70194 h 349382"/>
                <a:gd name="connsiteX503" fmla="*/ 1424192 w 2663946"/>
                <a:gd name="connsiteY503" fmla="*/ 70194 h 349382"/>
                <a:gd name="connsiteX504" fmla="*/ 1427706 w 2663946"/>
                <a:gd name="connsiteY504" fmla="*/ 70194 h 349382"/>
                <a:gd name="connsiteX505" fmla="*/ 1426780 w 2663946"/>
                <a:gd name="connsiteY505" fmla="*/ 65611 h 349382"/>
                <a:gd name="connsiteX506" fmla="*/ 1415120 w 2663946"/>
                <a:gd name="connsiteY506" fmla="*/ 57882 h 349382"/>
                <a:gd name="connsiteX507" fmla="*/ 1157152 w 2663946"/>
                <a:gd name="connsiteY507" fmla="*/ 57882 h 349382"/>
                <a:gd name="connsiteX508" fmla="*/ 1145492 w 2663946"/>
                <a:gd name="connsiteY508" fmla="*/ 65611 h 349382"/>
                <a:gd name="connsiteX509" fmla="*/ 1144567 w 2663946"/>
                <a:gd name="connsiteY509" fmla="*/ 70194 h 349382"/>
                <a:gd name="connsiteX510" fmla="*/ 1147807 w 2663946"/>
                <a:gd name="connsiteY510" fmla="*/ 70194 h 349382"/>
                <a:gd name="connsiteX511" fmla="*/ 1166224 w 2663946"/>
                <a:gd name="connsiteY511" fmla="*/ 70194 h 349382"/>
                <a:gd name="connsiteX512" fmla="*/ 1169738 w 2663946"/>
                <a:gd name="connsiteY512" fmla="*/ 70194 h 349382"/>
                <a:gd name="connsiteX513" fmla="*/ 1168812 w 2663946"/>
                <a:gd name="connsiteY513" fmla="*/ 65611 h 349382"/>
                <a:gd name="connsiteX514" fmla="*/ 1157152 w 2663946"/>
                <a:gd name="connsiteY514" fmla="*/ 57882 h 349382"/>
                <a:gd name="connsiteX515" fmla="*/ 732156 w 2663946"/>
                <a:gd name="connsiteY515" fmla="*/ 57882 h 349382"/>
                <a:gd name="connsiteX516" fmla="*/ 720495 w 2663946"/>
                <a:gd name="connsiteY516" fmla="*/ 65611 h 349382"/>
                <a:gd name="connsiteX517" fmla="*/ 719570 w 2663946"/>
                <a:gd name="connsiteY517" fmla="*/ 70194 h 349382"/>
                <a:gd name="connsiteX518" fmla="*/ 722810 w 2663946"/>
                <a:gd name="connsiteY518" fmla="*/ 70194 h 349382"/>
                <a:gd name="connsiteX519" fmla="*/ 741228 w 2663946"/>
                <a:gd name="connsiteY519" fmla="*/ 70194 h 349382"/>
                <a:gd name="connsiteX520" fmla="*/ 744742 w 2663946"/>
                <a:gd name="connsiteY520" fmla="*/ 70194 h 349382"/>
                <a:gd name="connsiteX521" fmla="*/ 743816 w 2663946"/>
                <a:gd name="connsiteY521" fmla="*/ 65611 h 349382"/>
                <a:gd name="connsiteX522" fmla="*/ 732156 w 2663946"/>
                <a:gd name="connsiteY522" fmla="*/ 57882 h 349382"/>
                <a:gd name="connsiteX523" fmla="*/ 641217 w 2663946"/>
                <a:gd name="connsiteY523" fmla="*/ 57882 h 349382"/>
                <a:gd name="connsiteX524" fmla="*/ 629556 w 2663946"/>
                <a:gd name="connsiteY524" fmla="*/ 65611 h 349382"/>
                <a:gd name="connsiteX525" fmla="*/ 628631 w 2663946"/>
                <a:gd name="connsiteY525" fmla="*/ 70194 h 349382"/>
                <a:gd name="connsiteX526" fmla="*/ 631871 w 2663946"/>
                <a:gd name="connsiteY526" fmla="*/ 70194 h 349382"/>
                <a:gd name="connsiteX527" fmla="*/ 650289 w 2663946"/>
                <a:gd name="connsiteY527" fmla="*/ 70194 h 349382"/>
                <a:gd name="connsiteX528" fmla="*/ 653802 w 2663946"/>
                <a:gd name="connsiteY528" fmla="*/ 70194 h 349382"/>
                <a:gd name="connsiteX529" fmla="*/ 652877 w 2663946"/>
                <a:gd name="connsiteY529" fmla="*/ 65611 h 349382"/>
                <a:gd name="connsiteX530" fmla="*/ 641217 w 2663946"/>
                <a:gd name="connsiteY530" fmla="*/ 57882 h 349382"/>
                <a:gd name="connsiteX531" fmla="*/ 459266 w 2663946"/>
                <a:gd name="connsiteY531" fmla="*/ 57882 h 349382"/>
                <a:gd name="connsiteX532" fmla="*/ 447605 w 2663946"/>
                <a:gd name="connsiteY532" fmla="*/ 65611 h 349382"/>
                <a:gd name="connsiteX533" fmla="*/ 446680 w 2663946"/>
                <a:gd name="connsiteY533" fmla="*/ 70194 h 349382"/>
                <a:gd name="connsiteX534" fmla="*/ 449920 w 2663946"/>
                <a:gd name="connsiteY534" fmla="*/ 70194 h 349382"/>
                <a:gd name="connsiteX535" fmla="*/ 468337 w 2663946"/>
                <a:gd name="connsiteY535" fmla="*/ 70194 h 349382"/>
                <a:gd name="connsiteX536" fmla="*/ 471851 w 2663946"/>
                <a:gd name="connsiteY536" fmla="*/ 70194 h 349382"/>
                <a:gd name="connsiteX537" fmla="*/ 470926 w 2663946"/>
                <a:gd name="connsiteY537" fmla="*/ 65611 h 349382"/>
                <a:gd name="connsiteX538" fmla="*/ 459266 w 2663946"/>
                <a:gd name="connsiteY538" fmla="*/ 57882 h 349382"/>
                <a:gd name="connsiteX539" fmla="*/ 2361413 w 2663946"/>
                <a:gd name="connsiteY539" fmla="*/ 53522 h 349382"/>
                <a:gd name="connsiteX540" fmla="*/ 2365469 w 2663946"/>
                <a:gd name="connsiteY540" fmla="*/ 53522 h 349382"/>
                <a:gd name="connsiteX541" fmla="*/ 2370065 w 2663946"/>
                <a:gd name="connsiteY541" fmla="*/ 55956 h 349382"/>
                <a:gd name="connsiteX542" fmla="*/ 2372229 w 2663946"/>
                <a:gd name="connsiteY542" fmla="*/ 62174 h 349382"/>
                <a:gd name="connsiteX543" fmla="*/ 2372229 w 2663946"/>
                <a:gd name="connsiteY543" fmla="*/ 62715 h 349382"/>
                <a:gd name="connsiteX544" fmla="*/ 2372229 w 2663946"/>
                <a:gd name="connsiteY544" fmla="*/ 115710 h 349382"/>
                <a:gd name="connsiteX545" fmla="*/ 2372769 w 2663946"/>
                <a:gd name="connsiteY545" fmla="*/ 116250 h 349382"/>
                <a:gd name="connsiteX546" fmla="*/ 2380069 w 2663946"/>
                <a:gd name="connsiteY546" fmla="*/ 116250 h 349382"/>
                <a:gd name="connsiteX547" fmla="*/ 2384125 w 2663946"/>
                <a:gd name="connsiteY547" fmla="*/ 117332 h 349382"/>
                <a:gd name="connsiteX548" fmla="*/ 2387910 w 2663946"/>
                <a:gd name="connsiteY548" fmla="*/ 124091 h 349382"/>
                <a:gd name="connsiteX549" fmla="*/ 2385207 w 2663946"/>
                <a:gd name="connsiteY549" fmla="*/ 129769 h 349382"/>
                <a:gd name="connsiteX550" fmla="*/ 2381151 w 2663946"/>
                <a:gd name="connsiteY550" fmla="*/ 131662 h 349382"/>
                <a:gd name="connsiteX551" fmla="*/ 2380881 w 2663946"/>
                <a:gd name="connsiteY551" fmla="*/ 131662 h 349382"/>
                <a:gd name="connsiteX552" fmla="*/ 2380610 w 2663946"/>
                <a:gd name="connsiteY552" fmla="*/ 131662 h 349382"/>
                <a:gd name="connsiteX553" fmla="*/ 2380069 w 2663946"/>
                <a:gd name="connsiteY553" fmla="*/ 131662 h 349382"/>
                <a:gd name="connsiteX554" fmla="*/ 2347894 w 2663946"/>
                <a:gd name="connsiteY554" fmla="*/ 131662 h 349382"/>
                <a:gd name="connsiteX555" fmla="*/ 2347354 w 2663946"/>
                <a:gd name="connsiteY555" fmla="*/ 131662 h 349382"/>
                <a:gd name="connsiteX556" fmla="*/ 2346542 w 2663946"/>
                <a:gd name="connsiteY556" fmla="*/ 131662 h 349382"/>
                <a:gd name="connsiteX557" fmla="*/ 2345731 w 2663946"/>
                <a:gd name="connsiteY557" fmla="*/ 131392 h 349382"/>
                <a:gd name="connsiteX558" fmla="*/ 2342216 w 2663946"/>
                <a:gd name="connsiteY558" fmla="*/ 129499 h 349382"/>
                <a:gd name="connsiteX559" fmla="*/ 2339783 w 2663946"/>
                <a:gd name="connsiteY559" fmla="*/ 123821 h 349382"/>
                <a:gd name="connsiteX560" fmla="*/ 2341946 w 2663946"/>
                <a:gd name="connsiteY560" fmla="*/ 118684 h 349382"/>
                <a:gd name="connsiteX561" fmla="*/ 2347624 w 2663946"/>
                <a:gd name="connsiteY561" fmla="*/ 116250 h 349382"/>
                <a:gd name="connsiteX562" fmla="*/ 2355465 w 2663946"/>
                <a:gd name="connsiteY562" fmla="*/ 116250 h 349382"/>
                <a:gd name="connsiteX563" fmla="*/ 2356006 w 2663946"/>
                <a:gd name="connsiteY563" fmla="*/ 115710 h 349382"/>
                <a:gd name="connsiteX564" fmla="*/ 2356006 w 2663946"/>
                <a:gd name="connsiteY564" fmla="*/ 69745 h 349382"/>
                <a:gd name="connsiteX565" fmla="*/ 2355465 w 2663946"/>
                <a:gd name="connsiteY565" fmla="*/ 69204 h 349382"/>
                <a:gd name="connsiteX566" fmla="*/ 2349517 w 2663946"/>
                <a:gd name="connsiteY566" fmla="*/ 69204 h 349382"/>
                <a:gd name="connsiteX567" fmla="*/ 2342216 w 2663946"/>
                <a:gd name="connsiteY567" fmla="*/ 64608 h 349382"/>
                <a:gd name="connsiteX568" fmla="*/ 2341946 w 2663946"/>
                <a:gd name="connsiteY568" fmla="*/ 58930 h 349382"/>
                <a:gd name="connsiteX569" fmla="*/ 2349246 w 2663946"/>
                <a:gd name="connsiteY569" fmla="*/ 53793 h 349382"/>
                <a:gd name="connsiteX570" fmla="*/ 2361413 w 2663946"/>
                <a:gd name="connsiteY570" fmla="*/ 53522 h 349382"/>
                <a:gd name="connsiteX571" fmla="*/ 2285396 w 2663946"/>
                <a:gd name="connsiteY571" fmla="*/ 53522 h 349382"/>
                <a:gd name="connsiteX572" fmla="*/ 2289452 w 2663946"/>
                <a:gd name="connsiteY572" fmla="*/ 53522 h 349382"/>
                <a:gd name="connsiteX573" fmla="*/ 2294048 w 2663946"/>
                <a:gd name="connsiteY573" fmla="*/ 55956 h 349382"/>
                <a:gd name="connsiteX574" fmla="*/ 2296212 w 2663946"/>
                <a:gd name="connsiteY574" fmla="*/ 62174 h 349382"/>
                <a:gd name="connsiteX575" fmla="*/ 2296212 w 2663946"/>
                <a:gd name="connsiteY575" fmla="*/ 62715 h 349382"/>
                <a:gd name="connsiteX576" fmla="*/ 2296212 w 2663946"/>
                <a:gd name="connsiteY576" fmla="*/ 115710 h 349382"/>
                <a:gd name="connsiteX577" fmla="*/ 2296752 w 2663946"/>
                <a:gd name="connsiteY577" fmla="*/ 116250 h 349382"/>
                <a:gd name="connsiteX578" fmla="*/ 2304052 w 2663946"/>
                <a:gd name="connsiteY578" fmla="*/ 116250 h 349382"/>
                <a:gd name="connsiteX579" fmla="*/ 2308108 w 2663946"/>
                <a:gd name="connsiteY579" fmla="*/ 117332 h 349382"/>
                <a:gd name="connsiteX580" fmla="*/ 2311893 w 2663946"/>
                <a:gd name="connsiteY580" fmla="*/ 124091 h 349382"/>
                <a:gd name="connsiteX581" fmla="*/ 2309190 w 2663946"/>
                <a:gd name="connsiteY581" fmla="*/ 129769 h 349382"/>
                <a:gd name="connsiteX582" fmla="*/ 2305134 w 2663946"/>
                <a:gd name="connsiteY582" fmla="*/ 131662 h 349382"/>
                <a:gd name="connsiteX583" fmla="*/ 2304864 w 2663946"/>
                <a:gd name="connsiteY583" fmla="*/ 131662 h 349382"/>
                <a:gd name="connsiteX584" fmla="*/ 2304593 w 2663946"/>
                <a:gd name="connsiteY584" fmla="*/ 131662 h 349382"/>
                <a:gd name="connsiteX585" fmla="*/ 2304052 w 2663946"/>
                <a:gd name="connsiteY585" fmla="*/ 131662 h 349382"/>
                <a:gd name="connsiteX586" fmla="*/ 2271877 w 2663946"/>
                <a:gd name="connsiteY586" fmla="*/ 131662 h 349382"/>
                <a:gd name="connsiteX587" fmla="*/ 2271337 w 2663946"/>
                <a:gd name="connsiteY587" fmla="*/ 131662 h 349382"/>
                <a:gd name="connsiteX588" fmla="*/ 2270525 w 2663946"/>
                <a:gd name="connsiteY588" fmla="*/ 131662 h 349382"/>
                <a:gd name="connsiteX589" fmla="*/ 2269714 w 2663946"/>
                <a:gd name="connsiteY589" fmla="*/ 131392 h 349382"/>
                <a:gd name="connsiteX590" fmla="*/ 2266199 w 2663946"/>
                <a:gd name="connsiteY590" fmla="*/ 129499 h 349382"/>
                <a:gd name="connsiteX591" fmla="*/ 2263766 w 2663946"/>
                <a:gd name="connsiteY591" fmla="*/ 123821 h 349382"/>
                <a:gd name="connsiteX592" fmla="*/ 2265929 w 2663946"/>
                <a:gd name="connsiteY592" fmla="*/ 118684 h 349382"/>
                <a:gd name="connsiteX593" fmla="*/ 2271607 w 2663946"/>
                <a:gd name="connsiteY593" fmla="*/ 116250 h 349382"/>
                <a:gd name="connsiteX594" fmla="*/ 2279448 w 2663946"/>
                <a:gd name="connsiteY594" fmla="*/ 116250 h 349382"/>
                <a:gd name="connsiteX595" fmla="*/ 2279989 w 2663946"/>
                <a:gd name="connsiteY595" fmla="*/ 115710 h 349382"/>
                <a:gd name="connsiteX596" fmla="*/ 2279989 w 2663946"/>
                <a:gd name="connsiteY596" fmla="*/ 69745 h 349382"/>
                <a:gd name="connsiteX597" fmla="*/ 2279448 w 2663946"/>
                <a:gd name="connsiteY597" fmla="*/ 69204 h 349382"/>
                <a:gd name="connsiteX598" fmla="*/ 2273500 w 2663946"/>
                <a:gd name="connsiteY598" fmla="*/ 69204 h 349382"/>
                <a:gd name="connsiteX599" fmla="*/ 2266199 w 2663946"/>
                <a:gd name="connsiteY599" fmla="*/ 64608 h 349382"/>
                <a:gd name="connsiteX600" fmla="*/ 2265929 w 2663946"/>
                <a:gd name="connsiteY600" fmla="*/ 58930 h 349382"/>
                <a:gd name="connsiteX601" fmla="*/ 2273229 w 2663946"/>
                <a:gd name="connsiteY601" fmla="*/ 53793 h 349382"/>
                <a:gd name="connsiteX602" fmla="*/ 2285396 w 2663946"/>
                <a:gd name="connsiteY602" fmla="*/ 53522 h 349382"/>
                <a:gd name="connsiteX603" fmla="*/ 1936416 w 2663946"/>
                <a:gd name="connsiteY603" fmla="*/ 53522 h 349382"/>
                <a:gd name="connsiteX604" fmla="*/ 1940472 w 2663946"/>
                <a:gd name="connsiteY604" fmla="*/ 53522 h 349382"/>
                <a:gd name="connsiteX605" fmla="*/ 1945068 w 2663946"/>
                <a:gd name="connsiteY605" fmla="*/ 55956 h 349382"/>
                <a:gd name="connsiteX606" fmla="*/ 1947232 w 2663946"/>
                <a:gd name="connsiteY606" fmla="*/ 62174 h 349382"/>
                <a:gd name="connsiteX607" fmla="*/ 1947232 w 2663946"/>
                <a:gd name="connsiteY607" fmla="*/ 62715 h 349382"/>
                <a:gd name="connsiteX608" fmla="*/ 1947232 w 2663946"/>
                <a:gd name="connsiteY608" fmla="*/ 115710 h 349382"/>
                <a:gd name="connsiteX609" fmla="*/ 1947772 w 2663946"/>
                <a:gd name="connsiteY609" fmla="*/ 116250 h 349382"/>
                <a:gd name="connsiteX610" fmla="*/ 1955072 w 2663946"/>
                <a:gd name="connsiteY610" fmla="*/ 116250 h 349382"/>
                <a:gd name="connsiteX611" fmla="*/ 1959128 w 2663946"/>
                <a:gd name="connsiteY611" fmla="*/ 117332 h 349382"/>
                <a:gd name="connsiteX612" fmla="*/ 1962913 w 2663946"/>
                <a:gd name="connsiteY612" fmla="*/ 124091 h 349382"/>
                <a:gd name="connsiteX613" fmla="*/ 1960210 w 2663946"/>
                <a:gd name="connsiteY613" fmla="*/ 129769 h 349382"/>
                <a:gd name="connsiteX614" fmla="*/ 1956154 w 2663946"/>
                <a:gd name="connsiteY614" fmla="*/ 131662 h 349382"/>
                <a:gd name="connsiteX615" fmla="*/ 1955884 w 2663946"/>
                <a:gd name="connsiteY615" fmla="*/ 131662 h 349382"/>
                <a:gd name="connsiteX616" fmla="*/ 1955613 w 2663946"/>
                <a:gd name="connsiteY616" fmla="*/ 131662 h 349382"/>
                <a:gd name="connsiteX617" fmla="*/ 1955072 w 2663946"/>
                <a:gd name="connsiteY617" fmla="*/ 131662 h 349382"/>
                <a:gd name="connsiteX618" fmla="*/ 1922897 w 2663946"/>
                <a:gd name="connsiteY618" fmla="*/ 131662 h 349382"/>
                <a:gd name="connsiteX619" fmla="*/ 1922357 w 2663946"/>
                <a:gd name="connsiteY619" fmla="*/ 131662 h 349382"/>
                <a:gd name="connsiteX620" fmla="*/ 1921545 w 2663946"/>
                <a:gd name="connsiteY620" fmla="*/ 131662 h 349382"/>
                <a:gd name="connsiteX621" fmla="*/ 1920734 w 2663946"/>
                <a:gd name="connsiteY621" fmla="*/ 131392 h 349382"/>
                <a:gd name="connsiteX622" fmla="*/ 1917219 w 2663946"/>
                <a:gd name="connsiteY622" fmla="*/ 129499 h 349382"/>
                <a:gd name="connsiteX623" fmla="*/ 1914786 w 2663946"/>
                <a:gd name="connsiteY623" fmla="*/ 123821 h 349382"/>
                <a:gd name="connsiteX624" fmla="*/ 1916949 w 2663946"/>
                <a:gd name="connsiteY624" fmla="*/ 118684 h 349382"/>
                <a:gd name="connsiteX625" fmla="*/ 1922627 w 2663946"/>
                <a:gd name="connsiteY625" fmla="*/ 116250 h 349382"/>
                <a:gd name="connsiteX626" fmla="*/ 1930468 w 2663946"/>
                <a:gd name="connsiteY626" fmla="*/ 116250 h 349382"/>
                <a:gd name="connsiteX627" fmla="*/ 1931009 w 2663946"/>
                <a:gd name="connsiteY627" fmla="*/ 115710 h 349382"/>
                <a:gd name="connsiteX628" fmla="*/ 1931009 w 2663946"/>
                <a:gd name="connsiteY628" fmla="*/ 69745 h 349382"/>
                <a:gd name="connsiteX629" fmla="*/ 1930468 w 2663946"/>
                <a:gd name="connsiteY629" fmla="*/ 69204 h 349382"/>
                <a:gd name="connsiteX630" fmla="*/ 1924520 w 2663946"/>
                <a:gd name="connsiteY630" fmla="*/ 69204 h 349382"/>
                <a:gd name="connsiteX631" fmla="*/ 1917219 w 2663946"/>
                <a:gd name="connsiteY631" fmla="*/ 64608 h 349382"/>
                <a:gd name="connsiteX632" fmla="*/ 1916949 w 2663946"/>
                <a:gd name="connsiteY632" fmla="*/ 58930 h 349382"/>
                <a:gd name="connsiteX633" fmla="*/ 1924249 w 2663946"/>
                <a:gd name="connsiteY633" fmla="*/ 53793 h 349382"/>
                <a:gd name="connsiteX634" fmla="*/ 1936416 w 2663946"/>
                <a:gd name="connsiteY634" fmla="*/ 53522 h 349382"/>
                <a:gd name="connsiteX635" fmla="*/ 1678521 w 2663946"/>
                <a:gd name="connsiteY635" fmla="*/ 53522 h 349382"/>
                <a:gd name="connsiteX636" fmla="*/ 1682577 w 2663946"/>
                <a:gd name="connsiteY636" fmla="*/ 53522 h 349382"/>
                <a:gd name="connsiteX637" fmla="*/ 1687173 w 2663946"/>
                <a:gd name="connsiteY637" fmla="*/ 55956 h 349382"/>
                <a:gd name="connsiteX638" fmla="*/ 1689336 w 2663946"/>
                <a:gd name="connsiteY638" fmla="*/ 62174 h 349382"/>
                <a:gd name="connsiteX639" fmla="*/ 1689336 w 2663946"/>
                <a:gd name="connsiteY639" fmla="*/ 62715 h 349382"/>
                <a:gd name="connsiteX640" fmla="*/ 1689336 w 2663946"/>
                <a:gd name="connsiteY640" fmla="*/ 115710 h 349382"/>
                <a:gd name="connsiteX641" fmla="*/ 1689877 w 2663946"/>
                <a:gd name="connsiteY641" fmla="*/ 116250 h 349382"/>
                <a:gd name="connsiteX642" fmla="*/ 1697177 w 2663946"/>
                <a:gd name="connsiteY642" fmla="*/ 116250 h 349382"/>
                <a:gd name="connsiteX643" fmla="*/ 1701233 w 2663946"/>
                <a:gd name="connsiteY643" fmla="*/ 117332 h 349382"/>
                <a:gd name="connsiteX644" fmla="*/ 1705018 w 2663946"/>
                <a:gd name="connsiteY644" fmla="*/ 124091 h 349382"/>
                <a:gd name="connsiteX645" fmla="*/ 1702315 w 2663946"/>
                <a:gd name="connsiteY645" fmla="*/ 129769 h 349382"/>
                <a:gd name="connsiteX646" fmla="*/ 1698259 w 2663946"/>
                <a:gd name="connsiteY646" fmla="*/ 131662 h 349382"/>
                <a:gd name="connsiteX647" fmla="*/ 1697989 w 2663946"/>
                <a:gd name="connsiteY647" fmla="*/ 131662 h 349382"/>
                <a:gd name="connsiteX648" fmla="*/ 1697718 w 2663946"/>
                <a:gd name="connsiteY648" fmla="*/ 131662 h 349382"/>
                <a:gd name="connsiteX649" fmla="*/ 1697177 w 2663946"/>
                <a:gd name="connsiteY649" fmla="*/ 131662 h 349382"/>
                <a:gd name="connsiteX650" fmla="*/ 1665002 w 2663946"/>
                <a:gd name="connsiteY650" fmla="*/ 131662 h 349382"/>
                <a:gd name="connsiteX651" fmla="*/ 1664462 w 2663946"/>
                <a:gd name="connsiteY651" fmla="*/ 131662 h 349382"/>
                <a:gd name="connsiteX652" fmla="*/ 1663650 w 2663946"/>
                <a:gd name="connsiteY652" fmla="*/ 131662 h 349382"/>
                <a:gd name="connsiteX653" fmla="*/ 1662839 w 2663946"/>
                <a:gd name="connsiteY653" fmla="*/ 131392 h 349382"/>
                <a:gd name="connsiteX654" fmla="*/ 1659324 w 2663946"/>
                <a:gd name="connsiteY654" fmla="*/ 129499 h 349382"/>
                <a:gd name="connsiteX655" fmla="*/ 1656891 w 2663946"/>
                <a:gd name="connsiteY655" fmla="*/ 123821 h 349382"/>
                <a:gd name="connsiteX656" fmla="*/ 1659054 w 2663946"/>
                <a:gd name="connsiteY656" fmla="*/ 118684 h 349382"/>
                <a:gd name="connsiteX657" fmla="*/ 1664732 w 2663946"/>
                <a:gd name="connsiteY657" fmla="*/ 116250 h 349382"/>
                <a:gd name="connsiteX658" fmla="*/ 1672573 w 2663946"/>
                <a:gd name="connsiteY658" fmla="*/ 116250 h 349382"/>
                <a:gd name="connsiteX659" fmla="*/ 1673114 w 2663946"/>
                <a:gd name="connsiteY659" fmla="*/ 115710 h 349382"/>
                <a:gd name="connsiteX660" fmla="*/ 1673114 w 2663946"/>
                <a:gd name="connsiteY660" fmla="*/ 69745 h 349382"/>
                <a:gd name="connsiteX661" fmla="*/ 1672573 w 2663946"/>
                <a:gd name="connsiteY661" fmla="*/ 69204 h 349382"/>
                <a:gd name="connsiteX662" fmla="*/ 1666625 w 2663946"/>
                <a:gd name="connsiteY662" fmla="*/ 69204 h 349382"/>
                <a:gd name="connsiteX663" fmla="*/ 1659324 w 2663946"/>
                <a:gd name="connsiteY663" fmla="*/ 64608 h 349382"/>
                <a:gd name="connsiteX664" fmla="*/ 1659054 w 2663946"/>
                <a:gd name="connsiteY664" fmla="*/ 58930 h 349382"/>
                <a:gd name="connsiteX665" fmla="*/ 1666354 w 2663946"/>
                <a:gd name="connsiteY665" fmla="*/ 53793 h 349382"/>
                <a:gd name="connsiteX666" fmla="*/ 1678521 w 2663946"/>
                <a:gd name="connsiteY666" fmla="*/ 53522 h 349382"/>
                <a:gd name="connsiteX667" fmla="*/ 1329614 w 2663946"/>
                <a:gd name="connsiteY667" fmla="*/ 53522 h 349382"/>
                <a:gd name="connsiteX668" fmla="*/ 1333670 w 2663946"/>
                <a:gd name="connsiteY668" fmla="*/ 53522 h 349382"/>
                <a:gd name="connsiteX669" fmla="*/ 1338266 w 2663946"/>
                <a:gd name="connsiteY669" fmla="*/ 55956 h 349382"/>
                <a:gd name="connsiteX670" fmla="*/ 1340429 w 2663946"/>
                <a:gd name="connsiteY670" fmla="*/ 62174 h 349382"/>
                <a:gd name="connsiteX671" fmla="*/ 1340429 w 2663946"/>
                <a:gd name="connsiteY671" fmla="*/ 62715 h 349382"/>
                <a:gd name="connsiteX672" fmla="*/ 1340429 w 2663946"/>
                <a:gd name="connsiteY672" fmla="*/ 115710 h 349382"/>
                <a:gd name="connsiteX673" fmla="*/ 1340970 w 2663946"/>
                <a:gd name="connsiteY673" fmla="*/ 116250 h 349382"/>
                <a:gd name="connsiteX674" fmla="*/ 1348270 w 2663946"/>
                <a:gd name="connsiteY674" fmla="*/ 116250 h 349382"/>
                <a:gd name="connsiteX675" fmla="*/ 1352326 w 2663946"/>
                <a:gd name="connsiteY675" fmla="*/ 117332 h 349382"/>
                <a:gd name="connsiteX676" fmla="*/ 1356111 w 2663946"/>
                <a:gd name="connsiteY676" fmla="*/ 124091 h 349382"/>
                <a:gd name="connsiteX677" fmla="*/ 1353408 w 2663946"/>
                <a:gd name="connsiteY677" fmla="*/ 129769 h 349382"/>
                <a:gd name="connsiteX678" fmla="*/ 1349352 w 2663946"/>
                <a:gd name="connsiteY678" fmla="*/ 131662 h 349382"/>
                <a:gd name="connsiteX679" fmla="*/ 1349082 w 2663946"/>
                <a:gd name="connsiteY679" fmla="*/ 131662 h 349382"/>
                <a:gd name="connsiteX680" fmla="*/ 1348811 w 2663946"/>
                <a:gd name="connsiteY680" fmla="*/ 131662 h 349382"/>
                <a:gd name="connsiteX681" fmla="*/ 1348270 w 2663946"/>
                <a:gd name="connsiteY681" fmla="*/ 131662 h 349382"/>
                <a:gd name="connsiteX682" fmla="*/ 1316095 w 2663946"/>
                <a:gd name="connsiteY682" fmla="*/ 131662 h 349382"/>
                <a:gd name="connsiteX683" fmla="*/ 1315555 w 2663946"/>
                <a:gd name="connsiteY683" fmla="*/ 131662 h 349382"/>
                <a:gd name="connsiteX684" fmla="*/ 1314743 w 2663946"/>
                <a:gd name="connsiteY684" fmla="*/ 131662 h 349382"/>
                <a:gd name="connsiteX685" fmla="*/ 1313932 w 2663946"/>
                <a:gd name="connsiteY685" fmla="*/ 131392 h 349382"/>
                <a:gd name="connsiteX686" fmla="*/ 1310417 w 2663946"/>
                <a:gd name="connsiteY686" fmla="*/ 129499 h 349382"/>
                <a:gd name="connsiteX687" fmla="*/ 1307984 w 2663946"/>
                <a:gd name="connsiteY687" fmla="*/ 123821 h 349382"/>
                <a:gd name="connsiteX688" fmla="*/ 1310147 w 2663946"/>
                <a:gd name="connsiteY688" fmla="*/ 118684 h 349382"/>
                <a:gd name="connsiteX689" fmla="*/ 1315825 w 2663946"/>
                <a:gd name="connsiteY689" fmla="*/ 116250 h 349382"/>
                <a:gd name="connsiteX690" fmla="*/ 1323666 w 2663946"/>
                <a:gd name="connsiteY690" fmla="*/ 116250 h 349382"/>
                <a:gd name="connsiteX691" fmla="*/ 1324207 w 2663946"/>
                <a:gd name="connsiteY691" fmla="*/ 115710 h 349382"/>
                <a:gd name="connsiteX692" fmla="*/ 1324207 w 2663946"/>
                <a:gd name="connsiteY692" fmla="*/ 69745 h 349382"/>
                <a:gd name="connsiteX693" fmla="*/ 1323666 w 2663946"/>
                <a:gd name="connsiteY693" fmla="*/ 69204 h 349382"/>
                <a:gd name="connsiteX694" fmla="*/ 1317718 w 2663946"/>
                <a:gd name="connsiteY694" fmla="*/ 69204 h 349382"/>
                <a:gd name="connsiteX695" fmla="*/ 1310417 w 2663946"/>
                <a:gd name="connsiteY695" fmla="*/ 64608 h 349382"/>
                <a:gd name="connsiteX696" fmla="*/ 1310147 w 2663946"/>
                <a:gd name="connsiteY696" fmla="*/ 58930 h 349382"/>
                <a:gd name="connsiteX697" fmla="*/ 1317447 w 2663946"/>
                <a:gd name="connsiteY697" fmla="*/ 53793 h 349382"/>
                <a:gd name="connsiteX698" fmla="*/ 1329614 w 2663946"/>
                <a:gd name="connsiteY698" fmla="*/ 53522 h 349382"/>
                <a:gd name="connsiteX699" fmla="*/ 980634 w 2663946"/>
                <a:gd name="connsiteY699" fmla="*/ 53522 h 349382"/>
                <a:gd name="connsiteX700" fmla="*/ 984690 w 2663946"/>
                <a:gd name="connsiteY700" fmla="*/ 53522 h 349382"/>
                <a:gd name="connsiteX701" fmla="*/ 989286 w 2663946"/>
                <a:gd name="connsiteY701" fmla="*/ 55956 h 349382"/>
                <a:gd name="connsiteX702" fmla="*/ 991449 w 2663946"/>
                <a:gd name="connsiteY702" fmla="*/ 62174 h 349382"/>
                <a:gd name="connsiteX703" fmla="*/ 991449 w 2663946"/>
                <a:gd name="connsiteY703" fmla="*/ 62715 h 349382"/>
                <a:gd name="connsiteX704" fmla="*/ 991449 w 2663946"/>
                <a:gd name="connsiteY704" fmla="*/ 115710 h 349382"/>
                <a:gd name="connsiteX705" fmla="*/ 991990 w 2663946"/>
                <a:gd name="connsiteY705" fmla="*/ 116250 h 349382"/>
                <a:gd name="connsiteX706" fmla="*/ 999290 w 2663946"/>
                <a:gd name="connsiteY706" fmla="*/ 116250 h 349382"/>
                <a:gd name="connsiteX707" fmla="*/ 1003346 w 2663946"/>
                <a:gd name="connsiteY707" fmla="*/ 117332 h 349382"/>
                <a:gd name="connsiteX708" fmla="*/ 1007131 w 2663946"/>
                <a:gd name="connsiteY708" fmla="*/ 124091 h 349382"/>
                <a:gd name="connsiteX709" fmla="*/ 1004428 w 2663946"/>
                <a:gd name="connsiteY709" fmla="*/ 129769 h 349382"/>
                <a:gd name="connsiteX710" fmla="*/ 1000372 w 2663946"/>
                <a:gd name="connsiteY710" fmla="*/ 131662 h 349382"/>
                <a:gd name="connsiteX711" fmla="*/ 1000102 w 2663946"/>
                <a:gd name="connsiteY711" fmla="*/ 131662 h 349382"/>
                <a:gd name="connsiteX712" fmla="*/ 999831 w 2663946"/>
                <a:gd name="connsiteY712" fmla="*/ 131662 h 349382"/>
                <a:gd name="connsiteX713" fmla="*/ 999290 w 2663946"/>
                <a:gd name="connsiteY713" fmla="*/ 131662 h 349382"/>
                <a:gd name="connsiteX714" fmla="*/ 967115 w 2663946"/>
                <a:gd name="connsiteY714" fmla="*/ 131662 h 349382"/>
                <a:gd name="connsiteX715" fmla="*/ 966575 w 2663946"/>
                <a:gd name="connsiteY715" fmla="*/ 131662 h 349382"/>
                <a:gd name="connsiteX716" fmla="*/ 965763 w 2663946"/>
                <a:gd name="connsiteY716" fmla="*/ 131662 h 349382"/>
                <a:gd name="connsiteX717" fmla="*/ 964952 w 2663946"/>
                <a:gd name="connsiteY717" fmla="*/ 131392 h 349382"/>
                <a:gd name="connsiteX718" fmla="*/ 961437 w 2663946"/>
                <a:gd name="connsiteY718" fmla="*/ 129499 h 349382"/>
                <a:gd name="connsiteX719" fmla="*/ 959004 w 2663946"/>
                <a:gd name="connsiteY719" fmla="*/ 123821 h 349382"/>
                <a:gd name="connsiteX720" fmla="*/ 961167 w 2663946"/>
                <a:gd name="connsiteY720" fmla="*/ 118684 h 349382"/>
                <a:gd name="connsiteX721" fmla="*/ 966845 w 2663946"/>
                <a:gd name="connsiteY721" fmla="*/ 116250 h 349382"/>
                <a:gd name="connsiteX722" fmla="*/ 974686 w 2663946"/>
                <a:gd name="connsiteY722" fmla="*/ 116250 h 349382"/>
                <a:gd name="connsiteX723" fmla="*/ 975227 w 2663946"/>
                <a:gd name="connsiteY723" fmla="*/ 115710 h 349382"/>
                <a:gd name="connsiteX724" fmla="*/ 975227 w 2663946"/>
                <a:gd name="connsiteY724" fmla="*/ 69745 h 349382"/>
                <a:gd name="connsiteX725" fmla="*/ 974686 w 2663946"/>
                <a:gd name="connsiteY725" fmla="*/ 69204 h 349382"/>
                <a:gd name="connsiteX726" fmla="*/ 968738 w 2663946"/>
                <a:gd name="connsiteY726" fmla="*/ 69204 h 349382"/>
                <a:gd name="connsiteX727" fmla="*/ 961437 w 2663946"/>
                <a:gd name="connsiteY727" fmla="*/ 64608 h 349382"/>
                <a:gd name="connsiteX728" fmla="*/ 961167 w 2663946"/>
                <a:gd name="connsiteY728" fmla="*/ 58930 h 349382"/>
                <a:gd name="connsiteX729" fmla="*/ 968467 w 2663946"/>
                <a:gd name="connsiteY729" fmla="*/ 53793 h 349382"/>
                <a:gd name="connsiteX730" fmla="*/ 980634 w 2663946"/>
                <a:gd name="connsiteY730" fmla="*/ 53522 h 349382"/>
                <a:gd name="connsiteX731" fmla="*/ 813605 w 2663946"/>
                <a:gd name="connsiteY731" fmla="*/ 53522 h 349382"/>
                <a:gd name="connsiteX732" fmla="*/ 817661 w 2663946"/>
                <a:gd name="connsiteY732" fmla="*/ 53522 h 349382"/>
                <a:gd name="connsiteX733" fmla="*/ 822257 w 2663946"/>
                <a:gd name="connsiteY733" fmla="*/ 55956 h 349382"/>
                <a:gd name="connsiteX734" fmla="*/ 824420 w 2663946"/>
                <a:gd name="connsiteY734" fmla="*/ 62174 h 349382"/>
                <a:gd name="connsiteX735" fmla="*/ 824420 w 2663946"/>
                <a:gd name="connsiteY735" fmla="*/ 62715 h 349382"/>
                <a:gd name="connsiteX736" fmla="*/ 824420 w 2663946"/>
                <a:gd name="connsiteY736" fmla="*/ 115710 h 349382"/>
                <a:gd name="connsiteX737" fmla="*/ 824961 w 2663946"/>
                <a:gd name="connsiteY737" fmla="*/ 116250 h 349382"/>
                <a:gd name="connsiteX738" fmla="*/ 832261 w 2663946"/>
                <a:gd name="connsiteY738" fmla="*/ 116250 h 349382"/>
                <a:gd name="connsiteX739" fmla="*/ 836317 w 2663946"/>
                <a:gd name="connsiteY739" fmla="*/ 117332 h 349382"/>
                <a:gd name="connsiteX740" fmla="*/ 840102 w 2663946"/>
                <a:gd name="connsiteY740" fmla="*/ 124091 h 349382"/>
                <a:gd name="connsiteX741" fmla="*/ 837399 w 2663946"/>
                <a:gd name="connsiteY741" fmla="*/ 129769 h 349382"/>
                <a:gd name="connsiteX742" fmla="*/ 833343 w 2663946"/>
                <a:gd name="connsiteY742" fmla="*/ 131662 h 349382"/>
                <a:gd name="connsiteX743" fmla="*/ 833073 w 2663946"/>
                <a:gd name="connsiteY743" fmla="*/ 131662 h 349382"/>
                <a:gd name="connsiteX744" fmla="*/ 832802 w 2663946"/>
                <a:gd name="connsiteY744" fmla="*/ 131662 h 349382"/>
                <a:gd name="connsiteX745" fmla="*/ 832261 w 2663946"/>
                <a:gd name="connsiteY745" fmla="*/ 131662 h 349382"/>
                <a:gd name="connsiteX746" fmla="*/ 800086 w 2663946"/>
                <a:gd name="connsiteY746" fmla="*/ 131662 h 349382"/>
                <a:gd name="connsiteX747" fmla="*/ 799546 w 2663946"/>
                <a:gd name="connsiteY747" fmla="*/ 131662 h 349382"/>
                <a:gd name="connsiteX748" fmla="*/ 798734 w 2663946"/>
                <a:gd name="connsiteY748" fmla="*/ 131662 h 349382"/>
                <a:gd name="connsiteX749" fmla="*/ 797923 w 2663946"/>
                <a:gd name="connsiteY749" fmla="*/ 131392 h 349382"/>
                <a:gd name="connsiteX750" fmla="*/ 794408 w 2663946"/>
                <a:gd name="connsiteY750" fmla="*/ 129499 h 349382"/>
                <a:gd name="connsiteX751" fmla="*/ 791975 w 2663946"/>
                <a:gd name="connsiteY751" fmla="*/ 123821 h 349382"/>
                <a:gd name="connsiteX752" fmla="*/ 794138 w 2663946"/>
                <a:gd name="connsiteY752" fmla="*/ 118684 h 349382"/>
                <a:gd name="connsiteX753" fmla="*/ 799816 w 2663946"/>
                <a:gd name="connsiteY753" fmla="*/ 116250 h 349382"/>
                <a:gd name="connsiteX754" fmla="*/ 807657 w 2663946"/>
                <a:gd name="connsiteY754" fmla="*/ 116250 h 349382"/>
                <a:gd name="connsiteX755" fmla="*/ 808198 w 2663946"/>
                <a:gd name="connsiteY755" fmla="*/ 115710 h 349382"/>
                <a:gd name="connsiteX756" fmla="*/ 808198 w 2663946"/>
                <a:gd name="connsiteY756" fmla="*/ 69745 h 349382"/>
                <a:gd name="connsiteX757" fmla="*/ 807657 w 2663946"/>
                <a:gd name="connsiteY757" fmla="*/ 69204 h 349382"/>
                <a:gd name="connsiteX758" fmla="*/ 801709 w 2663946"/>
                <a:gd name="connsiteY758" fmla="*/ 69204 h 349382"/>
                <a:gd name="connsiteX759" fmla="*/ 794408 w 2663946"/>
                <a:gd name="connsiteY759" fmla="*/ 64608 h 349382"/>
                <a:gd name="connsiteX760" fmla="*/ 794138 w 2663946"/>
                <a:gd name="connsiteY760" fmla="*/ 58930 h 349382"/>
                <a:gd name="connsiteX761" fmla="*/ 801438 w 2663946"/>
                <a:gd name="connsiteY761" fmla="*/ 53793 h 349382"/>
                <a:gd name="connsiteX762" fmla="*/ 813605 w 2663946"/>
                <a:gd name="connsiteY762" fmla="*/ 53522 h 349382"/>
                <a:gd name="connsiteX763" fmla="*/ 282748 w 2663946"/>
                <a:gd name="connsiteY763" fmla="*/ 53522 h 349382"/>
                <a:gd name="connsiteX764" fmla="*/ 286803 w 2663946"/>
                <a:gd name="connsiteY764" fmla="*/ 53522 h 349382"/>
                <a:gd name="connsiteX765" fmla="*/ 291400 w 2663946"/>
                <a:gd name="connsiteY765" fmla="*/ 55956 h 349382"/>
                <a:gd name="connsiteX766" fmla="*/ 293563 w 2663946"/>
                <a:gd name="connsiteY766" fmla="*/ 62174 h 349382"/>
                <a:gd name="connsiteX767" fmla="*/ 293563 w 2663946"/>
                <a:gd name="connsiteY767" fmla="*/ 62715 h 349382"/>
                <a:gd name="connsiteX768" fmla="*/ 293563 w 2663946"/>
                <a:gd name="connsiteY768" fmla="*/ 115710 h 349382"/>
                <a:gd name="connsiteX769" fmla="*/ 294104 w 2663946"/>
                <a:gd name="connsiteY769" fmla="*/ 116250 h 349382"/>
                <a:gd name="connsiteX770" fmla="*/ 301404 w 2663946"/>
                <a:gd name="connsiteY770" fmla="*/ 116250 h 349382"/>
                <a:gd name="connsiteX771" fmla="*/ 305460 w 2663946"/>
                <a:gd name="connsiteY771" fmla="*/ 117332 h 349382"/>
                <a:gd name="connsiteX772" fmla="*/ 309245 w 2663946"/>
                <a:gd name="connsiteY772" fmla="*/ 124091 h 349382"/>
                <a:gd name="connsiteX773" fmla="*/ 306541 w 2663946"/>
                <a:gd name="connsiteY773" fmla="*/ 129769 h 349382"/>
                <a:gd name="connsiteX774" fmla="*/ 302485 w 2663946"/>
                <a:gd name="connsiteY774" fmla="*/ 131662 h 349382"/>
                <a:gd name="connsiteX775" fmla="*/ 302215 w 2663946"/>
                <a:gd name="connsiteY775" fmla="*/ 131662 h 349382"/>
                <a:gd name="connsiteX776" fmla="*/ 301945 w 2663946"/>
                <a:gd name="connsiteY776" fmla="*/ 131662 h 349382"/>
                <a:gd name="connsiteX777" fmla="*/ 301404 w 2663946"/>
                <a:gd name="connsiteY777" fmla="*/ 131662 h 349382"/>
                <a:gd name="connsiteX778" fmla="*/ 269229 w 2663946"/>
                <a:gd name="connsiteY778" fmla="*/ 131662 h 349382"/>
                <a:gd name="connsiteX779" fmla="*/ 268688 w 2663946"/>
                <a:gd name="connsiteY779" fmla="*/ 131662 h 349382"/>
                <a:gd name="connsiteX780" fmla="*/ 267877 w 2663946"/>
                <a:gd name="connsiteY780" fmla="*/ 131662 h 349382"/>
                <a:gd name="connsiteX781" fmla="*/ 267066 w 2663946"/>
                <a:gd name="connsiteY781" fmla="*/ 131392 h 349382"/>
                <a:gd name="connsiteX782" fmla="*/ 263551 w 2663946"/>
                <a:gd name="connsiteY782" fmla="*/ 129499 h 349382"/>
                <a:gd name="connsiteX783" fmla="*/ 261117 w 2663946"/>
                <a:gd name="connsiteY783" fmla="*/ 123821 h 349382"/>
                <a:gd name="connsiteX784" fmla="*/ 263281 w 2663946"/>
                <a:gd name="connsiteY784" fmla="*/ 118684 h 349382"/>
                <a:gd name="connsiteX785" fmla="*/ 268958 w 2663946"/>
                <a:gd name="connsiteY785" fmla="*/ 116250 h 349382"/>
                <a:gd name="connsiteX786" fmla="*/ 276800 w 2663946"/>
                <a:gd name="connsiteY786" fmla="*/ 116250 h 349382"/>
                <a:gd name="connsiteX787" fmla="*/ 277340 w 2663946"/>
                <a:gd name="connsiteY787" fmla="*/ 115710 h 349382"/>
                <a:gd name="connsiteX788" fmla="*/ 277340 w 2663946"/>
                <a:gd name="connsiteY788" fmla="*/ 69745 h 349382"/>
                <a:gd name="connsiteX789" fmla="*/ 276800 w 2663946"/>
                <a:gd name="connsiteY789" fmla="*/ 69204 h 349382"/>
                <a:gd name="connsiteX790" fmla="*/ 270851 w 2663946"/>
                <a:gd name="connsiteY790" fmla="*/ 69204 h 349382"/>
                <a:gd name="connsiteX791" fmla="*/ 263551 w 2663946"/>
                <a:gd name="connsiteY791" fmla="*/ 64608 h 349382"/>
                <a:gd name="connsiteX792" fmla="*/ 263281 w 2663946"/>
                <a:gd name="connsiteY792" fmla="*/ 58930 h 349382"/>
                <a:gd name="connsiteX793" fmla="*/ 270581 w 2663946"/>
                <a:gd name="connsiteY793" fmla="*/ 53793 h 349382"/>
                <a:gd name="connsiteX794" fmla="*/ 282748 w 2663946"/>
                <a:gd name="connsiteY794" fmla="*/ 53522 h 349382"/>
                <a:gd name="connsiteX795" fmla="*/ 206731 w 2663946"/>
                <a:gd name="connsiteY795" fmla="*/ 53522 h 349382"/>
                <a:gd name="connsiteX796" fmla="*/ 210787 w 2663946"/>
                <a:gd name="connsiteY796" fmla="*/ 53522 h 349382"/>
                <a:gd name="connsiteX797" fmla="*/ 215383 w 2663946"/>
                <a:gd name="connsiteY797" fmla="*/ 55956 h 349382"/>
                <a:gd name="connsiteX798" fmla="*/ 217546 w 2663946"/>
                <a:gd name="connsiteY798" fmla="*/ 62174 h 349382"/>
                <a:gd name="connsiteX799" fmla="*/ 217546 w 2663946"/>
                <a:gd name="connsiteY799" fmla="*/ 62715 h 349382"/>
                <a:gd name="connsiteX800" fmla="*/ 217546 w 2663946"/>
                <a:gd name="connsiteY800" fmla="*/ 115710 h 349382"/>
                <a:gd name="connsiteX801" fmla="*/ 218087 w 2663946"/>
                <a:gd name="connsiteY801" fmla="*/ 116250 h 349382"/>
                <a:gd name="connsiteX802" fmla="*/ 225387 w 2663946"/>
                <a:gd name="connsiteY802" fmla="*/ 116250 h 349382"/>
                <a:gd name="connsiteX803" fmla="*/ 229443 w 2663946"/>
                <a:gd name="connsiteY803" fmla="*/ 117332 h 349382"/>
                <a:gd name="connsiteX804" fmla="*/ 233228 w 2663946"/>
                <a:gd name="connsiteY804" fmla="*/ 124091 h 349382"/>
                <a:gd name="connsiteX805" fmla="*/ 230524 w 2663946"/>
                <a:gd name="connsiteY805" fmla="*/ 129769 h 349382"/>
                <a:gd name="connsiteX806" fmla="*/ 226468 w 2663946"/>
                <a:gd name="connsiteY806" fmla="*/ 131662 h 349382"/>
                <a:gd name="connsiteX807" fmla="*/ 226198 w 2663946"/>
                <a:gd name="connsiteY807" fmla="*/ 131662 h 349382"/>
                <a:gd name="connsiteX808" fmla="*/ 225928 w 2663946"/>
                <a:gd name="connsiteY808" fmla="*/ 131662 h 349382"/>
                <a:gd name="connsiteX809" fmla="*/ 225387 w 2663946"/>
                <a:gd name="connsiteY809" fmla="*/ 131662 h 349382"/>
                <a:gd name="connsiteX810" fmla="*/ 193212 w 2663946"/>
                <a:gd name="connsiteY810" fmla="*/ 131662 h 349382"/>
                <a:gd name="connsiteX811" fmla="*/ 192671 w 2663946"/>
                <a:gd name="connsiteY811" fmla="*/ 131662 h 349382"/>
                <a:gd name="connsiteX812" fmla="*/ 191860 w 2663946"/>
                <a:gd name="connsiteY812" fmla="*/ 131662 h 349382"/>
                <a:gd name="connsiteX813" fmla="*/ 191049 w 2663946"/>
                <a:gd name="connsiteY813" fmla="*/ 131392 h 349382"/>
                <a:gd name="connsiteX814" fmla="*/ 187534 w 2663946"/>
                <a:gd name="connsiteY814" fmla="*/ 129499 h 349382"/>
                <a:gd name="connsiteX815" fmla="*/ 185101 w 2663946"/>
                <a:gd name="connsiteY815" fmla="*/ 123821 h 349382"/>
                <a:gd name="connsiteX816" fmla="*/ 187264 w 2663946"/>
                <a:gd name="connsiteY816" fmla="*/ 118684 h 349382"/>
                <a:gd name="connsiteX817" fmla="*/ 192942 w 2663946"/>
                <a:gd name="connsiteY817" fmla="*/ 116250 h 349382"/>
                <a:gd name="connsiteX818" fmla="*/ 200783 w 2663946"/>
                <a:gd name="connsiteY818" fmla="*/ 116250 h 349382"/>
                <a:gd name="connsiteX819" fmla="*/ 201323 w 2663946"/>
                <a:gd name="connsiteY819" fmla="*/ 115710 h 349382"/>
                <a:gd name="connsiteX820" fmla="*/ 201323 w 2663946"/>
                <a:gd name="connsiteY820" fmla="*/ 69745 h 349382"/>
                <a:gd name="connsiteX821" fmla="*/ 200783 w 2663946"/>
                <a:gd name="connsiteY821" fmla="*/ 69204 h 349382"/>
                <a:gd name="connsiteX822" fmla="*/ 194834 w 2663946"/>
                <a:gd name="connsiteY822" fmla="*/ 69204 h 349382"/>
                <a:gd name="connsiteX823" fmla="*/ 187534 w 2663946"/>
                <a:gd name="connsiteY823" fmla="*/ 64608 h 349382"/>
                <a:gd name="connsiteX824" fmla="*/ 187264 w 2663946"/>
                <a:gd name="connsiteY824" fmla="*/ 58930 h 349382"/>
                <a:gd name="connsiteX825" fmla="*/ 194564 w 2663946"/>
                <a:gd name="connsiteY825" fmla="*/ 53793 h 349382"/>
                <a:gd name="connsiteX826" fmla="*/ 206731 w 2663946"/>
                <a:gd name="connsiteY826" fmla="*/ 53522 h 349382"/>
                <a:gd name="connsiteX827" fmla="*/ 2627559 w 2663946"/>
                <a:gd name="connsiteY827" fmla="*/ 53453 h 349382"/>
                <a:gd name="connsiteX828" fmla="*/ 2639849 w 2663946"/>
                <a:gd name="connsiteY828" fmla="*/ 55616 h 349382"/>
                <a:gd name="connsiteX829" fmla="*/ 2647223 w 2663946"/>
                <a:gd name="connsiteY829" fmla="*/ 60213 h 349382"/>
                <a:gd name="connsiteX830" fmla="*/ 2650664 w 2663946"/>
                <a:gd name="connsiteY830" fmla="*/ 63457 h 349382"/>
                <a:gd name="connsiteX831" fmla="*/ 2654106 w 2663946"/>
                <a:gd name="connsiteY831" fmla="*/ 67783 h 349382"/>
                <a:gd name="connsiteX832" fmla="*/ 2656072 w 2663946"/>
                <a:gd name="connsiteY832" fmla="*/ 71298 h 349382"/>
                <a:gd name="connsiteX833" fmla="*/ 2658284 w 2663946"/>
                <a:gd name="connsiteY833" fmla="*/ 76706 h 349382"/>
                <a:gd name="connsiteX834" fmla="*/ 2659267 w 2663946"/>
                <a:gd name="connsiteY834" fmla="*/ 80221 h 349382"/>
                <a:gd name="connsiteX835" fmla="*/ 2660251 w 2663946"/>
                <a:gd name="connsiteY835" fmla="*/ 85358 h 349382"/>
                <a:gd name="connsiteX836" fmla="*/ 2660005 w 2663946"/>
                <a:gd name="connsiteY836" fmla="*/ 99688 h 349382"/>
                <a:gd name="connsiteX837" fmla="*/ 2659022 w 2663946"/>
                <a:gd name="connsiteY837" fmla="*/ 104555 h 349382"/>
                <a:gd name="connsiteX838" fmla="*/ 2657792 w 2663946"/>
                <a:gd name="connsiteY838" fmla="*/ 108340 h 349382"/>
                <a:gd name="connsiteX839" fmla="*/ 2656809 w 2663946"/>
                <a:gd name="connsiteY839" fmla="*/ 110774 h 349382"/>
                <a:gd name="connsiteX840" fmla="*/ 2654597 w 2663946"/>
                <a:gd name="connsiteY840" fmla="*/ 115100 h 349382"/>
                <a:gd name="connsiteX841" fmla="*/ 2652385 w 2663946"/>
                <a:gd name="connsiteY841" fmla="*/ 118344 h 349382"/>
                <a:gd name="connsiteX842" fmla="*/ 2648944 w 2663946"/>
                <a:gd name="connsiteY842" fmla="*/ 122130 h 349382"/>
                <a:gd name="connsiteX843" fmla="*/ 2645748 w 2663946"/>
                <a:gd name="connsiteY843" fmla="*/ 124833 h 349382"/>
                <a:gd name="connsiteX844" fmla="*/ 2640095 w 2663946"/>
                <a:gd name="connsiteY844" fmla="*/ 128078 h 349382"/>
                <a:gd name="connsiteX845" fmla="*/ 2632229 w 2663946"/>
                <a:gd name="connsiteY845" fmla="*/ 130241 h 349382"/>
                <a:gd name="connsiteX846" fmla="*/ 2631000 w 2663946"/>
                <a:gd name="connsiteY846" fmla="*/ 130512 h 349382"/>
                <a:gd name="connsiteX847" fmla="*/ 2626821 w 2663946"/>
                <a:gd name="connsiteY847" fmla="*/ 130512 h 349382"/>
                <a:gd name="connsiteX848" fmla="*/ 2626576 w 2663946"/>
                <a:gd name="connsiteY848" fmla="*/ 130512 h 349382"/>
                <a:gd name="connsiteX849" fmla="*/ 2613548 w 2663946"/>
                <a:gd name="connsiteY849" fmla="*/ 125645 h 349382"/>
                <a:gd name="connsiteX850" fmla="*/ 2608878 w 2663946"/>
                <a:gd name="connsiteY850" fmla="*/ 121589 h 349382"/>
                <a:gd name="connsiteX851" fmla="*/ 2605682 w 2663946"/>
                <a:gd name="connsiteY851" fmla="*/ 117804 h 349382"/>
                <a:gd name="connsiteX852" fmla="*/ 2603470 w 2663946"/>
                <a:gd name="connsiteY852" fmla="*/ 114289 h 349382"/>
                <a:gd name="connsiteX853" fmla="*/ 2601258 w 2663946"/>
                <a:gd name="connsiteY853" fmla="*/ 109963 h 349382"/>
                <a:gd name="connsiteX854" fmla="*/ 2600029 w 2663946"/>
                <a:gd name="connsiteY854" fmla="*/ 106988 h 349382"/>
                <a:gd name="connsiteX855" fmla="*/ 2599046 w 2663946"/>
                <a:gd name="connsiteY855" fmla="*/ 103744 h 349382"/>
                <a:gd name="connsiteX856" fmla="*/ 2597816 w 2663946"/>
                <a:gd name="connsiteY856" fmla="*/ 98066 h 349382"/>
                <a:gd name="connsiteX857" fmla="*/ 2597571 w 2663946"/>
                <a:gd name="connsiteY857" fmla="*/ 95092 h 349382"/>
                <a:gd name="connsiteX858" fmla="*/ 2597816 w 2663946"/>
                <a:gd name="connsiteY858" fmla="*/ 95362 h 349382"/>
                <a:gd name="connsiteX859" fmla="*/ 2597816 w 2663946"/>
                <a:gd name="connsiteY859" fmla="*/ 89684 h 349382"/>
                <a:gd name="connsiteX860" fmla="*/ 2597816 w 2663946"/>
                <a:gd name="connsiteY860" fmla="*/ 89414 h 349382"/>
                <a:gd name="connsiteX861" fmla="*/ 2598308 w 2663946"/>
                <a:gd name="connsiteY861" fmla="*/ 84817 h 349382"/>
                <a:gd name="connsiteX862" fmla="*/ 2599537 w 2663946"/>
                <a:gd name="connsiteY862" fmla="*/ 79410 h 349382"/>
                <a:gd name="connsiteX863" fmla="*/ 2600520 w 2663946"/>
                <a:gd name="connsiteY863" fmla="*/ 76165 h 349382"/>
                <a:gd name="connsiteX864" fmla="*/ 2602732 w 2663946"/>
                <a:gd name="connsiteY864" fmla="*/ 71028 h 349382"/>
                <a:gd name="connsiteX865" fmla="*/ 2604945 w 2663946"/>
                <a:gd name="connsiteY865" fmla="*/ 67243 h 349382"/>
                <a:gd name="connsiteX866" fmla="*/ 2607157 w 2663946"/>
                <a:gd name="connsiteY866" fmla="*/ 64268 h 349382"/>
                <a:gd name="connsiteX867" fmla="*/ 2609369 w 2663946"/>
                <a:gd name="connsiteY867" fmla="*/ 61835 h 349382"/>
                <a:gd name="connsiteX868" fmla="*/ 2614039 w 2663946"/>
                <a:gd name="connsiteY868" fmla="*/ 58050 h 349382"/>
                <a:gd name="connsiteX869" fmla="*/ 2617972 w 2663946"/>
                <a:gd name="connsiteY869" fmla="*/ 55887 h 349382"/>
                <a:gd name="connsiteX870" fmla="*/ 2627559 w 2663946"/>
                <a:gd name="connsiteY870" fmla="*/ 53453 h 349382"/>
                <a:gd name="connsiteX871" fmla="*/ 2445604 w 2663946"/>
                <a:gd name="connsiteY871" fmla="*/ 53453 h 349382"/>
                <a:gd name="connsiteX872" fmla="*/ 2457894 w 2663946"/>
                <a:gd name="connsiteY872" fmla="*/ 55616 h 349382"/>
                <a:gd name="connsiteX873" fmla="*/ 2465268 w 2663946"/>
                <a:gd name="connsiteY873" fmla="*/ 60213 h 349382"/>
                <a:gd name="connsiteX874" fmla="*/ 2468709 w 2663946"/>
                <a:gd name="connsiteY874" fmla="*/ 63457 h 349382"/>
                <a:gd name="connsiteX875" fmla="*/ 2472151 w 2663946"/>
                <a:gd name="connsiteY875" fmla="*/ 67783 h 349382"/>
                <a:gd name="connsiteX876" fmla="*/ 2474117 w 2663946"/>
                <a:gd name="connsiteY876" fmla="*/ 71298 h 349382"/>
                <a:gd name="connsiteX877" fmla="*/ 2476329 w 2663946"/>
                <a:gd name="connsiteY877" fmla="*/ 76706 h 349382"/>
                <a:gd name="connsiteX878" fmla="*/ 2477312 w 2663946"/>
                <a:gd name="connsiteY878" fmla="*/ 80221 h 349382"/>
                <a:gd name="connsiteX879" fmla="*/ 2478296 w 2663946"/>
                <a:gd name="connsiteY879" fmla="*/ 85358 h 349382"/>
                <a:gd name="connsiteX880" fmla="*/ 2478050 w 2663946"/>
                <a:gd name="connsiteY880" fmla="*/ 99688 h 349382"/>
                <a:gd name="connsiteX881" fmla="*/ 2477067 w 2663946"/>
                <a:gd name="connsiteY881" fmla="*/ 104555 h 349382"/>
                <a:gd name="connsiteX882" fmla="*/ 2475837 w 2663946"/>
                <a:gd name="connsiteY882" fmla="*/ 108340 h 349382"/>
                <a:gd name="connsiteX883" fmla="*/ 2474854 w 2663946"/>
                <a:gd name="connsiteY883" fmla="*/ 110774 h 349382"/>
                <a:gd name="connsiteX884" fmla="*/ 2472642 w 2663946"/>
                <a:gd name="connsiteY884" fmla="*/ 115100 h 349382"/>
                <a:gd name="connsiteX885" fmla="*/ 2470430 w 2663946"/>
                <a:gd name="connsiteY885" fmla="*/ 118344 h 349382"/>
                <a:gd name="connsiteX886" fmla="*/ 2466989 w 2663946"/>
                <a:gd name="connsiteY886" fmla="*/ 122130 h 349382"/>
                <a:gd name="connsiteX887" fmla="*/ 2463793 w 2663946"/>
                <a:gd name="connsiteY887" fmla="*/ 124833 h 349382"/>
                <a:gd name="connsiteX888" fmla="*/ 2458140 w 2663946"/>
                <a:gd name="connsiteY888" fmla="*/ 128078 h 349382"/>
                <a:gd name="connsiteX889" fmla="*/ 2450274 w 2663946"/>
                <a:gd name="connsiteY889" fmla="*/ 130241 h 349382"/>
                <a:gd name="connsiteX890" fmla="*/ 2449045 w 2663946"/>
                <a:gd name="connsiteY890" fmla="*/ 130512 h 349382"/>
                <a:gd name="connsiteX891" fmla="*/ 2444866 w 2663946"/>
                <a:gd name="connsiteY891" fmla="*/ 130512 h 349382"/>
                <a:gd name="connsiteX892" fmla="*/ 2444621 w 2663946"/>
                <a:gd name="connsiteY892" fmla="*/ 130512 h 349382"/>
                <a:gd name="connsiteX893" fmla="*/ 2431593 w 2663946"/>
                <a:gd name="connsiteY893" fmla="*/ 125645 h 349382"/>
                <a:gd name="connsiteX894" fmla="*/ 2426923 w 2663946"/>
                <a:gd name="connsiteY894" fmla="*/ 121589 h 349382"/>
                <a:gd name="connsiteX895" fmla="*/ 2423727 w 2663946"/>
                <a:gd name="connsiteY895" fmla="*/ 117804 h 349382"/>
                <a:gd name="connsiteX896" fmla="*/ 2421515 w 2663946"/>
                <a:gd name="connsiteY896" fmla="*/ 114289 h 349382"/>
                <a:gd name="connsiteX897" fmla="*/ 2419303 w 2663946"/>
                <a:gd name="connsiteY897" fmla="*/ 109963 h 349382"/>
                <a:gd name="connsiteX898" fmla="*/ 2418074 w 2663946"/>
                <a:gd name="connsiteY898" fmla="*/ 106988 h 349382"/>
                <a:gd name="connsiteX899" fmla="*/ 2417091 w 2663946"/>
                <a:gd name="connsiteY899" fmla="*/ 103744 h 349382"/>
                <a:gd name="connsiteX900" fmla="*/ 2415861 w 2663946"/>
                <a:gd name="connsiteY900" fmla="*/ 98066 h 349382"/>
                <a:gd name="connsiteX901" fmla="*/ 2415616 w 2663946"/>
                <a:gd name="connsiteY901" fmla="*/ 95092 h 349382"/>
                <a:gd name="connsiteX902" fmla="*/ 2415861 w 2663946"/>
                <a:gd name="connsiteY902" fmla="*/ 95362 h 349382"/>
                <a:gd name="connsiteX903" fmla="*/ 2415861 w 2663946"/>
                <a:gd name="connsiteY903" fmla="*/ 89684 h 349382"/>
                <a:gd name="connsiteX904" fmla="*/ 2415861 w 2663946"/>
                <a:gd name="connsiteY904" fmla="*/ 89414 h 349382"/>
                <a:gd name="connsiteX905" fmla="*/ 2416353 w 2663946"/>
                <a:gd name="connsiteY905" fmla="*/ 84817 h 349382"/>
                <a:gd name="connsiteX906" fmla="*/ 2417582 w 2663946"/>
                <a:gd name="connsiteY906" fmla="*/ 79410 h 349382"/>
                <a:gd name="connsiteX907" fmla="*/ 2418565 w 2663946"/>
                <a:gd name="connsiteY907" fmla="*/ 76165 h 349382"/>
                <a:gd name="connsiteX908" fmla="*/ 2420777 w 2663946"/>
                <a:gd name="connsiteY908" fmla="*/ 71028 h 349382"/>
                <a:gd name="connsiteX909" fmla="*/ 2422990 w 2663946"/>
                <a:gd name="connsiteY909" fmla="*/ 67243 h 349382"/>
                <a:gd name="connsiteX910" fmla="*/ 2425202 w 2663946"/>
                <a:gd name="connsiteY910" fmla="*/ 64268 h 349382"/>
                <a:gd name="connsiteX911" fmla="*/ 2427414 w 2663946"/>
                <a:gd name="connsiteY911" fmla="*/ 61835 h 349382"/>
                <a:gd name="connsiteX912" fmla="*/ 2432084 w 2663946"/>
                <a:gd name="connsiteY912" fmla="*/ 58050 h 349382"/>
                <a:gd name="connsiteX913" fmla="*/ 2436017 w 2663946"/>
                <a:gd name="connsiteY913" fmla="*/ 55887 h 349382"/>
                <a:gd name="connsiteX914" fmla="*/ 2445604 w 2663946"/>
                <a:gd name="connsiteY914" fmla="*/ 53453 h 349382"/>
                <a:gd name="connsiteX915" fmla="*/ 2202558 w 2663946"/>
                <a:gd name="connsiteY915" fmla="*/ 53453 h 349382"/>
                <a:gd name="connsiteX916" fmla="*/ 2214848 w 2663946"/>
                <a:gd name="connsiteY916" fmla="*/ 55616 h 349382"/>
                <a:gd name="connsiteX917" fmla="*/ 2222222 w 2663946"/>
                <a:gd name="connsiteY917" fmla="*/ 60213 h 349382"/>
                <a:gd name="connsiteX918" fmla="*/ 2225663 w 2663946"/>
                <a:gd name="connsiteY918" fmla="*/ 63457 h 349382"/>
                <a:gd name="connsiteX919" fmla="*/ 2229105 w 2663946"/>
                <a:gd name="connsiteY919" fmla="*/ 67783 h 349382"/>
                <a:gd name="connsiteX920" fmla="*/ 2231071 w 2663946"/>
                <a:gd name="connsiteY920" fmla="*/ 71298 h 349382"/>
                <a:gd name="connsiteX921" fmla="*/ 2233283 w 2663946"/>
                <a:gd name="connsiteY921" fmla="*/ 76706 h 349382"/>
                <a:gd name="connsiteX922" fmla="*/ 2234266 w 2663946"/>
                <a:gd name="connsiteY922" fmla="*/ 80221 h 349382"/>
                <a:gd name="connsiteX923" fmla="*/ 2235250 w 2663946"/>
                <a:gd name="connsiteY923" fmla="*/ 85358 h 349382"/>
                <a:gd name="connsiteX924" fmla="*/ 2235004 w 2663946"/>
                <a:gd name="connsiteY924" fmla="*/ 99688 h 349382"/>
                <a:gd name="connsiteX925" fmla="*/ 2234021 w 2663946"/>
                <a:gd name="connsiteY925" fmla="*/ 104555 h 349382"/>
                <a:gd name="connsiteX926" fmla="*/ 2232791 w 2663946"/>
                <a:gd name="connsiteY926" fmla="*/ 108340 h 349382"/>
                <a:gd name="connsiteX927" fmla="*/ 2231808 w 2663946"/>
                <a:gd name="connsiteY927" fmla="*/ 110774 h 349382"/>
                <a:gd name="connsiteX928" fmla="*/ 2229596 w 2663946"/>
                <a:gd name="connsiteY928" fmla="*/ 115100 h 349382"/>
                <a:gd name="connsiteX929" fmla="*/ 2227384 w 2663946"/>
                <a:gd name="connsiteY929" fmla="*/ 118344 h 349382"/>
                <a:gd name="connsiteX930" fmla="*/ 2223943 w 2663946"/>
                <a:gd name="connsiteY930" fmla="*/ 122130 h 349382"/>
                <a:gd name="connsiteX931" fmla="*/ 2220747 w 2663946"/>
                <a:gd name="connsiteY931" fmla="*/ 124833 h 349382"/>
                <a:gd name="connsiteX932" fmla="*/ 2215094 w 2663946"/>
                <a:gd name="connsiteY932" fmla="*/ 128078 h 349382"/>
                <a:gd name="connsiteX933" fmla="*/ 2207228 w 2663946"/>
                <a:gd name="connsiteY933" fmla="*/ 130241 h 349382"/>
                <a:gd name="connsiteX934" fmla="*/ 2205999 w 2663946"/>
                <a:gd name="connsiteY934" fmla="*/ 130512 h 349382"/>
                <a:gd name="connsiteX935" fmla="*/ 2201820 w 2663946"/>
                <a:gd name="connsiteY935" fmla="*/ 130512 h 349382"/>
                <a:gd name="connsiteX936" fmla="*/ 2201575 w 2663946"/>
                <a:gd name="connsiteY936" fmla="*/ 130512 h 349382"/>
                <a:gd name="connsiteX937" fmla="*/ 2188547 w 2663946"/>
                <a:gd name="connsiteY937" fmla="*/ 125645 h 349382"/>
                <a:gd name="connsiteX938" fmla="*/ 2183877 w 2663946"/>
                <a:gd name="connsiteY938" fmla="*/ 121589 h 349382"/>
                <a:gd name="connsiteX939" fmla="*/ 2180681 w 2663946"/>
                <a:gd name="connsiteY939" fmla="*/ 117804 h 349382"/>
                <a:gd name="connsiteX940" fmla="*/ 2178469 w 2663946"/>
                <a:gd name="connsiteY940" fmla="*/ 114289 h 349382"/>
                <a:gd name="connsiteX941" fmla="*/ 2176257 w 2663946"/>
                <a:gd name="connsiteY941" fmla="*/ 109963 h 349382"/>
                <a:gd name="connsiteX942" fmla="*/ 2175028 w 2663946"/>
                <a:gd name="connsiteY942" fmla="*/ 106988 h 349382"/>
                <a:gd name="connsiteX943" fmla="*/ 2174045 w 2663946"/>
                <a:gd name="connsiteY943" fmla="*/ 103744 h 349382"/>
                <a:gd name="connsiteX944" fmla="*/ 2172815 w 2663946"/>
                <a:gd name="connsiteY944" fmla="*/ 98066 h 349382"/>
                <a:gd name="connsiteX945" fmla="*/ 2172570 w 2663946"/>
                <a:gd name="connsiteY945" fmla="*/ 95092 h 349382"/>
                <a:gd name="connsiteX946" fmla="*/ 2172815 w 2663946"/>
                <a:gd name="connsiteY946" fmla="*/ 95362 h 349382"/>
                <a:gd name="connsiteX947" fmla="*/ 2172815 w 2663946"/>
                <a:gd name="connsiteY947" fmla="*/ 89684 h 349382"/>
                <a:gd name="connsiteX948" fmla="*/ 2172815 w 2663946"/>
                <a:gd name="connsiteY948" fmla="*/ 89414 h 349382"/>
                <a:gd name="connsiteX949" fmla="*/ 2173307 w 2663946"/>
                <a:gd name="connsiteY949" fmla="*/ 84817 h 349382"/>
                <a:gd name="connsiteX950" fmla="*/ 2174536 w 2663946"/>
                <a:gd name="connsiteY950" fmla="*/ 79410 h 349382"/>
                <a:gd name="connsiteX951" fmla="*/ 2175519 w 2663946"/>
                <a:gd name="connsiteY951" fmla="*/ 76165 h 349382"/>
                <a:gd name="connsiteX952" fmla="*/ 2177731 w 2663946"/>
                <a:gd name="connsiteY952" fmla="*/ 71028 h 349382"/>
                <a:gd name="connsiteX953" fmla="*/ 2179944 w 2663946"/>
                <a:gd name="connsiteY953" fmla="*/ 67243 h 349382"/>
                <a:gd name="connsiteX954" fmla="*/ 2182156 w 2663946"/>
                <a:gd name="connsiteY954" fmla="*/ 64268 h 349382"/>
                <a:gd name="connsiteX955" fmla="*/ 2184368 w 2663946"/>
                <a:gd name="connsiteY955" fmla="*/ 61835 h 349382"/>
                <a:gd name="connsiteX956" fmla="*/ 2189038 w 2663946"/>
                <a:gd name="connsiteY956" fmla="*/ 58050 h 349382"/>
                <a:gd name="connsiteX957" fmla="*/ 2192971 w 2663946"/>
                <a:gd name="connsiteY957" fmla="*/ 55887 h 349382"/>
                <a:gd name="connsiteX958" fmla="*/ 2202558 w 2663946"/>
                <a:gd name="connsiteY958" fmla="*/ 53453 h 349382"/>
                <a:gd name="connsiteX959" fmla="*/ 2020607 w 2663946"/>
                <a:gd name="connsiteY959" fmla="*/ 53453 h 349382"/>
                <a:gd name="connsiteX960" fmla="*/ 2032897 w 2663946"/>
                <a:gd name="connsiteY960" fmla="*/ 55616 h 349382"/>
                <a:gd name="connsiteX961" fmla="*/ 2040271 w 2663946"/>
                <a:gd name="connsiteY961" fmla="*/ 60213 h 349382"/>
                <a:gd name="connsiteX962" fmla="*/ 2043712 w 2663946"/>
                <a:gd name="connsiteY962" fmla="*/ 63457 h 349382"/>
                <a:gd name="connsiteX963" fmla="*/ 2047154 w 2663946"/>
                <a:gd name="connsiteY963" fmla="*/ 67783 h 349382"/>
                <a:gd name="connsiteX964" fmla="*/ 2049120 w 2663946"/>
                <a:gd name="connsiteY964" fmla="*/ 71298 h 349382"/>
                <a:gd name="connsiteX965" fmla="*/ 2051332 w 2663946"/>
                <a:gd name="connsiteY965" fmla="*/ 76706 h 349382"/>
                <a:gd name="connsiteX966" fmla="*/ 2052315 w 2663946"/>
                <a:gd name="connsiteY966" fmla="*/ 80221 h 349382"/>
                <a:gd name="connsiteX967" fmla="*/ 2053299 w 2663946"/>
                <a:gd name="connsiteY967" fmla="*/ 85358 h 349382"/>
                <a:gd name="connsiteX968" fmla="*/ 2053053 w 2663946"/>
                <a:gd name="connsiteY968" fmla="*/ 99688 h 349382"/>
                <a:gd name="connsiteX969" fmla="*/ 2052070 w 2663946"/>
                <a:gd name="connsiteY969" fmla="*/ 104555 h 349382"/>
                <a:gd name="connsiteX970" fmla="*/ 2050840 w 2663946"/>
                <a:gd name="connsiteY970" fmla="*/ 108340 h 349382"/>
                <a:gd name="connsiteX971" fmla="*/ 2049857 w 2663946"/>
                <a:gd name="connsiteY971" fmla="*/ 110774 h 349382"/>
                <a:gd name="connsiteX972" fmla="*/ 2047645 w 2663946"/>
                <a:gd name="connsiteY972" fmla="*/ 115100 h 349382"/>
                <a:gd name="connsiteX973" fmla="*/ 2045433 w 2663946"/>
                <a:gd name="connsiteY973" fmla="*/ 118344 h 349382"/>
                <a:gd name="connsiteX974" fmla="*/ 2041992 w 2663946"/>
                <a:gd name="connsiteY974" fmla="*/ 122130 h 349382"/>
                <a:gd name="connsiteX975" fmla="*/ 2038796 w 2663946"/>
                <a:gd name="connsiteY975" fmla="*/ 124833 h 349382"/>
                <a:gd name="connsiteX976" fmla="*/ 2033143 w 2663946"/>
                <a:gd name="connsiteY976" fmla="*/ 128078 h 349382"/>
                <a:gd name="connsiteX977" fmla="*/ 2025277 w 2663946"/>
                <a:gd name="connsiteY977" fmla="*/ 130241 h 349382"/>
                <a:gd name="connsiteX978" fmla="*/ 2024048 w 2663946"/>
                <a:gd name="connsiteY978" fmla="*/ 130512 h 349382"/>
                <a:gd name="connsiteX979" fmla="*/ 2019869 w 2663946"/>
                <a:gd name="connsiteY979" fmla="*/ 130512 h 349382"/>
                <a:gd name="connsiteX980" fmla="*/ 2019624 w 2663946"/>
                <a:gd name="connsiteY980" fmla="*/ 130512 h 349382"/>
                <a:gd name="connsiteX981" fmla="*/ 2006596 w 2663946"/>
                <a:gd name="connsiteY981" fmla="*/ 125645 h 349382"/>
                <a:gd name="connsiteX982" fmla="*/ 2001926 w 2663946"/>
                <a:gd name="connsiteY982" fmla="*/ 121589 h 349382"/>
                <a:gd name="connsiteX983" fmla="*/ 1998730 w 2663946"/>
                <a:gd name="connsiteY983" fmla="*/ 117804 h 349382"/>
                <a:gd name="connsiteX984" fmla="*/ 1996518 w 2663946"/>
                <a:gd name="connsiteY984" fmla="*/ 114289 h 349382"/>
                <a:gd name="connsiteX985" fmla="*/ 1994306 w 2663946"/>
                <a:gd name="connsiteY985" fmla="*/ 109963 h 349382"/>
                <a:gd name="connsiteX986" fmla="*/ 1993077 w 2663946"/>
                <a:gd name="connsiteY986" fmla="*/ 106988 h 349382"/>
                <a:gd name="connsiteX987" fmla="*/ 1992094 w 2663946"/>
                <a:gd name="connsiteY987" fmla="*/ 103744 h 349382"/>
                <a:gd name="connsiteX988" fmla="*/ 1990864 w 2663946"/>
                <a:gd name="connsiteY988" fmla="*/ 98066 h 349382"/>
                <a:gd name="connsiteX989" fmla="*/ 1990619 w 2663946"/>
                <a:gd name="connsiteY989" fmla="*/ 95092 h 349382"/>
                <a:gd name="connsiteX990" fmla="*/ 1990864 w 2663946"/>
                <a:gd name="connsiteY990" fmla="*/ 95362 h 349382"/>
                <a:gd name="connsiteX991" fmla="*/ 1990864 w 2663946"/>
                <a:gd name="connsiteY991" fmla="*/ 89684 h 349382"/>
                <a:gd name="connsiteX992" fmla="*/ 1990864 w 2663946"/>
                <a:gd name="connsiteY992" fmla="*/ 89414 h 349382"/>
                <a:gd name="connsiteX993" fmla="*/ 1991356 w 2663946"/>
                <a:gd name="connsiteY993" fmla="*/ 84817 h 349382"/>
                <a:gd name="connsiteX994" fmla="*/ 1992585 w 2663946"/>
                <a:gd name="connsiteY994" fmla="*/ 79410 h 349382"/>
                <a:gd name="connsiteX995" fmla="*/ 1993568 w 2663946"/>
                <a:gd name="connsiteY995" fmla="*/ 76165 h 349382"/>
                <a:gd name="connsiteX996" fmla="*/ 1995780 w 2663946"/>
                <a:gd name="connsiteY996" fmla="*/ 71028 h 349382"/>
                <a:gd name="connsiteX997" fmla="*/ 1997993 w 2663946"/>
                <a:gd name="connsiteY997" fmla="*/ 67243 h 349382"/>
                <a:gd name="connsiteX998" fmla="*/ 2000205 w 2663946"/>
                <a:gd name="connsiteY998" fmla="*/ 64268 h 349382"/>
                <a:gd name="connsiteX999" fmla="*/ 2002417 w 2663946"/>
                <a:gd name="connsiteY999" fmla="*/ 61835 h 349382"/>
                <a:gd name="connsiteX1000" fmla="*/ 2007087 w 2663946"/>
                <a:gd name="connsiteY1000" fmla="*/ 58050 h 349382"/>
                <a:gd name="connsiteX1001" fmla="*/ 2011020 w 2663946"/>
                <a:gd name="connsiteY1001" fmla="*/ 55887 h 349382"/>
                <a:gd name="connsiteX1002" fmla="*/ 2020607 w 2663946"/>
                <a:gd name="connsiteY1002" fmla="*/ 53453 h 349382"/>
                <a:gd name="connsiteX1003" fmla="*/ 1595683 w 2663946"/>
                <a:gd name="connsiteY1003" fmla="*/ 53453 h 349382"/>
                <a:gd name="connsiteX1004" fmla="*/ 1607973 w 2663946"/>
                <a:gd name="connsiteY1004" fmla="*/ 55616 h 349382"/>
                <a:gd name="connsiteX1005" fmla="*/ 1615347 w 2663946"/>
                <a:gd name="connsiteY1005" fmla="*/ 60213 h 349382"/>
                <a:gd name="connsiteX1006" fmla="*/ 1618788 w 2663946"/>
                <a:gd name="connsiteY1006" fmla="*/ 63457 h 349382"/>
                <a:gd name="connsiteX1007" fmla="*/ 1622230 w 2663946"/>
                <a:gd name="connsiteY1007" fmla="*/ 67783 h 349382"/>
                <a:gd name="connsiteX1008" fmla="*/ 1624196 w 2663946"/>
                <a:gd name="connsiteY1008" fmla="*/ 71298 h 349382"/>
                <a:gd name="connsiteX1009" fmla="*/ 1626408 w 2663946"/>
                <a:gd name="connsiteY1009" fmla="*/ 76706 h 349382"/>
                <a:gd name="connsiteX1010" fmla="*/ 1627391 w 2663946"/>
                <a:gd name="connsiteY1010" fmla="*/ 80221 h 349382"/>
                <a:gd name="connsiteX1011" fmla="*/ 1628374 w 2663946"/>
                <a:gd name="connsiteY1011" fmla="*/ 85358 h 349382"/>
                <a:gd name="connsiteX1012" fmla="*/ 1628129 w 2663946"/>
                <a:gd name="connsiteY1012" fmla="*/ 99688 h 349382"/>
                <a:gd name="connsiteX1013" fmla="*/ 1627146 w 2663946"/>
                <a:gd name="connsiteY1013" fmla="*/ 104555 h 349382"/>
                <a:gd name="connsiteX1014" fmla="*/ 1625916 w 2663946"/>
                <a:gd name="connsiteY1014" fmla="*/ 108340 h 349382"/>
                <a:gd name="connsiteX1015" fmla="*/ 1624933 w 2663946"/>
                <a:gd name="connsiteY1015" fmla="*/ 110774 h 349382"/>
                <a:gd name="connsiteX1016" fmla="*/ 1622721 w 2663946"/>
                <a:gd name="connsiteY1016" fmla="*/ 115100 h 349382"/>
                <a:gd name="connsiteX1017" fmla="*/ 1620509 w 2663946"/>
                <a:gd name="connsiteY1017" fmla="*/ 118344 h 349382"/>
                <a:gd name="connsiteX1018" fmla="*/ 1617068 w 2663946"/>
                <a:gd name="connsiteY1018" fmla="*/ 122130 h 349382"/>
                <a:gd name="connsiteX1019" fmla="*/ 1613872 w 2663946"/>
                <a:gd name="connsiteY1019" fmla="*/ 124833 h 349382"/>
                <a:gd name="connsiteX1020" fmla="*/ 1608219 w 2663946"/>
                <a:gd name="connsiteY1020" fmla="*/ 128078 h 349382"/>
                <a:gd name="connsiteX1021" fmla="*/ 1600353 w 2663946"/>
                <a:gd name="connsiteY1021" fmla="*/ 130241 h 349382"/>
                <a:gd name="connsiteX1022" fmla="*/ 1599124 w 2663946"/>
                <a:gd name="connsiteY1022" fmla="*/ 130512 h 349382"/>
                <a:gd name="connsiteX1023" fmla="*/ 1594945 w 2663946"/>
                <a:gd name="connsiteY1023" fmla="*/ 130512 h 349382"/>
                <a:gd name="connsiteX1024" fmla="*/ 1594699 w 2663946"/>
                <a:gd name="connsiteY1024" fmla="*/ 130512 h 349382"/>
                <a:gd name="connsiteX1025" fmla="*/ 1581672 w 2663946"/>
                <a:gd name="connsiteY1025" fmla="*/ 125645 h 349382"/>
                <a:gd name="connsiteX1026" fmla="*/ 1577002 w 2663946"/>
                <a:gd name="connsiteY1026" fmla="*/ 121589 h 349382"/>
                <a:gd name="connsiteX1027" fmla="*/ 1573806 w 2663946"/>
                <a:gd name="connsiteY1027" fmla="*/ 117804 h 349382"/>
                <a:gd name="connsiteX1028" fmla="*/ 1571594 w 2663946"/>
                <a:gd name="connsiteY1028" fmla="*/ 114289 h 349382"/>
                <a:gd name="connsiteX1029" fmla="*/ 1569382 w 2663946"/>
                <a:gd name="connsiteY1029" fmla="*/ 109963 h 349382"/>
                <a:gd name="connsiteX1030" fmla="*/ 1568153 w 2663946"/>
                <a:gd name="connsiteY1030" fmla="*/ 106988 h 349382"/>
                <a:gd name="connsiteX1031" fmla="*/ 1567169 w 2663946"/>
                <a:gd name="connsiteY1031" fmla="*/ 103744 h 349382"/>
                <a:gd name="connsiteX1032" fmla="*/ 1565940 w 2663946"/>
                <a:gd name="connsiteY1032" fmla="*/ 98066 h 349382"/>
                <a:gd name="connsiteX1033" fmla="*/ 1565695 w 2663946"/>
                <a:gd name="connsiteY1033" fmla="*/ 95092 h 349382"/>
                <a:gd name="connsiteX1034" fmla="*/ 1565940 w 2663946"/>
                <a:gd name="connsiteY1034" fmla="*/ 95362 h 349382"/>
                <a:gd name="connsiteX1035" fmla="*/ 1565940 w 2663946"/>
                <a:gd name="connsiteY1035" fmla="*/ 89684 h 349382"/>
                <a:gd name="connsiteX1036" fmla="*/ 1565940 w 2663946"/>
                <a:gd name="connsiteY1036" fmla="*/ 89414 h 349382"/>
                <a:gd name="connsiteX1037" fmla="*/ 1566432 w 2663946"/>
                <a:gd name="connsiteY1037" fmla="*/ 84817 h 349382"/>
                <a:gd name="connsiteX1038" fmla="*/ 1567661 w 2663946"/>
                <a:gd name="connsiteY1038" fmla="*/ 79410 h 349382"/>
                <a:gd name="connsiteX1039" fmla="*/ 1568644 w 2663946"/>
                <a:gd name="connsiteY1039" fmla="*/ 76165 h 349382"/>
                <a:gd name="connsiteX1040" fmla="*/ 1570856 w 2663946"/>
                <a:gd name="connsiteY1040" fmla="*/ 71028 h 349382"/>
                <a:gd name="connsiteX1041" fmla="*/ 1573069 w 2663946"/>
                <a:gd name="connsiteY1041" fmla="*/ 67243 h 349382"/>
                <a:gd name="connsiteX1042" fmla="*/ 1575281 w 2663946"/>
                <a:gd name="connsiteY1042" fmla="*/ 64268 h 349382"/>
                <a:gd name="connsiteX1043" fmla="*/ 1577493 w 2663946"/>
                <a:gd name="connsiteY1043" fmla="*/ 61835 h 349382"/>
                <a:gd name="connsiteX1044" fmla="*/ 1582163 w 2663946"/>
                <a:gd name="connsiteY1044" fmla="*/ 58050 h 349382"/>
                <a:gd name="connsiteX1045" fmla="*/ 1586096 w 2663946"/>
                <a:gd name="connsiteY1045" fmla="*/ 55887 h 349382"/>
                <a:gd name="connsiteX1046" fmla="*/ 1595683 w 2663946"/>
                <a:gd name="connsiteY1046" fmla="*/ 53453 h 349382"/>
                <a:gd name="connsiteX1047" fmla="*/ 1246776 w 2663946"/>
                <a:gd name="connsiteY1047" fmla="*/ 53453 h 349382"/>
                <a:gd name="connsiteX1048" fmla="*/ 1259066 w 2663946"/>
                <a:gd name="connsiteY1048" fmla="*/ 55616 h 349382"/>
                <a:gd name="connsiteX1049" fmla="*/ 1266440 w 2663946"/>
                <a:gd name="connsiteY1049" fmla="*/ 60213 h 349382"/>
                <a:gd name="connsiteX1050" fmla="*/ 1269881 w 2663946"/>
                <a:gd name="connsiteY1050" fmla="*/ 63457 h 349382"/>
                <a:gd name="connsiteX1051" fmla="*/ 1273323 w 2663946"/>
                <a:gd name="connsiteY1051" fmla="*/ 67783 h 349382"/>
                <a:gd name="connsiteX1052" fmla="*/ 1275289 w 2663946"/>
                <a:gd name="connsiteY1052" fmla="*/ 71298 h 349382"/>
                <a:gd name="connsiteX1053" fmla="*/ 1277501 w 2663946"/>
                <a:gd name="connsiteY1053" fmla="*/ 76706 h 349382"/>
                <a:gd name="connsiteX1054" fmla="*/ 1278484 w 2663946"/>
                <a:gd name="connsiteY1054" fmla="*/ 80221 h 349382"/>
                <a:gd name="connsiteX1055" fmla="*/ 1279467 w 2663946"/>
                <a:gd name="connsiteY1055" fmla="*/ 85358 h 349382"/>
                <a:gd name="connsiteX1056" fmla="*/ 1279222 w 2663946"/>
                <a:gd name="connsiteY1056" fmla="*/ 99688 h 349382"/>
                <a:gd name="connsiteX1057" fmla="*/ 1278239 w 2663946"/>
                <a:gd name="connsiteY1057" fmla="*/ 104555 h 349382"/>
                <a:gd name="connsiteX1058" fmla="*/ 1277009 w 2663946"/>
                <a:gd name="connsiteY1058" fmla="*/ 108340 h 349382"/>
                <a:gd name="connsiteX1059" fmla="*/ 1276026 w 2663946"/>
                <a:gd name="connsiteY1059" fmla="*/ 110774 h 349382"/>
                <a:gd name="connsiteX1060" fmla="*/ 1273814 w 2663946"/>
                <a:gd name="connsiteY1060" fmla="*/ 115100 h 349382"/>
                <a:gd name="connsiteX1061" fmla="*/ 1271602 w 2663946"/>
                <a:gd name="connsiteY1061" fmla="*/ 118344 h 349382"/>
                <a:gd name="connsiteX1062" fmla="*/ 1268161 w 2663946"/>
                <a:gd name="connsiteY1062" fmla="*/ 122130 h 349382"/>
                <a:gd name="connsiteX1063" fmla="*/ 1264965 w 2663946"/>
                <a:gd name="connsiteY1063" fmla="*/ 124833 h 349382"/>
                <a:gd name="connsiteX1064" fmla="*/ 1259312 w 2663946"/>
                <a:gd name="connsiteY1064" fmla="*/ 128078 h 349382"/>
                <a:gd name="connsiteX1065" fmla="*/ 1251446 w 2663946"/>
                <a:gd name="connsiteY1065" fmla="*/ 130241 h 349382"/>
                <a:gd name="connsiteX1066" fmla="*/ 1250217 w 2663946"/>
                <a:gd name="connsiteY1066" fmla="*/ 130512 h 349382"/>
                <a:gd name="connsiteX1067" fmla="*/ 1246038 w 2663946"/>
                <a:gd name="connsiteY1067" fmla="*/ 130512 h 349382"/>
                <a:gd name="connsiteX1068" fmla="*/ 1245792 w 2663946"/>
                <a:gd name="connsiteY1068" fmla="*/ 130512 h 349382"/>
                <a:gd name="connsiteX1069" fmla="*/ 1232765 w 2663946"/>
                <a:gd name="connsiteY1069" fmla="*/ 125645 h 349382"/>
                <a:gd name="connsiteX1070" fmla="*/ 1228095 w 2663946"/>
                <a:gd name="connsiteY1070" fmla="*/ 121589 h 349382"/>
                <a:gd name="connsiteX1071" fmla="*/ 1224899 w 2663946"/>
                <a:gd name="connsiteY1071" fmla="*/ 117804 h 349382"/>
                <a:gd name="connsiteX1072" fmla="*/ 1222687 w 2663946"/>
                <a:gd name="connsiteY1072" fmla="*/ 114289 h 349382"/>
                <a:gd name="connsiteX1073" fmla="*/ 1220475 w 2663946"/>
                <a:gd name="connsiteY1073" fmla="*/ 109963 h 349382"/>
                <a:gd name="connsiteX1074" fmla="*/ 1219246 w 2663946"/>
                <a:gd name="connsiteY1074" fmla="*/ 106988 h 349382"/>
                <a:gd name="connsiteX1075" fmla="*/ 1218262 w 2663946"/>
                <a:gd name="connsiteY1075" fmla="*/ 103744 h 349382"/>
                <a:gd name="connsiteX1076" fmla="*/ 1217033 w 2663946"/>
                <a:gd name="connsiteY1076" fmla="*/ 98066 h 349382"/>
                <a:gd name="connsiteX1077" fmla="*/ 1216788 w 2663946"/>
                <a:gd name="connsiteY1077" fmla="*/ 95092 h 349382"/>
                <a:gd name="connsiteX1078" fmla="*/ 1217033 w 2663946"/>
                <a:gd name="connsiteY1078" fmla="*/ 95362 h 349382"/>
                <a:gd name="connsiteX1079" fmla="*/ 1217033 w 2663946"/>
                <a:gd name="connsiteY1079" fmla="*/ 89684 h 349382"/>
                <a:gd name="connsiteX1080" fmla="*/ 1217033 w 2663946"/>
                <a:gd name="connsiteY1080" fmla="*/ 89414 h 349382"/>
                <a:gd name="connsiteX1081" fmla="*/ 1217525 w 2663946"/>
                <a:gd name="connsiteY1081" fmla="*/ 84817 h 349382"/>
                <a:gd name="connsiteX1082" fmla="*/ 1218754 w 2663946"/>
                <a:gd name="connsiteY1082" fmla="*/ 79410 h 349382"/>
                <a:gd name="connsiteX1083" fmla="*/ 1219737 w 2663946"/>
                <a:gd name="connsiteY1083" fmla="*/ 76165 h 349382"/>
                <a:gd name="connsiteX1084" fmla="*/ 1221949 w 2663946"/>
                <a:gd name="connsiteY1084" fmla="*/ 71028 h 349382"/>
                <a:gd name="connsiteX1085" fmla="*/ 1224162 w 2663946"/>
                <a:gd name="connsiteY1085" fmla="*/ 67243 h 349382"/>
                <a:gd name="connsiteX1086" fmla="*/ 1226374 w 2663946"/>
                <a:gd name="connsiteY1086" fmla="*/ 64268 h 349382"/>
                <a:gd name="connsiteX1087" fmla="*/ 1228586 w 2663946"/>
                <a:gd name="connsiteY1087" fmla="*/ 61835 h 349382"/>
                <a:gd name="connsiteX1088" fmla="*/ 1233256 w 2663946"/>
                <a:gd name="connsiteY1088" fmla="*/ 58050 h 349382"/>
                <a:gd name="connsiteX1089" fmla="*/ 1237189 w 2663946"/>
                <a:gd name="connsiteY1089" fmla="*/ 55887 h 349382"/>
                <a:gd name="connsiteX1090" fmla="*/ 1246776 w 2663946"/>
                <a:gd name="connsiteY1090" fmla="*/ 53453 h 349382"/>
                <a:gd name="connsiteX1091" fmla="*/ 1064825 w 2663946"/>
                <a:gd name="connsiteY1091" fmla="*/ 53453 h 349382"/>
                <a:gd name="connsiteX1092" fmla="*/ 1077115 w 2663946"/>
                <a:gd name="connsiteY1092" fmla="*/ 55616 h 349382"/>
                <a:gd name="connsiteX1093" fmla="*/ 1084489 w 2663946"/>
                <a:gd name="connsiteY1093" fmla="*/ 60213 h 349382"/>
                <a:gd name="connsiteX1094" fmla="*/ 1087930 w 2663946"/>
                <a:gd name="connsiteY1094" fmla="*/ 63457 h 349382"/>
                <a:gd name="connsiteX1095" fmla="*/ 1091372 w 2663946"/>
                <a:gd name="connsiteY1095" fmla="*/ 67783 h 349382"/>
                <a:gd name="connsiteX1096" fmla="*/ 1093338 w 2663946"/>
                <a:gd name="connsiteY1096" fmla="*/ 71298 h 349382"/>
                <a:gd name="connsiteX1097" fmla="*/ 1095550 w 2663946"/>
                <a:gd name="connsiteY1097" fmla="*/ 76706 h 349382"/>
                <a:gd name="connsiteX1098" fmla="*/ 1096533 w 2663946"/>
                <a:gd name="connsiteY1098" fmla="*/ 80221 h 349382"/>
                <a:gd name="connsiteX1099" fmla="*/ 1097516 w 2663946"/>
                <a:gd name="connsiteY1099" fmla="*/ 85358 h 349382"/>
                <a:gd name="connsiteX1100" fmla="*/ 1097271 w 2663946"/>
                <a:gd name="connsiteY1100" fmla="*/ 99688 h 349382"/>
                <a:gd name="connsiteX1101" fmla="*/ 1096288 w 2663946"/>
                <a:gd name="connsiteY1101" fmla="*/ 104555 h 349382"/>
                <a:gd name="connsiteX1102" fmla="*/ 1095058 w 2663946"/>
                <a:gd name="connsiteY1102" fmla="*/ 108340 h 349382"/>
                <a:gd name="connsiteX1103" fmla="*/ 1094075 w 2663946"/>
                <a:gd name="connsiteY1103" fmla="*/ 110774 h 349382"/>
                <a:gd name="connsiteX1104" fmla="*/ 1091863 w 2663946"/>
                <a:gd name="connsiteY1104" fmla="*/ 115100 h 349382"/>
                <a:gd name="connsiteX1105" fmla="*/ 1089651 w 2663946"/>
                <a:gd name="connsiteY1105" fmla="*/ 118344 h 349382"/>
                <a:gd name="connsiteX1106" fmla="*/ 1086210 w 2663946"/>
                <a:gd name="connsiteY1106" fmla="*/ 122130 h 349382"/>
                <a:gd name="connsiteX1107" fmla="*/ 1083014 w 2663946"/>
                <a:gd name="connsiteY1107" fmla="*/ 124833 h 349382"/>
                <a:gd name="connsiteX1108" fmla="*/ 1077361 w 2663946"/>
                <a:gd name="connsiteY1108" fmla="*/ 128078 h 349382"/>
                <a:gd name="connsiteX1109" fmla="*/ 1069495 w 2663946"/>
                <a:gd name="connsiteY1109" fmla="*/ 130241 h 349382"/>
                <a:gd name="connsiteX1110" fmla="*/ 1068266 w 2663946"/>
                <a:gd name="connsiteY1110" fmla="*/ 130512 h 349382"/>
                <a:gd name="connsiteX1111" fmla="*/ 1064087 w 2663946"/>
                <a:gd name="connsiteY1111" fmla="*/ 130512 h 349382"/>
                <a:gd name="connsiteX1112" fmla="*/ 1063841 w 2663946"/>
                <a:gd name="connsiteY1112" fmla="*/ 130512 h 349382"/>
                <a:gd name="connsiteX1113" fmla="*/ 1050814 w 2663946"/>
                <a:gd name="connsiteY1113" fmla="*/ 125645 h 349382"/>
                <a:gd name="connsiteX1114" fmla="*/ 1046144 w 2663946"/>
                <a:gd name="connsiteY1114" fmla="*/ 121589 h 349382"/>
                <a:gd name="connsiteX1115" fmla="*/ 1042948 w 2663946"/>
                <a:gd name="connsiteY1115" fmla="*/ 117804 h 349382"/>
                <a:gd name="connsiteX1116" fmla="*/ 1040736 w 2663946"/>
                <a:gd name="connsiteY1116" fmla="*/ 114289 h 349382"/>
                <a:gd name="connsiteX1117" fmla="*/ 1038524 w 2663946"/>
                <a:gd name="connsiteY1117" fmla="*/ 109963 h 349382"/>
                <a:gd name="connsiteX1118" fmla="*/ 1037295 w 2663946"/>
                <a:gd name="connsiteY1118" fmla="*/ 106988 h 349382"/>
                <a:gd name="connsiteX1119" fmla="*/ 1036311 w 2663946"/>
                <a:gd name="connsiteY1119" fmla="*/ 103744 h 349382"/>
                <a:gd name="connsiteX1120" fmla="*/ 1035082 w 2663946"/>
                <a:gd name="connsiteY1120" fmla="*/ 98066 h 349382"/>
                <a:gd name="connsiteX1121" fmla="*/ 1034837 w 2663946"/>
                <a:gd name="connsiteY1121" fmla="*/ 95092 h 349382"/>
                <a:gd name="connsiteX1122" fmla="*/ 1035082 w 2663946"/>
                <a:gd name="connsiteY1122" fmla="*/ 95362 h 349382"/>
                <a:gd name="connsiteX1123" fmla="*/ 1035082 w 2663946"/>
                <a:gd name="connsiteY1123" fmla="*/ 89684 h 349382"/>
                <a:gd name="connsiteX1124" fmla="*/ 1035082 w 2663946"/>
                <a:gd name="connsiteY1124" fmla="*/ 89414 h 349382"/>
                <a:gd name="connsiteX1125" fmla="*/ 1035574 w 2663946"/>
                <a:gd name="connsiteY1125" fmla="*/ 84817 h 349382"/>
                <a:gd name="connsiteX1126" fmla="*/ 1036803 w 2663946"/>
                <a:gd name="connsiteY1126" fmla="*/ 79410 h 349382"/>
                <a:gd name="connsiteX1127" fmla="*/ 1037786 w 2663946"/>
                <a:gd name="connsiteY1127" fmla="*/ 76165 h 349382"/>
                <a:gd name="connsiteX1128" fmla="*/ 1039998 w 2663946"/>
                <a:gd name="connsiteY1128" fmla="*/ 71028 h 349382"/>
                <a:gd name="connsiteX1129" fmla="*/ 1042211 w 2663946"/>
                <a:gd name="connsiteY1129" fmla="*/ 67243 h 349382"/>
                <a:gd name="connsiteX1130" fmla="*/ 1044423 w 2663946"/>
                <a:gd name="connsiteY1130" fmla="*/ 64268 h 349382"/>
                <a:gd name="connsiteX1131" fmla="*/ 1046635 w 2663946"/>
                <a:gd name="connsiteY1131" fmla="*/ 61835 h 349382"/>
                <a:gd name="connsiteX1132" fmla="*/ 1051305 w 2663946"/>
                <a:gd name="connsiteY1132" fmla="*/ 58050 h 349382"/>
                <a:gd name="connsiteX1133" fmla="*/ 1055238 w 2663946"/>
                <a:gd name="connsiteY1133" fmla="*/ 55887 h 349382"/>
                <a:gd name="connsiteX1134" fmla="*/ 1064825 w 2663946"/>
                <a:gd name="connsiteY1134" fmla="*/ 53453 h 349382"/>
                <a:gd name="connsiteX1135" fmla="*/ 897796 w 2663946"/>
                <a:gd name="connsiteY1135" fmla="*/ 53453 h 349382"/>
                <a:gd name="connsiteX1136" fmla="*/ 910086 w 2663946"/>
                <a:gd name="connsiteY1136" fmla="*/ 55616 h 349382"/>
                <a:gd name="connsiteX1137" fmla="*/ 917460 w 2663946"/>
                <a:gd name="connsiteY1137" fmla="*/ 60213 h 349382"/>
                <a:gd name="connsiteX1138" fmla="*/ 920901 w 2663946"/>
                <a:gd name="connsiteY1138" fmla="*/ 63457 h 349382"/>
                <a:gd name="connsiteX1139" fmla="*/ 924343 w 2663946"/>
                <a:gd name="connsiteY1139" fmla="*/ 67783 h 349382"/>
                <a:gd name="connsiteX1140" fmla="*/ 926309 w 2663946"/>
                <a:gd name="connsiteY1140" fmla="*/ 71298 h 349382"/>
                <a:gd name="connsiteX1141" fmla="*/ 928521 w 2663946"/>
                <a:gd name="connsiteY1141" fmla="*/ 76706 h 349382"/>
                <a:gd name="connsiteX1142" fmla="*/ 929504 w 2663946"/>
                <a:gd name="connsiteY1142" fmla="*/ 80221 h 349382"/>
                <a:gd name="connsiteX1143" fmla="*/ 930487 w 2663946"/>
                <a:gd name="connsiteY1143" fmla="*/ 85358 h 349382"/>
                <a:gd name="connsiteX1144" fmla="*/ 930242 w 2663946"/>
                <a:gd name="connsiteY1144" fmla="*/ 99688 h 349382"/>
                <a:gd name="connsiteX1145" fmla="*/ 929259 w 2663946"/>
                <a:gd name="connsiteY1145" fmla="*/ 104555 h 349382"/>
                <a:gd name="connsiteX1146" fmla="*/ 928029 w 2663946"/>
                <a:gd name="connsiteY1146" fmla="*/ 108340 h 349382"/>
                <a:gd name="connsiteX1147" fmla="*/ 927046 w 2663946"/>
                <a:gd name="connsiteY1147" fmla="*/ 110774 h 349382"/>
                <a:gd name="connsiteX1148" fmla="*/ 924834 w 2663946"/>
                <a:gd name="connsiteY1148" fmla="*/ 115100 h 349382"/>
                <a:gd name="connsiteX1149" fmla="*/ 922622 w 2663946"/>
                <a:gd name="connsiteY1149" fmla="*/ 118344 h 349382"/>
                <a:gd name="connsiteX1150" fmla="*/ 919181 w 2663946"/>
                <a:gd name="connsiteY1150" fmla="*/ 122130 h 349382"/>
                <a:gd name="connsiteX1151" fmla="*/ 915985 w 2663946"/>
                <a:gd name="connsiteY1151" fmla="*/ 124833 h 349382"/>
                <a:gd name="connsiteX1152" fmla="*/ 910332 w 2663946"/>
                <a:gd name="connsiteY1152" fmla="*/ 128078 h 349382"/>
                <a:gd name="connsiteX1153" fmla="*/ 902466 w 2663946"/>
                <a:gd name="connsiteY1153" fmla="*/ 130241 h 349382"/>
                <a:gd name="connsiteX1154" fmla="*/ 901237 w 2663946"/>
                <a:gd name="connsiteY1154" fmla="*/ 130512 h 349382"/>
                <a:gd name="connsiteX1155" fmla="*/ 897058 w 2663946"/>
                <a:gd name="connsiteY1155" fmla="*/ 130512 h 349382"/>
                <a:gd name="connsiteX1156" fmla="*/ 896812 w 2663946"/>
                <a:gd name="connsiteY1156" fmla="*/ 130512 h 349382"/>
                <a:gd name="connsiteX1157" fmla="*/ 883785 w 2663946"/>
                <a:gd name="connsiteY1157" fmla="*/ 125645 h 349382"/>
                <a:gd name="connsiteX1158" fmla="*/ 879115 w 2663946"/>
                <a:gd name="connsiteY1158" fmla="*/ 121589 h 349382"/>
                <a:gd name="connsiteX1159" fmla="*/ 875919 w 2663946"/>
                <a:gd name="connsiteY1159" fmla="*/ 117804 h 349382"/>
                <a:gd name="connsiteX1160" fmla="*/ 873707 w 2663946"/>
                <a:gd name="connsiteY1160" fmla="*/ 114289 h 349382"/>
                <a:gd name="connsiteX1161" fmla="*/ 871495 w 2663946"/>
                <a:gd name="connsiteY1161" fmla="*/ 109963 h 349382"/>
                <a:gd name="connsiteX1162" fmla="*/ 870266 w 2663946"/>
                <a:gd name="connsiteY1162" fmla="*/ 106988 h 349382"/>
                <a:gd name="connsiteX1163" fmla="*/ 869282 w 2663946"/>
                <a:gd name="connsiteY1163" fmla="*/ 103744 h 349382"/>
                <a:gd name="connsiteX1164" fmla="*/ 868053 w 2663946"/>
                <a:gd name="connsiteY1164" fmla="*/ 98066 h 349382"/>
                <a:gd name="connsiteX1165" fmla="*/ 867808 w 2663946"/>
                <a:gd name="connsiteY1165" fmla="*/ 95092 h 349382"/>
                <a:gd name="connsiteX1166" fmla="*/ 868053 w 2663946"/>
                <a:gd name="connsiteY1166" fmla="*/ 95362 h 349382"/>
                <a:gd name="connsiteX1167" fmla="*/ 868053 w 2663946"/>
                <a:gd name="connsiteY1167" fmla="*/ 89684 h 349382"/>
                <a:gd name="connsiteX1168" fmla="*/ 868053 w 2663946"/>
                <a:gd name="connsiteY1168" fmla="*/ 89414 h 349382"/>
                <a:gd name="connsiteX1169" fmla="*/ 868545 w 2663946"/>
                <a:gd name="connsiteY1169" fmla="*/ 84817 h 349382"/>
                <a:gd name="connsiteX1170" fmla="*/ 869774 w 2663946"/>
                <a:gd name="connsiteY1170" fmla="*/ 79410 h 349382"/>
                <a:gd name="connsiteX1171" fmla="*/ 870757 w 2663946"/>
                <a:gd name="connsiteY1171" fmla="*/ 76165 h 349382"/>
                <a:gd name="connsiteX1172" fmla="*/ 872969 w 2663946"/>
                <a:gd name="connsiteY1172" fmla="*/ 71028 h 349382"/>
                <a:gd name="connsiteX1173" fmla="*/ 875182 w 2663946"/>
                <a:gd name="connsiteY1173" fmla="*/ 67243 h 349382"/>
                <a:gd name="connsiteX1174" fmla="*/ 877394 w 2663946"/>
                <a:gd name="connsiteY1174" fmla="*/ 64268 h 349382"/>
                <a:gd name="connsiteX1175" fmla="*/ 879606 w 2663946"/>
                <a:gd name="connsiteY1175" fmla="*/ 61835 h 349382"/>
                <a:gd name="connsiteX1176" fmla="*/ 884276 w 2663946"/>
                <a:gd name="connsiteY1176" fmla="*/ 58050 h 349382"/>
                <a:gd name="connsiteX1177" fmla="*/ 888209 w 2663946"/>
                <a:gd name="connsiteY1177" fmla="*/ 55887 h 349382"/>
                <a:gd name="connsiteX1178" fmla="*/ 897796 w 2663946"/>
                <a:gd name="connsiteY1178" fmla="*/ 53453 h 349382"/>
                <a:gd name="connsiteX1179" fmla="*/ 548889 w 2663946"/>
                <a:gd name="connsiteY1179" fmla="*/ 53453 h 349382"/>
                <a:gd name="connsiteX1180" fmla="*/ 561180 w 2663946"/>
                <a:gd name="connsiteY1180" fmla="*/ 55616 h 349382"/>
                <a:gd name="connsiteX1181" fmla="*/ 568554 w 2663946"/>
                <a:gd name="connsiteY1181" fmla="*/ 60213 h 349382"/>
                <a:gd name="connsiteX1182" fmla="*/ 571995 w 2663946"/>
                <a:gd name="connsiteY1182" fmla="*/ 63457 h 349382"/>
                <a:gd name="connsiteX1183" fmla="*/ 575436 w 2663946"/>
                <a:gd name="connsiteY1183" fmla="*/ 67783 h 349382"/>
                <a:gd name="connsiteX1184" fmla="*/ 577403 w 2663946"/>
                <a:gd name="connsiteY1184" fmla="*/ 71298 h 349382"/>
                <a:gd name="connsiteX1185" fmla="*/ 579615 w 2663946"/>
                <a:gd name="connsiteY1185" fmla="*/ 76706 h 349382"/>
                <a:gd name="connsiteX1186" fmla="*/ 580598 w 2663946"/>
                <a:gd name="connsiteY1186" fmla="*/ 80221 h 349382"/>
                <a:gd name="connsiteX1187" fmla="*/ 581581 w 2663946"/>
                <a:gd name="connsiteY1187" fmla="*/ 85358 h 349382"/>
                <a:gd name="connsiteX1188" fmla="*/ 581336 w 2663946"/>
                <a:gd name="connsiteY1188" fmla="*/ 99688 h 349382"/>
                <a:gd name="connsiteX1189" fmla="*/ 580352 w 2663946"/>
                <a:gd name="connsiteY1189" fmla="*/ 104555 h 349382"/>
                <a:gd name="connsiteX1190" fmla="*/ 579123 w 2663946"/>
                <a:gd name="connsiteY1190" fmla="*/ 108340 h 349382"/>
                <a:gd name="connsiteX1191" fmla="*/ 578140 w 2663946"/>
                <a:gd name="connsiteY1191" fmla="*/ 110774 h 349382"/>
                <a:gd name="connsiteX1192" fmla="*/ 575928 w 2663946"/>
                <a:gd name="connsiteY1192" fmla="*/ 115100 h 349382"/>
                <a:gd name="connsiteX1193" fmla="*/ 573715 w 2663946"/>
                <a:gd name="connsiteY1193" fmla="*/ 118344 h 349382"/>
                <a:gd name="connsiteX1194" fmla="*/ 570274 w 2663946"/>
                <a:gd name="connsiteY1194" fmla="*/ 122130 h 349382"/>
                <a:gd name="connsiteX1195" fmla="*/ 567079 w 2663946"/>
                <a:gd name="connsiteY1195" fmla="*/ 124833 h 349382"/>
                <a:gd name="connsiteX1196" fmla="*/ 561425 w 2663946"/>
                <a:gd name="connsiteY1196" fmla="*/ 128078 h 349382"/>
                <a:gd name="connsiteX1197" fmla="*/ 553559 w 2663946"/>
                <a:gd name="connsiteY1197" fmla="*/ 130241 h 349382"/>
                <a:gd name="connsiteX1198" fmla="*/ 552331 w 2663946"/>
                <a:gd name="connsiteY1198" fmla="*/ 130512 h 349382"/>
                <a:gd name="connsiteX1199" fmla="*/ 548152 w 2663946"/>
                <a:gd name="connsiteY1199" fmla="*/ 130512 h 349382"/>
                <a:gd name="connsiteX1200" fmla="*/ 547906 w 2663946"/>
                <a:gd name="connsiteY1200" fmla="*/ 130512 h 349382"/>
                <a:gd name="connsiteX1201" fmla="*/ 534879 w 2663946"/>
                <a:gd name="connsiteY1201" fmla="*/ 125645 h 349382"/>
                <a:gd name="connsiteX1202" fmla="*/ 530208 w 2663946"/>
                <a:gd name="connsiteY1202" fmla="*/ 121589 h 349382"/>
                <a:gd name="connsiteX1203" fmla="*/ 527013 w 2663946"/>
                <a:gd name="connsiteY1203" fmla="*/ 117804 h 349382"/>
                <a:gd name="connsiteX1204" fmla="*/ 524801 w 2663946"/>
                <a:gd name="connsiteY1204" fmla="*/ 114289 h 349382"/>
                <a:gd name="connsiteX1205" fmla="*/ 522588 w 2663946"/>
                <a:gd name="connsiteY1205" fmla="*/ 109963 h 349382"/>
                <a:gd name="connsiteX1206" fmla="*/ 521359 w 2663946"/>
                <a:gd name="connsiteY1206" fmla="*/ 106988 h 349382"/>
                <a:gd name="connsiteX1207" fmla="*/ 520376 w 2663946"/>
                <a:gd name="connsiteY1207" fmla="*/ 103744 h 349382"/>
                <a:gd name="connsiteX1208" fmla="*/ 519147 w 2663946"/>
                <a:gd name="connsiteY1208" fmla="*/ 98066 h 349382"/>
                <a:gd name="connsiteX1209" fmla="*/ 518901 w 2663946"/>
                <a:gd name="connsiteY1209" fmla="*/ 95092 h 349382"/>
                <a:gd name="connsiteX1210" fmla="*/ 519147 w 2663946"/>
                <a:gd name="connsiteY1210" fmla="*/ 95362 h 349382"/>
                <a:gd name="connsiteX1211" fmla="*/ 519147 w 2663946"/>
                <a:gd name="connsiteY1211" fmla="*/ 89684 h 349382"/>
                <a:gd name="connsiteX1212" fmla="*/ 519147 w 2663946"/>
                <a:gd name="connsiteY1212" fmla="*/ 89414 h 349382"/>
                <a:gd name="connsiteX1213" fmla="*/ 519639 w 2663946"/>
                <a:gd name="connsiteY1213" fmla="*/ 84817 h 349382"/>
                <a:gd name="connsiteX1214" fmla="*/ 520868 w 2663946"/>
                <a:gd name="connsiteY1214" fmla="*/ 79410 h 349382"/>
                <a:gd name="connsiteX1215" fmla="*/ 521851 w 2663946"/>
                <a:gd name="connsiteY1215" fmla="*/ 76165 h 349382"/>
                <a:gd name="connsiteX1216" fmla="*/ 524063 w 2663946"/>
                <a:gd name="connsiteY1216" fmla="*/ 71028 h 349382"/>
                <a:gd name="connsiteX1217" fmla="*/ 526275 w 2663946"/>
                <a:gd name="connsiteY1217" fmla="*/ 67243 h 349382"/>
                <a:gd name="connsiteX1218" fmla="*/ 528488 w 2663946"/>
                <a:gd name="connsiteY1218" fmla="*/ 64268 h 349382"/>
                <a:gd name="connsiteX1219" fmla="*/ 530700 w 2663946"/>
                <a:gd name="connsiteY1219" fmla="*/ 61835 h 349382"/>
                <a:gd name="connsiteX1220" fmla="*/ 535370 w 2663946"/>
                <a:gd name="connsiteY1220" fmla="*/ 58050 h 349382"/>
                <a:gd name="connsiteX1221" fmla="*/ 539303 w 2663946"/>
                <a:gd name="connsiteY1221" fmla="*/ 55887 h 349382"/>
                <a:gd name="connsiteX1222" fmla="*/ 548889 w 2663946"/>
                <a:gd name="connsiteY1222" fmla="*/ 53453 h 349382"/>
                <a:gd name="connsiteX1223" fmla="*/ 366938 w 2663946"/>
                <a:gd name="connsiteY1223" fmla="*/ 53453 h 349382"/>
                <a:gd name="connsiteX1224" fmla="*/ 379228 w 2663946"/>
                <a:gd name="connsiteY1224" fmla="*/ 55616 h 349382"/>
                <a:gd name="connsiteX1225" fmla="*/ 386603 w 2663946"/>
                <a:gd name="connsiteY1225" fmla="*/ 60213 h 349382"/>
                <a:gd name="connsiteX1226" fmla="*/ 390044 w 2663946"/>
                <a:gd name="connsiteY1226" fmla="*/ 63457 h 349382"/>
                <a:gd name="connsiteX1227" fmla="*/ 393485 w 2663946"/>
                <a:gd name="connsiteY1227" fmla="*/ 67783 h 349382"/>
                <a:gd name="connsiteX1228" fmla="*/ 395452 w 2663946"/>
                <a:gd name="connsiteY1228" fmla="*/ 71298 h 349382"/>
                <a:gd name="connsiteX1229" fmla="*/ 397664 w 2663946"/>
                <a:gd name="connsiteY1229" fmla="*/ 76706 h 349382"/>
                <a:gd name="connsiteX1230" fmla="*/ 398647 w 2663946"/>
                <a:gd name="connsiteY1230" fmla="*/ 80221 h 349382"/>
                <a:gd name="connsiteX1231" fmla="*/ 399630 w 2663946"/>
                <a:gd name="connsiteY1231" fmla="*/ 85358 h 349382"/>
                <a:gd name="connsiteX1232" fmla="*/ 399384 w 2663946"/>
                <a:gd name="connsiteY1232" fmla="*/ 99688 h 349382"/>
                <a:gd name="connsiteX1233" fmla="*/ 398401 w 2663946"/>
                <a:gd name="connsiteY1233" fmla="*/ 104555 h 349382"/>
                <a:gd name="connsiteX1234" fmla="*/ 397172 w 2663946"/>
                <a:gd name="connsiteY1234" fmla="*/ 108340 h 349382"/>
                <a:gd name="connsiteX1235" fmla="*/ 396189 w 2663946"/>
                <a:gd name="connsiteY1235" fmla="*/ 110774 h 349382"/>
                <a:gd name="connsiteX1236" fmla="*/ 393977 w 2663946"/>
                <a:gd name="connsiteY1236" fmla="*/ 115100 h 349382"/>
                <a:gd name="connsiteX1237" fmla="*/ 391764 w 2663946"/>
                <a:gd name="connsiteY1237" fmla="*/ 118344 h 349382"/>
                <a:gd name="connsiteX1238" fmla="*/ 388323 w 2663946"/>
                <a:gd name="connsiteY1238" fmla="*/ 122130 h 349382"/>
                <a:gd name="connsiteX1239" fmla="*/ 385128 w 2663946"/>
                <a:gd name="connsiteY1239" fmla="*/ 124833 h 349382"/>
                <a:gd name="connsiteX1240" fmla="*/ 379474 w 2663946"/>
                <a:gd name="connsiteY1240" fmla="*/ 128078 h 349382"/>
                <a:gd name="connsiteX1241" fmla="*/ 371609 w 2663946"/>
                <a:gd name="connsiteY1241" fmla="*/ 130241 h 349382"/>
                <a:gd name="connsiteX1242" fmla="*/ 370380 w 2663946"/>
                <a:gd name="connsiteY1242" fmla="*/ 130512 h 349382"/>
                <a:gd name="connsiteX1243" fmla="*/ 366201 w 2663946"/>
                <a:gd name="connsiteY1243" fmla="*/ 130512 h 349382"/>
                <a:gd name="connsiteX1244" fmla="*/ 365955 w 2663946"/>
                <a:gd name="connsiteY1244" fmla="*/ 130512 h 349382"/>
                <a:gd name="connsiteX1245" fmla="*/ 352927 w 2663946"/>
                <a:gd name="connsiteY1245" fmla="*/ 125645 h 349382"/>
                <a:gd name="connsiteX1246" fmla="*/ 348257 w 2663946"/>
                <a:gd name="connsiteY1246" fmla="*/ 121589 h 349382"/>
                <a:gd name="connsiteX1247" fmla="*/ 345062 w 2663946"/>
                <a:gd name="connsiteY1247" fmla="*/ 117804 h 349382"/>
                <a:gd name="connsiteX1248" fmla="*/ 342850 w 2663946"/>
                <a:gd name="connsiteY1248" fmla="*/ 114289 h 349382"/>
                <a:gd name="connsiteX1249" fmla="*/ 340637 w 2663946"/>
                <a:gd name="connsiteY1249" fmla="*/ 109963 h 349382"/>
                <a:gd name="connsiteX1250" fmla="*/ 339408 w 2663946"/>
                <a:gd name="connsiteY1250" fmla="*/ 106988 h 349382"/>
                <a:gd name="connsiteX1251" fmla="*/ 338425 w 2663946"/>
                <a:gd name="connsiteY1251" fmla="*/ 103744 h 349382"/>
                <a:gd name="connsiteX1252" fmla="*/ 337196 w 2663946"/>
                <a:gd name="connsiteY1252" fmla="*/ 98066 h 349382"/>
                <a:gd name="connsiteX1253" fmla="*/ 336950 w 2663946"/>
                <a:gd name="connsiteY1253" fmla="*/ 95092 h 349382"/>
                <a:gd name="connsiteX1254" fmla="*/ 337196 w 2663946"/>
                <a:gd name="connsiteY1254" fmla="*/ 95362 h 349382"/>
                <a:gd name="connsiteX1255" fmla="*/ 337196 w 2663946"/>
                <a:gd name="connsiteY1255" fmla="*/ 89684 h 349382"/>
                <a:gd name="connsiteX1256" fmla="*/ 337196 w 2663946"/>
                <a:gd name="connsiteY1256" fmla="*/ 89414 h 349382"/>
                <a:gd name="connsiteX1257" fmla="*/ 337687 w 2663946"/>
                <a:gd name="connsiteY1257" fmla="*/ 84817 h 349382"/>
                <a:gd name="connsiteX1258" fmla="*/ 338917 w 2663946"/>
                <a:gd name="connsiteY1258" fmla="*/ 79410 h 349382"/>
                <a:gd name="connsiteX1259" fmla="*/ 339900 w 2663946"/>
                <a:gd name="connsiteY1259" fmla="*/ 76165 h 349382"/>
                <a:gd name="connsiteX1260" fmla="*/ 342112 w 2663946"/>
                <a:gd name="connsiteY1260" fmla="*/ 71028 h 349382"/>
                <a:gd name="connsiteX1261" fmla="*/ 344324 w 2663946"/>
                <a:gd name="connsiteY1261" fmla="*/ 67243 h 349382"/>
                <a:gd name="connsiteX1262" fmla="*/ 346536 w 2663946"/>
                <a:gd name="connsiteY1262" fmla="*/ 64268 h 349382"/>
                <a:gd name="connsiteX1263" fmla="*/ 348749 w 2663946"/>
                <a:gd name="connsiteY1263" fmla="*/ 61835 h 349382"/>
                <a:gd name="connsiteX1264" fmla="*/ 353419 w 2663946"/>
                <a:gd name="connsiteY1264" fmla="*/ 58050 h 349382"/>
                <a:gd name="connsiteX1265" fmla="*/ 357352 w 2663946"/>
                <a:gd name="connsiteY1265" fmla="*/ 55887 h 349382"/>
                <a:gd name="connsiteX1266" fmla="*/ 366938 w 2663946"/>
                <a:gd name="connsiteY1266" fmla="*/ 53453 h 349382"/>
                <a:gd name="connsiteX1267" fmla="*/ 123893 w 2663946"/>
                <a:gd name="connsiteY1267" fmla="*/ 53453 h 349382"/>
                <a:gd name="connsiteX1268" fmla="*/ 136183 w 2663946"/>
                <a:gd name="connsiteY1268" fmla="*/ 55616 h 349382"/>
                <a:gd name="connsiteX1269" fmla="*/ 143557 w 2663946"/>
                <a:gd name="connsiteY1269" fmla="*/ 60213 h 349382"/>
                <a:gd name="connsiteX1270" fmla="*/ 146998 w 2663946"/>
                <a:gd name="connsiteY1270" fmla="*/ 63457 h 349382"/>
                <a:gd name="connsiteX1271" fmla="*/ 150439 w 2663946"/>
                <a:gd name="connsiteY1271" fmla="*/ 67783 h 349382"/>
                <a:gd name="connsiteX1272" fmla="*/ 152406 w 2663946"/>
                <a:gd name="connsiteY1272" fmla="*/ 71298 h 349382"/>
                <a:gd name="connsiteX1273" fmla="*/ 154618 w 2663946"/>
                <a:gd name="connsiteY1273" fmla="*/ 76706 h 349382"/>
                <a:gd name="connsiteX1274" fmla="*/ 155601 w 2663946"/>
                <a:gd name="connsiteY1274" fmla="*/ 80221 h 349382"/>
                <a:gd name="connsiteX1275" fmla="*/ 156584 w 2663946"/>
                <a:gd name="connsiteY1275" fmla="*/ 85358 h 349382"/>
                <a:gd name="connsiteX1276" fmla="*/ 156339 w 2663946"/>
                <a:gd name="connsiteY1276" fmla="*/ 99688 h 349382"/>
                <a:gd name="connsiteX1277" fmla="*/ 155355 w 2663946"/>
                <a:gd name="connsiteY1277" fmla="*/ 104555 h 349382"/>
                <a:gd name="connsiteX1278" fmla="*/ 154126 w 2663946"/>
                <a:gd name="connsiteY1278" fmla="*/ 108340 h 349382"/>
                <a:gd name="connsiteX1279" fmla="*/ 153143 w 2663946"/>
                <a:gd name="connsiteY1279" fmla="*/ 110774 h 349382"/>
                <a:gd name="connsiteX1280" fmla="*/ 150931 w 2663946"/>
                <a:gd name="connsiteY1280" fmla="*/ 115100 h 349382"/>
                <a:gd name="connsiteX1281" fmla="*/ 148719 w 2663946"/>
                <a:gd name="connsiteY1281" fmla="*/ 118344 h 349382"/>
                <a:gd name="connsiteX1282" fmla="*/ 145277 w 2663946"/>
                <a:gd name="connsiteY1282" fmla="*/ 122130 h 349382"/>
                <a:gd name="connsiteX1283" fmla="*/ 142082 w 2663946"/>
                <a:gd name="connsiteY1283" fmla="*/ 124833 h 349382"/>
                <a:gd name="connsiteX1284" fmla="*/ 136428 w 2663946"/>
                <a:gd name="connsiteY1284" fmla="*/ 128078 h 349382"/>
                <a:gd name="connsiteX1285" fmla="*/ 128563 w 2663946"/>
                <a:gd name="connsiteY1285" fmla="*/ 130241 h 349382"/>
                <a:gd name="connsiteX1286" fmla="*/ 127334 w 2663946"/>
                <a:gd name="connsiteY1286" fmla="*/ 130512 h 349382"/>
                <a:gd name="connsiteX1287" fmla="*/ 123155 w 2663946"/>
                <a:gd name="connsiteY1287" fmla="*/ 130512 h 349382"/>
                <a:gd name="connsiteX1288" fmla="*/ 122909 w 2663946"/>
                <a:gd name="connsiteY1288" fmla="*/ 130512 h 349382"/>
                <a:gd name="connsiteX1289" fmla="*/ 109882 w 2663946"/>
                <a:gd name="connsiteY1289" fmla="*/ 125645 h 349382"/>
                <a:gd name="connsiteX1290" fmla="*/ 105211 w 2663946"/>
                <a:gd name="connsiteY1290" fmla="*/ 121589 h 349382"/>
                <a:gd name="connsiteX1291" fmla="*/ 102016 w 2663946"/>
                <a:gd name="connsiteY1291" fmla="*/ 117804 h 349382"/>
                <a:gd name="connsiteX1292" fmla="*/ 99804 w 2663946"/>
                <a:gd name="connsiteY1292" fmla="*/ 114289 h 349382"/>
                <a:gd name="connsiteX1293" fmla="*/ 97591 w 2663946"/>
                <a:gd name="connsiteY1293" fmla="*/ 109963 h 349382"/>
                <a:gd name="connsiteX1294" fmla="*/ 96362 w 2663946"/>
                <a:gd name="connsiteY1294" fmla="*/ 106988 h 349382"/>
                <a:gd name="connsiteX1295" fmla="*/ 95379 w 2663946"/>
                <a:gd name="connsiteY1295" fmla="*/ 103744 h 349382"/>
                <a:gd name="connsiteX1296" fmla="*/ 94150 w 2663946"/>
                <a:gd name="connsiteY1296" fmla="*/ 98066 h 349382"/>
                <a:gd name="connsiteX1297" fmla="*/ 93904 w 2663946"/>
                <a:gd name="connsiteY1297" fmla="*/ 95092 h 349382"/>
                <a:gd name="connsiteX1298" fmla="*/ 94150 w 2663946"/>
                <a:gd name="connsiteY1298" fmla="*/ 95362 h 349382"/>
                <a:gd name="connsiteX1299" fmla="*/ 94150 w 2663946"/>
                <a:gd name="connsiteY1299" fmla="*/ 89684 h 349382"/>
                <a:gd name="connsiteX1300" fmla="*/ 94150 w 2663946"/>
                <a:gd name="connsiteY1300" fmla="*/ 89414 h 349382"/>
                <a:gd name="connsiteX1301" fmla="*/ 94642 w 2663946"/>
                <a:gd name="connsiteY1301" fmla="*/ 84817 h 349382"/>
                <a:gd name="connsiteX1302" fmla="*/ 95871 w 2663946"/>
                <a:gd name="connsiteY1302" fmla="*/ 79410 h 349382"/>
                <a:gd name="connsiteX1303" fmla="*/ 96854 w 2663946"/>
                <a:gd name="connsiteY1303" fmla="*/ 76165 h 349382"/>
                <a:gd name="connsiteX1304" fmla="*/ 99066 w 2663946"/>
                <a:gd name="connsiteY1304" fmla="*/ 71028 h 349382"/>
                <a:gd name="connsiteX1305" fmla="*/ 101279 w 2663946"/>
                <a:gd name="connsiteY1305" fmla="*/ 67243 h 349382"/>
                <a:gd name="connsiteX1306" fmla="*/ 103491 w 2663946"/>
                <a:gd name="connsiteY1306" fmla="*/ 64268 h 349382"/>
                <a:gd name="connsiteX1307" fmla="*/ 105703 w 2663946"/>
                <a:gd name="connsiteY1307" fmla="*/ 61835 h 349382"/>
                <a:gd name="connsiteX1308" fmla="*/ 110373 w 2663946"/>
                <a:gd name="connsiteY1308" fmla="*/ 58050 h 349382"/>
                <a:gd name="connsiteX1309" fmla="*/ 114306 w 2663946"/>
                <a:gd name="connsiteY1309" fmla="*/ 55887 h 349382"/>
                <a:gd name="connsiteX1310" fmla="*/ 123893 w 2663946"/>
                <a:gd name="connsiteY1310" fmla="*/ 53453 h 349382"/>
                <a:gd name="connsiteX1311" fmla="*/ 33147 w 2663946"/>
                <a:gd name="connsiteY1311" fmla="*/ 52815 h 349382"/>
                <a:gd name="connsiteX1312" fmla="*/ 57942 w 2663946"/>
                <a:gd name="connsiteY1312" fmla="*/ 73024 h 349382"/>
                <a:gd name="connsiteX1313" fmla="*/ 58422 w 2663946"/>
                <a:gd name="connsiteY1313" fmla="*/ 77782 h 349382"/>
                <a:gd name="connsiteX1314" fmla="*/ 59840 w 2663946"/>
                <a:gd name="connsiteY1314" fmla="*/ 77782 h 349382"/>
                <a:gd name="connsiteX1315" fmla="*/ 66294 w 2663946"/>
                <a:gd name="connsiteY1315" fmla="*/ 84068 h 349382"/>
                <a:gd name="connsiteX1316" fmla="*/ 66294 w 2663946"/>
                <a:gd name="connsiteY1316" fmla="*/ 133790 h 349382"/>
                <a:gd name="connsiteX1317" fmla="*/ 59840 w 2663946"/>
                <a:gd name="connsiteY1317" fmla="*/ 140076 h 349382"/>
                <a:gd name="connsiteX1318" fmla="*/ 6453 w 2663946"/>
                <a:gd name="connsiteY1318" fmla="*/ 140076 h 349382"/>
                <a:gd name="connsiteX1319" fmla="*/ 0 w 2663946"/>
                <a:gd name="connsiteY1319" fmla="*/ 133790 h 349382"/>
                <a:gd name="connsiteX1320" fmla="*/ 0 w 2663946"/>
                <a:gd name="connsiteY1320" fmla="*/ 84068 h 349382"/>
                <a:gd name="connsiteX1321" fmla="*/ 6453 w 2663946"/>
                <a:gd name="connsiteY1321" fmla="*/ 77782 h 349382"/>
                <a:gd name="connsiteX1322" fmla="*/ 7288 w 2663946"/>
                <a:gd name="connsiteY1322" fmla="*/ 77782 h 349382"/>
                <a:gd name="connsiteX1323" fmla="*/ 7872 w 2663946"/>
                <a:gd name="connsiteY1323" fmla="*/ 77782 h 349382"/>
                <a:gd name="connsiteX1324" fmla="*/ 8351 w 2663946"/>
                <a:gd name="connsiteY1324" fmla="*/ 73024 h 349382"/>
                <a:gd name="connsiteX1325" fmla="*/ 33147 w 2663946"/>
                <a:gd name="connsiteY1325" fmla="*/ 52815 h 349382"/>
                <a:gd name="connsiteX1326" fmla="*/ 2537931 w 2663946"/>
                <a:gd name="connsiteY1326" fmla="*/ 45227 h 349382"/>
                <a:gd name="connsiteX1327" fmla="*/ 2562727 w 2663946"/>
                <a:gd name="connsiteY1327" fmla="*/ 65436 h 349382"/>
                <a:gd name="connsiteX1328" fmla="*/ 2563206 w 2663946"/>
                <a:gd name="connsiteY1328" fmla="*/ 70194 h 349382"/>
                <a:gd name="connsiteX1329" fmla="*/ 2564625 w 2663946"/>
                <a:gd name="connsiteY1329" fmla="*/ 70194 h 349382"/>
                <a:gd name="connsiteX1330" fmla="*/ 2571078 w 2663946"/>
                <a:gd name="connsiteY1330" fmla="*/ 76480 h 349382"/>
                <a:gd name="connsiteX1331" fmla="*/ 2571078 w 2663946"/>
                <a:gd name="connsiteY1331" fmla="*/ 126202 h 349382"/>
                <a:gd name="connsiteX1332" fmla="*/ 2564625 w 2663946"/>
                <a:gd name="connsiteY1332" fmla="*/ 132488 h 349382"/>
                <a:gd name="connsiteX1333" fmla="*/ 2511238 w 2663946"/>
                <a:gd name="connsiteY1333" fmla="*/ 132488 h 349382"/>
                <a:gd name="connsiteX1334" fmla="*/ 2504784 w 2663946"/>
                <a:gd name="connsiteY1334" fmla="*/ 126202 h 349382"/>
                <a:gd name="connsiteX1335" fmla="*/ 2504784 w 2663946"/>
                <a:gd name="connsiteY1335" fmla="*/ 76480 h 349382"/>
                <a:gd name="connsiteX1336" fmla="*/ 2511238 w 2663946"/>
                <a:gd name="connsiteY1336" fmla="*/ 70194 h 349382"/>
                <a:gd name="connsiteX1337" fmla="*/ 2512072 w 2663946"/>
                <a:gd name="connsiteY1337" fmla="*/ 70194 h 349382"/>
                <a:gd name="connsiteX1338" fmla="*/ 2512656 w 2663946"/>
                <a:gd name="connsiteY1338" fmla="*/ 70194 h 349382"/>
                <a:gd name="connsiteX1339" fmla="*/ 2513136 w 2663946"/>
                <a:gd name="connsiteY1339" fmla="*/ 65436 h 349382"/>
                <a:gd name="connsiteX1340" fmla="*/ 2537931 w 2663946"/>
                <a:gd name="connsiteY1340" fmla="*/ 45227 h 349382"/>
                <a:gd name="connsiteX1341" fmla="*/ 2112934 w 2663946"/>
                <a:gd name="connsiteY1341" fmla="*/ 45227 h 349382"/>
                <a:gd name="connsiteX1342" fmla="*/ 2137730 w 2663946"/>
                <a:gd name="connsiteY1342" fmla="*/ 65436 h 349382"/>
                <a:gd name="connsiteX1343" fmla="*/ 2138209 w 2663946"/>
                <a:gd name="connsiteY1343" fmla="*/ 70194 h 349382"/>
                <a:gd name="connsiteX1344" fmla="*/ 2139628 w 2663946"/>
                <a:gd name="connsiteY1344" fmla="*/ 70194 h 349382"/>
                <a:gd name="connsiteX1345" fmla="*/ 2146081 w 2663946"/>
                <a:gd name="connsiteY1345" fmla="*/ 76480 h 349382"/>
                <a:gd name="connsiteX1346" fmla="*/ 2146081 w 2663946"/>
                <a:gd name="connsiteY1346" fmla="*/ 126202 h 349382"/>
                <a:gd name="connsiteX1347" fmla="*/ 2139628 w 2663946"/>
                <a:gd name="connsiteY1347" fmla="*/ 132488 h 349382"/>
                <a:gd name="connsiteX1348" fmla="*/ 2086241 w 2663946"/>
                <a:gd name="connsiteY1348" fmla="*/ 132488 h 349382"/>
                <a:gd name="connsiteX1349" fmla="*/ 2079787 w 2663946"/>
                <a:gd name="connsiteY1349" fmla="*/ 126202 h 349382"/>
                <a:gd name="connsiteX1350" fmla="*/ 2079787 w 2663946"/>
                <a:gd name="connsiteY1350" fmla="*/ 76480 h 349382"/>
                <a:gd name="connsiteX1351" fmla="*/ 2086241 w 2663946"/>
                <a:gd name="connsiteY1351" fmla="*/ 70194 h 349382"/>
                <a:gd name="connsiteX1352" fmla="*/ 2087075 w 2663946"/>
                <a:gd name="connsiteY1352" fmla="*/ 70194 h 349382"/>
                <a:gd name="connsiteX1353" fmla="*/ 2087659 w 2663946"/>
                <a:gd name="connsiteY1353" fmla="*/ 70194 h 349382"/>
                <a:gd name="connsiteX1354" fmla="*/ 2088139 w 2663946"/>
                <a:gd name="connsiteY1354" fmla="*/ 65436 h 349382"/>
                <a:gd name="connsiteX1355" fmla="*/ 2112934 w 2663946"/>
                <a:gd name="connsiteY1355" fmla="*/ 45227 h 349382"/>
                <a:gd name="connsiteX1356" fmla="*/ 1854966 w 2663946"/>
                <a:gd name="connsiteY1356" fmla="*/ 45227 h 349382"/>
                <a:gd name="connsiteX1357" fmla="*/ 1879762 w 2663946"/>
                <a:gd name="connsiteY1357" fmla="*/ 65436 h 349382"/>
                <a:gd name="connsiteX1358" fmla="*/ 1880241 w 2663946"/>
                <a:gd name="connsiteY1358" fmla="*/ 70194 h 349382"/>
                <a:gd name="connsiteX1359" fmla="*/ 1881660 w 2663946"/>
                <a:gd name="connsiteY1359" fmla="*/ 70194 h 349382"/>
                <a:gd name="connsiteX1360" fmla="*/ 1888113 w 2663946"/>
                <a:gd name="connsiteY1360" fmla="*/ 76480 h 349382"/>
                <a:gd name="connsiteX1361" fmla="*/ 1888113 w 2663946"/>
                <a:gd name="connsiteY1361" fmla="*/ 126202 h 349382"/>
                <a:gd name="connsiteX1362" fmla="*/ 1881660 w 2663946"/>
                <a:gd name="connsiteY1362" fmla="*/ 132488 h 349382"/>
                <a:gd name="connsiteX1363" fmla="*/ 1828273 w 2663946"/>
                <a:gd name="connsiteY1363" fmla="*/ 132488 h 349382"/>
                <a:gd name="connsiteX1364" fmla="*/ 1821819 w 2663946"/>
                <a:gd name="connsiteY1364" fmla="*/ 126202 h 349382"/>
                <a:gd name="connsiteX1365" fmla="*/ 1821819 w 2663946"/>
                <a:gd name="connsiteY1365" fmla="*/ 76480 h 349382"/>
                <a:gd name="connsiteX1366" fmla="*/ 1828273 w 2663946"/>
                <a:gd name="connsiteY1366" fmla="*/ 70194 h 349382"/>
                <a:gd name="connsiteX1367" fmla="*/ 1829107 w 2663946"/>
                <a:gd name="connsiteY1367" fmla="*/ 70194 h 349382"/>
                <a:gd name="connsiteX1368" fmla="*/ 1829691 w 2663946"/>
                <a:gd name="connsiteY1368" fmla="*/ 70194 h 349382"/>
                <a:gd name="connsiteX1369" fmla="*/ 1830171 w 2663946"/>
                <a:gd name="connsiteY1369" fmla="*/ 65436 h 349382"/>
                <a:gd name="connsiteX1370" fmla="*/ 1854966 w 2663946"/>
                <a:gd name="connsiteY1370" fmla="*/ 45227 h 349382"/>
                <a:gd name="connsiteX1371" fmla="*/ 1764027 w 2663946"/>
                <a:gd name="connsiteY1371" fmla="*/ 45227 h 349382"/>
                <a:gd name="connsiteX1372" fmla="*/ 1788823 w 2663946"/>
                <a:gd name="connsiteY1372" fmla="*/ 65436 h 349382"/>
                <a:gd name="connsiteX1373" fmla="*/ 1789302 w 2663946"/>
                <a:gd name="connsiteY1373" fmla="*/ 70194 h 349382"/>
                <a:gd name="connsiteX1374" fmla="*/ 1790721 w 2663946"/>
                <a:gd name="connsiteY1374" fmla="*/ 70194 h 349382"/>
                <a:gd name="connsiteX1375" fmla="*/ 1797174 w 2663946"/>
                <a:gd name="connsiteY1375" fmla="*/ 76480 h 349382"/>
                <a:gd name="connsiteX1376" fmla="*/ 1797174 w 2663946"/>
                <a:gd name="connsiteY1376" fmla="*/ 126202 h 349382"/>
                <a:gd name="connsiteX1377" fmla="*/ 1790721 w 2663946"/>
                <a:gd name="connsiteY1377" fmla="*/ 132488 h 349382"/>
                <a:gd name="connsiteX1378" fmla="*/ 1737333 w 2663946"/>
                <a:gd name="connsiteY1378" fmla="*/ 132488 h 349382"/>
                <a:gd name="connsiteX1379" fmla="*/ 1730880 w 2663946"/>
                <a:gd name="connsiteY1379" fmla="*/ 126202 h 349382"/>
                <a:gd name="connsiteX1380" fmla="*/ 1730880 w 2663946"/>
                <a:gd name="connsiteY1380" fmla="*/ 76480 h 349382"/>
                <a:gd name="connsiteX1381" fmla="*/ 1737333 w 2663946"/>
                <a:gd name="connsiteY1381" fmla="*/ 70194 h 349382"/>
                <a:gd name="connsiteX1382" fmla="*/ 1738168 w 2663946"/>
                <a:gd name="connsiteY1382" fmla="*/ 70194 h 349382"/>
                <a:gd name="connsiteX1383" fmla="*/ 1738752 w 2663946"/>
                <a:gd name="connsiteY1383" fmla="*/ 70194 h 349382"/>
                <a:gd name="connsiteX1384" fmla="*/ 1739232 w 2663946"/>
                <a:gd name="connsiteY1384" fmla="*/ 65436 h 349382"/>
                <a:gd name="connsiteX1385" fmla="*/ 1764027 w 2663946"/>
                <a:gd name="connsiteY1385" fmla="*/ 45227 h 349382"/>
                <a:gd name="connsiteX1386" fmla="*/ 1506059 w 2663946"/>
                <a:gd name="connsiteY1386" fmla="*/ 45227 h 349382"/>
                <a:gd name="connsiteX1387" fmla="*/ 1530855 w 2663946"/>
                <a:gd name="connsiteY1387" fmla="*/ 65436 h 349382"/>
                <a:gd name="connsiteX1388" fmla="*/ 1531334 w 2663946"/>
                <a:gd name="connsiteY1388" fmla="*/ 70194 h 349382"/>
                <a:gd name="connsiteX1389" fmla="*/ 1532753 w 2663946"/>
                <a:gd name="connsiteY1389" fmla="*/ 70194 h 349382"/>
                <a:gd name="connsiteX1390" fmla="*/ 1539206 w 2663946"/>
                <a:gd name="connsiteY1390" fmla="*/ 76480 h 349382"/>
                <a:gd name="connsiteX1391" fmla="*/ 1539206 w 2663946"/>
                <a:gd name="connsiteY1391" fmla="*/ 126202 h 349382"/>
                <a:gd name="connsiteX1392" fmla="*/ 1532753 w 2663946"/>
                <a:gd name="connsiteY1392" fmla="*/ 132488 h 349382"/>
                <a:gd name="connsiteX1393" fmla="*/ 1479365 w 2663946"/>
                <a:gd name="connsiteY1393" fmla="*/ 132488 h 349382"/>
                <a:gd name="connsiteX1394" fmla="*/ 1472912 w 2663946"/>
                <a:gd name="connsiteY1394" fmla="*/ 126202 h 349382"/>
                <a:gd name="connsiteX1395" fmla="*/ 1472912 w 2663946"/>
                <a:gd name="connsiteY1395" fmla="*/ 76480 h 349382"/>
                <a:gd name="connsiteX1396" fmla="*/ 1479365 w 2663946"/>
                <a:gd name="connsiteY1396" fmla="*/ 70194 h 349382"/>
                <a:gd name="connsiteX1397" fmla="*/ 1480200 w 2663946"/>
                <a:gd name="connsiteY1397" fmla="*/ 70194 h 349382"/>
                <a:gd name="connsiteX1398" fmla="*/ 1480784 w 2663946"/>
                <a:gd name="connsiteY1398" fmla="*/ 70194 h 349382"/>
                <a:gd name="connsiteX1399" fmla="*/ 1481264 w 2663946"/>
                <a:gd name="connsiteY1399" fmla="*/ 65436 h 349382"/>
                <a:gd name="connsiteX1400" fmla="*/ 1506059 w 2663946"/>
                <a:gd name="connsiteY1400" fmla="*/ 45227 h 349382"/>
                <a:gd name="connsiteX1401" fmla="*/ 1415120 w 2663946"/>
                <a:gd name="connsiteY1401" fmla="*/ 45227 h 349382"/>
                <a:gd name="connsiteX1402" fmla="*/ 1439916 w 2663946"/>
                <a:gd name="connsiteY1402" fmla="*/ 65436 h 349382"/>
                <a:gd name="connsiteX1403" fmla="*/ 1440395 w 2663946"/>
                <a:gd name="connsiteY1403" fmla="*/ 70194 h 349382"/>
                <a:gd name="connsiteX1404" fmla="*/ 1441814 w 2663946"/>
                <a:gd name="connsiteY1404" fmla="*/ 70194 h 349382"/>
                <a:gd name="connsiteX1405" fmla="*/ 1448267 w 2663946"/>
                <a:gd name="connsiteY1405" fmla="*/ 76480 h 349382"/>
                <a:gd name="connsiteX1406" fmla="*/ 1448267 w 2663946"/>
                <a:gd name="connsiteY1406" fmla="*/ 126202 h 349382"/>
                <a:gd name="connsiteX1407" fmla="*/ 1441814 w 2663946"/>
                <a:gd name="connsiteY1407" fmla="*/ 132488 h 349382"/>
                <a:gd name="connsiteX1408" fmla="*/ 1388426 w 2663946"/>
                <a:gd name="connsiteY1408" fmla="*/ 132488 h 349382"/>
                <a:gd name="connsiteX1409" fmla="*/ 1381973 w 2663946"/>
                <a:gd name="connsiteY1409" fmla="*/ 126202 h 349382"/>
                <a:gd name="connsiteX1410" fmla="*/ 1381973 w 2663946"/>
                <a:gd name="connsiteY1410" fmla="*/ 76480 h 349382"/>
                <a:gd name="connsiteX1411" fmla="*/ 1388426 w 2663946"/>
                <a:gd name="connsiteY1411" fmla="*/ 70194 h 349382"/>
                <a:gd name="connsiteX1412" fmla="*/ 1389261 w 2663946"/>
                <a:gd name="connsiteY1412" fmla="*/ 70194 h 349382"/>
                <a:gd name="connsiteX1413" fmla="*/ 1389845 w 2663946"/>
                <a:gd name="connsiteY1413" fmla="*/ 70194 h 349382"/>
                <a:gd name="connsiteX1414" fmla="*/ 1390325 w 2663946"/>
                <a:gd name="connsiteY1414" fmla="*/ 65436 h 349382"/>
                <a:gd name="connsiteX1415" fmla="*/ 1415120 w 2663946"/>
                <a:gd name="connsiteY1415" fmla="*/ 45227 h 349382"/>
                <a:gd name="connsiteX1416" fmla="*/ 1157152 w 2663946"/>
                <a:gd name="connsiteY1416" fmla="*/ 45227 h 349382"/>
                <a:gd name="connsiteX1417" fmla="*/ 1181948 w 2663946"/>
                <a:gd name="connsiteY1417" fmla="*/ 65436 h 349382"/>
                <a:gd name="connsiteX1418" fmla="*/ 1182427 w 2663946"/>
                <a:gd name="connsiteY1418" fmla="*/ 70194 h 349382"/>
                <a:gd name="connsiteX1419" fmla="*/ 1183846 w 2663946"/>
                <a:gd name="connsiteY1419" fmla="*/ 70194 h 349382"/>
                <a:gd name="connsiteX1420" fmla="*/ 1190299 w 2663946"/>
                <a:gd name="connsiteY1420" fmla="*/ 76480 h 349382"/>
                <a:gd name="connsiteX1421" fmla="*/ 1190299 w 2663946"/>
                <a:gd name="connsiteY1421" fmla="*/ 126202 h 349382"/>
                <a:gd name="connsiteX1422" fmla="*/ 1183846 w 2663946"/>
                <a:gd name="connsiteY1422" fmla="*/ 132488 h 349382"/>
                <a:gd name="connsiteX1423" fmla="*/ 1130458 w 2663946"/>
                <a:gd name="connsiteY1423" fmla="*/ 132488 h 349382"/>
                <a:gd name="connsiteX1424" fmla="*/ 1124005 w 2663946"/>
                <a:gd name="connsiteY1424" fmla="*/ 126202 h 349382"/>
                <a:gd name="connsiteX1425" fmla="*/ 1124005 w 2663946"/>
                <a:gd name="connsiteY1425" fmla="*/ 76480 h 349382"/>
                <a:gd name="connsiteX1426" fmla="*/ 1130458 w 2663946"/>
                <a:gd name="connsiteY1426" fmla="*/ 70194 h 349382"/>
                <a:gd name="connsiteX1427" fmla="*/ 1131293 w 2663946"/>
                <a:gd name="connsiteY1427" fmla="*/ 70194 h 349382"/>
                <a:gd name="connsiteX1428" fmla="*/ 1131877 w 2663946"/>
                <a:gd name="connsiteY1428" fmla="*/ 70194 h 349382"/>
                <a:gd name="connsiteX1429" fmla="*/ 1132357 w 2663946"/>
                <a:gd name="connsiteY1429" fmla="*/ 65436 h 349382"/>
                <a:gd name="connsiteX1430" fmla="*/ 1157152 w 2663946"/>
                <a:gd name="connsiteY1430" fmla="*/ 45227 h 349382"/>
                <a:gd name="connsiteX1431" fmla="*/ 732156 w 2663946"/>
                <a:gd name="connsiteY1431" fmla="*/ 45227 h 349382"/>
                <a:gd name="connsiteX1432" fmla="*/ 756951 w 2663946"/>
                <a:gd name="connsiteY1432" fmla="*/ 65436 h 349382"/>
                <a:gd name="connsiteX1433" fmla="*/ 757431 w 2663946"/>
                <a:gd name="connsiteY1433" fmla="*/ 70194 h 349382"/>
                <a:gd name="connsiteX1434" fmla="*/ 758849 w 2663946"/>
                <a:gd name="connsiteY1434" fmla="*/ 70194 h 349382"/>
                <a:gd name="connsiteX1435" fmla="*/ 765303 w 2663946"/>
                <a:gd name="connsiteY1435" fmla="*/ 76480 h 349382"/>
                <a:gd name="connsiteX1436" fmla="*/ 765303 w 2663946"/>
                <a:gd name="connsiteY1436" fmla="*/ 126202 h 349382"/>
                <a:gd name="connsiteX1437" fmla="*/ 758849 w 2663946"/>
                <a:gd name="connsiteY1437" fmla="*/ 132488 h 349382"/>
                <a:gd name="connsiteX1438" fmla="*/ 705462 w 2663946"/>
                <a:gd name="connsiteY1438" fmla="*/ 132488 h 349382"/>
                <a:gd name="connsiteX1439" fmla="*/ 699009 w 2663946"/>
                <a:gd name="connsiteY1439" fmla="*/ 126202 h 349382"/>
                <a:gd name="connsiteX1440" fmla="*/ 699009 w 2663946"/>
                <a:gd name="connsiteY1440" fmla="*/ 76480 h 349382"/>
                <a:gd name="connsiteX1441" fmla="*/ 705462 w 2663946"/>
                <a:gd name="connsiteY1441" fmla="*/ 70194 h 349382"/>
                <a:gd name="connsiteX1442" fmla="*/ 706296 w 2663946"/>
                <a:gd name="connsiteY1442" fmla="*/ 70194 h 349382"/>
                <a:gd name="connsiteX1443" fmla="*/ 706881 w 2663946"/>
                <a:gd name="connsiteY1443" fmla="*/ 70194 h 349382"/>
                <a:gd name="connsiteX1444" fmla="*/ 707360 w 2663946"/>
                <a:gd name="connsiteY1444" fmla="*/ 65436 h 349382"/>
                <a:gd name="connsiteX1445" fmla="*/ 732156 w 2663946"/>
                <a:gd name="connsiteY1445" fmla="*/ 45227 h 349382"/>
                <a:gd name="connsiteX1446" fmla="*/ 641217 w 2663946"/>
                <a:gd name="connsiteY1446" fmla="*/ 45227 h 349382"/>
                <a:gd name="connsiteX1447" fmla="*/ 666012 w 2663946"/>
                <a:gd name="connsiteY1447" fmla="*/ 65436 h 349382"/>
                <a:gd name="connsiteX1448" fmla="*/ 666492 w 2663946"/>
                <a:gd name="connsiteY1448" fmla="*/ 70194 h 349382"/>
                <a:gd name="connsiteX1449" fmla="*/ 667910 w 2663946"/>
                <a:gd name="connsiteY1449" fmla="*/ 70194 h 349382"/>
                <a:gd name="connsiteX1450" fmla="*/ 674364 w 2663946"/>
                <a:gd name="connsiteY1450" fmla="*/ 76480 h 349382"/>
                <a:gd name="connsiteX1451" fmla="*/ 674364 w 2663946"/>
                <a:gd name="connsiteY1451" fmla="*/ 126202 h 349382"/>
                <a:gd name="connsiteX1452" fmla="*/ 667910 w 2663946"/>
                <a:gd name="connsiteY1452" fmla="*/ 132488 h 349382"/>
                <a:gd name="connsiteX1453" fmla="*/ 614523 w 2663946"/>
                <a:gd name="connsiteY1453" fmla="*/ 132488 h 349382"/>
                <a:gd name="connsiteX1454" fmla="*/ 608070 w 2663946"/>
                <a:gd name="connsiteY1454" fmla="*/ 126202 h 349382"/>
                <a:gd name="connsiteX1455" fmla="*/ 608070 w 2663946"/>
                <a:gd name="connsiteY1455" fmla="*/ 76480 h 349382"/>
                <a:gd name="connsiteX1456" fmla="*/ 614523 w 2663946"/>
                <a:gd name="connsiteY1456" fmla="*/ 70194 h 349382"/>
                <a:gd name="connsiteX1457" fmla="*/ 615358 w 2663946"/>
                <a:gd name="connsiteY1457" fmla="*/ 70194 h 349382"/>
                <a:gd name="connsiteX1458" fmla="*/ 615942 w 2663946"/>
                <a:gd name="connsiteY1458" fmla="*/ 70194 h 349382"/>
                <a:gd name="connsiteX1459" fmla="*/ 616422 w 2663946"/>
                <a:gd name="connsiteY1459" fmla="*/ 65436 h 349382"/>
                <a:gd name="connsiteX1460" fmla="*/ 641217 w 2663946"/>
                <a:gd name="connsiteY1460" fmla="*/ 45227 h 349382"/>
                <a:gd name="connsiteX1461" fmla="*/ 459266 w 2663946"/>
                <a:gd name="connsiteY1461" fmla="*/ 45227 h 349382"/>
                <a:gd name="connsiteX1462" fmla="*/ 484061 w 2663946"/>
                <a:gd name="connsiteY1462" fmla="*/ 65436 h 349382"/>
                <a:gd name="connsiteX1463" fmla="*/ 484541 w 2663946"/>
                <a:gd name="connsiteY1463" fmla="*/ 70194 h 349382"/>
                <a:gd name="connsiteX1464" fmla="*/ 485959 w 2663946"/>
                <a:gd name="connsiteY1464" fmla="*/ 70194 h 349382"/>
                <a:gd name="connsiteX1465" fmla="*/ 492413 w 2663946"/>
                <a:gd name="connsiteY1465" fmla="*/ 76480 h 349382"/>
                <a:gd name="connsiteX1466" fmla="*/ 492413 w 2663946"/>
                <a:gd name="connsiteY1466" fmla="*/ 126202 h 349382"/>
                <a:gd name="connsiteX1467" fmla="*/ 485959 w 2663946"/>
                <a:gd name="connsiteY1467" fmla="*/ 132488 h 349382"/>
                <a:gd name="connsiteX1468" fmla="*/ 432572 w 2663946"/>
                <a:gd name="connsiteY1468" fmla="*/ 132488 h 349382"/>
                <a:gd name="connsiteX1469" fmla="*/ 426119 w 2663946"/>
                <a:gd name="connsiteY1469" fmla="*/ 126202 h 349382"/>
                <a:gd name="connsiteX1470" fmla="*/ 426119 w 2663946"/>
                <a:gd name="connsiteY1470" fmla="*/ 76480 h 349382"/>
                <a:gd name="connsiteX1471" fmla="*/ 432572 w 2663946"/>
                <a:gd name="connsiteY1471" fmla="*/ 70194 h 349382"/>
                <a:gd name="connsiteX1472" fmla="*/ 433406 w 2663946"/>
                <a:gd name="connsiteY1472" fmla="*/ 70194 h 349382"/>
                <a:gd name="connsiteX1473" fmla="*/ 433991 w 2663946"/>
                <a:gd name="connsiteY1473" fmla="*/ 70194 h 349382"/>
                <a:gd name="connsiteX1474" fmla="*/ 434470 w 2663946"/>
                <a:gd name="connsiteY1474" fmla="*/ 65436 h 349382"/>
                <a:gd name="connsiteX1475" fmla="*/ 459266 w 2663946"/>
                <a:gd name="connsiteY1475" fmla="*/ 45227 h 349382"/>
                <a:gd name="connsiteX1476" fmla="*/ 15475 w 2663946"/>
                <a:gd name="connsiteY1476" fmla="*/ 17002 h 349382"/>
                <a:gd name="connsiteX1477" fmla="*/ 40350 w 2663946"/>
                <a:gd name="connsiteY1477" fmla="*/ 1050 h 349382"/>
                <a:gd name="connsiteX1478" fmla="*/ 40891 w 2663946"/>
                <a:gd name="connsiteY1478" fmla="*/ 1590 h 349382"/>
                <a:gd name="connsiteX1479" fmla="*/ 48191 w 2663946"/>
                <a:gd name="connsiteY1479" fmla="*/ 1590 h 349382"/>
                <a:gd name="connsiteX1480" fmla="*/ 52247 w 2663946"/>
                <a:gd name="connsiteY1480" fmla="*/ 2672 h 349382"/>
                <a:gd name="connsiteX1481" fmla="*/ 56032 w 2663946"/>
                <a:gd name="connsiteY1481" fmla="*/ 9431 h 349382"/>
                <a:gd name="connsiteX1482" fmla="*/ 53328 w 2663946"/>
                <a:gd name="connsiteY1482" fmla="*/ 15109 h 349382"/>
                <a:gd name="connsiteX1483" fmla="*/ 16016 w 2663946"/>
                <a:gd name="connsiteY1483" fmla="*/ 17002 h 349382"/>
                <a:gd name="connsiteX1484" fmla="*/ 15475 w 2663946"/>
                <a:gd name="connsiteY1484" fmla="*/ 17002 h 349382"/>
                <a:gd name="connsiteX0" fmla="*/ 2632966 w 2663946"/>
                <a:gd name="connsiteY0" fmla="*/ 288276 h 349382"/>
                <a:gd name="connsiteX1" fmla="*/ 2621414 w 2663946"/>
                <a:gd name="connsiteY1" fmla="*/ 290709 h 349382"/>
                <a:gd name="connsiteX2" fmla="*/ 2618218 w 2663946"/>
                <a:gd name="connsiteY2" fmla="*/ 294224 h 349382"/>
                <a:gd name="connsiteX3" fmla="*/ 2616006 w 2663946"/>
                <a:gd name="connsiteY3" fmla="*/ 298009 h 349382"/>
                <a:gd name="connsiteX4" fmla="*/ 2615023 w 2663946"/>
                <a:gd name="connsiteY4" fmla="*/ 300713 h 349382"/>
                <a:gd name="connsiteX5" fmla="*/ 2614039 w 2663946"/>
                <a:gd name="connsiteY5" fmla="*/ 304769 h 349382"/>
                <a:gd name="connsiteX6" fmla="*/ 2613056 w 2663946"/>
                <a:gd name="connsiteY6" fmla="*/ 311799 h 349382"/>
                <a:gd name="connsiteX7" fmla="*/ 2614039 w 2663946"/>
                <a:gd name="connsiteY7" fmla="*/ 319099 h 349382"/>
                <a:gd name="connsiteX8" fmla="*/ 2615269 w 2663946"/>
                <a:gd name="connsiteY8" fmla="*/ 322884 h 349382"/>
                <a:gd name="connsiteX9" fmla="*/ 2617481 w 2663946"/>
                <a:gd name="connsiteY9" fmla="*/ 327210 h 349382"/>
                <a:gd name="connsiteX10" fmla="*/ 2620922 w 2663946"/>
                <a:gd name="connsiteY10" fmla="*/ 331537 h 349382"/>
                <a:gd name="connsiteX11" fmla="*/ 2625346 w 2663946"/>
                <a:gd name="connsiteY11" fmla="*/ 334240 h 349382"/>
                <a:gd name="connsiteX12" fmla="*/ 2637637 w 2663946"/>
                <a:gd name="connsiteY12" fmla="*/ 331807 h 349382"/>
                <a:gd name="connsiteX13" fmla="*/ 2640832 w 2663946"/>
                <a:gd name="connsiteY13" fmla="*/ 328292 h 349382"/>
                <a:gd name="connsiteX14" fmla="*/ 2643290 w 2663946"/>
                <a:gd name="connsiteY14" fmla="*/ 323966 h 349382"/>
                <a:gd name="connsiteX15" fmla="*/ 2644273 w 2663946"/>
                <a:gd name="connsiteY15" fmla="*/ 321803 h 349382"/>
                <a:gd name="connsiteX16" fmla="*/ 2645502 w 2663946"/>
                <a:gd name="connsiteY16" fmla="*/ 317477 h 349382"/>
                <a:gd name="connsiteX17" fmla="*/ 2645011 w 2663946"/>
                <a:gd name="connsiteY17" fmla="*/ 303687 h 349382"/>
                <a:gd name="connsiteX18" fmla="*/ 2644027 w 2663946"/>
                <a:gd name="connsiteY18" fmla="*/ 300713 h 349382"/>
                <a:gd name="connsiteX19" fmla="*/ 2642799 w 2663946"/>
                <a:gd name="connsiteY19" fmla="*/ 297739 h 349382"/>
                <a:gd name="connsiteX20" fmla="*/ 2640586 w 2663946"/>
                <a:gd name="connsiteY20" fmla="*/ 294224 h 349382"/>
                <a:gd name="connsiteX21" fmla="*/ 2636899 w 2663946"/>
                <a:gd name="connsiteY21" fmla="*/ 290439 h 349382"/>
                <a:gd name="connsiteX22" fmla="*/ 2632966 w 2663946"/>
                <a:gd name="connsiteY22" fmla="*/ 288276 h 349382"/>
                <a:gd name="connsiteX23" fmla="*/ 2627559 w 2663946"/>
                <a:gd name="connsiteY23" fmla="*/ 272323 h 349382"/>
                <a:gd name="connsiteX24" fmla="*/ 2639849 w 2663946"/>
                <a:gd name="connsiteY24" fmla="*/ 274486 h 349382"/>
                <a:gd name="connsiteX25" fmla="*/ 2647223 w 2663946"/>
                <a:gd name="connsiteY25" fmla="*/ 279083 h 349382"/>
                <a:gd name="connsiteX26" fmla="*/ 2650664 w 2663946"/>
                <a:gd name="connsiteY26" fmla="*/ 282327 h 349382"/>
                <a:gd name="connsiteX27" fmla="*/ 2654106 w 2663946"/>
                <a:gd name="connsiteY27" fmla="*/ 286653 h 349382"/>
                <a:gd name="connsiteX28" fmla="*/ 2656072 w 2663946"/>
                <a:gd name="connsiteY28" fmla="*/ 290168 h 349382"/>
                <a:gd name="connsiteX29" fmla="*/ 2658284 w 2663946"/>
                <a:gd name="connsiteY29" fmla="*/ 295576 h 349382"/>
                <a:gd name="connsiteX30" fmla="*/ 2659267 w 2663946"/>
                <a:gd name="connsiteY30" fmla="*/ 299091 h 349382"/>
                <a:gd name="connsiteX31" fmla="*/ 2660251 w 2663946"/>
                <a:gd name="connsiteY31" fmla="*/ 304228 h 349382"/>
                <a:gd name="connsiteX32" fmla="*/ 2660005 w 2663946"/>
                <a:gd name="connsiteY32" fmla="*/ 318558 h 349382"/>
                <a:gd name="connsiteX33" fmla="*/ 2659022 w 2663946"/>
                <a:gd name="connsiteY33" fmla="*/ 323425 h 349382"/>
                <a:gd name="connsiteX34" fmla="*/ 2657792 w 2663946"/>
                <a:gd name="connsiteY34" fmla="*/ 327210 h 349382"/>
                <a:gd name="connsiteX35" fmla="*/ 2656809 w 2663946"/>
                <a:gd name="connsiteY35" fmla="*/ 329644 h 349382"/>
                <a:gd name="connsiteX36" fmla="*/ 2654597 w 2663946"/>
                <a:gd name="connsiteY36" fmla="*/ 333970 h 349382"/>
                <a:gd name="connsiteX37" fmla="*/ 2652385 w 2663946"/>
                <a:gd name="connsiteY37" fmla="*/ 337214 h 349382"/>
                <a:gd name="connsiteX38" fmla="*/ 2648944 w 2663946"/>
                <a:gd name="connsiteY38" fmla="*/ 341000 h 349382"/>
                <a:gd name="connsiteX39" fmla="*/ 2645748 w 2663946"/>
                <a:gd name="connsiteY39" fmla="*/ 343703 h 349382"/>
                <a:gd name="connsiteX40" fmla="*/ 2640095 w 2663946"/>
                <a:gd name="connsiteY40" fmla="*/ 346948 h 349382"/>
                <a:gd name="connsiteX41" fmla="*/ 2632229 w 2663946"/>
                <a:gd name="connsiteY41" fmla="*/ 349111 h 349382"/>
                <a:gd name="connsiteX42" fmla="*/ 2631000 w 2663946"/>
                <a:gd name="connsiteY42" fmla="*/ 349382 h 349382"/>
                <a:gd name="connsiteX43" fmla="*/ 2626821 w 2663946"/>
                <a:gd name="connsiteY43" fmla="*/ 349382 h 349382"/>
                <a:gd name="connsiteX44" fmla="*/ 2626576 w 2663946"/>
                <a:gd name="connsiteY44" fmla="*/ 349382 h 349382"/>
                <a:gd name="connsiteX45" fmla="*/ 2613548 w 2663946"/>
                <a:gd name="connsiteY45" fmla="*/ 344515 h 349382"/>
                <a:gd name="connsiteX46" fmla="*/ 2608878 w 2663946"/>
                <a:gd name="connsiteY46" fmla="*/ 340459 h 349382"/>
                <a:gd name="connsiteX47" fmla="*/ 2605682 w 2663946"/>
                <a:gd name="connsiteY47" fmla="*/ 336674 h 349382"/>
                <a:gd name="connsiteX48" fmla="*/ 2603470 w 2663946"/>
                <a:gd name="connsiteY48" fmla="*/ 333159 h 349382"/>
                <a:gd name="connsiteX49" fmla="*/ 2601258 w 2663946"/>
                <a:gd name="connsiteY49" fmla="*/ 328833 h 349382"/>
                <a:gd name="connsiteX50" fmla="*/ 2600029 w 2663946"/>
                <a:gd name="connsiteY50" fmla="*/ 325858 h 349382"/>
                <a:gd name="connsiteX51" fmla="*/ 2599046 w 2663946"/>
                <a:gd name="connsiteY51" fmla="*/ 322614 h 349382"/>
                <a:gd name="connsiteX52" fmla="*/ 2597816 w 2663946"/>
                <a:gd name="connsiteY52" fmla="*/ 316936 h 349382"/>
                <a:gd name="connsiteX53" fmla="*/ 2597571 w 2663946"/>
                <a:gd name="connsiteY53" fmla="*/ 313962 h 349382"/>
                <a:gd name="connsiteX54" fmla="*/ 2597816 w 2663946"/>
                <a:gd name="connsiteY54" fmla="*/ 314232 h 349382"/>
                <a:gd name="connsiteX55" fmla="*/ 2597816 w 2663946"/>
                <a:gd name="connsiteY55" fmla="*/ 308554 h 349382"/>
                <a:gd name="connsiteX56" fmla="*/ 2597816 w 2663946"/>
                <a:gd name="connsiteY56" fmla="*/ 308284 h 349382"/>
                <a:gd name="connsiteX57" fmla="*/ 2598308 w 2663946"/>
                <a:gd name="connsiteY57" fmla="*/ 303687 h 349382"/>
                <a:gd name="connsiteX58" fmla="*/ 2599537 w 2663946"/>
                <a:gd name="connsiteY58" fmla="*/ 298280 h 349382"/>
                <a:gd name="connsiteX59" fmla="*/ 2600520 w 2663946"/>
                <a:gd name="connsiteY59" fmla="*/ 295035 h 349382"/>
                <a:gd name="connsiteX60" fmla="*/ 2602732 w 2663946"/>
                <a:gd name="connsiteY60" fmla="*/ 289898 h 349382"/>
                <a:gd name="connsiteX61" fmla="*/ 2604945 w 2663946"/>
                <a:gd name="connsiteY61" fmla="*/ 286113 h 349382"/>
                <a:gd name="connsiteX62" fmla="*/ 2607157 w 2663946"/>
                <a:gd name="connsiteY62" fmla="*/ 283138 h 349382"/>
                <a:gd name="connsiteX63" fmla="*/ 2609369 w 2663946"/>
                <a:gd name="connsiteY63" fmla="*/ 280705 h 349382"/>
                <a:gd name="connsiteX64" fmla="*/ 2614039 w 2663946"/>
                <a:gd name="connsiteY64" fmla="*/ 276920 h 349382"/>
                <a:gd name="connsiteX65" fmla="*/ 2617972 w 2663946"/>
                <a:gd name="connsiteY65" fmla="*/ 274757 h 349382"/>
                <a:gd name="connsiteX66" fmla="*/ 2627559 w 2663946"/>
                <a:gd name="connsiteY66" fmla="*/ 272323 h 349382"/>
                <a:gd name="connsiteX67" fmla="*/ 2631061 w 2663946"/>
                <a:gd name="connsiteY67" fmla="*/ 208413 h 349382"/>
                <a:gd name="connsiteX68" fmla="*/ 2621591 w 2663946"/>
                <a:gd name="connsiteY68" fmla="*/ 217687 h 349382"/>
                <a:gd name="connsiteX69" fmla="*/ 2626545 w 2663946"/>
                <a:gd name="connsiteY69" fmla="*/ 225844 h 349382"/>
                <a:gd name="connsiteX70" fmla="*/ 2626545 w 2663946"/>
                <a:gd name="connsiteY70" fmla="*/ 234239 h 349382"/>
                <a:gd name="connsiteX71" fmla="*/ 2631061 w 2663946"/>
                <a:gd name="connsiteY71" fmla="*/ 238662 h 349382"/>
                <a:gd name="connsiteX72" fmla="*/ 2635578 w 2663946"/>
                <a:gd name="connsiteY72" fmla="*/ 234239 h 349382"/>
                <a:gd name="connsiteX73" fmla="*/ 2635578 w 2663946"/>
                <a:gd name="connsiteY73" fmla="*/ 225844 h 349382"/>
                <a:gd name="connsiteX74" fmla="*/ 2640532 w 2663946"/>
                <a:gd name="connsiteY74" fmla="*/ 217687 h 349382"/>
                <a:gd name="connsiteX75" fmla="*/ 2631061 w 2663946"/>
                <a:gd name="connsiteY75" fmla="*/ 208413 h 349382"/>
                <a:gd name="connsiteX76" fmla="*/ 2630799 w 2663946"/>
                <a:gd name="connsiteY76" fmla="*/ 169696 h 349382"/>
                <a:gd name="connsiteX77" fmla="*/ 2619139 w 2663946"/>
                <a:gd name="connsiteY77" fmla="*/ 177425 h 349382"/>
                <a:gd name="connsiteX78" fmla="*/ 2618214 w 2663946"/>
                <a:gd name="connsiteY78" fmla="*/ 182008 h 349382"/>
                <a:gd name="connsiteX79" fmla="*/ 2621454 w 2663946"/>
                <a:gd name="connsiteY79" fmla="*/ 182008 h 349382"/>
                <a:gd name="connsiteX80" fmla="*/ 2639871 w 2663946"/>
                <a:gd name="connsiteY80" fmla="*/ 182008 h 349382"/>
                <a:gd name="connsiteX81" fmla="*/ 2643385 w 2663946"/>
                <a:gd name="connsiteY81" fmla="*/ 182008 h 349382"/>
                <a:gd name="connsiteX82" fmla="*/ 2642460 w 2663946"/>
                <a:gd name="connsiteY82" fmla="*/ 177425 h 349382"/>
                <a:gd name="connsiteX83" fmla="*/ 2630799 w 2663946"/>
                <a:gd name="connsiteY83" fmla="*/ 169696 h 349382"/>
                <a:gd name="connsiteX84" fmla="*/ 2630799 w 2663946"/>
                <a:gd name="connsiteY84" fmla="*/ 157041 h 349382"/>
                <a:gd name="connsiteX85" fmla="*/ 2655595 w 2663946"/>
                <a:gd name="connsiteY85" fmla="*/ 177250 h 349382"/>
                <a:gd name="connsiteX86" fmla="*/ 2656074 w 2663946"/>
                <a:gd name="connsiteY86" fmla="*/ 182008 h 349382"/>
                <a:gd name="connsiteX87" fmla="*/ 2657493 w 2663946"/>
                <a:gd name="connsiteY87" fmla="*/ 182008 h 349382"/>
                <a:gd name="connsiteX88" fmla="*/ 2663946 w 2663946"/>
                <a:gd name="connsiteY88" fmla="*/ 188294 h 349382"/>
                <a:gd name="connsiteX89" fmla="*/ 2663946 w 2663946"/>
                <a:gd name="connsiteY89" fmla="*/ 238016 h 349382"/>
                <a:gd name="connsiteX90" fmla="*/ 2657493 w 2663946"/>
                <a:gd name="connsiteY90" fmla="*/ 244302 h 349382"/>
                <a:gd name="connsiteX91" fmla="*/ 2604106 w 2663946"/>
                <a:gd name="connsiteY91" fmla="*/ 244302 h 349382"/>
                <a:gd name="connsiteX92" fmla="*/ 2597652 w 2663946"/>
                <a:gd name="connsiteY92" fmla="*/ 238016 h 349382"/>
                <a:gd name="connsiteX93" fmla="*/ 2597652 w 2663946"/>
                <a:gd name="connsiteY93" fmla="*/ 188294 h 349382"/>
                <a:gd name="connsiteX94" fmla="*/ 2604106 w 2663946"/>
                <a:gd name="connsiteY94" fmla="*/ 182008 h 349382"/>
                <a:gd name="connsiteX95" fmla="*/ 2604940 w 2663946"/>
                <a:gd name="connsiteY95" fmla="*/ 182008 h 349382"/>
                <a:gd name="connsiteX96" fmla="*/ 2605524 w 2663946"/>
                <a:gd name="connsiteY96" fmla="*/ 182008 h 349382"/>
                <a:gd name="connsiteX97" fmla="*/ 2606004 w 2663946"/>
                <a:gd name="connsiteY97" fmla="*/ 177250 h 349382"/>
                <a:gd name="connsiteX98" fmla="*/ 2630799 w 2663946"/>
                <a:gd name="connsiteY98" fmla="*/ 157041 h 349382"/>
                <a:gd name="connsiteX99" fmla="*/ 33409 w 2663946"/>
                <a:gd name="connsiteY99" fmla="*/ 104187 h 349382"/>
                <a:gd name="connsiteX100" fmla="*/ 23938 w 2663946"/>
                <a:gd name="connsiteY100" fmla="*/ 113461 h 349382"/>
                <a:gd name="connsiteX101" fmla="*/ 28892 w 2663946"/>
                <a:gd name="connsiteY101" fmla="*/ 121618 h 349382"/>
                <a:gd name="connsiteX102" fmla="*/ 28892 w 2663946"/>
                <a:gd name="connsiteY102" fmla="*/ 130013 h 349382"/>
                <a:gd name="connsiteX103" fmla="*/ 33409 w 2663946"/>
                <a:gd name="connsiteY103" fmla="*/ 134436 h 349382"/>
                <a:gd name="connsiteX104" fmla="*/ 37926 w 2663946"/>
                <a:gd name="connsiteY104" fmla="*/ 130013 h 349382"/>
                <a:gd name="connsiteX105" fmla="*/ 37926 w 2663946"/>
                <a:gd name="connsiteY105" fmla="*/ 121618 h 349382"/>
                <a:gd name="connsiteX106" fmla="*/ 42880 w 2663946"/>
                <a:gd name="connsiteY106" fmla="*/ 113461 h 349382"/>
                <a:gd name="connsiteX107" fmla="*/ 33409 w 2663946"/>
                <a:gd name="connsiteY107" fmla="*/ 104187 h 349382"/>
                <a:gd name="connsiteX108" fmla="*/ 2538193 w 2663946"/>
                <a:gd name="connsiteY108" fmla="*/ 96599 h 349382"/>
                <a:gd name="connsiteX109" fmla="*/ 2528723 w 2663946"/>
                <a:gd name="connsiteY109" fmla="*/ 105873 h 349382"/>
                <a:gd name="connsiteX110" fmla="*/ 2533677 w 2663946"/>
                <a:gd name="connsiteY110" fmla="*/ 114030 h 349382"/>
                <a:gd name="connsiteX111" fmla="*/ 2533677 w 2663946"/>
                <a:gd name="connsiteY111" fmla="*/ 122425 h 349382"/>
                <a:gd name="connsiteX112" fmla="*/ 2538193 w 2663946"/>
                <a:gd name="connsiteY112" fmla="*/ 126848 h 349382"/>
                <a:gd name="connsiteX113" fmla="*/ 2542710 w 2663946"/>
                <a:gd name="connsiteY113" fmla="*/ 122425 h 349382"/>
                <a:gd name="connsiteX114" fmla="*/ 2542710 w 2663946"/>
                <a:gd name="connsiteY114" fmla="*/ 114030 h 349382"/>
                <a:gd name="connsiteX115" fmla="*/ 2547664 w 2663946"/>
                <a:gd name="connsiteY115" fmla="*/ 105873 h 349382"/>
                <a:gd name="connsiteX116" fmla="*/ 2538193 w 2663946"/>
                <a:gd name="connsiteY116" fmla="*/ 96599 h 349382"/>
                <a:gd name="connsiteX117" fmla="*/ 2113196 w 2663946"/>
                <a:gd name="connsiteY117" fmla="*/ 96599 h 349382"/>
                <a:gd name="connsiteX118" fmla="*/ 2103726 w 2663946"/>
                <a:gd name="connsiteY118" fmla="*/ 105873 h 349382"/>
                <a:gd name="connsiteX119" fmla="*/ 2108680 w 2663946"/>
                <a:gd name="connsiteY119" fmla="*/ 114030 h 349382"/>
                <a:gd name="connsiteX120" fmla="*/ 2108680 w 2663946"/>
                <a:gd name="connsiteY120" fmla="*/ 122425 h 349382"/>
                <a:gd name="connsiteX121" fmla="*/ 2113196 w 2663946"/>
                <a:gd name="connsiteY121" fmla="*/ 126848 h 349382"/>
                <a:gd name="connsiteX122" fmla="*/ 2117713 w 2663946"/>
                <a:gd name="connsiteY122" fmla="*/ 122425 h 349382"/>
                <a:gd name="connsiteX123" fmla="*/ 2117713 w 2663946"/>
                <a:gd name="connsiteY123" fmla="*/ 114030 h 349382"/>
                <a:gd name="connsiteX124" fmla="*/ 2122667 w 2663946"/>
                <a:gd name="connsiteY124" fmla="*/ 105873 h 349382"/>
                <a:gd name="connsiteX125" fmla="*/ 2113196 w 2663946"/>
                <a:gd name="connsiteY125" fmla="*/ 96599 h 349382"/>
                <a:gd name="connsiteX126" fmla="*/ 1855228 w 2663946"/>
                <a:gd name="connsiteY126" fmla="*/ 96599 h 349382"/>
                <a:gd name="connsiteX127" fmla="*/ 1845758 w 2663946"/>
                <a:gd name="connsiteY127" fmla="*/ 105873 h 349382"/>
                <a:gd name="connsiteX128" fmla="*/ 1850712 w 2663946"/>
                <a:gd name="connsiteY128" fmla="*/ 114030 h 349382"/>
                <a:gd name="connsiteX129" fmla="*/ 1850712 w 2663946"/>
                <a:gd name="connsiteY129" fmla="*/ 122425 h 349382"/>
                <a:gd name="connsiteX130" fmla="*/ 1855228 w 2663946"/>
                <a:gd name="connsiteY130" fmla="*/ 126848 h 349382"/>
                <a:gd name="connsiteX131" fmla="*/ 1859745 w 2663946"/>
                <a:gd name="connsiteY131" fmla="*/ 122425 h 349382"/>
                <a:gd name="connsiteX132" fmla="*/ 1859745 w 2663946"/>
                <a:gd name="connsiteY132" fmla="*/ 114030 h 349382"/>
                <a:gd name="connsiteX133" fmla="*/ 1864699 w 2663946"/>
                <a:gd name="connsiteY133" fmla="*/ 105873 h 349382"/>
                <a:gd name="connsiteX134" fmla="*/ 1855228 w 2663946"/>
                <a:gd name="connsiteY134" fmla="*/ 96599 h 349382"/>
                <a:gd name="connsiteX135" fmla="*/ 1764289 w 2663946"/>
                <a:gd name="connsiteY135" fmla="*/ 96599 h 349382"/>
                <a:gd name="connsiteX136" fmla="*/ 1754819 w 2663946"/>
                <a:gd name="connsiteY136" fmla="*/ 105873 h 349382"/>
                <a:gd name="connsiteX137" fmla="*/ 1759773 w 2663946"/>
                <a:gd name="connsiteY137" fmla="*/ 114030 h 349382"/>
                <a:gd name="connsiteX138" fmla="*/ 1759773 w 2663946"/>
                <a:gd name="connsiteY138" fmla="*/ 122425 h 349382"/>
                <a:gd name="connsiteX139" fmla="*/ 1764289 w 2663946"/>
                <a:gd name="connsiteY139" fmla="*/ 126848 h 349382"/>
                <a:gd name="connsiteX140" fmla="*/ 1768806 w 2663946"/>
                <a:gd name="connsiteY140" fmla="*/ 122425 h 349382"/>
                <a:gd name="connsiteX141" fmla="*/ 1768806 w 2663946"/>
                <a:gd name="connsiteY141" fmla="*/ 114030 h 349382"/>
                <a:gd name="connsiteX142" fmla="*/ 1773760 w 2663946"/>
                <a:gd name="connsiteY142" fmla="*/ 105873 h 349382"/>
                <a:gd name="connsiteX143" fmla="*/ 1764289 w 2663946"/>
                <a:gd name="connsiteY143" fmla="*/ 96599 h 349382"/>
                <a:gd name="connsiteX144" fmla="*/ 1506321 w 2663946"/>
                <a:gd name="connsiteY144" fmla="*/ 96599 h 349382"/>
                <a:gd name="connsiteX145" fmla="*/ 1496851 w 2663946"/>
                <a:gd name="connsiteY145" fmla="*/ 105873 h 349382"/>
                <a:gd name="connsiteX146" fmla="*/ 1501805 w 2663946"/>
                <a:gd name="connsiteY146" fmla="*/ 114030 h 349382"/>
                <a:gd name="connsiteX147" fmla="*/ 1501805 w 2663946"/>
                <a:gd name="connsiteY147" fmla="*/ 122425 h 349382"/>
                <a:gd name="connsiteX148" fmla="*/ 1506321 w 2663946"/>
                <a:gd name="connsiteY148" fmla="*/ 126848 h 349382"/>
                <a:gd name="connsiteX149" fmla="*/ 1510838 w 2663946"/>
                <a:gd name="connsiteY149" fmla="*/ 122425 h 349382"/>
                <a:gd name="connsiteX150" fmla="*/ 1510838 w 2663946"/>
                <a:gd name="connsiteY150" fmla="*/ 114030 h 349382"/>
                <a:gd name="connsiteX151" fmla="*/ 1515792 w 2663946"/>
                <a:gd name="connsiteY151" fmla="*/ 105873 h 349382"/>
                <a:gd name="connsiteX152" fmla="*/ 1506321 w 2663946"/>
                <a:gd name="connsiteY152" fmla="*/ 96599 h 349382"/>
                <a:gd name="connsiteX153" fmla="*/ 1415382 w 2663946"/>
                <a:gd name="connsiteY153" fmla="*/ 96599 h 349382"/>
                <a:gd name="connsiteX154" fmla="*/ 1405912 w 2663946"/>
                <a:gd name="connsiteY154" fmla="*/ 105873 h 349382"/>
                <a:gd name="connsiteX155" fmla="*/ 1410866 w 2663946"/>
                <a:gd name="connsiteY155" fmla="*/ 114030 h 349382"/>
                <a:gd name="connsiteX156" fmla="*/ 1410866 w 2663946"/>
                <a:gd name="connsiteY156" fmla="*/ 122425 h 349382"/>
                <a:gd name="connsiteX157" fmla="*/ 1415382 w 2663946"/>
                <a:gd name="connsiteY157" fmla="*/ 126848 h 349382"/>
                <a:gd name="connsiteX158" fmla="*/ 1419899 w 2663946"/>
                <a:gd name="connsiteY158" fmla="*/ 122425 h 349382"/>
                <a:gd name="connsiteX159" fmla="*/ 1419899 w 2663946"/>
                <a:gd name="connsiteY159" fmla="*/ 114030 h 349382"/>
                <a:gd name="connsiteX160" fmla="*/ 1424853 w 2663946"/>
                <a:gd name="connsiteY160" fmla="*/ 105873 h 349382"/>
                <a:gd name="connsiteX161" fmla="*/ 1415382 w 2663946"/>
                <a:gd name="connsiteY161" fmla="*/ 96599 h 349382"/>
                <a:gd name="connsiteX162" fmla="*/ 1157414 w 2663946"/>
                <a:gd name="connsiteY162" fmla="*/ 96599 h 349382"/>
                <a:gd name="connsiteX163" fmla="*/ 1147944 w 2663946"/>
                <a:gd name="connsiteY163" fmla="*/ 105873 h 349382"/>
                <a:gd name="connsiteX164" fmla="*/ 1152898 w 2663946"/>
                <a:gd name="connsiteY164" fmla="*/ 114030 h 349382"/>
                <a:gd name="connsiteX165" fmla="*/ 1152898 w 2663946"/>
                <a:gd name="connsiteY165" fmla="*/ 122425 h 349382"/>
                <a:gd name="connsiteX166" fmla="*/ 1157414 w 2663946"/>
                <a:gd name="connsiteY166" fmla="*/ 126848 h 349382"/>
                <a:gd name="connsiteX167" fmla="*/ 1161931 w 2663946"/>
                <a:gd name="connsiteY167" fmla="*/ 122425 h 349382"/>
                <a:gd name="connsiteX168" fmla="*/ 1161931 w 2663946"/>
                <a:gd name="connsiteY168" fmla="*/ 114030 h 349382"/>
                <a:gd name="connsiteX169" fmla="*/ 1166885 w 2663946"/>
                <a:gd name="connsiteY169" fmla="*/ 105873 h 349382"/>
                <a:gd name="connsiteX170" fmla="*/ 1157414 w 2663946"/>
                <a:gd name="connsiteY170" fmla="*/ 96599 h 349382"/>
                <a:gd name="connsiteX171" fmla="*/ 732418 w 2663946"/>
                <a:gd name="connsiteY171" fmla="*/ 96599 h 349382"/>
                <a:gd name="connsiteX172" fmla="*/ 722947 w 2663946"/>
                <a:gd name="connsiteY172" fmla="*/ 105873 h 349382"/>
                <a:gd name="connsiteX173" fmla="*/ 727901 w 2663946"/>
                <a:gd name="connsiteY173" fmla="*/ 114030 h 349382"/>
                <a:gd name="connsiteX174" fmla="*/ 727901 w 2663946"/>
                <a:gd name="connsiteY174" fmla="*/ 122425 h 349382"/>
                <a:gd name="connsiteX175" fmla="*/ 732418 w 2663946"/>
                <a:gd name="connsiteY175" fmla="*/ 126848 h 349382"/>
                <a:gd name="connsiteX176" fmla="*/ 736935 w 2663946"/>
                <a:gd name="connsiteY176" fmla="*/ 122425 h 349382"/>
                <a:gd name="connsiteX177" fmla="*/ 736935 w 2663946"/>
                <a:gd name="connsiteY177" fmla="*/ 114030 h 349382"/>
                <a:gd name="connsiteX178" fmla="*/ 741889 w 2663946"/>
                <a:gd name="connsiteY178" fmla="*/ 105873 h 349382"/>
                <a:gd name="connsiteX179" fmla="*/ 732418 w 2663946"/>
                <a:gd name="connsiteY179" fmla="*/ 96599 h 349382"/>
                <a:gd name="connsiteX180" fmla="*/ 641479 w 2663946"/>
                <a:gd name="connsiteY180" fmla="*/ 96599 h 349382"/>
                <a:gd name="connsiteX181" fmla="*/ 632008 w 2663946"/>
                <a:gd name="connsiteY181" fmla="*/ 105873 h 349382"/>
                <a:gd name="connsiteX182" fmla="*/ 636962 w 2663946"/>
                <a:gd name="connsiteY182" fmla="*/ 114030 h 349382"/>
                <a:gd name="connsiteX183" fmla="*/ 636962 w 2663946"/>
                <a:gd name="connsiteY183" fmla="*/ 122425 h 349382"/>
                <a:gd name="connsiteX184" fmla="*/ 641479 w 2663946"/>
                <a:gd name="connsiteY184" fmla="*/ 126848 h 349382"/>
                <a:gd name="connsiteX185" fmla="*/ 645996 w 2663946"/>
                <a:gd name="connsiteY185" fmla="*/ 122425 h 349382"/>
                <a:gd name="connsiteX186" fmla="*/ 645996 w 2663946"/>
                <a:gd name="connsiteY186" fmla="*/ 114030 h 349382"/>
                <a:gd name="connsiteX187" fmla="*/ 650950 w 2663946"/>
                <a:gd name="connsiteY187" fmla="*/ 105873 h 349382"/>
                <a:gd name="connsiteX188" fmla="*/ 641479 w 2663946"/>
                <a:gd name="connsiteY188" fmla="*/ 96599 h 349382"/>
                <a:gd name="connsiteX189" fmla="*/ 459528 w 2663946"/>
                <a:gd name="connsiteY189" fmla="*/ 96599 h 349382"/>
                <a:gd name="connsiteX190" fmla="*/ 450057 w 2663946"/>
                <a:gd name="connsiteY190" fmla="*/ 105873 h 349382"/>
                <a:gd name="connsiteX191" fmla="*/ 455011 w 2663946"/>
                <a:gd name="connsiteY191" fmla="*/ 114030 h 349382"/>
                <a:gd name="connsiteX192" fmla="*/ 455011 w 2663946"/>
                <a:gd name="connsiteY192" fmla="*/ 122425 h 349382"/>
                <a:gd name="connsiteX193" fmla="*/ 459528 w 2663946"/>
                <a:gd name="connsiteY193" fmla="*/ 126848 h 349382"/>
                <a:gd name="connsiteX194" fmla="*/ 464045 w 2663946"/>
                <a:gd name="connsiteY194" fmla="*/ 122425 h 349382"/>
                <a:gd name="connsiteX195" fmla="*/ 464045 w 2663946"/>
                <a:gd name="connsiteY195" fmla="*/ 114030 h 349382"/>
                <a:gd name="connsiteX196" fmla="*/ 468999 w 2663946"/>
                <a:gd name="connsiteY196" fmla="*/ 105873 h 349382"/>
                <a:gd name="connsiteX197" fmla="*/ 459528 w 2663946"/>
                <a:gd name="connsiteY197" fmla="*/ 96599 h 349382"/>
                <a:gd name="connsiteX198" fmla="*/ 2632966 w 2663946"/>
                <a:gd name="connsiteY198" fmla="*/ 69406 h 349382"/>
                <a:gd name="connsiteX199" fmla="*/ 2621414 w 2663946"/>
                <a:gd name="connsiteY199" fmla="*/ 71839 h 349382"/>
                <a:gd name="connsiteX200" fmla="*/ 2618218 w 2663946"/>
                <a:gd name="connsiteY200" fmla="*/ 75354 h 349382"/>
                <a:gd name="connsiteX201" fmla="*/ 2616006 w 2663946"/>
                <a:gd name="connsiteY201" fmla="*/ 79139 h 349382"/>
                <a:gd name="connsiteX202" fmla="*/ 2615023 w 2663946"/>
                <a:gd name="connsiteY202" fmla="*/ 81843 h 349382"/>
                <a:gd name="connsiteX203" fmla="*/ 2614039 w 2663946"/>
                <a:gd name="connsiteY203" fmla="*/ 85899 h 349382"/>
                <a:gd name="connsiteX204" fmla="*/ 2613056 w 2663946"/>
                <a:gd name="connsiteY204" fmla="*/ 92929 h 349382"/>
                <a:gd name="connsiteX205" fmla="*/ 2614039 w 2663946"/>
                <a:gd name="connsiteY205" fmla="*/ 100229 h 349382"/>
                <a:gd name="connsiteX206" fmla="*/ 2615269 w 2663946"/>
                <a:gd name="connsiteY206" fmla="*/ 104014 h 349382"/>
                <a:gd name="connsiteX207" fmla="*/ 2617481 w 2663946"/>
                <a:gd name="connsiteY207" fmla="*/ 108340 h 349382"/>
                <a:gd name="connsiteX208" fmla="*/ 2620922 w 2663946"/>
                <a:gd name="connsiteY208" fmla="*/ 112667 h 349382"/>
                <a:gd name="connsiteX209" fmla="*/ 2625346 w 2663946"/>
                <a:gd name="connsiteY209" fmla="*/ 115370 h 349382"/>
                <a:gd name="connsiteX210" fmla="*/ 2637637 w 2663946"/>
                <a:gd name="connsiteY210" fmla="*/ 112937 h 349382"/>
                <a:gd name="connsiteX211" fmla="*/ 2640832 w 2663946"/>
                <a:gd name="connsiteY211" fmla="*/ 109422 h 349382"/>
                <a:gd name="connsiteX212" fmla="*/ 2643290 w 2663946"/>
                <a:gd name="connsiteY212" fmla="*/ 105096 h 349382"/>
                <a:gd name="connsiteX213" fmla="*/ 2644273 w 2663946"/>
                <a:gd name="connsiteY213" fmla="*/ 102933 h 349382"/>
                <a:gd name="connsiteX214" fmla="*/ 2645502 w 2663946"/>
                <a:gd name="connsiteY214" fmla="*/ 98607 h 349382"/>
                <a:gd name="connsiteX215" fmla="*/ 2645011 w 2663946"/>
                <a:gd name="connsiteY215" fmla="*/ 84817 h 349382"/>
                <a:gd name="connsiteX216" fmla="*/ 2644027 w 2663946"/>
                <a:gd name="connsiteY216" fmla="*/ 81843 h 349382"/>
                <a:gd name="connsiteX217" fmla="*/ 2642799 w 2663946"/>
                <a:gd name="connsiteY217" fmla="*/ 78869 h 349382"/>
                <a:gd name="connsiteX218" fmla="*/ 2640586 w 2663946"/>
                <a:gd name="connsiteY218" fmla="*/ 75354 h 349382"/>
                <a:gd name="connsiteX219" fmla="*/ 2636899 w 2663946"/>
                <a:gd name="connsiteY219" fmla="*/ 71569 h 349382"/>
                <a:gd name="connsiteX220" fmla="*/ 2632966 w 2663946"/>
                <a:gd name="connsiteY220" fmla="*/ 69406 h 349382"/>
                <a:gd name="connsiteX221" fmla="*/ 2451011 w 2663946"/>
                <a:gd name="connsiteY221" fmla="*/ 69406 h 349382"/>
                <a:gd name="connsiteX222" fmla="*/ 2439459 w 2663946"/>
                <a:gd name="connsiteY222" fmla="*/ 71839 h 349382"/>
                <a:gd name="connsiteX223" fmla="*/ 2436263 w 2663946"/>
                <a:gd name="connsiteY223" fmla="*/ 75354 h 349382"/>
                <a:gd name="connsiteX224" fmla="*/ 2434051 w 2663946"/>
                <a:gd name="connsiteY224" fmla="*/ 79139 h 349382"/>
                <a:gd name="connsiteX225" fmla="*/ 2433068 w 2663946"/>
                <a:gd name="connsiteY225" fmla="*/ 81843 h 349382"/>
                <a:gd name="connsiteX226" fmla="*/ 2432084 w 2663946"/>
                <a:gd name="connsiteY226" fmla="*/ 85899 h 349382"/>
                <a:gd name="connsiteX227" fmla="*/ 2431101 w 2663946"/>
                <a:gd name="connsiteY227" fmla="*/ 92929 h 349382"/>
                <a:gd name="connsiteX228" fmla="*/ 2432084 w 2663946"/>
                <a:gd name="connsiteY228" fmla="*/ 100229 h 349382"/>
                <a:gd name="connsiteX229" fmla="*/ 2433314 w 2663946"/>
                <a:gd name="connsiteY229" fmla="*/ 104014 h 349382"/>
                <a:gd name="connsiteX230" fmla="*/ 2435526 w 2663946"/>
                <a:gd name="connsiteY230" fmla="*/ 108340 h 349382"/>
                <a:gd name="connsiteX231" fmla="*/ 2438967 w 2663946"/>
                <a:gd name="connsiteY231" fmla="*/ 112667 h 349382"/>
                <a:gd name="connsiteX232" fmla="*/ 2443391 w 2663946"/>
                <a:gd name="connsiteY232" fmla="*/ 115370 h 349382"/>
                <a:gd name="connsiteX233" fmla="*/ 2455682 w 2663946"/>
                <a:gd name="connsiteY233" fmla="*/ 112937 h 349382"/>
                <a:gd name="connsiteX234" fmla="*/ 2458877 w 2663946"/>
                <a:gd name="connsiteY234" fmla="*/ 109422 h 349382"/>
                <a:gd name="connsiteX235" fmla="*/ 2461335 w 2663946"/>
                <a:gd name="connsiteY235" fmla="*/ 105096 h 349382"/>
                <a:gd name="connsiteX236" fmla="*/ 2462318 w 2663946"/>
                <a:gd name="connsiteY236" fmla="*/ 102933 h 349382"/>
                <a:gd name="connsiteX237" fmla="*/ 2463547 w 2663946"/>
                <a:gd name="connsiteY237" fmla="*/ 98607 h 349382"/>
                <a:gd name="connsiteX238" fmla="*/ 2463056 w 2663946"/>
                <a:gd name="connsiteY238" fmla="*/ 84817 h 349382"/>
                <a:gd name="connsiteX239" fmla="*/ 2462072 w 2663946"/>
                <a:gd name="connsiteY239" fmla="*/ 81843 h 349382"/>
                <a:gd name="connsiteX240" fmla="*/ 2460844 w 2663946"/>
                <a:gd name="connsiteY240" fmla="*/ 78869 h 349382"/>
                <a:gd name="connsiteX241" fmla="*/ 2458631 w 2663946"/>
                <a:gd name="connsiteY241" fmla="*/ 75354 h 349382"/>
                <a:gd name="connsiteX242" fmla="*/ 2454944 w 2663946"/>
                <a:gd name="connsiteY242" fmla="*/ 71569 h 349382"/>
                <a:gd name="connsiteX243" fmla="*/ 2451011 w 2663946"/>
                <a:gd name="connsiteY243" fmla="*/ 69406 h 349382"/>
                <a:gd name="connsiteX244" fmla="*/ 2207965 w 2663946"/>
                <a:gd name="connsiteY244" fmla="*/ 69406 h 349382"/>
                <a:gd name="connsiteX245" fmla="*/ 2196413 w 2663946"/>
                <a:gd name="connsiteY245" fmla="*/ 71839 h 349382"/>
                <a:gd name="connsiteX246" fmla="*/ 2193217 w 2663946"/>
                <a:gd name="connsiteY246" fmla="*/ 75354 h 349382"/>
                <a:gd name="connsiteX247" fmla="*/ 2191005 w 2663946"/>
                <a:gd name="connsiteY247" fmla="*/ 79139 h 349382"/>
                <a:gd name="connsiteX248" fmla="*/ 2190022 w 2663946"/>
                <a:gd name="connsiteY248" fmla="*/ 81843 h 349382"/>
                <a:gd name="connsiteX249" fmla="*/ 2189038 w 2663946"/>
                <a:gd name="connsiteY249" fmla="*/ 85899 h 349382"/>
                <a:gd name="connsiteX250" fmla="*/ 2188055 w 2663946"/>
                <a:gd name="connsiteY250" fmla="*/ 92929 h 349382"/>
                <a:gd name="connsiteX251" fmla="*/ 2189038 w 2663946"/>
                <a:gd name="connsiteY251" fmla="*/ 100229 h 349382"/>
                <a:gd name="connsiteX252" fmla="*/ 2190268 w 2663946"/>
                <a:gd name="connsiteY252" fmla="*/ 104014 h 349382"/>
                <a:gd name="connsiteX253" fmla="*/ 2192480 w 2663946"/>
                <a:gd name="connsiteY253" fmla="*/ 108340 h 349382"/>
                <a:gd name="connsiteX254" fmla="*/ 2195921 w 2663946"/>
                <a:gd name="connsiteY254" fmla="*/ 112667 h 349382"/>
                <a:gd name="connsiteX255" fmla="*/ 2200345 w 2663946"/>
                <a:gd name="connsiteY255" fmla="*/ 115370 h 349382"/>
                <a:gd name="connsiteX256" fmla="*/ 2212636 w 2663946"/>
                <a:gd name="connsiteY256" fmla="*/ 112937 h 349382"/>
                <a:gd name="connsiteX257" fmla="*/ 2215831 w 2663946"/>
                <a:gd name="connsiteY257" fmla="*/ 109422 h 349382"/>
                <a:gd name="connsiteX258" fmla="*/ 2218289 w 2663946"/>
                <a:gd name="connsiteY258" fmla="*/ 105096 h 349382"/>
                <a:gd name="connsiteX259" fmla="*/ 2219272 w 2663946"/>
                <a:gd name="connsiteY259" fmla="*/ 102933 h 349382"/>
                <a:gd name="connsiteX260" fmla="*/ 2220501 w 2663946"/>
                <a:gd name="connsiteY260" fmla="*/ 98607 h 349382"/>
                <a:gd name="connsiteX261" fmla="*/ 2220010 w 2663946"/>
                <a:gd name="connsiteY261" fmla="*/ 84817 h 349382"/>
                <a:gd name="connsiteX262" fmla="*/ 2219026 w 2663946"/>
                <a:gd name="connsiteY262" fmla="*/ 81843 h 349382"/>
                <a:gd name="connsiteX263" fmla="*/ 2217798 w 2663946"/>
                <a:gd name="connsiteY263" fmla="*/ 78869 h 349382"/>
                <a:gd name="connsiteX264" fmla="*/ 2215585 w 2663946"/>
                <a:gd name="connsiteY264" fmla="*/ 75354 h 349382"/>
                <a:gd name="connsiteX265" fmla="*/ 2211898 w 2663946"/>
                <a:gd name="connsiteY265" fmla="*/ 71569 h 349382"/>
                <a:gd name="connsiteX266" fmla="*/ 2207965 w 2663946"/>
                <a:gd name="connsiteY266" fmla="*/ 69406 h 349382"/>
                <a:gd name="connsiteX267" fmla="*/ 2026014 w 2663946"/>
                <a:gd name="connsiteY267" fmla="*/ 69406 h 349382"/>
                <a:gd name="connsiteX268" fmla="*/ 2014462 w 2663946"/>
                <a:gd name="connsiteY268" fmla="*/ 71839 h 349382"/>
                <a:gd name="connsiteX269" fmla="*/ 2011266 w 2663946"/>
                <a:gd name="connsiteY269" fmla="*/ 75354 h 349382"/>
                <a:gd name="connsiteX270" fmla="*/ 2009054 w 2663946"/>
                <a:gd name="connsiteY270" fmla="*/ 79139 h 349382"/>
                <a:gd name="connsiteX271" fmla="*/ 2008071 w 2663946"/>
                <a:gd name="connsiteY271" fmla="*/ 81843 h 349382"/>
                <a:gd name="connsiteX272" fmla="*/ 2007087 w 2663946"/>
                <a:gd name="connsiteY272" fmla="*/ 85899 h 349382"/>
                <a:gd name="connsiteX273" fmla="*/ 2006104 w 2663946"/>
                <a:gd name="connsiteY273" fmla="*/ 92929 h 349382"/>
                <a:gd name="connsiteX274" fmla="*/ 2007087 w 2663946"/>
                <a:gd name="connsiteY274" fmla="*/ 100229 h 349382"/>
                <a:gd name="connsiteX275" fmla="*/ 2008317 w 2663946"/>
                <a:gd name="connsiteY275" fmla="*/ 104014 h 349382"/>
                <a:gd name="connsiteX276" fmla="*/ 2010529 w 2663946"/>
                <a:gd name="connsiteY276" fmla="*/ 108340 h 349382"/>
                <a:gd name="connsiteX277" fmla="*/ 2013970 w 2663946"/>
                <a:gd name="connsiteY277" fmla="*/ 112667 h 349382"/>
                <a:gd name="connsiteX278" fmla="*/ 2018394 w 2663946"/>
                <a:gd name="connsiteY278" fmla="*/ 115370 h 349382"/>
                <a:gd name="connsiteX279" fmla="*/ 2030685 w 2663946"/>
                <a:gd name="connsiteY279" fmla="*/ 112937 h 349382"/>
                <a:gd name="connsiteX280" fmla="*/ 2033880 w 2663946"/>
                <a:gd name="connsiteY280" fmla="*/ 109422 h 349382"/>
                <a:gd name="connsiteX281" fmla="*/ 2036338 w 2663946"/>
                <a:gd name="connsiteY281" fmla="*/ 105096 h 349382"/>
                <a:gd name="connsiteX282" fmla="*/ 2037321 w 2663946"/>
                <a:gd name="connsiteY282" fmla="*/ 102933 h 349382"/>
                <a:gd name="connsiteX283" fmla="*/ 2038550 w 2663946"/>
                <a:gd name="connsiteY283" fmla="*/ 98607 h 349382"/>
                <a:gd name="connsiteX284" fmla="*/ 2038059 w 2663946"/>
                <a:gd name="connsiteY284" fmla="*/ 84817 h 349382"/>
                <a:gd name="connsiteX285" fmla="*/ 2037075 w 2663946"/>
                <a:gd name="connsiteY285" fmla="*/ 81843 h 349382"/>
                <a:gd name="connsiteX286" fmla="*/ 2035847 w 2663946"/>
                <a:gd name="connsiteY286" fmla="*/ 78869 h 349382"/>
                <a:gd name="connsiteX287" fmla="*/ 2033634 w 2663946"/>
                <a:gd name="connsiteY287" fmla="*/ 75354 h 349382"/>
                <a:gd name="connsiteX288" fmla="*/ 2029947 w 2663946"/>
                <a:gd name="connsiteY288" fmla="*/ 71569 h 349382"/>
                <a:gd name="connsiteX289" fmla="*/ 2026014 w 2663946"/>
                <a:gd name="connsiteY289" fmla="*/ 69406 h 349382"/>
                <a:gd name="connsiteX290" fmla="*/ 1601090 w 2663946"/>
                <a:gd name="connsiteY290" fmla="*/ 69406 h 349382"/>
                <a:gd name="connsiteX291" fmla="*/ 1589537 w 2663946"/>
                <a:gd name="connsiteY291" fmla="*/ 71839 h 349382"/>
                <a:gd name="connsiteX292" fmla="*/ 1586342 w 2663946"/>
                <a:gd name="connsiteY292" fmla="*/ 75354 h 349382"/>
                <a:gd name="connsiteX293" fmla="*/ 1584130 w 2663946"/>
                <a:gd name="connsiteY293" fmla="*/ 79139 h 349382"/>
                <a:gd name="connsiteX294" fmla="*/ 1583147 w 2663946"/>
                <a:gd name="connsiteY294" fmla="*/ 81843 h 349382"/>
                <a:gd name="connsiteX295" fmla="*/ 1582163 w 2663946"/>
                <a:gd name="connsiteY295" fmla="*/ 85899 h 349382"/>
                <a:gd name="connsiteX296" fmla="*/ 1581180 w 2663946"/>
                <a:gd name="connsiteY296" fmla="*/ 92929 h 349382"/>
                <a:gd name="connsiteX297" fmla="*/ 1582163 w 2663946"/>
                <a:gd name="connsiteY297" fmla="*/ 100229 h 349382"/>
                <a:gd name="connsiteX298" fmla="*/ 1583393 w 2663946"/>
                <a:gd name="connsiteY298" fmla="*/ 104014 h 349382"/>
                <a:gd name="connsiteX299" fmla="*/ 1585605 w 2663946"/>
                <a:gd name="connsiteY299" fmla="*/ 108340 h 349382"/>
                <a:gd name="connsiteX300" fmla="*/ 1589046 w 2663946"/>
                <a:gd name="connsiteY300" fmla="*/ 112667 h 349382"/>
                <a:gd name="connsiteX301" fmla="*/ 1593470 w 2663946"/>
                <a:gd name="connsiteY301" fmla="*/ 115370 h 349382"/>
                <a:gd name="connsiteX302" fmla="*/ 1605761 w 2663946"/>
                <a:gd name="connsiteY302" fmla="*/ 112937 h 349382"/>
                <a:gd name="connsiteX303" fmla="*/ 1608956 w 2663946"/>
                <a:gd name="connsiteY303" fmla="*/ 109422 h 349382"/>
                <a:gd name="connsiteX304" fmla="*/ 1611414 w 2663946"/>
                <a:gd name="connsiteY304" fmla="*/ 105096 h 349382"/>
                <a:gd name="connsiteX305" fmla="*/ 1612397 w 2663946"/>
                <a:gd name="connsiteY305" fmla="*/ 102933 h 349382"/>
                <a:gd name="connsiteX306" fmla="*/ 1613626 w 2663946"/>
                <a:gd name="connsiteY306" fmla="*/ 98607 h 349382"/>
                <a:gd name="connsiteX307" fmla="*/ 1613135 w 2663946"/>
                <a:gd name="connsiteY307" fmla="*/ 84817 h 349382"/>
                <a:gd name="connsiteX308" fmla="*/ 1612151 w 2663946"/>
                <a:gd name="connsiteY308" fmla="*/ 81843 h 349382"/>
                <a:gd name="connsiteX309" fmla="*/ 1610923 w 2663946"/>
                <a:gd name="connsiteY309" fmla="*/ 78869 h 349382"/>
                <a:gd name="connsiteX310" fmla="*/ 1608710 w 2663946"/>
                <a:gd name="connsiteY310" fmla="*/ 75354 h 349382"/>
                <a:gd name="connsiteX311" fmla="*/ 1605023 w 2663946"/>
                <a:gd name="connsiteY311" fmla="*/ 71569 h 349382"/>
                <a:gd name="connsiteX312" fmla="*/ 1601090 w 2663946"/>
                <a:gd name="connsiteY312" fmla="*/ 69406 h 349382"/>
                <a:gd name="connsiteX313" fmla="*/ 1252183 w 2663946"/>
                <a:gd name="connsiteY313" fmla="*/ 69406 h 349382"/>
                <a:gd name="connsiteX314" fmla="*/ 1240630 w 2663946"/>
                <a:gd name="connsiteY314" fmla="*/ 71839 h 349382"/>
                <a:gd name="connsiteX315" fmla="*/ 1237435 w 2663946"/>
                <a:gd name="connsiteY315" fmla="*/ 75354 h 349382"/>
                <a:gd name="connsiteX316" fmla="*/ 1235223 w 2663946"/>
                <a:gd name="connsiteY316" fmla="*/ 79139 h 349382"/>
                <a:gd name="connsiteX317" fmla="*/ 1234240 w 2663946"/>
                <a:gd name="connsiteY317" fmla="*/ 81843 h 349382"/>
                <a:gd name="connsiteX318" fmla="*/ 1233256 w 2663946"/>
                <a:gd name="connsiteY318" fmla="*/ 85899 h 349382"/>
                <a:gd name="connsiteX319" fmla="*/ 1232273 w 2663946"/>
                <a:gd name="connsiteY319" fmla="*/ 92929 h 349382"/>
                <a:gd name="connsiteX320" fmla="*/ 1233256 w 2663946"/>
                <a:gd name="connsiteY320" fmla="*/ 100229 h 349382"/>
                <a:gd name="connsiteX321" fmla="*/ 1234486 w 2663946"/>
                <a:gd name="connsiteY321" fmla="*/ 104014 h 349382"/>
                <a:gd name="connsiteX322" fmla="*/ 1236698 w 2663946"/>
                <a:gd name="connsiteY322" fmla="*/ 108340 h 349382"/>
                <a:gd name="connsiteX323" fmla="*/ 1240139 w 2663946"/>
                <a:gd name="connsiteY323" fmla="*/ 112667 h 349382"/>
                <a:gd name="connsiteX324" fmla="*/ 1244563 w 2663946"/>
                <a:gd name="connsiteY324" fmla="*/ 115370 h 349382"/>
                <a:gd name="connsiteX325" fmla="*/ 1256854 w 2663946"/>
                <a:gd name="connsiteY325" fmla="*/ 112937 h 349382"/>
                <a:gd name="connsiteX326" fmla="*/ 1260049 w 2663946"/>
                <a:gd name="connsiteY326" fmla="*/ 109422 h 349382"/>
                <a:gd name="connsiteX327" fmla="*/ 1262507 w 2663946"/>
                <a:gd name="connsiteY327" fmla="*/ 105096 h 349382"/>
                <a:gd name="connsiteX328" fmla="*/ 1263490 w 2663946"/>
                <a:gd name="connsiteY328" fmla="*/ 102933 h 349382"/>
                <a:gd name="connsiteX329" fmla="*/ 1264719 w 2663946"/>
                <a:gd name="connsiteY329" fmla="*/ 98607 h 349382"/>
                <a:gd name="connsiteX330" fmla="*/ 1264228 w 2663946"/>
                <a:gd name="connsiteY330" fmla="*/ 84817 h 349382"/>
                <a:gd name="connsiteX331" fmla="*/ 1263244 w 2663946"/>
                <a:gd name="connsiteY331" fmla="*/ 81843 h 349382"/>
                <a:gd name="connsiteX332" fmla="*/ 1262016 w 2663946"/>
                <a:gd name="connsiteY332" fmla="*/ 78869 h 349382"/>
                <a:gd name="connsiteX333" fmla="*/ 1259803 w 2663946"/>
                <a:gd name="connsiteY333" fmla="*/ 75354 h 349382"/>
                <a:gd name="connsiteX334" fmla="*/ 1256116 w 2663946"/>
                <a:gd name="connsiteY334" fmla="*/ 71569 h 349382"/>
                <a:gd name="connsiteX335" fmla="*/ 1252183 w 2663946"/>
                <a:gd name="connsiteY335" fmla="*/ 69406 h 349382"/>
                <a:gd name="connsiteX336" fmla="*/ 1070232 w 2663946"/>
                <a:gd name="connsiteY336" fmla="*/ 69406 h 349382"/>
                <a:gd name="connsiteX337" fmla="*/ 1058679 w 2663946"/>
                <a:gd name="connsiteY337" fmla="*/ 71839 h 349382"/>
                <a:gd name="connsiteX338" fmla="*/ 1055484 w 2663946"/>
                <a:gd name="connsiteY338" fmla="*/ 75354 h 349382"/>
                <a:gd name="connsiteX339" fmla="*/ 1053272 w 2663946"/>
                <a:gd name="connsiteY339" fmla="*/ 79139 h 349382"/>
                <a:gd name="connsiteX340" fmla="*/ 1052289 w 2663946"/>
                <a:gd name="connsiteY340" fmla="*/ 81843 h 349382"/>
                <a:gd name="connsiteX341" fmla="*/ 1051305 w 2663946"/>
                <a:gd name="connsiteY341" fmla="*/ 85899 h 349382"/>
                <a:gd name="connsiteX342" fmla="*/ 1050322 w 2663946"/>
                <a:gd name="connsiteY342" fmla="*/ 92929 h 349382"/>
                <a:gd name="connsiteX343" fmla="*/ 1051305 w 2663946"/>
                <a:gd name="connsiteY343" fmla="*/ 100229 h 349382"/>
                <a:gd name="connsiteX344" fmla="*/ 1052535 w 2663946"/>
                <a:gd name="connsiteY344" fmla="*/ 104014 h 349382"/>
                <a:gd name="connsiteX345" fmla="*/ 1054747 w 2663946"/>
                <a:gd name="connsiteY345" fmla="*/ 108340 h 349382"/>
                <a:gd name="connsiteX346" fmla="*/ 1058188 w 2663946"/>
                <a:gd name="connsiteY346" fmla="*/ 112667 h 349382"/>
                <a:gd name="connsiteX347" fmla="*/ 1062612 w 2663946"/>
                <a:gd name="connsiteY347" fmla="*/ 115370 h 349382"/>
                <a:gd name="connsiteX348" fmla="*/ 1074903 w 2663946"/>
                <a:gd name="connsiteY348" fmla="*/ 112937 h 349382"/>
                <a:gd name="connsiteX349" fmla="*/ 1078098 w 2663946"/>
                <a:gd name="connsiteY349" fmla="*/ 109422 h 349382"/>
                <a:gd name="connsiteX350" fmla="*/ 1080556 w 2663946"/>
                <a:gd name="connsiteY350" fmla="*/ 105096 h 349382"/>
                <a:gd name="connsiteX351" fmla="*/ 1081539 w 2663946"/>
                <a:gd name="connsiteY351" fmla="*/ 102933 h 349382"/>
                <a:gd name="connsiteX352" fmla="*/ 1082768 w 2663946"/>
                <a:gd name="connsiteY352" fmla="*/ 98607 h 349382"/>
                <a:gd name="connsiteX353" fmla="*/ 1082277 w 2663946"/>
                <a:gd name="connsiteY353" fmla="*/ 84817 h 349382"/>
                <a:gd name="connsiteX354" fmla="*/ 1081293 w 2663946"/>
                <a:gd name="connsiteY354" fmla="*/ 81843 h 349382"/>
                <a:gd name="connsiteX355" fmla="*/ 1080065 w 2663946"/>
                <a:gd name="connsiteY355" fmla="*/ 78869 h 349382"/>
                <a:gd name="connsiteX356" fmla="*/ 1077852 w 2663946"/>
                <a:gd name="connsiteY356" fmla="*/ 75354 h 349382"/>
                <a:gd name="connsiteX357" fmla="*/ 1074165 w 2663946"/>
                <a:gd name="connsiteY357" fmla="*/ 71569 h 349382"/>
                <a:gd name="connsiteX358" fmla="*/ 1070232 w 2663946"/>
                <a:gd name="connsiteY358" fmla="*/ 69406 h 349382"/>
                <a:gd name="connsiteX359" fmla="*/ 903203 w 2663946"/>
                <a:gd name="connsiteY359" fmla="*/ 69406 h 349382"/>
                <a:gd name="connsiteX360" fmla="*/ 891650 w 2663946"/>
                <a:gd name="connsiteY360" fmla="*/ 71839 h 349382"/>
                <a:gd name="connsiteX361" fmla="*/ 888455 w 2663946"/>
                <a:gd name="connsiteY361" fmla="*/ 75354 h 349382"/>
                <a:gd name="connsiteX362" fmla="*/ 886243 w 2663946"/>
                <a:gd name="connsiteY362" fmla="*/ 79139 h 349382"/>
                <a:gd name="connsiteX363" fmla="*/ 885260 w 2663946"/>
                <a:gd name="connsiteY363" fmla="*/ 81843 h 349382"/>
                <a:gd name="connsiteX364" fmla="*/ 884276 w 2663946"/>
                <a:gd name="connsiteY364" fmla="*/ 85899 h 349382"/>
                <a:gd name="connsiteX365" fmla="*/ 883293 w 2663946"/>
                <a:gd name="connsiteY365" fmla="*/ 92929 h 349382"/>
                <a:gd name="connsiteX366" fmla="*/ 884276 w 2663946"/>
                <a:gd name="connsiteY366" fmla="*/ 100229 h 349382"/>
                <a:gd name="connsiteX367" fmla="*/ 885506 w 2663946"/>
                <a:gd name="connsiteY367" fmla="*/ 104014 h 349382"/>
                <a:gd name="connsiteX368" fmla="*/ 887718 w 2663946"/>
                <a:gd name="connsiteY368" fmla="*/ 108340 h 349382"/>
                <a:gd name="connsiteX369" fmla="*/ 891159 w 2663946"/>
                <a:gd name="connsiteY369" fmla="*/ 112667 h 349382"/>
                <a:gd name="connsiteX370" fmla="*/ 895583 w 2663946"/>
                <a:gd name="connsiteY370" fmla="*/ 115370 h 349382"/>
                <a:gd name="connsiteX371" fmla="*/ 907874 w 2663946"/>
                <a:gd name="connsiteY371" fmla="*/ 112937 h 349382"/>
                <a:gd name="connsiteX372" fmla="*/ 911069 w 2663946"/>
                <a:gd name="connsiteY372" fmla="*/ 109422 h 349382"/>
                <a:gd name="connsiteX373" fmla="*/ 913527 w 2663946"/>
                <a:gd name="connsiteY373" fmla="*/ 105096 h 349382"/>
                <a:gd name="connsiteX374" fmla="*/ 914510 w 2663946"/>
                <a:gd name="connsiteY374" fmla="*/ 102933 h 349382"/>
                <a:gd name="connsiteX375" fmla="*/ 915739 w 2663946"/>
                <a:gd name="connsiteY375" fmla="*/ 98607 h 349382"/>
                <a:gd name="connsiteX376" fmla="*/ 915248 w 2663946"/>
                <a:gd name="connsiteY376" fmla="*/ 84817 h 349382"/>
                <a:gd name="connsiteX377" fmla="*/ 914264 w 2663946"/>
                <a:gd name="connsiteY377" fmla="*/ 81843 h 349382"/>
                <a:gd name="connsiteX378" fmla="*/ 913036 w 2663946"/>
                <a:gd name="connsiteY378" fmla="*/ 78869 h 349382"/>
                <a:gd name="connsiteX379" fmla="*/ 910823 w 2663946"/>
                <a:gd name="connsiteY379" fmla="*/ 75354 h 349382"/>
                <a:gd name="connsiteX380" fmla="*/ 907136 w 2663946"/>
                <a:gd name="connsiteY380" fmla="*/ 71569 h 349382"/>
                <a:gd name="connsiteX381" fmla="*/ 903203 w 2663946"/>
                <a:gd name="connsiteY381" fmla="*/ 69406 h 349382"/>
                <a:gd name="connsiteX382" fmla="*/ 554297 w 2663946"/>
                <a:gd name="connsiteY382" fmla="*/ 69406 h 349382"/>
                <a:gd name="connsiteX383" fmla="*/ 542744 w 2663946"/>
                <a:gd name="connsiteY383" fmla="*/ 71839 h 349382"/>
                <a:gd name="connsiteX384" fmla="*/ 539549 w 2663946"/>
                <a:gd name="connsiteY384" fmla="*/ 75354 h 349382"/>
                <a:gd name="connsiteX385" fmla="*/ 537337 w 2663946"/>
                <a:gd name="connsiteY385" fmla="*/ 79139 h 349382"/>
                <a:gd name="connsiteX386" fmla="*/ 536353 w 2663946"/>
                <a:gd name="connsiteY386" fmla="*/ 81843 h 349382"/>
                <a:gd name="connsiteX387" fmla="*/ 535370 w 2663946"/>
                <a:gd name="connsiteY387" fmla="*/ 85899 h 349382"/>
                <a:gd name="connsiteX388" fmla="*/ 534387 w 2663946"/>
                <a:gd name="connsiteY388" fmla="*/ 92929 h 349382"/>
                <a:gd name="connsiteX389" fmla="*/ 535370 w 2663946"/>
                <a:gd name="connsiteY389" fmla="*/ 100229 h 349382"/>
                <a:gd name="connsiteX390" fmla="*/ 536599 w 2663946"/>
                <a:gd name="connsiteY390" fmla="*/ 104014 h 349382"/>
                <a:gd name="connsiteX391" fmla="*/ 538811 w 2663946"/>
                <a:gd name="connsiteY391" fmla="*/ 108340 h 349382"/>
                <a:gd name="connsiteX392" fmla="*/ 542253 w 2663946"/>
                <a:gd name="connsiteY392" fmla="*/ 112667 h 349382"/>
                <a:gd name="connsiteX393" fmla="*/ 546677 w 2663946"/>
                <a:gd name="connsiteY393" fmla="*/ 115370 h 349382"/>
                <a:gd name="connsiteX394" fmla="*/ 558967 w 2663946"/>
                <a:gd name="connsiteY394" fmla="*/ 112937 h 349382"/>
                <a:gd name="connsiteX395" fmla="*/ 562163 w 2663946"/>
                <a:gd name="connsiteY395" fmla="*/ 109422 h 349382"/>
                <a:gd name="connsiteX396" fmla="*/ 564621 w 2663946"/>
                <a:gd name="connsiteY396" fmla="*/ 105096 h 349382"/>
                <a:gd name="connsiteX397" fmla="*/ 565604 w 2663946"/>
                <a:gd name="connsiteY397" fmla="*/ 102933 h 349382"/>
                <a:gd name="connsiteX398" fmla="*/ 566833 w 2663946"/>
                <a:gd name="connsiteY398" fmla="*/ 98607 h 349382"/>
                <a:gd name="connsiteX399" fmla="*/ 566341 w 2663946"/>
                <a:gd name="connsiteY399" fmla="*/ 84817 h 349382"/>
                <a:gd name="connsiteX400" fmla="*/ 565358 w 2663946"/>
                <a:gd name="connsiteY400" fmla="*/ 81843 h 349382"/>
                <a:gd name="connsiteX401" fmla="*/ 564129 w 2663946"/>
                <a:gd name="connsiteY401" fmla="*/ 78869 h 349382"/>
                <a:gd name="connsiteX402" fmla="*/ 561917 w 2663946"/>
                <a:gd name="connsiteY402" fmla="*/ 75354 h 349382"/>
                <a:gd name="connsiteX403" fmla="*/ 558230 w 2663946"/>
                <a:gd name="connsiteY403" fmla="*/ 71569 h 349382"/>
                <a:gd name="connsiteX404" fmla="*/ 554297 w 2663946"/>
                <a:gd name="connsiteY404" fmla="*/ 69406 h 349382"/>
                <a:gd name="connsiteX405" fmla="*/ 372346 w 2663946"/>
                <a:gd name="connsiteY405" fmla="*/ 69406 h 349382"/>
                <a:gd name="connsiteX406" fmla="*/ 360793 w 2663946"/>
                <a:gd name="connsiteY406" fmla="*/ 71839 h 349382"/>
                <a:gd name="connsiteX407" fmla="*/ 357598 w 2663946"/>
                <a:gd name="connsiteY407" fmla="*/ 75354 h 349382"/>
                <a:gd name="connsiteX408" fmla="*/ 355385 w 2663946"/>
                <a:gd name="connsiteY408" fmla="*/ 79139 h 349382"/>
                <a:gd name="connsiteX409" fmla="*/ 354402 w 2663946"/>
                <a:gd name="connsiteY409" fmla="*/ 81843 h 349382"/>
                <a:gd name="connsiteX410" fmla="*/ 353419 w 2663946"/>
                <a:gd name="connsiteY410" fmla="*/ 85899 h 349382"/>
                <a:gd name="connsiteX411" fmla="*/ 352436 w 2663946"/>
                <a:gd name="connsiteY411" fmla="*/ 92929 h 349382"/>
                <a:gd name="connsiteX412" fmla="*/ 353419 w 2663946"/>
                <a:gd name="connsiteY412" fmla="*/ 100229 h 349382"/>
                <a:gd name="connsiteX413" fmla="*/ 354648 w 2663946"/>
                <a:gd name="connsiteY413" fmla="*/ 104014 h 349382"/>
                <a:gd name="connsiteX414" fmla="*/ 356860 w 2663946"/>
                <a:gd name="connsiteY414" fmla="*/ 108340 h 349382"/>
                <a:gd name="connsiteX415" fmla="*/ 360301 w 2663946"/>
                <a:gd name="connsiteY415" fmla="*/ 112667 h 349382"/>
                <a:gd name="connsiteX416" fmla="*/ 364726 w 2663946"/>
                <a:gd name="connsiteY416" fmla="*/ 115370 h 349382"/>
                <a:gd name="connsiteX417" fmla="*/ 377016 w 2663946"/>
                <a:gd name="connsiteY417" fmla="*/ 112937 h 349382"/>
                <a:gd name="connsiteX418" fmla="*/ 380212 w 2663946"/>
                <a:gd name="connsiteY418" fmla="*/ 109422 h 349382"/>
                <a:gd name="connsiteX419" fmla="*/ 382670 w 2663946"/>
                <a:gd name="connsiteY419" fmla="*/ 105096 h 349382"/>
                <a:gd name="connsiteX420" fmla="*/ 383653 w 2663946"/>
                <a:gd name="connsiteY420" fmla="*/ 102933 h 349382"/>
                <a:gd name="connsiteX421" fmla="*/ 384882 w 2663946"/>
                <a:gd name="connsiteY421" fmla="*/ 98607 h 349382"/>
                <a:gd name="connsiteX422" fmla="*/ 384390 w 2663946"/>
                <a:gd name="connsiteY422" fmla="*/ 84817 h 349382"/>
                <a:gd name="connsiteX423" fmla="*/ 383407 w 2663946"/>
                <a:gd name="connsiteY423" fmla="*/ 81843 h 349382"/>
                <a:gd name="connsiteX424" fmla="*/ 382178 w 2663946"/>
                <a:gd name="connsiteY424" fmla="*/ 78869 h 349382"/>
                <a:gd name="connsiteX425" fmla="*/ 379966 w 2663946"/>
                <a:gd name="connsiteY425" fmla="*/ 75354 h 349382"/>
                <a:gd name="connsiteX426" fmla="*/ 376279 w 2663946"/>
                <a:gd name="connsiteY426" fmla="*/ 71569 h 349382"/>
                <a:gd name="connsiteX427" fmla="*/ 372346 w 2663946"/>
                <a:gd name="connsiteY427" fmla="*/ 69406 h 349382"/>
                <a:gd name="connsiteX428" fmla="*/ 129300 w 2663946"/>
                <a:gd name="connsiteY428" fmla="*/ 69406 h 349382"/>
                <a:gd name="connsiteX429" fmla="*/ 117747 w 2663946"/>
                <a:gd name="connsiteY429" fmla="*/ 71839 h 349382"/>
                <a:gd name="connsiteX430" fmla="*/ 114552 w 2663946"/>
                <a:gd name="connsiteY430" fmla="*/ 75354 h 349382"/>
                <a:gd name="connsiteX431" fmla="*/ 112340 w 2663946"/>
                <a:gd name="connsiteY431" fmla="*/ 79139 h 349382"/>
                <a:gd name="connsiteX432" fmla="*/ 111356 w 2663946"/>
                <a:gd name="connsiteY432" fmla="*/ 81843 h 349382"/>
                <a:gd name="connsiteX433" fmla="*/ 110373 w 2663946"/>
                <a:gd name="connsiteY433" fmla="*/ 85899 h 349382"/>
                <a:gd name="connsiteX434" fmla="*/ 109390 w 2663946"/>
                <a:gd name="connsiteY434" fmla="*/ 92929 h 349382"/>
                <a:gd name="connsiteX435" fmla="*/ 110373 w 2663946"/>
                <a:gd name="connsiteY435" fmla="*/ 100229 h 349382"/>
                <a:gd name="connsiteX436" fmla="*/ 111602 w 2663946"/>
                <a:gd name="connsiteY436" fmla="*/ 104014 h 349382"/>
                <a:gd name="connsiteX437" fmla="*/ 113814 w 2663946"/>
                <a:gd name="connsiteY437" fmla="*/ 108340 h 349382"/>
                <a:gd name="connsiteX438" fmla="*/ 117256 w 2663946"/>
                <a:gd name="connsiteY438" fmla="*/ 112667 h 349382"/>
                <a:gd name="connsiteX439" fmla="*/ 121680 w 2663946"/>
                <a:gd name="connsiteY439" fmla="*/ 115370 h 349382"/>
                <a:gd name="connsiteX440" fmla="*/ 133970 w 2663946"/>
                <a:gd name="connsiteY440" fmla="*/ 112937 h 349382"/>
                <a:gd name="connsiteX441" fmla="*/ 137166 w 2663946"/>
                <a:gd name="connsiteY441" fmla="*/ 109422 h 349382"/>
                <a:gd name="connsiteX442" fmla="*/ 139624 w 2663946"/>
                <a:gd name="connsiteY442" fmla="*/ 105096 h 349382"/>
                <a:gd name="connsiteX443" fmla="*/ 140607 w 2663946"/>
                <a:gd name="connsiteY443" fmla="*/ 102933 h 349382"/>
                <a:gd name="connsiteX444" fmla="*/ 141836 w 2663946"/>
                <a:gd name="connsiteY444" fmla="*/ 98607 h 349382"/>
                <a:gd name="connsiteX445" fmla="*/ 141344 w 2663946"/>
                <a:gd name="connsiteY445" fmla="*/ 84817 h 349382"/>
                <a:gd name="connsiteX446" fmla="*/ 140361 w 2663946"/>
                <a:gd name="connsiteY446" fmla="*/ 81843 h 349382"/>
                <a:gd name="connsiteX447" fmla="*/ 139132 w 2663946"/>
                <a:gd name="connsiteY447" fmla="*/ 78869 h 349382"/>
                <a:gd name="connsiteX448" fmla="*/ 136920 w 2663946"/>
                <a:gd name="connsiteY448" fmla="*/ 75354 h 349382"/>
                <a:gd name="connsiteX449" fmla="*/ 133233 w 2663946"/>
                <a:gd name="connsiteY449" fmla="*/ 71569 h 349382"/>
                <a:gd name="connsiteX450" fmla="*/ 129300 w 2663946"/>
                <a:gd name="connsiteY450" fmla="*/ 69406 h 349382"/>
                <a:gd name="connsiteX451" fmla="*/ 33147 w 2663946"/>
                <a:gd name="connsiteY451" fmla="*/ 65470 h 349382"/>
                <a:gd name="connsiteX452" fmla="*/ 21486 w 2663946"/>
                <a:gd name="connsiteY452" fmla="*/ 73199 h 349382"/>
                <a:gd name="connsiteX453" fmla="*/ 20561 w 2663946"/>
                <a:gd name="connsiteY453" fmla="*/ 77782 h 349382"/>
                <a:gd name="connsiteX454" fmla="*/ 23801 w 2663946"/>
                <a:gd name="connsiteY454" fmla="*/ 77782 h 349382"/>
                <a:gd name="connsiteX455" fmla="*/ 42218 w 2663946"/>
                <a:gd name="connsiteY455" fmla="*/ 77782 h 349382"/>
                <a:gd name="connsiteX456" fmla="*/ 45732 w 2663946"/>
                <a:gd name="connsiteY456" fmla="*/ 77782 h 349382"/>
                <a:gd name="connsiteX457" fmla="*/ 44807 w 2663946"/>
                <a:gd name="connsiteY457" fmla="*/ 73199 h 349382"/>
                <a:gd name="connsiteX458" fmla="*/ 33147 w 2663946"/>
                <a:gd name="connsiteY458" fmla="*/ 65470 h 349382"/>
                <a:gd name="connsiteX459" fmla="*/ 2537931 w 2663946"/>
                <a:gd name="connsiteY459" fmla="*/ 57882 h 349382"/>
                <a:gd name="connsiteX460" fmla="*/ 2526271 w 2663946"/>
                <a:gd name="connsiteY460" fmla="*/ 65611 h 349382"/>
                <a:gd name="connsiteX461" fmla="*/ 2525346 w 2663946"/>
                <a:gd name="connsiteY461" fmla="*/ 70194 h 349382"/>
                <a:gd name="connsiteX462" fmla="*/ 2528586 w 2663946"/>
                <a:gd name="connsiteY462" fmla="*/ 70194 h 349382"/>
                <a:gd name="connsiteX463" fmla="*/ 2547003 w 2663946"/>
                <a:gd name="connsiteY463" fmla="*/ 70194 h 349382"/>
                <a:gd name="connsiteX464" fmla="*/ 2550517 w 2663946"/>
                <a:gd name="connsiteY464" fmla="*/ 70194 h 349382"/>
                <a:gd name="connsiteX465" fmla="*/ 2549592 w 2663946"/>
                <a:gd name="connsiteY465" fmla="*/ 65611 h 349382"/>
                <a:gd name="connsiteX466" fmla="*/ 2537931 w 2663946"/>
                <a:gd name="connsiteY466" fmla="*/ 57882 h 349382"/>
                <a:gd name="connsiteX467" fmla="*/ 2112934 w 2663946"/>
                <a:gd name="connsiteY467" fmla="*/ 57882 h 349382"/>
                <a:gd name="connsiteX468" fmla="*/ 2101274 w 2663946"/>
                <a:gd name="connsiteY468" fmla="*/ 65611 h 349382"/>
                <a:gd name="connsiteX469" fmla="*/ 2100349 w 2663946"/>
                <a:gd name="connsiteY469" fmla="*/ 70194 h 349382"/>
                <a:gd name="connsiteX470" fmla="*/ 2103589 w 2663946"/>
                <a:gd name="connsiteY470" fmla="*/ 70194 h 349382"/>
                <a:gd name="connsiteX471" fmla="*/ 2122006 w 2663946"/>
                <a:gd name="connsiteY471" fmla="*/ 70194 h 349382"/>
                <a:gd name="connsiteX472" fmla="*/ 2125520 w 2663946"/>
                <a:gd name="connsiteY472" fmla="*/ 70194 h 349382"/>
                <a:gd name="connsiteX473" fmla="*/ 2124595 w 2663946"/>
                <a:gd name="connsiteY473" fmla="*/ 65611 h 349382"/>
                <a:gd name="connsiteX474" fmla="*/ 2112934 w 2663946"/>
                <a:gd name="connsiteY474" fmla="*/ 57882 h 349382"/>
                <a:gd name="connsiteX475" fmla="*/ 1854966 w 2663946"/>
                <a:gd name="connsiteY475" fmla="*/ 57882 h 349382"/>
                <a:gd name="connsiteX476" fmla="*/ 1843306 w 2663946"/>
                <a:gd name="connsiteY476" fmla="*/ 65611 h 349382"/>
                <a:gd name="connsiteX477" fmla="*/ 1842381 w 2663946"/>
                <a:gd name="connsiteY477" fmla="*/ 70194 h 349382"/>
                <a:gd name="connsiteX478" fmla="*/ 1845621 w 2663946"/>
                <a:gd name="connsiteY478" fmla="*/ 70194 h 349382"/>
                <a:gd name="connsiteX479" fmla="*/ 1864038 w 2663946"/>
                <a:gd name="connsiteY479" fmla="*/ 70194 h 349382"/>
                <a:gd name="connsiteX480" fmla="*/ 1867552 w 2663946"/>
                <a:gd name="connsiteY480" fmla="*/ 70194 h 349382"/>
                <a:gd name="connsiteX481" fmla="*/ 1866627 w 2663946"/>
                <a:gd name="connsiteY481" fmla="*/ 65611 h 349382"/>
                <a:gd name="connsiteX482" fmla="*/ 1854966 w 2663946"/>
                <a:gd name="connsiteY482" fmla="*/ 57882 h 349382"/>
                <a:gd name="connsiteX483" fmla="*/ 1764027 w 2663946"/>
                <a:gd name="connsiteY483" fmla="*/ 57882 h 349382"/>
                <a:gd name="connsiteX484" fmla="*/ 1752367 w 2663946"/>
                <a:gd name="connsiteY484" fmla="*/ 65611 h 349382"/>
                <a:gd name="connsiteX485" fmla="*/ 1751442 w 2663946"/>
                <a:gd name="connsiteY485" fmla="*/ 70194 h 349382"/>
                <a:gd name="connsiteX486" fmla="*/ 1754682 w 2663946"/>
                <a:gd name="connsiteY486" fmla="*/ 70194 h 349382"/>
                <a:gd name="connsiteX487" fmla="*/ 1773099 w 2663946"/>
                <a:gd name="connsiteY487" fmla="*/ 70194 h 349382"/>
                <a:gd name="connsiteX488" fmla="*/ 1776613 w 2663946"/>
                <a:gd name="connsiteY488" fmla="*/ 70194 h 349382"/>
                <a:gd name="connsiteX489" fmla="*/ 1775687 w 2663946"/>
                <a:gd name="connsiteY489" fmla="*/ 65611 h 349382"/>
                <a:gd name="connsiteX490" fmla="*/ 1764027 w 2663946"/>
                <a:gd name="connsiteY490" fmla="*/ 57882 h 349382"/>
                <a:gd name="connsiteX491" fmla="*/ 1506059 w 2663946"/>
                <a:gd name="connsiteY491" fmla="*/ 57882 h 349382"/>
                <a:gd name="connsiteX492" fmla="*/ 1494399 w 2663946"/>
                <a:gd name="connsiteY492" fmla="*/ 65611 h 349382"/>
                <a:gd name="connsiteX493" fmla="*/ 1493474 w 2663946"/>
                <a:gd name="connsiteY493" fmla="*/ 70194 h 349382"/>
                <a:gd name="connsiteX494" fmla="*/ 1496714 w 2663946"/>
                <a:gd name="connsiteY494" fmla="*/ 70194 h 349382"/>
                <a:gd name="connsiteX495" fmla="*/ 1515131 w 2663946"/>
                <a:gd name="connsiteY495" fmla="*/ 70194 h 349382"/>
                <a:gd name="connsiteX496" fmla="*/ 1518645 w 2663946"/>
                <a:gd name="connsiteY496" fmla="*/ 70194 h 349382"/>
                <a:gd name="connsiteX497" fmla="*/ 1517719 w 2663946"/>
                <a:gd name="connsiteY497" fmla="*/ 65611 h 349382"/>
                <a:gd name="connsiteX498" fmla="*/ 1506059 w 2663946"/>
                <a:gd name="connsiteY498" fmla="*/ 57882 h 349382"/>
                <a:gd name="connsiteX499" fmla="*/ 1415120 w 2663946"/>
                <a:gd name="connsiteY499" fmla="*/ 57882 h 349382"/>
                <a:gd name="connsiteX500" fmla="*/ 1403460 w 2663946"/>
                <a:gd name="connsiteY500" fmla="*/ 65611 h 349382"/>
                <a:gd name="connsiteX501" fmla="*/ 1402535 w 2663946"/>
                <a:gd name="connsiteY501" fmla="*/ 70194 h 349382"/>
                <a:gd name="connsiteX502" fmla="*/ 1405775 w 2663946"/>
                <a:gd name="connsiteY502" fmla="*/ 70194 h 349382"/>
                <a:gd name="connsiteX503" fmla="*/ 1424192 w 2663946"/>
                <a:gd name="connsiteY503" fmla="*/ 70194 h 349382"/>
                <a:gd name="connsiteX504" fmla="*/ 1427706 w 2663946"/>
                <a:gd name="connsiteY504" fmla="*/ 70194 h 349382"/>
                <a:gd name="connsiteX505" fmla="*/ 1426780 w 2663946"/>
                <a:gd name="connsiteY505" fmla="*/ 65611 h 349382"/>
                <a:gd name="connsiteX506" fmla="*/ 1415120 w 2663946"/>
                <a:gd name="connsiteY506" fmla="*/ 57882 h 349382"/>
                <a:gd name="connsiteX507" fmla="*/ 1157152 w 2663946"/>
                <a:gd name="connsiteY507" fmla="*/ 57882 h 349382"/>
                <a:gd name="connsiteX508" fmla="*/ 1145492 w 2663946"/>
                <a:gd name="connsiteY508" fmla="*/ 65611 h 349382"/>
                <a:gd name="connsiteX509" fmla="*/ 1144567 w 2663946"/>
                <a:gd name="connsiteY509" fmla="*/ 70194 h 349382"/>
                <a:gd name="connsiteX510" fmla="*/ 1147807 w 2663946"/>
                <a:gd name="connsiteY510" fmla="*/ 70194 h 349382"/>
                <a:gd name="connsiteX511" fmla="*/ 1166224 w 2663946"/>
                <a:gd name="connsiteY511" fmla="*/ 70194 h 349382"/>
                <a:gd name="connsiteX512" fmla="*/ 1169738 w 2663946"/>
                <a:gd name="connsiteY512" fmla="*/ 70194 h 349382"/>
                <a:gd name="connsiteX513" fmla="*/ 1168812 w 2663946"/>
                <a:gd name="connsiteY513" fmla="*/ 65611 h 349382"/>
                <a:gd name="connsiteX514" fmla="*/ 1157152 w 2663946"/>
                <a:gd name="connsiteY514" fmla="*/ 57882 h 349382"/>
                <a:gd name="connsiteX515" fmla="*/ 732156 w 2663946"/>
                <a:gd name="connsiteY515" fmla="*/ 57882 h 349382"/>
                <a:gd name="connsiteX516" fmla="*/ 720495 w 2663946"/>
                <a:gd name="connsiteY516" fmla="*/ 65611 h 349382"/>
                <a:gd name="connsiteX517" fmla="*/ 719570 w 2663946"/>
                <a:gd name="connsiteY517" fmla="*/ 70194 h 349382"/>
                <a:gd name="connsiteX518" fmla="*/ 722810 w 2663946"/>
                <a:gd name="connsiteY518" fmla="*/ 70194 h 349382"/>
                <a:gd name="connsiteX519" fmla="*/ 741228 w 2663946"/>
                <a:gd name="connsiteY519" fmla="*/ 70194 h 349382"/>
                <a:gd name="connsiteX520" fmla="*/ 744742 w 2663946"/>
                <a:gd name="connsiteY520" fmla="*/ 70194 h 349382"/>
                <a:gd name="connsiteX521" fmla="*/ 743816 w 2663946"/>
                <a:gd name="connsiteY521" fmla="*/ 65611 h 349382"/>
                <a:gd name="connsiteX522" fmla="*/ 732156 w 2663946"/>
                <a:gd name="connsiteY522" fmla="*/ 57882 h 349382"/>
                <a:gd name="connsiteX523" fmla="*/ 641217 w 2663946"/>
                <a:gd name="connsiteY523" fmla="*/ 57882 h 349382"/>
                <a:gd name="connsiteX524" fmla="*/ 629556 w 2663946"/>
                <a:gd name="connsiteY524" fmla="*/ 65611 h 349382"/>
                <a:gd name="connsiteX525" fmla="*/ 628631 w 2663946"/>
                <a:gd name="connsiteY525" fmla="*/ 70194 h 349382"/>
                <a:gd name="connsiteX526" fmla="*/ 631871 w 2663946"/>
                <a:gd name="connsiteY526" fmla="*/ 70194 h 349382"/>
                <a:gd name="connsiteX527" fmla="*/ 650289 w 2663946"/>
                <a:gd name="connsiteY527" fmla="*/ 70194 h 349382"/>
                <a:gd name="connsiteX528" fmla="*/ 653802 w 2663946"/>
                <a:gd name="connsiteY528" fmla="*/ 70194 h 349382"/>
                <a:gd name="connsiteX529" fmla="*/ 652877 w 2663946"/>
                <a:gd name="connsiteY529" fmla="*/ 65611 h 349382"/>
                <a:gd name="connsiteX530" fmla="*/ 641217 w 2663946"/>
                <a:gd name="connsiteY530" fmla="*/ 57882 h 349382"/>
                <a:gd name="connsiteX531" fmla="*/ 459266 w 2663946"/>
                <a:gd name="connsiteY531" fmla="*/ 57882 h 349382"/>
                <a:gd name="connsiteX532" fmla="*/ 447605 w 2663946"/>
                <a:gd name="connsiteY532" fmla="*/ 65611 h 349382"/>
                <a:gd name="connsiteX533" fmla="*/ 446680 w 2663946"/>
                <a:gd name="connsiteY533" fmla="*/ 70194 h 349382"/>
                <a:gd name="connsiteX534" fmla="*/ 449920 w 2663946"/>
                <a:gd name="connsiteY534" fmla="*/ 70194 h 349382"/>
                <a:gd name="connsiteX535" fmla="*/ 468337 w 2663946"/>
                <a:gd name="connsiteY535" fmla="*/ 70194 h 349382"/>
                <a:gd name="connsiteX536" fmla="*/ 471851 w 2663946"/>
                <a:gd name="connsiteY536" fmla="*/ 70194 h 349382"/>
                <a:gd name="connsiteX537" fmla="*/ 470926 w 2663946"/>
                <a:gd name="connsiteY537" fmla="*/ 65611 h 349382"/>
                <a:gd name="connsiteX538" fmla="*/ 459266 w 2663946"/>
                <a:gd name="connsiteY538" fmla="*/ 57882 h 349382"/>
                <a:gd name="connsiteX539" fmla="*/ 2361413 w 2663946"/>
                <a:gd name="connsiteY539" fmla="*/ 53522 h 349382"/>
                <a:gd name="connsiteX540" fmla="*/ 2365469 w 2663946"/>
                <a:gd name="connsiteY540" fmla="*/ 53522 h 349382"/>
                <a:gd name="connsiteX541" fmla="*/ 2370065 w 2663946"/>
                <a:gd name="connsiteY541" fmla="*/ 55956 h 349382"/>
                <a:gd name="connsiteX542" fmla="*/ 2372229 w 2663946"/>
                <a:gd name="connsiteY542" fmla="*/ 62174 h 349382"/>
                <a:gd name="connsiteX543" fmla="*/ 2372229 w 2663946"/>
                <a:gd name="connsiteY543" fmla="*/ 62715 h 349382"/>
                <a:gd name="connsiteX544" fmla="*/ 2372229 w 2663946"/>
                <a:gd name="connsiteY544" fmla="*/ 115710 h 349382"/>
                <a:gd name="connsiteX545" fmla="*/ 2372769 w 2663946"/>
                <a:gd name="connsiteY545" fmla="*/ 116250 h 349382"/>
                <a:gd name="connsiteX546" fmla="*/ 2380069 w 2663946"/>
                <a:gd name="connsiteY546" fmla="*/ 116250 h 349382"/>
                <a:gd name="connsiteX547" fmla="*/ 2384125 w 2663946"/>
                <a:gd name="connsiteY547" fmla="*/ 117332 h 349382"/>
                <a:gd name="connsiteX548" fmla="*/ 2387910 w 2663946"/>
                <a:gd name="connsiteY548" fmla="*/ 124091 h 349382"/>
                <a:gd name="connsiteX549" fmla="*/ 2385207 w 2663946"/>
                <a:gd name="connsiteY549" fmla="*/ 129769 h 349382"/>
                <a:gd name="connsiteX550" fmla="*/ 2381151 w 2663946"/>
                <a:gd name="connsiteY550" fmla="*/ 131662 h 349382"/>
                <a:gd name="connsiteX551" fmla="*/ 2380881 w 2663946"/>
                <a:gd name="connsiteY551" fmla="*/ 131662 h 349382"/>
                <a:gd name="connsiteX552" fmla="*/ 2380610 w 2663946"/>
                <a:gd name="connsiteY552" fmla="*/ 131662 h 349382"/>
                <a:gd name="connsiteX553" fmla="*/ 2380069 w 2663946"/>
                <a:gd name="connsiteY553" fmla="*/ 131662 h 349382"/>
                <a:gd name="connsiteX554" fmla="*/ 2347894 w 2663946"/>
                <a:gd name="connsiteY554" fmla="*/ 131662 h 349382"/>
                <a:gd name="connsiteX555" fmla="*/ 2347354 w 2663946"/>
                <a:gd name="connsiteY555" fmla="*/ 131662 h 349382"/>
                <a:gd name="connsiteX556" fmla="*/ 2346542 w 2663946"/>
                <a:gd name="connsiteY556" fmla="*/ 131662 h 349382"/>
                <a:gd name="connsiteX557" fmla="*/ 2345731 w 2663946"/>
                <a:gd name="connsiteY557" fmla="*/ 131392 h 349382"/>
                <a:gd name="connsiteX558" fmla="*/ 2342216 w 2663946"/>
                <a:gd name="connsiteY558" fmla="*/ 129499 h 349382"/>
                <a:gd name="connsiteX559" fmla="*/ 2339783 w 2663946"/>
                <a:gd name="connsiteY559" fmla="*/ 123821 h 349382"/>
                <a:gd name="connsiteX560" fmla="*/ 2341946 w 2663946"/>
                <a:gd name="connsiteY560" fmla="*/ 118684 h 349382"/>
                <a:gd name="connsiteX561" fmla="*/ 2347624 w 2663946"/>
                <a:gd name="connsiteY561" fmla="*/ 116250 h 349382"/>
                <a:gd name="connsiteX562" fmla="*/ 2355465 w 2663946"/>
                <a:gd name="connsiteY562" fmla="*/ 116250 h 349382"/>
                <a:gd name="connsiteX563" fmla="*/ 2356006 w 2663946"/>
                <a:gd name="connsiteY563" fmla="*/ 115710 h 349382"/>
                <a:gd name="connsiteX564" fmla="*/ 2356006 w 2663946"/>
                <a:gd name="connsiteY564" fmla="*/ 69745 h 349382"/>
                <a:gd name="connsiteX565" fmla="*/ 2355465 w 2663946"/>
                <a:gd name="connsiteY565" fmla="*/ 69204 h 349382"/>
                <a:gd name="connsiteX566" fmla="*/ 2349517 w 2663946"/>
                <a:gd name="connsiteY566" fmla="*/ 69204 h 349382"/>
                <a:gd name="connsiteX567" fmla="*/ 2342216 w 2663946"/>
                <a:gd name="connsiteY567" fmla="*/ 64608 h 349382"/>
                <a:gd name="connsiteX568" fmla="*/ 2341946 w 2663946"/>
                <a:gd name="connsiteY568" fmla="*/ 58930 h 349382"/>
                <a:gd name="connsiteX569" fmla="*/ 2349246 w 2663946"/>
                <a:gd name="connsiteY569" fmla="*/ 53793 h 349382"/>
                <a:gd name="connsiteX570" fmla="*/ 2361413 w 2663946"/>
                <a:gd name="connsiteY570" fmla="*/ 53522 h 349382"/>
                <a:gd name="connsiteX571" fmla="*/ 2285396 w 2663946"/>
                <a:gd name="connsiteY571" fmla="*/ 53522 h 349382"/>
                <a:gd name="connsiteX572" fmla="*/ 2289452 w 2663946"/>
                <a:gd name="connsiteY572" fmla="*/ 53522 h 349382"/>
                <a:gd name="connsiteX573" fmla="*/ 2294048 w 2663946"/>
                <a:gd name="connsiteY573" fmla="*/ 55956 h 349382"/>
                <a:gd name="connsiteX574" fmla="*/ 2296212 w 2663946"/>
                <a:gd name="connsiteY574" fmla="*/ 62174 h 349382"/>
                <a:gd name="connsiteX575" fmla="*/ 2296212 w 2663946"/>
                <a:gd name="connsiteY575" fmla="*/ 62715 h 349382"/>
                <a:gd name="connsiteX576" fmla="*/ 2296212 w 2663946"/>
                <a:gd name="connsiteY576" fmla="*/ 115710 h 349382"/>
                <a:gd name="connsiteX577" fmla="*/ 2296752 w 2663946"/>
                <a:gd name="connsiteY577" fmla="*/ 116250 h 349382"/>
                <a:gd name="connsiteX578" fmla="*/ 2304052 w 2663946"/>
                <a:gd name="connsiteY578" fmla="*/ 116250 h 349382"/>
                <a:gd name="connsiteX579" fmla="*/ 2308108 w 2663946"/>
                <a:gd name="connsiteY579" fmla="*/ 117332 h 349382"/>
                <a:gd name="connsiteX580" fmla="*/ 2311893 w 2663946"/>
                <a:gd name="connsiteY580" fmla="*/ 124091 h 349382"/>
                <a:gd name="connsiteX581" fmla="*/ 2309190 w 2663946"/>
                <a:gd name="connsiteY581" fmla="*/ 129769 h 349382"/>
                <a:gd name="connsiteX582" fmla="*/ 2305134 w 2663946"/>
                <a:gd name="connsiteY582" fmla="*/ 131662 h 349382"/>
                <a:gd name="connsiteX583" fmla="*/ 2304864 w 2663946"/>
                <a:gd name="connsiteY583" fmla="*/ 131662 h 349382"/>
                <a:gd name="connsiteX584" fmla="*/ 2304593 w 2663946"/>
                <a:gd name="connsiteY584" fmla="*/ 131662 h 349382"/>
                <a:gd name="connsiteX585" fmla="*/ 2304052 w 2663946"/>
                <a:gd name="connsiteY585" fmla="*/ 131662 h 349382"/>
                <a:gd name="connsiteX586" fmla="*/ 2271877 w 2663946"/>
                <a:gd name="connsiteY586" fmla="*/ 131662 h 349382"/>
                <a:gd name="connsiteX587" fmla="*/ 2271337 w 2663946"/>
                <a:gd name="connsiteY587" fmla="*/ 131662 h 349382"/>
                <a:gd name="connsiteX588" fmla="*/ 2270525 w 2663946"/>
                <a:gd name="connsiteY588" fmla="*/ 131662 h 349382"/>
                <a:gd name="connsiteX589" fmla="*/ 2269714 w 2663946"/>
                <a:gd name="connsiteY589" fmla="*/ 131392 h 349382"/>
                <a:gd name="connsiteX590" fmla="*/ 2266199 w 2663946"/>
                <a:gd name="connsiteY590" fmla="*/ 129499 h 349382"/>
                <a:gd name="connsiteX591" fmla="*/ 2263766 w 2663946"/>
                <a:gd name="connsiteY591" fmla="*/ 123821 h 349382"/>
                <a:gd name="connsiteX592" fmla="*/ 2265929 w 2663946"/>
                <a:gd name="connsiteY592" fmla="*/ 118684 h 349382"/>
                <a:gd name="connsiteX593" fmla="*/ 2271607 w 2663946"/>
                <a:gd name="connsiteY593" fmla="*/ 116250 h 349382"/>
                <a:gd name="connsiteX594" fmla="*/ 2279448 w 2663946"/>
                <a:gd name="connsiteY594" fmla="*/ 116250 h 349382"/>
                <a:gd name="connsiteX595" fmla="*/ 2279989 w 2663946"/>
                <a:gd name="connsiteY595" fmla="*/ 115710 h 349382"/>
                <a:gd name="connsiteX596" fmla="*/ 2279989 w 2663946"/>
                <a:gd name="connsiteY596" fmla="*/ 69745 h 349382"/>
                <a:gd name="connsiteX597" fmla="*/ 2279448 w 2663946"/>
                <a:gd name="connsiteY597" fmla="*/ 69204 h 349382"/>
                <a:gd name="connsiteX598" fmla="*/ 2273500 w 2663946"/>
                <a:gd name="connsiteY598" fmla="*/ 69204 h 349382"/>
                <a:gd name="connsiteX599" fmla="*/ 2266199 w 2663946"/>
                <a:gd name="connsiteY599" fmla="*/ 64608 h 349382"/>
                <a:gd name="connsiteX600" fmla="*/ 2265929 w 2663946"/>
                <a:gd name="connsiteY600" fmla="*/ 58930 h 349382"/>
                <a:gd name="connsiteX601" fmla="*/ 2273229 w 2663946"/>
                <a:gd name="connsiteY601" fmla="*/ 53793 h 349382"/>
                <a:gd name="connsiteX602" fmla="*/ 2285396 w 2663946"/>
                <a:gd name="connsiteY602" fmla="*/ 53522 h 349382"/>
                <a:gd name="connsiteX603" fmla="*/ 1936416 w 2663946"/>
                <a:gd name="connsiteY603" fmla="*/ 53522 h 349382"/>
                <a:gd name="connsiteX604" fmla="*/ 1940472 w 2663946"/>
                <a:gd name="connsiteY604" fmla="*/ 53522 h 349382"/>
                <a:gd name="connsiteX605" fmla="*/ 1945068 w 2663946"/>
                <a:gd name="connsiteY605" fmla="*/ 55956 h 349382"/>
                <a:gd name="connsiteX606" fmla="*/ 1947232 w 2663946"/>
                <a:gd name="connsiteY606" fmla="*/ 62174 h 349382"/>
                <a:gd name="connsiteX607" fmla="*/ 1947232 w 2663946"/>
                <a:gd name="connsiteY607" fmla="*/ 62715 h 349382"/>
                <a:gd name="connsiteX608" fmla="*/ 1947232 w 2663946"/>
                <a:gd name="connsiteY608" fmla="*/ 115710 h 349382"/>
                <a:gd name="connsiteX609" fmla="*/ 1947772 w 2663946"/>
                <a:gd name="connsiteY609" fmla="*/ 116250 h 349382"/>
                <a:gd name="connsiteX610" fmla="*/ 1955072 w 2663946"/>
                <a:gd name="connsiteY610" fmla="*/ 116250 h 349382"/>
                <a:gd name="connsiteX611" fmla="*/ 1959128 w 2663946"/>
                <a:gd name="connsiteY611" fmla="*/ 117332 h 349382"/>
                <a:gd name="connsiteX612" fmla="*/ 1962913 w 2663946"/>
                <a:gd name="connsiteY612" fmla="*/ 124091 h 349382"/>
                <a:gd name="connsiteX613" fmla="*/ 1960210 w 2663946"/>
                <a:gd name="connsiteY613" fmla="*/ 129769 h 349382"/>
                <a:gd name="connsiteX614" fmla="*/ 1956154 w 2663946"/>
                <a:gd name="connsiteY614" fmla="*/ 131662 h 349382"/>
                <a:gd name="connsiteX615" fmla="*/ 1955884 w 2663946"/>
                <a:gd name="connsiteY615" fmla="*/ 131662 h 349382"/>
                <a:gd name="connsiteX616" fmla="*/ 1955613 w 2663946"/>
                <a:gd name="connsiteY616" fmla="*/ 131662 h 349382"/>
                <a:gd name="connsiteX617" fmla="*/ 1955072 w 2663946"/>
                <a:gd name="connsiteY617" fmla="*/ 131662 h 349382"/>
                <a:gd name="connsiteX618" fmla="*/ 1922897 w 2663946"/>
                <a:gd name="connsiteY618" fmla="*/ 131662 h 349382"/>
                <a:gd name="connsiteX619" fmla="*/ 1922357 w 2663946"/>
                <a:gd name="connsiteY619" fmla="*/ 131662 h 349382"/>
                <a:gd name="connsiteX620" fmla="*/ 1921545 w 2663946"/>
                <a:gd name="connsiteY620" fmla="*/ 131662 h 349382"/>
                <a:gd name="connsiteX621" fmla="*/ 1920734 w 2663946"/>
                <a:gd name="connsiteY621" fmla="*/ 131392 h 349382"/>
                <a:gd name="connsiteX622" fmla="*/ 1917219 w 2663946"/>
                <a:gd name="connsiteY622" fmla="*/ 129499 h 349382"/>
                <a:gd name="connsiteX623" fmla="*/ 1914786 w 2663946"/>
                <a:gd name="connsiteY623" fmla="*/ 123821 h 349382"/>
                <a:gd name="connsiteX624" fmla="*/ 1916949 w 2663946"/>
                <a:gd name="connsiteY624" fmla="*/ 118684 h 349382"/>
                <a:gd name="connsiteX625" fmla="*/ 1922627 w 2663946"/>
                <a:gd name="connsiteY625" fmla="*/ 116250 h 349382"/>
                <a:gd name="connsiteX626" fmla="*/ 1930468 w 2663946"/>
                <a:gd name="connsiteY626" fmla="*/ 116250 h 349382"/>
                <a:gd name="connsiteX627" fmla="*/ 1931009 w 2663946"/>
                <a:gd name="connsiteY627" fmla="*/ 115710 h 349382"/>
                <a:gd name="connsiteX628" fmla="*/ 1931009 w 2663946"/>
                <a:gd name="connsiteY628" fmla="*/ 69745 h 349382"/>
                <a:gd name="connsiteX629" fmla="*/ 1930468 w 2663946"/>
                <a:gd name="connsiteY629" fmla="*/ 69204 h 349382"/>
                <a:gd name="connsiteX630" fmla="*/ 1924520 w 2663946"/>
                <a:gd name="connsiteY630" fmla="*/ 69204 h 349382"/>
                <a:gd name="connsiteX631" fmla="*/ 1917219 w 2663946"/>
                <a:gd name="connsiteY631" fmla="*/ 64608 h 349382"/>
                <a:gd name="connsiteX632" fmla="*/ 1916949 w 2663946"/>
                <a:gd name="connsiteY632" fmla="*/ 58930 h 349382"/>
                <a:gd name="connsiteX633" fmla="*/ 1924249 w 2663946"/>
                <a:gd name="connsiteY633" fmla="*/ 53793 h 349382"/>
                <a:gd name="connsiteX634" fmla="*/ 1936416 w 2663946"/>
                <a:gd name="connsiteY634" fmla="*/ 53522 h 349382"/>
                <a:gd name="connsiteX635" fmla="*/ 1678521 w 2663946"/>
                <a:gd name="connsiteY635" fmla="*/ 53522 h 349382"/>
                <a:gd name="connsiteX636" fmla="*/ 1682577 w 2663946"/>
                <a:gd name="connsiteY636" fmla="*/ 53522 h 349382"/>
                <a:gd name="connsiteX637" fmla="*/ 1687173 w 2663946"/>
                <a:gd name="connsiteY637" fmla="*/ 55956 h 349382"/>
                <a:gd name="connsiteX638" fmla="*/ 1689336 w 2663946"/>
                <a:gd name="connsiteY638" fmla="*/ 62174 h 349382"/>
                <a:gd name="connsiteX639" fmla="*/ 1689336 w 2663946"/>
                <a:gd name="connsiteY639" fmla="*/ 62715 h 349382"/>
                <a:gd name="connsiteX640" fmla="*/ 1689336 w 2663946"/>
                <a:gd name="connsiteY640" fmla="*/ 115710 h 349382"/>
                <a:gd name="connsiteX641" fmla="*/ 1689877 w 2663946"/>
                <a:gd name="connsiteY641" fmla="*/ 116250 h 349382"/>
                <a:gd name="connsiteX642" fmla="*/ 1697177 w 2663946"/>
                <a:gd name="connsiteY642" fmla="*/ 116250 h 349382"/>
                <a:gd name="connsiteX643" fmla="*/ 1701233 w 2663946"/>
                <a:gd name="connsiteY643" fmla="*/ 117332 h 349382"/>
                <a:gd name="connsiteX644" fmla="*/ 1705018 w 2663946"/>
                <a:gd name="connsiteY644" fmla="*/ 124091 h 349382"/>
                <a:gd name="connsiteX645" fmla="*/ 1702315 w 2663946"/>
                <a:gd name="connsiteY645" fmla="*/ 129769 h 349382"/>
                <a:gd name="connsiteX646" fmla="*/ 1698259 w 2663946"/>
                <a:gd name="connsiteY646" fmla="*/ 131662 h 349382"/>
                <a:gd name="connsiteX647" fmla="*/ 1697989 w 2663946"/>
                <a:gd name="connsiteY647" fmla="*/ 131662 h 349382"/>
                <a:gd name="connsiteX648" fmla="*/ 1697718 w 2663946"/>
                <a:gd name="connsiteY648" fmla="*/ 131662 h 349382"/>
                <a:gd name="connsiteX649" fmla="*/ 1697177 w 2663946"/>
                <a:gd name="connsiteY649" fmla="*/ 131662 h 349382"/>
                <a:gd name="connsiteX650" fmla="*/ 1665002 w 2663946"/>
                <a:gd name="connsiteY650" fmla="*/ 131662 h 349382"/>
                <a:gd name="connsiteX651" fmla="*/ 1664462 w 2663946"/>
                <a:gd name="connsiteY651" fmla="*/ 131662 h 349382"/>
                <a:gd name="connsiteX652" fmla="*/ 1663650 w 2663946"/>
                <a:gd name="connsiteY652" fmla="*/ 131662 h 349382"/>
                <a:gd name="connsiteX653" fmla="*/ 1662839 w 2663946"/>
                <a:gd name="connsiteY653" fmla="*/ 131392 h 349382"/>
                <a:gd name="connsiteX654" fmla="*/ 1659324 w 2663946"/>
                <a:gd name="connsiteY654" fmla="*/ 129499 h 349382"/>
                <a:gd name="connsiteX655" fmla="*/ 1656891 w 2663946"/>
                <a:gd name="connsiteY655" fmla="*/ 123821 h 349382"/>
                <a:gd name="connsiteX656" fmla="*/ 1659054 w 2663946"/>
                <a:gd name="connsiteY656" fmla="*/ 118684 h 349382"/>
                <a:gd name="connsiteX657" fmla="*/ 1664732 w 2663946"/>
                <a:gd name="connsiteY657" fmla="*/ 116250 h 349382"/>
                <a:gd name="connsiteX658" fmla="*/ 1672573 w 2663946"/>
                <a:gd name="connsiteY658" fmla="*/ 116250 h 349382"/>
                <a:gd name="connsiteX659" fmla="*/ 1673114 w 2663946"/>
                <a:gd name="connsiteY659" fmla="*/ 115710 h 349382"/>
                <a:gd name="connsiteX660" fmla="*/ 1673114 w 2663946"/>
                <a:gd name="connsiteY660" fmla="*/ 69745 h 349382"/>
                <a:gd name="connsiteX661" fmla="*/ 1672573 w 2663946"/>
                <a:gd name="connsiteY661" fmla="*/ 69204 h 349382"/>
                <a:gd name="connsiteX662" fmla="*/ 1666625 w 2663946"/>
                <a:gd name="connsiteY662" fmla="*/ 69204 h 349382"/>
                <a:gd name="connsiteX663" fmla="*/ 1659324 w 2663946"/>
                <a:gd name="connsiteY663" fmla="*/ 64608 h 349382"/>
                <a:gd name="connsiteX664" fmla="*/ 1659054 w 2663946"/>
                <a:gd name="connsiteY664" fmla="*/ 58930 h 349382"/>
                <a:gd name="connsiteX665" fmla="*/ 1666354 w 2663946"/>
                <a:gd name="connsiteY665" fmla="*/ 53793 h 349382"/>
                <a:gd name="connsiteX666" fmla="*/ 1678521 w 2663946"/>
                <a:gd name="connsiteY666" fmla="*/ 53522 h 349382"/>
                <a:gd name="connsiteX667" fmla="*/ 1329614 w 2663946"/>
                <a:gd name="connsiteY667" fmla="*/ 53522 h 349382"/>
                <a:gd name="connsiteX668" fmla="*/ 1333670 w 2663946"/>
                <a:gd name="connsiteY668" fmla="*/ 53522 h 349382"/>
                <a:gd name="connsiteX669" fmla="*/ 1338266 w 2663946"/>
                <a:gd name="connsiteY669" fmla="*/ 55956 h 349382"/>
                <a:gd name="connsiteX670" fmla="*/ 1340429 w 2663946"/>
                <a:gd name="connsiteY670" fmla="*/ 62174 h 349382"/>
                <a:gd name="connsiteX671" fmla="*/ 1340429 w 2663946"/>
                <a:gd name="connsiteY671" fmla="*/ 62715 h 349382"/>
                <a:gd name="connsiteX672" fmla="*/ 1340429 w 2663946"/>
                <a:gd name="connsiteY672" fmla="*/ 115710 h 349382"/>
                <a:gd name="connsiteX673" fmla="*/ 1340970 w 2663946"/>
                <a:gd name="connsiteY673" fmla="*/ 116250 h 349382"/>
                <a:gd name="connsiteX674" fmla="*/ 1348270 w 2663946"/>
                <a:gd name="connsiteY674" fmla="*/ 116250 h 349382"/>
                <a:gd name="connsiteX675" fmla="*/ 1352326 w 2663946"/>
                <a:gd name="connsiteY675" fmla="*/ 117332 h 349382"/>
                <a:gd name="connsiteX676" fmla="*/ 1356111 w 2663946"/>
                <a:gd name="connsiteY676" fmla="*/ 124091 h 349382"/>
                <a:gd name="connsiteX677" fmla="*/ 1353408 w 2663946"/>
                <a:gd name="connsiteY677" fmla="*/ 129769 h 349382"/>
                <a:gd name="connsiteX678" fmla="*/ 1349352 w 2663946"/>
                <a:gd name="connsiteY678" fmla="*/ 131662 h 349382"/>
                <a:gd name="connsiteX679" fmla="*/ 1349082 w 2663946"/>
                <a:gd name="connsiteY679" fmla="*/ 131662 h 349382"/>
                <a:gd name="connsiteX680" fmla="*/ 1348811 w 2663946"/>
                <a:gd name="connsiteY680" fmla="*/ 131662 h 349382"/>
                <a:gd name="connsiteX681" fmla="*/ 1348270 w 2663946"/>
                <a:gd name="connsiteY681" fmla="*/ 131662 h 349382"/>
                <a:gd name="connsiteX682" fmla="*/ 1316095 w 2663946"/>
                <a:gd name="connsiteY682" fmla="*/ 131662 h 349382"/>
                <a:gd name="connsiteX683" fmla="*/ 1315555 w 2663946"/>
                <a:gd name="connsiteY683" fmla="*/ 131662 h 349382"/>
                <a:gd name="connsiteX684" fmla="*/ 1314743 w 2663946"/>
                <a:gd name="connsiteY684" fmla="*/ 131662 h 349382"/>
                <a:gd name="connsiteX685" fmla="*/ 1313932 w 2663946"/>
                <a:gd name="connsiteY685" fmla="*/ 131392 h 349382"/>
                <a:gd name="connsiteX686" fmla="*/ 1310417 w 2663946"/>
                <a:gd name="connsiteY686" fmla="*/ 129499 h 349382"/>
                <a:gd name="connsiteX687" fmla="*/ 1307984 w 2663946"/>
                <a:gd name="connsiteY687" fmla="*/ 123821 h 349382"/>
                <a:gd name="connsiteX688" fmla="*/ 1310147 w 2663946"/>
                <a:gd name="connsiteY688" fmla="*/ 118684 h 349382"/>
                <a:gd name="connsiteX689" fmla="*/ 1315825 w 2663946"/>
                <a:gd name="connsiteY689" fmla="*/ 116250 h 349382"/>
                <a:gd name="connsiteX690" fmla="*/ 1323666 w 2663946"/>
                <a:gd name="connsiteY690" fmla="*/ 116250 h 349382"/>
                <a:gd name="connsiteX691" fmla="*/ 1324207 w 2663946"/>
                <a:gd name="connsiteY691" fmla="*/ 115710 h 349382"/>
                <a:gd name="connsiteX692" fmla="*/ 1324207 w 2663946"/>
                <a:gd name="connsiteY692" fmla="*/ 69745 h 349382"/>
                <a:gd name="connsiteX693" fmla="*/ 1323666 w 2663946"/>
                <a:gd name="connsiteY693" fmla="*/ 69204 h 349382"/>
                <a:gd name="connsiteX694" fmla="*/ 1317718 w 2663946"/>
                <a:gd name="connsiteY694" fmla="*/ 69204 h 349382"/>
                <a:gd name="connsiteX695" fmla="*/ 1310417 w 2663946"/>
                <a:gd name="connsiteY695" fmla="*/ 64608 h 349382"/>
                <a:gd name="connsiteX696" fmla="*/ 1310147 w 2663946"/>
                <a:gd name="connsiteY696" fmla="*/ 58930 h 349382"/>
                <a:gd name="connsiteX697" fmla="*/ 1317447 w 2663946"/>
                <a:gd name="connsiteY697" fmla="*/ 53793 h 349382"/>
                <a:gd name="connsiteX698" fmla="*/ 1329614 w 2663946"/>
                <a:gd name="connsiteY698" fmla="*/ 53522 h 349382"/>
                <a:gd name="connsiteX699" fmla="*/ 980634 w 2663946"/>
                <a:gd name="connsiteY699" fmla="*/ 53522 h 349382"/>
                <a:gd name="connsiteX700" fmla="*/ 984690 w 2663946"/>
                <a:gd name="connsiteY700" fmla="*/ 53522 h 349382"/>
                <a:gd name="connsiteX701" fmla="*/ 989286 w 2663946"/>
                <a:gd name="connsiteY701" fmla="*/ 55956 h 349382"/>
                <a:gd name="connsiteX702" fmla="*/ 991449 w 2663946"/>
                <a:gd name="connsiteY702" fmla="*/ 62174 h 349382"/>
                <a:gd name="connsiteX703" fmla="*/ 991449 w 2663946"/>
                <a:gd name="connsiteY703" fmla="*/ 62715 h 349382"/>
                <a:gd name="connsiteX704" fmla="*/ 991449 w 2663946"/>
                <a:gd name="connsiteY704" fmla="*/ 115710 h 349382"/>
                <a:gd name="connsiteX705" fmla="*/ 991990 w 2663946"/>
                <a:gd name="connsiteY705" fmla="*/ 116250 h 349382"/>
                <a:gd name="connsiteX706" fmla="*/ 999290 w 2663946"/>
                <a:gd name="connsiteY706" fmla="*/ 116250 h 349382"/>
                <a:gd name="connsiteX707" fmla="*/ 1003346 w 2663946"/>
                <a:gd name="connsiteY707" fmla="*/ 117332 h 349382"/>
                <a:gd name="connsiteX708" fmla="*/ 1007131 w 2663946"/>
                <a:gd name="connsiteY708" fmla="*/ 124091 h 349382"/>
                <a:gd name="connsiteX709" fmla="*/ 1004428 w 2663946"/>
                <a:gd name="connsiteY709" fmla="*/ 129769 h 349382"/>
                <a:gd name="connsiteX710" fmla="*/ 1000372 w 2663946"/>
                <a:gd name="connsiteY710" fmla="*/ 131662 h 349382"/>
                <a:gd name="connsiteX711" fmla="*/ 1000102 w 2663946"/>
                <a:gd name="connsiteY711" fmla="*/ 131662 h 349382"/>
                <a:gd name="connsiteX712" fmla="*/ 999831 w 2663946"/>
                <a:gd name="connsiteY712" fmla="*/ 131662 h 349382"/>
                <a:gd name="connsiteX713" fmla="*/ 999290 w 2663946"/>
                <a:gd name="connsiteY713" fmla="*/ 131662 h 349382"/>
                <a:gd name="connsiteX714" fmla="*/ 967115 w 2663946"/>
                <a:gd name="connsiteY714" fmla="*/ 131662 h 349382"/>
                <a:gd name="connsiteX715" fmla="*/ 966575 w 2663946"/>
                <a:gd name="connsiteY715" fmla="*/ 131662 h 349382"/>
                <a:gd name="connsiteX716" fmla="*/ 965763 w 2663946"/>
                <a:gd name="connsiteY716" fmla="*/ 131662 h 349382"/>
                <a:gd name="connsiteX717" fmla="*/ 964952 w 2663946"/>
                <a:gd name="connsiteY717" fmla="*/ 131392 h 349382"/>
                <a:gd name="connsiteX718" fmla="*/ 961437 w 2663946"/>
                <a:gd name="connsiteY718" fmla="*/ 129499 h 349382"/>
                <a:gd name="connsiteX719" fmla="*/ 959004 w 2663946"/>
                <a:gd name="connsiteY719" fmla="*/ 123821 h 349382"/>
                <a:gd name="connsiteX720" fmla="*/ 961167 w 2663946"/>
                <a:gd name="connsiteY720" fmla="*/ 118684 h 349382"/>
                <a:gd name="connsiteX721" fmla="*/ 966845 w 2663946"/>
                <a:gd name="connsiteY721" fmla="*/ 116250 h 349382"/>
                <a:gd name="connsiteX722" fmla="*/ 974686 w 2663946"/>
                <a:gd name="connsiteY722" fmla="*/ 116250 h 349382"/>
                <a:gd name="connsiteX723" fmla="*/ 975227 w 2663946"/>
                <a:gd name="connsiteY723" fmla="*/ 115710 h 349382"/>
                <a:gd name="connsiteX724" fmla="*/ 975227 w 2663946"/>
                <a:gd name="connsiteY724" fmla="*/ 69745 h 349382"/>
                <a:gd name="connsiteX725" fmla="*/ 974686 w 2663946"/>
                <a:gd name="connsiteY725" fmla="*/ 69204 h 349382"/>
                <a:gd name="connsiteX726" fmla="*/ 968738 w 2663946"/>
                <a:gd name="connsiteY726" fmla="*/ 69204 h 349382"/>
                <a:gd name="connsiteX727" fmla="*/ 961437 w 2663946"/>
                <a:gd name="connsiteY727" fmla="*/ 64608 h 349382"/>
                <a:gd name="connsiteX728" fmla="*/ 961167 w 2663946"/>
                <a:gd name="connsiteY728" fmla="*/ 58930 h 349382"/>
                <a:gd name="connsiteX729" fmla="*/ 968467 w 2663946"/>
                <a:gd name="connsiteY729" fmla="*/ 53793 h 349382"/>
                <a:gd name="connsiteX730" fmla="*/ 980634 w 2663946"/>
                <a:gd name="connsiteY730" fmla="*/ 53522 h 349382"/>
                <a:gd name="connsiteX731" fmla="*/ 813605 w 2663946"/>
                <a:gd name="connsiteY731" fmla="*/ 53522 h 349382"/>
                <a:gd name="connsiteX732" fmla="*/ 817661 w 2663946"/>
                <a:gd name="connsiteY732" fmla="*/ 53522 h 349382"/>
                <a:gd name="connsiteX733" fmla="*/ 822257 w 2663946"/>
                <a:gd name="connsiteY733" fmla="*/ 55956 h 349382"/>
                <a:gd name="connsiteX734" fmla="*/ 824420 w 2663946"/>
                <a:gd name="connsiteY734" fmla="*/ 62174 h 349382"/>
                <a:gd name="connsiteX735" fmla="*/ 824420 w 2663946"/>
                <a:gd name="connsiteY735" fmla="*/ 62715 h 349382"/>
                <a:gd name="connsiteX736" fmla="*/ 824420 w 2663946"/>
                <a:gd name="connsiteY736" fmla="*/ 115710 h 349382"/>
                <a:gd name="connsiteX737" fmla="*/ 824961 w 2663946"/>
                <a:gd name="connsiteY737" fmla="*/ 116250 h 349382"/>
                <a:gd name="connsiteX738" fmla="*/ 832261 w 2663946"/>
                <a:gd name="connsiteY738" fmla="*/ 116250 h 349382"/>
                <a:gd name="connsiteX739" fmla="*/ 836317 w 2663946"/>
                <a:gd name="connsiteY739" fmla="*/ 117332 h 349382"/>
                <a:gd name="connsiteX740" fmla="*/ 840102 w 2663946"/>
                <a:gd name="connsiteY740" fmla="*/ 124091 h 349382"/>
                <a:gd name="connsiteX741" fmla="*/ 837399 w 2663946"/>
                <a:gd name="connsiteY741" fmla="*/ 129769 h 349382"/>
                <a:gd name="connsiteX742" fmla="*/ 833343 w 2663946"/>
                <a:gd name="connsiteY742" fmla="*/ 131662 h 349382"/>
                <a:gd name="connsiteX743" fmla="*/ 833073 w 2663946"/>
                <a:gd name="connsiteY743" fmla="*/ 131662 h 349382"/>
                <a:gd name="connsiteX744" fmla="*/ 832802 w 2663946"/>
                <a:gd name="connsiteY744" fmla="*/ 131662 h 349382"/>
                <a:gd name="connsiteX745" fmla="*/ 832261 w 2663946"/>
                <a:gd name="connsiteY745" fmla="*/ 131662 h 349382"/>
                <a:gd name="connsiteX746" fmla="*/ 800086 w 2663946"/>
                <a:gd name="connsiteY746" fmla="*/ 131662 h 349382"/>
                <a:gd name="connsiteX747" fmla="*/ 799546 w 2663946"/>
                <a:gd name="connsiteY747" fmla="*/ 131662 h 349382"/>
                <a:gd name="connsiteX748" fmla="*/ 798734 w 2663946"/>
                <a:gd name="connsiteY748" fmla="*/ 131662 h 349382"/>
                <a:gd name="connsiteX749" fmla="*/ 797923 w 2663946"/>
                <a:gd name="connsiteY749" fmla="*/ 131392 h 349382"/>
                <a:gd name="connsiteX750" fmla="*/ 794408 w 2663946"/>
                <a:gd name="connsiteY750" fmla="*/ 129499 h 349382"/>
                <a:gd name="connsiteX751" fmla="*/ 791975 w 2663946"/>
                <a:gd name="connsiteY751" fmla="*/ 123821 h 349382"/>
                <a:gd name="connsiteX752" fmla="*/ 794138 w 2663946"/>
                <a:gd name="connsiteY752" fmla="*/ 118684 h 349382"/>
                <a:gd name="connsiteX753" fmla="*/ 799816 w 2663946"/>
                <a:gd name="connsiteY753" fmla="*/ 116250 h 349382"/>
                <a:gd name="connsiteX754" fmla="*/ 807657 w 2663946"/>
                <a:gd name="connsiteY754" fmla="*/ 116250 h 349382"/>
                <a:gd name="connsiteX755" fmla="*/ 808198 w 2663946"/>
                <a:gd name="connsiteY755" fmla="*/ 115710 h 349382"/>
                <a:gd name="connsiteX756" fmla="*/ 808198 w 2663946"/>
                <a:gd name="connsiteY756" fmla="*/ 69745 h 349382"/>
                <a:gd name="connsiteX757" fmla="*/ 807657 w 2663946"/>
                <a:gd name="connsiteY757" fmla="*/ 69204 h 349382"/>
                <a:gd name="connsiteX758" fmla="*/ 801709 w 2663946"/>
                <a:gd name="connsiteY758" fmla="*/ 69204 h 349382"/>
                <a:gd name="connsiteX759" fmla="*/ 794408 w 2663946"/>
                <a:gd name="connsiteY759" fmla="*/ 64608 h 349382"/>
                <a:gd name="connsiteX760" fmla="*/ 794138 w 2663946"/>
                <a:gd name="connsiteY760" fmla="*/ 58930 h 349382"/>
                <a:gd name="connsiteX761" fmla="*/ 801438 w 2663946"/>
                <a:gd name="connsiteY761" fmla="*/ 53793 h 349382"/>
                <a:gd name="connsiteX762" fmla="*/ 813605 w 2663946"/>
                <a:gd name="connsiteY762" fmla="*/ 53522 h 349382"/>
                <a:gd name="connsiteX763" fmla="*/ 282748 w 2663946"/>
                <a:gd name="connsiteY763" fmla="*/ 53522 h 349382"/>
                <a:gd name="connsiteX764" fmla="*/ 286803 w 2663946"/>
                <a:gd name="connsiteY764" fmla="*/ 53522 h 349382"/>
                <a:gd name="connsiteX765" fmla="*/ 291400 w 2663946"/>
                <a:gd name="connsiteY765" fmla="*/ 55956 h 349382"/>
                <a:gd name="connsiteX766" fmla="*/ 293563 w 2663946"/>
                <a:gd name="connsiteY766" fmla="*/ 62174 h 349382"/>
                <a:gd name="connsiteX767" fmla="*/ 293563 w 2663946"/>
                <a:gd name="connsiteY767" fmla="*/ 62715 h 349382"/>
                <a:gd name="connsiteX768" fmla="*/ 293563 w 2663946"/>
                <a:gd name="connsiteY768" fmla="*/ 115710 h 349382"/>
                <a:gd name="connsiteX769" fmla="*/ 294104 w 2663946"/>
                <a:gd name="connsiteY769" fmla="*/ 116250 h 349382"/>
                <a:gd name="connsiteX770" fmla="*/ 301404 w 2663946"/>
                <a:gd name="connsiteY770" fmla="*/ 116250 h 349382"/>
                <a:gd name="connsiteX771" fmla="*/ 305460 w 2663946"/>
                <a:gd name="connsiteY771" fmla="*/ 117332 h 349382"/>
                <a:gd name="connsiteX772" fmla="*/ 309245 w 2663946"/>
                <a:gd name="connsiteY772" fmla="*/ 124091 h 349382"/>
                <a:gd name="connsiteX773" fmla="*/ 306541 w 2663946"/>
                <a:gd name="connsiteY773" fmla="*/ 129769 h 349382"/>
                <a:gd name="connsiteX774" fmla="*/ 302485 w 2663946"/>
                <a:gd name="connsiteY774" fmla="*/ 131662 h 349382"/>
                <a:gd name="connsiteX775" fmla="*/ 302215 w 2663946"/>
                <a:gd name="connsiteY775" fmla="*/ 131662 h 349382"/>
                <a:gd name="connsiteX776" fmla="*/ 301945 w 2663946"/>
                <a:gd name="connsiteY776" fmla="*/ 131662 h 349382"/>
                <a:gd name="connsiteX777" fmla="*/ 301404 w 2663946"/>
                <a:gd name="connsiteY777" fmla="*/ 131662 h 349382"/>
                <a:gd name="connsiteX778" fmla="*/ 269229 w 2663946"/>
                <a:gd name="connsiteY778" fmla="*/ 131662 h 349382"/>
                <a:gd name="connsiteX779" fmla="*/ 268688 w 2663946"/>
                <a:gd name="connsiteY779" fmla="*/ 131662 h 349382"/>
                <a:gd name="connsiteX780" fmla="*/ 267877 w 2663946"/>
                <a:gd name="connsiteY780" fmla="*/ 131662 h 349382"/>
                <a:gd name="connsiteX781" fmla="*/ 267066 w 2663946"/>
                <a:gd name="connsiteY781" fmla="*/ 131392 h 349382"/>
                <a:gd name="connsiteX782" fmla="*/ 263551 w 2663946"/>
                <a:gd name="connsiteY782" fmla="*/ 129499 h 349382"/>
                <a:gd name="connsiteX783" fmla="*/ 261117 w 2663946"/>
                <a:gd name="connsiteY783" fmla="*/ 123821 h 349382"/>
                <a:gd name="connsiteX784" fmla="*/ 263281 w 2663946"/>
                <a:gd name="connsiteY784" fmla="*/ 118684 h 349382"/>
                <a:gd name="connsiteX785" fmla="*/ 268958 w 2663946"/>
                <a:gd name="connsiteY785" fmla="*/ 116250 h 349382"/>
                <a:gd name="connsiteX786" fmla="*/ 276800 w 2663946"/>
                <a:gd name="connsiteY786" fmla="*/ 116250 h 349382"/>
                <a:gd name="connsiteX787" fmla="*/ 277340 w 2663946"/>
                <a:gd name="connsiteY787" fmla="*/ 115710 h 349382"/>
                <a:gd name="connsiteX788" fmla="*/ 277340 w 2663946"/>
                <a:gd name="connsiteY788" fmla="*/ 69745 h 349382"/>
                <a:gd name="connsiteX789" fmla="*/ 276800 w 2663946"/>
                <a:gd name="connsiteY789" fmla="*/ 69204 h 349382"/>
                <a:gd name="connsiteX790" fmla="*/ 270851 w 2663946"/>
                <a:gd name="connsiteY790" fmla="*/ 69204 h 349382"/>
                <a:gd name="connsiteX791" fmla="*/ 263551 w 2663946"/>
                <a:gd name="connsiteY791" fmla="*/ 64608 h 349382"/>
                <a:gd name="connsiteX792" fmla="*/ 263281 w 2663946"/>
                <a:gd name="connsiteY792" fmla="*/ 58930 h 349382"/>
                <a:gd name="connsiteX793" fmla="*/ 270581 w 2663946"/>
                <a:gd name="connsiteY793" fmla="*/ 53793 h 349382"/>
                <a:gd name="connsiteX794" fmla="*/ 282748 w 2663946"/>
                <a:gd name="connsiteY794" fmla="*/ 53522 h 349382"/>
                <a:gd name="connsiteX795" fmla="*/ 206731 w 2663946"/>
                <a:gd name="connsiteY795" fmla="*/ 53522 h 349382"/>
                <a:gd name="connsiteX796" fmla="*/ 210787 w 2663946"/>
                <a:gd name="connsiteY796" fmla="*/ 53522 h 349382"/>
                <a:gd name="connsiteX797" fmla="*/ 215383 w 2663946"/>
                <a:gd name="connsiteY797" fmla="*/ 55956 h 349382"/>
                <a:gd name="connsiteX798" fmla="*/ 217546 w 2663946"/>
                <a:gd name="connsiteY798" fmla="*/ 62174 h 349382"/>
                <a:gd name="connsiteX799" fmla="*/ 217546 w 2663946"/>
                <a:gd name="connsiteY799" fmla="*/ 62715 h 349382"/>
                <a:gd name="connsiteX800" fmla="*/ 217546 w 2663946"/>
                <a:gd name="connsiteY800" fmla="*/ 115710 h 349382"/>
                <a:gd name="connsiteX801" fmla="*/ 218087 w 2663946"/>
                <a:gd name="connsiteY801" fmla="*/ 116250 h 349382"/>
                <a:gd name="connsiteX802" fmla="*/ 225387 w 2663946"/>
                <a:gd name="connsiteY802" fmla="*/ 116250 h 349382"/>
                <a:gd name="connsiteX803" fmla="*/ 229443 w 2663946"/>
                <a:gd name="connsiteY803" fmla="*/ 117332 h 349382"/>
                <a:gd name="connsiteX804" fmla="*/ 233228 w 2663946"/>
                <a:gd name="connsiteY804" fmla="*/ 124091 h 349382"/>
                <a:gd name="connsiteX805" fmla="*/ 230524 w 2663946"/>
                <a:gd name="connsiteY805" fmla="*/ 129769 h 349382"/>
                <a:gd name="connsiteX806" fmla="*/ 226468 w 2663946"/>
                <a:gd name="connsiteY806" fmla="*/ 131662 h 349382"/>
                <a:gd name="connsiteX807" fmla="*/ 226198 w 2663946"/>
                <a:gd name="connsiteY807" fmla="*/ 131662 h 349382"/>
                <a:gd name="connsiteX808" fmla="*/ 225928 w 2663946"/>
                <a:gd name="connsiteY808" fmla="*/ 131662 h 349382"/>
                <a:gd name="connsiteX809" fmla="*/ 225387 w 2663946"/>
                <a:gd name="connsiteY809" fmla="*/ 131662 h 349382"/>
                <a:gd name="connsiteX810" fmla="*/ 193212 w 2663946"/>
                <a:gd name="connsiteY810" fmla="*/ 131662 h 349382"/>
                <a:gd name="connsiteX811" fmla="*/ 192671 w 2663946"/>
                <a:gd name="connsiteY811" fmla="*/ 131662 h 349382"/>
                <a:gd name="connsiteX812" fmla="*/ 191860 w 2663946"/>
                <a:gd name="connsiteY812" fmla="*/ 131662 h 349382"/>
                <a:gd name="connsiteX813" fmla="*/ 191049 w 2663946"/>
                <a:gd name="connsiteY813" fmla="*/ 131392 h 349382"/>
                <a:gd name="connsiteX814" fmla="*/ 187534 w 2663946"/>
                <a:gd name="connsiteY814" fmla="*/ 129499 h 349382"/>
                <a:gd name="connsiteX815" fmla="*/ 185101 w 2663946"/>
                <a:gd name="connsiteY815" fmla="*/ 123821 h 349382"/>
                <a:gd name="connsiteX816" fmla="*/ 187264 w 2663946"/>
                <a:gd name="connsiteY816" fmla="*/ 118684 h 349382"/>
                <a:gd name="connsiteX817" fmla="*/ 192942 w 2663946"/>
                <a:gd name="connsiteY817" fmla="*/ 116250 h 349382"/>
                <a:gd name="connsiteX818" fmla="*/ 200783 w 2663946"/>
                <a:gd name="connsiteY818" fmla="*/ 116250 h 349382"/>
                <a:gd name="connsiteX819" fmla="*/ 201323 w 2663946"/>
                <a:gd name="connsiteY819" fmla="*/ 115710 h 349382"/>
                <a:gd name="connsiteX820" fmla="*/ 201323 w 2663946"/>
                <a:gd name="connsiteY820" fmla="*/ 69745 h 349382"/>
                <a:gd name="connsiteX821" fmla="*/ 200783 w 2663946"/>
                <a:gd name="connsiteY821" fmla="*/ 69204 h 349382"/>
                <a:gd name="connsiteX822" fmla="*/ 194834 w 2663946"/>
                <a:gd name="connsiteY822" fmla="*/ 69204 h 349382"/>
                <a:gd name="connsiteX823" fmla="*/ 187534 w 2663946"/>
                <a:gd name="connsiteY823" fmla="*/ 64608 h 349382"/>
                <a:gd name="connsiteX824" fmla="*/ 187264 w 2663946"/>
                <a:gd name="connsiteY824" fmla="*/ 58930 h 349382"/>
                <a:gd name="connsiteX825" fmla="*/ 194564 w 2663946"/>
                <a:gd name="connsiteY825" fmla="*/ 53793 h 349382"/>
                <a:gd name="connsiteX826" fmla="*/ 206731 w 2663946"/>
                <a:gd name="connsiteY826" fmla="*/ 53522 h 349382"/>
                <a:gd name="connsiteX827" fmla="*/ 2627559 w 2663946"/>
                <a:gd name="connsiteY827" fmla="*/ 53453 h 349382"/>
                <a:gd name="connsiteX828" fmla="*/ 2639849 w 2663946"/>
                <a:gd name="connsiteY828" fmla="*/ 55616 h 349382"/>
                <a:gd name="connsiteX829" fmla="*/ 2647223 w 2663946"/>
                <a:gd name="connsiteY829" fmla="*/ 60213 h 349382"/>
                <a:gd name="connsiteX830" fmla="*/ 2650664 w 2663946"/>
                <a:gd name="connsiteY830" fmla="*/ 63457 h 349382"/>
                <a:gd name="connsiteX831" fmla="*/ 2654106 w 2663946"/>
                <a:gd name="connsiteY831" fmla="*/ 67783 h 349382"/>
                <a:gd name="connsiteX832" fmla="*/ 2656072 w 2663946"/>
                <a:gd name="connsiteY832" fmla="*/ 71298 h 349382"/>
                <a:gd name="connsiteX833" fmla="*/ 2658284 w 2663946"/>
                <a:gd name="connsiteY833" fmla="*/ 76706 h 349382"/>
                <a:gd name="connsiteX834" fmla="*/ 2659267 w 2663946"/>
                <a:gd name="connsiteY834" fmla="*/ 80221 h 349382"/>
                <a:gd name="connsiteX835" fmla="*/ 2660251 w 2663946"/>
                <a:gd name="connsiteY835" fmla="*/ 85358 h 349382"/>
                <a:gd name="connsiteX836" fmla="*/ 2660005 w 2663946"/>
                <a:gd name="connsiteY836" fmla="*/ 99688 h 349382"/>
                <a:gd name="connsiteX837" fmla="*/ 2659022 w 2663946"/>
                <a:gd name="connsiteY837" fmla="*/ 104555 h 349382"/>
                <a:gd name="connsiteX838" fmla="*/ 2657792 w 2663946"/>
                <a:gd name="connsiteY838" fmla="*/ 108340 h 349382"/>
                <a:gd name="connsiteX839" fmla="*/ 2656809 w 2663946"/>
                <a:gd name="connsiteY839" fmla="*/ 110774 h 349382"/>
                <a:gd name="connsiteX840" fmla="*/ 2654597 w 2663946"/>
                <a:gd name="connsiteY840" fmla="*/ 115100 h 349382"/>
                <a:gd name="connsiteX841" fmla="*/ 2652385 w 2663946"/>
                <a:gd name="connsiteY841" fmla="*/ 118344 h 349382"/>
                <a:gd name="connsiteX842" fmla="*/ 2648944 w 2663946"/>
                <a:gd name="connsiteY842" fmla="*/ 122130 h 349382"/>
                <a:gd name="connsiteX843" fmla="*/ 2645748 w 2663946"/>
                <a:gd name="connsiteY843" fmla="*/ 124833 h 349382"/>
                <a:gd name="connsiteX844" fmla="*/ 2640095 w 2663946"/>
                <a:gd name="connsiteY844" fmla="*/ 128078 h 349382"/>
                <a:gd name="connsiteX845" fmla="*/ 2632229 w 2663946"/>
                <a:gd name="connsiteY845" fmla="*/ 130241 h 349382"/>
                <a:gd name="connsiteX846" fmla="*/ 2631000 w 2663946"/>
                <a:gd name="connsiteY846" fmla="*/ 130512 h 349382"/>
                <a:gd name="connsiteX847" fmla="*/ 2626821 w 2663946"/>
                <a:gd name="connsiteY847" fmla="*/ 130512 h 349382"/>
                <a:gd name="connsiteX848" fmla="*/ 2626576 w 2663946"/>
                <a:gd name="connsiteY848" fmla="*/ 130512 h 349382"/>
                <a:gd name="connsiteX849" fmla="*/ 2613548 w 2663946"/>
                <a:gd name="connsiteY849" fmla="*/ 125645 h 349382"/>
                <a:gd name="connsiteX850" fmla="*/ 2608878 w 2663946"/>
                <a:gd name="connsiteY850" fmla="*/ 121589 h 349382"/>
                <a:gd name="connsiteX851" fmla="*/ 2605682 w 2663946"/>
                <a:gd name="connsiteY851" fmla="*/ 117804 h 349382"/>
                <a:gd name="connsiteX852" fmla="*/ 2603470 w 2663946"/>
                <a:gd name="connsiteY852" fmla="*/ 114289 h 349382"/>
                <a:gd name="connsiteX853" fmla="*/ 2601258 w 2663946"/>
                <a:gd name="connsiteY853" fmla="*/ 109963 h 349382"/>
                <a:gd name="connsiteX854" fmla="*/ 2600029 w 2663946"/>
                <a:gd name="connsiteY854" fmla="*/ 106988 h 349382"/>
                <a:gd name="connsiteX855" fmla="*/ 2599046 w 2663946"/>
                <a:gd name="connsiteY855" fmla="*/ 103744 h 349382"/>
                <a:gd name="connsiteX856" fmla="*/ 2597816 w 2663946"/>
                <a:gd name="connsiteY856" fmla="*/ 98066 h 349382"/>
                <a:gd name="connsiteX857" fmla="*/ 2597571 w 2663946"/>
                <a:gd name="connsiteY857" fmla="*/ 95092 h 349382"/>
                <a:gd name="connsiteX858" fmla="*/ 2597816 w 2663946"/>
                <a:gd name="connsiteY858" fmla="*/ 95362 h 349382"/>
                <a:gd name="connsiteX859" fmla="*/ 2597816 w 2663946"/>
                <a:gd name="connsiteY859" fmla="*/ 89684 h 349382"/>
                <a:gd name="connsiteX860" fmla="*/ 2597816 w 2663946"/>
                <a:gd name="connsiteY860" fmla="*/ 89414 h 349382"/>
                <a:gd name="connsiteX861" fmla="*/ 2598308 w 2663946"/>
                <a:gd name="connsiteY861" fmla="*/ 84817 h 349382"/>
                <a:gd name="connsiteX862" fmla="*/ 2599537 w 2663946"/>
                <a:gd name="connsiteY862" fmla="*/ 79410 h 349382"/>
                <a:gd name="connsiteX863" fmla="*/ 2600520 w 2663946"/>
                <a:gd name="connsiteY863" fmla="*/ 76165 h 349382"/>
                <a:gd name="connsiteX864" fmla="*/ 2602732 w 2663946"/>
                <a:gd name="connsiteY864" fmla="*/ 71028 h 349382"/>
                <a:gd name="connsiteX865" fmla="*/ 2604945 w 2663946"/>
                <a:gd name="connsiteY865" fmla="*/ 67243 h 349382"/>
                <a:gd name="connsiteX866" fmla="*/ 2607157 w 2663946"/>
                <a:gd name="connsiteY866" fmla="*/ 64268 h 349382"/>
                <a:gd name="connsiteX867" fmla="*/ 2609369 w 2663946"/>
                <a:gd name="connsiteY867" fmla="*/ 61835 h 349382"/>
                <a:gd name="connsiteX868" fmla="*/ 2614039 w 2663946"/>
                <a:gd name="connsiteY868" fmla="*/ 58050 h 349382"/>
                <a:gd name="connsiteX869" fmla="*/ 2617972 w 2663946"/>
                <a:gd name="connsiteY869" fmla="*/ 55887 h 349382"/>
                <a:gd name="connsiteX870" fmla="*/ 2627559 w 2663946"/>
                <a:gd name="connsiteY870" fmla="*/ 53453 h 349382"/>
                <a:gd name="connsiteX871" fmla="*/ 2445604 w 2663946"/>
                <a:gd name="connsiteY871" fmla="*/ 53453 h 349382"/>
                <a:gd name="connsiteX872" fmla="*/ 2457894 w 2663946"/>
                <a:gd name="connsiteY872" fmla="*/ 55616 h 349382"/>
                <a:gd name="connsiteX873" fmla="*/ 2465268 w 2663946"/>
                <a:gd name="connsiteY873" fmla="*/ 60213 h 349382"/>
                <a:gd name="connsiteX874" fmla="*/ 2468709 w 2663946"/>
                <a:gd name="connsiteY874" fmla="*/ 63457 h 349382"/>
                <a:gd name="connsiteX875" fmla="*/ 2472151 w 2663946"/>
                <a:gd name="connsiteY875" fmla="*/ 67783 h 349382"/>
                <a:gd name="connsiteX876" fmla="*/ 2474117 w 2663946"/>
                <a:gd name="connsiteY876" fmla="*/ 71298 h 349382"/>
                <a:gd name="connsiteX877" fmla="*/ 2476329 w 2663946"/>
                <a:gd name="connsiteY877" fmla="*/ 76706 h 349382"/>
                <a:gd name="connsiteX878" fmla="*/ 2477312 w 2663946"/>
                <a:gd name="connsiteY878" fmla="*/ 80221 h 349382"/>
                <a:gd name="connsiteX879" fmla="*/ 2478296 w 2663946"/>
                <a:gd name="connsiteY879" fmla="*/ 85358 h 349382"/>
                <a:gd name="connsiteX880" fmla="*/ 2478050 w 2663946"/>
                <a:gd name="connsiteY880" fmla="*/ 99688 h 349382"/>
                <a:gd name="connsiteX881" fmla="*/ 2477067 w 2663946"/>
                <a:gd name="connsiteY881" fmla="*/ 104555 h 349382"/>
                <a:gd name="connsiteX882" fmla="*/ 2475837 w 2663946"/>
                <a:gd name="connsiteY882" fmla="*/ 108340 h 349382"/>
                <a:gd name="connsiteX883" fmla="*/ 2474854 w 2663946"/>
                <a:gd name="connsiteY883" fmla="*/ 110774 h 349382"/>
                <a:gd name="connsiteX884" fmla="*/ 2472642 w 2663946"/>
                <a:gd name="connsiteY884" fmla="*/ 115100 h 349382"/>
                <a:gd name="connsiteX885" fmla="*/ 2470430 w 2663946"/>
                <a:gd name="connsiteY885" fmla="*/ 118344 h 349382"/>
                <a:gd name="connsiteX886" fmla="*/ 2466989 w 2663946"/>
                <a:gd name="connsiteY886" fmla="*/ 122130 h 349382"/>
                <a:gd name="connsiteX887" fmla="*/ 2463793 w 2663946"/>
                <a:gd name="connsiteY887" fmla="*/ 124833 h 349382"/>
                <a:gd name="connsiteX888" fmla="*/ 2458140 w 2663946"/>
                <a:gd name="connsiteY888" fmla="*/ 128078 h 349382"/>
                <a:gd name="connsiteX889" fmla="*/ 2450274 w 2663946"/>
                <a:gd name="connsiteY889" fmla="*/ 130241 h 349382"/>
                <a:gd name="connsiteX890" fmla="*/ 2449045 w 2663946"/>
                <a:gd name="connsiteY890" fmla="*/ 130512 h 349382"/>
                <a:gd name="connsiteX891" fmla="*/ 2444866 w 2663946"/>
                <a:gd name="connsiteY891" fmla="*/ 130512 h 349382"/>
                <a:gd name="connsiteX892" fmla="*/ 2444621 w 2663946"/>
                <a:gd name="connsiteY892" fmla="*/ 130512 h 349382"/>
                <a:gd name="connsiteX893" fmla="*/ 2431593 w 2663946"/>
                <a:gd name="connsiteY893" fmla="*/ 125645 h 349382"/>
                <a:gd name="connsiteX894" fmla="*/ 2426923 w 2663946"/>
                <a:gd name="connsiteY894" fmla="*/ 121589 h 349382"/>
                <a:gd name="connsiteX895" fmla="*/ 2423727 w 2663946"/>
                <a:gd name="connsiteY895" fmla="*/ 117804 h 349382"/>
                <a:gd name="connsiteX896" fmla="*/ 2421515 w 2663946"/>
                <a:gd name="connsiteY896" fmla="*/ 114289 h 349382"/>
                <a:gd name="connsiteX897" fmla="*/ 2419303 w 2663946"/>
                <a:gd name="connsiteY897" fmla="*/ 109963 h 349382"/>
                <a:gd name="connsiteX898" fmla="*/ 2418074 w 2663946"/>
                <a:gd name="connsiteY898" fmla="*/ 106988 h 349382"/>
                <a:gd name="connsiteX899" fmla="*/ 2417091 w 2663946"/>
                <a:gd name="connsiteY899" fmla="*/ 103744 h 349382"/>
                <a:gd name="connsiteX900" fmla="*/ 2415861 w 2663946"/>
                <a:gd name="connsiteY900" fmla="*/ 98066 h 349382"/>
                <a:gd name="connsiteX901" fmla="*/ 2415616 w 2663946"/>
                <a:gd name="connsiteY901" fmla="*/ 95092 h 349382"/>
                <a:gd name="connsiteX902" fmla="*/ 2415861 w 2663946"/>
                <a:gd name="connsiteY902" fmla="*/ 95362 h 349382"/>
                <a:gd name="connsiteX903" fmla="*/ 2415861 w 2663946"/>
                <a:gd name="connsiteY903" fmla="*/ 89684 h 349382"/>
                <a:gd name="connsiteX904" fmla="*/ 2415861 w 2663946"/>
                <a:gd name="connsiteY904" fmla="*/ 89414 h 349382"/>
                <a:gd name="connsiteX905" fmla="*/ 2416353 w 2663946"/>
                <a:gd name="connsiteY905" fmla="*/ 84817 h 349382"/>
                <a:gd name="connsiteX906" fmla="*/ 2417582 w 2663946"/>
                <a:gd name="connsiteY906" fmla="*/ 79410 h 349382"/>
                <a:gd name="connsiteX907" fmla="*/ 2418565 w 2663946"/>
                <a:gd name="connsiteY907" fmla="*/ 76165 h 349382"/>
                <a:gd name="connsiteX908" fmla="*/ 2420777 w 2663946"/>
                <a:gd name="connsiteY908" fmla="*/ 71028 h 349382"/>
                <a:gd name="connsiteX909" fmla="*/ 2422990 w 2663946"/>
                <a:gd name="connsiteY909" fmla="*/ 67243 h 349382"/>
                <a:gd name="connsiteX910" fmla="*/ 2425202 w 2663946"/>
                <a:gd name="connsiteY910" fmla="*/ 64268 h 349382"/>
                <a:gd name="connsiteX911" fmla="*/ 2427414 w 2663946"/>
                <a:gd name="connsiteY911" fmla="*/ 61835 h 349382"/>
                <a:gd name="connsiteX912" fmla="*/ 2432084 w 2663946"/>
                <a:gd name="connsiteY912" fmla="*/ 58050 h 349382"/>
                <a:gd name="connsiteX913" fmla="*/ 2436017 w 2663946"/>
                <a:gd name="connsiteY913" fmla="*/ 55887 h 349382"/>
                <a:gd name="connsiteX914" fmla="*/ 2445604 w 2663946"/>
                <a:gd name="connsiteY914" fmla="*/ 53453 h 349382"/>
                <a:gd name="connsiteX915" fmla="*/ 2202558 w 2663946"/>
                <a:gd name="connsiteY915" fmla="*/ 53453 h 349382"/>
                <a:gd name="connsiteX916" fmla="*/ 2214848 w 2663946"/>
                <a:gd name="connsiteY916" fmla="*/ 55616 h 349382"/>
                <a:gd name="connsiteX917" fmla="*/ 2222222 w 2663946"/>
                <a:gd name="connsiteY917" fmla="*/ 60213 h 349382"/>
                <a:gd name="connsiteX918" fmla="*/ 2225663 w 2663946"/>
                <a:gd name="connsiteY918" fmla="*/ 63457 h 349382"/>
                <a:gd name="connsiteX919" fmla="*/ 2229105 w 2663946"/>
                <a:gd name="connsiteY919" fmla="*/ 67783 h 349382"/>
                <a:gd name="connsiteX920" fmla="*/ 2231071 w 2663946"/>
                <a:gd name="connsiteY920" fmla="*/ 71298 h 349382"/>
                <a:gd name="connsiteX921" fmla="*/ 2233283 w 2663946"/>
                <a:gd name="connsiteY921" fmla="*/ 76706 h 349382"/>
                <a:gd name="connsiteX922" fmla="*/ 2234266 w 2663946"/>
                <a:gd name="connsiteY922" fmla="*/ 80221 h 349382"/>
                <a:gd name="connsiteX923" fmla="*/ 2235250 w 2663946"/>
                <a:gd name="connsiteY923" fmla="*/ 85358 h 349382"/>
                <a:gd name="connsiteX924" fmla="*/ 2235004 w 2663946"/>
                <a:gd name="connsiteY924" fmla="*/ 99688 h 349382"/>
                <a:gd name="connsiteX925" fmla="*/ 2234021 w 2663946"/>
                <a:gd name="connsiteY925" fmla="*/ 104555 h 349382"/>
                <a:gd name="connsiteX926" fmla="*/ 2232791 w 2663946"/>
                <a:gd name="connsiteY926" fmla="*/ 108340 h 349382"/>
                <a:gd name="connsiteX927" fmla="*/ 2231808 w 2663946"/>
                <a:gd name="connsiteY927" fmla="*/ 110774 h 349382"/>
                <a:gd name="connsiteX928" fmla="*/ 2229596 w 2663946"/>
                <a:gd name="connsiteY928" fmla="*/ 115100 h 349382"/>
                <a:gd name="connsiteX929" fmla="*/ 2227384 w 2663946"/>
                <a:gd name="connsiteY929" fmla="*/ 118344 h 349382"/>
                <a:gd name="connsiteX930" fmla="*/ 2223943 w 2663946"/>
                <a:gd name="connsiteY930" fmla="*/ 122130 h 349382"/>
                <a:gd name="connsiteX931" fmla="*/ 2220747 w 2663946"/>
                <a:gd name="connsiteY931" fmla="*/ 124833 h 349382"/>
                <a:gd name="connsiteX932" fmla="*/ 2215094 w 2663946"/>
                <a:gd name="connsiteY932" fmla="*/ 128078 h 349382"/>
                <a:gd name="connsiteX933" fmla="*/ 2207228 w 2663946"/>
                <a:gd name="connsiteY933" fmla="*/ 130241 h 349382"/>
                <a:gd name="connsiteX934" fmla="*/ 2205999 w 2663946"/>
                <a:gd name="connsiteY934" fmla="*/ 130512 h 349382"/>
                <a:gd name="connsiteX935" fmla="*/ 2201820 w 2663946"/>
                <a:gd name="connsiteY935" fmla="*/ 130512 h 349382"/>
                <a:gd name="connsiteX936" fmla="*/ 2201575 w 2663946"/>
                <a:gd name="connsiteY936" fmla="*/ 130512 h 349382"/>
                <a:gd name="connsiteX937" fmla="*/ 2188547 w 2663946"/>
                <a:gd name="connsiteY937" fmla="*/ 125645 h 349382"/>
                <a:gd name="connsiteX938" fmla="*/ 2183877 w 2663946"/>
                <a:gd name="connsiteY938" fmla="*/ 121589 h 349382"/>
                <a:gd name="connsiteX939" fmla="*/ 2180681 w 2663946"/>
                <a:gd name="connsiteY939" fmla="*/ 117804 h 349382"/>
                <a:gd name="connsiteX940" fmla="*/ 2178469 w 2663946"/>
                <a:gd name="connsiteY940" fmla="*/ 114289 h 349382"/>
                <a:gd name="connsiteX941" fmla="*/ 2176257 w 2663946"/>
                <a:gd name="connsiteY941" fmla="*/ 109963 h 349382"/>
                <a:gd name="connsiteX942" fmla="*/ 2175028 w 2663946"/>
                <a:gd name="connsiteY942" fmla="*/ 106988 h 349382"/>
                <a:gd name="connsiteX943" fmla="*/ 2174045 w 2663946"/>
                <a:gd name="connsiteY943" fmla="*/ 103744 h 349382"/>
                <a:gd name="connsiteX944" fmla="*/ 2172815 w 2663946"/>
                <a:gd name="connsiteY944" fmla="*/ 98066 h 349382"/>
                <a:gd name="connsiteX945" fmla="*/ 2172570 w 2663946"/>
                <a:gd name="connsiteY945" fmla="*/ 95092 h 349382"/>
                <a:gd name="connsiteX946" fmla="*/ 2172815 w 2663946"/>
                <a:gd name="connsiteY946" fmla="*/ 95362 h 349382"/>
                <a:gd name="connsiteX947" fmla="*/ 2172815 w 2663946"/>
                <a:gd name="connsiteY947" fmla="*/ 89684 h 349382"/>
                <a:gd name="connsiteX948" fmla="*/ 2172815 w 2663946"/>
                <a:gd name="connsiteY948" fmla="*/ 89414 h 349382"/>
                <a:gd name="connsiteX949" fmla="*/ 2173307 w 2663946"/>
                <a:gd name="connsiteY949" fmla="*/ 84817 h 349382"/>
                <a:gd name="connsiteX950" fmla="*/ 2174536 w 2663946"/>
                <a:gd name="connsiteY950" fmla="*/ 79410 h 349382"/>
                <a:gd name="connsiteX951" fmla="*/ 2175519 w 2663946"/>
                <a:gd name="connsiteY951" fmla="*/ 76165 h 349382"/>
                <a:gd name="connsiteX952" fmla="*/ 2177731 w 2663946"/>
                <a:gd name="connsiteY952" fmla="*/ 71028 h 349382"/>
                <a:gd name="connsiteX953" fmla="*/ 2179944 w 2663946"/>
                <a:gd name="connsiteY953" fmla="*/ 67243 h 349382"/>
                <a:gd name="connsiteX954" fmla="*/ 2182156 w 2663946"/>
                <a:gd name="connsiteY954" fmla="*/ 64268 h 349382"/>
                <a:gd name="connsiteX955" fmla="*/ 2184368 w 2663946"/>
                <a:gd name="connsiteY955" fmla="*/ 61835 h 349382"/>
                <a:gd name="connsiteX956" fmla="*/ 2189038 w 2663946"/>
                <a:gd name="connsiteY956" fmla="*/ 58050 h 349382"/>
                <a:gd name="connsiteX957" fmla="*/ 2192971 w 2663946"/>
                <a:gd name="connsiteY957" fmla="*/ 55887 h 349382"/>
                <a:gd name="connsiteX958" fmla="*/ 2202558 w 2663946"/>
                <a:gd name="connsiteY958" fmla="*/ 53453 h 349382"/>
                <a:gd name="connsiteX959" fmla="*/ 2020607 w 2663946"/>
                <a:gd name="connsiteY959" fmla="*/ 53453 h 349382"/>
                <a:gd name="connsiteX960" fmla="*/ 2032897 w 2663946"/>
                <a:gd name="connsiteY960" fmla="*/ 55616 h 349382"/>
                <a:gd name="connsiteX961" fmla="*/ 2040271 w 2663946"/>
                <a:gd name="connsiteY961" fmla="*/ 60213 h 349382"/>
                <a:gd name="connsiteX962" fmla="*/ 2043712 w 2663946"/>
                <a:gd name="connsiteY962" fmla="*/ 63457 h 349382"/>
                <a:gd name="connsiteX963" fmla="*/ 2047154 w 2663946"/>
                <a:gd name="connsiteY963" fmla="*/ 67783 h 349382"/>
                <a:gd name="connsiteX964" fmla="*/ 2049120 w 2663946"/>
                <a:gd name="connsiteY964" fmla="*/ 71298 h 349382"/>
                <a:gd name="connsiteX965" fmla="*/ 2051332 w 2663946"/>
                <a:gd name="connsiteY965" fmla="*/ 76706 h 349382"/>
                <a:gd name="connsiteX966" fmla="*/ 2052315 w 2663946"/>
                <a:gd name="connsiteY966" fmla="*/ 80221 h 349382"/>
                <a:gd name="connsiteX967" fmla="*/ 2053299 w 2663946"/>
                <a:gd name="connsiteY967" fmla="*/ 85358 h 349382"/>
                <a:gd name="connsiteX968" fmla="*/ 2053053 w 2663946"/>
                <a:gd name="connsiteY968" fmla="*/ 99688 h 349382"/>
                <a:gd name="connsiteX969" fmla="*/ 2052070 w 2663946"/>
                <a:gd name="connsiteY969" fmla="*/ 104555 h 349382"/>
                <a:gd name="connsiteX970" fmla="*/ 2050840 w 2663946"/>
                <a:gd name="connsiteY970" fmla="*/ 108340 h 349382"/>
                <a:gd name="connsiteX971" fmla="*/ 2049857 w 2663946"/>
                <a:gd name="connsiteY971" fmla="*/ 110774 h 349382"/>
                <a:gd name="connsiteX972" fmla="*/ 2047645 w 2663946"/>
                <a:gd name="connsiteY972" fmla="*/ 115100 h 349382"/>
                <a:gd name="connsiteX973" fmla="*/ 2045433 w 2663946"/>
                <a:gd name="connsiteY973" fmla="*/ 118344 h 349382"/>
                <a:gd name="connsiteX974" fmla="*/ 2041992 w 2663946"/>
                <a:gd name="connsiteY974" fmla="*/ 122130 h 349382"/>
                <a:gd name="connsiteX975" fmla="*/ 2038796 w 2663946"/>
                <a:gd name="connsiteY975" fmla="*/ 124833 h 349382"/>
                <a:gd name="connsiteX976" fmla="*/ 2033143 w 2663946"/>
                <a:gd name="connsiteY976" fmla="*/ 128078 h 349382"/>
                <a:gd name="connsiteX977" fmla="*/ 2025277 w 2663946"/>
                <a:gd name="connsiteY977" fmla="*/ 130241 h 349382"/>
                <a:gd name="connsiteX978" fmla="*/ 2024048 w 2663946"/>
                <a:gd name="connsiteY978" fmla="*/ 130512 h 349382"/>
                <a:gd name="connsiteX979" fmla="*/ 2019869 w 2663946"/>
                <a:gd name="connsiteY979" fmla="*/ 130512 h 349382"/>
                <a:gd name="connsiteX980" fmla="*/ 2019624 w 2663946"/>
                <a:gd name="connsiteY980" fmla="*/ 130512 h 349382"/>
                <a:gd name="connsiteX981" fmla="*/ 2006596 w 2663946"/>
                <a:gd name="connsiteY981" fmla="*/ 125645 h 349382"/>
                <a:gd name="connsiteX982" fmla="*/ 2001926 w 2663946"/>
                <a:gd name="connsiteY982" fmla="*/ 121589 h 349382"/>
                <a:gd name="connsiteX983" fmla="*/ 1998730 w 2663946"/>
                <a:gd name="connsiteY983" fmla="*/ 117804 h 349382"/>
                <a:gd name="connsiteX984" fmla="*/ 1996518 w 2663946"/>
                <a:gd name="connsiteY984" fmla="*/ 114289 h 349382"/>
                <a:gd name="connsiteX985" fmla="*/ 1994306 w 2663946"/>
                <a:gd name="connsiteY985" fmla="*/ 109963 h 349382"/>
                <a:gd name="connsiteX986" fmla="*/ 1993077 w 2663946"/>
                <a:gd name="connsiteY986" fmla="*/ 106988 h 349382"/>
                <a:gd name="connsiteX987" fmla="*/ 1992094 w 2663946"/>
                <a:gd name="connsiteY987" fmla="*/ 103744 h 349382"/>
                <a:gd name="connsiteX988" fmla="*/ 1990864 w 2663946"/>
                <a:gd name="connsiteY988" fmla="*/ 98066 h 349382"/>
                <a:gd name="connsiteX989" fmla="*/ 1990619 w 2663946"/>
                <a:gd name="connsiteY989" fmla="*/ 95092 h 349382"/>
                <a:gd name="connsiteX990" fmla="*/ 1990864 w 2663946"/>
                <a:gd name="connsiteY990" fmla="*/ 95362 h 349382"/>
                <a:gd name="connsiteX991" fmla="*/ 1990864 w 2663946"/>
                <a:gd name="connsiteY991" fmla="*/ 89684 h 349382"/>
                <a:gd name="connsiteX992" fmla="*/ 1990864 w 2663946"/>
                <a:gd name="connsiteY992" fmla="*/ 89414 h 349382"/>
                <a:gd name="connsiteX993" fmla="*/ 1991356 w 2663946"/>
                <a:gd name="connsiteY993" fmla="*/ 84817 h 349382"/>
                <a:gd name="connsiteX994" fmla="*/ 1992585 w 2663946"/>
                <a:gd name="connsiteY994" fmla="*/ 79410 h 349382"/>
                <a:gd name="connsiteX995" fmla="*/ 1993568 w 2663946"/>
                <a:gd name="connsiteY995" fmla="*/ 76165 h 349382"/>
                <a:gd name="connsiteX996" fmla="*/ 1995780 w 2663946"/>
                <a:gd name="connsiteY996" fmla="*/ 71028 h 349382"/>
                <a:gd name="connsiteX997" fmla="*/ 1997993 w 2663946"/>
                <a:gd name="connsiteY997" fmla="*/ 67243 h 349382"/>
                <a:gd name="connsiteX998" fmla="*/ 2000205 w 2663946"/>
                <a:gd name="connsiteY998" fmla="*/ 64268 h 349382"/>
                <a:gd name="connsiteX999" fmla="*/ 2002417 w 2663946"/>
                <a:gd name="connsiteY999" fmla="*/ 61835 h 349382"/>
                <a:gd name="connsiteX1000" fmla="*/ 2007087 w 2663946"/>
                <a:gd name="connsiteY1000" fmla="*/ 58050 h 349382"/>
                <a:gd name="connsiteX1001" fmla="*/ 2011020 w 2663946"/>
                <a:gd name="connsiteY1001" fmla="*/ 55887 h 349382"/>
                <a:gd name="connsiteX1002" fmla="*/ 2020607 w 2663946"/>
                <a:gd name="connsiteY1002" fmla="*/ 53453 h 349382"/>
                <a:gd name="connsiteX1003" fmla="*/ 1595683 w 2663946"/>
                <a:gd name="connsiteY1003" fmla="*/ 53453 h 349382"/>
                <a:gd name="connsiteX1004" fmla="*/ 1607973 w 2663946"/>
                <a:gd name="connsiteY1004" fmla="*/ 55616 h 349382"/>
                <a:gd name="connsiteX1005" fmla="*/ 1615347 w 2663946"/>
                <a:gd name="connsiteY1005" fmla="*/ 60213 h 349382"/>
                <a:gd name="connsiteX1006" fmla="*/ 1618788 w 2663946"/>
                <a:gd name="connsiteY1006" fmla="*/ 63457 h 349382"/>
                <a:gd name="connsiteX1007" fmla="*/ 1622230 w 2663946"/>
                <a:gd name="connsiteY1007" fmla="*/ 67783 h 349382"/>
                <a:gd name="connsiteX1008" fmla="*/ 1624196 w 2663946"/>
                <a:gd name="connsiteY1008" fmla="*/ 71298 h 349382"/>
                <a:gd name="connsiteX1009" fmla="*/ 1626408 w 2663946"/>
                <a:gd name="connsiteY1009" fmla="*/ 76706 h 349382"/>
                <a:gd name="connsiteX1010" fmla="*/ 1627391 w 2663946"/>
                <a:gd name="connsiteY1010" fmla="*/ 80221 h 349382"/>
                <a:gd name="connsiteX1011" fmla="*/ 1628374 w 2663946"/>
                <a:gd name="connsiteY1011" fmla="*/ 85358 h 349382"/>
                <a:gd name="connsiteX1012" fmla="*/ 1628129 w 2663946"/>
                <a:gd name="connsiteY1012" fmla="*/ 99688 h 349382"/>
                <a:gd name="connsiteX1013" fmla="*/ 1627146 w 2663946"/>
                <a:gd name="connsiteY1013" fmla="*/ 104555 h 349382"/>
                <a:gd name="connsiteX1014" fmla="*/ 1625916 w 2663946"/>
                <a:gd name="connsiteY1014" fmla="*/ 108340 h 349382"/>
                <a:gd name="connsiteX1015" fmla="*/ 1624933 w 2663946"/>
                <a:gd name="connsiteY1015" fmla="*/ 110774 h 349382"/>
                <a:gd name="connsiteX1016" fmla="*/ 1622721 w 2663946"/>
                <a:gd name="connsiteY1016" fmla="*/ 115100 h 349382"/>
                <a:gd name="connsiteX1017" fmla="*/ 1620509 w 2663946"/>
                <a:gd name="connsiteY1017" fmla="*/ 118344 h 349382"/>
                <a:gd name="connsiteX1018" fmla="*/ 1617068 w 2663946"/>
                <a:gd name="connsiteY1018" fmla="*/ 122130 h 349382"/>
                <a:gd name="connsiteX1019" fmla="*/ 1613872 w 2663946"/>
                <a:gd name="connsiteY1019" fmla="*/ 124833 h 349382"/>
                <a:gd name="connsiteX1020" fmla="*/ 1608219 w 2663946"/>
                <a:gd name="connsiteY1020" fmla="*/ 128078 h 349382"/>
                <a:gd name="connsiteX1021" fmla="*/ 1600353 w 2663946"/>
                <a:gd name="connsiteY1021" fmla="*/ 130241 h 349382"/>
                <a:gd name="connsiteX1022" fmla="*/ 1599124 w 2663946"/>
                <a:gd name="connsiteY1022" fmla="*/ 130512 h 349382"/>
                <a:gd name="connsiteX1023" fmla="*/ 1594945 w 2663946"/>
                <a:gd name="connsiteY1023" fmla="*/ 130512 h 349382"/>
                <a:gd name="connsiteX1024" fmla="*/ 1594699 w 2663946"/>
                <a:gd name="connsiteY1024" fmla="*/ 130512 h 349382"/>
                <a:gd name="connsiteX1025" fmla="*/ 1581672 w 2663946"/>
                <a:gd name="connsiteY1025" fmla="*/ 125645 h 349382"/>
                <a:gd name="connsiteX1026" fmla="*/ 1577002 w 2663946"/>
                <a:gd name="connsiteY1026" fmla="*/ 121589 h 349382"/>
                <a:gd name="connsiteX1027" fmla="*/ 1573806 w 2663946"/>
                <a:gd name="connsiteY1027" fmla="*/ 117804 h 349382"/>
                <a:gd name="connsiteX1028" fmla="*/ 1571594 w 2663946"/>
                <a:gd name="connsiteY1028" fmla="*/ 114289 h 349382"/>
                <a:gd name="connsiteX1029" fmla="*/ 1569382 w 2663946"/>
                <a:gd name="connsiteY1029" fmla="*/ 109963 h 349382"/>
                <a:gd name="connsiteX1030" fmla="*/ 1568153 w 2663946"/>
                <a:gd name="connsiteY1030" fmla="*/ 106988 h 349382"/>
                <a:gd name="connsiteX1031" fmla="*/ 1567169 w 2663946"/>
                <a:gd name="connsiteY1031" fmla="*/ 103744 h 349382"/>
                <a:gd name="connsiteX1032" fmla="*/ 1565940 w 2663946"/>
                <a:gd name="connsiteY1032" fmla="*/ 98066 h 349382"/>
                <a:gd name="connsiteX1033" fmla="*/ 1565695 w 2663946"/>
                <a:gd name="connsiteY1033" fmla="*/ 95092 h 349382"/>
                <a:gd name="connsiteX1034" fmla="*/ 1565940 w 2663946"/>
                <a:gd name="connsiteY1034" fmla="*/ 95362 h 349382"/>
                <a:gd name="connsiteX1035" fmla="*/ 1565940 w 2663946"/>
                <a:gd name="connsiteY1035" fmla="*/ 89684 h 349382"/>
                <a:gd name="connsiteX1036" fmla="*/ 1565940 w 2663946"/>
                <a:gd name="connsiteY1036" fmla="*/ 89414 h 349382"/>
                <a:gd name="connsiteX1037" fmla="*/ 1566432 w 2663946"/>
                <a:gd name="connsiteY1037" fmla="*/ 84817 h 349382"/>
                <a:gd name="connsiteX1038" fmla="*/ 1567661 w 2663946"/>
                <a:gd name="connsiteY1038" fmla="*/ 79410 h 349382"/>
                <a:gd name="connsiteX1039" fmla="*/ 1568644 w 2663946"/>
                <a:gd name="connsiteY1039" fmla="*/ 76165 h 349382"/>
                <a:gd name="connsiteX1040" fmla="*/ 1570856 w 2663946"/>
                <a:gd name="connsiteY1040" fmla="*/ 71028 h 349382"/>
                <a:gd name="connsiteX1041" fmla="*/ 1573069 w 2663946"/>
                <a:gd name="connsiteY1041" fmla="*/ 67243 h 349382"/>
                <a:gd name="connsiteX1042" fmla="*/ 1575281 w 2663946"/>
                <a:gd name="connsiteY1042" fmla="*/ 64268 h 349382"/>
                <a:gd name="connsiteX1043" fmla="*/ 1577493 w 2663946"/>
                <a:gd name="connsiteY1043" fmla="*/ 61835 h 349382"/>
                <a:gd name="connsiteX1044" fmla="*/ 1582163 w 2663946"/>
                <a:gd name="connsiteY1044" fmla="*/ 58050 h 349382"/>
                <a:gd name="connsiteX1045" fmla="*/ 1586096 w 2663946"/>
                <a:gd name="connsiteY1045" fmla="*/ 55887 h 349382"/>
                <a:gd name="connsiteX1046" fmla="*/ 1595683 w 2663946"/>
                <a:gd name="connsiteY1046" fmla="*/ 53453 h 349382"/>
                <a:gd name="connsiteX1047" fmla="*/ 1246776 w 2663946"/>
                <a:gd name="connsiteY1047" fmla="*/ 53453 h 349382"/>
                <a:gd name="connsiteX1048" fmla="*/ 1259066 w 2663946"/>
                <a:gd name="connsiteY1048" fmla="*/ 55616 h 349382"/>
                <a:gd name="connsiteX1049" fmla="*/ 1266440 w 2663946"/>
                <a:gd name="connsiteY1049" fmla="*/ 60213 h 349382"/>
                <a:gd name="connsiteX1050" fmla="*/ 1269881 w 2663946"/>
                <a:gd name="connsiteY1050" fmla="*/ 63457 h 349382"/>
                <a:gd name="connsiteX1051" fmla="*/ 1273323 w 2663946"/>
                <a:gd name="connsiteY1051" fmla="*/ 67783 h 349382"/>
                <a:gd name="connsiteX1052" fmla="*/ 1275289 w 2663946"/>
                <a:gd name="connsiteY1052" fmla="*/ 71298 h 349382"/>
                <a:gd name="connsiteX1053" fmla="*/ 1277501 w 2663946"/>
                <a:gd name="connsiteY1053" fmla="*/ 76706 h 349382"/>
                <a:gd name="connsiteX1054" fmla="*/ 1278484 w 2663946"/>
                <a:gd name="connsiteY1054" fmla="*/ 80221 h 349382"/>
                <a:gd name="connsiteX1055" fmla="*/ 1279467 w 2663946"/>
                <a:gd name="connsiteY1055" fmla="*/ 85358 h 349382"/>
                <a:gd name="connsiteX1056" fmla="*/ 1279222 w 2663946"/>
                <a:gd name="connsiteY1056" fmla="*/ 99688 h 349382"/>
                <a:gd name="connsiteX1057" fmla="*/ 1278239 w 2663946"/>
                <a:gd name="connsiteY1057" fmla="*/ 104555 h 349382"/>
                <a:gd name="connsiteX1058" fmla="*/ 1277009 w 2663946"/>
                <a:gd name="connsiteY1058" fmla="*/ 108340 h 349382"/>
                <a:gd name="connsiteX1059" fmla="*/ 1276026 w 2663946"/>
                <a:gd name="connsiteY1059" fmla="*/ 110774 h 349382"/>
                <a:gd name="connsiteX1060" fmla="*/ 1273814 w 2663946"/>
                <a:gd name="connsiteY1060" fmla="*/ 115100 h 349382"/>
                <a:gd name="connsiteX1061" fmla="*/ 1271602 w 2663946"/>
                <a:gd name="connsiteY1061" fmla="*/ 118344 h 349382"/>
                <a:gd name="connsiteX1062" fmla="*/ 1268161 w 2663946"/>
                <a:gd name="connsiteY1062" fmla="*/ 122130 h 349382"/>
                <a:gd name="connsiteX1063" fmla="*/ 1264965 w 2663946"/>
                <a:gd name="connsiteY1063" fmla="*/ 124833 h 349382"/>
                <a:gd name="connsiteX1064" fmla="*/ 1259312 w 2663946"/>
                <a:gd name="connsiteY1064" fmla="*/ 128078 h 349382"/>
                <a:gd name="connsiteX1065" fmla="*/ 1251446 w 2663946"/>
                <a:gd name="connsiteY1065" fmla="*/ 130241 h 349382"/>
                <a:gd name="connsiteX1066" fmla="*/ 1250217 w 2663946"/>
                <a:gd name="connsiteY1066" fmla="*/ 130512 h 349382"/>
                <a:gd name="connsiteX1067" fmla="*/ 1246038 w 2663946"/>
                <a:gd name="connsiteY1067" fmla="*/ 130512 h 349382"/>
                <a:gd name="connsiteX1068" fmla="*/ 1245792 w 2663946"/>
                <a:gd name="connsiteY1068" fmla="*/ 130512 h 349382"/>
                <a:gd name="connsiteX1069" fmla="*/ 1232765 w 2663946"/>
                <a:gd name="connsiteY1069" fmla="*/ 125645 h 349382"/>
                <a:gd name="connsiteX1070" fmla="*/ 1228095 w 2663946"/>
                <a:gd name="connsiteY1070" fmla="*/ 121589 h 349382"/>
                <a:gd name="connsiteX1071" fmla="*/ 1224899 w 2663946"/>
                <a:gd name="connsiteY1071" fmla="*/ 117804 h 349382"/>
                <a:gd name="connsiteX1072" fmla="*/ 1222687 w 2663946"/>
                <a:gd name="connsiteY1072" fmla="*/ 114289 h 349382"/>
                <a:gd name="connsiteX1073" fmla="*/ 1220475 w 2663946"/>
                <a:gd name="connsiteY1073" fmla="*/ 109963 h 349382"/>
                <a:gd name="connsiteX1074" fmla="*/ 1219246 w 2663946"/>
                <a:gd name="connsiteY1074" fmla="*/ 106988 h 349382"/>
                <a:gd name="connsiteX1075" fmla="*/ 1218262 w 2663946"/>
                <a:gd name="connsiteY1075" fmla="*/ 103744 h 349382"/>
                <a:gd name="connsiteX1076" fmla="*/ 1217033 w 2663946"/>
                <a:gd name="connsiteY1076" fmla="*/ 98066 h 349382"/>
                <a:gd name="connsiteX1077" fmla="*/ 1216788 w 2663946"/>
                <a:gd name="connsiteY1077" fmla="*/ 95092 h 349382"/>
                <a:gd name="connsiteX1078" fmla="*/ 1217033 w 2663946"/>
                <a:gd name="connsiteY1078" fmla="*/ 95362 h 349382"/>
                <a:gd name="connsiteX1079" fmla="*/ 1217033 w 2663946"/>
                <a:gd name="connsiteY1079" fmla="*/ 89684 h 349382"/>
                <a:gd name="connsiteX1080" fmla="*/ 1217033 w 2663946"/>
                <a:gd name="connsiteY1080" fmla="*/ 89414 h 349382"/>
                <a:gd name="connsiteX1081" fmla="*/ 1217525 w 2663946"/>
                <a:gd name="connsiteY1081" fmla="*/ 84817 h 349382"/>
                <a:gd name="connsiteX1082" fmla="*/ 1218754 w 2663946"/>
                <a:gd name="connsiteY1082" fmla="*/ 79410 h 349382"/>
                <a:gd name="connsiteX1083" fmla="*/ 1219737 w 2663946"/>
                <a:gd name="connsiteY1083" fmla="*/ 76165 h 349382"/>
                <a:gd name="connsiteX1084" fmla="*/ 1221949 w 2663946"/>
                <a:gd name="connsiteY1084" fmla="*/ 71028 h 349382"/>
                <a:gd name="connsiteX1085" fmla="*/ 1224162 w 2663946"/>
                <a:gd name="connsiteY1085" fmla="*/ 67243 h 349382"/>
                <a:gd name="connsiteX1086" fmla="*/ 1226374 w 2663946"/>
                <a:gd name="connsiteY1086" fmla="*/ 64268 h 349382"/>
                <a:gd name="connsiteX1087" fmla="*/ 1228586 w 2663946"/>
                <a:gd name="connsiteY1087" fmla="*/ 61835 h 349382"/>
                <a:gd name="connsiteX1088" fmla="*/ 1233256 w 2663946"/>
                <a:gd name="connsiteY1088" fmla="*/ 58050 h 349382"/>
                <a:gd name="connsiteX1089" fmla="*/ 1237189 w 2663946"/>
                <a:gd name="connsiteY1089" fmla="*/ 55887 h 349382"/>
                <a:gd name="connsiteX1090" fmla="*/ 1246776 w 2663946"/>
                <a:gd name="connsiteY1090" fmla="*/ 53453 h 349382"/>
                <a:gd name="connsiteX1091" fmla="*/ 1064825 w 2663946"/>
                <a:gd name="connsiteY1091" fmla="*/ 53453 h 349382"/>
                <a:gd name="connsiteX1092" fmla="*/ 1077115 w 2663946"/>
                <a:gd name="connsiteY1092" fmla="*/ 55616 h 349382"/>
                <a:gd name="connsiteX1093" fmla="*/ 1084489 w 2663946"/>
                <a:gd name="connsiteY1093" fmla="*/ 60213 h 349382"/>
                <a:gd name="connsiteX1094" fmla="*/ 1087930 w 2663946"/>
                <a:gd name="connsiteY1094" fmla="*/ 63457 h 349382"/>
                <a:gd name="connsiteX1095" fmla="*/ 1091372 w 2663946"/>
                <a:gd name="connsiteY1095" fmla="*/ 67783 h 349382"/>
                <a:gd name="connsiteX1096" fmla="*/ 1093338 w 2663946"/>
                <a:gd name="connsiteY1096" fmla="*/ 71298 h 349382"/>
                <a:gd name="connsiteX1097" fmla="*/ 1095550 w 2663946"/>
                <a:gd name="connsiteY1097" fmla="*/ 76706 h 349382"/>
                <a:gd name="connsiteX1098" fmla="*/ 1096533 w 2663946"/>
                <a:gd name="connsiteY1098" fmla="*/ 80221 h 349382"/>
                <a:gd name="connsiteX1099" fmla="*/ 1097516 w 2663946"/>
                <a:gd name="connsiteY1099" fmla="*/ 85358 h 349382"/>
                <a:gd name="connsiteX1100" fmla="*/ 1097271 w 2663946"/>
                <a:gd name="connsiteY1100" fmla="*/ 99688 h 349382"/>
                <a:gd name="connsiteX1101" fmla="*/ 1096288 w 2663946"/>
                <a:gd name="connsiteY1101" fmla="*/ 104555 h 349382"/>
                <a:gd name="connsiteX1102" fmla="*/ 1095058 w 2663946"/>
                <a:gd name="connsiteY1102" fmla="*/ 108340 h 349382"/>
                <a:gd name="connsiteX1103" fmla="*/ 1094075 w 2663946"/>
                <a:gd name="connsiteY1103" fmla="*/ 110774 h 349382"/>
                <a:gd name="connsiteX1104" fmla="*/ 1091863 w 2663946"/>
                <a:gd name="connsiteY1104" fmla="*/ 115100 h 349382"/>
                <a:gd name="connsiteX1105" fmla="*/ 1089651 w 2663946"/>
                <a:gd name="connsiteY1105" fmla="*/ 118344 h 349382"/>
                <a:gd name="connsiteX1106" fmla="*/ 1086210 w 2663946"/>
                <a:gd name="connsiteY1106" fmla="*/ 122130 h 349382"/>
                <a:gd name="connsiteX1107" fmla="*/ 1083014 w 2663946"/>
                <a:gd name="connsiteY1107" fmla="*/ 124833 h 349382"/>
                <a:gd name="connsiteX1108" fmla="*/ 1077361 w 2663946"/>
                <a:gd name="connsiteY1108" fmla="*/ 128078 h 349382"/>
                <a:gd name="connsiteX1109" fmla="*/ 1069495 w 2663946"/>
                <a:gd name="connsiteY1109" fmla="*/ 130241 h 349382"/>
                <a:gd name="connsiteX1110" fmla="*/ 1068266 w 2663946"/>
                <a:gd name="connsiteY1110" fmla="*/ 130512 h 349382"/>
                <a:gd name="connsiteX1111" fmla="*/ 1064087 w 2663946"/>
                <a:gd name="connsiteY1111" fmla="*/ 130512 h 349382"/>
                <a:gd name="connsiteX1112" fmla="*/ 1063841 w 2663946"/>
                <a:gd name="connsiteY1112" fmla="*/ 130512 h 349382"/>
                <a:gd name="connsiteX1113" fmla="*/ 1050814 w 2663946"/>
                <a:gd name="connsiteY1113" fmla="*/ 125645 h 349382"/>
                <a:gd name="connsiteX1114" fmla="*/ 1046144 w 2663946"/>
                <a:gd name="connsiteY1114" fmla="*/ 121589 h 349382"/>
                <a:gd name="connsiteX1115" fmla="*/ 1042948 w 2663946"/>
                <a:gd name="connsiteY1115" fmla="*/ 117804 h 349382"/>
                <a:gd name="connsiteX1116" fmla="*/ 1040736 w 2663946"/>
                <a:gd name="connsiteY1116" fmla="*/ 114289 h 349382"/>
                <a:gd name="connsiteX1117" fmla="*/ 1038524 w 2663946"/>
                <a:gd name="connsiteY1117" fmla="*/ 109963 h 349382"/>
                <a:gd name="connsiteX1118" fmla="*/ 1037295 w 2663946"/>
                <a:gd name="connsiteY1118" fmla="*/ 106988 h 349382"/>
                <a:gd name="connsiteX1119" fmla="*/ 1036311 w 2663946"/>
                <a:gd name="connsiteY1119" fmla="*/ 103744 h 349382"/>
                <a:gd name="connsiteX1120" fmla="*/ 1035082 w 2663946"/>
                <a:gd name="connsiteY1120" fmla="*/ 98066 h 349382"/>
                <a:gd name="connsiteX1121" fmla="*/ 1034837 w 2663946"/>
                <a:gd name="connsiteY1121" fmla="*/ 95092 h 349382"/>
                <a:gd name="connsiteX1122" fmla="*/ 1035082 w 2663946"/>
                <a:gd name="connsiteY1122" fmla="*/ 95362 h 349382"/>
                <a:gd name="connsiteX1123" fmla="*/ 1035082 w 2663946"/>
                <a:gd name="connsiteY1123" fmla="*/ 89684 h 349382"/>
                <a:gd name="connsiteX1124" fmla="*/ 1035082 w 2663946"/>
                <a:gd name="connsiteY1124" fmla="*/ 89414 h 349382"/>
                <a:gd name="connsiteX1125" fmla="*/ 1035574 w 2663946"/>
                <a:gd name="connsiteY1125" fmla="*/ 84817 h 349382"/>
                <a:gd name="connsiteX1126" fmla="*/ 1036803 w 2663946"/>
                <a:gd name="connsiteY1126" fmla="*/ 79410 h 349382"/>
                <a:gd name="connsiteX1127" fmla="*/ 1037786 w 2663946"/>
                <a:gd name="connsiteY1127" fmla="*/ 76165 h 349382"/>
                <a:gd name="connsiteX1128" fmla="*/ 1039998 w 2663946"/>
                <a:gd name="connsiteY1128" fmla="*/ 71028 h 349382"/>
                <a:gd name="connsiteX1129" fmla="*/ 1042211 w 2663946"/>
                <a:gd name="connsiteY1129" fmla="*/ 67243 h 349382"/>
                <a:gd name="connsiteX1130" fmla="*/ 1044423 w 2663946"/>
                <a:gd name="connsiteY1130" fmla="*/ 64268 h 349382"/>
                <a:gd name="connsiteX1131" fmla="*/ 1046635 w 2663946"/>
                <a:gd name="connsiteY1131" fmla="*/ 61835 h 349382"/>
                <a:gd name="connsiteX1132" fmla="*/ 1051305 w 2663946"/>
                <a:gd name="connsiteY1132" fmla="*/ 58050 h 349382"/>
                <a:gd name="connsiteX1133" fmla="*/ 1055238 w 2663946"/>
                <a:gd name="connsiteY1133" fmla="*/ 55887 h 349382"/>
                <a:gd name="connsiteX1134" fmla="*/ 1064825 w 2663946"/>
                <a:gd name="connsiteY1134" fmla="*/ 53453 h 349382"/>
                <a:gd name="connsiteX1135" fmla="*/ 897796 w 2663946"/>
                <a:gd name="connsiteY1135" fmla="*/ 53453 h 349382"/>
                <a:gd name="connsiteX1136" fmla="*/ 910086 w 2663946"/>
                <a:gd name="connsiteY1136" fmla="*/ 55616 h 349382"/>
                <a:gd name="connsiteX1137" fmla="*/ 917460 w 2663946"/>
                <a:gd name="connsiteY1137" fmla="*/ 60213 h 349382"/>
                <a:gd name="connsiteX1138" fmla="*/ 920901 w 2663946"/>
                <a:gd name="connsiteY1138" fmla="*/ 63457 h 349382"/>
                <a:gd name="connsiteX1139" fmla="*/ 924343 w 2663946"/>
                <a:gd name="connsiteY1139" fmla="*/ 67783 h 349382"/>
                <a:gd name="connsiteX1140" fmla="*/ 926309 w 2663946"/>
                <a:gd name="connsiteY1140" fmla="*/ 71298 h 349382"/>
                <a:gd name="connsiteX1141" fmla="*/ 928521 w 2663946"/>
                <a:gd name="connsiteY1141" fmla="*/ 76706 h 349382"/>
                <a:gd name="connsiteX1142" fmla="*/ 929504 w 2663946"/>
                <a:gd name="connsiteY1142" fmla="*/ 80221 h 349382"/>
                <a:gd name="connsiteX1143" fmla="*/ 930487 w 2663946"/>
                <a:gd name="connsiteY1143" fmla="*/ 85358 h 349382"/>
                <a:gd name="connsiteX1144" fmla="*/ 930242 w 2663946"/>
                <a:gd name="connsiteY1144" fmla="*/ 99688 h 349382"/>
                <a:gd name="connsiteX1145" fmla="*/ 929259 w 2663946"/>
                <a:gd name="connsiteY1145" fmla="*/ 104555 h 349382"/>
                <a:gd name="connsiteX1146" fmla="*/ 928029 w 2663946"/>
                <a:gd name="connsiteY1146" fmla="*/ 108340 h 349382"/>
                <a:gd name="connsiteX1147" fmla="*/ 927046 w 2663946"/>
                <a:gd name="connsiteY1147" fmla="*/ 110774 h 349382"/>
                <a:gd name="connsiteX1148" fmla="*/ 924834 w 2663946"/>
                <a:gd name="connsiteY1148" fmla="*/ 115100 h 349382"/>
                <a:gd name="connsiteX1149" fmla="*/ 922622 w 2663946"/>
                <a:gd name="connsiteY1149" fmla="*/ 118344 h 349382"/>
                <a:gd name="connsiteX1150" fmla="*/ 919181 w 2663946"/>
                <a:gd name="connsiteY1150" fmla="*/ 122130 h 349382"/>
                <a:gd name="connsiteX1151" fmla="*/ 915985 w 2663946"/>
                <a:gd name="connsiteY1151" fmla="*/ 124833 h 349382"/>
                <a:gd name="connsiteX1152" fmla="*/ 910332 w 2663946"/>
                <a:gd name="connsiteY1152" fmla="*/ 128078 h 349382"/>
                <a:gd name="connsiteX1153" fmla="*/ 902466 w 2663946"/>
                <a:gd name="connsiteY1153" fmla="*/ 130241 h 349382"/>
                <a:gd name="connsiteX1154" fmla="*/ 901237 w 2663946"/>
                <a:gd name="connsiteY1154" fmla="*/ 130512 h 349382"/>
                <a:gd name="connsiteX1155" fmla="*/ 897058 w 2663946"/>
                <a:gd name="connsiteY1155" fmla="*/ 130512 h 349382"/>
                <a:gd name="connsiteX1156" fmla="*/ 896812 w 2663946"/>
                <a:gd name="connsiteY1156" fmla="*/ 130512 h 349382"/>
                <a:gd name="connsiteX1157" fmla="*/ 883785 w 2663946"/>
                <a:gd name="connsiteY1157" fmla="*/ 125645 h 349382"/>
                <a:gd name="connsiteX1158" fmla="*/ 879115 w 2663946"/>
                <a:gd name="connsiteY1158" fmla="*/ 121589 h 349382"/>
                <a:gd name="connsiteX1159" fmla="*/ 875919 w 2663946"/>
                <a:gd name="connsiteY1159" fmla="*/ 117804 h 349382"/>
                <a:gd name="connsiteX1160" fmla="*/ 873707 w 2663946"/>
                <a:gd name="connsiteY1160" fmla="*/ 114289 h 349382"/>
                <a:gd name="connsiteX1161" fmla="*/ 871495 w 2663946"/>
                <a:gd name="connsiteY1161" fmla="*/ 109963 h 349382"/>
                <a:gd name="connsiteX1162" fmla="*/ 870266 w 2663946"/>
                <a:gd name="connsiteY1162" fmla="*/ 106988 h 349382"/>
                <a:gd name="connsiteX1163" fmla="*/ 869282 w 2663946"/>
                <a:gd name="connsiteY1163" fmla="*/ 103744 h 349382"/>
                <a:gd name="connsiteX1164" fmla="*/ 868053 w 2663946"/>
                <a:gd name="connsiteY1164" fmla="*/ 98066 h 349382"/>
                <a:gd name="connsiteX1165" fmla="*/ 867808 w 2663946"/>
                <a:gd name="connsiteY1165" fmla="*/ 95092 h 349382"/>
                <a:gd name="connsiteX1166" fmla="*/ 868053 w 2663946"/>
                <a:gd name="connsiteY1166" fmla="*/ 95362 h 349382"/>
                <a:gd name="connsiteX1167" fmla="*/ 868053 w 2663946"/>
                <a:gd name="connsiteY1167" fmla="*/ 89684 h 349382"/>
                <a:gd name="connsiteX1168" fmla="*/ 868053 w 2663946"/>
                <a:gd name="connsiteY1168" fmla="*/ 89414 h 349382"/>
                <a:gd name="connsiteX1169" fmla="*/ 868545 w 2663946"/>
                <a:gd name="connsiteY1169" fmla="*/ 84817 h 349382"/>
                <a:gd name="connsiteX1170" fmla="*/ 869774 w 2663946"/>
                <a:gd name="connsiteY1170" fmla="*/ 79410 h 349382"/>
                <a:gd name="connsiteX1171" fmla="*/ 870757 w 2663946"/>
                <a:gd name="connsiteY1171" fmla="*/ 76165 h 349382"/>
                <a:gd name="connsiteX1172" fmla="*/ 872969 w 2663946"/>
                <a:gd name="connsiteY1172" fmla="*/ 71028 h 349382"/>
                <a:gd name="connsiteX1173" fmla="*/ 875182 w 2663946"/>
                <a:gd name="connsiteY1173" fmla="*/ 67243 h 349382"/>
                <a:gd name="connsiteX1174" fmla="*/ 877394 w 2663946"/>
                <a:gd name="connsiteY1174" fmla="*/ 64268 h 349382"/>
                <a:gd name="connsiteX1175" fmla="*/ 879606 w 2663946"/>
                <a:gd name="connsiteY1175" fmla="*/ 61835 h 349382"/>
                <a:gd name="connsiteX1176" fmla="*/ 884276 w 2663946"/>
                <a:gd name="connsiteY1176" fmla="*/ 58050 h 349382"/>
                <a:gd name="connsiteX1177" fmla="*/ 888209 w 2663946"/>
                <a:gd name="connsiteY1177" fmla="*/ 55887 h 349382"/>
                <a:gd name="connsiteX1178" fmla="*/ 897796 w 2663946"/>
                <a:gd name="connsiteY1178" fmla="*/ 53453 h 349382"/>
                <a:gd name="connsiteX1179" fmla="*/ 548889 w 2663946"/>
                <a:gd name="connsiteY1179" fmla="*/ 53453 h 349382"/>
                <a:gd name="connsiteX1180" fmla="*/ 561180 w 2663946"/>
                <a:gd name="connsiteY1180" fmla="*/ 55616 h 349382"/>
                <a:gd name="connsiteX1181" fmla="*/ 568554 w 2663946"/>
                <a:gd name="connsiteY1181" fmla="*/ 60213 h 349382"/>
                <a:gd name="connsiteX1182" fmla="*/ 571995 w 2663946"/>
                <a:gd name="connsiteY1182" fmla="*/ 63457 h 349382"/>
                <a:gd name="connsiteX1183" fmla="*/ 575436 w 2663946"/>
                <a:gd name="connsiteY1183" fmla="*/ 67783 h 349382"/>
                <a:gd name="connsiteX1184" fmla="*/ 577403 w 2663946"/>
                <a:gd name="connsiteY1184" fmla="*/ 71298 h 349382"/>
                <a:gd name="connsiteX1185" fmla="*/ 579615 w 2663946"/>
                <a:gd name="connsiteY1185" fmla="*/ 76706 h 349382"/>
                <a:gd name="connsiteX1186" fmla="*/ 580598 w 2663946"/>
                <a:gd name="connsiteY1186" fmla="*/ 80221 h 349382"/>
                <a:gd name="connsiteX1187" fmla="*/ 581581 w 2663946"/>
                <a:gd name="connsiteY1187" fmla="*/ 85358 h 349382"/>
                <a:gd name="connsiteX1188" fmla="*/ 581336 w 2663946"/>
                <a:gd name="connsiteY1188" fmla="*/ 99688 h 349382"/>
                <a:gd name="connsiteX1189" fmla="*/ 580352 w 2663946"/>
                <a:gd name="connsiteY1189" fmla="*/ 104555 h 349382"/>
                <a:gd name="connsiteX1190" fmla="*/ 579123 w 2663946"/>
                <a:gd name="connsiteY1190" fmla="*/ 108340 h 349382"/>
                <a:gd name="connsiteX1191" fmla="*/ 578140 w 2663946"/>
                <a:gd name="connsiteY1191" fmla="*/ 110774 h 349382"/>
                <a:gd name="connsiteX1192" fmla="*/ 575928 w 2663946"/>
                <a:gd name="connsiteY1192" fmla="*/ 115100 h 349382"/>
                <a:gd name="connsiteX1193" fmla="*/ 573715 w 2663946"/>
                <a:gd name="connsiteY1193" fmla="*/ 118344 h 349382"/>
                <a:gd name="connsiteX1194" fmla="*/ 570274 w 2663946"/>
                <a:gd name="connsiteY1194" fmla="*/ 122130 h 349382"/>
                <a:gd name="connsiteX1195" fmla="*/ 567079 w 2663946"/>
                <a:gd name="connsiteY1195" fmla="*/ 124833 h 349382"/>
                <a:gd name="connsiteX1196" fmla="*/ 561425 w 2663946"/>
                <a:gd name="connsiteY1196" fmla="*/ 128078 h 349382"/>
                <a:gd name="connsiteX1197" fmla="*/ 553559 w 2663946"/>
                <a:gd name="connsiteY1197" fmla="*/ 130241 h 349382"/>
                <a:gd name="connsiteX1198" fmla="*/ 552331 w 2663946"/>
                <a:gd name="connsiteY1198" fmla="*/ 130512 h 349382"/>
                <a:gd name="connsiteX1199" fmla="*/ 548152 w 2663946"/>
                <a:gd name="connsiteY1199" fmla="*/ 130512 h 349382"/>
                <a:gd name="connsiteX1200" fmla="*/ 547906 w 2663946"/>
                <a:gd name="connsiteY1200" fmla="*/ 130512 h 349382"/>
                <a:gd name="connsiteX1201" fmla="*/ 534879 w 2663946"/>
                <a:gd name="connsiteY1201" fmla="*/ 125645 h 349382"/>
                <a:gd name="connsiteX1202" fmla="*/ 530208 w 2663946"/>
                <a:gd name="connsiteY1202" fmla="*/ 121589 h 349382"/>
                <a:gd name="connsiteX1203" fmla="*/ 527013 w 2663946"/>
                <a:gd name="connsiteY1203" fmla="*/ 117804 h 349382"/>
                <a:gd name="connsiteX1204" fmla="*/ 524801 w 2663946"/>
                <a:gd name="connsiteY1204" fmla="*/ 114289 h 349382"/>
                <a:gd name="connsiteX1205" fmla="*/ 522588 w 2663946"/>
                <a:gd name="connsiteY1205" fmla="*/ 109963 h 349382"/>
                <a:gd name="connsiteX1206" fmla="*/ 521359 w 2663946"/>
                <a:gd name="connsiteY1206" fmla="*/ 106988 h 349382"/>
                <a:gd name="connsiteX1207" fmla="*/ 520376 w 2663946"/>
                <a:gd name="connsiteY1207" fmla="*/ 103744 h 349382"/>
                <a:gd name="connsiteX1208" fmla="*/ 519147 w 2663946"/>
                <a:gd name="connsiteY1208" fmla="*/ 98066 h 349382"/>
                <a:gd name="connsiteX1209" fmla="*/ 518901 w 2663946"/>
                <a:gd name="connsiteY1209" fmla="*/ 95092 h 349382"/>
                <a:gd name="connsiteX1210" fmla="*/ 519147 w 2663946"/>
                <a:gd name="connsiteY1210" fmla="*/ 95362 h 349382"/>
                <a:gd name="connsiteX1211" fmla="*/ 519147 w 2663946"/>
                <a:gd name="connsiteY1211" fmla="*/ 89684 h 349382"/>
                <a:gd name="connsiteX1212" fmla="*/ 519147 w 2663946"/>
                <a:gd name="connsiteY1212" fmla="*/ 89414 h 349382"/>
                <a:gd name="connsiteX1213" fmla="*/ 519639 w 2663946"/>
                <a:gd name="connsiteY1213" fmla="*/ 84817 h 349382"/>
                <a:gd name="connsiteX1214" fmla="*/ 520868 w 2663946"/>
                <a:gd name="connsiteY1214" fmla="*/ 79410 h 349382"/>
                <a:gd name="connsiteX1215" fmla="*/ 521851 w 2663946"/>
                <a:gd name="connsiteY1215" fmla="*/ 76165 h 349382"/>
                <a:gd name="connsiteX1216" fmla="*/ 524063 w 2663946"/>
                <a:gd name="connsiteY1216" fmla="*/ 71028 h 349382"/>
                <a:gd name="connsiteX1217" fmla="*/ 526275 w 2663946"/>
                <a:gd name="connsiteY1217" fmla="*/ 67243 h 349382"/>
                <a:gd name="connsiteX1218" fmla="*/ 528488 w 2663946"/>
                <a:gd name="connsiteY1218" fmla="*/ 64268 h 349382"/>
                <a:gd name="connsiteX1219" fmla="*/ 530700 w 2663946"/>
                <a:gd name="connsiteY1219" fmla="*/ 61835 h 349382"/>
                <a:gd name="connsiteX1220" fmla="*/ 535370 w 2663946"/>
                <a:gd name="connsiteY1220" fmla="*/ 58050 h 349382"/>
                <a:gd name="connsiteX1221" fmla="*/ 539303 w 2663946"/>
                <a:gd name="connsiteY1221" fmla="*/ 55887 h 349382"/>
                <a:gd name="connsiteX1222" fmla="*/ 548889 w 2663946"/>
                <a:gd name="connsiteY1222" fmla="*/ 53453 h 349382"/>
                <a:gd name="connsiteX1223" fmla="*/ 366938 w 2663946"/>
                <a:gd name="connsiteY1223" fmla="*/ 53453 h 349382"/>
                <a:gd name="connsiteX1224" fmla="*/ 379228 w 2663946"/>
                <a:gd name="connsiteY1224" fmla="*/ 55616 h 349382"/>
                <a:gd name="connsiteX1225" fmla="*/ 386603 w 2663946"/>
                <a:gd name="connsiteY1225" fmla="*/ 60213 h 349382"/>
                <a:gd name="connsiteX1226" fmla="*/ 390044 w 2663946"/>
                <a:gd name="connsiteY1226" fmla="*/ 63457 h 349382"/>
                <a:gd name="connsiteX1227" fmla="*/ 393485 w 2663946"/>
                <a:gd name="connsiteY1227" fmla="*/ 67783 h 349382"/>
                <a:gd name="connsiteX1228" fmla="*/ 395452 w 2663946"/>
                <a:gd name="connsiteY1228" fmla="*/ 71298 h 349382"/>
                <a:gd name="connsiteX1229" fmla="*/ 397664 w 2663946"/>
                <a:gd name="connsiteY1229" fmla="*/ 76706 h 349382"/>
                <a:gd name="connsiteX1230" fmla="*/ 398647 w 2663946"/>
                <a:gd name="connsiteY1230" fmla="*/ 80221 h 349382"/>
                <a:gd name="connsiteX1231" fmla="*/ 399630 w 2663946"/>
                <a:gd name="connsiteY1231" fmla="*/ 85358 h 349382"/>
                <a:gd name="connsiteX1232" fmla="*/ 399384 w 2663946"/>
                <a:gd name="connsiteY1232" fmla="*/ 99688 h 349382"/>
                <a:gd name="connsiteX1233" fmla="*/ 398401 w 2663946"/>
                <a:gd name="connsiteY1233" fmla="*/ 104555 h 349382"/>
                <a:gd name="connsiteX1234" fmla="*/ 397172 w 2663946"/>
                <a:gd name="connsiteY1234" fmla="*/ 108340 h 349382"/>
                <a:gd name="connsiteX1235" fmla="*/ 396189 w 2663946"/>
                <a:gd name="connsiteY1235" fmla="*/ 110774 h 349382"/>
                <a:gd name="connsiteX1236" fmla="*/ 393977 w 2663946"/>
                <a:gd name="connsiteY1236" fmla="*/ 115100 h 349382"/>
                <a:gd name="connsiteX1237" fmla="*/ 391764 w 2663946"/>
                <a:gd name="connsiteY1237" fmla="*/ 118344 h 349382"/>
                <a:gd name="connsiteX1238" fmla="*/ 388323 w 2663946"/>
                <a:gd name="connsiteY1238" fmla="*/ 122130 h 349382"/>
                <a:gd name="connsiteX1239" fmla="*/ 385128 w 2663946"/>
                <a:gd name="connsiteY1239" fmla="*/ 124833 h 349382"/>
                <a:gd name="connsiteX1240" fmla="*/ 379474 w 2663946"/>
                <a:gd name="connsiteY1240" fmla="*/ 128078 h 349382"/>
                <a:gd name="connsiteX1241" fmla="*/ 371609 w 2663946"/>
                <a:gd name="connsiteY1241" fmla="*/ 130241 h 349382"/>
                <a:gd name="connsiteX1242" fmla="*/ 370380 w 2663946"/>
                <a:gd name="connsiteY1242" fmla="*/ 130512 h 349382"/>
                <a:gd name="connsiteX1243" fmla="*/ 366201 w 2663946"/>
                <a:gd name="connsiteY1243" fmla="*/ 130512 h 349382"/>
                <a:gd name="connsiteX1244" fmla="*/ 365955 w 2663946"/>
                <a:gd name="connsiteY1244" fmla="*/ 130512 h 349382"/>
                <a:gd name="connsiteX1245" fmla="*/ 352927 w 2663946"/>
                <a:gd name="connsiteY1245" fmla="*/ 125645 h 349382"/>
                <a:gd name="connsiteX1246" fmla="*/ 348257 w 2663946"/>
                <a:gd name="connsiteY1246" fmla="*/ 121589 h 349382"/>
                <a:gd name="connsiteX1247" fmla="*/ 345062 w 2663946"/>
                <a:gd name="connsiteY1247" fmla="*/ 117804 h 349382"/>
                <a:gd name="connsiteX1248" fmla="*/ 342850 w 2663946"/>
                <a:gd name="connsiteY1248" fmla="*/ 114289 h 349382"/>
                <a:gd name="connsiteX1249" fmla="*/ 340637 w 2663946"/>
                <a:gd name="connsiteY1249" fmla="*/ 109963 h 349382"/>
                <a:gd name="connsiteX1250" fmla="*/ 339408 w 2663946"/>
                <a:gd name="connsiteY1250" fmla="*/ 106988 h 349382"/>
                <a:gd name="connsiteX1251" fmla="*/ 338425 w 2663946"/>
                <a:gd name="connsiteY1251" fmla="*/ 103744 h 349382"/>
                <a:gd name="connsiteX1252" fmla="*/ 337196 w 2663946"/>
                <a:gd name="connsiteY1252" fmla="*/ 98066 h 349382"/>
                <a:gd name="connsiteX1253" fmla="*/ 336950 w 2663946"/>
                <a:gd name="connsiteY1253" fmla="*/ 95092 h 349382"/>
                <a:gd name="connsiteX1254" fmla="*/ 337196 w 2663946"/>
                <a:gd name="connsiteY1254" fmla="*/ 95362 h 349382"/>
                <a:gd name="connsiteX1255" fmla="*/ 337196 w 2663946"/>
                <a:gd name="connsiteY1255" fmla="*/ 89684 h 349382"/>
                <a:gd name="connsiteX1256" fmla="*/ 337196 w 2663946"/>
                <a:gd name="connsiteY1256" fmla="*/ 89414 h 349382"/>
                <a:gd name="connsiteX1257" fmla="*/ 337687 w 2663946"/>
                <a:gd name="connsiteY1257" fmla="*/ 84817 h 349382"/>
                <a:gd name="connsiteX1258" fmla="*/ 338917 w 2663946"/>
                <a:gd name="connsiteY1258" fmla="*/ 79410 h 349382"/>
                <a:gd name="connsiteX1259" fmla="*/ 339900 w 2663946"/>
                <a:gd name="connsiteY1259" fmla="*/ 76165 h 349382"/>
                <a:gd name="connsiteX1260" fmla="*/ 342112 w 2663946"/>
                <a:gd name="connsiteY1260" fmla="*/ 71028 h 349382"/>
                <a:gd name="connsiteX1261" fmla="*/ 344324 w 2663946"/>
                <a:gd name="connsiteY1261" fmla="*/ 67243 h 349382"/>
                <a:gd name="connsiteX1262" fmla="*/ 346536 w 2663946"/>
                <a:gd name="connsiteY1262" fmla="*/ 64268 h 349382"/>
                <a:gd name="connsiteX1263" fmla="*/ 348749 w 2663946"/>
                <a:gd name="connsiteY1263" fmla="*/ 61835 h 349382"/>
                <a:gd name="connsiteX1264" fmla="*/ 353419 w 2663946"/>
                <a:gd name="connsiteY1264" fmla="*/ 58050 h 349382"/>
                <a:gd name="connsiteX1265" fmla="*/ 357352 w 2663946"/>
                <a:gd name="connsiteY1265" fmla="*/ 55887 h 349382"/>
                <a:gd name="connsiteX1266" fmla="*/ 366938 w 2663946"/>
                <a:gd name="connsiteY1266" fmla="*/ 53453 h 349382"/>
                <a:gd name="connsiteX1267" fmla="*/ 123893 w 2663946"/>
                <a:gd name="connsiteY1267" fmla="*/ 53453 h 349382"/>
                <a:gd name="connsiteX1268" fmla="*/ 136183 w 2663946"/>
                <a:gd name="connsiteY1268" fmla="*/ 55616 h 349382"/>
                <a:gd name="connsiteX1269" fmla="*/ 143557 w 2663946"/>
                <a:gd name="connsiteY1269" fmla="*/ 60213 h 349382"/>
                <a:gd name="connsiteX1270" fmla="*/ 146998 w 2663946"/>
                <a:gd name="connsiteY1270" fmla="*/ 63457 h 349382"/>
                <a:gd name="connsiteX1271" fmla="*/ 150439 w 2663946"/>
                <a:gd name="connsiteY1271" fmla="*/ 67783 h 349382"/>
                <a:gd name="connsiteX1272" fmla="*/ 152406 w 2663946"/>
                <a:gd name="connsiteY1272" fmla="*/ 71298 h 349382"/>
                <a:gd name="connsiteX1273" fmla="*/ 154618 w 2663946"/>
                <a:gd name="connsiteY1273" fmla="*/ 76706 h 349382"/>
                <a:gd name="connsiteX1274" fmla="*/ 155601 w 2663946"/>
                <a:gd name="connsiteY1274" fmla="*/ 80221 h 349382"/>
                <a:gd name="connsiteX1275" fmla="*/ 156584 w 2663946"/>
                <a:gd name="connsiteY1275" fmla="*/ 85358 h 349382"/>
                <a:gd name="connsiteX1276" fmla="*/ 156339 w 2663946"/>
                <a:gd name="connsiteY1276" fmla="*/ 99688 h 349382"/>
                <a:gd name="connsiteX1277" fmla="*/ 155355 w 2663946"/>
                <a:gd name="connsiteY1277" fmla="*/ 104555 h 349382"/>
                <a:gd name="connsiteX1278" fmla="*/ 154126 w 2663946"/>
                <a:gd name="connsiteY1278" fmla="*/ 108340 h 349382"/>
                <a:gd name="connsiteX1279" fmla="*/ 153143 w 2663946"/>
                <a:gd name="connsiteY1279" fmla="*/ 110774 h 349382"/>
                <a:gd name="connsiteX1280" fmla="*/ 150931 w 2663946"/>
                <a:gd name="connsiteY1280" fmla="*/ 115100 h 349382"/>
                <a:gd name="connsiteX1281" fmla="*/ 148719 w 2663946"/>
                <a:gd name="connsiteY1281" fmla="*/ 118344 h 349382"/>
                <a:gd name="connsiteX1282" fmla="*/ 145277 w 2663946"/>
                <a:gd name="connsiteY1282" fmla="*/ 122130 h 349382"/>
                <a:gd name="connsiteX1283" fmla="*/ 142082 w 2663946"/>
                <a:gd name="connsiteY1283" fmla="*/ 124833 h 349382"/>
                <a:gd name="connsiteX1284" fmla="*/ 136428 w 2663946"/>
                <a:gd name="connsiteY1284" fmla="*/ 128078 h 349382"/>
                <a:gd name="connsiteX1285" fmla="*/ 128563 w 2663946"/>
                <a:gd name="connsiteY1285" fmla="*/ 130241 h 349382"/>
                <a:gd name="connsiteX1286" fmla="*/ 127334 w 2663946"/>
                <a:gd name="connsiteY1286" fmla="*/ 130512 h 349382"/>
                <a:gd name="connsiteX1287" fmla="*/ 123155 w 2663946"/>
                <a:gd name="connsiteY1287" fmla="*/ 130512 h 349382"/>
                <a:gd name="connsiteX1288" fmla="*/ 122909 w 2663946"/>
                <a:gd name="connsiteY1288" fmla="*/ 130512 h 349382"/>
                <a:gd name="connsiteX1289" fmla="*/ 109882 w 2663946"/>
                <a:gd name="connsiteY1289" fmla="*/ 125645 h 349382"/>
                <a:gd name="connsiteX1290" fmla="*/ 105211 w 2663946"/>
                <a:gd name="connsiteY1290" fmla="*/ 121589 h 349382"/>
                <a:gd name="connsiteX1291" fmla="*/ 102016 w 2663946"/>
                <a:gd name="connsiteY1291" fmla="*/ 117804 h 349382"/>
                <a:gd name="connsiteX1292" fmla="*/ 99804 w 2663946"/>
                <a:gd name="connsiteY1292" fmla="*/ 114289 h 349382"/>
                <a:gd name="connsiteX1293" fmla="*/ 97591 w 2663946"/>
                <a:gd name="connsiteY1293" fmla="*/ 109963 h 349382"/>
                <a:gd name="connsiteX1294" fmla="*/ 96362 w 2663946"/>
                <a:gd name="connsiteY1294" fmla="*/ 106988 h 349382"/>
                <a:gd name="connsiteX1295" fmla="*/ 95379 w 2663946"/>
                <a:gd name="connsiteY1295" fmla="*/ 103744 h 349382"/>
                <a:gd name="connsiteX1296" fmla="*/ 94150 w 2663946"/>
                <a:gd name="connsiteY1296" fmla="*/ 98066 h 349382"/>
                <a:gd name="connsiteX1297" fmla="*/ 93904 w 2663946"/>
                <a:gd name="connsiteY1297" fmla="*/ 95092 h 349382"/>
                <a:gd name="connsiteX1298" fmla="*/ 94150 w 2663946"/>
                <a:gd name="connsiteY1298" fmla="*/ 95362 h 349382"/>
                <a:gd name="connsiteX1299" fmla="*/ 94150 w 2663946"/>
                <a:gd name="connsiteY1299" fmla="*/ 89684 h 349382"/>
                <a:gd name="connsiteX1300" fmla="*/ 94150 w 2663946"/>
                <a:gd name="connsiteY1300" fmla="*/ 89414 h 349382"/>
                <a:gd name="connsiteX1301" fmla="*/ 94642 w 2663946"/>
                <a:gd name="connsiteY1301" fmla="*/ 84817 h 349382"/>
                <a:gd name="connsiteX1302" fmla="*/ 95871 w 2663946"/>
                <a:gd name="connsiteY1302" fmla="*/ 79410 h 349382"/>
                <a:gd name="connsiteX1303" fmla="*/ 96854 w 2663946"/>
                <a:gd name="connsiteY1303" fmla="*/ 76165 h 349382"/>
                <a:gd name="connsiteX1304" fmla="*/ 99066 w 2663946"/>
                <a:gd name="connsiteY1304" fmla="*/ 71028 h 349382"/>
                <a:gd name="connsiteX1305" fmla="*/ 101279 w 2663946"/>
                <a:gd name="connsiteY1305" fmla="*/ 67243 h 349382"/>
                <a:gd name="connsiteX1306" fmla="*/ 103491 w 2663946"/>
                <a:gd name="connsiteY1306" fmla="*/ 64268 h 349382"/>
                <a:gd name="connsiteX1307" fmla="*/ 105703 w 2663946"/>
                <a:gd name="connsiteY1307" fmla="*/ 61835 h 349382"/>
                <a:gd name="connsiteX1308" fmla="*/ 110373 w 2663946"/>
                <a:gd name="connsiteY1308" fmla="*/ 58050 h 349382"/>
                <a:gd name="connsiteX1309" fmla="*/ 114306 w 2663946"/>
                <a:gd name="connsiteY1309" fmla="*/ 55887 h 349382"/>
                <a:gd name="connsiteX1310" fmla="*/ 123893 w 2663946"/>
                <a:gd name="connsiteY1310" fmla="*/ 53453 h 349382"/>
                <a:gd name="connsiteX1311" fmla="*/ 33147 w 2663946"/>
                <a:gd name="connsiteY1311" fmla="*/ 52815 h 349382"/>
                <a:gd name="connsiteX1312" fmla="*/ 57942 w 2663946"/>
                <a:gd name="connsiteY1312" fmla="*/ 73024 h 349382"/>
                <a:gd name="connsiteX1313" fmla="*/ 58422 w 2663946"/>
                <a:gd name="connsiteY1313" fmla="*/ 77782 h 349382"/>
                <a:gd name="connsiteX1314" fmla="*/ 59840 w 2663946"/>
                <a:gd name="connsiteY1314" fmla="*/ 77782 h 349382"/>
                <a:gd name="connsiteX1315" fmla="*/ 66294 w 2663946"/>
                <a:gd name="connsiteY1315" fmla="*/ 84068 h 349382"/>
                <a:gd name="connsiteX1316" fmla="*/ 66294 w 2663946"/>
                <a:gd name="connsiteY1316" fmla="*/ 133790 h 349382"/>
                <a:gd name="connsiteX1317" fmla="*/ 59840 w 2663946"/>
                <a:gd name="connsiteY1317" fmla="*/ 140076 h 349382"/>
                <a:gd name="connsiteX1318" fmla="*/ 6453 w 2663946"/>
                <a:gd name="connsiteY1318" fmla="*/ 140076 h 349382"/>
                <a:gd name="connsiteX1319" fmla="*/ 0 w 2663946"/>
                <a:gd name="connsiteY1319" fmla="*/ 133790 h 349382"/>
                <a:gd name="connsiteX1320" fmla="*/ 0 w 2663946"/>
                <a:gd name="connsiteY1320" fmla="*/ 84068 h 349382"/>
                <a:gd name="connsiteX1321" fmla="*/ 6453 w 2663946"/>
                <a:gd name="connsiteY1321" fmla="*/ 77782 h 349382"/>
                <a:gd name="connsiteX1322" fmla="*/ 7288 w 2663946"/>
                <a:gd name="connsiteY1322" fmla="*/ 77782 h 349382"/>
                <a:gd name="connsiteX1323" fmla="*/ 7872 w 2663946"/>
                <a:gd name="connsiteY1323" fmla="*/ 77782 h 349382"/>
                <a:gd name="connsiteX1324" fmla="*/ 8351 w 2663946"/>
                <a:gd name="connsiteY1324" fmla="*/ 73024 h 349382"/>
                <a:gd name="connsiteX1325" fmla="*/ 33147 w 2663946"/>
                <a:gd name="connsiteY1325" fmla="*/ 52815 h 349382"/>
                <a:gd name="connsiteX1326" fmla="*/ 2537931 w 2663946"/>
                <a:gd name="connsiteY1326" fmla="*/ 45227 h 349382"/>
                <a:gd name="connsiteX1327" fmla="*/ 2562727 w 2663946"/>
                <a:gd name="connsiteY1327" fmla="*/ 65436 h 349382"/>
                <a:gd name="connsiteX1328" fmla="*/ 2563206 w 2663946"/>
                <a:gd name="connsiteY1328" fmla="*/ 70194 h 349382"/>
                <a:gd name="connsiteX1329" fmla="*/ 2564625 w 2663946"/>
                <a:gd name="connsiteY1329" fmla="*/ 70194 h 349382"/>
                <a:gd name="connsiteX1330" fmla="*/ 2571078 w 2663946"/>
                <a:gd name="connsiteY1330" fmla="*/ 76480 h 349382"/>
                <a:gd name="connsiteX1331" fmla="*/ 2571078 w 2663946"/>
                <a:gd name="connsiteY1331" fmla="*/ 126202 h 349382"/>
                <a:gd name="connsiteX1332" fmla="*/ 2564625 w 2663946"/>
                <a:gd name="connsiteY1332" fmla="*/ 132488 h 349382"/>
                <a:gd name="connsiteX1333" fmla="*/ 2511238 w 2663946"/>
                <a:gd name="connsiteY1333" fmla="*/ 132488 h 349382"/>
                <a:gd name="connsiteX1334" fmla="*/ 2504784 w 2663946"/>
                <a:gd name="connsiteY1334" fmla="*/ 126202 h 349382"/>
                <a:gd name="connsiteX1335" fmla="*/ 2504784 w 2663946"/>
                <a:gd name="connsiteY1335" fmla="*/ 76480 h 349382"/>
                <a:gd name="connsiteX1336" fmla="*/ 2511238 w 2663946"/>
                <a:gd name="connsiteY1336" fmla="*/ 70194 h 349382"/>
                <a:gd name="connsiteX1337" fmla="*/ 2512072 w 2663946"/>
                <a:gd name="connsiteY1337" fmla="*/ 70194 h 349382"/>
                <a:gd name="connsiteX1338" fmla="*/ 2512656 w 2663946"/>
                <a:gd name="connsiteY1338" fmla="*/ 70194 h 349382"/>
                <a:gd name="connsiteX1339" fmla="*/ 2513136 w 2663946"/>
                <a:gd name="connsiteY1339" fmla="*/ 65436 h 349382"/>
                <a:gd name="connsiteX1340" fmla="*/ 2537931 w 2663946"/>
                <a:gd name="connsiteY1340" fmla="*/ 45227 h 349382"/>
                <a:gd name="connsiteX1341" fmla="*/ 2112934 w 2663946"/>
                <a:gd name="connsiteY1341" fmla="*/ 45227 h 349382"/>
                <a:gd name="connsiteX1342" fmla="*/ 2137730 w 2663946"/>
                <a:gd name="connsiteY1342" fmla="*/ 65436 h 349382"/>
                <a:gd name="connsiteX1343" fmla="*/ 2138209 w 2663946"/>
                <a:gd name="connsiteY1343" fmla="*/ 70194 h 349382"/>
                <a:gd name="connsiteX1344" fmla="*/ 2139628 w 2663946"/>
                <a:gd name="connsiteY1344" fmla="*/ 70194 h 349382"/>
                <a:gd name="connsiteX1345" fmla="*/ 2146081 w 2663946"/>
                <a:gd name="connsiteY1345" fmla="*/ 76480 h 349382"/>
                <a:gd name="connsiteX1346" fmla="*/ 2146081 w 2663946"/>
                <a:gd name="connsiteY1346" fmla="*/ 126202 h 349382"/>
                <a:gd name="connsiteX1347" fmla="*/ 2139628 w 2663946"/>
                <a:gd name="connsiteY1347" fmla="*/ 132488 h 349382"/>
                <a:gd name="connsiteX1348" fmla="*/ 2086241 w 2663946"/>
                <a:gd name="connsiteY1348" fmla="*/ 132488 h 349382"/>
                <a:gd name="connsiteX1349" fmla="*/ 2079787 w 2663946"/>
                <a:gd name="connsiteY1349" fmla="*/ 126202 h 349382"/>
                <a:gd name="connsiteX1350" fmla="*/ 2079787 w 2663946"/>
                <a:gd name="connsiteY1350" fmla="*/ 76480 h 349382"/>
                <a:gd name="connsiteX1351" fmla="*/ 2086241 w 2663946"/>
                <a:gd name="connsiteY1351" fmla="*/ 70194 h 349382"/>
                <a:gd name="connsiteX1352" fmla="*/ 2087075 w 2663946"/>
                <a:gd name="connsiteY1352" fmla="*/ 70194 h 349382"/>
                <a:gd name="connsiteX1353" fmla="*/ 2087659 w 2663946"/>
                <a:gd name="connsiteY1353" fmla="*/ 70194 h 349382"/>
                <a:gd name="connsiteX1354" fmla="*/ 2088139 w 2663946"/>
                <a:gd name="connsiteY1354" fmla="*/ 65436 h 349382"/>
                <a:gd name="connsiteX1355" fmla="*/ 2112934 w 2663946"/>
                <a:gd name="connsiteY1355" fmla="*/ 45227 h 349382"/>
                <a:gd name="connsiteX1356" fmla="*/ 1854966 w 2663946"/>
                <a:gd name="connsiteY1356" fmla="*/ 45227 h 349382"/>
                <a:gd name="connsiteX1357" fmla="*/ 1879762 w 2663946"/>
                <a:gd name="connsiteY1357" fmla="*/ 65436 h 349382"/>
                <a:gd name="connsiteX1358" fmla="*/ 1880241 w 2663946"/>
                <a:gd name="connsiteY1358" fmla="*/ 70194 h 349382"/>
                <a:gd name="connsiteX1359" fmla="*/ 1881660 w 2663946"/>
                <a:gd name="connsiteY1359" fmla="*/ 70194 h 349382"/>
                <a:gd name="connsiteX1360" fmla="*/ 1888113 w 2663946"/>
                <a:gd name="connsiteY1360" fmla="*/ 76480 h 349382"/>
                <a:gd name="connsiteX1361" fmla="*/ 1888113 w 2663946"/>
                <a:gd name="connsiteY1361" fmla="*/ 126202 h 349382"/>
                <a:gd name="connsiteX1362" fmla="*/ 1881660 w 2663946"/>
                <a:gd name="connsiteY1362" fmla="*/ 132488 h 349382"/>
                <a:gd name="connsiteX1363" fmla="*/ 1828273 w 2663946"/>
                <a:gd name="connsiteY1363" fmla="*/ 132488 h 349382"/>
                <a:gd name="connsiteX1364" fmla="*/ 1821819 w 2663946"/>
                <a:gd name="connsiteY1364" fmla="*/ 126202 h 349382"/>
                <a:gd name="connsiteX1365" fmla="*/ 1821819 w 2663946"/>
                <a:gd name="connsiteY1365" fmla="*/ 76480 h 349382"/>
                <a:gd name="connsiteX1366" fmla="*/ 1828273 w 2663946"/>
                <a:gd name="connsiteY1366" fmla="*/ 70194 h 349382"/>
                <a:gd name="connsiteX1367" fmla="*/ 1829107 w 2663946"/>
                <a:gd name="connsiteY1367" fmla="*/ 70194 h 349382"/>
                <a:gd name="connsiteX1368" fmla="*/ 1829691 w 2663946"/>
                <a:gd name="connsiteY1368" fmla="*/ 70194 h 349382"/>
                <a:gd name="connsiteX1369" fmla="*/ 1830171 w 2663946"/>
                <a:gd name="connsiteY1369" fmla="*/ 65436 h 349382"/>
                <a:gd name="connsiteX1370" fmla="*/ 1854966 w 2663946"/>
                <a:gd name="connsiteY1370" fmla="*/ 45227 h 349382"/>
                <a:gd name="connsiteX1371" fmla="*/ 1764027 w 2663946"/>
                <a:gd name="connsiteY1371" fmla="*/ 45227 h 349382"/>
                <a:gd name="connsiteX1372" fmla="*/ 1788823 w 2663946"/>
                <a:gd name="connsiteY1372" fmla="*/ 65436 h 349382"/>
                <a:gd name="connsiteX1373" fmla="*/ 1789302 w 2663946"/>
                <a:gd name="connsiteY1373" fmla="*/ 70194 h 349382"/>
                <a:gd name="connsiteX1374" fmla="*/ 1790721 w 2663946"/>
                <a:gd name="connsiteY1374" fmla="*/ 70194 h 349382"/>
                <a:gd name="connsiteX1375" fmla="*/ 1797174 w 2663946"/>
                <a:gd name="connsiteY1375" fmla="*/ 76480 h 349382"/>
                <a:gd name="connsiteX1376" fmla="*/ 1797174 w 2663946"/>
                <a:gd name="connsiteY1376" fmla="*/ 126202 h 349382"/>
                <a:gd name="connsiteX1377" fmla="*/ 1790721 w 2663946"/>
                <a:gd name="connsiteY1377" fmla="*/ 132488 h 349382"/>
                <a:gd name="connsiteX1378" fmla="*/ 1737333 w 2663946"/>
                <a:gd name="connsiteY1378" fmla="*/ 132488 h 349382"/>
                <a:gd name="connsiteX1379" fmla="*/ 1730880 w 2663946"/>
                <a:gd name="connsiteY1379" fmla="*/ 126202 h 349382"/>
                <a:gd name="connsiteX1380" fmla="*/ 1730880 w 2663946"/>
                <a:gd name="connsiteY1380" fmla="*/ 76480 h 349382"/>
                <a:gd name="connsiteX1381" fmla="*/ 1737333 w 2663946"/>
                <a:gd name="connsiteY1381" fmla="*/ 70194 h 349382"/>
                <a:gd name="connsiteX1382" fmla="*/ 1738168 w 2663946"/>
                <a:gd name="connsiteY1382" fmla="*/ 70194 h 349382"/>
                <a:gd name="connsiteX1383" fmla="*/ 1738752 w 2663946"/>
                <a:gd name="connsiteY1383" fmla="*/ 70194 h 349382"/>
                <a:gd name="connsiteX1384" fmla="*/ 1739232 w 2663946"/>
                <a:gd name="connsiteY1384" fmla="*/ 65436 h 349382"/>
                <a:gd name="connsiteX1385" fmla="*/ 1764027 w 2663946"/>
                <a:gd name="connsiteY1385" fmla="*/ 45227 h 349382"/>
                <a:gd name="connsiteX1386" fmla="*/ 1506059 w 2663946"/>
                <a:gd name="connsiteY1386" fmla="*/ 45227 h 349382"/>
                <a:gd name="connsiteX1387" fmla="*/ 1530855 w 2663946"/>
                <a:gd name="connsiteY1387" fmla="*/ 65436 h 349382"/>
                <a:gd name="connsiteX1388" fmla="*/ 1531334 w 2663946"/>
                <a:gd name="connsiteY1388" fmla="*/ 70194 h 349382"/>
                <a:gd name="connsiteX1389" fmla="*/ 1532753 w 2663946"/>
                <a:gd name="connsiteY1389" fmla="*/ 70194 h 349382"/>
                <a:gd name="connsiteX1390" fmla="*/ 1539206 w 2663946"/>
                <a:gd name="connsiteY1390" fmla="*/ 76480 h 349382"/>
                <a:gd name="connsiteX1391" fmla="*/ 1539206 w 2663946"/>
                <a:gd name="connsiteY1391" fmla="*/ 126202 h 349382"/>
                <a:gd name="connsiteX1392" fmla="*/ 1532753 w 2663946"/>
                <a:gd name="connsiteY1392" fmla="*/ 132488 h 349382"/>
                <a:gd name="connsiteX1393" fmla="*/ 1479365 w 2663946"/>
                <a:gd name="connsiteY1393" fmla="*/ 132488 h 349382"/>
                <a:gd name="connsiteX1394" fmla="*/ 1472912 w 2663946"/>
                <a:gd name="connsiteY1394" fmla="*/ 126202 h 349382"/>
                <a:gd name="connsiteX1395" fmla="*/ 1472912 w 2663946"/>
                <a:gd name="connsiteY1395" fmla="*/ 76480 h 349382"/>
                <a:gd name="connsiteX1396" fmla="*/ 1479365 w 2663946"/>
                <a:gd name="connsiteY1396" fmla="*/ 70194 h 349382"/>
                <a:gd name="connsiteX1397" fmla="*/ 1480200 w 2663946"/>
                <a:gd name="connsiteY1397" fmla="*/ 70194 h 349382"/>
                <a:gd name="connsiteX1398" fmla="*/ 1480784 w 2663946"/>
                <a:gd name="connsiteY1398" fmla="*/ 70194 h 349382"/>
                <a:gd name="connsiteX1399" fmla="*/ 1481264 w 2663946"/>
                <a:gd name="connsiteY1399" fmla="*/ 65436 h 349382"/>
                <a:gd name="connsiteX1400" fmla="*/ 1506059 w 2663946"/>
                <a:gd name="connsiteY1400" fmla="*/ 45227 h 349382"/>
                <a:gd name="connsiteX1401" fmla="*/ 1415120 w 2663946"/>
                <a:gd name="connsiteY1401" fmla="*/ 45227 h 349382"/>
                <a:gd name="connsiteX1402" fmla="*/ 1439916 w 2663946"/>
                <a:gd name="connsiteY1402" fmla="*/ 65436 h 349382"/>
                <a:gd name="connsiteX1403" fmla="*/ 1440395 w 2663946"/>
                <a:gd name="connsiteY1403" fmla="*/ 70194 h 349382"/>
                <a:gd name="connsiteX1404" fmla="*/ 1441814 w 2663946"/>
                <a:gd name="connsiteY1404" fmla="*/ 70194 h 349382"/>
                <a:gd name="connsiteX1405" fmla="*/ 1448267 w 2663946"/>
                <a:gd name="connsiteY1405" fmla="*/ 76480 h 349382"/>
                <a:gd name="connsiteX1406" fmla="*/ 1448267 w 2663946"/>
                <a:gd name="connsiteY1406" fmla="*/ 126202 h 349382"/>
                <a:gd name="connsiteX1407" fmla="*/ 1441814 w 2663946"/>
                <a:gd name="connsiteY1407" fmla="*/ 132488 h 349382"/>
                <a:gd name="connsiteX1408" fmla="*/ 1388426 w 2663946"/>
                <a:gd name="connsiteY1408" fmla="*/ 132488 h 349382"/>
                <a:gd name="connsiteX1409" fmla="*/ 1381973 w 2663946"/>
                <a:gd name="connsiteY1409" fmla="*/ 126202 h 349382"/>
                <a:gd name="connsiteX1410" fmla="*/ 1381973 w 2663946"/>
                <a:gd name="connsiteY1410" fmla="*/ 76480 h 349382"/>
                <a:gd name="connsiteX1411" fmla="*/ 1388426 w 2663946"/>
                <a:gd name="connsiteY1411" fmla="*/ 70194 h 349382"/>
                <a:gd name="connsiteX1412" fmla="*/ 1389261 w 2663946"/>
                <a:gd name="connsiteY1412" fmla="*/ 70194 h 349382"/>
                <a:gd name="connsiteX1413" fmla="*/ 1389845 w 2663946"/>
                <a:gd name="connsiteY1413" fmla="*/ 70194 h 349382"/>
                <a:gd name="connsiteX1414" fmla="*/ 1390325 w 2663946"/>
                <a:gd name="connsiteY1414" fmla="*/ 65436 h 349382"/>
                <a:gd name="connsiteX1415" fmla="*/ 1415120 w 2663946"/>
                <a:gd name="connsiteY1415" fmla="*/ 45227 h 349382"/>
                <a:gd name="connsiteX1416" fmla="*/ 1157152 w 2663946"/>
                <a:gd name="connsiteY1416" fmla="*/ 45227 h 349382"/>
                <a:gd name="connsiteX1417" fmla="*/ 1181948 w 2663946"/>
                <a:gd name="connsiteY1417" fmla="*/ 65436 h 349382"/>
                <a:gd name="connsiteX1418" fmla="*/ 1182427 w 2663946"/>
                <a:gd name="connsiteY1418" fmla="*/ 70194 h 349382"/>
                <a:gd name="connsiteX1419" fmla="*/ 1183846 w 2663946"/>
                <a:gd name="connsiteY1419" fmla="*/ 70194 h 349382"/>
                <a:gd name="connsiteX1420" fmla="*/ 1190299 w 2663946"/>
                <a:gd name="connsiteY1420" fmla="*/ 76480 h 349382"/>
                <a:gd name="connsiteX1421" fmla="*/ 1190299 w 2663946"/>
                <a:gd name="connsiteY1421" fmla="*/ 126202 h 349382"/>
                <a:gd name="connsiteX1422" fmla="*/ 1183846 w 2663946"/>
                <a:gd name="connsiteY1422" fmla="*/ 132488 h 349382"/>
                <a:gd name="connsiteX1423" fmla="*/ 1130458 w 2663946"/>
                <a:gd name="connsiteY1423" fmla="*/ 132488 h 349382"/>
                <a:gd name="connsiteX1424" fmla="*/ 1124005 w 2663946"/>
                <a:gd name="connsiteY1424" fmla="*/ 126202 h 349382"/>
                <a:gd name="connsiteX1425" fmla="*/ 1124005 w 2663946"/>
                <a:gd name="connsiteY1425" fmla="*/ 76480 h 349382"/>
                <a:gd name="connsiteX1426" fmla="*/ 1130458 w 2663946"/>
                <a:gd name="connsiteY1426" fmla="*/ 70194 h 349382"/>
                <a:gd name="connsiteX1427" fmla="*/ 1131293 w 2663946"/>
                <a:gd name="connsiteY1427" fmla="*/ 70194 h 349382"/>
                <a:gd name="connsiteX1428" fmla="*/ 1131877 w 2663946"/>
                <a:gd name="connsiteY1428" fmla="*/ 70194 h 349382"/>
                <a:gd name="connsiteX1429" fmla="*/ 1132357 w 2663946"/>
                <a:gd name="connsiteY1429" fmla="*/ 65436 h 349382"/>
                <a:gd name="connsiteX1430" fmla="*/ 1157152 w 2663946"/>
                <a:gd name="connsiteY1430" fmla="*/ 45227 h 349382"/>
                <a:gd name="connsiteX1431" fmla="*/ 732156 w 2663946"/>
                <a:gd name="connsiteY1431" fmla="*/ 45227 h 349382"/>
                <a:gd name="connsiteX1432" fmla="*/ 756951 w 2663946"/>
                <a:gd name="connsiteY1432" fmla="*/ 65436 h 349382"/>
                <a:gd name="connsiteX1433" fmla="*/ 757431 w 2663946"/>
                <a:gd name="connsiteY1433" fmla="*/ 70194 h 349382"/>
                <a:gd name="connsiteX1434" fmla="*/ 758849 w 2663946"/>
                <a:gd name="connsiteY1434" fmla="*/ 70194 h 349382"/>
                <a:gd name="connsiteX1435" fmla="*/ 765303 w 2663946"/>
                <a:gd name="connsiteY1435" fmla="*/ 76480 h 349382"/>
                <a:gd name="connsiteX1436" fmla="*/ 765303 w 2663946"/>
                <a:gd name="connsiteY1436" fmla="*/ 126202 h 349382"/>
                <a:gd name="connsiteX1437" fmla="*/ 758849 w 2663946"/>
                <a:gd name="connsiteY1437" fmla="*/ 132488 h 349382"/>
                <a:gd name="connsiteX1438" fmla="*/ 705462 w 2663946"/>
                <a:gd name="connsiteY1438" fmla="*/ 132488 h 349382"/>
                <a:gd name="connsiteX1439" fmla="*/ 699009 w 2663946"/>
                <a:gd name="connsiteY1439" fmla="*/ 126202 h 349382"/>
                <a:gd name="connsiteX1440" fmla="*/ 699009 w 2663946"/>
                <a:gd name="connsiteY1440" fmla="*/ 76480 h 349382"/>
                <a:gd name="connsiteX1441" fmla="*/ 705462 w 2663946"/>
                <a:gd name="connsiteY1441" fmla="*/ 70194 h 349382"/>
                <a:gd name="connsiteX1442" fmla="*/ 706296 w 2663946"/>
                <a:gd name="connsiteY1442" fmla="*/ 70194 h 349382"/>
                <a:gd name="connsiteX1443" fmla="*/ 706881 w 2663946"/>
                <a:gd name="connsiteY1443" fmla="*/ 70194 h 349382"/>
                <a:gd name="connsiteX1444" fmla="*/ 707360 w 2663946"/>
                <a:gd name="connsiteY1444" fmla="*/ 65436 h 349382"/>
                <a:gd name="connsiteX1445" fmla="*/ 732156 w 2663946"/>
                <a:gd name="connsiteY1445" fmla="*/ 45227 h 349382"/>
                <a:gd name="connsiteX1446" fmla="*/ 641217 w 2663946"/>
                <a:gd name="connsiteY1446" fmla="*/ 45227 h 349382"/>
                <a:gd name="connsiteX1447" fmla="*/ 666012 w 2663946"/>
                <a:gd name="connsiteY1447" fmla="*/ 65436 h 349382"/>
                <a:gd name="connsiteX1448" fmla="*/ 666492 w 2663946"/>
                <a:gd name="connsiteY1448" fmla="*/ 70194 h 349382"/>
                <a:gd name="connsiteX1449" fmla="*/ 667910 w 2663946"/>
                <a:gd name="connsiteY1449" fmla="*/ 70194 h 349382"/>
                <a:gd name="connsiteX1450" fmla="*/ 674364 w 2663946"/>
                <a:gd name="connsiteY1450" fmla="*/ 76480 h 349382"/>
                <a:gd name="connsiteX1451" fmla="*/ 674364 w 2663946"/>
                <a:gd name="connsiteY1451" fmla="*/ 126202 h 349382"/>
                <a:gd name="connsiteX1452" fmla="*/ 667910 w 2663946"/>
                <a:gd name="connsiteY1452" fmla="*/ 132488 h 349382"/>
                <a:gd name="connsiteX1453" fmla="*/ 614523 w 2663946"/>
                <a:gd name="connsiteY1453" fmla="*/ 132488 h 349382"/>
                <a:gd name="connsiteX1454" fmla="*/ 608070 w 2663946"/>
                <a:gd name="connsiteY1454" fmla="*/ 126202 h 349382"/>
                <a:gd name="connsiteX1455" fmla="*/ 608070 w 2663946"/>
                <a:gd name="connsiteY1455" fmla="*/ 76480 h 349382"/>
                <a:gd name="connsiteX1456" fmla="*/ 614523 w 2663946"/>
                <a:gd name="connsiteY1456" fmla="*/ 70194 h 349382"/>
                <a:gd name="connsiteX1457" fmla="*/ 615358 w 2663946"/>
                <a:gd name="connsiteY1457" fmla="*/ 70194 h 349382"/>
                <a:gd name="connsiteX1458" fmla="*/ 615942 w 2663946"/>
                <a:gd name="connsiteY1458" fmla="*/ 70194 h 349382"/>
                <a:gd name="connsiteX1459" fmla="*/ 616422 w 2663946"/>
                <a:gd name="connsiteY1459" fmla="*/ 65436 h 349382"/>
                <a:gd name="connsiteX1460" fmla="*/ 641217 w 2663946"/>
                <a:gd name="connsiteY1460" fmla="*/ 45227 h 349382"/>
                <a:gd name="connsiteX1461" fmla="*/ 459266 w 2663946"/>
                <a:gd name="connsiteY1461" fmla="*/ 45227 h 349382"/>
                <a:gd name="connsiteX1462" fmla="*/ 484061 w 2663946"/>
                <a:gd name="connsiteY1462" fmla="*/ 65436 h 349382"/>
                <a:gd name="connsiteX1463" fmla="*/ 484541 w 2663946"/>
                <a:gd name="connsiteY1463" fmla="*/ 70194 h 349382"/>
                <a:gd name="connsiteX1464" fmla="*/ 485959 w 2663946"/>
                <a:gd name="connsiteY1464" fmla="*/ 70194 h 349382"/>
                <a:gd name="connsiteX1465" fmla="*/ 492413 w 2663946"/>
                <a:gd name="connsiteY1465" fmla="*/ 76480 h 349382"/>
                <a:gd name="connsiteX1466" fmla="*/ 492413 w 2663946"/>
                <a:gd name="connsiteY1466" fmla="*/ 126202 h 349382"/>
                <a:gd name="connsiteX1467" fmla="*/ 485959 w 2663946"/>
                <a:gd name="connsiteY1467" fmla="*/ 132488 h 349382"/>
                <a:gd name="connsiteX1468" fmla="*/ 432572 w 2663946"/>
                <a:gd name="connsiteY1468" fmla="*/ 132488 h 349382"/>
                <a:gd name="connsiteX1469" fmla="*/ 426119 w 2663946"/>
                <a:gd name="connsiteY1469" fmla="*/ 126202 h 349382"/>
                <a:gd name="connsiteX1470" fmla="*/ 426119 w 2663946"/>
                <a:gd name="connsiteY1470" fmla="*/ 76480 h 349382"/>
                <a:gd name="connsiteX1471" fmla="*/ 432572 w 2663946"/>
                <a:gd name="connsiteY1471" fmla="*/ 70194 h 349382"/>
                <a:gd name="connsiteX1472" fmla="*/ 433406 w 2663946"/>
                <a:gd name="connsiteY1472" fmla="*/ 70194 h 349382"/>
                <a:gd name="connsiteX1473" fmla="*/ 433991 w 2663946"/>
                <a:gd name="connsiteY1473" fmla="*/ 70194 h 349382"/>
                <a:gd name="connsiteX1474" fmla="*/ 434470 w 2663946"/>
                <a:gd name="connsiteY1474" fmla="*/ 65436 h 349382"/>
                <a:gd name="connsiteX1475" fmla="*/ 459266 w 2663946"/>
                <a:gd name="connsiteY1475" fmla="*/ 45227 h 349382"/>
                <a:gd name="connsiteX1476" fmla="*/ 15475 w 2663946"/>
                <a:gd name="connsiteY1476" fmla="*/ 17002 h 349382"/>
                <a:gd name="connsiteX1477" fmla="*/ 40350 w 2663946"/>
                <a:gd name="connsiteY1477" fmla="*/ 1050 h 349382"/>
                <a:gd name="connsiteX1478" fmla="*/ 40891 w 2663946"/>
                <a:gd name="connsiteY1478" fmla="*/ 1590 h 349382"/>
                <a:gd name="connsiteX1479" fmla="*/ 48191 w 2663946"/>
                <a:gd name="connsiteY1479" fmla="*/ 1590 h 349382"/>
                <a:gd name="connsiteX1480" fmla="*/ 52247 w 2663946"/>
                <a:gd name="connsiteY1480" fmla="*/ 2672 h 349382"/>
                <a:gd name="connsiteX1481" fmla="*/ 56032 w 2663946"/>
                <a:gd name="connsiteY1481" fmla="*/ 9431 h 349382"/>
                <a:gd name="connsiteX1482" fmla="*/ 16016 w 2663946"/>
                <a:gd name="connsiteY1482" fmla="*/ 17002 h 349382"/>
                <a:gd name="connsiteX1483" fmla="*/ 15475 w 2663946"/>
                <a:gd name="connsiteY1483" fmla="*/ 17002 h 349382"/>
                <a:gd name="connsiteX0" fmla="*/ 2632966 w 2663946"/>
                <a:gd name="connsiteY0" fmla="*/ 288276 h 349382"/>
                <a:gd name="connsiteX1" fmla="*/ 2621414 w 2663946"/>
                <a:gd name="connsiteY1" fmla="*/ 290709 h 349382"/>
                <a:gd name="connsiteX2" fmla="*/ 2618218 w 2663946"/>
                <a:gd name="connsiteY2" fmla="*/ 294224 h 349382"/>
                <a:gd name="connsiteX3" fmla="*/ 2616006 w 2663946"/>
                <a:gd name="connsiteY3" fmla="*/ 298009 h 349382"/>
                <a:gd name="connsiteX4" fmla="*/ 2615023 w 2663946"/>
                <a:gd name="connsiteY4" fmla="*/ 300713 h 349382"/>
                <a:gd name="connsiteX5" fmla="*/ 2614039 w 2663946"/>
                <a:gd name="connsiteY5" fmla="*/ 304769 h 349382"/>
                <a:gd name="connsiteX6" fmla="*/ 2613056 w 2663946"/>
                <a:gd name="connsiteY6" fmla="*/ 311799 h 349382"/>
                <a:gd name="connsiteX7" fmla="*/ 2614039 w 2663946"/>
                <a:gd name="connsiteY7" fmla="*/ 319099 h 349382"/>
                <a:gd name="connsiteX8" fmla="*/ 2615269 w 2663946"/>
                <a:gd name="connsiteY8" fmla="*/ 322884 h 349382"/>
                <a:gd name="connsiteX9" fmla="*/ 2617481 w 2663946"/>
                <a:gd name="connsiteY9" fmla="*/ 327210 h 349382"/>
                <a:gd name="connsiteX10" fmla="*/ 2620922 w 2663946"/>
                <a:gd name="connsiteY10" fmla="*/ 331537 h 349382"/>
                <a:gd name="connsiteX11" fmla="*/ 2625346 w 2663946"/>
                <a:gd name="connsiteY11" fmla="*/ 334240 h 349382"/>
                <a:gd name="connsiteX12" fmla="*/ 2637637 w 2663946"/>
                <a:gd name="connsiteY12" fmla="*/ 331807 h 349382"/>
                <a:gd name="connsiteX13" fmla="*/ 2640832 w 2663946"/>
                <a:gd name="connsiteY13" fmla="*/ 328292 h 349382"/>
                <a:gd name="connsiteX14" fmla="*/ 2643290 w 2663946"/>
                <a:gd name="connsiteY14" fmla="*/ 323966 h 349382"/>
                <a:gd name="connsiteX15" fmla="*/ 2644273 w 2663946"/>
                <a:gd name="connsiteY15" fmla="*/ 321803 h 349382"/>
                <a:gd name="connsiteX16" fmla="*/ 2645502 w 2663946"/>
                <a:gd name="connsiteY16" fmla="*/ 317477 h 349382"/>
                <a:gd name="connsiteX17" fmla="*/ 2645011 w 2663946"/>
                <a:gd name="connsiteY17" fmla="*/ 303687 h 349382"/>
                <a:gd name="connsiteX18" fmla="*/ 2644027 w 2663946"/>
                <a:gd name="connsiteY18" fmla="*/ 300713 h 349382"/>
                <a:gd name="connsiteX19" fmla="*/ 2642799 w 2663946"/>
                <a:gd name="connsiteY19" fmla="*/ 297739 h 349382"/>
                <a:gd name="connsiteX20" fmla="*/ 2640586 w 2663946"/>
                <a:gd name="connsiteY20" fmla="*/ 294224 h 349382"/>
                <a:gd name="connsiteX21" fmla="*/ 2636899 w 2663946"/>
                <a:gd name="connsiteY21" fmla="*/ 290439 h 349382"/>
                <a:gd name="connsiteX22" fmla="*/ 2632966 w 2663946"/>
                <a:gd name="connsiteY22" fmla="*/ 288276 h 349382"/>
                <a:gd name="connsiteX23" fmla="*/ 2627559 w 2663946"/>
                <a:gd name="connsiteY23" fmla="*/ 272323 h 349382"/>
                <a:gd name="connsiteX24" fmla="*/ 2639849 w 2663946"/>
                <a:gd name="connsiteY24" fmla="*/ 274486 h 349382"/>
                <a:gd name="connsiteX25" fmla="*/ 2647223 w 2663946"/>
                <a:gd name="connsiteY25" fmla="*/ 279083 h 349382"/>
                <a:gd name="connsiteX26" fmla="*/ 2650664 w 2663946"/>
                <a:gd name="connsiteY26" fmla="*/ 282327 h 349382"/>
                <a:gd name="connsiteX27" fmla="*/ 2654106 w 2663946"/>
                <a:gd name="connsiteY27" fmla="*/ 286653 h 349382"/>
                <a:gd name="connsiteX28" fmla="*/ 2656072 w 2663946"/>
                <a:gd name="connsiteY28" fmla="*/ 290168 h 349382"/>
                <a:gd name="connsiteX29" fmla="*/ 2658284 w 2663946"/>
                <a:gd name="connsiteY29" fmla="*/ 295576 h 349382"/>
                <a:gd name="connsiteX30" fmla="*/ 2659267 w 2663946"/>
                <a:gd name="connsiteY30" fmla="*/ 299091 h 349382"/>
                <a:gd name="connsiteX31" fmla="*/ 2660251 w 2663946"/>
                <a:gd name="connsiteY31" fmla="*/ 304228 h 349382"/>
                <a:gd name="connsiteX32" fmla="*/ 2660005 w 2663946"/>
                <a:gd name="connsiteY32" fmla="*/ 318558 h 349382"/>
                <a:gd name="connsiteX33" fmla="*/ 2659022 w 2663946"/>
                <a:gd name="connsiteY33" fmla="*/ 323425 h 349382"/>
                <a:gd name="connsiteX34" fmla="*/ 2657792 w 2663946"/>
                <a:gd name="connsiteY34" fmla="*/ 327210 h 349382"/>
                <a:gd name="connsiteX35" fmla="*/ 2656809 w 2663946"/>
                <a:gd name="connsiteY35" fmla="*/ 329644 h 349382"/>
                <a:gd name="connsiteX36" fmla="*/ 2654597 w 2663946"/>
                <a:gd name="connsiteY36" fmla="*/ 333970 h 349382"/>
                <a:gd name="connsiteX37" fmla="*/ 2652385 w 2663946"/>
                <a:gd name="connsiteY37" fmla="*/ 337214 h 349382"/>
                <a:gd name="connsiteX38" fmla="*/ 2648944 w 2663946"/>
                <a:gd name="connsiteY38" fmla="*/ 341000 h 349382"/>
                <a:gd name="connsiteX39" fmla="*/ 2645748 w 2663946"/>
                <a:gd name="connsiteY39" fmla="*/ 343703 h 349382"/>
                <a:gd name="connsiteX40" fmla="*/ 2640095 w 2663946"/>
                <a:gd name="connsiteY40" fmla="*/ 346948 h 349382"/>
                <a:gd name="connsiteX41" fmla="*/ 2632229 w 2663946"/>
                <a:gd name="connsiteY41" fmla="*/ 349111 h 349382"/>
                <a:gd name="connsiteX42" fmla="*/ 2631000 w 2663946"/>
                <a:gd name="connsiteY42" fmla="*/ 349382 h 349382"/>
                <a:gd name="connsiteX43" fmla="*/ 2626821 w 2663946"/>
                <a:gd name="connsiteY43" fmla="*/ 349382 h 349382"/>
                <a:gd name="connsiteX44" fmla="*/ 2626576 w 2663946"/>
                <a:gd name="connsiteY44" fmla="*/ 349382 h 349382"/>
                <a:gd name="connsiteX45" fmla="*/ 2613548 w 2663946"/>
                <a:gd name="connsiteY45" fmla="*/ 344515 h 349382"/>
                <a:gd name="connsiteX46" fmla="*/ 2608878 w 2663946"/>
                <a:gd name="connsiteY46" fmla="*/ 340459 h 349382"/>
                <a:gd name="connsiteX47" fmla="*/ 2605682 w 2663946"/>
                <a:gd name="connsiteY47" fmla="*/ 336674 h 349382"/>
                <a:gd name="connsiteX48" fmla="*/ 2603470 w 2663946"/>
                <a:gd name="connsiteY48" fmla="*/ 333159 h 349382"/>
                <a:gd name="connsiteX49" fmla="*/ 2601258 w 2663946"/>
                <a:gd name="connsiteY49" fmla="*/ 328833 h 349382"/>
                <a:gd name="connsiteX50" fmla="*/ 2600029 w 2663946"/>
                <a:gd name="connsiteY50" fmla="*/ 325858 h 349382"/>
                <a:gd name="connsiteX51" fmla="*/ 2599046 w 2663946"/>
                <a:gd name="connsiteY51" fmla="*/ 322614 h 349382"/>
                <a:gd name="connsiteX52" fmla="*/ 2597816 w 2663946"/>
                <a:gd name="connsiteY52" fmla="*/ 316936 h 349382"/>
                <a:gd name="connsiteX53" fmla="*/ 2597571 w 2663946"/>
                <a:gd name="connsiteY53" fmla="*/ 313962 h 349382"/>
                <a:gd name="connsiteX54" fmla="*/ 2597816 w 2663946"/>
                <a:gd name="connsiteY54" fmla="*/ 314232 h 349382"/>
                <a:gd name="connsiteX55" fmla="*/ 2597816 w 2663946"/>
                <a:gd name="connsiteY55" fmla="*/ 308554 h 349382"/>
                <a:gd name="connsiteX56" fmla="*/ 2597816 w 2663946"/>
                <a:gd name="connsiteY56" fmla="*/ 308284 h 349382"/>
                <a:gd name="connsiteX57" fmla="*/ 2598308 w 2663946"/>
                <a:gd name="connsiteY57" fmla="*/ 303687 h 349382"/>
                <a:gd name="connsiteX58" fmla="*/ 2599537 w 2663946"/>
                <a:gd name="connsiteY58" fmla="*/ 298280 h 349382"/>
                <a:gd name="connsiteX59" fmla="*/ 2600520 w 2663946"/>
                <a:gd name="connsiteY59" fmla="*/ 295035 h 349382"/>
                <a:gd name="connsiteX60" fmla="*/ 2602732 w 2663946"/>
                <a:gd name="connsiteY60" fmla="*/ 289898 h 349382"/>
                <a:gd name="connsiteX61" fmla="*/ 2604945 w 2663946"/>
                <a:gd name="connsiteY61" fmla="*/ 286113 h 349382"/>
                <a:gd name="connsiteX62" fmla="*/ 2607157 w 2663946"/>
                <a:gd name="connsiteY62" fmla="*/ 283138 h 349382"/>
                <a:gd name="connsiteX63" fmla="*/ 2609369 w 2663946"/>
                <a:gd name="connsiteY63" fmla="*/ 280705 h 349382"/>
                <a:gd name="connsiteX64" fmla="*/ 2614039 w 2663946"/>
                <a:gd name="connsiteY64" fmla="*/ 276920 h 349382"/>
                <a:gd name="connsiteX65" fmla="*/ 2617972 w 2663946"/>
                <a:gd name="connsiteY65" fmla="*/ 274757 h 349382"/>
                <a:gd name="connsiteX66" fmla="*/ 2627559 w 2663946"/>
                <a:gd name="connsiteY66" fmla="*/ 272323 h 349382"/>
                <a:gd name="connsiteX67" fmla="*/ 2631061 w 2663946"/>
                <a:gd name="connsiteY67" fmla="*/ 208413 h 349382"/>
                <a:gd name="connsiteX68" fmla="*/ 2621591 w 2663946"/>
                <a:gd name="connsiteY68" fmla="*/ 217687 h 349382"/>
                <a:gd name="connsiteX69" fmla="*/ 2626545 w 2663946"/>
                <a:gd name="connsiteY69" fmla="*/ 225844 h 349382"/>
                <a:gd name="connsiteX70" fmla="*/ 2626545 w 2663946"/>
                <a:gd name="connsiteY70" fmla="*/ 234239 h 349382"/>
                <a:gd name="connsiteX71" fmla="*/ 2631061 w 2663946"/>
                <a:gd name="connsiteY71" fmla="*/ 238662 h 349382"/>
                <a:gd name="connsiteX72" fmla="*/ 2635578 w 2663946"/>
                <a:gd name="connsiteY72" fmla="*/ 234239 h 349382"/>
                <a:gd name="connsiteX73" fmla="*/ 2635578 w 2663946"/>
                <a:gd name="connsiteY73" fmla="*/ 225844 h 349382"/>
                <a:gd name="connsiteX74" fmla="*/ 2640532 w 2663946"/>
                <a:gd name="connsiteY74" fmla="*/ 217687 h 349382"/>
                <a:gd name="connsiteX75" fmla="*/ 2631061 w 2663946"/>
                <a:gd name="connsiteY75" fmla="*/ 208413 h 349382"/>
                <a:gd name="connsiteX76" fmla="*/ 2630799 w 2663946"/>
                <a:gd name="connsiteY76" fmla="*/ 169696 h 349382"/>
                <a:gd name="connsiteX77" fmla="*/ 2619139 w 2663946"/>
                <a:gd name="connsiteY77" fmla="*/ 177425 h 349382"/>
                <a:gd name="connsiteX78" fmla="*/ 2618214 w 2663946"/>
                <a:gd name="connsiteY78" fmla="*/ 182008 h 349382"/>
                <a:gd name="connsiteX79" fmla="*/ 2621454 w 2663946"/>
                <a:gd name="connsiteY79" fmla="*/ 182008 h 349382"/>
                <a:gd name="connsiteX80" fmla="*/ 2639871 w 2663946"/>
                <a:gd name="connsiteY80" fmla="*/ 182008 h 349382"/>
                <a:gd name="connsiteX81" fmla="*/ 2643385 w 2663946"/>
                <a:gd name="connsiteY81" fmla="*/ 182008 h 349382"/>
                <a:gd name="connsiteX82" fmla="*/ 2642460 w 2663946"/>
                <a:gd name="connsiteY82" fmla="*/ 177425 h 349382"/>
                <a:gd name="connsiteX83" fmla="*/ 2630799 w 2663946"/>
                <a:gd name="connsiteY83" fmla="*/ 169696 h 349382"/>
                <a:gd name="connsiteX84" fmla="*/ 2630799 w 2663946"/>
                <a:gd name="connsiteY84" fmla="*/ 157041 h 349382"/>
                <a:gd name="connsiteX85" fmla="*/ 2655595 w 2663946"/>
                <a:gd name="connsiteY85" fmla="*/ 177250 h 349382"/>
                <a:gd name="connsiteX86" fmla="*/ 2656074 w 2663946"/>
                <a:gd name="connsiteY86" fmla="*/ 182008 h 349382"/>
                <a:gd name="connsiteX87" fmla="*/ 2657493 w 2663946"/>
                <a:gd name="connsiteY87" fmla="*/ 182008 h 349382"/>
                <a:gd name="connsiteX88" fmla="*/ 2663946 w 2663946"/>
                <a:gd name="connsiteY88" fmla="*/ 188294 h 349382"/>
                <a:gd name="connsiteX89" fmla="*/ 2663946 w 2663946"/>
                <a:gd name="connsiteY89" fmla="*/ 238016 h 349382"/>
                <a:gd name="connsiteX90" fmla="*/ 2657493 w 2663946"/>
                <a:gd name="connsiteY90" fmla="*/ 244302 h 349382"/>
                <a:gd name="connsiteX91" fmla="*/ 2604106 w 2663946"/>
                <a:gd name="connsiteY91" fmla="*/ 244302 h 349382"/>
                <a:gd name="connsiteX92" fmla="*/ 2597652 w 2663946"/>
                <a:gd name="connsiteY92" fmla="*/ 238016 h 349382"/>
                <a:gd name="connsiteX93" fmla="*/ 2597652 w 2663946"/>
                <a:gd name="connsiteY93" fmla="*/ 188294 h 349382"/>
                <a:gd name="connsiteX94" fmla="*/ 2604106 w 2663946"/>
                <a:gd name="connsiteY94" fmla="*/ 182008 h 349382"/>
                <a:gd name="connsiteX95" fmla="*/ 2604940 w 2663946"/>
                <a:gd name="connsiteY95" fmla="*/ 182008 h 349382"/>
                <a:gd name="connsiteX96" fmla="*/ 2605524 w 2663946"/>
                <a:gd name="connsiteY96" fmla="*/ 182008 h 349382"/>
                <a:gd name="connsiteX97" fmla="*/ 2606004 w 2663946"/>
                <a:gd name="connsiteY97" fmla="*/ 177250 h 349382"/>
                <a:gd name="connsiteX98" fmla="*/ 2630799 w 2663946"/>
                <a:gd name="connsiteY98" fmla="*/ 157041 h 349382"/>
                <a:gd name="connsiteX99" fmla="*/ 33409 w 2663946"/>
                <a:gd name="connsiteY99" fmla="*/ 104187 h 349382"/>
                <a:gd name="connsiteX100" fmla="*/ 23938 w 2663946"/>
                <a:gd name="connsiteY100" fmla="*/ 113461 h 349382"/>
                <a:gd name="connsiteX101" fmla="*/ 28892 w 2663946"/>
                <a:gd name="connsiteY101" fmla="*/ 121618 h 349382"/>
                <a:gd name="connsiteX102" fmla="*/ 28892 w 2663946"/>
                <a:gd name="connsiteY102" fmla="*/ 130013 h 349382"/>
                <a:gd name="connsiteX103" fmla="*/ 33409 w 2663946"/>
                <a:gd name="connsiteY103" fmla="*/ 134436 h 349382"/>
                <a:gd name="connsiteX104" fmla="*/ 37926 w 2663946"/>
                <a:gd name="connsiteY104" fmla="*/ 130013 h 349382"/>
                <a:gd name="connsiteX105" fmla="*/ 37926 w 2663946"/>
                <a:gd name="connsiteY105" fmla="*/ 121618 h 349382"/>
                <a:gd name="connsiteX106" fmla="*/ 42880 w 2663946"/>
                <a:gd name="connsiteY106" fmla="*/ 113461 h 349382"/>
                <a:gd name="connsiteX107" fmla="*/ 33409 w 2663946"/>
                <a:gd name="connsiteY107" fmla="*/ 104187 h 349382"/>
                <a:gd name="connsiteX108" fmla="*/ 2538193 w 2663946"/>
                <a:gd name="connsiteY108" fmla="*/ 96599 h 349382"/>
                <a:gd name="connsiteX109" fmla="*/ 2528723 w 2663946"/>
                <a:gd name="connsiteY109" fmla="*/ 105873 h 349382"/>
                <a:gd name="connsiteX110" fmla="*/ 2533677 w 2663946"/>
                <a:gd name="connsiteY110" fmla="*/ 114030 h 349382"/>
                <a:gd name="connsiteX111" fmla="*/ 2533677 w 2663946"/>
                <a:gd name="connsiteY111" fmla="*/ 122425 h 349382"/>
                <a:gd name="connsiteX112" fmla="*/ 2538193 w 2663946"/>
                <a:gd name="connsiteY112" fmla="*/ 126848 h 349382"/>
                <a:gd name="connsiteX113" fmla="*/ 2542710 w 2663946"/>
                <a:gd name="connsiteY113" fmla="*/ 122425 h 349382"/>
                <a:gd name="connsiteX114" fmla="*/ 2542710 w 2663946"/>
                <a:gd name="connsiteY114" fmla="*/ 114030 h 349382"/>
                <a:gd name="connsiteX115" fmla="*/ 2547664 w 2663946"/>
                <a:gd name="connsiteY115" fmla="*/ 105873 h 349382"/>
                <a:gd name="connsiteX116" fmla="*/ 2538193 w 2663946"/>
                <a:gd name="connsiteY116" fmla="*/ 96599 h 349382"/>
                <a:gd name="connsiteX117" fmla="*/ 2113196 w 2663946"/>
                <a:gd name="connsiteY117" fmla="*/ 96599 h 349382"/>
                <a:gd name="connsiteX118" fmla="*/ 2103726 w 2663946"/>
                <a:gd name="connsiteY118" fmla="*/ 105873 h 349382"/>
                <a:gd name="connsiteX119" fmla="*/ 2108680 w 2663946"/>
                <a:gd name="connsiteY119" fmla="*/ 114030 h 349382"/>
                <a:gd name="connsiteX120" fmla="*/ 2108680 w 2663946"/>
                <a:gd name="connsiteY120" fmla="*/ 122425 h 349382"/>
                <a:gd name="connsiteX121" fmla="*/ 2113196 w 2663946"/>
                <a:gd name="connsiteY121" fmla="*/ 126848 h 349382"/>
                <a:gd name="connsiteX122" fmla="*/ 2117713 w 2663946"/>
                <a:gd name="connsiteY122" fmla="*/ 122425 h 349382"/>
                <a:gd name="connsiteX123" fmla="*/ 2117713 w 2663946"/>
                <a:gd name="connsiteY123" fmla="*/ 114030 h 349382"/>
                <a:gd name="connsiteX124" fmla="*/ 2122667 w 2663946"/>
                <a:gd name="connsiteY124" fmla="*/ 105873 h 349382"/>
                <a:gd name="connsiteX125" fmla="*/ 2113196 w 2663946"/>
                <a:gd name="connsiteY125" fmla="*/ 96599 h 349382"/>
                <a:gd name="connsiteX126" fmla="*/ 1855228 w 2663946"/>
                <a:gd name="connsiteY126" fmla="*/ 96599 h 349382"/>
                <a:gd name="connsiteX127" fmla="*/ 1845758 w 2663946"/>
                <a:gd name="connsiteY127" fmla="*/ 105873 h 349382"/>
                <a:gd name="connsiteX128" fmla="*/ 1850712 w 2663946"/>
                <a:gd name="connsiteY128" fmla="*/ 114030 h 349382"/>
                <a:gd name="connsiteX129" fmla="*/ 1850712 w 2663946"/>
                <a:gd name="connsiteY129" fmla="*/ 122425 h 349382"/>
                <a:gd name="connsiteX130" fmla="*/ 1855228 w 2663946"/>
                <a:gd name="connsiteY130" fmla="*/ 126848 h 349382"/>
                <a:gd name="connsiteX131" fmla="*/ 1859745 w 2663946"/>
                <a:gd name="connsiteY131" fmla="*/ 122425 h 349382"/>
                <a:gd name="connsiteX132" fmla="*/ 1859745 w 2663946"/>
                <a:gd name="connsiteY132" fmla="*/ 114030 h 349382"/>
                <a:gd name="connsiteX133" fmla="*/ 1864699 w 2663946"/>
                <a:gd name="connsiteY133" fmla="*/ 105873 h 349382"/>
                <a:gd name="connsiteX134" fmla="*/ 1855228 w 2663946"/>
                <a:gd name="connsiteY134" fmla="*/ 96599 h 349382"/>
                <a:gd name="connsiteX135" fmla="*/ 1764289 w 2663946"/>
                <a:gd name="connsiteY135" fmla="*/ 96599 h 349382"/>
                <a:gd name="connsiteX136" fmla="*/ 1754819 w 2663946"/>
                <a:gd name="connsiteY136" fmla="*/ 105873 h 349382"/>
                <a:gd name="connsiteX137" fmla="*/ 1759773 w 2663946"/>
                <a:gd name="connsiteY137" fmla="*/ 114030 h 349382"/>
                <a:gd name="connsiteX138" fmla="*/ 1759773 w 2663946"/>
                <a:gd name="connsiteY138" fmla="*/ 122425 h 349382"/>
                <a:gd name="connsiteX139" fmla="*/ 1764289 w 2663946"/>
                <a:gd name="connsiteY139" fmla="*/ 126848 h 349382"/>
                <a:gd name="connsiteX140" fmla="*/ 1768806 w 2663946"/>
                <a:gd name="connsiteY140" fmla="*/ 122425 h 349382"/>
                <a:gd name="connsiteX141" fmla="*/ 1768806 w 2663946"/>
                <a:gd name="connsiteY141" fmla="*/ 114030 h 349382"/>
                <a:gd name="connsiteX142" fmla="*/ 1773760 w 2663946"/>
                <a:gd name="connsiteY142" fmla="*/ 105873 h 349382"/>
                <a:gd name="connsiteX143" fmla="*/ 1764289 w 2663946"/>
                <a:gd name="connsiteY143" fmla="*/ 96599 h 349382"/>
                <a:gd name="connsiteX144" fmla="*/ 1506321 w 2663946"/>
                <a:gd name="connsiteY144" fmla="*/ 96599 h 349382"/>
                <a:gd name="connsiteX145" fmla="*/ 1496851 w 2663946"/>
                <a:gd name="connsiteY145" fmla="*/ 105873 h 349382"/>
                <a:gd name="connsiteX146" fmla="*/ 1501805 w 2663946"/>
                <a:gd name="connsiteY146" fmla="*/ 114030 h 349382"/>
                <a:gd name="connsiteX147" fmla="*/ 1501805 w 2663946"/>
                <a:gd name="connsiteY147" fmla="*/ 122425 h 349382"/>
                <a:gd name="connsiteX148" fmla="*/ 1506321 w 2663946"/>
                <a:gd name="connsiteY148" fmla="*/ 126848 h 349382"/>
                <a:gd name="connsiteX149" fmla="*/ 1510838 w 2663946"/>
                <a:gd name="connsiteY149" fmla="*/ 122425 h 349382"/>
                <a:gd name="connsiteX150" fmla="*/ 1510838 w 2663946"/>
                <a:gd name="connsiteY150" fmla="*/ 114030 h 349382"/>
                <a:gd name="connsiteX151" fmla="*/ 1515792 w 2663946"/>
                <a:gd name="connsiteY151" fmla="*/ 105873 h 349382"/>
                <a:gd name="connsiteX152" fmla="*/ 1506321 w 2663946"/>
                <a:gd name="connsiteY152" fmla="*/ 96599 h 349382"/>
                <a:gd name="connsiteX153" fmla="*/ 1415382 w 2663946"/>
                <a:gd name="connsiteY153" fmla="*/ 96599 h 349382"/>
                <a:gd name="connsiteX154" fmla="*/ 1405912 w 2663946"/>
                <a:gd name="connsiteY154" fmla="*/ 105873 h 349382"/>
                <a:gd name="connsiteX155" fmla="*/ 1410866 w 2663946"/>
                <a:gd name="connsiteY155" fmla="*/ 114030 h 349382"/>
                <a:gd name="connsiteX156" fmla="*/ 1410866 w 2663946"/>
                <a:gd name="connsiteY156" fmla="*/ 122425 h 349382"/>
                <a:gd name="connsiteX157" fmla="*/ 1415382 w 2663946"/>
                <a:gd name="connsiteY157" fmla="*/ 126848 h 349382"/>
                <a:gd name="connsiteX158" fmla="*/ 1419899 w 2663946"/>
                <a:gd name="connsiteY158" fmla="*/ 122425 h 349382"/>
                <a:gd name="connsiteX159" fmla="*/ 1419899 w 2663946"/>
                <a:gd name="connsiteY159" fmla="*/ 114030 h 349382"/>
                <a:gd name="connsiteX160" fmla="*/ 1424853 w 2663946"/>
                <a:gd name="connsiteY160" fmla="*/ 105873 h 349382"/>
                <a:gd name="connsiteX161" fmla="*/ 1415382 w 2663946"/>
                <a:gd name="connsiteY161" fmla="*/ 96599 h 349382"/>
                <a:gd name="connsiteX162" fmla="*/ 1157414 w 2663946"/>
                <a:gd name="connsiteY162" fmla="*/ 96599 h 349382"/>
                <a:gd name="connsiteX163" fmla="*/ 1147944 w 2663946"/>
                <a:gd name="connsiteY163" fmla="*/ 105873 h 349382"/>
                <a:gd name="connsiteX164" fmla="*/ 1152898 w 2663946"/>
                <a:gd name="connsiteY164" fmla="*/ 114030 h 349382"/>
                <a:gd name="connsiteX165" fmla="*/ 1152898 w 2663946"/>
                <a:gd name="connsiteY165" fmla="*/ 122425 h 349382"/>
                <a:gd name="connsiteX166" fmla="*/ 1157414 w 2663946"/>
                <a:gd name="connsiteY166" fmla="*/ 126848 h 349382"/>
                <a:gd name="connsiteX167" fmla="*/ 1161931 w 2663946"/>
                <a:gd name="connsiteY167" fmla="*/ 122425 h 349382"/>
                <a:gd name="connsiteX168" fmla="*/ 1161931 w 2663946"/>
                <a:gd name="connsiteY168" fmla="*/ 114030 h 349382"/>
                <a:gd name="connsiteX169" fmla="*/ 1166885 w 2663946"/>
                <a:gd name="connsiteY169" fmla="*/ 105873 h 349382"/>
                <a:gd name="connsiteX170" fmla="*/ 1157414 w 2663946"/>
                <a:gd name="connsiteY170" fmla="*/ 96599 h 349382"/>
                <a:gd name="connsiteX171" fmla="*/ 732418 w 2663946"/>
                <a:gd name="connsiteY171" fmla="*/ 96599 h 349382"/>
                <a:gd name="connsiteX172" fmla="*/ 722947 w 2663946"/>
                <a:gd name="connsiteY172" fmla="*/ 105873 h 349382"/>
                <a:gd name="connsiteX173" fmla="*/ 727901 w 2663946"/>
                <a:gd name="connsiteY173" fmla="*/ 114030 h 349382"/>
                <a:gd name="connsiteX174" fmla="*/ 727901 w 2663946"/>
                <a:gd name="connsiteY174" fmla="*/ 122425 h 349382"/>
                <a:gd name="connsiteX175" fmla="*/ 732418 w 2663946"/>
                <a:gd name="connsiteY175" fmla="*/ 126848 h 349382"/>
                <a:gd name="connsiteX176" fmla="*/ 736935 w 2663946"/>
                <a:gd name="connsiteY176" fmla="*/ 122425 h 349382"/>
                <a:gd name="connsiteX177" fmla="*/ 736935 w 2663946"/>
                <a:gd name="connsiteY177" fmla="*/ 114030 h 349382"/>
                <a:gd name="connsiteX178" fmla="*/ 741889 w 2663946"/>
                <a:gd name="connsiteY178" fmla="*/ 105873 h 349382"/>
                <a:gd name="connsiteX179" fmla="*/ 732418 w 2663946"/>
                <a:gd name="connsiteY179" fmla="*/ 96599 h 349382"/>
                <a:gd name="connsiteX180" fmla="*/ 641479 w 2663946"/>
                <a:gd name="connsiteY180" fmla="*/ 96599 h 349382"/>
                <a:gd name="connsiteX181" fmla="*/ 632008 w 2663946"/>
                <a:gd name="connsiteY181" fmla="*/ 105873 h 349382"/>
                <a:gd name="connsiteX182" fmla="*/ 636962 w 2663946"/>
                <a:gd name="connsiteY182" fmla="*/ 114030 h 349382"/>
                <a:gd name="connsiteX183" fmla="*/ 636962 w 2663946"/>
                <a:gd name="connsiteY183" fmla="*/ 122425 h 349382"/>
                <a:gd name="connsiteX184" fmla="*/ 641479 w 2663946"/>
                <a:gd name="connsiteY184" fmla="*/ 126848 h 349382"/>
                <a:gd name="connsiteX185" fmla="*/ 645996 w 2663946"/>
                <a:gd name="connsiteY185" fmla="*/ 122425 h 349382"/>
                <a:gd name="connsiteX186" fmla="*/ 645996 w 2663946"/>
                <a:gd name="connsiteY186" fmla="*/ 114030 h 349382"/>
                <a:gd name="connsiteX187" fmla="*/ 650950 w 2663946"/>
                <a:gd name="connsiteY187" fmla="*/ 105873 h 349382"/>
                <a:gd name="connsiteX188" fmla="*/ 641479 w 2663946"/>
                <a:gd name="connsiteY188" fmla="*/ 96599 h 349382"/>
                <a:gd name="connsiteX189" fmla="*/ 459528 w 2663946"/>
                <a:gd name="connsiteY189" fmla="*/ 96599 h 349382"/>
                <a:gd name="connsiteX190" fmla="*/ 450057 w 2663946"/>
                <a:gd name="connsiteY190" fmla="*/ 105873 h 349382"/>
                <a:gd name="connsiteX191" fmla="*/ 455011 w 2663946"/>
                <a:gd name="connsiteY191" fmla="*/ 114030 h 349382"/>
                <a:gd name="connsiteX192" fmla="*/ 455011 w 2663946"/>
                <a:gd name="connsiteY192" fmla="*/ 122425 h 349382"/>
                <a:gd name="connsiteX193" fmla="*/ 459528 w 2663946"/>
                <a:gd name="connsiteY193" fmla="*/ 126848 h 349382"/>
                <a:gd name="connsiteX194" fmla="*/ 464045 w 2663946"/>
                <a:gd name="connsiteY194" fmla="*/ 122425 h 349382"/>
                <a:gd name="connsiteX195" fmla="*/ 464045 w 2663946"/>
                <a:gd name="connsiteY195" fmla="*/ 114030 h 349382"/>
                <a:gd name="connsiteX196" fmla="*/ 468999 w 2663946"/>
                <a:gd name="connsiteY196" fmla="*/ 105873 h 349382"/>
                <a:gd name="connsiteX197" fmla="*/ 459528 w 2663946"/>
                <a:gd name="connsiteY197" fmla="*/ 96599 h 349382"/>
                <a:gd name="connsiteX198" fmla="*/ 2632966 w 2663946"/>
                <a:gd name="connsiteY198" fmla="*/ 69406 h 349382"/>
                <a:gd name="connsiteX199" fmla="*/ 2621414 w 2663946"/>
                <a:gd name="connsiteY199" fmla="*/ 71839 h 349382"/>
                <a:gd name="connsiteX200" fmla="*/ 2618218 w 2663946"/>
                <a:gd name="connsiteY200" fmla="*/ 75354 h 349382"/>
                <a:gd name="connsiteX201" fmla="*/ 2616006 w 2663946"/>
                <a:gd name="connsiteY201" fmla="*/ 79139 h 349382"/>
                <a:gd name="connsiteX202" fmla="*/ 2615023 w 2663946"/>
                <a:gd name="connsiteY202" fmla="*/ 81843 h 349382"/>
                <a:gd name="connsiteX203" fmla="*/ 2614039 w 2663946"/>
                <a:gd name="connsiteY203" fmla="*/ 85899 h 349382"/>
                <a:gd name="connsiteX204" fmla="*/ 2613056 w 2663946"/>
                <a:gd name="connsiteY204" fmla="*/ 92929 h 349382"/>
                <a:gd name="connsiteX205" fmla="*/ 2614039 w 2663946"/>
                <a:gd name="connsiteY205" fmla="*/ 100229 h 349382"/>
                <a:gd name="connsiteX206" fmla="*/ 2615269 w 2663946"/>
                <a:gd name="connsiteY206" fmla="*/ 104014 h 349382"/>
                <a:gd name="connsiteX207" fmla="*/ 2617481 w 2663946"/>
                <a:gd name="connsiteY207" fmla="*/ 108340 h 349382"/>
                <a:gd name="connsiteX208" fmla="*/ 2620922 w 2663946"/>
                <a:gd name="connsiteY208" fmla="*/ 112667 h 349382"/>
                <a:gd name="connsiteX209" fmla="*/ 2625346 w 2663946"/>
                <a:gd name="connsiteY209" fmla="*/ 115370 h 349382"/>
                <a:gd name="connsiteX210" fmla="*/ 2637637 w 2663946"/>
                <a:gd name="connsiteY210" fmla="*/ 112937 h 349382"/>
                <a:gd name="connsiteX211" fmla="*/ 2640832 w 2663946"/>
                <a:gd name="connsiteY211" fmla="*/ 109422 h 349382"/>
                <a:gd name="connsiteX212" fmla="*/ 2643290 w 2663946"/>
                <a:gd name="connsiteY212" fmla="*/ 105096 h 349382"/>
                <a:gd name="connsiteX213" fmla="*/ 2644273 w 2663946"/>
                <a:gd name="connsiteY213" fmla="*/ 102933 h 349382"/>
                <a:gd name="connsiteX214" fmla="*/ 2645502 w 2663946"/>
                <a:gd name="connsiteY214" fmla="*/ 98607 h 349382"/>
                <a:gd name="connsiteX215" fmla="*/ 2645011 w 2663946"/>
                <a:gd name="connsiteY215" fmla="*/ 84817 h 349382"/>
                <a:gd name="connsiteX216" fmla="*/ 2644027 w 2663946"/>
                <a:gd name="connsiteY216" fmla="*/ 81843 h 349382"/>
                <a:gd name="connsiteX217" fmla="*/ 2642799 w 2663946"/>
                <a:gd name="connsiteY217" fmla="*/ 78869 h 349382"/>
                <a:gd name="connsiteX218" fmla="*/ 2640586 w 2663946"/>
                <a:gd name="connsiteY218" fmla="*/ 75354 h 349382"/>
                <a:gd name="connsiteX219" fmla="*/ 2636899 w 2663946"/>
                <a:gd name="connsiteY219" fmla="*/ 71569 h 349382"/>
                <a:gd name="connsiteX220" fmla="*/ 2632966 w 2663946"/>
                <a:gd name="connsiteY220" fmla="*/ 69406 h 349382"/>
                <a:gd name="connsiteX221" fmla="*/ 2451011 w 2663946"/>
                <a:gd name="connsiteY221" fmla="*/ 69406 h 349382"/>
                <a:gd name="connsiteX222" fmla="*/ 2439459 w 2663946"/>
                <a:gd name="connsiteY222" fmla="*/ 71839 h 349382"/>
                <a:gd name="connsiteX223" fmla="*/ 2436263 w 2663946"/>
                <a:gd name="connsiteY223" fmla="*/ 75354 h 349382"/>
                <a:gd name="connsiteX224" fmla="*/ 2434051 w 2663946"/>
                <a:gd name="connsiteY224" fmla="*/ 79139 h 349382"/>
                <a:gd name="connsiteX225" fmla="*/ 2433068 w 2663946"/>
                <a:gd name="connsiteY225" fmla="*/ 81843 h 349382"/>
                <a:gd name="connsiteX226" fmla="*/ 2432084 w 2663946"/>
                <a:gd name="connsiteY226" fmla="*/ 85899 h 349382"/>
                <a:gd name="connsiteX227" fmla="*/ 2431101 w 2663946"/>
                <a:gd name="connsiteY227" fmla="*/ 92929 h 349382"/>
                <a:gd name="connsiteX228" fmla="*/ 2432084 w 2663946"/>
                <a:gd name="connsiteY228" fmla="*/ 100229 h 349382"/>
                <a:gd name="connsiteX229" fmla="*/ 2433314 w 2663946"/>
                <a:gd name="connsiteY229" fmla="*/ 104014 h 349382"/>
                <a:gd name="connsiteX230" fmla="*/ 2435526 w 2663946"/>
                <a:gd name="connsiteY230" fmla="*/ 108340 h 349382"/>
                <a:gd name="connsiteX231" fmla="*/ 2438967 w 2663946"/>
                <a:gd name="connsiteY231" fmla="*/ 112667 h 349382"/>
                <a:gd name="connsiteX232" fmla="*/ 2443391 w 2663946"/>
                <a:gd name="connsiteY232" fmla="*/ 115370 h 349382"/>
                <a:gd name="connsiteX233" fmla="*/ 2455682 w 2663946"/>
                <a:gd name="connsiteY233" fmla="*/ 112937 h 349382"/>
                <a:gd name="connsiteX234" fmla="*/ 2458877 w 2663946"/>
                <a:gd name="connsiteY234" fmla="*/ 109422 h 349382"/>
                <a:gd name="connsiteX235" fmla="*/ 2461335 w 2663946"/>
                <a:gd name="connsiteY235" fmla="*/ 105096 h 349382"/>
                <a:gd name="connsiteX236" fmla="*/ 2462318 w 2663946"/>
                <a:gd name="connsiteY236" fmla="*/ 102933 h 349382"/>
                <a:gd name="connsiteX237" fmla="*/ 2463547 w 2663946"/>
                <a:gd name="connsiteY237" fmla="*/ 98607 h 349382"/>
                <a:gd name="connsiteX238" fmla="*/ 2463056 w 2663946"/>
                <a:gd name="connsiteY238" fmla="*/ 84817 h 349382"/>
                <a:gd name="connsiteX239" fmla="*/ 2462072 w 2663946"/>
                <a:gd name="connsiteY239" fmla="*/ 81843 h 349382"/>
                <a:gd name="connsiteX240" fmla="*/ 2460844 w 2663946"/>
                <a:gd name="connsiteY240" fmla="*/ 78869 h 349382"/>
                <a:gd name="connsiteX241" fmla="*/ 2458631 w 2663946"/>
                <a:gd name="connsiteY241" fmla="*/ 75354 h 349382"/>
                <a:gd name="connsiteX242" fmla="*/ 2454944 w 2663946"/>
                <a:gd name="connsiteY242" fmla="*/ 71569 h 349382"/>
                <a:gd name="connsiteX243" fmla="*/ 2451011 w 2663946"/>
                <a:gd name="connsiteY243" fmla="*/ 69406 h 349382"/>
                <a:gd name="connsiteX244" fmla="*/ 2207965 w 2663946"/>
                <a:gd name="connsiteY244" fmla="*/ 69406 h 349382"/>
                <a:gd name="connsiteX245" fmla="*/ 2196413 w 2663946"/>
                <a:gd name="connsiteY245" fmla="*/ 71839 h 349382"/>
                <a:gd name="connsiteX246" fmla="*/ 2193217 w 2663946"/>
                <a:gd name="connsiteY246" fmla="*/ 75354 h 349382"/>
                <a:gd name="connsiteX247" fmla="*/ 2191005 w 2663946"/>
                <a:gd name="connsiteY247" fmla="*/ 79139 h 349382"/>
                <a:gd name="connsiteX248" fmla="*/ 2190022 w 2663946"/>
                <a:gd name="connsiteY248" fmla="*/ 81843 h 349382"/>
                <a:gd name="connsiteX249" fmla="*/ 2189038 w 2663946"/>
                <a:gd name="connsiteY249" fmla="*/ 85899 h 349382"/>
                <a:gd name="connsiteX250" fmla="*/ 2188055 w 2663946"/>
                <a:gd name="connsiteY250" fmla="*/ 92929 h 349382"/>
                <a:gd name="connsiteX251" fmla="*/ 2189038 w 2663946"/>
                <a:gd name="connsiteY251" fmla="*/ 100229 h 349382"/>
                <a:gd name="connsiteX252" fmla="*/ 2190268 w 2663946"/>
                <a:gd name="connsiteY252" fmla="*/ 104014 h 349382"/>
                <a:gd name="connsiteX253" fmla="*/ 2192480 w 2663946"/>
                <a:gd name="connsiteY253" fmla="*/ 108340 h 349382"/>
                <a:gd name="connsiteX254" fmla="*/ 2195921 w 2663946"/>
                <a:gd name="connsiteY254" fmla="*/ 112667 h 349382"/>
                <a:gd name="connsiteX255" fmla="*/ 2200345 w 2663946"/>
                <a:gd name="connsiteY255" fmla="*/ 115370 h 349382"/>
                <a:gd name="connsiteX256" fmla="*/ 2212636 w 2663946"/>
                <a:gd name="connsiteY256" fmla="*/ 112937 h 349382"/>
                <a:gd name="connsiteX257" fmla="*/ 2215831 w 2663946"/>
                <a:gd name="connsiteY257" fmla="*/ 109422 h 349382"/>
                <a:gd name="connsiteX258" fmla="*/ 2218289 w 2663946"/>
                <a:gd name="connsiteY258" fmla="*/ 105096 h 349382"/>
                <a:gd name="connsiteX259" fmla="*/ 2219272 w 2663946"/>
                <a:gd name="connsiteY259" fmla="*/ 102933 h 349382"/>
                <a:gd name="connsiteX260" fmla="*/ 2220501 w 2663946"/>
                <a:gd name="connsiteY260" fmla="*/ 98607 h 349382"/>
                <a:gd name="connsiteX261" fmla="*/ 2220010 w 2663946"/>
                <a:gd name="connsiteY261" fmla="*/ 84817 h 349382"/>
                <a:gd name="connsiteX262" fmla="*/ 2219026 w 2663946"/>
                <a:gd name="connsiteY262" fmla="*/ 81843 h 349382"/>
                <a:gd name="connsiteX263" fmla="*/ 2217798 w 2663946"/>
                <a:gd name="connsiteY263" fmla="*/ 78869 h 349382"/>
                <a:gd name="connsiteX264" fmla="*/ 2215585 w 2663946"/>
                <a:gd name="connsiteY264" fmla="*/ 75354 h 349382"/>
                <a:gd name="connsiteX265" fmla="*/ 2211898 w 2663946"/>
                <a:gd name="connsiteY265" fmla="*/ 71569 h 349382"/>
                <a:gd name="connsiteX266" fmla="*/ 2207965 w 2663946"/>
                <a:gd name="connsiteY266" fmla="*/ 69406 h 349382"/>
                <a:gd name="connsiteX267" fmla="*/ 2026014 w 2663946"/>
                <a:gd name="connsiteY267" fmla="*/ 69406 h 349382"/>
                <a:gd name="connsiteX268" fmla="*/ 2014462 w 2663946"/>
                <a:gd name="connsiteY268" fmla="*/ 71839 h 349382"/>
                <a:gd name="connsiteX269" fmla="*/ 2011266 w 2663946"/>
                <a:gd name="connsiteY269" fmla="*/ 75354 h 349382"/>
                <a:gd name="connsiteX270" fmla="*/ 2009054 w 2663946"/>
                <a:gd name="connsiteY270" fmla="*/ 79139 h 349382"/>
                <a:gd name="connsiteX271" fmla="*/ 2008071 w 2663946"/>
                <a:gd name="connsiteY271" fmla="*/ 81843 h 349382"/>
                <a:gd name="connsiteX272" fmla="*/ 2007087 w 2663946"/>
                <a:gd name="connsiteY272" fmla="*/ 85899 h 349382"/>
                <a:gd name="connsiteX273" fmla="*/ 2006104 w 2663946"/>
                <a:gd name="connsiteY273" fmla="*/ 92929 h 349382"/>
                <a:gd name="connsiteX274" fmla="*/ 2007087 w 2663946"/>
                <a:gd name="connsiteY274" fmla="*/ 100229 h 349382"/>
                <a:gd name="connsiteX275" fmla="*/ 2008317 w 2663946"/>
                <a:gd name="connsiteY275" fmla="*/ 104014 h 349382"/>
                <a:gd name="connsiteX276" fmla="*/ 2010529 w 2663946"/>
                <a:gd name="connsiteY276" fmla="*/ 108340 h 349382"/>
                <a:gd name="connsiteX277" fmla="*/ 2013970 w 2663946"/>
                <a:gd name="connsiteY277" fmla="*/ 112667 h 349382"/>
                <a:gd name="connsiteX278" fmla="*/ 2018394 w 2663946"/>
                <a:gd name="connsiteY278" fmla="*/ 115370 h 349382"/>
                <a:gd name="connsiteX279" fmla="*/ 2030685 w 2663946"/>
                <a:gd name="connsiteY279" fmla="*/ 112937 h 349382"/>
                <a:gd name="connsiteX280" fmla="*/ 2033880 w 2663946"/>
                <a:gd name="connsiteY280" fmla="*/ 109422 h 349382"/>
                <a:gd name="connsiteX281" fmla="*/ 2036338 w 2663946"/>
                <a:gd name="connsiteY281" fmla="*/ 105096 h 349382"/>
                <a:gd name="connsiteX282" fmla="*/ 2037321 w 2663946"/>
                <a:gd name="connsiteY282" fmla="*/ 102933 h 349382"/>
                <a:gd name="connsiteX283" fmla="*/ 2038550 w 2663946"/>
                <a:gd name="connsiteY283" fmla="*/ 98607 h 349382"/>
                <a:gd name="connsiteX284" fmla="*/ 2038059 w 2663946"/>
                <a:gd name="connsiteY284" fmla="*/ 84817 h 349382"/>
                <a:gd name="connsiteX285" fmla="*/ 2037075 w 2663946"/>
                <a:gd name="connsiteY285" fmla="*/ 81843 h 349382"/>
                <a:gd name="connsiteX286" fmla="*/ 2035847 w 2663946"/>
                <a:gd name="connsiteY286" fmla="*/ 78869 h 349382"/>
                <a:gd name="connsiteX287" fmla="*/ 2033634 w 2663946"/>
                <a:gd name="connsiteY287" fmla="*/ 75354 h 349382"/>
                <a:gd name="connsiteX288" fmla="*/ 2029947 w 2663946"/>
                <a:gd name="connsiteY288" fmla="*/ 71569 h 349382"/>
                <a:gd name="connsiteX289" fmla="*/ 2026014 w 2663946"/>
                <a:gd name="connsiteY289" fmla="*/ 69406 h 349382"/>
                <a:gd name="connsiteX290" fmla="*/ 1601090 w 2663946"/>
                <a:gd name="connsiteY290" fmla="*/ 69406 h 349382"/>
                <a:gd name="connsiteX291" fmla="*/ 1589537 w 2663946"/>
                <a:gd name="connsiteY291" fmla="*/ 71839 h 349382"/>
                <a:gd name="connsiteX292" fmla="*/ 1586342 w 2663946"/>
                <a:gd name="connsiteY292" fmla="*/ 75354 h 349382"/>
                <a:gd name="connsiteX293" fmla="*/ 1584130 w 2663946"/>
                <a:gd name="connsiteY293" fmla="*/ 79139 h 349382"/>
                <a:gd name="connsiteX294" fmla="*/ 1583147 w 2663946"/>
                <a:gd name="connsiteY294" fmla="*/ 81843 h 349382"/>
                <a:gd name="connsiteX295" fmla="*/ 1582163 w 2663946"/>
                <a:gd name="connsiteY295" fmla="*/ 85899 h 349382"/>
                <a:gd name="connsiteX296" fmla="*/ 1581180 w 2663946"/>
                <a:gd name="connsiteY296" fmla="*/ 92929 h 349382"/>
                <a:gd name="connsiteX297" fmla="*/ 1582163 w 2663946"/>
                <a:gd name="connsiteY297" fmla="*/ 100229 h 349382"/>
                <a:gd name="connsiteX298" fmla="*/ 1583393 w 2663946"/>
                <a:gd name="connsiteY298" fmla="*/ 104014 h 349382"/>
                <a:gd name="connsiteX299" fmla="*/ 1585605 w 2663946"/>
                <a:gd name="connsiteY299" fmla="*/ 108340 h 349382"/>
                <a:gd name="connsiteX300" fmla="*/ 1589046 w 2663946"/>
                <a:gd name="connsiteY300" fmla="*/ 112667 h 349382"/>
                <a:gd name="connsiteX301" fmla="*/ 1593470 w 2663946"/>
                <a:gd name="connsiteY301" fmla="*/ 115370 h 349382"/>
                <a:gd name="connsiteX302" fmla="*/ 1605761 w 2663946"/>
                <a:gd name="connsiteY302" fmla="*/ 112937 h 349382"/>
                <a:gd name="connsiteX303" fmla="*/ 1608956 w 2663946"/>
                <a:gd name="connsiteY303" fmla="*/ 109422 h 349382"/>
                <a:gd name="connsiteX304" fmla="*/ 1611414 w 2663946"/>
                <a:gd name="connsiteY304" fmla="*/ 105096 h 349382"/>
                <a:gd name="connsiteX305" fmla="*/ 1612397 w 2663946"/>
                <a:gd name="connsiteY305" fmla="*/ 102933 h 349382"/>
                <a:gd name="connsiteX306" fmla="*/ 1613626 w 2663946"/>
                <a:gd name="connsiteY306" fmla="*/ 98607 h 349382"/>
                <a:gd name="connsiteX307" fmla="*/ 1613135 w 2663946"/>
                <a:gd name="connsiteY307" fmla="*/ 84817 h 349382"/>
                <a:gd name="connsiteX308" fmla="*/ 1612151 w 2663946"/>
                <a:gd name="connsiteY308" fmla="*/ 81843 h 349382"/>
                <a:gd name="connsiteX309" fmla="*/ 1610923 w 2663946"/>
                <a:gd name="connsiteY309" fmla="*/ 78869 h 349382"/>
                <a:gd name="connsiteX310" fmla="*/ 1608710 w 2663946"/>
                <a:gd name="connsiteY310" fmla="*/ 75354 h 349382"/>
                <a:gd name="connsiteX311" fmla="*/ 1605023 w 2663946"/>
                <a:gd name="connsiteY311" fmla="*/ 71569 h 349382"/>
                <a:gd name="connsiteX312" fmla="*/ 1601090 w 2663946"/>
                <a:gd name="connsiteY312" fmla="*/ 69406 h 349382"/>
                <a:gd name="connsiteX313" fmla="*/ 1252183 w 2663946"/>
                <a:gd name="connsiteY313" fmla="*/ 69406 h 349382"/>
                <a:gd name="connsiteX314" fmla="*/ 1240630 w 2663946"/>
                <a:gd name="connsiteY314" fmla="*/ 71839 h 349382"/>
                <a:gd name="connsiteX315" fmla="*/ 1237435 w 2663946"/>
                <a:gd name="connsiteY315" fmla="*/ 75354 h 349382"/>
                <a:gd name="connsiteX316" fmla="*/ 1235223 w 2663946"/>
                <a:gd name="connsiteY316" fmla="*/ 79139 h 349382"/>
                <a:gd name="connsiteX317" fmla="*/ 1234240 w 2663946"/>
                <a:gd name="connsiteY317" fmla="*/ 81843 h 349382"/>
                <a:gd name="connsiteX318" fmla="*/ 1233256 w 2663946"/>
                <a:gd name="connsiteY318" fmla="*/ 85899 h 349382"/>
                <a:gd name="connsiteX319" fmla="*/ 1232273 w 2663946"/>
                <a:gd name="connsiteY319" fmla="*/ 92929 h 349382"/>
                <a:gd name="connsiteX320" fmla="*/ 1233256 w 2663946"/>
                <a:gd name="connsiteY320" fmla="*/ 100229 h 349382"/>
                <a:gd name="connsiteX321" fmla="*/ 1234486 w 2663946"/>
                <a:gd name="connsiteY321" fmla="*/ 104014 h 349382"/>
                <a:gd name="connsiteX322" fmla="*/ 1236698 w 2663946"/>
                <a:gd name="connsiteY322" fmla="*/ 108340 h 349382"/>
                <a:gd name="connsiteX323" fmla="*/ 1240139 w 2663946"/>
                <a:gd name="connsiteY323" fmla="*/ 112667 h 349382"/>
                <a:gd name="connsiteX324" fmla="*/ 1244563 w 2663946"/>
                <a:gd name="connsiteY324" fmla="*/ 115370 h 349382"/>
                <a:gd name="connsiteX325" fmla="*/ 1256854 w 2663946"/>
                <a:gd name="connsiteY325" fmla="*/ 112937 h 349382"/>
                <a:gd name="connsiteX326" fmla="*/ 1260049 w 2663946"/>
                <a:gd name="connsiteY326" fmla="*/ 109422 h 349382"/>
                <a:gd name="connsiteX327" fmla="*/ 1262507 w 2663946"/>
                <a:gd name="connsiteY327" fmla="*/ 105096 h 349382"/>
                <a:gd name="connsiteX328" fmla="*/ 1263490 w 2663946"/>
                <a:gd name="connsiteY328" fmla="*/ 102933 h 349382"/>
                <a:gd name="connsiteX329" fmla="*/ 1264719 w 2663946"/>
                <a:gd name="connsiteY329" fmla="*/ 98607 h 349382"/>
                <a:gd name="connsiteX330" fmla="*/ 1264228 w 2663946"/>
                <a:gd name="connsiteY330" fmla="*/ 84817 h 349382"/>
                <a:gd name="connsiteX331" fmla="*/ 1263244 w 2663946"/>
                <a:gd name="connsiteY331" fmla="*/ 81843 h 349382"/>
                <a:gd name="connsiteX332" fmla="*/ 1262016 w 2663946"/>
                <a:gd name="connsiteY332" fmla="*/ 78869 h 349382"/>
                <a:gd name="connsiteX333" fmla="*/ 1259803 w 2663946"/>
                <a:gd name="connsiteY333" fmla="*/ 75354 h 349382"/>
                <a:gd name="connsiteX334" fmla="*/ 1256116 w 2663946"/>
                <a:gd name="connsiteY334" fmla="*/ 71569 h 349382"/>
                <a:gd name="connsiteX335" fmla="*/ 1252183 w 2663946"/>
                <a:gd name="connsiteY335" fmla="*/ 69406 h 349382"/>
                <a:gd name="connsiteX336" fmla="*/ 1070232 w 2663946"/>
                <a:gd name="connsiteY336" fmla="*/ 69406 h 349382"/>
                <a:gd name="connsiteX337" fmla="*/ 1058679 w 2663946"/>
                <a:gd name="connsiteY337" fmla="*/ 71839 h 349382"/>
                <a:gd name="connsiteX338" fmla="*/ 1055484 w 2663946"/>
                <a:gd name="connsiteY338" fmla="*/ 75354 h 349382"/>
                <a:gd name="connsiteX339" fmla="*/ 1053272 w 2663946"/>
                <a:gd name="connsiteY339" fmla="*/ 79139 h 349382"/>
                <a:gd name="connsiteX340" fmla="*/ 1052289 w 2663946"/>
                <a:gd name="connsiteY340" fmla="*/ 81843 h 349382"/>
                <a:gd name="connsiteX341" fmla="*/ 1051305 w 2663946"/>
                <a:gd name="connsiteY341" fmla="*/ 85899 h 349382"/>
                <a:gd name="connsiteX342" fmla="*/ 1050322 w 2663946"/>
                <a:gd name="connsiteY342" fmla="*/ 92929 h 349382"/>
                <a:gd name="connsiteX343" fmla="*/ 1051305 w 2663946"/>
                <a:gd name="connsiteY343" fmla="*/ 100229 h 349382"/>
                <a:gd name="connsiteX344" fmla="*/ 1052535 w 2663946"/>
                <a:gd name="connsiteY344" fmla="*/ 104014 h 349382"/>
                <a:gd name="connsiteX345" fmla="*/ 1054747 w 2663946"/>
                <a:gd name="connsiteY345" fmla="*/ 108340 h 349382"/>
                <a:gd name="connsiteX346" fmla="*/ 1058188 w 2663946"/>
                <a:gd name="connsiteY346" fmla="*/ 112667 h 349382"/>
                <a:gd name="connsiteX347" fmla="*/ 1062612 w 2663946"/>
                <a:gd name="connsiteY347" fmla="*/ 115370 h 349382"/>
                <a:gd name="connsiteX348" fmla="*/ 1074903 w 2663946"/>
                <a:gd name="connsiteY348" fmla="*/ 112937 h 349382"/>
                <a:gd name="connsiteX349" fmla="*/ 1078098 w 2663946"/>
                <a:gd name="connsiteY349" fmla="*/ 109422 h 349382"/>
                <a:gd name="connsiteX350" fmla="*/ 1080556 w 2663946"/>
                <a:gd name="connsiteY350" fmla="*/ 105096 h 349382"/>
                <a:gd name="connsiteX351" fmla="*/ 1081539 w 2663946"/>
                <a:gd name="connsiteY351" fmla="*/ 102933 h 349382"/>
                <a:gd name="connsiteX352" fmla="*/ 1082768 w 2663946"/>
                <a:gd name="connsiteY352" fmla="*/ 98607 h 349382"/>
                <a:gd name="connsiteX353" fmla="*/ 1082277 w 2663946"/>
                <a:gd name="connsiteY353" fmla="*/ 84817 h 349382"/>
                <a:gd name="connsiteX354" fmla="*/ 1081293 w 2663946"/>
                <a:gd name="connsiteY354" fmla="*/ 81843 h 349382"/>
                <a:gd name="connsiteX355" fmla="*/ 1080065 w 2663946"/>
                <a:gd name="connsiteY355" fmla="*/ 78869 h 349382"/>
                <a:gd name="connsiteX356" fmla="*/ 1077852 w 2663946"/>
                <a:gd name="connsiteY356" fmla="*/ 75354 h 349382"/>
                <a:gd name="connsiteX357" fmla="*/ 1074165 w 2663946"/>
                <a:gd name="connsiteY357" fmla="*/ 71569 h 349382"/>
                <a:gd name="connsiteX358" fmla="*/ 1070232 w 2663946"/>
                <a:gd name="connsiteY358" fmla="*/ 69406 h 349382"/>
                <a:gd name="connsiteX359" fmla="*/ 903203 w 2663946"/>
                <a:gd name="connsiteY359" fmla="*/ 69406 h 349382"/>
                <a:gd name="connsiteX360" fmla="*/ 891650 w 2663946"/>
                <a:gd name="connsiteY360" fmla="*/ 71839 h 349382"/>
                <a:gd name="connsiteX361" fmla="*/ 888455 w 2663946"/>
                <a:gd name="connsiteY361" fmla="*/ 75354 h 349382"/>
                <a:gd name="connsiteX362" fmla="*/ 886243 w 2663946"/>
                <a:gd name="connsiteY362" fmla="*/ 79139 h 349382"/>
                <a:gd name="connsiteX363" fmla="*/ 885260 w 2663946"/>
                <a:gd name="connsiteY363" fmla="*/ 81843 h 349382"/>
                <a:gd name="connsiteX364" fmla="*/ 884276 w 2663946"/>
                <a:gd name="connsiteY364" fmla="*/ 85899 h 349382"/>
                <a:gd name="connsiteX365" fmla="*/ 883293 w 2663946"/>
                <a:gd name="connsiteY365" fmla="*/ 92929 h 349382"/>
                <a:gd name="connsiteX366" fmla="*/ 884276 w 2663946"/>
                <a:gd name="connsiteY366" fmla="*/ 100229 h 349382"/>
                <a:gd name="connsiteX367" fmla="*/ 885506 w 2663946"/>
                <a:gd name="connsiteY367" fmla="*/ 104014 h 349382"/>
                <a:gd name="connsiteX368" fmla="*/ 887718 w 2663946"/>
                <a:gd name="connsiteY368" fmla="*/ 108340 h 349382"/>
                <a:gd name="connsiteX369" fmla="*/ 891159 w 2663946"/>
                <a:gd name="connsiteY369" fmla="*/ 112667 h 349382"/>
                <a:gd name="connsiteX370" fmla="*/ 895583 w 2663946"/>
                <a:gd name="connsiteY370" fmla="*/ 115370 h 349382"/>
                <a:gd name="connsiteX371" fmla="*/ 907874 w 2663946"/>
                <a:gd name="connsiteY371" fmla="*/ 112937 h 349382"/>
                <a:gd name="connsiteX372" fmla="*/ 911069 w 2663946"/>
                <a:gd name="connsiteY372" fmla="*/ 109422 h 349382"/>
                <a:gd name="connsiteX373" fmla="*/ 913527 w 2663946"/>
                <a:gd name="connsiteY373" fmla="*/ 105096 h 349382"/>
                <a:gd name="connsiteX374" fmla="*/ 914510 w 2663946"/>
                <a:gd name="connsiteY374" fmla="*/ 102933 h 349382"/>
                <a:gd name="connsiteX375" fmla="*/ 915739 w 2663946"/>
                <a:gd name="connsiteY375" fmla="*/ 98607 h 349382"/>
                <a:gd name="connsiteX376" fmla="*/ 915248 w 2663946"/>
                <a:gd name="connsiteY376" fmla="*/ 84817 h 349382"/>
                <a:gd name="connsiteX377" fmla="*/ 914264 w 2663946"/>
                <a:gd name="connsiteY377" fmla="*/ 81843 h 349382"/>
                <a:gd name="connsiteX378" fmla="*/ 913036 w 2663946"/>
                <a:gd name="connsiteY378" fmla="*/ 78869 h 349382"/>
                <a:gd name="connsiteX379" fmla="*/ 910823 w 2663946"/>
                <a:gd name="connsiteY379" fmla="*/ 75354 h 349382"/>
                <a:gd name="connsiteX380" fmla="*/ 907136 w 2663946"/>
                <a:gd name="connsiteY380" fmla="*/ 71569 h 349382"/>
                <a:gd name="connsiteX381" fmla="*/ 903203 w 2663946"/>
                <a:gd name="connsiteY381" fmla="*/ 69406 h 349382"/>
                <a:gd name="connsiteX382" fmla="*/ 554297 w 2663946"/>
                <a:gd name="connsiteY382" fmla="*/ 69406 h 349382"/>
                <a:gd name="connsiteX383" fmla="*/ 542744 w 2663946"/>
                <a:gd name="connsiteY383" fmla="*/ 71839 h 349382"/>
                <a:gd name="connsiteX384" fmla="*/ 539549 w 2663946"/>
                <a:gd name="connsiteY384" fmla="*/ 75354 h 349382"/>
                <a:gd name="connsiteX385" fmla="*/ 537337 w 2663946"/>
                <a:gd name="connsiteY385" fmla="*/ 79139 h 349382"/>
                <a:gd name="connsiteX386" fmla="*/ 536353 w 2663946"/>
                <a:gd name="connsiteY386" fmla="*/ 81843 h 349382"/>
                <a:gd name="connsiteX387" fmla="*/ 535370 w 2663946"/>
                <a:gd name="connsiteY387" fmla="*/ 85899 h 349382"/>
                <a:gd name="connsiteX388" fmla="*/ 534387 w 2663946"/>
                <a:gd name="connsiteY388" fmla="*/ 92929 h 349382"/>
                <a:gd name="connsiteX389" fmla="*/ 535370 w 2663946"/>
                <a:gd name="connsiteY389" fmla="*/ 100229 h 349382"/>
                <a:gd name="connsiteX390" fmla="*/ 536599 w 2663946"/>
                <a:gd name="connsiteY390" fmla="*/ 104014 h 349382"/>
                <a:gd name="connsiteX391" fmla="*/ 538811 w 2663946"/>
                <a:gd name="connsiteY391" fmla="*/ 108340 h 349382"/>
                <a:gd name="connsiteX392" fmla="*/ 542253 w 2663946"/>
                <a:gd name="connsiteY392" fmla="*/ 112667 h 349382"/>
                <a:gd name="connsiteX393" fmla="*/ 546677 w 2663946"/>
                <a:gd name="connsiteY393" fmla="*/ 115370 h 349382"/>
                <a:gd name="connsiteX394" fmla="*/ 558967 w 2663946"/>
                <a:gd name="connsiteY394" fmla="*/ 112937 h 349382"/>
                <a:gd name="connsiteX395" fmla="*/ 562163 w 2663946"/>
                <a:gd name="connsiteY395" fmla="*/ 109422 h 349382"/>
                <a:gd name="connsiteX396" fmla="*/ 564621 w 2663946"/>
                <a:gd name="connsiteY396" fmla="*/ 105096 h 349382"/>
                <a:gd name="connsiteX397" fmla="*/ 565604 w 2663946"/>
                <a:gd name="connsiteY397" fmla="*/ 102933 h 349382"/>
                <a:gd name="connsiteX398" fmla="*/ 566833 w 2663946"/>
                <a:gd name="connsiteY398" fmla="*/ 98607 h 349382"/>
                <a:gd name="connsiteX399" fmla="*/ 566341 w 2663946"/>
                <a:gd name="connsiteY399" fmla="*/ 84817 h 349382"/>
                <a:gd name="connsiteX400" fmla="*/ 565358 w 2663946"/>
                <a:gd name="connsiteY400" fmla="*/ 81843 h 349382"/>
                <a:gd name="connsiteX401" fmla="*/ 564129 w 2663946"/>
                <a:gd name="connsiteY401" fmla="*/ 78869 h 349382"/>
                <a:gd name="connsiteX402" fmla="*/ 561917 w 2663946"/>
                <a:gd name="connsiteY402" fmla="*/ 75354 h 349382"/>
                <a:gd name="connsiteX403" fmla="*/ 558230 w 2663946"/>
                <a:gd name="connsiteY403" fmla="*/ 71569 h 349382"/>
                <a:gd name="connsiteX404" fmla="*/ 554297 w 2663946"/>
                <a:gd name="connsiteY404" fmla="*/ 69406 h 349382"/>
                <a:gd name="connsiteX405" fmla="*/ 372346 w 2663946"/>
                <a:gd name="connsiteY405" fmla="*/ 69406 h 349382"/>
                <a:gd name="connsiteX406" fmla="*/ 360793 w 2663946"/>
                <a:gd name="connsiteY406" fmla="*/ 71839 h 349382"/>
                <a:gd name="connsiteX407" fmla="*/ 357598 w 2663946"/>
                <a:gd name="connsiteY407" fmla="*/ 75354 h 349382"/>
                <a:gd name="connsiteX408" fmla="*/ 355385 w 2663946"/>
                <a:gd name="connsiteY408" fmla="*/ 79139 h 349382"/>
                <a:gd name="connsiteX409" fmla="*/ 354402 w 2663946"/>
                <a:gd name="connsiteY409" fmla="*/ 81843 h 349382"/>
                <a:gd name="connsiteX410" fmla="*/ 353419 w 2663946"/>
                <a:gd name="connsiteY410" fmla="*/ 85899 h 349382"/>
                <a:gd name="connsiteX411" fmla="*/ 352436 w 2663946"/>
                <a:gd name="connsiteY411" fmla="*/ 92929 h 349382"/>
                <a:gd name="connsiteX412" fmla="*/ 353419 w 2663946"/>
                <a:gd name="connsiteY412" fmla="*/ 100229 h 349382"/>
                <a:gd name="connsiteX413" fmla="*/ 354648 w 2663946"/>
                <a:gd name="connsiteY413" fmla="*/ 104014 h 349382"/>
                <a:gd name="connsiteX414" fmla="*/ 356860 w 2663946"/>
                <a:gd name="connsiteY414" fmla="*/ 108340 h 349382"/>
                <a:gd name="connsiteX415" fmla="*/ 360301 w 2663946"/>
                <a:gd name="connsiteY415" fmla="*/ 112667 h 349382"/>
                <a:gd name="connsiteX416" fmla="*/ 364726 w 2663946"/>
                <a:gd name="connsiteY416" fmla="*/ 115370 h 349382"/>
                <a:gd name="connsiteX417" fmla="*/ 377016 w 2663946"/>
                <a:gd name="connsiteY417" fmla="*/ 112937 h 349382"/>
                <a:gd name="connsiteX418" fmla="*/ 380212 w 2663946"/>
                <a:gd name="connsiteY418" fmla="*/ 109422 h 349382"/>
                <a:gd name="connsiteX419" fmla="*/ 382670 w 2663946"/>
                <a:gd name="connsiteY419" fmla="*/ 105096 h 349382"/>
                <a:gd name="connsiteX420" fmla="*/ 383653 w 2663946"/>
                <a:gd name="connsiteY420" fmla="*/ 102933 h 349382"/>
                <a:gd name="connsiteX421" fmla="*/ 384882 w 2663946"/>
                <a:gd name="connsiteY421" fmla="*/ 98607 h 349382"/>
                <a:gd name="connsiteX422" fmla="*/ 384390 w 2663946"/>
                <a:gd name="connsiteY422" fmla="*/ 84817 h 349382"/>
                <a:gd name="connsiteX423" fmla="*/ 383407 w 2663946"/>
                <a:gd name="connsiteY423" fmla="*/ 81843 h 349382"/>
                <a:gd name="connsiteX424" fmla="*/ 382178 w 2663946"/>
                <a:gd name="connsiteY424" fmla="*/ 78869 h 349382"/>
                <a:gd name="connsiteX425" fmla="*/ 379966 w 2663946"/>
                <a:gd name="connsiteY425" fmla="*/ 75354 h 349382"/>
                <a:gd name="connsiteX426" fmla="*/ 376279 w 2663946"/>
                <a:gd name="connsiteY426" fmla="*/ 71569 h 349382"/>
                <a:gd name="connsiteX427" fmla="*/ 372346 w 2663946"/>
                <a:gd name="connsiteY427" fmla="*/ 69406 h 349382"/>
                <a:gd name="connsiteX428" fmla="*/ 129300 w 2663946"/>
                <a:gd name="connsiteY428" fmla="*/ 69406 h 349382"/>
                <a:gd name="connsiteX429" fmla="*/ 117747 w 2663946"/>
                <a:gd name="connsiteY429" fmla="*/ 71839 h 349382"/>
                <a:gd name="connsiteX430" fmla="*/ 114552 w 2663946"/>
                <a:gd name="connsiteY430" fmla="*/ 75354 h 349382"/>
                <a:gd name="connsiteX431" fmla="*/ 112340 w 2663946"/>
                <a:gd name="connsiteY431" fmla="*/ 79139 h 349382"/>
                <a:gd name="connsiteX432" fmla="*/ 111356 w 2663946"/>
                <a:gd name="connsiteY432" fmla="*/ 81843 h 349382"/>
                <a:gd name="connsiteX433" fmla="*/ 110373 w 2663946"/>
                <a:gd name="connsiteY433" fmla="*/ 85899 h 349382"/>
                <a:gd name="connsiteX434" fmla="*/ 109390 w 2663946"/>
                <a:gd name="connsiteY434" fmla="*/ 92929 h 349382"/>
                <a:gd name="connsiteX435" fmla="*/ 110373 w 2663946"/>
                <a:gd name="connsiteY435" fmla="*/ 100229 h 349382"/>
                <a:gd name="connsiteX436" fmla="*/ 111602 w 2663946"/>
                <a:gd name="connsiteY436" fmla="*/ 104014 h 349382"/>
                <a:gd name="connsiteX437" fmla="*/ 113814 w 2663946"/>
                <a:gd name="connsiteY437" fmla="*/ 108340 h 349382"/>
                <a:gd name="connsiteX438" fmla="*/ 117256 w 2663946"/>
                <a:gd name="connsiteY438" fmla="*/ 112667 h 349382"/>
                <a:gd name="connsiteX439" fmla="*/ 121680 w 2663946"/>
                <a:gd name="connsiteY439" fmla="*/ 115370 h 349382"/>
                <a:gd name="connsiteX440" fmla="*/ 133970 w 2663946"/>
                <a:gd name="connsiteY440" fmla="*/ 112937 h 349382"/>
                <a:gd name="connsiteX441" fmla="*/ 137166 w 2663946"/>
                <a:gd name="connsiteY441" fmla="*/ 109422 h 349382"/>
                <a:gd name="connsiteX442" fmla="*/ 139624 w 2663946"/>
                <a:gd name="connsiteY442" fmla="*/ 105096 h 349382"/>
                <a:gd name="connsiteX443" fmla="*/ 140607 w 2663946"/>
                <a:gd name="connsiteY443" fmla="*/ 102933 h 349382"/>
                <a:gd name="connsiteX444" fmla="*/ 141836 w 2663946"/>
                <a:gd name="connsiteY444" fmla="*/ 98607 h 349382"/>
                <a:gd name="connsiteX445" fmla="*/ 141344 w 2663946"/>
                <a:gd name="connsiteY445" fmla="*/ 84817 h 349382"/>
                <a:gd name="connsiteX446" fmla="*/ 140361 w 2663946"/>
                <a:gd name="connsiteY446" fmla="*/ 81843 h 349382"/>
                <a:gd name="connsiteX447" fmla="*/ 139132 w 2663946"/>
                <a:gd name="connsiteY447" fmla="*/ 78869 h 349382"/>
                <a:gd name="connsiteX448" fmla="*/ 136920 w 2663946"/>
                <a:gd name="connsiteY448" fmla="*/ 75354 h 349382"/>
                <a:gd name="connsiteX449" fmla="*/ 133233 w 2663946"/>
                <a:gd name="connsiteY449" fmla="*/ 71569 h 349382"/>
                <a:gd name="connsiteX450" fmla="*/ 129300 w 2663946"/>
                <a:gd name="connsiteY450" fmla="*/ 69406 h 349382"/>
                <a:gd name="connsiteX451" fmla="*/ 33147 w 2663946"/>
                <a:gd name="connsiteY451" fmla="*/ 65470 h 349382"/>
                <a:gd name="connsiteX452" fmla="*/ 21486 w 2663946"/>
                <a:gd name="connsiteY452" fmla="*/ 73199 h 349382"/>
                <a:gd name="connsiteX453" fmla="*/ 20561 w 2663946"/>
                <a:gd name="connsiteY453" fmla="*/ 77782 h 349382"/>
                <a:gd name="connsiteX454" fmla="*/ 23801 w 2663946"/>
                <a:gd name="connsiteY454" fmla="*/ 77782 h 349382"/>
                <a:gd name="connsiteX455" fmla="*/ 42218 w 2663946"/>
                <a:gd name="connsiteY455" fmla="*/ 77782 h 349382"/>
                <a:gd name="connsiteX456" fmla="*/ 45732 w 2663946"/>
                <a:gd name="connsiteY456" fmla="*/ 77782 h 349382"/>
                <a:gd name="connsiteX457" fmla="*/ 44807 w 2663946"/>
                <a:gd name="connsiteY457" fmla="*/ 73199 h 349382"/>
                <a:gd name="connsiteX458" fmla="*/ 33147 w 2663946"/>
                <a:gd name="connsiteY458" fmla="*/ 65470 h 349382"/>
                <a:gd name="connsiteX459" fmla="*/ 2537931 w 2663946"/>
                <a:gd name="connsiteY459" fmla="*/ 57882 h 349382"/>
                <a:gd name="connsiteX460" fmla="*/ 2526271 w 2663946"/>
                <a:gd name="connsiteY460" fmla="*/ 65611 h 349382"/>
                <a:gd name="connsiteX461" fmla="*/ 2525346 w 2663946"/>
                <a:gd name="connsiteY461" fmla="*/ 70194 h 349382"/>
                <a:gd name="connsiteX462" fmla="*/ 2528586 w 2663946"/>
                <a:gd name="connsiteY462" fmla="*/ 70194 h 349382"/>
                <a:gd name="connsiteX463" fmla="*/ 2547003 w 2663946"/>
                <a:gd name="connsiteY463" fmla="*/ 70194 h 349382"/>
                <a:gd name="connsiteX464" fmla="*/ 2550517 w 2663946"/>
                <a:gd name="connsiteY464" fmla="*/ 70194 h 349382"/>
                <a:gd name="connsiteX465" fmla="*/ 2549592 w 2663946"/>
                <a:gd name="connsiteY465" fmla="*/ 65611 h 349382"/>
                <a:gd name="connsiteX466" fmla="*/ 2537931 w 2663946"/>
                <a:gd name="connsiteY466" fmla="*/ 57882 h 349382"/>
                <a:gd name="connsiteX467" fmla="*/ 2112934 w 2663946"/>
                <a:gd name="connsiteY467" fmla="*/ 57882 h 349382"/>
                <a:gd name="connsiteX468" fmla="*/ 2101274 w 2663946"/>
                <a:gd name="connsiteY468" fmla="*/ 65611 h 349382"/>
                <a:gd name="connsiteX469" fmla="*/ 2100349 w 2663946"/>
                <a:gd name="connsiteY469" fmla="*/ 70194 h 349382"/>
                <a:gd name="connsiteX470" fmla="*/ 2103589 w 2663946"/>
                <a:gd name="connsiteY470" fmla="*/ 70194 h 349382"/>
                <a:gd name="connsiteX471" fmla="*/ 2122006 w 2663946"/>
                <a:gd name="connsiteY471" fmla="*/ 70194 h 349382"/>
                <a:gd name="connsiteX472" fmla="*/ 2125520 w 2663946"/>
                <a:gd name="connsiteY472" fmla="*/ 70194 h 349382"/>
                <a:gd name="connsiteX473" fmla="*/ 2124595 w 2663946"/>
                <a:gd name="connsiteY473" fmla="*/ 65611 h 349382"/>
                <a:gd name="connsiteX474" fmla="*/ 2112934 w 2663946"/>
                <a:gd name="connsiteY474" fmla="*/ 57882 h 349382"/>
                <a:gd name="connsiteX475" fmla="*/ 1854966 w 2663946"/>
                <a:gd name="connsiteY475" fmla="*/ 57882 h 349382"/>
                <a:gd name="connsiteX476" fmla="*/ 1843306 w 2663946"/>
                <a:gd name="connsiteY476" fmla="*/ 65611 h 349382"/>
                <a:gd name="connsiteX477" fmla="*/ 1842381 w 2663946"/>
                <a:gd name="connsiteY477" fmla="*/ 70194 h 349382"/>
                <a:gd name="connsiteX478" fmla="*/ 1845621 w 2663946"/>
                <a:gd name="connsiteY478" fmla="*/ 70194 h 349382"/>
                <a:gd name="connsiteX479" fmla="*/ 1864038 w 2663946"/>
                <a:gd name="connsiteY479" fmla="*/ 70194 h 349382"/>
                <a:gd name="connsiteX480" fmla="*/ 1867552 w 2663946"/>
                <a:gd name="connsiteY480" fmla="*/ 70194 h 349382"/>
                <a:gd name="connsiteX481" fmla="*/ 1866627 w 2663946"/>
                <a:gd name="connsiteY481" fmla="*/ 65611 h 349382"/>
                <a:gd name="connsiteX482" fmla="*/ 1854966 w 2663946"/>
                <a:gd name="connsiteY482" fmla="*/ 57882 h 349382"/>
                <a:gd name="connsiteX483" fmla="*/ 1764027 w 2663946"/>
                <a:gd name="connsiteY483" fmla="*/ 57882 h 349382"/>
                <a:gd name="connsiteX484" fmla="*/ 1752367 w 2663946"/>
                <a:gd name="connsiteY484" fmla="*/ 65611 h 349382"/>
                <a:gd name="connsiteX485" fmla="*/ 1751442 w 2663946"/>
                <a:gd name="connsiteY485" fmla="*/ 70194 h 349382"/>
                <a:gd name="connsiteX486" fmla="*/ 1754682 w 2663946"/>
                <a:gd name="connsiteY486" fmla="*/ 70194 h 349382"/>
                <a:gd name="connsiteX487" fmla="*/ 1773099 w 2663946"/>
                <a:gd name="connsiteY487" fmla="*/ 70194 h 349382"/>
                <a:gd name="connsiteX488" fmla="*/ 1776613 w 2663946"/>
                <a:gd name="connsiteY488" fmla="*/ 70194 h 349382"/>
                <a:gd name="connsiteX489" fmla="*/ 1775687 w 2663946"/>
                <a:gd name="connsiteY489" fmla="*/ 65611 h 349382"/>
                <a:gd name="connsiteX490" fmla="*/ 1764027 w 2663946"/>
                <a:gd name="connsiteY490" fmla="*/ 57882 h 349382"/>
                <a:gd name="connsiteX491" fmla="*/ 1506059 w 2663946"/>
                <a:gd name="connsiteY491" fmla="*/ 57882 h 349382"/>
                <a:gd name="connsiteX492" fmla="*/ 1494399 w 2663946"/>
                <a:gd name="connsiteY492" fmla="*/ 65611 h 349382"/>
                <a:gd name="connsiteX493" fmla="*/ 1493474 w 2663946"/>
                <a:gd name="connsiteY493" fmla="*/ 70194 h 349382"/>
                <a:gd name="connsiteX494" fmla="*/ 1496714 w 2663946"/>
                <a:gd name="connsiteY494" fmla="*/ 70194 h 349382"/>
                <a:gd name="connsiteX495" fmla="*/ 1515131 w 2663946"/>
                <a:gd name="connsiteY495" fmla="*/ 70194 h 349382"/>
                <a:gd name="connsiteX496" fmla="*/ 1518645 w 2663946"/>
                <a:gd name="connsiteY496" fmla="*/ 70194 h 349382"/>
                <a:gd name="connsiteX497" fmla="*/ 1517719 w 2663946"/>
                <a:gd name="connsiteY497" fmla="*/ 65611 h 349382"/>
                <a:gd name="connsiteX498" fmla="*/ 1506059 w 2663946"/>
                <a:gd name="connsiteY498" fmla="*/ 57882 h 349382"/>
                <a:gd name="connsiteX499" fmla="*/ 1415120 w 2663946"/>
                <a:gd name="connsiteY499" fmla="*/ 57882 h 349382"/>
                <a:gd name="connsiteX500" fmla="*/ 1403460 w 2663946"/>
                <a:gd name="connsiteY500" fmla="*/ 65611 h 349382"/>
                <a:gd name="connsiteX501" fmla="*/ 1402535 w 2663946"/>
                <a:gd name="connsiteY501" fmla="*/ 70194 h 349382"/>
                <a:gd name="connsiteX502" fmla="*/ 1405775 w 2663946"/>
                <a:gd name="connsiteY502" fmla="*/ 70194 h 349382"/>
                <a:gd name="connsiteX503" fmla="*/ 1424192 w 2663946"/>
                <a:gd name="connsiteY503" fmla="*/ 70194 h 349382"/>
                <a:gd name="connsiteX504" fmla="*/ 1427706 w 2663946"/>
                <a:gd name="connsiteY504" fmla="*/ 70194 h 349382"/>
                <a:gd name="connsiteX505" fmla="*/ 1426780 w 2663946"/>
                <a:gd name="connsiteY505" fmla="*/ 65611 h 349382"/>
                <a:gd name="connsiteX506" fmla="*/ 1415120 w 2663946"/>
                <a:gd name="connsiteY506" fmla="*/ 57882 h 349382"/>
                <a:gd name="connsiteX507" fmla="*/ 1157152 w 2663946"/>
                <a:gd name="connsiteY507" fmla="*/ 57882 h 349382"/>
                <a:gd name="connsiteX508" fmla="*/ 1145492 w 2663946"/>
                <a:gd name="connsiteY508" fmla="*/ 65611 h 349382"/>
                <a:gd name="connsiteX509" fmla="*/ 1144567 w 2663946"/>
                <a:gd name="connsiteY509" fmla="*/ 70194 h 349382"/>
                <a:gd name="connsiteX510" fmla="*/ 1147807 w 2663946"/>
                <a:gd name="connsiteY510" fmla="*/ 70194 h 349382"/>
                <a:gd name="connsiteX511" fmla="*/ 1166224 w 2663946"/>
                <a:gd name="connsiteY511" fmla="*/ 70194 h 349382"/>
                <a:gd name="connsiteX512" fmla="*/ 1169738 w 2663946"/>
                <a:gd name="connsiteY512" fmla="*/ 70194 h 349382"/>
                <a:gd name="connsiteX513" fmla="*/ 1168812 w 2663946"/>
                <a:gd name="connsiteY513" fmla="*/ 65611 h 349382"/>
                <a:gd name="connsiteX514" fmla="*/ 1157152 w 2663946"/>
                <a:gd name="connsiteY514" fmla="*/ 57882 h 349382"/>
                <a:gd name="connsiteX515" fmla="*/ 732156 w 2663946"/>
                <a:gd name="connsiteY515" fmla="*/ 57882 h 349382"/>
                <a:gd name="connsiteX516" fmla="*/ 720495 w 2663946"/>
                <a:gd name="connsiteY516" fmla="*/ 65611 h 349382"/>
                <a:gd name="connsiteX517" fmla="*/ 719570 w 2663946"/>
                <a:gd name="connsiteY517" fmla="*/ 70194 h 349382"/>
                <a:gd name="connsiteX518" fmla="*/ 722810 w 2663946"/>
                <a:gd name="connsiteY518" fmla="*/ 70194 h 349382"/>
                <a:gd name="connsiteX519" fmla="*/ 741228 w 2663946"/>
                <a:gd name="connsiteY519" fmla="*/ 70194 h 349382"/>
                <a:gd name="connsiteX520" fmla="*/ 744742 w 2663946"/>
                <a:gd name="connsiteY520" fmla="*/ 70194 h 349382"/>
                <a:gd name="connsiteX521" fmla="*/ 743816 w 2663946"/>
                <a:gd name="connsiteY521" fmla="*/ 65611 h 349382"/>
                <a:gd name="connsiteX522" fmla="*/ 732156 w 2663946"/>
                <a:gd name="connsiteY522" fmla="*/ 57882 h 349382"/>
                <a:gd name="connsiteX523" fmla="*/ 641217 w 2663946"/>
                <a:gd name="connsiteY523" fmla="*/ 57882 h 349382"/>
                <a:gd name="connsiteX524" fmla="*/ 629556 w 2663946"/>
                <a:gd name="connsiteY524" fmla="*/ 65611 h 349382"/>
                <a:gd name="connsiteX525" fmla="*/ 628631 w 2663946"/>
                <a:gd name="connsiteY525" fmla="*/ 70194 h 349382"/>
                <a:gd name="connsiteX526" fmla="*/ 631871 w 2663946"/>
                <a:gd name="connsiteY526" fmla="*/ 70194 h 349382"/>
                <a:gd name="connsiteX527" fmla="*/ 650289 w 2663946"/>
                <a:gd name="connsiteY527" fmla="*/ 70194 h 349382"/>
                <a:gd name="connsiteX528" fmla="*/ 653802 w 2663946"/>
                <a:gd name="connsiteY528" fmla="*/ 70194 h 349382"/>
                <a:gd name="connsiteX529" fmla="*/ 652877 w 2663946"/>
                <a:gd name="connsiteY529" fmla="*/ 65611 h 349382"/>
                <a:gd name="connsiteX530" fmla="*/ 641217 w 2663946"/>
                <a:gd name="connsiteY530" fmla="*/ 57882 h 349382"/>
                <a:gd name="connsiteX531" fmla="*/ 459266 w 2663946"/>
                <a:gd name="connsiteY531" fmla="*/ 57882 h 349382"/>
                <a:gd name="connsiteX532" fmla="*/ 447605 w 2663946"/>
                <a:gd name="connsiteY532" fmla="*/ 65611 h 349382"/>
                <a:gd name="connsiteX533" fmla="*/ 446680 w 2663946"/>
                <a:gd name="connsiteY533" fmla="*/ 70194 h 349382"/>
                <a:gd name="connsiteX534" fmla="*/ 449920 w 2663946"/>
                <a:gd name="connsiteY534" fmla="*/ 70194 h 349382"/>
                <a:gd name="connsiteX535" fmla="*/ 468337 w 2663946"/>
                <a:gd name="connsiteY535" fmla="*/ 70194 h 349382"/>
                <a:gd name="connsiteX536" fmla="*/ 471851 w 2663946"/>
                <a:gd name="connsiteY536" fmla="*/ 70194 h 349382"/>
                <a:gd name="connsiteX537" fmla="*/ 470926 w 2663946"/>
                <a:gd name="connsiteY537" fmla="*/ 65611 h 349382"/>
                <a:gd name="connsiteX538" fmla="*/ 459266 w 2663946"/>
                <a:gd name="connsiteY538" fmla="*/ 57882 h 349382"/>
                <a:gd name="connsiteX539" fmla="*/ 2361413 w 2663946"/>
                <a:gd name="connsiteY539" fmla="*/ 53522 h 349382"/>
                <a:gd name="connsiteX540" fmla="*/ 2365469 w 2663946"/>
                <a:gd name="connsiteY540" fmla="*/ 53522 h 349382"/>
                <a:gd name="connsiteX541" fmla="*/ 2370065 w 2663946"/>
                <a:gd name="connsiteY541" fmla="*/ 55956 h 349382"/>
                <a:gd name="connsiteX542" fmla="*/ 2372229 w 2663946"/>
                <a:gd name="connsiteY542" fmla="*/ 62174 h 349382"/>
                <a:gd name="connsiteX543" fmla="*/ 2372229 w 2663946"/>
                <a:gd name="connsiteY543" fmla="*/ 62715 h 349382"/>
                <a:gd name="connsiteX544" fmla="*/ 2372229 w 2663946"/>
                <a:gd name="connsiteY544" fmla="*/ 115710 h 349382"/>
                <a:gd name="connsiteX545" fmla="*/ 2372769 w 2663946"/>
                <a:gd name="connsiteY545" fmla="*/ 116250 h 349382"/>
                <a:gd name="connsiteX546" fmla="*/ 2380069 w 2663946"/>
                <a:gd name="connsiteY546" fmla="*/ 116250 h 349382"/>
                <a:gd name="connsiteX547" fmla="*/ 2384125 w 2663946"/>
                <a:gd name="connsiteY547" fmla="*/ 117332 h 349382"/>
                <a:gd name="connsiteX548" fmla="*/ 2387910 w 2663946"/>
                <a:gd name="connsiteY548" fmla="*/ 124091 h 349382"/>
                <a:gd name="connsiteX549" fmla="*/ 2385207 w 2663946"/>
                <a:gd name="connsiteY549" fmla="*/ 129769 h 349382"/>
                <a:gd name="connsiteX550" fmla="*/ 2381151 w 2663946"/>
                <a:gd name="connsiteY550" fmla="*/ 131662 h 349382"/>
                <a:gd name="connsiteX551" fmla="*/ 2380881 w 2663946"/>
                <a:gd name="connsiteY551" fmla="*/ 131662 h 349382"/>
                <a:gd name="connsiteX552" fmla="*/ 2380610 w 2663946"/>
                <a:gd name="connsiteY552" fmla="*/ 131662 h 349382"/>
                <a:gd name="connsiteX553" fmla="*/ 2380069 w 2663946"/>
                <a:gd name="connsiteY553" fmla="*/ 131662 h 349382"/>
                <a:gd name="connsiteX554" fmla="*/ 2347894 w 2663946"/>
                <a:gd name="connsiteY554" fmla="*/ 131662 h 349382"/>
                <a:gd name="connsiteX555" fmla="*/ 2347354 w 2663946"/>
                <a:gd name="connsiteY555" fmla="*/ 131662 h 349382"/>
                <a:gd name="connsiteX556" fmla="*/ 2346542 w 2663946"/>
                <a:gd name="connsiteY556" fmla="*/ 131662 h 349382"/>
                <a:gd name="connsiteX557" fmla="*/ 2345731 w 2663946"/>
                <a:gd name="connsiteY557" fmla="*/ 131392 h 349382"/>
                <a:gd name="connsiteX558" fmla="*/ 2342216 w 2663946"/>
                <a:gd name="connsiteY558" fmla="*/ 129499 h 349382"/>
                <a:gd name="connsiteX559" fmla="*/ 2339783 w 2663946"/>
                <a:gd name="connsiteY559" fmla="*/ 123821 h 349382"/>
                <a:gd name="connsiteX560" fmla="*/ 2341946 w 2663946"/>
                <a:gd name="connsiteY560" fmla="*/ 118684 h 349382"/>
                <a:gd name="connsiteX561" fmla="*/ 2347624 w 2663946"/>
                <a:gd name="connsiteY561" fmla="*/ 116250 h 349382"/>
                <a:gd name="connsiteX562" fmla="*/ 2355465 w 2663946"/>
                <a:gd name="connsiteY562" fmla="*/ 116250 h 349382"/>
                <a:gd name="connsiteX563" fmla="*/ 2356006 w 2663946"/>
                <a:gd name="connsiteY563" fmla="*/ 115710 h 349382"/>
                <a:gd name="connsiteX564" fmla="*/ 2356006 w 2663946"/>
                <a:gd name="connsiteY564" fmla="*/ 69745 h 349382"/>
                <a:gd name="connsiteX565" fmla="*/ 2355465 w 2663946"/>
                <a:gd name="connsiteY565" fmla="*/ 69204 h 349382"/>
                <a:gd name="connsiteX566" fmla="*/ 2349517 w 2663946"/>
                <a:gd name="connsiteY566" fmla="*/ 69204 h 349382"/>
                <a:gd name="connsiteX567" fmla="*/ 2342216 w 2663946"/>
                <a:gd name="connsiteY567" fmla="*/ 64608 h 349382"/>
                <a:gd name="connsiteX568" fmla="*/ 2341946 w 2663946"/>
                <a:gd name="connsiteY568" fmla="*/ 58930 h 349382"/>
                <a:gd name="connsiteX569" fmla="*/ 2349246 w 2663946"/>
                <a:gd name="connsiteY569" fmla="*/ 53793 h 349382"/>
                <a:gd name="connsiteX570" fmla="*/ 2361413 w 2663946"/>
                <a:gd name="connsiteY570" fmla="*/ 53522 h 349382"/>
                <a:gd name="connsiteX571" fmla="*/ 2285396 w 2663946"/>
                <a:gd name="connsiteY571" fmla="*/ 53522 h 349382"/>
                <a:gd name="connsiteX572" fmla="*/ 2289452 w 2663946"/>
                <a:gd name="connsiteY572" fmla="*/ 53522 h 349382"/>
                <a:gd name="connsiteX573" fmla="*/ 2294048 w 2663946"/>
                <a:gd name="connsiteY573" fmla="*/ 55956 h 349382"/>
                <a:gd name="connsiteX574" fmla="*/ 2296212 w 2663946"/>
                <a:gd name="connsiteY574" fmla="*/ 62174 h 349382"/>
                <a:gd name="connsiteX575" fmla="*/ 2296212 w 2663946"/>
                <a:gd name="connsiteY575" fmla="*/ 62715 h 349382"/>
                <a:gd name="connsiteX576" fmla="*/ 2296212 w 2663946"/>
                <a:gd name="connsiteY576" fmla="*/ 115710 h 349382"/>
                <a:gd name="connsiteX577" fmla="*/ 2296752 w 2663946"/>
                <a:gd name="connsiteY577" fmla="*/ 116250 h 349382"/>
                <a:gd name="connsiteX578" fmla="*/ 2304052 w 2663946"/>
                <a:gd name="connsiteY578" fmla="*/ 116250 h 349382"/>
                <a:gd name="connsiteX579" fmla="*/ 2308108 w 2663946"/>
                <a:gd name="connsiteY579" fmla="*/ 117332 h 349382"/>
                <a:gd name="connsiteX580" fmla="*/ 2311893 w 2663946"/>
                <a:gd name="connsiteY580" fmla="*/ 124091 h 349382"/>
                <a:gd name="connsiteX581" fmla="*/ 2309190 w 2663946"/>
                <a:gd name="connsiteY581" fmla="*/ 129769 h 349382"/>
                <a:gd name="connsiteX582" fmla="*/ 2305134 w 2663946"/>
                <a:gd name="connsiteY582" fmla="*/ 131662 h 349382"/>
                <a:gd name="connsiteX583" fmla="*/ 2304864 w 2663946"/>
                <a:gd name="connsiteY583" fmla="*/ 131662 h 349382"/>
                <a:gd name="connsiteX584" fmla="*/ 2304593 w 2663946"/>
                <a:gd name="connsiteY584" fmla="*/ 131662 h 349382"/>
                <a:gd name="connsiteX585" fmla="*/ 2304052 w 2663946"/>
                <a:gd name="connsiteY585" fmla="*/ 131662 h 349382"/>
                <a:gd name="connsiteX586" fmla="*/ 2271877 w 2663946"/>
                <a:gd name="connsiteY586" fmla="*/ 131662 h 349382"/>
                <a:gd name="connsiteX587" fmla="*/ 2271337 w 2663946"/>
                <a:gd name="connsiteY587" fmla="*/ 131662 h 349382"/>
                <a:gd name="connsiteX588" fmla="*/ 2270525 w 2663946"/>
                <a:gd name="connsiteY588" fmla="*/ 131662 h 349382"/>
                <a:gd name="connsiteX589" fmla="*/ 2269714 w 2663946"/>
                <a:gd name="connsiteY589" fmla="*/ 131392 h 349382"/>
                <a:gd name="connsiteX590" fmla="*/ 2266199 w 2663946"/>
                <a:gd name="connsiteY590" fmla="*/ 129499 h 349382"/>
                <a:gd name="connsiteX591" fmla="*/ 2263766 w 2663946"/>
                <a:gd name="connsiteY591" fmla="*/ 123821 h 349382"/>
                <a:gd name="connsiteX592" fmla="*/ 2265929 w 2663946"/>
                <a:gd name="connsiteY592" fmla="*/ 118684 h 349382"/>
                <a:gd name="connsiteX593" fmla="*/ 2271607 w 2663946"/>
                <a:gd name="connsiteY593" fmla="*/ 116250 h 349382"/>
                <a:gd name="connsiteX594" fmla="*/ 2279448 w 2663946"/>
                <a:gd name="connsiteY594" fmla="*/ 116250 h 349382"/>
                <a:gd name="connsiteX595" fmla="*/ 2279989 w 2663946"/>
                <a:gd name="connsiteY595" fmla="*/ 115710 h 349382"/>
                <a:gd name="connsiteX596" fmla="*/ 2279989 w 2663946"/>
                <a:gd name="connsiteY596" fmla="*/ 69745 h 349382"/>
                <a:gd name="connsiteX597" fmla="*/ 2279448 w 2663946"/>
                <a:gd name="connsiteY597" fmla="*/ 69204 h 349382"/>
                <a:gd name="connsiteX598" fmla="*/ 2273500 w 2663946"/>
                <a:gd name="connsiteY598" fmla="*/ 69204 h 349382"/>
                <a:gd name="connsiteX599" fmla="*/ 2266199 w 2663946"/>
                <a:gd name="connsiteY599" fmla="*/ 64608 h 349382"/>
                <a:gd name="connsiteX600" fmla="*/ 2265929 w 2663946"/>
                <a:gd name="connsiteY600" fmla="*/ 58930 h 349382"/>
                <a:gd name="connsiteX601" fmla="*/ 2273229 w 2663946"/>
                <a:gd name="connsiteY601" fmla="*/ 53793 h 349382"/>
                <a:gd name="connsiteX602" fmla="*/ 2285396 w 2663946"/>
                <a:gd name="connsiteY602" fmla="*/ 53522 h 349382"/>
                <a:gd name="connsiteX603" fmla="*/ 1936416 w 2663946"/>
                <a:gd name="connsiteY603" fmla="*/ 53522 h 349382"/>
                <a:gd name="connsiteX604" fmla="*/ 1940472 w 2663946"/>
                <a:gd name="connsiteY604" fmla="*/ 53522 h 349382"/>
                <a:gd name="connsiteX605" fmla="*/ 1945068 w 2663946"/>
                <a:gd name="connsiteY605" fmla="*/ 55956 h 349382"/>
                <a:gd name="connsiteX606" fmla="*/ 1947232 w 2663946"/>
                <a:gd name="connsiteY606" fmla="*/ 62174 h 349382"/>
                <a:gd name="connsiteX607" fmla="*/ 1947232 w 2663946"/>
                <a:gd name="connsiteY607" fmla="*/ 62715 h 349382"/>
                <a:gd name="connsiteX608" fmla="*/ 1947232 w 2663946"/>
                <a:gd name="connsiteY608" fmla="*/ 115710 h 349382"/>
                <a:gd name="connsiteX609" fmla="*/ 1947772 w 2663946"/>
                <a:gd name="connsiteY609" fmla="*/ 116250 h 349382"/>
                <a:gd name="connsiteX610" fmla="*/ 1955072 w 2663946"/>
                <a:gd name="connsiteY610" fmla="*/ 116250 h 349382"/>
                <a:gd name="connsiteX611" fmla="*/ 1959128 w 2663946"/>
                <a:gd name="connsiteY611" fmla="*/ 117332 h 349382"/>
                <a:gd name="connsiteX612" fmla="*/ 1962913 w 2663946"/>
                <a:gd name="connsiteY612" fmla="*/ 124091 h 349382"/>
                <a:gd name="connsiteX613" fmla="*/ 1960210 w 2663946"/>
                <a:gd name="connsiteY613" fmla="*/ 129769 h 349382"/>
                <a:gd name="connsiteX614" fmla="*/ 1956154 w 2663946"/>
                <a:gd name="connsiteY614" fmla="*/ 131662 h 349382"/>
                <a:gd name="connsiteX615" fmla="*/ 1955884 w 2663946"/>
                <a:gd name="connsiteY615" fmla="*/ 131662 h 349382"/>
                <a:gd name="connsiteX616" fmla="*/ 1955613 w 2663946"/>
                <a:gd name="connsiteY616" fmla="*/ 131662 h 349382"/>
                <a:gd name="connsiteX617" fmla="*/ 1955072 w 2663946"/>
                <a:gd name="connsiteY617" fmla="*/ 131662 h 349382"/>
                <a:gd name="connsiteX618" fmla="*/ 1922897 w 2663946"/>
                <a:gd name="connsiteY618" fmla="*/ 131662 h 349382"/>
                <a:gd name="connsiteX619" fmla="*/ 1922357 w 2663946"/>
                <a:gd name="connsiteY619" fmla="*/ 131662 h 349382"/>
                <a:gd name="connsiteX620" fmla="*/ 1921545 w 2663946"/>
                <a:gd name="connsiteY620" fmla="*/ 131662 h 349382"/>
                <a:gd name="connsiteX621" fmla="*/ 1920734 w 2663946"/>
                <a:gd name="connsiteY621" fmla="*/ 131392 h 349382"/>
                <a:gd name="connsiteX622" fmla="*/ 1917219 w 2663946"/>
                <a:gd name="connsiteY622" fmla="*/ 129499 h 349382"/>
                <a:gd name="connsiteX623" fmla="*/ 1914786 w 2663946"/>
                <a:gd name="connsiteY623" fmla="*/ 123821 h 349382"/>
                <a:gd name="connsiteX624" fmla="*/ 1916949 w 2663946"/>
                <a:gd name="connsiteY624" fmla="*/ 118684 h 349382"/>
                <a:gd name="connsiteX625" fmla="*/ 1922627 w 2663946"/>
                <a:gd name="connsiteY625" fmla="*/ 116250 h 349382"/>
                <a:gd name="connsiteX626" fmla="*/ 1930468 w 2663946"/>
                <a:gd name="connsiteY626" fmla="*/ 116250 h 349382"/>
                <a:gd name="connsiteX627" fmla="*/ 1931009 w 2663946"/>
                <a:gd name="connsiteY627" fmla="*/ 115710 h 349382"/>
                <a:gd name="connsiteX628" fmla="*/ 1931009 w 2663946"/>
                <a:gd name="connsiteY628" fmla="*/ 69745 h 349382"/>
                <a:gd name="connsiteX629" fmla="*/ 1930468 w 2663946"/>
                <a:gd name="connsiteY629" fmla="*/ 69204 h 349382"/>
                <a:gd name="connsiteX630" fmla="*/ 1924520 w 2663946"/>
                <a:gd name="connsiteY630" fmla="*/ 69204 h 349382"/>
                <a:gd name="connsiteX631" fmla="*/ 1917219 w 2663946"/>
                <a:gd name="connsiteY631" fmla="*/ 64608 h 349382"/>
                <a:gd name="connsiteX632" fmla="*/ 1916949 w 2663946"/>
                <a:gd name="connsiteY632" fmla="*/ 58930 h 349382"/>
                <a:gd name="connsiteX633" fmla="*/ 1924249 w 2663946"/>
                <a:gd name="connsiteY633" fmla="*/ 53793 h 349382"/>
                <a:gd name="connsiteX634" fmla="*/ 1936416 w 2663946"/>
                <a:gd name="connsiteY634" fmla="*/ 53522 h 349382"/>
                <a:gd name="connsiteX635" fmla="*/ 1678521 w 2663946"/>
                <a:gd name="connsiteY635" fmla="*/ 53522 h 349382"/>
                <a:gd name="connsiteX636" fmla="*/ 1682577 w 2663946"/>
                <a:gd name="connsiteY636" fmla="*/ 53522 h 349382"/>
                <a:gd name="connsiteX637" fmla="*/ 1687173 w 2663946"/>
                <a:gd name="connsiteY637" fmla="*/ 55956 h 349382"/>
                <a:gd name="connsiteX638" fmla="*/ 1689336 w 2663946"/>
                <a:gd name="connsiteY638" fmla="*/ 62174 h 349382"/>
                <a:gd name="connsiteX639" fmla="*/ 1689336 w 2663946"/>
                <a:gd name="connsiteY639" fmla="*/ 62715 h 349382"/>
                <a:gd name="connsiteX640" fmla="*/ 1689336 w 2663946"/>
                <a:gd name="connsiteY640" fmla="*/ 115710 h 349382"/>
                <a:gd name="connsiteX641" fmla="*/ 1689877 w 2663946"/>
                <a:gd name="connsiteY641" fmla="*/ 116250 h 349382"/>
                <a:gd name="connsiteX642" fmla="*/ 1697177 w 2663946"/>
                <a:gd name="connsiteY642" fmla="*/ 116250 h 349382"/>
                <a:gd name="connsiteX643" fmla="*/ 1701233 w 2663946"/>
                <a:gd name="connsiteY643" fmla="*/ 117332 h 349382"/>
                <a:gd name="connsiteX644" fmla="*/ 1705018 w 2663946"/>
                <a:gd name="connsiteY644" fmla="*/ 124091 h 349382"/>
                <a:gd name="connsiteX645" fmla="*/ 1702315 w 2663946"/>
                <a:gd name="connsiteY645" fmla="*/ 129769 h 349382"/>
                <a:gd name="connsiteX646" fmla="*/ 1698259 w 2663946"/>
                <a:gd name="connsiteY646" fmla="*/ 131662 h 349382"/>
                <a:gd name="connsiteX647" fmla="*/ 1697989 w 2663946"/>
                <a:gd name="connsiteY647" fmla="*/ 131662 h 349382"/>
                <a:gd name="connsiteX648" fmla="*/ 1697718 w 2663946"/>
                <a:gd name="connsiteY648" fmla="*/ 131662 h 349382"/>
                <a:gd name="connsiteX649" fmla="*/ 1697177 w 2663946"/>
                <a:gd name="connsiteY649" fmla="*/ 131662 h 349382"/>
                <a:gd name="connsiteX650" fmla="*/ 1665002 w 2663946"/>
                <a:gd name="connsiteY650" fmla="*/ 131662 h 349382"/>
                <a:gd name="connsiteX651" fmla="*/ 1664462 w 2663946"/>
                <a:gd name="connsiteY651" fmla="*/ 131662 h 349382"/>
                <a:gd name="connsiteX652" fmla="*/ 1663650 w 2663946"/>
                <a:gd name="connsiteY652" fmla="*/ 131662 h 349382"/>
                <a:gd name="connsiteX653" fmla="*/ 1662839 w 2663946"/>
                <a:gd name="connsiteY653" fmla="*/ 131392 h 349382"/>
                <a:gd name="connsiteX654" fmla="*/ 1659324 w 2663946"/>
                <a:gd name="connsiteY654" fmla="*/ 129499 h 349382"/>
                <a:gd name="connsiteX655" fmla="*/ 1656891 w 2663946"/>
                <a:gd name="connsiteY655" fmla="*/ 123821 h 349382"/>
                <a:gd name="connsiteX656" fmla="*/ 1659054 w 2663946"/>
                <a:gd name="connsiteY656" fmla="*/ 118684 h 349382"/>
                <a:gd name="connsiteX657" fmla="*/ 1664732 w 2663946"/>
                <a:gd name="connsiteY657" fmla="*/ 116250 h 349382"/>
                <a:gd name="connsiteX658" fmla="*/ 1672573 w 2663946"/>
                <a:gd name="connsiteY658" fmla="*/ 116250 h 349382"/>
                <a:gd name="connsiteX659" fmla="*/ 1673114 w 2663946"/>
                <a:gd name="connsiteY659" fmla="*/ 115710 h 349382"/>
                <a:gd name="connsiteX660" fmla="*/ 1673114 w 2663946"/>
                <a:gd name="connsiteY660" fmla="*/ 69745 h 349382"/>
                <a:gd name="connsiteX661" fmla="*/ 1672573 w 2663946"/>
                <a:gd name="connsiteY661" fmla="*/ 69204 h 349382"/>
                <a:gd name="connsiteX662" fmla="*/ 1666625 w 2663946"/>
                <a:gd name="connsiteY662" fmla="*/ 69204 h 349382"/>
                <a:gd name="connsiteX663" fmla="*/ 1659324 w 2663946"/>
                <a:gd name="connsiteY663" fmla="*/ 64608 h 349382"/>
                <a:gd name="connsiteX664" fmla="*/ 1659054 w 2663946"/>
                <a:gd name="connsiteY664" fmla="*/ 58930 h 349382"/>
                <a:gd name="connsiteX665" fmla="*/ 1666354 w 2663946"/>
                <a:gd name="connsiteY665" fmla="*/ 53793 h 349382"/>
                <a:gd name="connsiteX666" fmla="*/ 1678521 w 2663946"/>
                <a:gd name="connsiteY666" fmla="*/ 53522 h 349382"/>
                <a:gd name="connsiteX667" fmla="*/ 1329614 w 2663946"/>
                <a:gd name="connsiteY667" fmla="*/ 53522 h 349382"/>
                <a:gd name="connsiteX668" fmla="*/ 1333670 w 2663946"/>
                <a:gd name="connsiteY668" fmla="*/ 53522 h 349382"/>
                <a:gd name="connsiteX669" fmla="*/ 1338266 w 2663946"/>
                <a:gd name="connsiteY669" fmla="*/ 55956 h 349382"/>
                <a:gd name="connsiteX670" fmla="*/ 1340429 w 2663946"/>
                <a:gd name="connsiteY670" fmla="*/ 62174 h 349382"/>
                <a:gd name="connsiteX671" fmla="*/ 1340429 w 2663946"/>
                <a:gd name="connsiteY671" fmla="*/ 62715 h 349382"/>
                <a:gd name="connsiteX672" fmla="*/ 1340429 w 2663946"/>
                <a:gd name="connsiteY672" fmla="*/ 115710 h 349382"/>
                <a:gd name="connsiteX673" fmla="*/ 1340970 w 2663946"/>
                <a:gd name="connsiteY673" fmla="*/ 116250 h 349382"/>
                <a:gd name="connsiteX674" fmla="*/ 1348270 w 2663946"/>
                <a:gd name="connsiteY674" fmla="*/ 116250 h 349382"/>
                <a:gd name="connsiteX675" fmla="*/ 1352326 w 2663946"/>
                <a:gd name="connsiteY675" fmla="*/ 117332 h 349382"/>
                <a:gd name="connsiteX676" fmla="*/ 1356111 w 2663946"/>
                <a:gd name="connsiteY676" fmla="*/ 124091 h 349382"/>
                <a:gd name="connsiteX677" fmla="*/ 1353408 w 2663946"/>
                <a:gd name="connsiteY677" fmla="*/ 129769 h 349382"/>
                <a:gd name="connsiteX678" fmla="*/ 1349352 w 2663946"/>
                <a:gd name="connsiteY678" fmla="*/ 131662 h 349382"/>
                <a:gd name="connsiteX679" fmla="*/ 1349082 w 2663946"/>
                <a:gd name="connsiteY679" fmla="*/ 131662 h 349382"/>
                <a:gd name="connsiteX680" fmla="*/ 1348811 w 2663946"/>
                <a:gd name="connsiteY680" fmla="*/ 131662 h 349382"/>
                <a:gd name="connsiteX681" fmla="*/ 1348270 w 2663946"/>
                <a:gd name="connsiteY681" fmla="*/ 131662 h 349382"/>
                <a:gd name="connsiteX682" fmla="*/ 1316095 w 2663946"/>
                <a:gd name="connsiteY682" fmla="*/ 131662 h 349382"/>
                <a:gd name="connsiteX683" fmla="*/ 1315555 w 2663946"/>
                <a:gd name="connsiteY683" fmla="*/ 131662 h 349382"/>
                <a:gd name="connsiteX684" fmla="*/ 1314743 w 2663946"/>
                <a:gd name="connsiteY684" fmla="*/ 131662 h 349382"/>
                <a:gd name="connsiteX685" fmla="*/ 1313932 w 2663946"/>
                <a:gd name="connsiteY685" fmla="*/ 131392 h 349382"/>
                <a:gd name="connsiteX686" fmla="*/ 1310417 w 2663946"/>
                <a:gd name="connsiteY686" fmla="*/ 129499 h 349382"/>
                <a:gd name="connsiteX687" fmla="*/ 1307984 w 2663946"/>
                <a:gd name="connsiteY687" fmla="*/ 123821 h 349382"/>
                <a:gd name="connsiteX688" fmla="*/ 1310147 w 2663946"/>
                <a:gd name="connsiteY688" fmla="*/ 118684 h 349382"/>
                <a:gd name="connsiteX689" fmla="*/ 1315825 w 2663946"/>
                <a:gd name="connsiteY689" fmla="*/ 116250 h 349382"/>
                <a:gd name="connsiteX690" fmla="*/ 1323666 w 2663946"/>
                <a:gd name="connsiteY690" fmla="*/ 116250 h 349382"/>
                <a:gd name="connsiteX691" fmla="*/ 1324207 w 2663946"/>
                <a:gd name="connsiteY691" fmla="*/ 115710 h 349382"/>
                <a:gd name="connsiteX692" fmla="*/ 1324207 w 2663946"/>
                <a:gd name="connsiteY692" fmla="*/ 69745 h 349382"/>
                <a:gd name="connsiteX693" fmla="*/ 1323666 w 2663946"/>
                <a:gd name="connsiteY693" fmla="*/ 69204 h 349382"/>
                <a:gd name="connsiteX694" fmla="*/ 1317718 w 2663946"/>
                <a:gd name="connsiteY694" fmla="*/ 69204 h 349382"/>
                <a:gd name="connsiteX695" fmla="*/ 1310417 w 2663946"/>
                <a:gd name="connsiteY695" fmla="*/ 64608 h 349382"/>
                <a:gd name="connsiteX696" fmla="*/ 1310147 w 2663946"/>
                <a:gd name="connsiteY696" fmla="*/ 58930 h 349382"/>
                <a:gd name="connsiteX697" fmla="*/ 1317447 w 2663946"/>
                <a:gd name="connsiteY697" fmla="*/ 53793 h 349382"/>
                <a:gd name="connsiteX698" fmla="*/ 1329614 w 2663946"/>
                <a:gd name="connsiteY698" fmla="*/ 53522 h 349382"/>
                <a:gd name="connsiteX699" fmla="*/ 980634 w 2663946"/>
                <a:gd name="connsiteY699" fmla="*/ 53522 h 349382"/>
                <a:gd name="connsiteX700" fmla="*/ 984690 w 2663946"/>
                <a:gd name="connsiteY700" fmla="*/ 53522 h 349382"/>
                <a:gd name="connsiteX701" fmla="*/ 989286 w 2663946"/>
                <a:gd name="connsiteY701" fmla="*/ 55956 h 349382"/>
                <a:gd name="connsiteX702" fmla="*/ 991449 w 2663946"/>
                <a:gd name="connsiteY702" fmla="*/ 62174 h 349382"/>
                <a:gd name="connsiteX703" fmla="*/ 991449 w 2663946"/>
                <a:gd name="connsiteY703" fmla="*/ 62715 h 349382"/>
                <a:gd name="connsiteX704" fmla="*/ 991449 w 2663946"/>
                <a:gd name="connsiteY704" fmla="*/ 115710 h 349382"/>
                <a:gd name="connsiteX705" fmla="*/ 991990 w 2663946"/>
                <a:gd name="connsiteY705" fmla="*/ 116250 h 349382"/>
                <a:gd name="connsiteX706" fmla="*/ 999290 w 2663946"/>
                <a:gd name="connsiteY706" fmla="*/ 116250 h 349382"/>
                <a:gd name="connsiteX707" fmla="*/ 1003346 w 2663946"/>
                <a:gd name="connsiteY707" fmla="*/ 117332 h 349382"/>
                <a:gd name="connsiteX708" fmla="*/ 1007131 w 2663946"/>
                <a:gd name="connsiteY708" fmla="*/ 124091 h 349382"/>
                <a:gd name="connsiteX709" fmla="*/ 1004428 w 2663946"/>
                <a:gd name="connsiteY709" fmla="*/ 129769 h 349382"/>
                <a:gd name="connsiteX710" fmla="*/ 1000372 w 2663946"/>
                <a:gd name="connsiteY710" fmla="*/ 131662 h 349382"/>
                <a:gd name="connsiteX711" fmla="*/ 1000102 w 2663946"/>
                <a:gd name="connsiteY711" fmla="*/ 131662 h 349382"/>
                <a:gd name="connsiteX712" fmla="*/ 999831 w 2663946"/>
                <a:gd name="connsiteY712" fmla="*/ 131662 h 349382"/>
                <a:gd name="connsiteX713" fmla="*/ 999290 w 2663946"/>
                <a:gd name="connsiteY713" fmla="*/ 131662 h 349382"/>
                <a:gd name="connsiteX714" fmla="*/ 967115 w 2663946"/>
                <a:gd name="connsiteY714" fmla="*/ 131662 h 349382"/>
                <a:gd name="connsiteX715" fmla="*/ 966575 w 2663946"/>
                <a:gd name="connsiteY715" fmla="*/ 131662 h 349382"/>
                <a:gd name="connsiteX716" fmla="*/ 965763 w 2663946"/>
                <a:gd name="connsiteY716" fmla="*/ 131662 h 349382"/>
                <a:gd name="connsiteX717" fmla="*/ 964952 w 2663946"/>
                <a:gd name="connsiteY717" fmla="*/ 131392 h 349382"/>
                <a:gd name="connsiteX718" fmla="*/ 961437 w 2663946"/>
                <a:gd name="connsiteY718" fmla="*/ 129499 h 349382"/>
                <a:gd name="connsiteX719" fmla="*/ 959004 w 2663946"/>
                <a:gd name="connsiteY719" fmla="*/ 123821 h 349382"/>
                <a:gd name="connsiteX720" fmla="*/ 961167 w 2663946"/>
                <a:gd name="connsiteY720" fmla="*/ 118684 h 349382"/>
                <a:gd name="connsiteX721" fmla="*/ 966845 w 2663946"/>
                <a:gd name="connsiteY721" fmla="*/ 116250 h 349382"/>
                <a:gd name="connsiteX722" fmla="*/ 974686 w 2663946"/>
                <a:gd name="connsiteY722" fmla="*/ 116250 h 349382"/>
                <a:gd name="connsiteX723" fmla="*/ 975227 w 2663946"/>
                <a:gd name="connsiteY723" fmla="*/ 115710 h 349382"/>
                <a:gd name="connsiteX724" fmla="*/ 975227 w 2663946"/>
                <a:gd name="connsiteY724" fmla="*/ 69745 h 349382"/>
                <a:gd name="connsiteX725" fmla="*/ 974686 w 2663946"/>
                <a:gd name="connsiteY725" fmla="*/ 69204 h 349382"/>
                <a:gd name="connsiteX726" fmla="*/ 968738 w 2663946"/>
                <a:gd name="connsiteY726" fmla="*/ 69204 h 349382"/>
                <a:gd name="connsiteX727" fmla="*/ 961437 w 2663946"/>
                <a:gd name="connsiteY727" fmla="*/ 64608 h 349382"/>
                <a:gd name="connsiteX728" fmla="*/ 961167 w 2663946"/>
                <a:gd name="connsiteY728" fmla="*/ 58930 h 349382"/>
                <a:gd name="connsiteX729" fmla="*/ 968467 w 2663946"/>
                <a:gd name="connsiteY729" fmla="*/ 53793 h 349382"/>
                <a:gd name="connsiteX730" fmla="*/ 980634 w 2663946"/>
                <a:gd name="connsiteY730" fmla="*/ 53522 h 349382"/>
                <a:gd name="connsiteX731" fmla="*/ 813605 w 2663946"/>
                <a:gd name="connsiteY731" fmla="*/ 53522 h 349382"/>
                <a:gd name="connsiteX732" fmla="*/ 817661 w 2663946"/>
                <a:gd name="connsiteY732" fmla="*/ 53522 h 349382"/>
                <a:gd name="connsiteX733" fmla="*/ 822257 w 2663946"/>
                <a:gd name="connsiteY733" fmla="*/ 55956 h 349382"/>
                <a:gd name="connsiteX734" fmla="*/ 824420 w 2663946"/>
                <a:gd name="connsiteY734" fmla="*/ 62174 h 349382"/>
                <a:gd name="connsiteX735" fmla="*/ 824420 w 2663946"/>
                <a:gd name="connsiteY735" fmla="*/ 62715 h 349382"/>
                <a:gd name="connsiteX736" fmla="*/ 824420 w 2663946"/>
                <a:gd name="connsiteY736" fmla="*/ 115710 h 349382"/>
                <a:gd name="connsiteX737" fmla="*/ 824961 w 2663946"/>
                <a:gd name="connsiteY737" fmla="*/ 116250 h 349382"/>
                <a:gd name="connsiteX738" fmla="*/ 832261 w 2663946"/>
                <a:gd name="connsiteY738" fmla="*/ 116250 h 349382"/>
                <a:gd name="connsiteX739" fmla="*/ 836317 w 2663946"/>
                <a:gd name="connsiteY739" fmla="*/ 117332 h 349382"/>
                <a:gd name="connsiteX740" fmla="*/ 840102 w 2663946"/>
                <a:gd name="connsiteY740" fmla="*/ 124091 h 349382"/>
                <a:gd name="connsiteX741" fmla="*/ 837399 w 2663946"/>
                <a:gd name="connsiteY741" fmla="*/ 129769 h 349382"/>
                <a:gd name="connsiteX742" fmla="*/ 833343 w 2663946"/>
                <a:gd name="connsiteY742" fmla="*/ 131662 h 349382"/>
                <a:gd name="connsiteX743" fmla="*/ 833073 w 2663946"/>
                <a:gd name="connsiteY743" fmla="*/ 131662 h 349382"/>
                <a:gd name="connsiteX744" fmla="*/ 832802 w 2663946"/>
                <a:gd name="connsiteY744" fmla="*/ 131662 h 349382"/>
                <a:gd name="connsiteX745" fmla="*/ 832261 w 2663946"/>
                <a:gd name="connsiteY745" fmla="*/ 131662 h 349382"/>
                <a:gd name="connsiteX746" fmla="*/ 800086 w 2663946"/>
                <a:gd name="connsiteY746" fmla="*/ 131662 h 349382"/>
                <a:gd name="connsiteX747" fmla="*/ 799546 w 2663946"/>
                <a:gd name="connsiteY747" fmla="*/ 131662 h 349382"/>
                <a:gd name="connsiteX748" fmla="*/ 798734 w 2663946"/>
                <a:gd name="connsiteY748" fmla="*/ 131662 h 349382"/>
                <a:gd name="connsiteX749" fmla="*/ 797923 w 2663946"/>
                <a:gd name="connsiteY749" fmla="*/ 131392 h 349382"/>
                <a:gd name="connsiteX750" fmla="*/ 794408 w 2663946"/>
                <a:gd name="connsiteY750" fmla="*/ 129499 h 349382"/>
                <a:gd name="connsiteX751" fmla="*/ 791975 w 2663946"/>
                <a:gd name="connsiteY751" fmla="*/ 123821 h 349382"/>
                <a:gd name="connsiteX752" fmla="*/ 794138 w 2663946"/>
                <a:gd name="connsiteY752" fmla="*/ 118684 h 349382"/>
                <a:gd name="connsiteX753" fmla="*/ 799816 w 2663946"/>
                <a:gd name="connsiteY753" fmla="*/ 116250 h 349382"/>
                <a:gd name="connsiteX754" fmla="*/ 807657 w 2663946"/>
                <a:gd name="connsiteY754" fmla="*/ 116250 h 349382"/>
                <a:gd name="connsiteX755" fmla="*/ 808198 w 2663946"/>
                <a:gd name="connsiteY755" fmla="*/ 115710 h 349382"/>
                <a:gd name="connsiteX756" fmla="*/ 808198 w 2663946"/>
                <a:gd name="connsiteY756" fmla="*/ 69745 h 349382"/>
                <a:gd name="connsiteX757" fmla="*/ 807657 w 2663946"/>
                <a:gd name="connsiteY757" fmla="*/ 69204 h 349382"/>
                <a:gd name="connsiteX758" fmla="*/ 801709 w 2663946"/>
                <a:gd name="connsiteY758" fmla="*/ 69204 h 349382"/>
                <a:gd name="connsiteX759" fmla="*/ 794408 w 2663946"/>
                <a:gd name="connsiteY759" fmla="*/ 64608 h 349382"/>
                <a:gd name="connsiteX760" fmla="*/ 794138 w 2663946"/>
                <a:gd name="connsiteY760" fmla="*/ 58930 h 349382"/>
                <a:gd name="connsiteX761" fmla="*/ 801438 w 2663946"/>
                <a:gd name="connsiteY761" fmla="*/ 53793 h 349382"/>
                <a:gd name="connsiteX762" fmla="*/ 813605 w 2663946"/>
                <a:gd name="connsiteY762" fmla="*/ 53522 h 349382"/>
                <a:gd name="connsiteX763" fmla="*/ 282748 w 2663946"/>
                <a:gd name="connsiteY763" fmla="*/ 53522 h 349382"/>
                <a:gd name="connsiteX764" fmla="*/ 286803 w 2663946"/>
                <a:gd name="connsiteY764" fmla="*/ 53522 h 349382"/>
                <a:gd name="connsiteX765" fmla="*/ 291400 w 2663946"/>
                <a:gd name="connsiteY765" fmla="*/ 55956 h 349382"/>
                <a:gd name="connsiteX766" fmla="*/ 293563 w 2663946"/>
                <a:gd name="connsiteY766" fmla="*/ 62174 h 349382"/>
                <a:gd name="connsiteX767" fmla="*/ 293563 w 2663946"/>
                <a:gd name="connsiteY767" fmla="*/ 62715 h 349382"/>
                <a:gd name="connsiteX768" fmla="*/ 293563 w 2663946"/>
                <a:gd name="connsiteY768" fmla="*/ 115710 h 349382"/>
                <a:gd name="connsiteX769" fmla="*/ 294104 w 2663946"/>
                <a:gd name="connsiteY769" fmla="*/ 116250 h 349382"/>
                <a:gd name="connsiteX770" fmla="*/ 301404 w 2663946"/>
                <a:gd name="connsiteY770" fmla="*/ 116250 h 349382"/>
                <a:gd name="connsiteX771" fmla="*/ 305460 w 2663946"/>
                <a:gd name="connsiteY771" fmla="*/ 117332 h 349382"/>
                <a:gd name="connsiteX772" fmla="*/ 309245 w 2663946"/>
                <a:gd name="connsiteY772" fmla="*/ 124091 h 349382"/>
                <a:gd name="connsiteX773" fmla="*/ 306541 w 2663946"/>
                <a:gd name="connsiteY773" fmla="*/ 129769 h 349382"/>
                <a:gd name="connsiteX774" fmla="*/ 302485 w 2663946"/>
                <a:gd name="connsiteY774" fmla="*/ 131662 h 349382"/>
                <a:gd name="connsiteX775" fmla="*/ 302215 w 2663946"/>
                <a:gd name="connsiteY775" fmla="*/ 131662 h 349382"/>
                <a:gd name="connsiteX776" fmla="*/ 301945 w 2663946"/>
                <a:gd name="connsiteY776" fmla="*/ 131662 h 349382"/>
                <a:gd name="connsiteX777" fmla="*/ 301404 w 2663946"/>
                <a:gd name="connsiteY777" fmla="*/ 131662 h 349382"/>
                <a:gd name="connsiteX778" fmla="*/ 269229 w 2663946"/>
                <a:gd name="connsiteY778" fmla="*/ 131662 h 349382"/>
                <a:gd name="connsiteX779" fmla="*/ 268688 w 2663946"/>
                <a:gd name="connsiteY779" fmla="*/ 131662 h 349382"/>
                <a:gd name="connsiteX780" fmla="*/ 267877 w 2663946"/>
                <a:gd name="connsiteY780" fmla="*/ 131662 h 349382"/>
                <a:gd name="connsiteX781" fmla="*/ 267066 w 2663946"/>
                <a:gd name="connsiteY781" fmla="*/ 131392 h 349382"/>
                <a:gd name="connsiteX782" fmla="*/ 263551 w 2663946"/>
                <a:gd name="connsiteY782" fmla="*/ 129499 h 349382"/>
                <a:gd name="connsiteX783" fmla="*/ 261117 w 2663946"/>
                <a:gd name="connsiteY783" fmla="*/ 123821 h 349382"/>
                <a:gd name="connsiteX784" fmla="*/ 263281 w 2663946"/>
                <a:gd name="connsiteY784" fmla="*/ 118684 h 349382"/>
                <a:gd name="connsiteX785" fmla="*/ 268958 w 2663946"/>
                <a:gd name="connsiteY785" fmla="*/ 116250 h 349382"/>
                <a:gd name="connsiteX786" fmla="*/ 276800 w 2663946"/>
                <a:gd name="connsiteY786" fmla="*/ 116250 h 349382"/>
                <a:gd name="connsiteX787" fmla="*/ 277340 w 2663946"/>
                <a:gd name="connsiteY787" fmla="*/ 115710 h 349382"/>
                <a:gd name="connsiteX788" fmla="*/ 277340 w 2663946"/>
                <a:gd name="connsiteY788" fmla="*/ 69745 h 349382"/>
                <a:gd name="connsiteX789" fmla="*/ 276800 w 2663946"/>
                <a:gd name="connsiteY789" fmla="*/ 69204 h 349382"/>
                <a:gd name="connsiteX790" fmla="*/ 270851 w 2663946"/>
                <a:gd name="connsiteY790" fmla="*/ 69204 h 349382"/>
                <a:gd name="connsiteX791" fmla="*/ 263551 w 2663946"/>
                <a:gd name="connsiteY791" fmla="*/ 64608 h 349382"/>
                <a:gd name="connsiteX792" fmla="*/ 263281 w 2663946"/>
                <a:gd name="connsiteY792" fmla="*/ 58930 h 349382"/>
                <a:gd name="connsiteX793" fmla="*/ 270581 w 2663946"/>
                <a:gd name="connsiteY793" fmla="*/ 53793 h 349382"/>
                <a:gd name="connsiteX794" fmla="*/ 282748 w 2663946"/>
                <a:gd name="connsiteY794" fmla="*/ 53522 h 349382"/>
                <a:gd name="connsiteX795" fmla="*/ 206731 w 2663946"/>
                <a:gd name="connsiteY795" fmla="*/ 53522 h 349382"/>
                <a:gd name="connsiteX796" fmla="*/ 210787 w 2663946"/>
                <a:gd name="connsiteY796" fmla="*/ 53522 h 349382"/>
                <a:gd name="connsiteX797" fmla="*/ 215383 w 2663946"/>
                <a:gd name="connsiteY797" fmla="*/ 55956 h 349382"/>
                <a:gd name="connsiteX798" fmla="*/ 217546 w 2663946"/>
                <a:gd name="connsiteY798" fmla="*/ 62174 h 349382"/>
                <a:gd name="connsiteX799" fmla="*/ 217546 w 2663946"/>
                <a:gd name="connsiteY799" fmla="*/ 62715 h 349382"/>
                <a:gd name="connsiteX800" fmla="*/ 217546 w 2663946"/>
                <a:gd name="connsiteY800" fmla="*/ 115710 h 349382"/>
                <a:gd name="connsiteX801" fmla="*/ 218087 w 2663946"/>
                <a:gd name="connsiteY801" fmla="*/ 116250 h 349382"/>
                <a:gd name="connsiteX802" fmla="*/ 225387 w 2663946"/>
                <a:gd name="connsiteY802" fmla="*/ 116250 h 349382"/>
                <a:gd name="connsiteX803" fmla="*/ 229443 w 2663946"/>
                <a:gd name="connsiteY803" fmla="*/ 117332 h 349382"/>
                <a:gd name="connsiteX804" fmla="*/ 233228 w 2663946"/>
                <a:gd name="connsiteY804" fmla="*/ 124091 h 349382"/>
                <a:gd name="connsiteX805" fmla="*/ 230524 w 2663946"/>
                <a:gd name="connsiteY805" fmla="*/ 129769 h 349382"/>
                <a:gd name="connsiteX806" fmla="*/ 226468 w 2663946"/>
                <a:gd name="connsiteY806" fmla="*/ 131662 h 349382"/>
                <a:gd name="connsiteX807" fmla="*/ 226198 w 2663946"/>
                <a:gd name="connsiteY807" fmla="*/ 131662 h 349382"/>
                <a:gd name="connsiteX808" fmla="*/ 225928 w 2663946"/>
                <a:gd name="connsiteY808" fmla="*/ 131662 h 349382"/>
                <a:gd name="connsiteX809" fmla="*/ 225387 w 2663946"/>
                <a:gd name="connsiteY809" fmla="*/ 131662 h 349382"/>
                <a:gd name="connsiteX810" fmla="*/ 193212 w 2663946"/>
                <a:gd name="connsiteY810" fmla="*/ 131662 h 349382"/>
                <a:gd name="connsiteX811" fmla="*/ 192671 w 2663946"/>
                <a:gd name="connsiteY811" fmla="*/ 131662 h 349382"/>
                <a:gd name="connsiteX812" fmla="*/ 191860 w 2663946"/>
                <a:gd name="connsiteY812" fmla="*/ 131662 h 349382"/>
                <a:gd name="connsiteX813" fmla="*/ 191049 w 2663946"/>
                <a:gd name="connsiteY813" fmla="*/ 131392 h 349382"/>
                <a:gd name="connsiteX814" fmla="*/ 187534 w 2663946"/>
                <a:gd name="connsiteY814" fmla="*/ 129499 h 349382"/>
                <a:gd name="connsiteX815" fmla="*/ 185101 w 2663946"/>
                <a:gd name="connsiteY815" fmla="*/ 123821 h 349382"/>
                <a:gd name="connsiteX816" fmla="*/ 187264 w 2663946"/>
                <a:gd name="connsiteY816" fmla="*/ 118684 h 349382"/>
                <a:gd name="connsiteX817" fmla="*/ 192942 w 2663946"/>
                <a:gd name="connsiteY817" fmla="*/ 116250 h 349382"/>
                <a:gd name="connsiteX818" fmla="*/ 200783 w 2663946"/>
                <a:gd name="connsiteY818" fmla="*/ 116250 h 349382"/>
                <a:gd name="connsiteX819" fmla="*/ 201323 w 2663946"/>
                <a:gd name="connsiteY819" fmla="*/ 115710 h 349382"/>
                <a:gd name="connsiteX820" fmla="*/ 201323 w 2663946"/>
                <a:gd name="connsiteY820" fmla="*/ 69745 h 349382"/>
                <a:gd name="connsiteX821" fmla="*/ 200783 w 2663946"/>
                <a:gd name="connsiteY821" fmla="*/ 69204 h 349382"/>
                <a:gd name="connsiteX822" fmla="*/ 194834 w 2663946"/>
                <a:gd name="connsiteY822" fmla="*/ 69204 h 349382"/>
                <a:gd name="connsiteX823" fmla="*/ 187534 w 2663946"/>
                <a:gd name="connsiteY823" fmla="*/ 64608 h 349382"/>
                <a:gd name="connsiteX824" fmla="*/ 187264 w 2663946"/>
                <a:gd name="connsiteY824" fmla="*/ 58930 h 349382"/>
                <a:gd name="connsiteX825" fmla="*/ 194564 w 2663946"/>
                <a:gd name="connsiteY825" fmla="*/ 53793 h 349382"/>
                <a:gd name="connsiteX826" fmla="*/ 206731 w 2663946"/>
                <a:gd name="connsiteY826" fmla="*/ 53522 h 349382"/>
                <a:gd name="connsiteX827" fmla="*/ 2627559 w 2663946"/>
                <a:gd name="connsiteY827" fmla="*/ 53453 h 349382"/>
                <a:gd name="connsiteX828" fmla="*/ 2639849 w 2663946"/>
                <a:gd name="connsiteY828" fmla="*/ 55616 h 349382"/>
                <a:gd name="connsiteX829" fmla="*/ 2647223 w 2663946"/>
                <a:gd name="connsiteY829" fmla="*/ 60213 h 349382"/>
                <a:gd name="connsiteX830" fmla="*/ 2650664 w 2663946"/>
                <a:gd name="connsiteY830" fmla="*/ 63457 h 349382"/>
                <a:gd name="connsiteX831" fmla="*/ 2654106 w 2663946"/>
                <a:gd name="connsiteY831" fmla="*/ 67783 h 349382"/>
                <a:gd name="connsiteX832" fmla="*/ 2656072 w 2663946"/>
                <a:gd name="connsiteY832" fmla="*/ 71298 h 349382"/>
                <a:gd name="connsiteX833" fmla="*/ 2658284 w 2663946"/>
                <a:gd name="connsiteY833" fmla="*/ 76706 h 349382"/>
                <a:gd name="connsiteX834" fmla="*/ 2659267 w 2663946"/>
                <a:gd name="connsiteY834" fmla="*/ 80221 h 349382"/>
                <a:gd name="connsiteX835" fmla="*/ 2660251 w 2663946"/>
                <a:gd name="connsiteY835" fmla="*/ 85358 h 349382"/>
                <a:gd name="connsiteX836" fmla="*/ 2660005 w 2663946"/>
                <a:gd name="connsiteY836" fmla="*/ 99688 h 349382"/>
                <a:gd name="connsiteX837" fmla="*/ 2659022 w 2663946"/>
                <a:gd name="connsiteY837" fmla="*/ 104555 h 349382"/>
                <a:gd name="connsiteX838" fmla="*/ 2657792 w 2663946"/>
                <a:gd name="connsiteY838" fmla="*/ 108340 h 349382"/>
                <a:gd name="connsiteX839" fmla="*/ 2656809 w 2663946"/>
                <a:gd name="connsiteY839" fmla="*/ 110774 h 349382"/>
                <a:gd name="connsiteX840" fmla="*/ 2654597 w 2663946"/>
                <a:gd name="connsiteY840" fmla="*/ 115100 h 349382"/>
                <a:gd name="connsiteX841" fmla="*/ 2652385 w 2663946"/>
                <a:gd name="connsiteY841" fmla="*/ 118344 h 349382"/>
                <a:gd name="connsiteX842" fmla="*/ 2648944 w 2663946"/>
                <a:gd name="connsiteY842" fmla="*/ 122130 h 349382"/>
                <a:gd name="connsiteX843" fmla="*/ 2645748 w 2663946"/>
                <a:gd name="connsiteY843" fmla="*/ 124833 h 349382"/>
                <a:gd name="connsiteX844" fmla="*/ 2640095 w 2663946"/>
                <a:gd name="connsiteY844" fmla="*/ 128078 h 349382"/>
                <a:gd name="connsiteX845" fmla="*/ 2632229 w 2663946"/>
                <a:gd name="connsiteY845" fmla="*/ 130241 h 349382"/>
                <a:gd name="connsiteX846" fmla="*/ 2631000 w 2663946"/>
                <a:gd name="connsiteY846" fmla="*/ 130512 h 349382"/>
                <a:gd name="connsiteX847" fmla="*/ 2626821 w 2663946"/>
                <a:gd name="connsiteY847" fmla="*/ 130512 h 349382"/>
                <a:gd name="connsiteX848" fmla="*/ 2626576 w 2663946"/>
                <a:gd name="connsiteY848" fmla="*/ 130512 h 349382"/>
                <a:gd name="connsiteX849" fmla="*/ 2613548 w 2663946"/>
                <a:gd name="connsiteY849" fmla="*/ 125645 h 349382"/>
                <a:gd name="connsiteX850" fmla="*/ 2608878 w 2663946"/>
                <a:gd name="connsiteY850" fmla="*/ 121589 h 349382"/>
                <a:gd name="connsiteX851" fmla="*/ 2605682 w 2663946"/>
                <a:gd name="connsiteY851" fmla="*/ 117804 h 349382"/>
                <a:gd name="connsiteX852" fmla="*/ 2603470 w 2663946"/>
                <a:gd name="connsiteY852" fmla="*/ 114289 h 349382"/>
                <a:gd name="connsiteX853" fmla="*/ 2601258 w 2663946"/>
                <a:gd name="connsiteY853" fmla="*/ 109963 h 349382"/>
                <a:gd name="connsiteX854" fmla="*/ 2600029 w 2663946"/>
                <a:gd name="connsiteY854" fmla="*/ 106988 h 349382"/>
                <a:gd name="connsiteX855" fmla="*/ 2599046 w 2663946"/>
                <a:gd name="connsiteY855" fmla="*/ 103744 h 349382"/>
                <a:gd name="connsiteX856" fmla="*/ 2597816 w 2663946"/>
                <a:gd name="connsiteY856" fmla="*/ 98066 h 349382"/>
                <a:gd name="connsiteX857" fmla="*/ 2597571 w 2663946"/>
                <a:gd name="connsiteY857" fmla="*/ 95092 h 349382"/>
                <a:gd name="connsiteX858" fmla="*/ 2597816 w 2663946"/>
                <a:gd name="connsiteY858" fmla="*/ 95362 h 349382"/>
                <a:gd name="connsiteX859" fmla="*/ 2597816 w 2663946"/>
                <a:gd name="connsiteY859" fmla="*/ 89684 h 349382"/>
                <a:gd name="connsiteX860" fmla="*/ 2597816 w 2663946"/>
                <a:gd name="connsiteY860" fmla="*/ 89414 h 349382"/>
                <a:gd name="connsiteX861" fmla="*/ 2598308 w 2663946"/>
                <a:gd name="connsiteY861" fmla="*/ 84817 h 349382"/>
                <a:gd name="connsiteX862" fmla="*/ 2599537 w 2663946"/>
                <a:gd name="connsiteY862" fmla="*/ 79410 h 349382"/>
                <a:gd name="connsiteX863" fmla="*/ 2600520 w 2663946"/>
                <a:gd name="connsiteY863" fmla="*/ 76165 h 349382"/>
                <a:gd name="connsiteX864" fmla="*/ 2602732 w 2663946"/>
                <a:gd name="connsiteY864" fmla="*/ 71028 h 349382"/>
                <a:gd name="connsiteX865" fmla="*/ 2604945 w 2663946"/>
                <a:gd name="connsiteY865" fmla="*/ 67243 h 349382"/>
                <a:gd name="connsiteX866" fmla="*/ 2607157 w 2663946"/>
                <a:gd name="connsiteY866" fmla="*/ 64268 h 349382"/>
                <a:gd name="connsiteX867" fmla="*/ 2609369 w 2663946"/>
                <a:gd name="connsiteY867" fmla="*/ 61835 h 349382"/>
                <a:gd name="connsiteX868" fmla="*/ 2614039 w 2663946"/>
                <a:gd name="connsiteY868" fmla="*/ 58050 h 349382"/>
                <a:gd name="connsiteX869" fmla="*/ 2617972 w 2663946"/>
                <a:gd name="connsiteY869" fmla="*/ 55887 h 349382"/>
                <a:gd name="connsiteX870" fmla="*/ 2627559 w 2663946"/>
                <a:gd name="connsiteY870" fmla="*/ 53453 h 349382"/>
                <a:gd name="connsiteX871" fmla="*/ 2445604 w 2663946"/>
                <a:gd name="connsiteY871" fmla="*/ 53453 h 349382"/>
                <a:gd name="connsiteX872" fmla="*/ 2457894 w 2663946"/>
                <a:gd name="connsiteY872" fmla="*/ 55616 h 349382"/>
                <a:gd name="connsiteX873" fmla="*/ 2465268 w 2663946"/>
                <a:gd name="connsiteY873" fmla="*/ 60213 h 349382"/>
                <a:gd name="connsiteX874" fmla="*/ 2468709 w 2663946"/>
                <a:gd name="connsiteY874" fmla="*/ 63457 h 349382"/>
                <a:gd name="connsiteX875" fmla="*/ 2472151 w 2663946"/>
                <a:gd name="connsiteY875" fmla="*/ 67783 h 349382"/>
                <a:gd name="connsiteX876" fmla="*/ 2474117 w 2663946"/>
                <a:gd name="connsiteY876" fmla="*/ 71298 h 349382"/>
                <a:gd name="connsiteX877" fmla="*/ 2476329 w 2663946"/>
                <a:gd name="connsiteY877" fmla="*/ 76706 h 349382"/>
                <a:gd name="connsiteX878" fmla="*/ 2477312 w 2663946"/>
                <a:gd name="connsiteY878" fmla="*/ 80221 h 349382"/>
                <a:gd name="connsiteX879" fmla="*/ 2478296 w 2663946"/>
                <a:gd name="connsiteY879" fmla="*/ 85358 h 349382"/>
                <a:gd name="connsiteX880" fmla="*/ 2478050 w 2663946"/>
                <a:gd name="connsiteY880" fmla="*/ 99688 h 349382"/>
                <a:gd name="connsiteX881" fmla="*/ 2477067 w 2663946"/>
                <a:gd name="connsiteY881" fmla="*/ 104555 h 349382"/>
                <a:gd name="connsiteX882" fmla="*/ 2475837 w 2663946"/>
                <a:gd name="connsiteY882" fmla="*/ 108340 h 349382"/>
                <a:gd name="connsiteX883" fmla="*/ 2474854 w 2663946"/>
                <a:gd name="connsiteY883" fmla="*/ 110774 h 349382"/>
                <a:gd name="connsiteX884" fmla="*/ 2472642 w 2663946"/>
                <a:gd name="connsiteY884" fmla="*/ 115100 h 349382"/>
                <a:gd name="connsiteX885" fmla="*/ 2470430 w 2663946"/>
                <a:gd name="connsiteY885" fmla="*/ 118344 h 349382"/>
                <a:gd name="connsiteX886" fmla="*/ 2466989 w 2663946"/>
                <a:gd name="connsiteY886" fmla="*/ 122130 h 349382"/>
                <a:gd name="connsiteX887" fmla="*/ 2463793 w 2663946"/>
                <a:gd name="connsiteY887" fmla="*/ 124833 h 349382"/>
                <a:gd name="connsiteX888" fmla="*/ 2458140 w 2663946"/>
                <a:gd name="connsiteY888" fmla="*/ 128078 h 349382"/>
                <a:gd name="connsiteX889" fmla="*/ 2450274 w 2663946"/>
                <a:gd name="connsiteY889" fmla="*/ 130241 h 349382"/>
                <a:gd name="connsiteX890" fmla="*/ 2449045 w 2663946"/>
                <a:gd name="connsiteY890" fmla="*/ 130512 h 349382"/>
                <a:gd name="connsiteX891" fmla="*/ 2444866 w 2663946"/>
                <a:gd name="connsiteY891" fmla="*/ 130512 h 349382"/>
                <a:gd name="connsiteX892" fmla="*/ 2444621 w 2663946"/>
                <a:gd name="connsiteY892" fmla="*/ 130512 h 349382"/>
                <a:gd name="connsiteX893" fmla="*/ 2431593 w 2663946"/>
                <a:gd name="connsiteY893" fmla="*/ 125645 h 349382"/>
                <a:gd name="connsiteX894" fmla="*/ 2426923 w 2663946"/>
                <a:gd name="connsiteY894" fmla="*/ 121589 h 349382"/>
                <a:gd name="connsiteX895" fmla="*/ 2423727 w 2663946"/>
                <a:gd name="connsiteY895" fmla="*/ 117804 h 349382"/>
                <a:gd name="connsiteX896" fmla="*/ 2421515 w 2663946"/>
                <a:gd name="connsiteY896" fmla="*/ 114289 h 349382"/>
                <a:gd name="connsiteX897" fmla="*/ 2419303 w 2663946"/>
                <a:gd name="connsiteY897" fmla="*/ 109963 h 349382"/>
                <a:gd name="connsiteX898" fmla="*/ 2418074 w 2663946"/>
                <a:gd name="connsiteY898" fmla="*/ 106988 h 349382"/>
                <a:gd name="connsiteX899" fmla="*/ 2417091 w 2663946"/>
                <a:gd name="connsiteY899" fmla="*/ 103744 h 349382"/>
                <a:gd name="connsiteX900" fmla="*/ 2415861 w 2663946"/>
                <a:gd name="connsiteY900" fmla="*/ 98066 h 349382"/>
                <a:gd name="connsiteX901" fmla="*/ 2415616 w 2663946"/>
                <a:gd name="connsiteY901" fmla="*/ 95092 h 349382"/>
                <a:gd name="connsiteX902" fmla="*/ 2415861 w 2663946"/>
                <a:gd name="connsiteY902" fmla="*/ 95362 h 349382"/>
                <a:gd name="connsiteX903" fmla="*/ 2415861 w 2663946"/>
                <a:gd name="connsiteY903" fmla="*/ 89684 h 349382"/>
                <a:gd name="connsiteX904" fmla="*/ 2415861 w 2663946"/>
                <a:gd name="connsiteY904" fmla="*/ 89414 h 349382"/>
                <a:gd name="connsiteX905" fmla="*/ 2416353 w 2663946"/>
                <a:gd name="connsiteY905" fmla="*/ 84817 h 349382"/>
                <a:gd name="connsiteX906" fmla="*/ 2417582 w 2663946"/>
                <a:gd name="connsiteY906" fmla="*/ 79410 h 349382"/>
                <a:gd name="connsiteX907" fmla="*/ 2418565 w 2663946"/>
                <a:gd name="connsiteY907" fmla="*/ 76165 h 349382"/>
                <a:gd name="connsiteX908" fmla="*/ 2420777 w 2663946"/>
                <a:gd name="connsiteY908" fmla="*/ 71028 h 349382"/>
                <a:gd name="connsiteX909" fmla="*/ 2422990 w 2663946"/>
                <a:gd name="connsiteY909" fmla="*/ 67243 h 349382"/>
                <a:gd name="connsiteX910" fmla="*/ 2425202 w 2663946"/>
                <a:gd name="connsiteY910" fmla="*/ 64268 h 349382"/>
                <a:gd name="connsiteX911" fmla="*/ 2427414 w 2663946"/>
                <a:gd name="connsiteY911" fmla="*/ 61835 h 349382"/>
                <a:gd name="connsiteX912" fmla="*/ 2432084 w 2663946"/>
                <a:gd name="connsiteY912" fmla="*/ 58050 h 349382"/>
                <a:gd name="connsiteX913" fmla="*/ 2436017 w 2663946"/>
                <a:gd name="connsiteY913" fmla="*/ 55887 h 349382"/>
                <a:gd name="connsiteX914" fmla="*/ 2445604 w 2663946"/>
                <a:gd name="connsiteY914" fmla="*/ 53453 h 349382"/>
                <a:gd name="connsiteX915" fmla="*/ 2202558 w 2663946"/>
                <a:gd name="connsiteY915" fmla="*/ 53453 h 349382"/>
                <a:gd name="connsiteX916" fmla="*/ 2214848 w 2663946"/>
                <a:gd name="connsiteY916" fmla="*/ 55616 h 349382"/>
                <a:gd name="connsiteX917" fmla="*/ 2222222 w 2663946"/>
                <a:gd name="connsiteY917" fmla="*/ 60213 h 349382"/>
                <a:gd name="connsiteX918" fmla="*/ 2225663 w 2663946"/>
                <a:gd name="connsiteY918" fmla="*/ 63457 h 349382"/>
                <a:gd name="connsiteX919" fmla="*/ 2229105 w 2663946"/>
                <a:gd name="connsiteY919" fmla="*/ 67783 h 349382"/>
                <a:gd name="connsiteX920" fmla="*/ 2231071 w 2663946"/>
                <a:gd name="connsiteY920" fmla="*/ 71298 h 349382"/>
                <a:gd name="connsiteX921" fmla="*/ 2233283 w 2663946"/>
                <a:gd name="connsiteY921" fmla="*/ 76706 h 349382"/>
                <a:gd name="connsiteX922" fmla="*/ 2234266 w 2663946"/>
                <a:gd name="connsiteY922" fmla="*/ 80221 h 349382"/>
                <a:gd name="connsiteX923" fmla="*/ 2235250 w 2663946"/>
                <a:gd name="connsiteY923" fmla="*/ 85358 h 349382"/>
                <a:gd name="connsiteX924" fmla="*/ 2235004 w 2663946"/>
                <a:gd name="connsiteY924" fmla="*/ 99688 h 349382"/>
                <a:gd name="connsiteX925" fmla="*/ 2234021 w 2663946"/>
                <a:gd name="connsiteY925" fmla="*/ 104555 h 349382"/>
                <a:gd name="connsiteX926" fmla="*/ 2232791 w 2663946"/>
                <a:gd name="connsiteY926" fmla="*/ 108340 h 349382"/>
                <a:gd name="connsiteX927" fmla="*/ 2231808 w 2663946"/>
                <a:gd name="connsiteY927" fmla="*/ 110774 h 349382"/>
                <a:gd name="connsiteX928" fmla="*/ 2229596 w 2663946"/>
                <a:gd name="connsiteY928" fmla="*/ 115100 h 349382"/>
                <a:gd name="connsiteX929" fmla="*/ 2227384 w 2663946"/>
                <a:gd name="connsiteY929" fmla="*/ 118344 h 349382"/>
                <a:gd name="connsiteX930" fmla="*/ 2223943 w 2663946"/>
                <a:gd name="connsiteY930" fmla="*/ 122130 h 349382"/>
                <a:gd name="connsiteX931" fmla="*/ 2220747 w 2663946"/>
                <a:gd name="connsiteY931" fmla="*/ 124833 h 349382"/>
                <a:gd name="connsiteX932" fmla="*/ 2215094 w 2663946"/>
                <a:gd name="connsiteY932" fmla="*/ 128078 h 349382"/>
                <a:gd name="connsiteX933" fmla="*/ 2207228 w 2663946"/>
                <a:gd name="connsiteY933" fmla="*/ 130241 h 349382"/>
                <a:gd name="connsiteX934" fmla="*/ 2205999 w 2663946"/>
                <a:gd name="connsiteY934" fmla="*/ 130512 h 349382"/>
                <a:gd name="connsiteX935" fmla="*/ 2201820 w 2663946"/>
                <a:gd name="connsiteY935" fmla="*/ 130512 h 349382"/>
                <a:gd name="connsiteX936" fmla="*/ 2201575 w 2663946"/>
                <a:gd name="connsiteY936" fmla="*/ 130512 h 349382"/>
                <a:gd name="connsiteX937" fmla="*/ 2188547 w 2663946"/>
                <a:gd name="connsiteY937" fmla="*/ 125645 h 349382"/>
                <a:gd name="connsiteX938" fmla="*/ 2183877 w 2663946"/>
                <a:gd name="connsiteY938" fmla="*/ 121589 h 349382"/>
                <a:gd name="connsiteX939" fmla="*/ 2180681 w 2663946"/>
                <a:gd name="connsiteY939" fmla="*/ 117804 h 349382"/>
                <a:gd name="connsiteX940" fmla="*/ 2178469 w 2663946"/>
                <a:gd name="connsiteY940" fmla="*/ 114289 h 349382"/>
                <a:gd name="connsiteX941" fmla="*/ 2176257 w 2663946"/>
                <a:gd name="connsiteY941" fmla="*/ 109963 h 349382"/>
                <a:gd name="connsiteX942" fmla="*/ 2175028 w 2663946"/>
                <a:gd name="connsiteY942" fmla="*/ 106988 h 349382"/>
                <a:gd name="connsiteX943" fmla="*/ 2174045 w 2663946"/>
                <a:gd name="connsiteY943" fmla="*/ 103744 h 349382"/>
                <a:gd name="connsiteX944" fmla="*/ 2172815 w 2663946"/>
                <a:gd name="connsiteY944" fmla="*/ 98066 h 349382"/>
                <a:gd name="connsiteX945" fmla="*/ 2172570 w 2663946"/>
                <a:gd name="connsiteY945" fmla="*/ 95092 h 349382"/>
                <a:gd name="connsiteX946" fmla="*/ 2172815 w 2663946"/>
                <a:gd name="connsiteY946" fmla="*/ 95362 h 349382"/>
                <a:gd name="connsiteX947" fmla="*/ 2172815 w 2663946"/>
                <a:gd name="connsiteY947" fmla="*/ 89684 h 349382"/>
                <a:gd name="connsiteX948" fmla="*/ 2172815 w 2663946"/>
                <a:gd name="connsiteY948" fmla="*/ 89414 h 349382"/>
                <a:gd name="connsiteX949" fmla="*/ 2173307 w 2663946"/>
                <a:gd name="connsiteY949" fmla="*/ 84817 h 349382"/>
                <a:gd name="connsiteX950" fmla="*/ 2174536 w 2663946"/>
                <a:gd name="connsiteY950" fmla="*/ 79410 h 349382"/>
                <a:gd name="connsiteX951" fmla="*/ 2175519 w 2663946"/>
                <a:gd name="connsiteY951" fmla="*/ 76165 h 349382"/>
                <a:gd name="connsiteX952" fmla="*/ 2177731 w 2663946"/>
                <a:gd name="connsiteY952" fmla="*/ 71028 h 349382"/>
                <a:gd name="connsiteX953" fmla="*/ 2179944 w 2663946"/>
                <a:gd name="connsiteY953" fmla="*/ 67243 h 349382"/>
                <a:gd name="connsiteX954" fmla="*/ 2182156 w 2663946"/>
                <a:gd name="connsiteY954" fmla="*/ 64268 h 349382"/>
                <a:gd name="connsiteX955" fmla="*/ 2184368 w 2663946"/>
                <a:gd name="connsiteY955" fmla="*/ 61835 h 349382"/>
                <a:gd name="connsiteX956" fmla="*/ 2189038 w 2663946"/>
                <a:gd name="connsiteY956" fmla="*/ 58050 h 349382"/>
                <a:gd name="connsiteX957" fmla="*/ 2192971 w 2663946"/>
                <a:gd name="connsiteY957" fmla="*/ 55887 h 349382"/>
                <a:gd name="connsiteX958" fmla="*/ 2202558 w 2663946"/>
                <a:gd name="connsiteY958" fmla="*/ 53453 h 349382"/>
                <a:gd name="connsiteX959" fmla="*/ 2020607 w 2663946"/>
                <a:gd name="connsiteY959" fmla="*/ 53453 h 349382"/>
                <a:gd name="connsiteX960" fmla="*/ 2032897 w 2663946"/>
                <a:gd name="connsiteY960" fmla="*/ 55616 h 349382"/>
                <a:gd name="connsiteX961" fmla="*/ 2040271 w 2663946"/>
                <a:gd name="connsiteY961" fmla="*/ 60213 h 349382"/>
                <a:gd name="connsiteX962" fmla="*/ 2043712 w 2663946"/>
                <a:gd name="connsiteY962" fmla="*/ 63457 h 349382"/>
                <a:gd name="connsiteX963" fmla="*/ 2047154 w 2663946"/>
                <a:gd name="connsiteY963" fmla="*/ 67783 h 349382"/>
                <a:gd name="connsiteX964" fmla="*/ 2049120 w 2663946"/>
                <a:gd name="connsiteY964" fmla="*/ 71298 h 349382"/>
                <a:gd name="connsiteX965" fmla="*/ 2051332 w 2663946"/>
                <a:gd name="connsiteY965" fmla="*/ 76706 h 349382"/>
                <a:gd name="connsiteX966" fmla="*/ 2052315 w 2663946"/>
                <a:gd name="connsiteY966" fmla="*/ 80221 h 349382"/>
                <a:gd name="connsiteX967" fmla="*/ 2053299 w 2663946"/>
                <a:gd name="connsiteY967" fmla="*/ 85358 h 349382"/>
                <a:gd name="connsiteX968" fmla="*/ 2053053 w 2663946"/>
                <a:gd name="connsiteY968" fmla="*/ 99688 h 349382"/>
                <a:gd name="connsiteX969" fmla="*/ 2052070 w 2663946"/>
                <a:gd name="connsiteY969" fmla="*/ 104555 h 349382"/>
                <a:gd name="connsiteX970" fmla="*/ 2050840 w 2663946"/>
                <a:gd name="connsiteY970" fmla="*/ 108340 h 349382"/>
                <a:gd name="connsiteX971" fmla="*/ 2049857 w 2663946"/>
                <a:gd name="connsiteY971" fmla="*/ 110774 h 349382"/>
                <a:gd name="connsiteX972" fmla="*/ 2047645 w 2663946"/>
                <a:gd name="connsiteY972" fmla="*/ 115100 h 349382"/>
                <a:gd name="connsiteX973" fmla="*/ 2045433 w 2663946"/>
                <a:gd name="connsiteY973" fmla="*/ 118344 h 349382"/>
                <a:gd name="connsiteX974" fmla="*/ 2041992 w 2663946"/>
                <a:gd name="connsiteY974" fmla="*/ 122130 h 349382"/>
                <a:gd name="connsiteX975" fmla="*/ 2038796 w 2663946"/>
                <a:gd name="connsiteY975" fmla="*/ 124833 h 349382"/>
                <a:gd name="connsiteX976" fmla="*/ 2033143 w 2663946"/>
                <a:gd name="connsiteY976" fmla="*/ 128078 h 349382"/>
                <a:gd name="connsiteX977" fmla="*/ 2025277 w 2663946"/>
                <a:gd name="connsiteY977" fmla="*/ 130241 h 349382"/>
                <a:gd name="connsiteX978" fmla="*/ 2024048 w 2663946"/>
                <a:gd name="connsiteY978" fmla="*/ 130512 h 349382"/>
                <a:gd name="connsiteX979" fmla="*/ 2019869 w 2663946"/>
                <a:gd name="connsiteY979" fmla="*/ 130512 h 349382"/>
                <a:gd name="connsiteX980" fmla="*/ 2019624 w 2663946"/>
                <a:gd name="connsiteY980" fmla="*/ 130512 h 349382"/>
                <a:gd name="connsiteX981" fmla="*/ 2006596 w 2663946"/>
                <a:gd name="connsiteY981" fmla="*/ 125645 h 349382"/>
                <a:gd name="connsiteX982" fmla="*/ 2001926 w 2663946"/>
                <a:gd name="connsiteY982" fmla="*/ 121589 h 349382"/>
                <a:gd name="connsiteX983" fmla="*/ 1998730 w 2663946"/>
                <a:gd name="connsiteY983" fmla="*/ 117804 h 349382"/>
                <a:gd name="connsiteX984" fmla="*/ 1996518 w 2663946"/>
                <a:gd name="connsiteY984" fmla="*/ 114289 h 349382"/>
                <a:gd name="connsiteX985" fmla="*/ 1994306 w 2663946"/>
                <a:gd name="connsiteY985" fmla="*/ 109963 h 349382"/>
                <a:gd name="connsiteX986" fmla="*/ 1993077 w 2663946"/>
                <a:gd name="connsiteY986" fmla="*/ 106988 h 349382"/>
                <a:gd name="connsiteX987" fmla="*/ 1992094 w 2663946"/>
                <a:gd name="connsiteY987" fmla="*/ 103744 h 349382"/>
                <a:gd name="connsiteX988" fmla="*/ 1990864 w 2663946"/>
                <a:gd name="connsiteY988" fmla="*/ 98066 h 349382"/>
                <a:gd name="connsiteX989" fmla="*/ 1990619 w 2663946"/>
                <a:gd name="connsiteY989" fmla="*/ 95092 h 349382"/>
                <a:gd name="connsiteX990" fmla="*/ 1990864 w 2663946"/>
                <a:gd name="connsiteY990" fmla="*/ 95362 h 349382"/>
                <a:gd name="connsiteX991" fmla="*/ 1990864 w 2663946"/>
                <a:gd name="connsiteY991" fmla="*/ 89684 h 349382"/>
                <a:gd name="connsiteX992" fmla="*/ 1990864 w 2663946"/>
                <a:gd name="connsiteY992" fmla="*/ 89414 h 349382"/>
                <a:gd name="connsiteX993" fmla="*/ 1991356 w 2663946"/>
                <a:gd name="connsiteY993" fmla="*/ 84817 h 349382"/>
                <a:gd name="connsiteX994" fmla="*/ 1992585 w 2663946"/>
                <a:gd name="connsiteY994" fmla="*/ 79410 h 349382"/>
                <a:gd name="connsiteX995" fmla="*/ 1993568 w 2663946"/>
                <a:gd name="connsiteY995" fmla="*/ 76165 h 349382"/>
                <a:gd name="connsiteX996" fmla="*/ 1995780 w 2663946"/>
                <a:gd name="connsiteY996" fmla="*/ 71028 h 349382"/>
                <a:gd name="connsiteX997" fmla="*/ 1997993 w 2663946"/>
                <a:gd name="connsiteY997" fmla="*/ 67243 h 349382"/>
                <a:gd name="connsiteX998" fmla="*/ 2000205 w 2663946"/>
                <a:gd name="connsiteY998" fmla="*/ 64268 h 349382"/>
                <a:gd name="connsiteX999" fmla="*/ 2002417 w 2663946"/>
                <a:gd name="connsiteY999" fmla="*/ 61835 h 349382"/>
                <a:gd name="connsiteX1000" fmla="*/ 2007087 w 2663946"/>
                <a:gd name="connsiteY1000" fmla="*/ 58050 h 349382"/>
                <a:gd name="connsiteX1001" fmla="*/ 2011020 w 2663946"/>
                <a:gd name="connsiteY1001" fmla="*/ 55887 h 349382"/>
                <a:gd name="connsiteX1002" fmla="*/ 2020607 w 2663946"/>
                <a:gd name="connsiteY1002" fmla="*/ 53453 h 349382"/>
                <a:gd name="connsiteX1003" fmla="*/ 1595683 w 2663946"/>
                <a:gd name="connsiteY1003" fmla="*/ 53453 h 349382"/>
                <a:gd name="connsiteX1004" fmla="*/ 1607973 w 2663946"/>
                <a:gd name="connsiteY1004" fmla="*/ 55616 h 349382"/>
                <a:gd name="connsiteX1005" fmla="*/ 1615347 w 2663946"/>
                <a:gd name="connsiteY1005" fmla="*/ 60213 h 349382"/>
                <a:gd name="connsiteX1006" fmla="*/ 1618788 w 2663946"/>
                <a:gd name="connsiteY1006" fmla="*/ 63457 h 349382"/>
                <a:gd name="connsiteX1007" fmla="*/ 1622230 w 2663946"/>
                <a:gd name="connsiteY1007" fmla="*/ 67783 h 349382"/>
                <a:gd name="connsiteX1008" fmla="*/ 1624196 w 2663946"/>
                <a:gd name="connsiteY1008" fmla="*/ 71298 h 349382"/>
                <a:gd name="connsiteX1009" fmla="*/ 1626408 w 2663946"/>
                <a:gd name="connsiteY1009" fmla="*/ 76706 h 349382"/>
                <a:gd name="connsiteX1010" fmla="*/ 1627391 w 2663946"/>
                <a:gd name="connsiteY1010" fmla="*/ 80221 h 349382"/>
                <a:gd name="connsiteX1011" fmla="*/ 1628374 w 2663946"/>
                <a:gd name="connsiteY1011" fmla="*/ 85358 h 349382"/>
                <a:gd name="connsiteX1012" fmla="*/ 1628129 w 2663946"/>
                <a:gd name="connsiteY1012" fmla="*/ 99688 h 349382"/>
                <a:gd name="connsiteX1013" fmla="*/ 1627146 w 2663946"/>
                <a:gd name="connsiteY1013" fmla="*/ 104555 h 349382"/>
                <a:gd name="connsiteX1014" fmla="*/ 1625916 w 2663946"/>
                <a:gd name="connsiteY1014" fmla="*/ 108340 h 349382"/>
                <a:gd name="connsiteX1015" fmla="*/ 1624933 w 2663946"/>
                <a:gd name="connsiteY1015" fmla="*/ 110774 h 349382"/>
                <a:gd name="connsiteX1016" fmla="*/ 1622721 w 2663946"/>
                <a:gd name="connsiteY1016" fmla="*/ 115100 h 349382"/>
                <a:gd name="connsiteX1017" fmla="*/ 1620509 w 2663946"/>
                <a:gd name="connsiteY1017" fmla="*/ 118344 h 349382"/>
                <a:gd name="connsiteX1018" fmla="*/ 1617068 w 2663946"/>
                <a:gd name="connsiteY1018" fmla="*/ 122130 h 349382"/>
                <a:gd name="connsiteX1019" fmla="*/ 1613872 w 2663946"/>
                <a:gd name="connsiteY1019" fmla="*/ 124833 h 349382"/>
                <a:gd name="connsiteX1020" fmla="*/ 1608219 w 2663946"/>
                <a:gd name="connsiteY1020" fmla="*/ 128078 h 349382"/>
                <a:gd name="connsiteX1021" fmla="*/ 1600353 w 2663946"/>
                <a:gd name="connsiteY1021" fmla="*/ 130241 h 349382"/>
                <a:gd name="connsiteX1022" fmla="*/ 1599124 w 2663946"/>
                <a:gd name="connsiteY1022" fmla="*/ 130512 h 349382"/>
                <a:gd name="connsiteX1023" fmla="*/ 1594945 w 2663946"/>
                <a:gd name="connsiteY1023" fmla="*/ 130512 h 349382"/>
                <a:gd name="connsiteX1024" fmla="*/ 1594699 w 2663946"/>
                <a:gd name="connsiteY1024" fmla="*/ 130512 h 349382"/>
                <a:gd name="connsiteX1025" fmla="*/ 1581672 w 2663946"/>
                <a:gd name="connsiteY1025" fmla="*/ 125645 h 349382"/>
                <a:gd name="connsiteX1026" fmla="*/ 1577002 w 2663946"/>
                <a:gd name="connsiteY1026" fmla="*/ 121589 h 349382"/>
                <a:gd name="connsiteX1027" fmla="*/ 1573806 w 2663946"/>
                <a:gd name="connsiteY1027" fmla="*/ 117804 h 349382"/>
                <a:gd name="connsiteX1028" fmla="*/ 1571594 w 2663946"/>
                <a:gd name="connsiteY1028" fmla="*/ 114289 h 349382"/>
                <a:gd name="connsiteX1029" fmla="*/ 1569382 w 2663946"/>
                <a:gd name="connsiteY1029" fmla="*/ 109963 h 349382"/>
                <a:gd name="connsiteX1030" fmla="*/ 1568153 w 2663946"/>
                <a:gd name="connsiteY1030" fmla="*/ 106988 h 349382"/>
                <a:gd name="connsiteX1031" fmla="*/ 1567169 w 2663946"/>
                <a:gd name="connsiteY1031" fmla="*/ 103744 h 349382"/>
                <a:gd name="connsiteX1032" fmla="*/ 1565940 w 2663946"/>
                <a:gd name="connsiteY1032" fmla="*/ 98066 h 349382"/>
                <a:gd name="connsiteX1033" fmla="*/ 1565695 w 2663946"/>
                <a:gd name="connsiteY1033" fmla="*/ 95092 h 349382"/>
                <a:gd name="connsiteX1034" fmla="*/ 1565940 w 2663946"/>
                <a:gd name="connsiteY1034" fmla="*/ 95362 h 349382"/>
                <a:gd name="connsiteX1035" fmla="*/ 1565940 w 2663946"/>
                <a:gd name="connsiteY1035" fmla="*/ 89684 h 349382"/>
                <a:gd name="connsiteX1036" fmla="*/ 1565940 w 2663946"/>
                <a:gd name="connsiteY1036" fmla="*/ 89414 h 349382"/>
                <a:gd name="connsiteX1037" fmla="*/ 1566432 w 2663946"/>
                <a:gd name="connsiteY1037" fmla="*/ 84817 h 349382"/>
                <a:gd name="connsiteX1038" fmla="*/ 1567661 w 2663946"/>
                <a:gd name="connsiteY1038" fmla="*/ 79410 h 349382"/>
                <a:gd name="connsiteX1039" fmla="*/ 1568644 w 2663946"/>
                <a:gd name="connsiteY1039" fmla="*/ 76165 h 349382"/>
                <a:gd name="connsiteX1040" fmla="*/ 1570856 w 2663946"/>
                <a:gd name="connsiteY1040" fmla="*/ 71028 h 349382"/>
                <a:gd name="connsiteX1041" fmla="*/ 1573069 w 2663946"/>
                <a:gd name="connsiteY1041" fmla="*/ 67243 h 349382"/>
                <a:gd name="connsiteX1042" fmla="*/ 1575281 w 2663946"/>
                <a:gd name="connsiteY1042" fmla="*/ 64268 h 349382"/>
                <a:gd name="connsiteX1043" fmla="*/ 1577493 w 2663946"/>
                <a:gd name="connsiteY1043" fmla="*/ 61835 h 349382"/>
                <a:gd name="connsiteX1044" fmla="*/ 1582163 w 2663946"/>
                <a:gd name="connsiteY1044" fmla="*/ 58050 h 349382"/>
                <a:gd name="connsiteX1045" fmla="*/ 1586096 w 2663946"/>
                <a:gd name="connsiteY1045" fmla="*/ 55887 h 349382"/>
                <a:gd name="connsiteX1046" fmla="*/ 1595683 w 2663946"/>
                <a:gd name="connsiteY1046" fmla="*/ 53453 h 349382"/>
                <a:gd name="connsiteX1047" fmla="*/ 1246776 w 2663946"/>
                <a:gd name="connsiteY1047" fmla="*/ 53453 h 349382"/>
                <a:gd name="connsiteX1048" fmla="*/ 1259066 w 2663946"/>
                <a:gd name="connsiteY1048" fmla="*/ 55616 h 349382"/>
                <a:gd name="connsiteX1049" fmla="*/ 1266440 w 2663946"/>
                <a:gd name="connsiteY1049" fmla="*/ 60213 h 349382"/>
                <a:gd name="connsiteX1050" fmla="*/ 1269881 w 2663946"/>
                <a:gd name="connsiteY1050" fmla="*/ 63457 h 349382"/>
                <a:gd name="connsiteX1051" fmla="*/ 1273323 w 2663946"/>
                <a:gd name="connsiteY1051" fmla="*/ 67783 h 349382"/>
                <a:gd name="connsiteX1052" fmla="*/ 1275289 w 2663946"/>
                <a:gd name="connsiteY1052" fmla="*/ 71298 h 349382"/>
                <a:gd name="connsiteX1053" fmla="*/ 1277501 w 2663946"/>
                <a:gd name="connsiteY1053" fmla="*/ 76706 h 349382"/>
                <a:gd name="connsiteX1054" fmla="*/ 1278484 w 2663946"/>
                <a:gd name="connsiteY1054" fmla="*/ 80221 h 349382"/>
                <a:gd name="connsiteX1055" fmla="*/ 1279467 w 2663946"/>
                <a:gd name="connsiteY1055" fmla="*/ 85358 h 349382"/>
                <a:gd name="connsiteX1056" fmla="*/ 1279222 w 2663946"/>
                <a:gd name="connsiteY1056" fmla="*/ 99688 h 349382"/>
                <a:gd name="connsiteX1057" fmla="*/ 1278239 w 2663946"/>
                <a:gd name="connsiteY1057" fmla="*/ 104555 h 349382"/>
                <a:gd name="connsiteX1058" fmla="*/ 1277009 w 2663946"/>
                <a:gd name="connsiteY1058" fmla="*/ 108340 h 349382"/>
                <a:gd name="connsiteX1059" fmla="*/ 1276026 w 2663946"/>
                <a:gd name="connsiteY1059" fmla="*/ 110774 h 349382"/>
                <a:gd name="connsiteX1060" fmla="*/ 1273814 w 2663946"/>
                <a:gd name="connsiteY1060" fmla="*/ 115100 h 349382"/>
                <a:gd name="connsiteX1061" fmla="*/ 1271602 w 2663946"/>
                <a:gd name="connsiteY1061" fmla="*/ 118344 h 349382"/>
                <a:gd name="connsiteX1062" fmla="*/ 1268161 w 2663946"/>
                <a:gd name="connsiteY1062" fmla="*/ 122130 h 349382"/>
                <a:gd name="connsiteX1063" fmla="*/ 1264965 w 2663946"/>
                <a:gd name="connsiteY1063" fmla="*/ 124833 h 349382"/>
                <a:gd name="connsiteX1064" fmla="*/ 1259312 w 2663946"/>
                <a:gd name="connsiteY1064" fmla="*/ 128078 h 349382"/>
                <a:gd name="connsiteX1065" fmla="*/ 1251446 w 2663946"/>
                <a:gd name="connsiteY1065" fmla="*/ 130241 h 349382"/>
                <a:gd name="connsiteX1066" fmla="*/ 1250217 w 2663946"/>
                <a:gd name="connsiteY1066" fmla="*/ 130512 h 349382"/>
                <a:gd name="connsiteX1067" fmla="*/ 1246038 w 2663946"/>
                <a:gd name="connsiteY1067" fmla="*/ 130512 h 349382"/>
                <a:gd name="connsiteX1068" fmla="*/ 1245792 w 2663946"/>
                <a:gd name="connsiteY1068" fmla="*/ 130512 h 349382"/>
                <a:gd name="connsiteX1069" fmla="*/ 1232765 w 2663946"/>
                <a:gd name="connsiteY1069" fmla="*/ 125645 h 349382"/>
                <a:gd name="connsiteX1070" fmla="*/ 1228095 w 2663946"/>
                <a:gd name="connsiteY1070" fmla="*/ 121589 h 349382"/>
                <a:gd name="connsiteX1071" fmla="*/ 1224899 w 2663946"/>
                <a:gd name="connsiteY1071" fmla="*/ 117804 h 349382"/>
                <a:gd name="connsiteX1072" fmla="*/ 1222687 w 2663946"/>
                <a:gd name="connsiteY1072" fmla="*/ 114289 h 349382"/>
                <a:gd name="connsiteX1073" fmla="*/ 1220475 w 2663946"/>
                <a:gd name="connsiteY1073" fmla="*/ 109963 h 349382"/>
                <a:gd name="connsiteX1074" fmla="*/ 1219246 w 2663946"/>
                <a:gd name="connsiteY1074" fmla="*/ 106988 h 349382"/>
                <a:gd name="connsiteX1075" fmla="*/ 1218262 w 2663946"/>
                <a:gd name="connsiteY1075" fmla="*/ 103744 h 349382"/>
                <a:gd name="connsiteX1076" fmla="*/ 1217033 w 2663946"/>
                <a:gd name="connsiteY1076" fmla="*/ 98066 h 349382"/>
                <a:gd name="connsiteX1077" fmla="*/ 1216788 w 2663946"/>
                <a:gd name="connsiteY1077" fmla="*/ 95092 h 349382"/>
                <a:gd name="connsiteX1078" fmla="*/ 1217033 w 2663946"/>
                <a:gd name="connsiteY1078" fmla="*/ 95362 h 349382"/>
                <a:gd name="connsiteX1079" fmla="*/ 1217033 w 2663946"/>
                <a:gd name="connsiteY1079" fmla="*/ 89684 h 349382"/>
                <a:gd name="connsiteX1080" fmla="*/ 1217033 w 2663946"/>
                <a:gd name="connsiteY1080" fmla="*/ 89414 h 349382"/>
                <a:gd name="connsiteX1081" fmla="*/ 1217525 w 2663946"/>
                <a:gd name="connsiteY1081" fmla="*/ 84817 h 349382"/>
                <a:gd name="connsiteX1082" fmla="*/ 1218754 w 2663946"/>
                <a:gd name="connsiteY1082" fmla="*/ 79410 h 349382"/>
                <a:gd name="connsiteX1083" fmla="*/ 1219737 w 2663946"/>
                <a:gd name="connsiteY1083" fmla="*/ 76165 h 349382"/>
                <a:gd name="connsiteX1084" fmla="*/ 1221949 w 2663946"/>
                <a:gd name="connsiteY1084" fmla="*/ 71028 h 349382"/>
                <a:gd name="connsiteX1085" fmla="*/ 1224162 w 2663946"/>
                <a:gd name="connsiteY1085" fmla="*/ 67243 h 349382"/>
                <a:gd name="connsiteX1086" fmla="*/ 1226374 w 2663946"/>
                <a:gd name="connsiteY1086" fmla="*/ 64268 h 349382"/>
                <a:gd name="connsiteX1087" fmla="*/ 1228586 w 2663946"/>
                <a:gd name="connsiteY1087" fmla="*/ 61835 h 349382"/>
                <a:gd name="connsiteX1088" fmla="*/ 1233256 w 2663946"/>
                <a:gd name="connsiteY1088" fmla="*/ 58050 h 349382"/>
                <a:gd name="connsiteX1089" fmla="*/ 1237189 w 2663946"/>
                <a:gd name="connsiteY1089" fmla="*/ 55887 h 349382"/>
                <a:gd name="connsiteX1090" fmla="*/ 1246776 w 2663946"/>
                <a:gd name="connsiteY1090" fmla="*/ 53453 h 349382"/>
                <a:gd name="connsiteX1091" fmla="*/ 1064825 w 2663946"/>
                <a:gd name="connsiteY1091" fmla="*/ 53453 h 349382"/>
                <a:gd name="connsiteX1092" fmla="*/ 1077115 w 2663946"/>
                <a:gd name="connsiteY1092" fmla="*/ 55616 h 349382"/>
                <a:gd name="connsiteX1093" fmla="*/ 1084489 w 2663946"/>
                <a:gd name="connsiteY1093" fmla="*/ 60213 h 349382"/>
                <a:gd name="connsiteX1094" fmla="*/ 1087930 w 2663946"/>
                <a:gd name="connsiteY1094" fmla="*/ 63457 h 349382"/>
                <a:gd name="connsiteX1095" fmla="*/ 1091372 w 2663946"/>
                <a:gd name="connsiteY1095" fmla="*/ 67783 h 349382"/>
                <a:gd name="connsiteX1096" fmla="*/ 1093338 w 2663946"/>
                <a:gd name="connsiteY1096" fmla="*/ 71298 h 349382"/>
                <a:gd name="connsiteX1097" fmla="*/ 1095550 w 2663946"/>
                <a:gd name="connsiteY1097" fmla="*/ 76706 h 349382"/>
                <a:gd name="connsiteX1098" fmla="*/ 1096533 w 2663946"/>
                <a:gd name="connsiteY1098" fmla="*/ 80221 h 349382"/>
                <a:gd name="connsiteX1099" fmla="*/ 1097516 w 2663946"/>
                <a:gd name="connsiteY1099" fmla="*/ 85358 h 349382"/>
                <a:gd name="connsiteX1100" fmla="*/ 1097271 w 2663946"/>
                <a:gd name="connsiteY1100" fmla="*/ 99688 h 349382"/>
                <a:gd name="connsiteX1101" fmla="*/ 1096288 w 2663946"/>
                <a:gd name="connsiteY1101" fmla="*/ 104555 h 349382"/>
                <a:gd name="connsiteX1102" fmla="*/ 1095058 w 2663946"/>
                <a:gd name="connsiteY1102" fmla="*/ 108340 h 349382"/>
                <a:gd name="connsiteX1103" fmla="*/ 1094075 w 2663946"/>
                <a:gd name="connsiteY1103" fmla="*/ 110774 h 349382"/>
                <a:gd name="connsiteX1104" fmla="*/ 1091863 w 2663946"/>
                <a:gd name="connsiteY1104" fmla="*/ 115100 h 349382"/>
                <a:gd name="connsiteX1105" fmla="*/ 1089651 w 2663946"/>
                <a:gd name="connsiteY1105" fmla="*/ 118344 h 349382"/>
                <a:gd name="connsiteX1106" fmla="*/ 1086210 w 2663946"/>
                <a:gd name="connsiteY1106" fmla="*/ 122130 h 349382"/>
                <a:gd name="connsiteX1107" fmla="*/ 1083014 w 2663946"/>
                <a:gd name="connsiteY1107" fmla="*/ 124833 h 349382"/>
                <a:gd name="connsiteX1108" fmla="*/ 1077361 w 2663946"/>
                <a:gd name="connsiteY1108" fmla="*/ 128078 h 349382"/>
                <a:gd name="connsiteX1109" fmla="*/ 1069495 w 2663946"/>
                <a:gd name="connsiteY1109" fmla="*/ 130241 h 349382"/>
                <a:gd name="connsiteX1110" fmla="*/ 1068266 w 2663946"/>
                <a:gd name="connsiteY1110" fmla="*/ 130512 h 349382"/>
                <a:gd name="connsiteX1111" fmla="*/ 1064087 w 2663946"/>
                <a:gd name="connsiteY1111" fmla="*/ 130512 h 349382"/>
                <a:gd name="connsiteX1112" fmla="*/ 1063841 w 2663946"/>
                <a:gd name="connsiteY1112" fmla="*/ 130512 h 349382"/>
                <a:gd name="connsiteX1113" fmla="*/ 1050814 w 2663946"/>
                <a:gd name="connsiteY1113" fmla="*/ 125645 h 349382"/>
                <a:gd name="connsiteX1114" fmla="*/ 1046144 w 2663946"/>
                <a:gd name="connsiteY1114" fmla="*/ 121589 h 349382"/>
                <a:gd name="connsiteX1115" fmla="*/ 1042948 w 2663946"/>
                <a:gd name="connsiteY1115" fmla="*/ 117804 h 349382"/>
                <a:gd name="connsiteX1116" fmla="*/ 1040736 w 2663946"/>
                <a:gd name="connsiteY1116" fmla="*/ 114289 h 349382"/>
                <a:gd name="connsiteX1117" fmla="*/ 1038524 w 2663946"/>
                <a:gd name="connsiteY1117" fmla="*/ 109963 h 349382"/>
                <a:gd name="connsiteX1118" fmla="*/ 1037295 w 2663946"/>
                <a:gd name="connsiteY1118" fmla="*/ 106988 h 349382"/>
                <a:gd name="connsiteX1119" fmla="*/ 1036311 w 2663946"/>
                <a:gd name="connsiteY1119" fmla="*/ 103744 h 349382"/>
                <a:gd name="connsiteX1120" fmla="*/ 1035082 w 2663946"/>
                <a:gd name="connsiteY1120" fmla="*/ 98066 h 349382"/>
                <a:gd name="connsiteX1121" fmla="*/ 1034837 w 2663946"/>
                <a:gd name="connsiteY1121" fmla="*/ 95092 h 349382"/>
                <a:gd name="connsiteX1122" fmla="*/ 1035082 w 2663946"/>
                <a:gd name="connsiteY1122" fmla="*/ 95362 h 349382"/>
                <a:gd name="connsiteX1123" fmla="*/ 1035082 w 2663946"/>
                <a:gd name="connsiteY1123" fmla="*/ 89684 h 349382"/>
                <a:gd name="connsiteX1124" fmla="*/ 1035082 w 2663946"/>
                <a:gd name="connsiteY1124" fmla="*/ 89414 h 349382"/>
                <a:gd name="connsiteX1125" fmla="*/ 1035574 w 2663946"/>
                <a:gd name="connsiteY1125" fmla="*/ 84817 h 349382"/>
                <a:gd name="connsiteX1126" fmla="*/ 1036803 w 2663946"/>
                <a:gd name="connsiteY1126" fmla="*/ 79410 h 349382"/>
                <a:gd name="connsiteX1127" fmla="*/ 1037786 w 2663946"/>
                <a:gd name="connsiteY1127" fmla="*/ 76165 h 349382"/>
                <a:gd name="connsiteX1128" fmla="*/ 1039998 w 2663946"/>
                <a:gd name="connsiteY1128" fmla="*/ 71028 h 349382"/>
                <a:gd name="connsiteX1129" fmla="*/ 1042211 w 2663946"/>
                <a:gd name="connsiteY1129" fmla="*/ 67243 h 349382"/>
                <a:gd name="connsiteX1130" fmla="*/ 1044423 w 2663946"/>
                <a:gd name="connsiteY1130" fmla="*/ 64268 h 349382"/>
                <a:gd name="connsiteX1131" fmla="*/ 1046635 w 2663946"/>
                <a:gd name="connsiteY1131" fmla="*/ 61835 h 349382"/>
                <a:gd name="connsiteX1132" fmla="*/ 1051305 w 2663946"/>
                <a:gd name="connsiteY1132" fmla="*/ 58050 h 349382"/>
                <a:gd name="connsiteX1133" fmla="*/ 1055238 w 2663946"/>
                <a:gd name="connsiteY1133" fmla="*/ 55887 h 349382"/>
                <a:gd name="connsiteX1134" fmla="*/ 1064825 w 2663946"/>
                <a:gd name="connsiteY1134" fmla="*/ 53453 h 349382"/>
                <a:gd name="connsiteX1135" fmla="*/ 897796 w 2663946"/>
                <a:gd name="connsiteY1135" fmla="*/ 53453 h 349382"/>
                <a:gd name="connsiteX1136" fmla="*/ 910086 w 2663946"/>
                <a:gd name="connsiteY1136" fmla="*/ 55616 h 349382"/>
                <a:gd name="connsiteX1137" fmla="*/ 917460 w 2663946"/>
                <a:gd name="connsiteY1137" fmla="*/ 60213 h 349382"/>
                <a:gd name="connsiteX1138" fmla="*/ 920901 w 2663946"/>
                <a:gd name="connsiteY1138" fmla="*/ 63457 h 349382"/>
                <a:gd name="connsiteX1139" fmla="*/ 924343 w 2663946"/>
                <a:gd name="connsiteY1139" fmla="*/ 67783 h 349382"/>
                <a:gd name="connsiteX1140" fmla="*/ 926309 w 2663946"/>
                <a:gd name="connsiteY1140" fmla="*/ 71298 h 349382"/>
                <a:gd name="connsiteX1141" fmla="*/ 928521 w 2663946"/>
                <a:gd name="connsiteY1141" fmla="*/ 76706 h 349382"/>
                <a:gd name="connsiteX1142" fmla="*/ 929504 w 2663946"/>
                <a:gd name="connsiteY1142" fmla="*/ 80221 h 349382"/>
                <a:gd name="connsiteX1143" fmla="*/ 930487 w 2663946"/>
                <a:gd name="connsiteY1143" fmla="*/ 85358 h 349382"/>
                <a:gd name="connsiteX1144" fmla="*/ 930242 w 2663946"/>
                <a:gd name="connsiteY1144" fmla="*/ 99688 h 349382"/>
                <a:gd name="connsiteX1145" fmla="*/ 929259 w 2663946"/>
                <a:gd name="connsiteY1145" fmla="*/ 104555 h 349382"/>
                <a:gd name="connsiteX1146" fmla="*/ 928029 w 2663946"/>
                <a:gd name="connsiteY1146" fmla="*/ 108340 h 349382"/>
                <a:gd name="connsiteX1147" fmla="*/ 927046 w 2663946"/>
                <a:gd name="connsiteY1147" fmla="*/ 110774 h 349382"/>
                <a:gd name="connsiteX1148" fmla="*/ 924834 w 2663946"/>
                <a:gd name="connsiteY1148" fmla="*/ 115100 h 349382"/>
                <a:gd name="connsiteX1149" fmla="*/ 922622 w 2663946"/>
                <a:gd name="connsiteY1149" fmla="*/ 118344 h 349382"/>
                <a:gd name="connsiteX1150" fmla="*/ 919181 w 2663946"/>
                <a:gd name="connsiteY1150" fmla="*/ 122130 h 349382"/>
                <a:gd name="connsiteX1151" fmla="*/ 915985 w 2663946"/>
                <a:gd name="connsiteY1151" fmla="*/ 124833 h 349382"/>
                <a:gd name="connsiteX1152" fmla="*/ 910332 w 2663946"/>
                <a:gd name="connsiteY1152" fmla="*/ 128078 h 349382"/>
                <a:gd name="connsiteX1153" fmla="*/ 902466 w 2663946"/>
                <a:gd name="connsiteY1153" fmla="*/ 130241 h 349382"/>
                <a:gd name="connsiteX1154" fmla="*/ 901237 w 2663946"/>
                <a:gd name="connsiteY1154" fmla="*/ 130512 h 349382"/>
                <a:gd name="connsiteX1155" fmla="*/ 897058 w 2663946"/>
                <a:gd name="connsiteY1155" fmla="*/ 130512 h 349382"/>
                <a:gd name="connsiteX1156" fmla="*/ 896812 w 2663946"/>
                <a:gd name="connsiteY1156" fmla="*/ 130512 h 349382"/>
                <a:gd name="connsiteX1157" fmla="*/ 883785 w 2663946"/>
                <a:gd name="connsiteY1157" fmla="*/ 125645 h 349382"/>
                <a:gd name="connsiteX1158" fmla="*/ 879115 w 2663946"/>
                <a:gd name="connsiteY1158" fmla="*/ 121589 h 349382"/>
                <a:gd name="connsiteX1159" fmla="*/ 875919 w 2663946"/>
                <a:gd name="connsiteY1159" fmla="*/ 117804 h 349382"/>
                <a:gd name="connsiteX1160" fmla="*/ 873707 w 2663946"/>
                <a:gd name="connsiteY1160" fmla="*/ 114289 h 349382"/>
                <a:gd name="connsiteX1161" fmla="*/ 871495 w 2663946"/>
                <a:gd name="connsiteY1161" fmla="*/ 109963 h 349382"/>
                <a:gd name="connsiteX1162" fmla="*/ 870266 w 2663946"/>
                <a:gd name="connsiteY1162" fmla="*/ 106988 h 349382"/>
                <a:gd name="connsiteX1163" fmla="*/ 869282 w 2663946"/>
                <a:gd name="connsiteY1163" fmla="*/ 103744 h 349382"/>
                <a:gd name="connsiteX1164" fmla="*/ 868053 w 2663946"/>
                <a:gd name="connsiteY1164" fmla="*/ 98066 h 349382"/>
                <a:gd name="connsiteX1165" fmla="*/ 867808 w 2663946"/>
                <a:gd name="connsiteY1165" fmla="*/ 95092 h 349382"/>
                <a:gd name="connsiteX1166" fmla="*/ 868053 w 2663946"/>
                <a:gd name="connsiteY1166" fmla="*/ 95362 h 349382"/>
                <a:gd name="connsiteX1167" fmla="*/ 868053 w 2663946"/>
                <a:gd name="connsiteY1167" fmla="*/ 89684 h 349382"/>
                <a:gd name="connsiteX1168" fmla="*/ 868053 w 2663946"/>
                <a:gd name="connsiteY1168" fmla="*/ 89414 h 349382"/>
                <a:gd name="connsiteX1169" fmla="*/ 868545 w 2663946"/>
                <a:gd name="connsiteY1169" fmla="*/ 84817 h 349382"/>
                <a:gd name="connsiteX1170" fmla="*/ 869774 w 2663946"/>
                <a:gd name="connsiteY1170" fmla="*/ 79410 h 349382"/>
                <a:gd name="connsiteX1171" fmla="*/ 870757 w 2663946"/>
                <a:gd name="connsiteY1171" fmla="*/ 76165 h 349382"/>
                <a:gd name="connsiteX1172" fmla="*/ 872969 w 2663946"/>
                <a:gd name="connsiteY1172" fmla="*/ 71028 h 349382"/>
                <a:gd name="connsiteX1173" fmla="*/ 875182 w 2663946"/>
                <a:gd name="connsiteY1173" fmla="*/ 67243 h 349382"/>
                <a:gd name="connsiteX1174" fmla="*/ 877394 w 2663946"/>
                <a:gd name="connsiteY1174" fmla="*/ 64268 h 349382"/>
                <a:gd name="connsiteX1175" fmla="*/ 879606 w 2663946"/>
                <a:gd name="connsiteY1175" fmla="*/ 61835 h 349382"/>
                <a:gd name="connsiteX1176" fmla="*/ 884276 w 2663946"/>
                <a:gd name="connsiteY1176" fmla="*/ 58050 h 349382"/>
                <a:gd name="connsiteX1177" fmla="*/ 888209 w 2663946"/>
                <a:gd name="connsiteY1177" fmla="*/ 55887 h 349382"/>
                <a:gd name="connsiteX1178" fmla="*/ 897796 w 2663946"/>
                <a:gd name="connsiteY1178" fmla="*/ 53453 h 349382"/>
                <a:gd name="connsiteX1179" fmla="*/ 548889 w 2663946"/>
                <a:gd name="connsiteY1179" fmla="*/ 53453 h 349382"/>
                <a:gd name="connsiteX1180" fmla="*/ 561180 w 2663946"/>
                <a:gd name="connsiteY1180" fmla="*/ 55616 h 349382"/>
                <a:gd name="connsiteX1181" fmla="*/ 568554 w 2663946"/>
                <a:gd name="connsiteY1181" fmla="*/ 60213 h 349382"/>
                <a:gd name="connsiteX1182" fmla="*/ 571995 w 2663946"/>
                <a:gd name="connsiteY1182" fmla="*/ 63457 h 349382"/>
                <a:gd name="connsiteX1183" fmla="*/ 575436 w 2663946"/>
                <a:gd name="connsiteY1183" fmla="*/ 67783 h 349382"/>
                <a:gd name="connsiteX1184" fmla="*/ 577403 w 2663946"/>
                <a:gd name="connsiteY1184" fmla="*/ 71298 h 349382"/>
                <a:gd name="connsiteX1185" fmla="*/ 579615 w 2663946"/>
                <a:gd name="connsiteY1185" fmla="*/ 76706 h 349382"/>
                <a:gd name="connsiteX1186" fmla="*/ 580598 w 2663946"/>
                <a:gd name="connsiteY1186" fmla="*/ 80221 h 349382"/>
                <a:gd name="connsiteX1187" fmla="*/ 581581 w 2663946"/>
                <a:gd name="connsiteY1187" fmla="*/ 85358 h 349382"/>
                <a:gd name="connsiteX1188" fmla="*/ 581336 w 2663946"/>
                <a:gd name="connsiteY1188" fmla="*/ 99688 h 349382"/>
                <a:gd name="connsiteX1189" fmla="*/ 580352 w 2663946"/>
                <a:gd name="connsiteY1189" fmla="*/ 104555 h 349382"/>
                <a:gd name="connsiteX1190" fmla="*/ 579123 w 2663946"/>
                <a:gd name="connsiteY1190" fmla="*/ 108340 h 349382"/>
                <a:gd name="connsiteX1191" fmla="*/ 578140 w 2663946"/>
                <a:gd name="connsiteY1191" fmla="*/ 110774 h 349382"/>
                <a:gd name="connsiteX1192" fmla="*/ 575928 w 2663946"/>
                <a:gd name="connsiteY1192" fmla="*/ 115100 h 349382"/>
                <a:gd name="connsiteX1193" fmla="*/ 573715 w 2663946"/>
                <a:gd name="connsiteY1193" fmla="*/ 118344 h 349382"/>
                <a:gd name="connsiteX1194" fmla="*/ 570274 w 2663946"/>
                <a:gd name="connsiteY1194" fmla="*/ 122130 h 349382"/>
                <a:gd name="connsiteX1195" fmla="*/ 567079 w 2663946"/>
                <a:gd name="connsiteY1195" fmla="*/ 124833 h 349382"/>
                <a:gd name="connsiteX1196" fmla="*/ 561425 w 2663946"/>
                <a:gd name="connsiteY1196" fmla="*/ 128078 h 349382"/>
                <a:gd name="connsiteX1197" fmla="*/ 553559 w 2663946"/>
                <a:gd name="connsiteY1197" fmla="*/ 130241 h 349382"/>
                <a:gd name="connsiteX1198" fmla="*/ 552331 w 2663946"/>
                <a:gd name="connsiteY1198" fmla="*/ 130512 h 349382"/>
                <a:gd name="connsiteX1199" fmla="*/ 548152 w 2663946"/>
                <a:gd name="connsiteY1199" fmla="*/ 130512 h 349382"/>
                <a:gd name="connsiteX1200" fmla="*/ 547906 w 2663946"/>
                <a:gd name="connsiteY1200" fmla="*/ 130512 h 349382"/>
                <a:gd name="connsiteX1201" fmla="*/ 534879 w 2663946"/>
                <a:gd name="connsiteY1201" fmla="*/ 125645 h 349382"/>
                <a:gd name="connsiteX1202" fmla="*/ 530208 w 2663946"/>
                <a:gd name="connsiteY1202" fmla="*/ 121589 h 349382"/>
                <a:gd name="connsiteX1203" fmla="*/ 527013 w 2663946"/>
                <a:gd name="connsiteY1203" fmla="*/ 117804 h 349382"/>
                <a:gd name="connsiteX1204" fmla="*/ 524801 w 2663946"/>
                <a:gd name="connsiteY1204" fmla="*/ 114289 h 349382"/>
                <a:gd name="connsiteX1205" fmla="*/ 522588 w 2663946"/>
                <a:gd name="connsiteY1205" fmla="*/ 109963 h 349382"/>
                <a:gd name="connsiteX1206" fmla="*/ 521359 w 2663946"/>
                <a:gd name="connsiteY1206" fmla="*/ 106988 h 349382"/>
                <a:gd name="connsiteX1207" fmla="*/ 520376 w 2663946"/>
                <a:gd name="connsiteY1207" fmla="*/ 103744 h 349382"/>
                <a:gd name="connsiteX1208" fmla="*/ 519147 w 2663946"/>
                <a:gd name="connsiteY1208" fmla="*/ 98066 h 349382"/>
                <a:gd name="connsiteX1209" fmla="*/ 518901 w 2663946"/>
                <a:gd name="connsiteY1209" fmla="*/ 95092 h 349382"/>
                <a:gd name="connsiteX1210" fmla="*/ 519147 w 2663946"/>
                <a:gd name="connsiteY1210" fmla="*/ 95362 h 349382"/>
                <a:gd name="connsiteX1211" fmla="*/ 519147 w 2663946"/>
                <a:gd name="connsiteY1211" fmla="*/ 89684 h 349382"/>
                <a:gd name="connsiteX1212" fmla="*/ 519147 w 2663946"/>
                <a:gd name="connsiteY1212" fmla="*/ 89414 h 349382"/>
                <a:gd name="connsiteX1213" fmla="*/ 519639 w 2663946"/>
                <a:gd name="connsiteY1213" fmla="*/ 84817 h 349382"/>
                <a:gd name="connsiteX1214" fmla="*/ 520868 w 2663946"/>
                <a:gd name="connsiteY1214" fmla="*/ 79410 h 349382"/>
                <a:gd name="connsiteX1215" fmla="*/ 521851 w 2663946"/>
                <a:gd name="connsiteY1215" fmla="*/ 76165 h 349382"/>
                <a:gd name="connsiteX1216" fmla="*/ 524063 w 2663946"/>
                <a:gd name="connsiteY1216" fmla="*/ 71028 h 349382"/>
                <a:gd name="connsiteX1217" fmla="*/ 526275 w 2663946"/>
                <a:gd name="connsiteY1217" fmla="*/ 67243 h 349382"/>
                <a:gd name="connsiteX1218" fmla="*/ 528488 w 2663946"/>
                <a:gd name="connsiteY1218" fmla="*/ 64268 h 349382"/>
                <a:gd name="connsiteX1219" fmla="*/ 530700 w 2663946"/>
                <a:gd name="connsiteY1219" fmla="*/ 61835 h 349382"/>
                <a:gd name="connsiteX1220" fmla="*/ 535370 w 2663946"/>
                <a:gd name="connsiteY1220" fmla="*/ 58050 h 349382"/>
                <a:gd name="connsiteX1221" fmla="*/ 539303 w 2663946"/>
                <a:gd name="connsiteY1221" fmla="*/ 55887 h 349382"/>
                <a:gd name="connsiteX1222" fmla="*/ 548889 w 2663946"/>
                <a:gd name="connsiteY1222" fmla="*/ 53453 h 349382"/>
                <a:gd name="connsiteX1223" fmla="*/ 366938 w 2663946"/>
                <a:gd name="connsiteY1223" fmla="*/ 53453 h 349382"/>
                <a:gd name="connsiteX1224" fmla="*/ 379228 w 2663946"/>
                <a:gd name="connsiteY1224" fmla="*/ 55616 h 349382"/>
                <a:gd name="connsiteX1225" fmla="*/ 386603 w 2663946"/>
                <a:gd name="connsiteY1225" fmla="*/ 60213 h 349382"/>
                <a:gd name="connsiteX1226" fmla="*/ 390044 w 2663946"/>
                <a:gd name="connsiteY1226" fmla="*/ 63457 h 349382"/>
                <a:gd name="connsiteX1227" fmla="*/ 393485 w 2663946"/>
                <a:gd name="connsiteY1227" fmla="*/ 67783 h 349382"/>
                <a:gd name="connsiteX1228" fmla="*/ 395452 w 2663946"/>
                <a:gd name="connsiteY1228" fmla="*/ 71298 h 349382"/>
                <a:gd name="connsiteX1229" fmla="*/ 397664 w 2663946"/>
                <a:gd name="connsiteY1229" fmla="*/ 76706 h 349382"/>
                <a:gd name="connsiteX1230" fmla="*/ 398647 w 2663946"/>
                <a:gd name="connsiteY1230" fmla="*/ 80221 h 349382"/>
                <a:gd name="connsiteX1231" fmla="*/ 399630 w 2663946"/>
                <a:gd name="connsiteY1231" fmla="*/ 85358 h 349382"/>
                <a:gd name="connsiteX1232" fmla="*/ 399384 w 2663946"/>
                <a:gd name="connsiteY1232" fmla="*/ 99688 h 349382"/>
                <a:gd name="connsiteX1233" fmla="*/ 398401 w 2663946"/>
                <a:gd name="connsiteY1233" fmla="*/ 104555 h 349382"/>
                <a:gd name="connsiteX1234" fmla="*/ 397172 w 2663946"/>
                <a:gd name="connsiteY1234" fmla="*/ 108340 h 349382"/>
                <a:gd name="connsiteX1235" fmla="*/ 396189 w 2663946"/>
                <a:gd name="connsiteY1235" fmla="*/ 110774 h 349382"/>
                <a:gd name="connsiteX1236" fmla="*/ 393977 w 2663946"/>
                <a:gd name="connsiteY1236" fmla="*/ 115100 h 349382"/>
                <a:gd name="connsiteX1237" fmla="*/ 391764 w 2663946"/>
                <a:gd name="connsiteY1237" fmla="*/ 118344 h 349382"/>
                <a:gd name="connsiteX1238" fmla="*/ 388323 w 2663946"/>
                <a:gd name="connsiteY1238" fmla="*/ 122130 h 349382"/>
                <a:gd name="connsiteX1239" fmla="*/ 385128 w 2663946"/>
                <a:gd name="connsiteY1239" fmla="*/ 124833 h 349382"/>
                <a:gd name="connsiteX1240" fmla="*/ 379474 w 2663946"/>
                <a:gd name="connsiteY1240" fmla="*/ 128078 h 349382"/>
                <a:gd name="connsiteX1241" fmla="*/ 371609 w 2663946"/>
                <a:gd name="connsiteY1241" fmla="*/ 130241 h 349382"/>
                <a:gd name="connsiteX1242" fmla="*/ 370380 w 2663946"/>
                <a:gd name="connsiteY1242" fmla="*/ 130512 h 349382"/>
                <a:gd name="connsiteX1243" fmla="*/ 366201 w 2663946"/>
                <a:gd name="connsiteY1243" fmla="*/ 130512 h 349382"/>
                <a:gd name="connsiteX1244" fmla="*/ 365955 w 2663946"/>
                <a:gd name="connsiteY1244" fmla="*/ 130512 h 349382"/>
                <a:gd name="connsiteX1245" fmla="*/ 352927 w 2663946"/>
                <a:gd name="connsiteY1245" fmla="*/ 125645 h 349382"/>
                <a:gd name="connsiteX1246" fmla="*/ 348257 w 2663946"/>
                <a:gd name="connsiteY1246" fmla="*/ 121589 h 349382"/>
                <a:gd name="connsiteX1247" fmla="*/ 345062 w 2663946"/>
                <a:gd name="connsiteY1247" fmla="*/ 117804 h 349382"/>
                <a:gd name="connsiteX1248" fmla="*/ 342850 w 2663946"/>
                <a:gd name="connsiteY1248" fmla="*/ 114289 h 349382"/>
                <a:gd name="connsiteX1249" fmla="*/ 340637 w 2663946"/>
                <a:gd name="connsiteY1249" fmla="*/ 109963 h 349382"/>
                <a:gd name="connsiteX1250" fmla="*/ 339408 w 2663946"/>
                <a:gd name="connsiteY1250" fmla="*/ 106988 h 349382"/>
                <a:gd name="connsiteX1251" fmla="*/ 338425 w 2663946"/>
                <a:gd name="connsiteY1251" fmla="*/ 103744 h 349382"/>
                <a:gd name="connsiteX1252" fmla="*/ 337196 w 2663946"/>
                <a:gd name="connsiteY1252" fmla="*/ 98066 h 349382"/>
                <a:gd name="connsiteX1253" fmla="*/ 336950 w 2663946"/>
                <a:gd name="connsiteY1253" fmla="*/ 95092 h 349382"/>
                <a:gd name="connsiteX1254" fmla="*/ 337196 w 2663946"/>
                <a:gd name="connsiteY1254" fmla="*/ 95362 h 349382"/>
                <a:gd name="connsiteX1255" fmla="*/ 337196 w 2663946"/>
                <a:gd name="connsiteY1255" fmla="*/ 89684 h 349382"/>
                <a:gd name="connsiteX1256" fmla="*/ 337196 w 2663946"/>
                <a:gd name="connsiteY1256" fmla="*/ 89414 h 349382"/>
                <a:gd name="connsiteX1257" fmla="*/ 337687 w 2663946"/>
                <a:gd name="connsiteY1257" fmla="*/ 84817 h 349382"/>
                <a:gd name="connsiteX1258" fmla="*/ 338917 w 2663946"/>
                <a:gd name="connsiteY1258" fmla="*/ 79410 h 349382"/>
                <a:gd name="connsiteX1259" fmla="*/ 339900 w 2663946"/>
                <a:gd name="connsiteY1259" fmla="*/ 76165 h 349382"/>
                <a:gd name="connsiteX1260" fmla="*/ 342112 w 2663946"/>
                <a:gd name="connsiteY1260" fmla="*/ 71028 h 349382"/>
                <a:gd name="connsiteX1261" fmla="*/ 344324 w 2663946"/>
                <a:gd name="connsiteY1261" fmla="*/ 67243 h 349382"/>
                <a:gd name="connsiteX1262" fmla="*/ 346536 w 2663946"/>
                <a:gd name="connsiteY1262" fmla="*/ 64268 h 349382"/>
                <a:gd name="connsiteX1263" fmla="*/ 348749 w 2663946"/>
                <a:gd name="connsiteY1263" fmla="*/ 61835 h 349382"/>
                <a:gd name="connsiteX1264" fmla="*/ 353419 w 2663946"/>
                <a:gd name="connsiteY1264" fmla="*/ 58050 h 349382"/>
                <a:gd name="connsiteX1265" fmla="*/ 357352 w 2663946"/>
                <a:gd name="connsiteY1265" fmla="*/ 55887 h 349382"/>
                <a:gd name="connsiteX1266" fmla="*/ 366938 w 2663946"/>
                <a:gd name="connsiteY1266" fmla="*/ 53453 h 349382"/>
                <a:gd name="connsiteX1267" fmla="*/ 123893 w 2663946"/>
                <a:gd name="connsiteY1267" fmla="*/ 53453 h 349382"/>
                <a:gd name="connsiteX1268" fmla="*/ 136183 w 2663946"/>
                <a:gd name="connsiteY1268" fmla="*/ 55616 h 349382"/>
                <a:gd name="connsiteX1269" fmla="*/ 143557 w 2663946"/>
                <a:gd name="connsiteY1269" fmla="*/ 60213 h 349382"/>
                <a:gd name="connsiteX1270" fmla="*/ 146998 w 2663946"/>
                <a:gd name="connsiteY1270" fmla="*/ 63457 h 349382"/>
                <a:gd name="connsiteX1271" fmla="*/ 150439 w 2663946"/>
                <a:gd name="connsiteY1271" fmla="*/ 67783 h 349382"/>
                <a:gd name="connsiteX1272" fmla="*/ 152406 w 2663946"/>
                <a:gd name="connsiteY1272" fmla="*/ 71298 h 349382"/>
                <a:gd name="connsiteX1273" fmla="*/ 154618 w 2663946"/>
                <a:gd name="connsiteY1273" fmla="*/ 76706 h 349382"/>
                <a:gd name="connsiteX1274" fmla="*/ 155601 w 2663946"/>
                <a:gd name="connsiteY1274" fmla="*/ 80221 h 349382"/>
                <a:gd name="connsiteX1275" fmla="*/ 156584 w 2663946"/>
                <a:gd name="connsiteY1275" fmla="*/ 85358 h 349382"/>
                <a:gd name="connsiteX1276" fmla="*/ 156339 w 2663946"/>
                <a:gd name="connsiteY1276" fmla="*/ 99688 h 349382"/>
                <a:gd name="connsiteX1277" fmla="*/ 155355 w 2663946"/>
                <a:gd name="connsiteY1277" fmla="*/ 104555 h 349382"/>
                <a:gd name="connsiteX1278" fmla="*/ 154126 w 2663946"/>
                <a:gd name="connsiteY1278" fmla="*/ 108340 h 349382"/>
                <a:gd name="connsiteX1279" fmla="*/ 153143 w 2663946"/>
                <a:gd name="connsiteY1279" fmla="*/ 110774 h 349382"/>
                <a:gd name="connsiteX1280" fmla="*/ 150931 w 2663946"/>
                <a:gd name="connsiteY1280" fmla="*/ 115100 h 349382"/>
                <a:gd name="connsiteX1281" fmla="*/ 148719 w 2663946"/>
                <a:gd name="connsiteY1281" fmla="*/ 118344 h 349382"/>
                <a:gd name="connsiteX1282" fmla="*/ 145277 w 2663946"/>
                <a:gd name="connsiteY1282" fmla="*/ 122130 h 349382"/>
                <a:gd name="connsiteX1283" fmla="*/ 142082 w 2663946"/>
                <a:gd name="connsiteY1283" fmla="*/ 124833 h 349382"/>
                <a:gd name="connsiteX1284" fmla="*/ 136428 w 2663946"/>
                <a:gd name="connsiteY1284" fmla="*/ 128078 h 349382"/>
                <a:gd name="connsiteX1285" fmla="*/ 128563 w 2663946"/>
                <a:gd name="connsiteY1285" fmla="*/ 130241 h 349382"/>
                <a:gd name="connsiteX1286" fmla="*/ 127334 w 2663946"/>
                <a:gd name="connsiteY1286" fmla="*/ 130512 h 349382"/>
                <a:gd name="connsiteX1287" fmla="*/ 123155 w 2663946"/>
                <a:gd name="connsiteY1287" fmla="*/ 130512 h 349382"/>
                <a:gd name="connsiteX1288" fmla="*/ 122909 w 2663946"/>
                <a:gd name="connsiteY1288" fmla="*/ 130512 h 349382"/>
                <a:gd name="connsiteX1289" fmla="*/ 109882 w 2663946"/>
                <a:gd name="connsiteY1289" fmla="*/ 125645 h 349382"/>
                <a:gd name="connsiteX1290" fmla="*/ 105211 w 2663946"/>
                <a:gd name="connsiteY1290" fmla="*/ 121589 h 349382"/>
                <a:gd name="connsiteX1291" fmla="*/ 102016 w 2663946"/>
                <a:gd name="connsiteY1291" fmla="*/ 117804 h 349382"/>
                <a:gd name="connsiteX1292" fmla="*/ 99804 w 2663946"/>
                <a:gd name="connsiteY1292" fmla="*/ 114289 h 349382"/>
                <a:gd name="connsiteX1293" fmla="*/ 97591 w 2663946"/>
                <a:gd name="connsiteY1293" fmla="*/ 109963 h 349382"/>
                <a:gd name="connsiteX1294" fmla="*/ 96362 w 2663946"/>
                <a:gd name="connsiteY1294" fmla="*/ 106988 h 349382"/>
                <a:gd name="connsiteX1295" fmla="*/ 95379 w 2663946"/>
                <a:gd name="connsiteY1295" fmla="*/ 103744 h 349382"/>
                <a:gd name="connsiteX1296" fmla="*/ 94150 w 2663946"/>
                <a:gd name="connsiteY1296" fmla="*/ 98066 h 349382"/>
                <a:gd name="connsiteX1297" fmla="*/ 93904 w 2663946"/>
                <a:gd name="connsiteY1297" fmla="*/ 95092 h 349382"/>
                <a:gd name="connsiteX1298" fmla="*/ 94150 w 2663946"/>
                <a:gd name="connsiteY1298" fmla="*/ 95362 h 349382"/>
                <a:gd name="connsiteX1299" fmla="*/ 94150 w 2663946"/>
                <a:gd name="connsiteY1299" fmla="*/ 89684 h 349382"/>
                <a:gd name="connsiteX1300" fmla="*/ 94150 w 2663946"/>
                <a:gd name="connsiteY1300" fmla="*/ 89414 h 349382"/>
                <a:gd name="connsiteX1301" fmla="*/ 94642 w 2663946"/>
                <a:gd name="connsiteY1301" fmla="*/ 84817 h 349382"/>
                <a:gd name="connsiteX1302" fmla="*/ 95871 w 2663946"/>
                <a:gd name="connsiteY1302" fmla="*/ 79410 h 349382"/>
                <a:gd name="connsiteX1303" fmla="*/ 96854 w 2663946"/>
                <a:gd name="connsiteY1303" fmla="*/ 76165 h 349382"/>
                <a:gd name="connsiteX1304" fmla="*/ 99066 w 2663946"/>
                <a:gd name="connsiteY1304" fmla="*/ 71028 h 349382"/>
                <a:gd name="connsiteX1305" fmla="*/ 101279 w 2663946"/>
                <a:gd name="connsiteY1305" fmla="*/ 67243 h 349382"/>
                <a:gd name="connsiteX1306" fmla="*/ 103491 w 2663946"/>
                <a:gd name="connsiteY1306" fmla="*/ 64268 h 349382"/>
                <a:gd name="connsiteX1307" fmla="*/ 105703 w 2663946"/>
                <a:gd name="connsiteY1307" fmla="*/ 61835 h 349382"/>
                <a:gd name="connsiteX1308" fmla="*/ 110373 w 2663946"/>
                <a:gd name="connsiteY1308" fmla="*/ 58050 h 349382"/>
                <a:gd name="connsiteX1309" fmla="*/ 114306 w 2663946"/>
                <a:gd name="connsiteY1309" fmla="*/ 55887 h 349382"/>
                <a:gd name="connsiteX1310" fmla="*/ 123893 w 2663946"/>
                <a:gd name="connsiteY1310" fmla="*/ 53453 h 349382"/>
                <a:gd name="connsiteX1311" fmla="*/ 33147 w 2663946"/>
                <a:gd name="connsiteY1311" fmla="*/ 52815 h 349382"/>
                <a:gd name="connsiteX1312" fmla="*/ 57942 w 2663946"/>
                <a:gd name="connsiteY1312" fmla="*/ 73024 h 349382"/>
                <a:gd name="connsiteX1313" fmla="*/ 58422 w 2663946"/>
                <a:gd name="connsiteY1313" fmla="*/ 77782 h 349382"/>
                <a:gd name="connsiteX1314" fmla="*/ 59840 w 2663946"/>
                <a:gd name="connsiteY1314" fmla="*/ 77782 h 349382"/>
                <a:gd name="connsiteX1315" fmla="*/ 66294 w 2663946"/>
                <a:gd name="connsiteY1315" fmla="*/ 84068 h 349382"/>
                <a:gd name="connsiteX1316" fmla="*/ 66294 w 2663946"/>
                <a:gd name="connsiteY1316" fmla="*/ 133790 h 349382"/>
                <a:gd name="connsiteX1317" fmla="*/ 59840 w 2663946"/>
                <a:gd name="connsiteY1317" fmla="*/ 140076 h 349382"/>
                <a:gd name="connsiteX1318" fmla="*/ 6453 w 2663946"/>
                <a:gd name="connsiteY1318" fmla="*/ 140076 h 349382"/>
                <a:gd name="connsiteX1319" fmla="*/ 0 w 2663946"/>
                <a:gd name="connsiteY1319" fmla="*/ 133790 h 349382"/>
                <a:gd name="connsiteX1320" fmla="*/ 0 w 2663946"/>
                <a:gd name="connsiteY1320" fmla="*/ 84068 h 349382"/>
                <a:gd name="connsiteX1321" fmla="*/ 6453 w 2663946"/>
                <a:gd name="connsiteY1321" fmla="*/ 77782 h 349382"/>
                <a:gd name="connsiteX1322" fmla="*/ 7288 w 2663946"/>
                <a:gd name="connsiteY1322" fmla="*/ 77782 h 349382"/>
                <a:gd name="connsiteX1323" fmla="*/ 7872 w 2663946"/>
                <a:gd name="connsiteY1323" fmla="*/ 77782 h 349382"/>
                <a:gd name="connsiteX1324" fmla="*/ 8351 w 2663946"/>
                <a:gd name="connsiteY1324" fmla="*/ 73024 h 349382"/>
                <a:gd name="connsiteX1325" fmla="*/ 33147 w 2663946"/>
                <a:gd name="connsiteY1325" fmla="*/ 52815 h 349382"/>
                <a:gd name="connsiteX1326" fmla="*/ 2537931 w 2663946"/>
                <a:gd name="connsiteY1326" fmla="*/ 45227 h 349382"/>
                <a:gd name="connsiteX1327" fmla="*/ 2562727 w 2663946"/>
                <a:gd name="connsiteY1327" fmla="*/ 65436 h 349382"/>
                <a:gd name="connsiteX1328" fmla="*/ 2563206 w 2663946"/>
                <a:gd name="connsiteY1328" fmla="*/ 70194 h 349382"/>
                <a:gd name="connsiteX1329" fmla="*/ 2564625 w 2663946"/>
                <a:gd name="connsiteY1329" fmla="*/ 70194 h 349382"/>
                <a:gd name="connsiteX1330" fmla="*/ 2571078 w 2663946"/>
                <a:gd name="connsiteY1330" fmla="*/ 76480 h 349382"/>
                <a:gd name="connsiteX1331" fmla="*/ 2571078 w 2663946"/>
                <a:gd name="connsiteY1331" fmla="*/ 126202 h 349382"/>
                <a:gd name="connsiteX1332" fmla="*/ 2564625 w 2663946"/>
                <a:gd name="connsiteY1332" fmla="*/ 132488 h 349382"/>
                <a:gd name="connsiteX1333" fmla="*/ 2511238 w 2663946"/>
                <a:gd name="connsiteY1333" fmla="*/ 132488 h 349382"/>
                <a:gd name="connsiteX1334" fmla="*/ 2504784 w 2663946"/>
                <a:gd name="connsiteY1334" fmla="*/ 126202 h 349382"/>
                <a:gd name="connsiteX1335" fmla="*/ 2504784 w 2663946"/>
                <a:gd name="connsiteY1335" fmla="*/ 76480 h 349382"/>
                <a:gd name="connsiteX1336" fmla="*/ 2511238 w 2663946"/>
                <a:gd name="connsiteY1336" fmla="*/ 70194 h 349382"/>
                <a:gd name="connsiteX1337" fmla="*/ 2512072 w 2663946"/>
                <a:gd name="connsiteY1337" fmla="*/ 70194 h 349382"/>
                <a:gd name="connsiteX1338" fmla="*/ 2512656 w 2663946"/>
                <a:gd name="connsiteY1338" fmla="*/ 70194 h 349382"/>
                <a:gd name="connsiteX1339" fmla="*/ 2513136 w 2663946"/>
                <a:gd name="connsiteY1339" fmla="*/ 65436 h 349382"/>
                <a:gd name="connsiteX1340" fmla="*/ 2537931 w 2663946"/>
                <a:gd name="connsiteY1340" fmla="*/ 45227 h 349382"/>
                <a:gd name="connsiteX1341" fmla="*/ 2112934 w 2663946"/>
                <a:gd name="connsiteY1341" fmla="*/ 45227 h 349382"/>
                <a:gd name="connsiteX1342" fmla="*/ 2137730 w 2663946"/>
                <a:gd name="connsiteY1342" fmla="*/ 65436 h 349382"/>
                <a:gd name="connsiteX1343" fmla="*/ 2138209 w 2663946"/>
                <a:gd name="connsiteY1343" fmla="*/ 70194 h 349382"/>
                <a:gd name="connsiteX1344" fmla="*/ 2139628 w 2663946"/>
                <a:gd name="connsiteY1344" fmla="*/ 70194 h 349382"/>
                <a:gd name="connsiteX1345" fmla="*/ 2146081 w 2663946"/>
                <a:gd name="connsiteY1345" fmla="*/ 76480 h 349382"/>
                <a:gd name="connsiteX1346" fmla="*/ 2146081 w 2663946"/>
                <a:gd name="connsiteY1346" fmla="*/ 126202 h 349382"/>
                <a:gd name="connsiteX1347" fmla="*/ 2139628 w 2663946"/>
                <a:gd name="connsiteY1347" fmla="*/ 132488 h 349382"/>
                <a:gd name="connsiteX1348" fmla="*/ 2086241 w 2663946"/>
                <a:gd name="connsiteY1348" fmla="*/ 132488 h 349382"/>
                <a:gd name="connsiteX1349" fmla="*/ 2079787 w 2663946"/>
                <a:gd name="connsiteY1349" fmla="*/ 126202 h 349382"/>
                <a:gd name="connsiteX1350" fmla="*/ 2079787 w 2663946"/>
                <a:gd name="connsiteY1350" fmla="*/ 76480 h 349382"/>
                <a:gd name="connsiteX1351" fmla="*/ 2086241 w 2663946"/>
                <a:gd name="connsiteY1351" fmla="*/ 70194 h 349382"/>
                <a:gd name="connsiteX1352" fmla="*/ 2087075 w 2663946"/>
                <a:gd name="connsiteY1352" fmla="*/ 70194 h 349382"/>
                <a:gd name="connsiteX1353" fmla="*/ 2087659 w 2663946"/>
                <a:gd name="connsiteY1353" fmla="*/ 70194 h 349382"/>
                <a:gd name="connsiteX1354" fmla="*/ 2088139 w 2663946"/>
                <a:gd name="connsiteY1354" fmla="*/ 65436 h 349382"/>
                <a:gd name="connsiteX1355" fmla="*/ 2112934 w 2663946"/>
                <a:gd name="connsiteY1355" fmla="*/ 45227 h 349382"/>
                <a:gd name="connsiteX1356" fmla="*/ 1854966 w 2663946"/>
                <a:gd name="connsiteY1356" fmla="*/ 45227 h 349382"/>
                <a:gd name="connsiteX1357" fmla="*/ 1879762 w 2663946"/>
                <a:gd name="connsiteY1357" fmla="*/ 65436 h 349382"/>
                <a:gd name="connsiteX1358" fmla="*/ 1880241 w 2663946"/>
                <a:gd name="connsiteY1358" fmla="*/ 70194 h 349382"/>
                <a:gd name="connsiteX1359" fmla="*/ 1881660 w 2663946"/>
                <a:gd name="connsiteY1359" fmla="*/ 70194 h 349382"/>
                <a:gd name="connsiteX1360" fmla="*/ 1888113 w 2663946"/>
                <a:gd name="connsiteY1360" fmla="*/ 76480 h 349382"/>
                <a:gd name="connsiteX1361" fmla="*/ 1888113 w 2663946"/>
                <a:gd name="connsiteY1361" fmla="*/ 126202 h 349382"/>
                <a:gd name="connsiteX1362" fmla="*/ 1881660 w 2663946"/>
                <a:gd name="connsiteY1362" fmla="*/ 132488 h 349382"/>
                <a:gd name="connsiteX1363" fmla="*/ 1828273 w 2663946"/>
                <a:gd name="connsiteY1363" fmla="*/ 132488 h 349382"/>
                <a:gd name="connsiteX1364" fmla="*/ 1821819 w 2663946"/>
                <a:gd name="connsiteY1364" fmla="*/ 126202 h 349382"/>
                <a:gd name="connsiteX1365" fmla="*/ 1821819 w 2663946"/>
                <a:gd name="connsiteY1365" fmla="*/ 76480 h 349382"/>
                <a:gd name="connsiteX1366" fmla="*/ 1828273 w 2663946"/>
                <a:gd name="connsiteY1366" fmla="*/ 70194 h 349382"/>
                <a:gd name="connsiteX1367" fmla="*/ 1829107 w 2663946"/>
                <a:gd name="connsiteY1367" fmla="*/ 70194 h 349382"/>
                <a:gd name="connsiteX1368" fmla="*/ 1829691 w 2663946"/>
                <a:gd name="connsiteY1368" fmla="*/ 70194 h 349382"/>
                <a:gd name="connsiteX1369" fmla="*/ 1830171 w 2663946"/>
                <a:gd name="connsiteY1369" fmla="*/ 65436 h 349382"/>
                <a:gd name="connsiteX1370" fmla="*/ 1854966 w 2663946"/>
                <a:gd name="connsiteY1370" fmla="*/ 45227 h 349382"/>
                <a:gd name="connsiteX1371" fmla="*/ 1764027 w 2663946"/>
                <a:gd name="connsiteY1371" fmla="*/ 45227 h 349382"/>
                <a:gd name="connsiteX1372" fmla="*/ 1788823 w 2663946"/>
                <a:gd name="connsiteY1372" fmla="*/ 65436 h 349382"/>
                <a:gd name="connsiteX1373" fmla="*/ 1789302 w 2663946"/>
                <a:gd name="connsiteY1373" fmla="*/ 70194 h 349382"/>
                <a:gd name="connsiteX1374" fmla="*/ 1790721 w 2663946"/>
                <a:gd name="connsiteY1374" fmla="*/ 70194 h 349382"/>
                <a:gd name="connsiteX1375" fmla="*/ 1797174 w 2663946"/>
                <a:gd name="connsiteY1375" fmla="*/ 76480 h 349382"/>
                <a:gd name="connsiteX1376" fmla="*/ 1797174 w 2663946"/>
                <a:gd name="connsiteY1376" fmla="*/ 126202 h 349382"/>
                <a:gd name="connsiteX1377" fmla="*/ 1790721 w 2663946"/>
                <a:gd name="connsiteY1377" fmla="*/ 132488 h 349382"/>
                <a:gd name="connsiteX1378" fmla="*/ 1737333 w 2663946"/>
                <a:gd name="connsiteY1378" fmla="*/ 132488 h 349382"/>
                <a:gd name="connsiteX1379" fmla="*/ 1730880 w 2663946"/>
                <a:gd name="connsiteY1379" fmla="*/ 126202 h 349382"/>
                <a:gd name="connsiteX1380" fmla="*/ 1730880 w 2663946"/>
                <a:gd name="connsiteY1380" fmla="*/ 76480 h 349382"/>
                <a:gd name="connsiteX1381" fmla="*/ 1737333 w 2663946"/>
                <a:gd name="connsiteY1381" fmla="*/ 70194 h 349382"/>
                <a:gd name="connsiteX1382" fmla="*/ 1738168 w 2663946"/>
                <a:gd name="connsiteY1382" fmla="*/ 70194 h 349382"/>
                <a:gd name="connsiteX1383" fmla="*/ 1738752 w 2663946"/>
                <a:gd name="connsiteY1383" fmla="*/ 70194 h 349382"/>
                <a:gd name="connsiteX1384" fmla="*/ 1739232 w 2663946"/>
                <a:gd name="connsiteY1384" fmla="*/ 65436 h 349382"/>
                <a:gd name="connsiteX1385" fmla="*/ 1764027 w 2663946"/>
                <a:gd name="connsiteY1385" fmla="*/ 45227 h 349382"/>
                <a:gd name="connsiteX1386" fmla="*/ 1506059 w 2663946"/>
                <a:gd name="connsiteY1386" fmla="*/ 45227 h 349382"/>
                <a:gd name="connsiteX1387" fmla="*/ 1530855 w 2663946"/>
                <a:gd name="connsiteY1387" fmla="*/ 65436 h 349382"/>
                <a:gd name="connsiteX1388" fmla="*/ 1531334 w 2663946"/>
                <a:gd name="connsiteY1388" fmla="*/ 70194 h 349382"/>
                <a:gd name="connsiteX1389" fmla="*/ 1532753 w 2663946"/>
                <a:gd name="connsiteY1389" fmla="*/ 70194 h 349382"/>
                <a:gd name="connsiteX1390" fmla="*/ 1539206 w 2663946"/>
                <a:gd name="connsiteY1390" fmla="*/ 76480 h 349382"/>
                <a:gd name="connsiteX1391" fmla="*/ 1539206 w 2663946"/>
                <a:gd name="connsiteY1391" fmla="*/ 126202 h 349382"/>
                <a:gd name="connsiteX1392" fmla="*/ 1532753 w 2663946"/>
                <a:gd name="connsiteY1392" fmla="*/ 132488 h 349382"/>
                <a:gd name="connsiteX1393" fmla="*/ 1479365 w 2663946"/>
                <a:gd name="connsiteY1393" fmla="*/ 132488 h 349382"/>
                <a:gd name="connsiteX1394" fmla="*/ 1472912 w 2663946"/>
                <a:gd name="connsiteY1394" fmla="*/ 126202 h 349382"/>
                <a:gd name="connsiteX1395" fmla="*/ 1472912 w 2663946"/>
                <a:gd name="connsiteY1395" fmla="*/ 76480 h 349382"/>
                <a:gd name="connsiteX1396" fmla="*/ 1479365 w 2663946"/>
                <a:gd name="connsiteY1396" fmla="*/ 70194 h 349382"/>
                <a:gd name="connsiteX1397" fmla="*/ 1480200 w 2663946"/>
                <a:gd name="connsiteY1397" fmla="*/ 70194 h 349382"/>
                <a:gd name="connsiteX1398" fmla="*/ 1480784 w 2663946"/>
                <a:gd name="connsiteY1398" fmla="*/ 70194 h 349382"/>
                <a:gd name="connsiteX1399" fmla="*/ 1481264 w 2663946"/>
                <a:gd name="connsiteY1399" fmla="*/ 65436 h 349382"/>
                <a:gd name="connsiteX1400" fmla="*/ 1506059 w 2663946"/>
                <a:gd name="connsiteY1400" fmla="*/ 45227 h 349382"/>
                <a:gd name="connsiteX1401" fmla="*/ 1415120 w 2663946"/>
                <a:gd name="connsiteY1401" fmla="*/ 45227 h 349382"/>
                <a:gd name="connsiteX1402" fmla="*/ 1439916 w 2663946"/>
                <a:gd name="connsiteY1402" fmla="*/ 65436 h 349382"/>
                <a:gd name="connsiteX1403" fmla="*/ 1440395 w 2663946"/>
                <a:gd name="connsiteY1403" fmla="*/ 70194 h 349382"/>
                <a:gd name="connsiteX1404" fmla="*/ 1441814 w 2663946"/>
                <a:gd name="connsiteY1404" fmla="*/ 70194 h 349382"/>
                <a:gd name="connsiteX1405" fmla="*/ 1448267 w 2663946"/>
                <a:gd name="connsiteY1405" fmla="*/ 76480 h 349382"/>
                <a:gd name="connsiteX1406" fmla="*/ 1448267 w 2663946"/>
                <a:gd name="connsiteY1406" fmla="*/ 126202 h 349382"/>
                <a:gd name="connsiteX1407" fmla="*/ 1441814 w 2663946"/>
                <a:gd name="connsiteY1407" fmla="*/ 132488 h 349382"/>
                <a:gd name="connsiteX1408" fmla="*/ 1388426 w 2663946"/>
                <a:gd name="connsiteY1408" fmla="*/ 132488 h 349382"/>
                <a:gd name="connsiteX1409" fmla="*/ 1381973 w 2663946"/>
                <a:gd name="connsiteY1409" fmla="*/ 126202 h 349382"/>
                <a:gd name="connsiteX1410" fmla="*/ 1381973 w 2663946"/>
                <a:gd name="connsiteY1410" fmla="*/ 76480 h 349382"/>
                <a:gd name="connsiteX1411" fmla="*/ 1388426 w 2663946"/>
                <a:gd name="connsiteY1411" fmla="*/ 70194 h 349382"/>
                <a:gd name="connsiteX1412" fmla="*/ 1389261 w 2663946"/>
                <a:gd name="connsiteY1412" fmla="*/ 70194 h 349382"/>
                <a:gd name="connsiteX1413" fmla="*/ 1389845 w 2663946"/>
                <a:gd name="connsiteY1413" fmla="*/ 70194 h 349382"/>
                <a:gd name="connsiteX1414" fmla="*/ 1390325 w 2663946"/>
                <a:gd name="connsiteY1414" fmla="*/ 65436 h 349382"/>
                <a:gd name="connsiteX1415" fmla="*/ 1415120 w 2663946"/>
                <a:gd name="connsiteY1415" fmla="*/ 45227 h 349382"/>
                <a:gd name="connsiteX1416" fmla="*/ 1157152 w 2663946"/>
                <a:gd name="connsiteY1416" fmla="*/ 45227 h 349382"/>
                <a:gd name="connsiteX1417" fmla="*/ 1181948 w 2663946"/>
                <a:gd name="connsiteY1417" fmla="*/ 65436 h 349382"/>
                <a:gd name="connsiteX1418" fmla="*/ 1182427 w 2663946"/>
                <a:gd name="connsiteY1418" fmla="*/ 70194 h 349382"/>
                <a:gd name="connsiteX1419" fmla="*/ 1183846 w 2663946"/>
                <a:gd name="connsiteY1419" fmla="*/ 70194 h 349382"/>
                <a:gd name="connsiteX1420" fmla="*/ 1190299 w 2663946"/>
                <a:gd name="connsiteY1420" fmla="*/ 76480 h 349382"/>
                <a:gd name="connsiteX1421" fmla="*/ 1190299 w 2663946"/>
                <a:gd name="connsiteY1421" fmla="*/ 126202 h 349382"/>
                <a:gd name="connsiteX1422" fmla="*/ 1183846 w 2663946"/>
                <a:gd name="connsiteY1422" fmla="*/ 132488 h 349382"/>
                <a:gd name="connsiteX1423" fmla="*/ 1130458 w 2663946"/>
                <a:gd name="connsiteY1423" fmla="*/ 132488 h 349382"/>
                <a:gd name="connsiteX1424" fmla="*/ 1124005 w 2663946"/>
                <a:gd name="connsiteY1424" fmla="*/ 126202 h 349382"/>
                <a:gd name="connsiteX1425" fmla="*/ 1124005 w 2663946"/>
                <a:gd name="connsiteY1425" fmla="*/ 76480 h 349382"/>
                <a:gd name="connsiteX1426" fmla="*/ 1130458 w 2663946"/>
                <a:gd name="connsiteY1426" fmla="*/ 70194 h 349382"/>
                <a:gd name="connsiteX1427" fmla="*/ 1131293 w 2663946"/>
                <a:gd name="connsiteY1427" fmla="*/ 70194 h 349382"/>
                <a:gd name="connsiteX1428" fmla="*/ 1131877 w 2663946"/>
                <a:gd name="connsiteY1428" fmla="*/ 70194 h 349382"/>
                <a:gd name="connsiteX1429" fmla="*/ 1132357 w 2663946"/>
                <a:gd name="connsiteY1429" fmla="*/ 65436 h 349382"/>
                <a:gd name="connsiteX1430" fmla="*/ 1157152 w 2663946"/>
                <a:gd name="connsiteY1430" fmla="*/ 45227 h 349382"/>
                <a:gd name="connsiteX1431" fmla="*/ 732156 w 2663946"/>
                <a:gd name="connsiteY1431" fmla="*/ 45227 h 349382"/>
                <a:gd name="connsiteX1432" fmla="*/ 756951 w 2663946"/>
                <a:gd name="connsiteY1432" fmla="*/ 65436 h 349382"/>
                <a:gd name="connsiteX1433" fmla="*/ 757431 w 2663946"/>
                <a:gd name="connsiteY1433" fmla="*/ 70194 h 349382"/>
                <a:gd name="connsiteX1434" fmla="*/ 758849 w 2663946"/>
                <a:gd name="connsiteY1434" fmla="*/ 70194 h 349382"/>
                <a:gd name="connsiteX1435" fmla="*/ 765303 w 2663946"/>
                <a:gd name="connsiteY1435" fmla="*/ 76480 h 349382"/>
                <a:gd name="connsiteX1436" fmla="*/ 765303 w 2663946"/>
                <a:gd name="connsiteY1436" fmla="*/ 126202 h 349382"/>
                <a:gd name="connsiteX1437" fmla="*/ 758849 w 2663946"/>
                <a:gd name="connsiteY1437" fmla="*/ 132488 h 349382"/>
                <a:gd name="connsiteX1438" fmla="*/ 705462 w 2663946"/>
                <a:gd name="connsiteY1438" fmla="*/ 132488 h 349382"/>
                <a:gd name="connsiteX1439" fmla="*/ 699009 w 2663946"/>
                <a:gd name="connsiteY1439" fmla="*/ 126202 h 349382"/>
                <a:gd name="connsiteX1440" fmla="*/ 699009 w 2663946"/>
                <a:gd name="connsiteY1440" fmla="*/ 76480 h 349382"/>
                <a:gd name="connsiteX1441" fmla="*/ 705462 w 2663946"/>
                <a:gd name="connsiteY1441" fmla="*/ 70194 h 349382"/>
                <a:gd name="connsiteX1442" fmla="*/ 706296 w 2663946"/>
                <a:gd name="connsiteY1442" fmla="*/ 70194 h 349382"/>
                <a:gd name="connsiteX1443" fmla="*/ 706881 w 2663946"/>
                <a:gd name="connsiteY1443" fmla="*/ 70194 h 349382"/>
                <a:gd name="connsiteX1444" fmla="*/ 707360 w 2663946"/>
                <a:gd name="connsiteY1444" fmla="*/ 65436 h 349382"/>
                <a:gd name="connsiteX1445" fmla="*/ 732156 w 2663946"/>
                <a:gd name="connsiteY1445" fmla="*/ 45227 h 349382"/>
                <a:gd name="connsiteX1446" fmla="*/ 641217 w 2663946"/>
                <a:gd name="connsiteY1446" fmla="*/ 45227 h 349382"/>
                <a:gd name="connsiteX1447" fmla="*/ 666012 w 2663946"/>
                <a:gd name="connsiteY1447" fmla="*/ 65436 h 349382"/>
                <a:gd name="connsiteX1448" fmla="*/ 666492 w 2663946"/>
                <a:gd name="connsiteY1448" fmla="*/ 70194 h 349382"/>
                <a:gd name="connsiteX1449" fmla="*/ 667910 w 2663946"/>
                <a:gd name="connsiteY1449" fmla="*/ 70194 h 349382"/>
                <a:gd name="connsiteX1450" fmla="*/ 674364 w 2663946"/>
                <a:gd name="connsiteY1450" fmla="*/ 76480 h 349382"/>
                <a:gd name="connsiteX1451" fmla="*/ 674364 w 2663946"/>
                <a:gd name="connsiteY1451" fmla="*/ 126202 h 349382"/>
                <a:gd name="connsiteX1452" fmla="*/ 667910 w 2663946"/>
                <a:gd name="connsiteY1452" fmla="*/ 132488 h 349382"/>
                <a:gd name="connsiteX1453" fmla="*/ 614523 w 2663946"/>
                <a:gd name="connsiteY1453" fmla="*/ 132488 h 349382"/>
                <a:gd name="connsiteX1454" fmla="*/ 608070 w 2663946"/>
                <a:gd name="connsiteY1454" fmla="*/ 126202 h 349382"/>
                <a:gd name="connsiteX1455" fmla="*/ 608070 w 2663946"/>
                <a:gd name="connsiteY1455" fmla="*/ 76480 h 349382"/>
                <a:gd name="connsiteX1456" fmla="*/ 614523 w 2663946"/>
                <a:gd name="connsiteY1456" fmla="*/ 70194 h 349382"/>
                <a:gd name="connsiteX1457" fmla="*/ 615358 w 2663946"/>
                <a:gd name="connsiteY1457" fmla="*/ 70194 h 349382"/>
                <a:gd name="connsiteX1458" fmla="*/ 615942 w 2663946"/>
                <a:gd name="connsiteY1458" fmla="*/ 70194 h 349382"/>
                <a:gd name="connsiteX1459" fmla="*/ 616422 w 2663946"/>
                <a:gd name="connsiteY1459" fmla="*/ 65436 h 349382"/>
                <a:gd name="connsiteX1460" fmla="*/ 641217 w 2663946"/>
                <a:gd name="connsiteY1460" fmla="*/ 45227 h 349382"/>
                <a:gd name="connsiteX1461" fmla="*/ 459266 w 2663946"/>
                <a:gd name="connsiteY1461" fmla="*/ 45227 h 349382"/>
                <a:gd name="connsiteX1462" fmla="*/ 484061 w 2663946"/>
                <a:gd name="connsiteY1462" fmla="*/ 65436 h 349382"/>
                <a:gd name="connsiteX1463" fmla="*/ 484541 w 2663946"/>
                <a:gd name="connsiteY1463" fmla="*/ 70194 h 349382"/>
                <a:gd name="connsiteX1464" fmla="*/ 485959 w 2663946"/>
                <a:gd name="connsiteY1464" fmla="*/ 70194 h 349382"/>
                <a:gd name="connsiteX1465" fmla="*/ 492413 w 2663946"/>
                <a:gd name="connsiteY1465" fmla="*/ 76480 h 349382"/>
                <a:gd name="connsiteX1466" fmla="*/ 492413 w 2663946"/>
                <a:gd name="connsiteY1466" fmla="*/ 126202 h 349382"/>
                <a:gd name="connsiteX1467" fmla="*/ 485959 w 2663946"/>
                <a:gd name="connsiteY1467" fmla="*/ 132488 h 349382"/>
                <a:gd name="connsiteX1468" fmla="*/ 432572 w 2663946"/>
                <a:gd name="connsiteY1468" fmla="*/ 132488 h 349382"/>
                <a:gd name="connsiteX1469" fmla="*/ 426119 w 2663946"/>
                <a:gd name="connsiteY1469" fmla="*/ 126202 h 349382"/>
                <a:gd name="connsiteX1470" fmla="*/ 426119 w 2663946"/>
                <a:gd name="connsiteY1470" fmla="*/ 76480 h 349382"/>
                <a:gd name="connsiteX1471" fmla="*/ 432572 w 2663946"/>
                <a:gd name="connsiteY1471" fmla="*/ 70194 h 349382"/>
                <a:gd name="connsiteX1472" fmla="*/ 433406 w 2663946"/>
                <a:gd name="connsiteY1472" fmla="*/ 70194 h 349382"/>
                <a:gd name="connsiteX1473" fmla="*/ 433991 w 2663946"/>
                <a:gd name="connsiteY1473" fmla="*/ 70194 h 349382"/>
                <a:gd name="connsiteX1474" fmla="*/ 434470 w 2663946"/>
                <a:gd name="connsiteY1474" fmla="*/ 65436 h 349382"/>
                <a:gd name="connsiteX1475" fmla="*/ 459266 w 2663946"/>
                <a:gd name="connsiteY1475" fmla="*/ 45227 h 349382"/>
                <a:gd name="connsiteX1476" fmla="*/ 15475 w 2663946"/>
                <a:gd name="connsiteY1476" fmla="*/ 17002 h 349382"/>
                <a:gd name="connsiteX1477" fmla="*/ 40350 w 2663946"/>
                <a:gd name="connsiteY1477" fmla="*/ 1050 h 349382"/>
                <a:gd name="connsiteX1478" fmla="*/ 40891 w 2663946"/>
                <a:gd name="connsiteY1478" fmla="*/ 1590 h 349382"/>
                <a:gd name="connsiteX1479" fmla="*/ 48191 w 2663946"/>
                <a:gd name="connsiteY1479" fmla="*/ 1590 h 349382"/>
                <a:gd name="connsiteX1480" fmla="*/ 52247 w 2663946"/>
                <a:gd name="connsiteY1480" fmla="*/ 2672 h 349382"/>
                <a:gd name="connsiteX1481" fmla="*/ 16016 w 2663946"/>
                <a:gd name="connsiteY1481" fmla="*/ 17002 h 349382"/>
                <a:gd name="connsiteX1482" fmla="*/ 15475 w 2663946"/>
                <a:gd name="connsiteY1482" fmla="*/ 17002 h 349382"/>
                <a:gd name="connsiteX0" fmla="*/ 2632966 w 2663946"/>
                <a:gd name="connsiteY0" fmla="*/ 288276 h 349382"/>
                <a:gd name="connsiteX1" fmla="*/ 2621414 w 2663946"/>
                <a:gd name="connsiteY1" fmla="*/ 290709 h 349382"/>
                <a:gd name="connsiteX2" fmla="*/ 2618218 w 2663946"/>
                <a:gd name="connsiteY2" fmla="*/ 294224 h 349382"/>
                <a:gd name="connsiteX3" fmla="*/ 2616006 w 2663946"/>
                <a:gd name="connsiteY3" fmla="*/ 298009 h 349382"/>
                <a:gd name="connsiteX4" fmla="*/ 2615023 w 2663946"/>
                <a:gd name="connsiteY4" fmla="*/ 300713 h 349382"/>
                <a:gd name="connsiteX5" fmla="*/ 2614039 w 2663946"/>
                <a:gd name="connsiteY5" fmla="*/ 304769 h 349382"/>
                <a:gd name="connsiteX6" fmla="*/ 2613056 w 2663946"/>
                <a:gd name="connsiteY6" fmla="*/ 311799 h 349382"/>
                <a:gd name="connsiteX7" fmla="*/ 2614039 w 2663946"/>
                <a:gd name="connsiteY7" fmla="*/ 319099 h 349382"/>
                <a:gd name="connsiteX8" fmla="*/ 2615269 w 2663946"/>
                <a:gd name="connsiteY8" fmla="*/ 322884 h 349382"/>
                <a:gd name="connsiteX9" fmla="*/ 2617481 w 2663946"/>
                <a:gd name="connsiteY9" fmla="*/ 327210 h 349382"/>
                <a:gd name="connsiteX10" fmla="*/ 2620922 w 2663946"/>
                <a:gd name="connsiteY10" fmla="*/ 331537 h 349382"/>
                <a:gd name="connsiteX11" fmla="*/ 2625346 w 2663946"/>
                <a:gd name="connsiteY11" fmla="*/ 334240 h 349382"/>
                <a:gd name="connsiteX12" fmla="*/ 2637637 w 2663946"/>
                <a:gd name="connsiteY12" fmla="*/ 331807 h 349382"/>
                <a:gd name="connsiteX13" fmla="*/ 2640832 w 2663946"/>
                <a:gd name="connsiteY13" fmla="*/ 328292 h 349382"/>
                <a:gd name="connsiteX14" fmla="*/ 2643290 w 2663946"/>
                <a:gd name="connsiteY14" fmla="*/ 323966 h 349382"/>
                <a:gd name="connsiteX15" fmla="*/ 2644273 w 2663946"/>
                <a:gd name="connsiteY15" fmla="*/ 321803 h 349382"/>
                <a:gd name="connsiteX16" fmla="*/ 2645502 w 2663946"/>
                <a:gd name="connsiteY16" fmla="*/ 317477 h 349382"/>
                <a:gd name="connsiteX17" fmla="*/ 2645011 w 2663946"/>
                <a:gd name="connsiteY17" fmla="*/ 303687 h 349382"/>
                <a:gd name="connsiteX18" fmla="*/ 2644027 w 2663946"/>
                <a:gd name="connsiteY18" fmla="*/ 300713 h 349382"/>
                <a:gd name="connsiteX19" fmla="*/ 2642799 w 2663946"/>
                <a:gd name="connsiteY19" fmla="*/ 297739 h 349382"/>
                <a:gd name="connsiteX20" fmla="*/ 2640586 w 2663946"/>
                <a:gd name="connsiteY20" fmla="*/ 294224 h 349382"/>
                <a:gd name="connsiteX21" fmla="*/ 2636899 w 2663946"/>
                <a:gd name="connsiteY21" fmla="*/ 290439 h 349382"/>
                <a:gd name="connsiteX22" fmla="*/ 2632966 w 2663946"/>
                <a:gd name="connsiteY22" fmla="*/ 288276 h 349382"/>
                <a:gd name="connsiteX23" fmla="*/ 2627559 w 2663946"/>
                <a:gd name="connsiteY23" fmla="*/ 272323 h 349382"/>
                <a:gd name="connsiteX24" fmla="*/ 2639849 w 2663946"/>
                <a:gd name="connsiteY24" fmla="*/ 274486 h 349382"/>
                <a:gd name="connsiteX25" fmla="*/ 2647223 w 2663946"/>
                <a:gd name="connsiteY25" fmla="*/ 279083 h 349382"/>
                <a:gd name="connsiteX26" fmla="*/ 2650664 w 2663946"/>
                <a:gd name="connsiteY26" fmla="*/ 282327 h 349382"/>
                <a:gd name="connsiteX27" fmla="*/ 2654106 w 2663946"/>
                <a:gd name="connsiteY27" fmla="*/ 286653 h 349382"/>
                <a:gd name="connsiteX28" fmla="*/ 2656072 w 2663946"/>
                <a:gd name="connsiteY28" fmla="*/ 290168 h 349382"/>
                <a:gd name="connsiteX29" fmla="*/ 2658284 w 2663946"/>
                <a:gd name="connsiteY29" fmla="*/ 295576 h 349382"/>
                <a:gd name="connsiteX30" fmla="*/ 2659267 w 2663946"/>
                <a:gd name="connsiteY30" fmla="*/ 299091 h 349382"/>
                <a:gd name="connsiteX31" fmla="*/ 2660251 w 2663946"/>
                <a:gd name="connsiteY31" fmla="*/ 304228 h 349382"/>
                <a:gd name="connsiteX32" fmla="*/ 2660005 w 2663946"/>
                <a:gd name="connsiteY32" fmla="*/ 318558 h 349382"/>
                <a:gd name="connsiteX33" fmla="*/ 2659022 w 2663946"/>
                <a:gd name="connsiteY33" fmla="*/ 323425 h 349382"/>
                <a:gd name="connsiteX34" fmla="*/ 2657792 w 2663946"/>
                <a:gd name="connsiteY34" fmla="*/ 327210 h 349382"/>
                <a:gd name="connsiteX35" fmla="*/ 2656809 w 2663946"/>
                <a:gd name="connsiteY35" fmla="*/ 329644 h 349382"/>
                <a:gd name="connsiteX36" fmla="*/ 2654597 w 2663946"/>
                <a:gd name="connsiteY36" fmla="*/ 333970 h 349382"/>
                <a:gd name="connsiteX37" fmla="*/ 2652385 w 2663946"/>
                <a:gd name="connsiteY37" fmla="*/ 337214 h 349382"/>
                <a:gd name="connsiteX38" fmla="*/ 2648944 w 2663946"/>
                <a:gd name="connsiteY38" fmla="*/ 341000 h 349382"/>
                <a:gd name="connsiteX39" fmla="*/ 2645748 w 2663946"/>
                <a:gd name="connsiteY39" fmla="*/ 343703 h 349382"/>
                <a:gd name="connsiteX40" fmla="*/ 2640095 w 2663946"/>
                <a:gd name="connsiteY40" fmla="*/ 346948 h 349382"/>
                <a:gd name="connsiteX41" fmla="*/ 2632229 w 2663946"/>
                <a:gd name="connsiteY41" fmla="*/ 349111 h 349382"/>
                <a:gd name="connsiteX42" fmla="*/ 2631000 w 2663946"/>
                <a:gd name="connsiteY42" fmla="*/ 349382 h 349382"/>
                <a:gd name="connsiteX43" fmla="*/ 2626821 w 2663946"/>
                <a:gd name="connsiteY43" fmla="*/ 349382 h 349382"/>
                <a:gd name="connsiteX44" fmla="*/ 2626576 w 2663946"/>
                <a:gd name="connsiteY44" fmla="*/ 349382 h 349382"/>
                <a:gd name="connsiteX45" fmla="*/ 2613548 w 2663946"/>
                <a:gd name="connsiteY45" fmla="*/ 344515 h 349382"/>
                <a:gd name="connsiteX46" fmla="*/ 2608878 w 2663946"/>
                <a:gd name="connsiteY46" fmla="*/ 340459 h 349382"/>
                <a:gd name="connsiteX47" fmla="*/ 2605682 w 2663946"/>
                <a:gd name="connsiteY47" fmla="*/ 336674 h 349382"/>
                <a:gd name="connsiteX48" fmla="*/ 2603470 w 2663946"/>
                <a:gd name="connsiteY48" fmla="*/ 333159 h 349382"/>
                <a:gd name="connsiteX49" fmla="*/ 2601258 w 2663946"/>
                <a:gd name="connsiteY49" fmla="*/ 328833 h 349382"/>
                <a:gd name="connsiteX50" fmla="*/ 2600029 w 2663946"/>
                <a:gd name="connsiteY50" fmla="*/ 325858 h 349382"/>
                <a:gd name="connsiteX51" fmla="*/ 2599046 w 2663946"/>
                <a:gd name="connsiteY51" fmla="*/ 322614 h 349382"/>
                <a:gd name="connsiteX52" fmla="*/ 2597816 w 2663946"/>
                <a:gd name="connsiteY52" fmla="*/ 316936 h 349382"/>
                <a:gd name="connsiteX53" fmla="*/ 2597571 w 2663946"/>
                <a:gd name="connsiteY53" fmla="*/ 313962 h 349382"/>
                <a:gd name="connsiteX54" fmla="*/ 2597816 w 2663946"/>
                <a:gd name="connsiteY54" fmla="*/ 314232 h 349382"/>
                <a:gd name="connsiteX55" fmla="*/ 2597816 w 2663946"/>
                <a:gd name="connsiteY55" fmla="*/ 308554 h 349382"/>
                <a:gd name="connsiteX56" fmla="*/ 2597816 w 2663946"/>
                <a:gd name="connsiteY56" fmla="*/ 308284 h 349382"/>
                <a:gd name="connsiteX57" fmla="*/ 2598308 w 2663946"/>
                <a:gd name="connsiteY57" fmla="*/ 303687 h 349382"/>
                <a:gd name="connsiteX58" fmla="*/ 2599537 w 2663946"/>
                <a:gd name="connsiteY58" fmla="*/ 298280 h 349382"/>
                <a:gd name="connsiteX59" fmla="*/ 2600520 w 2663946"/>
                <a:gd name="connsiteY59" fmla="*/ 295035 h 349382"/>
                <a:gd name="connsiteX60" fmla="*/ 2602732 w 2663946"/>
                <a:gd name="connsiteY60" fmla="*/ 289898 h 349382"/>
                <a:gd name="connsiteX61" fmla="*/ 2604945 w 2663946"/>
                <a:gd name="connsiteY61" fmla="*/ 286113 h 349382"/>
                <a:gd name="connsiteX62" fmla="*/ 2607157 w 2663946"/>
                <a:gd name="connsiteY62" fmla="*/ 283138 h 349382"/>
                <a:gd name="connsiteX63" fmla="*/ 2609369 w 2663946"/>
                <a:gd name="connsiteY63" fmla="*/ 280705 h 349382"/>
                <a:gd name="connsiteX64" fmla="*/ 2614039 w 2663946"/>
                <a:gd name="connsiteY64" fmla="*/ 276920 h 349382"/>
                <a:gd name="connsiteX65" fmla="*/ 2617972 w 2663946"/>
                <a:gd name="connsiteY65" fmla="*/ 274757 h 349382"/>
                <a:gd name="connsiteX66" fmla="*/ 2627559 w 2663946"/>
                <a:gd name="connsiteY66" fmla="*/ 272323 h 349382"/>
                <a:gd name="connsiteX67" fmla="*/ 2631061 w 2663946"/>
                <a:gd name="connsiteY67" fmla="*/ 208413 h 349382"/>
                <a:gd name="connsiteX68" fmla="*/ 2621591 w 2663946"/>
                <a:gd name="connsiteY68" fmla="*/ 217687 h 349382"/>
                <a:gd name="connsiteX69" fmla="*/ 2626545 w 2663946"/>
                <a:gd name="connsiteY69" fmla="*/ 225844 h 349382"/>
                <a:gd name="connsiteX70" fmla="*/ 2626545 w 2663946"/>
                <a:gd name="connsiteY70" fmla="*/ 234239 h 349382"/>
                <a:gd name="connsiteX71" fmla="*/ 2631061 w 2663946"/>
                <a:gd name="connsiteY71" fmla="*/ 238662 h 349382"/>
                <a:gd name="connsiteX72" fmla="*/ 2635578 w 2663946"/>
                <a:gd name="connsiteY72" fmla="*/ 234239 h 349382"/>
                <a:gd name="connsiteX73" fmla="*/ 2635578 w 2663946"/>
                <a:gd name="connsiteY73" fmla="*/ 225844 h 349382"/>
                <a:gd name="connsiteX74" fmla="*/ 2640532 w 2663946"/>
                <a:gd name="connsiteY74" fmla="*/ 217687 h 349382"/>
                <a:gd name="connsiteX75" fmla="*/ 2631061 w 2663946"/>
                <a:gd name="connsiteY75" fmla="*/ 208413 h 349382"/>
                <a:gd name="connsiteX76" fmla="*/ 2630799 w 2663946"/>
                <a:gd name="connsiteY76" fmla="*/ 169696 h 349382"/>
                <a:gd name="connsiteX77" fmla="*/ 2619139 w 2663946"/>
                <a:gd name="connsiteY77" fmla="*/ 177425 h 349382"/>
                <a:gd name="connsiteX78" fmla="*/ 2618214 w 2663946"/>
                <a:gd name="connsiteY78" fmla="*/ 182008 h 349382"/>
                <a:gd name="connsiteX79" fmla="*/ 2621454 w 2663946"/>
                <a:gd name="connsiteY79" fmla="*/ 182008 h 349382"/>
                <a:gd name="connsiteX80" fmla="*/ 2639871 w 2663946"/>
                <a:gd name="connsiteY80" fmla="*/ 182008 h 349382"/>
                <a:gd name="connsiteX81" fmla="*/ 2643385 w 2663946"/>
                <a:gd name="connsiteY81" fmla="*/ 182008 h 349382"/>
                <a:gd name="connsiteX82" fmla="*/ 2642460 w 2663946"/>
                <a:gd name="connsiteY82" fmla="*/ 177425 h 349382"/>
                <a:gd name="connsiteX83" fmla="*/ 2630799 w 2663946"/>
                <a:gd name="connsiteY83" fmla="*/ 169696 h 349382"/>
                <a:gd name="connsiteX84" fmla="*/ 2630799 w 2663946"/>
                <a:gd name="connsiteY84" fmla="*/ 157041 h 349382"/>
                <a:gd name="connsiteX85" fmla="*/ 2655595 w 2663946"/>
                <a:gd name="connsiteY85" fmla="*/ 177250 h 349382"/>
                <a:gd name="connsiteX86" fmla="*/ 2656074 w 2663946"/>
                <a:gd name="connsiteY86" fmla="*/ 182008 h 349382"/>
                <a:gd name="connsiteX87" fmla="*/ 2657493 w 2663946"/>
                <a:gd name="connsiteY87" fmla="*/ 182008 h 349382"/>
                <a:gd name="connsiteX88" fmla="*/ 2663946 w 2663946"/>
                <a:gd name="connsiteY88" fmla="*/ 188294 h 349382"/>
                <a:gd name="connsiteX89" fmla="*/ 2663946 w 2663946"/>
                <a:gd name="connsiteY89" fmla="*/ 238016 h 349382"/>
                <a:gd name="connsiteX90" fmla="*/ 2657493 w 2663946"/>
                <a:gd name="connsiteY90" fmla="*/ 244302 h 349382"/>
                <a:gd name="connsiteX91" fmla="*/ 2604106 w 2663946"/>
                <a:gd name="connsiteY91" fmla="*/ 244302 h 349382"/>
                <a:gd name="connsiteX92" fmla="*/ 2597652 w 2663946"/>
                <a:gd name="connsiteY92" fmla="*/ 238016 h 349382"/>
                <a:gd name="connsiteX93" fmla="*/ 2597652 w 2663946"/>
                <a:gd name="connsiteY93" fmla="*/ 188294 h 349382"/>
                <a:gd name="connsiteX94" fmla="*/ 2604106 w 2663946"/>
                <a:gd name="connsiteY94" fmla="*/ 182008 h 349382"/>
                <a:gd name="connsiteX95" fmla="*/ 2604940 w 2663946"/>
                <a:gd name="connsiteY95" fmla="*/ 182008 h 349382"/>
                <a:gd name="connsiteX96" fmla="*/ 2605524 w 2663946"/>
                <a:gd name="connsiteY96" fmla="*/ 182008 h 349382"/>
                <a:gd name="connsiteX97" fmla="*/ 2606004 w 2663946"/>
                <a:gd name="connsiteY97" fmla="*/ 177250 h 349382"/>
                <a:gd name="connsiteX98" fmla="*/ 2630799 w 2663946"/>
                <a:gd name="connsiteY98" fmla="*/ 157041 h 349382"/>
                <a:gd name="connsiteX99" fmla="*/ 33409 w 2663946"/>
                <a:gd name="connsiteY99" fmla="*/ 104187 h 349382"/>
                <a:gd name="connsiteX100" fmla="*/ 23938 w 2663946"/>
                <a:gd name="connsiteY100" fmla="*/ 113461 h 349382"/>
                <a:gd name="connsiteX101" fmla="*/ 28892 w 2663946"/>
                <a:gd name="connsiteY101" fmla="*/ 121618 h 349382"/>
                <a:gd name="connsiteX102" fmla="*/ 28892 w 2663946"/>
                <a:gd name="connsiteY102" fmla="*/ 130013 h 349382"/>
                <a:gd name="connsiteX103" fmla="*/ 33409 w 2663946"/>
                <a:gd name="connsiteY103" fmla="*/ 134436 h 349382"/>
                <a:gd name="connsiteX104" fmla="*/ 37926 w 2663946"/>
                <a:gd name="connsiteY104" fmla="*/ 130013 h 349382"/>
                <a:gd name="connsiteX105" fmla="*/ 37926 w 2663946"/>
                <a:gd name="connsiteY105" fmla="*/ 121618 h 349382"/>
                <a:gd name="connsiteX106" fmla="*/ 42880 w 2663946"/>
                <a:gd name="connsiteY106" fmla="*/ 113461 h 349382"/>
                <a:gd name="connsiteX107" fmla="*/ 33409 w 2663946"/>
                <a:gd name="connsiteY107" fmla="*/ 104187 h 349382"/>
                <a:gd name="connsiteX108" fmla="*/ 2538193 w 2663946"/>
                <a:gd name="connsiteY108" fmla="*/ 96599 h 349382"/>
                <a:gd name="connsiteX109" fmla="*/ 2528723 w 2663946"/>
                <a:gd name="connsiteY109" fmla="*/ 105873 h 349382"/>
                <a:gd name="connsiteX110" fmla="*/ 2533677 w 2663946"/>
                <a:gd name="connsiteY110" fmla="*/ 114030 h 349382"/>
                <a:gd name="connsiteX111" fmla="*/ 2533677 w 2663946"/>
                <a:gd name="connsiteY111" fmla="*/ 122425 h 349382"/>
                <a:gd name="connsiteX112" fmla="*/ 2538193 w 2663946"/>
                <a:gd name="connsiteY112" fmla="*/ 126848 h 349382"/>
                <a:gd name="connsiteX113" fmla="*/ 2542710 w 2663946"/>
                <a:gd name="connsiteY113" fmla="*/ 122425 h 349382"/>
                <a:gd name="connsiteX114" fmla="*/ 2542710 w 2663946"/>
                <a:gd name="connsiteY114" fmla="*/ 114030 h 349382"/>
                <a:gd name="connsiteX115" fmla="*/ 2547664 w 2663946"/>
                <a:gd name="connsiteY115" fmla="*/ 105873 h 349382"/>
                <a:gd name="connsiteX116" fmla="*/ 2538193 w 2663946"/>
                <a:gd name="connsiteY116" fmla="*/ 96599 h 349382"/>
                <a:gd name="connsiteX117" fmla="*/ 2113196 w 2663946"/>
                <a:gd name="connsiteY117" fmla="*/ 96599 h 349382"/>
                <a:gd name="connsiteX118" fmla="*/ 2103726 w 2663946"/>
                <a:gd name="connsiteY118" fmla="*/ 105873 h 349382"/>
                <a:gd name="connsiteX119" fmla="*/ 2108680 w 2663946"/>
                <a:gd name="connsiteY119" fmla="*/ 114030 h 349382"/>
                <a:gd name="connsiteX120" fmla="*/ 2108680 w 2663946"/>
                <a:gd name="connsiteY120" fmla="*/ 122425 h 349382"/>
                <a:gd name="connsiteX121" fmla="*/ 2113196 w 2663946"/>
                <a:gd name="connsiteY121" fmla="*/ 126848 h 349382"/>
                <a:gd name="connsiteX122" fmla="*/ 2117713 w 2663946"/>
                <a:gd name="connsiteY122" fmla="*/ 122425 h 349382"/>
                <a:gd name="connsiteX123" fmla="*/ 2117713 w 2663946"/>
                <a:gd name="connsiteY123" fmla="*/ 114030 h 349382"/>
                <a:gd name="connsiteX124" fmla="*/ 2122667 w 2663946"/>
                <a:gd name="connsiteY124" fmla="*/ 105873 h 349382"/>
                <a:gd name="connsiteX125" fmla="*/ 2113196 w 2663946"/>
                <a:gd name="connsiteY125" fmla="*/ 96599 h 349382"/>
                <a:gd name="connsiteX126" fmla="*/ 1855228 w 2663946"/>
                <a:gd name="connsiteY126" fmla="*/ 96599 h 349382"/>
                <a:gd name="connsiteX127" fmla="*/ 1845758 w 2663946"/>
                <a:gd name="connsiteY127" fmla="*/ 105873 h 349382"/>
                <a:gd name="connsiteX128" fmla="*/ 1850712 w 2663946"/>
                <a:gd name="connsiteY128" fmla="*/ 114030 h 349382"/>
                <a:gd name="connsiteX129" fmla="*/ 1850712 w 2663946"/>
                <a:gd name="connsiteY129" fmla="*/ 122425 h 349382"/>
                <a:gd name="connsiteX130" fmla="*/ 1855228 w 2663946"/>
                <a:gd name="connsiteY130" fmla="*/ 126848 h 349382"/>
                <a:gd name="connsiteX131" fmla="*/ 1859745 w 2663946"/>
                <a:gd name="connsiteY131" fmla="*/ 122425 h 349382"/>
                <a:gd name="connsiteX132" fmla="*/ 1859745 w 2663946"/>
                <a:gd name="connsiteY132" fmla="*/ 114030 h 349382"/>
                <a:gd name="connsiteX133" fmla="*/ 1864699 w 2663946"/>
                <a:gd name="connsiteY133" fmla="*/ 105873 h 349382"/>
                <a:gd name="connsiteX134" fmla="*/ 1855228 w 2663946"/>
                <a:gd name="connsiteY134" fmla="*/ 96599 h 349382"/>
                <a:gd name="connsiteX135" fmla="*/ 1764289 w 2663946"/>
                <a:gd name="connsiteY135" fmla="*/ 96599 h 349382"/>
                <a:gd name="connsiteX136" fmla="*/ 1754819 w 2663946"/>
                <a:gd name="connsiteY136" fmla="*/ 105873 h 349382"/>
                <a:gd name="connsiteX137" fmla="*/ 1759773 w 2663946"/>
                <a:gd name="connsiteY137" fmla="*/ 114030 h 349382"/>
                <a:gd name="connsiteX138" fmla="*/ 1759773 w 2663946"/>
                <a:gd name="connsiteY138" fmla="*/ 122425 h 349382"/>
                <a:gd name="connsiteX139" fmla="*/ 1764289 w 2663946"/>
                <a:gd name="connsiteY139" fmla="*/ 126848 h 349382"/>
                <a:gd name="connsiteX140" fmla="*/ 1768806 w 2663946"/>
                <a:gd name="connsiteY140" fmla="*/ 122425 h 349382"/>
                <a:gd name="connsiteX141" fmla="*/ 1768806 w 2663946"/>
                <a:gd name="connsiteY141" fmla="*/ 114030 h 349382"/>
                <a:gd name="connsiteX142" fmla="*/ 1773760 w 2663946"/>
                <a:gd name="connsiteY142" fmla="*/ 105873 h 349382"/>
                <a:gd name="connsiteX143" fmla="*/ 1764289 w 2663946"/>
                <a:gd name="connsiteY143" fmla="*/ 96599 h 349382"/>
                <a:gd name="connsiteX144" fmla="*/ 1506321 w 2663946"/>
                <a:gd name="connsiteY144" fmla="*/ 96599 h 349382"/>
                <a:gd name="connsiteX145" fmla="*/ 1496851 w 2663946"/>
                <a:gd name="connsiteY145" fmla="*/ 105873 h 349382"/>
                <a:gd name="connsiteX146" fmla="*/ 1501805 w 2663946"/>
                <a:gd name="connsiteY146" fmla="*/ 114030 h 349382"/>
                <a:gd name="connsiteX147" fmla="*/ 1501805 w 2663946"/>
                <a:gd name="connsiteY147" fmla="*/ 122425 h 349382"/>
                <a:gd name="connsiteX148" fmla="*/ 1506321 w 2663946"/>
                <a:gd name="connsiteY148" fmla="*/ 126848 h 349382"/>
                <a:gd name="connsiteX149" fmla="*/ 1510838 w 2663946"/>
                <a:gd name="connsiteY149" fmla="*/ 122425 h 349382"/>
                <a:gd name="connsiteX150" fmla="*/ 1510838 w 2663946"/>
                <a:gd name="connsiteY150" fmla="*/ 114030 h 349382"/>
                <a:gd name="connsiteX151" fmla="*/ 1515792 w 2663946"/>
                <a:gd name="connsiteY151" fmla="*/ 105873 h 349382"/>
                <a:gd name="connsiteX152" fmla="*/ 1506321 w 2663946"/>
                <a:gd name="connsiteY152" fmla="*/ 96599 h 349382"/>
                <a:gd name="connsiteX153" fmla="*/ 1415382 w 2663946"/>
                <a:gd name="connsiteY153" fmla="*/ 96599 h 349382"/>
                <a:gd name="connsiteX154" fmla="*/ 1405912 w 2663946"/>
                <a:gd name="connsiteY154" fmla="*/ 105873 h 349382"/>
                <a:gd name="connsiteX155" fmla="*/ 1410866 w 2663946"/>
                <a:gd name="connsiteY155" fmla="*/ 114030 h 349382"/>
                <a:gd name="connsiteX156" fmla="*/ 1410866 w 2663946"/>
                <a:gd name="connsiteY156" fmla="*/ 122425 h 349382"/>
                <a:gd name="connsiteX157" fmla="*/ 1415382 w 2663946"/>
                <a:gd name="connsiteY157" fmla="*/ 126848 h 349382"/>
                <a:gd name="connsiteX158" fmla="*/ 1419899 w 2663946"/>
                <a:gd name="connsiteY158" fmla="*/ 122425 h 349382"/>
                <a:gd name="connsiteX159" fmla="*/ 1419899 w 2663946"/>
                <a:gd name="connsiteY159" fmla="*/ 114030 h 349382"/>
                <a:gd name="connsiteX160" fmla="*/ 1424853 w 2663946"/>
                <a:gd name="connsiteY160" fmla="*/ 105873 h 349382"/>
                <a:gd name="connsiteX161" fmla="*/ 1415382 w 2663946"/>
                <a:gd name="connsiteY161" fmla="*/ 96599 h 349382"/>
                <a:gd name="connsiteX162" fmla="*/ 1157414 w 2663946"/>
                <a:gd name="connsiteY162" fmla="*/ 96599 h 349382"/>
                <a:gd name="connsiteX163" fmla="*/ 1147944 w 2663946"/>
                <a:gd name="connsiteY163" fmla="*/ 105873 h 349382"/>
                <a:gd name="connsiteX164" fmla="*/ 1152898 w 2663946"/>
                <a:gd name="connsiteY164" fmla="*/ 114030 h 349382"/>
                <a:gd name="connsiteX165" fmla="*/ 1152898 w 2663946"/>
                <a:gd name="connsiteY165" fmla="*/ 122425 h 349382"/>
                <a:gd name="connsiteX166" fmla="*/ 1157414 w 2663946"/>
                <a:gd name="connsiteY166" fmla="*/ 126848 h 349382"/>
                <a:gd name="connsiteX167" fmla="*/ 1161931 w 2663946"/>
                <a:gd name="connsiteY167" fmla="*/ 122425 h 349382"/>
                <a:gd name="connsiteX168" fmla="*/ 1161931 w 2663946"/>
                <a:gd name="connsiteY168" fmla="*/ 114030 h 349382"/>
                <a:gd name="connsiteX169" fmla="*/ 1166885 w 2663946"/>
                <a:gd name="connsiteY169" fmla="*/ 105873 h 349382"/>
                <a:gd name="connsiteX170" fmla="*/ 1157414 w 2663946"/>
                <a:gd name="connsiteY170" fmla="*/ 96599 h 349382"/>
                <a:gd name="connsiteX171" fmla="*/ 732418 w 2663946"/>
                <a:gd name="connsiteY171" fmla="*/ 96599 h 349382"/>
                <a:gd name="connsiteX172" fmla="*/ 722947 w 2663946"/>
                <a:gd name="connsiteY172" fmla="*/ 105873 h 349382"/>
                <a:gd name="connsiteX173" fmla="*/ 727901 w 2663946"/>
                <a:gd name="connsiteY173" fmla="*/ 114030 h 349382"/>
                <a:gd name="connsiteX174" fmla="*/ 727901 w 2663946"/>
                <a:gd name="connsiteY174" fmla="*/ 122425 h 349382"/>
                <a:gd name="connsiteX175" fmla="*/ 732418 w 2663946"/>
                <a:gd name="connsiteY175" fmla="*/ 126848 h 349382"/>
                <a:gd name="connsiteX176" fmla="*/ 736935 w 2663946"/>
                <a:gd name="connsiteY176" fmla="*/ 122425 h 349382"/>
                <a:gd name="connsiteX177" fmla="*/ 736935 w 2663946"/>
                <a:gd name="connsiteY177" fmla="*/ 114030 h 349382"/>
                <a:gd name="connsiteX178" fmla="*/ 741889 w 2663946"/>
                <a:gd name="connsiteY178" fmla="*/ 105873 h 349382"/>
                <a:gd name="connsiteX179" fmla="*/ 732418 w 2663946"/>
                <a:gd name="connsiteY179" fmla="*/ 96599 h 349382"/>
                <a:gd name="connsiteX180" fmla="*/ 641479 w 2663946"/>
                <a:gd name="connsiteY180" fmla="*/ 96599 h 349382"/>
                <a:gd name="connsiteX181" fmla="*/ 632008 w 2663946"/>
                <a:gd name="connsiteY181" fmla="*/ 105873 h 349382"/>
                <a:gd name="connsiteX182" fmla="*/ 636962 w 2663946"/>
                <a:gd name="connsiteY182" fmla="*/ 114030 h 349382"/>
                <a:gd name="connsiteX183" fmla="*/ 636962 w 2663946"/>
                <a:gd name="connsiteY183" fmla="*/ 122425 h 349382"/>
                <a:gd name="connsiteX184" fmla="*/ 641479 w 2663946"/>
                <a:gd name="connsiteY184" fmla="*/ 126848 h 349382"/>
                <a:gd name="connsiteX185" fmla="*/ 645996 w 2663946"/>
                <a:gd name="connsiteY185" fmla="*/ 122425 h 349382"/>
                <a:gd name="connsiteX186" fmla="*/ 645996 w 2663946"/>
                <a:gd name="connsiteY186" fmla="*/ 114030 h 349382"/>
                <a:gd name="connsiteX187" fmla="*/ 650950 w 2663946"/>
                <a:gd name="connsiteY187" fmla="*/ 105873 h 349382"/>
                <a:gd name="connsiteX188" fmla="*/ 641479 w 2663946"/>
                <a:gd name="connsiteY188" fmla="*/ 96599 h 349382"/>
                <a:gd name="connsiteX189" fmla="*/ 459528 w 2663946"/>
                <a:gd name="connsiteY189" fmla="*/ 96599 h 349382"/>
                <a:gd name="connsiteX190" fmla="*/ 450057 w 2663946"/>
                <a:gd name="connsiteY190" fmla="*/ 105873 h 349382"/>
                <a:gd name="connsiteX191" fmla="*/ 455011 w 2663946"/>
                <a:gd name="connsiteY191" fmla="*/ 114030 h 349382"/>
                <a:gd name="connsiteX192" fmla="*/ 455011 w 2663946"/>
                <a:gd name="connsiteY192" fmla="*/ 122425 h 349382"/>
                <a:gd name="connsiteX193" fmla="*/ 459528 w 2663946"/>
                <a:gd name="connsiteY193" fmla="*/ 126848 h 349382"/>
                <a:gd name="connsiteX194" fmla="*/ 464045 w 2663946"/>
                <a:gd name="connsiteY194" fmla="*/ 122425 h 349382"/>
                <a:gd name="connsiteX195" fmla="*/ 464045 w 2663946"/>
                <a:gd name="connsiteY195" fmla="*/ 114030 h 349382"/>
                <a:gd name="connsiteX196" fmla="*/ 468999 w 2663946"/>
                <a:gd name="connsiteY196" fmla="*/ 105873 h 349382"/>
                <a:gd name="connsiteX197" fmla="*/ 459528 w 2663946"/>
                <a:gd name="connsiteY197" fmla="*/ 96599 h 349382"/>
                <a:gd name="connsiteX198" fmla="*/ 2632966 w 2663946"/>
                <a:gd name="connsiteY198" fmla="*/ 69406 h 349382"/>
                <a:gd name="connsiteX199" fmla="*/ 2621414 w 2663946"/>
                <a:gd name="connsiteY199" fmla="*/ 71839 h 349382"/>
                <a:gd name="connsiteX200" fmla="*/ 2618218 w 2663946"/>
                <a:gd name="connsiteY200" fmla="*/ 75354 h 349382"/>
                <a:gd name="connsiteX201" fmla="*/ 2616006 w 2663946"/>
                <a:gd name="connsiteY201" fmla="*/ 79139 h 349382"/>
                <a:gd name="connsiteX202" fmla="*/ 2615023 w 2663946"/>
                <a:gd name="connsiteY202" fmla="*/ 81843 h 349382"/>
                <a:gd name="connsiteX203" fmla="*/ 2614039 w 2663946"/>
                <a:gd name="connsiteY203" fmla="*/ 85899 h 349382"/>
                <a:gd name="connsiteX204" fmla="*/ 2613056 w 2663946"/>
                <a:gd name="connsiteY204" fmla="*/ 92929 h 349382"/>
                <a:gd name="connsiteX205" fmla="*/ 2614039 w 2663946"/>
                <a:gd name="connsiteY205" fmla="*/ 100229 h 349382"/>
                <a:gd name="connsiteX206" fmla="*/ 2615269 w 2663946"/>
                <a:gd name="connsiteY206" fmla="*/ 104014 h 349382"/>
                <a:gd name="connsiteX207" fmla="*/ 2617481 w 2663946"/>
                <a:gd name="connsiteY207" fmla="*/ 108340 h 349382"/>
                <a:gd name="connsiteX208" fmla="*/ 2620922 w 2663946"/>
                <a:gd name="connsiteY208" fmla="*/ 112667 h 349382"/>
                <a:gd name="connsiteX209" fmla="*/ 2625346 w 2663946"/>
                <a:gd name="connsiteY209" fmla="*/ 115370 h 349382"/>
                <a:gd name="connsiteX210" fmla="*/ 2637637 w 2663946"/>
                <a:gd name="connsiteY210" fmla="*/ 112937 h 349382"/>
                <a:gd name="connsiteX211" fmla="*/ 2640832 w 2663946"/>
                <a:gd name="connsiteY211" fmla="*/ 109422 h 349382"/>
                <a:gd name="connsiteX212" fmla="*/ 2643290 w 2663946"/>
                <a:gd name="connsiteY212" fmla="*/ 105096 h 349382"/>
                <a:gd name="connsiteX213" fmla="*/ 2644273 w 2663946"/>
                <a:gd name="connsiteY213" fmla="*/ 102933 h 349382"/>
                <a:gd name="connsiteX214" fmla="*/ 2645502 w 2663946"/>
                <a:gd name="connsiteY214" fmla="*/ 98607 h 349382"/>
                <a:gd name="connsiteX215" fmla="*/ 2645011 w 2663946"/>
                <a:gd name="connsiteY215" fmla="*/ 84817 h 349382"/>
                <a:gd name="connsiteX216" fmla="*/ 2644027 w 2663946"/>
                <a:gd name="connsiteY216" fmla="*/ 81843 h 349382"/>
                <a:gd name="connsiteX217" fmla="*/ 2642799 w 2663946"/>
                <a:gd name="connsiteY217" fmla="*/ 78869 h 349382"/>
                <a:gd name="connsiteX218" fmla="*/ 2640586 w 2663946"/>
                <a:gd name="connsiteY218" fmla="*/ 75354 h 349382"/>
                <a:gd name="connsiteX219" fmla="*/ 2636899 w 2663946"/>
                <a:gd name="connsiteY219" fmla="*/ 71569 h 349382"/>
                <a:gd name="connsiteX220" fmla="*/ 2632966 w 2663946"/>
                <a:gd name="connsiteY220" fmla="*/ 69406 h 349382"/>
                <a:gd name="connsiteX221" fmla="*/ 2451011 w 2663946"/>
                <a:gd name="connsiteY221" fmla="*/ 69406 h 349382"/>
                <a:gd name="connsiteX222" fmla="*/ 2439459 w 2663946"/>
                <a:gd name="connsiteY222" fmla="*/ 71839 h 349382"/>
                <a:gd name="connsiteX223" fmla="*/ 2436263 w 2663946"/>
                <a:gd name="connsiteY223" fmla="*/ 75354 h 349382"/>
                <a:gd name="connsiteX224" fmla="*/ 2434051 w 2663946"/>
                <a:gd name="connsiteY224" fmla="*/ 79139 h 349382"/>
                <a:gd name="connsiteX225" fmla="*/ 2433068 w 2663946"/>
                <a:gd name="connsiteY225" fmla="*/ 81843 h 349382"/>
                <a:gd name="connsiteX226" fmla="*/ 2432084 w 2663946"/>
                <a:gd name="connsiteY226" fmla="*/ 85899 h 349382"/>
                <a:gd name="connsiteX227" fmla="*/ 2431101 w 2663946"/>
                <a:gd name="connsiteY227" fmla="*/ 92929 h 349382"/>
                <a:gd name="connsiteX228" fmla="*/ 2432084 w 2663946"/>
                <a:gd name="connsiteY228" fmla="*/ 100229 h 349382"/>
                <a:gd name="connsiteX229" fmla="*/ 2433314 w 2663946"/>
                <a:gd name="connsiteY229" fmla="*/ 104014 h 349382"/>
                <a:gd name="connsiteX230" fmla="*/ 2435526 w 2663946"/>
                <a:gd name="connsiteY230" fmla="*/ 108340 h 349382"/>
                <a:gd name="connsiteX231" fmla="*/ 2438967 w 2663946"/>
                <a:gd name="connsiteY231" fmla="*/ 112667 h 349382"/>
                <a:gd name="connsiteX232" fmla="*/ 2443391 w 2663946"/>
                <a:gd name="connsiteY232" fmla="*/ 115370 h 349382"/>
                <a:gd name="connsiteX233" fmla="*/ 2455682 w 2663946"/>
                <a:gd name="connsiteY233" fmla="*/ 112937 h 349382"/>
                <a:gd name="connsiteX234" fmla="*/ 2458877 w 2663946"/>
                <a:gd name="connsiteY234" fmla="*/ 109422 h 349382"/>
                <a:gd name="connsiteX235" fmla="*/ 2461335 w 2663946"/>
                <a:gd name="connsiteY235" fmla="*/ 105096 h 349382"/>
                <a:gd name="connsiteX236" fmla="*/ 2462318 w 2663946"/>
                <a:gd name="connsiteY236" fmla="*/ 102933 h 349382"/>
                <a:gd name="connsiteX237" fmla="*/ 2463547 w 2663946"/>
                <a:gd name="connsiteY237" fmla="*/ 98607 h 349382"/>
                <a:gd name="connsiteX238" fmla="*/ 2463056 w 2663946"/>
                <a:gd name="connsiteY238" fmla="*/ 84817 h 349382"/>
                <a:gd name="connsiteX239" fmla="*/ 2462072 w 2663946"/>
                <a:gd name="connsiteY239" fmla="*/ 81843 h 349382"/>
                <a:gd name="connsiteX240" fmla="*/ 2460844 w 2663946"/>
                <a:gd name="connsiteY240" fmla="*/ 78869 h 349382"/>
                <a:gd name="connsiteX241" fmla="*/ 2458631 w 2663946"/>
                <a:gd name="connsiteY241" fmla="*/ 75354 h 349382"/>
                <a:gd name="connsiteX242" fmla="*/ 2454944 w 2663946"/>
                <a:gd name="connsiteY242" fmla="*/ 71569 h 349382"/>
                <a:gd name="connsiteX243" fmla="*/ 2451011 w 2663946"/>
                <a:gd name="connsiteY243" fmla="*/ 69406 h 349382"/>
                <a:gd name="connsiteX244" fmla="*/ 2207965 w 2663946"/>
                <a:gd name="connsiteY244" fmla="*/ 69406 h 349382"/>
                <a:gd name="connsiteX245" fmla="*/ 2196413 w 2663946"/>
                <a:gd name="connsiteY245" fmla="*/ 71839 h 349382"/>
                <a:gd name="connsiteX246" fmla="*/ 2193217 w 2663946"/>
                <a:gd name="connsiteY246" fmla="*/ 75354 h 349382"/>
                <a:gd name="connsiteX247" fmla="*/ 2191005 w 2663946"/>
                <a:gd name="connsiteY247" fmla="*/ 79139 h 349382"/>
                <a:gd name="connsiteX248" fmla="*/ 2190022 w 2663946"/>
                <a:gd name="connsiteY248" fmla="*/ 81843 h 349382"/>
                <a:gd name="connsiteX249" fmla="*/ 2189038 w 2663946"/>
                <a:gd name="connsiteY249" fmla="*/ 85899 h 349382"/>
                <a:gd name="connsiteX250" fmla="*/ 2188055 w 2663946"/>
                <a:gd name="connsiteY250" fmla="*/ 92929 h 349382"/>
                <a:gd name="connsiteX251" fmla="*/ 2189038 w 2663946"/>
                <a:gd name="connsiteY251" fmla="*/ 100229 h 349382"/>
                <a:gd name="connsiteX252" fmla="*/ 2190268 w 2663946"/>
                <a:gd name="connsiteY252" fmla="*/ 104014 h 349382"/>
                <a:gd name="connsiteX253" fmla="*/ 2192480 w 2663946"/>
                <a:gd name="connsiteY253" fmla="*/ 108340 h 349382"/>
                <a:gd name="connsiteX254" fmla="*/ 2195921 w 2663946"/>
                <a:gd name="connsiteY254" fmla="*/ 112667 h 349382"/>
                <a:gd name="connsiteX255" fmla="*/ 2200345 w 2663946"/>
                <a:gd name="connsiteY255" fmla="*/ 115370 h 349382"/>
                <a:gd name="connsiteX256" fmla="*/ 2212636 w 2663946"/>
                <a:gd name="connsiteY256" fmla="*/ 112937 h 349382"/>
                <a:gd name="connsiteX257" fmla="*/ 2215831 w 2663946"/>
                <a:gd name="connsiteY257" fmla="*/ 109422 h 349382"/>
                <a:gd name="connsiteX258" fmla="*/ 2218289 w 2663946"/>
                <a:gd name="connsiteY258" fmla="*/ 105096 h 349382"/>
                <a:gd name="connsiteX259" fmla="*/ 2219272 w 2663946"/>
                <a:gd name="connsiteY259" fmla="*/ 102933 h 349382"/>
                <a:gd name="connsiteX260" fmla="*/ 2220501 w 2663946"/>
                <a:gd name="connsiteY260" fmla="*/ 98607 h 349382"/>
                <a:gd name="connsiteX261" fmla="*/ 2220010 w 2663946"/>
                <a:gd name="connsiteY261" fmla="*/ 84817 h 349382"/>
                <a:gd name="connsiteX262" fmla="*/ 2219026 w 2663946"/>
                <a:gd name="connsiteY262" fmla="*/ 81843 h 349382"/>
                <a:gd name="connsiteX263" fmla="*/ 2217798 w 2663946"/>
                <a:gd name="connsiteY263" fmla="*/ 78869 h 349382"/>
                <a:gd name="connsiteX264" fmla="*/ 2215585 w 2663946"/>
                <a:gd name="connsiteY264" fmla="*/ 75354 h 349382"/>
                <a:gd name="connsiteX265" fmla="*/ 2211898 w 2663946"/>
                <a:gd name="connsiteY265" fmla="*/ 71569 h 349382"/>
                <a:gd name="connsiteX266" fmla="*/ 2207965 w 2663946"/>
                <a:gd name="connsiteY266" fmla="*/ 69406 h 349382"/>
                <a:gd name="connsiteX267" fmla="*/ 2026014 w 2663946"/>
                <a:gd name="connsiteY267" fmla="*/ 69406 h 349382"/>
                <a:gd name="connsiteX268" fmla="*/ 2014462 w 2663946"/>
                <a:gd name="connsiteY268" fmla="*/ 71839 h 349382"/>
                <a:gd name="connsiteX269" fmla="*/ 2011266 w 2663946"/>
                <a:gd name="connsiteY269" fmla="*/ 75354 h 349382"/>
                <a:gd name="connsiteX270" fmla="*/ 2009054 w 2663946"/>
                <a:gd name="connsiteY270" fmla="*/ 79139 h 349382"/>
                <a:gd name="connsiteX271" fmla="*/ 2008071 w 2663946"/>
                <a:gd name="connsiteY271" fmla="*/ 81843 h 349382"/>
                <a:gd name="connsiteX272" fmla="*/ 2007087 w 2663946"/>
                <a:gd name="connsiteY272" fmla="*/ 85899 h 349382"/>
                <a:gd name="connsiteX273" fmla="*/ 2006104 w 2663946"/>
                <a:gd name="connsiteY273" fmla="*/ 92929 h 349382"/>
                <a:gd name="connsiteX274" fmla="*/ 2007087 w 2663946"/>
                <a:gd name="connsiteY274" fmla="*/ 100229 h 349382"/>
                <a:gd name="connsiteX275" fmla="*/ 2008317 w 2663946"/>
                <a:gd name="connsiteY275" fmla="*/ 104014 h 349382"/>
                <a:gd name="connsiteX276" fmla="*/ 2010529 w 2663946"/>
                <a:gd name="connsiteY276" fmla="*/ 108340 h 349382"/>
                <a:gd name="connsiteX277" fmla="*/ 2013970 w 2663946"/>
                <a:gd name="connsiteY277" fmla="*/ 112667 h 349382"/>
                <a:gd name="connsiteX278" fmla="*/ 2018394 w 2663946"/>
                <a:gd name="connsiteY278" fmla="*/ 115370 h 349382"/>
                <a:gd name="connsiteX279" fmla="*/ 2030685 w 2663946"/>
                <a:gd name="connsiteY279" fmla="*/ 112937 h 349382"/>
                <a:gd name="connsiteX280" fmla="*/ 2033880 w 2663946"/>
                <a:gd name="connsiteY280" fmla="*/ 109422 h 349382"/>
                <a:gd name="connsiteX281" fmla="*/ 2036338 w 2663946"/>
                <a:gd name="connsiteY281" fmla="*/ 105096 h 349382"/>
                <a:gd name="connsiteX282" fmla="*/ 2037321 w 2663946"/>
                <a:gd name="connsiteY282" fmla="*/ 102933 h 349382"/>
                <a:gd name="connsiteX283" fmla="*/ 2038550 w 2663946"/>
                <a:gd name="connsiteY283" fmla="*/ 98607 h 349382"/>
                <a:gd name="connsiteX284" fmla="*/ 2038059 w 2663946"/>
                <a:gd name="connsiteY284" fmla="*/ 84817 h 349382"/>
                <a:gd name="connsiteX285" fmla="*/ 2037075 w 2663946"/>
                <a:gd name="connsiteY285" fmla="*/ 81843 h 349382"/>
                <a:gd name="connsiteX286" fmla="*/ 2035847 w 2663946"/>
                <a:gd name="connsiteY286" fmla="*/ 78869 h 349382"/>
                <a:gd name="connsiteX287" fmla="*/ 2033634 w 2663946"/>
                <a:gd name="connsiteY287" fmla="*/ 75354 h 349382"/>
                <a:gd name="connsiteX288" fmla="*/ 2029947 w 2663946"/>
                <a:gd name="connsiteY288" fmla="*/ 71569 h 349382"/>
                <a:gd name="connsiteX289" fmla="*/ 2026014 w 2663946"/>
                <a:gd name="connsiteY289" fmla="*/ 69406 h 349382"/>
                <a:gd name="connsiteX290" fmla="*/ 1601090 w 2663946"/>
                <a:gd name="connsiteY290" fmla="*/ 69406 h 349382"/>
                <a:gd name="connsiteX291" fmla="*/ 1589537 w 2663946"/>
                <a:gd name="connsiteY291" fmla="*/ 71839 h 349382"/>
                <a:gd name="connsiteX292" fmla="*/ 1586342 w 2663946"/>
                <a:gd name="connsiteY292" fmla="*/ 75354 h 349382"/>
                <a:gd name="connsiteX293" fmla="*/ 1584130 w 2663946"/>
                <a:gd name="connsiteY293" fmla="*/ 79139 h 349382"/>
                <a:gd name="connsiteX294" fmla="*/ 1583147 w 2663946"/>
                <a:gd name="connsiteY294" fmla="*/ 81843 h 349382"/>
                <a:gd name="connsiteX295" fmla="*/ 1582163 w 2663946"/>
                <a:gd name="connsiteY295" fmla="*/ 85899 h 349382"/>
                <a:gd name="connsiteX296" fmla="*/ 1581180 w 2663946"/>
                <a:gd name="connsiteY296" fmla="*/ 92929 h 349382"/>
                <a:gd name="connsiteX297" fmla="*/ 1582163 w 2663946"/>
                <a:gd name="connsiteY297" fmla="*/ 100229 h 349382"/>
                <a:gd name="connsiteX298" fmla="*/ 1583393 w 2663946"/>
                <a:gd name="connsiteY298" fmla="*/ 104014 h 349382"/>
                <a:gd name="connsiteX299" fmla="*/ 1585605 w 2663946"/>
                <a:gd name="connsiteY299" fmla="*/ 108340 h 349382"/>
                <a:gd name="connsiteX300" fmla="*/ 1589046 w 2663946"/>
                <a:gd name="connsiteY300" fmla="*/ 112667 h 349382"/>
                <a:gd name="connsiteX301" fmla="*/ 1593470 w 2663946"/>
                <a:gd name="connsiteY301" fmla="*/ 115370 h 349382"/>
                <a:gd name="connsiteX302" fmla="*/ 1605761 w 2663946"/>
                <a:gd name="connsiteY302" fmla="*/ 112937 h 349382"/>
                <a:gd name="connsiteX303" fmla="*/ 1608956 w 2663946"/>
                <a:gd name="connsiteY303" fmla="*/ 109422 h 349382"/>
                <a:gd name="connsiteX304" fmla="*/ 1611414 w 2663946"/>
                <a:gd name="connsiteY304" fmla="*/ 105096 h 349382"/>
                <a:gd name="connsiteX305" fmla="*/ 1612397 w 2663946"/>
                <a:gd name="connsiteY305" fmla="*/ 102933 h 349382"/>
                <a:gd name="connsiteX306" fmla="*/ 1613626 w 2663946"/>
                <a:gd name="connsiteY306" fmla="*/ 98607 h 349382"/>
                <a:gd name="connsiteX307" fmla="*/ 1613135 w 2663946"/>
                <a:gd name="connsiteY307" fmla="*/ 84817 h 349382"/>
                <a:gd name="connsiteX308" fmla="*/ 1612151 w 2663946"/>
                <a:gd name="connsiteY308" fmla="*/ 81843 h 349382"/>
                <a:gd name="connsiteX309" fmla="*/ 1610923 w 2663946"/>
                <a:gd name="connsiteY309" fmla="*/ 78869 h 349382"/>
                <a:gd name="connsiteX310" fmla="*/ 1608710 w 2663946"/>
                <a:gd name="connsiteY310" fmla="*/ 75354 h 349382"/>
                <a:gd name="connsiteX311" fmla="*/ 1605023 w 2663946"/>
                <a:gd name="connsiteY311" fmla="*/ 71569 h 349382"/>
                <a:gd name="connsiteX312" fmla="*/ 1601090 w 2663946"/>
                <a:gd name="connsiteY312" fmla="*/ 69406 h 349382"/>
                <a:gd name="connsiteX313" fmla="*/ 1252183 w 2663946"/>
                <a:gd name="connsiteY313" fmla="*/ 69406 h 349382"/>
                <a:gd name="connsiteX314" fmla="*/ 1240630 w 2663946"/>
                <a:gd name="connsiteY314" fmla="*/ 71839 h 349382"/>
                <a:gd name="connsiteX315" fmla="*/ 1237435 w 2663946"/>
                <a:gd name="connsiteY315" fmla="*/ 75354 h 349382"/>
                <a:gd name="connsiteX316" fmla="*/ 1235223 w 2663946"/>
                <a:gd name="connsiteY316" fmla="*/ 79139 h 349382"/>
                <a:gd name="connsiteX317" fmla="*/ 1234240 w 2663946"/>
                <a:gd name="connsiteY317" fmla="*/ 81843 h 349382"/>
                <a:gd name="connsiteX318" fmla="*/ 1233256 w 2663946"/>
                <a:gd name="connsiteY318" fmla="*/ 85899 h 349382"/>
                <a:gd name="connsiteX319" fmla="*/ 1232273 w 2663946"/>
                <a:gd name="connsiteY319" fmla="*/ 92929 h 349382"/>
                <a:gd name="connsiteX320" fmla="*/ 1233256 w 2663946"/>
                <a:gd name="connsiteY320" fmla="*/ 100229 h 349382"/>
                <a:gd name="connsiteX321" fmla="*/ 1234486 w 2663946"/>
                <a:gd name="connsiteY321" fmla="*/ 104014 h 349382"/>
                <a:gd name="connsiteX322" fmla="*/ 1236698 w 2663946"/>
                <a:gd name="connsiteY322" fmla="*/ 108340 h 349382"/>
                <a:gd name="connsiteX323" fmla="*/ 1240139 w 2663946"/>
                <a:gd name="connsiteY323" fmla="*/ 112667 h 349382"/>
                <a:gd name="connsiteX324" fmla="*/ 1244563 w 2663946"/>
                <a:gd name="connsiteY324" fmla="*/ 115370 h 349382"/>
                <a:gd name="connsiteX325" fmla="*/ 1256854 w 2663946"/>
                <a:gd name="connsiteY325" fmla="*/ 112937 h 349382"/>
                <a:gd name="connsiteX326" fmla="*/ 1260049 w 2663946"/>
                <a:gd name="connsiteY326" fmla="*/ 109422 h 349382"/>
                <a:gd name="connsiteX327" fmla="*/ 1262507 w 2663946"/>
                <a:gd name="connsiteY327" fmla="*/ 105096 h 349382"/>
                <a:gd name="connsiteX328" fmla="*/ 1263490 w 2663946"/>
                <a:gd name="connsiteY328" fmla="*/ 102933 h 349382"/>
                <a:gd name="connsiteX329" fmla="*/ 1264719 w 2663946"/>
                <a:gd name="connsiteY329" fmla="*/ 98607 h 349382"/>
                <a:gd name="connsiteX330" fmla="*/ 1264228 w 2663946"/>
                <a:gd name="connsiteY330" fmla="*/ 84817 h 349382"/>
                <a:gd name="connsiteX331" fmla="*/ 1263244 w 2663946"/>
                <a:gd name="connsiteY331" fmla="*/ 81843 h 349382"/>
                <a:gd name="connsiteX332" fmla="*/ 1262016 w 2663946"/>
                <a:gd name="connsiteY332" fmla="*/ 78869 h 349382"/>
                <a:gd name="connsiteX333" fmla="*/ 1259803 w 2663946"/>
                <a:gd name="connsiteY333" fmla="*/ 75354 h 349382"/>
                <a:gd name="connsiteX334" fmla="*/ 1256116 w 2663946"/>
                <a:gd name="connsiteY334" fmla="*/ 71569 h 349382"/>
                <a:gd name="connsiteX335" fmla="*/ 1252183 w 2663946"/>
                <a:gd name="connsiteY335" fmla="*/ 69406 h 349382"/>
                <a:gd name="connsiteX336" fmla="*/ 1070232 w 2663946"/>
                <a:gd name="connsiteY336" fmla="*/ 69406 h 349382"/>
                <a:gd name="connsiteX337" fmla="*/ 1058679 w 2663946"/>
                <a:gd name="connsiteY337" fmla="*/ 71839 h 349382"/>
                <a:gd name="connsiteX338" fmla="*/ 1055484 w 2663946"/>
                <a:gd name="connsiteY338" fmla="*/ 75354 h 349382"/>
                <a:gd name="connsiteX339" fmla="*/ 1053272 w 2663946"/>
                <a:gd name="connsiteY339" fmla="*/ 79139 h 349382"/>
                <a:gd name="connsiteX340" fmla="*/ 1052289 w 2663946"/>
                <a:gd name="connsiteY340" fmla="*/ 81843 h 349382"/>
                <a:gd name="connsiteX341" fmla="*/ 1051305 w 2663946"/>
                <a:gd name="connsiteY341" fmla="*/ 85899 h 349382"/>
                <a:gd name="connsiteX342" fmla="*/ 1050322 w 2663946"/>
                <a:gd name="connsiteY342" fmla="*/ 92929 h 349382"/>
                <a:gd name="connsiteX343" fmla="*/ 1051305 w 2663946"/>
                <a:gd name="connsiteY343" fmla="*/ 100229 h 349382"/>
                <a:gd name="connsiteX344" fmla="*/ 1052535 w 2663946"/>
                <a:gd name="connsiteY344" fmla="*/ 104014 h 349382"/>
                <a:gd name="connsiteX345" fmla="*/ 1054747 w 2663946"/>
                <a:gd name="connsiteY345" fmla="*/ 108340 h 349382"/>
                <a:gd name="connsiteX346" fmla="*/ 1058188 w 2663946"/>
                <a:gd name="connsiteY346" fmla="*/ 112667 h 349382"/>
                <a:gd name="connsiteX347" fmla="*/ 1062612 w 2663946"/>
                <a:gd name="connsiteY347" fmla="*/ 115370 h 349382"/>
                <a:gd name="connsiteX348" fmla="*/ 1074903 w 2663946"/>
                <a:gd name="connsiteY348" fmla="*/ 112937 h 349382"/>
                <a:gd name="connsiteX349" fmla="*/ 1078098 w 2663946"/>
                <a:gd name="connsiteY349" fmla="*/ 109422 h 349382"/>
                <a:gd name="connsiteX350" fmla="*/ 1080556 w 2663946"/>
                <a:gd name="connsiteY350" fmla="*/ 105096 h 349382"/>
                <a:gd name="connsiteX351" fmla="*/ 1081539 w 2663946"/>
                <a:gd name="connsiteY351" fmla="*/ 102933 h 349382"/>
                <a:gd name="connsiteX352" fmla="*/ 1082768 w 2663946"/>
                <a:gd name="connsiteY352" fmla="*/ 98607 h 349382"/>
                <a:gd name="connsiteX353" fmla="*/ 1082277 w 2663946"/>
                <a:gd name="connsiteY353" fmla="*/ 84817 h 349382"/>
                <a:gd name="connsiteX354" fmla="*/ 1081293 w 2663946"/>
                <a:gd name="connsiteY354" fmla="*/ 81843 h 349382"/>
                <a:gd name="connsiteX355" fmla="*/ 1080065 w 2663946"/>
                <a:gd name="connsiteY355" fmla="*/ 78869 h 349382"/>
                <a:gd name="connsiteX356" fmla="*/ 1077852 w 2663946"/>
                <a:gd name="connsiteY356" fmla="*/ 75354 h 349382"/>
                <a:gd name="connsiteX357" fmla="*/ 1074165 w 2663946"/>
                <a:gd name="connsiteY357" fmla="*/ 71569 h 349382"/>
                <a:gd name="connsiteX358" fmla="*/ 1070232 w 2663946"/>
                <a:gd name="connsiteY358" fmla="*/ 69406 h 349382"/>
                <a:gd name="connsiteX359" fmla="*/ 903203 w 2663946"/>
                <a:gd name="connsiteY359" fmla="*/ 69406 h 349382"/>
                <a:gd name="connsiteX360" fmla="*/ 891650 w 2663946"/>
                <a:gd name="connsiteY360" fmla="*/ 71839 h 349382"/>
                <a:gd name="connsiteX361" fmla="*/ 888455 w 2663946"/>
                <a:gd name="connsiteY361" fmla="*/ 75354 h 349382"/>
                <a:gd name="connsiteX362" fmla="*/ 886243 w 2663946"/>
                <a:gd name="connsiteY362" fmla="*/ 79139 h 349382"/>
                <a:gd name="connsiteX363" fmla="*/ 885260 w 2663946"/>
                <a:gd name="connsiteY363" fmla="*/ 81843 h 349382"/>
                <a:gd name="connsiteX364" fmla="*/ 884276 w 2663946"/>
                <a:gd name="connsiteY364" fmla="*/ 85899 h 349382"/>
                <a:gd name="connsiteX365" fmla="*/ 883293 w 2663946"/>
                <a:gd name="connsiteY365" fmla="*/ 92929 h 349382"/>
                <a:gd name="connsiteX366" fmla="*/ 884276 w 2663946"/>
                <a:gd name="connsiteY366" fmla="*/ 100229 h 349382"/>
                <a:gd name="connsiteX367" fmla="*/ 885506 w 2663946"/>
                <a:gd name="connsiteY367" fmla="*/ 104014 h 349382"/>
                <a:gd name="connsiteX368" fmla="*/ 887718 w 2663946"/>
                <a:gd name="connsiteY368" fmla="*/ 108340 h 349382"/>
                <a:gd name="connsiteX369" fmla="*/ 891159 w 2663946"/>
                <a:gd name="connsiteY369" fmla="*/ 112667 h 349382"/>
                <a:gd name="connsiteX370" fmla="*/ 895583 w 2663946"/>
                <a:gd name="connsiteY370" fmla="*/ 115370 h 349382"/>
                <a:gd name="connsiteX371" fmla="*/ 907874 w 2663946"/>
                <a:gd name="connsiteY371" fmla="*/ 112937 h 349382"/>
                <a:gd name="connsiteX372" fmla="*/ 911069 w 2663946"/>
                <a:gd name="connsiteY372" fmla="*/ 109422 h 349382"/>
                <a:gd name="connsiteX373" fmla="*/ 913527 w 2663946"/>
                <a:gd name="connsiteY373" fmla="*/ 105096 h 349382"/>
                <a:gd name="connsiteX374" fmla="*/ 914510 w 2663946"/>
                <a:gd name="connsiteY374" fmla="*/ 102933 h 349382"/>
                <a:gd name="connsiteX375" fmla="*/ 915739 w 2663946"/>
                <a:gd name="connsiteY375" fmla="*/ 98607 h 349382"/>
                <a:gd name="connsiteX376" fmla="*/ 915248 w 2663946"/>
                <a:gd name="connsiteY376" fmla="*/ 84817 h 349382"/>
                <a:gd name="connsiteX377" fmla="*/ 914264 w 2663946"/>
                <a:gd name="connsiteY377" fmla="*/ 81843 h 349382"/>
                <a:gd name="connsiteX378" fmla="*/ 913036 w 2663946"/>
                <a:gd name="connsiteY378" fmla="*/ 78869 h 349382"/>
                <a:gd name="connsiteX379" fmla="*/ 910823 w 2663946"/>
                <a:gd name="connsiteY379" fmla="*/ 75354 h 349382"/>
                <a:gd name="connsiteX380" fmla="*/ 907136 w 2663946"/>
                <a:gd name="connsiteY380" fmla="*/ 71569 h 349382"/>
                <a:gd name="connsiteX381" fmla="*/ 903203 w 2663946"/>
                <a:gd name="connsiteY381" fmla="*/ 69406 h 349382"/>
                <a:gd name="connsiteX382" fmla="*/ 554297 w 2663946"/>
                <a:gd name="connsiteY382" fmla="*/ 69406 h 349382"/>
                <a:gd name="connsiteX383" fmla="*/ 542744 w 2663946"/>
                <a:gd name="connsiteY383" fmla="*/ 71839 h 349382"/>
                <a:gd name="connsiteX384" fmla="*/ 539549 w 2663946"/>
                <a:gd name="connsiteY384" fmla="*/ 75354 h 349382"/>
                <a:gd name="connsiteX385" fmla="*/ 537337 w 2663946"/>
                <a:gd name="connsiteY385" fmla="*/ 79139 h 349382"/>
                <a:gd name="connsiteX386" fmla="*/ 536353 w 2663946"/>
                <a:gd name="connsiteY386" fmla="*/ 81843 h 349382"/>
                <a:gd name="connsiteX387" fmla="*/ 535370 w 2663946"/>
                <a:gd name="connsiteY387" fmla="*/ 85899 h 349382"/>
                <a:gd name="connsiteX388" fmla="*/ 534387 w 2663946"/>
                <a:gd name="connsiteY388" fmla="*/ 92929 h 349382"/>
                <a:gd name="connsiteX389" fmla="*/ 535370 w 2663946"/>
                <a:gd name="connsiteY389" fmla="*/ 100229 h 349382"/>
                <a:gd name="connsiteX390" fmla="*/ 536599 w 2663946"/>
                <a:gd name="connsiteY390" fmla="*/ 104014 h 349382"/>
                <a:gd name="connsiteX391" fmla="*/ 538811 w 2663946"/>
                <a:gd name="connsiteY391" fmla="*/ 108340 h 349382"/>
                <a:gd name="connsiteX392" fmla="*/ 542253 w 2663946"/>
                <a:gd name="connsiteY392" fmla="*/ 112667 h 349382"/>
                <a:gd name="connsiteX393" fmla="*/ 546677 w 2663946"/>
                <a:gd name="connsiteY393" fmla="*/ 115370 h 349382"/>
                <a:gd name="connsiteX394" fmla="*/ 558967 w 2663946"/>
                <a:gd name="connsiteY394" fmla="*/ 112937 h 349382"/>
                <a:gd name="connsiteX395" fmla="*/ 562163 w 2663946"/>
                <a:gd name="connsiteY395" fmla="*/ 109422 h 349382"/>
                <a:gd name="connsiteX396" fmla="*/ 564621 w 2663946"/>
                <a:gd name="connsiteY396" fmla="*/ 105096 h 349382"/>
                <a:gd name="connsiteX397" fmla="*/ 565604 w 2663946"/>
                <a:gd name="connsiteY397" fmla="*/ 102933 h 349382"/>
                <a:gd name="connsiteX398" fmla="*/ 566833 w 2663946"/>
                <a:gd name="connsiteY398" fmla="*/ 98607 h 349382"/>
                <a:gd name="connsiteX399" fmla="*/ 566341 w 2663946"/>
                <a:gd name="connsiteY399" fmla="*/ 84817 h 349382"/>
                <a:gd name="connsiteX400" fmla="*/ 565358 w 2663946"/>
                <a:gd name="connsiteY400" fmla="*/ 81843 h 349382"/>
                <a:gd name="connsiteX401" fmla="*/ 564129 w 2663946"/>
                <a:gd name="connsiteY401" fmla="*/ 78869 h 349382"/>
                <a:gd name="connsiteX402" fmla="*/ 561917 w 2663946"/>
                <a:gd name="connsiteY402" fmla="*/ 75354 h 349382"/>
                <a:gd name="connsiteX403" fmla="*/ 558230 w 2663946"/>
                <a:gd name="connsiteY403" fmla="*/ 71569 h 349382"/>
                <a:gd name="connsiteX404" fmla="*/ 554297 w 2663946"/>
                <a:gd name="connsiteY404" fmla="*/ 69406 h 349382"/>
                <a:gd name="connsiteX405" fmla="*/ 372346 w 2663946"/>
                <a:gd name="connsiteY405" fmla="*/ 69406 h 349382"/>
                <a:gd name="connsiteX406" fmla="*/ 360793 w 2663946"/>
                <a:gd name="connsiteY406" fmla="*/ 71839 h 349382"/>
                <a:gd name="connsiteX407" fmla="*/ 357598 w 2663946"/>
                <a:gd name="connsiteY407" fmla="*/ 75354 h 349382"/>
                <a:gd name="connsiteX408" fmla="*/ 355385 w 2663946"/>
                <a:gd name="connsiteY408" fmla="*/ 79139 h 349382"/>
                <a:gd name="connsiteX409" fmla="*/ 354402 w 2663946"/>
                <a:gd name="connsiteY409" fmla="*/ 81843 h 349382"/>
                <a:gd name="connsiteX410" fmla="*/ 353419 w 2663946"/>
                <a:gd name="connsiteY410" fmla="*/ 85899 h 349382"/>
                <a:gd name="connsiteX411" fmla="*/ 352436 w 2663946"/>
                <a:gd name="connsiteY411" fmla="*/ 92929 h 349382"/>
                <a:gd name="connsiteX412" fmla="*/ 353419 w 2663946"/>
                <a:gd name="connsiteY412" fmla="*/ 100229 h 349382"/>
                <a:gd name="connsiteX413" fmla="*/ 354648 w 2663946"/>
                <a:gd name="connsiteY413" fmla="*/ 104014 h 349382"/>
                <a:gd name="connsiteX414" fmla="*/ 356860 w 2663946"/>
                <a:gd name="connsiteY414" fmla="*/ 108340 h 349382"/>
                <a:gd name="connsiteX415" fmla="*/ 360301 w 2663946"/>
                <a:gd name="connsiteY415" fmla="*/ 112667 h 349382"/>
                <a:gd name="connsiteX416" fmla="*/ 364726 w 2663946"/>
                <a:gd name="connsiteY416" fmla="*/ 115370 h 349382"/>
                <a:gd name="connsiteX417" fmla="*/ 377016 w 2663946"/>
                <a:gd name="connsiteY417" fmla="*/ 112937 h 349382"/>
                <a:gd name="connsiteX418" fmla="*/ 380212 w 2663946"/>
                <a:gd name="connsiteY418" fmla="*/ 109422 h 349382"/>
                <a:gd name="connsiteX419" fmla="*/ 382670 w 2663946"/>
                <a:gd name="connsiteY419" fmla="*/ 105096 h 349382"/>
                <a:gd name="connsiteX420" fmla="*/ 383653 w 2663946"/>
                <a:gd name="connsiteY420" fmla="*/ 102933 h 349382"/>
                <a:gd name="connsiteX421" fmla="*/ 384882 w 2663946"/>
                <a:gd name="connsiteY421" fmla="*/ 98607 h 349382"/>
                <a:gd name="connsiteX422" fmla="*/ 384390 w 2663946"/>
                <a:gd name="connsiteY422" fmla="*/ 84817 h 349382"/>
                <a:gd name="connsiteX423" fmla="*/ 383407 w 2663946"/>
                <a:gd name="connsiteY423" fmla="*/ 81843 h 349382"/>
                <a:gd name="connsiteX424" fmla="*/ 382178 w 2663946"/>
                <a:gd name="connsiteY424" fmla="*/ 78869 h 349382"/>
                <a:gd name="connsiteX425" fmla="*/ 379966 w 2663946"/>
                <a:gd name="connsiteY425" fmla="*/ 75354 h 349382"/>
                <a:gd name="connsiteX426" fmla="*/ 376279 w 2663946"/>
                <a:gd name="connsiteY426" fmla="*/ 71569 h 349382"/>
                <a:gd name="connsiteX427" fmla="*/ 372346 w 2663946"/>
                <a:gd name="connsiteY427" fmla="*/ 69406 h 349382"/>
                <a:gd name="connsiteX428" fmla="*/ 129300 w 2663946"/>
                <a:gd name="connsiteY428" fmla="*/ 69406 h 349382"/>
                <a:gd name="connsiteX429" fmla="*/ 117747 w 2663946"/>
                <a:gd name="connsiteY429" fmla="*/ 71839 h 349382"/>
                <a:gd name="connsiteX430" fmla="*/ 114552 w 2663946"/>
                <a:gd name="connsiteY430" fmla="*/ 75354 h 349382"/>
                <a:gd name="connsiteX431" fmla="*/ 112340 w 2663946"/>
                <a:gd name="connsiteY431" fmla="*/ 79139 h 349382"/>
                <a:gd name="connsiteX432" fmla="*/ 111356 w 2663946"/>
                <a:gd name="connsiteY432" fmla="*/ 81843 h 349382"/>
                <a:gd name="connsiteX433" fmla="*/ 110373 w 2663946"/>
                <a:gd name="connsiteY433" fmla="*/ 85899 h 349382"/>
                <a:gd name="connsiteX434" fmla="*/ 109390 w 2663946"/>
                <a:gd name="connsiteY434" fmla="*/ 92929 h 349382"/>
                <a:gd name="connsiteX435" fmla="*/ 110373 w 2663946"/>
                <a:gd name="connsiteY435" fmla="*/ 100229 h 349382"/>
                <a:gd name="connsiteX436" fmla="*/ 111602 w 2663946"/>
                <a:gd name="connsiteY436" fmla="*/ 104014 h 349382"/>
                <a:gd name="connsiteX437" fmla="*/ 113814 w 2663946"/>
                <a:gd name="connsiteY437" fmla="*/ 108340 h 349382"/>
                <a:gd name="connsiteX438" fmla="*/ 117256 w 2663946"/>
                <a:gd name="connsiteY438" fmla="*/ 112667 h 349382"/>
                <a:gd name="connsiteX439" fmla="*/ 121680 w 2663946"/>
                <a:gd name="connsiteY439" fmla="*/ 115370 h 349382"/>
                <a:gd name="connsiteX440" fmla="*/ 133970 w 2663946"/>
                <a:gd name="connsiteY440" fmla="*/ 112937 h 349382"/>
                <a:gd name="connsiteX441" fmla="*/ 137166 w 2663946"/>
                <a:gd name="connsiteY441" fmla="*/ 109422 h 349382"/>
                <a:gd name="connsiteX442" fmla="*/ 139624 w 2663946"/>
                <a:gd name="connsiteY442" fmla="*/ 105096 h 349382"/>
                <a:gd name="connsiteX443" fmla="*/ 140607 w 2663946"/>
                <a:gd name="connsiteY443" fmla="*/ 102933 h 349382"/>
                <a:gd name="connsiteX444" fmla="*/ 141836 w 2663946"/>
                <a:gd name="connsiteY444" fmla="*/ 98607 h 349382"/>
                <a:gd name="connsiteX445" fmla="*/ 141344 w 2663946"/>
                <a:gd name="connsiteY445" fmla="*/ 84817 h 349382"/>
                <a:gd name="connsiteX446" fmla="*/ 140361 w 2663946"/>
                <a:gd name="connsiteY446" fmla="*/ 81843 h 349382"/>
                <a:gd name="connsiteX447" fmla="*/ 139132 w 2663946"/>
                <a:gd name="connsiteY447" fmla="*/ 78869 h 349382"/>
                <a:gd name="connsiteX448" fmla="*/ 136920 w 2663946"/>
                <a:gd name="connsiteY448" fmla="*/ 75354 h 349382"/>
                <a:gd name="connsiteX449" fmla="*/ 133233 w 2663946"/>
                <a:gd name="connsiteY449" fmla="*/ 71569 h 349382"/>
                <a:gd name="connsiteX450" fmla="*/ 129300 w 2663946"/>
                <a:gd name="connsiteY450" fmla="*/ 69406 h 349382"/>
                <a:gd name="connsiteX451" fmla="*/ 33147 w 2663946"/>
                <a:gd name="connsiteY451" fmla="*/ 65470 h 349382"/>
                <a:gd name="connsiteX452" fmla="*/ 21486 w 2663946"/>
                <a:gd name="connsiteY452" fmla="*/ 73199 h 349382"/>
                <a:gd name="connsiteX453" fmla="*/ 20561 w 2663946"/>
                <a:gd name="connsiteY453" fmla="*/ 77782 h 349382"/>
                <a:gd name="connsiteX454" fmla="*/ 23801 w 2663946"/>
                <a:gd name="connsiteY454" fmla="*/ 77782 h 349382"/>
                <a:gd name="connsiteX455" fmla="*/ 42218 w 2663946"/>
                <a:gd name="connsiteY455" fmla="*/ 77782 h 349382"/>
                <a:gd name="connsiteX456" fmla="*/ 45732 w 2663946"/>
                <a:gd name="connsiteY456" fmla="*/ 77782 h 349382"/>
                <a:gd name="connsiteX457" fmla="*/ 44807 w 2663946"/>
                <a:gd name="connsiteY457" fmla="*/ 73199 h 349382"/>
                <a:gd name="connsiteX458" fmla="*/ 33147 w 2663946"/>
                <a:gd name="connsiteY458" fmla="*/ 65470 h 349382"/>
                <a:gd name="connsiteX459" fmla="*/ 2537931 w 2663946"/>
                <a:gd name="connsiteY459" fmla="*/ 57882 h 349382"/>
                <a:gd name="connsiteX460" fmla="*/ 2526271 w 2663946"/>
                <a:gd name="connsiteY460" fmla="*/ 65611 h 349382"/>
                <a:gd name="connsiteX461" fmla="*/ 2525346 w 2663946"/>
                <a:gd name="connsiteY461" fmla="*/ 70194 h 349382"/>
                <a:gd name="connsiteX462" fmla="*/ 2528586 w 2663946"/>
                <a:gd name="connsiteY462" fmla="*/ 70194 h 349382"/>
                <a:gd name="connsiteX463" fmla="*/ 2547003 w 2663946"/>
                <a:gd name="connsiteY463" fmla="*/ 70194 h 349382"/>
                <a:gd name="connsiteX464" fmla="*/ 2550517 w 2663946"/>
                <a:gd name="connsiteY464" fmla="*/ 70194 h 349382"/>
                <a:gd name="connsiteX465" fmla="*/ 2549592 w 2663946"/>
                <a:gd name="connsiteY465" fmla="*/ 65611 h 349382"/>
                <a:gd name="connsiteX466" fmla="*/ 2537931 w 2663946"/>
                <a:gd name="connsiteY466" fmla="*/ 57882 h 349382"/>
                <a:gd name="connsiteX467" fmla="*/ 2112934 w 2663946"/>
                <a:gd name="connsiteY467" fmla="*/ 57882 h 349382"/>
                <a:gd name="connsiteX468" fmla="*/ 2101274 w 2663946"/>
                <a:gd name="connsiteY468" fmla="*/ 65611 h 349382"/>
                <a:gd name="connsiteX469" fmla="*/ 2100349 w 2663946"/>
                <a:gd name="connsiteY469" fmla="*/ 70194 h 349382"/>
                <a:gd name="connsiteX470" fmla="*/ 2103589 w 2663946"/>
                <a:gd name="connsiteY470" fmla="*/ 70194 h 349382"/>
                <a:gd name="connsiteX471" fmla="*/ 2122006 w 2663946"/>
                <a:gd name="connsiteY471" fmla="*/ 70194 h 349382"/>
                <a:gd name="connsiteX472" fmla="*/ 2125520 w 2663946"/>
                <a:gd name="connsiteY472" fmla="*/ 70194 h 349382"/>
                <a:gd name="connsiteX473" fmla="*/ 2124595 w 2663946"/>
                <a:gd name="connsiteY473" fmla="*/ 65611 h 349382"/>
                <a:gd name="connsiteX474" fmla="*/ 2112934 w 2663946"/>
                <a:gd name="connsiteY474" fmla="*/ 57882 h 349382"/>
                <a:gd name="connsiteX475" fmla="*/ 1854966 w 2663946"/>
                <a:gd name="connsiteY475" fmla="*/ 57882 h 349382"/>
                <a:gd name="connsiteX476" fmla="*/ 1843306 w 2663946"/>
                <a:gd name="connsiteY476" fmla="*/ 65611 h 349382"/>
                <a:gd name="connsiteX477" fmla="*/ 1842381 w 2663946"/>
                <a:gd name="connsiteY477" fmla="*/ 70194 h 349382"/>
                <a:gd name="connsiteX478" fmla="*/ 1845621 w 2663946"/>
                <a:gd name="connsiteY478" fmla="*/ 70194 h 349382"/>
                <a:gd name="connsiteX479" fmla="*/ 1864038 w 2663946"/>
                <a:gd name="connsiteY479" fmla="*/ 70194 h 349382"/>
                <a:gd name="connsiteX480" fmla="*/ 1867552 w 2663946"/>
                <a:gd name="connsiteY480" fmla="*/ 70194 h 349382"/>
                <a:gd name="connsiteX481" fmla="*/ 1866627 w 2663946"/>
                <a:gd name="connsiteY481" fmla="*/ 65611 h 349382"/>
                <a:gd name="connsiteX482" fmla="*/ 1854966 w 2663946"/>
                <a:gd name="connsiteY482" fmla="*/ 57882 h 349382"/>
                <a:gd name="connsiteX483" fmla="*/ 1764027 w 2663946"/>
                <a:gd name="connsiteY483" fmla="*/ 57882 h 349382"/>
                <a:gd name="connsiteX484" fmla="*/ 1752367 w 2663946"/>
                <a:gd name="connsiteY484" fmla="*/ 65611 h 349382"/>
                <a:gd name="connsiteX485" fmla="*/ 1751442 w 2663946"/>
                <a:gd name="connsiteY485" fmla="*/ 70194 h 349382"/>
                <a:gd name="connsiteX486" fmla="*/ 1754682 w 2663946"/>
                <a:gd name="connsiteY486" fmla="*/ 70194 h 349382"/>
                <a:gd name="connsiteX487" fmla="*/ 1773099 w 2663946"/>
                <a:gd name="connsiteY487" fmla="*/ 70194 h 349382"/>
                <a:gd name="connsiteX488" fmla="*/ 1776613 w 2663946"/>
                <a:gd name="connsiteY488" fmla="*/ 70194 h 349382"/>
                <a:gd name="connsiteX489" fmla="*/ 1775687 w 2663946"/>
                <a:gd name="connsiteY489" fmla="*/ 65611 h 349382"/>
                <a:gd name="connsiteX490" fmla="*/ 1764027 w 2663946"/>
                <a:gd name="connsiteY490" fmla="*/ 57882 h 349382"/>
                <a:gd name="connsiteX491" fmla="*/ 1506059 w 2663946"/>
                <a:gd name="connsiteY491" fmla="*/ 57882 h 349382"/>
                <a:gd name="connsiteX492" fmla="*/ 1494399 w 2663946"/>
                <a:gd name="connsiteY492" fmla="*/ 65611 h 349382"/>
                <a:gd name="connsiteX493" fmla="*/ 1493474 w 2663946"/>
                <a:gd name="connsiteY493" fmla="*/ 70194 h 349382"/>
                <a:gd name="connsiteX494" fmla="*/ 1496714 w 2663946"/>
                <a:gd name="connsiteY494" fmla="*/ 70194 h 349382"/>
                <a:gd name="connsiteX495" fmla="*/ 1515131 w 2663946"/>
                <a:gd name="connsiteY495" fmla="*/ 70194 h 349382"/>
                <a:gd name="connsiteX496" fmla="*/ 1518645 w 2663946"/>
                <a:gd name="connsiteY496" fmla="*/ 70194 h 349382"/>
                <a:gd name="connsiteX497" fmla="*/ 1517719 w 2663946"/>
                <a:gd name="connsiteY497" fmla="*/ 65611 h 349382"/>
                <a:gd name="connsiteX498" fmla="*/ 1506059 w 2663946"/>
                <a:gd name="connsiteY498" fmla="*/ 57882 h 349382"/>
                <a:gd name="connsiteX499" fmla="*/ 1415120 w 2663946"/>
                <a:gd name="connsiteY499" fmla="*/ 57882 h 349382"/>
                <a:gd name="connsiteX500" fmla="*/ 1403460 w 2663946"/>
                <a:gd name="connsiteY500" fmla="*/ 65611 h 349382"/>
                <a:gd name="connsiteX501" fmla="*/ 1402535 w 2663946"/>
                <a:gd name="connsiteY501" fmla="*/ 70194 h 349382"/>
                <a:gd name="connsiteX502" fmla="*/ 1405775 w 2663946"/>
                <a:gd name="connsiteY502" fmla="*/ 70194 h 349382"/>
                <a:gd name="connsiteX503" fmla="*/ 1424192 w 2663946"/>
                <a:gd name="connsiteY503" fmla="*/ 70194 h 349382"/>
                <a:gd name="connsiteX504" fmla="*/ 1427706 w 2663946"/>
                <a:gd name="connsiteY504" fmla="*/ 70194 h 349382"/>
                <a:gd name="connsiteX505" fmla="*/ 1426780 w 2663946"/>
                <a:gd name="connsiteY505" fmla="*/ 65611 h 349382"/>
                <a:gd name="connsiteX506" fmla="*/ 1415120 w 2663946"/>
                <a:gd name="connsiteY506" fmla="*/ 57882 h 349382"/>
                <a:gd name="connsiteX507" fmla="*/ 1157152 w 2663946"/>
                <a:gd name="connsiteY507" fmla="*/ 57882 h 349382"/>
                <a:gd name="connsiteX508" fmla="*/ 1145492 w 2663946"/>
                <a:gd name="connsiteY508" fmla="*/ 65611 h 349382"/>
                <a:gd name="connsiteX509" fmla="*/ 1144567 w 2663946"/>
                <a:gd name="connsiteY509" fmla="*/ 70194 h 349382"/>
                <a:gd name="connsiteX510" fmla="*/ 1147807 w 2663946"/>
                <a:gd name="connsiteY510" fmla="*/ 70194 h 349382"/>
                <a:gd name="connsiteX511" fmla="*/ 1166224 w 2663946"/>
                <a:gd name="connsiteY511" fmla="*/ 70194 h 349382"/>
                <a:gd name="connsiteX512" fmla="*/ 1169738 w 2663946"/>
                <a:gd name="connsiteY512" fmla="*/ 70194 h 349382"/>
                <a:gd name="connsiteX513" fmla="*/ 1168812 w 2663946"/>
                <a:gd name="connsiteY513" fmla="*/ 65611 h 349382"/>
                <a:gd name="connsiteX514" fmla="*/ 1157152 w 2663946"/>
                <a:gd name="connsiteY514" fmla="*/ 57882 h 349382"/>
                <a:gd name="connsiteX515" fmla="*/ 732156 w 2663946"/>
                <a:gd name="connsiteY515" fmla="*/ 57882 h 349382"/>
                <a:gd name="connsiteX516" fmla="*/ 720495 w 2663946"/>
                <a:gd name="connsiteY516" fmla="*/ 65611 h 349382"/>
                <a:gd name="connsiteX517" fmla="*/ 719570 w 2663946"/>
                <a:gd name="connsiteY517" fmla="*/ 70194 h 349382"/>
                <a:gd name="connsiteX518" fmla="*/ 722810 w 2663946"/>
                <a:gd name="connsiteY518" fmla="*/ 70194 h 349382"/>
                <a:gd name="connsiteX519" fmla="*/ 741228 w 2663946"/>
                <a:gd name="connsiteY519" fmla="*/ 70194 h 349382"/>
                <a:gd name="connsiteX520" fmla="*/ 744742 w 2663946"/>
                <a:gd name="connsiteY520" fmla="*/ 70194 h 349382"/>
                <a:gd name="connsiteX521" fmla="*/ 743816 w 2663946"/>
                <a:gd name="connsiteY521" fmla="*/ 65611 h 349382"/>
                <a:gd name="connsiteX522" fmla="*/ 732156 w 2663946"/>
                <a:gd name="connsiteY522" fmla="*/ 57882 h 349382"/>
                <a:gd name="connsiteX523" fmla="*/ 641217 w 2663946"/>
                <a:gd name="connsiteY523" fmla="*/ 57882 h 349382"/>
                <a:gd name="connsiteX524" fmla="*/ 629556 w 2663946"/>
                <a:gd name="connsiteY524" fmla="*/ 65611 h 349382"/>
                <a:gd name="connsiteX525" fmla="*/ 628631 w 2663946"/>
                <a:gd name="connsiteY525" fmla="*/ 70194 h 349382"/>
                <a:gd name="connsiteX526" fmla="*/ 631871 w 2663946"/>
                <a:gd name="connsiteY526" fmla="*/ 70194 h 349382"/>
                <a:gd name="connsiteX527" fmla="*/ 650289 w 2663946"/>
                <a:gd name="connsiteY527" fmla="*/ 70194 h 349382"/>
                <a:gd name="connsiteX528" fmla="*/ 653802 w 2663946"/>
                <a:gd name="connsiteY528" fmla="*/ 70194 h 349382"/>
                <a:gd name="connsiteX529" fmla="*/ 652877 w 2663946"/>
                <a:gd name="connsiteY529" fmla="*/ 65611 h 349382"/>
                <a:gd name="connsiteX530" fmla="*/ 641217 w 2663946"/>
                <a:gd name="connsiteY530" fmla="*/ 57882 h 349382"/>
                <a:gd name="connsiteX531" fmla="*/ 459266 w 2663946"/>
                <a:gd name="connsiteY531" fmla="*/ 57882 h 349382"/>
                <a:gd name="connsiteX532" fmla="*/ 447605 w 2663946"/>
                <a:gd name="connsiteY532" fmla="*/ 65611 h 349382"/>
                <a:gd name="connsiteX533" fmla="*/ 446680 w 2663946"/>
                <a:gd name="connsiteY533" fmla="*/ 70194 h 349382"/>
                <a:gd name="connsiteX534" fmla="*/ 449920 w 2663946"/>
                <a:gd name="connsiteY534" fmla="*/ 70194 h 349382"/>
                <a:gd name="connsiteX535" fmla="*/ 468337 w 2663946"/>
                <a:gd name="connsiteY535" fmla="*/ 70194 h 349382"/>
                <a:gd name="connsiteX536" fmla="*/ 471851 w 2663946"/>
                <a:gd name="connsiteY536" fmla="*/ 70194 h 349382"/>
                <a:gd name="connsiteX537" fmla="*/ 470926 w 2663946"/>
                <a:gd name="connsiteY537" fmla="*/ 65611 h 349382"/>
                <a:gd name="connsiteX538" fmla="*/ 459266 w 2663946"/>
                <a:gd name="connsiteY538" fmla="*/ 57882 h 349382"/>
                <a:gd name="connsiteX539" fmla="*/ 2361413 w 2663946"/>
                <a:gd name="connsiteY539" fmla="*/ 53522 h 349382"/>
                <a:gd name="connsiteX540" fmla="*/ 2365469 w 2663946"/>
                <a:gd name="connsiteY540" fmla="*/ 53522 h 349382"/>
                <a:gd name="connsiteX541" fmla="*/ 2370065 w 2663946"/>
                <a:gd name="connsiteY541" fmla="*/ 55956 h 349382"/>
                <a:gd name="connsiteX542" fmla="*/ 2372229 w 2663946"/>
                <a:gd name="connsiteY542" fmla="*/ 62174 h 349382"/>
                <a:gd name="connsiteX543" fmla="*/ 2372229 w 2663946"/>
                <a:gd name="connsiteY543" fmla="*/ 62715 h 349382"/>
                <a:gd name="connsiteX544" fmla="*/ 2372229 w 2663946"/>
                <a:gd name="connsiteY544" fmla="*/ 115710 h 349382"/>
                <a:gd name="connsiteX545" fmla="*/ 2372769 w 2663946"/>
                <a:gd name="connsiteY545" fmla="*/ 116250 h 349382"/>
                <a:gd name="connsiteX546" fmla="*/ 2380069 w 2663946"/>
                <a:gd name="connsiteY546" fmla="*/ 116250 h 349382"/>
                <a:gd name="connsiteX547" fmla="*/ 2384125 w 2663946"/>
                <a:gd name="connsiteY547" fmla="*/ 117332 h 349382"/>
                <a:gd name="connsiteX548" fmla="*/ 2387910 w 2663946"/>
                <a:gd name="connsiteY548" fmla="*/ 124091 h 349382"/>
                <a:gd name="connsiteX549" fmla="*/ 2385207 w 2663946"/>
                <a:gd name="connsiteY549" fmla="*/ 129769 h 349382"/>
                <a:gd name="connsiteX550" fmla="*/ 2381151 w 2663946"/>
                <a:gd name="connsiteY550" fmla="*/ 131662 h 349382"/>
                <a:gd name="connsiteX551" fmla="*/ 2380881 w 2663946"/>
                <a:gd name="connsiteY551" fmla="*/ 131662 h 349382"/>
                <a:gd name="connsiteX552" fmla="*/ 2380610 w 2663946"/>
                <a:gd name="connsiteY552" fmla="*/ 131662 h 349382"/>
                <a:gd name="connsiteX553" fmla="*/ 2380069 w 2663946"/>
                <a:gd name="connsiteY553" fmla="*/ 131662 h 349382"/>
                <a:gd name="connsiteX554" fmla="*/ 2347894 w 2663946"/>
                <a:gd name="connsiteY554" fmla="*/ 131662 h 349382"/>
                <a:gd name="connsiteX555" fmla="*/ 2347354 w 2663946"/>
                <a:gd name="connsiteY555" fmla="*/ 131662 h 349382"/>
                <a:gd name="connsiteX556" fmla="*/ 2346542 w 2663946"/>
                <a:gd name="connsiteY556" fmla="*/ 131662 h 349382"/>
                <a:gd name="connsiteX557" fmla="*/ 2345731 w 2663946"/>
                <a:gd name="connsiteY557" fmla="*/ 131392 h 349382"/>
                <a:gd name="connsiteX558" fmla="*/ 2342216 w 2663946"/>
                <a:gd name="connsiteY558" fmla="*/ 129499 h 349382"/>
                <a:gd name="connsiteX559" fmla="*/ 2339783 w 2663946"/>
                <a:gd name="connsiteY559" fmla="*/ 123821 h 349382"/>
                <a:gd name="connsiteX560" fmla="*/ 2341946 w 2663946"/>
                <a:gd name="connsiteY560" fmla="*/ 118684 h 349382"/>
                <a:gd name="connsiteX561" fmla="*/ 2347624 w 2663946"/>
                <a:gd name="connsiteY561" fmla="*/ 116250 h 349382"/>
                <a:gd name="connsiteX562" fmla="*/ 2355465 w 2663946"/>
                <a:gd name="connsiteY562" fmla="*/ 116250 h 349382"/>
                <a:gd name="connsiteX563" fmla="*/ 2356006 w 2663946"/>
                <a:gd name="connsiteY563" fmla="*/ 115710 h 349382"/>
                <a:gd name="connsiteX564" fmla="*/ 2356006 w 2663946"/>
                <a:gd name="connsiteY564" fmla="*/ 69745 h 349382"/>
                <a:gd name="connsiteX565" fmla="*/ 2355465 w 2663946"/>
                <a:gd name="connsiteY565" fmla="*/ 69204 h 349382"/>
                <a:gd name="connsiteX566" fmla="*/ 2349517 w 2663946"/>
                <a:gd name="connsiteY566" fmla="*/ 69204 h 349382"/>
                <a:gd name="connsiteX567" fmla="*/ 2342216 w 2663946"/>
                <a:gd name="connsiteY567" fmla="*/ 64608 h 349382"/>
                <a:gd name="connsiteX568" fmla="*/ 2341946 w 2663946"/>
                <a:gd name="connsiteY568" fmla="*/ 58930 h 349382"/>
                <a:gd name="connsiteX569" fmla="*/ 2349246 w 2663946"/>
                <a:gd name="connsiteY569" fmla="*/ 53793 h 349382"/>
                <a:gd name="connsiteX570" fmla="*/ 2361413 w 2663946"/>
                <a:gd name="connsiteY570" fmla="*/ 53522 h 349382"/>
                <a:gd name="connsiteX571" fmla="*/ 2285396 w 2663946"/>
                <a:gd name="connsiteY571" fmla="*/ 53522 h 349382"/>
                <a:gd name="connsiteX572" fmla="*/ 2289452 w 2663946"/>
                <a:gd name="connsiteY572" fmla="*/ 53522 h 349382"/>
                <a:gd name="connsiteX573" fmla="*/ 2294048 w 2663946"/>
                <a:gd name="connsiteY573" fmla="*/ 55956 h 349382"/>
                <a:gd name="connsiteX574" fmla="*/ 2296212 w 2663946"/>
                <a:gd name="connsiteY574" fmla="*/ 62174 h 349382"/>
                <a:gd name="connsiteX575" fmla="*/ 2296212 w 2663946"/>
                <a:gd name="connsiteY575" fmla="*/ 62715 h 349382"/>
                <a:gd name="connsiteX576" fmla="*/ 2296212 w 2663946"/>
                <a:gd name="connsiteY576" fmla="*/ 115710 h 349382"/>
                <a:gd name="connsiteX577" fmla="*/ 2296752 w 2663946"/>
                <a:gd name="connsiteY577" fmla="*/ 116250 h 349382"/>
                <a:gd name="connsiteX578" fmla="*/ 2304052 w 2663946"/>
                <a:gd name="connsiteY578" fmla="*/ 116250 h 349382"/>
                <a:gd name="connsiteX579" fmla="*/ 2308108 w 2663946"/>
                <a:gd name="connsiteY579" fmla="*/ 117332 h 349382"/>
                <a:gd name="connsiteX580" fmla="*/ 2311893 w 2663946"/>
                <a:gd name="connsiteY580" fmla="*/ 124091 h 349382"/>
                <a:gd name="connsiteX581" fmla="*/ 2309190 w 2663946"/>
                <a:gd name="connsiteY581" fmla="*/ 129769 h 349382"/>
                <a:gd name="connsiteX582" fmla="*/ 2305134 w 2663946"/>
                <a:gd name="connsiteY582" fmla="*/ 131662 h 349382"/>
                <a:gd name="connsiteX583" fmla="*/ 2304864 w 2663946"/>
                <a:gd name="connsiteY583" fmla="*/ 131662 h 349382"/>
                <a:gd name="connsiteX584" fmla="*/ 2304593 w 2663946"/>
                <a:gd name="connsiteY584" fmla="*/ 131662 h 349382"/>
                <a:gd name="connsiteX585" fmla="*/ 2304052 w 2663946"/>
                <a:gd name="connsiteY585" fmla="*/ 131662 h 349382"/>
                <a:gd name="connsiteX586" fmla="*/ 2271877 w 2663946"/>
                <a:gd name="connsiteY586" fmla="*/ 131662 h 349382"/>
                <a:gd name="connsiteX587" fmla="*/ 2271337 w 2663946"/>
                <a:gd name="connsiteY587" fmla="*/ 131662 h 349382"/>
                <a:gd name="connsiteX588" fmla="*/ 2270525 w 2663946"/>
                <a:gd name="connsiteY588" fmla="*/ 131662 h 349382"/>
                <a:gd name="connsiteX589" fmla="*/ 2269714 w 2663946"/>
                <a:gd name="connsiteY589" fmla="*/ 131392 h 349382"/>
                <a:gd name="connsiteX590" fmla="*/ 2266199 w 2663946"/>
                <a:gd name="connsiteY590" fmla="*/ 129499 h 349382"/>
                <a:gd name="connsiteX591" fmla="*/ 2263766 w 2663946"/>
                <a:gd name="connsiteY591" fmla="*/ 123821 h 349382"/>
                <a:gd name="connsiteX592" fmla="*/ 2265929 w 2663946"/>
                <a:gd name="connsiteY592" fmla="*/ 118684 h 349382"/>
                <a:gd name="connsiteX593" fmla="*/ 2271607 w 2663946"/>
                <a:gd name="connsiteY593" fmla="*/ 116250 h 349382"/>
                <a:gd name="connsiteX594" fmla="*/ 2279448 w 2663946"/>
                <a:gd name="connsiteY594" fmla="*/ 116250 h 349382"/>
                <a:gd name="connsiteX595" fmla="*/ 2279989 w 2663946"/>
                <a:gd name="connsiteY595" fmla="*/ 115710 h 349382"/>
                <a:gd name="connsiteX596" fmla="*/ 2279989 w 2663946"/>
                <a:gd name="connsiteY596" fmla="*/ 69745 h 349382"/>
                <a:gd name="connsiteX597" fmla="*/ 2279448 w 2663946"/>
                <a:gd name="connsiteY597" fmla="*/ 69204 h 349382"/>
                <a:gd name="connsiteX598" fmla="*/ 2273500 w 2663946"/>
                <a:gd name="connsiteY598" fmla="*/ 69204 h 349382"/>
                <a:gd name="connsiteX599" fmla="*/ 2266199 w 2663946"/>
                <a:gd name="connsiteY599" fmla="*/ 64608 h 349382"/>
                <a:gd name="connsiteX600" fmla="*/ 2265929 w 2663946"/>
                <a:gd name="connsiteY600" fmla="*/ 58930 h 349382"/>
                <a:gd name="connsiteX601" fmla="*/ 2273229 w 2663946"/>
                <a:gd name="connsiteY601" fmla="*/ 53793 h 349382"/>
                <a:gd name="connsiteX602" fmla="*/ 2285396 w 2663946"/>
                <a:gd name="connsiteY602" fmla="*/ 53522 h 349382"/>
                <a:gd name="connsiteX603" fmla="*/ 1936416 w 2663946"/>
                <a:gd name="connsiteY603" fmla="*/ 53522 h 349382"/>
                <a:gd name="connsiteX604" fmla="*/ 1940472 w 2663946"/>
                <a:gd name="connsiteY604" fmla="*/ 53522 h 349382"/>
                <a:gd name="connsiteX605" fmla="*/ 1945068 w 2663946"/>
                <a:gd name="connsiteY605" fmla="*/ 55956 h 349382"/>
                <a:gd name="connsiteX606" fmla="*/ 1947232 w 2663946"/>
                <a:gd name="connsiteY606" fmla="*/ 62174 h 349382"/>
                <a:gd name="connsiteX607" fmla="*/ 1947232 w 2663946"/>
                <a:gd name="connsiteY607" fmla="*/ 62715 h 349382"/>
                <a:gd name="connsiteX608" fmla="*/ 1947232 w 2663946"/>
                <a:gd name="connsiteY608" fmla="*/ 115710 h 349382"/>
                <a:gd name="connsiteX609" fmla="*/ 1947772 w 2663946"/>
                <a:gd name="connsiteY609" fmla="*/ 116250 h 349382"/>
                <a:gd name="connsiteX610" fmla="*/ 1955072 w 2663946"/>
                <a:gd name="connsiteY610" fmla="*/ 116250 h 349382"/>
                <a:gd name="connsiteX611" fmla="*/ 1959128 w 2663946"/>
                <a:gd name="connsiteY611" fmla="*/ 117332 h 349382"/>
                <a:gd name="connsiteX612" fmla="*/ 1962913 w 2663946"/>
                <a:gd name="connsiteY612" fmla="*/ 124091 h 349382"/>
                <a:gd name="connsiteX613" fmla="*/ 1960210 w 2663946"/>
                <a:gd name="connsiteY613" fmla="*/ 129769 h 349382"/>
                <a:gd name="connsiteX614" fmla="*/ 1956154 w 2663946"/>
                <a:gd name="connsiteY614" fmla="*/ 131662 h 349382"/>
                <a:gd name="connsiteX615" fmla="*/ 1955884 w 2663946"/>
                <a:gd name="connsiteY615" fmla="*/ 131662 h 349382"/>
                <a:gd name="connsiteX616" fmla="*/ 1955613 w 2663946"/>
                <a:gd name="connsiteY616" fmla="*/ 131662 h 349382"/>
                <a:gd name="connsiteX617" fmla="*/ 1955072 w 2663946"/>
                <a:gd name="connsiteY617" fmla="*/ 131662 h 349382"/>
                <a:gd name="connsiteX618" fmla="*/ 1922897 w 2663946"/>
                <a:gd name="connsiteY618" fmla="*/ 131662 h 349382"/>
                <a:gd name="connsiteX619" fmla="*/ 1922357 w 2663946"/>
                <a:gd name="connsiteY619" fmla="*/ 131662 h 349382"/>
                <a:gd name="connsiteX620" fmla="*/ 1921545 w 2663946"/>
                <a:gd name="connsiteY620" fmla="*/ 131662 h 349382"/>
                <a:gd name="connsiteX621" fmla="*/ 1920734 w 2663946"/>
                <a:gd name="connsiteY621" fmla="*/ 131392 h 349382"/>
                <a:gd name="connsiteX622" fmla="*/ 1917219 w 2663946"/>
                <a:gd name="connsiteY622" fmla="*/ 129499 h 349382"/>
                <a:gd name="connsiteX623" fmla="*/ 1914786 w 2663946"/>
                <a:gd name="connsiteY623" fmla="*/ 123821 h 349382"/>
                <a:gd name="connsiteX624" fmla="*/ 1916949 w 2663946"/>
                <a:gd name="connsiteY624" fmla="*/ 118684 h 349382"/>
                <a:gd name="connsiteX625" fmla="*/ 1922627 w 2663946"/>
                <a:gd name="connsiteY625" fmla="*/ 116250 h 349382"/>
                <a:gd name="connsiteX626" fmla="*/ 1930468 w 2663946"/>
                <a:gd name="connsiteY626" fmla="*/ 116250 h 349382"/>
                <a:gd name="connsiteX627" fmla="*/ 1931009 w 2663946"/>
                <a:gd name="connsiteY627" fmla="*/ 115710 h 349382"/>
                <a:gd name="connsiteX628" fmla="*/ 1931009 w 2663946"/>
                <a:gd name="connsiteY628" fmla="*/ 69745 h 349382"/>
                <a:gd name="connsiteX629" fmla="*/ 1930468 w 2663946"/>
                <a:gd name="connsiteY629" fmla="*/ 69204 h 349382"/>
                <a:gd name="connsiteX630" fmla="*/ 1924520 w 2663946"/>
                <a:gd name="connsiteY630" fmla="*/ 69204 h 349382"/>
                <a:gd name="connsiteX631" fmla="*/ 1917219 w 2663946"/>
                <a:gd name="connsiteY631" fmla="*/ 64608 h 349382"/>
                <a:gd name="connsiteX632" fmla="*/ 1916949 w 2663946"/>
                <a:gd name="connsiteY632" fmla="*/ 58930 h 349382"/>
                <a:gd name="connsiteX633" fmla="*/ 1924249 w 2663946"/>
                <a:gd name="connsiteY633" fmla="*/ 53793 h 349382"/>
                <a:gd name="connsiteX634" fmla="*/ 1936416 w 2663946"/>
                <a:gd name="connsiteY634" fmla="*/ 53522 h 349382"/>
                <a:gd name="connsiteX635" fmla="*/ 1678521 w 2663946"/>
                <a:gd name="connsiteY635" fmla="*/ 53522 h 349382"/>
                <a:gd name="connsiteX636" fmla="*/ 1682577 w 2663946"/>
                <a:gd name="connsiteY636" fmla="*/ 53522 h 349382"/>
                <a:gd name="connsiteX637" fmla="*/ 1687173 w 2663946"/>
                <a:gd name="connsiteY637" fmla="*/ 55956 h 349382"/>
                <a:gd name="connsiteX638" fmla="*/ 1689336 w 2663946"/>
                <a:gd name="connsiteY638" fmla="*/ 62174 h 349382"/>
                <a:gd name="connsiteX639" fmla="*/ 1689336 w 2663946"/>
                <a:gd name="connsiteY639" fmla="*/ 62715 h 349382"/>
                <a:gd name="connsiteX640" fmla="*/ 1689336 w 2663946"/>
                <a:gd name="connsiteY640" fmla="*/ 115710 h 349382"/>
                <a:gd name="connsiteX641" fmla="*/ 1689877 w 2663946"/>
                <a:gd name="connsiteY641" fmla="*/ 116250 h 349382"/>
                <a:gd name="connsiteX642" fmla="*/ 1697177 w 2663946"/>
                <a:gd name="connsiteY642" fmla="*/ 116250 h 349382"/>
                <a:gd name="connsiteX643" fmla="*/ 1701233 w 2663946"/>
                <a:gd name="connsiteY643" fmla="*/ 117332 h 349382"/>
                <a:gd name="connsiteX644" fmla="*/ 1705018 w 2663946"/>
                <a:gd name="connsiteY644" fmla="*/ 124091 h 349382"/>
                <a:gd name="connsiteX645" fmla="*/ 1702315 w 2663946"/>
                <a:gd name="connsiteY645" fmla="*/ 129769 h 349382"/>
                <a:gd name="connsiteX646" fmla="*/ 1698259 w 2663946"/>
                <a:gd name="connsiteY646" fmla="*/ 131662 h 349382"/>
                <a:gd name="connsiteX647" fmla="*/ 1697989 w 2663946"/>
                <a:gd name="connsiteY647" fmla="*/ 131662 h 349382"/>
                <a:gd name="connsiteX648" fmla="*/ 1697718 w 2663946"/>
                <a:gd name="connsiteY648" fmla="*/ 131662 h 349382"/>
                <a:gd name="connsiteX649" fmla="*/ 1697177 w 2663946"/>
                <a:gd name="connsiteY649" fmla="*/ 131662 h 349382"/>
                <a:gd name="connsiteX650" fmla="*/ 1665002 w 2663946"/>
                <a:gd name="connsiteY650" fmla="*/ 131662 h 349382"/>
                <a:gd name="connsiteX651" fmla="*/ 1664462 w 2663946"/>
                <a:gd name="connsiteY651" fmla="*/ 131662 h 349382"/>
                <a:gd name="connsiteX652" fmla="*/ 1663650 w 2663946"/>
                <a:gd name="connsiteY652" fmla="*/ 131662 h 349382"/>
                <a:gd name="connsiteX653" fmla="*/ 1662839 w 2663946"/>
                <a:gd name="connsiteY653" fmla="*/ 131392 h 349382"/>
                <a:gd name="connsiteX654" fmla="*/ 1659324 w 2663946"/>
                <a:gd name="connsiteY654" fmla="*/ 129499 h 349382"/>
                <a:gd name="connsiteX655" fmla="*/ 1656891 w 2663946"/>
                <a:gd name="connsiteY655" fmla="*/ 123821 h 349382"/>
                <a:gd name="connsiteX656" fmla="*/ 1659054 w 2663946"/>
                <a:gd name="connsiteY656" fmla="*/ 118684 h 349382"/>
                <a:gd name="connsiteX657" fmla="*/ 1664732 w 2663946"/>
                <a:gd name="connsiteY657" fmla="*/ 116250 h 349382"/>
                <a:gd name="connsiteX658" fmla="*/ 1672573 w 2663946"/>
                <a:gd name="connsiteY658" fmla="*/ 116250 h 349382"/>
                <a:gd name="connsiteX659" fmla="*/ 1673114 w 2663946"/>
                <a:gd name="connsiteY659" fmla="*/ 115710 h 349382"/>
                <a:gd name="connsiteX660" fmla="*/ 1673114 w 2663946"/>
                <a:gd name="connsiteY660" fmla="*/ 69745 h 349382"/>
                <a:gd name="connsiteX661" fmla="*/ 1672573 w 2663946"/>
                <a:gd name="connsiteY661" fmla="*/ 69204 h 349382"/>
                <a:gd name="connsiteX662" fmla="*/ 1666625 w 2663946"/>
                <a:gd name="connsiteY662" fmla="*/ 69204 h 349382"/>
                <a:gd name="connsiteX663" fmla="*/ 1659324 w 2663946"/>
                <a:gd name="connsiteY663" fmla="*/ 64608 h 349382"/>
                <a:gd name="connsiteX664" fmla="*/ 1659054 w 2663946"/>
                <a:gd name="connsiteY664" fmla="*/ 58930 h 349382"/>
                <a:gd name="connsiteX665" fmla="*/ 1666354 w 2663946"/>
                <a:gd name="connsiteY665" fmla="*/ 53793 h 349382"/>
                <a:gd name="connsiteX666" fmla="*/ 1678521 w 2663946"/>
                <a:gd name="connsiteY666" fmla="*/ 53522 h 349382"/>
                <a:gd name="connsiteX667" fmla="*/ 1329614 w 2663946"/>
                <a:gd name="connsiteY667" fmla="*/ 53522 h 349382"/>
                <a:gd name="connsiteX668" fmla="*/ 1333670 w 2663946"/>
                <a:gd name="connsiteY668" fmla="*/ 53522 h 349382"/>
                <a:gd name="connsiteX669" fmla="*/ 1338266 w 2663946"/>
                <a:gd name="connsiteY669" fmla="*/ 55956 h 349382"/>
                <a:gd name="connsiteX670" fmla="*/ 1340429 w 2663946"/>
                <a:gd name="connsiteY670" fmla="*/ 62174 h 349382"/>
                <a:gd name="connsiteX671" fmla="*/ 1340429 w 2663946"/>
                <a:gd name="connsiteY671" fmla="*/ 62715 h 349382"/>
                <a:gd name="connsiteX672" fmla="*/ 1340429 w 2663946"/>
                <a:gd name="connsiteY672" fmla="*/ 115710 h 349382"/>
                <a:gd name="connsiteX673" fmla="*/ 1340970 w 2663946"/>
                <a:gd name="connsiteY673" fmla="*/ 116250 h 349382"/>
                <a:gd name="connsiteX674" fmla="*/ 1348270 w 2663946"/>
                <a:gd name="connsiteY674" fmla="*/ 116250 h 349382"/>
                <a:gd name="connsiteX675" fmla="*/ 1352326 w 2663946"/>
                <a:gd name="connsiteY675" fmla="*/ 117332 h 349382"/>
                <a:gd name="connsiteX676" fmla="*/ 1356111 w 2663946"/>
                <a:gd name="connsiteY676" fmla="*/ 124091 h 349382"/>
                <a:gd name="connsiteX677" fmla="*/ 1353408 w 2663946"/>
                <a:gd name="connsiteY677" fmla="*/ 129769 h 349382"/>
                <a:gd name="connsiteX678" fmla="*/ 1349352 w 2663946"/>
                <a:gd name="connsiteY678" fmla="*/ 131662 h 349382"/>
                <a:gd name="connsiteX679" fmla="*/ 1349082 w 2663946"/>
                <a:gd name="connsiteY679" fmla="*/ 131662 h 349382"/>
                <a:gd name="connsiteX680" fmla="*/ 1348811 w 2663946"/>
                <a:gd name="connsiteY680" fmla="*/ 131662 h 349382"/>
                <a:gd name="connsiteX681" fmla="*/ 1348270 w 2663946"/>
                <a:gd name="connsiteY681" fmla="*/ 131662 h 349382"/>
                <a:gd name="connsiteX682" fmla="*/ 1316095 w 2663946"/>
                <a:gd name="connsiteY682" fmla="*/ 131662 h 349382"/>
                <a:gd name="connsiteX683" fmla="*/ 1315555 w 2663946"/>
                <a:gd name="connsiteY683" fmla="*/ 131662 h 349382"/>
                <a:gd name="connsiteX684" fmla="*/ 1314743 w 2663946"/>
                <a:gd name="connsiteY684" fmla="*/ 131662 h 349382"/>
                <a:gd name="connsiteX685" fmla="*/ 1313932 w 2663946"/>
                <a:gd name="connsiteY685" fmla="*/ 131392 h 349382"/>
                <a:gd name="connsiteX686" fmla="*/ 1310417 w 2663946"/>
                <a:gd name="connsiteY686" fmla="*/ 129499 h 349382"/>
                <a:gd name="connsiteX687" fmla="*/ 1307984 w 2663946"/>
                <a:gd name="connsiteY687" fmla="*/ 123821 h 349382"/>
                <a:gd name="connsiteX688" fmla="*/ 1310147 w 2663946"/>
                <a:gd name="connsiteY688" fmla="*/ 118684 h 349382"/>
                <a:gd name="connsiteX689" fmla="*/ 1315825 w 2663946"/>
                <a:gd name="connsiteY689" fmla="*/ 116250 h 349382"/>
                <a:gd name="connsiteX690" fmla="*/ 1323666 w 2663946"/>
                <a:gd name="connsiteY690" fmla="*/ 116250 h 349382"/>
                <a:gd name="connsiteX691" fmla="*/ 1324207 w 2663946"/>
                <a:gd name="connsiteY691" fmla="*/ 115710 h 349382"/>
                <a:gd name="connsiteX692" fmla="*/ 1324207 w 2663946"/>
                <a:gd name="connsiteY692" fmla="*/ 69745 h 349382"/>
                <a:gd name="connsiteX693" fmla="*/ 1323666 w 2663946"/>
                <a:gd name="connsiteY693" fmla="*/ 69204 h 349382"/>
                <a:gd name="connsiteX694" fmla="*/ 1317718 w 2663946"/>
                <a:gd name="connsiteY694" fmla="*/ 69204 h 349382"/>
                <a:gd name="connsiteX695" fmla="*/ 1310417 w 2663946"/>
                <a:gd name="connsiteY695" fmla="*/ 64608 h 349382"/>
                <a:gd name="connsiteX696" fmla="*/ 1310147 w 2663946"/>
                <a:gd name="connsiteY696" fmla="*/ 58930 h 349382"/>
                <a:gd name="connsiteX697" fmla="*/ 1317447 w 2663946"/>
                <a:gd name="connsiteY697" fmla="*/ 53793 h 349382"/>
                <a:gd name="connsiteX698" fmla="*/ 1329614 w 2663946"/>
                <a:gd name="connsiteY698" fmla="*/ 53522 h 349382"/>
                <a:gd name="connsiteX699" fmla="*/ 980634 w 2663946"/>
                <a:gd name="connsiteY699" fmla="*/ 53522 h 349382"/>
                <a:gd name="connsiteX700" fmla="*/ 984690 w 2663946"/>
                <a:gd name="connsiteY700" fmla="*/ 53522 h 349382"/>
                <a:gd name="connsiteX701" fmla="*/ 989286 w 2663946"/>
                <a:gd name="connsiteY701" fmla="*/ 55956 h 349382"/>
                <a:gd name="connsiteX702" fmla="*/ 991449 w 2663946"/>
                <a:gd name="connsiteY702" fmla="*/ 62174 h 349382"/>
                <a:gd name="connsiteX703" fmla="*/ 991449 w 2663946"/>
                <a:gd name="connsiteY703" fmla="*/ 62715 h 349382"/>
                <a:gd name="connsiteX704" fmla="*/ 991449 w 2663946"/>
                <a:gd name="connsiteY704" fmla="*/ 115710 h 349382"/>
                <a:gd name="connsiteX705" fmla="*/ 991990 w 2663946"/>
                <a:gd name="connsiteY705" fmla="*/ 116250 h 349382"/>
                <a:gd name="connsiteX706" fmla="*/ 999290 w 2663946"/>
                <a:gd name="connsiteY706" fmla="*/ 116250 h 349382"/>
                <a:gd name="connsiteX707" fmla="*/ 1003346 w 2663946"/>
                <a:gd name="connsiteY707" fmla="*/ 117332 h 349382"/>
                <a:gd name="connsiteX708" fmla="*/ 1007131 w 2663946"/>
                <a:gd name="connsiteY708" fmla="*/ 124091 h 349382"/>
                <a:gd name="connsiteX709" fmla="*/ 1004428 w 2663946"/>
                <a:gd name="connsiteY709" fmla="*/ 129769 h 349382"/>
                <a:gd name="connsiteX710" fmla="*/ 1000372 w 2663946"/>
                <a:gd name="connsiteY710" fmla="*/ 131662 h 349382"/>
                <a:gd name="connsiteX711" fmla="*/ 1000102 w 2663946"/>
                <a:gd name="connsiteY711" fmla="*/ 131662 h 349382"/>
                <a:gd name="connsiteX712" fmla="*/ 999831 w 2663946"/>
                <a:gd name="connsiteY712" fmla="*/ 131662 h 349382"/>
                <a:gd name="connsiteX713" fmla="*/ 999290 w 2663946"/>
                <a:gd name="connsiteY713" fmla="*/ 131662 h 349382"/>
                <a:gd name="connsiteX714" fmla="*/ 967115 w 2663946"/>
                <a:gd name="connsiteY714" fmla="*/ 131662 h 349382"/>
                <a:gd name="connsiteX715" fmla="*/ 966575 w 2663946"/>
                <a:gd name="connsiteY715" fmla="*/ 131662 h 349382"/>
                <a:gd name="connsiteX716" fmla="*/ 965763 w 2663946"/>
                <a:gd name="connsiteY716" fmla="*/ 131662 h 349382"/>
                <a:gd name="connsiteX717" fmla="*/ 964952 w 2663946"/>
                <a:gd name="connsiteY717" fmla="*/ 131392 h 349382"/>
                <a:gd name="connsiteX718" fmla="*/ 961437 w 2663946"/>
                <a:gd name="connsiteY718" fmla="*/ 129499 h 349382"/>
                <a:gd name="connsiteX719" fmla="*/ 959004 w 2663946"/>
                <a:gd name="connsiteY719" fmla="*/ 123821 h 349382"/>
                <a:gd name="connsiteX720" fmla="*/ 961167 w 2663946"/>
                <a:gd name="connsiteY720" fmla="*/ 118684 h 349382"/>
                <a:gd name="connsiteX721" fmla="*/ 966845 w 2663946"/>
                <a:gd name="connsiteY721" fmla="*/ 116250 h 349382"/>
                <a:gd name="connsiteX722" fmla="*/ 974686 w 2663946"/>
                <a:gd name="connsiteY722" fmla="*/ 116250 h 349382"/>
                <a:gd name="connsiteX723" fmla="*/ 975227 w 2663946"/>
                <a:gd name="connsiteY723" fmla="*/ 115710 h 349382"/>
                <a:gd name="connsiteX724" fmla="*/ 975227 w 2663946"/>
                <a:gd name="connsiteY724" fmla="*/ 69745 h 349382"/>
                <a:gd name="connsiteX725" fmla="*/ 974686 w 2663946"/>
                <a:gd name="connsiteY725" fmla="*/ 69204 h 349382"/>
                <a:gd name="connsiteX726" fmla="*/ 968738 w 2663946"/>
                <a:gd name="connsiteY726" fmla="*/ 69204 h 349382"/>
                <a:gd name="connsiteX727" fmla="*/ 961437 w 2663946"/>
                <a:gd name="connsiteY727" fmla="*/ 64608 h 349382"/>
                <a:gd name="connsiteX728" fmla="*/ 961167 w 2663946"/>
                <a:gd name="connsiteY728" fmla="*/ 58930 h 349382"/>
                <a:gd name="connsiteX729" fmla="*/ 968467 w 2663946"/>
                <a:gd name="connsiteY729" fmla="*/ 53793 h 349382"/>
                <a:gd name="connsiteX730" fmla="*/ 980634 w 2663946"/>
                <a:gd name="connsiteY730" fmla="*/ 53522 h 349382"/>
                <a:gd name="connsiteX731" fmla="*/ 813605 w 2663946"/>
                <a:gd name="connsiteY731" fmla="*/ 53522 h 349382"/>
                <a:gd name="connsiteX732" fmla="*/ 817661 w 2663946"/>
                <a:gd name="connsiteY732" fmla="*/ 53522 h 349382"/>
                <a:gd name="connsiteX733" fmla="*/ 822257 w 2663946"/>
                <a:gd name="connsiteY733" fmla="*/ 55956 h 349382"/>
                <a:gd name="connsiteX734" fmla="*/ 824420 w 2663946"/>
                <a:gd name="connsiteY734" fmla="*/ 62174 h 349382"/>
                <a:gd name="connsiteX735" fmla="*/ 824420 w 2663946"/>
                <a:gd name="connsiteY735" fmla="*/ 62715 h 349382"/>
                <a:gd name="connsiteX736" fmla="*/ 824420 w 2663946"/>
                <a:gd name="connsiteY736" fmla="*/ 115710 h 349382"/>
                <a:gd name="connsiteX737" fmla="*/ 824961 w 2663946"/>
                <a:gd name="connsiteY737" fmla="*/ 116250 h 349382"/>
                <a:gd name="connsiteX738" fmla="*/ 832261 w 2663946"/>
                <a:gd name="connsiteY738" fmla="*/ 116250 h 349382"/>
                <a:gd name="connsiteX739" fmla="*/ 836317 w 2663946"/>
                <a:gd name="connsiteY739" fmla="*/ 117332 h 349382"/>
                <a:gd name="connsiteX740" fmla="*/ 840102 w 2663946"/>
                <a:gd name="connsiteY740" fmla="*/ 124091 h 349382"/>
                <a:gd name="connsiteX741" fmla="*/ 837399 w 2663946"/>
                <a:gd name="connsiteY741" fmla="*/ 129769 h 349382"/>
                <a:gd name="connsiteX742" fmla="*/ 833343 w 2663946"/>
                <a:gd name="connsiteY742" fmla="*/ 131662 h 349382"/>
                <a:gd name="connsiteX743" fmla="*/ 833073 w 2663946"/>
                <a:gd name="connsiteY743" fmla="*/ 131662 h 349382"/>
                <a:gd name="connsiteX744" fmla="*/ 832802 w 2663946"/>
                <a:gd name="connsiteY744" fmla="*/ 131662 h 349382"/>
                <a:gd name="connsiteX745" fmla="*/ 832261 w 2663946"/>
                <a:gd name="connsiteY745" fmla="*/ 131662 h 349382"/>
                <a:gd name="connsiteX746" fmla="*/ 800086 w 2663946"/>
                <a:gd name="connsiteY746" fmla="*/ 131662 h 349382"/>
                <a:gd name="connsiteX747" fmla="*/ 799546 w 2663946"/>
                <a:gd name="connsiteY747" fmla="*/ 131662 h 349382"/>
                <a:gd name="connsiteX748" fmla="*/ 798734 w 2663946"/>
                <a:gd name="connsiteY748" fmla="*/ 131662 h 349382"/>
                <a:gd name="connsiteX749" fmla="*/ 797923 w 2663946"/>
                <a:gd name="connsiteY749" fmla="*/ 131392 h 349382"/>
                <a:gd name="connsiteX750" fmla="*/ 794408 w 2663946"/>
                <a:gd name="connsiteY750" fmla="*/ 129499 h 349382"/>
                <a:gd name="connsiteX751" fmla="*/ 791975 w 2663946"/>
                <a:gd name="connsiteY751" fmla="*/ 123821 h 349382"/>
                <a:gd name="connsiteX752" fmla="*/ 794138 w 2663946"/>
                <a:gd name="connsiteY752" fmla="*/ 118684 h 349382"/>
                <a:gd name="connsiteX753" fmla="*/ 799816 w 2663946"/>
                <a:gd name="connsiteY753" fmla="*/ 116250 h 349382"/>
                <a:gd name="connsiteX754" fmla="*/ 807657 w 2663946"/>
                <a:gd name="connsiteY754" fmla="*/ 116250 h 349382"/>
                <a:gd name="connsiteX755" fmla="*/ 808198 w 2663946"/>
                <a:gd name="connsiteY755" fmla="*/ 115710 h 349382"/>
                <a:gd name="connsiteX756" fmla="*/ 808198 w 2663946"/>
                <a:gd name="connsiteY756" fmla="*/ 69745 h 349382"/>
                <a:gd name="connsiteX757" fmla="*/ 807657 w 2663946"/>
                <a:gd name="connsiteY757" fmla="*/ 69204 h 349382"/>
                <a:gd name="connsiteX758" fmla="*/ 801709 w 2663946"/>
                <a:gd name="connsiteY758" fmla="*/ 69204 h 349382"/>
                <a:gd name="connsiteX759" fmla="*/ 794408 w 2663946"/>
                <a:gd name="connsiteY759" fmla="*/ 64608 h 349382"/>
                <a:gd name="connsiteX760" fmla="*/ 794138 w 2663946"/>
                <a:gd name="connsiteY760" fmla="*/ 58930 h 349382"/>
                <a:gd name="connsiteX761" fmla="*/ 801438 w 2663946"/>
                <a:gd name="connsiteY761" fmla="*/ 53793 h 349382"/>
                <a:gd name="connsiteX762" fmla="*/ 813605 w 2663946"/>
                <a:gd name="connsiteY762" fmla="*/ 53522 h 349382"/>
                <a:gd name="connsiteX763" fmla="*/ 282748 w 2663946"/>
                <a:gd name="connsiteY763" fmla="*/ 53522 h 349382"/>
                <a:gd name="connsiteX764" fmla="*/ 286803 w 2663946"/>
                <a:gd name="connsiteY764" fmla="*/ 53522 h 349382"/>
                <a:gd name="connsiteX765" fmla="*/ 291400 w 2663946"/>
                <a:gd name="connsiteY765" fmla="*/ 55956 h 349382"/>
                <a:gd name="connsiteX766" fmla="*/ 293563 w 2663946"/>
                <a:gd name="connsiteY766" fmla="*/ 62174 h 349382"/>
                <a:gd name="connsiteX767" fmla="*/ 293563 w 2663946"/>
                <a:gd name="connsiteY767" fmla="*/ 62715 h 349382"/>
                <a:gd name="connsiteX768" fmla="*/ 293563 w 2663946"/>
                <a:gd name="connsiteY768" fmla="*/ 115710 h 349382"/>
                <a:gd name="connsiteX769" fmla="*/ 294104 w 2663946"/>
                <a:gd name="connsiteY769" fmla="*/ 116250 h 349382"/>
                <a:gd name="connsiteX770" fmla="*/ 301404 w 2663946"/>
                <a:gd name="connsiteY770" fmla="*/ 116250 h 349382"/>
                <a:gd name="connsiteX771" fmla="*/ 305460 w 2663946"/>
                <a:gd name="connsiteY771" fmla="*/ 117332 h 349382"/>
                <a:gd name="connsiteX772" fmla="*/ 309245 w 2663946"/>
                <a:gd name="connsiteY772" fmla="*/ 124091 h 349382"/>
                <a:gd name="connsiteX773" fmla="*/ 306541 w 2663946"/>
                <a:gd name="connsiteY773" fmla="*/ 129769 h 349382"/>
                <a:gd name="connsiteX774" fmla="*/ 302485 w 2663946"/>
                <a:gd name="connsiteY774" fmla="*/ 131662 h 349382"/>
                <a:gd name="connsiteX775" fmla="*/ 302215 w 2663946"/>
                <a:gd name="connsiteY775" fmla="*/ 131662 h 349382"/>
                <a:gd name="connsiteX776" fmla="*/ 301945 w 2663946"/>
                <a:gd name="connsiteY776" fmla="*/ 131662 h 349382"/>
                <a:gd name="connsiteX777" fmla="*/ 301404 w 2663946"/>
                <a:gd name="connsiteY777" fmla="*/ 131662 h 349382"/>
                <a:gd name="connsiteX778" fmla="*/ 269229 w 2663946"/>
                <a:gd name="connsiteY778" fmla="*/ 131662 h 349382"/>
                <a:gd name="connsiteX779" fmla="*/ 268688 w 2663946"/>
                <a:gd name="connsiteY779" fmla="*/ 131662 h 349382"/>
                <a:gd name="connsiteX780" fmla="*/ 267877 w 2663946"/>
                <a:gd name="connsiteY780" fmla="*/ 131662 h 349382"/>
                <a:gd name="connsiteX781" fmla="*/ 267066 w 2663946"/>
                <a:gd name="connsiteY781" fmla="*/ 131392 h 349382"/>
                <a:gd name="connsiteX782" fmla="*/ 263551 w 2663946"/>
                <a:gd name="connsiteY782" fmla="*/ 129499 h 349382"/>
                <a:gd name="connsiteX783" fmla="*/ 261117 w 2663946"/>
                <a:gd name="connsiteY783" fmla="*/ 123821 h 349382"/>
                <a:gd name="connsiteX784" fmla="*/ 263281 w 2663946"/>
                <a:gd name="connsiteY784" fmla="*/ 118684 h 349382"/>
                <a:gd name="connsiteX785" fmla="*/ 268958 w 2663946"/>
                <a:gd name="connsiteY785" fmla="*/ 116250 h 349382"/>
                <a:gd name="connsiteX786" fmla="*/ 276800 w 2663946"/>
                <a:gd name="connsiteY786" fmla="*/ 116250 h 349382"/>
                <a:gd name="connsiteX787" fmla="*/ 277340 w 2663946"/>
                <a:gd name="connsiteY787" fmla="*/ 115710 h 349382"/>
                <a:gd name="connsiteX788" fmla="*/ 277340 w 2663946"/>
                <a:gd name="connsiteY788" fmla="*/ 69745 h 349382"/>
                <a:gd name="connsiteX789" fmla="*/ 276800 w 2663946"/>
                <a:gd name="connsiteY789" fmla="*/ 69204 h 349382"/>
                <a:gd name="connsiteX790" fmla="*/ 270851 w 2663946"/>
                <a:gd name="connsiteY790" fmla="*/ 69204 h 349382"/>
                <a:gd name="connsiteX791" fmla="*/ 263551 w 2663946"/>
                <a:gd name="connsiteY791" fmla="*/ 64608 h 349382"/>
                <a:gd name="connsiteX792" fmla="*/ 263281 w 2663946"/>
                <a:gd name="connsiteY792" fmla="*/ 58930 h 349382"/>
                <a:gd name="connsiteX793" fmla="*/ 270581 w 2663946"/>
                <a:gd name="connsiteY793" fmla="*/ 53793 h 349382"/>
                <a:gd name="connsiteX794" fmla="*/ 282748 w 2663946"/>
                <a:gd name="connsiteY794" fmla="*/ 53522 h 349382"/>
                <a:gd name="connsiteX795" fmla="*/ 206731 w 2663946"/>
                <a:gd name="connsiteY795" fmla="*/ 53522 h 349382"/>
                <a:gd name="connsiteX796" fmla="*/ 210787 w 2663946"/>
                <a:gd name="connsiteY796" fmla="*/ 53522 h 349382"/>
                <a:gd name="connsiteX797" fmla="*/ 215383 w 2663946"/>
                <a:gd name="connsiteY797" fmla="*/ 55956 h 349382"/>
                <a:gd name="connsiteX798" fmla="*/ 217546 w 2663946"/>
                <a:gd name="connsiteY798" fmla="*/ 62174 h 349382"/>
                <a:gd name="connsiteX799" fmla="*/ 217546 w 2663946"/>
                <a:gd name="connsiteY799" fmla="*/ 62715 h 349382"/>
                <a:gd name="connsiteX800" fmla="*/ 217546 w 2663946"/>
                <a:gd name="connsiteY800" fmla="*/ 115710 h 349382"/>
                <a:gd name="connsiteX801" fmla="*/ 218087 w 2663946"/>
                <a:gd name="connsiteY801" fmla="*/ 116250 h 349382"/>
                <a:gd name="connsiteX802" fmla="*/ 225387 w 2663946"/>
                <a:gd name="connsiteY802" fmla="*/ 116250 h 349382"/>
                <a:gd name="connsiteX803" fmla="*/ 229443 w 2663946"/>
                <a:gd name="connsiteY803" fmla="*/ 117332 h 349382"/>
                <a:gd name="connsiteX804" fmla="*/ 233228 w 2663946"/>
                <a:gd name="connsiteY804" fmla="*/ 124091 h 349382"/>
                <a:gd name="connsiteX805" fmla="*/ 230524 w 2663946"/>
                <a:gd name="connsiteY805" fmla="*/ 129769 h 349382"/>
                <a:gd name="connsiteX806" fmla="*/ 226468 w 2663946"/>
                <a:gd name="connsiteY806" fmla="*/ 131662 h 349382"/>
                <a:gd name="connsiteX807" fmla="*/ 226198 w 2663946"/>
                <a:gd name="connsiteY807" fmla="*/ 131662 h 349382"/>
                <a:gd name="connsiteX808" fmla="*/ 225928 w 2663946"/>
                <a:gd name="connsiteY808" fmla="*/ 131662 h 349382"/>
                <a:gd name="connsiteX809" fmla="*/ 225387 w 2663946"/>
                <a:gd name="connsiteY809" fmla="*/ 131662 h 349382"/>
                <a:gd name="connsiteX810" fmla="*/ 193212 w 2663946"/>
                <a:gd name="connsiteY810" fmla="*/ 131662 h 349382"/>
                <a:gd name="connsiteX811" fmla="*/ 192671 w 2663946"/>
                <a:gd name="connsiteY811" fmla="*/ 131662 h 349382"/>
                <a:gd name="connsiteX812" fmla="*/ 191860 w 2663946"/>
                <a:gd name="connsiteY812" fmla="*/ 131662 h 349382"/>
                <a:gd name="connsiteX813" fmla="*/ 191049 w 2663946"/>
                <a:gd name="connsiteY813" fmla="*/ 131392 h 349382"/>
                <a:gd name="connsiteX814" fmla="*/ 187534 w 2663946"/>
                <a:gd name="connsiteY814" fmla="*/ 129499 h 349382"/>
                <a:gd name="connsiteX815" fmla="*/ 185101 w 2663946"/>
                <a:gd name="connsiteY815" fmla="*/ 123821 h 349382"/>
                <a:gd name="connsiteX816" fmla="*/ 187264 w 2663946"/>
                <a:gd name="connsiteY816" fmla="*/ 118684 h 349382"/>
                <a:gd name="connsiteX817" fmla="*/ 192942 w 2663946"/>
                <a:gd name="connsiteY817" fmla="*/ 116250 h 349382"/>
                <a:gd name="connsiteX818" fmla="*/ 200783 w 2663946"/>
                <a:gd name="connsiteY818" fmla="*/ 116250 h 349382"/>
                <a:gd name="connsiteX819" fmla="*/ 201323 w 2663946"/>
                <a:gd name="connsiteY819" fmla="*/ 115710 h 349382"/>
                <a:gd name="connsiteX820" fmla="*/ 201323 w 2663946"/>
                <a:gd name="connsiteY820" fmla="*/ 69745 h 349382"/>
                <a:gd name="connsiteX821" fmla="*/ 200783 w 2663946"/>
                <a:gd name="connsiteY821" fmla="*/ 69204 h 349382"/>
                <a:gd name="connsiteX822" fmla="*/ 194834 w 2663946"/>
                <a:gd name="connsiteY822" fmla="*/ 69204 h 349382"/>
                <a:gd name="connsiteX823" fmla="*/ 187534 w 2663946"/>
                <a:gd name="connsiteY823" fmla="*/ 64608 h 349382"/>
                <a:gd name="connsiteX824" fmla="*/ 187264 w 2663946"/>
                <a:gd name="connsiteY824" fmla="*/ 58930 h 349382"/>
                <a:gd name="connsiteX825" fmla="*/ 194564 w 2663946"/>
                <a:gd name="connsiteY825" fmla="*/ 53793 h 349382"/>
                <a:gd name="connsiteX826" fmla="*/ 206731 w 2663946"/>
                <a:gd name="connsiteY826" fmla="*/ 53522 h 349382"/>
                <a:gd name="connsiteX827" fmla="*/ 2627559 w 2663946"/>
                <a:gd name="connsiteY827" fmla="*/ 53453 h 349382"/>
                <a:gd name="connsiteX828" fmla="*/ 2639849 w 2663946"/>
                <a:gd name="connsiteY828" fmla="*/ 55616 h 349382"/>
                <a:gd name="connsiteX829" fmla="*/ 2647223 w 2663946"/>
                <a:gd name="connsiteY829" fmla="*/ 60213 h 349382"/>
                <a:gd name="connsiteX830" fmla="*/ 2650664 w 2663946"/>
                <a:gd name="connsiteY830" fmla="*/ 63457 h 349382"/>
                <a:gd name="connsiteX831" fmla="*/ 2654106 w 2663946"/>
                <a:gd name="connsiteY831" fmla="*/ 67783 h 349382"/>
                <a:gd name="connsiteX832" fmla="*/ 2656072 w 2663946"/>
                <a:gd name="connsiteY832" fmla="*/ 71298 h 349382"/>
                <a:gd name="connsiteX833" fmla="*/ 2658284 w 2663946"/>
                <a:gd name="connsiteY833" fmla="*/ 76706 h 349382"/>
                <a:gd name="connsiteX834" fmla="*/ 2659267 w 2663946"/>
                <a:gd name="connsiteY834" fmla="*/ 80221 h 349382"/>
                <a:gd name="connsiteX835" fmla="*/ 2660251 w 2663946"/>
                <a:gd name="connsiteY835" fmla="*/ 85358 h 349382"/>
                <a:gd name="connsiteX836" fmla="*/ 2660005 w 2663946"/>
                <a:gd name="connsiteY836" fmla="*/ 99688 h 349382"/>
                <a:gd name="connsiteX837" fmla="*/ 2659022 w 2663946"/>
                <a:gd name="connsiteY837" fmla="*/ 104555 h 349382"/>
                <a:gd name="connsiteX838" fmla="*/ 2657792 w 2663946"/>
                <a:gd name="connsiteY838" fmla="*/ 108340 h 349382"/>
                <a:gd name="connsiteX839" fmla="*/ 2656809 w 2663946"/>
                <a:gd name="connsiteY839" fmla="*/ 110774 h 349382"/>
                <a:gd name="connsiteX840" fmla="*/ 2654597 w 2663946"/>
                <a:gd name="connsiteY840" fmla="*/ 115100 h 349382"/>
                <a:gd name="connsiteX841" fmla="*/ 2652385 w 2663946"/>
                <a:gd name="connsiteY841" fmla="*/ 118344 h 349382"/>
                <a:gd name="connsiteX842" fmla="*/ 2648944 w 2663946"/>
                <a:gd name="connsiteY842" fmla="*/ 122130 h 349382"/>
                <a:gd name="connsiteX843" fmla="*/ 2645748 w 2663946"/>
                <a:gd name="connsiteY843" fmla="*/ 124833 h 349382"/>
                <a:gd name="connsiteX844" fmla="*/ 2640095 w 2663946"/>
                <a:gd name="connsiteY844" fmla="*/ 128078 h 349382"/>
                <a:gd name="connsiteX845" fmla="*/ 2632229 w 2663946"/>
                <a:gd name="connsiteY845" fmla="*/ 130241 h 349382"/>
                <a:gd name="connsiteX846" fmla="*/ 2631000 w 2663946"/>
                <a:gd name="connsiteY846" fmla="*/ 130512 h 349382"/>
                <a:gd name="connsiteX847" fmla="*/ 2626821 w 2663946"/>
                <a:gd name="connsiteY847" fmla="*/ 130512 h 349382"/>
                <a:gd name="connsiteX848" fmla="*/ 2626576 w 2663946"/>
                <a:gd name="connsiteY848" fmla="*/ 130512 h 349382"/>
                <a:gd name="connsiteX849" fmla="*/ 2613548 w 2663946"/>
                <a:gd name="connsiteY849" fmla="*/ 125645 h 349382"/>
                <a:gd name="connsiteX850" fmla="*/ 2608878 w 2663946"/>
                <a:gd name="connsiteY850" fmla="*/ 121589 h 349382"/>
                <a:gd name="connsiteX851" fmla="*/ 2605682 w 2663946"/>
                <a:gd name="connsiteY851" fmla="*/ 117804 h 349382"/>
                <a:gd name="connsiteX852" fmla="*/ 2603470 w 2663946"/>
                <a:gd name="connsiteY852" fmla="*/ 114289 h 349382"/>
                <a:gd name="connsiteX853" fmla="*/ 2601258 w 2663946"/>
                <a:gd name="connsiteY853" fmla="*/ 109963 h 349382"/>
                <a:gd name="connsiteX854" fmla="*/ 2600029 w 2663946"/>
                <a:gd name="connsiteY854" fmla="*/ 106988 h 349382"/>
                <a:gd name="connsiteX855" fmla="*/ 2599046 w 2663946"/>
                <a:gd name="connsiteY855" fmla="*/ 103744 h 349382"/>
                <a:gd name="connsiteX856" fmla="*/ 2597816 w 2663946"/>
                <a:gd name="connsiteY856" fmla="*/ 98066 h 349382"/>
                <a:gd name="connsiteX857" fmla="*/ 2597571 w 2663946"/>
                <a:gd name="connsiteY857" fmla="*/ 95092 h 349382"/>
                <a:gd name="connsiteX858" fmla="*/ 2597816 w 2663946"/>
                <a:gd name="connsiteY858" fmla="*/ 95362 h 349382"/>
                <a:gd name="connsiteX859" fmla="*/ 2597816 w 2663946"/>
                <a:gd name="connsiteY859" fmla="*/ 89684 h 349382"/>
                <a:gd name="connsiteX860" fmla="*/ 2597816 w 2663946"/>
                <a:gd name="connsiteY860" fmla="*/ 89414 h 349382"/>
                <a:gd name="connsiteX861" fmla="*/ 2598308 w 2663946"/>
                <a:gd name="connsiteY861" fmla="*/ 84817 h 349382"/>
                <a:gd name="connsiteX862" fmla="*/ 2599537 w 2663946"/>
                <a:gd name="connsiteY862" fmla="*/ 79410 h 349382"/>
                <a:gd name="connsiteX863" fmla="*/ 2600520 w 2663946"/>
                <a:gd name="connsiteY863" fmla="*/ 76165 h 349382"/>
                <a:gd name="connsiteX864" fmla="*/ 2602732 w 2663946"/>
                <a:gd name="connsiteY864" fmla="*/ 71028 h 349382"/>
                <a:gd name="connsiteX865" fmla="*/ 2604945 w 2663946"/>
                <a:gd name="connsiteY865" fmla="*/ 67243 h 349382"/>
                <a:gd name="connsiteX866" fmla="*/ 2607157 w 2663946"/>
                <a:gd name="connsiteY866" fmla="*/ 64268 h 349382"/>
                <a:gd name="connsiteX867" fmla="*/ 2609369 w 2663946"/>
                <a:gd name="connsiteY867" fmla="*/ 61835 h 349382"/>
                <a:gd name="connsiteX868" fmla="*/ 2614039 w 2663946"/>
                <a:gd name="connsiteY868" fmla="*/ 58050 h 349382"/>
                <a:gd name="connsiteX869" fmla="*/ 2617972 w 2663946"/>
                <a:gd name="connsiteY869" fmla="*/ 55887 h 349382"/>
                <a:gd name="connsiteX870" fmla="*/ 2627559 w 2663946"/>
                <a:gd name="connsiteY870" fmla="*/ 53453 h 349382"/>
                <a:gd name="connsiteX871" fmla="*/ 2445604 w 2663946"/>
                <a:gd name="connsiteY871" fmla="*/ 53453 h 349382"/>
                <a:gd name="connsiteX872" fmla="*/ 2457894 w 2663946"/>
                <a:gd name="connsiteY872" fmla="*/ 55616 h 349382"/>
                <a:gd name="connsiteX873" fmla="*/ 2465268 w 2663946"/>
                <a:gd name="connsiteY873" fmla="*/ 60213 h 349382"/>
                <a:gd name="connsiteX874" fmla="*/ 2468709 w 2663946"/>
                <a:gd name="connsiteY874" fmla="*/ 63457 h 349382"/>
                <a:gd name="connsiteX875" fmla="*/ 2472151 w 2663946"/>
                <a:gd name="connsiteY875" fmla="*/ 67783 h 349382"/>
                <a:gd name="connsiteX876" fmla="*/ 2474117 w 2663946"/>
                <a:gd name="connsiteY876" fmla="*/ 71298 h 349382"/>
                <a:gd name="connsiteX877" fmla="*/ 2476329 w 2663946"/>
                <a:gd name="connsiteY877" fmla="*/ 76706 h 349382"/>
                <a:gd name="connsiteX878" fmla="*/ 2477312 w 2663946"/>
                <a:gd name="connsiteY878" fmla="*/ 80221 h 349382"/>
                <a:gd name="connsiteX879" fmla="*/ 2478296 w 2663946"/>
                <a:gd name="connsiteY879" fmla="*/ 85358 h 349382"/>
                <a:gd name="connsiteX880" fmla="*/ 2478050 w 2663946"/>
                <a:gd name="connsiteY880" fmla="*/ 99688 h 349382"/>
                <a:gd name="connsiteX881" fmla="*/ 2477067 w 2663946"/>
                <a:gd name="connsiteY881" fmla="*/ 104555 h 349382"/>
                <a:gd name="connsiteX882" fmla="*/ 2475837 w 2663946"/>
                <a:gd name="connsiteY882" fmla="*/ 108340 h 349382"/>
                <a:gd name="connsiteX883" fmla="*/ 2474854 w 2663946"/>
                <a:gd name="connsiteY883" fmla="*/ 110774 h 349382"/>
                <a:gd name="connsiteX884" fmla="*/ 2472642 w 2663946"/>
                <a:gd name="connsiteY884" fmla="*/ 115100 h 349382"/>
                <a:gd name="connsiteX885" fmla="*/ 2470430 w 2663946"/>
                <a:gd name="connsiteY885" fmla="*/ 118344 h 349382"/>
                <a:gd name="connsiteX886" fmla="*/ 2466989 w 2663946"/>
                <a:gd name="connsiteY886" fmla="*/ 122130 h 349382"/>
                <a:gd name="connsiteX887" fmla="*/ 2463793 w 2663946"/>
                <a:gd name="connsiteY887" fmla="*/ 124833 h 349382"/>
                <a:gd name="connsiteX888" fmla="*/ 2458140 w 2663946"/>
                <a:gd name="connsiteY888" fmla="*/ 128078 h 349382"/>
                <a:gd name="connsiteX889" fmla="*/ 2450274 w 2663946"/>
                <a:gd name="connsiteY889" fmla="*/ 130241 h 349382"/>
                <a:gd name="connsiteX890" fmla="*/ 2449045 w 2663946"/>
                <a:gd name="connsiteY890" fmla="*/ 130512 h 349382"/>
                <a:gd name="connsiteX891" fmla="*/ 2444866 w 2663946"/>
                <a:gd name="connsiteY891" fmla="*/ 130512 h 349382"/>
                <a:gd name="connsiteX892" fmla="*/ 2444621 w 2663946"/>
                <a:gd name="connsiteY892" fmla="*/ 130512 h 349382"/>
                <a:gd name="connsiteX893" fmla="*/ 2431593 w 2663946"/>
                <a:gd name="connsiteY893" fmla="*/ 125645 h 349382"/>
                <a:gd name="connsiteX894" fmla="*/ 2426923 w 2663946"/>
                <a:gd name="connsiteY894" fmla="*/ 121589 h 349382"/>
                <a:gd name="connsiteX895" fmla="*/ 2423727 w 2663946"/>
                <a:gd name="connsiteY895" fmla="*/ 117804 h 349382"/>
                <a:gd name="connsiteX896" fmla="*/ 2421515 w 2663946"/>
                <a:gd name="connsiteY896" fmla="*/ 114289 h 349382"/>
                <a:gd name="connsiteX897" fmla="*/ 2419303 w 2663946"/>
                <a:gd name="connsiteY897" fmla="*/ 109963 h 349382"/>
                <a:gd name="connsiteX898" fmla="*/ 2418074 w 2663946"/>
                <a:gd name="connsiteY898" fmla="*/ 106988 h 349382"/>
                <a:gd name="connsiteX899" fmla="*/ 2417091 w 2663946"/>
                <a:gd name="connsiteY899" fmla="*/ 103744 h 349382"/>
                <a:gd name="connsiteX900" fmla="*/ 2415861 w 2663946"/>
                <a:gd name="connsiteY900" fmla="*/ 98066 h 349382"/>
                <a:gd name="connsiteX901" fmla="*/ 2415616 w 2663946"/>
                <a:gd name="connsiteY901" fmla="*/ 95092 h 349382"/>
                <a:gd name="connsiteX902" fmla="*/ 2415861 w 2663946"/>
                <a:gd name="connsiteY902" fmla="*/ 95362 h 349382"/>
                <a:gd name="connsiteX903" fmla="*/ 2415861 w 2663946"/>
                <a:gd name="connsiteY903" fmla="*/ 89684 h 349382"/>
                <a:gd name="connsiteX904" fmla="*/ 2415861 w 2663946"/>
                <a:gd name="connsiteY904" fmla="*/ 89414 h 349382"/>
                <a:gd name="connsiteX905" fmla="*/ 2416353 w 2663946"/>
                <a:gd name="connsiteY905" fmla="*/ 84817 h 349382"/>
                <a:gd name="connsiteX906" fmla="*/ 2417582 w 2663946"/>
                <a:gd name="connsiteY906" fmla="*/ 79410 h 349382"/>
                <a:gd name="connsiteX907" fmla="*/ 2418565 w 2663946"/>
                <a:gd name="connsiteY907" fmla="*/ 76165 h 349382"/>
                <a:gd name="connsiteX908" fmla="*/ 2420777 w 2663946"/>
                <a:gd name="connsiteY908" fmla="*/ 71028 h 349382"/>
                <a:gd name="connsiteX909" fmla="*/ 2422990 w 2663946"/>
                <a:gd name="connsiteY909" fmla="*/ 67243 h 349382"/>
                <a:gd name="connsiteX910" fmla="*/ 2425202 w 2663946"/>
                <a:gd name="connsiteY910" fmla="*/ 64268 h 349382"/>
                <a:gd name="connsiteX911" fmla="*/ 2427414 w 2663946"/>
                <a:gd name="connsiteY911" fmla="*/ 61835 h 349382"/>
                <a:gd name="connsiteX912" fmla="*/ 2432084 w 2663946"/>
                <a:gd name="connsiteY912" fmla="*/ 58050 h 349382"/>
                <a:gd name="connsiteX913" fmla="*/ 2436017 w 2663946"/>
                <a:gd name="connsiteY913" fmla="*/ 55887 h 349382"/>
                <a:gd name="connsiteX914" fmla="*/ 2445604 w 2663946"/>
                <a:gd name="connsiteY914" fmla="*/ 53453 h 349382"/>
                <a:gd name="connsiteX915" fmla="*/ 2202558 w 2663946"/>
                <a:gd name="connsiteY915" fmla="*/ 53453 h 349382"/>
                <a:gd name="connsiteX916" fmla="*/ 2214848 w 2663946"/>
                <a:gd name="connsiteY916" fmla="*/ 55616 h 349382"/>
                <a:gd name="connsiteX917" fmla="*/ 2222222 w 2663946"/>
                <a:gd name="connsiteY917" fmla="*/ 60213 h 349382"/>
                <a:gd name="connsiteX918" fmla="*/ 2225663 w 2663946"/>
                <a:gd name="connsiteY918" fmla="*/ 63457 h 349382"/>
                <a:gd name="connsiteX919" fmla="*/ 2229105 w 2663946"/>
                <a:gd name="connsiteY919" fmla="*/ 67783 h 349382"/>
                <a:gd name="connsiteX920" fmla="*/ 2231071 w 2663946"/>
                <a:gd name="connsiteY920" fmla="*/ 71298 h 349382"/>
                <a:gd name="connsiteX921" fmla="*/ 2233283 w 2663946"/>
                <a:gd name="connsiteY921" fmla="*/ 76706 h 349382"/>
                <a:gd name="connsiteX922" fmla="*/ 2234266 w 2663946"/>
                <a:gd name="connsiteY922" fmla="*/ 80221 h 349382"/>
                <a:gd name="connsiteX923" fmla="*/ 2235250 w 2663946"/>
                <a:gd name="connsiteY923" fmla="*/ 85358 h 349382"/>
                <a:gd name="connsiteX924" fmla="*/ 2235004 w 2663946"/>
                <a:gd name="connsiteY924" fmla="*/ 99688 h 349382"/>
                <a:gd name="connsiteX925" fmla="*/ 2234021 w 2663946"/>
                <a:gd name="connsiteY925" fmla="*/ 104555 h 349382"/>
                <a:gd name="connsiteX926" fmla="*/ 2232791 w 2663946"/>
                <a:gd name="connsiteY926" fmla="*/ 108340 h 349382"/>
                <a:gd name="connsiteX927" fmla="*/ 2231808 w 2663946"/>
                <a:gd name="connsiteY927" fmla="*/ 110774 h 349382"/>
                <a:gd name="connsiteX928" fmla="*/ 2229596 w 2663946"/>
                <a:gd name="connsiteY928" fmla="*/ 115100 h 349382"/>
                <a:gd name="connsiteX929" fmla="*/ 2227384 w 2663946"/>
                <a:gd name="connsiteY929" fmla="*/ 118344 h 349382"/>
                <a:gd name="connsiteX930" fmla="*/ 2223943 w 2663946"/>
                <a:gd name="connsiteY930" fmla="*/ 122130 h 349382"/>
                <a:gd name="connsiteX931" fmla="*/ 2220747 w 2663946"/>
                <a:gd name="connsiteY931" fmla="*/ 124833 h 349382"/>
                <a:gd name="connsiteX932" fmla="*/ 2215094 w 2663946"/>
                <a:gd name="connsiteY932" fmla="*/ 128078 h 349382"/>
                <a:gd name="connsiteX933" fmla="*/ 2207228 w 2663946"/>
                <a:gd name="connsiteY933" fmla="*/ 130241 h 349382"/>
                <a:gd name="connsiteX934" fmla="*/ 2205999 w 2663946"/>
                <a:gd name="connsiteY934" fmla="*/ 130512 h 349382"/>
                <a:gd name="connsiteX935" fmla="*/ 2201820 w 2663946"/>
                <a:gd name="connsiteY935" fmla="*/ 130512 h 349382"/>
                <a:gd name="connsiteX936" fmla="*/ 2201575 w 2663946"/>
                <a:gd name="connsiteY936" fmla="*/ 130512 h 349382"/>
                <a:gd name="connsiteX937" fmla="*/ 2188547 w 2663946"/>
                <a:gd name="connsiteY937" fmla="*/ 125645 h 349382"/>
                <a:gd name="connsiteX938" fmla="*/ 2183877 w 2663946"/>
                <a:gd name="connsiteY938" fmla="*/ 121589 h 349382"/>
                <a:gd name="connsiteX939" fmla="*/ 2180681 w 2663946"/>
                <a:gd name="connsiteY939" fmla="*/ 117804 h 349382"/>
                <a:gd name="connsiteX940" fmla="*/ 2178469 w 2663946"/>
                <a:gd name="connsiteY940" fmla="*/ 114289 h 349382"/>
                <a:gd name="connsiteX941" fmla="*/ 2176257 w 2663946"/>
                <a:gd name="connsiteY941" fmla="*/ 109963 h 349382"/>
                <a:gd name="connsiteX942" fmla="*/ 2175028 w 2663946"/>
                <a:gd name="connsiteY942" fmla="*/ 106988 h 349382"/>
                <a:gd name="connsiteX943" fmla="*/ 2174045 w 2663946"/>
                <a:gd name="connsiteY943" fmla="*/ 103744 h 349382"/>
                <a:gd name="connsiteX944" fmla="*/ 2172815 w 2663946"/>
                <a:gd name="connsiteY944" fmla="*/ 98066 h 349382"/>
                <a:gd name="connsiteX945" fmla="*/ 2172570 w 2663946"/>
                <a:gd name="connsiteY945" fmla="*/ 95092 h 349382"/>
                <a:gd name="connsiteX946" fmla="*/ 2172815 w 2663946"/>
                <a:gd name="connsiteY946" fmla="*/ 95362 h 349382"/>
                <a:gd name="connsiteX947" fmla="*/ 2172815 w 2663946"/>
                <a:gd name="connsiteY947" fmla="*/ 89684 h 349382"/>
                <a:gd name="connsiteX948" fmla="*/ 2172815 w 2663946"/>
                <a:gd name="connsiteY948" fmla="*/ 89414 h 349382"/>
                <a:gd name="connsiteX949" fmla="*/ 2173307 w 2663946"/>
                <a:gd name="connsiteY949" fmla="*/ 84817 h 349382"/>
                <a:gd name="connsiteX950" fmla="*/ 2174536 w 2663946"/>
                <a:gd name="connsiteY950" fmla="*/ 79410 h 349382"/>
                <a:gd name="connsiteX951" fmla="*/ 2175519 w 2663946"/>
                <a:gd name="connsiteY951" fmla="*/ 76165 h 349382"/>
                <a:gd name="connsiteX952" fmla="*/ 2177731 w 2663946"/>
                <a:gd name="connsiteY952" fmla="*/ 71028 h 349382"/>
                <a:gd name="connsiteX953" fmla="*/ 2179944 w 2663946"/>
                <a:gd name="connsiteY953" fmla="*/ 67243 h 349382"/>
                <a:gd name="connsiteX954" fmla="*/ 2182156 w 2663946"/>
                <a:gd name="connsiteY954" fmla="*/ 64268 h 349382"/>
                <a:gd name="connsiteX955" fmla="*/ 2184368 w 2663946"/>
                <a:gd name="connsiteY955" fmla="*/ 61835 h 349382"/>
                <a:gd name="connsiteX956" fmla="*/ 2189038 w 2663946"/>
                <a:gd name="connsiteY956" fmla="*/ 58050 h 349382"/>
                <a:gd name="connsiteX957" fmla="*/ 2192971 w 2663946"/>
                <a:gd name="connsiteY957" fmla="*/ 55887 h 349382"/>
                <a:gd name="connsiteX958" fmla="*/ 2202558 w 2663946"/>
                <a:gd name="connsiteY958" fmla="*/ 53453 h 349382"/>
                <a:gd name="connsiteX959" fmla="*/ 2020607 w 2663946"/>
                <a:gd name="connsiteY959" fmla="*/ 53453 h 349382"/>
                <a:gd name="connsiteX960" fmla="*/ 2032897 w 2663946"/>
                <a:gd name="connsiteY960" fmla="*/ 55616 h 349382"/>
                <a:gd name="connsiteX961" fmla="*/ 2040271 w 2663946"/>
                <a:gd name="connsiteY961" fmla="*/ 60213 h 349382"/>
                <a:gd name="connsiteX962" fmla="*/ 2043712 w 2663946"/>
                <a:gd name="connsiteY962" fmla="*/ 63457 h 349382"/>
                <a:gd name="connsiteX963" fmla="*/ 2047154 w 2663946"/>
                <a:gd name="connsiteY963" fmla="*/ 67783 h 349382"/>
                <a:gd name="connsiteX964" fmla="*/ 2049120 w 2663946"/>
                <a:gd name="connsiteY964" fmla="*/ 71298 h 349382"/>
                <a:gd name="connsiteX965" fmla="*/ 2051332 w 2663946"/>
                <a:gd name="connsiteY965" fmla="*/ 76706 h 349382"/>
                <a:gd name="connsiteX966" fmla="*/ 2052315 w 2663946"/>
                <a:gd name="connsiteY966" fmla="*/ 80221 h 349382"/>
                <a:gd name="connsiteX967" fmla="*/ 2053299 w 2663946"/>
                <a:gd name="connsiteY967" fmla="*/ 85358 h 349382"/>
                <a:gd name="connsiteX968" fmla="*/ 2053053 w 2663946"/>
                <a:gd name="connsiteY968" fmla="*/ 99688 h 349382"/>
                <a:gd name="connsiteX969" fmla="*/ 2052070 w 2663946"/>
                <a:gd name="connsiteY969" fmla="*/ 104555 h 349382"/>
                <a:gd name="connsiteX970" fmla="*/ 2050840 w 2663946"/>
                <a:gd name="connsiteY970" fmla="*/ 108340 h 349382"/>
                <a:gd name="connsiteX971" fmla="*/ 2049857 w 2663946"/>
                <a:gd name="connsiteY971" fmla="*/ 110774 h 349382"/>
                <a:gd name="connsiteX972" fmla="*/ 2047645 w 2663946"/>
                <a:gd name="connsiteY972" fmla="*/ 115100 h 349382"/>
                <a:gd name="connsiteX973" fmla="*/ 2045433 w 2663946"/>
                <a:gd name="connsiteY973" fmla="*/ 118344 h 349382"/>
                <a:gd name="connsiteX974" fmla="*/ 2041992 w 2663946"/>
                <a:gd name="connsiteY974" fmla="*/ 122130 h 349382"/>
                <a:gd name="connsiteX975" fmla="*/ 2038796 w 2663946"/>
                <a:gd name="connsiteY975" fmla="*/ 124833 h 349382"/>
                <a:gd name="connsiteX976" fmla="*/ 2033143 w 2663946"/>
                <a:gd name="connsiteY976" fmla="*/ 128078 h 349382"/>
                <a:gd name="connsiteX977" fmla="*/ 2025277 w 2663946"/>
                <a:gd name="connsiteY977" fmla="*/ 130241 h 349382"/>
                <a:gd name="connsiteX978" fmla="*/ 2024048 w 2663946"/>
                <a:gd name="connsiteY978" fmla="*/ 130512 h 349382"/>
                <a:gd name="connsiteX979" fmla="*/ 2019869 w 2663946"/>
                <a:gd name="connsiteY979" fmla="*/ 130512 h 349382"/>
                <a:gd name="connsiteX980" fmla="*/ 2019624 w 2663946"/>
                <a:gd name="connsiteY980" fmla="*/ 130512 h 349382"/>
                <a:gd name="connsiteX981" fmla="*/ 2006596 w 2663946"/>
                <a:gd name="connsiteY981" fmla="*/ 125645 h 349382"/>
                <a:gd name="connsiteX982" fmla="*/ 2001926 w 2663946"/>
                <a:gd name="connsiteY982" fmla="*/ 121589 h 349382"/>
                <a:gd name="connsiteX983" fmla="*/ 1998730 w 2663946"/>
                <a:gd name="connsiteY983" fmla="*/ 117804 h 349382"/>
                <a:gd name="connsiteX984" fmla="*/ 1996518 w 2663946"/>
                <a:gd name="connsiteY984" fmla="*/ 114289 h 349382"/>
                <a:gd name="connsiteX985" fmla="*/ 1994306 w 2663946"/>
                <a:gd name="connsiteY985" fmla="*/ 109963 h 349382"/>
                <a:gd name="connsiteX986" fmla="*/ 1993077 w 2663946"/>
                <a:gd name="connsiteY986" fmla="*/ 106988 h 349382"/>
                <a:gd name="connsiteX987" fmla="*/ 1992094 w 2663946"/>
                <a:gd name="connsiteY987" fmla="*/ 103744 h 349382"/>
                <a:gd name="connsiteX988" fmla="*/ 1990864 w 2663946"/>
                <a:gd name="connsiteY988" fmla="*/ 98066 h 349382"/>
                <a:gd name="connsiteX989" fmla="*/ 1990619 w 2663946"/>
                <a:gd name="connsiteY989" fmla="*/ 95092 h 349382"/>
                <a:gd name="connsiteX990" fmla="*/ 1990864 w 2663946"/>
                <a:gd name="connsiteY990" fmla="*/ 95362 h 349382"/>
                <a:gd name="connsiteX991" fmla="*/ 1990864 w 2663946"/>
                <a:gd name="connsiteY991" fmla="*/ 89684 h 349382"/>
                <a:gd name="connsiteX992" fmla="*/ 1990864 w 2663946"/>
                <a:gd name="connsiteY992" fmla="*/ 89414 h 349382"/>
                <a:gd name="connsiteX993" fmla="*/ 1991356 w 2663946"/>
                <a:gd name="connsiteY993" fmla="*/ 84817 h 349382"/>
                <a:gd name="connsiteX994" fmla="*/ 1992585 w 2663946"/>
                <a:gd name="connsiteY994" fmla="*/ 79410 h 349382"/>
                <a:gd name="connsiteX995" fmla="*/ 1993568 w 2663946"/>
                <a:gd name="connsiteY995" fmla="*/ 76165 h 349382"/>
                <a:gd name="connsiteX996" fmla="*/ 1995780 w 2663946"/>
                <a:gd name="connsiteY996" fmla="*/ 71028 h 349382"/>
                <a:gd name="connsiteX997" fmla="*/ 1997993 w 2663946"/>
                <a:gd name="connsiteY997" fmla="*/ 67243 h 349382"/>
                <a:gd name="connsiteX998" fmla="*/ 2000205 w 2663946"/>
                <a:gd name="connsiteY998" fmla="*/ 64268 h 349382"/>
                <a:gd name="connsiteX999" fmla="*/ 2002417 w 2663946"/>
                <a:gd name="connsiteY999" fmla="*/ 61835 h 349382"/>
                <a:gd name="connsiteX1000" fmla="*/ 2007087 w 2663946"/>
                <a:gd name="connsiteY1000" fmla="*/ 58050 h 349382"/>
                <a:gd name="connsiteX1001" fmla="*/ 2011020 w 2663946"/>
                <a:gd name="connsiteY1001" fmla="*/ 55887 h 349382"/>
                <a:gd name="connsiteX1002" fmla="*/ 2020607 w 2663946"/>
                <a:gd name="connsiteY1002" fmla="*/ 53453 h 349382"/>
                <a:gd name="connsiteX1003" fmla="*/ 1595683 w 2663946"/>
                <a:gd name="connsiteY1003" fmla="*/ 53453 h 349382"/>
                <a:gd name="connsiteX1004" fmla="*/ 1607973 w 2663946"/>
                <a:gd name="connsiteY1004" fmla="*/ 55616 h 349382"/>
                <a:gd name="connsiteX1005" fmla="*/ 1615347 w 2663946"/>
                <a:gd name="connsiteY1005" fmla="*/ 60213 h 349382"/>
                <a:gd name="connsiteX1006" fmla="*/ 1618788 w 2663946"/>
                <a:gd name="connsiteY1006" fmla="*/ 63457 h 349382"/>
                <a:gd name="connsiteX1007" fmla="*/ 1622230 w 2663946"/>
                <a:gd name="connsiteY1007" fmla="*/ 67783 h 349382"/>
                <a:gd name="connsiteX1008" fmla="*/ 1624196 w 2663946"/>
                <a:gd name="connsiteY1008" fmla="*/ 71298 h 349382"/>
                <a:gd name="connsiteX1009" fmla="*/ 1626408 w 2663946"/>
                <a:gd name="connsiteY1009" fmla="*/ 76706 h 349382"/>
                <a:gd name="connsiteX1010" fmla="*/ 1627391 w 2663946"/>
                <a:gd name="connsiteY1010" fmla="*/ 80221 h 349382"/>
                <a:gd name="connsiteX1011" fmla="*/ 1628374 w 2663946"/>
                <a:gd name="connsiteY1011" fmla="*/ 85358 h 349382"/>
                <a:gd name="connsiteX1012" fmla="*/ 1628129 w 2663946"/>
                <a:gd name="connsiteY1012" fmla="*/ 99688 h 349382"/>
                <a:gd name="connsiteX1013" fmla="*/ 1627146 w 2663946"/>
                <a:gd name="connsiteY1013" fmla="*/ 104555 h 349382"/>
                <a:gd name="connsiteX1014" fmla="*/ 1625916 w 2663946"/>
                <a:gd name="connsiteY1014" fmla="*/ 108340 h 349382"/>
                <a:gd name="connsiteX1015" fmla="*/ 1624933 w 2663946"/>
                <a:gd name="connsiteY1015" fmla="*/ 110774 h 349382"/>
                <a:gd name="connsiteX1016" fmla="*/ 1622721 w 2663946"/>
                <a:gd name="connsiteY1016" fmla="*/ 115100 h 349382"/>
                <a:gd name="connsiteX1017" fmla="*/ 1620509 w 2663946"/>
                <a:gd name="connsiteY1017" fmla="*/ 118344 h 349382"/>
                <a:gd name="connsiteX1018" fmla="*/ 1617068 w 2663946"/>
                <a:gd name="connsiteY1018" fmla="*/ 122130 h 349382"/>
                <a:gd name="connsiteX1019" fmla="*/ 1613872 w 2663946"/>
                <a:gd name="connsiteY1019" fmla="*/ 124833 h 349382"/>
                <a:gd name="connsiteX1020" fmla="*/ 1608219 w 2663946"/>
                <a:gd name="connsiteY1020" fmla="*/ 128078 h 349382"/>
                <a:gd name="connsiteX1021" fmla="*/ 1600353 w 2663946"/>
                <a:gd name="connsiteY1021" fmla="*/ 130241 h 349382"/>
                <a:gd name="connsiteX1022" fmla="*/ 1599124 w 2663946"/>
                <a:gd name="connsiteY1022" fmla="*/ 130512 h 349382"/>
                <a:gd name="connsiteX1023" fmla="*/ 1594945 w 2663946"/>
                <a:gd name="connsiteY1023" fmla="*/ 130512 h 349382"/>
                <a:gd name="connsiteX1024" fmla="*/ 1594699 w 2663946"/>
                <a:gd name="connsiteY1024" fmla="*/ 130512 h 349382"/>
                <a:gd name="connsiteX1025" fmla="*/ 1581672 w 2663946"/>
                <a:gd name="connsiteY1025" fmla="*/ 125645 h 349382"/>
                <a:gd name="connsiteX1026" fmla="*/ 1577002 w 2663946"/>
                <a:gd name="connsiteY1026" fmla="*/ 121589 h 349382"/>
                <a:gd name="connsiteX1027" fmla="*/ 1573806 w 2663946"/>
                <a:gd name="connsiteY1027" fmla="*/ 117804 h 349382"/>
                <a:gd name="connsiteX1028" fmla="*/ 1571594 w 2663946"/>
                <a:gd name="connsiteY1028" fmla="*/ 114289 h 349382"/>
                <a:gd name="connsiteX1029" fmla="*/ 1569382 w 2663946"/>
                <a:gd name="connsiteY1029" fmla="*/ 109963 h 349382"/>
                <a:gd name="connsiteX1030" fmla="*/ 1568153 w 2663946"/>
                <a:gd name="connsiteY1030" fmla="*/ 106988 h 349382"/>
                <a:gd name="connsiteX1031" fmla="*/ 1567169 w 2663946"/>
                <a:gd name="connsiteY1031" fmla="*/ 103744 h 349382"/>
                <a:gd name="connsiteX1032" fmla="*/ 1565940 w 2663946"/>
                <a:gd name="connsiteY1032" fmla="*/ 98066 h 349382"/>
                <a:gd name="connsiteX1033" fmla="*/ 1565695 w 2663946"/>
                <a:gd name="connsiteY1033" fmla="*/ 95092 h 349382"/>
                <a:gd name="connsiteX1034" fmla="*/ 1565940 w 2663946"/>
                <a:gd name="connsiteY1034" fmla="*/ 95362 h 349382"/>
                <a:gd name="connsiteX1035" fmla="*/ 1565940 w 2663946"/>
                <a:gd name="connsiteY1035" fmla="*/ 89684 h 349382"/>
                <a:gd name="connsiteX1036" fmla="*/ 1565940 w 2663946"/>
                <a:gd name="connsiteY1036" fmla="*/ 89414 h 349382"/>
                <a:gd name="connsiteX1037" fmla="*/ 1566432 w 2663946"/>
                <a:gd name="connsiteY1037" fmla="*/ 84817 h 349382"/>
                <a:gd name="connsiteX1038" fmla="*/ 1567661 w 2663946"/>
                <a:gd name="connsiteY1038" fmla="*/ 79410 h 349382"/>
                <a:gd name="connsiteX1039" fmla="*/ 1568644 w 2663946"/>
                <a:gd name="connsiteY1039" fmla="*/ 76165 h 349382"/>
                <a:gd name="connsiteX1040" fmla="*/ 1570856 w 2663946"/>
                <a:gd name="connsiteY1040" fmla="*/ 71028 h 349382"/>
                <a:gd name="connsiteX1041" fmla="*/ 1573069 w 2663946"/>
                <a:gd name="connsiteY1041" fmla="*/ 67243 h 349382"/>
                <a:gd name="connsiteX1042" fmla="*/ 1575281 w 2663946"/>
                <a:gd name="connsiteY1042" fmla="*/ 64268 h 349382"/>
                <a:gd name="connsiteX1043" fmla="*/ 1577493 w 2663946"/>
                <a:gd name="connsiteY1043" fmla="*/ 61835 h 349382"/>
                <a:gd name="connsiteX1044" fmla="*/ 1582163 w 2663946"/>
                <a:gd name="connsiteY1044" fmla="*/ 58050 h 349382"/>
                <a:gd name="connsiteX1045" fmla="*/ 1586096 w 2663946"/>
                <a:gd name="connsiteY1045" fmla="*/ 55887 h 349382"/>
                <a:gd name="connsiteX1046" fmla="*/ 1595683 w 2663946"/>
                <a:gd name="connsiteY1046" fmla="*/ 53453 h 349382"/>
                <a:gd name="connsiteX1047" fmla="*/ 1246776 w 2663946"/>
                <a:gd name="connsiteY1047" fmla="*/ 53453 h 349382"/>
                <a:gd name="connsiteX1048" fmla="*/ 1259066 w 2663946"/>
                <a:gd name="connsiteY1048" fmla="*/ 55616 h 349382"/>
                <a:gd name="connsiteX1049" fmla="*/ 1266440 w 2663946"/>
                <a:gd name="connsiteY1049" fmla="*/ 60213 h 349382"/>
                <a:gd name="connsiteX1050" fmla="*/ 1269881 w 2663946"/>
                <a:gd name="connsiteY1050" fmla="*/ 63457 h 349382"/>
                <a:gd name="connsiteX1051" fmla="*/ 1273323 w 2663946"/>
                <a:gd name="connsiteY1051" fmla="*/ 67783 h 349382"/>
                <a:gd name="connsiteX1052" fmla="*/ 1275289 w 2663946"/>
                <a:gd name="connsiteY1052" fmla="*/ 71298 h 349382"/>
                <a:gd name="connsiteX1053" fmla="*/ 1277501 w 2663946"/>
                <a:gd name="connsiteY1053" fmla="*/ 76706 h 349382"/>
                <a:gd name="connsiteX1054" fmla="*/ 1278484 w 2663946"/>
                <a:gd name="connsiteY1054" fmla="*/ 80221 h 349382"/>
                <a:gd name="connsiteX1055" fmla="*/ 1279467 w 2663946"/>
                <a:gd name="connsiteY1055" fmla="*/ 85358 h 349382"/>
                <a:gd name="connsiteX1056" fmla="*/ 1279222 w 2663946"/>
                <a:gd name="connsiteY1056" fmla="*/ 99688 h 349382"/>
                <a:gd name="connsiteX1057" fmla="*/ 1278239 w 2663946"/>
                <a:gd name="connsiteY1057" fmla="*/ 104555 h 349382"/>
                <a:gd name="connsiteX1058" fmla="*/ 1277009 w 2663946"/>
                <a:gd name="connsiteY1058" fmla="*/ 108340 h 349382"/>
                <a:gd name="connsiteX1059" fmla="*/ 1276026 w 2663946"/>
                <a:gd name="connsiteY1059" fmla="*/ 110774 h 349382"/>
                <a:gd name="connsiteX1060" fmla="*/ 1273814 w 2663946"/>
                <a:gd name="connsiteY1060" fmla="*/ 115100 h 349382"/>
                <a:gd name="connsiteX1061" fmla="*/ 1271602 w 2663946"/>
                <a:gd name="connsiteY1061" fmla="*/ 118344 h 349382"/>
                <a:gd name="connsiteX1062" fmla="*/ 1268161 w 2663946"/>
                <a:gd name="connsiteY1062" fmla="*/ 122130 h 349382"/>
                <a:gd name="connsiteX1063" fmla="*/ 1264965 w 2663946"/>
                <a:gd name="connsiteY1063" fmla="*/ 124833 h 349382"/>
                <a:gd name="connsiteX1064" fmla="*/ 1259312 w 2663946"/>
                <a:gd name="connsiteY1064" fmla="*/ 128078 h 349382"/>
                <a:gd name="connsiteX1065" fmla="*/ 1251446 w 2663946"/>
                <a:gd name="connsiteY1065" fmla="*/ 130241 h 349382"/>
                <a:gd name="connsiteX1066" fmla="*/ 1250217 w 2663946"/>
                <a:gd name="connsiteY1066" fmla="*/ 130512 h 349382"/>
                <a:gd name="connsiteX1067" fmla="*/ 1246038 w 2663946"/>
                <a:gd name="connsiteY1067" fmla="*/ 130512 h 349382"/>
                <a:gd name="connsiteX1068" fmla="*/ 1245792 w 2663946"/>
                <a:gd name="connsiteY1068" fmla="*/ 130512 h 349382"/>
                <a:gd name="connsiteX1069" fmla="*/ 1232765 w 2663946"/>
                <a:gd name="connsiteY1069" fmla="*/ 125645 h 349382"/>
                <a:gd name="connsiteX1070" fmla="*/ 1228095 w 2663946"/>
                <a:gd name="connsiteY1070" fmla="*/ 121589 h 349382"/>
                <a:gd name="connsiteX1071" fmla="*/ 1224899 w 2663946"/>
                <a:gd name="connsiteY1071" fmla="*/ 117804 h 349382"/>
                <a:gd name="connsiteX1072" fmla="*/ 1222687 w 2663946"/>
                <a:gd name="connsiteY1072" fmla="*/ 114289 h 349382"/>
                <a:gd name="connsiteX1073" fmla="*/ 1220475 w 2663946"/>
                <a:gd name="connsiteY1073" fmla="*/ 109963 h 349382"/>
                <a:gd name="connsiteX1074" fmla="*/ 1219246 w 2663946"/>
                <a:gd name="connsiteY1074" fmla="*/ 106988 h 349382"/>
                <a:gd name="connsiteX1075" fmla="*/ 1218262 w 2663946"/>
                <a:gd name="connsiteY1075" fmla="*/ 103744 h 349382"/>
                <a:gd name="connsiteX1076" fmla="*/ 1217033 w 2663946"/>
                <a:gd name="connsiteY1076" fmla="*/ 98066 h 349382"/>
                <a:gd name="connsiteX1077" fmla="*/ 1216788 w 2663946"/>
                <a:gd name="connsiteY1077" fmla="*/ 95092 h 349382"/>
                <a:gd name="connsiteX1078" fmla="*/ 1217033 w 2663946"/>
                <a:gd name="connsiteY1078" fmla="*/ 95362 h 349382"/>
                <a:gd name="connsiteX1079" fmla="*/ 1217033 w 2663946"/>
                <a:gd name="connsiteY1079" fmla="*/ 89684 h 349382"/>
                <a:gd name="connsiteX1080" fmla="*/ 1217033 w 2663946"/>
                <a:gd name="connsiteY1080" fmla="*/ 89414 h 349382"/>
                <a:gd name="connsiteX1081" fmla="*/ 1217525 w 2663946"/>
                <a:gd name="connsiteY1081" fmla="*/ 84817 h 349382"/>
                <a:gd name="connsiteX1082" fmla="*/ 1218754 w 2663946"/>
                <a:gd name="connsiteY1082" fmla="*/ 79410 h 349382"/>
                <a:gd name="connsiteX1083" fmla="*/ 1219737 w 2663946"/>
                <a:gd name="connsiteY1083" fmla="*/ 76165 h 349382"/>
                <a:gd name="connsiteX1084" fmla="*/ 1221949 w 2663946"/>
                <a:gd name="connsiteY1084" fmla="*/ 71028 h 349382"/>
                <a:gd name="connsiteX1085" fmla="*/ 1224162 w 2663946"/>
                <a:gd name="connsiteY1085" fmla="*/ 67243 h 349382"/>
                <a:gd name="connsiteX1086" fmla="*/ 1226374 w 2663946"/>
                <a:gd name="connsiteY1086" fmla="*/ 64268 h 349382"/>
                <a:gd name="connsiteX1087" fmla="*/ 1228586 w 2663946"/>
                <a:gd name="connsiteY1087" fmla="*/ 61835 h 349382"/>
                <a:gd name="connsiteX1088" fmla="*/ 1233256 w 2663946"/>
                <a:gd name="connsiteY1088" fmla="*/ 58050 h 349382"/>
                <a:gd name="connsiteX1089" fmla="*/ 1237189 w 2663946"/>
                <a:gd name="connsiteY1089" fmla="*/ 55887 h 349382"/>
                <a:gd name="connsiteX1090" fmla="*/ 1246776 w 2663946"/>
                <a:gd name="connsiteY1090" fmla="*/ 53453 h 349382"/>
                <a:gd name="connsiteX1091" fmla="*/ 1064825 w 2663946"/>
                <a:gd name="connsiteY1091" fmla="*/ 53453 h 349382"/>
                <a:gd name="connsiteX1092" fmla="*/ 1077115 w 2663946"/>
                <a:gd name="connsiteY1092" fmla="*/ 55616 h 349382"/>
                <a:gd name="connsiteX1093" fmla="*/ 1084489 w 2663946"/>
                <a:gd name="connsiteY1093" fmla="*/ 60213 h 349382"/>
                <a:gd name="connsiteX1094" fmla="*/ 1087930 w 2663946"/>
                <a:gd name="connsiteY1094" fmla="*/ 63457 h 349382"/>
                <a:gd name="connsiteX1095" fmla="*/ 1091372 w 2663946"/>
                <a:gd name="connsiteY1095" fmla="*/ 67783 h 349382"/>
                <a:gd name="connsiteX1096" fmla="*/ 1093338 w 2663946"/>
                <a:gd name="connsiteY1096" fmla="*/ 71298 h 349382"/>
                <a:gd name="connsiteX1097" fmla="*/ 1095550 w 2663946"/>
                <a:gd name="connsiteY1097" fmla="*/ 76706 h 349382"/>
                <a:gd name="connsiteX1098" fmla="*/ 1096533 w 2663946"/>
                <a:gd name="connsiteY1098" fmla="*/ 80221 h 349382"/>
                <a:gd name="connsiteX1099" fmla="*/ 1097516 w 2663946"/>
                <a:gd name="connsiteY1099" fmla="*/ 85358 h 349382"/>
                <a:gd name="connsiteX1100" fmla="*/ 1097271 w 2663946"/>
                <a:gd name="connsiteY1100" fmla="*/ 99688 h 349382"/>
                <a:gd name="connsiteX1101" fmla="*/ 1096288 w 2663946"/>
                <a:gd name="connsiteY1101" fmla="*/ 104555 h 349382"/>
                <a:gd name="connsiteX1102" fmla="*/ 1095058 w 2663946"/>
                <a:gd name="connsiteY1102" fmla="*/ 108340 h 349382"/>
                <a:gd name="connsiteX1103" fmla="*/ 1094075 w 2663946"/>
                <a:gd name="connsiteY1103" fmla="*/ 110774 h 349382"/>
                <a:gd name="connsiteX1104" fmla="*/ 1091863 w 2663946"/>
                <a:gd name="connsiteY1104" fmla="*/ 115100 h 349382"/>
                <a:gd name="connsiteX1105" fmla="*/ 1089651 w 2663946"/>
                <a:gd name="connsiteY1105" fmla="*/ 118344 h 349382"/>
                <a:gd name="connsiteX1106" fmla="*/ 1086210 w 2663946"/>
                <a:gd name="connsiteY1106" fmla="*/ 122130 h 349382"/>
                <a:gd name="connsiteX1107" fmla="*/ 1083014 w 2663946"/>
                <a:gd name="connsiteY1107" fmla="*/ 124833 h 349382"/>
                <a:gd name="connsiteX1108" fmla="*/ 1077361 w 2663946"/>
                <a:gd name="connsiteY1108" fmla="*/ 128078 h 349382"/>
                <a:gd name="connsiteX1109" fmla="*/ 1069495 w 2663946"/>
                <a:gd name="connsiteY1109" fmla="*/ 130241 h 349382"/>
                <a:gd name="connsiteX1110" fmla="*/ 1068266 w 2663946"/>
                <a:gd name="connsiteY1110" fmla="*/ 130512 h 349382"/>
                <a:gd name="connsiteX1111" fmla="*/ 1064087 w 2663946"/>
                <a:gd name="connsiteY1111" fmla="*/ 130512 h 349382"/>
                <a:gd name="connsiteX1112" fmla="*/ 1063841 w 2663946"/>
                <a:gd name="connsiteY1112" fmla="*/ 130512 h 349382"/>
                <a:gd name="connsiteX1113" fmla="*/ 1050814 w 2663946"/>
                <a:gd name="connsiteY1113" fmla="*/ 125645 h 349382"/>
                <a:gd name="connsiteX1114" fmla="*/ 1046144 w 2663946"/>
                <a:gd name="connsiteY1114" fmla="*/ 121589 h 349382"/>
                <a:gd name="connsiteX1115" fmla="*/ 1042948 w 2663946"/>
                <a:gd name="connsiteY1115" fmla="*/ 117804 h 349382"/>
                <a:gd name="connsiteX1116" fmla="*/ 1040736 w 2663946"/>
                <a:gd name="connsiteY1116" fmla="*/ 114289 h 349382"/>
                <a:gd name="connsiteX1117" fmla="*/ 1038524 w 2663946"/>
                <a:gd name="connsiteY1117" fmla="*/ 109963 h 349382"/>
                <a:gd name="connsiteX1118" fmla="*/ 1037295 w 2663946"/>
                <a:gd name="connsiteY1118" fmla="*/ 106988 h 349382"/>
                <a:gd name="connsiteX1119" fmla="*/ 1036311 w 2663946"/>
                <a:gd name="connsiteY1119" fmla="*/ 103744 h 349382"/>
                <a:gd name="connsiteX1120" fmla="*/ 1035082 w 2663946"/>
                <a:gd name="connsiteY1120" fmla="*/ 98066 h 349382"/>
                <a:gd name="connsiteX1121" fmla="*/ 1034837 w 2663946"/>
                <a:gd name="connsiteY1121" fmla="*/ 95092 h 349382"/>
                <a:gd name="connsiteX1122" fmla="*/ 1035082 w 2663946"/>
                <a:gd name="connsiteY1122" fmla="*/ 95362 h 349382"/>
                <a:gd name="connsiteX1123" fmla="*/ 1035082 w 2663946"/>
                <a:gd name="connsiteY1123" fmla="*/ 89684 h 349382"/>
                <a:gd name="connsiteX1124" fmla="*/ 1035082 w 2663946"/>
                <a:gd name="connsiteY1124" fmla="*/ 89414 h 349382"/>
                <a:gd name="connsiteX1125" fmla="*/ 1035574 w 2663946"/>
                <a:gd name="connsiteY1125" fmla="*/ 84817 h 349382"/>
                <a:gd name="connsiteX1126" fmla="*/ 1036803 w 2663946"/>
                <a:gd name="connsiteY1126" fmla="*/ 79410 h 349382"/>
                <a:gd name="connsiteX1127" fmla="*/ 1037786 w 2663946"/>
                <a:gd name="connsiteY1127" fmla="*/ 76165 h 349382"/>
                <a:gd name="connsiteX1128" fmla="*/ 1039998 w 2663946"/>
                <a:gd name="connsiteY1128" fmla="*/ 71028 h 349382"/>
                <a:gd name="connsiteX1129" fmla="*/ 1042211 w 2663946"/>
                <a:gd name="connsiteY1129" fmla="*/ 67243 h 349382"/>
                <a:gd name="connsiteX1130" fmla="*/ 1044423 w 2663946"/>
                <a:gd name="connsiteY1130" fmla="*/ 64268 h 349382"/>
                <a:gd name="connsiteX1131" fmla="*/ 1046635 w 2663946"/>
                <a:gd name="connsiteY1131" fmla="*/ 61835 h 349382"/>
                <a:gd name="connsiteX1132" fmla="*/ 1051305 w 2663946"/>
                <a:gd name="connsiteY1132" fmla="*/ 58050 h 349382"/>
                <a:gd name="connsiteX1133" fmla="*/ 1055238 w 2663946"/>
                <a:gd name="connsiteY1133" fmla="*/ 55887 h 349382"/>
                <a:gd name="connsiteX1134" fmla="*/ 1064825 w 2663946"/>
                <a:gd name="connsiteY1134" fmla="*/ 53453 h 349382"/>
                <a:gd name="connsiteX1135" fmla="*/ 897796 w 2663946"/>
                <a:gd name="connsiteY1135" fmla="*/ 53453 h 349382"/>
                <a:gd name="connsiteX1136" fmla="*/ 910086 w 2663946"/>
                <a:gd name="connsiteY1136" fmla="*/ 55616 h 349382"/>
                <a:gd name="connsiteX1137" fmla="*/ 917460 w 2663946"/>
                <a:gd name="connsiteY1137" fmla="*/ 60213 h 349382"/>
                <a:gd name="connsiteX1138" fmla="*/ 920901 w 2663946"/>
                <a:gd name="connsiteY1138" fmla="*/ 63457 h 349382"/>
                <a:gd name="connsiteX1139" fmla="*/ 924343 w 2663946"/>
                <a:gd name="connsiteY1139" fmla="*/ 67783 h 349382"/>
                <a:gd name="connsiteX1140" fmla="*/ 926309 w 2663946"/>
                <a:gd name="connsiteY1140" fmla="*/ 71298 h 349382"/>
                <a:gd name="connsiteX1141" fmla="*/ 928521 w 2663946"/>
                <a:gd name="connsiteY1141" fmla="*/ 76706 h 349382"/>
                <a:gd name="connsiteX1142" fmla="*/ 929504 w 2663946"/>
                <a:gd name="connsiteY1142" fmla="*/ 80221 h 349382"/>
                <a:gd name="connsiteX1143" fmla="*/ 930487 w 2663946"/>
                <a:gd name="connsiteY1143" fmla="*/ 85358 h 349382"/>
                <a:gd name="connsiteX1144" fmla="*/ 930242 w 2663946"/>
                <a:gd name="connsiteY1144" fmla="*/ 99688 h 349382"/>
                <a:gd name="connsiteX1145" fmla="*/ 929259 w 2663946"/>
                <a:gd name="connsiteY1145" fmla="*/ 104555 h 349382"/>
                <a:gd name="connsiteX1146" fmla="*/ 928029 w 2663946"/>
                <a:gd name="connsiteY1146" fmla="*/ 108340 h 349382"/>
                <a:gd name="connsiteX1147" fmla="*/ 927046 w 2663946"/>
                <a:gd name="connsiteY1147" fmla="*/ 110774 h 349382"/>
                <a:gd name="connsiteX1148" fmla="*/ 924834 w 2663946"/>
                <a:gd name="connsiteY1148" fmla="*/ 115100 h 349382"/>
                <a:gd name="connsiteX1149" fmla="*/ 922622 w 2663946"/>
                <a:gd name="connsiteY1149" fmla="*/ 118344 h 349382"/>
                <a:gd name="connsiteX1150" fmla="*/ 919181 w 2663946"/>
                <a:gd name="connsiteY1150" fmla="*/ 122130 h 349382"/>
                <a:gd name="connsiteX1151" fmla="*/ 915985 w 2663946"/>
                <a:gd name="connsiteY1151" fmla="*/ 124833 h 349382"/>
                <a:gd name="connsiteX1152" fmla="*/ 910332 w 2663946"/>
                <a:gd name="connsiteY1152" fmla="*/ 128078 h 349382"/>
                <a:gd name="connsiteX1153" fmla="*/ 902466 w 2663946"/>
                <a:gd name="connsiteY1153" fmla="*/ 130241 h 349382"/>
                <a:gd name="connsiteX1154" fmla="*/ 901237 w 2663946"/>
                <a:gd name="connsiteY1154" fmla="*/ 130512 h 349382"/>
                <a:gd name="connsiteX1155" fmla="*/ 897058 w 2663946"/>
                <a:gd name="connsiteY1155" fmla="*/ 130512 h 349382"/>
                <a:gd name="connsiteX1156" fmla="*/ 896812 w 2663946"/>
                <a:gd name="connsiteY1156" fmla="*/ 130512 h 349382"/>
                <a:gd name="connsiteX1157" fmla="*/ 883785 w 2663946"/>
                <a:gd name="connsiteY1157" fmla="*/ 125645 h 349382"/>
                <a:gd name="connsiteX1158" fmla="*/ 879115 w 2663946"/>
                <a:gd name="connsiteY1158" fmla="*/ 121589 h 349382"/>
                <a:gd name="connsiteX1159" fmla="*/ 875919 w 2663946"/>
                <a:gd name="connsiteY1159" fmla="*/ 117804 h 349382"/>
                <a:gd name="connsiteX1160" fmla="*/ 873707 w 2663946"/>
                <a:gd name="connsiteY1160" fmla="*/ 114289 h 349382"/>
                <a:gd name="connsiteX1161" fmla="*/ 871495 w 2663946"/>
                <a:gd name="connsiteY1161" fmla="*/ 109963 h 349382"/>
                <a:gd name="connsiteX1162" fmla="*/ 870266 w 2663946"/>
                <a:gd name="connsiteY1162" fmla="*/ 106988 h 349382"/>
                <a:gd name="connsiteX1163" fmla="*/ 869282 w 2663946"/>
                <a:gd name="connsiteY1163" fmla="*/ 103744 h 349382"/>
                <a:gd name="connsiteX1164" fmla="*/ 868053 w 2663946"/>
                <a:gd name="connsiteY1164" fmla="*/ 98066 h 349382"/>
                <a:gd name="connsiteX1165" fmla="*/ 867808 w 2663946"/>
                <a:gd name="connsiteY1165" fmla="*/ 95092 h 349382"/>
                <a:gd name="connsiteX1166" fmla="*/ 868053 w 2663946"/>
                <a:gd name="connsiteY1166" fmla="*/ 95362 h 349382"/>
                <a:gd name="connsiteX1167" fmla="*/ 868053 w 2663946"/>
                <a:gd name="connsiteY1167" fmla="*/ 89684 h 349382"/>
                <a:gd name="connsiteX1168" fmla="*/ 868053 w 2663946"/>
                <a:gd name="connsiteY1168" fmla="*/ 89414 h 349382"/>
                <a:gd name="connsiteX1169" fmla="*/ 868545 w 2663946"/>
                <a:gd name="connsiteY1169" fmla="*/ 84817 h 349382"/>
                <a:gd name="connsiteX1170" fmla="*/ 869774 w 2663946"/>
                <a:gd name="connsiteY1170" fmla="*/ 79410 h 349382"/>
                <a:gd name="connsiteX1171" fmla="*/ 870757 w 2663946"/>
                <a:gd name="connsiteY1171" fmla="*/ 76165 h 349382"/>
                <a:gd name="connsiteX1172" fmla="*/ 872969 w 2663946"/>
                <a:gd name="connsiteY1172" fmla="*/ 71028 h 349382"/>
                <a:gd name="connsiteX1173" fmla="*/ 875182 w 2663946"/>
                <a:gd name="connsiteY1173" fmla="*/ 67243 h 349382"/>
                <a:gd name="connsiteX1174" fmla="*/ 877394 w 2663946"/>
                <a:gd name="connsiteY1174" fmla="*/ 64268 h 349382"/>
                <a:gd name="connsiteX1175" fmla="*/ 879606 w 2663946"/>
                <a:gd name="connsiteY1175" fmla="*/ 61835 h 349382"/>
                <a:gd name="connsiteX1176" fmla="*/ 884276 w 2663946"/>
                <a:gd name="connsiteY1176" fmla="*/ 58050 h 349382"/>
                <a:gd name="connsiteX1177" fmla="*/ 888209 w 2663946"/>
                <a:gd name="connsiteY1177" fmla="*/ 55887 h 349382"/>
                <a:gd name="connsiteX1178" fmla="*/ 897796 w 2663946"/>
                <a:gd name="connsiteY1178" fmla="*/ 53453 h 349382"/>
                <a:gd name="connsiteX1179" fmla="*/ 548889 w 2663946"/>
                <a:gd name="connsiteY1179" fmla="*/ 53453 h 349382"/>
                <a:gd name="connsiteX1180" fmla="*/ 561180 w 2663946"/>
                <a:gd name="connsiteY1180" fmla="*/ 55616 h 349382"/>
                <a:gd name="connsiteX1181" fmla="*/ 568554 w 2663946"/>
                <a:gd name="connsiteY1181" fmla="*/ 60213 h 349382"/>
                <a:gd name="connsiteX1182" fmla="*/ 571995 w 2663946"/>
                <a:gd name="connsiteY1182" fmla="*/ 63457 h 349382"/>
                <a:gd name="connsiteX1183" fmla="*/ 575436 w 2663946"/>
                <a:gd name="connsiteY1183" fmla="*/ 67783 h 349382"/>
                <a:gd name="connsiteX1184" fmla="*/ 577403 w 2663946"/>
                <a:gd name="connsiteY1184" fmla="*/ 71298 h 349382"/>
                <a:gd name="connsiteX1185" fmla="*/ 579615 w 2663946"/>
                <a:gd name="connsiteY1185" fmla="*/ 76706 h 349382"/>
                <a:gd name="connsiteX1186" fmla="*/ 580598 w 2663946"/>
                <a:gd name="connsiteY1186" fmla="*/ 80221 h 349382"/>
                <a:gd name="connsiteX1187" fmla="*/ 581581 w 2663946"/>
                <a:gd name="connsiteY1187" fmla="*/ 85358 h 349382"/>
                <a:gd name="connsiteX1188" fmla="*/ 581336 w 2663946"/>
                <a:gd name="connsiteY1188" fmla="*/ 99688 h 349382"/>
                <a:gd name="connsiteX1189" fmla="*/ 580352 w 2663946"/>
                <a:gd name="connsiteY1189" fmla="*/ 104555 h 349382"/>
                <a:gd name="connsiteX1190" fmla="*/ 579123 w 2663946"/>
                <a:gd name="connsiteY1190" fmla="*/ 108340 h 349382"/>
                <a:gd name="connsiteX1191" fmla="*/ 578140 w 2663946"/>
                <a:gd name="connsiteY1191" fmla="*/ 110774 h 349382"/>
                <a:gd name="connsiteX1192" fmla="*/ 575928 w 2663946"/>
                <a:gd name="connsiteY1192" fmla="*/ 115100 h 349382"/>
                <a:gd name="connsiteX1193" fmla="*/ 573715 w 2663946"/>
                <a:gd name="connsiteY1193" fmla="*/ 118344 h 349382"/>
                <a:gd name="connsiteX1194" fmla="*/ 570274 w 2663946"/>
                <a:gd name="connsiteY1194" fmla="*/ 122130 h 349382"/>
                <a:gd name="connsiteX1195" fmla="*/ 567079 w 2663946"/>
                <a:gd name="connsiteY1195" fmla="*/ 124833 h 349382"/>
                <a:gd name="connsiteX1196" fmla="*/ 561425 w 2663946"/>
                <a:gd name="connsiteY1196" fmla="*/ 128078 h 349382"/>
                <a:gd name="connsiteX1197" fmla="*/ 553559 w 2663946"/>
                <a:gd name="connsiteY1197" fmla="*/ 130241 h 349382"/>
                <a:gd name="connsiteX1198" fmla="*/ 552331 w 2663946"/>
                <a:gd name="connsiteY1198" fmla="*/ 130512 h 349382"/>
                <a:gd name="connsiteX1199" fmla="*/ 548152 w 2663946"/>
                <a:gd name="connsiteY1199" fmla="*/ 130512 h 349382"/>
                <a:gd name="connsiteX1200" fmla="*/ 547906 w 2663946"/>
                <a:gd name="connsiteY1200" fmla="*/ 130512 h 349382"/>
                <a:gd name="connsiteX1201" fmla="*/ 534879 w 2663946"/>
                <a:gd name="connsiteY1201" fmla="*/ 125645 h 349382"/>
                <a:gd name="connsiteX1202" fmla="*/ 530208 w 2663946"/>
                <a:gd name="connsiteY1202" fmla="*/ 121589 h 349382"/>
                <a:gd name="connsiteX1203" fmla="*/ 527013 w 2663946"/>
                <a:gd name="connsiteY1203" fmla="*/ 117804 h 349382"/>
                <a:gd name="connsiteX1204" fmla="*/ 524801 w 2663946"/>
                <a:gd name="connsiteY1204" fmla="*/ 114289 h 349382"/>
                <a:gd name="connsiteX1205" fmla="*/ 522588 w 2663946"/>
                <a:gd name="connsiteY1205" fmla="*/ 109963 h 349382"/>
                <a:gd name="connsiteX1206" fmla="*/ 521359 w 2663946"/>
                <a:gd name="connsiteY1206" fmla="*/ 106988 h 349382"/>
                <a:gd name="connsiteX1207" fmla="*/ 520376 w 2663946"/>
                <a:gd name="connsiteY1207" fmla="*/ 103744 h 349382"/>
                <a:gd name="connsiteX1208" fmla="*/ 519147 w 2663946"/>
                <a:gd name="connsiteY1208" fmla="*/ 98066 h 349382"/>
                <a:gd name="connsiteX1209" fmla="*/ 518901 w 2663946"/>
                <a:gd name="connsiteY1209" fmla="*/ 95092 h 349382"/>
                <a:gd name="connsiteX1210" fmla="*/ 519147 w 2663946"/>
                <a:gd name="connsiteY1210" fmla="*/ 95362 h 349382"/>
                <a:gd name="connsiteX1211" fmla="*/ 519147 w 2663946"/>
                <a:gd name="connsiteY1211" fmla="*/ 89684 h 349382"/>
                <a:gd name="connsiteX1212" fmla="*/ 519147 w 2663946"/>
                <a:gd name="connsiteY1212" fmla="*/ 89414 h 349382"/>
                <a:gd name="connsiteX1213" fmla="*/ 519639 w 2663946"/>
                <a:gd name="connsiteY1213" fmla="*/ 84817 h 349382"/>
                <a:gd name="connsiteX1214" fmla="*/ 520868 w 2663946"/>
                <a:gd name="connsiteY1214" fmla="*/ 79410 h 349382"/>
                <a:gd name="connsiteX1215" fmla="*/ 521851 w 2663946"/>
                <a:gd name="connsiteY1215" fmla="*/ 76165 h 349382"/>
                <a:gd name="connsiteX1216" fmla="*/ 524063 w 2663946"/>
                <a:gd name="connsiteY1216" fmla="*/ 71028 h 349382"/>
                <a:gd name="connsiteX1217" fmla="*/ 526275 w 2663946"/>
                <a:gd name="connsiteY1217" fmla="*/ 67243 h 349382"/>
                <a:gd name="connsiteX1218" fmla="*/ 528488 w 2663946"/>
                <a:gd name="connsiteY1218" fmla="*/ 64268 h 349382"/>
                <a:gd name="connsiteX1219" fmla="*/ 530700 w 2663946"/>
                <a:gd name="connsiteY1219" fmla="*/ 61835 h 349382"/>
                <a:gd name="connsiteX1220" fmla="*/ 535370 w 2663946"/>
                <a:gd name="connsiteY1220" fmla="*/ 58050 h 349382"/>
                <a:gd name="connsiteX1221" fmla="*/ 539303 w 2663946"/>
                <a:gd name="connsiteY1221" fmla="*/ 55887 h 349382"/>
                <a:gd name="connsiteX1222" fmla="*/ 548889 w 2663946"/>
                <a:gd name="connsiteY1222" fmla="*/ 53453 h 349382"/>
                <a:gd name="connsiteX1223" fmla="*/ 366938 w 2663946"/>
                <a:gd name="connsiteY1223" fmla="*/ 53453 h 349382"/>
                <a:gd name="connsiteX1224" fmla="*/ 379228 w 2663946"/>
                <a:gd name="connsiteY1224" fmla="*/ 55616 h 349382"/>
                <a:gd name="connsiteX1225" fmla="*/ 386603 w 2663946"/>
                <a:gd name="connsiteY1225" fmla="*/ 60213 h 349382"/>
                <a:gd name="connsiteX1226" fmla="*/ 390044 w 2663946"/>
                <a:gd name="connsiteY1226" fmla="*/ 63457 h 349382"/>
                <a:gd name="connsiteX1227" fmla="*/ 393485 w 2663946"/>
                <a:gd name="connsiteY1227" fmla="*/ 67783 h 349382"/>
                <a:gd name="connsiteX1228" fmla="*/ 395452 w 2663946"/>
                <a:gd name="connsiteY1228" fmla="*/ 71298 h 349382"/>
                <a:gd name="connsiteX1229" fmla="*/ 397664 w 2663946"/>
                <a:gd name="connsiteY1229" fmla="*/ 76706 h 349382"/>
                <a:gd name="connsiteX1230" fmla="*/ 398647 w 2663946"/>
                <a:gd name="connsiteY1230" fmla="*/ 80221 h 349382"/>
                <a:gd name="connsiteX1231" fmla="*/ 399630 w 2663946"/>
                <a:gd name="connsiteY1231" fmla="*/ 85358 h 349382"/>
                <a:gd name="connsiteX1232" fmla="*/ 399384 w 2663946"/>
                <a:gd name="connsiteY1232" fmla="*/ 99688 h 349382"/>
                <a:gd name="connsiteX1233" fmla="*/ 398401 w 2663946"/>
                <a:gd name="connsiteY1233" fmla="*/ 104555 h 349382"/>
                <a:gd name="connsiteX1234" fmla="*/ 397172 w 2663946"/>
                <a:gd name="connsiteY1234" fmla="*/ 108340 h 349382"/>
                <a:gd name="connsiteX1235" fmla="*/ 396189 w 2663946"/>
                <a:gd name="connsiteY1235" fmla="*/ 110774 h 349382"/>
                <a:gd name="connsiteX1236" fmla="*/ 393977 w 2663946"/>
                <a:gd name="connsiteY1236" fmla="*/ 115100 h 349382"/>
                <a:gd name="connsiteX1237" fmla="*/ 391764 w 2663946"/>
                <a:gd name="connsiteY1237" fmla="*/ 118344 h 349382"/>
                <a:gd name="connsiteX1238" fmla="*/ 388323 w 2663946"/>
                <a:gd name="connsiteY1238" fmla="*/ 122130 h 349382"/>
                <a:gd name="connsiteX1239" fmla="*/ 385128 w 2663946"/>
                <a:gd name="connsiteY1239" fmla="*/ 124833 h 349382"/>
                <a:gd name="connsiteX1240" fmla="*/ 379474 w 2663946"/>
                <a:gd name="connsiteY1240" fmla="*/ 128078 h 349382"/>
                <a:gd name="connsiteX1241" fmla="*/ 371609 w 2663946"/>
                <a:gd name="connsiteY1241" fmla="*/ 130241 h 349382"/>
                <a:gd name="connsiteX1242" fmla="*/ 370380 w 2663946"/>
                <a:gd name="connsiteY1242" fmla="*/ 130512 h 349382"/>
                <a:gd name="connsiteX1243" fmla="*/ 366201 w 2663946"/>
                <a:gd name="connsiteY1243" fmla="*/ 130512 h 349382"/>
                <a:gd name="connsiteX1244" fmla="*/ 365955 w 2663946"/>
                <a:gd name="connsiteY1244" fmla="*/ 130512 h 349382"/>
                <a:gd name="connsiteX1245" fmla="*/ 352927 w 2663946"/>
                <a:gd name="connsiteY1245" fmla="*/ 125645 h 349382"/>
                <a:gd name="connsiteX1246" fmla="*/ 348257 w 2663946"/>
                <a:gd name="connsiteY1246" fmla="*/ 121589 h 349382"/>
                <a:gd name="connsiteX1247" fmla="*/ 345062 w 2663946"/>
                <a:gd name="connsiteY1247" fmla="*/ 117804 h 349382"/>
                <a:gd name="connsiteX1248" fmla="*/ 342850 w 2663946"/>
                <a:gd name="connsiteY1248" fmla="*/ 114289 h 349382"/>
                <a:gd name="connsiteX1249" fmla="*/ 340637 w 2663946"/>
                <a:gd name="connsiteY1249" fmla="*/ 109963 h 349382"/>
                <a:gd name="connsiteX1250" fmla="*/ 339408 w 2663946"/>
                <a:gd name="connsiteY1250" fmla="*/ 106988 h 349382"/>
                <a:gd name="connsiteX1251" fmla="*/ 338425 w 2663946"/>
                <a:gd name="connsiteY1251" fmla="*/ 103744 h 349382"/>
                <a:gd name="connsiteX1252" fmla="*/ 337196 w 2663946"/>
                <a:gd name="connsiteY1252" fmla="*/ 98066 h 349382"/>
                <a:gd name="connsiteX1253" fmla="*/ 336950 w 2663946"/>
                <a:gd name="connsiteY1253" fmla="*/ 95092 h 349382"/>
                <a:gd name="connsiteX1254" fmla="*/ 337196 w 2663946"/>
                <a:gd name="connsiteY1254" fmla="*/ 95362 h 349382"/>
                <a:gd name="connsiteX1255" fmla="*/ 337196 w 2663946"/>
                <a:gd name="connsiteY1255" fmla="*/ 89684 h 349382"/>
                <a:gd name="connsiteX1256" fmla="*/ 337196 w 2663946"/>
                <a:gd name="connsiteY1256" fmla="*/ 89414 h 349382"/>
                <a:gd name="connsiteX1257" fmla="*/ 337687 w 2663946"/>
                <a:gd name="connsiteY1257" fmla="*/ 84817 h 349382"/>
                <a:gd name="connsiteX1258" fmla="*/ 338917 w 2663946"/>
                <a:gd name="connsiteY1258" fmla="*/ 79410 h 349382"/>
                <a:gd name="connsiteX1259" fmla="*/ 339900 w 2663946"/>
                <a:gd name="connsiteY1259" fmla="*/ 76165 h 349382"/>
                <a:gd name="connsiteX1260" fmla="*/ 342112 w 2663946"/>
                <a:gd name="connsiteY1260" fmla="*/ 71028 h 349382"/>
                <a:gd name="connsiteX1261" fmla="*/ 344324 w 2663946"/>
                <a:gd name="connsiteY1261" fmla="*/ 67243 h 349382"/>
                <a:gd name="connsiteX1262" fmla="*/ 346536 w 2663946"/>
                <a:gd name="connsiteY1262" fmla="*/ 64268 h 349382"/>
                <a:gd name="connsiteX1263" fmla="*/ 348749 w 2663946"/>
                <a:gd name="connsiteY1263" fmla="*/ 61835 h 349382"/>
                <a:gd name="connsiteX1264" fmla="*/ 353419 w 2663946"/>
                <a:gd name="connsiteY1264" fmla="*/ 58050 h 349382"/>
                <a:gd name="connsiteX1265" fmla="*/ 357352 w 2663946"/>
                <a:gd name="connsiteY1265" fmla="*/ 55887 h 349382"/>
                <a:gd name="connsiteX1266" fmla="*/ 366938 w 2663946"/>
                <a:gd name="connsiteY1266" fmla="*/ 53453 h 349382"/>
                <a:gd name="connsiteX1267" fmla="*/ 123893 w 2663946"/>
                <a:gd name="connsiteY1267" fmla="*/ 53453 h 349382"/>
                <a:gd name="connsiteX1268" fmla="*/ 136183 w 2663946"/>
                <a:gd name="connsiteY1268" fmla="*/ 55616 h 349382"/>
                <a:gd name="connsiteX1269" fmla="*/ 143557 w 2663946"/>
                <a:gd name="connsiteY1269" fmla="*/ 60213 h 349382"/>
                <a:gd name="connsiteX1270" fmla="*/ 146998 w 2663946"/>
                <a:gd name="connsiteY1270" fmla="*/ 63457 h 349382"/>
                <a:gd name="connsiteX1271" fmla="*/ 150439 w 2663946"/>
                <a:gd name="connsiteY1271" fmla="*/ 67783 h 349382"/>
                <a:gd name="connsiteX1272" fmla="*/ 152406 w 2663946"/>
                <a:gd name="connsiteY1272" fmla="*/ 71298 h 349382"/>
                <a:gd name="connsiteX1273" fmla="*/ 154618 w 2663946"/>
                <a:gd name="connsiteY1273" fmla="*/ 76706 h 349382"/>
                <a:gd name="connsiteX1274" fmla="*/ 155601 w 2663946"/>
                <a:gd name="connsiteY1274" fmla="*/ 80221 h 349382"/>
                <a:gd name="connsiteX1275" fmla="*/ 156584 w 2663946"/>
                <a:gd name="connsiteY1275" fmla="*/ 85358 h 349382"/>
                <a:gd name="connsiteX1276" fmla="*/ 156339 w 2663946"/>
                <a:gd name="connsiteY1276" fmla="*/ 99688 h 349382"/>
                <a:gd name="connsiteX1277" fmla="*/ 155355 w 2663946"/>
                <a:gd name="connsiteY1277" fmla="*/ 104555 h 349382"/>
                <a:gd name="connsiteX1278" fmla="*/ 154126 w 2663946"/>
                <a:gd name="connsiteY1278" fmla="*/ 108340 h 349382"/>
                <a:gd name="connsiteX1279" fmla="*/ 153143 w 2663946"/>
                <a:gd name="connsiteY1279" fmla="*/ 110774 h 349382"/>
                <a:gd name="connsiteX1280" fmla="*/ 150931 w 2663946"/>
                <a:gd name="connsiteY1280" fmla="*/ 115100 h 349382"/>
                <a:gd name="connsiteX1281" fmla="*/ 148719 w 2663946"/>
                <a:gd name="connsiteY1281" fmla="*/ 118344 h 349382"/>
                <a:gd name="connsiteX1282" fmla="*/ 145277 w 2663946"/>
                <a:gd name="connsiteY1282" fmla="*/ 122130 h 349382"/>
                <a:gd name="connsiteX1283" fmla="*/ 142082 w 2663946"/>
                <a:gd name="connsiteY1283" fmla="*/ 124833 h 349382"/>
                <a:gd name="connsiteX1284" fmla="*/ 136428 w 2663946"/>
                <a:gd name="connsiteY1284" fmla="*/ 128078 h 349382"/>
                <a:gd name="connsiteX1285" fmla="*/ 128563 w 2663946"/>
                <a:gd name="connsiteY1285" fmla="*/ 130241 h 349382"/>
                <a:gd name="connsiteX1286" fmla="*/ 127334 w 2663946"/>
                <a:gd name="connsiteY1286" fmla="*/ 130512 h 349382"/>
                <a:gd name="connsiteX1287" fmla="*/ 123155 w 2663946"/>
                <a:gd name="connsiteY1287" fmla="*/ 130512 h 349382"/>
                <a:gd name="connsiteX1288" fmla="*/ 122909 w 2663946"/>
                <a:gd name="connsiteY1288" fmla="*/ 130512 h 349382"/>
                <a:gd name="connsiteX1289" fmla="*/ 109882 w 2663946"/>
                <a:gd name="connsiteY1289" fmla="*/ 125645 h 349382"/>
                <a:gd name="connsiteX1290" fmla="*/ 105211 w 2663946"/>
                <a:gd name="connsiteY1290" fmla="*/ 121589 h 349382"/>
                <a:gd name="connsiteX1291" fmla="*/ 102016 w 2663946"/>
                <a:gd name="connsiteY1291" fmla="*/ 117804 h 349382"/>
                <a:gd name="connsiteX1292" fmla="*/ 99804 w 2663946"/>
                <a:gd name="connsiteY1292" fmla="*/ 114289 h 349382"/>
                <a:gd name="connsiteX1293" fmla="*/ 97591 w 2663946"/>
                <a:gd name="connsiteY1293" fmla="*/ 109963 h 349382"/>
                <a:gd name="connsiteX1294" fmla="*/ 96362 w 2663946"/>
                <a:gd name="connsiteY1294" fmla="*/ 106988 h 349382"/>
                <a:gd name="connsiteX1295" fmla="*/ 95379 w 2663946"/>
                <a:gd name="connsiteY1295" fmla="*/ 103744 h 349382"/>
                <a:gd name="connsiteX1296" fmla="*/ 94150 w 2663946"/>
                <a:gd name="connsiteY1296" fmla="*/ 98066 h 349382"/>
                <a:gd name="connsiteX1297" fmla="*/ 93904 w 2663946"/>
                <a:gd name="connsiteY1297" fmla="*/ 95092 h 349382"/>
                <a:gd name="connsiteX1298" fmla="*/ 94150 w 2663946"/>
                <a:gd name="connsiteY1298" fmla="*/ 95362 h 349382"/>
                <a:gd name="connsiteX1299" fmla="*/ 94150 w 2663946"/>
                <a:gd name="connsiteY1299" fmla="*/ 89684 h 349382"/>
                <a:gd name="connsiteX1300" fmla="*/ 94150 w 2663946"/>
                <a:gd name="connsiteY1300" fmla="*/ 89414 h 349382"/>
                <a:gd name="connsiteX1301" fmla="*/ 94642 w 2663946"/>
                <a:gd name="connsiteY1301" fmla="*/ 84817 h 349382"/>
                <a:gd name="connsiteX1302" fmla="*/ 95871 w 2663946"/>
                <a:gd name="connsiteY1302" fmla="*/ 79410 h 349382"/>
                <a:gd name="connsiteX1303" fmla="*/ 96854 w 2663946"/>
                <a:gd name="connsiteY1303" fmla="*/ 76165 h 349382"/>
                <a:gd name="connsiteX1304" fmla="*/ 99066 w 2663946"/>
                <a:gd name="connsiteY1304" fmla="*/ 71028 h 349382"/>
                <a:gd name="connsiteX1305" fmla="*/ 101279 w 2663946"/>
                <a:gd name="connsiteY1305" fmla="*/ 67243 h 349382"/>
                <a:gd name="connsiteX1306" fmla="*/ 103491 w 2663946"/>
                <a:gd name="connsiteY1306" fmla="*/ 64268 h 349382"/>
                <a:gd name="connsiteX1307" fmla="*/ 105703 w 2663946"/>
                <a:gd name="connsiteY1307" fmla="*/ 61835 h 349382"/>
                <a:gd name="connsiteX1308" fmla="*/ 110373 w 2663946"/>
                <a:gd name="connsiteY1308" fmla="*/ 58050 h 349382"/>
                <a:gd name="connsiteX1309" fmla="*/ 114306 w 2663946"/>
                <a:gd name="connsiteY1309" fmla="*/ 55887 h 349382"/>
                <a:gd name="connsiteX1310" fmla="*/ 123893 w 2663946"/>
                <a:gd name="connsiteY1310" fmla="*/ 53453 h 349382"/>
                <a:gd name="connsiteX1311" fmla="*/ 33147 w 2663946"/>
                <a:gd name="connsiteY1311" fmla="*/ 52815 h 349382"/>
                <a:gd name="connsiteX1312" fmla="*/ 57942 w 2663946"/>
                <a:gd name="connsiteY1312" fmla="*/ 73024 h 349382"/>
                <a:gd name="connsiteX1313" fmla="*/ 58422 w 2663946"/>
                <a:gd name="connsiteY1313" fmla="*/ 77782 h 349382"/>
                <a:gd name="connsiteX1314" fmla="*/ 59840 w 2663946"/>
                <a:gd name="connsiteY1314" fmla="*/ 77782 h 349382"/>
                <a:gd name="connsiteX1315" fmla="*/ 66294 w 2663946"/>
                <a:gd name="connsiteY1315" fmla="*/ 84068 h 349382"/>
                <a:gd name="connsiteX1316" fmla="*/ 66294 w 2663946"/>
                <a:gd name="connsiteY1316" fmla="*/ 133790 h 349382"/>
                <a:gd name="connsiteX1317" fmla="*/ 59840 w 2663946"/>
                <a:gd name="connsiteY1317" fmla="*/ 140076 h 349382"/>
                <a:gd name="connsiteX1318" fmla="*/ 6453 w 2663946"/>
                <a:gd name="connsiteY1318" fmla="*/ 140076 h 349382"/>
                <a:gd name="connsiteX1319" fmla="*/ 0 w 2663946"/>
                <a:gd name="connsiteY1319" fmla="*/ 133790 h 349382"/>
                <a:gd name="connsiteX1320" fmla="*/ 0 w 2663946"/>
                <a:gd name="connsiteY1320" fmla="*/ 84068 h 349382"/>
                <a:gd name="connsiteX1321" fmla="*/ 6453 w 2663946"/>
                <a:gd name="connsiteY1321" fmla="*/ 77782 h 349382"/>
                <a:gd name="connsiteX1322" fmla="*/ 7288 w 2663946"/>
                <a:gd name="connsiteY1322" fmla="*/ 77782 h 349382"/>
                <a:gd name="connsiteX1323" fmla="*/ 7872 w 2663946"/>
                <a:gd name="connsiteY1323" fmla="*/ 77782 h 349382"/>
                <a:gd name="connsiteX1324" fmla="*/ 8351 w 2663946"/>
                <a:gd name="connsiteY1324" fmla="*/ 73024 h 349382"/>
                <a:gd name="connsiteX1325" fmla="*/ 33147 w 2663946"/>
                <a:gd name="connsiteY1325" fmla="*/ 52815 h 349382"/>
                <a:gd name="connsiteX1326" fmla="*/ 2537931 w 2663946"/>
                <a:gd name="connsiteY1326" fmla="*/ 45227 h 349382"/>
                <a:gd name="connsiteX1327" fmla="*/ 2562727 w 2663946"/>
                <a:gd name="connsiteY1327" fmla="*/ 65436 h 349382"/>
                <a:gd name="connsiteX1328" fmla="*/ 2563206 w 2663946"/>
                <a:gd name="connsiteY1328" fmla="*/ 70194 h 349382"/>
                <a:gd name="connsiteX1329" fmla="*/ 2564625 w 2663946"/>
                <a:gd name="connsiteY1329" fmla="*/ 70194 h 349382"/>
                <a:gd name="connsiteX1330" fmla="*/ 2571078 w 2663946"/>
                <a:gd name="connsiteY1330" fmla="*/ 76480 h 349382"/>
                <a:gd name="connsiteX1331" fmla="*/ 2571078 w 2663946"/>
                <a:gd name="connsiteY1331" fmla="*/ 126202 h 349382"/>
                <a:gd name="connsiteX1332" fmla="*/ 2564625 w 2663946"/>
                <a:gd name="connsiteY1332" fmla="*/ 132488 h 349382"/>
                <a:gd name="connsiteX1333" fmla="*/ 2511238 w 2663946"/>
                <a:gd name="connsiteY1333" fmla="*/ 132488 h 349382"/>
                <a:gd name="connsiteX1334" fmla="*/ 2504784 w 2663946"/>
                <a:gd name="connsiteY1334" fmla="*/ 126202 h 349382"/>
                <a:gd name="connsiteX1335" fmla="*/ 2504784 w 2663946"/>
                <a:gd name="connsiteY1335" fmla="*/ 76480 h 349382"/>
                <a:gd name="connsiteX1336" fmla="*/ 2511238 w 2663946"/>
                <a:gd name="connsiteY1336" fmla="*/ 70194 h 349382"/>
                <a:gd name="connsiteX1337" fmla="*/ 2512072 w 2663946"/>
                <a:gd name="connsiteY1337" fmla="*/ 70194 h 349382"/>
                <a:gd name="connsiteX1338" fmla="*/ 2512656 w 2663946"/>
                <a:gd name="connsiteY1338" fmla="*/ 70194 h 349382"/>
                <a:gd name="connsiteX1339" fmla="*/ 2513136 w 2663946"/>
                <a:gd name="connsiteY1339" fmla="*/ 65436 h 349382"/>
                <a:gd name="connsiteX1340" fmla="*/ 2537931 w 2663946"/>
                <a:gd name="connsiteY1340" fmla="*/ 45227 h 349382"/>
                <a:gd name="connsiteX1341" fmla="*/ 2112934 w 2663946"/>
                <a:gd name="connsiteY1341" fmla="*/ 45227 h 349382"/>
                <a:gd name="connsiteX1342" fmla="*/ 2137730 w 2663946"/>
                <a:gd name="connsiteY1342" fmla="*/ 65436 h 349382"/>
                <a:gd name="connsiteX1343" fmla="*/ 2138209 w 2663946"/>
                <a:gd name="connsiteY1343" fmla="*/ 70194 h 349382"/>
                <a:gd name="connsiteX1344" fmla="*/ 2139628 w 2663946"/>
                <a:gd name="connsiteY1344" fmla="*/ 70194 h 349382"/>
                <a:gd name="connsiteX1345" fmla="*/ 2146081 w 2663946"/>
                <a:gd name="connsiteY1345" fmla="*/ 76480 h 349382"/>
                <a:gd name="connsiteX1346" fmla="*/ 2146081 w 2663946"/>
                <a:gd name="connsiteY1346" fmla="*/ 126202 h 349382"/>
                <a:gd name="connsiteX1347" fmla="*/ 2139628 w 2663946"/>
                <a:gd name="connsiteY1347" fmla="*/ 132488 h 349382"/>
                <a:gd name="connsiteX1348" fmla="*/ 2086241 w 2663946"/>
                <a:gd name="connsiteY1348" fmla="*/ 132488 h 349382"/>
                <a:gd name="connsiteX1349" fmla="*/ 2079787 w 2663946"/>
                <a:gd name="connsiteY1349" fmla="*/ 126202 h 349382"/>
                <a:gd name="connsiteX1350" fmla="*/ 2079787 w 2663946"/>
                <a:gd name="connsiteY1350" fmla="*/ 76480 h 349382"/>
                <a:gd name="connsiteX1351" fmla="*/ 2086241 w 2663946"/>
                <a:gd name="connsiteY1351" fmla="*/ 70194 h 349382"/>
                <a:gd name="connsiteX1352" fmla="*/ 2087075 w 2663946"/>
                <a:gd name="connsiteY1352" fmla="*/ 70194 h 349382"/>
                <a:gd name="connsiteX1353" fmla="*/ 2087659 w 2663946"/>
                <a:gd name="connsiteY1353" fmla="*/ 70194 h 349382"/>
                <a:gd name="connsiteX1354" fmla="*/ 2088139 w 2663946"/>
                <a:gd name="connsiteY1354" fmla="*/ 65436 h 349382"/>
                <a:gd name="connsiteX1355" fmla="*/ 2112934 w 2663946"/>
                <a:gd name="connsiteY1355" fmla="*/ 45227 h 349382"/>
                <a:gd name="connsiteX1356" fmla="*/ 1854966 w 2663946"/>
                <a:gd name="connsiteY1356" fmla="*/ 45227 h 349382"/>
                <a:gd name="connsiteX1357" fmla="*/ 1879762 w 2663946"/>
                <a:gd name="connsiteY1357" fmla="*/ 65436 h 349382"/>
                <a:gd name="connsiteX1358" fmla="*/ 1880241 w 2663946"/>
                <a:gd name="connsiteY1358" fmla="*/ 70194 h 349382"/>
                <a:gd name="connsiteX1359" fmla="*/ 1881660 w 2663946"/>
                <a:gd name="connsiteY1359" fmla="*/ 70194 h 349382"/>
                <a:gd name="connsiteX1360" fmla="*/ 1888113 w 2663946"/>
                <a:gd name="connsiteY1360" fmla="*/ 76480 h 349382"/>
                <a:gd name="connsiteX1361" fmla="*/ 1888113 w 2663946"/>
                <a:gd name="connsiteY1361" fmla="*/ 126202 h 349382"/>
                <a:gd name="connsiteX1362" fmla="*/ 1881660 w 2663946"/>
                <a:gd name="connsiteY1362" fmla="*/ 132488 h 349382"/>
                <a:gd name="connsiteX1363" fmla="*/ 1828273 w 2663946"/>
                <a:gd name="connsiteY1363" fmla="*/ 132488 h 349382"/>
                <a:gd name="connsiteX1364" fmla="*/ 1821819 w 2663946"/>
                <a:gd name="connsiteY1364" fmla="*/ 126202 h 349382"/>
                <a:gd name="connsiteX1365" fmla="*/ 1821819 w 2663946"/>
                <a:gd name="connsiteY1365" fmla="*/ 76480 h 349382"/>
                <a:gd name="connsiteX1366" fmla="*/ 1828273 w 2663946"/>
                <a:gd name="connsiteY1366" fmla="*/ 70194 h 349382"/>
                <a:gd name="connsiteX1367" fmla="*/ 1829107 w 2663946"/>
                <a:gd name="connsiteY1367" fmla="*/ 70194 h 349382"/>
                <a:gd name="connsiteX1368" fmla="*/ 1829691 w 2663946"/>
                <a:gd name="connsiteY1368" fmla="*/ 70194 h 349382"/>
                <a:gd name="connsiteX1369" fmla="*/ 1830171 w 2663946"/>
                <a:gd name="connsiteY1369" fmla="*/ 65436 h 349382"/>
                <a:gd name="connsiteX1370" fmla="*/ 1854966 w 2663946"/>
                <a:gd name="connsiteY1370" fmla="*/ 45227 h 349382"/>
                <a:gd name="connsiteX1371" fmla="*/ 1764027 w 2663946"/>
                <a:gd name="connsiteY1371" fmla="*/ 45227 h 349382"/>
                <a:gd name="connsiteX1372" fmla="*/ 1788823 w 2663946"/>
                <a:gd name="connsiteY1372" fmla="*/ 65436 h 349382"/>
                <a:gd name="connsiteX1373" fmla="*/ 1789302 w 2663946"/>
                <a:gd name="connsiteY1373" fmla="*/ 70194 h 349382"/>
                <a:gd name="connsiteX1374" fmla="*/ 1790721 w 2663946"/>
                <a:gd name="connsiteY1374" fmla="*/ 70194 h 349382"/>
                <a:gd name="connsiteX1375" fmla="*/ 1797174 w 2663946"/>
                <a:gd name="connsiteY1375" fmla="*/ 76480 h 349382"/>
                <a:gd name="connsiteX1376" fmla="*/ 1797174 w 2663946"/>
                <a:gd name="connsiteY1376" fmla="*/ 126202 h 349382"/>
                <a:gd name="connsiteX1377" fmla="*/ 1790721 w 2663946"/>
                <a:gd name="connsiteY1377" fmla="*/ 132488 h 349382"/>
                <a:gd name="connsiteX1378" fmla="*/ 1737333 w 2663946"/>
                <a:gd name="connsiteY1378" fmla="*/ 132488 h 349382"/>
                <a:gd name="connsiteX1379" fmla="*/ 1730880 w 2663946"/>
                <a:gd name="connsiteY1379" fmla="*/ 126202 h 349382"/>
                <a:gd name="connsiteX1380" fmla="*/ 1730880 w 2663946"/>
                <a:gd name="connsiteY1380" fmla="*/ 76480 h 349382"/>
                <a:gd name="connsiteX1381" fmla="*/ 1737333 w 2663946"/>
                <a:gd name="connsiteY1381" fmla="*/ 70194 h 349382"/>
                <a:gd name="connsiteX1382" fmla="*/ 1738168 w 2663946"/>
                <a:gd name="connsiteY1382" fmla="*/ 70194 h 349382"/>
                <a:gd name="connsiteX1383" fmla="*/ 1738752 w 2663946"/>
                <a:gd name="connsiteY1383" fmla="*/ 70194 h 349382"/>
                <a:gd name="connsiteX1384" fmla="*/ 1739232 w 2663946"/>
                <a:gd name="connsiteY1384" fmla="*/ 65436 h 349382"/>
                <a:gd name="connsiteX1385" fmla="*/ 1764027 w 2663946"/>
                <a:gd name="connsiteY1385" fmla="*/ 45227 h 349382"/>
                <a:gd name="connsiteX1386" fmla="*/ 1506059 w 2663946"/>
                <a:gd name="connsiteY1386" fmla="*/ 45227 h 349382"/>
                <a:gd name="connsiteX1387" fmla="*/ 1530855 w 2663946"/>
                <a:gd name="connsiteY1387" fmla="*/ 65436 h 349382"/>
                <a:gd name="connsiteX1388" fmla="*/ 1531334 w 2663946"/>
                <a:gd name="connsiteY1388" fmla="*/ 70194 h 349382"/>
                <a:gd name="connsiteX1389" fmla="*/ 1532753 w 2663946"/>
                <a:gd name="connsiteY1389" fmla="*/ 70194 h 349382"/>
                <a:gd name="connsiteX1390" fmla="*/ 1539206 w 2663946"/>
                <a:gd name="connsiteY1390" fmla="*/ 76480 h 349382"/>
                <a:gd name="connsiteX1391" fmla="*/ 1539206 w 2663946"/>
                <a:gd name="connsiteY1391" fmla="*/ 126202 h 349382"/>
                <a:gd name="connsiteX1392" fmla="*/ 1532753 w 2663946"/>
                <a:gd name="connsiteY1392" fmla="*/ 132488 h 349382"/>
                <a:gd name="connsiteX1393" fmla="*/ 1479365 w 2663946"/>
                <a:gd name="connsiteY1393" fmla="*/ 132488 h 349382"/>
                <a:gd name="connsiteX1394" fmla="*/ 1472912 w 2663946"/>
                <a:gd name="connsiteY1394" fmla="*/ 126202 h 349382"/>
                <a:gd name="connsiteX1395" fmla="*/ 1472912 w 2663946"/>
                <a:gd name="connsiteY1395" fmla="*/ 76480 h 349382"/>
                <a:gd name="connsiteX1396" fmla="*/ 1479365 w 2663946"/>
                <a:gd name="connsiteY1396" fmla="*/ 70194 h 349382"/>
                <a:gd name="connsiteX1397" fmla="*/ 1480200 w 2663946"/>
                <a:gd name="connsiteY1397" fmla="*/ 70194 h 349382"/>
                <a:gd name="connsiteX1398" fmla="*/ 1480784 w 2663946"/>
                <a:gd name="connsiteY1398" fmla="*/ 70194 h 349382"/>
                <a:gd name="connsiteX1399" fmla="*/ 1481264 w 2663946"/>
                <a:gd name="connsiteY1399" fmla="*/ 65436 h 349382"/>
                <a:gd name="connsiteX1400" fmla="*/ 1506059 w 2663946"/>
                <a:gd name="connsiteY1400" fmla="*/ 45227 h 349382"/>
                <a:gd name="connsiteX1401" fmla="*/ 1415120 w 2663946"/>
                <a:gd name="connsiteY1401" fmla="*/ 45227 h 349382"/>
                <a:gd name="connsiteX1402" fmla="*/ 1439916 w 2663946"/>
                <a:gd name="connsiteY1402" fmla="*/ 65436 h 349382"/>
                <a:gd name="connsiteX1403" fmla="*/ 1440395 w 2663946"/>
                <a:gd name="connsiteY1403" fmla="*/ 70194 h 349382"/>
                <a:gd name="connsiteX1404" fmla="*/ 1441814 w 2663946"/>
                <a:gd name="connsiteY1404" fmla="*/ 70194 h 349382"/>
                <a:gd name="connsiteX1405" fmla="*/ 1448267 w 2663946"/>
                <a:gd name="connsiteY1405" fmla="*/ 76480 h 349382"/>
                <a:gd name="connsiteX1406" fmla="*/ 1448267 w 2663946"/>
                <a:gd name="connsiteY1406" fmla="*/ 126202 h 349382"/>
                <a:gd name="connsiteX1407" fmla="*/ 1441814 w 2663946"/>
                <a:gd name="connsiteY1407" fmla="*/ 132488 h 349382"/>
                <a:gd name="connsiteX1408" fmla="*/ 1388426 w 2663946"/>
                <a:gd name="connsiteY1408" fmla="*/ 132488 h 349382"/>
                <a:gd name="connsiteX1409" fmla="*/ 1381973 w 2663946"/>
                <a:gd name="connsiteY1409" fmla="*/ 126202 h 349382"/>
                <a:gd name="connsiteX1410" fmla="*/ 1381973 w 2663946"/>
                <a:gd name="connsiteY1410" fmla="*/ 76480 h 349382"/>
                <a:gd name="connsiteX1411" fmla="*/ 1388426 w 2663946"/>
                <a:gd name="connsiteY1411" fmla="*/ 70194 h 349382"/>
                <a:gd name="connsiteX1412" fmla="*/ 1389261 w 2663946"/>
                <a:gd name="connsiteY1412" fmla="*/ 70194 h 349382"/>
                <a:gd name="connsiteX1413" fmla="*/ 1389845 w 2663946"/>
                <a:gd name="connsiteY1413" fmla="*/ 70194 h 349382"/>
                <a:gd name="connsiteX1414" fmla="*/ 1390325 w 2663946"/>
                <a:gd name="connsiteY1414" fmla="*/ 65436 h 349382"/>
                <a:gd name="connsiteX1415" fmla="*/ 1415120 w 2663946"/>
                <a:gd name="connsiteY1415" fmla="*/ 45227 h 349382"/>
                <a:gd name="connsiteX1416" fmla="*/ 1157152 w 2663946"/>
                <a:gd name="connsiteY1416" fmla="*/ 45227 h 349382"/>
                <a:gd name="connsiteX1417" fmla="*/ 1181948 w 2663946"/>
                <a:gd name="connsiteY1417" fmla="*/ 65436 h 349382"/>
                <a:gd name="connsiteX1418" fmla="*/ 1182427 w 2663946"/>
                <a:gd name="connsiteY1418" fmla="*/ 70194 h 349382"/>
                <a:gd name="connsiteX1419" fmla="*/ 1183846 w 2663946"/>
                <a:gd name="connsiteY1419" fmla="*/ 70194 h 349382"/>
                <a:gd name="connsiteX1420" fmla="*/ 1190299 w 2663946"/>
                <a:gd name="connsiteY1420" fmla="*/ 76480 h 349382"/>
                <a:gd name="connsiteX1421" fmla="*/ 1190299 w 2663946"/>
                <a:gd name="connsiteY1421" fmla="*/ 126202 h 349382"/>
                <a:gd name="connsiteX1422" fmla="*/ 1183846 w 2663946"/>
                <a:gd name="connsiteY1422" fmla="*/ 132488 h 349382"/>
                <a:gd name="connsiteX1423" fmla="*/ 1130458 w 2663946"/>
                <a:gd name="connsiteY1423" fmla="*/ 132488 h 349382"/>
                <a:gd name="connsiteX1424" fmla="*/ 1124005 w 2663946"/>
                <a:gd name="connsiteY1424" fmla="*/ 126202 h 349382"/>
                <a:gd name="connsiteX1425" fmla="*/ 1124005 w 2663946"/>
                <a:gd name="connsiteY1425" fmla="*/ 76480 h 349382"/>
                <a:gd name="connsiteX1426" fmla="*/ 1130458 w 2663946"/>
                <a:gd name="connsiteY1426" fmla="*/ 70194 h 349382"/>
                <a:gd name="connsiteX1427" fmla="*/ 1131293 w 2663946"/>
                <a:gd name="connsiteY1427" fmla="*/ 70194 h 349382"/>
                <a:gd name="connsiteX1428" fmla="*/ 1131877 w 2663946"/>
                <a:gd name="connsiteY1428" fmla="*/ 70194 h 349382"/>
                <a:gd name="connsiteX1429" fmla="*/ 1132357 w 2663946"/>
                <a:gd name="connsiteY1429" fmla="*/ 65436 h 349382"/>
                <a:gd name="connsiteX1430" fmla="*/ 1157152 w 2663946"/>
                <a:gd name="connsiteY1430" fmla="*/ 45227 h 349382"/>
                <a:gd name="connsiteX1431" fmla="*/ 732156 w 2663946"/>
                <a:gd name="connsiteY1431" fmla="*/ 45227 h 349382"/>
                <a:gd name="connsiteX1432" fmla="*/ 756951 w 2663946"/>
                <a:gd name="connsiteY1432" fmla="*/ 65436 h 349382"/>
                <a:gd name="connsiteX1433" fmla="*/ 757431 w 2663946"/>
                <a:gd name="connsiteY1433" fmla="*/ 70194 h 349382"/>
                <a:gd name="connsiteX1434" fmla="*/ 758849 w 2663946"/>
                <a:gd name="connsiteY1434" fmla="*/ 70194 h 349382"/>
                <a:gd name="connsiteX1435" fmla="*/ 765303 w 2663946"/>
                <a:gd name="connsiteY1435" fmla="*/ 76480 h 349382"/>
                <a:gd name="connsiteX1436" fmla="*/ 765303 w 2663946"/>
                <a:gd name="connsiteY1436" fmla="*/ 126202 h 349382"/>
                <a:gd name="connsiteX1437" fmla="*/ 758849 w 2663946"/>
                <a:gd name="connsiteY1437" fmla="*/ 132488 h 349382"/>
                <a:gd name="connsiteX1438" fmla="*/ 705462 w 2663946"/>
                <a:gd name="connsiteY1438" fmla="*/ 132488 h 349382"/>
                <a:gd name="connsiteX1439" fmla="*/ 699009 w 2663946"/>
                <a:gd name="connsiteY1439" fmla="*/ 126202 h 349382"/>
                <a:gd name="connsiteX1440" fmla="*/ 699009 w 2663946"/>
                <a:gd name="connsiteY1440" fmla="*/ 76480 h 349382"/>
                <a:gd name="connsiteX1441" fmla="*/ 705462 w 2663946"/>
                <a:gd name="connsiteY1441" fmla="*/ 70194 h 349382"/>
                <a:gd name="connsiteX1442" fmla="*/ 706296 w 2663946"/>
                <a:gd name="connsiteY1442" fmla="*/ 70194 h 349382"/>
                <a:gd name="connsiteX1443" fmla="*/ 706881 w 2663946"/>
                <a:gd name="connsiteY1443" fmla="*/ 70194 h 349382"/>
                <a:gd name="connsiteX1444" fmla="*/ 707360 w 2663946"/>
                <a:gd name="connsiteY1444" fmla="*/ 65436 h 349382"/>
                <a:gd name="connsiteX1445" fmla="*/ 732156 w 2663946"/>
                <a:gd name="connsiteY1445" fmla="*/ 45227 h 349382"/>
                <a:gd name="connsiteX1446" fmla="*/ 641217 w 2663946"/>
                <a:gd name="connsiteY1446" fmla="*/ 45227 h 349382"/>
                <a:gd name="connsiteX1447" fmla="*/ 666012 w 2663946"/>
                <a:gd name="connsiteY1447" fmla="*/ 65436 h 349382"/>
                <a:gd name="connsiteX1448" fmla="*/ 666492 w 2663946"/>
                <a:gd name="connsiteY1448" fmla="*/ 70194 h 349382"/>
                <a:gd name="connsiteX1449" fmla="*/ 667910 w 2663946"/>
                <a:gd name="connsiteY1449" fmla="*/ 70194 h 349382"/>
                <a:gd name="connsiteX1450" fmla="*/ 674364 w 2663946"/>
                <a:gd name="connsiteY1450" fmla="*/ 76480 h 349382"/>
                <a:gd name="connsiteX1451" fmla="*/ 674364 w 2663946"/>
                <a:gd name="connsiteY1451" fmla="*/ 126202 h 349382"/>
                <a:gd name="connsiteX1452" fmla="*/ 667910 w 2663946"/>
                <a:gd name="connsiteY1452" fmla="*/ 132488 h 349382"/>
                <a:gd name="connsiteX1453" fmla="*/ 614523 w 2663946"/>
                <a:gd name="connsiteY1453" fmla="*/ 132488 h 349382"/>
                <a:gd name="connsiteX1454" fmla="*/ 608070 w 2663946"/>
                <a:gd name="connsiteY1454" fmla="*/ 126202 h 349382"/>
                <a:gd name="connsiteX1455" fmla="*/ 608070 w 2663946"/>
                <a:gd name="connsiteY1455" fmla="*/ 76480 h 349382"/>
                <a:gd name="connsiteX1456" fmla="*/ 614523 w 2663946"/>
                <a:gd name="connsiteY1456" fmla="*/ 70194 h 349382"/>
                <a:gd name="connsiteX1457" fmla="*/ 615358 w 2663946"/>
                <a:gd name="connsiteY1457" fmla="*/ 70194 h 349382"/>
                <a:gd name="connsiteX1458" fmla="*/ 615942 w 2663946"/>
                <a:gd name="connsiteY1458" fmla="*/ 70194 h 349382"/>
                <a:gd name="connsiteX1459" fmla="*/ 616422 w 2663946"/>
                <a:gd name="connsiteY1459" fmla="*/ 65436 h 349382"/>
                <a:gd name="connsiteX1460" fmla="*/ 641217 w 2663946"/>
                <a:gd name="connsiteY1460" fmla="*/ 45227 h 349382"/>
                <a:gd name="connsiteX1461" fmla="*/ 459266 w 2663946"/>
                <a:gd name="connsiteY1461" fmla="*/ 45227 h 349382"/>
                <a:gd name="connsiteX1462" fmla="*/ 484061 w 2663946"/>
                <a:gd name="connsiteY1462" fmla="*/ 65436 h 349382"/>
                <a:gd name="connsiteX1463" fmla="*/ 484541 w 2663946"/>
                <a:gd name="connsiteY1463" fmla="*/ 70194 h 349382"/>
                <a:gd name="connsiteX1464" fmla="*/ 485959 w 2663946"/>
                <a:gd name="connsiteY1464" fmla="*/ 70194 h 349382"/>
                <a:gd name="connsiteX1465" fmla="*/ 492413 w 2663946"/>
                <a:gd name="connsiteY1465" fmla="*/ 76480 h 349382"/>
                <a:gd name="connsiteX1466" fmla="*/ 492413 w 2663946"/>
                <a:gd name="connsiteY1466" fmla="*/ 126202 h 349382"/>
                <a:gd name="connsiteX1467" fmla="*/ 485959 w 2663946"/>
                <a:gd name="connsiteY1467" fmla="*/ 132488 h 349382"/>
                <a:gd name="connsiteX1468" fmla="*/ 432572 w 2663946"/>
                <a:gd name="connsiteY1468" fmla="*/ 132488 h 349382"/>
                <a:gd name="connsiteX1469" fmla="*/ 426119 w 2663946"/>
                <a:gd name="connsiteY1469" fmla="*/ 126202 h 349382"/>
                <a:gd name="connsiteX1470" fmla="*/ 426119 w 2663946"/>
                <a:gd name="connsiteY1470" fmla="*/ 76480 h 349382"/>
                <a:gd name="connsiteX1471" fmla="*/ 432572 w 2663946"/>
                <a:gd name="connsiteY1471" fmla="*/ 70194 h 349382"/>
                <a:gd name="connsiteX1472" fmla="*/ 433406 w 2663946"/>
                <a:gd name="connsiteY1472" fmla="*/ 70194 h 349382"/>
                <a:gd name="connsiteX1473" fmla="*/ 433991 w 2663946"/>
                <a:gd name="connsiteY1473" fmla="*/ 70194 h 349382"/>
                <a:gd name="connsiteX1474" fmla="*/ 434470 w 2663946"/>
                <a:gd name="connsiteY1474" fmla="*/ 65436 h 349382"/>
                <a:gd name="connsiteX1475" fmla="*/ 459266 w 2663946"/>
                <a:gd name="connsiteY1475" fmla="*/ 45227 h 349382"/>
                <a:gd name="connsiteX1476" fmla="*/ 15475 w 2663946"/>
                <a:gd name="connsiteY1476" fmla="*/ 17002 h 349382"/>
                <a:gd name="connsiteX1477" fmla="*/ 40350 w 2663946"/>
                <a:gd name="connsiteY1477" fmla="*/ 1050 h 349382"/>
                <a:gd name="connsiteX1478" fmla="*/ 40891 w 2663946"/>
                <a:gd name="connsiteY1478" fmla="*/ 1590 h 349382"/>
                <a:gd name="connsiteX1479" fmla="*/ 48191 w 2663946"/>
                <a:gd name="connsiteY1479" fmla="*/ 1590 h 349382"/>
                <a:gd name="connsiteX1480" fmla="*/ 16016 w 2663946"/>
                <a:gd name="connsiteY1480" fmla="*/ 17002 h 349382"/>
                <a:gd name="connsiteX1481" fmla="*/ 15475 w 2663946"/>
                <a:gd name="connsiteY1481" fmla="*/ 17002 h 349382"/>
                <a:gd name="connsiteX0" fmla="*/ 2632966 w 2663946"/>
                <a:gd name="connsiteY0" fmla="*/ 288933 h 350039"/>
                <a:gd name="connsiteX1" fmla="*/ 2621414 w 2663946"/>
                <a:gd name="connsiteY1" fmla="*/ 291366 h 350039"/>
                <a:gd name="connsiteX2" fmla="*/ 2618218 w 2663946"/>
                <a:gd name="connsiteY2" fmla="*/ 294881 h 350039"/>
                <a:gd name="connsiteX3" fmla="*/ 2616006 w 2663946"/>
                <a:gd name="connsiteY3" fmla="*/ 298666 h 350039"/>
                <a:gd name="connsiteX4" fmla="*/ 2615023 w 2663946"/>
                <a:gd name="connsiteY4" fmla="*/ 301370 h 350039"/>
                <a:gd name="connsiteX5" fmla="*/ 2614039 w 2663946"/>
                <a:gd name="connsiteY5" fmla="*/ 305426 h 350039"/>
                <a:gd name="connsiteX6" fmla="*/ 2613056 w 2663946"/>
                <a:gd name="connsiteY6" fmla="*/ 312456 h 350039"/>
                <a:gd name="connsiteX7" fmla="*/ 2614039 w 2663946"/>
                <a:gd name="connsiteY7" fmla="*/ 319756 h 350039"/>
                <a:gd name="connsiteX8" fmla="*/ 2615269 w 2663946"/>
                <a:gd name="connsiteY8" fmla="*/ 323541 h 350039"/>
                <a:gd name="connsiteX9" fmla="*/ 2617481 w 2663946"/>
                <a:gd name="connsiteY9" fmla="*/ 327867 h 350039"/>
                <a:gd name="connsiteX10" fmla="*/ 2620922 w 2663946"/>
                <a:gd name="connsiteY10" fmla="*/ 332194 h 350039"/>
                <a:gd name="connsiteX11" fmla="*/ 2625346 w 2663946"/>
                <a:gd name="connsiteY11" fmla="*/ 334897 h 350039"/>
                <a:gd name="connsiteX12" fmla="*/ 2637637 w 2663946"/>
                <a:gd name="connsiteY12" fmla="*/ 332464 h 350039"/>
                <a:gd name="connsiteX13" fmla="*/ 2640832 w 2663946"/>
                <a:gd name="connsiteY13" fmla="*/ 328949 h 350039"/>
                <a:gd name="connsiteX14" fmla="*/ 2643290 w 2663946"/>
                <a:gd name="connsiteY14" fmla="*/ 324623 h 350039"/>
                <a:gd name="connsiteX15" fmla="*/ 2644273 w 2663946"/>
                <a:gd name="connsiteY15" fmla="*/ 322460 h 350039"/>
                <a:gd name="connsiteX16" fmla="*/ 2645502 w 2663946"/>
                <a:gd name="connsiteY16" fmla="*/ 318134 h 350039"/>
                <a:gd name="connsiteX17" fmla="*/ 2645011 w 2663946"/>
                <a:gd name="connsiteY17" fmla="*/ 304344 h 350039"/>
                <a:gd name="connsiteX18" fmla="*/ 2644027 w 2663946"/>
                <a:gd name="connsiteY18" fmla="*/ 301370 h 350039"/>
                <a:gd name="connsiteX19" fmla="*/ 2642799 w 2663946"/>
                <a:gd name="connsiteY19" fmla="*/ 298396 h 350039"/>
                <a:gd name="connsiteX20" fmla="*/ 2640586 w 2663946"/>
                <a:gd name="connsiteY20" fmla="*/ 294881 h 350039"/>
                <a:gd name="connsiteX21" fmla="*/ 2636899 w 2663946"/>
                <a:gd name="connsiteY21" fmla="*/ 291096 h 350039"/>
                <a:gd name="connsiteX22" fmla="*/ 2632966 w 2663946"/>
                <a:gd name="connsiteY22" fmla="*/ 288933 h 350039"/>
                <a:gd name="connsiteX23" fmla="*/ 2627559 w 2663946"/>
                <a:gd name="connsiteY23" fmla="*/ 272980 h 350039"/>
                <a:gd name="connsiteX24" fmla="*/ 2639849 w 2663946"/>
                <a:gd name="connsiteY24" fmla="*/ 275143 h 350039"/>
                <a:gd name="connsiteX25" fmla="*/ 2647223 w 2663946"/>
                <a:gd name="connsiteY25" fmla="*/ 279740 h 350039"/>
                <a:gd name="connsiteX26" fmla="*/ 2650664 w 2663946"/>
                <a:gd name="connsiteY26" fmla="*/ 282984 h 350039"/>
                <a:gd name="connsiteX27" fmla="*/ 2654106 w 2663946"/>
                <a:gd name="connsiteY27" fmla="*/ 287310 h 350039"/>
                <a:gd name="connsiteX28" fmla="*/ 2656072 w 2663946"/>
                <a:gd name="connsiteY28" fmla="*/ 290825 h 350039"/>
                <a:gd name="connsiteX29" fmla="*/ 2658284 w 2663946"/>
                <a:gd name="connsiteY29" fmla="*/ 296233 h 350039"/>
                <a:gd name="connsiteX30" fmla="*/ 2659267 w 2663946"/>
                <a:gd name="connsiteY30" fmla="*/ 299748 h 350039"/>
                <a:gd name="connsiteX31" fmla="*/ 2660251 w 2663946"/>
                <a:gd name="connsiteY31" fmla="*/ 304885 h 350039"/>
                <a:gd name="connsiteX32" fmla="*/ 2660005 w 2663946"/>
                <a:gd name="connsiteY32" fmla="*/ 319215 h 350039"/>
                <a:gd name="connsiteX33" fmla="*/ 2659022 w 2663946"/>
                <a:gd name="connsiteY33" fmla="*/ 324082 h 350039"/>
                <a:gd name="connsiteX34" fmla="*/ 2657792 w 2663946"/>
                <a:gd name="connsiteY34" fmla="*/ 327867 h 350039"/>
                <a:gd name="connsiteX35" fmla="*/ 2656809 w 2663946"/>
                <a:gd name="connsiteY35" fmla="*/ 330301 h 350039"/>
                <a:gd name="connsiteX36" fmla="*/ 2654597 w 2663946"/>
                <a:gd name="connsiteY36" fmla="*/ 334627 h 350039"/>
                <a:gd name="connsiteX37" fmla="*/ 2652385 w 2663946"/>
                <a:gd name="connsiteY37" fmla="*/ 337871 h 350039"/>
                <a:gd name="connsiteX38" fmla="*/ 2648944 w 2663946"/>
                <a:gd name="connsiteY38" fmla="*/ 341657 h 350039"/>
                <a:gd name="connsiteX39" fmla="*/ 2645748 w 2663946"/>
                <a:gd name="connsiteY39" fmla="*/ 344360 h 350039"/>
                <a:gd name="connsiteX40" fmla="*/ 2640095 w 2663946"/>
                <a:gd name="connsiteY40" fmla="*/ 347605 h 350039"/>
                <a:gd name="connsiteX41" fmla="*/ 2632229 w 2663946"/>
                <a:gd name="connsiteY41" fmla="*/ 349768 h 350039"/>
                <a:gd name="connsiteX42" fmla="*/ 2631000 w 2663946"/>
                <a:gd name="connsiteY42" fmla="*/ 350039 h 350039"/>
                <a:gd name="connsiteX43" fmla="*/ 2626821 w 2663946"/>
                <a:gd name="connsiteY43" fmla="*/ 350039 h 350039"/>
                <a:gd name="connsiteX44" fmla="*/ 2626576 w 2663946"/>
                <a:gd name="connsiteY44" fmla="*/ 350039 h 350039"/>
                <a:gd name="connsiteX45" fmla="*/ 2613548 w 2663946"/>
                <a:gd name="connsiteY45" fmla="*/ 345172 h 350039"/>
                <a:gd name="connsiteX46" fmla="*/ 2608878 w 2663946"/>
                <a:gd name="connsiteY46" fmla="*/ 341116 h 350039"/>
                <a:gd name="connsiteX47" fmla="*/ 2605682 w 2663946"/>
                <a:gd name="connsiteY47" fmla="*/ 337331 h 350039"/>
                <a:gd name="connsiteX48" fmla="*/ 2603470 w 2663946"/>
                <a:gd name="connsiteY48" fmla="*/ 333816 h 350039"/>
                <a:gd name="connsiteX49" fmla="*/ 2601258 w 2663946"/>
                <a:gd name="connsiteY49" fmla="*/ 329490 h 350039"/>
                <a:gd name="connsiteX50" fmla="*/ 2600029 w 2663946"/>
                <a:gd name="connsiteY50" fmla="*/ 326515 h 350039"/>
                <a:gd name="connsiteX51" fmla="*/ 2599046 w 2663946"/>
                <a:gd name="connsiteY51" fmla="*/ 323271 h 350039"/>
                <a:gd name="connsiteX52" fmla="*/ 2597816 w 2663946"/>
                <a:gd name="connsiteY52" fmla="*/ 317593 h 350039"/>
                <a:gd name="connsiteX53" fmla="*/ 2597571 w 2663946"/>
                <a:gd name="connsiteY53" fmla="*/ 314619 h 350039"/>
                <a:gd name="connsiteX54" fmla="*/ 2597816 w 2663946"/>
                <a:gd name="connsiteY54" fmla="*/ 314889 h 350039"/>
                <a:gd name="connsiteX55" fmla="*/ 2597816 w 2663946"/>
                <a:gd name="connsiteY55" fmla="*/ 309211 h 350039"/>
                <a:gd name="connsiteX56" fmla="*/ 2597816 w 2663946"/>
                <a:gd name="connsiteY56" fmla="*/ 308941 h 350039"/>
                <a:gd name="connsiteX57" fmla="*/ 2598308 w 2663946"/>
                <a:gd name="connsiteY57" fmla="*/ 304344 h 350039"/>
                <a:gd name="connsiteX58" fmla="*/ 2599537 w 2663946"/>
                <a:gd name="connsiteY58" fmla="*/ 298937 h 350039"/>
                <a:gd name="connsiteX59" fmla="*/ 2600520 w 2663946"/>
                <a:gd name="connsiteY59" fmla="*/ 295692 h 350039"/>
                <a:gd name="connsiteX60" fmla="*/ 2602732 w 2663946"/>
                <a:gd name="connsiteY60" fmla="*/ 290555 h 350039"/>
                <a:gd name="connsiteX61" fmla="*/ 2604945 w 2663946"/>
                <a:gd name="connsiteY61" fmla="*/ 286770 h 350039"/>
                <a:gd name="connsiteX62" fmla="*/ 2607157 w 2663946"/>
                <a:gd name="connsiteY62" fmla="*/ 283795 h 350039"/>
                <a:gd name="connsiteX63" fmla="*/ 2609369 w 2663946"/>
                <a:gd name="connsiteY63" fmla="*/ 281362 h 350039"/>
                <a:gd name="connsiteX64" fmla="*/ 2614039 w 2663946"/>
                <a:gd name="connsiteY64" fmla="*/ 277577 h 350039"/>
                <a:gd name="connsiteX65" fmla="*/ 2617972 w 2663946"/>
                <a:gd name="connsiteY65" fmla="*/ 275414 h 350039"/>
                <a:gd name="connsiteX66" fmla="*/ 2627559 w 2663946"/>
                <a:gd name="connsiteY66" fmla="*/ 272980 h 350039"/>
                <a:gd name="connsiteX67" fmla="*/ 2631061 w 2663946"/>
                <a:gd name="connsiteY67" fmla="*/ 209070 h 350039"/>
                <a:gd name="connsiteX68" fmla="*/ 2621591 w 2663946"/>
                <a:gd name="connsiteY68" fmla="*/ 218344 h 350039"/>
                <a:gd name="connsiteX69" fmla="*/ 2626545 w 2663946"/>
                <a:gd name="connsiteY69" fmla="*/ 226501 h 350039"/>
                <a:gd name="connsiteX70" fmla="*/ 2626545 w 2663946"/>
                <a:gd name="connsiteY70" fmla="*/ 234896 h 350039"/>
                <a:gd name="connsiteX71" fmla="*/ 2631061 w 2663946"/>
                <a:gd name="connsiteY71" fmla="*/ 239319 h 350039"/>
                <a:gd name="connsiteX72" fmla="*/ 2635578 w 2663946"/>
                <a:gd name="connsiteY72" fmla="*/ 234896 h 350039"/>
                <a:gd name="connsiteX73" fmla="*/ 2635578 w 2663946"/>
                <a:gd name="connsiteY73" fmla="*/ 226501 h 350039"/>
                <a:gd name="connsiteX74" fmla="*/ 2640532 w 2663946"/>
                <a:gd name="connsiteY74" fmla="*/ 218344 h 350039"/>
                <a:gd name="connsiteX75" fmla="*/ 2631061 w 2663946"/>
                <a:gd name="connsiteY75" fmla="*/ 209070 h 350039"/>
                <a:gd name="connsiteX76" fmla="*/ 2630799 w 2663946"/>
                <a:gd name="connsiteY76" fmla="*/ 170353 h 350039"/>
                <a:gd name="connsiteX77" fmla="*/ 2619139 w 2663946"/>
                <a:gd name="connsiteY77" fmla="*/ 178082 h 350039"/>
                <a:gd name="connsiteX78" fmla="*/ 2618214 w 2663946"/>
                <a:gd name="connsiteY78" fmla="*/ 182665 h 350039"/>
                <a:gd name="connsiteX79" fmla="*/ 2621454 w 2663946"/>
                <a:gd name="connsiteY79" fmla="*/ 182665 h 350039"/>
                <a:gd name="connsiteX80" fmla="*/ 2639871 w 2663946"/>
                <a:gd name="connsiteY80" fmla="*/ 182665 h 350039"/>
                <a:gd name="connsiteX81" fmla="*/ 2643385 w 2663946"/>
                <a:gd name="connsiteY81" fmla="*/ 182665 h 350039"/>
                <a:gd name="connsiteX82" fmla="*/ 2642460 w 2663946"/>
                <a:gd name="connsiteY82" fmla="*/ 178082 h 350039"/>
                <a:gd name="connsiteX83" fmla="*/ 2630799 w 2663946"/>
                <a:gd name="connsiteY83" fmla="*/ 170353 h 350039"/>
                <a:gd name="connsiteX84" fmla="*/ 2630799 w 2663946"/>
                <a:gd name="connsiteY84" fmla="*/ 157698 h 350039"/>
                <a:gd name="connsiteX85" fmla="*/ 2655595 w 2663946"/>
                <a:gd name="connsiteY85" fmla="*/ 177907 h 350039"/>
                <a:gd name="connsiteX86" fmla="*/ 2656074 w 2663946"/>
                <a:gd name="connsiteY86" fmla="*/ 182665 h 350039"/>
                <a:gd name="connsiteX87" fmla="*/ 2657493 w 2663946"/>
                <a:gd name="connsiteY87" fmla="*/ 182665 h 350039"/>
                <a:gd name="connsiteX88" fmla="*/ 2663946 w 2663946"/>
                <a:gd name="connsiteY88" fmla="*/ 188951 h 350039"/>
                <a:gd name="connsiteX89" fmla="*/ 2663946 w 2663946"/>
                <a:gd name="connsiteY89" fmla="*/ 238673 h 350039"/>
                <a:gd name="connsiteX90" fmla="*/ 2657493 w 2663946"/>
                <a:gd name="connsiteY90" fmla="*/ 244959 h 350039"/>
                <a:gd name="connsiteX91" fmla="*/ 2604106 w 2663946"/>
                <a:gd name="connsiteY91" fmla="*/ 244959 h 350039"/>
                <a:gd name="connsiteX92" fmla="*/ 2597652 w 2663946"/>
                <a:gd name="connsiteY92" fmla="*/ 238673 h 350039"/>
                <a:gd name="connsiteX93" fmla="*/ 2597652 w 2663946"/>
                <a:gd name="connsiteY93" fmla="*/ 188951 h 350039"/>
                <a:gd name="connsiteX94" fmla="*/ 2604106 w 2663946"/>
                <a:gd name="connsiteY94" fmla="*/ 182665 h 350039"/>
                <a:gd name="connsiteX95" fmla="*/ 2604940 w 2663946"/>
                <a:gd name="connsiteY95" fmla="*/ 182665 h 350039"/>
                <a:gd name="connsiteX96" fmla="*/ 2605524 w 2663946"/>
                <a:gd name="connsiteY96" fmla="*/ 182665 h 350039"/>
                <a:gd name="connsiteX97" fmla="*/ 2606004 w 2663946"/>
                <a:gd name="connsiteY97" fmla="*/ 177907 h 350039"/>
                <a:gd name="connsiteX98" fmla="*/ 2630799 w 2663946"/>
                <a:gd name="connsiteY98" fmla="*/ 157698 h 350039"/>
                <a:gd name="connsiteX99" fmla="*/ 33409 w 2663946"/>
                <a:gd name="connsiteY99" fmla="*/ 104844 h 350039"/>
                <a:gd name="connsiteX100" fmla="*/ 23938 w 2663946"/>
                <a:gd name="connsiteY100" fmla="*/ 114118 h 350039"/>
                <a:gd name="connsiteX101" fmla="*/ 28892 w 2663946"/>
                <a:gd name="connsiteY101" fmla="*/ 122275 h 350039"/>
                <a:gd name="connsiteX102" fmla="*/ 28892 w 2663946"/>
                <a:gd name="connsiteY102" fmla="*/ 130670 h 350039"/>
                <a:gd name="connsiteX103" fmla="*/ 33409 w 2663946"/>
                <a:gd name="connsiteY103" fmla="*/ 135093 h 350039"/>
                <a:gd name="connsiteX104" fmla="*/ 37926 w 2663946"/>
                <a:gd name="connsiteY104" fmla="*/ 130670 h 350039"/>
                <a:gd name="connsiteX105" fmla="*/ 37926 w 2663946"/>
                <a:gd name="connsiteY105" fmla="*/ 122275 h 350039"/>
                <a:gd name="connsiteX106" fmla="*/ 42880 w 2663946"/>
                <a:gd name="connsiteY106" fmla="*/ 114118 h 350039"/>
                <a:gd name="connsiteX107" fmla="*/ 33409 w 2663946"/>
                <a:gd name="connsiteY107" fmla="*/ 104844 h 350039"/>
                <a:gd name="connsiteX108" fmla="*/ 2538193 w 2663946"/>
                <a:gd name="connsiteY108" fmla="*/ 97256 h 350039"/>
                <a:gd name="connsiteX109" fmla="*/ 2528723 w 2663946"/>
                <a:gd name="connsiteY109" fmla="*/ 106530 h 350039"/>
                <a:gd name="connsiteX110" fmla="*/ 2533677 w 2663946"/>
                <a:gd name="connsiteY110" fmla="*/ 114687 h 350039"/>
                <a:gd name="connsiteX111" fmla="*/ 2533677 w 2663946"/>
                <a:gd name="connsiteY111" fmla="*/ 123082 h 350039"/>
                <a:gd name="connsiteX112" fmla="*/ 2538193 w 2663946"/>
                <a:gd name="connsiteY112" fmla="*/ 127505 h 350039"/>
                <a:gd name="connsiteX113" fmla="*/ 2542710 w 2663946"/>
                <a:gd name="connsiteY113" fmla="*/ 123082 h 350039"/>
                <a:gd name="connsiteX114" fmla="*/ 2542710 w 2663946"/>
                <a:gd name="connsiteY114" fmla="*/ 114687 h 350039"/>
                <a:gd name="connsiteX115" fmla="*/ 2547664 w 2663946"/>
                <a:gd name="connsiteY115" fmla="*/ 106530 h 350039"/>
                <a:gd name="connsiteX116" fmla="*/ 2538193 w 2663946"/>
                <a:gd name="connsiteY116" fmla="*/ 97256 h 350039"/>
                <a:gd name="connsiteX117" fmla="*/ 2113196 w 2663946"/>
                <a:gd name="connsiteY117" fmla="*/ 97256 h 350039"/>
                <a:gd name="connsiteX118" fmla="*/ 2103726 w 2663946"/>
                <a:gd name="connsiteY118" fmla="*/ 106530 h 350039"/>
                <a:gd name="connsiteX119" fmla="*/ 2108680 w 2663946"/>
                <a:gd name="connsiteY119" fmla="*/ 114687 h 350039"/>
                <a:gd name="connsiteX120" fmla="*/ 2108680 w 2663946"/>
                <a:gd name="connsiteY120" fmla="*/ 123082 h 350039"/>
                <a:gd name="connsiteX121" fmla="*/ 2113196 w 2663946"/>
                <a:gd name="connsiteY121" fmla="*/ 127505 h 350039"/>
                <a:gd name="connsiteX122" fmla="*/ 2117713 w 2663946"/>
                <a:gd name="connsiteY122" fmla="*/ 123082 h 350039"/>
                <a:gd name="connsiteX123" fmla="*/ 2117713 w 2663946"/>
                <a:gd name="connsiteY123" fmla="*/ 114687 h 350039"/>
                <a:gd name="connsiteX124" fmla="*/ 2122667 w 2663946"/>
                <a:gd name="connsiteY124" fmla="*/ 106530 h 350039"/>
                <a:gd name="connsiteX125" fmla="*/ 2113196 w 2663946"/>
                <a:gd name="connsiteY125" fmla="*/ 97256 h 350039"/>
                <a:gd name="connsiteX126" fmla="*/ 1855228 w 2663946"/>
                <a:gd name="connsiteY126" fmla="*/ 97256 h 350039"/>
                <a:gd name="connsiteX127" fmla="*/ 1845758 w 2663946"/>
                <a:gd name="connsiteY127" fmla="*/ 106530 h 350039"/>
                <a:gd name="connsiteX128" fmla="*/ 1850712 w 2663946"/>
                <a:gd name="connsiteY128" fmla="*/ 114687 h 350039"/>
                <a:gd name="connsiteX129" fmla="*/ 1850712 w 2663946"/>
                <a:gd name="connsiteY129" fmla="*/ 123082 h 350039"/>
                <a:gd name="connsiteX130" fmla="*/ 1855228 w 2663946"/>
                <a:gd name="connsiteY130" fmla="*/ 127505 h 350039"/>
                <a:gd name="connsiteX131" fmla="*/ 1859745 w 2663946"/>
                <a:gd name="connsiteY131" fmla="*/ 123082 h 350039"/>
                <a:gd name="connsiteX132" fmla="*/ 1859745 w 2663946"/>
                <a:gd name="connsiteY132" fmla="*/ 114687 h 350039"/>
                <a:gd name="connsiteX133" fmla="*/ 1864699 w 2663946"/>
                <a:gd name="connsiteY133" fmla="*/ 106530 h 350039"/>
                <a:gd name="connsiteX134" fmla="*/ 1855228 w 2663946"/>
                <a:gd name="connsiteY134" fmla="*/ 97256 h 350039"/>
                <a:gd name="connsiteX135" fmla="*/ 1764289 w 2663946"/>
                <a:gd name="connsiteY135" fmla="*/ 97256 h 350039"/>
                <a:gd name="connsiteX136" fmla="*/ 1754819 w 2663946"/>
                <a:gd name="connsiteY136" fmla="*/ 106530 h 350039"/>
                <a:gd name="connsiteX137" fmla="*/ 1759773 w 2663946"/>
                <a:gd name="connsiteY137" fmla="*/ 114687 h 350039"/>
                <a:gd name="connsiteX138" fmla="*/ 1759773 w 2663946"/>
                <a:gd name="connsiteY138" fmla="*/ 123082 h 350039"/>
                <a:gd name="connsiteX139" fmla="*/ 1764289 w 2663946"/>
                <a:gd name="connsiteY139" fmla="*/ 127505 h 350039"/>
                <a:gd name="connsiteX140" fmla="*/ 1768806 w 2663946"/>
                <a:gd name="connsiteY140" fmla="*/ 123082 h 350039"/>
                <a:gd name="connsiteX141" fmla="*/ 1768806 w 2663946"/>
                <a:gd name="connsiteY141" fmla="*/ 114687 h 350039"/>
                <a:gd name="connsiteX142" fmla="*/ 1773760 w 2663946"/>
                <a:gd name="connsiteY142" fmla="*/ 106530 h 350039"/>
                <a:gd name="connsiteX143" fmla="*/ 1764289 w 2663946"/>
                <a:gd name="connsiteY143" fmla="*/ 97256 h 350039"/>
                <a:gd name="connsiteX144" fmla="*/ 1506321 w 2663946"/>
                <a:gd name="connsiteY144" fmla="*/ 97256 h 350039"/>
                <a:gd name="connsiteX145" fmla="*/ 1496851 w 2663946"/>
                <a:gd name="connsiteY145" fmla="*/ 106530 h 350039"/>
                <a:gd name="connsiteX146" fmla="*/ 1501805 w 2663946"/>
                <a:gd name="connsiteY146" fmla="*/ 114687 h 350039"/>
                <a:gd name="connsiteX147" fmla="*/ 1501805 w 2663946"/>
                <a:gd name="connsiteY147" fmla="*/ 123082 h 350039"/>
                <a:gd name="connsiteX148" fmla="*/ 1506321 w 2663946"/>
                <a:gd name="connsiteY148" fmla="*/ 127505 h 350039"/>
                <a:gd name="connsiteX149" fmla="*/ 1510838 w 2663946"/>
                <a:gd name="connsiteY149" fmla="*/ 123082 h 350039"/>
                <a:gd name="connsiteX150" fmla="*/ 1510838 w 2663946"/>
                <a:gd name="connsiteY150" fmla="*/ 114687 h 350039"/>
                <a:gd name="connsiteX151" fmla="*/ 1515792 w 2663946"/>
                <a:gd name="connsiteY151" fmla="*/ 106530 h 350039"/>
                <a:gd name="connsiteX152" fmla="*/ 1506321 w 2663946"/>
                <a:gd name="connsiteY152" fmla="*/ 97256 h 350039"/>
                <a:gd name="connsiteX153" fmla="*/ 1415382 w 2663946"/>
                <a:gd name="connsiteY153" fmla="*/ 97256 h 350039"/>
                <a:gd name="connsiteX154" fmla="*/ 1405912 w 2663946"/>
                <a:gd name="connsiteY154" fmla="*/ 106530 h 350039"/>
                <a:gd name="connsiteX155" fmla="*/ 1410866 w 2663946"/>
                <a:gd name="connsiteY155" fmla="*/ 114687 h 350039"/>
                <a:gd name="connsiteX156" fmla="*/ 1410866 w 2663946"/>
                <a:gd name="connsiteY156" fmla="*/ 123082 h 350039"/>
                <a:gd name="connsiteX157" fmla="*/ 1415382 w 2663946"/>
                <a:gd name="connsiteY157" fmla="*/ 127505 h 350039"/>
                <a:gd name="connsiteX158" fmla="*/ 1419899 w 2663946"/>
                <a:gd name="connsiteY158" fmla="*/ 123082 h 350039"/>
                <a:gd name="connsiteX159" fmla="*/ 1419899 w 2663946"/>
                <a:gd name="connsiteY159" fmla="*/ 114687 h 350039"/>
                <a:gd name="connsiteX160" fmla="*/ 1424853 w 2663946"/>
                <a:gd name="connsiteY160" fmla="*/ 106530 h 350039"/>
                <a:gd name="connsiteX161" fmla="*/ 1415382 w 2663946"/>
                <a:gd name="connsiteY161" fmla="*/ 97256 h 350039"/>
                <a:gd name="connsiteX162" fmla="*/ 1157414 w 2663946"/>
                <a:gd name="connsiteY162" fmla="*/ 97256 h 350039"/>
                <a:gd name="connsiteX163" fmla="*/ 1147944 w 2663946"/>
                <a:gd name="connsiteY163" fmla="*/ 106530 h 350039"/>
                <a:gd name="connsiteX164" fmla="*/ 1152898 w 2663946"/>
                <a:gd name="connsiteY164" fmla="*/ 114687 h 350039"/>
                <a:gd name="connsiteX165" fmla="*/ 1152898 w 2663946"/>
                <a:gd name="connsiteY165" fmla="*/ 123082 h 350039"/>
                <a:gd name="connsiteX166" fmla="*/ 1157414 w 2663946"/>
                <a:gd name="connsiteY166" fmla="*/ 127505 h 350039"/>
                <a:gd name="connsiteX167" fmla="*/ 1161931 w 2663946"/>
                <a:gd name="connsiteY167" fmla="*/ 123082 h 350039"/>
                <a:gd name="connsiteX168" fmla="*/ 1161931 w 2663946"/>
                <a:gd name="connsiteY168" fmla="*/ 114687 h 350039"/>
                <a:gd name="connsiteX169" fmla="*/ 1166885 w 2663946"/>
                <a:gd name="connsiteY169" fmla="*/ 106530 h 350039"/>
                <a:gd name="connsiteX170" fmla="*/ 1157414 w 2663946"/>
                <a:gd name="connsiteY170" fmla="*/ 97256 h 350039"/>
                <a:gd name="connsiteX171" fmla="*/ 732418 w 2663946"/>
                <a:gd name="connsiteY171" fmla="*/ 97256 h 350039"/>
                <a:gd name="connsiteX172" fmla="*/ 722947 w 2663946"/>
                <a:gd name="connsiteY172" fmla="*/ 106530 h 350039"/>
                <a:gd name="connsiteX173" fmla="*/ 727901 w 2663946"/>
                <a:gd name="connsiteY173" fmla="*/ 114687 h 350039"/>
                <a:gd name="connsiteX174" fmla="*/ 727901 w 2663946"/>
                <a:gd name="connsiteY174" fmla="*/ 123082 h 350039"/>
                <a:gd name="connsiteX175" fmla="*/ 732418 w 2663946"/>
                <a:gd name="connsiteY175" fmla="*/ 127505 h 350039"/>
                <a:gd name="connsiteX176" fmla="*/ 736935 w 2663946"/>
                <a:gd name="connsiteY176" fmla="*/ 123082 h 350039"/>
                <a:gd name="connsiteX177" fmla="*/ 736935 w 2663946"/>
                <a:gd name="connsiteY177" fmla="*/ 114687 h 350039"/>
                <a:gd name="connsiteX178" fmla="*/ 741889 w 2663946"/>
                <a:gd name="connsiteY178" fmla="*/ 106530 h 350039"/>
                <a:gd name="connsiteX179" fmla="*/ 732418 w 2663946"/>
                <a:gd name="connsiteY179" fmla="*/ 97256 h 350039"/>
                <a:gd name="connsiteX180" fmla="*/ 641479 w 2663946"/>
                <a:gd name="connsiteY180" fmla="*/ 97256 h 350039"/>
                <a:gd name="connsiteX181" fmla="*/ 632008 w 2663946"/>
                <a:gd name="connsiteY181" fmla="*/ 106530 h 350039"/>
                <a:gd name="connsiteX182" fmla="*/ 636962 w 2663946"/>
                <a:gd name="connsiteY182" fmla="*/ 114687 h 350039"/>
                <a:gd name="connsiteX183" fmla="*/ 636962 w 2663946"/>
                <a:gd name="connsiteY183" fmla="*/ 123082 h 350039"/>
                <a:gd name="connsiteX184" fmla="*/ 641479 w 2663946"/>
                <a:gd name="connsiteY184" fmla="*/ 127505 h 350039"/>
                <a:gd name="connsiteX185" fmla="*/ 645996 w 2663946"/>
                <a:gd name="connsiteY185" fmla="*/ 123082 h 350039"/>
                <a:gd name="connsiteX186" fmla="*/ 645996 w 2663946"/>
                <a:gd name="connsiteY186" fmla="*/ 114687 h 350039"/>
                <a:gd name="connsiteX187" fmla="*/ 650950 w 2663946"/>
                <a:gd name="connsiteY187" fmla="*/ 106530 h 350039"/>
                <a:gd name="connsiteX188" fmla="*/ 641479 w 2663946"/>
                <a:gd name="connsiteY188" fmla="*/ 97256 h 350039"/>
                <a:gd name="connsiteX189" fmla="*/ 459528 w 2663946"/>
                <a:gd name="connsiteY189" fmla="*/ 97256 h 350039"/>
                <a:gd name="connsiteX190" fmla="*/ 450057 w 2663946"/>
                <a:gd name="connsiteY190" fmla="*/ 106530 h 350039"/>
                <a:gd name="connsiteX191" fmla="*/ 455011 w 2663946"/>
                <a:gd name="connsiteY191" fmla="*/ 114687 h 350039"/>
                <a:gd name="connsiteX192" fmla="*/ 455011 w 2663946"/>
                <a:gd name="connsiteY192" fmla="*/ 123082 h 350039"/>
                <a:gd name="connsiteX193" fmla="*/ 459528 w 2663946"/>
                <a:gd name="connsiteY193" fmla="*/ 127505 h 350039"/>
                <a:gd name="connsiteX194" fmla="*/ 464045 w 2663946"/>
                <a:gd name="connsiteY194" fmla="*/ 123082 h 350039"/>
                <a:gd name="connsiteX195" fmla="*/ 464045 w 2663946"/>
                <a:gd name="connsiteY195" fmla="*/ 114687 h 350039"/>
                <a:gd name="connsiteX196" fmla="*/ 468999 w 2663946"/>
                <a:gd name="connsiteY196" fmla="*/ 106530 h 350039"/>
                <a:gd name="connsiteX197" fmla="*/ 459528 w 2663946"/>
                <a:gd name="connsiteY197" fmla="*/ 97256 h 350039"/>
                <a:gd name="connsiteX198" fmla="*/ 2632966 w 2663946"/>
                <a:gd name="connsiteY198" fmla="*/ 70063 h 350039"/>
                <a:gd name="connsiteX199" fmla="*/ 2621414 w 2663946"/>
                <a:gd name="connsiteY199" fmla="*/ 72496 h 350039"/>
                <a:gd name="connsiteX200" fmla="*/ 2618218 w 2663946"/>
                <a:gd name="connsiteY200" fmla="*/ 76011 h 350039"/>
                <a:gd name="connsiteX201" fmla="*/ 2616006 w 2663946"/>
                <a:gd name="connsiteY201" fmla="*/ 79796 h 350039"/>
                <a:gd name="connsiteX202" fmla="*/ 2615023 w 2663946"/>
                <a:gd name="connsiteY202" fmla="*/ 82500 h 350039"/>
                <a:gd name="connsiteX203" fmla="*/ 2614039 w 2663946"/>
                <a:gd name="connsiteY203" fmla="*/ 86556 h 350039"/>
                <a:gd name="connsiteX204" fmla="*/ 2613056 w 2663946"/>
                <a:gd name="connsiteY204" fmla="*/ 93586 h 350039"/>
                <a:gd name="connsiteX205" fmla="*/ 2614039 w 2663946"/>
                <a:gd name="connsiteY205" fmla="*/ 100886 h 350039"/>
                <a:gd name="connsiteX206" fmla="*/ 2615269 w 2663946"/>
                <a:gd name="connsiteY206" fmla="*/ 104671 h 350039"/>
                <a:gd name="connsiteX207" fmla="*/ 2617481 w 2663946"/>
                <a:gd name="connsiteY207" fmla="*/ 108997 h 350039"/>
                <a:gd name="connsiteX208" fmla="*/ 2620922 w 2663946"/>
                <a:gd name="connsiteY208" fmla="*/ 113324 h 350039"/>
                <a:gd name="connsiteX209" fmla="*/ 2625346 w 2663946"/>
                <a:gd name="connsiteY209" fmla="*/ 116027 h 350039"/>
                <a:gd name="connsiteX210" fmla="*/ 2637637 w 2663946"/>
                <a:gd name="connsiteY210" fmla="*/ 113594 h 350039"/>
                <a:gd name="connsiteX211" fmla="*/ 2640832 w 2663946"/>
                <a:gd name="connsiteY211" fmla="*/ 110079 h 350039"/>
                <a:gd name="connsiteX212" fmla="*/ 2643290 w 2663946"/>
                <a:gd name="connsiteY212" fmla="*/ 105753 h 350039"/>
                <a:gd name="connsiteX213" fmla="*/ 2644273 w 2663946"/>
                <a:gd name="connsiteY213" fmla="*/ 103590 h 350039"/>
                <a:gd name="connsiteX214" fmla="*/ 2645502 w 2663946"/>
                <a:gd name="connsiteY214" fmla="*/ 99264 h 350039"/>
                <a:gd name="connsiteX215" fmla="*/ 2645011 w 2663946"/>
                <a:gd name="connsiteY215" fmla="*/ 85474 h 350039"/>
                <a:gd name="connsiteX216" fmla="*/ 2644027 w 2663946"/>
                <a:gd name="connsiteY216" fmla="*/ 82500 h 350039"/>
                <a:gd name="connsiteX217" fmla="*/ 2642799 w 2663946"/>
                <a:gd name="connsiteY217" fmla="*/ 79526 h 350039"/>
                <a:gd name="connsiteX218" fmla="*/ 2640586 w 2663946"/>
                <a:gd name="connsiteY218" fmla="*/ 76011 h 350039"/>
                <a:gd name="connsiteX219" fmla="*/ 2636899 w 2663946"/>
                <a:gd name="connsiteY219" fmla="*/ 72226 h 350039"/>
                <a:gd name="connsiteX220" fmla="*/ 2632966 w 2663946"/>
                <a:gd name="connsiteY220" fmla="*/ 70063 h 350039"/>
                <a:gd name="connsiteX221" fmla="*/ 2451011 w 2663946"/>
                <a:gd name="connsiteY221" fmla="*/ 70063 h 350039"/>
                <a:gd name="connsiteX222" fmla="*/ 2439459 w 2663946"/>
                <a:gd name="connsiteY222" fmla="*/ 72496 h 350039"/>
                <a:gd name="connsiteX223" fmla="*/ 2436263 w 2663946"/>
                <a:gd name="connsiteY223" fmla="*/ 76011 h 350039"/>
                <a:gd name="connsiteX224" fmla="*/ 2434051 w 2663946"/>
                <a:gd name="connsiteY224" fmla="*/ 79796 h 350039"/>
                <a:gd name="connsiteX225" fmla="*/ 2433068 w 2663946"/>
                <a:gd name="connsiteY225" fmla="*/ 82500 h 350039"/>
                <a:gd name="connsiteX226" fmla="*/ 2432084 w 2663946"/>
                <a:gd name="connsiteY226" fmla="*/ 86556 h 350039"/>
                <a:gd name="connsiteX227" fmla="*/ 2431101 w 2663946"/>
                <a:gd name="connsiteY227" fmla="*/ 93586 h 350039"/>
                <a:gd name="connsiteX228" fmla="*/ 2432084 w 2663946"/>
                <a:gd name="connsiteY228" fmla="*/ 100886 h 350039"/>
                <a:gd name="connsiteX229" fmla="*/ 2433314 w 2663946"/>
                <a:gd name="connsiteY229" fmla="*/ 104671 h 350039"/>
                <a:gd name="connsiteX230" fmla="*/ 2435526 w 2663946"/>
                <a:gd name="connsiteY230" fmla="*/ 108997 h 350039"/>
                <a:gd name="connsiteX231" fmla="*/ 2438967 w 2663946"/>
                <a:gd name="connsiteY231" fmla="*/ 113324 h 350039"/>
                <a:gd name="connsiteX232" fmla="*/ 2443391 w 2663946"/>
                <a:gd name="connsiteY232" fmla="*/ 116027 h 350039"/>
                <a:gd name="connsiteX233" fmla="*/ 2455682 w 2663946"/>
                <a:gd name="connsiteY233" fmla="*/ 113594 h 350039"/>
                <a:gd name="connsiteX234" fmla="*/ 2458877 w 2663946"/>
                <a:gd name="connsiteY234" fmla="*/ 110079 h 350039"/>
                <a:gd name="connsiteX235" fmla="*/ 2461335 w 2663946"/>
                <a:gd name="connsiteY235" fmla="*/ 105753 h 350039"/>
                <a:gd name="connsiteX236" fmla="*/ 2462318 w 2663946"/>
                <a:gd name="connsiteY236" fmla="*/ 103590 h 350039"/>
                <a:gd name="connsiteX237" fmla="*/ 2463547 w 2663946"/>
                <a:gd name="connsiteY237" fmla="*/ 99264 h 350039"/>
                <a:gd name="connsiteX238" fmla="*/ 2463056 w 2663946"/>
                <a:gd name="connsiteY238" fmla="*/ 85474 h 350039"/>
                <a:gd name="connsiteX239" fmla="*/ 2462072 w 2663946"/>
                <a:gd name="connsiteY239" fmla="*/ 82500 h 350039"/>
                <a:gd name="connsiteX240" fmla="*/ 2460844 w 2663946"/>
                <a:gd name="connsiteY240" fmla="*/ 79526 h 350039"/>
                <a:gd name="connsiteX241" fmla="*/ 2458631 w 2663946"/>
                <a:gd name="connsiteY241" fmla="*/ 76011 h 350039"/>
                <a:gd name="connsiteX242" fmla="*/ 2454944 w 2663946"/>
                <a:gd name="connsiteY242" fmla="*/ 72226 h 350039"/>
                <a:gd name="connsiteX243" fmla="*/ 2451011 w 2663946"/>
                <a:gd name="connsiteY243" fmla="*/ 70063 h 350039"/>
                <a:gd name="connsiteX244" fmla="*/ 2207965 w 2663946"/>
                <a:gd name="connsiteY244" fmla="*/ 70063 h 350039"/>
                <a:gd name="connsiteX245" fmla="*/ 2196413 w 2663946"/>
                <a:gd name="connsiteY245" fmla="*/ 72496 h 350039"/>
                <a:gd name="connsiteX246" fmla="*/ 2193217 w 2663946"/>
                <a:gd name="connsiteY246" fmla="*/ 76011 h 350039"/>
                <a:gd name="connsiteX247" fmla="*/ 2191005 w 2663946"/>
                <a:gd name="connsiteY247" fmla="*/ 79796 h 350039"/>
                <a:gd name="connsiteX248" fmla="*/ 2190022 w 2663946"/>
                <a:gd name="connsiteY248" fmla="*/ 82500 h 350039"/>
                <a:gd name="connsiteX249" fmla="*/ 2189038 w 2663946"/>
                <a:gd name="connsiteY249" fmla="*/ 86556 h 350039"/>
                <a:gd name="connsiteX250" fmla="*/ 2188055 w 2663946"/>
                <a:gd name="connsiteY250" fmla="*/ 93586 h 350039"/>
                <a:gd name="connsiteX251" fmla="*/ 2189038 w 2663946"/>
                <a:gd name="connsiteY251" fmla="*/ 100886 h 350039"/>
                <a:gd name="connsiteX252" fmla="*/ 2190268 w 2663946"/>
                <a:gd name="connsiteY252" fmla="*/ 104671 h 350039"/>
                <a:gd name="connsiteX253" fmla="*/ 2192480 w 2663946"/>
                <a:gd name="connsiteY253" fmla="*/ 108997 h 350039"/>
                <a:gd name="connsiteX254" fmla="*/ 2195921 w 2663946"/>
                <a:gd name="connsiteY254" fmla="*/ 113324 h 350039"/>
                <a:gd name="connsiteX255" fmla="*/ 2200345 w 2663946"/>
                <a:gd name="connsiteY255" fmla="*/ 116027 h 350039"/>
                <a:gd name="connsiteX256" fmla="*/ 2212636 w 2663946"/>
                <a:gd name="connsiteY256" fmla="*/ 113594 h 350039"/>
                <a:gd name="connsiteX257" fmla="*/ 2215831 w 2663946"/>
                <a:gd name="connsiteY257" fmla="*/ 110079 h 350039"/>
                <a:gd name="connsiteX258" fmla="*/ 2218289 w 2663946"/>
                <a:gd name="connsiteY258" fmla="*/ 105753 h 350039"/>
                <a:gd name="connsiteX259" fmla="*/ 2219272 w 2663946"/>
                <a:gd name="connsiteY259" fmla="*/ 103590 h 350039"/>
                <a:gd name="connsiteX260" fmla="*/ 2220501 w 2663946"/>
                <a:gd name="connsiteY260" fmla="*/ 99264 h 350039"/>
                <a:gd name="connsiteX261" fmla="*/ 2220010 w 2663946"/>
                <a:gd name="connsiteY261" fmla="*/ 85474 h 350039"/>
                <a:gd name="connsiteX262" fmla="*/ 2219026 w 2663946"/>
                <a:gd name="connsiteY262" fmla="*/ 82500 h 350039"/>
                <a:gd name="connsiteX263" fmla="*/ 2217798 w 2663946"/>
                <a:gd name="connsiteY263" fmla="*/ 79526 h 350039"/>
                <a:gd name="connsiteX264" fmla="*/ 2215585 w 2663946"/>
                <a:gd name="connsiteY264" fmla="*/ 76011 h 350039"/>
                <a:gd name="connsiteX265" fmla="*/ 2211898 w 2663946"/>
                <a:gd name="connsiteY265" fmla="*/ 72226 h 350039"/>
                <a:gd name="connsiteX266" fmla="*/ 2207965 w 2663946"/>
                <a:gd name="connsiteY266" fmla="*/ 70063 h 350039"/>
                <a:gd name="connsiteX267" fmla="*/ 2026014 w 2663946"/>
                <a:gd name="connsiteY267" fmla="*/ 70063 h 350039"/>
                <a:gd name="connsiteX268" fmla="*/ 2014462 w 2663946"/>
                <a:gd name="connsiteY268" fmla="*/ 72496 h 350039"/>
                <a:gd name="connsiteX269" fmla="*/ 2011266 w 2663946"/>
                <a:gd name="connsiteY269" fmla="*/ 76011 h 350039"/>
                <a:gd name="connsiteX270" fmla="*/ 2009054 w 2663946"/>
                <a:gd name="connsiteY270" fmla="*/ 79796 h 350039"/>
                <a:gd name="connsiteX271" fmla="*/ 2008071 w 2663946"/>
                <a:gd name="connsiteY271" fmla="*/ 82500 h 350039"/>
                <a:gd name="connsiteX272" fmla="*/ 2007087 w 2663946"/>
                <a:gd name="connsiteY272" fmla="*/ 86556 h 350039"/>
                <a:gd name="connsiteX273" fmla="*/ 2006104 w 2663946"/>
                <a:gd name="connsiteY273" fmla="*/ 93586 h 350039"/>
                <a:gd name="connsiteX274" fmla="*/ 2007087 w 2663946"/>
                <a:gd name="connsiteY274" fmla="*/ 100886 h 350039"/>
                <a:gd name="connsiteX275" fmla="*/ 2008317 w 2663946"/>
                <a:gd name="connsiteY275" fmla="*/ 104671 h 350039"/>
                <a:gd name="connsiteX276" fmla="*/ 2010529 w 2663946"/>
                <a:gd name="connsiteY276" fmla="*/ 108997 h 350039"/>
                <a:gd name="connsiteX277" fmla="*/ 2013970 w 2663946"/>
                <a:gd name="connsiteY277" fmla="*/ 113324 h 350039"/>
                <a:gd name="connsiteX278" fmla="*/ 2018394 w 2663946"/>
                <a:gd name="connsiteY278" fmla="*/ 116027 h 350039"/>
                <a:gd name="connsiteX279" fmla="*/ 2030685 w 2663946"/>
                <a:gd name="connsiteY279" fmla="*/ 113594 h 350039"/>
                <a:gd name="connsiteX280" fmla="*/ 2033880 w 2663946"/>
                <a:gd name="connsiteY280" fmla="*/ 110079 h 350039"/>
                <a:gd name="connsiteX281" fmla="*/ 2036338 w 2663946"/>
                <a:gd name="connsiteY281" fmla="*/ 105753 h 350039"/>
                <a:gd name="connsiteX282" fmla="*/ 2037321 w 2663946"/>
                <a:gd name="connsiteY282" fmla="*/ 103590 h 350039"/>
                <a:gd name="connsiteX283" fmla="*/ 2038550 w 2663946"/>
                <a:gd name="connsiteY283" fmla="*/ 99264 h 350039"/>
                <a:gd name="connsiteX284" fmla="*/ 2038059 w 2663946"/>
                <a:gd name="connsiteY284" fmla="*/ 85474 h 350039"/>
                <a:gd name="connsiteX285" fmla="*/ 2037075 w 2663946"/>
                <a:gd name="connsiteY285" fmla="*/ 82500 h 350039"/>
                <a:gd name="connsiteX286" fmla="*/ 2035847 w 2663946"/>
                <a:gd name="connsiteY286" fmla="*/ 79526 h 350039"/>
                <a:gd name="connsiteX287" fmla="*/ 2033634 w 2663946"/>
                <a:gd name="connsiteY287" fmla="*/ 76011 h 350039"/>
                <a:gd name="connsiteX288" fmla="*/ 2029947 w 2663946"/>
                <a:gd name="connsiteY288" fmla="*/ 72226 h 350039"/>
                <a:gd name="connsiteX289" fmla="*/ 2026014 w 2663946"/>
                <a:gd name="connsiteY289" fmla="*/ 70063 h 350039"/>
                <a:gd name="connsiteX290" fmla="*/ 1601090 w 2663946"/>
                <a:gd name="connsiteY290" fmla="*/ 70063 h 350039"/>
                <a:gd name="connsiteX291" fmla="*/ 1589537 w 2663946"/>
                <a:gd name="connsiteY291" fmla="*/ 72496 h 350039"/>
                <a:gd name="connsiteX292" fmla="*/ 1586342 w 2663946"/>
                <a:gd name="connsiteY292" fmla="*/ 76011 h 350039"/>
                <a:gd name="connsiteX293" fmla="*/ 1584130 w 2663946"/>
                <a:gd name="connsiteY293" fmla="*/ 79796 h 350039"/>
                <a:gd name="connsiteX294" fmla="*/ 1583147 w 2663946"/>
                <a:gd name="connsiteY294" fmla="*/ 82500 h 350039"/>
                <a:gd name="connsiteX295" fmla="*/ 1582163 w 2663946"/>
                <a:gd name="connsiteY295" fmla="*/ 86556 h 350039"/>
                <a:gd name="connsiteX296" fmla="*/ 1581180 w 2663946"/>
                <a:gd name="connsiteY296" fmla="*/ 93586 h 350039"/>
                <a:gd name="connsiteX297" fmla="*/ 1582163 w 2663946"/>
                <a:gd name="connsiteY297" fmla="*/ 100886 h 350039"/>
                <a:gd name="connsiteX298" fmla="*/ 1583393 w 2663946"/>
                <a:gd name="connsiteY298" fmla="*/ 104671 h 350039"/>
                <a:gd name="connsiteX299" fmla="*/ 1585605 w 2663946"/>
                <a:gd name="connsiteY299" fmla="*/ 108997 h 350039"/>
                <a:gd name="connsiteX300" fmla="*/ 1589046 w 2663946"/>
                <a:gd name="connsiteY300" fmla="*/ 113324 h 350039"/>
                <a:gd name="connsiteX301" fmla="*/ 1593470 w 2663946"/>
                <a:gd name="connsiteY301" fmla="*/ 116027 h 350039"/>
                <a:gd name="connsiteX302" fmla="*/ 1605761 w 2663946"/>
                <a:gd name="connsiteY302" fmla="*/ 113594 h 350039"/>
                <a:gd name="connsiteX303" fmla="*/ 1608956 w 2663946"/>
                <a:gd name="connsiteY303" fmla="*/ 110079 h 350039"/>
                <a:gd name="connsiteX304" fmla="*/ 1611414 w 2663946"/>
                <a:gd name="connsiteY304" fmla="*/ 105753 h 350039"/>
                <a:gd name="connsiteX305" fmla="*/ 1612397 w 2663946"/>
                <a:gd name="connsiteY305" fmla="*/ 103590 h 350039"/>
                <a:gd name="connsiteX306" fmla="*/ 1613626 w 2663946"/>
                <a:gd name="connsiteY306" fmla="*/ 99264 h 350039"/>
                <a:gd name="connsiteX307" fmla="*/ 1613135 w 2663946"/>
                <a:gd name="connsiteY307" fmla="*/ 85474 h 350039"/>
                <a:gd name="connsiteX308" fmla="*/ 1612151 w 2663946"/>
                <a:gd name="connsiteY308" fmla="*/ 82500 h 350039"/>
                <a:gd name="connsiteX309" fmla="*/ 1610923 w 2663946"/>
                <a:gd name="connsiteY309" fmla="*/ 79526 h 350039"/>
                <a:gd name="connsiteX310" fmla="*/ 1608710 w 2663946"/>
                <a:gd name="connsiteY310" fmla="*/ 76011 h 350039"/>
                <a:gd name="connsiteX311" fmla="*/ 1605023 w 2663946"/>
                <a:gd name="connsiteY311" fmla="*/ 72226 h 350039"/>
                <a:gd name="connsiteX312" fmla="*/ 1601090 w 2663946"/>
                <a:gd name="connsiteY312" fmla="*/ 70063 h 350039"/>
                <a:gd name="connsiteX313" fmla="*/ 1252183 w 2663946"/>
                <a:gd name="connsiteY313" fmla="*/ 70063 h 350039"/>
                <a:gd name="connsiteX314" fmla="*/ 1240630 w 2663946"/>
                <a:gd name="connsiteY314" fmla="*/ 72496 h 350039"/>
                <a:gd name="connsiteX315" fmla="*/ 1237435 w 2663946"/>
                <a:gd name="connsiteY315" fmla="*/ 76011 h 350039"/>
                <a:gd name="connsiteX316" fmla="*/ 1235223 w 2663946"/>
                <a:gd name="connsiteY316" fmla="*/ 79796 h 350039"/>
                <a:gd name="connsiteX317" fmla="*/ 1234240 w 2663946"/>
                <a:gd name="connsiteY317" fmla="*/ 82500 h 350039"/>
                <a:gd name="connsiteX318" fmla="*/ 1233256 w 2663946"/>
                <a:gd name="connsiteY318" fmla="*/ 86556 h 350039"/>
                <a:gd name="connsiteX319" fmla="*/ 1232273 w 2663946"/>
                <a:gd name="connsiteY319" fmla="*/ 93586 h 350039"/>
                <a:gd name="connsiteX320" fmla="*/ 1233256 w 2663946"/>
                <a:gd name="connsiteY320" fmla="*/ 100886 h 350039"/>
                <a:gd name="connsiteX321" fmla="*/ 1234486 w 2663946"/>
                <a:gd name="connsiteY321" fmla="*/ 104671 h 350039"/>
                <a:gd name="connsiteX322" fmla="*/ 1236698 w 2663946"/>
                <a:gd name="connsiteY322" fmla="*/ 108997 h 350039"/>
                <a:gd name="connsiteX323" fmla="*/ 1240139 w 2663946"/>
                <a:gd name="connsiteY323" fmla="*/ 113324 h 350039"/>
                <a:gd name="connsiteX324" fmla="*/ 1244563 w 2663946"/>
                <a:gd name="connsiteY324" fmla="*/ 116027 h 350039"/>
                <a:gd name="connsiteX325" fmla="*/ 1256854 w 2663946"/>
                <a:gd name="connsiteY325" fmla="*/ 113594 h 350039"/>
                <a:gd name="connsiteX326" fmla="*/ 1260049 w 2663946"/>
                <a:gd name="connsiteY326" fmla="*/ 110079 h 350039"/>
                <a:gd name="connsiteX327" fmla="*/ 1262507 w 2663946"/>
                <a:gd name="connsiteY327" fmla="*/ 105753 h 350039"/>
                <a:gd name="connsiteX328" fmla="*/ 1263490 w 2663946"/>
                <a:gd name="connsiteY328" fmla="*/ 103590 h 350039"/>
                <a:gd name="connsiteX329" fmla="*/ 1264719 w 2663946"/>
                <a:gd name="connsiteY329" fmla="*/ 99264 h 350039"/>
                <a:gd name="connsiteX330" fmla="*/ 1264228 w 2663946"/>
                <a:gd name="connsiteY330" fmla="*/ 85474 h 350039"/>
                <a:gd name="connsiteX331" fmla="*/ 1263244 w 2663946"/>
                <a:gd name="connsiteY331" fmla="*/ 82500 h 350039"/>
                <a:gd name="connsiteX332" fmla="*/ 1262016 w 2663946"/>
                <a:gd name="connsiteY332" fmla="*/ 79526 h 350039"/>
                <a:gd name="connsiteX333" fmla="*/ 1259803 w 2663946"/>
                <a:gd name="connsiteY333" fmla="*/ 76011 h 350039"/>
                <a:gd name="connsiteX334" fmla="*/ 1256116 w 2663946"/>
                <a:gd name="connsiteY334" fmla="*/ 72226 h 350039"/>
                <a:gd name="connsiteX335" fmla="*/ 1252183 w 2663946"/>
                <a:gd name="connsiteY335" fmla="*/ 70063 h 350039"/>
                <a:gd name="connsiteX336" fmla="*/ 1070232 w 2663946"/>
                <a:gd name="connsiteY336" fmla="*/ 70063 h 350039"/>
                <a:gd name="connsiteX337" fmla="*/ 1058679 w 2663946"/>
                <a:gd name="connsiteY337" fmla="*/ 72496 h 350039"/>
                <a:gd name="connsiteX338" fmla="*/ 1055484 w 2663946"/>
                <a:gd name="connsiteY338" fmla="*/ 76011 h 350039"/>
                <a:gd name="connsiteX339" fmla="*/ 1053272 w 2663946"/>
                <a:gd name="connsiteY339" fmla="*/ 79796 h 350039"/>
                <a:gd name="connsiteX340" fmla="*/ 1052289 w 2663946"/>
                <a:gd name="connsiteY340" fmla="*/ 82500 h 350039"/>
                <a:gd name="connsiteX341" fmla="*/ 1051305 w 2663946"/>
                <a:gd name="connsiteY341" fmla="*/ 86556 h 350039"/>
                <a:gd name="connsiteX342" fmla="*/ 1050322 w 2663946"/>
                <a:gd name="connsiteY342" fmla="*/ 93586 h 350039"/>
                <a:gd name="connsiteX343" fmla="*/ 1051305 w 2663946"/>
                <a:gd name="connsiteY343" fmla="*/ 100886 h 350039"/>
                <a:gd name="connsiteX344" fmla="*/ 1052535 w 2663946"/>
                <a:gd name="connsiteY344" fmla="*/ 104671 h 350039"/>
                <a:gd name="connsiteX345" fmla="*/ 1054747 w 2663946"/>
                <a:gd name="connsiteY345" fmla="*/ 108997 h 350039"/>
                <a:gd name="connsiteX346" fmla="*/ 1058188 w 2663946"/>
                <a:gd name="connsiteY346" fmla="*/ 113324 h 350039"/>
                <a:gd name="connsiteX347" fmla="*/ 1062612 w 2663946"/>
                <a:gd name="connsiteY347" fmla="*/ 116027 h 350039"/>
                <a:gd name="connsiteX348" fmla="*/ 1074903 w 2663946"/>
                <a:gd name="connsiteY348" fmla="*/ 113594 h 350039"/>
                <a:gd name="connsiteX349" fmla="*/ 1078098 w 2663946"/>
                <a:gd name="connsiteY349" fmla="*/ 110079 h 350039"/>
                <a:gd name="connsiteX350" fmla="*/ 1080556 w 2663946"/>
                <a:gd name="connsiteY350" fmla="*/ 105753 h 350039"/>
                <a:gd name="connsiteX351" fmla="*/ 1081539 w 2663946"/>
                <a:gd name="connsiteY351" fmla="*/ 103590 h 350039"/>
                <a:gd name="connsiteX352" fmla="*/ 1082768 w 2663946"/>
                <a:gd name="connsiteY352" fmla="*/ 99264 h 350039"/>
                <a:gd name="connsiteX353" fmla="*/ 1082277 w 2663946"/>
                <a:gd name="connsiteY353" fmla="*/ 85474 h 350039"/>
                <a:gd name="connsiteX354" fmla="*/ 1081293 w 2663946"/>
                <a:gd name="connsiteY354" fmla="*/ 82500 h 350039"/>
                <a:gd name="connsiteX355" fmla="*/ 1080065 w 2663946"/>
                <a:gd name="connsiteY355" fmla="*/ 79526 h 350039"/>
                <a:gd name="connsiteX356" fmla="*/ 1077852 w 2663946"/>
                <a:gd name="connsiteY356" fmla="*/ 76011 h 350039"/>
                <a:gd name="connsiteX357" fmla="*/ 1074165 w 2663946"/>
                <a:gd name="connsiteY357" fmla="*/ 72226 h 350039"/>
                <a:gd name="connsiteX358" fmla="*/ 1070232 w 2663946"/>
                <a:gd name="connsiteY358" fmla="*/ 70063 h 350039"/>
                <a:gd name="connsiteX359" fmla="*/ 903203 w 2663946"/>
                <a:gd name="connsiteY359" fmla="*/ 70063 h 350039"/>
                <a:gd name="connsiteX360" fmla="*/ 891650 w 2663946"/>
                <a:gd name="connsiteY360" fmla="*/ 72496 h 350039"/>
                <a:gd name="connsiteX361" fmla="*/ 888455 w 2663946"/>
                <a:gd name="connsiteY361" fmla="*/ 76011 h 350039"/>
                <a:gd name="connsiteX362" fmla="*/ 886243 w 2663946"/>
                <a:gd name="connsiteY362" fmla="*/ 79796 h 350039"/>
                <a:gd name="connsiteX363" fmla="*/ 885260 w 2663946"/>
                <a:gd name="connsiteY363" fmla="*/ 82500 h 350039"/>
                <a:gd name="connsiteX364" fmla="*/ 884276 w 2663946"/>
                <a:gd name="connsiteY364" fmla="*/ 86556 h 350039"/>
                <a:gd name="connsiteX365" fmla="*/ 883293 w 2663946"/>
                <a:gd name="connsiteY365" fmla="*/ 93586 h 350039"/>
                <a:gd name="connsiteX366" fmla="*/ 884276 w 2663946"/>
                <a:gd name="connsiteY366" fmla="*/ 100886 h 350039"/>
                <a:gd name="connsiteX367" fmla="*/ 885506 w 2663946"/>
                <a:gd name="connsiteY367" fmla="*/ 104671 h 350039"/>
                <a:gd name="connsiteX368" fmla="*/ 887718 w 2663946"/>
                <a:gd name="connsiteY368" fmla="*/ 108997 h 350039"/>
                <a:gd name="connsiteX369" fmla="*/ 891159 w 2663946"/>
                <a:gd name="connsiteY369" fmla="*/ 113324 h 350039"/>
                <a:gd name="connsiteX370" fmla="*/ 895583 w 2663946"/>
                <a:gd name="connsiteY370" fmla="*/ 116027 h 350039"/>
                <a:gd name="connsiteX371" fmla="*/ 907874 w 2663946"/>
                <a:gd name="connsiteY371" fmla="*/ 113594 h 350039"/>
                <a:gd name="connsiteX372" fmla="*/ 911069 w 2663946"/>
                <a:gd name="connsiteY372" fmla="*/ 110079 h 350039"/>
                <a:gd name="connsiteX373" fmla="*/ 913527 w 2663946"/>
                <a:gd name="connsiteY373" fmla="*/ 105753 h 350039"/>
                <a:gd name="connsiteX374" fmla="*/ 914510 w 2663946"/>
                <a:gd name="connsiteY374" fmla="*/ 103590 h 350039"/>
                <a:gd name="connsiteX375" fmla="*/ 915739 w 2663946"/>
                <a:gd name="connsiteY375" fmla="*/ 99264 h 350039"/>
                <a:gd name="connsiteX376" fmla="*/ 915248 w 2663946"/>
                <a:gd name="connsiteY376" fmla="*/ 85474 h 350039"/>
                <a:gd name="connsiteX377" fmla="*/ 914264 w 2663946"/>
                <a:gd name="connsiteY377" fmla="*/ 82500 h 350039"/>
                <a:gd name="connsiteX378" fmla="*/ 913036 w 2663946"/>
                <a:gd name="connsiteY378" fmla="*/ 79526 h 350039"/>
                <a:gd name="connsiteX379" fmla="*/ 910823 w 2663946"/>
                <a:gd name="connsiteY379" fmla="*/ 76011 h 350039"/>
                <a:gd name="connsiteX380" fmla="*/ 907136 w 2663946"/>
                <a:gd name="connsiteY380" fmla="*/ 72226 h 350039"/>
                <a:gd name="connsiteX381" fmla="*/ 903203 w 2663946"/>
                <a:gd name="connsiteY381" fmla="*/ 70063 h 350039"/>
                <a:gd name="connsiteX382" fmla="*/ 554297 w 2663946"/>
                <a:gd name="connsiteY382" fmla="*/ 70063 h 350039"/>
                <a:gd name="connsiteX383" fmla="*/ 542744 w 2663946"/>
                <a:gd name="connsiteY383" fmla="*/ 72496 h 350039"/>
                <a:gd name="connsiteX384" fmla="*/ 539549 w 2663946"/>
                <a:gd name="connsiteY384" fmla="*/ 76011 h 350039"/>
                <a:gd name="connsiteX385" fmla="*/ 537337 w 2663946"/>
                <a:gd name="connsiteY385" fmla="*/ 79796 h 350039"/>
                <a:gd name="connsiteX386" fmla="*/ 536353 w 2663946"/>
                <a:gd name="connsiteY386" fmla="*/ 82500 h 350039"/>
                <a:gd name="connsiteX387" fmla="*/ 535370 w 2663946"/>
                <a:gd name="connsiteY387" fmla="*/ 86556 h 350039"/>
                <a:gd name="connsiteX388" fmla="*/ 534387 w 2663946"/>
                <a:gd name="connsiteY388" fmla="*/ 93586 h 350039"/>
                <a:gd name="connsiteX389" fmla="*/ 535370 w 2663946"/>
                <a:gd name="connsiteY389" fmla="*/ 100886 h 350039"/>
                <a:gd name="connsiteX390" fmla="*/ 536599 w 2663946"/>
                <a:gd name="connsiteY390" fmla="*/ 104671 h 350039"/>
                <a:gd name="connsiteX391" fmla="*/ 538811 w 2663946"/>
                <a:gd name="connsiteY391" fmla="*/ 108997 h 350039"/>
                <a:gd name="connsiteX392" fmla="*/ 542253 w 2663946"/>
                <a:gd name="connsiteY392" fmla="*/ 113324 h 350039"/>
                <a:gd name="connsiteX393" fmla="*/ 546677 w 2663946"/>
                <a:gd name="connsiteY393" fmla="*/ 116027 h 350039"/>
                <a:gd name="connsiteX394" fmla="*/ 558967 w 2663946"/>
                <a:gd name="connsiteY394" fmla="*/ 113594 h 350039"/>
                <a:gd name="connsiteX395" fmla="*/ 562163 w 2663946"/>
                <a:gd name="connsiteY395" fmla="*/ 110079 h 350039"/>
                <a:gd name="connsiteX396" fmla="*/ 564621 w 2663946"/>
                <a:gd name="connsiteY396" fmla="*/ 105753 h 350039"/>
                <a:gd name="connsiteX397" fmla="*/ 565604 w 2663946"/>
                <a:gd name="connsiteY397" fmla="*/ 103590 h 350039"/>
                <a:gd name="connsiteX398" fmla="*/ 566833 w 2663946"/>
                <a:gd name="connsiteY398" fmla="*/ 99264 h 350039"/>
                <a:gd name="connsiteX399" fmla="*/ 566341 w 2663946"/>
                <a:gd name="connsiteY399" fmla="*/ 85474 h 350039"/>
                <a:gd name="connsiteX400" fmla="*/ 565358 w 2663946"/>
                <a:gd name="connsiteY400" fmla="*/ 82500 h 350039"/>
                <a:gd name="connsiteX401" fmla="*/ 564129 w 2663946"/>
                <a:gd name="connsiteY401" fmla="*/ 79526 h 350039"/>
                <a:gd name="connsiteX402" fmla="*/ 561917 w 2663946"/>
                <a:gd name="connsiteY402" fmla="*/ 76011 h 350039"/>
                <a:gd name="connsiteX403" fmla="*/ 558230 w 2663946"/>
                <a:gd name="connsiteY403" fmla="*/ 72226 h 350039"/>
                <a:gd name="connsiteX404" fmla="*/ 554297 w 2663946"/>
                <a:gd name="connsiteY404" fmla="*/ 70063 h 350039"/>
                <a:gd name="connsiteX405" fmla="*/ 372346 w 2663946"/>
                <a:gd name="connsiteY405" fmla="*/ 70063 h 350039"/>
                <a:gd name="connsiteX406" fmla="*/ 360793 w 2663946"/>
                <a:gd name="connsiteY406" fmla="*/ 72496 h 350039"/>
                <a:gd name="connsiteX407" fmla="*/ 357598 w 2663946"/>
                <a:gd name="connsiteY407" fmla="*/ 76011 h 350039"/>
                <a:gd name="connsiteX408" fmla="*/ 355385 w 2663946"/>
                <a:gd name="connsiteY408" fmla="*/ 79796 h 350039"/>
                <a:gd name="connsiteX409" fmla="*/ 354402 w 2663946"/>
                <a:gd name="connsiteY409" fmla="*/ 82500 h 350039"/>
                <a:gd name="connsiteX410" fmla="*/ 353419 w 2663946"/>
                <a:gd name="connsiteY410" fmla="*/ 86556 h 350039"/>
                <a:gd name="connsiteX411" fmla="*/ 352436 w 2663946"/>
                <a:gd name="connsiteY411" fmla="*/ 93586 h 350039"/>
                <a:gd name="connsiteX412" fmla="*/ 353419 w 2663946"/>
                <a:gd name="connsiteY412" fmla="*/ 100886 h 350039"/>
                <a:gd name="connsiteX413" fmla="*/ 354648 w 2663946"/>
                <a:gd name="connsiteY413" fmla="*/ 104671 h 350039"/>
                <a:gd name="connsiteX414" fmla="*/ 356860 w 2663946"/>
                <a:gd name="connsiteY414" fmla="*/ 108997 h 350039"/>
                <a:gd name="connsiteX415" fmla="*/ 360301 w 2663946"/>
                <a:gd name="connsiteY415" fmla="*/ 113324 h 350039"/>
                <a:gd name="connsiteX416" fmla="*/ 364726 w 2663946"/>
                <a:gd name="connsiteY416" fmla="*/ 116027 h 350039"/>
                <a:gd name="connsiteX417" fmla="*/ 377016 w 2663946"/>
                <a:gd name="connsiteY417" fmla="*/ 113594 h 350039"/>
                <a:gd name="connsiteX418" fmla="*/ 380212 w 2663946"/>
                <a:gd name="connsiteY418" fmla="*/ 110079 h 350039"/>
                <a:gd name="connsiteX419" fmla="*/ 382670 w 2663946"/>
                <a:gd name="connsiteY419" fmla="*/ 105753 h 350039"/>
                <a:gd name="connsiteX420" fmla="*/ 383653 w 2663946"/>
                <a:gd name="connsiteY420" fmla="*/ 103590 h 350039"/>
                <a:gd name="connsiteX421" fmla="*/ 384882 w 2663946"/>
                <a:gd name="connsiteY421" fmla="*/ 99264 h 350039"/>
                <a:gd name="connsiteX422" fmla="*/ 384390 w 2663946"/>
                <a:gd name="connsiteY422" fmla="*/ 85474 h 350039"/>
                <a:gd name="connsiteX423" fmla="*/ 383407 w 2663946"/>
                <a:gd name="connsiteY423" fmla="*/ 82500 h 350039"/>
                <a:gd name="connsiteX424" fmla="*/ 382178 w 2663946"/>
                <a:gd name="connsiteY424" fmla="*/ 79526 h 350039"/>
                <a:gd name="connsiteX425" fmla="*/ 379966 w 2663946"/>
                <a:gd name="connsiteY425" fmla="*/ 76011 h 350039"/>
                <a:gd name="connsiteX426" fmla="*/ 376279 w 2663946"/>
                <a:gd name="connsiteY426" fmla="*/ 72226 h 350039"/>
                <a:gd name="connsiteX427" fmla="*/ 372346 w 2663946"/>
                <a:gd name="connsiteY427" fmla="*/ 70063 h 350039"/>
                <a:gd name="connsiteX428" fmla="*/ 129300 w 2663946"/>
                <a:gd name="connsiteY428" fmla="*/ 70063 h 350039"/>
                <a:gd name="connsiteX429" fmla="*/ 117747 w 2663946"/>
                <a:gd name="connsiteY429" fmla="*/ 72496 h 350039"/>
                <a:gd name="connsiteX430" fmla="*/ 114552 w 2663946"/>
                <a:gd name="connsiteY430" fmla="*/ 76011 h 350039"/>
                <a:gd name="connsiteX431" fmla="*/ 112340 w 2663946"/>
                <a:gd name="connsiteY431" fmla="*/ 79796 h 350039"/>
                <a:gd name="connsiteX432" fmla="*/ 111356 w 2663946"/>
                <a:gd name="connsiteY432" fmla="*/ 82500 h 350039"/>
                <a:gd name="connsiteX433" fmla="*/ 110373 w 2663946"/>
                <a:gd name="connsiteY433" fmla="*/ 86556 h 350039"/>
                <a:gd name="connsiteX434" fmla="*/ 109390 w 2663946"/>
                <a:gd name="connsiteY434" fmla="*/ 93586 h 350039"/>
                <a:gd name="connsiteX435" fmla="*/ 110373 w 2663946"/>
                <a:gd name="connsiteY435" fmla="*/ 100886 h 350039"/>
                <a:gd name="connsiteX436" fmla="*/ 111602 w 2663946"/>
                <a:gd name="connsiteY436" fmla="*/ 104671 h 350039"/>
                <a:gd name="connsiteX437" fmla="*/ 113814 w 2663946"/>
                <a:gd name="connsiteY437" fmla="*/ 108997 h 350039"/>
                <a:gd name="connsiteX438" fmla="*/ 117256 w 2663946"/>
                <a:gd name="connsiteY438" fmla="*/ 113324 h 350039"/>
                <a:gd name="connsiteX439" fmla="*/ 121680 w 2663946"/>
                <a:gd name="connsiteY439" fmla="*/ 116027 h 350039"/>
                <a:gd name="connsiteX440" fmla="*/ 133970 w 2663946"/>
                <a:gd name="connsiteY440" fmla="*/ 113594 h 350039"/>
                <a:gd name="connsiteX441" fmla="*/ 137166 w 2663946"/>
                <a:gd name="connsiteY441" fmla="*/ 110079 h 350039"/>
                <a:gd name="connsiteX442" fmla="*/ 139624 w 2663946"/>
                <a:gd name="connsiteY442" fmla="*/ 105753 h 350039"/>
                <a:gd name="connsiteX443" fmla="*/ 140607 w 2663946"/>
                <a:gd name="connsiteY443" fmla="*/ 103590 h 350039"/>
                <a:gd name="connsiteX444" fmla="*/ 141836 w 2663946"/>
                <a:gd name="connsiteY444" fmla="*/ 99264 h 350039"/>
                <a:gd name="connsiteX445" fmla="*/ 141344 w 2663946"/>
                <a:gd name="connsiteY445" fmla="*/ 85474 h 350039"/>
                <a:gd name="connsiteX446" fmla="*/ 140361 w 2663946"/>
                <a:gd name="connsiteY446" fmla="*/ 82500 h 350039"/>
                <a:gd name="connsiteX447" fmla="*/ 139132 w 2663946"/>
                <a:gd name="connsiteY447" fmla="*/ 79526 h 350039"/>
                <a:gd name="connsiteX448" fmla="*/ 136920 w 2663946"/>
                <a:gd name="connsiteY448" fmla="*/ 76011 h 350039"/>
                <a:gd name="connsiteX449" fmla="*/ 133233 w 2663946"/>
                <a:gd name="connsiteY449" fmla="*/ 72226 h 350039"/>
                <a:gd name="connsiteX450" fmla="*/ 129300 w 2663946"/>
                <a:gd name="connsiteY450" fmla="*/ 70063 h 350039"/>
                <a:gd name="connsiteX451" fmla="*/ 33147 w 2663946"/>
                <a:gd name="connsiteY451" fmla="*/ 66127 h 350039"/>
                <a:gd name="connsiteX452" fmla="*/ 21486 w 2663946"/>
                <a:gd name="connsiteY452" fmla="*/ 73856 h 350039"/>
                <a:gd name="connsiteX453" fmla="*/ 20561 w 2663946"/>
                <a:gd name="connsiteY453" fmla="*/ 78439 h 350039"/>
                <a:gd name="connsiteX454" fmla="*/ 23801 w 2663946"/>
                <a:gd name="connsiteY454" fmla="*/ 78439 h 350039"/>
                <a:gd name="connsiteX455" fmla="*/ 42218 w 2663946"/>
                <a:gd name="connsiteY455" fmla="*/ 78439 h 350039"/>
                <a:gd name="connsiteX456" fmla="*/ 45732 w 2663946"/>
                <a:gd name="connsiteY456" fmla="*/ 78439 h 350039"/>
                <a:gd name="connsiteX457" fmla="*/ 44807 w 2663946"/>
                <a:gd name="connsiteY457" fmla="*/ 73856 h 350039"/>
                <a:gd name="connsiteX458" fmla="*/ 33147 w 2663946"/>
                <a:gd name="connsiteY458" fmla="*/ 66127 h 350039"/>
                <a:gd name="connsiteX459" fmla="*/ 2537931 w 2663946"/>
                <a:gd name="connsiteY459" fmla="*/ 58539 h 350039"/>
                <a:gd name="connsiteX460" fmla="*/ 2526271 w 2663946"/>
                <a:gd name="connsiteY460" fmla="*/ 66268 h 350039"/>
                <a:gd name="connsiteX461" fmla="*/ 2525346 w 2663946"/>
                <a:gd name="connsiteY461" fmla="*/ 70851 h 350039"/>
                <a:gd name="connsiteX462" fmla="*/ 2528586 w 2663946"/>
                <a:gd name="connsiteY462" fmla="*/ 70851 h 350039"/>
                <a:gd name="connsiteX463" fmla="*/ 2547003 w 2663946"/>
                <a:gd name="connsiteY463" fmla="*/ 70851 h 350039"/>
                <a:gd name="connsiteX464" fmla="*/ 2550517 w 2663946"/>
                <a:gd name="connsiteY464" fmla="*/ 70851 h 350039"/>
                <a:gd name="connsiteX465" fmla="*/ 2549592 w 2663946"/>
                <a:gd name="connsiteY465" fmla="*/ 66268 h 350039"/>
                <a:gd name="connsiteX466" fmla="*/ 2537931 w 2663946"/>
                <a:gd name="connsiteY466" fmla="*/ 58539 h 350039"/>
                <a:gd name="connsiteX467" fmla="*/ 2112934 w 2663946"/>
                <a:gd name="connsiteY467" fmla="*/ 58539 h 350039"/>
                <a:gd name="connsiteX468" fmla="*/ 2101274 w 2663946"/>
                <a:gd name="connsiteY468" fmla="*/ 66268 h 350039"/>
                <a:gd name="connsiteX469" fmla="*/ 2100349 w 2663946"/>
                <a:gd name="connsiteY469" fmla="*/ 70851 h 350039"/>
                <a:gd name="connsiteX470" fmla="*/ 2103589 w 2663946"/>
                <a:gd name="connsiteY470" fmla="*/ 70851 h 350039"/>
                <a:gd name="connsiteX471" fmla="*/ 2122006 w 2663946"/>
                <a:gd name="connsiteY471" fmla="*/ 70851 h 350039"/>
                <a:gd name="connsiteX472" fmla="*/ 2125520 w 2663946"/>
                <a:gd name="connsiteY472" fmla="*/ 70851 h 350039"/>
                <a:gd name="connsiteX473" fmla="*/ 2124595 w 2663946"/>
                <a:gd name="connsiteY473" fmla="*/ 66268 h 350039"/>
                <a:gd name="connsiteX474" fmla="*/ 2112934 w 2663946"/>
                <a:gd name="connsiteY474" fmla="*/ 58539 h 350039"/>
                <a:gd name="connsiteX475" fmla="*/ 1854966 w 2663946"/>
                <a:gd name="connsiteY475" fmla="*/ 58539 h 350039"/>
                <a:gd name="connsiteX476" fmla="*/ 1843306 w 2663946"/>
                <a:gd name="connsiteY476" fmla="*/ 66268 h 350039"/>
                <a:gd name="connsiteX477" fmla="*/ 1842381 w 2663946"/>
                <a:gd name="connsiteY477" fmla="*/ 70851 h 350039"/>
                <a:gd name="connsiteX478" fmla="*/ 1845621 w 2663946"/>
                <a:gd name="connsiteY478" fmla="*/ 70851 h 350039"/>
                <a:gd name="connsiteX479" fmla="*/ 1864038 w 2663946"/>
                <a:gd name="connsiteY479" fmla="*/ 70851 h 350039"/>
                <a:gd name="connsiteX480" fmla="*/ 1867552 w 2663946"/>
                <a:gd name="connsiteY480" fmla="*/ 70851 h 350039"/>
                <a:gd name="connsiteX481" fmla="*/ 1866627 w 2663946"/>
                <a:gd name="connsiteY481" fmla="*/ 66268 h 350039"/>
                <a:gd name="connsiteX482" fmla="*/ 1854966 w 2663946"/>
                <a:gd name="connsiteY482" fmla="*/ 58539 h 350039"/>
                <a:gd name="connsiteX483" fmla="*/ 1764027 w 2663946"/>
                <a:gd name="connsiteY483" fmla="*/ 58539 h 350039"/>
                <a:gd name="connsiteX484" fmla="*/ 1752367 w 2663946"/>
                <a:gd name="connsiteY484" fmla="*/ 66268 h 350039"/>
                <a:gd name="connsiteX485" fmla="*/ 1751442 w 2663946"/>
                <a:gd name="connsiteY485" fmla="*/ 70851 h 350039"/>
                <a:gd name="connsiteX486" fmla="*/ 1754682 w 2663946"/>
                <a:gd name="connsiteY486" fmla="*/ 70851 h 350039"/>
                <a:gd name="connsiteX487" fmla="*/ 1773099 w 2663946"/>
                <a:gd name="connsiteY487" fmla="*/ 70851 h 350039"/>
                <a:gd name="connsiteX488" fmla="*/ 1776613 w 2663946"/>
                <a:gd name="connsiteY488" fmla="*/ 70851 h 350039"/>
                <a:gd name="connsiteX489" fmla="*/ 1775687 w 2663946"/>
                <a:gd name="connsiteY489" fmla="*/ 66268 h 350039"/>
                <a:gd name="connsiteX490" fmla="*/ 1764027 w 2663946"/>
                <a:gd name="connsiteY490" fmla="*/ 58539 h 350039"/>
                <a:gd name="connsiteX491" fmla="*/ 1506059 w 2663946"/>
                <a:gd name="connsiteY491" fmla="*/ 58539 h 350039"/>
                <a:gd name="connsiteX492" fmla="*/ 1494399 w 2663946"/>
                <a:gd name="connsiteY492" fmla="*/ 66268 h 350039"/>
                <a:gd name="connsiteX493" fmla="*/ 1493474 w 2663946"/>
                <a:gd name="connsiteY493" fmla="*/ 70851 h 350039"/>
                <a:gd name="connsiteX494" fmla="*/ 1496714 w 2663946"/>
                <a:gd name="connsiteY494" fmla="*/ 70851 h 350039"/>
                <a:gd name="connsiteX495" fmla="*/ 1515131 w 2663946"/>
                <a:gd name="connsiteY495" fmla="*/ 70851 h 350039"/>
                <a:gd name="connsiteX496" fmla="*/ 1518645 w 2663946"/>
                <a:gd name="connsiteY496" fmla="*/ 70851 h 350039"/>
                <a:gd name="connsiteX497" fmla="*/ 1517719 w 2663946"/>
                <a:gd name="connsiteY497" fmla="*/ 66268 h 350039"/>
                <a:gd name="connsiteX498" fmla="*/ 1506059 w 2663946"/>
                <a:gd name="connsiteY498" fmla="*/ 58539 h 350039"/>
                <a:gd name="connsiteX499" fmla="*/ 1415120 w 2663946"/>
                <a:gd name="connsiteY499" fmla="*/ 58539 h 350039"/>
                <a:gd name="connsiteX500" fmla="*/ 1403460 w 2663946"/>
                <a:gd name="connsiteY500" fmla="*/ 66268 h 350039"/>
                <a:gd name="connsiteX501" fmla="*/ 1402535 w 2663946"/>
                <a:gd name="connsiteY501" fmla="*/ 70851 h 350039"/>
                <a:gd name="connsiteX502" fmla="*/ 1405775 w 2663946"/>
                <a:gd name="connsiteY502" fmla="*/ 70851 h 350039"/>
                <a:gd name="connsiteX503" fmla="*/ 1424192 w 2663946"/>
                <a:gd name="connsiteY503" fmla="*/ 70851 h 350039"/>
                <a:gd name="connsiteX504" fmla="*/ 1427706 w 2663946"/>
                <a:gd name="connsiteY504" fmla="*/ 70851 h 350039"/>
                <a:gd name="connsiteX505" fmla="*/ 1426780 w 2663946"/>
                <a:gd name="connsiteY505" fmla="*/ 66268 h 350039"/>
                <a:gd name="connsiteX506" fmla="*/ 1415120 w 2663946"/>
                <a:gd name="connsiteY506" fmla="*/ 58539 h 350039"/>
                <a:gd name="connsiteX507" fmla="*/ 1157152 w 2663946"/>
                <a:gd name="connsiteY507" fmla="*/ 58539 h 350039"/>
                <a:gd name="connsiteX508" fmla="*/ 1145492 w 2663946"/>
                <a:gd name="connsiteY508" fmla="*/ 66268 h 350039"/>
                <a:gd name="connsiteX509" fmla="*/ 1144567 w 2663946"/>
                <a:gd name="connsiteY509" fmla="*/ 70851 h 350039"/>
                <a:gd name="connsiteX510" fmla="*/ 1147807 w 2663946"/>
                <a:gd name="connsiteY510" fmla="*/ 70851 h 350039"/>
                <a:gd name="connsiteX511" fmla="*/ 1166224 w 2663946"/>
                <a:gd name="connsiteY511" fmla="*/ 70851 h 350039"/>
                <a:gd name="connsiteX512" fmla="*/ 1169738 w 2663946"/>
                <a:gd name="connsiteY512" fmla="*/ 70851 h 350039"/>
                <a:gd name="connsiteX513" fmla="*/ 1168812 w 2663946"/>
                <a:gd name="connsiteY513" fmla="*/ 66268 h 350039"/>
                <a:gd name="connsiteX514" fmla="*/ 1157152 w 2663946"/>
                <a:gd name="connsiteY514" fmla="*/ 58539 h 350039"/>
                <a:gd name="connsiteX515" fmla="*/ 732156 w 2663946"/>
                <a:gd name="connsiteY515" fmla="*/ 58539 h 350039"/>
                <a:gd name="connsiteX516" fmla="*/ 720495 w 2663946"/>
                <a:gd name="connsiteY516" fmla="*/ 66268 h 350039"/>
                <a:gd name="connsiteX517" fmla="*/ 719570 w 2663946"/>
                <a:gd name="connsiteY517" fmla="*/ 70851 h 350039"/>
                <a:gd name="connsiteX518" fmla="*/ 722810 w 2663946"/>
                <a:gd name="connsiteY518" fmla="*/ 70851 h 350039"/>
                <a:gd name="connsiteX519" fmla="*/ 741228 w 2663946"/>
                <a:gd name="connsiteY519" fmla="*/ 70851 h 350039"/>
                <a:gd name="connsiteX520" fmla="*/ 744742 w 2663946"/>
                <a:gd name="connsiteY520" fmla="*/ 70851 h 350039"/>
                <a:gd name="connsiteX521" fmla="*/ 743816 w 2663946"/>
                <a:gd name="connsiteY521" fmla="*/ 66268 h 350039"/>
                <a:gd name="connsiteX522" fmla="*/ 732156 w 2663946"/>
                <a:gd name="connsiteY522" fmla="*/ 58539 h 350039"/>
                <a:gd name="connsiteX523" fmla="*/ 641217 w 2663946"/>
                <a:gd name="connsiteY523" fmla="*/ 58539 h 350039"/>
                <a:gd name="connsiteX524" fmla="*/ 629556 w 2663946"/>
                <a:gd name="connsiteY524" fmla="*/ 66268 h 350039"/>
                <a:gd name="connsiteX525" fmla="*/ 628631 w 2663946"/>
                <a:gd name="connsiteY525" fmla="*/ 70851 h 350039"/>
                <a:gd name="connsiteX526" fmla="*/ 631871 w 2663946"/>
                <a:gd name="connsiteY526" fmla="*/ 70851 h 350039"/>
                <a:gd name="connsiteX527" fmla="*/ 650289 w 2663946"/>
                <a:gd name="connsiteY527" fmla="*/ 70851 h 350039"/>
                <a:gd name="connsiteX528" fmla="*/ 653802 w 2663946"/>
                <a:gd name="connsiteY528" fmla="*/ 70851 h 350039"/>
                <a:gd name="connsiteX529" fmla="*/ 652877 w 2663946"/>
                <a:gd name="connsiteY529" fmla="*/ 66268 h 350039"/>
                <a:gd name="connsiteX530" fmla="*/ 641217 w 2663946"/>
                <a:gd name="connsiteY530" fmla="*/ 58539 h 350039"/>
                <a:gd name="connsiteX531" fmla="*/ 459266 w 2663946"/>
                <a:gd name="connsiteY531" fmla="*/ 58539 h 350039"/>
                <a:gd name="connsiteX532" fmla="*/ 447605 w 2663946"/>
                <a:gd name="connsiteY532" fmla="*/ 66268 h 350039"/>
                <a:gd name="connsiteX533" fmla="*/ 446680 w 2663946"/>
                <a:gd name="connsiteY533" fmla="*/ 70851 h 350039"/>
                <a:gd name="connsiteX534" fmla="*/ 449920 w 2663946"/>
                <a:gd name="connsiteY534" fmla="*/ 70851 h 350039"/>
                <a:gd name="connsiteX535" fmla="*/ 468337 w 2663946"/>
                <a:gd name="connsiteY535" fmla="*/ 70851 h 350039"/>
                <a:gd name="connsiteX536" fmla="*/ 471851 w 2663946"/>
                <a:gd name="connsiteY536" fmla="*/ 70851 h 350039"/>
                <a:gd name="connsiteX537" fmla="*/ 470926 w 2663946"/>
                <a:gd name="connsiteY537" fmla="*/ 66268 h 350039"/>
                <a:gd name="connsiteX538" fmla="*/ 459266 w 2663946"/>
                <a:gd name="connsiteY538" fmla="*/ 58539 h 350039"/>
                <a:gd name="connsiteX539" fmla="*/ 2361413 w 2663946"/>
                <a:gd name="connsiteY539" fmla="*/ 54179 h 350039"/>
                <a:gd name="connsiteX540" fmla="*/ 2365469 w 2663946"/>
                <a:gd name="connsiteY540" fmla="*/ 54179 h 350039"/>
                <a:gd name="connsiteX541" fmla="*/ 2370065 w 2663946"/>
                <a:gd name="connsiteY541" fmla="*/ 56613 h 350039"/>
                <a:gd name="connsiteX542" fmla="*/ 2372229 w 2663946"/>
                <a:gd name="connsiteY542" fmla="*/ 62831 h 350039"/>
                <a:gd name="connsiteX543" fmla="*/ 2372229 w 2663946"/>
                <a:gd name="connsiteY543" fmla="*/ 63372 h 350039"/>
                <a:gd name="connsiteX544" fmla="*/ 2372229 w 2663946"/>
                <a:gd name="connsiteY544" fmla="*/ 116367 h 350039"/>
                <a:gd name="connsiteX545" fmla="*/ 2372769 w 2663946"/>
                <a:gd name="connsiteY545" fmla="*/ 116907 h 350039"/>
                <a:gd name="connsiteX546" fmla="*/ 2380069 w 2663946"/>
                <a:gd name="connsiteY546" fmla="*/ 116907 h 350039"/>
                <a:gd name="connsiteX547" fmla="*/ 2384125 w 2663946"/>
                <a:gd name="connsiteY547" fmla="*/ 117989 h 350039"/>
                <a:gd name="connsiteX548" fmla="*/ 2387910 w 2663946"/>
                <a:gd name="connsiteY548" fmla="*/ 124748 h 350039"/>
                <a:gd name="connsiteX549" fmla="*/ 2385207 w 2663946"/>
                <a:gd name="connsiteY549" fmla="*/ 130426 h 350039"/>
                <a:gd name="connsiteX550" fmla="*/ 2381151 w 2663946"/>
                <a:gd name="connsiteY550" fmla="*/ 132319 h 350039"/>
                <a:gd name="connsiteX551" fmla="*/ 2380881 w 2663946"/>
                <a:gd name="connsiteY551" fmla="*/ 132319 h 350039"/>
                <a:gd name="connsiteX552" fmla="*/ 2380610 w 2663946"/>
                <a:gd name="connsiteY552" fmla="*/ 132319 h 350039"/>
                <a:gd name="connsiteX553" fmla="*/ 2380069 w 2663946"/>
                <a:gd name="connsiteY553" fmla="*/ 132319 h 350039"/>
                <a:gd name="connsiteX554" fmla="*/ 2347894 w 2663946"/>
                <a:gd name="connsiteY554" fmla="*/ 132319 h 350039"/>
                <a:gd name="connsiteX555" fmla="*/ 2347354 w 2663946"/>
                <a:gd name="connsiteY555" fmla="*/ 132319 h 350039"/>
                <a:gd name="connsiteX556" fmla="*/ 2346542 w 2663946"/>
                <a:gd name="connsiteY556" fmla="*/ 132319 h 350039"/>
                <a:gd name="connsiteX557" fmla="*/ 2345731 w 2663946"/>
                <a:gd name="connsiteY557" fmla="*/ 132049 h 350039"/>
                <a:gd name="connsiteX558" fmla="*/ 2342216 w 2663946"/>
                <a:gd name="connsiteY558" fmla="*/ 130156 h 350039"/>
                <a:gd name="connsiteX559" fmla="*/ 2339783 w 2663946"/>
                <a:gd name="connsiteY559" fmla="*/ 124478 h 350039"/>
                <a:gd name="connsiteX560" fmla="*/ 2341946 w 2663946"/>
                <a:gd name="connsiteY560" fmla="*/ 119341 h 350039"/>
                <a:gd name="connsiteX561" fmla="*/ 2347624 w 2663946"/>
                <a:gd name="connsiteY561" fmla="*/ 116907 h 350039"/>
                <a:gd name="connsiteX562" fmla="*/ 2355465 w 2663946"/>
                <a:gd name="connsiteY562" fmla="*/ 116907 h 350039"/>
                <a:gd name="connsiteX563" fmla="*/ 2356006 w 2663946"/>
                <a:gd name="connsiteY563" fmla="*/ 116367 h 350039"/>
                <a:gd name="connsiteX564" fmla="*/ 2356006 w 2663946"/>
                <a:gd name="connsiteY564" fmla="*/ 70402 h 350039"/>
                <a:gd name="connsiteX565" fmla="*/ 2355465 w 2663946"/>
                <a:gd name="connsiteY565" fmla="*/ 69861 h 350039"/>
                <a:gd name="connsiteX566" fmla="*/ 2349517 w 2663946"/>
                <a:gd name="connsiteY566" fmla="*/ 69861 h 350039"/>
                <a:gd name="connsiteX567" fmla="*/ 2342216 w 2663946"/>
                <a:gd name="connsiteY567" fmla="*/ 65265 h 350039"/>
                <a:gd name="connsiteX568" fmla="*/ 2341946 w 2663946"/>
                <a:gd name="connsiteY568" fmla="*/ 59587 h 350039"/>
                <a:gd name="connsiteX569" fmla="*/ 2349246 w 2663946"/>
                <a:gd name="connsiteY569" fmla="*/ 54450 h 350039"/>
                <a:gd name="connsiteX570" fmla="*/ 2361413 w 2663946"/>
                <a:gd name="connsiteY570" fmla="*/ 54179 h 350039"/>
                <a:gd name="connsiteX571" fmla="*/ 2285396 w 2663946"/>
                <a:gd name="connsiteY571" fmla="*/ 54179 h 350039"/>
                <a:gd name="connsiteX572" fmla="*/ 2289452 w 2663946"/>
                <a:gd name="connsiteY572" fmla="*/ 54179 h 350039"/>
                <a:gd name="connsiteX573" fmla="*/ 2294048 w 2663946"/>
                <a:gd name="connsiteY573" fmla="*/ 56613 h 350039"/>
                <a:gd name="connsiteX574" fmla="*/ 2296212 w 2663946"/>
                <a:gd name="connsiteY574" fmla="*/ 62831 h 350039"/>
                <a:gd name="connsiteX575" fmla="*/ 2296212 w 2663946"/>
                <a:gd name="connsiteY575" fmla="*/ 63372 h 350039"/>
                <a:gd name="connsiteX576" fmla="*/ 2296212 w 2663946"/>
                <a:gd name="connsiteY576" fmla="*/ 116367 h 350039"/>
                <a:gd name="connsiteX577" fmla="*/ 2296752 w 2663946"/>
                <a:gd name="connsiteY577" fmla="*/ 116907 h 350039"/>
                <a:gd name="connsiteX578" fmla="*/ 2304052 w 2663946"/>
                <a:gd name="connsiteY578" fmla="*/ 116907 h 350039"/>
                <a:gd name="connsiteX579" fmla="*/ 2308108 w 2663946"/>
                <a:gd name="connsiteY579" fmla="*/ 117989 h 350039"/>
                <a:gd name="connsiteX580" fmla="*/ 2311893 w 2663946"/>
                <a:gd name="connsiteY580" fmla="*/ 124748 h 350039"/>
                <a:gd name="connsiteX581" fmla="*/ 2309190 w 2663946"/>
                <a:gd name="connsiteY581" fmla="*/ 130426 h 350039"/>
                <a:gd name="connsiteX582" fmla="*/ 2305134 w 2663946"/>
                <a:gd name="connsiteY582" fmla="*/ 132319 h 350039"/>
                <a:gd name="connsiteX583" fmla="*/ 2304864 w 2663946"/>
                <a:gd name="connsiteY583" fmla="*/ 132319 h 350039"/>
                <a:gd name="connsiteX584" fmla="*/ 2304593 w 2663946"/>
                <a:gd name="connsiteY584" fmla="*/ 132319 h 350039"/>
                <a:gd name="connsiteX585" fmla="*/ 2304052 w 2663946"/>
                <a:gd name="connsiteY585" fmla="*/ 132319 h 350039"/>
                <a:gd name="connsiteX586" fmla="*/ 2271877 w 2663946"/>
                <a:gd name="connsiteY586" fmla="*/ 132319 h 350039"/>
                <a:gd name="connsiteX587" fmla="*/ 2271337 w 2663946"/>
                <a:gd name="connsiteY587" fmla="*/ 132319 h 350039"/>
                <a:gd name="connsiteX588" fmla="*/ 2270525 w 2663946"/>
                <a:gd name="connsiteY588" fmla="*/ 132319 h 350039"/>
                <a:gd name="connsiteX589" fmla="*/ 2269714 w 2663946"/>
                <a:gd name="connsiteY589" fmla="*/ 132049 h 350039"/>
                <a:gd name="connsiteX590" fmla="*/ 2266199 w 2663946"/>
                <a:gd name="connsiteY590" fmla="*/ 130156 h 350039"/>
                <a:gd name="connsiteX591" fmla="*/ 2263766 w 2663946"/>
                <a:gd name="connsiteY591" fmla="*/ 124478 h 350039"/>
                <a:gd name="connsiteX592" fmla="*/ 2265929 w 2663946"/>
                <a:gd name="connsiteY592" fmla="*/ 119341 h 350039"/>
                <a:gd name="connsiteX593" fmla="*/ 2271607 w 2663946"/>
                <a:gd name="connsiteY593" fmla="*/ 116907 h 350039"/>
                <a:gd name="connsiteX594" fmla="*/ 2279448 w 2663946"/>
                <a:gd name="connsiteY594" fmla="*/ 116907 h 350039"/>
                <a:gd name="connsiteX595" fmla="*/ 2279989 w 2663946"/>
                <a:gd name="connsiteY595" fmla="*/ 116367 h 350039"/>
                <a:gd name="connsiteX596" fmla="*/ 2279989 w 2663946"/>
                <a:gd name="connsiteY596" fmla="*/ 70402 h 350039"/>
                <a:gd name="connsiteX597" fmla="*/ 2279448 w 2663946"/>
                <a:gd name="connsiteY597" fmla="*/ 69861 h 350039"/>
                <a:gd name="connsiteX598" fmla="*/ 2273500 w 2663946"/>
                <a:gd name="connsiteY598" fmla="*/ 69861 h 350039"/>
                <a:gd name="connsiteX599" fmla="*/ 2266199 w 2663946"/>
                <a:gd name="connsiteY599" fmla="*/ 65265 h 350039"/>
                <a:gd name="connsiteX600" fmla="*/ 2265929 w 2663946"/>
                <a:gd name="connsiteY600" fmla="*/ 59587 h 350039"/>
                <a:gd name="connsiteX601" fmla="*/ 2273229 w 2663946"/>
                <a:gd name="connsiteY601" fmla="*/ 54450 h 350039"/>
                <a:gd name="connsiteX602" fmla="*/ 2285396 w 2663946"/>
                <a:gd name="connsiteY602" fmla="*/ 54179 h 350039"/>
                <a:gd name="connsiteX603" fmla="*/ 1936416 w 2663946"/>
                <a:gd name="connsiteY603" fmla="*/ 54179 h 350039"/>
                <a:gd name="connsiteX604" fmla="*/ 1940472 w 2663946"/>
                <a:gd name="connsiteY604" fmla="*/ 54179 h 350039"/>
                <a:gd name="connsiteX605" fmla="*/ 1945068 w 2663946"/>
                <a:gd name="connsiteY605" fmla="*/ 56613 h 350039"/>
                <a:gd name="connsiteX606" fmla="*/ 1947232 w 2663946"/>
                <a:gd name="connsiteY606" fmla="*/ 62831 h 350039"/>
                <a:gd name="connsiteX607" fmla="*/ 1947232 w 2663946"/>
                <a:gd name="connsiteY607" fmla="*/ 63372 h 350039"/>
                <a:gd name="connsiteX608" fmla="*/ 1947232 w 2663946"/>
                <a:gd name="connsiteY608" fmla="*/ 116367 h 350039"/>
                <a:gd name="connsiteX609" fmla="*/ 1947772 w 2663946"/>
                <a:gd name="connsiteY609" fmla="*/ 116907 h 350039"/>
                <a:gd name="connsiteX610" fmla="*/ 1955072 w 2663946"/>
                <a:gd name="connsiteY610" fmla="*/ 116907 h 350039"/>
                <a:gd name="connsiteX611" fmla="*/ 1959128 w 2663946"/>
                <a:gd name="connsiteY611" fmla="*/ 117989 h 350039"/>
                <a:gd name="connsiteX612" fmla="*/ 1962913 w 2663946"/>
                <a:gd name="connsiteY612" fmla="*/ 124748 h 350039"/>
                <a:gd name="connsiteX613" fmla="*/ 1960210 w 2663946"/>
                <a:gd name="connsiteY613" fmla="*/ 130426 h 350039"/>
                <a:gd name="connsiteX614" fmla="*/ 1956154 w 2663946"/>
                <a:gd name="connsiteY614" fmla="*/ 132319 h 350039"/>
                <a:gd name="connsiteX615" fmla="*/ 1955884 w 2663946"/>
                <a:gd name="connsiteY615" fmla="*/ 132319 h 350039"/>
                <a:gd name="connsiteX616" fmla="*/ 1955613 w 2663946"/>
                <a:gd name="connsiteY616" fmla="*/ 132319 h 350039"/>
                <a:gd name="connsiteX617" fmla="*/ 1955072 w 2663946"/>
                <a:gd name="connsiteY617" fmla="*/ 132319 h 350039"/>
                <a:gd name="connsiteX618" fmla="*/ 1922897 w 2663946"/>
                <a:gd name="connsiteY618" fmla="*/ 132319 h 350039"/>
                <a:gd name="connsiteX619" fmla="*/ 1922357 w 2663946"/>
                <a:gd name="connsiteY619" fmla="*/ 132319 h 350039"/>
                <a:gd name="connsiteX620" fmla="*/ 1921545 w 2663946"/>
                <a:gd name="connsiteY620" fmla="*/ 132319 h 350039"/>
                <a:gd name="connsiteX621" fmla="*/ 1920734 w 2663946"/>
                <a:gd name="connsiteY621" fmla="*/ 132049 h 350039"/>
                <a:gd name="connsiteX622" fmla="*/ 1917219 w 2663946"/>
                <a:gd name="connsiteY622" fmla="*/ 130156 h 350039"/>
                <a:gd name="connsiteX623" fmla="*/ 1914786 w 2663946"/>
                <a:gd name="connsiteY623" fmla="*/ 124478 h 350039"/>
                <a:gd name="connsiteX624" fmla="*/ 1916949 w 2663946"/>
                <a:gd name="connsiteY624" fmla="*/ 119341 h 350039"/>
                <a:gd name="connsiteX625" fmla="*/ 1922627 w 2663946"/>
                <a:gd name="connsiteY625" fmla="*/ 116907 h 350039"/>
                <a:gd name="connsiteX626" fmla="*/ 1930468 w 2663946"/>
                <a:gd name="connsiteY626" fmla="*/ 116907 h 350039"/>
                <a:gd name="connsiteX627" fmla="*/ 1931009 w 2663946"/>
                <a:gd name="connsiteY627" fmla="*/ 116367 h 350039"/>
                <a:gd name="connsiteX628" fmla="*/ 1931009 w 2663946"/>
                <a:gd name="connsiteY628" fmla="*/ 70402 h 350039"/>
                <a:gd name="connsiteX629" fmla="*/ 1930468 w 2663946"/>
                <a:gd name="connsiteY629" fmla="*/ 69861 h 350039"/>
                <a:gd name="connsiteX630" fmla="*/ 1924520 w 2663946"/>
                <a:gd name="connsiteY630" fmla="*/ 69861 h 350039"/>
                <a:gd name="connsiteX631" fmla="*/ 1917219 w 2663946"/>
                <a:gd name="connsiteY631" fmla="*/ 65265 h 350039"/>
                <a:gd name="connsiteX632" fmla="*/ 1916949 w 2663946"/>
                <a:gd name="connsiteY632" fmla="*/ 59587 h 350039"/>
                <a:gd name="connsiteX633" fmla="*/ 1924249 w 2663946"/>
                <a:gd name="connsiteY633" fmla="*/ 54450 h 350039"/>
                <a:gd name="connsiteX634" fmla="*/ 1936416 w 2663946"/>
                <a:gd name="connsiteY634" fmla="*/ 54179 h 350039"/>
                <a:gd name="connsiteX635" fmla="*/ 1678521 w 2663946"/>
                <a:gd name="connsiteY635" fmla="*/ 54179 h 350039"/>
                <a:gd name="connsiteX636" fmla="*/ 1682577 w 2663946"/>
                <a:gd name="connsiteY636" fmla="*/ 54179 h 350039"/>
                <a:gd name="connsiteX637" fmla="*/ 1687173 w 2663946"/>
                <a:gd name="connsiteY637" fmla="*/ 56613 h 350039"/>
                <a:gd name="connsiteX638" fmla="*/ 1689336 w 2663946"/>
                <a:gd name="connsiteY638" fmla="*/ 62831 h 350039"/>
                <a:gd name="connsiteX639" fmla="*/ 1689336 w 2663946"/>
                <a:gd name="connsiteY639" fmla="*/ 63372 h 350039"/>
                <a:gd name="connsiteX640" fmla="*/ 1689336 w 2663946"/>
                <a:gd name="connsiteY640" fmla="*/ 116367 h 350039"/>
                <a:gd name="connsiteX641" fmla="*/ 1689877 w 2663946"/>
                <a:gd name="connsiteY641" fmla="*/ 116907 h 350039"/>
                <a:gd name="connsiteX642" fmla="*/ 1697177 w 2663946"/>
                <a:gd name="connsiteY642" fmla="*/ 116907 h 350039"/>
                <a:gd name="connsiteX643" fmla="*/ 1701233 w 2663946"/>
                <a:gd name="connsiteY643" fmla="*/ 117989 h 350039"/>
                <a:gd name="connsiteX644" fmla="*/ 1705018 w 2663946"/>
                <a:gd name="connsiteY644" fmla="*/ 124748 h 350039"/>
                <a:gd name="connsiteX645" fmla="*/ 1702315 w 2663946"/>
                <a:gd name="connsiteY645" fmla="*/ 130426 h 350039"/>
                <a:gd name="connsiteX646" fmla="*/ 1698259 w 2663946"/>
                <a:gd name="connsiteY646" fmla="*/ 132319 h 350039"/>
                <a:gd name="connsiteX647" fmla="*/ 1697989 w 2663946"/>
                <a:gd name="connsiteY647" fmla="*/ 132319 h 350039"/>
                <a:gd name="connsiteX648" fmla="*/ 1697718 w 2663946"/>
                <a:gd name="connsiteY648" fmla="*/ 132319 h 350039"/>
                <a:gd name="connsiteX649" fmla="*/ 1697177 w 2663946"/>
                <a:gd name="connsiteY649" fmla="*/ 132319 h 350039"/>
                <a:gd name="connsiteX650" fmla="*/ 1665002 w 2663946"/>
                <a:gd name="connsiteY650" fmla="*/ 132319 h 350039"/>
                <a:gd name="connsiteX651" fmla="*/ 1664462 w 2663946"/>
                <a:gd name="connsiteY651" fmla="*/ 132319 h 350039"/>
                <a:gd name="connsiteX652" fmla="*/ 1663650 w 2663946"/>
                <a:gd name="connsiteY652" fmla="*/ 132319 h 350039"/>
                <a:gd name="connsiteX653" fmla="*/ 1662839 w 2663946"/>
                <a:gd name="connsiteY653" fmla="*/ 132049 h 350039"/>
                <a:gd name="connsiteX654" fmla="*/ 1659324 w 2663946"/>
                <a:gd name="connsiteY654" fmla="*/ 130156 h 350039"/>
                <a:gd name="connsiteX655" fmla="*/ 1656891 w 2663946"/>
                <a:gd name="connsiteY655" fmla="*/ 124478 h 350039"/>
                <a:gd name="connsiteX656" fmla="*/ 1659054 w 2663946"/>
                <a:gd name="connsiteY656" fmla="*/ 119341 h 350039"/>
                <a:gd name="connsiteX657" fmla="*/ 1664732 w 2663946"/>
                <a:gd name="connsiteY657" fmla="*/ 116907 h 350039"/>
                <a:gd name="connsiteX658" fmla="*/ 1672573 w 2663946"/>
                <a:gd name="connsiteY658" fmla="*/ 116907 h 350039"/>
                <a:gd name="connsiteX659" fmla="*/ 1673114 w 2663946"/>
                <a:gd name="connsiteY659" fmla="*/ 116367 h 350039"/>
                <a:gd name="connsiteX660" fmla="*/ 1673114 w 2663946"/>
                <a:gd name="connsiteY660" fmla="*/ 70402 h 350039"/>
                <a:gd name="connsiteX661" fmla="*/ 1672573 w 2663946"/>
                <a:gd name="connsiteY661" fmla="*/ 69861 h 350039"/>
                <a:gd name="connsiteX662" fmla="*/ 1666625 w 2663946"/>
                <a:gd name="connsiteY662" fmla="*/ 69861 h 350039"/>
                <a:gd name="connsiteX663" fmla="*/ 1659324 w 2663946"/>
                <a:gd name="connsiteY663" fmla="*/ 65265 h 350039"/>
                <a:gd name="connsiteX664" fmla="*/ 1659054 w 2663946"/>
                <a:gd name="connsiteY664" fmla="*/ 59587 h 350039"/>
                <a:gd name="connsiteX665" fmla="*/ 1666354 w 2663946"/>
                <a:gd name="connsiteY665" fmla="*/ 54450 h 350039"/>
                <a:gd name="connsiteX666" fmla="*/ 1678521 w 2663946"/>
                <a:gd name="connsiteY666" fmla="*/ 54179 h 350039"/>
                <a:gd name="connsiteX667" fmla="*/ 1329614 w 2663946"/>
                <a:gd name="connsiteY667" fmla="*/ 54179 h 350039"/>
                <a:gd name="connsiteX668" fmla="*/ 1333670 w 2663946"/>
                <a:gd name="connsiteY668" fmla="*/ 54179 h 350039"/>
                <a:gd name="connsiteX669" fmla="*/ 1338266 w 2663946"/>
                <a:gd name="connsiteY669" fmla="*/ 56613 h 350039"/>
                <a:gd name="connsiteX670" fmla="*/ 1340429 w 2663946"/>
                <a:gd name="connsiteY670" fmla="*/ 62831 h 350039"/>
                <a:gd name="connsiteX671" fmla="*/ 1340429 w 2663946"/>
                <a:gd name="connsiteY671" fmla="*/ 63372 h 350039"/>
                <a:gd name="connsiteX672" fmla="*/ 1340429 w 2663946"/>
                <a:gd name="connsiteY672" fmla="*/ 116367 h 350039"/>
                <a:gd name="connsiteX673" fmla="*/ 1340970 w 2663946"/>
                <a:gd name="connsiteY673" fmla="*/ 116907 h 350039"/>
                <a:gd name="connsiteX674" fmla="*/ 1348270 w 2663946"/>
                <a:gd name="connsiteY674" fmla="*/ 116907 h 350039"/>
                <a:gd name="connsiteX675" fmla="*/ 1352326 w 2663946"/>
                <a:gd name="connsiteY675" fmla="*/ 117989 h 350039"/>
                <a:gd name="connsiteX676" fmla="*/ 1356111 w 2663946"/>
                <a:gd name="connsiteY676" fmla="*/ 124748 h 350039"/>
                <a:gd name="connsiteX677" fmla="*/ 1353408 w 2663946"/>
                <a:gd name="connsiteY677" fmla="*/ 130426 h 350039"/>
                <a:gd name="connsiteX678" fmla="*/ 1349352 w 2663946"/>
                <a:gd name="connsiteY678" fmla="*/ 132319 h 350039"/>
                <a:gd name="connsiteX679" fmla="*/ 1349082 w 2663946"/>
                <a:gd name="connsiteY679" fmla="*/ 132319 h 350039"/>
                <a:gd name="connsiteX680" fmla="*/ 1348811 w 2663946"/>
                <a:gd name="connsiteY680" fmla="*/ 132319 h 350039"/>
                <a:gd name="connsiteX681" fmla="*/ 1348270 w 2663946"/>
                <a:gd name="connsiteY681" fmla="*/ 132319 h 350039"/>
                <a:gd name="connsiteX682" fmla="*/ 1316095 w 2663946"/>
                <a:gd name="connsiteY682" fmla="*/ 132319 h 350039"/>
                <a:gd name="connsiteX683" fmla="*/ 1315555 w 2663946"/>
                <a:gd name="connsiteY683" fmla="*/ 132319 h 350039"/>
                <a:gd name="connsiteX684" fmla="*/ 1314743 w 2663946"/>
                <a:gd name="connsiteY684" fmla="*/ 132319 h 350039"/>
                <a:gd name="connsiteX685" fmla="*/ 1313932 w 2663946"/>
                <a:gd name="connsiteY685" fmla="*/ 132049 h 350039"/>
                <a:gd name="connsiteX686" fmla="*/ 1310417 w 2663946"/>
                <a:gd name="connsiteY686" fmla="*/ 130156 h 350039"/>
                <a:gd name="connsiteX687" fmla="*/ 1307984 w 2663946"/>
                <a:gd name="connsiteY687" fmla="*/ 124478 h 350039"/>
                <a:gd name="connsiteX688" fmla="*/ 1310147 w 2663946"/>
                <a:gd name="connsiteY688" fmla="*/ 119341 h 350039"/>
                <a:gd name="connsiteX689" fmla="*/ 1315825 w 2663946"/>
                <a:gd name="connsiteY689" fmla="*/ 116907 h 350039"/>
                <a:gd name="connsiteX690" fmla="*/ 1323666 w 2663946"/>
                <a:gd name="connsiteY690" fmla="*/ 116907 h 350039"/>
                <a:gd name="connsiteX691" fmla="*/ 1324207 w 2663946"/>
                <a:gd name="connsiteY691" fmla="*/ 116367 h 350039"/>
                <a:gd name="connsiteX692" fmla="*/ 1324207 w 2663946"/>
                <a:gd name="connsiteY692" fmla="*/ 70402 h 350039"/>
                <a:gd name="connsiteX693" fmla="*/ 1323666 w 2663946"/>
                <a:gd name="connsiteY693" fmla="*/ 69861 h 350039"/>
                <a:gd name="connsiteX694" fmla="*/ 1317718 w 2663946"/>
                <a:gd name="connsiteY694" fmla="*/ 69861 h 350039"/>
                <a:gd name="connsiteX695" fmla="*/ 1310417 w 2663946"/>
                <a:gd name="connsiteY695" fmla="*/ 65265 h 350039"/>
                <a:gd name="connsiteX696" fmla="*/ 1310147 w 2663946"/>
                <a:gd name="connsiteY696" fmla="*/ 59587 h 350039"/>
                <a:gd name="connsiteX697" fmla="*/ 1317447 w 2663946"/>
                <a:gd name="connsiteY697" fmla="*/ 54450 h 350039"/>
                <a:gd name="connsiteX698" fmla="*/ 1329614 w 2663946"/>
                <a:gd name="connsiteY698" fmla="*/ 54179 h 350039"/>
                <a:gd name="connsiteX699" fmla="*/ 980634 w 2663946"/>
                <a:gd name="connsiteY699" fmla="*/ 54179 h 350039"/>
                <a:gd name="connsiteX700" fmla="*/ 984690 w 2663946"/>
                <a:gd name="connsiteY700" fmla="*/ 54179 h 350039"/>
                <a:gd name="connsiteX701" fmla="*/ 989286 w 2663946"/>
                <a:gd name="connsiteY701" fmla="*/ 56613 h 350039"/>
                <a:gd name="connsiteX702" fmla="*/ 991449 w 2663946"/>
                <a:gd name="connsiteY702" fmla="*/ 62831 h 350039"/>
                <a:gd name="connsiteX703" fmla="*/ 991449 w 2663946"/>
                <a:gd name="connsiteY703" fmla="*/ 63372 h 350039"/>
                <a:gd name="connsiteX704" fmla="*/ 991449 w 2663946"/>
                <a:gd name="connsiteY704" fmla="*/ 116367 h 350039"/>
                <a:gd name="connsiteX705" fmla="*/ 991990 w 2663946"/>
                <a:gd name="connsiteY705" fmla="*/ 116907 h 350039"/>
                <a:gd name="connsiteX706" fmla="*/ 999290 w 2663946"/>
                <a:gd name="connsiteY706" fmla="*/ 116907 h 350039"/>
                <a:gd name="connsiteX707" fmla="*/ 1003346 w 2663946"/>
                <a:gd name="connsiteY707" fmla="*/ 117989 h 350039"/>
                <a:gd name="connsiteX708" fmla="*/ 1007131 w 2663946"/>
                <a:gd name="connsiteY708" fmla="*/ 124748 h 350039"/>
                <a:gd name="connsiteX709" fmla="*/ 1004428 w 2663946"/>
                <a:gd name="connsiteY709" fmla="*/ 130426 h 350039"/>
                <a:gd name="connsiteX710" fmla="*/ 1000372 w 2663946"/>
                <a:gd name="connsiteY710" fmla="*/ 132319 h 350039"/>
                <a:gd name="connsiteX711" fmla="*/ 1000102 w 2663946"/>
                <a:gd name="connsiteY711" fmla="*/ 132319 h 350039"/>
                <a:gd name="connsiteX712" fmla="*/ 999831 w 2663946"/>
                <a:gd name="connsiteY712" fmla="*/ 132319 h 350039"/>
                <a:gd name="connsiteX713" fmla="*/ 999290 w 2663946"/>
                <a:gd name="connsiteY713" fmla="*/ 132319 h 350039"/>
                <a:gd name="connsiteX714" fmla="*/ 967115 w 2663946"/>
                <a:gd name="connsiteY714" fmla="*/ 132319 h 350039"/>
                <a:gd name="connsiteX715" fmla="*/ 966575 w 2663946"/>
                <a:gd name="connsiteY715" fmla="*/ 132319 h 350039"/>
                <a:gd name="connsiteX716" fmla="*/ 965763 w 2663946"/>
                <a:gd name="connsiteY716" fmla="*/ 132319 h 350039"/>
                <a:gd name="connsiteX717" fmla="*/ 964952 w 2663946"/>
                <a:gd name="connsiteY717" fmla="*/ 132049 h 350039"/>
                <a:gd name="connsiteX718" fmla="*/ 961437 w 2663946"/>
                <a:gd name="connsiteY718" fmla="*/ 130156 h 350039"/>
                <a:gd name="connsiteX719" fmla="*/ 959004 w 2663946"/>
                <a:gd name="connsiteY719" fmla="*/ 124478 h 350039"/>
                <a:gd name="connsiteX720" fmla="*/ 961167 w 2663946"/>
                <a:gd name="connsiteY720" fmla="*/ 119341 h 350039"/>
                <a:gd name="connsiteX721" fmla="*/ 966845 w 2663946"/>
                <a:gd name="connsiteY721" fmla="*/ 116907 h 350039"/>
                <a:gd name="connsiteX722" fmla="*/ 974686 w 2663946"/>
                <a:gd name="connsiteY722" fmla="*/ 116907 h 350039"/>
                <a:gd name="connsiteX723" fmla="*/ 975227 w 2663946"/>
                <a:gd name="connsiteY723" fmla="*/ 116367 h 350039"/>
                <a:gd name="connsiteX724" fmla="*/ 975227 w 2663946"/>
                <a:gd name="connsiteY724" fmla="*/ 70402 h 350039"/>
                <a:gd name="connsiteX725" fmla="*/ 974686 w 2663946"/>
                <a:gd name="connsiteY725" fmla="*/ 69861 h 350039"/>
                <a:gd name="connsiteX726" fmla="*/ 968738 w 2663946"/>
                <a:gd name="connsiteY726" fmla="*/ 69861 h 350039"/>
                <a:gd name="connsiteX727" fmla="*/ 961437 w 2663946"/>
                <a:gd name="connsiteY727" fmla="*/ 65265 h 350039"/>
                <a:gd name="connsiteX728" fmla="*/ 961167 w 2663946"/>
                <a:gd name="connsiteY728" fmla="*/ 59587 h 350039"/>
                <a:gd name="connsiteX729" fmla="*/ 968467 w 2663946"/>
                <a:gd name="connsiteY729" fmla="*/ 54450 h 350039"/>
                <a:gd name="connsiteX730" fmla="*/ 980634 w 2663946"/>
                <a:gd name="connsiteY730" fmla="*/ 54179 h 350039"/>
                <a:gd name="connsiteX731" fmla="*/ 813605 w 2663946"/>
                <a:gd name="connsiteY731" fmla="*/ 54179 h 350039"/>
                <a:gd name="connsiteX732" fmla="*/ 817661 w 2663946"/>
                <a:gd name="connsiteY732" fmla="*/ 54179 h 350039"/>
                <a:gd name="connsiteX733" fmla="*/ 822257 w 2663946"/>
                <a:gd name="connsiteY733" fmla="*/ 56613 h 350039"/>
                <a:gd name="connsiteX734" fmla="*/ 824420 w 2663946"/>
                <a:gd name="connsiteY734" fmla="*/ 62831 h 350039"/>
                <a:gd name="connsiteX735" fmla="*/ 824420 w 2663946"/>
                <a:gd name="connsiteY735" fmla="*/ 63372 h 350039"/>
                <a:gd name="connsiteX736" fmla="*/ 824420 w 2663946"/>
                <a:gd name="connsiteY736" fmla="*/ 116367 h 350039"/>
                <a:gd name="connsiteX737" fmla="*/ 824961 w 2663946"/>
                <a:gd name="connsiteY737" fmla="*/ 116907 h 350039"/>
                <a:gd name="connsiteX738" fmla="*/ 832261 w 2663946"/>
                <a:gd name="connsiteY738" fmla="*/ 116907 h 350039"/>
                <a:gd name="connsiteX739" fmla="*/ 836317 w 2663946"/>
                <a:gd name="connsiteY739" fmla="*/ 117989 h 350039"/>
                <a:gd name="connsiteX740" fmla="*/ 840102 w 2663946"/>
                <a:gd name="connsiteY740" fmla="*/ 124748 h 350039"/>
                <a:gd name="connsiteX741" fmla="*/ 837399 w 2663946"/>
                <a:gd name="connsiteY741" fmla="*/ 130426 h 350039"/>
                <a:gd name="connsiteX742" fmla="*/ 833343 w 2663946"/>
                <a:gd name="connsiteY742" fmla="*/ 132319 h 350039"/>
                <a:gd name="connsiteX743" fmla="*/ 833073 w 2663946"/>
                <a:gd name="connsiteY743" fmla="*/ 132319 h 350039"/>
                <a:gd name="connsiteX744" fmla="*/ 832802 w 2663946"/>
                <a:gd name="connsiteY744" fmla="*/ 132319 h 350039"/>
                <a:gd name="connsiteX745" fmla="*/ 832261 w 2663946"/>
                <a:gd name="connsiteY745" fmla="*/ 132319 h 350039"/>
                <a:gd name="connsiteX746" fmla="*/ 800086 w 2663946"/>
                <a:gd name="connsiteY746" fmla="*/ 132319 h 350039"/>
                <a:gd name="connsiteX747" fmla="*/ 799546 w 2663946"/>
                <a:gd name="connsiteY747" fmla="*/ 132319 h 350039"/>
                <a:gd name="connsiteX748" fmla="*/ 798734 w 2663946"/>
                <a:gd name="connsiteY748" fmla="*/ 132319 h 350039"/>
                <a:gd name="connsiteX749" fmla="*/ 797923 w 2663946"/>
                <a:gd name="connsiteY749" fmla="*/ 132049 h 350039"/>
                <a:gd name="connsiteX750" fmla="*/ 794408 w 2663946"/>
                <a:gd name="connsiteY750" fmla="*/ 130156 h 350039"/>
                <a:gd name="connsiteX751" fmla="*/ 791975 w 2663946"/>
                <a:gd name="connsiteY751" fmla="*/ 124478 h 350039"/>
                <a:gd name="connsiteX752" fmla="*/ 794138 w 2663946"/>
                <a:gd name="connsiteY752" fmla="*/ 119341 h 350039"/>
                <a:gd name="connsiteX753" fmla="*/ 799816 w 2663946"/>
                <a:gd name="connsiteY753" fmla="*/ 116907 h 350039"/>
                <a:gd name="connsiteX754" fmla="*/ 807657 w 2663946"/>
                <a:gd name="connsiteY754" fmla="*/ 116907 h 350039"/>
                <a:gd name="connsiteX755" fmla="*/ 808198 w 2663946"/>
                <a:gd name="connsiteY755" fmla="*/ 116367 h 350039"/>
                <a:gd name="connsiteX756" fmla="*/ 808198 w 2663946"/>
                <a:gd name="connsiteY756" fmla="*/ 70402 h 350039"/>
                <a:gd name="connsiteX757" fmla="*/ 807657 w 2663946"/>
                <a:gd name="connsiteY757" fmla="*/ 69861 h 350039"/>
                <a:gd name="connsiteX758" fmla="*/ 801709 w 2663946"/>
                <a:gd name="connsiteY758" fmla="*/ 69861 h 350039"/>
                <a:gd name="connsiteX759" fmla="*/ 794408 w 2663946"/>
                <a:gd name="connsiteY759" fmla="*/ 65265 h 350039"/>
                <a:gd name="connsiteX760" fmla="*/ 794138 w 2663946"/>
                <a:gd name="connsiteY760" fmla="*/ 59587 h 350039"/>
                <a:gd name="connsiteX761" fmla="*/ 801438 w 2663946"/>
                <a:gd name="connsiteY761" fmla="*/ 54450 h 350039"/>
                <a:gd name="connsiteX762" fmla="*/ 813605 w 2663946"/>
                <a:gd name="connsiteY762" fmla="*/ 54179 h 350039"/>
                <a:gd name="connsiteX763" fmla="*/ 282748 w 2663946"/>
                <a:gd name="connsiteY763" fmla="*/ 54179 h 350039"/>
                <a:gd name="connsiteX764" fmla="*/ 286803 w 2663946"/>
                <a:gd name="connsiteY764" fmla="*/ 54179 h 350039"/>
                <a:gd name="connsiteX765" fmla="*/ 291400 w 2663946"/>
                <a:gd name="connsiteY765" fmla="*/ 56613 h 350039"/>
                <a:gd name="connsiteX766" fmla="*/ 293563 w 2663946"/>
                <a:gd name="connsiteY766" fmla="*/ 62831 h 350039"/>
                <a:gd name="connsiteX767" fmla="*/ 293563 w 2663946"/>
                <a:gd name="connsiteY767" fmla="*/ 63372 h 350039"/>
                <a:gd name="connsiteX768" fmla="*/ 293563 w 2663946"/>
                <a:gd name="connsiteY768" fmla="*/ 116367 h 350039"/>
                <a:gd name="connsiteX769" fmla="*/ 294104 w 2663946"/>
                <a:gd name="connsiteY769" fmla="*/ 116907 h 350039"/>
                <a:gd name="connsiteX770" fmla="*/ 301404 w 2663946"/>
                <a:gd name="connsiteY770" fmla="*/ 116907 h 350039"/>
                <a:gd name="connsiteX771" fmla="*/ 305460 w 2663946"/>
                <a:gd name="connsiteY771" fmla="*/ 117989 h 350039"/>
                <a:gd name="connsiteX772" fmla="*/ 309245 w 2663946"/>
                <a:gd name="connsiteY772" fmla="*/ 124748 h 350039"/>
                <a:gd name="connsiteX773" fmla="*/ 306541 w 2663946"/>
                <a:gd name="connsiteY773" fmla="*/ 130426 h 350039"/>
                <a:gd name="connsiteX774" fmla="*/ 302485 w 2663946"/>
                <a:gd name="connsiteY774" fmla="*/ 132319 h 350039"/>
                <a:gd name="connsiteX775" fmla="*/ 302215 w 2663946"/>
                <a:gd name="connsiteY775" fmla="*/ 132319 h 350039"/>
                <a:gd name="connsiteX776" fmla="*/ 301945 w 2663946"/>
                <a:gd name="connsiteY776" fmla="*/ 132319 h 350039"/>
                <a:gd name="connsiteX777" fmla="*/ 301404 w 2663946"/>
                <a:gd name="connsiteY777" fmla="*/ 132319 h 350039"/>
                <a:gd name="connsiteX778" fmla="*/ 269229 w 2663946"/>
                <a:gd name="connsiteY778" fmla="*/ 132319 h 350039"/>
                <a:gd name="connsiteX779" fmla="*/ 268688 w 2663946"/>
                <a:gd name="connsiteY779" fmla="*/ 132319 h 350039"/>
                <a:gd name="connsiteX780" fmla="*/ 267877 w 2663946"/>
                <a:gd name="connsiteY780" fmla="*/ 132319 h 350039"/>
                <a:gd name="connsiteX781" fmla="*/ 267066 w 2663946"/>
                <a:gd name="connsiteY781" fmla="*/ 132049 h 350039"/>
                <a:gd name="connsiteX782" fmla="*/ 263551 w 2663946"/>
                <a:gd name="connsiteY782" fmla="*/ 130156 h 350039"/>
                <a:gd name="connsiteX783" fmla="*/ 261117 w 2663946"/>
                <a:gd name="connsiteY783" fmla="*/ 124478 h 350039"/>
                <a:gd name="connsiteX784" fmla="*/ 263281 w 2663946"/>
                <a:gd name="connsiteY784" fmla="*/ 119341 h 350039"/>
                <a:gd name="connsiteX785" fmla="*/ 268958 w 2663946"/>
                <a:gd name="connsiteY785" fmla="*/ 116907 h 350039"/>
                <a:gd name="connsiteX786" fmla="*/ 276800 w 2663946"/>
                <a:gd name="connsiteY786" fmla="*/ 116907 h 350039"/>
                <a:gd name="connsiteX787" fmla="*/ 277340 w 2663946"/>
                <a:gd name="connsiteY787" fmla="*/ 116367 h 350039"/>
                <a:gd name="connsiteX788" fmla="*/ 277340 w 2663946"/>
                <a:gd name="connsiteY788" fmla="*/ 70402 h 350039"/>
                <a:gd name="connsiteX789" fmla="*/ 276800 w 2663946"/>
                <a:gd name="connsiteY789" fmla="*/ 69861 h 350039"/>
                <a:gd name="connsiteX790" fmla="*/ 270851 w 2663946"/>
                <a:gd name="connsiteY790" fmla="*/ 69861 h 350039"/>
                <a:gd name="connsiteX791" fmla="*/ 263551 w 2663946"/>
                <a:gd name="connsiteY791" fmla="*/ 65265 h 350039"/>
                <a:gd name="connsiteX792" fmla="*/ 263281 w 2663946"/>
                <a:gd name="connsiteY792" fmla="*/ 59587 h 350039"/>
                <a:gd name="connsiteX793" fmla="*/ 270581 w 2663946"/>
                <a:gd name="connsiteY793" fmla="*/ 54450 h 350039"/>
                <a:gd name="connsiteX794" fmla="*/ 282748 w 2663946"/>
                <a:gd name="connsiteY794" fmla="*/ 54179 h 350039"/>
                <a:gd name="connsiteX795" fmla="*/ 206731 w 2663946"/>
                <a:gd name="connsiteY795" fmla="*/ 54179 h 350039"/>
                <a:gd name="connsiteX796" fmla="*/ 210787 w 2663946"/>
                <a:gd name="connsiteY796" fmla="*/ 54179 h 350039"/>
                <a:gd name="connsiteX797" fmla="*/ 215383 w 2663946"/>
                <a:gd name="connsiteY797" fmla="*/ 56613 h 350039"/>
                <a:gd name="connsiteX798" fmla="*/ 217546 w 2663946"/>
                <a:gd name="connsiteY798" fmla="*/ 62831 h 350039"/>
                <a:gd name="connsiteX799" fmla="*/ 217546 w 2663946"/>
                <a:gd name="connsiteY799" fmla="*/ 63372 h 350039"/>
                <a:gd name="connsiteX800" fmla="*/ 217546 w 2663946"/>
                <a:gd name="connsiteY800" fmla="*/ 116367 h 350039"/>
                <a:gd name="connsiteX801" fmla="*/ 218087 w 2663946"/>
                <a:gd name="connsiteY801" fmla="*/ 116907 h 350039"/>
                <a:gd name="connsiteX802" fmla="*/ 225387 w 2663946"/>
                <a:gd name="connsiteY802" fmla="*/ 116907 h 350039"/>
                <a:gd name="connsiteX803" fmla="*/ 229443 w 2663946"/>
                <a:gd name="connsiteY803" fmla="*/ 117989 h 350039"/>
                <a:gd name="connsiteX804" fmla="*/ 233228 w 2663946"/>
                <a:gd name="connsiteY804" fmla="*/ 124748 h 350039"/>
                <a:gd name="connsiteX805" fmla="*/ 230524 w 2663946"/>
                <a:gd name="connsiteY805" fmla="*/ 130426 h 350039"/>
                <a:gd name="connsiteX806" fmla="*/ 226468 w 2663946"/>
                <a:gd name="connsiteY806" fmla="*/ 132319 h 350039"/>
                <a:gd name="connsiteX807" fmla="*/ 226198 w 2663946"/>
                <a:gd name="connsiteY807" fmla="*/ 132319 h 350039"/>
                <a:gd name="connsiteX808" fmla="*/ 225928 w 2663946"/>
                <a:gd name="connsiteY808" fmla="*/ 132319 h 350039"/>
                <a:gd name="connsiteX809" fmla="*/ 225387 w 2663946"/>
                <a:gd name="connsiteY809" fmla="*/ 132319 h 350039"/>
                <a:gd name="connsiteX810" fmla="*/ 193212 w 2663946"/>
                <a:gd name="connsiteY810" fmla="*/ 132319 h 350039"/>
                <a:gd name="connsiteX811" fmla="*/ 192671 w 2663946"/>
                <a:gd name="connsiteY811" fmla="*/ 132319 h 350039"/>
                <a:gd name="connsiteX812" fmla="*/ 191860 w 2663946"/>
                <a:gd name="connsiteY812" fmla="*/ 132319 h 350039"/>
                <a:gd name="connsiteX813" fmla="*/ 191049 w 2663946"/>
                <a:gd name="connsiteY813" fmla="*/ 132049 h 350039"/>
                <a:gd name="connsiteX814" fmla="*/ 187534 w 2663946"/>
                <a:gd name="connsiteY814" fmla="*/ 130156 h 350039"/>
                <a:gd name="connsiteX815" fmla="*/ 185101 w 2663946"/>
                <a:gd name="connsiteY815" fmla="*/ 124478 h 350039"/>
                <a:gd name="connsiteX816" fmla="*/ 187264 w 2663946"/>
                <a:gd name="connsiteY816" fmla="*/ 119341 h 350039"/>
                <a:gd name="connsiteX817" fmla="*/ 192942 w 2663946"/>
                <a:gd name="connsiteY817" fmla="*/ 116907 h 350039"/>
                <a:gd name="connsiteX818" fmla="*/ 200783 w 2663946"/>
                <a:gd name="connsiteY818" fmla="*/ 116907 h 350039"/>
                <a:gd name="connsiteX819" fmla="*/ 201323 w 2663946"/>
                <a:gd name="connsiteY819" fmla="*/ 116367 h 350039"/>
                <a:gd name="connsiteX820" fmla="*/ 201323 w 2663946"/>
                <a:gd name="connsiteY820" fmla="*/ 70402 h 350039"/>
                <a:gd name="connsiteX821" fmla="*/ 200783 w 2663946"/>
                <a:gd name="connsiteY821" fmla="*/ 69861 h 350039"/>
                <a:gd name="connsiteX822" fmla="*/ 194834 w 2663946"/>
                <a:gd name="connsiteY822" fmla="*/ 69861 h 350039"/>
                <a:gd name="connsiteX823" fmla="*/ 187534 w 2663946"/>
                <a:gd name="connsiteY823" fmla="*/ 65265 h 350039"/>
                <a:gd name="connsiteX824" fmla="*/ 187264 w 2663946"/>
                <a:gd name="connsiteY824" fmla="*/ 59587 h 350039"/>
                <a:gd name="connsiteX825" fmla="*/ 194564 w 2663946"/>
                <a:gd name="connsiteY825" fmla="*/ 54450 h 350039"/>
                <a:gd name="connsiteX826" fmla="*/ 206731 w 2663946"/>
                <a:gd name="connsiteY826" fmla="*/ 54179 h 350039"/>
                <a:gd name="connsiteX827" fmla="*/ 2627559 w 2663946"/>
                <a:gd name="connsiteY827" fmla="*/ 54110 h 350039"/>
                <a:gd name="connsiteX828" fmla="*/ 2639849 w 2663946"/>
                <a:gd name="connsiteY828" fmla="*/ 56273 h 350039"/>
                <a:gd name="connsiteX829" fmla="*/ 2647223 w 2663946"/>
                <a:gd name="connsiteY829" fmla="*/ 60870 h 350039"/>
                <a:gd name="connsiteX830" fmla="*/ 2650664 w 2663946"/>
                <a:gd name="connsiteY830" fmla="*/ 64114 h 350039"/>
                <a:gd name="connsiteX831" fmla="*/ 2654106 w 2663946"/>
                <a:gd name="connsiteY831" fmla="*/ 68440 h 350039"/>
                <a:gd name="connsiteX832" fmla="*/ 2656072 w 2663946"/>
                <a:gd name="connsiteY832" fmla="*/ 71955 h 350039"/>
                <a:gd name="connsiteX833" fmla="*/ 2658284 w 2663946"/>
                <a:gd name="connsiteY833" fmla="*/ 77363 h 350039"/>
                <a:gd name="connsiteX834" fmla="*/ 2659267 w 2663946"/>
                <a:gd name="connsiteY834" fmla="*/ 80878 h 350039"/>
                <a:gd name="connsiteX835" fmla="*/ 2660251 w 2663946"/>
                <a:gd name="connsiteY835" fmla="*/ 86015 h 350039"/>
                <a:gd name="connsiteX836" fmla="*/ 2660005 w 2663946"/>
                <a:gd name="connsiteY836" fmla="*/ 100345 h 350039"/>
                <a:gd name="connsiteX837" fmla="*/ 2659022 w 2663946"/>
                <a:gd name="connsiteY837" fmla="*/ 105212 h 350039"/>
                <a:gd name="connsiteX838" fmla="*/ 2657792 w 2663946"/>
                <a:gd name="connsiteY838" fmla="*/ 108997 h 350039"/>
                <a:gd name="connsiteX839" fmla="*/ 2656809 w 2663946"/>
                <a:gd name="connsiteY839" fmla="*/ 111431 h 350039"/>
                <a:gd name="connsiteX840" fmla="*/ 2654597 w 2663946"/>
                <a:gd name="connsiteY840" fmla="*/ 115757 h 350039"/>
                <a:gd name="connsiteX841" fmla="*/ 2652385 w 2663946"/>
                <a:gd name="connsiteY841" fmla="*/ 119001 h 350039"/>
                <a:gd name="connsiteX842" fmla="*/ 2648944 w 2663946"/>
                <a:gd name="connsiteY842" fmla="*/ 122787 h 350039"/>
                <a:gd name="connsiteX843" fmla="*/ 2645748 w 2663946"/>
                <a:gd name="connsiteY843" fmla="*/ 125490 h 350039"/>
                <a:gd name="connsiteX844" fmla="*/ 2640095 w 2663946"/>
                <a:gd name="connsiteY844" fmla="*/ 128735 h 350039"/>
                <a:gd name="connsiteX845" fmla="*/ 2632229 w 2663946"/>
                <a:gd name="connsiteY845" fmla="*/ 130898 h 350039"/>
                <a:gd name="connsiteX846" fmla="*/ 2631000 w 2663946"/>
                <a:gd name="connsiteY846" fmla="*/ 131169 h 350039"/>
                <a:gd name="connsiteX847" fmla="*/ 2626821 w 2663946"/>
                <a:gd name="connsiteY847" fmla="*/ 131169 h 350039"/>
                <a:gd name="connsiteX848" fmla="*/ 2626576 w 2663946"/>
                <a:gd name="connsiteY848" fmla="*/ 131169 h 350039"/>
                <a:gd name="connsiteX849" fmla="*/ 2613548 w 2663946"/>
                <a:gd name="connsiteY849" fmla="*/ 126302 h 350039"/>
                <a:gd name="connsiteX850" fmla="*/ 2608878 w 2663946"/>
                <a:gd name="connsiteY850" fmla="*/ 122246 h 350039"/>
                <a:gd name="connsiteX851" fmla="*/ 2605682 w 2663946"/>
                <a:gd name="connsiteY851" fmla="*/ 118461 h 350039"/>
                <a:gd name="connsiteX852" fmla="*/ 2603470 w 2663946"/>
                <a:gd name="connsiteY852" fmla="*/ 114946 h 350039"/>
                <a:gd name="connsiteX853" fmla="*/ 2601258 w 2663946"/>
                <a:gd name="connsiteY853" fmla="*/ 110620 h 350039"/>
                <a:gd name="connsiteX854" fmla="*/ 2600029 w 2663946"/>
                <a:gd name="connsiteY854" fmla="*/ 107645 h 350039"/>
                <a:gd name="connsiteX855" fmla="*/ 2599046 w 2663946"/>
                <a:gd name="connsiteY855" fmla="*/ 104401 h 350039"/>
                <a:gd name="connsiteX856" fmla="*/ 2597816 w 2663946"/>
                <a:gd name="connsiteY856" fmla="*/ 98723 h 350039"/>
                <a:gd name="connsiteX857" fmla="*/ 2597571 w 2663946"/>
                <a:gd name="connsiteY857" fmla="*/ 95749 h 350039"/>
                <a:gd name="connsiteX858" fmla="*/ 2597816 w 2663946"/>
                <a:gd name="connsiteY858" fmla="*/ 96019 h 350039"/>
                <a:gd name="connsiteX859" fmla="*/ 2597816 w 2663946"/>
                <a:gd name="connsiteY859" fmla="*/ 90341 h 350039"/>
                <a:gd name="connsiteX860" fmla="*/ 2597816 w 2663946"/>
                <a:gd name="connsiteY860" fmla="*/ 90071 h 350039"/>
                <a:gd name="connsiteX861" fmla="*/ 2598308 w 2663946"/>
                <a:gd name="connsiteY861" fmla="*/ 85474 h 350039"/>
                <a:gd name="connsiteX862" fmla="*/ 2599537 w 2663946"/>
                <a:gd name="connsiteY862" fmla="*/ 80067 h 350039"/>
                <a:gd name="connsiteX863" fmla="*/ 2600520 w 2663946"/>
                <a:gd name="connsiteY863" fmla="*/ 76822 h 350039"/>
                <a:gd name="connsiteX864" fmla="*/ 2602732 w 2663946"/>
                <a:gd name="connsiteY864" fmla="*/ 71685 h 350039"/>
                <a:gd name="connsiteX865" fmla="*/ 2604945 w 2663946"/>
                <a:gd name="connsiteY865" fmla="*/ 67900 h 350039"/>
                <a:gd name="connsiteX866" fmla="*/ 2607157 w 2663946"/>
                <a:gd name="connsiteY866" fmla="*/ 64925 h 350039"/>
                <a:gd name="connsiteX867" fmla="*/ 2609369 w 2663946"/>
                <a:gd name="connsiteY867" fmla="*/ 62492 h 350039"/>
                <a:gd name="connsiteX868" fmla="*/ 2614039 w 2663946"/>
                <a:gd name="connsiteY868" fmla="*/ 58707 h 350039"/>
                <a:gd name="connsiteX869" fmla="*/ 2617972 w 2663946"/>
                <a:gd name="connsiteY869" fmla="*/ 56544 h 350039"/>
                <a:gd name="connsiteX870" fmla="*/ 2627559 w 2663946"/>
                <a:gd name="connsiteY870" fmla="*/ 54110 h 350039"/>
                <a:gd name="connsiteX871" fmla="*/ 2445604 w 2663946"/>
                <a:gd name="connsiteY871" fmla="*/ 54110 h 350039"/>
                <a:gd name="connsiteX872" fmla="*/ 2457894 w 2663946"/>
                <a:gd name="connsiteY872" fmla="*/ 56273 h 350039"/>
                <a:gd name="connsiteX873" fmla="*/ 2465268 w 2663946"/>
                <a:gd name="connsiteY873" fmla="*/ 60870 h 350039"/>
                <a:gd name="connsiteX874" fmla="*/ 2468709 w 2663946"/>
                <a:gd name="connsiteY874" fmla="*/ 64114 h 350039"/>
                <a:gd name="connsiteX875" fmla="*/ 2472151 w 2663946"/>
                <a:gd name="connsiteY875" fmla="*/ 68440 h 350039"/>
                <a:gd name="connsiteX876" fmla="*/ 2474117 w 2663946"/>
                <a:gd name="connsiteY876" fmla="*/ 71955 h 350039"/>
                <a:gd name="connsiteX877" fmla="*/ 2476329 w 2663946"/>
                <a:gd name="connsiteY877" fmla="*/ 77363 h 350039"/>
                <a:gd name="connsiteX878" fmla="*/ 2477312 w 2663946"/>
                <a:gd name="connsiteY878" fmla="*/ 80878 h 350039"/>
                <a:gd name="connsiteX879" fmla="*/ 2478296 w 2663946"/>
                <a:gd name="connsiteY879" fmla="*/ 86015 h 350039"/>
                <a:gd name="connsiteX880" fmla="*/ 2478050 w 2663946"/>
                <a:gd name="connsiteY880" fmla="*/ 100345 h 350039"/>
                <a:gd name="connsiteX881" fmla="*/ 2477067 w 2663946"/>
                <a:gd name="connsiteY881" fmla="*/ 105212 h 350039"/>
                <a:gd name="connsiteX882" fmla="*/ 2475837 w 2663946"/>
                <a:gd name="connsiteY882" fmla="*/ 108997 h 350039"/>
                <a:gd name="connsiteX883" fmla="*/ 2474854 w 2663946"/>
                <a:gd name="connsiteY883" fmla="*/ 111431 h 350039"/>
                <a:gd name="connsiteX884" fmla="*/ 2472642 w 2663946"/>
                <a:gd name="connsiteY884" fmla="*/ 115757 h 350039"/>
                <a:gd name="connsiteX885" fmla="*/ 2470430 w 2663946"/>
                <a:gd name="connsiteY885" fmla="*/ 119001 h 350039"/>
                <a:gd name="connsiteX886" fmla="*/ 2466989 w 2663946"/>
                <a:gd name="connsiteY886" fmla="*/ 122787 h 350039"/>
                <a:gd name="connsiteX887" fmla="*/ 2463793 w 2663946"/>
                <a:gd name="connsiteY887" fmla="*/ 125490 h 350039"/>
                <a:gd name="connsiteX888" fmla="*/ 2458140 w 2663946"/>
                <a:gd name="connsiteY888" fmla="*/ 128735 h 350039"/>
                <a:gd name="connsiteX889" fmla="*/ 2450274 w 2663946"/>
                <a:gd name="connsiteY889" fmla="*/ 130898 h 350039"/>
                <a:gd name="connsiteX890" fmla="*/ 2449045 w 2663946"/>
                <a:gd name="connsiteY890" fmla="*/ 131169 h 350039"/>
                <a:gd name="connsiteX891" fmla="*/ 2444866 w 2663946"/>
                <a:gd name="connsiteY891" fmla="*/ 131169 h 350039"/>
                <a:gd name="connsiteX892" fmla="*/ 2444621 w 2663946"/>
                <a:gd name="connsiteY892" fmla="*/ 131169 h 350039"/>
                <a:gd name="connsiteX893" fmla="*/ 2431593 w 2663946"/>
                <a:gd name="connsiteY893" fmla="*/ 126302 h 350039"/>
                <a:gd name="connsiteX894" fmla="*/ 2426923 w 2663946"/>
                <a:gd name="connsiteY894" fmla="*/ 122246 h 350039"/>
                <a:gd name="connsiteX895" fmla="*/ 2423727 w 2663946"/>
                <a:gd name="connsiteY895" fmla="*/ 118461 h 350039"/>
                <a:gd name="connsiteX896" fmla="*/ 2421515 w 2663946"/>
                <a:gd name="connsiteY896" fmla="*/ 114946 h 350039"/>
                <a:gd name="connsiteX897" fmla="*/ 2419303 w 2663946"/>
                <a:gd name="connsiteY897" fmla="*/ 110620 h 350039"/>
                <a:gd name="connsiteX898" fmla="*/ 2418074 w 2663946"/>
                <a:gd name="connsiteY898" fmla="*/ 107645 h 350039"/>
                <a:gd name="connsiteX899" fmla="*/ 2417091 w 2663946"/>
                <a:gd name="connsiteY899" fmla="*/ 104401 h 350039"/>
                <a:gd name="connsiteX900" fmla="*/ 2415861 w 2663946"/>
                <a:gd name="connsiteY900" fmla="*/ 98723 h 350039"/>
                <a:gd name="connsiteX901" fmla="*/ 2415616 w 2663946"/>
                <a:gd name="connsiteY901" fmla="*/ 95749 h 350039"/>
                <a:gd name="connsiteX902" fmla="*/ 2415861 w 2663946"/>
                <a:gd name="connsiteY902" fmla="*/ 96019 h 350039"/>
                <a:gd name="connsiteX903" fmla="*/ 2415861 w 2663946"/>
                <a:gd name="connsiteY903" fmla="*/ 90341 h 350039"/>
                <a:gd name="connsiteX904" fmla="*/ 2415861 w 2663946"/>
                <a:gd name="connsiteY904" fmla="*/ 90071 h 350039"/>
                <a:gd name="connsiteX905" fmla="*/ 2416353 w 2663946"/>
                <a:gd name="connsiteY905" fmla="*/ 85474 h 350039"/>
                <a:gd name="connsiteX906" fmla="*/ 2417582 w 2663946"/>
                <a:gd name="connsiteY906" fmla="*/ 80067 h 350039"/>
                <a:gd name="connsiteX907" fmla="*/ 2418565 w 2663946"/>
                <a:gd name="connsiteY907" fmla="*/ 76822 h 350039"/>
                <a:gd name="connsiteX908" fmla="*/ 2420777 w 2663946"/>
                <a:gd name="connsiteY908" fmla="*/ 71685 h 350039"/>
                <a:gd name="connsiteX909" fmla="*/ 2422990 w 2663946"/>
                <a:gd name="connsiteY909" fmla="*/ 67900 h 350039"/>
                <a:gd name="connsiteX910" fmla="*/ 2425202 w 2663946"/>
                <a:gd name="connsiteY910" fmla="*/ 64925 h 350039"/>
                <a:gd name="connsiteX911" fmla="*/ 2427414 w 2663946"/>
                <a:gd name="connsiteY911" fmla="*/ 62492 h 350039"/>
                <a:gd name="connsiteX912" fmla="*/ 2432084 w 2663946"/>
                <a:gd name="connsiteY912" fmla="*/ 58707 h 350039"/>
                <a:gd name="connsiteX913" fmla="*/ 2436017 w 2663946"/>
                <a:gd name="connsiteY913" fmla="*/ 56544 h 350039"/>
                <a:gd name="connsiteX914" fmla="*/ 2445604 w 2663946"/>
                <a:gd name="connsiteY914" fmla="*/ 54110 h 350039"/>
                <a:gd name="connsiteX915" fmla="*/ 2202558 w 2663946"/>
                <a:gd name="connsiteY915" fmla="*/ 54110 h 350039"/>
                <a:gd name="connsiteX916" fmla="*/ 2214848 w 2663946"/>
                <a:gd name="connsiteY916" fmla="*/ 56273 h 350039"/>
                <a:gd name="connsiteX917" fmla="*/ 2222222 w 2663946"/>
                <a:gd name="connsiteY917" fmla="*/ 60870 h 350039"/>
                <a:gd name="connsiteX918" fmla="*/ 2225663 w 2663946"/>
                <a:gd name="connsiteY918" fmla="*/ 64114 h 350039"/>
                <a:gd name="connsiteX919" fmla="*/ 2229105 w 2663946"/>
                <a:gd name="connsiteY919" fmla="*/ 68440 h 350039"/>
                <a:gd name="connsiteX920" fmla="*/ 2231071 w 2663946"/>
                <a:gd name="connsiteY920" fmla="*/ 71955 h 350039"/>
                <a:gd name="connsiteX921" fmla="*/ 2233283 w 2663946"/>
                <a:gd name="connsiteY921" fmla="*/ 77363 h 350039"/>
                <a:gd name="connsiteX922" fmla="*/ 2234266 w 2663946"/>
                <a:gd name="connsiteY922" fmla="*/ 80878 h 350039"/>
                <a:gd name="connsiteX923" fmla="*/ 2235250 w 2663946"/>
                <a:gd name="connsiteY923" fmla="*/ 86015 h 350039"/>
                <a:gd name="connsiteX924" fmla="*/ 2235004 w 2663946"/>
                <a:gd name="connsiteY924" fmla="*/ 100345 h 350039"/>
                <a:gd name="connsiteX925" fmla="*/ 2234021 w 2663946"/>
                <a:gd name="connsiteY925" fmla="*/ 105212 h 350039"/>
                <a:gd name="connsiteX926" fmla="*/ 2232791 w 2663946"/>
                <a:gd name="connsiteY926" fmla="*/ 108997 h 350039"/>
                <a:gd name="connsiteX927" fmla="*/ 2231808 w 2663946"/>
                <a:gd name="connsiteY927" fmla="*/ 111431 h 350039"/>
                <a:gd name="connsiteX928" fmla="*/ 2229596 w 2663946"/>
                <a:gd name="connsiteY928" fmla="*/ 115757 h 350039"/>
                <a:gd name="connsiteX929" fmla="*/ 2227384 w 2663946"/>
                <a:gd name="connsiteY929" fmla="*/ 119001 h 350039"/>
                <a:gd name="connsiteX930" fmla="*/ 2223943 w 2663946"/>
                <a:gd name="connsiteY930" fmla="*/ 122787 h 350039"/>
                <a:gd name="connsiteX931" fmla="*/ 2220747 w 2663946"/>
                <a:gd name="connsiteY931" fmla="*/ 125490 h 350039"/>
                <a:gd name="connsiteX932" fmla="*/ 2215094 w 2663946"/>
                <a:gd name="connsiteY932" fmla="*/ 128735 h 350039"/>
                <a:gd name="connsiteX933" fmla="*/ 2207228 w 2663946"/>
                <a:gd name="connsiteY933" fmla="*/ 130898 h 350039"/>
                <a:gd name="connsiteX934" fmla="*/ 2205999 w 2663946"/>
                <a:gd name="connsiteY934" fmla="*/ 131169 h 350039"/>
                <a:gd name="connsiteX935" fmla="*/ 2201820 w 2663946"/>
                <a:gd name="connsiteY935" fmla="*/ 131169 h 350039"/>
                <a:gd name="connsiteX936" fmla="*/ 2201575 w 2663946"/>
                <a:gd name="connsiteY936" fmla="*/ 131169 h 350039"/>
                <a:gd name="connsiteX937" fmla="*/ 2188547 w 2663946"/>
                <a:gd name="connsiteY937" fmla="*/ 126302 h 350039"/>
                <a:gd name="connsiteX938" fmla="*/ 2183877 w 2663946"/>
                <a:gd name="connsiteY938" fmla="*/ 122246 h 350039"/>
                <a:gd name="connsiteX939" fmla="*/ 2180681 w 2663946"/>
                <a:gd name="connsiteY939" fmla="*/ 118461 h 350039"/>
                <a:gd name="connsiteX940" fmla="*/ 2178469 w 2663946"/>
                <a:gd name="connsiteY940" fmla="*/ 114946 h 350039"/>
                <a:gd name="connsiteX941" fmla="*/ 2176257 w 2663946"/>
                <a:gd name="connsiteY941" fmla="*/ 110620 h 350039"/>
                <a:gd name="connsiteX942" fmla="*/ 2175028 w 2663946"/>
                <a:gd name="connsiteY942" fmla="*/ 107645 h 350039"/>
                <a:gd name="connsiteX943" fmla="*/ 2174045 w 2663946"/>
                <a:gd name="connsiteY943" fmla="*/ 104401 h 350039"/>
                <a:gd name="connsiteX944" fmla="*/ 2172815 w 2663946"/>
                <a:gd name="connsiteY944" fmla="*/ 98723 h 350039"/>
                <a:gd name="connsiteX945" fmla="*/ 2172570 w 2663946"/>
                <a:gd name="connsiteY945" fmla="*/ 95749 h 350039"/>
                <a:gd name="connsiteX946" fmla="*/ 2172815 w 2663946"/>
                <a:gd name="connsiteY946" fmla="*/ 96019 h 350039"/>
                <a:gd name="connsiteX947" fmla="*/ 2172815 w 2663946"/>
                <a:gd name="connsiteY947" fmla="*/ 90341 h 350039"/>
                <a:gd name="connsiteX948" fmla="*/ 2172815 w 2663946"/>
                <a:gd name="connsiteY948" fmla="*/ 90071 h 350039"/>
                <a:gd name="connsiteX949" fmla="*/ 2173307 w 2663946"/>
                <a:gd name="connsiteY949" fmla="*/ 85474 h 350039"/>
                <a:gd name="connsiteX950" fmla="*/ 2174536 w 2663946"/>
                <a:gd name="connsiteY950" fmla="*/ 80067 h 350039"/>
                <a:gd name="connsiteX951" fmla="*/ 2175519 w 2663946"/>
                <a:gd name="connsiteY951" fmla="*/ 76822 h 350039"/>
                <a:gd name="connsiteX952" fmla="*/ 2177731 w 2663946"/>
                <a:gd name="connsiteY952" fmla="*/ 71685 h 350039"/>
                <a:gd name="connsiteX953" fmla="*/ 2179944 w 2663946"/>
                <a:gd name="connsiteY953" fmla="*/ 67900 h 350039"/>
                <a:gd name="connsiteX954" fmla="*/ 2182156 w 2663946"/>
                <a:gd name="connsiteY954" fmla="*/ 64925 h 350039"/>
                <a:gd name="connsiteX955" fmla="*/ 2184368 w 2663946"/>
                <a:gd name="connsiteY955" fmla="*/ 62492 h 350039"/>
                <a:gd name="connsiteX956" fmla="*/ 2189038 w 2663946"/>
                <a:gd name="connsiteY956" fmla="*/ 58707 h 350039"/>
                <a:gd name="connsiteX957" fmla="*/ 2192971 w 2663946"/>
                <a:gd name="connsiteY957" fmla="*/ 56544 h 350039"/>
                <a:gd name="connsiteX958" fmla="*/ 2202558 w 2663946"/>
                <a:gd name="connsiteY958" fmla="*/ 54110 h 350039"/>
                <a:gd name="connsiteX959" fmla="*/ 2020607 w 2663946"/>
                <a:gd name="connsiteY959" fmla="*/ 54110 h 350039"/>
                <a:gd name="connsiteX960" fmla="*/ 2032897 w 2663946"/>
                <a:gd name="connsiteY960" fmla="*/ 56273 h 350039"/>
                <a:gd name="connsiteX961" fmla="*/ 2040271 w 2663946"/>
                <a:gd name="connsiteY961" fmla="*/ 60870 h 350039"/>
                <a:gd name="connsiteX962" fmla="*/ 2043712 w 2663946"/>
                <a:gd name="connsiteY962" fmla="*/ 64114 h 350039"/>
                <a:gd name="connsiteX963" fmla="*/ 2047154 w 2663946"/>
                <a:gd name="connsiteY963" fmla="*/ 68440 h 350039"/>
                <a:gd name="connsiteX964" fmla="*/ 2049120 w 2663946"/>
                <a:gd name="connsiteY964" fmla="*/ 71955 h 350039"/>
                <a:gd name="connsiteX965" fmla="*/ 2051332 w 2663946"/>
                <a:gd name="connsiteY965" fmla="*/ 77363 h 350039"/>
                <a:gd name="connsiteX966" fmla="*/ 2052315 w 2663946"/>
                <a:gd name="connsiteY966" fmla="*/ 80878 h 350039"/>
                <a:gd name="connsiteX967" fmla="*/ 2053299 w 2663946"/>
                <a:gd name="connsiteY967" fmla="*/ 86015 h 350039"/>
                <a:gd name="connsiteX968" fmla="*/ 2053053 w 2663946"/>
                <a:gd name="connsiteY968" fmla="*/ 100345 h 350039"/>
                <a:gd name="connsiteX969" fmla="*/ 2052070 w 2663946"/>
                <a:gd name="connsiteY969" fmla="*/ 105212 h 350039"/>
                <a:gd name="connsiteX970" fmla="*/ 2050840 w 2663946"/>
                <a:gd name="connsiteY970" fmla="*/ 108997 h 350039"/>
                <a:gd name="connsiteX971" fmla="*/ 2049857 w 2663946"/>
                <a:gd name="connsiteY971" fmla="*/ 111431 h 350039"/>
                <a:gd name="connsiteX972" fmla="*/ 2047645 w 2663946"/>
                <a:gd name="connsiteY972" fmla="*/ 115757 h 350039"/>
                <a:gd name="connsiteX973" fmla="*/ 2045433 w 2663946"/>
                <a:gd name="connsiteY973" fmla="*/ 119001 h 350039"/>
                <a:gd name="connsiteX974" fmla="*/ 2041992 w 2663946"/>
                <a:gd name="connsiteY974" fmla="*/ 122787 h 350039"/>
                <a:gd name="connsiteX975" fmla="*/ 2038796 w 2663946"/>
                <a:gd name="connsiteY975" fmla="*/ 125490 h 350039"/>
                <a:gd name="connsiteX976" fmla="*/ 2033143 w 2663946"/>
                <a:gd name="connsiteY976" fmla="*/ 128735 h 350039"/>
                <a:gd name="connsiteX977" fmla="*/ 2025277 w 2663946"/>
                <a:gd name="connsiteY977" fmla="*/ 130898 h 350039"/>
                <a:gd name="connsiteX978" fmla="*/ 2024048 w 2663946"/>
                <a:gd name="connsiteY978" fmla="*/ 131169 h 350039"/>
                <a:gd name="connsiteX979" fmla="*/ 2019869 w 2663946"/>
                <a:gd name="connsiteY979" fmla="*/ 131169 h 350039"/>
                <a:gd name="connsiteX980" fmla="*/ 2019624 w 2663946"/>
                <a:gd name="connsiteY980" fmla="*/ 131169 h 350039"/>
                <a:gd name="connsiteX981" fmla="*/ 2006596 w 2663946"/>
                <a:gd name="connsiteY981" fmla="*/ 126302 h 350039"/>
                <a:gd name="connsiteX982" fmla="*/ 2001926 w 2663946"/>
                <a:gd name="connsiteY982" fmla="*/ 122246 h 350039"/>
                <a:gd name="connsiteX983" fmla="*/ 1998730 w 2663946"/>
                <a:gd name="connsiteY983" fmla="*/ 118461 h 350039"/>
                <a:gd name="connsiteX984" fmla="*/ 1996518 w 2663946"/>
                <a:gd name="connsiteY984" fmla="*/ 114946 h 350039"/>
                <a:gd name="connsiteX985" fmla="*/ 1994306 w 2663946"/>
                <a:gd name="connsiteY985" fmla="*/ 110620 h 350039"/>
                <a:gd name="connsiteX986" fmla="*/ 1993077 w 2663946"/>
                <a:gd name="connsiteY986" fmla="*/ 107645 h 350039"/>
                <a:gd name="connsiteX987" fmla="*/ 1992094 w 2663946"/>
                <a:gd name="connsiteY987" fmla="*/ 104401 h 350039"/>
                <a:gd name="connsiteX988" fmla="*/ 1990864 w 2663946"/>
                <a:gd name="connsiteY988" fmla="*/ 98723 h 350039"/>
                <a:gd name="connsiteX989" fmla="*/ 1990619 w 2663946"/>
                <a:gd name="connsiteY989" fmla="*/ 95749 h 350039"/>
                <a:gd name="connsiteX990" fmla="*/ 1990864 w 2663946"/>
                <a:gd name="connsiteY990" fmla="*/ 96019 h 350039"/>
                <a:gd name="connsiteX991" fmla="*/ 1990864 w 2663946"/>
                <a:gd name="connsiteY991" fmla="*/ 90341 h 350039"/>
                <a:gd name="connsiteX992" fmla="*/ 1990864 w 2663946"/>
                <a:gd name="connsiteY992" fmla="*/ 90071 h 350039"/>
                <a:gd name="connsiteX993" fmla="*/ 1991356 w 2663946"/>
                <a:gd name="connsiteY993" fmla="*/ 85474 h 350039"/>
                <a:gd name="connsiteX994" fmla="*/ 1992585 w 2663946"/>
                <a:gd name="connsiteY994" fmla="*/ 80067 h 350039"/>
                <a:gd name="connsiteX995" fmla="*/ 1993568 w 2663946"/>
                <a:gd name="connsiteY995" fmla="*/ 76822 h 350039"/>
                <a:gd name="connsiteX996" fmla="*/ 1995780 w 2663946"/>
                <a:gd name="connsiteY996" fmla="*/ 71685 h 350039"/>
                <a:gd name="connsiteX997" fmla="*/ 1997993 w 2663946"/>
                <a:gd name="connsiteY997" fmla="*/ 67900 h 350039"/>
                <a:gd name="connsiteX998" fmla="*/ 2000205 w 2663946"/>
                <a:gd name="connsiteY998" fmla="*/ 64925 h 350039"/>
                <a:gd name="connsiteX999" fmla="*/ 2002417 w 2663946"/>
                <a:gd name="connsiteY999" fmla="*/ 62492 h 350039"/>
                <a:gd name="connsiteX1000" fmla="*/ 2007087 w 2663946"/>
                <a:gd name="connsiteY1000" fmla="*/ 58707 h 350039"/>
                <a:gd name="connsiteX1001" fmla="*/ 2011020 w 2663946"/>
                <a:gd name="connsiteY1001" fmla="*/ 56544 h 350039"/>
                <a:gd name="connsiteX1002" fmla="*/ 2020607 w 2663946"/>
                <a:gd name="connsiteY1002" fmla="*/ 54110 h 350039"/>
                <a:gd name="connsiteX1003" fmla="*/ 1595683 w 2663946"/>
                <a:gd name="connsiteY1003" fmla="*/ 54110 h 350039"/>
                <a:gd name="connsiteX1004" fmla="*/ 1607973 w 2663946"/>
                <a:gd name="connsiteY1004" fmla="*/ 56273 h 350039"/>
                <a:gd name="connsiteX1005" fmla="*/ 1615347 w 2663946"/>
                <a:gd name="connsiteY1005" fmla="*/ 60870 h 350039"/>
                <a:gd name="connsiteX1006" fmla="*/ 1618788 w 2663946"/>
                <a:gd name="connsiteY1006" fmla="*/ 64114 h 350039"/>
                <a:gd name="connsiteX1007" fmla="*/ 1622230 w 2663946"/>
                <a:gd name="connsiteY1007" fmla="*/ 68440 h 350039"/>
                <a:gd name="connsiteX1008" fmla="*/ 1624196 w 2663946"/>
                <a:gd name="connsiteY1008" fmla="*/ 71955 h 350039"/>
                <a:gd name="connsiteX1009" fmla="*/ 1626408 w 2663946"/>
                <a:gd name="connsiteY1009" fmla="*/ 77363 h 350039"/>
                <a:gd name="connsiteX1010" fmla="*/ 1627391 w 2663946"/>
                <a:gd name="connsiteY1010" fmla="*/ 80878 h 350039"/>
                <a:gd name="connsiteX1011" fmla="*/ 1628374 w 2663946"/>
                <a:gd name="connsiteY1011" fmla="*/ 86015 h 350039"/>
                <a:gd name="connsiteX1012" fmla="*/ 1628129 w 2663946"/>
                <a:gd name="connsiteY1012" fmla="*/ 100345 h 350039"/>
                <a:gd name="connsiteX1013" fmla="*/ 1627146 w 2663946"/>
                <a:gd name="connsiteY1013" fmla="*/ 105212 h 350039"/>
                <a:gd name="connsiteX1014" fmla="*/ 1625916 w 2663946"/>
                <a:gd name="connsiteY1014" fmla="*/ 108997 h 350039"/>
                <a:gd name="connsiteX1015" fmla="*/ 1624933 w 2663946"/>
                <a:gd name="connsiteY1015" fmla="*/ 111431 h 350039"/>
                <a:gd name="connsiteX1016" fmla="*/ 1622721 w 2663946"/>
                <a:gd name="connsiteY1016" fmla="*/ 115757 h 350039"/>
                <a:gd name="connsiteX1017" fmla="*/ 1620509 w 2663946"/>
                <a:gd name="connsiteY1017" fmla="*/ 119001 h 350039"/>
                <a:gd name="connsiteX1018" fmla="*/ 1617068 w 2663946"/>
                <a:gd name="connsiteY1018" fmla="*/ 122787 h 350039"/>
                <a:gd name="connsiteX1019" fmla="*/ 1613872 w 2663946"/>
                <a:gd name="connsiteY1019" fmla="*/ 125490 h 350039"/>
                <a:gd name="connsiteX1020" fmla="*/ 1608219 w 2663946"/>
                <a:gd name="connsiteY1020" fmla="*/ 128735 h 350039"/>
                <a:gd name="connsiteX1021" fmla="*/ 1600353 w 2663946"/>
                <a:gd name="connsiteY1021" fmla="*/ 130898 h 350039"/>
                <a:gd name="connsiteX1022" fmla="*/ 1599124 w 2663946"/>
                <a:gd name="connsiteY1022" fmla="*/ 131169 h 350039"/>
                <a:gd name="connsiteX1023" fmla="*/ 1594945 w 2663946"/>
                <a:gd name="connsiteY1023" fmla="*/ 131169 h 350039"/>
                <a:gd name="connsiteX1024" fmla="*/ 1594699 w 2663946"/>
                <a:gd name="connsiteY1024" fmla="*/ 131169 h 350039"/>
                <a:gd name="connsiteX1025" fmla="*/ 1581672 w 2663946"/>
                <a:gd name="connsiteY1025" fmla="*/ 126302 h 350039"/>
                <a:gd name="connsiteX1026" fmla="*/ 1577002 w 2663946"/>
                <a:gd name="connsiteY1026" fmla="*/ 122246 h 350039"/>
                <a:gd name="connsiteX1027" fmla="*/ 1573806 w 2663946"/>
                <a:gd name="connsiteY1027" fmla="*/ 118461 h 350039"/>
                <a:gd name="connsiteX1028" fmla="*/ 1571594 w 2663946"/>
                <a:gd name="connsiteY1028" fmla="*/ 114946 h 350039"/>
                <a:gd name="connsiteX1029" fmla="*/ 1569382 w 2663946"/>
                <a:gd name="connsiteY1029" fmla="*/ 110620 h 350039"/>
                <a:gd name="connsiteX1030" fmla="*/ 1568153 w 2663946"/>
                <a:gd name="connsiteY1030" fmla="*/ 107645 h 350039"/>
                <a:gd name="connsiteX1031" fmla="*/ 1567169 w 2663946"/>
                <a:gd name="connsiteY1031" fmla="*/ 104401 h 350039"/>
                <a:gd name="connsiteX1032" fmla="*/ 1565940 w 2663946"/>
                <a:gd name="connsiteY1032" fmla="*/ 98723 h 350039"/>
                <a:gd name="connsiteX1033" fmla="*/ 1565695 w 2663946"/>
                <a:gd name="connsiteY1033" fmla="*/ 95749 h 350039"/>
                <a:gd name="connsiteX1034" fmla="*/ 1565940 w 2663946"/>
                <a:gd name="connsiteY1034" fmla="*/ 96019 h 350039"/>
                <a:gd name="connsiteX1035" fmla="*/ 1565940 w 2663946"/>
                <a:gd name="connsiteY1035" fmla="*/ 90341 h 350039"/>
                <a:gd name="connsiteX1036" fmla="*/ 1565940 w 2663946"/>
                <a:gd name="connsiteY1036" fmla="*/ 90071 h 350039"/>
                <a:gd name="connsiteX1037" fmla="*/ 1566432 w 2663946"/>
                <a:gd name="connsiteY1037" fmla="*/ 85474 h 350039"/>
                <a:gd name="connsiteX1038" fmla="*/ 1567661 w 2663946"/>
                <a:gd name="connsiteY1038" fmla="*/ 80067 h 350039"/>
                <a:gd name="connsiteX1039" fmla="*/ 1568644 w 2663946"/>
                <a:gd name="connsiteY1039" fmla="*/ 76822 h 350039"/>
                <a:gd name="connsiteX1040" fmla="*/ 1570856 w 2663946"/>
                <a:gd name="connsiteY1040" fmla="*/ 71685 h 350039"/>
                <a:gd name="connsiteX1041" fmla="*/ 1573069 w 2663946"/>
                <a:gd name="connsiteY1041" fmla="*/ 67900 h 350039"/>
                <a:gd name="connsiteX1042" fmla="*/ 1575281 w 2663946"/>
                <a:gd name="connsiteY1042" fmla="*/ 64925 h 350039"/>
                <a:gd name="connsiteX1043" fmla="*/ 1577493 w 2663946"/>
                <a:gd name="connsiteY1043" fmla="*/ 62492 h 350039"/>
                <a:gd name="connsiteX1044" fmla="*/ 1582163 w 2663946"/>
                <a:gd name="connsiteY1044" fmla="*/ 58707 h 350039"/>
                <a:gd name="connsiteX1045" fmla="*/ 1586096 w 2663946"/>
                <a:gd name="connsiteY1045" fmla="*/ 56544 h 350039"/>
                <a:gd name="connsiteX1046" fmla="*/ 1595683 w 2663946"/>
                <a:gd name="connsiteY1046" fmla="*/ 54110 h 350039"/>
                <a:gd name="connsiteX1047" fmla="*/ 1246776 w 2663946"/>
                <a:gd name="connsiteY1047" fmla="*/ 54110 h 350039"/>
                <a:gd name="connsiteX1048" fmla="*/ 1259066 w 2663946"/>
                <a:gd name="connsiteY1048" fmla="*/ 56273 h 350039"/>
                <a:gd name="connsiteX1049" fmla="*/ 1266440 w 2663946"/>
                <a:gd name="connsiteY1049" fmla="*/ 60870 h 350039"/>
                <a:gd name="connsiteX1050" fmla="*/ 1269881 w 2663946"/>
                <a:gd name="connsiteY1050" fmla="*/ 64114 h 350039"/>
                <a:gd name="connsiteX1051" fmla="*/ 1273323 w 2663946"/>
                <a:gd name="connsiteY1051" fmla="*/ 68440 h 350039"/>
                <a:gd name="connsiteX1052" fmla="*/ 1275289 w 2663946"/>
                <a:gd name="connsiteY1052" fmla="*/ 71955 h 350039"/>
                <a:gd name="connsiteX1053" fmla="*/ 1277501 w 2663946"/>
                <a:gd name="connsiteY1053" fmla="*/ 77363 h 350039"/>
                <a:gd name="connsiteX1054" fmla="*/ 1278484 w 2663946"/>
                <a:gd name="connsiteY1054" fmla="*/ 80878 h 350039"/>
                <a:gd name="connsiteX1055" fmla="*/ 1279467 w 2663946"/>
                <a:gd name="connsiteY1055" fmla="*/ 86015 h 350039"/>
                <a:gd name="connsiteX1056" fmla="*/ 1279222 w 2663946"/>
                <a:gd name="connsiteY1056" fmla="*/ 100345 h 350039"/>
                <a:gd name="connsiteX1057" fmla="*/ 1278239 w 2663946"/>
                <a:gd name="connsiteY1057" fmla="*/ 105212 h 350039"/>
                <a:gd name="connsiteX1058" fmla="*/ 1277009 w 2663946"/>
                <a:gd name="connsiteY1058" fmla="*/ 108997 h 350039"/>
                <a:gd name="connsiteX1059" fmla="*/ 1276026 w 2663946"/>
                <a:gd name="connsiteY1059" fmla="*/ 111431 h 350039"/>
                <a:gd name="connsiteX1060" fmla="*/ 1273814 w 2663946"/>
                <a:gd name="connsiteY1060" fmla="*/ 115757 h 350039"/>
                <a:gd name="connsiteX1061" fmla="*/ 1271602 w 2663946"/>
                <a:gd name="connsiteY1061" fmla="*/ 119001 h 350039"/>
                <a:gd name="connsiteX1062" fmla="*/ 1268161 w 2663946"/>
                <a:gd name="connsiteY1062" fmla="*/ 122787 h 350039"/>
                <a:gd name="connsiteX1063" fmla="*/ 1264965 w 2663946"/>
                <a:gd name="connsiteY1063" fmla="*/ 125490 h 350039"/>
                <a:gd name="connsiteX1064" fmla="*/ 1259312 w 2663946"/>
                <a:gd name="connsiteY1064" fmla="*/ 128735 h 350039"/>
                <a:gd name="connsiteX1065" fmla="*/ 1251446 w 2663946"/>
                <a:gd name="connsiteY1065" fmla="*/ 130898 h 350039"/>
                <a:gd name="connsiteX1066" fmla="*/ 1250217 w 2663946"/>
                <a:gd name="connsiteY1066" fmla="*/ 131169 h 350039"/>
                <a:gd name="connsiteX1067" fmla="*/ 1246038 w 2663946"/>
                <a:gd name="connsiteY1067" fmla="*/ 131169 h 350039"/>
                <a:gd name="connsiteX1068" fmla="*/ 1245792 w 2663946"/>
                <a:gd name="connsiteY1068" fmla="*/ 131169 h 350039"/>
                <a:gd name="connsiteX1069" fmla="*/ 1232765 w 2663946"/>
                <a:gd name="connsiteY1069" fmla="*/ 126302 h 350039"/>
                <a:gd name="connsiteX1070" fmla="*/ 1228095 w 2663946"/>
                <a:gd name="connsiteY1070" fmla="*/ 122246 h 350039"/>
                <a:gd name="connsiteX1071" fmla="*/ 1224899 w 2663946"/>
                <a:gd name="connsiteY1071" fmla="*/ 118461 h 350039"/>
                <a:gd name="connsiteX1072" fmla="*/ 1222687 w 2663946"/>
                <a:gd name="connsiteY1072" fmla="*/ 114946 h 350039"/>
                <a:gd name="connsiteX1073" fmla="*/ 1220475 w 2663946"/>
                <a:gd name="connsiteY1073" fmla="*/ 110620 h 350039"/>
                <a:gd name="connsiteX1074" fmla="*/ 1219246 w 2663946"/>
                <a:gd name="connsiteY1074" fmla="*/ 107645 h 350039"/>
                <a:gd name="connsiteX1075" fmla="*/ 1218262 w 2663946"/>
                <a:gd name="connsiteY1075" fmla="*/ 104401 h 350039"/>
                <a:gd name="connsiteX1076" fmla="*/ 1217033 w 2663946"/>
                <a:gd name="connsiteY1076" fmla="*/ 98723 h 350039"/>
                <a:gd name="connsiteX1077" fmla="*/ 1216788 w 2663946"/>
                <a:gd name="connsiteY1077" fmla="*/ 95749 h 350039"/>
                <a:gd name="connsiteX1078" fmla="*/ 1217033 w 2663946"/>
                <a:gd name="connsiteY1078" fmla="*/ 96019 h 350039"/>
                <a:gd name="connsiteX1079" fmla="*/ 1217033 w 2663946"/>
                <a:gd name="connsiteY1079" fmla="*/ 90341 h 350039"/>
                <a:gd name="connsiteX1080" fmla="*/ 1217033 w 2663946"/>
                <a:gd name="connsiteY1080" fmla="*/ 90071 h 350039"/>
                <a:gd name="connsiteX1081" fmla="*/ 1217525 w 2663946"/>
                <a:gd name="connsiteY1081" fmla="*/ 85474 h 350039"/>
                <a:gd name="connsiteX1082" fmla="*/ 1218754 w 2663946"/>
                <a:gd name="connsiteY1082" fmla="*/ 80067 h 350039"/>
                <a:gd name="connsiteX1083" fmla="*/ 1219737 w 2663946"/>
                <a:gd name="connsiteY1083" fmla="*/ 76822 h 350039"/>
                <a:gd name="connsiteX1084" fmla="*/ 1221949 w 2663946"/>
                <a:gd name="connsiteY1084" fmla="*/ 71685 h 350039"/>
                <a:gd name="connsiteX1085" fmla="*/ 1224162 w 2663946"/>
                <a:gd name="connsiteY1085" fmla="*/ 67900 h 350039"/>
                <a:gd name="connsiteX1086" fmla="*/ 1226374 w 2663946"/>
                <a:gd name="connsiteY1086" fmla="*/ 64925 h 350039"/>
                <a:gd name="connsiteX1087" fmla="*/ 1228586 w 2663946"/>
                <a:gd name="connsiteY1087" fmla="*/ 62492 h 350039"/>
                <a:gd name="connsiteX1088" fmla="*/ 1233256 w 2663946"/>
                <a:gd name="connsiteY1088" fmla="*/ 58707 h 350039"/>
                <a:gd name="connsiteX1089" fmla="*/ 1237189 w 2663946"/>
                <a:gd name="connsiteY1089" fmla="*/ 56544 h 350039"/>
                <a:gd name="connsiteX1090" fmla="*/ 1246776 w 2663946"/>
                <a:gd name="connsiteY1090" fmla="*/ 54110 h 350039"/>
                <a:gd name="connsiteX1091" fmla="*/ 1064825 w 2663946"/>
                <a:gd name="connsiteY1091" fmla="*/ 54110 h 350039"/>
                <a:gd name="connsiteX1092" fmla="*/ 1077115 w 2663946"/>
                <a:gd name="connsiteY1092" fmla="*/ 56273 h 350039"/>
                <a:gd name="connsiteX1093" fmla="*/ 1084489 w 2663946"/>
                <a:gd name="connsiteY1093" fmla="*/ 60870 h 350039"/>
                <a:gd name="connsiteX1094" fmla="*/ 1087930 w 2663946"/>
                <a:gd name="connsiteY1094" fmla="*/ 64114 h 350039"/>
                <a:gd name="connsiteX1095" fmla="*/ 1091372 w 2663946"/>
                <a:gd name="connsiteY1095" fmla="*/ 68440 h 350039"/>
                <a:gd name="connsiteX1096" fmla="*/ 1093338 w 2663946"/>
                <a:gd name="connsiteY1096" fmla="*/ 71955 h 350039"/>
                <a:gd name="connsiteX1097" fmla="*/ 1095550 w 2663946"/>
                <a:gd name="connsiteY1097" fmla="*/ 77363 h 350039"/>
                <a:gd name="connsiteX1098" fmla="*/ 1096533 w 2663946"/>
                <a:gd name="connsiteY1098" fmla="*/ 80878 h 350039"/>
                <a:gd name="connsiteX1099" fmla="*/ 1097516 w 2663946"/>
                <a:gd name="connsiteY1099" fmla="*/ 86015 h 350039"/>
                <a:gd name="connsiteX1100" fmla="*/ 1097271 w 2663946"/>
                <a:gd name="connsiteY1100" fmla="*/ 100345 h 350039"/>
                <a:gd name="connsiteX1101" fmla="*/ 1096288 w 2663946"/>
                <a:gd name="connsiteY1101" fmla="*/ 105212 h 350039"/>
                <a:gd name="connsiteX1102" fmla="*/ 1095058 w 2663946"/>
                <a:gd name="connsiteY1102" fmla="*/ 108997 h 350039"/>
                <a:gd name="connsiteX1103" fmla="*/ 1094075 w 2663946"/>
                <a:gd name="connsiteY1103" fmla="*/ 111431 h 350039"/>
                <a:gd name="connsiteX1104" fmla="*/ 1091863 w 2663946"/>
                <a:gd name="connsiteY1104" fmla="*/ 115757 h 350039"/>
                <a:gd name="connsiteX1105" fmla="*/ 1089651 w 2663946"/>
                <a:gd name="connsiteY1105" fmla="*/ 119001 h 350039"/>
                <a:gd name="connsiteX1106" fmla="*/ 1086210 w 2663946"/>
                <a:gd name="connsiteY1106" fmla="*/ 122787 h 350039"/>
                <a:gd name="connsiteX1107" fmla="*/ 1083014 w 2663946"/>
                <a:gd name="connsiteY1107" fmla="*/ 125490 h 350039"/>
                <a:gd name="connsiteX1108" fmla="*/ 1077361 w 2663946"/>
                <a:gd name="connsiteY1108" fmla="*/ 128735 h 350039"/>
                <a:gd name="connsiteX1109" fmla="*/ 1069495 w 2663946"/>
                <a:gd name="connsiteY1109" fmla="*/ 130898 h 350039"/>
                <a:gd name="connsiteX1110" fmla="*/ 1068266 w 2663946"/>
                <a:gd name="connsiteY1110" fmla="*/ 131169 h 350039"/>
                <a:gd name="connsiteX1111" fmla="*/ 1064087 w 2663946"/>
                <a:gd name="connsiteY1111" fmla="*/ 131169 h 350039"/>
                <a:gd name="connsiteX1112" fmla="*/ 1063841 w 2663946"/>
                <a:gd name="connsiteY1112" fmla="*/ 131169 h 350039"/>
                <a:gd name="connsiteX1113" fmla="*/ 1050814 w 2663946"/>
                <a:gd name="connsiteY1113" fmla="*/ 126302 h 350039"/>
                <a:gd name="connsiteX1114" fmla="*/ 1046144 w 2663946"/>
                <a:gd name="connsiteY1114" fmla="*/ 122246 h 350039"/>
                <a:gd name="connsiteX1115" fmla="*/ 1042948 w 2663946"/>
                <a:gd name="connsiteY1115" fmla="*/ 118461 h 350039"/>
                <a:gd name="connsiteX1116" fmla="*/ 1040736 w 2663946"/>
                <a:gd name="connsiteY1116" fmla="*/ 114946 h 350039"/>
                <a:gd name="connsiteX1117" fmla="*/ 1038524 w 2663946"/>
                <a:gd name="connsiteY1117" fmla="*/ 110620 h 350039"/>
                <a:gd name="connsiteX1118" fmla="*/ 1037295 w 2663946"/>
                <a:gd name="connsiteY1118" fmla="*/ 107645 h 350039"/>
                <a:gd name="connsiteX1119" fmla="*/ 1036311 w 2663946"/>
                <a:gd name="connsiteY1119" fmla="*/ 104401 h 350039"/>
                <a:gd name="connsiteX1120" fmla="*/ 1035082 w 2663946"/>
                <a:gd name="connsiteY1120" fmla="*/ 98723 h 350039"/>
                <a:gd name="connsiteX1121" fmla="*/ 1034837 w 2663946"/>
                <a:gd name="connsiteY1121" fmla="*/ 95749 h 350039"/>
                <a:gd name="connsiteX1122" fmla="*/ 1035082 w 2663946"/>
                <a:gd name="connsiteY1122" fmla="*/ 96019 h 350039"/>
                <a:gd name="connsiteX1123" fmla="*/ 1035082 w 2663946"/>
                <a:gd name="connsiteY1123" fmla="*/ 90341 h 350039"/>
                <a:gd name="connsiteX1124" fmla="*/ 1035082 w 2663946"/>
                <a:gd name="connsiteY1124" fmla="*/ 90071 h 350039"/>
                <a:gd name="connsiteX1125" fmla="*/ 1035574 w 2663946"/>
                <a:gd name="connsiteY1125" fmla="*/ 85474 h 350039"/>
                <a:gd name="connsiteX1126" fmla="*/ 1036803 w 2663946"/>
                <a:gd name="connsiteY1126" fmla="*/ 80067 h 350039"/>
                <a:gd name="connsiteX1127" fmla="*/ 1037786 w 2663946"/>
                <a:gd name="connsiteY1127" fmla="*/ 76822 h 350039"/>
                <a:gd name="connsiteX1128" fmla="*/ 1039998 w 2663946"/>
                <a:gd name="connsiteY1128" fmla="*/ 71685 h 350039"/>
                <a:gd name="connsiteX1129" fmla="*/ 1042211 w 2663946"/>
                <a:gd name="connsiteY1129" fmla="*/ 67900 h 350039"/>
                <a:gd name="connsiteX1130" fmla="*/ 1044423 w 2663946"/>
                <a:gd name="connsiteY1130" fmla="*/ 64925 h 350039"/>
                <a:gd name="connsiteX1131" fmla="*/ 1046635 w 2663946"/>
                <a:gd name="connsiteY1131" fmla="*/ 62492 h 350039"/>
                <a:gd name="connsiteX1132" fmla="*/ 1051305 w 2663946"/>
                <a:gd name="connsiteY1132" fmla="*/ 58707 h 350039"/>
                <a:gd name="connsiteX1133" fmla="*/ 1055238 w 2663946"/>
                <a:gd name="connsiteY1133" fmla="*/ 56544 h 350039"/>
                <a:gd name="connsiteX1134" fmla="*/ 1064825 w 2663946"/>
                <a:gd name="connsiteY1134" fmla="*/ 54110 h 350039"/>
                <a:gd name="connsiteX1135" fmla="*/ 897796 w 2663946"/>
                <a:gd name="connsiteY1135" fmla="*/ 54110 h 350039"/>
                <a:gd name="connsiteX1136" fmla="*/ 910086 w 2663946"/>
                <a:gd name="connsiteY1136" fmla="*/ 56273 h 350039"/>
                <a:gd name="connsiteX1137" fmla="*/ 917460 w 2663946"/>
                <a:gd name="connsiteY1137" fmla="*/ 60870 h 350039"/>
                <a:gd name="connsiteX1138" fmla="*/ 920901 w 2663946"/>
                <a:gd name="connsiteY1138" fmla="*/ 64114 h 350039"/>
                <a:gd name="connsiteX1139" fmla="*/ 924343 w 2663946"/>
                <a:gd name="connsiteY1139" fmla="*/ 68440 h 350039"/>
                <a:gd name="connsiteX1140" fmla="*/ 926309 w 2663946"/>
                <a:gd name="connsiteY1140" fmla="*/ 71955 h 350039"/>
                <a:gd name="connsiteX1141" fmla="*/ 928521 w 2663946"/>
                <a:gd name="connsiteY1141" fmla="*/ 77363 h 350039"/>
                <a:gd name="connsiteX1142" fmla="*/ 929504 w 2663946"/>
                <a:gd name="connsiteY1142" fmla="*/ 80878 h 350039"/>
                <a:gd name="connsiteX1143" fmla="*/ 930487 w 2663946"/>
                <a:gd name="connsiteY1143" fmla="*/ 86015 h 350039"/>
                <a:gd name="connsiteX1144" fmla="*/ 930242 w 2663946"/>
                <a:gd name="connsiteY1144" fmla="*/ 100345 h 350039"/>
                <a:gd name="connsiteX1145" fmla="*/ 929259 w 2663946"/>
                <a:gd name="connsiteY1145" fmla="*/ 105212 h 350039"/>
                <a:gd name="connsiteX1146" fmla="*/ 928029 w 2663946"/>
                <a:gd name="connsiteY1146" fmla="*/ 108997 h 350039"/>
                <a:gd name="connsiteX1147" fmla="*/ 927046 w 2663946"/>
                <a:gd name="connsiteY1147" fmla="*/ 111431 h 350039"/>
                <a:gd name="connsiteX1148" fmla="*/ 924834 w 2663946"/>
                <a:gd name="connsiteY1148" fmla="*/ 115757 h 350039"/>
                <a:gd name="connsiteX1149" fmla="*/ 922622 w 2663946"/>
                <a:gd name="connsiteY1149" fmla="*/ 119001 h 350039"/>
                <a:gd name="connsiteX1150" fmla="*/ 919181 w 2663946"/>
                <a:gd name="connsiteY1150" fmla="*/ 122787 h 350039"/>
                <a:gd name="connsiteX1151" fmla="*/ 915985 w 2663946"/>
                <a:gd name="connsiteY1151" fmla="*/ 125490 h 350039"/>
                <a:gd name="connsiteX1152" fmla="*/ 910332 w 2663946"/>
                <a:gd name="connsiteY1152" fmla="*/ 128735 h 350039"/>
                <a:gd name="connsiteX1153" fmla="*/ 902466 w 2663946"/>
                <a:gd name="connsiteY1153" fmla="*/ 130898 h 350039"/>
                <a:gd name="connsiteX1154" fmla="*/ 901237 w 2663946"/>
                <a:gd name="connsiteY1154" fmla="*/ 131169 h 350039"/>
                <a:gd name="connsiteX1155" fmla="*/ 897058 w 2663946"/>
                <a:gd name="connsiteY1155" fmla="*/ 131169 h 350039"/>
                <a:gd name="connsiteX1156" fmla="*/ 896812 w 2663946"/>
                <a:gd name="connsiteY1156" fmla="*/ 131169 h 350039"/>
                <a:gd name="connsiteX1157" fmla="*/ 883785 w 2663946"/>
                <a:gd name="connsiteY1157" fmla="*/ 126302 h 350039"/>
                <a:gd name="connsiteX1158" fmla="*/ 879115 w 2663946"/>
                <a:gd name="connsiteY1158" fmla="*/ 122246 h 350039"/>
                <a:gd name="connsiteX1159" fmla="*/ 875919 w 2663946"/>
                <a:gd name="connsiteY1159" fmla="*/ 118461 h 350039"/>
                <a:gd name="connsiteX1160" fmla="*/ 873707 w 2663946"/>
                <a:gd name="connsiteY1160" fmla="*/ 114946 h 350039"/>
                <a:gd name="connsiteX1161" fmla="*/ 871495 w 2663946"/>
                <a:gd name="connsiteY1161" fmla="*/ 110620 h 350039"/>
                <a:gd name="connsiteX1162" fmla="*/ 870266 w 2663946"/>
                <a:gd name="connsiteY1162" fmla="*/ 107645 h 350039"/>
                <a:gd name="connsiteX1163" fmla="*/ 869282 w 2663946"/>
                <a:gd name="connsiteY1163" fmla="*/ 104401 h 350039"/>
                <a:gd name="connsiteX1164" fmla="*/ 868053 w 2663946"/>
                <a:gd name="connsiteY1164" fmla="*/ 98723 h 350039"/>
                <a:gd name="connsiteX1165" fmla="*/ 867808 w 2663946"/>
                <a:gd name="connsiteY1165" fmla="*/ 95749 h 350039"/>
                <a:gd name="connsiteX1166" fmla="*/ 868053 w 2663946"/>
                <a:gd name="connsiteY1166" fmla="*/ 96019 h 350039"/>
                <a:gd name="connsiteX1167" fmla="*/ 868053 w 2663946"/>
                <a:gd name="connsiteY1167" fmla="*/ 90341 h 350039"/>
                <a:gd name="connsiteX1168" fmla="*/ 868053 w 2663946"/>
                <a:gd name="connsiteY1168" fmla="*/ 90071 h 350039"/>
                <a:gd name="connsiteX1169" fmla="*/ 868545 w 2663946"/>
                <a:gd name="connsiteY1169" fmla="*/ 85474 h 350039"/>
                <a:gd name="connsiteX1170" fmla="*/ 869774 w 2663946"/>
                <a:gd name="connsiteY1170" fmla="*/ 80067 h 350039"/>
                <a:gd name="connsiteX1171" fmla="*/ 870757 w 2663946"/>
                <a:gd name="connsiteY1171" fmla="*/ 76822 h 350039"/>
                <a:gd name="connsiteX1172" fmla="*/ 872969 w 2663946"/>
                <a:gd name="connsiteY1172" fmla="*/ 71685 h 350039"/>
                <a:gd name="connsiteX1173" fmla="*/ 875182 w 2663946"/>
                <a:gd name="connsiteY1173" fmla="*/ 67900 h 350039"/>
                <a:gd name="connsiteX1174" fmla="*/ 877394 w 2663946"/>
                <a:gd name="connsiteY1174" fmla="*/ 64925 h 350039"/>
                <a:gd name="connsiteX1175" fmla="*/ 879606 w 2663946"/>
                <a:gd name="connsiteY1175" fmla="*/ 62492 h 350039"/>
                <a:gd name="connsiteX1176" fmla="*/ 884276 w 2663946"/>
                <a:gd name="connsiteY1176" fmla="*/ 58707 h 350039"/>
                <a:gd name="connsiteX1177" fmla="*/ 888209 w 2663946"/>
                <a:gd name="connsiteY1177" fmla="*/ 56544 h 350039"/>
                <a:gd name="connsiteX1178" fmla="*/ 897796 w 2663946"/>
                <a:gd name="connsiteY1178" fmla="*/ 54110 h 350039"/>
                <a:gd name="connsiteX1179" fmla="*/ 548889 w 2663946"/>
                <a:gd name="connsiteY1179" fmla="*/ 54110 h 350039"/>
                <a:gd name="connsiteX1180" fmla="*/ 561180 w 2663946"/>
                <a:gd name="connsiteY1180" fmla="*/ 56273 h 350039"/>
                <a:gd name="connsiteX1181" fmla="*/ 568554 w 2663946"/>
                <a:gd name="connsiteY1181" fmla="*/ 60870 h 350039"/>
                <a:gd name="connsiteX1182" fmla="*/ 571995 w 2663946"/>
                <a:gd name="connsiteY1182" fmla="*/ 64114 h 350039"/>
                <a:gd name="connsiteX1183" fmla="*/ 575436 w 2663946"/>
                <a:gd name="connsiteY1183" fmla="*/ 68440 h 350039"/>
                <a:gd name="connsiteX1184" fmla="*/ 577403 w 2663946"/>
                <a:gd name="connsiteY1184" fmla="*/ 71955 h 350039"/>
                <a:gd name="connsiteX1185" fmla="*/ 579615 w 2663946"/>
                <a:gd name="connsiteY1185" fmla="*/ 77363 h 350039"/>
                <a:gd name="connsiteX1186" fmla="*/ 580598 w 2663946"/>
                <a:gd name="connsiteY1186" fmla="*/ 80878 h 350039"/>
                <a:gd name="connsiteX1187" fmla="*/ 581581 w 2663946"/>
                <a:gd name="connsiteY1187" fmla="*/ 86015 h 350039"/>
                <a:gd name="connsiteX1188" fmla="*/ 581336 w 2663946"/>
                <a:gd name="connsiteY1188" fmla="*/ 100345 h 350039"/>
                <a:gd name="connsiteX1189" fmla="*/ 580352 w 2663946"/>
                <a:gd name="connsiteY1189" fmla="*/ 105212 h 350039"/>
                <a:gd name="connsiteX1190" fmla="*/ 579123 w 2663946"/>
                <a:gd name="connsiteY1190" fmla="*/ 108997 h 350039"/>
                <a:gd name="connsiteX1191" fmla="*/ 578140 w 2663946"/>
                <a:gd name="connsiteY1191" fmla="*/ 111431 h 350039"/>
                <a:gd name="connsiteX1192" fmla="*/ 575928 w 2663946"/>
                <a:gd name="connsiteY1192" fmla="*/ 115757 h 350039"/>
                <a:gd name="connsiteX1193" fmla="*/ 573715 w 2663946"/>
                <a:gd name="connsiteY1193" fmla="*/ 119001 h 350039"/>
                <a:gd name="connsiteX1194" fmla="*/ 570274 w 2663946"/>
                <a:gd name="connsiteY1194" fmla="*/ 122787 h 350039"/>
                <a:gd name="connsiteX1195" fmla="*/ 567079 w 2663946"/>
                <a:gd name="connsiteY1195" fmla="*/ 125490 h 350039"/>
                <a:gd name="connsiteX1196" fmla="*/ 561425 w 2663946"/>
                <a:gd name="connsiteY1196" fmla="*/ 128735 h 350039"/>
                <a:gd name="connsiteX1197" fmla="*/ 553559 w 2663946"/>
                <a:gd name="connsiteY1197" fmla="*/ 130898 h 350039"/>
                <a:gd name="connsiteX1198" fmla="*/ 552331 w 2663946"/>
                <a:gd name="connsiteY1198" fmla="*/ 131169 h 350039"/>
                <a:gd name="connsiteX1199" fmla="*/ 548152 w 2663946"/>
                <a:gd name="connsiteY1199" fmla="*/ 131169 h 350039"/>
                <a:gd name="connsiteX1200" fmla="*/ 547906 w 2663946"/>
                <a:gd name="connsiteY1200" fmla="*/ 131169 h 350039"/>
                <a:gd name="connsiteX1201" fmla="*/ 534879 w 2663946"/>
                <a:gd name="connsiteY1201" fmla="*/ 126302 h 350039"/>
                <a:gd name="connsiteX1202" fmla="*/ 530208 w 2663946"/>
                <a:gd name="connsiteY1202" fmla="*/ 122246 h 350039"/>
                <a:gd name="connsiteX1203" fmla="*/ 527013 w 2663946"/>
                <a:gd name="connsiteY1203" fmla="*/ 118461 h 350039"/>
                <a:gd name="connsiteX1204" fmla="*/ 524801 w 2663946"/>
                <a:gd name="connsiteY1204" fmla="*/ 114946 h 350039"/>
                <a:gd name="connsiteX1205" fmla="*/ 522588 w 2663946"/>
                <a:gd name="connsiteY1205" fmla="*/ 110620 h 350039"/>
                <a:gd name="connsiteX1206" fmla="*/ 521359 w 2663946"/>
                <a:gd name="connsiteY1206" fmla="*/ 107645 h 350039"/>
                <a:gd name="connsiteX1207" fmla="*/ 520376 w 2663946"/>
                <a:gd name="connsiteY1207" fmla="*/ 104401 h 350039"/>
                <a:gd name="connsiteX1208" fmla="*/ 519147 w 2663946"/>
                <a:gd name="connsiteY1208" fmla="*/ 98723 h 350039"/>
                <a:gd name="connsiteX1209" fmla="*/ 518901 w 2663946"/>
                <a:gd name="connsiteY1209" fmla="*/ 95749 h 350039"/>
                <a:gd name="connsiteX1210" fmla="*/ 519147 w 2663946"/>
                <a:gd name="connsiteY1210" fmla="*/ 96019 h 350039"/>
                <a:gd name="connsiteX1211" fmla="*/ 519147 w 2663946"/>
                <a:gd name="connsiteY1211" fmla="*/ 90341 h 350039"/>
                <a:gd name="connsiteX1212" fmla="*/ 519147 w 2663946"/>
                <a:gd name="connsiteY1212" fmla="*/ 90071 h 350039"/>
                <a:gd name="connsiteX1213" fmla="*/ 519639 w 2663946"/>
                <a:gd name="connsiteY1213" fmla="*/ 85474 h 350039"/>
                <a:gd name="connsiteX1214" fmla="*/ 520868 w 2663946"/>
                <a:gd name="connsiteY1214" fmla="*/ 80067 h 350039"/>
                <a:gd name="connsiteX1215" fmla="*/ 521851 w 2663946"/>
                <a:gd name="connsiteY1215" fmla="*/ 76822 h 350039"/>
                <a:gd name="connsiteX1216" fmla="*/ 524063 w 2663946"/>
                <a:gd name="connsiteY1216" fmla="*/ 71685 h 350039"/>
                <a:gd name="connsiteX1217" fmla="*/ 526275 w 2663946"/>
                <a:gd name="connsiteY1217" fmla="*/ 67900 h 350039"/>
                <a:gd name="connsiteX1218" fmla="*/ 528488 w 2663946"/>
                <a:gd name="connsiteY1218" fmla="*/ 64925 h 350039"/>
                <a:gd name="connsiteX1219" fmla="*/ 530700 w 2663946"/>
                <a:gd name="connsiteY1219" fmla="*/ 62492 h 350039"/>
                <a:gd name="connsiteX1220" fmla="*/ 535370 w 2663946"/>
                <a:gd name="connsiteY1220" fmla="*/ 58707 h 350039"/>
                <a:gd name="connsiteX1221" fmla="*/ 539303 w 2663946"/>
                <a:gd name="connsiteY1221" fmla="*/ 56544 h 350039"/>
                <a:gd name="connsiteX1222" fmla="*/ 548889 w 2663946"/>
                <a:gd name="connsiteY1222" fmla="*/ 54110 h 350039"/>
                <a:gd name="connsiteX1223" fmla="*/ 366938 w 2663946"/>
                <a:gd name="connsiteY1223" fmla="*/ 54110 h 350039"/>
                <a:gd name="connsiteX1224" fmla="*/ 379228 w 2663946"/>
                <a:gd name="connsiteY1224" fmla="*/ 56273 h 350039"/>
                <a:gd name="connsiteX1225" fmla="*/ 386603 w 2663946"/>
                <a:gd name="connsiteY1225" fmla="*/ 60870 h 350039"/>
                <a:gd name="connsiteX1226" fmla="*/ 390044 w 2663946"/>
                <a:gd name="connsiteY1226" fmla="*/ 64114 h 350039"/>
                <a:gd name="connsiteX1227" fmla="*/ 393485 w 2663946"/>
                <a:gd name="connsiteY1227" fmla="*/ 68440 h 350039"/>
                <a:gd name="connsiteX1228" fmla="*/ 395452 w 2663946"/>
                <a:gd name="connsiteY1228" fmla="*/ 71955 h 350039"/>
                <a:gd name="connsiteX1229" fmla="*/ 397664 w 2663946"/>
                <a:gd name="connsiteY1229" fmla="*/ 77363 h 350039"/>
                <a:gd name="connsiteX1230" fmla="*/ 398647 w 2663946"/>
                <a:gd name="connsiteY1230" fmla="*/ 80878 h 350039"/>
                <a:gd name="connsiteX1231" fmla="*/ 399630 w 2663946"/>
                <a:gd name="connsiteY1231" fmla="*/ 86015 h 350039"/>
                <a:gd name="connsiteX1232" fmla="*/ 399384 w 2663946"/>
                <a:gd name="connsiteY1232" fmla="*/ 100345 h 350039"/>
                <a:gd name="connsiteX1233" fmla="*/ 398401 w 2663946"/>
                <a:gd name="connsiteY1233" fmla="*/ 105212 h 350039"/>
                <a:gd name="connsiteX1234" fmla="*/ 397172 w 2663946"/>
                <a:gd name="connsiteY1234" fmla="*/ 108997 h 350039"/>
                <a:gd name="connsiteX1235" fmla="*/ 396189 w 2663946"/>
                <a:gd name="connsiteY1235" fmla="*/ 111431 h 350039"/>
                <a:gd name="connsiteX1236" fmla="*/ 393977 w 2663946"/>
                <a:gd name="connsiteY1236" fmla="*/ 115757 h 350039"/>
                <a:gd name="connsiteX1237" fmla="*/ 391764 w 2663946"/>
                <a:gd name="connsiteY1237" fmla="*/ 119001 h 350039"/>
                <a:gd name="connsiteX1238" fmla="*/ 388323 w 2663946"/>
                <a:gd name="connsiteY1238" fmla="*/ 122787 h 350039"/>
                <a:gd name="connsiteX1239" fmla="*/ 385128 w 2663946"/>
                <a:gd name="connsiteY1239" fmla="*/ 125490 h 350039"/>
                <a:gd name="connsiteX1240" fmla="*/ 379474 w 2663946"/>
                <a:gd name="connsiteY1240" fmla="*/ 128735 h 350039"/>
                <a:gd name="connsiteX1241" fmla="*/ 371609 w 2663946"/>
                <a:gd name="connsiteY1241" fmla="*/ 130898 h 350039"/>
                <a:gd name="connsiteX1242" fmla="*/ 370380 w 2663946"/>
                <a:gd name="connsiteY1242" fmla="*/ 131169 h 350039"/>
                <a:gd name="connsiteX1243" fmla="*/ 366201 w 2663946"/>
                <a:gd name="connsiteY1243" fmla="*/ 131169 h 350039"/>
                <a:gd name="connsiteX1244" fmla="*/ 365955 w 2663946"/>
                <a:gd name="connsiteY1244" fmla="*/ 131169 h 350039"/>
                <a:gd name="connsiteX1245" fmla="*/ 352927 w 2663946"/>
                <a:gd name="connsiteY1245" fmla="*/ 126302 h 350039"/>
                <a:gd name="connsiteX1246" fmla="*/ 348257 w 2663946"/>
                <a:gd name="connsiteY1246" fmla="*/ 122246 h 350039"/>
                <a:gd name="connsiteX1247" fmla="*/ 345062 w 2663946"/>
                <a:gd name="connsiteY1247" fmla="*/ 118461 h 350039"/>
                <a:gd name="connsiteX1248" fmla="*/ 342850 w 2663946"/>
                <a:gd name="connsiteY1248" fmla="*/ 114946 h 350039"/>
                <a:gd name="connsiteX1249" fmla="*/ 340637 w 2663946"/>
                <a:gd name="connsiteY1249" fmla="*/ 110620 h 350039"/>
                <a:gd name="connsiteX1250" fmla="*/ 339408 w 2663946"/>
                <a:gd name="connsiteY1250" fmla="*/ 107645 h 350039"/>
                <a:gd name="connsiteX1251" fmla="*/ 338425 w 2663946"/>
                <a:gd name="connsiteY1251" fmla="*/ 104401 h 350039"/>
                <a:gd name="connsiteX1252" fmla="*/ 337196 w 2663946"/>
                <a:gd name="connsiteY1252" fmla="*/ 98723 h 350039"/>
                <a:gd name="connsiteX1253" fmla="*/ 336950 w 2663946"/>
                <a:gd name="connsiteY1253" fmla="*/ 95749 h 350039"/>
                <a:gd name="connsiteX1254" fmla="*/ 337196 w 2663946"/>
                <a:gd name="connsiteY1254" fmla="*/ 96019 h 350039"/>
                <a:gd name="connsiteX1255" fmla="*/ 337196 w 2663946"/>
                <a:gd name="connsiteY1255" fmla="*/ 90341 h 350039"/>
                <a:gd name="connsiteX1256" fmla="*/ 337196 w 2663946"/>
                <a:gd name="connsiteY1256" fmla="*/ 90071 h 350039"/>
                <a:gd name="connsiteX1257" fmla="*/ 337687 w 2663946"/>
                <a:gd name="connsiteY1257" fmla="*/ 85474 h 350039"/>
                <a:gd name="connsiteX1258" fmla="*/ 338917 w 2663946"/>
                <a:gd name="connsiteY1258" fmla="*/ 80067 h 350039"/>
                <a:gd name="connsiteX1259" fmla="*/ 339900 w 2663946"/>
                <a:gd name="connsiteY1259" fmla="*/ 76822 h 350039"/>
                <a:gd name="connsiteX1260" fmla="*/ 342112 w 2663946"/>
                <a:gd name="connsiteY1260" fmla="*/ 71685 h 350039"/>
                <a:gd name="connsiteX1261" fmla="*/ 344324 w 2663946"/>
                <a:gd name="connsiteY1261" fmla="*/ 67900 h 350039"/>
                <a:gd name="connsiteX1262" fmla="*/ 346536 w 2663946"/>
                <a:gd name="connsiteY1262" fmla="*/ 64925 h 350039"/>
                <a:gd name="connsiteX1263" fmla="*/ 348749 w 2663946"/>
                <a:gd name="connsiteY1263" fmla="*/ 62492 h 350039"/>
                <a:gd name="connsiteX1264" fmla="*/ 353419 w 2663946"/>
                <a:gd name="connsiteY1264" fmla="*/ 58707 h 350039"/>
                <a:gd name="connsiteX1265" fmla="*/ 357352 w 2663946"/>
                <a:gd name="connsiteY1265" fmla="*/ 56544 h 350039"/>
                <a:gd name="connsiteX1266" fmla="*/ 366938 w 2663946"/>
                <a:gd name="connsiteY1266" fmla="*/ 54110 h 350039"/>
                <a:gd name="connsiteX1267" fmla="*/ 123893 w 2663946"/>
                <a:gd name="connsiteY1267" fmla="*/ 54110 h 350039"/>
                <a:gd name="connsiteX1268" fmla="*/ 136183 w 2663946"/>
                <a:gd name="connsiteY1268" fmla="*/ 56273 h 350039"/>
                <a:gd name="connsiteX1269" fmla="*/ 143557 w 2663946"/>
                <a:gd name="connsiteY1269" fmla="*/ 60870 h 350039"/>
                <a:gd name="connsiteX1270" fmla="*/ 146998 w 2663946"/>
                <a:gd name="connsiteY1270" fmla="*/ 64114 h 350039"/>
                <a:gd name="connsiteX1271" fmla="*/ 150439 w 2663946"/>
                <a:gd name="connsiteY1271" fmla="*/ 68440 h 350039"/>
                <a:gd name="connsiteX1272" fmla="*/ 152406 w 2663946"/>
                <a:gd name="connsiteY1272" fmla="*/ 71955 h 350039"/>
                <a:gd name="connsiteX1273" fmla="*/ 154618 w 2663946"/>
                <a:gd name="connsiteY1273" fmla="*/ 77363 h 350039"/>
                <a:gd name="connsiteX1274" fmla="*/ 155601 w 2663946"/>
                <a:gd name="connsiteY1274" fmla="*/ 80878 h 350039"/>
                <a:gd name="connsiteX1275" fmla="*/ 156584 w 2663946"/>
                <a:gd name="connsiteY1275" fmla="*/ 86015 h 350039"/>
                <a:gd name="connsiteX1276" fmla="*/ 156339 w 2663946"/>
                <a:gd name="connsiteY1276" fmla="*/ 100345 h 350039"/>
                <a:gd name="connsiteX1277" fmla="*/ 155355 w 2663946"/>
                <a:gd name="connsiteY1277" fmla="*/ 105212 h 350039"/>
                <a:gd name="connsiteX1278" fmla="*/ 154126 w 2663946"/>
                <a:gd name="connsiteY1278" fmla="*/ 108997 h 350039"/>
                <a:gd name="connsiteX1279" fmla="*/ 153143 w 2663946"/>
                <a:gd name="connsiteY1279" fmla="*/ 111431 h 350039"/>
                <a:gd name="connsiteX1280" fmla="*/ 150931 w 2663946"/>
                <a:gd name="connsiteY1280" fmla="*/ 115757 h 350039"/>
                <a:gd name="connsiteX1281" fmla="*/ 148719 w 2663946"/>
                <a:gd name="connsiteY1281" fmla="*/ 119001 h 350039"/>
                <a:gd name="connsiteX1282" fmla="*/ 145277 w 2663946"/>
                <a:gd name="connsiteY1282" fmla="*/ 122787 h 350039"/>
                <a:gd name="connsiteX1283" fmla="*/ 142082 w 2663946"/>
                <a:gd name="connsiteY1283" fmla="*/ 125490 h 350039"/>
                <a:gd name="connsiteX1284" fmla="*/ 136428 w 2663946"/>
                <a:gd name="connsiteY1284" fmla="*/ 128735 h 350039"/>
                <a:gd name="connsiteX1285" fmla="*/ 128563 w 2663946"/>
                <a:gd name="connsiteY1285" fmla="*/ 130898 h 350039"/>
                <a:gd name="connsiteX1286" fmla="*/ 127334 w 2663946"/>
                <a:gd name="connsiteY1286" fmla="*/ 131169 h 350039"/>
                <a:gd name="connsiteX1287" fmla="*/ 123155 w 2663946"/>
                <a:gd name="connsiteY1287" fmla="*/ 131169 h 350039"/>
                <a:gd name="connsiteX1288" fmla="*/ 122909 w 2663946"/>
                <a:gd name="connsiteY1288" fmla="*/ 131169 h 350039"/>
                <a:gd name="connsiteX1289" fmla="*/ 109882 w 2663946"/>
                <a:gd name="connsiteY1289" fmla="*/ 126302 h 350039"/>
                <a:gd name="connsiteX1290" fmla="*/ 105211 w 2663946"/>
                <a:gd name="connsiteY1290" fmla="*/ 122246 h 350039"/>
                <a:gd name="connsiteX1291" fmla="*/ 102016 w 2663946"/>
                <a:gd name="connsiteY1291" fmla="*/ 118461 h 350039"/>
                <a:gd name="connsiteX1292" fmla="*/ 99804 w 2663946"/>
                <a:gd name="connsiteY1292" fmla="*/ 114946 h 350039"/>
                <a:gd name="connsiteX1293" fmla="*/ 97591 w 2663946"/>
                <a:gd name="connsiteY1293" fmla="*/ 110620 h 350039"/>
                <a:gd name="connsiteX1294" fmla="*/ 96362 w 2663946"/>
                <a:gd name="connsiteY1294" fmla="*/ 107645 h 350039"/>
                <a:gd name="connsiteX1295" fmla="*/ 95379 w 2663946"/>
                <a:gd name="connsiteY1295" fmla="*/ 104401 h 350039"/>
                <a:gd name="connsiteX1296" fmla="*/ 94150 w 2663946"/>
                <a:gd name="connsiteY1296" fmla="*/ 98723 h 350039"/>
                <a:gd name="connsiteX1297" fmla="*/ 93904 w 2663946"/>
                <a:gd name="connsiteY1297" fmla="*/ 95749 h 350039"/>
                <a:gd name="connsiteX1298" fmla="*/ 94150 w 2663946"/>
                <a:gd name="connsiteY1298" fmla="*/ 96019 h 350039"/>
                <a:gd name="connsiteX1299" fmla="*/ 94150 w 2663946"/>
                <a:gd name="connsiteY1299" fmla="*/ 90341 h 350039"/>
                <a:gd name="connsiteX1300" fmla="*/ 94150 w 2663946"/>
                <a:gd name="connsiteY1300" fmla="*/ 90071 h 350039"/>
                <a:gd name="connsiteX1301" fmla="*/ 94642 w 2663946"/>
                <a:gd name="connsiteY1301" fmla="*/ 85474 h 350039"/>
                <a:gd name="connsiteX1302" fmla="*/ 95871 w 2663946"/>
                <a:gd name="connsiteY1302" fmla="*/ 80067 h 350039"/>
                <a:gd name="connsiteX1303" fmla="*/ 96854 w 2663946"/>
                <a:gd name="connsiteY1303" fmla="*/ 76822 h 350039"/>
                <a:gd name="connsiteX1304" fmla="*/ 99066 w 2663946"/>
                <a:gd name="connsiteY1304" fmla="*/ 71685 h 350039"/>
                <a:gd name="connsiteX1305" fmla="*/ 101279 w 2663946"/>
                <a:gd name="connsiteY1305" fmla="*/ 67900 h 350039"/>
                <a:gd name="connsiteX1306" fmla="*/ 103491 w 2663946"/>
                <a:gd name="connsiteY1306" fmla="*/ 64925 h 350039"/>
                <a:gd name="connsiteX1307" fmla="*/ 105703 w 2663946"/>
                <a:gd name="connsiteY1307" fmla="*/ 62492 h 350039"/>
                <a:gd name="connsiteX1308" fmla="*/ 110373 w 2663946"/>
                <a:gd name="connsiteY1308" fmla="*/ 58707 h 350039"/>
                <a:gd name="connsiteX1309" fmla="*/ 114306 w 2663946"/>
                <a:gd name="connsiteY1309" fmla="*/ 56544 h 350039"/>
                <a:gd name="connsiteX1310" fmla="*/ 123893 w 2663946"/>
                <a:gd name="connsiteY1310" fmla="*/ 54110 h 350039"/>
                <a:gd name="connsiteX1311" fmla="*/ 33147 w 2663946"/>
                <a:gd name="connsiteY1311" fmla="*/ 53472 h 350039"/>
                <a:gd name="connsiteX1312" fmla="*/ 57942 w 2663946"/>
                <a:gd name="connsiteY1312" fmla="*/ 73681 h 350039"/>
                <a:gd name="connsiteX1313" fmla="*/ 58422 w 2663946"/>
                <a:gd name="connsiteY1313" fmla="*/ 78439 h 350039"/>
                <a:gd name="connsiteX1314" fmla="*/ 59840 w 2663946"/>
                <a:gd name="connsiteY1314" fmla="*/ 78439 h 350039"/>
                <a:gd name="connsiteX1315" fmla="*/ 66294 w 2663946"/>
                <a:gd name="connsiteY1315" fmla="*/ 84725 h 350039"/>
                <a:gd name="connsiteX1316" fmla="*/ 66294 w 2663946"/>
                <a:gd name="connsiteY1316" fmla="*/ 134447 h 350039"/>
                <a:gd name="connsiteX1317" fmla="*/ 59840 w 2663946"/>
                <a:gd name="connsiteY1317" fmla="*/ 140733 h 350039"/>
                <a:gd name="connsiteX1318" fmla="*/ 6453 w 2663946"/>
                <a:gd name="connsiteY1318" fmla="*/ 140733 h 350039"/>
                <a:gd name="connsiteX1319" fmla="*/ 0 w 2663946"/>
                <a:gd name="connsiteY1319" fmla="*/ 134447 h 350039"/>
                <a:gd name="connsiteX1320" fmla="*/ 0 w 2663946"/>
                <a:gd name="connsiteY1320" fmla="*/ 84725 h 350039"/>
                <a:gd name="connsiteX1321" fmla="*/ 6453 w 2663946"/>
                <a:gd name="connsiteY1321" fmla="*/ 78439 h 350039"/>
                <a:gd name="connsiteX1322" fmla="*/ 7288 w 2663946"/>
                <a:gd name="connsiteY1322" fmla="*/ 78439 h 350039"/>
                <a:gd name="connsiteX1323" fmla="*/ 7872 w 2663946"/>
                <a:gd name="connsiteY1323" fmla="*/ 78439 h 350039"/>
                <a:gd name="connsiteX1324" fmla="*/ 8351 w 2663946"/>
                <a:gd name="connsiteY1324" fmla="*/ 73681 h 350039"/>
                <a:gd name="connsiteX1325" fmla="*/ 33147 w 2663946"/>
                <a:gd name="connsiteY1325" fmla="*/ 53472 h 350039"/>
                <a:gd name="connsiteX1326" fmla="*/ 2537931 w 2663946"/>
                <a:gd name="connsiteY1326" fmla="*/ 45884 h 350039"/>
                <a:gd name="connsiteX1327" fmla="*/ 2562727 w 2663946"/>
                <a:gd name="connsiteY1327" fmla="*/ 66093 h 350039"/>
                <a:gd name="connsiteX1328" fmla="*/ 2563206 w 2663946"/>
                <a:gd name="connsiteY1328" fmla="*/ 70851 h 350039"/>
                <a:gd name="connsiteX1329" fmla="*/ 2564625 w 2663946"/>
                <a:gd name="connsiteY1329" fmla="*/ 70851 h 350039"/>
                <a:gd name="connsiteX1330" fmla="*/ 2571078 w 2663946"/>
                <a:gd name="connsiteY1330" fmla="*/ 77137 h 350039"/>
                <a:gd name="connsiteX1331" fmla="*/ 2571078 w 2663946"/>
                <a:gd name="connsiteY1331" fmla="*/ 126859 h 350039"/>
                <a:gd name="connsiteX1332" fmla="*/ 2564625 w 2663946"/>
                <a:gd name="connsiteY1332" fmla="*/ 133145 h 350039"/>
                <a:gd name="connsiteX1333" fmla="*/ 2511238 w 2663946"/>
                <a:gd name="connsiteY1333" fmla="*/ 133145 h 350039"/>
                <a:gd name="connsiteX1334" fmla="*/ 2504784 w 2663946"/>
                <a:gd name="connsiteY1334" fmla="*/ 126859 h 350039"/>
                <a:gd name="connsiteX1335" fmla="*/ 2504784 w 2663946"/>
                <a:gd name="connsiteY1335" fmla="*/ 77137 h 350039"/>
                <a:gd name="connsiteX1336" fmla="*/ 2511238 w 2663946"/>
                <a:gd name="connsiteY1336" fmla="*/ 70851 h 350039"/>
                <a:gd name="connsiteX1337" fmla="*/ 2512072 w 2663946"/>
                <a:gd name="connsiteY1337" fmla="*/ 70851 h 350039"/>
                <a:gd name="connsiteX1338" fmla="*/ 2512656 w 2663946"/>
                <a:gd name="connsiteY1338" fmla="*/ 70851 h 350039"/>
                <a:gd name="connsiteX1339" fmla="*/ 2513136 w 2663946"/>
                <a:gd name="connsiteY1339" fmla="*/ 66093 h 350039"/>
                <a:gd name="connsiteX1340" fmla="*/ 2537931 w 2663946"/>
                <a:gd name="connsiteY1340" fmla="*/ 45884 h 350039"/>
                <a:gd name="connsiteX1341" fmla="*/ 2112934 w 2663946"/>
                <a:gd name="connsiteY1341" fmla="*/ 45884 h 350039"/>
                <a:gd name="connsiteX1342" fmla="*/ 2137730 w 2663946"/>
                <a:gd name="connsiteY1342" fmla="*/ 66093 h 350039"/>
                <a:gd name="connsiteX1343" fmla="*/ 2138209 w 2663946"/>
                <a:gd name="connsiteY1343" fmla="*/ 70851 h 350039"/>
                <a:gd name="connsiteX1344" fmla="*/ 2139628 w 2663946"/>
                <a:gd name="connsiteY1344" fmla="*/ 70851 h 350039"/>
                <a:gd name="connsiteX1345" fmla="*/ 2146081 w 2663946"/>
                <a:gd name="connsiteY1345" fmla="*/ 77137 h 350039"/>
                <a:gd name="connsiteX1346" fmla="*/ 2146081 w 2663946"/>
                <a:gd name="connsiteY1346" fmla="*/ 126859 h 350039"/>
                <a:gd name="connsiteX1347" fmla="*/ 2139628 w 2663946"/>
                <a:gd name="connsiteY1347" fmla="*/ 133145 h 350039"/>
                <a:gd name="connsiteX1348" fmla="*/ 2086241 w 2663946"/>
                <a:gd name="connsiteY1348" fmla="*/ 133145 h 350039"/>
                <a:gd name="connsiteX1349" fmla="*/ 2079787 w 2663946"/>
                <a:gd name="connsiteY1349" fmla="*/ 126859 h 350039"/>
                <a:gd name="connsiteX1350" fmla="*/ 2079787 w 2663946"/>
                <a:gd name="connsiteY1350" fmla="*/ 77137 h 350039"/>
                <a:gd name="connsiteX1351" fmla="*/ 2086241 w 2663946"/>
                <a:gd name="connsiteY1351" fmla="*/ 70851 h 350039"/>
                <a:gd name="connsiteX1352" fmla="*/ 2087075 w 2663946"/>
                <a:gd name="connsiteY1352" fmla="*/ 70851 h 350039"/>
                <a:gd name="connsiteX1353" fmla="*/ 2087659 w 2663946"/>
                <a:gd name="connsiteY1353" fmla="*/ 70851 h 350039"/>
                <a:gd name="connsiteX1354" fmla="*/ 2088139 w 2663946"/>
                <a:gd name="connsiteY1354" fmla="*/ 66093 h 350039"/>
                <a:gd name="connsiteX1355" fmla="*/ 2112934 w 2663946"/>
                <a:gd name="connsiteY1355" fmla="*/ 45884 h 350039"/>
                <a:gd name="connsiteX1356" fmla="*/ 1854966 w 2663946"/>
                <a:gd name="connsiteY1356" fmla="*/ 45884 h 350039"/>
                <a:gd name="connsiteX1357" fmla="*/ 1879762 w 2663946"/>
                <a:gd name="connsiteY1357" fmla="*/ 66093 h 350039"/>
                <a:gd name="connsiteX1358" fmla="*/ 1880241 w 2663946"/>
                <a:gd name="connsiteY1358" fmla="*/ 70851 h 350039"/>
                <a:gd name="connsiteX1359" fmla="*/ 1881660 w 2663946"/>
                <a:gd name="connsiteY1359" fmla="*/ 70851 h 350039"/>
                <a:gd name="connsiteX1360" fmla="*/ 1888113 w 2663946"/>
                <a:gd name="connsiteY1360" fmla="*/ 77137 h 350039"/>
                <a:gd name="connsiteX1361" fmla="*/ 1888113 w 2663946"/>
                <a:gd name="connsiteY1361" fmla="*/ 126859 h 350039"/>
                <a:gd name="connsiteX1362" fmla="*/ 1881660 w 2663946"/>
                <a:gd name="connsiteY1362" fmla="*/ 133145 h 350039"/>
                <a:gd name="connsiteX1363" fmla="*/ 1828273 w 2663946"/>
                <a:gd name="connsiteY1363" fmla="*/ 133145 h 350039"/>
                <a:gd name="connsiteX1364" fmla="*/ 1821819 w 2663946"/>
                <a:gd name="connsiteY1364" fmla="*/ 126859 h 350039"/>
                <a:gd name="connsiteX1365" fmla="*/ 1821819 w 2663946"/>
                <a:gd name="connsiteY1365" fmla="*/ 77137 h 350039"/>
                <a:gd name="connsiteX1366" fmla="*/ 1828273 w 2663946"/>
                <a:gd name="connsiteY1366" fmla="*/ 70851 h 350039"/>
                <a:gd name="connsiteX1367" fmla="*/ 1829107 w 2663946"/>
                <a:gd name="connsiteY1367" fmla="*/ 70851 h 350039"/>
                <a:gd name="connsiteX1368" fmla="*/ 1829691 w 2663946"/>
                <a:gd name="connsiteY1368" fmla="*/ 70851 h 350039"/>
                <a:gd name="connsiteX1369" fmla="*/ 1830171 w 2663946"/>
                <a:gd name="connsiteY1369" fmla="*/ 66093 h 350039"/>
                <a:gd name="connsiteX1370" fmla="*/ 1854966 w 2663946"/>
                <a:gd name="connsiteY1370" fmla="*/ 45884 h 350039"/>
                <a:gd name="connsiteX1371" fmla="*/ 1764027 w 2663946"/>
                <a:gd name="connsiteY1371" fmla="*/ 45884 h 350039"/>
                <a:gd name="connsiteX1372" fmla="*/ 1788823 w 2663946"/>
                <a:gd name="connsiteY1372" fmla="*/ 66093 h 350039"/>
                <a:gd name="connsiteX1373" fmla="*/ 1789302 w 2663946"/>
                <a:gd name="connsiteY1373" fmla="*/ 70851 h 350039"/>
                <a:gd name="connsiteX1374" fmla="*/ 1790721 w 2663946"/>
                <a:gd name="connsiteY1374" fmla="*/ 70851 h 350039"/>
                <a:gd name="connsiteX1375" fmla="*/ 1797174 w 2663946"/>
                <a:gd name="connsiteY1375" fmla="*/ 77137 h 350039"/>
                <a:gd name="connsiteX1376" fmla="*/ 1797174 w 2663946"/>
                <a:gd name="connsiteY1376" fmla="*/ 126859 h 350039"/>
                <a:gd name="connsiteX1377" fmla="*/ 1790721 w 2663946"/>
                <a:gd name="connsiteY1377" fmla="*/ 133145 h 350039"/>
                <a:gd name="connsiteX1378" fmla="*/ 1737333 w 2663946"/>
                <a:gd name="connsiteY1378" fmla="*/ 133145 h 350039"/>
                <a:gd name="connsiteX1379" fmla="*/ 1730880 w 2663946"/>
                <a:gd name="connsiteY1379" fmla="*/ 126859 h 350039"/>
                <a:gd name="connsiteX1380" fmla="*/ 1730880 w 2663946"/>
                <a:gd name="connsiteY1380" fmla="*/ 77137 h 350039"/>
                <a:gd name="connsiteX1381" fmla="*/ 1737333 w 2663946"/>
                <a:gd name="connsiteY1381" fmla="*/ 70851 h 350039"/>
                <a:gd name="connsiteX1382" fmla="*/ 1738168 w 2663946"/>
                <a:gd name="connsiteY1382" fmla="*/ 70851 h 350039"/>
                <a:gd name="connsiteX1383" fmla="*/ 1738752 w 2663946"/>
                <a:gd name="connsiteY1383" fmla="*/ 70851 h 350039"/>
                <a:gd name="connsiteX1384" fmla="*/ 1739232 w 2663946"/>
                <a:gd name="connsiteY1384" fmla="*/ 66093 h 350039"/>
                <a:gd name="connsiteX1385" fmla="*/ 1764027 w 2663946"/>
                <a:gd name="connsiteY1385" fmla="*/ 45884 h 350039"/>
                <a:gd name="connsiteX1386" fmla="*/ 1506059 w 2663946"/>
                <a:gd name="connsiteY1386" fmla="*/ 45884 h 350039"/>
                <a:gd name="connsiteX1387" fmla="*/ 1530855 w 2663946"/>
                <a:gd name="connsiteY1387" fmla="*/ 66093 h 350039"/>
                <a:gd name="connsiteX1388" fmla="*/ 1531334 w 2663946"/>
                <a:gd name="connsiteY1388" fmla="*/ 70851 h 350039"/>
                <a:gd name="connsiteX1389" fmla="*/ 1532753 w 2663946"/>
                <a:gd name="connsiteY1389" fmla="*/ 70851 h 350039"/>
                <a:gd name="connsiteX1390" fmla="*/ 1539206 w 2663946"/>
                <a:gd name="connsiteY1390" fmla="*/ 77137 h 350039"/>
                <a:gd name="connsiteX1391" fmla="*/ 1539206 w 2663946"/>
                <a:gd name="connsiteY1391" fmla="*/ 126859 h 350039"/>
                <a:gd name="connsiteX1392" fmla="*/ 1532753 w 2663946"/>
                <a:gd name="connsiteY1392" fmla="*/ 133145 h 350039"/>
                <a:gd name="connsiteX1393" fmla="*/ 1479365 w 2663946"/>
                <a:gd name="connsiteY1393" fmla="*/ 133145 h 350039"/>
                <a:gd name="connsiteX1394" fmla="*/ 1472912 w 2663946"/>
                <a:gd name="connsiteY1394" fmla="*/ 126859 h 350039"/>
                <a:gd name="connsiteX1395" fmla="*/ 1472912 w 2663946"/>
                <a:gd name="connsiteY1395" fmla="*/ 77137 h 350039"/>
                <a:gd name="connsiteX1396" fmla="*/ 1479365 w 2663946"/>
                <a:gd name="connsiteY1396" fmla="*/ 70851 h 350039"/>
                <a:gd name="connsiteX1397" fmla="*/ 1480200 w 2663946"/>
                <a:gd name="connsiteY1397" fmla="*/ 70851 h 350039"/>
                <a:gd name="connsiteX1398" fmla="*/ 1480784 w 2663946"/>
                <a:gd name="connsiteY1398" fmla="*/ 70851 h 350039"/>
                <a:gd name="connsiteX1399" fmla="*/ 1481264 w 2663946"/>
                <a:gd name="connsiteY1399" fmla="*/ 66093 h 350039"/>
                <a:gd name="connsiteX1400" fmla="*/ 1506059 w 2663946"/>
                <a:gd name="connsiteY1400" fmla="*/ 45884 h 350039"/>
                <a:gd name="connsiteX1401" fmla="*/ 1415120 w 2663946"/>
                <a:gd name="connsiteY1401" fmla="*/ 45884 h 350039"/>
                <a:gd name="connsiteX1402" fmla="*/ 1439916 w 2663946"/>
                <a:gd name="connsiteY1402" fmla="*/ 66093 h 350039"/>
                <a:gd name="connsiteX1403" fmla="*/ 1440395 w 2663946"/>
                <a:gd name="connsiteY1403" fmla="*/ 70851 h 350039"/>
                <a:gd name="connsiteX1404" fmla="*/ 1441814 w 2663946"/>
                <a:gd name="connsiteY1404" fmla="*/ 70851 h 350039"/>
                <a:gd name="connsiteX1405" fmla="*/ 1448267 w 2663946"/>
                <a:gd name="connsiteY1405" fmla="*/ 77137 h 350039"/>
                <a:gd name="connsiteX1406" fmla="*/ 1448267 w 2663946"/>
                <a:gd name="connsiteY1406" fmla="*/ 126859 h 350039"/>
                <a:gd name="connsiteX1407" fmla="*/ 1441814 w 2663946"/>
                <a:gd name="connsiteY1407" fmla="*/ 133145 h 350039"/>
                <a:gd name="connsiteX1408" fmla="*/ 1388426 w 2663946"/>
                <a:gd name="connsiteY1408" fmla="*/ 133145 h 350039"/>
                <a:gd name="connsiteX1409" fmla="*/ 1381973 w 2663946"/>
                <a:gd name="connsiteY1409" fmla="*/ 126859 h 350039"/>
                <a:gd name="connsiteX1410" fmla="*/ 1381973 w 2663946"/>
                <a:gd name="connsiteY1410" fmla="*/ 77137 h 350039"/>
                <a:gd name="connsiteX1411" fmla="*/ 1388426 w 2663946"/>
                <a:gd name="connsiteY1411" fmla="*/ 70851 h 350039"/>
                <a:gd name="connsiteX1412" fmla="*/ 1389261 w 2663946"/>
                <a:gd name="connsiteY1412" fmla="*/ 70851 h 350039"/>
                <a:gd name="connsiteX1413" fmla="*/ 1389845 w 2663946"/>
                <a:gd name="connsiteY1413" fmla="*/ 70851 h 350039"/>
                <a:gd name="connsiteX1414" fmla="*/ 1390325 w 2663946"/>
                <a:gd name="connsiteY1414" fmla="*/ 66093 h 350039"/>
                <a:gd name="connsiteX1415" fmla="*/ 1415120 w 2663946"/>
                <a:gd name="connsiteY1415" fmla="*/ 45884 h 350039"/>
                <a:gd name="connsiteX1416" fmla="*/ 1157152 w 2663946"/>
                <a:gd name="connsiteY1416" fmla="*/ 45884 h 350039"/>
                <a:gd name="connsiteX1417" fmla="*/ 1181948 w 2663946"/>
                <a:gd name="connsiteY1417" fmla="*/ 66093 h 350039"/>
                <a:gd name="connsiteX1418" fmla="*/ 1182427 w 2663946"/>
                <a:gd name="connsiteY1418" fmla="*/ 70851 h 350039"/>
                <a:gd name="connsiteX1419" fmla="*/ 1183846 w 2663946"/>
                <a:gd name="connsiteY1419" fmla="*/ 70851 h 350039"/>
                <a:gd name="connsiteX1420" fmla="*/ 1190299 w 2663946"/>
                <a:gd name="connsiteY1420" fmla="*/ 77137 h 350039"/>
                <a:gd name="connsiteX1421" fmla="*/ 1190299 w 2663946"/>
                <a:gd name="connsiteY1421" fmla="*/ 126859 h 350039"/>
                <a:gd name="connsiteX1422" fmla="*/ 1183846 w 2663946"/>
                <a:gd name="connsiteY1422" fmla="*/ 133145 h 350039"/>
                <a:gd name="connsiteX1423" fmla="*/ 1130458 w 2663946"/>
                <a:gd name="connsiteY1423" fmla="*/ 133145 h 350039"/>
                <a:gd name="connsiteX1424" fmla="*/ 1124005 w 2663946"/>
                <a:gd name="connsiteY1424" fmla="*/ 126859 h 350039"/>
                <a:gd name="connsiteX1425" fmla="*/ 1124005 w 2663946"/>
                <a:gd name="connsiteY1425" fmla="*/ 77137 h 350039"/>
                <a:gd name="connsiteX1426" fmla="*/ 1130458 w 2663946"/>
                <a:gd name="connsiteY1426" fmla="*/ 70851 h 350039"/>
                <a:gd name="connsiteX1427" fmla="*/ 1131293 w 2663946"/>
                <a:gd name="connsiteY1427" fmla="*/ 70851 h 350039"/>
                <a:gd name="connsiteX1428" fmla="*/ 1131877 w 2663946"/>
                <a:gd name="connsiteY1428" fmla="*/ 70851 h 350039"/>
                <a:gd name="connsiteX1429" fmla="*/ 1132357 w 2663946"/>
                <a:gd name="connsiteY1429" fmla="*/ 66093 h 350039"/>
                <a:gd name="connsiteX1430" fmla="*/ 1157152 w 2663946"/>
                <a:gd name="connsiteY1430" fmla="*/ 45884 h 350039"/>
                <a:gd name="connsiteX1431" fmla="*/ 732156 w 2663946"/>
                <a:gd name="connsiteY1431" fmla="*/ 45884 h 350039"/>
                <a:gd name="connsiteX1432" fmla="*/ 756951 w 2663946"/>
                <a:gd name="connsiteY1432" fmla="*/ 66093 h 350039"/>
                <a:gd name="connsiteX1433" fmla="*/ 757431 w 2663946"/>
                <a:gd name="connsiteY1433" fmla="*/ 70851 h 350039"/>
                <a:gd name="connsiteX1434" fmla="*/ 758849 w 2663946"/>
                <a:gd name="connsiteY1434" fmla="*/ 70851 h 350039"/>
                <a:gd name="connsiteX1435" fmla="*/ 765303 w 2663946"/>
                <a:gd name="connsiteY1435" fmla="*/ 77137 h 350039"/>
                <a:gd name="connsiteX1436" fmla="*/ 765303 w 2663946"/>
                <a:gd name="connsiteY1436" fmla="*/ 126859 h 350039"/>
                <a:gd name="connsiteX1437" fmla="*/ 758849 w 2663946"/>
                <a:gd name="connsiteY1437" fmla="*/ 133145 h 350039"/>
                <a:gd name="connsiteX1438" fmla="*/ 705462 w 2663946"/>
                <a:gd name="connsiteY1438" fmla="*/ 133145 h 350039"/>
                <a:gd name="connsiteX1439" fmla="*/ 699009 w 2663946"/>
                <a:gd name="connsiteY1439" fmla="*/ 126859 h 350039"/>
                <a:gd name="connsiteX1440" fmla="*/ 699009 w 2663946"/>
                <a:gd name="connsiteY1440" fmla="*/ 77137 h 350039"/>
                <a:gd name="connsiteX1441" fmla="*/ 705462 w 2663946"/>
                <a:gd name="connsiteY1441" fmla="*/ 70851 h 350039"/>
                <a:gd name="connsiteX1442" fmla="*/ 706296 w 2663946"/>
                <a:gd name="connsiteY1442" fmla="*/ 70851 h 350039"/>
                <a:gd name="connsiteX1443" fmla="*/ 706881 w 2663946"/>
                <a:gd name="connsiteY1443" fmla="*/ 70851 h 350039"/>
                <a:gd name="connsiteX1444" fmla="*/ 707360 w 2663946"/>
                <a:gd name="connsiteY1444" fmla="*/ 66093 h 350039"/>
                <a:gd name="connsiteX1445" fmla="*/ 732156 w 2663946"/>
                <a:gd name="connsiteY1445" fmla="*/ 45884 h 350039"/>
                <a:gd name="connsiteX1446" fmla="*/ 641217 w 2663946"/>
                <a:gd name="connsiteY1446" fmla="*/ 45884 h 350039"/>
                <a:gd name="connsiteX1447" fmla="*/ 666012 w 2663946"/>
                <a:gd name="connsiteY1447" fmla="*/ 66093 h 350039"/>
                <a:gd name="connsiteX1448" fmla="*/ 666492 w 2663946"/>
                <a:gd name="connsiteY1448" fmla="*/ 70851 h 350039"/>
                <a:gd name="connsiteX1449" fmla="*/ 667910 w 2663946"/>
                <a:gd name="connsiteY1449" fmla="*/ 70851 h 350039"/>
                <a:gd name="connsiteX1450" fmla="*/ 674364 w 2663946"/>
                <a:gd name="connsiteY1450" fmla="*/ 77137 h 350039"/>
                <a:gd name="connsiteX1451" fmla="*/ 674364 w 2663946"/>
                <a:gd name="connsiteY1451" fmla="*/ 126859 h 350039"/>
                <a:gd name="connsiteX1452" fmla="*/ 667910 w 2663946"/>
                <a:gd name="connsiteY1452" fmla="*/ 133145 h 350039"/>
                <a:gd name="connsiteX1453" fmla="*/ 614523 w 2663946"/>
                <a:gd name="connsiteY1453" fmla="*/ 133145 h 350039"/>
                <a:gd name="connsiteX1454" fmla="*/ 608070 w 2663946"/>
                <a:gd name="connsiteY1454" fmla="*/ 126859 h 350039"/>
                <a:gd name="connsiteX1455" fmla="*/ 608070 w 2663946"/>
                <a:gd name="connsiteY1455" fmla="*/ 77137 h 350039"/>
                <a:gd name="connsiteX1456" fmla="*/ 614523 w 2663946"/>
                <a:gd name="connsiteY1456" fmla="*/ 70851 h 350039"/>
                <a:gd name="connsiteX1457" fmla="*/ 615358 w 2663946"/>
                <a:gd name="connsiteY1457" fmla="*/ 70851 h 350039"/>
                <a:gd name="connsiteX1458" fmla="*/ 615942 w 2663946"/>
                <a:gd name="connsiteY1458" fmla="*/ 70851 h 350039"/>
                <a:gd name="connsiteX1459" fmla="*/ 616422 w 2663946"/>
                <a:gd name="connsiteY1459" fmla="*/ 66093 h 350039"/>
                <a:gd name="connsiteX1460" fmla="*/ 641217 w 2663946"/>
                <a:gd name="connsiteY1460" fmla="*/ 45884 h 350039"/>
                <a:gd name="connsiteX1461" fmla="*/ 459266 w 2663946"/>
                <a:gd name="connsiteY1461" fmla="*/ 45884 h 350039"/>
                <a:gd name="connsiteX1462" fmla="*/ 484061 w 2663946"/>
                <a:gd name="connsiteY1462" fmla="*/ 66093 h 350039"/>
                <a:gd name="connsiteX1463" fmla="*/ 484541 w 2663946"/>
                <a:gd name="connsiteY1463" fmla="*/ 70851 h 350039"/>
                <a:gd name="connsiteX1464" fmla="*/ 485959 w 2663946"/>
                <a:gd name="connsiteY1464" fmla="*/ 70851 h 350039"/>
                <a:gd name="connsiteX1465" fmla="*/ 492413 w 2663946"/>
                <a:gd name="connsiteY1465" fmla="*/ 77137 h 350039"/>
                <a:gd name="connsiteX1466" fmla="*/ 492413 w 2663946"/>
                <a:gd name="connsiteY1466" fmla="*/ 126859 h 350039"/>
                <a:gd name="connsiteX1467" fmla="*/ 485959 w 2663946"/>
                <a:gd name="connsiteY1467" fmla="*/ 133145 h 350039"/>
                <a:gd name="connsiteX1468" fmla="*/ 432572 w 2663946"/>
                <a:gd name="connsiteY1468" fmla="*/ 133145 h 350039"/>
                <a:gd name="connsiteX1469" fmla="*/ 426119 w 2663946"/>
                <a:gd name="connsiteY1469" fmla="*/ 126859 h 350039"/>
                <a:gd name="connsiteX1470" fmla="*/ 426119 w 2663946"/>
                <a:gd name="connsiteY1470" fmla="*/ 77137 h 350039"/>
                <a:gd name="connsiteX1471" fmla="*/ 432572 w 2663946"/>
                <a:gd name="connsiteY1471" fmla="*/ 70851 h 350039"/>
                <a:gd name="connsiteX1472" fmla="*/ 433406 w 2663946"/>
                <a:gd name="connsiteY1472" fmla="*/ 70851 h 350039"/>
                <a:gd name="connsiteX1473" fmla="*/ 433991 w 2663946"/>
                <a:gd name="connsiteY1473" fmla="*/ 70851 h 350039"/>
                <a:gd name="connsiteX1474" fmla="*/ 434470 w 2663946"/>
                <a:gd name="connsiteY1474" fmla="*/ 66093 h 350039"/>
                <a:gd name="connsiteX1475" fmla="*/ 459266 w 2663946"/>
                <a:gd name="connsiteY1475" fmla="*/ 45884 h 350039"/>
                <a:gd name="connsiteX1476" fmla="*/ 15475 w 2663946"/>
                <a:gd name="connsiteY1476" fmla="*/ 17659 h 350039"/>
                <a:gd name="connsiteX1477" fmla="*/ 40350 w 2663946"/>
                <a:gd name="connsiteY1477" fmla="*/ 1707 h 350039"/>
                <a:gd name="connsiteX1478" fmla="*/ 40891 w 2663946"/>
                <a:gd name="connsiteY1478" fmla="*/ 2247 h 350039"/>
                <a:gd name="connsiteX1479" fmla="*/ 16016 w 2663946"/>
                <a:gd name="connsiteY1479" fmla="*/ 17659 h 350039"/>
                <a:gd name="connsiteX1480" fmla="*/ 15475 w 2663946"/>
                <a:gd name="connsiteY1480" fmla="*/ 17659 h 350039"/>
                <a:gd name="connsiteX0" fmla="*/ 2632966 w 2663946"/>
                <a:gd name="connsiteY0" fmla="*/ 287226 h 348332"/>
                <a:gd name="connsiteX1" fmla="*/ 2621414 w 2663946"/>
                <a:gd name="connsiteY1" fmla="*/ 289659 h 348332"/>
                <a:gd name="connsiteX2" fmla="*/ 2618218 w 2663946"/>
                <a:gd name="connsiteY2" fmla="*/ 293174 h 348332"/>
                <a:gd name="connsiteX3" fmla="*/ 2616006 w 2663946"/>
                <a:gd name="connsiteY3" fmla="*/ 296959 h 348332"/>
                <a:gd name="connsiteX4" fmla="*/ 2615023 w 2663946"/>
                <a:gd name="connsiteY4" fmla="*/ 299663 h 348332"/>
                <a:gd name="connsiteX5" fmla="*/ 2614039 w 2663946"/>
                <a:gd name="connsiteY5" fmla="*/ 303719 h 348332"/>
                <a:gd name="connsiteX6" fmla="*/ 2613056 w 2663946"/>
                <a:gd name="connsiteY6" fmla="*/ 310749 h 348332"/>
                <a:gd name="connsiteX7" fmla="*/ 2614039 w 2663946"/>
                <a:gd name="connsiteY7" fmla="*/ 318049 h 348332"/>
                <a:gd name="connsiteX8" fmla="*/ 2615269 w 2663946"/>
                <a:gd name="connsiteY8" fmla="*/ 321834 h 348332"/>
                <a:gd name="connsiteX9" fmla="*/ 2617481 w 2663946"/>
                <a:gd name="connsiteY9" fmla="*/ 326160 h 348332"/>
                <a:gd name="connsiteX10" fmla="*/ 2620922 w 2663946"/>
                <a:gd name="connsiteY10" fmla="*/ 330487 h 348332"/>
                <a:gd name="connsiteX11" fmla="*/ 2625346 w 2663946"/>
                <a:gd name="connsiteY11" fmla="*/ 333190 h 348332"/>
                <a:gd name="connsiteX12" fmla="*/ 2637637 w 2663946"/>
                <a:gd name="connsiteY12" fmla="*/ 330757 h 348332"/>
                <a:gd name="connsiteX13" fmla="*/ 2640832 w 2663946"/>
                <a:gd name="connsiteY13" fmla="*/ 327242 h 348332"/>
                <a:gd name="connsiteX14" fmla="*/ 2643290 w 2663946"/>
                <a:gd name="connsiteY14" fmla="*/ 322916 h 348332"/>
                <a:gd name="connsiteX15" fmla="*/ 2644273 w 2663946"/>
                <a:gd name="connsiteY15" fmla="*/ 320753 h 348332"/>
                <a:gd name="connsiteX16" fmla="*/ 2645502 w 2663946"/>
                <a:gd name="connsiteY16" fmla="*/ 316427 h 348332"/>
                <a:gd name="connsiteX17" fmla="*/ 2645011 w 2663946"/>
                <a:gd name="connsiteY17" fmla="*/ 302637 h 348332"/>
                <a:gd name="connsiteX18" fmla="*/ 2644027 w 2663946"/>
                <a:gd name="connsiteY18" fmla="*/ 299663 h 348332"/>
                <a:gd name="connsiteX19" fmla="*/ 2642799 w 2663946"/>
                <a:gd name="connsiteY19" fmla="*/ 296689 h 348332"/>
                <a:gd name="connsiteX20" fmla="*/ 2640586 w 2663946"/>
                <a:gd name="connsiteY20" fmla="*/ 293174 h 348332"/>
                <a:gd name="connsiteX21" fmla="*/ 2636899 w 2663946"/>
                <a:gd name="connsiteY21" fmla="*/ 289389 h 348332"/>
                <a:gd name="connsiteX22" fmla="*/ 2632966 w 2663946"/>
                <a:gd name="connsiteY22" fmla="*/ 287226 h 348332"/>
                <a:gd name="connsiteX23" fmla="*/ 2627559 w 2663946"/>
                <a:gd name="connsiteY23" fmla="*/ 271273 h 348332"/>
                <a:gd name="connsiteX24" fmla="*/ 2639849 w 2663946"/>
                <a:gd name="connsiteY24" fmla="*/ 273436 h 348332"/>
                <a:gd name="connsiteX25" fmla="*/ 2647223 w 2663946"/>
                <a:gd name="connsiteY25" fmla="*/ 278033 h 348332"/>
                <a:gd name="connsiteX26" fmla="*/ 2650664 w 2663946"/>
                <a:gd name="connsiteY26" fmla="*/ 281277 h 348332"/>
                <a:gd name="connsiteX27" fmla="*/ 2654106 w 2663946"/>
                <a:gd name="connsiteY27" fmla="*/ 285603 h 348332"/>
                <a:gd name="connsiteX28" fmla="*/ 2656072 w 2663946"/>
                <a:gd name="connsiteY28" fmla="*/ 289118 h 348332"/>
                <a:gd name="connsiteX29" fmla="*/ 2658284 w 2663946"/>
                <a:gd name="connsiteY29" fmla="*/ 294526 h 348332"/>
                <a:gd name="connsiteX30" fmla="*/ 2659267 w 2663946"/>
                <a:gd name="connsiteY30" fmla="*/ 298041 h 348332"/>
                <a:gd name="connsiteX31" fmla="*/ 2660251 w 2663946"/>
                <a:gd name="connsiteY31" fmla="*/ 303178 h 348332"/>
                <a:gd name="connsiteX32" fmla="*/ 2660005 w 2663946"/>
                <a:gd name="connsiteY32" fmla="*/ 317508 h 348332"/>
                <a:gd name="connsiteX33" fmla="*/ 2659022 w 2663946"/>
                <a:gd name="connsiteY33" fmla="*/ 322375 h 348332"/>
                <a:gd name="connsiteX34" fmla="*/ 2657792 w 2663946"/>
                <a:gd name="connsiteY34" fmla="*/ 326160 h 348332"/>
                <a:gd name="connsiteX35" fmla="*/ 2656809 w 2663946"/>
                <a:gd name="connsiteY35" fmla="*/ 328594 h 348332"/>
                <a:gd name="connsiteX36" fmla="*/ 2654597 w 2663946"/>
                <a:gd name="connsiteY36" fmla="*/ 332920 h 348332"/>
                <a:gd name="connsiteX37" fmla="*/ 2652385 w 2663946"/>
                <a:gd name="connsiteY37" fmla="*/ 336164 h 348332"/>
                <a:gd name="connsiteX38" fmla="*/ 2648944 w 2663946"/>
                <a:gd name="connsiteY38" fmla="*/ 339950 h 348332"/>
                <a:gd name="connsiteX39" fmla="*/ 2645748 w 2663946"/>
                <a:gd name="connsiteY39" fmla="*/ 342653 h 348332"/>
                <a:gd name="connsiteX40" fmla="*/ 2640095 w 2663946"/>
                <a:gd name="connsiteY40" fmla="*/ 345898 h 348332"/>
                <a:gd name="connsiteX41" fmla="*/ 2632229 w 2663946"/>
                <a:gd name="connsiteY41" fmla="*/ 348061 h 348332"/>
                <a:gd name="connsiteX42" fmla="*/ 2631000 w 2663946"/>
                <a:gd name="connsiteY42" fmla="*/ 348332 h 348332"/>
                <a:gd name="connsiteX43" fmla="*/ 2626821 w 2663946"/>
                <a:gd name="connsiteY43" fmla="*/ 348332 h 348332"/>
                <a:gd name="connsiteX44" fmla="*/ 2626576 w 2663946"/>
                <a:gd name="connsiteY44" fmla="*/ 348332 h 348332"/>
                <a:gd name="connsiteX45" fmla="*/ 2613548 w 2663946"/>
                <a:gd name="connsiteY45" fmla="*/ 343465 h 348332"/>
                <a:gd name="connsiteX46" fmla="*/ 2608878 w 2663946"/>
                <a:gd name="connsiteY46" fmla="*/ 339409 h 348332"/>
                <a:gd name="connsiteX47" fmla="*/ 2605682 w 2663946"/>
                <a:gd name="connsiteY47" fmla="*/ 335624 h 348332"/>
                <a:gd name="connsiteX48" fmla="*/ 2603470 w 2663946"/>
                <a:gd name="connsiteY48" fmla="*/ 332109 h 348332"/>
                <a:gd name="connsiteX49" fmla="*/ 2601258 w 2663946"/>
                <a:gd name="connsiteY49" fmla="*/ 327783 h 348332"/>
                <a:gd name="connsiteX50" fmla="*/ 2600029 w 2663946"/>
                <a:gd name="connsiteY50" fmla="*/ 324808 h 348332"/>
                <a:gd name="connsiteX51" fmla="*/ 2599046 w 2663946"/>
                <a:gd name="connsiteY51" fmla="*/ 321564 h 348332"/>
                <a:gd name="connsiteX52" fmla="*/ 2597816 w 2663946"/>
                <a:gd name="connsiteY52" fmla="*/ 315886 h 348332"/>
                <a:gd name="connsiteX53" fmla="*/ 2597571 w 2663946"/>
                <a:gd name="connsiteY53" fmla="*/ 312912 h 348332"/>
                <a:gd name="connsiteX54" fmla="*/ 2597816 w 2663946"/>
                <a:gd name="connsiteY54" fmla="*/ 313182 h 348332"/>
                <a:gd name="connsiteX55" fmla="*/ 2597816 w 2663946"/>
                <a:gd name="connsiteY55" fmla="*/ 307504 h 348332"/>
                <a:gd name="connsiteX56" fmla="*/ 2597816 w 2663946"/>
                <a:gd name="connsiteY56" fmla="*/ 307234 h 348332"/>
                <a:gd name="connsiteX57" fmla="*/ 2598308 w 2663946"/>
                <a:gd name="connsiteY57" fmla="*/ 302637 h 348332"/>
                <a:gd name="connsiteX58" fmla="*/ 2599537 w 2663946"/>
                <a:gd name="connsiteY58" fmla="*/ 297230 h 348332"/>
                <a:gd name="connsiteX59" fmla="*/ 2600520 w 2663946"/>
                <a:gd name="connsiteY59" fmla="*/ 293985 h 348332"/>
                <a:gd name="connsiteX60" fmla="*/ 2602732 w 2663946"/>
                <a:gd name="connsiteY60" fmla="*/ 288848 h 348332"/>
                <a:gd name="connsiteX61" fmla="*/ 2604945 w 2663946"/>
                <a:gd name="connsiteY61" fmla="*/ 285063 h 348332"/>
                <a:gd name="connsiteX62" fmla="*/ 2607157 w 2663946"/>
                <a:gd name="connsiteY62" fmla="*/ 282088 h 348332"/>
                <a:gd name="connsiteX63" fmla="*/ 2609369 w 2663946"/>
                <a:gd name="connsiteY63" fmla="*/ 279655 h 348332"/>
                <a:gd name="connsiteX64" fmla="*/ 2614039 w 2663946"/>
                <a:gd name="connsiteY64" fmla="*/ 275870 h 348332"/>
                <a:gd name="connsiteX65" fmla="*/ 2617972 w 2663946"/>
                <a:gd name="connsiteY65" fmla="*/ 273707 h 348332"/>
                <a:gd name="connsiteX66" fmla="*/ 2627559 w 2663946"/>
                <a:gd name="connsiteY66" fmla="*/ 271273 h 348332"/>
                <a:gd name="connsiteX67" fmla="*/ 2631061 w 2663946"/>
                <a:gd name="connsiteY67" fmla="*/ 207363 h 348332"/>
                <a:gd name="connsiteX68" fmla="*/ 2621591 w 2663946"/>
                <a:gd name="connsiteY68" fmla="*/ 216637 h 348332"/>
                <a:gd name="connsiteX69" fmla="*/ 2626545 w 2663946"/>
                <a:gd name="connsiteY69" fmla="*/ 224794 h 348332"/>
                <a:gd name="connsiteX70" fmla="*/ 2626545 w 2663946"/>
                <a:gd name="connsiteY70" fmla="*/ 233189 h 348332"/>
                <a:gd name="connsiteX71" fmla="*/ 2631061 w 2663946"/>
                <a:gd name="connsiteY71" fmla="*/ 237612 h 348332"/>
                <a:gd name="connsiteX72" fmla="*/ 2635578 w 2663946"/>
                <a:gd name="connsiteY72" fmla="*/ 233189 h 348332"/>
                <a:gd name="connsiteX73" fmla="*/ 2635578 w 2663946"/>
                <a:gd name="connsiteY73" fmla="*/ 224794 h 348332"/>
                <a:gd name="connsiteX74" fmla="*/ 2640532 w 2663946"/>
                <a:gd name="connsiteY74" fmla="*/ 216637 h 348332"/>
                <a:gd name="connsiteX75" fmla="*/ 2631061 w 2663946"/>
                <a:gd name="connsiteY75" fmla="*/ 207363 h 348332"/>
                <a:gd name="connsiteX76" fmla="*/ 2630799 w 2663946"/>
                <a:gd name="connsiteY76" fmla="*/ 168646 h 348332"/>
                <a:gd name="connsiteX77" fmla="*/ 2619139 w 2663946"/>
                <a:gd name="connsiteY77" fmla="*/ 176375 h 348332"/>
                <a:gd name="connsiteX78" fmla="*/ 2618214 w 2663946"/>
                <a:gd name="connsiteY78" fmla="*/ 180958 h 348332"/>
                <a:gd name="connsiteX79" fmla="*/ 2621454 w 2663946"/>
                <a:gd name="connsiteY79" fmla="*/ 180958 h 348332"/>
                <a:gd name="connsiteX80" fmla="*/ 2639871 w 2663946"/>
                <a:gd name="connsiteY80" fmla="*/ 180958 h 348332"/>
                <a:gd name="connsiteX81" fmla="*/ 2643385 w 2663946"/>
                <a:gd name="connsiteY81" fmla="*/ 180958 h 348332"/>
                <a:gd name="connsiteX82" fmla="*/ 2642460 w 2663946"/>
                <a:gd name="connsiteY82" fmla="*/ 176375 h 348332"/>
                <a:gd name="connsiteX83" fmla="*/ 2630799 w 2663946"/>
                <a:gd name="connsiteY83" fmla="*/ 168646 h 348332"/>
                <a:gd name="connsiteX84" fmla="*/ 2630799 w 2663946"/>
                <a:gd name="connsiteY84" fmla="*/ 155991 h 348332"/>
                <a:gd name="connsiteX85" fmla="*/ 2655595 w 2663946"/>
                <a:gd name="connsiteY85" fmla="*/ 176200 h 348332"/>
                <a:gd name="connsiteX86" fmla="*/ 2656074 w 2663946"/>
                <a:gd name="connsiteY86" fmla="*/ 180958 h 348332"/>
                <a:gd name="connsiteX87" fmla="*/ 2657493 w 2663946"/>
                <a:gd name="connsiteY87" fmla="*/ 180958 h 348332"/>
                <a:gd name="connsiteX88" fmla="*/ 2663946 w 2663946"/>
                <a:gd name="connsiteY88" fmla="*/ 187244 h 348332"/>
                <a:gd name="connsiteX89" fmla="*/ 2663946 w 2663946"/>
                <a:gd name="connsiteY89" fmla="*/ 236966 h 348332"/>
                <a:gd name="connsiteX90" fmla="*/ 2657493 w 2663946"/>
                <a:gd name="connsiteY90" fmla="*/ 243252 h 348332"/>
                <a:gd name="connsiteX91" fmla="*/ 2604106 w 2663946"/>
                <a:gd name="connsiteY91" fmla="*/ 243252 h 348332"/>
                <a:gd name="connsiteX92" fmla="*/ 2597652 w 2663946"/>
                <a:gd name="connsiteY92" fmla="*/ 236966 h 348332"/>
                <a:gd name="connsiteX93" fmla="*/ 2597652 w 2663946"/>
                <a:gd name="connsiteY93" fmla="*/ 187244 h 348332"/>
                <a:gd name="connsiteX94" fmla="*/ 2604106 w 2663946"/>
                <a:gd name="connsiteY94" fmla="*/ 180958 h 348332"/>
                <a:gd name="connsiteX95" fmla="*/ 2604940 w 2663946"/>
                <a:gd name="connsiteY95" fmla="*/ 180958 h 348332"/>
                <a:gd name="connsiteX96" fmla="*/ 2605524 w 2663946"/>
                <a:gd name="connsiteY96" fmla="*/ 180958 h 348332"/>
                <a:gd name="connsiteX97" fmla="*/ 2606004 w 2663946"/>
                <a:gd name="connsiteY97" fmla="*/ 176200 h 348332"/>
                <a:gd name="connsiteX98" fmla="*/ 2630799 w 2663946"/>
                <a:gd name="connsiteY98" fmla="*/ 155991 h 348332"/>
                <a:gd name="connsiteX99" fmla="*/ 33409 w 2663946"/>
                <a:gd name="connsiteY99" fmla="*/ 103137 h 348332"/>
                <a:gd name="connsiteX100" fmla="*/ 23938 w 2663946"/>
                <a:gd name="connsiteY100" fmla="*/ 112411 h 348332"/>
                <a:gd name="connsiteX101" fmla="*/ 28892 w 2663946"/>
                <a:gd name="connsiteY101" fmla="*/ 120568 h 348332"/>
                <a:gd name="connsiteX102" fmla="*/ 28892 w 2663946"/>
                <a:gd name="connsiteY102" fmla="*/ 128963 h 348332"/>
                <a:gd name="connsiteX103" fmla="*/ 33409 w 2663946"/>
                <a:gd name="connsiteY103" fmla="*/ 133386 h 348332"/>
                <a:gd name="connsiteX104" fmla="*/ 37926 w 2663946"/>
                <a:gd name="connsiteY104" fmla="*/ 128963 h 348332"/>
                <a:gd name="connsiteX105" fmla="*/ 37926 w 2663946"/>
                <a:gd name="connsiteY105" fmla="*/ 120568 h 348332"/>
                <a:gd name="connsiteX106" fmla="*/ 42880 w 2663946"/>
                <a:gd name="connsiteY106" fmla="*/ 112411 h 348332"/>
                <a:gd name="connsiteX107" fmla="*/ 33409 w 2663946"/>
                <a:gd name="connsiteY107" fmla="*/ 103137 h 348332"/>
                <a:gd name="connsiteX108" fmla="*/ 2538193 w 2663946"/>
                <a:gd name="connsiteY108" fmla="*/ 95549 h 348332"/>
                <a:gd name="connsiteX109" fmla="*/ 2528723 w 2663946"/>
                <a:gd name="connsiteY109" fmla="*/ 104823 h 348332"/>
                <a:gd name="connsiteX110" fmla="*/ 2533677 w 2663946"/>
                <a:gd name="connsiteY110" fmla="*/ 112980 h 348332"/>
                <a:gd name="connsiteX111" fmla="*/ 2533677 w 2663946"/>
                <a:gd name="connsiteY111" fmla="*/ 121375 h 348332"/>
                <a:gd name="connsiteX112" fmla="*/ 2538193 w 2663946"/>
                <a:gd name="connsiteY112" fmla="*/ 125798 h 348332"/>
                <a:gd name="connsiteX113" fmla="*/ 2542710 w 2663946"/>
                <a:gd name="connsiteY113" fmla="*/ 121375 h 348332"/>
                <a:gd name="connsiteX114" fmla="*/ 2542710 w 2663946"/>
                <a:gd name="connsiteY114" fmla="*/ 112980 h 348332"/>
                <a:gd name="connsiteX115" fmla="*/ 2547664 w 2663946"/>
                <a:gd name="connsiteY115" fmla="*/ 104823 h 348332"/>
                <a:gd name="connsiteX116" fmla="*/ 2538193 w 2663946"/>
                <a:gd name="connsiteY116" fmla="*/ 95549 h 348332"/>
                <a:gd name="connsiteX117" fmla="*/ 2113196 w 2663946"/>
                <a:gd name="connsiteY117" fmla="*/ 95549 h 348332"/>
                <a:gd name="connsiteX118" fmla="*/ 2103726 w 2663946"/>
                <a:gd name="connsiteY118" fmla="*/ 104823 h 348332"/>
                <a:gd name="connsiteX119" fmla="*/ 2108680 w 2663946"/>
                <a:gd name="connsiteY119" fmla="*/ 112980 h 348332"/>
                <a:gd name="connsiteX120" fmla="*/ 2108680 w 2663946"/>
                <a:gd name="connsiteY120" fmla="*/ 121375 h 348332"/>
                <a:gd name="connsiteX121" fmla="*/ 2113196 w 2663946"/>
                <a:gd name="connsiteY121" fmla="*/ 125798 h 348332"/>
                <a:gd name="connsiteX122" fmla="*/ 2117713 w 2663946"/>
                <a:gd name="connsiteY122" fmla="*/ 121375 h 348332"/>
                <a:gd name="connsiteX123" fmla="*/ 2117713 w 2663946"/>
                <a:gd name="connsiteY123" fmla="*/ 112980 h 348332"/>
                <a:gd name="connsiteX124" fmla="*/ 2122667 w 2663946"/>
                <a:gd name="connsiteY124" fmla="*/ 104823 h 348332"/>
                <a:gd name="connsiteX125" fmla="*/ 2113196 w 2663946"/>
                <a:gd name="connsiteY125" fmla="*/ 95549 h 348332"/>
                <a:gd name="connsiteX126" fmla="*/ 1855228 w 2663946"/>
                <a:gd name="connsiteY126" fmla="*/ 95549 h 348332"/>
                <a:gd name="connsiteX127" fmla="*/ 1845758 w 2663946"/>
                <a:gd name="connsiteY127" fmla="*/ 104823 h 348332"/>
                <a:gd name="connsiteX128" fmla="*/ 1850712 w 2663946"/>
                <a:gd name="connsiteY128" fmla="*/ 112980 h 348332"/>
                <a:gd name="connsiteX129" fmla="*/ 1850712 w 2663946"/>
                <a:gd name="connsiteY129" fmla="*/ 121375 h 348332"/>
                <a:gd name="connsiteX130" fmla="*/ 1855228 w 2663946"/>
                <a:gd name="connsiteY130" fmla="*/ 125798 h 348332"/>
                <a:gd name="connsiteX131" fmla="*/ 1859745 w 2663946"/>
                <a:gd name="connsiteY131" fmla="*/ 121375 h 348332"/>
                <a:gd name="connsiteX132" fmla="*/ 1859745 w 2663946"/>
                <a:gd name="connsiteY132" fmla="*/ 112980 h 348332"/>
                <a:gd name="connsiteX133" fmla="*/ 1864699 w 2663946"/>
                <a:gd name="connsiteY133" fmla="*/ 104823 h 348332"/>
                <a:gd name="connsiteX134" fmla="*/ 1855228 w 2663946"/>
                <a:gd name="connsiteY134" fmla="*/ 95549 h 348332"/>
                <a:gd name="connsiteX135" fmla="*/ 1764289 w 2663946"/>
                <a:gd name="connsiteY135" fmla="*/ 95549 h 348332"/>
                <a:gd name="connsiteX136" fmla="*/ 1754819 w 2663946"/>
                <a:gd name="connsiteY136" fmla="*/ 104823 h 348332"/>
                <a:gd name="connsiteX137" fmla="*/ 1759773 w 2663946"/>
                <a:gd name="connsiteY137" fmla="*/ 112980 h 348332"/>
                <a:gd name="connsiteX138" fmla="*/ 1759773 w 2663946"/>
                <a:gd name="connsiteY138" fmla="*/ 121375 h 348332"/>
                <a:gd name="connsiteX139" fmla="*/ 1764289 w 2663946"/>
                <a:gd name="connsiteY139" fmla="*/ 125798 h 348332"/>
                <a:gd name="connsiteX140" fmla="*/ 1768806 w 2663946"/>
                <a:gd name="connsiteY140" fmla="*/ 121375 h 348332"/>
                <a:gd name="connsiteX141" fmla="*/ 1768806 w 2663946"/>
                <a:gd name="connsiteY141" fmla="*/ 112980 h 348332"/>
                <a:gd name="connsiteX142" fmla="*/ 1773760 w 2663946"/>
                <a:gd name="connsiteY142" fmla="*/ 104823 h 348332"/>
                <a:gd name="connsiteX143" fmla="*/ 1764289 w 2663946"/>
                <a:gd name="connsiteY143" fmla="*/ 95549 h 348332"/>
                <a:gd name="connsiteX144" fmla="*/ 1506321 w 2663946"/>
                <a:gd name="connsiteY144" fmla="*/ 95549 h 348332"/>
                <a:gd name="connsiteX145" fmla="*/ 1496851 w 2663946"/>
                <a:gd name="connsiteY145" fmla="*/ 104823 h 348332"/>
                <a:gd name="connsiteX146" fmla="*/ 1501805 w 2663946"/>
                <a:gd name="connsiteY146" fmla="*/ 112980 h 348332"/>
                <a:gd name="connsiteX147" fmla="*/ 1501805 w 2663946"/>
                <a:gd name="connsiteY147" fmla="*/ 121375 h 348332"/>
                <a:gd name="connsiteX148" fmla="*/ 1506321 w 2663946"/>
                <a:gd name="connsiteY148" fmla="*/ 125798 h 348332"/>
                <a:gd name="connsiteX149" fmla="*/ 1510838 w 2663946"/>
                <a:gd name="connsiteY149" fmla="*/ 121375 h 348332"/>
                <a:gd name="connsiteX150" fmla="*/ 1510838 w 2663946"/>
                <a:gd name="connsiteY150" fmla="*/ 112980 h 348332"/>
                <a:gd name="connsiteX151" fmla="*/ 1515792 w 2663946"/>
                <a:gd name="connsiteY151" fmla="*/ 104823 h 348332"/>
                <a:gd name="connsiteX152" fmla="*/ 1506321 w 2663946"/>
                <a:gd name="connsiteY152" fmla="*/ 95549 h 348332"/>
                <a:gd name="connsiteX153" fmla="*/ 1415382 w 2663946"/>
                <a:gd name="connsiteY153" fmla="*/ 95549 h 348332"/>
                <a:gd name="connsiteX154" fmla="*/ 1405912 w 2663946"/>
                <a:gd name="connsiteY154" fmla="*/ 104823 h 348332"/>
                <a:gd name="connsiteX155" fmla="*/ 1410866 w 2663946"/>
                <a:gd name="connsiteY155" fmla="*/ 112980 h 348332"/>
                <a:gd name="connsiteX156" fmla="*/ 1410866 w 2663946"/>
                <a:gd name="connsiteY156" fmla="*/ 121375 h 348332"/>
                <a:gd name="connsiteX157" fmla="*/ 1415382 w 2663946"/>
                <a:gd name="connsiteY157" fmla="*/ 125798 h 348332"/>
                <a:gd name="connsiteX158" fmla="*/ 1419899 w 2663946"/>
                <a:gd name="connsiteY158" fmla="*/ 121375 h 348332"/>
                <a:gd name="connsiteX159" fmla="*/ 1419899 w 2663946"/>
                <a:gd name="connsiteY159" fmla="*/ 112980 h 348332"/>
                <a:gd name="connsiteX160" fmla="*/ 1424853 w 2663946"/>
                <a:gd name="connsiteY160" fmla="*/ 104823 h 348332"/>
                <a:gd name="connsiteX161" fmla="*/ 1415382 w 2663946"/>
                <a:gd name="connsiteY161" fmla="*/ 95549 h 348332"/>
                <a:gd name="connsiteX162" fmla="*/ 1157414 w 2663946"/>
                <a:gd name="connsiteY162" fmla="*/ 95549 h 348332"/>
                <a:gd name="connsiteX163" fmla="*/ 1147944 w 2663946"/>
                <a:gd name="connsiteY163" fmla="*/ 104823 h 348332"/>
                <a:gd name="connsiteX164" fmla="*/ 1152898 w 2663946"/>
                <a:gd name="connsiteY164" fmla="*/ 112980 h 348332"/>
                <a:gd name="connsiteX165" fmla="*/ 1152898 w 2663946"/>
                <a:gd name="connsiteY165" fmla="*/ 121375 h 348332"/>
                <a:gd name="connsiteX166" fmla="*/ 1157414 w 2663946"/>
                <a:gd name="connsiteY166" fmla="*/ 125798 h 348332"/>
                <a:gd name="connsiteX167" fmla="*/ 1161931 w 2663946"/>
                <a:gd name="connsiteY167" fmla="*/ 121375 h 348332"/>
                <a:gd name="connsiteX168" fmla="*/ 1161931 w 2663946"/>
                <a:gd name="connsiteY168" fmla="*/ 112980 h 348332"/>
                <a:gd name="connsiteX169" fmla="*/ 1166885 w 2663946"/>
                <a:gd name="connsiteY169" fmla="*/ 104823 h 348332"/>
                <a:gd name="connsiteX170" fmla="*/ 1157414 w 2663946"/>
                <a:gd name="connsiteY170" fmla="*/ 95549 h 348332"/>
                <a:gd name="connsiteX171" fmla="*/ 732418 w 2663946"/>
                <a:gd name="connsiteY171" fmla="*/ 95549 h 348332"/>
                <a:gd name="connsiteX172" fmla="*/ 722947 w 2663946"/>
                <a:gd name="connsiteY172" fmla="*/ 104823 h 348332"/>
                <a:gd name="connsiteX173" fmla="*/ 727901 w 2663946"/>
                <a:gd name="connsiteY173" fmla="*/ 112980 h 348332"/>
                <a:gd name="connsiteX174" fmla="*/ 727901 w 2663946"/>
                <a:gd name="connsiteY174" fmla="*/ 121375 h 348332"/>
                <a:gd name="connsiteX175" fmla="*/ 732418 w 2663946"/>
                <a:gd name="connsiteY175" fmla="*/ 125798 h 348332"/>
                <a:gd name="connsiteX176" fmla="*/ 736935 w 2663946"/>
                <a:gd name="connsiteY176" fmla="*/ 121375 h 348332"/>
                <a:gd name="connsiteX177" fmla="*/ 736935 w 2663946"/>
                <a:gd name="connsiteY177" fmla="*/ 112980 h 348332"/>
                <a:gd name="connsiteX178" fmla="*/ 741889 w 2663946"/>
                <a:gd name="connsiteY178" fmla="*/ 104823 h 348332"/>
                <a:gd name="connsiteX179" fmla="*/ 732418 w 2663946"/>
                <a:gd name="connsiteY179" fmla="*/ 95549 h 348332"/>
                <a:gd name="connsiteX180" fmla="*/ 641479 w 2663946"/>
                <a:gd name="connsiteY180" fmla="*/ 95549 h 348332"/>
                <a:gd name="connsiteX181" fmla="*/ 632008 w 2663946"/>
                <a:gd name="connsiteY181" fmla="*/ 104823 h 348332"/>
                <a:gd name="connsiteX182" fmla="*/ 636962 w 2663946"/>
                <a:gd name="connsiteY182" fmla="*/ 112980 h 348332"/>
                <a:gd name="connsiteX183" fmla="*/ 636962 w 2663946"/>
                <a:gd name="connsiteY183" fmla="*/ 121375 h 348332"/>
                <a:gd name="connsiteX184" fmla="*/ 641479 w 2663946"/>
                <a:gd name="connsiteY184" fmla="*/ 125798 h 348332"/>
                <a:gd name="connsiteX185" fmla="*/ 645996 w 2663946"/>
                <a:gd name="connsiteY185" fmla="*/ 121375 h 348332"/>
                <a:gd name="connsiteX186" fmla="*/ 645996 w 2663946"/>
                <a:gd name="connsiteY186" fmla="*/ 112980 h 348332"/>
                <a:gd name="connsiteX187" fmla="*/ 650950 w 2663946"/>
                <a:gd name="connsiteY187" fmla="*/ 104823 h 348332"/>
                <a:gd name="connsiteX188" fmla="*/ 641479 w 2663946"/>
                <a:gd name="connsiteY188" fmla="*/ 95549 h 348332"/>
                <a:gd name="connsiteX189" fmla="*/ 459528 w 2663946"/>
                <a:gd name="connsiteY189" fmla="*/ 95549 h 348332"/>
                <a:gd name="connsiteX190" fmla="*/ 450057 w 2663946"/>
                <a:gd name="connsiteY190" fmla="*/ 104823 h 348332"/>
                <a:gd name="connsiteX191" fmla="*/ 455011 w 2663946"/>
                <a:gd name="connsiteY191" fmla="*/ 112980 h 348332"/>
                <a:gd name="connsiteX192" fmla="*/ 455011 w 2663946"/>
                <a:gd name="connsiteY192" fmla="*/ 121375 h 348332"/>
                <a:gd name="connsiteX193" fmla="*/ 459528 w 2663946"/>
                <a:gd name="connsiteY193" fmla="*/ 125798 h 348332"/>
                <a:gd name="connsiteX194" fmla="*/ 464045 w 2663946"/>
                <a:gd name="connsiteY194" fmla="*/ 121375 h 348332"/>
                <a:gd name="connsiteX195" fmla="*/ 464045 w 2663946"/>
                <a:gd name="connsiteY195" fmla="*/ 112980 h 348332"/>
                <a:gd name="connsiteX196" fmla="*/ 468999 w 2663946"/>
                <a:gd name="connsiteY196" fmla="*/ 104823 h 348332"/>
                <a:gd name="connsiteX197" fmla="*/ 459528 w 2663946"/>
                <a:gd name="connsiteY197" fmla="*/ 95549 h 348332"/>
                <a:gd name="connsiteX198" fmla="*/ 2632966 w 2663946"/>
                <a:gd name="connsiteY198" fmla="*/ 68356 h 348332"/>
                <a:gd name="connsiteX199" fmla="*/ 2621414 w 2663946"/>
                <a:gd name="connsiteY199" fmla="*/ 70789 h 348332"/>
                <a:gd name="connsiteX200" fmla="*/ 2618218 w 2663946"/>
                <a:gd name="connsiteY200" fmla="*/ 74304 h 348332"/>
                <a:gd name="connsiteX201" fmla="*/ 2616006 w 2663946"/>
                <a:gd name="connsiteY201" fmla="*/ 78089 h 348332"/>
                <a:gd name="connsiteX202" fmla="*/ 2615023 w 2663946"/>
                <a:gd name="connsiteY202" fmla="*/ 80793 h 348332"/>
                <a:gd name="connsiteX203" fmla="*/ 2614039 w 2663946"/>
                <a:gd name="connsiteY203" fmla="*/ 84849 h 348332"/>
                <a:gd name="connsiteX204" fmla="*/ 2613056 w 2663946"/>
                <a:gd name="connsiteY204" fmla="*/ 91879 h 348332"/>
                <a:gd name="connsiteX205" fmla="*/ 2614039 w 2663946"/>
                <a:gd name="connsiteY205" fmla="*/ 99179 h 348332"/>
                <a:gd name="connsiteX206" fmla="*/ 2615269 w 2663946"/>
                <a:gd name="connsiteY206" fmla="*/ 102964 h 348332"/>
                <a:gd name="connsiteX207" fmla="*/ 2617481 w 2663946"/>
                <a:gd name="connsiteY207" fmla="*/ 107290 h 348332"/>
                <a:gd name="connsiteX208" fmla="*/ 2620922 w 2663946"/>
                <a:gd name="connsiteY208" fmla="*/ 111617 h 348332"/>
                <a:gd name="connsiteX209" fmla="*/ 2625346 w 2663946"/>
                <a:gd name="connsiteY209" fmla="*/ 114320 h 348332"/>
                <a:gd name="connsiteX210" fmla="*/ 2637637 w 2663946"/>
                <a:gd name="connsiteY210" fmla="*/ 111887 h 348332"/>
                <a:gd name="connsiteX211" fmla="*/ 2640832 w 2663946"/>
                <a:gd name="connsiteY211" fmla="*/ 108372 h 348332"/>
                <a:gd name="connsiteX212" fmla="*/ 2643290 w 2663946"/>
                <a:gd name="connsiteY212" fmla="*/ 104046 h 348332"/>
                <a:gd name="connsiteX213" fmla="*/ 2644273 w 2663946"/>
                <a:gd name="connsiteY213" fmla="*/ 101883 h 348332"/>
                <a:gd name="connsiteX214" fmla="*/ 2645502 w 2663946"/>
                <a:gd name="connsiteY214" fmla="*/ 97557 h 348332"/>
                <a:gd name="connsiteX215" fmla="*/ 2645011 w 2663946"/>
                <a:gd name="connsiteY215" fmla="*/ 83767 h 348332"/>
                <a:gd name="connsiteX216" fmla="*/ 2644027 w 2663946"/>
                <a:gd name="connsiteY216" fmla="*/ 80793 h 348332"/>
                <a:gd name="connsiteX217" fmla="*/ 2642799 w 2663946"/>
                <a:gd name="connsiteY217" fmla="*/ 77819 h 348332"/>
                <a:gd name="connsiteX218" fmla="*/ 2640586 w 2663946"/>
                <a:gd name="connsiteY218" fmla="*/ 74304 h 348332"/>
                <a:gd name="connsiteX219" fmla="*/ 2636899 w 2663946"/>
                <a:gd name="connsiteY219" fmla="*/ 70519 h 348332"/>
                <a:gd name="connsiteX220" fmla="*/ 2632966 w 2663946"/>
                <a:gd name="connsiteY220" fmla="*/ 68356 h 348332"/>
                <a:gd name="connsiteX221" fmla="*/ 2451011 w 2663946"/>
                <a:gd name="connsiteY221" fmla="*/ 68356 h 348332"/>
                <a:gd name="connsiteX222" fmla="*/ 2439459 w 2663946"/>
                <a:gd name="connsiteY222" fmla="*/ 70789 h 348332"/>
                <a:gd name="connsiteX223" fmla="*/ 2436263 w 2663946"/>
                <a:gd name="connsiteY223" fmla="*/ 74304 h 348332"/>
                <a:gd name="connsiteX224" fmla="*/ 2434051 w 2663946"/>
                <a:gd name="connsiteY224" fmla="*/ 78089 h 348332"/>
                <a:gd name="connsiteX225" fmla="*/ 2433068 w 2663946"/>
                <a:gd name="connsiteY225" fmla="*/ 80793 h 348332"/>
                <a:gd name="connsiteX226" fmla="*/ 2432084 w 2663946"/>
                <a:gd name="connsiteY226" fmla="*/ 84849 h 348332"/>
                <a:gd name="connsiteX227" fmla="*/ 2431101 w 2663946"/>
                <a:gd name="connsiteY227" fmla="*/ 91879 h 348332"/>
                <a:gd name="connsiteX228" fmla="*/ 2432084 w 2663946"/>
                <a:gd name="connsiteY228" fmla="*/ 99179 h 348332"/>
                <a:gd name="connsiteX229" fmla="*/ 2433314 w 2663946"/>
                <a:gd name="connsiteY229" fmla="*/ 102964 h 348332"/>
                <a:gd name="connsiteX230" fmla="*/ 2435526 w 2663946"/>
                <a:gd name="connsiteY230" fmla="*/ 107290 h 348332"/>
                <a:gd name="connsiteX231" fmla="*/ 2438967 w 2663946"/>
                <a:gd name="connsiteY231" fmla="*/ 111617 h 348332"/>
                <a:gd name="connsiteX232" fmla="*/ 2443391 w 2663946"/>
                <a:gd name="connsiteY232" fmla="*/ 114320 h 348332"/>
                <a:gd name="connsiteX233" fmla="*/ 2455682 w 2663946"/>
                <a:gd name="connsiteY233" fmla="*/ 111887 h 348332"/>
                <a:gd name="connsiteX234" fmla="*/ 2458877 w 2663946"/>
                <a:gd name="connsiteY234" fmla="*/ 108372 h 348332"/>
                <a:gd name="connsiteX235" fmla="*/ 2461335 w 2663946"/>
                <a:gd name="connsiteY235" fmla="*/ 104046 h 348332"/>
                <a:gd name="connsiteX236" fmla="*/ 2462318 w 2663946"/>
                <a:gd name="connsiteY236" fmla="*/ 101883 h 348332"/>
                <a:gd name="connsiteX237" fmla="*/ 2463547 w 2663946"/>
                <a:gd name="connsiteY237" fmla="*/ 97557 h 348332"/>
                <a:gd name="connsiteX238" fmla="*/ 2463056 w 2663946"/>
                <a:gd name="connsiteY238" fmla="*/ 83767 h 348332"/>
                <a:gd name="connsiteX239" fmla="*/ 2462072 w 2663946"/>
                <a:gd name="connsiteY239" fmla="*/ 80793 h 348332"/>
                <a:gd name="connsiteX240" fmla="*/ 2460844 w 2663946"/>
                <a:gd name="connsiteY240" fmla="*/ 77819 h 348332"/>
                <a:gd name="connsiteX241" fmla="*/ 2458631 w 2663946"/>
                <a:gd name="connsiteY241" fmla="*/ 74304 h 348332"/>
                <a:gd name="connsiteX242" fmla="*/ 2454944 w 2663946"/>
                <a:gd name="connsiteY242" fmla="*/ 70519 h 348332"/>
                <a:gd name="connsiteX243" fmla="*/ 2451011 w 2663946"/>
                <a:gd name="connsiteY243" fmla="*/ 68356 h 348332"/>
                <a:gd name="connsiteX244" fmla="*/ 2207965 w 2663946"/>
                <a:gd name="connsiteY244" fmla="*/ 68356 h 348332"/>
                <a:gd name="connsiteX245" fmla="*/ 2196413 w 2663946"/>
                <a:gd name="connsiteY245" fmla="*/ 70789 h 348332"/>
                <a:gd name="connsiteX246" fmla="*/ 2193217 w 2663946"/>
                <a:gd name="connsiteY246" fmla="*/ 74304 h 348332"/>
                <a:gd name="connsiteX247" fmla="*/ 2191005 w 2663946"/>
                <a:gd name="connsiteY247" fmla="*/ 78089 h 348332"/>
                <a:gd name="connsiteX248" fmla="*/ 2190022 w 2663946"/>
                <a:gd name="connsiteY248" fmla="*/ 80793 h 348332"/>
                <a:gd name="connsiteX249" fmla="*/ 2189038 w 2663946"/>
                <a:gd name="connsiteY249" fmla="*/ 84849 h 348332"/>
                <a:gd name="connsiteX250" fmla="*/ 2188055 w 2663946"/>
                <a:gd name="connsiteY250" fmla="*/ 91879 h 348332"/>
                <a:gd name="connsiteX251" fmla="*/ 2189038 w 2663946"/>
                <a:gd name="connsiteY251" fmla="*/ 99179 h 348332"/>
                <a:gd name="connsiteX252" fmla="*/ 2190268 w 2663946"/>
                <a:gd name="connsiteY252" fmla="*/ 102964 h 348332"/>
                <a:gd name="connsiteX253" fmla="*/ 2192480 w 2663946"/>
                <a:gd name="connsiteY253" fmla="*/ 107290 h 348332"/>
                <a:gd name="connsiteX254" fmla="*/ 2195921 w 2663946"/>
                <a:gd name="connsiteY254" fmla="*/ 111617 h 348332"/>
                <a:gd name="connsiteX255" fmla="*/ 2200345 w 2663946"/>
                <a:gd name="connsiteY255" fmla="*/ 114320 h 348332"/>
                <a:gd name="connsiteX256" fmla="*/ 2212636 w 2663946"/>
                <a:gd name="connsiteY256" fmla="*/ 111887 h 348332"/>
                <a:gd name="connsiteX257" fmla="*/ 2215831 w 2663946"/>
                <a:gd name="connsiteY257" fmla="*/ 108372 h 348332"/>
                <a:gd name="connsiteX258" fmla="*/ 2218289 w 2663946"/>
                <a:gd name="connsiteY258" fmla="*/ 104046 h 348332"/>
                <a:gd name="connsiteX259" fmla="*/ 2219272 w 2663946"/>
                <a:gd name="connsiteY259" fmla="*/ 101883 h 348332"/>
                <a:gd name="connsiteX260" fmla="*/ 2220501 w 2663946"/>
                <a:gd name="connsiteY260" fmla="*/ 97557 h 348332"/>
                <a:gd name="connsiteX261" fmla="*/ 2220010 w 2663946"/>
                <a:gd name="connsiteY261" fmla="*/ 83767 h 348332"/>
                <a:gd name="connsiteX262" fmla="*/ 2219026 w 2663946"/>
                <a:gd name="connsiteY262" fmla="*/ 80793 h 348332"/>
                <a:gd name="connsiteX263" fmla="*/ 2217798 w 2663946"/>
                <a:gd name="connsiteY263" fmla="*/ 77819 h 348332"/>
                <a:gd name="connsiteX264" fmla="*/ 2215585 w 2663946"/>
                <a:gd name="connsiteY264" fmla="*/ 74304 h 348332"/>
                <a:gd name="connsiteX265" fmla="*/ 2211898 w 2663946"/>
                <a:gd name="connsiteY265" fmla="*/ 70519 h 348332"/>
                <a:gd name="connsiteX266" fmla="*/ 2207965 w 2663946"/>
                <a:gd name="connsiteY266" fmla="*/ 68356 h 348332"/>
                <a:gd name="connsiteX267" fmla="*/ 2026014 w 2663946"/>
                <a:gd name="connsiteY267" fmla="*/ 68356 h 348332"/>
                <a:gd name="connsiteX268" fmla="*/ 2014462 w 2663946"/>
                <a:gd name="connsiteY268" fmla="*/ 70789 h 348332"/>
                <a:gd name="connsiteX269" fmla="*/ 2011266 w 2663946"/>
                <a:gd name="connsiteY269" fmla="*/ 74304 h 348332"/>
                <a:gd name="connsiteX270" fmla="*/ 2009054 w 2663946"/>
                <a:gd name="connsiteY270" fmla="*/ 78089 h 348332"/>
                <a:gd name="connsiteX271" fmla="*/ 2008071 w 2663946"/>
                <a:gd name="connsiteY271" fmla="*/ 80793 h 348332"/>
                <a:gd name="connsiteX272" fmla="*/ 2007087 w 2663946"/>
                <a:gd name="connsiteY272" fmla="*/ 84849 h 348332"/>
                <a:gd name="connsiteX273" fmla="*/ 2006104 w 2663946"/>
                <a:gd name="connsiteY273" fmla="*/ 91879 h 348332"/>
                <a:gd name="connsiteX274" fmla="*/ 2007087 w 2663946"/>
                <a:gd name="connsiteY274" fmla="*/ 99179 h 348332"/>
                <a:gd name="connsiteX275" fmla="*/ 2008317 w 2663946"/>
                <a:gd name="connsiteY275" fmla="*/ 102964 h 348332"/>
                <a:gd name="connsiteX276" fmla="*/ 2010529 w 2663946"/>
                <a:gd name="connsiteY276" fmla="*/ 107290 h 348332"/>
                <a:gd name="connsiteX277" fmla="*/ 2013970 w 2663946"/>
                <a:gd name="connsiteY277" fmla="*/ 111617 h 348332"/>
                <a:gd name="connsiteX278" fmla="*/ 2018394 w 2663946"/>
                <a:gd name="connsiteY278" fmla="*/ 114320 h 348332"/>
                <a:gd name="connsiteX279" fmla="*/ 2030685 w 2663946"/>
                <a:gd name="connsiteY279" fmla="*/ 111887 h 348332"/>
                <a:gd name="connsiteX280" fmla="*/ 2033880 w 2663946"/>
                <a:gd name="connsiteY280" fmla="*/ 108372 h 348332"/>
                <a:gd name="connsiteX281" fmla="*/ 2036338 w 2663946"/>
                <a:gd name="connsiteY281" fmla="*/ 104046 h 348332"/>
                <a:gd name="connsiteX282" fmla="*/ 2037321 w 2663946"/>
                <a:gd name="connsiteY282" fmla="*/ 101883 h 348332"/>
                <a:gd name="connsiteX283" fmla="*/ 2038550 w 2663946"/>
                <a:gd name="connsiteY283" fmla="*/ 97557 h 348332"/>
                <a:gd name="connsiteX284" fmla="*/ 2038059 w 2663946"/>
                <a:gd name="connsiteY284" fmla="*/ 83767 h 348332"/>
                <a:gd name="connsiteX285" fmla="*/ 2037075 w 2663946"/>
                <a:gd name="connsiteY285" fmla="*/ 80793 h 348332"/>
                <a:gd name="connsiteX286" fmla="*/ 2035847 w 2663946"/>
                <a:gd name="connsiteY286" fmla="*/ 77819 h 348332"/>
                <a:gd name="connsiteX287" fmla="*/ 2033634 w 2663946"/>
                <a:gd name="connsiteY287" fmla="*/ 74304 h 348332"/>
                <a:gd name="connsiteX288" fmla="*/ 2029947 w 2663946"/>
                <a:gd name="connsiteY288" fmla="*/ 70519 h 348332"/>
                <a:gd name="connsiteX289" fmla="*/ 2026014 w 2663946"/>
                <a:gd name="connsiteY289" fmla="*/ 68356 h 348332"/>
                <a:gd name="connsiteX290" fmla="*/ 1601090 w 2663946"/>
                <a:gd name="connsiteY290" fmla="*/ 68356 h 348332"/>
                <a:gd name="connsiteX291" fmla="*/ 1589537 w 2663946"/>
                <a:gd name="connsiteY291" fmla="*/ 70789 h 348332"/>
                <a:gd name="connsiteX292" fmla="*/ 1586342 w 2663946"/>
                <a:gd name="connsiteY292" fmla="*/ 74304 h 348332"/>
                <a:gd name="connsiteX293" fmla="*/ 1584130 w 2663946"/>
                <a:gd name="connsiteY293" fmla="*/ 78089 h 348332"/>
                <a:gd name="connsiteX294" fmla="*/ 1583147 w 2663946"/>
                <a:gd name="connsiteY294" fmla="*/ 80793 h 348332"/>
                <a:gd name="connsiteX295" fmla="*/ 1582163 w 2663946"/>
                <a:gd name="connsiteY295" fmla="*/ 84849 h 348332"/>
                <a:gd name="connsiteX296" fmla="*/ 1581180 w 2663946"/>
                <a:gd name="connsiteY296" fmla="*/ 91879 h 348332"/>
                <a:gd name="connsiteX297" fmla="*/ 1582163 w 2663946"/>
                <a:gd name="connsiteY297" fmla="*/ 99179 h 348332"/>
                <a:gd name="connsiteX298" fmla="*/ 1583393 w 2663946"/>
                <a:gd name="connsiteY298" fmla="*/ 102964 h 348332"/>
                <a:gd name="connsiteX299" fmla="*/ 1585605 w 2663946"/>
                <a:gd name="connsiteY299" fmla="*/ 107290 h 348332"/>
                <a:gd name="connsiteX300" fmla="*/ 1589046 w 2663946"/>
                <a:gd name="connsiteY300" fmla="*/ 111617 h 348332"/>
                <a:gd name="connsiteX301" fmla="*/ 1593470 w 2663946"/>
                <a:gd name="connsiteY301" fmla="*/ 114320 h 348332"/>
                <a:gd name="connsiteX302" fmla="*/ 1605761 w 2663946"/>
                <a:gd name="connsiteY302" fmla="*/ 111887 h 348332"/>
                <a:gd name="connsiteX303" fmla="*/ 1608956 w 2663946"/>
                <a:gd name="connsiteY303" fmla="*/ 108372 h 348332"/>
                <a:gd name="connsiteX304" fmla="*/ 1611414 w 2663946"/>
                <a:gd name="connsiteY304" fmla="*/ 104046 h 348332"/>
                <a:gd name="connsiteX305" fmla="*/ 1612397 w 2663946"/>
                <a:gd name="connsiteY305" fmla="*/ 101883 h 348332"/>
                <a:gd name="connsiteX306" fmla="*/ 1613626 w 2663946"/>
                <a:gd name="connsiteY306" fmla="*/ 97557 h 348332"/>
                <a:gd name="connsiteX307" fmla="*/ 1613135 w 2663946"/>
                <a:gd name="connsiteY307" fmla="*/ 83767 h 348332"/>
                <a:gd name="connsiteX308" fmla="*/ 1612151 w 2663946"/>
                <a:gd name="connsiteY308" fmla="*/ 80793 h 348332"/>
                <a:gd name="connsiteX309" fmla="*/ 1610923 w 2663946"/>
                <a:gd name="connsiteY309" fmla="*/ 77819 h 348332"/>
                <a:gd name="connsiteX310" fmla="*/ 1608710 w 2663946"/>
                <a:gd name="connsiteY310" fmla="*/ 74304 h 348332"/>
                <a:gd name="connsiteX311" fmla="*/ 1605023 w 2663946"/>
                <a:gd name="connsiteY311" fmla="*/ 70519 h 348332"/>
                <a:gd name="connsiteX312" fmla="*/ 1601090 w 2663946"/>
                <a:gd name="connsiteY312" fmla="*/ 68356 h 348332"/>
                <a:gd name="connsiteX313" fmla="*/ 1252183 w 2663946"/>
                <a:gd name="connsiteY313" fmla="*/ 68356 h 348332"/>
                <a:gd name="connsiteX314" fmla="*/ 1240630 w 2663946"/>
                <a:gd name="connsiteY314" fmla="*/ 70789 h 348332"/>
                <a:gd name="connsiteX315" fmla="*/ 1237435 w 2663946"/>
                <a:gd name="connsiteY315" fmla="*/ 74304 h 348332"/>
                <a:gd name="connsiteX316" fmla="*/ 1235223 w 2663946"/>
                <a:gd name="connsiteY316" fmla="*/ 78089 h 348332"/>
                <a:gd name="connsiteX317" fmla="*/ 1234240 w 2663946"/>
                <a:gd name="connsiteY317" fmla="*/ 80793 h 348332"/>
                <a:gd name="connsiteX318" fmla="*/ 1233256 w 2663946"/>
                <a:gd name="connsiteY318" fmla="*/ 84849 h 348332"/>
                <a:gd name="connsiteX319" fmla="*/ 1232273 w 2663946"/>
                <a:gd name="connsiteY319" fmla="*/ 91879 h 348332"/>
                <a:gd name="connsiteX320" fmla="*/ 1233256 w 2663946"/>
                <a:gd name="connsiteY320" fmla="*/ 99179 h 348332"/>
                <a:gd name="connsiteX321" fmla="*/ 1234486 w 2663946"/>
                <a:gd name="connsiteY321" fmla="*/ 102964 h 348332"/>
                <a:gd name="connsiteX322" fmla="*/ 1236698 w 2663946"/>
                <a:gd name="connsiteY322" fmla="*/ 107290 h 348332"/>
                <a:gd name="connsiteX323" fmla="*/ 1240139 w 2663946"/>
                <a:gd name="connsiteY323" fmla="*/ 111617 h 348332"/>
                <a:gd name="connsiteX324" fmla="*/ 1244563 w 2663946"/>
                <a:gd name="connsiteY324" fmla="*/ 114320 h 348332"/>
                <a:gd name="connsiteX325" fmla="*/ 1256854 w 2663946"/>
                <a:gd name="connsiteY325" fmla="*/ 111887 h 348332"/>
                <a:gd name="connsiteX326" fmla="*/ 1260049 w 2663946"/>
                <a:gd name="connsiteY326" fmla="*/ 108372 h 348332"/>
                <a:gd name="connsiteX327" fmla="*/ 1262507 w 2663946"/>
                <a:gd name="connsiteY327" fmla="*/ 104046 h 348332"/>
                <a:gd name="connsiteX328" fmla="*/ 1263490 w 2663946"/>
                <a:gd name="connsiteY328" fmla="*/ 101883 h 348332"/>
                <a:gd name="connsiteX329" fmla="*/ 1264719 w 2663946"/>
                <a:gd name="connsiteY329" fmla="*/ 97557 h 348332"/>
                <a:gd name="connsiteX330" fmla="*/ 1264228 w 2663946"/>
                <a:gd name="connsiteY330" fmla="*/ 83767 h 348332"/>
                <a:gd name="connsiteX331" fmla="*/ 1263244 w 2663946"/>
                <a:gd name="connsiteY331" fmla="*/ 80793 h 348332"/>
                <a:gd name="connsiteX332" fmla="*/ 1262016 w 2663946"/>
                <a:gd name="connsiteY332" fmla="*/ 77819 h 348332"/>
                <a:gd name="connsiteX333" fmla="*/ 1259803 w 2663946"/>
                <a:gd name="connsiteY333" fmla="*/ 74304 h 348332"/>
                <a:gd name="connsiteX334" fmla="*/ 1256116 w 2663946"/>
                <a:gd name="connsiteY334" fmla="*/ 70519 h 348332"/>
                <a:gd name="connsiteX335" fmla="*/ 1252183 w 2663946"/>
                <a:gd name="connsiteY335" fmla="*/ 68356 h 348332"/>
                <a:gd name="connsiteX336" fmla="*/ 1070232 w 2663946"/>
                <a:gd name="connsiteY336" fmla="*/ 68356 h 348332"/>
                <a:gd name="connsiteX337" fmla="*/ 1058679 w 2663946"/>
                <a:gd name="connsiteY337" fmla="*/ 70789 h 348332"/>
                <a:gd name="connsiteX338" fmla="*/ 1055484 w 2663946"/>
                <a:gd name="connsiteY338" fmla="*/ 74304 h 348332"/>
                <a:gd name="connsiteX339" fmla="*/ 1053272 w 2663946"/>
                <a:gd name="connsiteY339" fmla="*/ 78089 h 348332"/>
                <a:gd name="connsiteX340" fmla="*/ 1052289 w 2663946"/>
                <a:gd name="connsiteY340" fmla="*/ 80793 h 348332"/>
                <a:gd name="connsiteX341" fmla="*/ 1051305 w 2663946"/>
                <a:gd name="connsiteY341" fmla="*/ 84849 h 348332"/>
                <a:gd name="connsiteX342" fmla="*/ 1050322 w 2663946"/>
                <a:gd name="connsiteY342" fmla="*/ 91879 h 348332"/>
                <a:gd name="connsiteX343" fmla="*/ 1051305 w 2663946"/>
                <a:gd name="connsiteY343" fmla="*/ 99179 h 348332"/>
                <a:gd name="connsiteX344" fmla="*/ 1052535 w 2663946"/>
                <a:gd name="connsiteY344" fmla="*/ 102964 h 348332"/>
                <a:gd name="connsiteX345" fmla="*/ 1054747 w 2663946"/>
                <a:gd name="connsiteY345" fmla="*/ 107290 h 348332"/>
                <a:gd name="connsiteX346" fmla="*/ 1058188 w 2663946"/>
                <a:gd name="connsiteY346" fmla="*/ 111617 h 348332"/>
                <a:gd name="connsiteX347" fmla="*/ 1062612 w 2663946"/>
                <a:gd name="connsiteY347" fmla="*/ 114320 h 348332"/>
                <a:gd name="connsiteX348" fmla="*/ 1074903 w 2663946"/>
                <a:gd name="connsiteY348" fmla="*/ 111887 h 348332"/>
                <a:gd name="connsiteX349" fmla="*/ 1078098 w 2663946"/>
                <a:gd name="connsiteY349" fmla="*/ 108372 h 348332"/>
                <a:gd name="connsiteX350" fmla="*/ 1080556 w 2663946"/>
                <a:gd name="connsiteY350" fmla="*/ 104046 h 348332"/>
                <a:gd name="connsiteX351" fmla="*/ 1081539 w 2663946"/>
                <a:gd name="connsiteY351" fmla="*/ 101883 h 348332"/>
                <a:gd name="connsiteX352" fmla="*/ 1082768 w 2663946"/>
                <a:gd name="connsiteY352" fmla="*/ 97557 h 348332"/>
                <a:gd name="connsiteX353" fmla="*/ 1082277 w 2663946"/>
                <a:gd name="connsiteY353" fmla="*/ 83767 h 348332"/>
                <a:gd name="connsiteX354" fmla="*/ 1081293 w 2663946"/>
                <a:gd name="connsiteY354" fmla="*/ 80793 h 348332"/>
                <a:gd name="connsiteX355" fmla="*/ 1080065 w 2663946"/>
                <a:gd name="connsiteY355" fmla="*/ 77819 h 348332"/>
                <a:gd name="connsiteX356" fmla="*/ 1077852 w 2663946"/>
                <a:gd name="connsiteY356" fmla="*/ 74304 h 348332"/>
                <a:gd name="connsiteX357" fmla="*/ 1074165 w 2663946"/>
                <a:gd name="connsiteY357" fmla="*/ 70519 h 348332"/>
                <a:gd name="connsiteX358" fmla="*/ 1070232 w 2663946"/>
                <a:gd name="connsiteY358" fmla="*/ 68356 h 348332"/>
                <a:gd name="connsiteX359" fmla="*/ 903203 w 2663946"/>
                <a:gd name="connsiteY359" fmla="*/ 68356 h 348332"/>
                <a:gd name="connsiteX360" fmla="*/ 891650 w 2663946"/>
                <a:gd name="connsiteY360" fmla="*/ 70789 h 348332"/>
                <a:gd name="connsiteX361" fmla="*/ 888455 w 2663946"/>
                <a:gd name="connsiteY361" fmla="*/ 74304 h 348332"/>
                <a:gd name="connsiteX362" fmla="*/ 886243 w 2663946"/>
                <a:gd name="connsiteY362" fmla="*/ 78089 h 348332"/>
                <a:gd name="connsiteX363" fmla="*/ 885260 w 2663946"/>
                <a:gd name="connsiteY363" fmla="*/ 80793 h 348332"/>
                <a:gd name="connsiteX364" fmla="*/ 884276 w 2663946"/>
                <a:gd name="connsiteY364" fmla="*/ 84849 h 348332"/>
                <a:gd name="connsiteX365" fmla="*/ 883293 w 2663946"/>
                <a:gd name="connsiteY365" fmla="*/ 91879 h 348332"/>
                <a:gd name="connsiteX366" fmla="*/ 884276 w 2663946"/>
                <a:gd name="connsiteY366" fmla="*/ 99179 h 348332"/>
                <a:gd name="connsiteX367" fmla="*/ 885506 w 2663946"/>
                <a:gd name="connsiteY367" fmla="*/ 102964 h 348332"/>
                <a:gd name="connsiteX368" fmla="*/ 887718 w 2663946"/>
                <a:gd name="connsiteY368" fmla="*/ 107290 h 348332"/>
                <a:gd name="connsiteX369" fmla="*/ 891159 w 2663946"/>
                <a:gd name="connsiteY369" fmla="*/ 111617 h 348332"/>
                <a:gd name="connsiteX370" fmla="*/ 895583 w 2663946"/>
                <a:gd name="connsiteY370" fmla="*/ 114320 h 348332"/>
                <a:gd name="connsiteX371" fmla="*/ 907874 w 2663946"/>
                <a:gd name="connsiteY371" fmla="*/ 111887 h 348332"/>
                <a:gd name="connsiteX372" fmla="*/ 911069 w 2663946"/>
                <a:gd name="connsiteY372" fmla="*/ 108372 h 348332"/>
                <a:gd name="connsiteX373" fmla="*/ 913527 w 2663946"/>
                <a:gd name="connsiteY373" fmla="*/ 104046 h 348332"/>
                <a:gd name="connsiteX374" fmla="*/ 914510 w 2663946"/>
                <a:gd name="connsiteY374" fmla="*/ 101883 h 348332"/>
                <a:gd name="connsiteX375" fmla="*/ 915739 w 2663946"/>
                <a:gd name="connsiteY375" fmla="*/ 97557 h 348332"/>
                <a:gd name="connsiteX376" fmla="*/ 915248 w 2663946"/>
                <a:gd name="connsiteY376" fmla="*/ 83767 h 348332"/>
                <a:gd name="connsiteX377" fmla="*/ 914264 w 2663946"/>
                <a:gd name="connsiteY377" fmla="*/ 80793 h 348332"/>
                <a:gd name="connsiteX378" fmla="*/ 913036 w 2663946"/>
                <a:gd name="connsiteY378" fmla="*/ 77819 h 348332"/>
                <a:gd name="connsiteX379" fmla="*/ 910823 w 2663946"/>
                <a:gd name="connsiteY379" fmla="*/ 74304 h 348332"/>
                <a:gd name="connsiteX380" fmla="*/ 907136 w 2663946"/>
                <a:gd name="connsiteY380" fmla="*/ 70519 h 348332"/>
                <a:gd name="connsiteX381" fmla="*/ 903203 w 2663946"/>
                <a:gd name="connsiteY381" fmla="*/ 68356 h 348332"/>
                <a:gd name="connsiteX382" fmla="*/ 554297 w 2663946"/>
                <a:gd name="connsiteY382" fmla="*/ 68356 h 348332"/>
                <a:gd name="connsiteX383" fmla="*/ 542744 w 2663946"/>
                <a:gd name="connsiteY383" fmla="*/ 70789 h 348332"/>
                <a:gd name="connsiteX384" fmla="*/ 539549 w 2663946"/>
                <a:gd name="connsiteY384" fmla="*/ 74304 h 348332"/>
                <a:gd name="connsiteX385" fmla="*/ 537337 w 2663946"/>
                <a:gd name="connsiteY385" fmla="*/ 78089 h 348332"/>
                <a:gd name="connsiteX386" fmla="*/ 536353 w 2663946"/>
                <a:gd name="connsiteY386" fmla="*/ 80793 h 348332"/>
                <a:gd name="connsiteX387" fmla="*/ 535370 w 2663946"/>
                <a:gd name="connsiteY387" fmla="*/ 84849 h 348332"/>
                <a:gd name="connsiteX388" fmla="*/ 534387 w 2663946"/>
                <a:gd name="connsiteY388" fmla="*/ 91879 h 348332"/>
                <a:gd name="connsiteX389" fmla="*/ 535370 w 2663946"/>
                <a:gd name="connsiteY389" fmla="*/ 99179 h 348332"/>
                <a:gd name="connsiteX390" fmla="*/ 536599 w 2663946"/>
                <a:gd name="connsiteY390" fmla="*/ 102964 h 348332"/>
                <a:gd name="connsiteX391" fmla="*/ 538811 w 2663946"/>
                <a:gd name="connsiteY391" fmla="*/ 107290 h 348332"/>
                <a:gd name="connsiteX392" fmla="*/ 542253 w 2663946"/>
                <a:gd name="connsiteY392" fmla="*/ 111617 h 348332"/>
                <a:gd name="connsiteX393" fmla="*/ 546677 w 2663946"/>
                <a:gd name="connsiteY393" fmla="*/ 114320 h 348332"/>
                <a:gd name="connsiteX394" fmla="*/ 558967 w 2663946"/>
                <a:gd name="connsiteY394" fmla="*/ 111887 h 348332"/>
                <a:gd name="connsiteX395" fmla="*/ 562163 w 2663946"/>
                <a:gd name="connsiteY395" fmla="*/ 108372 h 348332"/>
                <a:gd name="connsiteX396" fmla="*/ 564621 w 2663946"/>
                <a:gd name="connsiteY396" fmla="*/ 104046 h 348332"/>
                <a:gd name="connsiteX397" fmla="*/ 565604 w 2663946"/>
                <a:gd name="connsiteY397" fmla="*/ 101883 h 348332"/>
                <a:gd name="connsiteX398" fmla="*/ 566833 w 2663946"/>
                <a:gd name="connsiteY398" fmla="*/ 97557 h 348332"/>
                <a:gd name="connsiteX399" fmla="*/ 566341 w 2663946"/>
                <a:gd name="connsiteY399" fmla="*/ 83767 h 348332"/>
                <a:gd name="connsiteX400" fmla="*/ 565358 w 2663946"/>
                <a:gd name="connsiteY400" fmla="*/ 80793 h 348332"/>
                <a:gd name="connsiteX401" fmla="*/ 564129 w 2663946"/>
                <a:gd name="connsiteY401" fmla="*/ 77819 h 348332"/>
                <a:gd name="connsiteX402" fmla="*/ 561917 w 2663946"/>
                <a:gd name="connsiteY402" fmla="*/ 74304 h 348332"/>
                <a:gd name="connsiteX403" fmla="*/ 558230 w 2663946"/>
                <a:gd name="connsiteY403" fmla="*/ 70519 h 348332"/>
                <a:gd name="connsiteX404" fmla="*/ 554297 w 2663946"/>
                <a:gd name="connsiteY404" fmla="*/ 68356 h 348332"/>
                <a:gd name="connsiteX405" fmla="*/ 372346 w 2663946"/>
                <a:gd name="connsiteY405" fmla="*/ 68356 h 348332"/>
                <a:gd name="connsiteX406" fmla="*/ 360793 w 2663946"/>
                <a:gd name="connsiteY406" fmla="*/ 70789 h 348332"/>
                <a:gd name="connsiteX407" fmla="*/ 357598 w 2663946"/>
                <a:gd name="connsiteY407" fmla="*/ 74304 h 348332"/>
                <a:gd name="connsiteX408" fmla="*/ 355385 w 2663946"/>
                <a:gd name="connsiteY408" fmla="*/ 78089 h 348332"/>
                <a:gd name="connsiteX409" fmla="*/ 354402 w 2663946"/>
                <a:gd name="connsiteY409" fmla="*/ 80793 h 348332"/>
                <a:gd name="connsiteX410" fmla="*/ 353419 w 2663946"/>
                <a:gd name="connsiteY410" fmla="*/ 84849 h 348332"/>
                <a:gd name="connsiteX411" fmla="*/ 352436 w 2663946"/>
                <a:gd name="connsiteY411" fmla="*/ 91879 h 348332"/>
                <a:gd name="connsiteX412" fmla="*/ 353419 w 2663946"/>
                <a:gd name="connsiteY412" fmla="*/ 99179 h 348332"/>
                <a:gd name="connsiteX413" fmla="*/ 354648 w 2663946"/>
                <a:gd name="connsiteY413" fmla="*/ 102964 h 348332"/>
                <a:gd name="connsiteX414" fmla="*/ 356860 w 2663946"/>
                <a:gd name="connsiteY414" fmla="*/ 107290 h 348332"/>
                <a:gd name="connsiteX415" fmla="*/ 360301 w 2663946"/>
                <a:gd name="connsiteY415" fmla="*/ 111617 h 348332"/>
                <a:gd name="connsiteX416" fmla="*/ 364726 w 2663946"/>
                <a:gd name="connsiteY416" fmla="*/ 114320 h 348332"/>
                <a:gd name="connsiteX417" fmla="*/ 377016 w 2663946"/>
                <a:gd name="connsiteY417" fmla="*/ 111887 h 348332"/>
                <a:gd name="connsiteX418" fmla="*/ 380212 w 2663946"/>
                <a:gd name="connsiteY418" fmla="*/ 108372 h 348332"/>
                <a:gd name="connsiteX419" fmla="*/ 382670 w 2663946"/>
                <a:gd name="connsiteY419" fmla="*/ 104046 h 348332"/>
                <a:gd name="connsiteX420" fmla="*/ 383653 w 2663946"/>
                <a:gd name="connsiteY420" fmla="*/ 101883 h 348332"/>
                <a:gd name="connsiteX421" fmla="*/ 384882 w 2663946"/>
                <a:gd name="connsiteY421" fmla="*/ 97557 h 348332"/>
                <a:gd name="connsiteX422" fmla="*/ 384390 w 2663946"/>
                <a:gd name="connsiteY422" fmla="*/ 83767 h 348332"/>
                <a:gd name="connsiteX423" fmla="*/ 383407 w 2663946"/>
                <a:gd name="connsiteY423" fmla="*/ 80793 h 348332"/>
                <a:gd name="connsiteX424" fmla="*/ 382178 w 2663946"/>
                <a:gd name="connsiteY424" fmla="*/ 77819 h 348332"/>
                <a:gd name="connsiteX425" fmla="*/ 379966 w 2663946"/>
                <a:gd name="connsiteY425" fmla="*/ 74304 h 348332"/>
                <a:gd name="connsiteX426" fmla="*/ 376279 w 2663946"/>
                <a:gd name="connsiteY426" fmla="*/ 70519 h 348332"/>
                <a:gd name="connsiteX427" fmla="*/ 372346 w 2663946"/>
                <a:gd name="connsiteY427" fmla="*/ 68356 h 348332"/>
                <a:gd name="connsiteX428" fmla="*/ 129300 w 2663946"/>
                <a:gd name="connsiteY428" fmla="*/ 68356 h 348332"/>
                <a:gd name="connsiteX429" fmla="*/ 117747 w 2663946"/>
                <a:gd name="connsiteY429" fmla="*/ 70789 h 348332"/>
                <a:gd name="connsiteX430" fmla="*/ 114552 w 2663946"/>
                <a:gd name="connsiteY430" fmla="*/ 74304 h 348332"/>
                <a:gd name="connsiteX431" fmla="*/ 112340 w 2663946"/>
                <a:gd name="connsiteY431" fmla="*/ 78089 h 348332"/>
                <a:gd name="connsiteX432" fmla="*/ 111356 w 2663946"/>
                <a:gd name="connsiteY432" fmla="*/ 80793 h 348332"/>
                <a:gd name="connsiteX433" fmla="*/ 110373 w 2663946"/>
                <a:gd name="connsiteY433" fmla="*/ 84849 h 348332"/>
                <a:gd name="connsiteX434" fmla="*/ 109390 w 2663946"/>
                <a:gd name="connsiteY434" fmla="*/ 91879 h 348332"/>
                <a:gd name="connsiteX435" fmla="*/ 110373 w 2663946"/>
                <a:gd name="connsiteY435" fmla="*/ 99179 h 348332"/>
                <a:gd name="connsiteX436" fmla="*/ 111602 w 2663946"/>
                <a:gd name="connsiteY436" fmla="*/ 102964 h 348332"/>
                <a:gd name="connsiteX437" fmla="*/ 113814 w 2663946"/>
                <a:gd name="connsiteY437" fmla="*/ 107290 h 348332"/>
                <a:gd name="connsiteX438" fmla="*/ 117256 w 2663946"/>
                <a:gd name="connsiteY438" fmla="*/ 111617 h 348332"/>
                <a:gd name="connsiteX439" fmla="*/ 121680 w 2663946"/>
                <a:gd name="connsiteY439" fmla="*/ 114320 h 348332"/>
                <a:gd name="connsiteX440" fmla="*/ 133970 w 2663946"/>
                <a:gd name="connsiteY440" fmla="*/ 111887 h 348332"/>
                <a:gd name="connsiteX441" fmla="*/ 137166 w 2663946"/>
                <a:gd name="connsiteY441" fmla="*/ 108372 h 348332"/>
                <a:gd name="connsiteX442" fmla="*/ 139624 w 2663946"/>
                <a:gd name="connsiteY442" fmla="*/ 104046 h 348332"/>
                <a:gd name="connsiteX443" fmla="*/ 140607 w 2663946"/>
                <a:gd name="connsiteY443" fmla="*/ 101883 h 348332"/>
                <a:gd name="connsiteX444" fmla="*/ 141836 w 2663946"/>
                <a:gd name="connsiteY444" fmla="*/ 97557 h 348332"/>
                <a:gd name="connsiteX445" fmla="*/ 141344 w 2663946"/>
                <a:gd name="connsiteY445" fmla="*/ 83767 h 348332"/>
                <a:gd name="connsiteX446" fmla="*/ 140361 w 2663946"/>
                <a:gd name="connsiteY446" fmla="*/ 80793 h 348332"/>
                <a:gd name="connsiteX447" fmla="*/ 139132 w 2663946"/>
                <a:gd name="connsiteY447" fmla="*/ 77819 h 348332"/>
                <a:gd name="connsiteX448" fmla="*/ 136920 w 2663946"/>
                <a:gd name="connsiteY448" fmla="*/ 74304 h 348332"/>
                <a:gd name="connsiteX449" fmla="*/ 133233 w 2663946"/>
                <a:gd name="connsiteY449" fmla="*/ 70519 h 348332"/>
                <a:gd name="connsiteX450" fmla="*/ 129300 w 2663946"/>
                <a:gd name="connsiteY450" fmla="*/ 68356 h 348332"/>
                <a:gd name="connsiteX451" fmla="*/ 33147 w 2663946"/>
                <a:gd name="connsiteY451" fmla="*/ 64420 h 348332"/>
                <a:gd name="connsiteX452" fmla="*/ 21486 w 2663946"/>
                <a:gd name="connsiteY452" fmla="*/ 72149 h 348332"/>
                <a:gd name="connsiteX453" fmla="*/ 20561 w 2663946"/>
                <a:gd name="connsiteY453" fmla="*/ 76732 h 348332"/>
                <a:gd name="connsiteX454" fmla="*/ 23801 w 2663946"/>
                <a:gd name="connsiteY454" fmla="*/ 76732 h 348332"/>
                <a:gd name="connsiteX455" fmla="*/ 42218 w 2663946"/>
                <a:gd name="connsiteY455" fmla="*/ 76732 h 348332"/>
                <a:gd name="connsiteX456" fmla="*/ 45732 w 2663946"/>
                <a:gd name="connsiteY456" fmla="*/ 76732 h 348332"/>
                <a:gd name="connsiteX457" fmla="*/ 44807 w 2663946"/>
                <a:gd name="connsiteY457" fmla="*/ 72149 h 348332"/>
                <a:gd name="connsiteX458" fmla="*/ 33147 w 2663946"/>
                <a:gd name="connsiteY458" fmla="*/ 64420 h 348332"/>
                <a:gd name="connsiteX459" fmla="*/ 2537931 w 2663946"/>
                <a:gd name="connsiteY459" fmla="*/ 56832 h 348332"/>
                <a:gd name="connsiteX460" fmla="*/ 2526271 w 2663946"/>
                <a:gd name="connsiteY460" fmla="*/ 64561 h 348332"/>
                <a:gd name="connsiteX461" fmla="*/ 2525346 w 2663946"/>
                <a:gd name="connsiteY461" fmla="*/ 69144 h 348332"/>
                <a:gd name="connsiteX462" fmla="*/ 2528586 w 2663946"/>
                <a:gd name="connsiteY462" fmla="*/ 69144 h 348332"/>
                <a:gd name="connsiteX463" fmla="*/ 2547003 w 2663946"/>
                <a:gd name="connsiteY463" fmla="*/ 69144 h 348332"/>
                <a:gd name="connsiteX464" fmla="*/ 2550517 w 2663946"/>
                <a:gd name="connsiteY464" fmla="*/ 69144 h 348332"/>
                <a:gd name="connsiteX465" fmla="*/ 2549592 w 2663946"/>
                <a:gd name="connsiteY465" fmla="*/ 64561 h 348332"/>
                <a:gd name="connsiteX466" fmla="*/ 2537931 w 2663946"/>
                <a:gd name="connsiteY466" fmla="*/ 56832 h 348332"/>
                <a:gd name="connsiteX467" fmla="*/ 2112934 w 2663946"/>
                <a:gd name="connsiteY467" fmla="*/ 56832 h 348332"/>
                <a:gd name="connsiteX468" fmla="*/ 2101274 w 2663946"/>
                <a:gd name="connsiteY468" fmla="*/ 64561 h 348332"/>
                <a:gd name="connsiteX469" fmla="*/ 2100349 w 2663946"/>
                <a:gd name="connsiteY469" fmla="*/ 69144 h 348332"/>
                <a:gd name="connsiteX470" fmla="*/ 2103589 w 2663946"/>
                <a:gd name="connsiteY470" fmla="*/ 69144 h 348332"/>
                <a:gd name="connsiteX471" fmla="*/ 2122006 w 2663946"/>
                <a:gd name="connsiteY471" fmla="*/ 69144 h 348332"/>
                <a:gd name="connsiteX472" fmla="*/ 2125520 w 2663946"/>
                <a:gd name="connsiteY472" fmla="*/ 69144 h 348332"/>
                <a:gd name="connsiteX473" fmla="*/ 2124595 w 2663946"/>
                <a:gd name="connsiteY473" fmla="*/ 64561 h 348332"/>
                <a:gd name="connsiteX474" fmla="*/ 2112934 w 2663946"/>
                <a:gd name="connsiteY474" fmla="*/ 56832 h 348332"/>
                <a:gd name="connsiteX475" fmla="*/ 1854966 w 2663946"/>
                <a:gd name="connsiteY475" fmla="*/ 56832 h 348332"/>
                <a:gd name="connsiteX476" fmla="*/ 1843306 w 2663946"/>
                <a:gd name="connsiteY476" fmla="*/ 64561 h 348332"/>
                <a:gd name="connsiteX477" fmla="*/ 1842381 w 2663946"/>
                <a:gd name="connsiteY477" fmla="*/ 69144 h 348332"/>
                <a:gd name="connsiteX478" fmla="*/ 1845621 w 2663946"/>
                <a:gd name="connsiteY478" fmla="*/ 69144 h 348332"/>
                <a:gd name="connsiteX479" fmla="*/ 1864038 w 2663946"/>
                <a:gd name="connsiteY479" fmla="*/ 69144 h 348332"/>
                <a:gd name="connsiteX480" fmla="*/ 1867552 w 2663946"/>
                <a:gd name="connsiteY480" fmla="*/ 69144 h 348332"/>
                <a:gd name="connsiteX481" fmla="*/ 1866627 w 2663946"/>
                <a:gd name="connsiteY481" fmla="*/ 64561 h 348332"/>
                <a:gd name="connsiteX482" fmla="*/ 1854966 w 2663946"/>
                <a:gd name="connsiteY482" fmla="*/ 56832 h 348332"/>
                <a:gd name="connsiteX483" fmla="*/ 1764027 w 2663946"/>
                <a:gd name="connsiteY483" fmla="*/ 56832 h 348332"/>
                <a:gd name="connsiteX484" fmla="*/ 1752367 w 2663946"/>
                <a:gd name="connsiteY484" fmla="*/ 64561 h 348332"/>
                <a:gd name="connsiteX485" fmla="*/ 1751442 w 2663946"/>
                <a:gd name="connsiteY485" fmla="*/ 69144 h 348332"/>
                <a:gd name="connsiteX486" fmla="*/ 1754682 w 2663946"/>
                <a:gd name="connsiteY486" fmla="*/ 69144 h 348332"/>
                <a:gd name="connsiteX487" fmla="*/ 1773099 w 2663946"/>
                <a:gd name="connsiteY487" fmla="*/ 69144 h 348332"/>
                <a:gd name="connsiteX488" fmla="*/ 1776613 w 2663946"/>
                <a:gd name="connsiteY488" fmla="*/ 69144 h 348332"/>
                <a:gd name="connsiteX489" fmla="*/ 1775687 w 2663946"/>
                <a:gd name="connsiteY489" fmla="*/ 64561 h 348332"/>
                <a:gd name="connsiteX490" fmla="*/ 1764027 w 2663946"/>
                <a:gd name="connsiteY490" fmla="*/ 56832 h 348332"/>
                <a:gd name="connsiteX491" fmla="*/ 1506059 w 2663946"/>
                <a:gd name="connsiteY491" fmla="*/ 56832 h 348332"/>
                <a:gd name="connsiteX492" fmla="*/ 1494399 w 2663946"/>
                <a:gd name="connsiteY492" fmla="*/ 64561 h 348332"/>
                <a:gd name="connsiteX493" fmla="*/ 1493474 w 2663946"/>
                <a:gd name="connsiteY493" fmla="*/ 69144 h 348332"/>
                <a:gd name="connsiteX494" fmla="*/ 1496714 w 2663946"/>
                <a:gd name="connsiteY494" fmla="*/ 69144 h 348332"/>
                <a:gd name="connsiteX495" fmla="*/ 1515131 w 2663946"/>
                <a:gd name="connsiteY495" fmla="*/ 69144 h 348332"/>
                <a:gd name="connsiteX496" fmla="*/ 1518645 w 2663946"/>
                <a:gd name="connsiteY496" fmla="*/ 69144 h 348332"/>
                <a:gd name="connsiteX497" fmla="*/ 1517719 w 2663946"/>
                <a:gd name="connsiteY497" fmla="*/ 64561 h 348332"/>
                <a:gd name="connsiteX498" fmla="*/ 1506059 w 2663946"/>
                <a:gd name="connsiteY498" fmla="*/ 56832 h 348332"/>
                <a:gd name="connsiteX499" fmla="*/ 1415120 w 2663946"/>
                <a:gd name="connsiteY499" fmla="*/ 56832 h 348332"/>
                <a:gd name="connsiteX500" fmla="*/ 1403460 w 2663946"/>
                <a:gd name="connsiteY500" fmla="*/ 64561 h 348332"/>
                <a:gd name="connsiteX501" fmla="*/ 1402535 w 2663946"/>
                <a:gd name="connsiteY501" fmla="*/ 69144 h 348332"/>
                <a:gd name="connsiteX502" fmla="*/ 1405775 w 2663946"/>
                <a:gd name="connsiteY502" fmla="*/ 69144 h 348332"/>
                <a:gd name="connsiteX503" fmla="*/ 1424192 w 2663946"/>
                <a:gd name="connsiteY503" fmla="*/ 69144 h 348332"/>
                <a:gd name="connsiteX504" fmla="*/ 1427706 w 2663946"/>
                <a:gd name="connsiteY504" fmla="*/ 69144 h 348332"/>
                <a:gd name="connsiteX505" fmla="*/ 1426780 w 2663946"/>
                <a:gd name="connsiteY505" fmla="*/ 64561 h 348332"/>
                <a:gd name="connsiteX506" fmla="*/ 1415120 w 2663946"/>
                <a:gd name="connsiteY506" fmla="*/ 56832 h 348332"/>
                <a:gd name="connsiteX507" fmla="*/ 1157152 w 2663946"/>
                <a:gd name="connsiteY507" fmla="*/ 56832 h 348332"/>
                <a:gd name="connsiteX508" fmla="*/ 1145492 w 2663946"/>
                <a:gd name="connsiteY508" fmla="*/ 64561 h 348332"/>
                <a:gd name="connsiteX509" fmla="*/ 1144567 w 2663946"/>
                <a:gd name="connsiteY509" fmla="*/ 69144 h 348332"/>
                <a:gd name="connsiteX510" fmla="*/ 1147807 w 2663946"/>
                <a:gd name="connsiteY510" fmla="*/ 69144 h 348332"/>
                <a:gd name="connsiteX511" fmla="*/ 1166224 w 2663946"/>
                <a:gd name="connsiteY511" fmla="*/ 69144 h 348332"/>
                <a:gd name="connsiteX512" fmla="*/ 1169738 w 2663946"/>
                <a:gd name="connsiteY512" fmla="*/ 69144 h 348332"/>
                <a:gd name="connsiteX513" fmla="*/ 1168812 w 2663946"/>
                <a:gd name="connsiteY513" fmla="*/ 64561 h 348332"/>
                <a:gd name="connsiteX514" fmla="*/ 1157152 w 2663946"/>
                <a:gd name="connsiteY514" fmla="*/ 56832 h 348332"/>
                <a:gd name="connsiteX515" fmla="*/ 732156 w 2663946"/>
                <a:gd name="connsiteY515" fmla="*/ 56832 h 348332"/>
                <a:gd name="connsiteX516" fmla="*/ 720495 w 2663946"/>
                <a:gd name="connsiteY516" fmla="*/ 64561 h 348332"/>
                <a:gd name="connsiteX517" fmla="*/ 719570 w 2663946"/>
                <a:gd name="connsiteY517" fmla="*/ 69144 h 348332"/>
                <a:gd name="connsiteX518" fmla="*/ 722810 w 2663946"/>
                <a:gd name="connsiteY518" fmla="*/ 69144 h 348332"/>
                <a:gd name="connsiteX519" fmla="*/ 741228 w 2663946"/>
                <a:gd name="connsiteY519" fmla="*/ 69144 h 348332"/>
                <a:gd name="connsiteX520" fmla="*/ 744742 w 2663946"/>
                <a:gd name="connsiteY520" fmla="*/ 69144 h 348332"/>
                <a:gd name="connsiteX521" fmla="*/ 743816 w 2663946"/>
                <a:gd name="connsiteY521" fmla="*/ 64561 h 348332"/>
                <a:gd name="connsiteX522" fmla="*/ 732156 w 2663946"/>
                <a:gd name="connsiteY522" fmla="*/ 56832 h 348332"/>
                <a:gd name="connsiteX523" fmla="*/ 641217 w 2663946"/>
                <a:gd name="connsiteY523" fmla="*/ 56832 h 348332"/>
                <a:gd name="connsiteX524" fmla="*/ 629556 w 2663946"/>
                <a:gd name="connsiteY524" fmla="*/ 64561 h 348332"/>
                <a:gd name="connsiteX525" fmla="*/ 628631 w 2663946"/>
                <a:gd name="connsiteY525" fmla="*/ 69144 h 348332"/>
                <a:gd name="connsiteX526" fmla="*/ 631871 w 2663946"/>
                <a:gd name="connsiteY526" fmla="*/ 69144 h 348332"/>
                <a:gd name="connsiteX527" fmla="*/ 650289 w 2663946"/>
                <a:gd name="connsiteY527" fmla="*/ 69144 h 348332"/>
                <a:gd name="connsiteX528" fmla="*/ 653802 w 2663946"/>
                <a:gd name="connsiteY528" fmla="*/ 69144 h 348332"/>
                <a:gd name="connsiteX529" fmla="*/ 652877 w 2663946"/>
                <a:gd name="connsiteY529" fmla="*/ 64561 h 348332"/>
                <a:gd name="connsiteX530" fmla="*/ 641217 w 2663946"/>
                <a:gd name="connsiteY530" fmla="*/ 56832 h 348332"/>
                <a:gd name="connsiteX531" fmla="*/ 459266 w 2663946"/>
                <a:gd name="connsiteY531" fmla="*/ 56832 h 348332"/>
                <a:gd name="connsiteX532" fmla="*/ 447605 w 2663946"/>
                <a:gd name="connsiteY532" fmla="*/ 64561 h 348332"/>
                <a:gd name="connsiteX533" fmla="*/ 446680 w 2663946"/>
                <a:gd name="connsiteY533" fmla="*/ 69144 h 348332"/>
                <a:gd name="connsiteX534" fmla="*/ 449920 w 2663946"/>
                <a:gd name="connsiteY534" fmla="*/ 69144 h 348332"/>
                <a:gd name="connsiteX535" fmla="*/ 468337 w 2663946"/>
                <a:gd name="connsiteY535" fmla="*/ 69144 h 348332"/>
                <a:gd name="connsiteX536" fmla="*/ 471851 w 2663946"/>
                <a:gd name="connsiteY536" fmla="*/ 69144 h 348332"/>
                <a:gd name="connsiteX537" fmla="*/ 470926 w 2663946"/>
                <a:gd name="connsiteY537" fmla="*/ 64561 h 348332"/>
                <a:gd name="connsiteX538" fmla="*/ 459266 w 2663946"/>
                <a:gd name="connsiteY538" fmla="*/ 56832 h 348332"/>
                <a:gd name="connsiteX539" fmla="*/ 2361413 w 2663946"/>
                <a:gd name="connsiteY539" fmla="*/ 52472 h 348332"/>
                <a:gd name="connsiteX540" fmla="*/ 2365469 w 2663946"/>
                <a:gd name="connsiteY540" fmla="*/ 52472 h 348332"/>
                <a:gd name="connsiteX541" fmla="*/ 2370065 w 2663946"/>
                <a:gd name="connsiteY541" fmla="*/ 54906 h 348332"/>
                <a:gd name="connsiteX542" fmla="*/ 2372229 w 2663946"/>
                <a:gd name="connsiteY542" fmla="*/ 61124 h 348332"/>
                <a:gd name="connsiteX543" fmla="*/ 2372229 w 2663946"/>
                <a:gd name="connsiteY543" fmla="*/ 61665 h 348332"/>
                <a:gd name="connsiteX544" fmla="*/ 2372229 w 2663946"/>
                <a:gd name="connsiteY544" fmla="*/ 114660 h 348332"/>
                <a:gd name="connsiteX545" fmla="*/ 2372769 w 2663946"/>
                <a:gd name="connsiteY545" fmla="*/ 115200 h 348332"/>
                <a:gd name="connsiteX546" fmla="*/ 2380069 w 2663946"/>
                <a:gd name="connsiteY546" fmla="*/ 115200 h 348332"/>
                <a:gd name="connsiteX547" fmla="*/ 2384125 w 2663946"/>
                <a:gd name="connsiteY547" fmla="*/ 116282 h 348332"/>
                <a:gd name="connsiteX548" fmla="*/ 2387910 w 2663946"/>
                <a:gd name="connsiteY548" fmla="*/ 123041 h 348332"/>
                <a:gd name="connsiteX549" fmla="*/ 2385207 w 2663946"/>
                <a:gd name="connsiteY549" fmla="*/ 128719 h 348332"/>
                <a:gd name="connsiteX550" fmla="*/ 2381151 w 2663946"/>
                <a:gd name="connsiteY550" fmla="*/ 130612 h 348332"/>
                <a:gd name="connsiteX551" fmla="*/ 2380881 w 2663946"/>
                <a:gd name="connsiteY551" fmla="*/ 130612 h 348332"/>
                <a:gd name="connsiteX552" fmla="*/ 2380610 w 2663946"/>
                <a:gd name="connsiteY552" fmla="*/ 130612 h 348332"/>
                <a:gd name="connsiteX553" fmla="*/ 2380069 w 2663946"/>
                <a:gd name="connsiteY553" fmla="*/ 130612 h 348332"/>
                <a:gd name="connsiteX554" fmla="*/ 2347894 w 2663946"/>
                <a:gd name="connsiteY554" fmla="*/ 130612 h 348332"/>
                <a:gd name="connsiteX555" fmla="*/ 2347354 w 2663946"/>
                <a:gd name="connsiteY555" fmla="*/ 130612 h 348332"/>
                <a:gd name="connsiteX556" fmla="*/ 2346542 w 2663946"/>
                <a:gd name="connsiteY556" fmla="*/ 130612 h 348332"/>
                <a:gd name="connsiteX557" fmla="*/ 2345731 w 2663946"/>
                <a:gd name="connsiteY557" fmla="*/ 130342 h 348332"/>
                <a:gd name="connsiteX558" fmla="*/ 2342216 w 2663946"/>
                <a:gd name="connsiteY558" fmla="*/ 128449 h 348332"/>
                <a:gd name="connsiteX559" fmla="*/ 2339783 w 2663946"/>
                <a:gd name="connsiteY559" fmla="*/ 122771 h 348332"/>
                <a:gd name="connsiteX560" fmla="*/ 2341946 w 2663946"/>
                <a:gd name="connsiteY560" fmla="*/ 117634 h 348332"/>
                <a:gd name="connsiteX561" fmla="*/ 2347624 w 2663946"/>
                <a:gd name="connsiteY561" fmla="*/ 115200 h 348332"/>
                <a:gd name="connsiteX562" fmla="*/ 2355465 w 2663946"/>
                <a:gd name="connsiteY562" fmla="*/ 115200 h 348332"/>
                <a:gd name="connsiteX563" fmla="*/ 2356006 w 2663946"/>
                <a:gd name="connsiteY563" fmla="*/ 114660 h 348332"/>
                <a:gd name="connsiteX564" fmla="*/ 2356006 w 2663946"/>
                <a:gd name="connsiteY564" fmla="*/ 68695 h 348332"/>
                <a:gd name="connsiteX565" fmla="*/ 2355465 w 2663946"/>
                <a:gd name="connsiteY565" fmla="*/ 68154 h 348332"/>
                <a:gd name="connsiteX566" fmla="*/ 2349517 w 2663946"/>
                <a:gd name="connsiteY566" fmla="*/ 68154 h 348332"/>
                <a:gd name="connsiteX567" fmla="*/ 2342216 w 2663946"/>
                <a:gd name="connsiteY567" fmla="*/ 63558 h 348332"/>
                <a:gd name="connsiteX568" fmla="*/ 2341946 w 2663946"/>
                <a:gd name="connsiteY568" fmla="*/ 57880 h 348332"/>
                <a:gd name="connsiteX569" fmla="*/ 2349246 w 2663946"/>
                <a:gd name="connsiteY569" fmla="*/ 52743 h 348332"/>
                <a:gd name="connsiteX570" fmla="*/ 2361413 w 2663946"/>
                <a:gd name="connsiteY570" fmla="*/ 52472 h 348332"/>
                <a:gd name="connsiteX571" fmla="*/ 2285396 w 2663946"/>
                <a:gd name="connsiteY571" fmla="*/ 52472 h 348332"/>
                <a:gd name="connsiteX572" fmla="*/ 2289452 w 2663946"/>
                <a:gd name="connsiteY572" fmla="*/ 52472 h 348332"/>
                <a:gd name="connsiteX573" fmla="*/ 2294048 w 2663946"/>
                <a:gd name="connsiteY573" fmla="*/ 54906 h 348332"/>
                <a:gd name="connsiteX574" fmla="*/ 2296212 w 2663946"/>
                <a:gd name="connsiteY574" fmla="*/ 61124 h 348332"/>
                <a:gd name="connsiteX575" fmla="*/ 2296212 w 2663946"/>
                <a:gd name="connsiteY575" fmla="*/ 61665 h 348332"/>
                <a:gd name="connsiteX576" fmla="*/ 2296212 w 2663946"/>
                <a:gd name="connsiteY576" fmla="*/ 114660 h 348332"/>
                <a:gd name="connsiteX577" fmla="*/ 2296752 w 2663946"/>
                <a:gd name="connsiteY577" fmla="*/ 115200 h 348332"/>
                <a:gd name="connsiteX578" fmla="*/ 2304052 w 2663946"/>
                <a:gd name="connsiteY578" fmla="*/ 115200 h 348332"/>
                <a:gd name="connsiteX579" fmla="*/ 2308108 w 2663946"/>
                <a:gd name="connsiteY579" fmla="*/ 116282 h 348332"/>
                <a:gd name="connsiteX580" fmla="*/ 2311893 w 2663946"/>
                <a:gd name="connsiteY580" fmla="*/ 123041 h 348332"/>
                <a:gd name="connsiteX581" fmla="*/ 2309190 w 2663946"/>
                <a:gd name="connsiteY581" fmla="*/ 128719 h 348332"/>
                <a:gd name="connsiteX582" fmla="*/ 2305134 w 2663946"/>
                <a:gd name="connsiteY582" fmla="*/ 130612 h 348332"/>
                <a:gd name="connsiteX583" fmla="*/ 2304864 w 2663946"/>
                <a:gd name="connsiteY583" fmla="*/ 130612 h 348332"/>
                <a:gd name="connsiteX584" fmla="*/ 2304593 w 2663946"/>
                <a:gd name="connsiteY584" fmla="*/ 130612 h 348332"/>
                <a:gd name="connsiteX585" fmla="*/ 2304052 w 2663946"/>
                <a:gd name="connsiteY585" fmla="*/ 130612 h 348332"/>
                <a:gd name="connsiteX586" fmla="*/ 2271877 w 2663946"/>
                <a:gd name="connsiteY586" fmla="*/ 130612 h 348332"/>
                <a:gd name="connsiteX587" fmla="*/ 2271337 w 2663946"/>
                <a:gd name="connsiteY587" fmla="*/ 130612 h 348332"/>
                <a:gd name="connsiteX588" fmla="*/ 2270525 w 2663946"/>
                <a:gd name="connsiteY588" fmla="*/ 130612 h 348332"/>
                <a:gd name="connsiteX589" fmla="*/ 2269714 w 2663946"/>
                <a:gd name="connsiteY589" fmla="*/ 130342 h 348332"/>
                <a:gd name="connsiteX590" fmla="*/ 2266199 w 2663946"/>
                <a:gd name="connsiteY590" fmla="*/ 128449 h 348332"/>
                <a:gd name="connsiteX591" fmla="*/ 2263766 w 2663946"/>
                <a:gd name="connsiteY591" fmla="*/ 122771 h 348332"/>
                <a:gd name="connsiteX592" fmla="*/ 2265929 w 2663946"/>
                <a:gd name="connsiteY592" fmla="*/ 117634 h 348332"/>
                <a:gd name="connsiteX593" fmla="*/ 2271607 w 2663946"/>
                <a:gd name="connsiteY593" fmla="*/ 115200 h 348332"/>
                <a:gd name="connsiteX594" fmla="*/ 2279448 w 2663946"/>
                <a:gd name="connsiteY594" fmla="*/ 115200 h 348332"/>
                <a:gd name="connsiteX595" fmla="*/ 2279989 w 2663946"/>
                <a:gd name="connsiteY595" fmla="*/ 114660 h 348332"/>
                <a:gd name="connsiteX596" fmla="*/ 2279989 w 2663946"/>
                <a:gd name="connsiteY596" fmla="*/ 68695 h 348332"/>
                <a:gd name="connsiteX597" fmla="*/ 2279448 w 2663946"/>
                <a:gd name="connsiteY597" fmla="*/ 68154 h 348332"/>
                <a:gd name="connsiteX598" fmla="*/ 2273500 w 2663946"/>
                <a:gd name="connsiteY598" fmla="*/ 68154 h 348332"/>
                <a:gd name="connsiteX599" fmla="*/ 2266199 w 2663946"/>
                <a:gd name="connsiteY599" fmla="*/ 63558 h 348332"/>
                <a:gd name="connsiteX600" fmla="*/ 2265929 w 2663946"/>
                <a:gd name="connsiteY600" fmla="*/ 57880 h 348332"/>
                <a:gd name="connsiteX601" fmla="*/ 2273229 w 2663946"/>
                <a:gd name="connsiteY601" fmla="*/ 52743 h 348332"/>
                <a:gd name="connsiteX602" fmla="*/ 2285396 w 2663946"/>
                <a:gd name="connsiteY602" fmla="*/ 52472 h 348332"/>
                <a:gd name="connsiteX603" fmla="*/ 1936416 w 2663946"/>
                <a:gd name="connsiteY603" fmla="*/ 52472 h 348332"/>
                <a:gd name="connsiteX604" fmla="*/ 1940472 w 2663946"/>
                <a:gd name="connsiteY604" fmla="*/ 52472 h 348332"/>
                <a:gd name="connsiteX605" fmla="*/ 1945068 w 2663946"/>
                <a:gd name="connsiteY605" fmla="*/ 54906 h 348332"/>
                <a:gd name="connsiteX606" fmla="*/ 1947232 w 2663946"/>
                <a:gd name="connsiteY606" fmla="*/ 61124 h 348332"/>
                <a:gd name="connsiteX607" fmla="*/ 1947232 w 2663946"/>
                <a:gd name="connsiteY607" fmla="*/ 61665 h 348332"/>
                <a:gd name="connsiteX608" fmla="*/ 1947232 w 2663946"/>
                <a:gd name="connsiteY608" fmla="*/ 114660 h 348332"/>
                <a:gd name="connsiteX609" fmla="*/ 1947772 w 2663946"/>
                <a:gd name="connsiteY609" fmla="*/ 115200 h 348332"/>
                <a:gd name="connsiteX610" fmla="*/ 1955072 w 2663946"/>
                <a:gd name="connsiteY610" fmla="*/ 115200 h 348332"/>
                <a:gd name="connsiteX611" fmla="*/ 1959128 w 2663946"/>
                <a:gd name="connsiteY611" fmla="*/ 116282 h 348332"/>
                <a:gd name="connsiteX612" fmla="*/ 1962913 w 2663946"/>
                <a:gd name="connsiteY612" fmla="*/ 123041 h 348332"/>
                <a:gd name="connsiteX613" fmla="*/ 1960210 w 2663946"/>
                <a:gd name="connsiteY613" fmla="*/ 128719 h 348332"/>
                <a:gd name="connsiteX614" fmla="*/ 1956154 w 2663946"/>
                <a:gd name="connsiteY614" fmla="*/ 130612 h 348332"/>
                <a:gd name="connsiteX615" fmla="*/ 1955884 w 2663946"/>
                <a:gd name="connsiteY615" fmla="*/ 130612 h 348332"/>
                <a:gd name="connsiteX616" fmla="*/ 1955613 w 2663946"/>
                <a:gd name="connsiteY616" fmla="*/ 130612 h 348332"/>
                <a:gd name="connsiteX617" fmla="*/ 1955072 w 2663946"/>
                <a:gd name="connsiteY617" fmla="*/ 130612 h 348332"/>
                <a:gd name="connsiteX618" fmla="*/ 1922897 w 2663946"/>
                <a:gd name="connsiteY618" fmla="*/ 130612 h 348332"/>
                <a:gd name="connsiteX619" fmla="*/ 1922357 w 2663946"/>
                <a:gd name="connsiteY619" fmla="*/ 130612 h 348332"/>
                <a:gd name="connsiteX620" fmla="*/ 1921545 w 2663946"/>
                <a:gd name="connsiteY620" fmla="*/ 130612 h 348332"/>
                <a:gd name="connsiteX621" fmla="*/ 1920734 w 2663946"/>
                <a:gd name="connsiteY621" fmla="*/ 130342 h 348332"/>
                <a:gd name="connsiteX622" fmla="*/ 1917219 w 2663946"/>
                <a:gd name="connsiteY622" fmla="*/ 128449 h 348332"/>
                <a:gd name="connsiteX623" fmla="*/ 1914786 w 2663946"/>
                <a:gd name="connsiteY623" fmla="*/ 122771 h 348332"/>
                <a:gd name="connsiteX624" fmla="*/ 1916949 w 2663946"/>
                <a:gd name="connsiteY624" fmla="*/ 117634 h 348332"/>
                <a:gd name="connsiteX625" fmla="*/ 1922627 w 2663946"/>
                <a:gd name="connsiteY625" fmla="*/ 115200 h 348332"/>
                <a:gd name="connsiteX626" fmla="*/ 1930468 w 2663946"/>
                <a:gd name="connsiteY626" fmla="*/ 115200 h 348332"/>
                <a:gd name="connsiteX627" fmla="*/ 1931009 w 2663946"/>
                <a:gd name="connsiteY627" fmla="*/ 114660 h 348332"/>
                <a:gd name="connsiteX628" fmla="*/ 1931009 w 2663946"/>
                <a:gd name="connsiteY628" fmla="*/ 68695 h 348332"/>
                <a:gd name="connsiteX629" fmla="*/ 1930468 w 2663946"/>
                <a:gd name="connsiteY629" fmla="*/ 68154 h 348332"/>
                <a:gd name="connsiteX630" fmla="*/ 1924520 w 2663946"/>
                <a:gd name="connsiteY630" fmla="*/ 68154 h 348332"/>
                <a:gd name="connsiteX631" fmla="*/ 1917219 w 2663946"/>
                <a:gd name="connsiteY631" fmla="*/ 63558 h 348332"/>
                <a:gd name="connsiteX632" fmla="*/ 1916949 w 2663946"/>
                <a:gd name="connsiteY632" fmla="*/ 57880 h 348332"/>
                <a:gd name="connsiteX633" fmla="*/ 1924249 w 2663946"/>
                <a:gd name="connsiteY633" fmla="*/ 52743 h 348332"/>
                <a:gd name="connsiteX634" fmla="*/ 1936416 w 2663946"/>
                <a:gd name="connsiteY634" fmla="*/ 52472 h 348332"/>
                <a:gd name="connsiteX635" fmla="*/ 1678521 w 2663946"/>
                <a:gd name="connsiteY635" fmla="*/ 52472 h 348332"/>
                <a:gd name="connsiteX636" fmla="*/ 1682577 w 2663946"/>
                <a:gd name="connsiteY636" fmla="*/ 52472 h 348332"/>
                <a:gd name="connsiteX637" fmla="*/ 1687173 w 2663946"/>
                <a:gd name="connsiteY637" fmla="*/ 54906 h 348332"/>
                <a:gd name="connsiteX638" fmla="*/ 1689336 w 2663946"/>
                <a:gd name="connsiteY638" fmla="*/ 61124 h 348332"/>
                <a:gd name="connsiteX639" fmla="*/ 1689336 w 2663946"/>
                <a:gd name="connsiteY639" fmla="*/ 61665 h 348332"/>
                <a:gd name="connsiteX640" fmla="*/ 1689336 w 2663946"/>
                <a:gd name="connsiteY640" fmla="*/ 114660 h 348332"/>
                <a:gd name="connsiteX641" fmla="*/ 1689877 w 2663946"/>
                <a:gd name="connsiteY641" fmla="*/ 115200 h 348332"/>
                <a:gd name="connsiteX642" fmla="*/ 1697177 w 2663946"/>
                <a:gd name="connsiteY642" fmla="*/ 115200 h 348332"/>
                <a:gd name="connsiteX643" fmla="*/ 1701233 w 2663946"/>
                <a:gd name="connsiteY643" fmla="*/ 116282 h 348332"/>
                <a:gd name="connsiteX644" fmla="*/ 1705018 w 2663946"/>
                <a:gd name="connsiteY644" fmla="*/ 123041 h 348332"/>
                <a:gd name="connsiteX645" fmla="*/ 1702315 w 2663946"/>
                <a:gd name="connsiteY645" fmla="*/ 128719 h 348332"/>
                <a:gd name="connsiteX646" fmla="*/ 1698259 w 2663946"/>
                <a:gd name="connsiteY646" fmla="*/ 130612 h 348332"/>
                <a:gd name="connsiteX647" fmla="*/ 1697989 w 2663946"/>
                <a:gd name="connsiteY647" fmla="*/ 130612 h 348332"/>
                <a:gd name="connsiteX648" fmla="*/ 1697718 w 2663946"/>
                <a:gd name="connsiteY648" fmla="*/ 130612 h 348332"/>
                <a:gd name="connsiteX649" fmla="*/ 1697177 w 2663946"/>
                <a:gd name="connsiteY649" fmla="*/ 130612 h 348332"/>
                <a:gd name="connsiteX650" fmla="*/ 1665002 w 2663946"/>
                <a:gd name="connsiteY650" fmla="*/ 130612 h 348332"/>
                <a:gd name="connsiteX651" fmla="*/ 1664462 w 2663946"/>
                <a:gd name="connsiteY651" fmla="*/ 130612 h 348332"/>
                <a:gd name="connsiteX652" fmla="*/ 1663650 w 2663946"/>
                <a:gd name="connsiteY652" fmla="*/ 130612 h 348332"/>
                <a:gd name="connsiteX653" fmla="*/ 1662839 w 2663946"/>
                <a:gd name="connsiteY653" fmla="*/ 130342 h 348332"/>
                <a:gd name="connsiteX654" fmla="*/ 1659324 w 2663946"/>
                <a:gd name="connsiteY654" fmla="*/ 128449 h 348332"/>
                <a:gd name="connsiteX655" fmla="*/ 1656891 w 2663946"/>
                <a:gd name="connsiteY655" fmla="*/ 122771 h 348332"/>
                <a:gd name="connsiteX656" fmla="*/ 1659054 w 2663946"/>
                <a:gd name="connsiteY656" fmla="*/ 117634 h 348332"/>
                <a:gd name="connsiteX657" fmla="*/ 1664732 w 2663946"/>
                <a:gd name="connsiteY657" fmla="*/ 115200 h 348332"/>
                <a:gd name="connsiteX658" fmla="*/ 1672573 w 2663946"/>
                <a:gd name="connsiteY658" fmla="*/ 115200 h 348332"/>
                <a:gd name="connsiteX659" fmla="*/ 1673114 w 2663946"/>
                <a:gd name="connsiteY659" fmla="*/ 114660 h 348332"/>
                <a:gd name="connsiteX660" fmla="*/ 1673114 w 2663946"/>
                <a:gd name="connsiteY660" fmla="*/ 68695 h 348332"/>
                <a:gd name="connsiteX661" fmla="*/ 1672573 w 2663946"/>
                <a:gd name="connsiteY661" fmla="*/ 68154 h 348332"/>
                <a:gd name="connsiteX662" fmla="*/ 1666625 w 2663946"/>
                <a:gd name="connsiteY662" fmla="*/ 68154 h 348332"/>
                <a:gd name="connsiteX663" fmla="*/ 1659324 w 2663946"/>
                <a:gd name="connsiteY663" fmla="*/ 63558 h 348332"/>
                <a:gd name="connsiteX664" fmla="*/ 1659054 w 2663946"/>
                <a:gd name="connsiteY664" fmla="*/ 57880 h 348332"/>
                <a:gd name="connsiteX665" fmla="*/ 1666354 w 2663946"/>
                <a:gd name="connsiteY665" fmla="*/ 52743 h 348332"/>
                <a:gd name="connsiteX666" fmla="*/ 1678521 w 2663946"/>
                <a:gd name="connsiteY666" fmla="*/ 52472 h 348332"/>
                <a:gd name="connsiteX667" fmla="*/ 1329614 w 2663946"/>
                <a:gd name="connsiteY667" fmla="*/ 52472 h 348332"/>
                <a:gd name="connsiteX668" fmla="*/ 1333670 w 2663946"/>
                <a:gd name="connsiteY668" fmla="*/ 52472 h 348332"/>
                <a:gd name="connsiteX669" fmla="*/ 1338266 w 2663946"/>
                <a:gd name="connsiteY669" fmla="*/ 54906 h 348332"/>
                <a:gd name="connsiteX670" fmla="*/ 1340429 w 2663946"/>
                <a:gd name="connsiteY670" fmla="*/ 61124 h 348332"/>
                <a:gd name="connsiteX671" fmla="*/ 1340429 w 2663946"/>
                <a:gd name="connsiteY671" fmla="*/ 61665 h 348332"/>
                <a:gd name="connsiteX672" fmla="*/ 1340429 w 2663946"/>
                <a:gd name="connsiteY672" fmla="*/ 114660 h 348332"/>
                <a:gd name="connsiteX673" fmla="*/ 1340970 w 2663946"/>
                <a:gd name="connsiteY673" fmla="*/ 115200 h 348332"/>
                <a:gd name="connsiteX674" fmla="*/ 1348270 w 2663946"/>
                <a:gd name="connsiteY674" fmla="*/ 115200 h 348332"/>
                <a:gd name="connsiteX675" fmla="*/ 1352326 w 2663946"/>
                <a:gd name="connsiteY675" fmla="*/ 116282 h 348332"/>
                <a:gd name="connsiteX676" fmla="*/ 1356111 w 2663946"/>
                <a:gd name="connsiteY676" fmla="*/ 123041 h 348332"/>
                <a:gd name="connsiteX677" fmla="*/ 1353408 w 2663946"/>
                <a:gd name="connsiteY677" fmla="*/ 128719 h 348332"/>
                <a:gd name="connsiteX678" fmla="*/ 1349352 w 2663946"/>
                <a:gd name="connsiteY678" fmla="*/ 130612 h 348332"/>
                <a:gd name="connsiteX679" fmla="*/ 1349082 w 2663946"/>
                <a:gd name="connsiteY679" fmla="*/ 130612 h 348332"/>
                <a:gd name="connsiteX680" fmla="*/ 1348811 w 2663946"/>
                <a:gd name="connsiteY680" fmla="*/ 130612 h 348332"/>
                <a:gd name="connsiteX681" fmla="*/ 1348270 w 2663946"/>
                <a:gd name="connsiteY681" fmla="*/ 130612 h 348332"/>
                <a:gd name="connsiteX682" fmla="*/ 1316095 w 2663946"/>
                <a:gd name="connsiteY682" fmla="*/ 130612 h 348332"/>
                <a:gd name="connsiteX683" fmla="*/ 1315555 w 2663946"/>
                <a:gd name="connsiteY683" fmla="*/ 130612 h 348332"/>
                <a:gd name="connsiteX684" fmla="*/ 1314743 w 2663946"/>
                <a:gd name="connsiteY684" fmla="*/ 130612 h 348332"/>
                <a:gd name="connsiteX685" fmla="*/ 1313932 w 2663946"/>
                <a:gd name="connsiteY685" fmla="*/ 130342 h 348332"/>
                <a:gd name="connsiteX686" fmla="*/ 1310417 w 2663946"/>
                <a:gd name="connsiteY686" fmla="*/ 128449 h 348332"/>
                <a:gd name="connsiteX687" fmla="*/ 1307984 w 2663946"/>
                <a:gd name="connsiteY687" fmla="*/ 122771 h 348332"/>
                <a:gd name="connsiteX688" fmla="*/ 1310147 w 2663946"/>
                <a:gd name="connsiteY688" fmla="*/ 117634 h 348332"/>
                <a:gd name="connsiteX689" fmla="*/ 1315825 w 2663946"/>
                <a:gd name="connsiteY689" fmla="*/ 115200 h 348332"/>
                <a:gd name="connsiteX690" fmla="*/ 1323666 w 2663946"/>
                <a:gd name="connsiteY690" fmla="*/ 115200 h 348332"/>
                <a:gd name="connsiteX691" fmla="*/ 1324207 w 2663946"/>
                <a:gd name="connsiteY691" fmla="*/ 114660 h 348332"/>
                <a:gd name="connsiteX692" fmla="*/ 1324207 w 2663946"/>
                <a:gd name="connsiteY692" fmla="*/ 68695 h 348332"/>
                <a:gd name="connsiteX693" fmla="*/ 1323666 w 2663946"/>
                <a:gd name="connsiteY693" fmla="*/ 68154 h 348332"/>
                <a:gd name="connsiteX694" fmla="*/ 1317718 w 2663946"/>
                <a:gd name="connsiteY694" fmla="*/ 68154 h 348332"/>
                <a:gd name="connsiteX695" fmla="*/ 1310417 w 2663946"/>
                <a:gd name="connsiteY695" fmla="*/ 63558 h 348332"/>
                <a:gd name="connsiteX696" fmla="*/ 1310147 w 2663946"/>
                <a:gd name="connsiteY696" fmla="*/ 57880 h 348332"/>
                <a:gd name="connsiteX697" fmla="*/ 1317447 w 2663946"/>
                <a:gd name="connsiteY697" fmla="*/ 52743 h 348332"/>
                <a:gd name="connsiteX698" fmla="*/ 1329614 w 2663946"/>
                <a:gd name="connsiteY698" fmla="*/ 52472 h 348332"/>
                <a:gd name="connsiteX699" fmla="*/ 980634 w 2663946"/>
                <a:gd name="connsiteY699" fmla="*/ 52472 h 348332"/>
                <a:gd name="connsiteX700" fmla="*/ 984690 w 2663946"/>
                <a:gd name="connsiteY700" fmla="*/ 52472 h 348332"/>
                <a:gd name="connsiteX701" fmla="*/ 989286 w 2663946"/>
                <a:gd name="connsiteY701" fmla="*/ 54906 h 348332"/>
                <a:gd name="connsiteX702" fmla="*/ 991449 w 2663946"/>
                <a:gd name="connsiteY702" fmla="*/ 61124 h 348332"/>
                <a:gd name="connsiteX703" fmla="*/ 991449 w 2663946"/>
                <a:gd name="connsiteY703" fmla="*/ 61665 h 348332"/>
                <a:gd name="connsiteX704" fmla="*/ 991449 w 2663946"/>
                <a:gd name="connsiteY704" fmla="*/ 114660 h 348332"/>
                <a:gd name="connsiteX705" fmla="*/ 991990 w 2663946"/>
                <a:gd name="connsiteY705" fmla="*/ 115200 h 348332"/>
                <a:gd name="connsiteX706" fmla="*/ 999290 w 2663946"/>
                <a:gd name="connsiteY706" fmla="*/ 115200 h 348332"/>
                <a:gd name="connsiteX707" fmla="*/ 1003346 w 2663946"/>
                <a:gd name="connsiteY707" fmla="*/ 116282 h 348332"/>
                <a:gd name="connsiteX708" fmla="*/ 1007131 w 2663946"/>
                <a:gd name="connsiteY708" fmla="*/ 123041 h 348332"/>
                <a:gd name="connsiteX709" fmla="*/ 1004428 w 2663946"/>
                <a:gd name="connsiteY709" fmla="*/ 128719 h 348332"/>
                <a:gd name="connsiteX710" fmla="*/ 1000372 w 2663946"/>
                <a:gd name="connsiteY710" fmla="*/ 130612 h 348332"/>
                <a:gd name="connsiteX711" fmla="*/ 1000102 w 2663946"/>
                <a:gd name="connsiteY711" fmla="*/ 130612 h 348332"/>
                <a:gd name="connsiteX712" fmla="*/ 999831 w 2663946"/>
                <a:gd name="connsiteY712" fmla="*/ 130612 h 348332"/>
                <a:gd name="connsiteX713" fmla="*/ 999290 w 2663946"/>
                <a:gd name="connsiteY713" fmla="*/ 130612 h 348332"/>
                <a:gd name="connsiteX714" fmla="*/ 967115 w 2663946"/>
                <a:gd name="connsiteY714" fmla="*/ 130612 h 348332"/>
                <a:gd name="connsiteX715" fmla="*/ 966575 w 2663946"/>
                <a:gd name="connsiteY715" fmla="*/ 130612 h 348332"/>
                <a:gd name="connsiteX716" fmla="*/ 965763 w 2663946"/>
                <a:gd name="connsiteY716" fmla="*/ 130612 h 348332"/>
                <a:gd name="connsiteX717" fmla="*/ 964952 w 2663946"/>
                <a:gd name="connsiteY717" fmla="*/ 130342 h 348332"/>
                <a:gd name="connsiteX718" fmla="*/ 961437 w 2663946"/>
                <a:gd name="connsiteY718" fmla="*/ 128449 h 348332"/>
                <a:gd name="connsiteX719" fmla="*/ 959004 w 2663946"/>
                <a:gd name="connsiteY719" fmla="*/ 122771 h 348332"/>
                <a:gd name="connsiteX720" fmla="*/ 961167 w 2663946"/>
                <a:gd name="connsiteY720" fmla="*/ 117634 h 348332"/>
                <a:gd name="connsiteX721" fmla="*/ 966845 w 2663946"/>
                <a:gd name="connsiteY721" fmla="*/ 115200 h 348332"/>
                <a:gd name="connsiteX722" fmla="*/ 974686 w 2663946"/>
                <a:gd name="connsiteY722" fmla="*/ 115200 h 348332"/>
                <a:gd name="connsiteX723" fmla="*/ 975227 w 2663946"/>
                <a:gd name="connsiteY723" fmla="*/ 114660 h 348332"/>
                <a:gd name="connsiteX724" fmla="*/ 975227 w 2663946"/>
                <a:gd name="connsiteY724" fmla="*/ 68695 h 348332"/>
                <a:gd name="connsiteX725" fmla="*/ 974686 w 2663946"/>
                <a:gd name="connsiteY725" fmla="*/ 68154 h 348332"/>
                <a:gd name="connsiteX726" fmla="*/ 968738 w 2663946"/>
                <a:gd name="connsiteY726" fmla="*/ 68154 h 348332"/>
                <a:gd name="connsiteX727" fmla="*/ 961437 w 2663946"/>
                <a:gd name="connsiteY727" fmla="*/ 63558 h 348332"/>
                <a:gd name="connsiteX728" fmla="*/ 961167 w 2663946"/>
                <a:gd name="connsiteY728" fmla="*/ 57880 h 348332"/>
                <a:gd name="connsiteX729" fmla="*/ 968467 w 2663946"/>
                <a:gd name="connsiteY729" fmla="*/ 52743 h 348332"/>
                <a:gd name="connsiteX730" fmla="*/ 980634 w 2663946"/>
                <a:gd name="connsiteY730" fmla="*/ 52472 h 348332"/>
                <a:gd name="connsiteX731" fmla="*/ 813605 w 2663946"/>
                <a:gd name="connsiteY731" fmla="*/ 52472 h 348332"/>
                <a:gd name="connsiteX732" fmla="*/ 817661 w 2663946"/>
                <a:gd name="connsiteY732" fmla="*/ 52472 h 348332"/>
                <a:gd name="connsiteX733" fmla="*/ 822257 w 2663946"/>
                <a:gd name="connsiteY733" fmla="*/ 54906 h 348332"/>
                <a:gd name="connsiteX734" fmla="*/ 824420 w 2663946"/>
                <a:gd name="connsiteY734" fmla="*/ 61124 h 348332"/>
                <a:gd name="connsiteX735" fmla="*/ 824420 w 2663946"/>
                <a:gd name="connsiteY735" fmla="*/ 61665 h 348332"/>
                <a:gd name="connsiteX736" fmla="*/ 824420 w 2663946"/>
                <a:gd name="connsiteY736" fmla="*/ 114660 h 348332"/>
                <a:gd name="connsiteX737" fmla="*/ 824961 w 2663946"/>
                <a:gd name="connsiteY737" fmla="*/ 115200 h 348332"/>
                <a:gd name="connsiteX738" fmla="*/ 832261 w 2663946"/>
                <a:gd name="connsiteY738" fmla="*/ 115200 h 348332"/>
                <a:gd name="connsiteX739" fmla="*/ 836317 w 2663946"/>
                <a:gd name="connsiteY739" fmla="*/ 116282 h 348332"/>
                <a:gd name="connsiteX740" fmla="*/ 840102 w 2663946"/>
                <a:gd name="connsiteY740" fmla="*/ 123041 h 348332"/>
                <a:gd name="connsiteX741" fmla="*/ 837399 w 2663946"/>
                <a:gd name="connsiteY741" fmla="*/ 128719 h 348332"/>
                <a:gd name="connsiteX742" fmla="*/ 833343 w 2663946"/>
                <a:gd name="connsiteY742" fmla="*/ 130612 h 348332"/>
                <a:gd name="connsiteX743" fmla="*/ 833073 w 2663946"/>
                <a:gd name="connsiteY743" fmla="*/ 130612 h 348332"/>
                <a:gd name="connsiteX744" fmla="*/ 832802 w 2663946"/>
                <a:gd name="connsiteY744" fmla="*/ 130612 h 348332"/>
                <a:gd name="connsiteX745" fmla="*/ 832261 w 2663946"/>
                <a:gd name="connsiteY745" fmla="*/ 130612 h 348332"/>
                <a:gd name="connsiteX746" fmla="*/ 800086 w 2663946"/>
                <a:gd name="connsiteY746" fmla="*/ 130612 h 348332"/>
                <a:gd name="connsiteX747" fmla="*/ 799546 w 2663946"/>
                <a:gd name="connsiteY747" fmla="*/ 130612 h 348332"/>
                <a:gd name="connsiteX748" fmla="*/ 798734 w 2663946"/>
                <a:gd name="connsiteY748" fmla="*/ 130612 h 348332"/>
                <a:gd name="connsiteX749" fmla="*/ 797923 w 2663946"/>
                <a:gd name="connsiteY749" fmla="*/ 130342 h 348332"/>
                <a:gd name="connsiteX750" fmla="*/ 794408 w 2663946"/>
                <a:gd name="connsiteY750" fmla="*/ 128449 h 348332"/>
                <a:gd name="connsiteX751" fmla="*/ 791975 w 2663946"/>
                <a:gd name="connsiteY751" fmla="*/ 122771 h 348332"/>
                <a:gd name="connsiteX752" fmla="*/ 794138 w 2663946"/>
                <a:gd name="connsiteY752" fmla="*/ 117634 h 348332"/>
                <a:gd name="connsiteX753" fmla="*/ 799816 w 2663946"/>
                <a:gd name="connsiteY753" fmla="*/ 115200 h 348332"/>
                <a:gd name="connsiteX754" fmla="*/ 807657 w 2663946"/>
                <a:gd name="connsiteY754" fmla="*/ 115200 h 348332"/>
                <a:gd name="connsiteX755" fmla="*/ 808198 w 2663946"/>
                <a:gd name="connsiteY755" fmla="*/ 114660 h 348332"/>
                <a:gd name="connsiteX756" fmla="*/ 808198 w 2663946"/>
                <a:gd name="connsiteY756" fmla="*/ 68695 h 348332"/>
                <a:gd name="connsiteX757" fmla="*/ 807657 w 2663946"/>
                <a:gd name="connsiteY757" fmla="*/ 68154 h 348332"/>
                <a:gd name="connsiteX758" fmla="*/ 801709 w 2663946"/>
                <a:gd name="connsiteY758" fmla="*/ 68154 h 348332"/>
                <a:gd name="connsiteX759" fmla="*/ 794408 w 2663946"/>
                <a:gd name="connsiteY759" fmla="*/ 63558 h 348332"/>
                <a:gd name="connsiteX760" fmla="*/ 794138 w 2663946"/>
                <a:gd name="connsiteY760" fmla="*/ 57880 h 348332"/>
                <a:gd name="connsiteX761" fmla="*/ 801438 w 2663946"/>
                <a:gd name="connsiteY761" fmla="*/ 52743 h 348332"/>
                <a:gd name="connsiteX762" fmla="*/ 813605 w 2663946"/>
                <a:gd name="connsiteY762" fmla="*/ 52472 h 348332"/>
                <a:gd name="connsiteX763" fmla="*/ 282748 w 2663946"/>
                <a:gd name="connsiteY763" fmla="*/ 52472 h 348332"/>
                <a:gd name="connsiteX764" fmla="*/ 286803 w 2663946"/>
                <a:gd name="connsiteY764" fmla="*/ 52472 h 348332"/>
                <a:gd name="connsiteX765" fmla="*/ 291400 w 2663946"/>
                <a:gd name="connsiteY765" fmla="*/ 54906 h 348332"/>
                <a:gd name="connsiteX766" fmla="*/ 293563 w 2663946"/>
                <a:gd name="connsiteY766" fmla="*/ 61124 h 348332"/>
                <a:gd name="connsiteX767" fmla="*/ 293563 w 2663946"/>
                <a:gd name="connsiteY767" fmla="*/ 61665 h 348332"/>
                <a:gd name="connsiteX768" fmla="*/ 293563 w 2663946"/>
                <a:gd name="connsiteY768" fmla="*/ 114660 h 348332"/>
                <a:gd name="connsiteX769" fmla="*/ 294104 w 2663946"/>
                <a:gd name="connsiteY769" fmla="*/ 115200 h 348332"/>
                <a:gd name="connsiteX770" fmla="*/ 301404 w 2663946"/>
                <a:gd name="connsiteY770" fmla="*/ 115200 h 348332"/>
                <a:gd name="connsiteX771" fmla="*/ 305460 w 2663946"/>
                <a:gd name="connsiteY771" fmla="*/ 116282 h 348332"/>
                <a:gd name="connsiteX772" fmla="*/ 309245 w 2663946"/>
                <a:gd name="connsiteY772" fmla="*/ 123041 h 348332"/>
                <a:gd name="connsiteX773" fmla="*/ 306541 w 2663946"/>
                <a:gd name="connsiteY773" fmla="*/ 128719 h 348332"/>
                <a:gd name="connsiteX774" fmla="*/ 302485 w 2663946"/>
                <a:gd name="connsiteY774" fmla="*/ 130612 h 348332"/>
                <a:gd name="connsiteX775" fmla="*/ 302215 w 2663946"/>
                <a:gd name="connsiteY775" fmla="*/ 130612 h 348332"/>
                <a:gd name="connsiteX776" fmla="*/ 301945 w 2663946"/>
                <a:gd name="connsiteY776" fmla="*/ 130612 h 348332"/>
                <a:gd name="connsiteX777" fmla="*/ 301404 w 2663946"/>
                <a:gd name="connsiteY777" fmla="*/ 130612 h 348332"/>
                <a:gd name="connsiteX778" fmla="*/ 269229 w 2663946"/>
                <a:gd name="connsiteY778" fmla="*/ 130612 h 348332"/>
                <a:gd name="connsiteX779" fmla="*/ 268688 w 2663946"/>
                <a:gd name="connsiteY779" fmla="*/ 130612 h 348332"/>
                <a:gd name="connsiteX780" fmla="*/ 267877 w 2663946"/>
                <a:gd name="connsiteY780" fmla="*/ 130612 h 348332"/>
                <a:gd name="connsiteX781" fmla="*/ 267066 w 2663946"/>
                <a:gd name="connsiteY781" fmla="*/ 130342 h 348332"/>
                <a:gd name="connsiteX782" fmla="*/ 263551 w 2663946"/>
                <a:gd name="connsiteY782" fmla="*/ 128449 h 348332"/>
                <a:gd name="connsiteX783" fmla="*/ 261117 w 2663946"/>
                <a:gd name="connsiteY783" fmla="*/ 122771 h 348332"/>
                <a:gd name="connsiteX784" fmla="*/ 263281 w 2663946"/>
                <a:gd name="connsiteY784" fmla="*/ 117634 h 348332"/>
                <a:gd name="connsiteX785" fmla="*/ 268958 w 2663946"/>
                <a:gd name="connsiteY785" fmla="*/ 115200 h 348332"/>
                <a:gd name="connsiteX786" fmla="*/ 276800 w 2663946"/>
                <a:gd name="connsiteY786" fmla="*/ 115200 h 348332"/>
                <a:gd name="connsiteX787" fmla="*/ 277340 w 2663946"/>
                <a:gd name="connsiteY787" fmla="*/ 114660 h 348332"/>
                <a:gd name="connsiteX788" fmla="*/ 277340 w 2663946"/>
                <a:gd name="connsiteY788" fmla="*/ 68695 h 348332"/>
                <a:gd name="connsiteX789" fmla="*/ 276800 w 2663946"/>
                <a:gd name="connsiteY789" fmla="*/ 68154 h 348332"/>
                <a:gd name="connsiteX790" fmla="*/ 270851 w 2663946"/>
                <a:gd name="connsiteY790" fmla="*/ 68154 h 348332"/>
                <a:gd name="connsiteX791" fmla="*/ 263551 w 2663946"/>
                <a:gd name="connsiteY791" fmla="*/ 63558 h 348332"/>
                <a:gd name="connsiteX792" fmla="*/ 263281 w 2663946"/>
                <a:gd name="connsiteY792" fmla="*/ 57880 h 348332"/>
                <a:gd name="connsiteX793" fmla="*/ 270581 w 2663946"/>
                <a:gd name="connsiteY793" fmla="*/ 52743 h 348332"/>
                <a:gd name="connsiteX794" fmla="*/ 282748 w 2663946"/>
                <a:gd name="connsiteY794" fmla="*/ 52472 h 348332"/>
                <a:gd name="connsiteX795" fmla="*/ 206731 w 2663946"/>
                <a:gd name="connsiteY795" fmla="*/ 52472 h 348332"/>
                <a:gd name="connsiteX796" fmla="*/ 210787 w 2663946"/>
                <a:gd name="connsiteY796" fmla="*/ 52472 h 348332"/>
                <a:gd name="connsiteX797" fmla="*/ 215383 w 2663946"/>
                <a:gd name="connsiteY797" fmla="*/ 54906 h 348332"/>
                <a:gd name="connsiteX798" fmla="*/ 217546 w 2663946"/>
                <a:gd name="connsiteY798" fmla="*/ 61124 h 348332"/>
                <a:gd name="connsiteX799" fmla="*/ 217546 w 2663946"/>
                <a:gd name="connsiteY799" fmla="*/ 61665 h 348332"/>
                <a:gd name="connsiteX800" fmla="*/ 217546 w 2663946"/>
                <a:gd name="connsiteY800" fmla="*/ 114660 h 348332"/>
                <a:gd name="connsiteX801" fmla="*/ 218087 w 2663946"/>
                <a:gd name="connsiteY801" fmla="*/ 115200 h 348332"/>
                <a:gd name="connsiteX802" fmla="*/ 225387 w 2663946"/>
                <a:gd name="connsiteY802" fmla="*/ 115200 h 348332"/>
                <a:gd name="connsiteX803" fmla="*/ 229443 w 2663946"/>
                <a:gd name="connsiteY803" fmla="*/ 116282 h 348332"/>
                <a:gd name="connsiteX804" fmla="*/ 233228 w 2663946"/>
                <a:gd name="connsiteY804" fmla="*/ 123041 h 348332"/>
                <a:gd name="connsiteX805" fmla="*/ 230524 w 2663946"/>
                <a:gd name="connsiteY805" fmla="*/ 128719 h 348332"/>
                <a:gd name="connsiteX806" fmla="*/ 226468 w 2663946"/>
                <a:gd name="connsiteY806" fmla="*/ 130612 h 348332"/>
                <a:gd name="connsiteX807" fmla="*/ 226198 w 2663946"/>
                <a:gd name="connsiteY807" fmla="*/ 130612 h 348332"/>
                <a:gd name="connsiteX808" fmla="*/ 225928 w 2663946"/>
                <a:gd name="connsiteY808" fmla="*/ 130612 h 348332"/>
                <a:gd name="connsiteX809" fmla="*/ 225387 w 2663946"/>
                <a:gd name="connsiteY809" fmla="*/ 130612 h 348332"/>
                <a:gd name="connsiteX810" fmla="*/ 193212 w 2663946"/>
                <a:gd name="connsiteY810" fmla="*/ 130612 h 348332"/>
                <a:gd name="connsiteX811" fmla="*/ 192671 w 2663946"/>
                <a:gd name="connsiteY811" fmla="*/ 130612 h 348332"/>
                <a:gd name="connsiteX812" fmla="*/ 191860 w 2663946"/>
                <a:gd name="connsiteY812" fmla="*/ 130612 h 348332"/>
                <a:gd name="connsiteX813" fmla="*/ 191049 w 2663946"/>
                <a:gd name="connsiteY813" fmla="*/ 130342 h 348332"/>
                <a:gd name="connsiteX814" fmla="*/ 187534 w 2663946"/>
                <a:gd name="connsiteY814" fmla="*/ 128449 h 348332"/>
                <a:gd name="connsiteX815" fmla="*/ 185101 w 2663946"/>
                <a:gd name="connsiteY815" fmla="*/ 122771 h 348332"/>
                <a:gd name="connsiteX816" fmla="*/ 187264 w 2663946"/>
                <a:gd name="connsiteY816" fmla="*/ 117634 h 348332"/>
                <a:gd name="connsiteX817" fmla="*/ 192942 w 2663946"/>
                <a:gd name="connsiteY817" fmla="*/ 115200 h 348332"/>
                <a:gd name="connsiteX818" fmla="*/ 200783 w 2663946"/>
                <a:gd name="connsiteY818" fmla="*/ 115200 h 348332"/>
                <a:gd name="connsiteX819" fmla="*/ 201323 w 2663946"/>
                <a:gd name="connsiteY819" fmla="*/ 114660 h 348332"/>
                <a:gd name="connsiteX820" fmla="*/ 201323 w 2663946"/>
                <a:gd name="connsiteY820" fmla="*/ 68695 h 348332"/>
                <a:gd name="connsiteX821" fmla="*/ 200783 w 2663946"/>
                <a:gd name="connsiteY821" fmla="*/ 68154 h 348332"/>
                <a:gd name="connsiteX822" fmla="*/ 194834 w 2663946"/>
                <a:gd name="connsiteY822" fmla="*/ 68154 h 348332"/>
                <a:gd name="connsiteX823" fmla="*/ 187534 w 2663946"/>
                <a:gd name="connsiteY823" fmla="*/ 63558 h 348332"/>
                <a:gd name="connsiteX824" fmla="*/ 187264 w 2663946"/>
                <a:gd name="connsiteY824" fmla="*/ 57880 h 348332"/>
                <a:gd name="connsiteX825" fmla="*/ 194564 w 2663946"/>
                <a:gd name="connsiteY825" fmla="*/ 52743 h 348332"/>
                <a:gd name="connsiteX826" fmla="*/ 206731 w 2663946"/>
                <a:gd name="connsiteY826" fmla="*/ 52472 h 348332"/>
                <a:gd name="connsiteX827" fmla="*/ 2627559 w 2663946"/>
                <a:gd name="connsiteY827" fmla="*/ 52403 h 348332"/>
                <a:gd name="connsiteX828" fmla="*/ 2639849 w 2663946"/>
                <a:gd name="connsiteY828" fmla="*/ 54566 h 348332"/>
                <a:gd name="connsiteX829" fmla="*/ 2647223 w 2663946"/>
                <a:gd name="connsiteY829" fmla="*/ 59163 h 348332"/>
                <a:gd name="connsiteX830" fmla="*/ 2650664 w 2663946"/>
                <a:gd name="connsiteY830" fmla="*/ 62407 h 348332"/>
                <a:gd name="connsiteX831" fmla="*/ 2654106 w 2663946"/>
                <a:gd name="connsiteY831" fmla="*/ 66733 h 348332"/>
                <a:gd name="connsiteX832" fmla="*/ 2656072 w 2663946"/>
                <a:gd name="connsiteY832" fmla="*/ 70248 h 348332"/>
                <a:gd name="connsiteX833" fmla="*/ 2658284 w 2663946"/>
                <a:gd name="connsiteY833" fmla="*/ 75656 h 348332"/>
                <a:gd name="connsiteX834" fmla="*/ 2659267 w 2663946"/>
                <a:gd name="connsiteY834" fmla="*/ 79171 h 348332"/>
                <a:gd name="connsiteX835" fmla="*/ 2660251 w 2663946"/>
                <a:gd name="connsiteY835" fmla="*/ 84308 h 348332"/>
                <a:gd name="connsiteX836" fmla="*/ 2660005 w 2663946"/>
                <a:gd name="connsiteY836" fmla="*/ 98638 h 348332"/>
                <a:gd name="connsiteX837" fmla="*/ 2659022 w 2663946"/>
                <a:gd name="connsiteY837" fmla="*/ 103505 h 348332"/>
                <a:gd name="connsiteX838" fmla="*/ 2657792 w 2663946"/>
                <a:gd name="connsiteY838" fmla="*/ 107290 h 348332"/>
                <a:gd name="connsiteX839" fmla="*/ 2656809 w 2663946"/>
                <a:gd name="connsiteY839" fmla="*/ 109724 h 348332"/>
                <a:gd name="connsiteX840" fmla="*/ 2654597 w 2663946"/>
                <a:gd name="connsiteY840" fmla="*/ 114050 h 348332"/>
                <a:gd name="connsiteX841" fmla="*/ 2652385 w 2663946"/>
                <a:gd name="connsiteY841" fmla="*/ 117294 h 348332"/>
                <a:gd name="connsiteX842" fmla="*/ 2648944 w 2663946"/>
                <a:gd name="connsiteY842" fmla="*/ 121080 h 348332"/>
                <a:gd name="connsiteX843" fmla="*/ 2645748 w 2663946"/>
                <a:gd name="connsiteY843" fmla="*/ 123783 h 348332"/>
                <a:gd name="connsiteX844" fmla="*/ 2640095 w 2663946"/>
                <a:gd name="connsiteY844" fmla="*/ 127028 h 348332"/>
                <a:gd name="connsiteX845" fmla="*/ 2632229 w 2663946"/>
                <a:gd name="connsiteY845" fmla="*/ 129191 h 348332"/>
                <a:gd name="connsiteX846" fmla="*/ 2631000 w 2663946"/>
                <a:gd name="connsiteY846" fmla="*/ 129462 h 348332"/>
                <a:gd name="connsiteX847" fmla="*/ 2626821 w 2663946"/>
                <a:gd name="connsiteY847" fmla="*/ 129462 h 348332"/>
                <a:gd name="connsiteX848" fmla="*/ 2626576 w 2663946"/>
                <a:gd name="connsiteY848" fmla="*/ 129462 h 348332"/>
                <a:gd name="connsiteX849" fmla="*/ 2613548 w 2663946"/>
                <a:gd name="connsiteY849" fmla="*/ 124595 h 348332"/>
                <a:gd name="connsiteX850" fmla="*/ 2608878 w 2663946"/>
                <a:gd name="connsiteY850" fmla="*/ 120539 h 348332"/>
                <a:gd name="connsiteX851" fmla="*/ 2605682 w 2663946"/>
                <a:gd name="connsiteY851" fmla="*/ 116754 h 348332"/>
                <a:gd name="connsiteX852" fmla="*/ 2603470 w 2663946"/>
                <a:gd name="connsiteY852" fmla="*/ 113239 h 348332"/>
                <a:gd name="connsiteX853" fmla="*/ 2601258 w 2663946"/>
                <a:gd name="connsiteY853" fmla="*/ 108913 h 348332"/>
                <a:gd name="connsiteX854" fmla="*/ 2600029 w 2663946"/>
                <a:gd name="connsiteY854" fmla="*/ 105938 h 348332"/>
                <a:gd name="connsiteX855" fmla="*/ 2599046 w 2663946"/>
                <a:gd name="connsiteY855" fmla="*/ 102694 h 348332"/>
                <a:gd name="connsiteX856" fmla="*/ 2597816 w 2663946"/>
                <a:gd name="connsiteY856" fmla="*/ 97016 h 348332"/>
                <a:gd name="connsiteX857" fmla="*/ 2597571 w 2663946"/>
                <a:gd name="connsiteY857" fmla="*/ 94042 h 348332"/>
                <a:gd name="connsiteX858" fmla="*/ 2597816 w 2663946"/>
                <a:gd name="connsiteY858" fmla="*/ 94312 h 348332"/>
                <a:gd name="connsiteX859" fmla="*/ 2597816 w 2663946"/>
                <a:gd name="connsiteY859" fmla="*/ 88634 h 348332"/>
                <a:gd name="connsiteX860" fmla="*/ 2597816 w 2663946"/>
                <a:gd name="connsiteY860" fmla="*/ 88364 h 348332"/>
                <a:gd name="connsiteX861" fmla="*/ 2598308 w 2663946"/>
                <a:gd name="connsiteY861" fmla="*/ 83767 h 348332"/>
                <a:gd name="connsiteX862" fmla="*/ 2599537 w 2663946"/>
                <a:gd name="connsiteY862" fmla="*/ 78360 h 348332"/>
                <a:gd name="connsiteX863" fmla="*/ 2600520 w 2663946"/>
                <a:gd name="connsiteY863" fmla="*/ 75115 h 348332"/>
                <a:gd name="connsiteX864" fmla="*/ 2602732 w 2663946"/>
                <a:gd name="connsiteY864" fmla="*/ 69978 h 348332"/>
                <a:gd name="connsiteX865" fmla="*/ 2604945 w 2663946"/>
                <a:gd name="connsiteY865" fmla="*/ 66193 h 348332"/>
                <a:gd name="connsiteX866" fmla="*/ 2607157 w 2663946"/>
                <a:gd name="connsiteY866" fmla="*/ 63218 h 348332"/>
                <a:gd name="connsiteX867" fmla="*/ 2609369 w 2663946"/>
                <a:gd name="connsiteY867" fmla="*/ 60785 h 348332"/>
                <a:gd name="connsiteX868" fmla="*/ 2614039 w 2663946"/>
                <a:gd name="connsiteY868" fmla="*/ 57000 h 348332"/>
                <a:gd name="connsiteX869" fmla="*/ 2617972 w 2663946"/>
                <a:gd name="connsiteY869" fmla="*/ 54837 h 348332"/>
                <a:gd name="connsiteX870" fmla="*/ 2627559 w 2663946"/>
                <a:gd name="connsiteY870" fmla="*/ 52403 h 348332"/>
                <a:gd name="connsiteX871" fmla="*/ 2445604 w 2663946"/>
                <a:gd name="connsiteY871" fmla="*/ 52403 h 348332"/>
                <a:gd name="connsiteX872" fmla="*/ 2457894 w 2663946"/>
                <a:gd name="connsiteY872" fmla="*/ 54566 h 348332"/>
                <a:gd name="connsiteX873" fmla="*/ 2465268 w 2663946"/>
                <a:gd name="connsiteY873" fmla="*/ 59163 h 348332"/>
                <a:gd name="connsiteX874" fmla="*/ 2468709 w 2663946"/>
                <a:gd name="connsiteY874" fmla="*/ 62407 h 348332"/>
                <a:gd name="connsiteX875" fmla="*/ 2472151 w 2663946"/>
                <a:gd name="connsiteY875" fmla="*/ 66733 h 348332"/>
                <a:gd name="connsiteX876" fmla="*/ 2474117 w 2663946"/>
                <a:gd name="connsiteY876" fmla="*/ 70248 h 348332"/>
                <a:gd name="connsiteX877" fmla="*/ 2476329 w 2663946"/>
                <a:gd name="connsiteY877" fmla="*/ 75656 h 348332"/>
                <a:gd name="connsiteX878" fmla="*/ 2477312 w 2663946"/>
                <a:gd name="connsiteY878" fmla="*/ 79171 h 348332"/>
                <a:gd name="connsiteX879" fmla="*/ 2478296 w 2663946"/>
                <a:gd name="connsiteY879" fmla="*/ 84308 h 348332"/>
                <a:gd name="connsiteX880" fmla="*/ 2478050 w 2663946"/>
                <a:gd name="connsiteY880" fmla="*/ 98638 h 348332"/>
                <a:gd name="connsiteX881" fmla="*/ 2477067 w 2663946"/>
                <a:gd name="connsiteY881" fmla="*/ 103505 h 348332"/>
                <a:gd name="connsiteX882" fmla="*/ 2475837 w 2663946"/>
                <a:gd name="connsiteY882" fmla="*/ 107290 h 348332"/>
                <a:gd name="connsiteX883" fmla="*/ 2474854 w 2663946"/>
                <a:gd name="connsiteY883" fmla="*/ 109724 h 348332"/>
                <a:gd name="connsiteX884" fmla="*/ 2472642 w 2663946"/>
                <a:gd name="connsiteY884" fmla="*/ 114050 h 348332"/>
                <a:gd name="connsiteX885" fmla="*/ 2470430 w 2663946"/>
                <a:gd name="connsiteY885" fmla="*/ 117294 h 348332"/>
                <a:gd name="connsiteX886" fmla="*/ 2466989 w 2663946"/>
                <a:gd name="connsiteY886" fmla="*/ 121080 h 348332"/>
                <a:gd name="connsiteX887" fmla="*/ 2463793 w 2663946"/>
                <a:gd name="connsiteY887" fmla="*/ 123783 h 348332"/>
                <a:gd name="connsiteX888" fmla="*/ 2458140 w 2663946"/>
                <a:gd name="connsiteY888" fmla="*/ 127028 h 348332"/>
                <a:gd name="connsiteX889" fmla="*/ 2450274 w 2663946"/>
                <a:gd name="connsiteY889" fmla="*/ 129191 h 348332"/>
                <a:gd name="connsiteX890" fmla="*/ 2449045 w 2663946"/>
                <a:gd name="connsiteY890" fmla="*/ 129462 h 348332"/>
                <a:gd name="connsiteX891" fmla="*/ 2444866 w 2663946"/>
                <a:gd name="connsiteY891" fmla="*/ 129462 h 348332"/>
                <a:gd name="connsiteX892" fmla="*/ 2444621 w 2663946"/>
                <a:gd name="connsiteY892" fmla="*/ 129462 h 348332"/>
                <a:gd name="connsiteX893" fmla="*/ 2431593 w 2663946"/>
                <a:gd name="connsiteY893" fmla="*/ 124595 h 348332"/>
                <a:gd name="connsiteX894" fmla="*/ 2426923 w 2663946"/>
                <a:gd name="connsiteY894" fmla="*/ 120539 h 348332"/>
                <a:gd name="connsiteX895" fmla="*/ 2423727 w 2663946"/>
                <a:gd name="connsiteY895" fmla="*/ 116754 h 348332"/>
                <a:gd name="connsiteX896" fmla="*/ 2421515 w 2663946"/>
                <a:gd name="connsiteY896" fmla="*/ 113239 h 348332"/>
                <a:gd name="connsiteX897" fmla="*/ 2419303 w 2663946"/>
                <a:gd name="connsiteY897" fmla="*/ 108913 h 348332"/>
                <a:gd name="connsiteX898" fmla="*/ 2418074 w 2663946"/>
                <a:gd name="connsiteY898" fmla="*/ 105938 h 348332"/>
                <a:gd name="connsiteX899" fmla="*/ 2417091 w 2663946"/>
                <a:gd name="connsiteY899" fmla="*/ 102694 h 348332"/>
                <a:gd name="connsiteX900" fmla="*/ 2415861 w 2663946"/>
                <a:gd name="connsiteY900" fmla="*/ 97016 h 348332"/>
                <a:gd name="connsiteX901" fmla="*/ 2415616 w 2663946"/>
                <a:gd name="connsiteY901" fmla="*/ 94042 h 348332"/>
                <a:gd name="connsiteX902" fmla="*/ 2415861 w 2663946"/>
                <a:gd name="connsiteY902" fmla="*/ 94312 h 348332"/>
                <a:gd name="connsiteX903" fmla="*/ 2415861 w 2663946"/>
                <a:gd name="connsiteY903" fmla="*/ 88634 h 348332"/>
                <a:gd name="connsiteX904" fmla="*/ 2415861 w 2663946"/>
                <a:gd name="connsiteY904" fmla="*/ 88364 h 348332"/>
                <a:gd name="connsiteX905" fmla="*/ 2416353 w 2663946"/>
                <a:gd name="connsiteY905" fmla="*/ 83767 h 348332"/>
                <a:gd name="connsiteX906" fmla="*/ 2417582 w 2663946"/>
                <a:gd name="connsiteY906" fmla="*/ 78360 h 348332"/>
                <a:gd name="connsiteX907" fmla="*/ 2418565 w 2663946"/>
                <a:gd name="connsiteY907" fmla="*/ 75115 h 348332"/>
                <a:gd name="connsiteX908" fmla="*/ 2420777 w 2663946"/>
                <a:gd name="connsiteY908" fmla="*/ 69978 h 348332"/>
                <a:gd name="connsiteX909" fmla="*/ 2422990 w 2663946"/>
                <a:gd name="connsiteY909" fmla="*/ 66193 h 348332"/>
                <a:gd name="connsiteX910" fmla="*/ 2425202 w 2663946"/>
                <a:gd name="connsiteY910" fmla="*/ 63218 h 348332"/>
                <a:gd name="connsiteX911" fmla="*/ 2427414 w 2663946"/>
                <a:gd name="connsiteY911" fmla="*/ 60785 h 348332"/>
                <a:gd name="connsiteX912" fmla="*/ 2432084 w 2663946"/>
                <a:gd name="connsiteY912" fmla="*/ 57000 h 348332"/>
                <a:gd name="connsiteX913" fmla="*/ 2436017 w 2663946"/>
                <a:gd name="connsiteY913" fmla="*/ 54837 h 348332"/>
                <a:gd name="connsiteX914" fmla="*/ 2445604 w 2663946"/>
                <a:gd name="connsiteY914" fmla="*/ 52403 h 348332"/>
                <a:gd name="connsiteX915" fmla="*/ 2202558 w 2663946"/>
                <a:gd name="connsiteY915" fmla="*/ 52403 h 348332"/>
                <a:gd name="connsiteX916" fmla="*/ 2214848 w 2663946"/>
                <a:gd name="connsiteY916" fmla="*/ 54566 h 348332"/>
                <a:gd name="connsiteX917" fmla="*/ 2222222 w 2663946"/>
                <a:gd name="connsiteY917" fmla="*/ 59163 h 348332"/>
                <a:gd name="connsiteX918" fmla="*/ 2225663 w 2663946"/>
                <a:gd name="connsiteY918" fmla="*/ 62407 h 348332"/>
                <a:gd name="connsiteX919" fmla="*/ 2229105 w 2663946"/>
                <a:gd name="connsiteY919" fmla="*/ 66733 h 348332"/>
                <a:gd name="connsiteX920" fmla="*/ 2231071 w 2663946"/>
                <a:gd name="connsiteY920" fmla="*/ 70248 h 348332"/>
                <a:gd name="connsiteX921" fmla="*/ 2233283 w 2663946"/>
                <a:gd name="connsiteY921" fmla="*/ 75656 h 348332"/>
                <a:gd name="connsiteX922" fmla="*/ 2234266 w 2663946"/>
                <a:gd name="connsiteY922" fmla="*/ 79171 h 348332"/>
                <a:gd name="connsiteX923" fmla="*/ 2235250 w 2663946"/>
                <a:gd name="connsiteY923" fmla="*/ 84308 h 348332"/>
                <a:gd name="connsiteX924" fmla="*/ 2235004 w 2663946"/>
                <a:gd name="connsiteY924" fmla="*/ 98638 h 348332"/>
                <a:gd name="connsiteX925" fmla="*/ 2234021 w 2663946"/>
                <a:gd name="connsiteY925" fmla="*/ 103505 h 348332"/>
                <a:gd name="connsiteX926" fmla="*/ 2232791 w 2663946"/>
                <a:gd name="connsiteY926" fmla="*/ 107290 h 348332"/>
                <a:gd name="connsiteX927" fmla="*/ 2231808 w 2663946"/>
                <a:gd name="connsiteY927" fmla="*/ 109724 h 348332"/>
                <a:gd name="connsiteX928" fmla="*/ 2229596 w 2663946"/>
                <a:gd name="connsiteY928" fmla="*/ 114050 h 348332"/>
                <a:gd name="connsiteX929" fmla="*/ 2227384 w 2663946"/>
                <a:gd name="connsiteY929" fmla="*/ 117294 h 348332"/>
                <a:gd name="connsiteX930" fmla="*/ 2223943 w 2663946"/>
                <a:gd name="connsiteY930" fmla="*/ 121080 h 348332"/>
                <a:gd name="connsiteX931" fmla="*/ 2220747 w 2663946"/>
                <a:gd name="connsiteY931" fmla="*/ 123783 h 348332"/>
                <a:gd name="connsiteX932" fmla="*/ 2215094 w 2663946"/>
                <a:gd name="connsiteY932" fmla="*/ 127028 h 348332"/>
                <a:gd name="connsiteX933" fmla="*/ 2207228 w 2663946"/>
                <a:gd name="connsiteY933" fmla="*/ 129191 h 348332"/>
                <a:gd name="connsiteX934" fmla="*/ 2205999 w 2663946"/>
                <a:gd name="connsiteY934" fmla="*/ 129462 h 348332"/>
                <a:gd name="connsiteX935" fmla="*/ 2201820 w 2663946"/>
                <a:gd name="connsiteY935" fmla="*/ 129462 h 348332"/>
                <a:gd name="connsiteX936" fmla="*/ 2201575 w 2663946"/>
                <a:gd name="connsiteY936" fmla="*/ 129462 h 348332"/>
                <a:gd name="connsiteX937" fmla="*/ 2188547 w 2663946"/>
                <a:gd name="connsiteY937" fmla="*/ 124595 h 348332"/>
                <a:gd name="connsiteX938" fmla="*/ 2183877 w 2663946"/>
                <a:gd name="connsiteY938" fmla="*/ 120539 h 348332"/>
                <a:gd name="connsiteX939" fmla="*/ 2180681 w 2663946"/>
                <a:gd name="connsiteY939" fmla="*/ 116754 h 348332"/>
                <a:gd name="connsiteX940" fmla="*/ 2178469 w 2663946"/>
                <a:gd name="connsiteY940" fmla="*/ 113239 h 348332"/>
                <a:gd name="connsiteX941" fmla="*/ 2176257 w 2663946"/>
                <a:gd name="connsiteY941" fmla="*/ 108913 h 348332"/>
                <a:gd name="connsiteX942" fmla="*/ 2175028 w 2663946"/>
                <a:gd name="connsiteY942" fmla="*/ 105938 h 348332"/>
                <a:gd name="connsiteX943" fmla="*/ 2174045 w 2663946"/>
                <a:gd name="connsiteY943" fmla="*/ 102694 h 348332"/>
                <a:gd name="connsiteX944" fmla="*/ 2172815 w 2663946"/>
                <a:gd name="connsiteY944" fmla="*/ 97016 h 348332"/>
                <a:gd name="connsiteX945" fmla="*/ 2172570 w 2663946"/>
                <a:gd name="connsiteY945" fmla="*/ 94042 h 348332"/>
                <a:gd name="connsiteX946" fmla="*/ 2172815 w 2663946"/>
                <a:gd name="connsiteY946" fmla="*/ 94312 h 348332"/>
                <a:gd name="connsiteX947" fmla="*/ 2172815 w 2663946"/>
                <a:gd name="connsiteY947" fmla="*/ 88634 h 348332"/>
                <a:gd name="connsiteX948" fmla="*/ 2172815 w 2663946"/>
                <a:gd name="connsiteY948" fmla="*/ 88364 h 348332"/>
                <a:gd name="connsiteX949" fmla="*/ 2173307 w 2663946"/>
                <a:gd name="connsiteY949" fmla="*/ 83767 h 348332"/>
                <a:gd name="connsiteX950" fmla="*/ 2174536 w 2663946"/>
                <a:gd name="connsiteY950" fmla="*/ 78360 h 348332"/>
                <a:gd name="connsiteX951" fmla="*/ 2175519 w 2663946"/>
                <a:gd name="connsiteY951" fmla="*/ 75115 h 348332"/>
                <a:gd name="connsiteX952" fmla="*/ 2177731 w 2663946"/>
                <a:gd name="connsiteY952" fmla="*/ 69978 h 348332"/>
                <a:gd name="connsiteX953" fmla="*/ 2179944 w 2663946"/>
                <a:gd name="connsiteY953" fmla="*/ 66193 h 348332"/>
                <a:gd name="connsiteX954" fmla="*/ 2182156 w 2663946"/>
                <a:gd name="connsiteY954" fmla="*/ 63218 h 348332"/>
                <a:gd name="connsiteX955" fmla="*/ 2184368 w 2663946"/>
                <a:gd name="connsiteY955" fmla="*/ 60785 h 348332"/>
                <a:gd name="connsiteX956" fmla="*/ 2189038 w 2663946"/>
                <a:gd name="connsiteY956" fmla="*/ 57000 h 348332"/>
                <a:gd name="connsiteX957" fmla="*/ 2192971 w 2663946"/>
                <a:gd name="connsiteY957" fmla="*/ 54837 h 348332"/>
                <a:gd name="connsiteX958" fmla="*/ 2202558 w 2663946"/>
                <a:gd name="connsiteY958" fmla="*/ 52403 h 348332"/>
                <a:gd name="connsiteX959" fmla="*/ 2020607 w 2663946"/>
                <a:gd name="connsiteY959" fmla="*/ 52403 h 348332"/>
                <a:gd name="connsiteX960" fmla="*/ 2032897 w 2663946"/>
                <a:gd name="connsiteY960" fmla="*/ 54566 h 348332"/>
                <a:gd name="connsiteX961" fmla="*/ 2040271 w 2663946"/>
                <a:gd name="connsiteY961" fmla="*/ 59163 h 348332"/>
                <a:gd name="connsiteX962" fmla="*/ 2043712 w 2663946"/>
                <a:gd name="connsiteY962" fmla="*/ 62407 h 348332"/>
                <a:gd name="connsiteX963" fmla="*/ 2047154 w 2663946"/>
                <a:gd name="connsiteY963" fmla="*/ 66733 h 348332"/>
                <a:gd name="connsiteX964" fmla="*/ 2049120 w 2663946"/>
                <a:gd name="connsiteY964" fmla="*/ 70248 h 348332"/>
                <a:gd name="connsiteX965" fmla="*/ 2051332 w 2663946"/>
                <a:gd name="connsiteY965" fmla="*/ 75656 h 348332"/>
                <a:gd name="connsiteX966" fmla="*/ 2052315 w 2663946"/>
                <a:gd name="connsiteY966" fmla="*/ 79171 h 348332"/>
                <a:gd name="connsiteX967" fmla="*/ 2053299 w 2663946"/>
                <a:gd name="connsiteY967" fmla="*/ 84308 h 348332"/>
                <a:gd name="connsiteX968" fmla="*/ 2053053 w 2663946"/>
                <a:gd name="connsiteY968" fmla="*/ 98638 h 348332"/>
                <a:gd name="connsiteX969" fmla="*/ 2052070 w 2663946"/>
                <a:gd name="connsiteY969" fmla="*/ 103505 h 348332"/>
                <a:gd name="connsiteX970" fmla="*/ 2050840 w 2663946"/>
                <a:gd name="connsiteY970" fmla="*/ 107290 h 348332"/>
                <a:gd name="connsiteX971" fmla="*/ 2049857 w 2663946"/>
                <a:gd name="connsiteY971" fmla="*/ 109724 h 348332"/>
                <a:gd name="connsiteX972" fmla="*/ 2047645 w 2663946"/>
                <a:gd name="connsiteY972" fmla="*/ 114050 h 348332"/>
                <a:gd name="connsiteX973" fmla="*/ 2045433 w 2663946"/>
                <a:gd name="connsiteY973" fmla="*/ 117294 h 348332"/>
                <a:gd name="connsiteX974" fmla="*/ 2041992 w 2663946"/>
                <a:gd name="connsiteY974" fmla="*/ 121080 h 348332"/>
                <a:gd name="connsiteX975" fmla="*/ 2038796 w 2663946"/>
                <a:gd name="connsiteY975" fmla="*/ 123783 h 348332"/>
                <a:gd name="connsiteX976" fmla="*/ 2033143 w 2663946"/>
                <a:gd name="connsiteY976" fmla="*/ 127028 h 348332"/>
                <a:gd name="connsiteX977" fmla="*/ 2025277 w 2663946"/>
                <a:gd name="connsiteY977" fmla="*/ 129191 h 348332"/>
                <a:gd name="connsiteX978" fmla="*/ 2024048 w 2663946"/>
                <a:gd name="connsiteY978" fmla="*/ 129462 h 348332"/>
                <a:gd name="connsiteX979" fmla="*/ 2019869 w 2663946"/>
                <a:gd name="connsiteY979" fmla="*/ 129462 h 348332"/>
                <a:gd name="connsiteX980" fmla="*/ 2019624 w 2663946"/>
                <a:gd name="connsiteY980" fmla="*/ 129462 h 348332"/>
                <a:gd name="connsiteX981" fmla="*/ 2006596 w 2663946"/>
                <a:gd name="connsiteY981" fmla="*/ 124595 h 348332"/>
                <a:gd name="connsiteX982" fmla="*/ 2001926 w 2663946"/>
                <a:gd name="connsiteY982" fmla="*/ 120539 h 348332"/>
                <a:gd name="connsiteX983" fmla="*/ 1998730 w 2663946"/>
                <a:gd name="connsiteY983" fmla="*/ 116754 h 348332"/>
                <a:gd name="connsiteX984" fmla="*/ 1996518 w 2663946"/>
                <a:gd name="connsiteY984" fmla="*/ 113239 h 348332"/>
                <a:gd name="connsiteX985" fmla="*/ 1994306 w 2663946"/>
                <a:gd name="connsiteY985" fmla="*/ 108913 h 348332"/>
                <a:gd name="connsiteX986" fmla="*/ 1993077 w 2663946"/>
                <a:gd name="connsiteY986" fmla="*/ 105938 h 348332"/>
                <a:gd name="connsiteX987" fmla="*/ 1992094 w 2663946"/>
                <a:gd name="connsiteY987" fmla="*/ 102694 h 348332"/>
                <a:gd name="connsiteX988" fmla="*/ 1990864 w 2663946"/>
                <a:gd name="connsiteY988" fmla="*/ 97016 h 348332"/>
                <a:gd name="connsiteX989" fmla="*/ 1990619 w 2663946"/>
                <a:gd name="connsiteY989" fmla="*/ 94042 h 348332"/>
                <a:gd name="connsiteX990" fmla="*/ 1990864 w 2663946"/>
                <a:gd name="connsiteY990" fmla="*/ 94312 h 348332"/>
                <a:gd name="connsiteX991" fmla="*/ 1990864 w 2663946"/>
                <a:gd name="connsiteY991" fmla="*/ 88634 h 348332"/>
                <a:gd name="connsiteX992" fmla="*/ 1990864 w 2663946"/>
                <a:gd name="connsiteY992" fmla="*/ 88364 h 348332"/>
                <a:gd name="connsiteX993" fmla="*/ 1991356 w 2663946"/>
                <a:gd name="connsiteY993" fmla="*/ 83767 h 348332"/>
                <a:gd name="connsiteX994" fmla="*/ 1992585 w 2663946"/>
                <a:gd name="connsiteY994" fmla="*/ 78360 h 348332"/>
                <a:gd name="connsiteX995" fmla="*/ 1993568 w 2663946"/>
                <a:gd name="connsiteY995" fmla="*/ 75115 h 348332"/>
                <a:gd name="connsiteX996" fmla="*/ 1995780 w 2663946"/>
                <a:gd name="connsiteY996" fmla="*/ 69978 h 348332"/>
                <a:gd name="connsiteX997" fmla="*/ 1997993 w 2663946"/>
                <a:gd name="connsiteY997" fmla="*/ 66193 h 348332"/>
                <a:gd name="connsiteX998" fmla="*/ 2000205 w 2663946"/>
                <a:gd name="connsiteY998" fmla="*/ 63218 h 348332"/>
                <a:gd name="connsiteX999" fmla="*/ 2002417 w 2663946"/>
                <a:gd name="connsiteY999" fmla="*/ 60785 h 348332"/>
                <a:gd name="connsiteX1000" fmla="*/ 2007087 w 2663946"/>
                <a:gd name="connsiteY1000" fmla="*/ 57000 h 348332"/>
                <a:gd name="connsiteX1001" fmla="*/ 2011020 w 2663946"/>
                <a:gd name="connsiteY1001" fmla="*/ 54837 h 348332"/>
                <a:gd name="connsiteX1002" fmla="*/ 2020607 w 2663946"/>
                <a:gd name="connsiteY1002" fmla="*/ 52403 h 348332"/>
                <a:gd name="connsiteX1003" fmla="*/ 1595683 w 2663946"/>
                <a:gd name="connsiteY1003" fmla="*/ 52403 h 348332"/>
                <a:gd name="connsiteX1004" fmla="*/ 1607973 w 2663946"/>
                <a:gd name="connsiteY1004" fmla="*/ 54566 h 348332"/>
                <a:gd name="connsiteX1005" fmla="*/ 1615347 w 2663946"/>
                <a:gd name="connsiteY1005" fmla="*/ 59163 h 348332"/>
                <a:gd name="connsiteX1006" fmla="*/ 1618788 w 2663946"/>
                <a:gd name="connsiteY1006" fmla="*/ 62407 h 348332"/>
                <a:gd name="connsiteX1007" fmla="*/ 1622230 w 2663946"/>
                <a:gd name="connsiteY1007" fmla="*/ 66733 h 348332"/>
                <a:gd name="connsiteX1008" fmla="*/ 1624196 w 2663946"/>
                <a:gd name="connsiteY1008" fmla="*/ 70248 h 348332"/>
                <a:gd name="connsiteX1009" fmla="*/ 1626408 w 2663946"/>
                <a:gd name="connsiteY1009" fmla="*/ 75656 h 348332"/>
                <a:gd name="connsiteX1010" fmla="*/ 1627391 w 2663946"/>
                <a:gd name="connsiteY1010" fmla="*/ 79171 h 348332"/>
                <a:gd name="connsiteX1011" fmla="*/ 1628374 w 2663946"/>
                <a:gd name="connsiteY1011" fmla="*/ 84308 h 348332"/>
                <a:gd name="connsiteX1012" fmla="*/ 1628129 w 2663946"/>
                <a:gd name="connsiteY1012" fmla="*/ 98638 h 348332"/>
                <a:gd name="connsiteX1013" fmla="*/ 1627146 w 2663946"/>
                <a:gd name="connsiteY1013" fmla="*/ 103505 h 348332"/>
                <a:gd name="connsiteX1014" fmla="*/ 1625916 w 2663946"/>
                <a:gd name="connsiteY1014" fmla="*/ 107290 h 348332"/>
                <a:gd name="connsiteX1015" fmla="*/ 1624933 w 2663946"/>
                <a:gd name="connsiteY1015" fmla="*/ 109724 h 348332"/>
                <a:gd name="connsiteX1016" fmla="*/ 1622721 w 2663946"/>
                <a:gd name="connsiteY1016" fmla="*/ 114050 h 348332"/>
                <a:gd name="connsiteX1017" fmla="*/ 1620509 w 2663946"/>
                <a:gd name="connsiteY1017" fmla="*/ 117294 h 348332"/>
                <a:gd name="connsiteX1018" fmla="*/ 1617068 w 2663946"/>
                <a:gd name="connsiteY1018" fmla="*/ 121080 h 348332"/>
                <a:gd name="connsiteX1019" fmla="*/ 1613872 w 2663946"/>
                <a:gd name="connsiteY1019" fmla="*/ 123783 h 348332"/>
                <a:gd name="connsiteX1020" fmla="*/ 1608219 w 2663946"/>
                <a:gd name="connsiteY1020" fmla="*/ 127028 h 348332"/>
                <a:gd name="connsiteX1021" fmla="*/ 1600353 w 2663946"/>
                <a:gd name="connsiteY1021" fmla="*/ 129191 h 348332"/>
                <a:gd name="connsiteX1022" fmla="*/ 1599124 w 2663946"/>
                <a:gd name="connsiteY1022" fmla="*/ 129462 h 348332"/>
                <a:gd name="connsiteX1023" fmla="*/ 1594945 w 2663946"/>
                <a:gd name="connsiteY1023" fmla="*/ 129462 h 348332"/>
                <a:gd name="connsiteX1024" fmla="*/ 1594699 w 2663946"/>
                <a:gd name="connsiteY1024" fmla="*/ 129462 h 348332"/>
                <a:gd name="connsiteX1025" fmla="*/ 1581672 w 2663946"/>
                <a:gd name="connsiteY1025" fmla="*/ 124595 h 348332"/>
                <a:gd name="connsiteX1026" fmla="*/ 1577002 w 2663946"/>
                <a:gd name="connsiteY1026" fmla="*/ 120539 h 348332"/>
                <a:gd name="connsiteX1027" fmla="*/ 1573806 w 2663946"/>
                <a:gd name="connsiteY1027" fmla="*/ 116754 h 348332"/>
                <a:gd name="connsiteX1028" fmla="*/ 1571594 w 2663946"/>
                <a:gd name="connsiteY1028" fmla="*/ 113239 h 348332"/>
                <a:gd name="connsiteX1029" fmla="*/ 1569382 w 2663946"/>
                <a:gd name="connsiteY1029" fmla="*/ 108913 h 348332"/>
                <a:gd name="connsiteX1030" fmla="*/ 1568153 w 2663946"/>
                <a:gd name="connsiteY1030" fmla="*/ 105938 h 348332"/>
                <a:gd name="connsiteX1031" fmla="*/ 1567169 w 2663946"/>
                <a:gd name="connsiteY1031" fmla="*/ 102694 h 348332"/>
                <a:gd name="connsiteX1032" fmla="*/ 1565940 w 2663946"/>
                <a:gd name="connsiteY1032" fmla="*/ 97016 h 348332"/>
                <a:gd name="connsiteX1033" fmla="*/ 1565695 w 2663946"/>
                <a:gd name="connsiteY1033" fmla="*/ 94042 h 348332"/>
                <a:gd name="connsiteX1034" fmla="*/ 1565940 w 2663946"/>
                <a:gd name="connsiteY1034" fmla="*/ 94312 h 348332"/>
                <a:gd name="connsiteX1035" fmla="*/ 1565940 w 2663946"/>
                <a:gd name="connsiteY1035" fmla="*/ 88634 h 348332"/>
                <a:gd name="connsiteX1036" fmla="*/ 1565940 w 2663946"/>
                <a:gd name="connsiteY1036" fmla="*/ 88364 h 348332"/>
                <a:gd name="connsiteX1037" fmla="*/ 1566432 w 2663946"/>
                <a:gd name="connsiteY1037" fmla="*/ 83767 h 348332"/>
                <a:gd name="connsiteX1038" fmla="*/ 1567661 w 2663946"/>
                <a:gd name="connsiteY1038" fmla="*/ 78360 h 348332"/>
                <a:gd name="connsiteX1039" fmla="*/ 1568644 w 2663946"/>
                <a:gd name="connsiteY1039" fmla="*/ 75115 h 348332"/>
                <a:gd name="connsiteX1040" fmla="*/ 1570856 w 2663946"/>
                <a:gd name="connsiteY1040" fmla="*/ 69978 h 348332"/>
                <a:gd name="connsiteX1041" fmla="*/ 1573069 w 2663946"/>
                <a:gd name="connsiteY1041" fmla="*/ 66193 h 348332"/>
                <a:gd name="connsiteX1042" fmla="*/ 1575281 w 2663946"/>
                <a:gd name="connsiteY1042" fmla="*/ 63218 h 348332"/>
                <a:gd name="connsiteX1043" fmla="*/ 1577493 w 2663946"/>
                <a:gd name="connsiteY1043" fmla="*/ 60785 h 348332"/>
                <a:gd name="connsiteX1044" fmla="*/ 1582163 w 2663946"/>
                <a:gd name="connsiteY1044" fmla="*/ 57000 h 348332"/>
                <a:gd name="connsiteX1045" fmla="*/ 1586096 w 2663946"/>
                <a:gd name="connsiteY1045" fmla="*/ 54837 h 348332"/>
                <a:gd name="connsiteX1046" fmla="*/ 1595683 w 2663946"/>
                <a:gd name="connsiteY1046" fmla="*/ 52403 h 348332"/>
                <a:gd name="connsiteX1047" fmla="*/ 1246776 w 2663946"/>
                <a:gd name="connsiteY1047" fmla="*/ 52403 h 348332"/>
                <a:gd name="connsiteX1048" fmla="*/ 1259066 w 2663946"/>
                <a:gd name="connsiteY1048" fmla="*/ 54566 h 348332"/>
                <a:gd name="connsiteX1049" fmla="*/ 1266440 w 2663946"/>
                <a:gd name="connsiteY1049" fmla="*/ 59163 h 348332"/>
                <a:gd name="connsiteX1050" fmla="*/ 1269881 w 2663946"/>
                <a:gd name="connsiteY1050" fmla="*/ 62407 h 348332"/>
                <a:gd name="connsiteX1051" fmla="*/ 1273323 w 2663946"/>
                <a:gd name="connsiteY1051" fmla="*/ 66733 h 348332"/>
                <a:gd name="connsiteX1052" fmla="*/ 1275289 w 2663946"/>
                <a:gd name="connsiteY1052" fmla="*/ 70248 h 348332"/>
                <a:gd name="connsiteX1053" fmla="*/ 1277501 w 2663946"/>
                <a:gd name="connsiteY1053" fmla="*/ 75656 h 348332"/>
                <a:gd name="connsiteX1054" fmla="*/ 1278484 w 2663946"/>
                <a:gd name="connsiteY1054" fmla="*/ 79171 h 348332"/>
                <a:gd name="connsiteX1055" fmla="*/ 1279467 w 2663946"/>
                <a:gd name="connsiteY1055" fmla="*/ 84308 h 348332"/>
                <a:gd name="connsiteX1056" fmla="*/ 1279222 w 2663946"/>
                <a:gd name="connsiteY1056" fmla="*/ 98638 h 348332"/>
                <a:gd name="connsiteX1057" fmla="*/ 1278239 w 2663946"/>
                <a:gd name="connsiteY1057" fmla="*/ 103505 h 348332"/>
                <a:gd name="connsiteX1058" fmla="*/ 1277009 w 2663946"/>
                <a:gd name="connsiteY1058" fmla="*/ 107290 h 348332"/>
                <a:gd name="connsiteX1059" fmla="*/ 1276026 w 2663946"/>
                <a:gd name="connsiteY1059" fmla="*/ 109724 h 348332"/>
                <a:gd name="connsiteX1060" fmla="*/ 1273814 w 2663946"/>
                <a:gd name="connsiteY1060" fmla="*/ 114050 h 348332"/>
                <a:gd name="connsiteX1061" fmla="*/ 1271602 w 2663946"/>
                <a:gd name="connsiteY1061" fmla="*/ 117294 h 348332"/>
                <a:gd name="connsiteX1062" fmla="*/ 1268161 w 2663946"/>
                <a:gd name="connsiteY1062" fmla="*/ 121080 h 348332"/>
                <a:gd name="connsiteX1063" fmla="*/ 1264965 w 2663946"/>
                <a:gd name="connsiteY1063" fmla="*/ 123783 h 348332"/>
                <a:gd name="connsiteX1064" fmla="*/ 1259312 w 2663946"/>
                <a:gd name="connsiteY1064" fmla="*/ 127028 h 348332"/>
                <a:gd name="connsiteX1065" fmla="*/ 1251446 w 2663946"/>
                <a:gd name="connsiteY1065" fmla="*/ 129191 h 348332"/>
                <a:gd name="connsiteX1066" fmla="*/ 1250217 w 2663946"/>
                <a:gd name="connsiteY1066" fmla="*/ 129462 h 348332"/>
                <a:gd name="connsiteX1067" fmla="*/ 1246038 w 2663946"/>
                <a:gd name="connsiteY1067" fmla="*/ 129462 h 348332"/>
                <a:gd name="connsiteX1068" fmla="*/ 1245792 w 2663946"/>
                <a:gd name="connsiteY1068" fmla="*/ 129462 h 348332"/>
                <a:gd name="connsiteX1069" fmla="*/ 1232765 w 2663946"/>
                <a:gd name="connsiteY1069" fmla="*/ 124595 h 348332"/>
                <a:gd name="connsiteX1070" fmla="*/ 1228095 w 2663946"/>
                <a:gd name="connsiteY1070" fmla="*/ 120539 h 348332"/>
                <a:gd name="connsiteX1071" fmla="*/ 1224899 w 2663946"/>
                <a:gd name="connsiteY1071" fmla="*/ 116754 h 348332"/>
                <a:gd name="connsiteX1072" fmla="*/ 1222687 w 2663946"/>
                <a:gd name="connsiteY1072" fmla="*/ 113239 h 348332"/>
                <a:gd name="connsiteX1073" fmla="*/ 1220475 w 2663946"/>
                <a:gd name="connsiteY1073" fmla="*/ 108913 h 348332"/>
                <a:gd name="connsiteX1074" fmla="*/ 1219246 w 2663946"/>
                <a:gd name="connsiteY1074" fmla="*/ 105938 h 348332"/>
                <a:gd name="connsiteX1075" fmla="*/ 1218262 w 2663946"/>
                <a:gd name="connsiteY1075" fmla="*/ 102694 h 348332"/>
                <a:gd name="connsiteX1076" fmla="*/ 1217033 w 2663946"/>
                <a:gd name="connsiteY1076" fmla="*/ 97016 h 348332"/>
                <a:gd name="connsiteX1077" fmla="*/ 1216788 w 2663946"/>
                <a:gd name="connsiteY1077" fmla="*/ 94042 h 348332"/>
                <a:gd name="connsiteX1078" fmla="*/ 1217033 w 2663946"/>
                <a:gd name="connsiteY1078" fmla="*/ 94312 h 348332"/>
                <a:gd name="connsiteX1079" fmla="*/ 1217033 w 2663946"/>
                <a:gd name="connsiteY1079" fmla="*/ 88634 h 348332"/>
                <a:gd name="connsiteX1080" fmla="*/ 1217033 w 2663946"/>
                <a:gd name="connsiteY1080" fmla="*/ 88364 h 348332"/>
                <a:gd name="connsiteX1081" fmla="*/ 1217525 w 2663946"/>
                <a:gd name="connsiteY1081" fmla="*/ 83767 h 348332"/>
                <a:gd name="connsiteX1082" fmla="*/ 1218754 w 2663946"/>
                <a:gd name="connsiteY1082" fmla="*/ 78360 h 348332"/>
                <a:gd name="connsiteX1083" fmla="*/ 1219737 w 2663946"/>
                <a:gd name="connsiteY1083" fmla="*/ 75115 h 348332"/>
                <a:gd name="connsiteX1084" fmla="*/ 1221949 w 2663946"/>
                <a:gd name="connsiteY1084" fmla="*/ 69978 h 348332"/>
                <a:gd name="connsiteX1085" fmla="*/ 1224162 w 2663946"/>
                <a:gd name="connsiteY1085" fmla="*/ 66193 h 348332"/>
                <a:gd name="connsiteX1086" fmla="*/ 1226374 w 2663946"/>
                <a:gd name="connsiteY1086" fmla="*/ 63218 h 348332"/>
                <a:gd name="connsiteX1087" fmla="*/ 1228586 w 2663946"/>
                <a:gd name="connsiteY1087" fmla="*/ 60785 h 348332"/>
                <a:gd name="connsiteX1088" fmla="*/ 1233256 w 2663946"/>
                <a:gd name="connsiteY1088" fmla="*/ 57000 h 348332"/>
                <a:gd name="connsiteX1089" fmla="*/ 1237189 w 2663946"/>
                <a:gd name="connsiteY1089" fmla="*/ 54837 h 348332"/>
                <a:gd name="connsiteX1090" fmla="*/ 1246776 w 2663946"/>
                <a:gd name="connsiteY1090" fmla="*/ 52403 h 348332"/>
                <a:gd name="connsiteX1091" fmla="*/ 1064825 w 2663946"/>
                <a:gd name="connsiteY1091" fmla="*/ 52403 h 348332"/>
                <a:gd name="connsiteX1092" fmla="*/ 1077115 w 2663946"/>
                <a:gd name="connsiteY1092" fmla="*/ 54566 h 348332"/>
                <a:gd name="connsiteX1093" fmla="*/ 1084489 w 2663946"/>
                <a:gd name="connsiteY1093" fmla="*/ 59163 h 348332"/>
                <a:gd name="connsiteX1094" fmla="*/ 1087930 w 2663946"/>
                <a:gd name="connsiteY1094" fmla="*/ 62407 h 348332"/>
                <a:gd name="connsiteX1095" fmla="*/ 1091372 w 2663946"/>
                <a:gd name="connsiteY1095" fmla="*/ 66733 h 348332"/>
                <a:gd name="connsiteX1096" fmla="*/ 1093338 w 2663946"/>
                <a:gd name="connsiteY1096" fmla="*/ 70248 h 348332"/>
                <a:gd name="connsiteX1097" fmla="*/ 1095550 w 2663946"/>
                <a:gd name="connsiteY1097" fmla="*/ 75656 h 348332"/>
                <a:gd name="connsiteX1098" fmla="*/ 1096533 w 2663946"/>
                <a:gd name="connsiteY1098" fmla="*/ 79171 h 348332"/>
                <a:gd name="connsiteX1099" fmla="*/ 1097516 w 2663946"/>
                <a:gd name="connsiteY1099" fmla="*/ 84308 h 348332"/>
                <a:gd name="connsiteX1100" fmla="*/ 1097271 w 2663946"/>
                <a:gd name="connsiteY1100" fmla="*/ 98638 h 348332"/>
                <a:gd name="connsiteX1101" fmla="*/ 1096288 w 2663946"/>
                <a:gd name="connsiteY1101" fmla="*/ 103505 h 348332"/>
                <a:gd name="connsiteX1102" fmla="*/ 1095058 w 2663946"/>
                <a:gd name="connsiteY1102" fmla="*/ 107290 h 348332"/>
                <a:gd name="connsiteX1103" fmla="*/ 1094075 w 2663946"/>
                <a:gd name="connsiteY1103" fmla="*/ 109724 h 348332"/>
                <a:gd name="connsiteX1104" fmla="*/ 1091863 w 2663946"/>
                <a:gd name="connsiteY1104" fmla="*/ 114050 h 348332"/>
                <a:gd name="connsiteX1105" fmla="*/ 1089651 w 2663946"/>
                <a:gd name="connsiteY1105" fmla="*/ 117294 h 348332"/>
                <a:gd name="connsiteX1106" fmla="*/ 1086210 w 2663946"/>
                <a:gd name="connsiteY1106" fmla="*/ 121080 h 348332"/>
                <a:gd name="connsiteX1107" fmla="*/ 1083014 w 2663946"/>
                <a:gd name="connsiteY1107" fmla="*/ 123783 h 348332"/>
                <a:gd name="connsiteX1108" fmla="*/ 1077361 w 2663946"/>
                <a:gd name="connsiteY1108" fmla="*/ 127028 h 348332"/>
                <a:gd name="connsiteX1109" fmla="*/ 1069495 w 2663946"/>
                <a:gd name="connsiteY1109" fmla="*/ 129191 h 348332"/>
                <a:gd name="connsiteX1110" fmla="*/ 1068266 w 2663946"/>
                <a:gd name="connsiteY1110" fmla="*/ 129462 h 348332"/>
                <a:gd name="connsiteX1111" fmla="*/ 1064087 w 2663946"/>
                <a:gd name="connsiteY1111" fmla="*/ 129462 h 348332"/>
                <a:gd name="connsiteX1112" fmla="*/ 1063841 w 2663946"/>
                <a:gd name="connsiteY1112" fmla="*/ 129462 h 348332"/>
                <a:gd name="connsiteX1113" fmla="*/ 1050814 w 2663946"/>
                <a:gd name="connsiteY1113" fmla="*/ 124595 h 348332"/>
                <a:gd name="connsiteX1114" fmla="*/ 1046144 w 2663946"/>
                <a:gd name="connsiteY1114" fmla="*/ 120539 h 348332"/>
                <a:gd name="connsiteX1115" fmla="*/ 1042948 w 2663946"/>
                <a:gd name="connsiteY1115" fmla="*/ 116754 h 348332"/>
                <a:gd name="connsiteX1116" fmla="*/ 1040736 w 2663946"/>
                <a:gd name="connsiteY1116" fmla="*/ 113239 h 348332"/>
                <a:gd name="connsiteX1117" fmla="*/ 1038524 w 2663946"/>
                <a:gd name="connsiteY1117" fmla="*/ 108913 h 348332"/>
                <a:gd name="connsiteX1118" fmla="*/ 1037295 w 2663946"/>
                <a:gd name="connsiteY1118" fmla="*/ 105938 h 348332"/>
                <a:gd name="connsiteX1119" fmla="*/ 1036311 w 2663946"/>
                <a:gd name="connsiteY1119" fmla="*/ 102694 h 348332"/>
                <a:gd name="connsiteX1120" fmla="*/ 1035082 w 2663946"/>
                <a:gd name="connsiteY1120" fmla="*/ 97016 h 348332"/>
                <a:gd name="connsiteX1121" fmla="*/ 1034837 w 2663946"/>
                <a:gd name="connsiteY1121" fmla="*/ 94042 h 348332"/>
                <a:gd name="connsiteX1122" fmla="*/ 1035082 w 2663946"/>
                <a:gd name="connsiteY1122" fmla="*/ 94312 h 348332"/>
                <a:gd name="connsiteX1123" fmla="*/ 1035082 w 2663946"/>
                <a:gd name="connsiteY1123" fmla="*/ 88634 h 348332"/>
                <a:gd name="connsiteX1124" fmla="*/ 1035082 w 2663946"/>
                <a:gd name="connsiteY1124" fmla="*/ 88364 h 348332"/>
                <a:gd name="connsiteX1125" fmla="*/ 1035574 w 2663946"/>
                <a:gd name="connsiteY1125" fmla="*/ 83767 h 348332"/>
                <a:gd name="connsiteX1126" fmla="*/ 1036803 w 2663946"/>
                <a:gd name="connsiteY1126" fmla="*/ 78360 h 348332"/>
                <a:gd name="connsiteX1127" fmla="*/ 1037786 w 2663946"/>
                <a:gd name="connsiteY1127" fmla="*/ 75115 h 348332"/>
                <a:gd name="connsiteX1128" fmla="*/ 1039998 w 2663946"/>
                <a:gd name="connsiteY1128" fmla="*/ 69978 h 348332"/>
                <a:gd name="connsiteX1129" fmla="*/ 1042211 w 2663946"/>
                <a:gd name="connsiteY1129" fmla="*/ 66193 h 348332"/>
                <a:gd name="connsiteX1130" fmla="*/ 1044423 w 2663946"/>
                <a:gd name="connsiteY1130" fmla="*/ 63218 h 348332"/>
                <a:gd name="connsiteX1131" fmla="*/ 1046635 w 2663946"/>
                <a:gd name="connsiteY1131" fmla="*/ 60785 h 348332"/>
                <a:gd name="connsiteX1132" fmla="*/ 1051305 w 2663946"/>
                <a:gd name="connsiteY1132" fmla="*/ 57000 h 348332"/>
                <a:gd name="connsiteX1133" fmla="*/ 1055238 w 2663946"/>
                <a:gd name="connsiteY1133" fmla="*/ 54837 h 348332"/>
                <a:gd name="connsiteX1134" fmla="*/ 1064825 w 2663946"/>
                <a:gd name="connsiteY1134" fmla="*/ 52403 h 348332"/>
                <a:gd name="connsiteX1135" fmla="*/ 897796 w 2663946"/>
                <a:gd name="connsiteY1135" fmla="*/ 52403 h 348332"/>
                <a:gd name="connsiteX1136" fmla="*/ 910086 w 2663946"/>
                <a:gd name="connsiteY1136" fmla="*/ 54566 h 348332"/>
                <a:gd name="connsiteX1137" fmla="*/ 917460 w 2663946"/>
                <a:gd name="connsiteY1137" fmla="*/ 59163 h 348332"/>
                <a:gd name="connsiteX1138" fmla="*/ 920901 w 2663946"/>
                <a:gd name="connsiteY1138" fmla="*/ 62407 h 348332"/>
                <a:gd name="connsiteX1139" fmla="*/ 924343 w 2663946"/>
                <a:gd name="connsiteY1139" fmla="*/ 66733 h 348332"/>
                <a:gd name="connsiteX1140" fmla="*/ 926309 w 2663946"/>
                <a:gd name="connsiteY1140" fmla="*/ 70248 h 348332"/>
                <a:gd name="connsiteX1141" fmla="*/ 928521 w 2663946"/>
                <a:gd name="connsiteY1141" fmla="*/ 75656 h 348332"/>
                <a:gd name="connsiteX1142" fmla="*/ 929504 w 2663946"/>
                <a:gd name="connsiteY1142" fmla="*/ 79171 h 348332"/>
                <a:gd name="connsiteX1143" fmla="*/ 930487 w 2663946"/>
                <a:gd name="connsiteY1143" fmla="*/ 84308 h 348332"/>
                <a:gd name="connsiteX1144" fmla="*/ 930242 w 2663946"/>
                <a:gd name="connsiteY1144" fmla="*/ 98638 h 348332"/>
                <a:gd name="connsiteX1145" fmla="*/ 929259 w 2663946"/>
                <a:gd name="connsiteY1145" fmla="*/ 103505 h 348332"/>
                <a:gd name="connsiteX1146" fmla="*/ 928029 w 2663946"/>
                <a:gd name="connsiteY1146" fmla="*/ 107290 h 348332"/>
                <a:gd name="connsiteX1147" fmla="*/ 927046 w 2663946"/>
                <a:gd name="connsiteY1147" fmla="*/ 109724 h 348332"/>
                <a:gd name="connsiteX1148" fmla="*/ 924834 w 2663946"/>
                <a:gd name="connsiteY1148" fmla="*/ 114050 h 348332"/>
                <a:gd name="connsiteX1149" fmla="*/ 922622 w 2663946"/>
                <a:gd name="connsiteY1149" fmla="*/ 117294 h 348332"/>
                <a:gd name="connsiteX1150" fmla="*/ 919181 w 2663946"/>
                <a:gd name="connsiteY1150" fmla="*/ 121080 h 348332"/>
                <a:gd name="connsiteX1151" fmla="*/ 915985 w 2663946"/>
                <a:gd name="connsiteY1151" fmla="*/ 123783 h 348332"/>
                <a:gd name="connsiteX1152" fmla="*/ 910332 w 2663946"/>
                <a:gd name="connsiteY1152" fmla="*/ 127028 h 348332"/>
                <a:gd name="connsiteX1153" fmla="*/ 902466 w 2663946"/>
                <a:gd name="connsiteY1153" fmla="*/ 129191 h 348332"/>
                <a:gd name="connsiteX1154" fmla="*/ 901237 w 2663946"/>
                <a:gd name="connsiteY1154" fmla="*/ 129462 h 348332"/>
                <a:gd name="connsiteX1155" fmla="*/ 897058 w 2663946"/>
                <a:gd name="connsiteY1155" fmla="*/ 129462 h 348332"/>
                <a:gd name="connsiteX1156" fmla="*/ 896812 w 2663946"/>
                <a:gd name="connsiteY1156" fmla="*/ 129462 h 348332"/>
                <a:gd name="connsiteX1157" fmla="*/ 883785 w 2663946"/>
                <a:gd name="connsiteY1157" fmla="*/ 124595 h 348332"/>
                <a:gd name="connsiteX1158" fmla="*/ 879115 w 2663946"/>
                <a:gd name="connsiteY1158" fmla="*/ 120539 h 348332"/>
                <a:gd name="connsiteX1159" fmla="*/ 875919 w 2663946"/>
                <a:gd name="connsiteY1159" fmla="*/ 116754 h 348332"/>
                <a:gd name="connsiteX1160" fmla="*/ 873707 w 2663946"/>
                <a:gd name="connsiteY1160" fmla="*/ 113239 h 348332"/>
                <a:gd name="connsiteX1161" fmla="*/ 871495 w 2663946"/>
                <a:gd name="connsiteY1161" fmla="*/ 108913 h 348332"/>
                <a:gd name="connsiteX1162" fmla="*/ 870266 w 2663946"/>
                <a:gd name="connsiteY1162" fmla="*/ 105938 h 348332"/>
                <a:gd name="connsiteX1163" fmla="*/ 869282 w 2663946"/>
                <a:gd name="connsiteY1163" fmla="*/ 102694 h 348332"/>
                <a:gd name="connsiteX1164" fmla="*/ 868053 w 2663946"/>
                <a:gd name="connsiteY1164" fmla="*/ 97016 h 348332"/>
                <a:gd name="connsiteX1165" fmla="*/ 867808 w 2663946"/>
                <a:gd name="connsiteY1165" fmla="*/ 94042 h 348332"/>
                <a:gd name="connsiteX1166" fmla="*/ 868053 w 2663946"/>
                <a:gd name="connsiteY1166" fmla="*/ 94312 h 348332"/>
                <a:gd name="connsiteX1167" fmla="*/ 868053 w 2663946"/>
                <a:gd name="connsiteY1167" fmla="*/ 88634 h 348332"/>
                <a:gd name="connsiteX1168" fmla="*/ 868053 w 2663946"/>
                <a:gd name="connsiteY1168" fmla="*/ 88364 h 348332"/>
                <a:gd name="connsiteX1169" fmla="*/ 868545 w 2663946"/>
                <a:gd name="connsiteY1169" fmla="*/ 83767 h 348332"/>
                <a:gd name="connsiteX1170" fmla="*/ 869774 w 2663946"/>
                <a:gd name="connsiteY1170" fmla="*/ 78360 h 348332"/>
                <a:gd name="connsiteX1171" fmla="*/ 870757 w 2663946"/>
                <a:gd name="connsiteY1171" fmla="*/ 75115 h 348332"/>
                <a:gd name="connsiteX1172" fmla="*/ 872969 w 2663946"/>
                <a:gd name="connsiteY1172" fmla="*/ 69978 h 348332"/>
                <a:gd name="connsiteX1173" fmla="*/ 875182 w 2663946"/>
                <a:gd name="connsiteY1173" fmla="*/ 66193 h 348332"/>
                <a:gd name="connsiteX1174" fmla="*/ 877394 w 2663946"/>
                <a:gd name="connsiteY1174" fmla="*/ 63218 h 348332"/>
                <a:gd name="connsiteX1175" fmla="*/ 879606 w 2663946"/>
                <a:gd name="connsiteY1175" fmla="*/ 60785 h 348332"/>
                <a:gd name="connsiteX1176" fmla="*/ 884276 w 2663946"/>
                <a:gd name="connsiteY1176" fmla="*/ 57000 h 348332"/>
                <a:gd name="connsiteX1177" fmla="*/ 888209 w 2663946"/>
                <a:gd name="connsiteY1177" fmla="*/ 54837 h 348332"/>
                <a:gd name="connsiteX1178" fmla="*/ 897796 w 2663946"/>
                <a:gd name="connsiteY1178" fmla="*/ 52403 h 348332"/>
                <a:gd name="connsiteX1179" fmla="*/ 548889 w 2663946"/>
                <a:gd name="connsiteY1179" fmla="*/ 52403 h 348332"/>
                <a:gd name="connsiteX1180" fmla="*/ 561180 w 2663946"/>
                <a:gd name="connsiteY1180" fmla="*/ 54566 h 348332"/>
                <a:gd name="connsiteX1181" fmla="*/ 568554 w 2663946"/>
                <a:gd name="connsiteY1181" fmla="*/ 59163 h 348332"/>
                <a:gd name="connsiteX1182" fmla="*/ 571995 w 2663946"/>
                <a:gd name="connsiteY1182" fmla="*/ 62407 h 348332"/>
                <a:gd name="connsiteX1183" fmla="*/ 575436 w 2663946"/>
                <a:gd name="connsiteY1183" fmla="*/ 66733 h 348332"/>
                <a:gd name="connsiteX1184" fmla="*/ 577403 w 2663946"/>
                <a:gd name="connsiteY1184" fmla="*/ 70248 h 348332"/>
                <a:gd name="connsiteX1185" fmla="*/ 579615 w 2663946"/>
                <a:gd name="connsiteY1185" fmla="*/ 75656 h 348332"/>
                <a:gd name="connsiteX1186" fmla="*/ 580598 w 2663946"/>
                <a:gd name="connsiteY1186" fmla="*/ 79171 h 348332"/>
                <a:gd name="connsiteX1187" fmla="*/ 581581 w 2663946"/>
                <a:gd name="connsiteY1187" fmla="*/ 84308 h 348332"/>
                <a:gd name="connsiteX1188" fmla="*/ 581336 w 2663946"/>
                <a:gd name="connsiteY1188" fmla="*/ 98638 h 348332"/>
                <a:gd name="connsiteX1189" fmla="*/ 580352 w 2663946"/>
                <a:gd name="connsiteY1189" fmla="*/ 103505 h 348332"/>
                <a:gd name="connsiteX1190" fmla="*/ 579123 w 2663946"/>
                <a:gd name="connsiteY1190" fmla="*/ 107290 h 348332"/>
                <a:gd name="connsiteX1191" fmla="*/ 578140 w 2663946"/>
                <a:gd name="connsiteY1191" fmla="*/ 109724 h 348332"/>
                <a:gd name="connsiteX1192" fmla="*/ 575928 w 2663946"/>
                <a:gd name="connsiteY1192" fmla="*/ 114050 h 348332"/>
                <a:gd name="connsiteX1193" fmla="*/ 573715 w 2663946"/>
                <a:gd name="connsiteY1193" fmla="*/ 117294 h 348332"/>
                <a:gd name="connsiteX1194" fmla="*/ 570274 w 2663946"/>
                <a:gd name="connsiteY1194" fmla="*/ 121080 h 348332"/>
                <a:gd name="connsiteX1195" fmla="*/ 567079 w 2663946"/>
                <a:gd name="connsiteY1195" fmla="*/ 123783 h 348332"/>
                <a:gd name="connsiteX1196" fmla="*/ 561425 w 2663946"/>
                <a:gd name="connsiteY1196" fmla="*/ 127028 h 348332"/>
                <a:gd name="connsiteX1197" fmla="*/ 553559 w 2663946"/>
                <a:gd name="connsiteY1197" fmla="*/ 129191 h 348332"/>
                <a:gd name="connsiteX1198" fmla="*/ 552331 w 2663946"/>
                <a:gd name="connsiteY1198" fmla="*/ 129462 h 348332"/>
                <a:gd name="connsiteX1199" fmla="*/ 548152 w 2663946"/>
                <a:gd name="connsiteY1199" fmla="*/ 129462 h 348332"/>
                <a:gd name="connsiteX1200" fmla="*/ 547906 w 2663946"/>
                <a:gd name="connsiteY1200" fmla="*/ 129462 h 348332"/>
                <a:gd name="connsiteX1201" fmla="*/ 534879 w 2663946"/>
                <a:gd name="connsiteY1201" fmla="*/ 124595 h 348332"/>
                <a:gd name="connsiteX1202" fmla="*/ 530208 w 2663946"/>
                <a:gd name="connsiteY1202" fmla="*/ 120539 h 348332"/>
                <a:gd name="connsiteX1203" fmla="*/ 527013 w 2663946"/>
                <a:gd name="connsiteY1203" fmla="*/ 116754 h 348332"/>
                <a:gd name="connsiteX1204" fmla="*/ 524801 w 2663946"/>
                <a:gd name="connsiteY1204" fmla="*/ 113239 h 348332"/>
                <a:gd name="connsiteX1205" fmla="*/ 522588 w 2663946"/>
                <a:gd name="connsiteY1205" fmla="*/ 108913 h 348332"/>
                <a:gd name="connsiteX1206" fmla="*/ 521359 w 2663946"/>
                <a:gd name="connsiteY1206" fmla="*/ 105938 h 348332"/>
                <a:gd name="connsiteX1207" fmla="*/ 520376 w 2663946"/>
                <a:gd name="connsiteY1207" fmla="*/ 102694 h 348332"/>
                <a:gd name="connsiteX1208" fmla="*/ 519147 w 2663946"/>
                <a:gd name="connsiteY1208" fmla="*/ 97016 h 348332"/>
                <a:gd name="connsiteX1209" fmla="*/ 518901 w 2663946"/>
                <a:gd name="connsiteY1209" fmla="*/ 94042 h 348332"/>
                <a:gd name="connsiteX1210" fmla="*/ 519147 w 2663946"/>
                <a:gd name="connsiteY1210" fmla="*/ 94312 h 348332"/>
                <a:gd name="connsiteX1211" fmla="*/ 519147 w 2663946"/>
                <a:gd name="connsiteY1211" fmla="*/ 88634 h 348332"/>
                <a:gd name="connsiteX1212" fmla="*/ 519147 w 2663946"/>
                <a:gd name="connsiteY1212" fmla="*/ 88364 h 348332"/>
                <a:gd name="connsiteX1213" fmla="*/ 519639 w 2663946"/>
                <a:gd name="connsiteY1213" fmla="*/ 83767 h 348332"/>
                <a:gd name="connsiteX1214" fmla="*/ 520868 w 2663946"/>
                <a:gd name="connsiteY1214" fmla="*/ 78360 h 348332"/>
                <a:gd name="connsiteX1215" fmla="*/ 521851 w 2663946"/>
                <a:gd name="connsiteY1215" fmla="*/ 75115 h 348332"/>
                <a:gd name="connsiteX1216" fmla="*/ 524063 w 2663946"/>
                <a:gd name="connsiteY1216" fmla="*/ 69978 h 348332"/>
                <a:gd name="connsiteX1217" fmla="*/ 526275 w 2663946"/>
                <a:gd name="connsiteY1217" fmla="*/ 66193 h 348332"/>
                <a:gd name="connsiteX1218" fmla="*/ 528488 w 2663946"/>
                <a:gd name="connsiteY1218" fmla="*/ 63218 h 348332"/>
                <a:gd name="connsiteX1219" fmla="*/ 530700 w 2663946"/>
                <a:gd name="connsiteY1219" fmla="*/ 60785 h 348332"/>
                <a:gd name="connsiteX1220" fmla="*/ 535370 w 2663946"/>
                <a:gd name="connsiteY1220" fmla="*/ 57000 h 348332"/>
                <a:gd name="connsiteX1221" fmla="*/ 539303 w 2663946"/>
                <a:gd name="connsiteY1221" fmla="*/ 54837 h 348332"/>
                <a:gd name="connsiteX1222" fmla="*/ 548889 w 2663946"/>
                <a:gd name="connsiteY1222" fmla="*/ 52403 h 348332"/>
                <a:gd name="connsiteX1223" fmla="*/ 366938 w 2663946"/>
                <a:gd name="connsiteY1223" fmla="*/ 52403 h 348332"/>
                <a:gd name="connsiteX1224" fmla="*/ 379228 w 2663946"/>
                <a:gd name="connsiteY1224" fmla="*/ 54566 h 348332"/>
                <a:gd name="connsiteX1225" fmla="*/ 386603 w 2663946"/>
                <a:gd name="connsiteY1225" fmla="*/ 59163 h 348332"/>
                <a:gd name="connsiteX1226" fmla="*/ 390044 w 2663946"/>
                <a:gd name="connsiteY1226" fmla="*/ 62407 h 348332"/>
                <a:gd name="connsiteX1227" fmla="*/ 393485 w 2663946"/>
                <a:gd name="connsiteY1227" fmla="*/ 66733 h 348332"/>
                <a:gd name="connsiteX1228" fmla="*/ 395452 w 2663946"/>
                <a:gd name="connsiteY1228" fmla="*/ 70248 h 348332"/>
                <a:gd name="connsiteX1229" fmla="*/ 397664 w 2663946"/>
                <a:gd name="connsiteY1229" fmla="*/ 75656 h 348332"/>
                <a:gd name="connsiteX1230" fmla="*/ 398647 w 2663946"/>
                <a:gd name="connsiteY1230" fmla="*/ 79171 h 348332"/>
                <a:gd name="connsiteX1231" fmla="*/ 399630 w 2663946"/>
                <a:gd name="connsiteY1231" fmla="*/ 84308 h 348332"/>
                <a:gd name="connsiteX1232" fmla="*/ 399384 w 2663946"/>
                <a:gd name="connsiteY1232" fmla="*/ 98638 h 348332"/>
                <a:gd name="connsiteX1233" fmla="*/ 398401 w 2663946"/>
                <a:gd name="connsiteY1233" fmla="*/ 103505 h 348332"/>
                <a:gd name="connsiteX1234" fmla="*/ 397172 w 2663946"/>
                <a:gd name="connsiteY1234" fmla="*/ 107290 h 348332"/>
                <a:gd name="connsiteX1235" fmla="*/ 396189 w 2663946"/>
                <a:gd name="connsiteY1235" fmla="*/ 109724 h 348332"/>
                <a:gd name="connsiteX1236" fmla="*/ 393977 w 2663946"/>
                <a:gd name="connsiteY1236" fmla="*/ 114050 h 348332"/>
                <a:gd name="connsiteX1237" fmla="*/ 391764 w 2663946"/>
                <a:gd name="connsiteY1237" fmla="*/ 117294 h 348332"/>
                <a:gd name="connsiteX1238" fmla="*/ 388323 w 2663946"/>
                <a:gd name="connsiteY1238" fmla="*/ 121080 h 348332"/>
                <a:gd name="connsiteX1239" fmla="*/ 385128 w 2663946"/>
                <a:gd name="connsiteY1239" fmla="*/ 123783 h 348332"/>
                <a:gd name="connsiteX1240" fmla="*/ 379474 w 2663946"/>
                <a:gd name="connsiteY1240" fmla="*/ 127028 h 348332"/>
                <a:gd name="connsiteX1241" fmla="*/ 371609 w 2663946"/>
                <a:gd name="connsiteY1241" fmla="*/ 129191 h 348332"/>
                <a:gd name="connsiteX1242" fmla="*/ 370380 w 2663946"/>
                <a:gd name="connsiteY1242" fmla="*/ 129462 h 348332"/>
                <a:gd name="connsiteX1243" fmla="*/ 366201 w 2663946"/>
                <a:gd name="connsiteY1243" fmla="*/ 129462 h 348332"/>
                <a:gd name="connsiteX1244" fmla="*/ 365955 w 2663946"/>
                <a:gd name="connsiteY1244" fmla="*/ 129462 h 348332"/>
                <a:gd name="connsiteX1245" fmla="*/ 352927 w 2663946"/>
                <a:gd name="connsiteY1245" fmla="*/ 124595 h 348332"/>
                <a:gd name="connsiteX1246" fmla="*/ 348257 w 2663946"/>
                <a:gd name="connsiteY1246" fmla="*/ 120539 h 348332"/>
                <a:gd name="connsiteX1247" fmla="*/ 345062 w 2663946"/>
                <a:gd name="connsiteY1247" fmla="*/ 116754 h 348332"/>
                <a:gd name="connsiteX1248" fmla="*/ 342850 w 2663946"/>
                <a:gd name="connsiteY1248" fmla="*/ 113239 h 348332"/>
                <a:gd name="connsiteX1249" fmla="*/ 340637 w 2663946"/>
                <a:gd name="connsiteY1249" fmla="*/ 108913 h 348332"/>
                <a:gd name="connsiteX1250" fmla="*/ 339408 w 2663946"/>
                <a:gd name="connsiteY1250" fmla="*/ 105938 h 348332"/>
                <a:gd name="connsiteX1251" fmla="*/ 338425 w 2663946"/>
                <a:gd name="connsiteY1251" fmla="*/ 102694 h 348332"/>
                <a:gd name="connsiteX1252" fmla="*/ 337196 w 2663946"/>
                <a:gd name="connsiteY1252" fmla="*/ 97016 h 348332"/>
                <a:gd name="connsiteX1253" fmla="*/ 336950 w 2663946"/>
                <a:gd name="connsiteY1253" fmla="*/ 94042 h 348332"/>
                <a:gd name="connsiteX1254" fmla="*/ 337196 w 2663946"/>
                <a:gd name="connsiteY1254" fmla="*/ 94312 h 348332"/>
                <a:gd name="connsiteX1255" fmla="*/ 337196 w 2663946"/>
                <a:gd name="connsiteY1255" fmla="*/ 88634 h 348332"/>
                <a:gd name="connsiteX1256" fmla="*/ 337196 w 2663946"/>
                <a:gd name="connsiteY1256" fmla="*/ 88364 h 348332"/>
                <a:gd name="connsiteX1257" fmla="*/ 337687 w 2663946"/>
                <a:gd name="connsiteY1257" fmla="*/ 83767 h 348332"/>
                <a:gd name="connsiteX1258" fmla="*/ 338917 w 2663946"/>
                <a:gd name="connsiteY1258" fmla="*/ 78360 h 348332"/>
                <a:gd name="connsiteX1259" fmla="*/ 339900 w 2663946"/>
                <a:gd name="connsiteY1259" fmla="*/ 75115 h 348332"/>
                <a:gd name="connsiteX1260" fmla="*/ 342112 w 2663946"/>
                <a:gd name="connsiteY1260" fmla="*/ 69978 h 348332"/>
                <a:gd name="connsiteX1261" fmla="*/ 344324 w 2663946"/>
                <a:gd name="connsiteY1261" fmla="*/ 66193 h 348332"/>
                <a:gd name="connsiteX1262" fmla="*/ 346536 w 2663946"/>
                <a:gd name="connsiteY1262" fmla="*/ 63218 h 348332"/>
                <a:gd name="connsiteX1263" fmla="*/ 348749 w 2663946"/>
                <a:gd name="connsiteY1263" fmla="*/ 60785 h 348332"/>
                <a:gd name="connsiteX1264" fmla="*/ 353419 w 2663946"/>
                <a:gd name="connsiteY1264" fmla="*/ 57000 h 348332"/>
                <a:gd name="connsiteX1265" fmla="*/ 357352 w 2663946"/>
                <a:gd name="connsiteY1265" fmla="*/ 54837 h 348332"/>
                <a:gd name="connsiteX1266" fmla="*/ 366938 w 2663946"/>
                <a:gd name="connsiteY1266" fmla="*/ 52403 h 348332"/>
                <a:gd name="connsiteX1267" fmla="*/ 123893 w 2663946"/>
                <a:gd name="connsiteY1267" fmla="*/ 52403 h 348332"/>
                <a:gd name="connsiteX1268" fmla="*/ 136183 w 2663946"/>
                <a:gd name="connsiteY1268" fmla="*/ 54566 h 348332"/>
                <a:gd name="connsiteX1269" fmla="*/ 143557 w 2663946"/>
                <a:gd name="connsiteY1269" fmla="*/ 59163 h 348332"/>
                <a:gd name="connsiteX1270" fmla="*/ 146998 w 2663946"/>
                <a:gd name="connsiteY1270" fmla="*/ 62407 h 348332"/>
                <a:gd name="connsiteX1271" fmla="*/ 150439 w 2663946"/>
                <a:gd name="connsiteY1271" fmla="*/ 66733 h 348332"/>
                <a:gd name="connsiteX1272" fmla="*/ 152406 w 2663946"/>
                <a:gd name="connsiteY1272" fmla="*/ 70248 h 348332"/>
                <a:gd name="connsiteX1273" fmla="*/ 154618 w 2663946"/>
                <a:gd name="connsiteY1273" fmla="*/ 75656 h 348332"/>
                <a:gd name="connsiteX1274" fmla="*/ 155601 w 2663946"/>
                <a:gd name="connsiteY1274" fmla="*/ 79171 h 348332"/>
                <a:gd name="connsiteX1275" fmla="*/ 156584 w 2663946"/>
                <a:gd name="connsiteY1275" fmla="*/ 84308 h 348332"/>
                <a:gd name="connsiteX1276" fmla="*/ 156339 w 2663946"/>
                <a:gd name="connsiteY1276" fmla="*/ 98638 h 348332"/>
                <a:gd name="connsiteX1277" fmla="*/ 155355 w 2663946"/>
                <a:gd name="connsiteY1277" fmla="*/ 103505 h 348332"/>
                <a:gd name="connsiteX1278" fmla="*/ 154126 w 2663946"/>
                <a:gd name="connsiteY1278" fmla="*/ 107290 h 348332"/>
                <a:gd name="connsiteX1279" fmla="*/ 153143 w 2663946"/>
                <a:gd name="connsiteY1279" fmla="*/ 109724 h 348332"/>
                <a:gd name="connsiteX1280" fmla="*/ 150931 w 2663946"/>
                <a:gd name="connsiteY1280" fmla="*/ 114050 h 348332"/>
                <a:gd name="connsiteX1281" fmla="*/ 148719 w 2663946"/>
                <a:gd name="connsiteY1281" fmla="*/ 117294 h 348332"/>
                <a:gd name="connsiteX1282" fmla="*/ 145277 w 2663946"/>
                <a:gd name="connsiteY1282" fmla="*/ 121080 h 348332"/>
                <a:gd name="connsiteX1283" fmla="*/ 142082 w 2663946"/>
                <a:gd name="connsiteY1283" fmla="*/ 123783 h 348332"/>
                <a:gd name="connsiteX1284" fmla="*/ 136428 w 2663946"/>
                <a:gd name="connsiteY1284" fmla="*/ 127028 h 348332"/>
                <a:gd name="connsiteX1285" fmla="*/ 128563 w 2663946"/>
                <a:gd name="connsiteY1285" fmla="*/ 129191 h 348332"/>
                <a:gd name="connsiteX1286" fmla="*/ 127334 w 2663946"/>
                <a:gd name="connsiteY1286" fmla="*/ 129462 h 348332"/>
                <a:gd name="connsiteX1287" fmla="*/ 123155 w 2663946"/>
                <a:gd name="connsiteY1287" fmla="*/ 129462 h 348332"/>
                <a:gd name="connsiteX1288" fmla="*/ 122909 w 2663946"/>
                <a:gd name="connsiteY1288" fmla="*/ 129462 h 348332"/>
                <a:gd name="connsiteX1289" fmla="*/ 109882 w 2663946"/>
                <a:gd name="connsiteY1289" fmla="*/ 124595 h 348332"/>
                <a:gd name="connsiteX1290" fmla="*/ 105211 w 2663946"/>
                <a:gd name="connsiteY1290" fmla="*/ 120539 h 348332"/>
                <a:gd name="connsiteX1291" fmla="*/ 102016 w 2663946"/>
                <a:gd name="connsiteY1291" fmla="*/ 116754 h 348332"/>
                <a:gd name="connsiteX1292" fmla="*/ 99804 w 2663946"/>
                <a:gd name="connsiteY1292" fmla="*/ 113239 h 348332"/>
                <a:gd name="connsiteX1293" fmla="*/ 97591 w 2663946"/>
                <a:gd name="connsiteY1293" fmla="*/ 108913 h 348332"/>
                <a:gd name="connsiteX1294" fmla="*/ 96362 w 2663946"/>
                <a:gd name="connsiteY1294" fmla="*/ 105938 h 348332"/>
                <a:gd name="connsiteX1295" fmla="*/ 95379 w 2663946"/>
                <a:gd name="connsiteY1295" fmla="*/ 102694 h 348332"/>
                <a:gd name="connsiteX1296" fmla="*/ 94150 w 2663946"/>
                <a:gd name="connsiteY1296" fmla="*/ 97016 h 348332"/>
                <a:gd name="connsiteX1297" fmla="*/ 93904 w 2663946"/>
                <a:gd name="connsiteY1297" fmla="*/ 94042 h 348332"/>
                <a:gd name="connsiteX1298" fmla="*/ 94150 w 2663946"/>
                <a:gd name="connsiteY1298" fmla="*/ 94312 h 348332"/>
                <a:gd name="connsiteX1299" fmla="*/ 94150 w 2663946"/>
                <a:gd name="connsiteY1299" fmla="*/ 88634 h 348332"/>
                <a:gd name="connsiteX1300" fmla="*/ 94150 w 2663946"/>
                <a:gd name="connsiteY1300" fmla="*/ 88364 h 348332"/>
                <a:gd name="connsiteX1301" fmla="*/ 94642 w 2663946"/>
                <a:gd name="connsiteY1301" fmla="*/ 83767 h 348332"/>
                <a:gd name="connsiteX1302" fmla="*/ 95871 w 2663946"/>
                <a:gd name="connsiteY1302" fmla="*/ 78360 h 348332"/>
                <a:gd name="connsiteX1303" fmla="*/ 96854 w 2663946"/>
                <a:gd name="connsiteY1303" fmla="*/ 75115 h 348332"/>
                <a:gd name="connsiteX1304" fmla="*/ 99066 w 2663946"/>
                <a:gd name="connsiteY1304" fmla="*/ 69978 h 348332"/>
                <a:gd name="connsiteX1305" fmla="*/ 101279 w 2663946"/>
                <a:gd name="connsiteY1305" fmla="*/ 66193 h 348332"/>
                <a:gd name="connsiteX1306" fmla="*/ 103491 w 2663946"/>
                <a:gd name="connsiteY1306" fmla="*/ 63218 h 348332"/>
                <a:gd name="connsiteX1307" fmla="*/ 105703 w 2663946"/>
                <a:gd name="connsiteY1307" fmla="*/ 60785 h 348332"/>
                <a:gd name="connsiteX1308" fmla="*/ 110373 w 2663946"/>
                <a:gd name="connsiteY1308" fmla="*/ 57000 h 348332"/>
                <a:gd name="connsiteX1309" fmla="*/ 114306 w 2663946"/>
                <a:gd name="connsiteY1309" fmla="*/ 54837 h 348332"/>
                <a:gd name="connsiteX1310" fmla="*/ 123893 w 2663946"/>
                <a:gd name="connsiteY1310" fmla="*/ 52403 h 348332"/>
                <a:gd name="connsiteX1311" fmla="*/ 33147 w 2663946"/>
                <a:gd name="connsiteY1311" fmla="*/ 51765 h 348332"/>
                <a:gd name="connsiteX1312" fmla="*/ 57942 w 2663946"/>
                <a:gd name="connsiteY1312" fmla="*/ 71974 h 348332"/>
                <a:gd name="connsiteX1313" fmla="*/ 58422 w 2663946"/>
                <a:gd name="connsiteY1313" fmla="*/ 76732 h 348332"/>
                <a:gd name="connsiteX1314" fmla="*/ 59840 w 2663946"/>
                <a:gd name="connsiteY1314" fmla="*/ 76732 h 348332"/>
                <a:gd name="connsiteX1315" fmla="*/ 66294 w 2663946"/>
                <a:gd name="connsiteY1315" fmla="*/ 83018 h 348332"/>
                <a:gd name="connsiteX1316" fmla="*/ 66294 w 2663946"/>
                <a:gd name="connsiteY1316" fmla="*/ 132740 h 348332"/>
                <a:gd name="connsiteX1317" fmla="*/ 59840 w 2663946"/>
                <a:gd name="connsiteY1317" fmla="*/ 139026 h 348332"/>
                <a:gd name="connsiteX1318" fmla="*/ 6453 w 2663946"/>
                <a:gd name="connsiteY1318" fmla="*/ 139026 h 348332"/>
                <a:gd name="connsiteX1319" fmla="*/ 0 w 2663946"/>
                <a:gd name="connsiteY1319" fmla="*/ 132740 h 348332"/>
                <a:gd name="connsiteX1320" fmla="*/ 0 w 2663946"/>
                <a:gd name="connsiteY1320" fmla="*/ 83018 h 348332"/>
                <a:gd name="connsiteX1321" fmla="*/ 6453 w 2663946"/>
                <a:gd name="connsiteY1321" fmla="*/ 76732 h 348332"/>
                <a:gd name="connsiteX1322" fmla="*/ 7288 w 2663946"/>
                <a:gd name="connsiteY1322" fmla="*/ 76732 h 348332"/>
                <a:gd name="connsiteX1323" fmla="*/ 7872 w 2663946"/>
                <a:gd name="connsiteY1323" fmla="*/ 76732 h 348332"/>
                <a:gd name="connsiteX1324" fmla="*/ 8351 w 2663946"/>
                <a:gd name="connsiteY1324" fmla="*/ 71974 h 348332"/>
                <a:gd name="connsiteX1325" fmla="*/ 33147 w 2663946"/>
                <a:gd name="connsiteY1325" fmla="*/ 51765 h 348332"/>
                <a:gd name="connsiteX1326" fmla="*/ 2537931 w 2663946"/>
                <a:gd name="connsiteY1326" fmla="*/ 44177 h 348332"/>
                <a:gd name="connsiteX1327" fmla="*/ 2562727 w 2663946"/>
                <a:gd name="connsiteY1327" fmla="*/ 64386 h 348332"/>
                <a:gd name="connsiteX1328" fmla="*/ 2563206 w 2663946"/>
                <a:gd name="connsiteY1328" fmla="*/ 69144 h 348332"/>
                <a:gd name="connsiteX1329" fmla="*/ 2564625 w 2663946"/>
                <a:gd name="connsiteY1329" fmla="*/ 69144 h 348332"/>
                <a:gd name="connsiteX1330" fmla="*/ 2571078 w 2663946"/>
                <a:gd name="connsiteY1330" fmla="*/ 75430 h 348332"/>
                <a:gd name="connsiteX1331" fmla="*/ 2571078 w 2663946"/>
                <a:gd name="connsiteY1331" fmla="*/ 125152 h 348332"/>
                <a:gd name="connsiteX1332" fmla="*/ 2564625 w 2663946"/>
                <a:gd name="connsiteY1332" fmla="*/ 131438 h 348332"/>
                <a:gd name="connsiteX1333" fmla="*/ 2511238 w 2663946"/>
                <a:gd name="connsiteY1333" fmla="*/ 131438 h 348332"/>
                <a:gd name="connsiteX1334" fmla="*/ 2504784 w 2663946"/>
                <a:gd name="connsiteY1334" fmla="*/ 125152 h 348332"/>
                <a:gd name="connsiteX1335" fmla="*/ 2504784 w 2663946"/>
                <a:gd name="connsiteY1335" fmla="*/ 75430 h 348332"/>
                <a:gd name="connsiteX1336" fmla="*/ 2511238 w 2663946"/>
                <a:gd name="connsiteY1336" fmla="*/ 69144 h 348332"/>
                <a:gd name="connsiteX1337" fmla="*/ 2512072 w 2663946"/>
                <a:gd name="connsiteY1337" fmla="*/ 69144 h 348332"/>
                <a:gd name="connsiteX1338" fmla="*/ 2512656 w 2663946"/>
                <a:gd name="connsiteY1338" fmla="*/ 69144 h 348332"/>
                <a:gd name="connsiteX1339" fmla="*/ 2513136 w 2663946"/>
                <a:gd name="connsiteY1339" fmla="*/ 64386 h 348332"/>
                <a:gd name="connsiteX1340" fmla="*/ 2537931 w 2663946"/>
                <a:gd name="connsiteY1340" fmla="*/ 44177 h 348332"/>
                <a:gd name="connsiteX1341" fmla="*/ 2112934 w 2663946"/>
                <a:gd name="connsiteY1341" fmla="*/ 44177 h 348332"/>
                <a:gd name="connsiteX1342" fmla="*/ 2137730 w 2663946"/>
                <a:gd name="connsiteY1342" fmla="*/ 64386 h 348332"/>
                <a:gd name="connsiteX1343" fmla="*/ 2138209 w 2663946"/>
                <a:gd name="connsiteY1343" fmla="*/ 69144 h 348332"/>
                <a:gd name="connsiteX1344" fmla="*/ 2139628 w 2663946"/>
                <a:gd name="connsiteY1344" fmla="*/ 69144 h 348332"/>
                <a:gd name="connsiteX1345" fmla="*/ 2146081 w 2663946"/>
                <a:gd name="connsiteY1345" fmla="*/ 75430 h 348332"/>
                <a:gd name="connsiteX1346" fmla="*/ 2146081 w 2663946"/>
                <a:gd name="connsiteY1346" fmla="*/ 125152 h 348332"/>
                <a:gd name="connsiteX1347" fmla="*/ 2139628 w 2663946"/>
                <a:gd name="connsiteY1347" fmla="*/ 131438 h 348332"/>
                <a:gd name="connsiteX1348" fmla="*/ 2086241 w 2663946"/>
                <a:gd name="connsiteY1348" fmla="*/ 131438 h 348332"/>
                <a:gd name="connsiteX1349" fmla="*/ 2079787 w 2663946"/>
                <a:gd name="connsiteY1349" fmla="*/ 125152 h 348332"/>
                <a:gd name="connsiteX1350" fmla="*/ 2079787 w 2663946"/>
                <a:gd name="connsiteY1350" fmla="*/ 75430 h 348332"/>
                <a:gd name="connsiteX1351" fmla="*/ 2086241 w 2663946"/>
                <a:gd name="connsiteY1351" fmla="*/ 69144 h 348332"/>
                <a:gd name="connsiteX1352" fmla="*/ 2087075 w 2663946"/>
                <a:gd name="connsiteY1352" fmla="*/ 69144 h 348332"/>
                <a:gd name="connsiteX1353" fmla="*/ 2087659 w 2663946"/>
                <a:gd name="connsiteY1353" fmla="*/ 69144 h 348332"/>
                <a:gd name="connsiteX1354" fmla="*/ 2088139 w 2663946"/>
                <a:gd name="connsiteY1354" fmla="*/ 64386 h 348332"/>
                <a:gd name="connsiteX1355" fmla="*/ 2112934 w 2663946"/>
                <a:gd name="connsiteY1355" fmla="*/ 44177 h 348332"/>
                <a:gd name="connsiteX1356" fmla="*/ 1854966 w 2663946"/>
                <a:gd name="connsiteY1356" fmla="*/ 44177 h 348332"/>
                <a:gd name="connsiteX1357" fmla="*/ 1879762 w 2663946"/>
                <a:gd name="connsiteY1357" fmla="*/ 64386 h 348332"/>
                <a:gd name="connsiteX1358" fmla="*/ 1880241 w 2663946"/>
                <a:gd name="connsiteY1358" fmla="*/ 69144 h 348332"/>
                <a:gd name="connsiteX1359" fmla="*/ 1881660 w 2663946"/>
                <a:gd name="connsiteY1359" fmla="*/ 69144 h 348332"/>
                <a:gd name="connsiteX1360" fmla="*/ 1888113 w 2663946"/>
                <a:gd name="connsiteY1360" fmla="*/ 75430 h 348332"/>
                <a:gd name="connsiteX1361" fmla="*/ 1888113 w 2663946"/>
                <a:gd name="connsiteY1361" fmla="*/ 125152 h 348332"/>
                <a:gd name="connsiteX1362" fmla="*/ 1881660 w 2663946"/>
                <a:gd name="connsiteY1362" fmla="*/ 131438 h 348332"/>
                <a:gd name="connsiteX1363" fmla="*/ 1828273 w 2663946"/>
                <a:gd name="connsiteY1363" fmla="*/ 131438 h 348332"/>
                <a:gd name="connsiteX1364" fmla="*/ 1821819 w 2663946"/>
                <a:gd name="connsiteY1364" fmla="*/ 125152 h 348332"/>
                <a:gd name="connsiteX1365" fmla="*/ 1821819 w 2663946"/>
                <a:gd name="connsiteY1365" fmla="*/ 75430 h 348332"/>
                <a:gd name="connsiteX1366" fmla="*/ 1828273 w 2663946"/>
                <a:gd name="connsiteY1366" fmla="*/ 69144 h 348332"/>
                <a:gd name="connsiteX1367" fmla="*/ 1829107 w 2663946"/>
                <a:gd name="connsiteY1367" fmla="*/ 69144 h 348332"/>
                <a:gd name="connsiteX1368" fmla="*/ 1829691 w 2663946"/>
                <a:gd name="connsiteY1368" fmla="*/ 69144 h 348332"/>
                <a:gd name="connsiteX1369" fmla="*/ 1830171 w 2663946"/>
                <a:gd name="connsiteY1369" fmla="*/ 64386 h 348332"/>
                <a:gd name="connsiteX1370" fmla="*/ 1854966 w 2663946"/>
                <a:gd name="connsiteY1370" fmla="*/ 44177 h 348332"/>
                <a:gd name="connsiteX1371" fmla="*/ 1764027 w 2663946"/>
                <a:gd name="connsiteY1371" fmla="*/ 44177 h 348332"/>
                <a:gd name="connsiteX1372" fmla="*/ 1788823 w 2663946"/>
                <a:gd name="connsiteY1372" fmla="*/ 64386 h 348332"/>
                <a:gd name="connsiteX1373" fmla="*/ 1789302 w 2663946"/>
                <a:gd name="connsiteY1373" fmla="*/ 69144 h 348332"/>
                <a:gd name="connsiteX1374" fmla="*/ 1790721 w 2663946"/>
                <a:gd name="connsiteY1374" fmla="*/ 69144 h 348332"/>
                <a:gd name="connsiteX1375" fmla="*/ 1797174 w 2663946"/>
                <a:gd name="connsiteY1375" fmla="*/ 75430 h 348332"/>
                <a:gd name="connsiteX1376" fmla="*/ 1797174 w 2663946"/>
                <a:gd name="connsiteY1376" fmla="*/ 125152 h 348332"/>
                <a:gd name="connsiteX1377" fmla="*/ 1790721 w 2663946"/>
                <a:gd name="connsiteY1377" fmla="*/ 131438 h 348332"/>
                <a:gd name="connsiteX1378" fmla="*/ 1737333 w 2663946"/>
                <a:gd name="connsiteY1378" fmla="*/ 131438 h 348332"/>
                <a:gd name="connsiteX1379" fmla="*/ 1730880 w 2663946"/>
                <a:gd name="connsiteY1379" fmla="*/ 125152 h 348332"/>
                <a:gd name="connsiteX1380" fmla="*/ 1730880 w 2663946"/>
                <a:gd name="connsiteY1380" fmla="*/ 75430 h 348332"/>
                <a:gd name="connsiteX1381" fmla="*/ 1737333 w 2663946"/>
                <a:gd name="connsiteY1381" fmla="*/ 69144 h 348332"/>
                <a:gd name="connsiteX1382" fmla="*/ 1738168 w 2663946"/>
                <a:gd name="connsiteY1382" fmla="*/ 69144 h 348332"/>
                <a:gd name="connsiteX1383" fmla="*/ 1738752 w 2663946"/>
                <a:gd name="connsiteY1383" fmla="*/ 69144 h 348332"/>
                <a:gd name="connsiteX1384" fmla="*/ 1739232 w 2663946"/>
                <a:gd name="connsiteY1384" fmla="*/ 64386 h 348332"/>
                <a:gd name="connsiteX1385" fmla="*/ 1764027 w 2663946"/>
                <a:gd name="connsiteY1385" fmla="*/ 44177 h 348332"/>
                <a:gd name="connsiteX1386" fmla="*/ 1506059 w 2663946"/>
                <a:gd name="connsiteY1386" fmla="*/ 44177 h 348332"/>
                <a:gd name="connsiteX1387" fmla="*/ 1530855 w 2663946"/>
                <a:gd name="connsiteY1387" fmla="*/ 64386 h 348332"/>
                <a:gd name="connsiteX1388" fmla="*/ 1531334 w 2663946"/>
                <a:gd name="connsiteY1388" fmla="*/ 69144 h 348332"/>
                <a:gd name="connsiteX1389" fmla="*/ 1532753 w 2663946"/>
                <a:gd name="connsiteY1389" fmla="*/ 69144 h 348332"/>
                <a:gd name="connsiteX1390" fmla="*/ 1539206 w 2663946"/>
                <a:gd name="connsiteY1390" fmla="*/ 75430 h 348332"/>
                <a:gd name="connsiteX1391" fmla="*/ 1539206 w 2663946"/>
                <a:gd name="connsiteY1391" fmla="*/ 125152 h 348332"/>
                <a:gd name="connsiteX1392" fmla="*/ 1532753 w 2663946"/>
                <a:gd name="connsiteY1392" fmla="*/ 131438 h 348332"/>
                <a:gd name="connsiteX1393" fmla="*/ 1479365 w 2663946"/>
                <a:gd name="connsiteY1393" fmla="*/ 131438 h 348332"/>
                <a:gd name="connsiteX1394" fmla="*/ 1472912 w 2663946"/>
                <a:gd name="connsiteY1394" fmla="*/ 125152 h 348332"/>
                <a:gd name="connsiteX1395" fmla="*/ 1472912 w 2663946"/>
                <a:gd name="connsiteY1395" fmla="*/ 75430 h 348332"/>
                <a:gd name="connsiteX1396" fmla="*/ 1479365 w 2663946"/>
                <a:gd name="connsiteY1396" fmla="*/ 69144 h 348332"/>
                <a:gd name="connsiteX1397" fmla="*/ 1480200 w 2663946"/>
                <a:gd name="connsiteY1397" fmla="*/ 69144 h 348332"/>
                <a:gd name="connsiteX1398" fmla="*/ 1480784 w 2663946"/>
                <a:gd name="connsiteY1398" fmla="*/ 69144 h 348332"/>
                <a:gd name="connsiteX1399" fmla="*/ 1481264 w 2663946"/>
                <a:gd name="connsiteY1399" fmla="*/ 64386 h 348332"/>
                <a:gd name="connsiteX1400" fmla="*/ 1506059 w 2663946"/>
                <a:gd name="connsiteY1400" fmla="*/ 44177 h 348332"/>
                <a:gd name="connsiteX1401" fmla="*/ 1415120 w 2663946"/>
                <a:gd name="connsiteY1401" fmla="*/ 44177 h 348332"/>
                <a:gd name="connsiteX1402" fmla="*/ 1439916 w 2663946"/>
                <a:gd name="connsiteY1402" fmla="*/ 64386 h 348332"/>
                <a:gd name="connsiteX1403" fmla="*/ 1440395 w 2663946"/>
                <a:gd name="connsiteY1403" fmla="*/ 69144 h 348332"/>
                <a:gd name="connsiteX1404" fmla="*/ 1441814 w 2663946"/>
                <a:gd name="connsiteY1404" fmla="*/ 69144 h 348332"/>
                <a:gd name="connsiteX1405" fmla="*/ 1448267 w 2663946"/>
                <a:gd name="connsiteY1405" fmla="*/ 75430 h 348332"/>
                <a:gd name="connsiteX1406" fmla="*/ 1448267 w 2663946"/>
                <a:gd name="connsiteY1406" fmla="*/ 125152 h 348332"/>
                <a:gd name="connsiteX1407" fmla="*/ 1441814 w 2663946"/>
                <a:gd name="connsiteY1407" fmla="*/ 131438 h 348332"/>
                <a:gd name="connsiteX1408" fmla="*/ 1388426 w 2663946"/>
                <a:gd name="connsiteY1408" fmla="*/ 131438 h 348332"/>
                <a:gd name="connsiteX1409" fmla="*/ 1381973 w 2663946"/>
                <a:gd name="connsiteY1409" fmla="*/ 125152 h 348332"/>
                <a:gd name="connsiteX1410" fmla="*/ 1381973 w 2663946"/>
                <a:gd name="connsiteY1410" fmla="*/ 75430 h 348332"/>
                <a:gd name="connsiteX1411" fmla="*/ 1388426 w 2663946"/>
                <a:gd name="connsiteY1411" fmla="*/ 69144 h 348332"/>
                <a:gd name="connsiteX1412" fmla="*/ 1389261 w 2663946"/>
                <a:gd name="connsiteY1412" fmla="*/ 69144 h 348332"/>
                <a:gd name="connsiteX1413" fmla="*/ 1389845 w 2663946"/>
                <a:gd name="connsiteY1413" fmla="*/ 69144 h 348332"/>
                <a:gd name="connsiteX1414" fmla="*/ 1390325 w 2663946"/>
                <a:gd name="connsiteY1414" fmla="*/ 64386 h 348332"/>
                <a:gd name="connsiteX1415" fmla="*/ 1415120 w 2663946"/>
                <a:gd name="connsiteY1415" fmla="*/ 44177 h 348332"/>
                <a:gd name="connsiteX1416" fmla="*/ 1157152 w 2663946"/>
                <a:gd name="connsiteY1416" fmla="*/ 44177 h 348332"/>
                <a:gd name="connsiteX1417" fmla="*/ 1181948 w 2663946"/>
                <a:gd name="connsiteY1417" fmla="*/ 64386 h 348332"/>
                <a:gd name="connsiteX1418" fmla="*/ 1182427 w 2663946"/>
                <a:gd name="connsiteY1418" fmla="*/ 69144 h 348332"/>
                <a:gd name="connsiteX1419" fmla="*/ 1183846 w 2663946"/>
                <a:gd name="connsiteY1419" fmla="*/ 69144 h 348332"/>
                <a:gd name="connsiteX1420" fmla="*/ 1190299 w 2663946"/>
                <a:gd name="connsiteY1420" fmla="*/ 75430 h 348332"/>
                <a:gd name="connsiteX1421" fmla="*/ 1190299 w 2663946"/>
                <a:gd name="connsiteY1421" fmla="*/ 125152 h 348332"/>
                <a:gd name="connsiteX1422" fmla="*/ 1183846 w 2663946"/>
                <a:gd name="connsiteY1422" fmla="*/ 131438 h 348332"/>
                <a:gd name="connsiteX1423" fmla="*/ 1130458 w 2663946"/>
                <a:gd name="connsiteY1423" fmla="*/ 131438 h 348332"/>
                <a:gd name="connsiteX1424" fmla="*/ 1124005 w 2663946"/>
                <a:gd name="connsiteY1424" fmla="*/ 125152 h 348332"/>
                <a:gd name="connsiteX1425" fmla="*/ 1124005 w 2663946"/>
                <a:gd name="connsiteY1425" fmla="*/ 75430 h 348332"/>
                <a:gd name="connsiteX1426" fmla="*/ 1130458 w 2663946"/>
                <a:gd name="connsiteY1426" fmla="*/ 69144 h 348332"/>
                <a:gd name="connsiteX1427" fmla="*/ 1131293 w 2663946"/>
                <a:gd name="connsiteY1427" fmla="*/ 69144 h 348332"/>
                <a:gd name="connsiteX1428" fmla="*/ 1131877 w 2663946"/>
                <a:gd name="connsiteY1428" fmla="*/ 69144 h 348332"/>
                <a:gd name="connsiteX1429" fmla="*/ 1132357 w 2663946"/>
                <a:gd name="connsiteY1429" fmla="*/ 64386 h 348332"/>
                <a:gd name="connsiteX1430" fmla="*/ 1157152 w 2663946"/>
                <a:gd name="connsiteY1430" fmla="*/ 44177 h 348332"/>
                <a:gd name="connsiteX1431" fmla="*/ 732156 w 2663946"/>
                <a:gd name="connsiteY1431" fmla="*/ 44177 h 348332"/>
                <a:gd name="connsiteX1432" fmla="*/ 756951 w 2663946"/>
                <a:gd name="connsiteY1432" fmla="*/ 64386 h 348332"/>
                <a:gd name="connsiteX1433" fmla="*/ 757431 w 2663946"/>
                <a:gd name="connsiteY1433" fmla="*/ 69144 h 348332"/>
                <a:gd name="connsiteX1434" fmla="*/ 758849 w 2663946"/>
                <a:gd name="connsiteY1434" fmla="*/ 69144 h 348332"/>
                <a:gd name="connsiteX1435" fmla="*/ 765303 w 2663946"/>
                <a:gd name="connsiteY1435" fmla="*/ 75430 h 348332"/>
                <a:gd name="connsiteX1436" fmla="*/ 765303 w 2663946"/>
                <a:gd name="connsiteY1436" fmla="*/ 125152 h 348332"/>
                <a:gd name="connsiteX1437" fmla="*/ 758849 w 2663946"/>
                <a:gd name="connsiteY1437" fmla="*/ 131438 h 348332"/>
                <a:gd name="connsiteX1438" fmla="*/ 705462 w 2663946"/>
                <a:gd name="connsiteY1438" fmla="*/ 131438 h 348332"/>
                <a:gd name="connsiteX1439" fmla="*/ 699009 w 2663946"/>
                <a:gd name="connsiteY1439" fmla="*/ 125152 h 348332"/>
                <a:gd name="connsiteX1440" fmla="*/ 699009 w 2663946"/>
                <a:gd name="connsiteY1440" fmla="*/ 75430 h 348332"/>
                <a:gd name="connsiteX1441" fmla="*/ 705462 w 2663946"/>
                <a:gd name="connsiteY1441" fmla="*/ 69144 h 348332"/>
                <a:gd name="connsiteX1442" fmla="*/ 706296 w 2663946"/>
                <a:gd name="connsiteY1442" fmla="*/ 69144 h 348332"/>
                <a:gd name="connsiteX1443" fmla="*/ 706881 w 2663946"/>
                <a:gd name="connsiteY1443" fmla="*/ 69144 h 348332"/>
                <a:gd name="connsiteX1444" fmla="*/ 707360 w 2663946"/>
                <a:gd name="connsiteY1444" fmla="*/ 64386 h 348332"/>
                <a:gd name="connsiteX1445" fmla="*/ 732156 w 2663946"/>
                <a:gd name="connsiteY1445" fmla="*/ 44177 h 348332"/>
                <a:gd name="connsiteX1446" fmla="*/ 641217 w 2663946"/>
                <a:gd name="connsiteY1446" fmla="*/ 44177 h 348332"/>
                <a:gd name="connsiteX1447" fmla="*/ 666012 w 2663946"/>
                <a:gd name="connsiteY1447" fmla="*/ 64386 h 348332"/>
                <a:gd name="connsiteX1448" fmla="*/ 666492 w 2663946"/>
                <a:gd name="connsiteY1448" fmla="*/ 69144 h 348332"/>
                <a:gd name="connsiteX1449" fmla="*/ 667910 w 2663946"/>
                <a:gd name="connsiteY1449" fmla="*/ 69144 h 348332"/>
                <a:gd name="connsiteX1450" fmla="*/ 674364 w 2663946"/>
                <a:gd name="connsiteY1450" fmla="*/ 75430 h 348332"/>
                <a:gd name="connsiteX1451" fmla="*/ 674364 w 2663946"/>
                <a:gd name="connsiteY1451" fmla="*/ 125152 h 348332"/>
                <a:gd name="connsiteX1452" fmla="*/ 667910 w 2663946"/>
                <a:gd name="connsiteY1452" fmla="*/ 131438 h 348332"/>
                <a:gd name="connsiteX1453" fmla="*/ 614523 w 2663946"/>
                <a:gd name="connsiteY1453" fmla="*/ 131438 h 348332"/>
                <a:gd name="connsiteX1454" fmla="*/ 608070 w 2663946"/>
                <a:gd name="connsiteY1454" fmla="*/ 125152 h 348332"/>
                <a:gd name="connsiteX1455" fmla="*/ 608070 w 2663946"/>
                <a:gd name="connsiteY1455" fmla="*/ 75430 h 348332"/>
                <a:gd name="connsiteX1456" fmla="*/ 614523 w 2663946"/>
                <a:gd name="connsiteY1456" fmla="*/ 69144 h 348332"/>
                <a:gd name="connsiteX1457" fmla="*/ 615358 w 2663946"/>
                <a:gd name="connsiteY1457" fmla="*/ 69144 h 348332"/>
                <a:gd name="connsiteX1458" fmla="*/ 615942 w 2663946"/>
                <a:gd name="connsiteY1458" fmla="*/ 69144 h 348332"/>
                <a:gd name="connsiteX1459" fmla="*/ 616422 w 2663946"/>
                <a:gd name="connsiteY1459" fmla="*/ 64386 h 348332"/>
                <a:gd name="connsiteX1460" fmla="*/ 641217 w 2663946"/>
                <a:gd name="connsiteY1460" fmla="*/ 44177 h 348332"/>
                <a:gd name="connsiteX1461" fmla="*/ 459266 w 2663946"/>
                <a:gd name="connsiteY1461" fmla="*/ 44177 h 348332"/>
                <a:gd name="connsiteX1462" fmla="*/ 484061 w 2663946"/>
                <a:gd name="connsiteY1462" fmla="*/ 64386 h 348332"/>
                <a:gd name="connsiteX1463" fmla="*/ 484541 w 2663946"/>
                <a:gd name="connsiteY1463" fmla="*/ 69144 h 348332"/>
                <a:gd name="connsiteX1464" fmla="*/ 485959 w 2663946"/>
                <a:gd name="connsiteY1464" fmla="*/ 69144 h 348332"/>
                <a:gd name="connsiteX1465" fmla="*/ 492413 w 2663946"/>
                <a:gd name="connsiteY1465" fmla="*/ 75430 h 348332"/>
                <a:gd name="connsiteX1466" fmla="*/ 492413 w 2663946"/>
                <a:gd name="connsiteY1466" fmla="*/ 125152 h 348332"/>
                <a:gd name="connsiteX1467" fmla="*/ 485959 w 2663946"/>
                <a:gd name="connsiteY1467" fmla="*/ 131438 h 348332"/>
                <a:gd name="connsiteX1468" fmla="*/ 432572 w 2663946"/>
                <a:gd name="connsiteY1468" fmla="*/ 131438 h 348332"/>
                <a:gd name="connsiteX1469" fmla="*/ 426119 w 2663946"/>
                <a:gd name="connsiteY1469" fmla="*/ 125152 h 348332"/>
                <a:gd name="connsiteX1470" fmla="*/ 426119 w 2663946"/>
                <a:gd name="connsiteY1470" fmla="*/ 75430 h 348332"/>
                <a:gd name="connsiteX1471" fmla="*/ 432572 w 2663946"/>
                <a:gd name="connsiteY1471" fmla="*/ 69144 h 348332"/>
                <a:gd name="connsiteX1472" fmla="*/ 433406 w 2663946"/>
                <a:gd name="connsiteY1472" fmla="*/ 69144 h 348332"/>
                <a:gd name="connsiteX1473" fmla="*/ 433991 w 2663946"/>
                <a:gd name="connsiteY1473" fmla="*/ 69144 h 348332"/>
                <a:gd name="connsiteX1474" fmla="*/ 434470 w 2663946"/>
                <a:gd name="connsiteY1474" fmla="*/ 64386 h 348332"/>
                <a:gd name="connsiteX1475" fmla="*/ 459266 w 2663946"/>
                <a:gd name="connsiteY1475" fmla="*/ 44177 h 348332"/>
                <a:gd name="connsiteX1476" fmla="*/ 15475 w 2663946"/>
                <a:gd name="connsiteY1476" fmla="*/ 15952 h 348332"/>
                <a:gd name="connsiteX1477" fmla="*/ 40350 w 2663946"/>
                <a:gd name="connsiteY1477" fmla="*/ 0 h 348332"/>
                <a:gd name="connsiteX1478" fmla="*/ 16016 w 2663946"/>
                <a:gd name="connsiteY1478" fmla="*/ 15952 h 348332"/>
                <a:gd name="connsiteX1479" fmla="*/ 15475 w 2663946"/>
                <a:gd name="connsiteY1479" fmla="*/ 15952 h 348332"/>
                <a:gd name="connsiteX0" fmla="*/ 2632966 w 2663946"/>
                <a:gd name="connsiteY0" fmla="*/ 271275 h 332381"/>
                <a:gd name="connsiteX1" fmla="*/ 2621414 w 2663946"/>
                <a:gd name="connsiteY1" fmla="*/ 273708 h 332381"/>
                <a:gd name="connsiteX2" fmla="*/ 2618218 w 2663946"/>
                <a:gd name="connsiteY2" fmla="*/ 277223 h 332381"/>
                <a:gd name="connsiteX3" fmla="*/ 2616006 w 2663946"/>
                <a:gd name="connsiteY3" fmla="*/ 281008 h 332381"/>
                <a:gd name="connsiteX4" fmla="*/ 2615023 w 2663946"/>
                <a:gd name="connsiteY4" fmla="*/ 283712 h 332381"/>
                <a:gd name="connsiteX5" fmla="*/ 2614039 w 2663946"/>
                <a:gd name="connsiteY5" fmla="*/ 287768 h 332381"/>
                <a:gd name="connsiteX6" fmla="*/ 2613056 w 2663946"/>
                <a:gd name="connsiteY6" fmla="*/ 294798 h 332381"/>
                <a:gd name="connsiteX7" fmla="*/ 2614039 w 2663946"/>
                <a:gd name="connsiteY7" fmla="*/ 302098 h 332381"/>
                <a:gd name="connsiteX8" fmla="*/ 2615269 w 2663946"/>
                <a:gd name="connsiteY8" fmla="*/ 305883 h 332381"/>
                <a:gd name="connsiteX9" fmla="*/ 2617481 w 2663946"/>
                <a:gd name="connsiteY9" fmla="*/ 310209 h 332381"/>
                <a:gd name="connsiteX10" fmla="*/ 2620922 w 2663946"/>
                <a:gd name="connsiteY10" fmla="*/ 314536 h 332381"/>
                <a:gd name="connsiteX11" fmla="*/ 2625346 w 2663946"/>
                <a:gd name="connsiteY11" fmla="*/ 317239 h 332381"/>
                <a:gd name="connsiteX12" fmla="*/ 2637637 w 2663946"/>
                <a:gd name="connsiteY12" fmla="*/ 314806 h 332381"/>
                <a:gd name="connsiteX13" fmla="*/ 2640832 w 2663946"/>
                <a:gd name="connsiteY13" fmla="*/ 311291 h 332381"/>
                <a:gd name="connsiteX14" fmla="*/ 2643290 w 2663946"/>
                <a:gd name="connsiteY14" fmla="*/ 306965 h 332381"/>
                <a:gd name="connsiteX15" fmla="*/ 2644273 w 2663946"/>
                <a:gd name="connsiteY15" fmla="*/ 304802 h 332381"/>
                <a:gd name="connsiteX16" fmla="*/ 2645502 w 2663946"/>
                <a:gd name="connsiteY16" fmla="*/ 300476 h 332381"/>
                <a:gd name="connsiteX17" fmla="*/ 2645011 w 2663946"/>
                <a:gd name="connsiteY17" fmla="*/ 286686 h 332381"/>
                <a:gd name="connsiteX18" fmla="*/ 2644027 w 2663946"/>
                <a:gd name="connsiteY18" fmla="*/ 283712 h 332381"/>
                <a:gd name="connsiteX19" fmla="*/ 2642799 w 2663946"/>
                <a:gd name="connsiteY19" fmla="*/ 280738 h 332381"/>
                <a:gd name="connsiteX20" fmla="*/ 2640586 w 2663946"/>
                <a:gd name="connsiteY20" fmla="*/ 277223 h 332381"/>
                <a:gd name="connsiteX21" fmla="*/ 2636899 w 2663946"/>
                <a:gd name="connsiteY21" fmla="*/ 273438 h 332381"/>
                <a:gd name="connsiteX22" fmla="*/ 2632966 w 2663946"/>
                <a:gd name="connsiteY22" fmla="*/ 271275 h 332381"/>
                <a:gd name="connsiteX23" fmla="*/ 2627559 w 2663946"/>
                <a:gd name="connsiteY23" fmla="*/ 255322 h 332381"/>
                <a:gd name="connsiteX24" fmla="*/ 2639849 w 2663946"/>
                <a:gd name="connsiteY24" fmla="*/ 257485 h 332381"/>
                <a:gd name="connsiteX25" fmla="*/ 2647223 w 2663946"/>
                <a:gd name="connsiteY25" fmla="*/ 262082 h 332381"/>
                <a:gd name="connsiteX26" fmla="*/ 2650664 w 2663946"/>
                <a:gd name="connsiteY26" fmla="*/ 265326 h 332381"/>
                <a:gd name="connsiteX27" fmla="*/ 2654106 w 2663946"/>
                <a:gd name="connsiteY27" fmla="*/ 269652 h 332381"/>
                <a:gd name="connsiteX28" fmla="*/ 2656072 w 2663946"/>
                <a:gd name="connsiteY28" fmla="*/ 273167 h 332381"/>
                <a:gd name="connsiteX29" fmla="*/ 2658284 w 2663946"/>
                <a:gd name="connsiteY29" fmla="*/ 278575 h 332381"/>
                <a:gd name="connsiteX30" fmla="*/ 2659267 w 2663946"/>
                <a:gd name="connsiteY30" fmla="*/ 282090 h 332381"/>
                <a:gd name="connsiteX31" fmla="*/ 2660251 w 2663946"/>
                <a:gd name="connsiteY31" fmla="*/ 287227 h 332381"/>
                <a:gd name="connsiteX32" fmla="*/ 2660005 w 2663946"/>
                <a:gd name="connsiteY32" fmla="*/ 301557 h 332381"/>
                <a:gd name="connsiteX33" fmla="*/ 2659022 w 2663946"/>
                <a:gd name="connsiteY33" fmla="*/ 306424 h 332381"/>
                <a:gd name="connsiteX34" fmla="*/ 2657792 w 2663946"/>
                <a:gd name="connsiteY34" fmla="*/ 310209 h 332381"/>
                <a:gd name="connsiteX35" fmla="*/ 2656809 w 2663946"/>
                <a:gd name="connsiteY35" fmla="*/ 312643 h 332381"/>
                <a:gd name="connsiteX36" fmla="*/ 2654597 w 2663946"/>
                <a:gd name="connsiteY36" fmla="*/ 316969 h 332381"/>
                <a:gd name="connsiteX37" fmla="*/ 2652385 w 2663946"/>
                <a:gd name="connsiteY37" fmla="*/ 320213 h 332381"/>
                <a:gd name="connsiteX38" fmla="*/ 2648944 w 2663946"/>
                <a:gd name="connsiteY38" fmla="*/ 323999 h 332381"/>
                <a:gd name="connsiteX39" fmla="*/ 2645748 w 2663946"/>
                <a:gd name="connsiteY39" fmla="*/ 326702 h 332381"/>
                <a:gd name="connsiteX40" fmla="*/ 2640095 w 2663946"/>
                <a:gd name="connsiteY40" fmla="*/ 329947 h 332381"/>
                <a:gd name="connsiteX41" fmla="*/ 2632229 w 2663946"/>
                <a:gd name="connsiteY41" fmla="*/ 332110 h 332381"/>
                <a:gd name="connsiteX42" fmla="*/ 2631000 w 2663946"/>
                <a:gd name="connsiteY42" fmla="*/ 332381 h 332381"/>
                <a:gd name="connsiteX43" fmla="*/ 2626821 w 2663946"/>
                <a:gd name="connsiteY43" fmla="*/ 332381 h 332381"/>
                <a:gd name="connsiteX44" fmla="*/ 2626576 w 2663946"/>
                <a:gd name="connsiteY44" fmla="*/ 332381 h 332381"/>
                <a:gd name="connsiteX45" fmla="*/ 2613548 w 2663946"/>
                <a:gd name="connsiteY45" fmla="*/ 327514 h 332381"/>
                <a:gd name="connsiteX46" fmla="*/ 2608878 w 2663946"/>
                <a:gd name="connsiteY46" fmla="*/ 323458 h 332381"/>
                <a:gd name="connsiteX47" fmla="*/ 2605682 w 2663946"/>
                <a:gd name="connsiteY47" fmla="*/ 319673 h 332381"/>
                <a:gd name="connsiteX48" fmla="*/ 2603470 w 2663946"/>
                <a:gd name="connsiteY48" fmla="*/ 316158 h 332381"/>
                <a:gd name="connsiteX49" fmla="*/ 2601258 w 2663946"/>
                <a:gd name="connsiteY49" fmla="*/ 311832 h 332381"/>
                <a:gd name="connsiteX50" fmla="*/ 2600029 w 2663946"/>
                <a:gd name="connsiteY50" fmla="*/ 308857 h 332381"/>
                <a:gd name="connsiteX51" fmla="*/ 2599046 w 2663946"/>
                <a:gd name="connsiteY51" fmla="*/ 305613 h 332381"/>
                <a:gd name="connsiteX52" fmla="*/ 2597816 w 2663946"/>
                <a:gd name="connsiteY52" fmla="*/ 299935 h 332381"/>
                <a:gd name="connsiteX53" fmla="*/ 2597571 w 2663946"/>
                <a:gd name="connsiteY53" fmla="*/ 296961 h 332381"/>
                <a:gd name="connsiteX54" fmla="*/ 2597816 w 2663946"/>
                <a:gd name="connsiteY54" fmla="*/ 297231 h 332381"/>
                <a:gd name="connsiteX55" fmla="*/ 2597816 w 2663946"/>
                <a:gd name="connsiteY55" fmla="*/ 291553 h 332381"/>
                <a:gd name="connsiteX56" fmla="*/ 2597816 w 2663946"/>
                <a:gd name="connsiteY56" fmla="*/ 291283 h 332381"/>
                <a:gd name="connsiteX57" fmla="*/ 2598308 w 2663946"/>
                <a:gd name="connsiteY57" fmla="*/ 286686 h 332381"/>
                <a:gd name="connsiteX58" fmla="*/ 2599537 w 2663946"/>
                <a:gd name="connsiteY58" fmla="*/ 281279 h 332381"/>
                <a:gd name="connsiteX59" fmla="*/ 2600520 w 2663946"/>
                <a:gd name="connsiteY59" fmla="*/ 278034 h 332381"/>
                <a:gd name="connsiteX60" fmla="*/ 2602732 w 2663946"/>
                <a:gd name="connsiteY60" fmla="*/ 272897 h 332381"/>
                <a:gd name="connsiteX61" fmla="*/ 2604945 w 2663946"/>
                <a:gd name="connsiteY61" fmla="*/ 269112 h 332381"/>
                <a:gd name="connsiteX62" fmla="*/ 2607157 w 2663946"/>
                <a:gd name="connsiteY62" fmla="*/ 266137 h 332381"/>
                <a:gd name="connsiteX63" fmla="*/ 2609369 w 2663946"/>
                <a:gd name="connsiteY63" fmla="*/ 263704 h 332381"/>
                <a:gd name="connsiteX64" fmla="*/ 2614039 w 2663946"/>
                <a:gd name="connsiteY64" fmla="*/ 259919 h 332381"/>
                <a:gd name="connsiteX65" fmla="*/ 2617972 w 2663946"/>
                <a:gd name="connsiteY65" fmla="*/ 257756 h 332381"/>
                <a:gd name="connsiteX66" fmla="*/ 2627559 w 2663946"/>
                <a:gd name="connsiteY66" fmla="*/ 255322 h 332381"/>
                <a:gd name="connsiteX67" fmla="*/ 2631061 w 2663946"/>
                <a:gd name="connsiteY67" fmla="*/ 191412 h 332381"/>
                <a:gd name="connsiteX68" fmla="*/ 2621591 w 2663946"/>
                <a:gd name="connsiteY68" fmla="*/ 200686 h 332381"/>
                <a:gd name="connsiteX69" fmla="*/ 2626545 w 2663946"/>
                <a:gd name="connsiteY69" fmla="*/ 208843 h 332381"/>
                <a:gd name="connsiteX70" fmla="*/ 2626545 w 2663946"/>
                <a:gd name="connsiteY70" fmla="*/ 217238 h 332381"/>
                <a:gd name="connsiteX71" fmla="*/ 2631061 w 2663946"/>
                <a:gd name="connsiteY71" fmla="*/ 221661 h 332381"/>
                <a:gd name="connsiteX72" fmla="*/ 2635578 w 2663946"/>
                <a:gd name="connsiteY72" fmla="*/ 217238 h 332381"/>
                <a:gd name="connsiteX73" fmla="*/ 2635578 w 2663946"/>
                <a:gd name="connsiteY73" fmla="*/ 208843 h 332381"/>
                <a:gd name="connsiteX74" fmla="*/ 2640532 w 2663946"/>
                <a:gd name="connsiteY74" fmla="*/ 200686 h 332381"/>
                <a:gd name="connsiteX75" fmla="*/ 2631061 w 2663946"/>
                <a:gd name="connsiteY75" fmla="*/ 191412 h 332381"/>
                <a:gd name="connsiteX76" fmla="*/ 2630799 w 2663946"/>
                <a:gd name="connsiteY76" fmla="*/ 152695 h 332381"/>
                <a:gd name="connsiteX77" fmla="*/ 2619139 w 2663946"/>
                <a:gd name="connsiteY77" fmla="*/ 160424 h 332381"/>
                <a:gd name="connsiteX78" fmla="*/ 2618214 w 2663946"/>
                <a:gd name="connsiteY78" fmla="*/ 165007 h 332381"/>
                <a:gd name="connsiteX79" fmla="*/ 2621454 w 2663946"/>
                <a:gd name="connsiteY79" fmla="*/ 165007 h 332381"/>
                <a:gd name="connsiteX80" fmla="*/ 2639871 w 2663946"/>
                <a:gd name="connsiteY80" fmla="*/ 165007 h 332381"/>
                <a:gd name="connsiteX81" fmla="*/ 2643385 w 2663946"/>
                <a:gd name="connsiteY81" fmla="*/ 165007 h 332381"/>
                <a:gd name="connsiteX82" fmla="*/ 2642460 w 2663946"/>
                <a:gd name="connsiteY82" fmla="*/ 160424 h 332381"/>
                <a:gd name="connsiteX83" fmla="*/ 2630799 w 2663946"/>
                <a:gd name="connsiteY83" fmla="*/ 152695 h 332381"/>
                <a:gd name="connsiteX84" fmla="*/ 2630799 w 2663946"/>
                <a:gd name="connsiteY84" fmla="*/ 140040 h 332381"/>
                <a:gd name="connsiteX85" fmla="*/ 2655595 w 2663946"/>
                <a:gd name="connsiteY85" fmla="*/ 160249 h 332381"/>
                <a:gd name="connsiteX86" fmla="*/ 2656074 w 2663946"/>
                <a:gd name="connsiteY86" fmla="*/ 165007 h 332381"/>
                <a:gd name="connsiteX87" fmla="*/ 2657493 w 2663946"/>
                <a:gd name="connsiteY87" fmla="*/ 165007 h 332381"/>
                <a:gd name="connsiteX88" fmla="*/ 2663946 w 2663946"/>
                <a:gd name="connsiteY88" fmla="*/ 171293 h 332381"/>
                <a:gd name="connsiteX89" fmla="*/ 2663946 w 2663946"/>
                <a:gd name="connsiteY89" fmla="*/ 221015 h 332381"/>
                <a:gd name="connsiteX90" fmla="*/ 2657493 w 2663946"/>
                <a:gd name="connsiteY90" fmla="*/ 227301 h 332381"/>
                <a:gd name="connsiteX91" fmla="*/ 2604106 w 2663946"/>
                <a:gd name="connsiteY91" fmla="*/ 227301 h 332381"/>
                <a:gd name="connsiteX92" fmla="*/ 2597652 w 2663946"/>
                <a:gd name="connsiteY92" fmla="*/ 221015 h 332381"/>
                <a:gd name="connsiteX93" fmla="*/ 2597652 w 2663946"/>
                <a:gd name="connsiteY93" fmla="*/ 171293 h 332381"/>
                <a:gd name="connsiteX94" fmla="*/ 2604106 w 2663946"/>
                <a:gd name="connsiteY94" fmla="*/ 165007 h 332381"/>
                <a:gd name="connsiteX95" fmla="*/ 2604940 w 2663946"/>
                <a:gd name="connsiteY95" fmla="*/ 165007 h 332381"/>
                <a:gd name="connsiteX96" fmla="*/ 2605524 w 2663946"/>
                <a:gd name="connsiteY96" fmla="*/ 165007 h 332381"/>
                <a:gd name="connsiteX97" fmla="*/ 2606004 w 2663946"/>
                <a:gd name="connsiteY97" fmla="*/ 160249 h 332381"/>
                <a:gd name="connsiteX98" fmla="*/ 2630799 w 2663946"/>
                <a:gd name="connsiteY98" fmla="*/ 140040 h 332381"/>
                <a:gd name="connsiteX99" fmla="*/ 33409 w 2663946"/>
                <a:gd name="connsiteY99" fmla="*/ 87186 h 332381"/>
                <a:gd name="connsiteX100" fmla="*/ 23938 w 2663946"/>
                <a:gd name="connsiteY100" fmla="*/ 96460 h 332381"/>
                <a:gd name="connsiteX101" fmla="*/ 28892 w 2663946"/>
                <a:gd name="connsiteY101" fmla="*/ 104617 h 332381"/>
                <a:gd name="connsiteX102" fmla="*/ 28892 w 2663946"/>
                <a:gd name="connsiteY102" fmla="*/ 113012 h 332381"/>
                <a:gd name="connsiteX103" fmla="*/ 33409 w 2663946"/>
                <a:gd name="connsiteY103" fmla="*/ 117435 h 332381"/>
                <a:gd name="connsiteX104" fmla="*/ 37926 w 2663946"/>
                <a:gd name="connsiteY104" fmla="*/ 113012 h 332381"/>
                <a:gd name="connsiteX105" fmla="*/ 37926 w 2663946"/>
                <a:gd name="connsiteY105" fmla="*/ 104617 h 332381"/>
                <a:gd name="connsiteX106" fmla="*/ 42880 w 2663946"/>
                <a:gd name="connsiteY106" fmla="*/ 96460 h 332381"/>
                <a:gd name="connsiteX107" fmla="*/ 33409 w 2663946"/>
                <a:gd name="connsiteY107" fmla="*/ 87186 h 332381"/>
                <a:gd name="connsiteX108" fmla="*/ 2538193 w 2663946"/>
                <a:gd name="connsiteY108" fmla="*/ 79598 h 332381"/>
                <a:gd name="connsiteX109" fmla="*/ 2528723 w 2663946"/>
                <a:gd name="connsiteY109" fmla="*/ 88872 h 332381"/>
                <a:gd name="connsiteX110" fmla="*/ 2533677 w 2663946"/>
                <a:gd name="connsiteY110" fmla="*/ 97029 h 332381"/>
                <a:gd name="connsiteX111" fmla="*/ 2533677 w 2663946"/>
                <a:gd name="connsiteY111" fmla="*/ 105424 h 332381"/>
                <a:gd name="connsiteX112" fmla="*/ 2538193 w 2663946"/>
                <a:gd name="connsiteY112" fmla="*/ 109847 h 332381"/>
                <a:gd name="connsiteX113" fmla="*/ 2542710 w 2663946"/>
                <a:gd name="connsiteY113" fmla="*/ 105424 h 332381"/>
                <a:gd name="connsiteX114" fmla="*/ 2542710 w 2663946"/>
                <a:gd name="connsiteY114" fmla="*/ 97029 h 332381"/>
                <a:gd name="connsiteX115" fmla="*/ 2547664 w 2663946"/>
                <a:gd name="connsiteY115" fmla="*/ 88872 h 332381"/>
                <a:gd name="connsiteX116" fmla="*/ 2538193 w 2663946"/>
                <a:gd name="connsiteY116" fmla="*/ 79598 h 332381"/>
                <a:gd name="connsiteX117" fmla="*/ 2113196 w 2663946"/>
                <a:gd name="connsiteY117" fmla="*/ 79598 h 332381"/>
                <a:gd name="connsiteX118" fmla="*/ 2103726 w 2663946"/>
                <a:gd name="connsiteY118" fmla="*/ 88872 h 332381"/>
                <a:gd name="connsiteX119" fmla="*/ 2108680 w 2663946"/>
                <a:gd name="connsiteY119" fmla="*/ 97029 h 332381"/>
                <a:gd name="connsiteX120" fmla="*/ 2108680 w 2663946"/>
                <a:gd name="connsiteY120" fmla="*/ 105424 h 332381"/>
                <a:gd name="connsiteX121" fmla="*/ 2113196 w 2663946"/>
                <a:gd name="connsiteY121" fmla="*/ 109847 h 332381"/>
                <a:gd name="connsiteX122" fmla="*/ 2117713 w 2663946"/>
                <a:gd name="connsiteY122" fmla="*/ 105424 h 332381"/>
                <a:gd name="connsiteX123" fmla="*/ 2117713 w 2663946"/>
                <a:gd name="connsiteY123" fmla="*/ 97029 h 332381"/>
                <a:gd name="connsiteX124" fmla="*/ 2122667 w 2663946"/>
                <a:gd name="connsiteY124" fmla="*/ 88872 h 332381"/>
                <a:gd name="connsiteX125" fmla="*/ 2113196 w 2663946"/>
                <a:gd name="connsiteY125" fmla="*/ 79598 h 332381"/>
                <a:gd name="connsiteX126" fmla="*/ 1855228 w 2663946"/>
                <a:gd name="connsiteY126" fmla="*/ 79598 h 332381"/>
                <a:gd name="connsiteX127" fmla="*/ 1845758 w 2663946"/>
                <a:gd name="connsiteY127" fmla="*/ 88872 h 332381"/>
                <a:gd name="connsiteX128" fmla="*/ 1850712 w 2663946"/>
                <a:gd name="connsiteY128" fmla="*/ 97029 h 332381"/>
                <a:gd name="connsiteX129" fmla="*/ 1850712 w 2663946"/>
                <a:gd name="connsiteY129" fmla="*/ 105424 h 332381"/>
                <a:gd name="connsiteX130" fmla="*/ 1855228 w 2663946"/>
                <a:gd name="connsiteY130" fmla="*/ 109847 h 332381"/>
                <a:gd name="connsiteX131" fmla="*/ 1859745 w 2663946"/>
                <a:gd name="connsiteY131" fmla="*/ 105424 h 332381"/>
                <a:gd name="connsiteX132" fmla="*/ 1859745 w 2663946"/>
                <a:gd name="connsiteY132" fmla="*/ 97029 h 332381"/>
                <a:gd name="connsiteX133" fmla="*/ 1864699 w 2663946"/>
                <a:gd name="connsiteY133" fmla="*/ 88872 h 332381"/>
                <a:gd name="connsiteX134" fmla="*/ 1855228 w 2663946"/>
                <a:gd name="connsiteY134" fmla="*/ 79598 h 332381"/>
                <a:gd name="connsiteX135" fmla="*/ 1764289 w 2663946"/>
                <a:gd name="connsiteY135" fmla="*/ 79598 h 332381"/>
                <a:gd name="connsiteX136" fmla="*/ 1754819 w 2663946"/>
                <a:gd name="connsiteY136" fmla="*/ 88872 h 332381"/>
                <a:gd name="connsiteX137" fmla="*/ 1759773 w 2663946"/>
                <a:gd name="connsiteY137" fmla="*/ 97029 h 332381"/>
                <a:gd name="connsiteX138" fmla="*/ 1759773 w 2663946"/>
                <a:gd name="connsiteY138" fmla="*/ 105424 h 332381"/>
                <a:gd name="connsiteX139" fmla="*/ 1764289 w 2663946"/>
                <a:gd name="connsiteY139" fmla="*/ 109847 h 332381"/>
                <a:gd name="connsiteX140" fmla="*/ 1768806 w 2663946"/>
                <a:gd name="connsiteY140" fmla="*/ 105424 h 332381"/>
                <a:gd name="connsiteX141" fmla="*/ 1768806 w 2663946"/>
                <a:gd name="connsiteY141" fmla="*/ 97029 h 332381"/>
                <a:gd name="connsiteX142" fmla="*/ 1773760 w 2663946"/>
                <a:gd name="connsiteY142" fmla="*/ 88872 h 332381"/>
                <a:gd name="connsiteX143" fmla="*/ 1764289 w 2663946"/>
                <a:gd name="connsiteY143" fmla="*/ 79598 h 332381"/>
                <a:gd name="connsiteX144" fmla="*/ 1506321 w 2663946"/>
                <a:gd name="connsiteY144" fmla="*/ 79598 h 332381"/>
                <a:gd name="connsiteX145" fmla="*/ 1496851 w 2663946"/>
                <a:gd name="connsiteY145" fmla="*/ 88872 h 332381"/>
                <a:gd name="connsiteX146" fmla="*/ 1501805 w 2663946"/>
                <a:gd name="connsiteY146" fmla="*/ 97029 h 332381"/>
                <a:gd name="connsiteX147" fmla="*/ 1501805 w 2663946"/>
                <a:gd name="connsiteY147" fmla="*/ 105424 h 332381"/>
                <a:gd name="connsiteX148" fmla="*/ 1506321 w 2663946"/>
                <a:gd name="connsiteY148" fmla="*/ 109847 h 332381"/>
                <a:gd name="connsiteX149" fmla="*/ 1510838 w 2663946"/>
                <a:gd name="connsiteY149" fmla="*/ 105424 h 332381"/>
                <a:gd name="connsiteX150" fmla="*/ 1510838 w 2663946"/>
                <a:gd name="connsiteY150" fmla="*/ 97029 h 332381"/>
                <a:gd name="connsiteX151" fmla="*/ 1515792 w 2663946"/>
                <a:gd name="connsiteY151" fmla="*/ 88872 h 332381"/>
                <a:gd name="connsiteX152" fmla="*/ 1506321 w 2663946"/>
                <a:gd name="connsiteY152" fmla="*/ 79598 h 332381"/>
                <a:gd name="connsiteX153" fmla="*/ 1415382 w 2663946"/>
                <a:gd name="connsiteY153" fmla="*/ 79598 h 332381"/>
                <a:gd name="connsiteX154" fmla="*/ 1405912 w 2663946"/>
                <a:gd name="connsiteY154" fmla="*/ 88872 h 332381"/>
                <a:gd name="connsiteX155" fmla="*/ 1410866 w 2663946"/>
                <a:gd name="connsiteY155" fmla="*/ 97029 h 332381"/>
                <a:gd name="connsiteX156" fmla="*/ 1410866 w 2663946"/>
                <a:gd name="connsiteY156" fmla="*/ 105424 h 332381"/>
                <a:gd name="connsiteX157" fmla="*/ 1415382 w 2663946"/>
                <a:gd name="connsiteY157" fmla="*/ 109847 h 332381"/>
                <a:gd name="connsiteX158" fmla="*/ 1419899 w 2663946"/>
                <a:gd name="connsiteY158" fmla="*/ 105424 h 332381"/>
                <a:gd name="connsiteX159" fmla="*/ 1419899 w 2663946"/>
                <a:gd name="connsiteY159" fmla="*/ 97029 h 332381"/>
                <a:gd name="connsiteX160" fmla="*/ 1424853 w 2663946"/>
                <a:gd name="connsiteY160" fmla="*/ 88872 h 332381"/>
                <a:gd name="connsiteX161" fmla="*/ 1415382 w 2663946"/>
                <a:gd name="connsiteY161" fmla="*/ 79598 h 332381"/>
                <a:gd name="connsiteX162" fmla="*/ 1157414 w 2663946"/>
                <a:gd name="connsiteY162" fmla="*/ 79598 h 332381"/>
                <a:gd name="connsiteX163" fmla="*/ 1147944 w 2663946"/>
                <a:gd name="connsiteY163" fmla="*/ 88872 h 332381"/>
                <a:gd name="connsiteX164" fmla="*/ 1152898 w 2663946"/>
                <a:gd name="connsiteY164" fmla="*/ 97029 h 332381"/>
                <a:gd name="connsiteX165" fmla="*/ 1152898 w 2663946"/>
                <a:gd name="connsiteY165" fmla="*/ 105424 h 332381"/>
                <a:gd name="connsiteX166" fmla="*/ 1157414 w 2663946"/>
                <a:gd name="connsiteY166" fmla="*/ 109847 h 332381"/>
                <a:gd name="connsiteX167" fmla="*/ 1161931 w 2663946"/>
                <a:gd name="connsiteY167" fmla="*/ 105424 h 332381"/>
                <a:gd name="connsiteX168" fmla="*/ 1161931 w 2663946"/>
                <a:gd name="connsiteY168" fmla="*/ 97029 h 332381"/>
                <a:gd name="connsiteX169" fmla="*/ 1166885 w 2663946"/>
                <a:gd name="connsiteY169" fmla="*/ 88872 h 332381"/>
                <a:gd name="connsiteX170" fmla="*/ 1157414 w 2663946"/>
                <a:gd name="connsiteY170" fmla="*/ 79598 h 332381"/>
                <a:gd name="connsiteX171" fmla="*/ 732418 w 2663946"/>
                <a:gd name="connsiteY171" fmla="*/ 79598 h 332381"/>
                <a:gd name="connsiteX172" fmla="*/ 722947 w 2663946"/>
                <a:gd name="connsiteY172" fmla="*/ 88872 h 332381"/>
                <a:gd name="connsiteX173" fmla="*/ 727901 w 2663946"/>
                <a:gd name="connsiteY173" fmla="*/ 97029 h 332381"/>
                <a:gd name="connsiteX174" fmla="*/ 727901 w 2663946"/>
                <a:gd name="connsiteY174" fmla="*/ 105424 h 332381"/>
                <a:gd name="connsiteX175" fmla="*/ 732418 w 2663946"/>
                <a:gd name="connsiteY175" fmla="*/ 109847 h 332381"/>
                <a:gd name="connsiteX176" fmla="*/ 736935 w 2663946"/>
                <a:gd name="connsiteY176" fmla="*/ 105424 h 332381"/>
                <a:gd name="connsiteX177" fmla="*/ 736935 w 2663946"/>
                <a:gd name="connsiteY177" fmla="*/ 97029 h 332381"/>
                <a:gd name="connsiteX178" fmla="*/ 741889 w 2663946"/>
                <a:gd name="connsiteY178" fmla="*/ 88872 h 332381"/>
                <a:gd name="connsiteX179" fmla="*/ 732418 w 2663946"/>
                <a:gd name="connsiteY179" fmla="*/ 79598 h 332381"/>
                <a:gd name="connsiteX180" fmla="*/ 641479 w 2663946"/>
                <a:gd name="connsiteY180" fmla="*/ 79598 h 332381"/>
                <a:gd name="connsiteX181" fmla="*/ 632008 w 2663946"/>
                <a:gd name="connsiteY181" fmla="*/ 88872 h 332381"/>
                <a:gd name="connsiteX182" fmla="*/ 636962 w 2663946"/>
                <a:gd name="connsiteY182" fmla="*/ 97029 h 332381"/>
                <a:gd name="connsiteX183" fmla="*/ 636962 w 2663946"/>
                <a:gd name="connsiteY183" fmla="*/ 105424 h 332381"/>
                <a:gd name="connsiteX184" fmla="*/ 641479 w 2663946"/>
                <a:gd name="connsiteY184" fmla="*/ 109847 h 332381"/>
                <a:gd name="connsiteX185" fmla="*/ 645996 w 2663946"/>
                <a:gd name="connsiteY185" fmla="*/ 105424 h 332381"/>
                <a:gd name="connsiteX186" fmla="*/ 645996 w 2663946"/>
                <a:gd name="connsiteY186" fmla="*/ 97029 h 332381"/>
                <a:gd name="connsiteX187" fmla="*/ 650950 w 2663946"/>
                <a:gd name="connsiteY187" fmla="*/ 88872 h 332381"/>
                <a:gd name="connsiteX188" fmla="*/ 641479 w 2663946"/>
                <a:gd name="connsiteY188" fmla="*/ 79598 h 332381"/>
                <a:gd name="connsiteX189" fmla="*/ 459528 w 2663946"/>
                <a:gd name="connsiteY189" fmla="*/ 79598 h 332381"/>
                <a:gd name="connsiteX190" fmla="*/ 450057 w 2663946"/>
                <a:gd name="connsiteY190" fmla="*/ 88872 h 332381"/>
                <a:gd name="connsiteX191" fmla="*/ 455011 w 2663946"/>
                <a:gd name="connsiteY191" fmla="*/ 97029 h 332381"/>
                <a:gd name="connsiteX192" fmla="*/ 455011 w 2663946"/>
                <a:gd name="connsiteY192" fmla="*/ 105424 h 332381"/>
                <a:gd name="connsiteX193" fmla="*/ 459528 w 2663946"/>
                <a:gd name="connsiteY193" fmla="*/ 109847 h 332381"/>
                <a:gd name="connsiteX194" fmla="*/ 464045 w 2663946"/>
                <a:gd name="connsiteY194" fmla="*/ 105424 h 332381"/>
                <a:gd name="connsiteX195" fmla="*/ 464045 w 2663946"/>
                <a:gd name="connsiteY195" fmla="*/ 97029 h 332381"/>
                <a:gd name="connsiteX196" fmla="*/ 468999 w 2663946"/>
                <a:gd name="connsiteY196" fmla="*/ 88872 h 332381"/>
                <a:gd name="connsiteX197" fmla="*/ 459528 w 2663946"/>
                <a:gd name="connsiteY197" fmla="*/ 79598 h 332381"/>
                <a:gd name="connsiteX198" fmla="*/ 2632966 w 2663946"/>
                <a:gd name="connsiteY198" fmla="*/ 52405 h 332381"/>
                <a:gd name="connsiteX199" fmla="*/ 2621414 w 2663946"/>
                <a:gd name="connsiteY199" fmla="*/ 54838 h 332381"/>
                <a:gd name="connsiteX200" fmla="*/ 2618218 w 2663946"/>
                <a:gd name="connsiteY200" fmla="*/ 58353 h 332381"/>
                <a:gd name="connsiteX201" fmla="*/ 2616006 w 2663946"/>
                <a:gd name="connsiteY201" fmla="*/ 62138 h 332381"/>
                <a:gd name="connsiteX202" fmla="*/ 2615023 w 2663946"/>
                <a:gd name="connsiteY202" fmla="*/ 64842 h 332381"/>
                <a:gd name="connsiteX203" fmla="*/ 2614039 w 2663946"/>
                <a:gd name="connsiteY203" fmla="*/ 68898 h 332381"/>
                <a:gd name="connsiteX204" fmla="*/ 2613056 w 2663946"/>
                <a:gd name="connsiteY204" fmla="*/ 75928 h 332381"/>
                <a:gd name="connsiteX205" fmla="*/ 2614039 w 2663946"/>
                <a:gd name="connsiteY205" fmla="*/ 83228 h 332381"/>
                <a:gd name="connsiteX206" fmla="*/ 2615269 w 2663946"/>
                <a:gd name="connsiteY206" fmla="*/ 87013 h 332381"/>
                <a:gd name="connsiteX207" fmla="*/ 2617481 w 2663946"/>
                <a:gd name="connsiteY207" fmla="*/ 91339 h 332381"/>
                <a:gd name="connsiteX208" fmla="*/ 2620922 w 2663946"/>
                <a:gd name="connsiteY208" fmla="*/ 95666 h 332381"/>
                <a:gd name="connsiteX209" fmla="*/ 2625346 w 2663946"/>
                <a:gd name="connsiteY209" fmla="*/ 98369 h 332381"/>
                <a:gd name="connsiteX210" fmla="*/ 2637637 w 2663946"/>
                <a:gd name="connsiteY210" fmla="*/ 95936 h 332381"/>
                <a:gd name="connsiteX211" fmla="*/ 2640832 w 2663946"/>
                <a:gd name="connsiteY211" fmla="*/ 92421 h 332381"/>
                <a:gd name="connsiteX212" fmla="*/ 2643290 w 2663946"/>
                <a:gd name="connsiteY212" fmla="*/ 88095 h 332381"/>
                <a:gd name="connsiteX213" fmla="*/ 2644273 w 2663946"/>
                <a:gd name="connsiteY213" fmla="*/ 85932 h 332381"/>
                <a:gd name="connsiteX214" fmla="*/ 2645502 w 2663946"/>
                <a:gd name="connsiteY214" fmla="*/ 81606 h 332381"/>
                <a:gd name="connsiteX215" fmla="*/ 2645011 w 2663946"/>
                <a:gd name="connsiteY215" fmla="*/ 67816 h 332381"/>
                <a:gd name="connsiteX216" fmla="*/ 2644027 w 2663946"/>
                <a:gd name="connsiteY216" fmla="*/ 64842 h 332381"/>
                <a:gd name="connsiteX217" fmla="*/ 2642799 w 2663946"/>
                <a:gd name="connsiteY217" fmla="*/ 61868 h 332381"/>
                <a:gd name="connsiteX218" fmla="*/ 2640586 w 2663946"/>
                <a:gd name="connsiteY218" fmla="*/ 58353 h 332381"/>
                <a:gd name="connsiteX219" fmla="*/ 2636899 w 2663946"/>
                <a:gd name="connsiteY219" fmla="*/ 54568 h 332381"/>
                <a:gd name="connsiteX220" fmla="*/ 2632966 w 2663946"/>
                <a:gd name="connsiteY220" fmla="*/ 52405 h 332381"/>
                <a:gd name="connsiteX221" fmla="*/ 2451011 w 2663946"/>
                <a:gd name="connsiteY221" fmla="*/ 52405 h 332381"/>
                <a:gd name="connsiteX222" fmla="*/ 2439459 w 2663946"/>
                <a:gd name="connsiteY222" fmla="*/ 54838 h 332381"/>
                <a:gd name="connsiteX223" fmla="*/ 2436263 w 2663946"/>
                <a:gd name="connsiteY223" fmla="*/ 58353 h 332381"/>
                <a:gd name="connsiteX224" fmla="*/ 2434051 w 2663946"/>
                <a:gd name="connsiteY224" fmla="*/ 62138 h 332381"/>
                <a:gd name="connsiteX225" fmla="*/ 2433068 w 2663946"/>
                <a:gd name="connsiteY225" fmla="*/ 64842 h 332381"/>
                <a:gd name="connsiteX226" fmla="*/ 2432084 w 2663946"/>
                <a:gd name="connsiteY226" fmla="*/ 68898 h 332381"/>
                <a:gd name="connsiteX227" fmla="*/ 2431101 w 2663946"/>
                <a:gd name="connsiteY227" fmla="*/ 75928 h 332381"/>
                <a:gd name="connsiteX228" fmla="*/ 2432084 w 2663946"/>
                <a:gd name="connsiteY228" fmla="*/ 83228 h 332381"/>
                <a:gd name="connsiteX229" fmla="*/ 2433314 w 2663946"/>
                <a:gd name="connsiteY229" fmla="*/ 87013 h 332381"/>
                <a:gd name="connsiteX230" fmla="*/ 2435526 w 2663946"/>
                <a:gd name="connsiteY230" fmla="*/ 91339 h 332381"/>
                <a:gd name="connsiteX231" fmla="*/ 2438967 w 2663946"/>
                <a:gd name="connsiteY231" fmla="*/ 95666 h 332381"/>
                <a:gd name="connsiteX232" fmla="*/ 2443391 w 2663946"/>
                <a:gd name="connsiteY232" fmla="*/ 98369 h 332381"/>
                <a:gd name="connsiteX233" fmla="*/ 2455682 w 2663946"/>
                <a:gd name="connsiteY233" fmla="*/ 95936 h 332381"/>
                <a:gd name="connsiteX234" fmla="*/ 2458877 w 2663946"/>
                <a:gd name="connsiteY234" fmla="*/ 92421 h 332381"/>
                <a:gd name="connsiteX235" fmla="*/ 2461335 w 2663946"/>
                <a:gd name="connsiteY235" fmla="*/ 88095 h 332381"/>
                <a:gd name="connsiteX236" fmla="*/ 2462318 w 2663946"/>
                <a:gd name="connsiteY236" fmla="*/ 85932 h 332381"/>
                <a:gd name="connsiteX237" fmla="*/ 2463547 w 2663946"/>
                <a:gd name="connsiteY237" fmla="*/ 81606 h 332381"/>
                <a:gd name="connsiteX238" fmla="*/ 2463056 w 2663946"/>
                <a:gd name="connsiteY238" fmla="*/ 67816 h 332381"/>
                <a:gd name="connsiteX239" fmla="*/ 2462072 w 2663946"/>
                <a:gd name="connsiteY239" fmla="*/ 64842 h 332381"/>
                <a:gd name="connsiteX240" fmla="*/ 2460844 w 2663946"/>
                <a:gd name="connsiteY240" fmla="*/ 61868 h 332381"/>
                <a:gd name="connsiteX241" fmla="*/ 2458631 w 2663946"/>
                <a:gd name="connsiteY241" fmla="*/ 58353 h 332381"/>
                <a:gd name="connsiteX242" fmla="*/ 2454944 w 2663946"/>
                <a:gd name="connsiteY242" fmla="*/ 54568 h 332381"/>
                <a:gd name="connsiteX243" fmla="*/ 2451011 w 2663946"/>
                <a:gd name="connsiteY243" fmla="*/ 52405 h 332381"/>
                <a:gd name="connsiteX244" fmla="*/ 2207965 w 2663946"/>
                <a:gd name="connsiteY244" fmla="*/ 52405 h 332381"/>
                <a:gd name="connsiteX245" fmla="*/ 2196413 w 2663946"/>
                <a:gd name="connsiteY245" fmla="*/ 54838 h 332381"/>
                <a:gd name="connsiteX246" fmla="*/ 2193217 w 2663946"/>
                <a:gd name="connsiteY246" fmla="*/ 58353 h 332381"/>
                <a:gd name="connsiteX247" fmla="*/ 2191005 w 2663946"/>
                <a:gd name="connsiteY247" fmla="*/ 62138 h 332381"/>
                <a:gd name="connsiteX248" fmla="*/ 2190022 w 2663946"/>
                <a:gd name="connsiteY248" fmla="*/ 64842 h 332381"/>
                <a:gd name="connsiteX249" fmla="*/ 2189038 w 2663946"/>
                <a:gd name="connsiteY249" fmla="*/ 68898 h 332381"/>
                <a:gd name="connsiteX250" fmla="*/ 2188055 w 2663946"/>
                <a:gd name="connsiteY250" fmla="*/ 75928 h 332381"/>
                <a:gd name="connsiteX251" fmla="*/ 2189038 w 2663946"/>
                <a:gd name="connsiteY251" fmla="*/ 83228 h 332381"/>
                <a:gd name="connsiteX252" fmla="*/ 2190268 w 2663946"/>
                <a:gd name="connsiteY252" fmla="*/ 87013 h 332381"/>
                <a:gd name="connsiteX253" fmla="*/ 2192480 w 2663946"/>
                <a:gd name="connsiteY253" fmla="*/ 91339 h 332381"/>
                <a:gd name="connsiteX254" fmla="*/ 2195921 w 2663946"/>
                <a:gd name="connsiteY254" fmla="*/ 95666 h 332381"/>
                <a:gd name="connsiteX255" fmla="*/ 2200345 w 2663946"/>
                <a:gd name="connsiteY255" fmla="*/ 98369 h 332381"/>
                <a:gd name="connsiteX256" fmla="*/ 2212636 w 2663946"/>
                <a:gd name="connsiteY256" fmla="*/ 95936 h 332381"/>
                <a:gd name="connsiteX257" fmla="*/ 2215831 w 2663946"/>
                <a:gd name="connsiteY257" fmla="*/ 92421 h 332381"/>
                <a:gd name="connsiteX258" fmla="*/ 2218289 w 2663946"/>
                <a:gd name="connsiteY258" fmla="*/ 88095 h 332381"/>
                <a:gd name="connsiteX259" fmla="*/ 2219272 w 2663946"/>
                <a:gd name="connsiteY259" fmla="*/ 85932 h 332381"/>
                <a:gd name="connsiteX260" fmla="*/ 2220501 w 2663946"/>
                <a:gd name="connsiteY260" fmla="*/ 81606 h 332381"/>
                <a:gd name="connsiteX261" fmla="*/ 2220010 w 2663946"/>
                <a:gd name="connsiteY261" fmla="*/ 67816 h 332381"/>
                <a:gd name="connsiteX262" fmla="*/ 2219026 w 2663946"/>
                <a:gd name="connsiteY262" fmla="*/ 64842 h 332381"/>
                <a:gd name="connsiteX263" fmla="*/ 2217798 w 2663946"/>
                <a:gd name="connsiteY263" fmla="*/ 61868 h 332381"/>
                <a:gd name="connsiteX264" fmla="*/ 2215585 w 2663946"/>
                <a:gd name="connsiteY264" fmla="*/ 58353 h 332381"/>
                <a:gd name="connsiteX265" fmla="*/ 2211898 w 2663946"/>
                <a:gd name="connsiteY265" fmla="*/ 54568 h 332381"/>
                <a:gd name="connsiteX266" fmla="*/ 2207965 w 2663946"/>
                <a:gd name="connsiteY266" fmla="*/ 52405 h 332381"/>
                <a:gd name="connsiteX267" fmla="*/ 2026014 w 2663946"/>
                <a:gd name="connsiteY267" fmla="*/ 52405 h 332381"/>
                <a:gd name="connsiteX268" fmla="*/ 2014462 w 2663946"/>
                <a:gd name="connsiteY268" fmla="*/ 54838 h 332381"/>
                <a:gd name="connsiteX269" fmla="*/ 2011266 w 2663946"/>
                <a:gd name="connsiteY269" fmla="*/ 58353 h 332381"/>
                <a:gd name="connsiteX270" fmla="*/ 2009054 w 2663946"/>
                <a:gd name="connsiteY270" fmla="*/ 62138 h 332381"/>
                <a:gd name="connsiteX271" fmla="*/ 2008071 w 2663946"/>
                <a:gd name="connsiteY271" fmla="*/ 64842 h 332381"/>
                <a:gd name="connsiteX272" fmla="*/ 2007087 w 2663946"/>
                <a:gd name="connsiteY272" fmla="*/ 68898 h 332381"/>
                <a:gd name="connsiteX273" fmla="*/ 2006104 w 2663946"/>
                <a:gd name="connsiteY273" fmla="*/ 75928 h 332381"/>
                <a:gd name="connsiteX274" fmla="*/ 2007087 w 2663946"/>
                <a:gd name="connsiteY274" fmla="*/ 83228 h 332381"/>
                <a:gd name="connsiteX275" fmla="*/ 2008317 w 2663946"/>
                <a:gd name="connsiteY275" fmla="*/ 87013 h 332381"/>
                <a:gd name="connsiteX276" fmla="*/ 2010529 w 2663946"/>
                <a:gd name="connsiteY276" fmla="*/ 91339 h 332381"/>
                <a:gd name="connsiteX277" fmla="*/ 2013970 w 2663946"/>
                <a:gd name="connsiteY277" fmla="*/ 95666 h 332381"/>
                <a:gd name="connsiteX278" fmla="*/ 2018394 w 2663946"/>
                <a:gd name="connsiteY278" fmla="*/ 98369 h 332381"/>
                <a:gd name="connsiteX279" fmla="*/ 2030685 w 2663946"/>
                <a:gd name="connsiteY279" fmla="*/ 95936 h 332381"/>
                <a:gd name="connsiteX280" fmla="*/ 2033880 w 2663946"/>
                <a:gd name="connsiteY280" fmla="*/ 92421 h 332381"/>
                <a:gd name="connsiteX281" fmla="*/ 2036338 w 2663946"/>
                <a:gd name="connsiteY281" fmla="*/ 88095 h 332381"/>
                <a:gd name="connsiteX282" fmla="*/ 2037321 w 2663946"/>
                <a:gd name="connsiteY282" fmla="*/ 85932 h 332381"/>
                <a:gd name="connsiteX283" fmla="*/ 2038550 w 2663946"/>
                <a:gd name="connsiteY283" fmla="*/ 81606 h 332381"/>
                <a:gd name="connsiteX284" fmla="*/ 2038059 w 2663946"/>
                <a:gd name="connsiteY284" fmla="*/ 67816 h 332381"/>
                <a:gd name="connsiteX285" fmla="*/ 2037075 w 2663946"/>
                <a:gd name="connsiteY285" fmla="*/ 64842 h 332381"/>
                <a:gd name="connsiteX286" fmla="*/ 2035847 w 2663946"/>
                <a:gd name="connsiteY286" fmla="*/ 61868 h 332381"/>
                <a:gd name="connsiteX287" fmla="*/ 2033634 w 2663946"/>
                <a:gd name="connsiteY287" fmla="*/ 58353 h 332381"/>
                <a:gd name="connsiteX288" fmla="*/ 2029947 w 2663946"/>
                <a:gd name="connsiteY288" fmla="*/ 54568 h 332381"/>
                <a:gd name="connsiteX289" fmla="*/ 2026014 w 2663946"/>
                <a:gd name="connsiteY289" fmla="*/ 52405 h 332381"/>
                <a:gd name="connsiteX290" fmla="*/ 1601090 w 2663946"/>
                <a:gd name="connsiteY290" fmla="*/ 52405 h 332381"/>
                <a:gd name="connsiteX291" fmla="*/ 1589537 w 2663946"/>
                <a:gd name="connsiteY291" fmla="*/ 54838 h 332381"/>
                <a:gd name="connsiteX292" fmla="*/ 1586342 w 2663946"/>
                <a:gd name="connsiteY292" fmla="*/ 58353 h 332381"/>
                <a:gd name="connsiteX293" fmla="*/ 1584130 w 2663946"/>
                <a:gd name="connsiteY293" fmla="*/ 62138 h 332381"/>
                <a:gd name="connsiteX294" fmla="*/ 1583147 w 2663946"/>
                <a:gd name="connsiteY294" fmla="*/ 64842 h 332381"/>
                <a:gd name="connsiteX295" fmla="*/ 1582163 w 2663946"/>
                <a:gd name="connsiteY295" fmla="*/ 68898 h 332381"/>
                <a:gd name="connsiteX296" fmla="*/ 1581180 w 2663946"/>
                <a:gd name="connsiteY296" fmla="*/ 75928 h 332381"/>
                <a:gd name="connsiteX297" fmla="*/ 1582163 w 2663946"/>
                <a:gd name="connsiteY297" fmla="*/ 83228 h 332381"/>
                <a:gd name="connsiteX298" fmla="*/ 1583393 w 2663946"/>
                <a:gd name="connsiteY298" fmla="*/ 87013 h 332381"/>
                <a:gd name="connsiteX299" fmla="*/ 1585605 w 2663946"/>
                <a:gd name="connsiteY299" fmla="*/ 91339 h 332381"/>
                <a:gd name="connsiteX300" fmla="*/ 1589046 w 2663946"/>
                <a:gd name="connsiteY300" fmla="*/ 95666 h 332381"/>
                <a:gd name="connsiteX301" fmla="*/ 1593470 w 2663946"/>
                <a:gd name="connsiteY301" fmla="*/ 98369 h 332381"/>
                <a:gd name="connsiteX302" fmla="*/ 1605761 w 2663946"/>
                <a:gd name="connsiteY302" fmla="*/ 95936 h 332381"/>
                <a:gd name="connsiteX303" fmla="*/ 1608956 w 2663946"/>
                <a:gd name="connsiteY303" fmla="*/ 92421 h 332381"/>
                <a:gd name="connsiteX304" fmla="*/ 1611414 w 2663946"/>
                <a:gd name="connsiteY304" fmla="*/ 88095 h 332381"/>
                <a:gd name="connsiteX305" fmla="*/ 1612397 w 2663946"/>
                <a:gd name="connsiteY305" fmla="*/ 85932 h 332381"/>
                <a:gd name="connsiteX306" fmla="*/ 1613626 w 2663946"/>
                <a:gd name="connsiteY306" fmla="*/ 81606 h 332381"/>
                <a:gd name="connsiteX307" fmla="*/ 1613135 w 2663946"/>
                <a:gd name="connsiteY307" fmla="*/ 67816 h 332381"/>
                <a:gd name="connsiteX308" fmla="*/ 1612151 w 2663946"/>
                <a:gd name="connsiteY308" fmla="*/ 64842 h 332381"/>
                <a:gd name="connsiteX309" fmla="*/ 1610923 w 2663946"/>
                <a:gd name="connsiteY309" fmla="*/ 61868 h 332381"/>
                <a:gd name="connsiteX310" fmla="*/ 1608710 w 2663946"/>
                <a:gd name="connsiteY310" fmla="*/ 58353 h 332381"/>
                <a:gd name="connsiteX311" fmla="*/ 1605023 w 2663946"/>
                <a:gd name="connsiteY311" fmla="*/ 54568 h 332381"/>
                <a:gd name="connsiteX312" fmla="*/ 1601090 w 2663946"/>
                <a:gd name="connsiteY312" fmla="*/ 52405 h 332381"/>
                <a:gd name="connsiteX313" fmla="*/ 1252183 w 2663946"/>
                <a:gd name="connsiteY313" fmla="*/ 52405 h 332381"/>
                <a:gd name="connsiteX314" fmla="*/ 1240630 w 2663946"/>
                <a:gd name="connsiteY314" fmla="*/ 54838 h 332381"/>
                <a:gd name="connsiteX315" fmla="*/ 1237435 w 2663946"/>
                <a:gd name="connsiteY315" fmla="*/ 58353 h 332381"/>
                <a:gd name="connsiteX316" fmla="*/ 1235223 w 2663946"/>
                <a:gd name="connsiteY316" fmla="*/ 62138 h 332381"/>
                <a:gd name="connsiteX317" fmla="*/ 1234240 w 2663946"/>
                <a:gd name="connsiteY317" fmla="*/ 64842 h 332381"/>
                <a:gd name="connsiteX318" fmla="*/ 1233256 w 2663946"/>
                <a:gd name="connsiteY318" fmla="*/ 68898 h 332381"/>
                <a:gd name="connsiteX319" fmla="*/ 1232273 w 2663946"/>
                <a:gd name="connsiteY319" fmla="*/ 75928 h 332381"/>
                <a:gd name="connsiteX320" fmla="*/ 1233256 w 2663946"/>
                <a:gd name="connsiteY320" fmla="*/ 83228 h 332381"/>
                <a:gd name="connsiteX321" fmla="*/ 1234486 w 2663946"/>
                <a:gd name="connsiteY321" fmla="*/ 87013 h 332381"/>
                <a:gd name="connsiteX322" fmla="*/ 1236698 w 2663946"/>
                <a:gd name="connsiteY322" fmla="*/ 91339 h 332381"/>
                <a:gd name="connsiteX323" fmla="*/ 1240139 w 2663946"/>
                <a:gd name="connsiteY323" fmla="*/ 95666 h 332381"/>
                <a:gd name="connsiteX324" fmla="*/ 1244563 w 2663946"/>
                <a:gd name="connsiteY324" fmla="*/ 98369 h 332381"/>
                <a:gd name="connsiteX325" fmla="*/ 1256854 w 2663946"/>
                <a:gd name="connsiteY325" fmla="*/ 95936 h 332381"/>
                <a:gd name="connsiteX326" fmla="*/ 1260049 w 2663946"/>
                <a:gd name="connsiteY326" fmla="*/ 92421 h 332381"/>
                <a:gd name="connsiteX327" fmla="*/ 1262507 w 2663946"/>
                <a:gd name="connsiteY327" fmla="*/ 88095 h 332381"/>
                <a:gd name="connsiteX328" fmla="*/ 1263490 w 2663946"/>
                <a:gd name="connsiteY328" fmla="*/ 85932 h 332381"/>
                <a:gd name="connsiteX329" fmla="*/ 1264719 w 2663946"/>
                <a:gd name="connsiteY329" fmla="*/ 81606 h 332381"/>
                <a:gd name="connsiteX330" fmla="*/ 1264228 w 2663946"/>
                <a:gd name="connsiteY330" fmla="*/ 67816 h 332381"/>
                <a:gd name="connsiteX331" fmla="*/ 1263244 w 2663946"/>
                <a:gd name="connsiteY331" fmla="*/ 64842 h 332381"/>
                <a:gd name="connsiteX332" fmla="*/ 1262016 w 2663946"/>
                <a:gd name="connsiteY332" fmla="*/ 61868 h 332381"/>
                <a:gd name="connsiteX333" fmla="*/ 1259803 w 2663946"/>
                <a:gd name="connsiteY333" fmla="*/ 58353 h 332381"/>
                <a:gd name="connsiteX334" fmla="*/ 1256116 w 2663946"/>
                <a:gd name="connsiteY334" fmla="*/ 54568 h 332381"/>
                <a:gd name="connsiteX335" fmla="*/ 1252183 w 2663946"/>
                <a:gd name="connsiteY335" fmla="*/ 52405 h 332381"/>
                <a:gd name="connsiteX336" fmla="*/ 1070232 w 2663946"/>
                <a:gd name="connsiteY336" fmla="*/ 52405 h 332381"/>
                <a:gd name="connsiteX337" fmla="*/ 1058679 w 2663946"/>
                <a:gd name="connsiteY337" fmla="*/ 54838 h 332381"/>
                <a:gd name="connsiteX338" fmla="*/ 1055484 w 2663946"/>
                <a:gd name="connsiteY338" fmla="*/ 58353 h 332381"/>
                <a:gd name="connsiteX339" fmla="*/ 1053272 w 2663946"/>
                <a:gd name="connsiteY339" fmla="*/ 62138 h 332381"/>
                <a:gd name="connsiteX340" fmla="*/ 1052289 w 2663946"/>
                <a:gd name="connsiteY340" fmla="*/ 64842 h 332381"/>
                <a:gd name="connsiteX341" fmla="*/ 1051305 w 2663946"/>
                <a:gd name="connsiteY341" fmla="*/ 68898 h 332381"/>
                <a:gd name="connsiteX342" fmla="*/ 1050322 w 2663946"/>
                <a:gd name="connsiteY342" fmla="*/ 75928 h 332381"/>
                <a:gd name="connsiteX343" fmla="*/ 1051305 w 2663946"/>
                <a:gd name="connsiteY343" fmla="*/ 83228 h 332381"/>
                <a:gd name="connsiteX344" fmla="*/ 1052535 w 2663946"/>
                <a:gd name="connsiteY344" fmla="*/ 87013 h 332381"/>
                <a:gd name="connsiteX345" fmla="*/ 1054747 w 2663946"/>
                <a:gd name="connsiteY345" fmla="*/ 91339 h 332381"/>
                <a:gd name="connsiteX346" fmla="*/ 1058188 w 2663946"/>
                <a:gd name="connsiteY346" fmla="*/ 95666 h 332381"/>
                <a:gd name="connsiteX347" fmla="*/ 1062612 w 2663946"/>
                <a:gd name="connsiteY347" fmla="*/ 98369 h 332381"/>
                <a:gd name="connsiteX348" fmla="*/ 1074903 w 2663946"/>
                <a:gd name="connsiteY348" fmla="*/ 95936 h 332381"/>
                <a:gd name="connsiteX349" fmla="*/ 1078098 w 2663946"/>
                <a:gd name="connsiteY349" fmla="*/ 92421 h 332381"/>
                <a:gd name="connsiteX350" fmla="*/ 1080556 w 2663946"/>
                <a:gd name="connsiteY350" fmla="*/ 88095 h 332381"/>
                <a:gd name="connsiteX351" fmla="*/ 1081539 w 2663946"/>
                <a:gd name="connsiteY351" fmla="*/ 85932 h 332381"/>
                <a:gd name="connsiteX352" fmla="*/ 1082768 w 2663946"/>
                <a:gd name="connsiteY352" fmla="*/ 81606 h 332381"/>
                <a:gd name="connsiteX353" fmla="*/ 1082277 w 2663946"/>
                <a:gd name="connsiteY353" fmla="*/ 67816 h 332381"/>
                <a:gd name="connsiteX354" fmla="*/ 1081293 w 2663946"/>
                <a:gd name="connsiteY354" fmla="*/ 64842 h 332381"/>
                <a:gd name="connsiteX355" fmla="*/ 1080065 w 2663946"/>
                <a:gd name="connsiteY355" fmla="*/ 61868 h 332381"/>
                <a:gd name="connsiteX356" fmla="*/ 1077852 w 2663946"/>
                <a:gd name="connsiteY356" fmla="*/ 58353 h 332381"/>
                <a:gd name="connsiteX357" fmla="*/ 1074165 w 2663946"/>
                <a:gd name="connsiteY357" fmla="*/ 54568 h 332381"/>
                <a:gd name="connsiteX358" fmla="*/ 1070232 w 2663946"/>
                <a:gd name="connsiteY358" fmla="*/ 52405 h 332381"/>
                <a:gd name="connsiteX359" fmla="*/ 903203 w 2663946"/>
                <a:gd name="connsiteY359" fmla="*/ 52405 h 332381"/>
                <a:gd name="connsiteX360" fmla="*/ 891650 w 2663946"/>
                <a:gd name="connsiteY360" fmla="*/ 54838 h 332381"/>
                <a:gd name="connsiteX361" fmla="*/ 888455 w 2663946"/>
                <a:gd name="connsiteY361" fmla="*/ 58353 h 332381"/>
                <a:gd name="connsiteX362" fmla="*/ 886243 w 2663946"/>
                <a:gd name="connsiteY362" fmla="*/ 62138 h 332381"/>
                <a:gd name="connsiteX363" fmla="*/ 885260 w 2663946"/>
                <a:gd name="connsiteY363" fmla="*/ 64842 h 332381"/>
                <a:gd name="connsiteX364" fmla="*/ 884276 w 2663946"/>
                <a:gd name="connsiteY364" fmla="*/ 68898 h 332381"/>
                <a:gd name="connsiteX365" fmla="*/ 883293 w 2663946"/>
                <a:gd name="connsiteY365" fmla="*/ 75928 h 332381"/>
                <a:gd name="connsiteX366" fmla="*/ 884276 w 2663946"/>
                <a:gd name="connsiteY366" fmla="*/ 83228 h 332381"/>
                <a:gd name="connsiteX367" fmla="*/ 885506 w 2663946"/>
                <a:gd name="connsiteY367" fmla="*/ 87013 h 332381"/>
                <a:gd name="connsiteX368" fmla="*/ 887718 w 2663946"/>
                <a:gd name="connsiteY368" fmla="*/ 91339 h 332381"/>
                <a:gd name="connsiteX369" fmla="*/ 891159 w 2663946"/>
                <a:gd name="connsiteY369" fmla="*/ 95666 h 332381"/>
                <a:gd name="connsiteX370" fmla="*/ 895583 w 2663946"/>
                <a:gd name="connsiteY370" fmla="*/ 98369 h 332381"/>
                <a:gd name="connsiteX371" fmla="*/ 907874 w 2663946"/>
                <a:gd name="connsiteY371" fmla="*/ 95936 h 332381"/>
                <a:gd name="connsiteX372" fmla="*/ 911069 w 2663946"/>
                <a:gd name="connsiteY372" fmla="*/ 92421 h 332381"/>
                <a:gd name="connsiteX373" fmla="*/ 913527 w 2663946"/>
                <a:gd name="connsiteY373" fmla="*/ 88095 h 332381"/>
                <a:gd name="connsiteX374" fmla="*/ 914510 w 2663946"/>
                <a:gd name="connsiteY374" fmla="*/ 85932 h 332381"/>
                <a:gd name="connsiteX375" fmla="*/ 915739 w 2663946"/>
                <a:gd name="connsiteY375" fmla="*/ 81606 h 332381"/>
                <a:gd name="connsiteX376" fmla="*/ 915248 w 2663946"/>
                <a:gd name="connsiteY376" fmla="*/ 67816 h 332381"/>
                <a:gd name="connsiteX377" fmla="*/ 914264 w 2663946"/>
                <a:gd name="connsiteY377" fmla="*/ 64842 h 332381"/>
                <a:gd name="connsiteX378" fmla="*/ 913036 w 2663946"/>
                <a:gd name="connsiteY378" fmla="*/ 61868 h 332381"/>
                <a:gd name="connsiteX379" fmla="*/ 910823 w 2663946"/>
                <a:gd name="connsiteY379" fmla="*/ 58353 h 332381"/>
                <a:gd name="connsiteX380" fmla="*/ 907136 w 2663946"/>
                <a:gd name="connsiteY380" fmla="*/ 54568 h 332381"/>
                <a:gd name="connsiteX381" fmla="*/ 903203 w 2663946"/>
                <a:gd name="connsiteY381" fmla="*/ 52405 h 332381"/>
                <a:gd name="connsiteX382" fmla="*/ 554297 w 2663946"/>
                <a:gd name="connsiteY382" fmla="*/ 52405 h 332381"/>
                <a:gd name="connsiteX383" fmla="*/ 542744 w 2663946"/>
                <a:gd name="connsiteY383" fmla="*/ 54838 h 332381"/>
                <a:gd name="connsiteX384" fmla="*/ 539549 w 2663946"/>
                <a:gd name="connsiteY384" fmla="*/ 58353 h 332381"/>
                <a:gd name="connsiteX385" fmla="*/ 537337 w 2663946"/>
                <a:gd name="connsiteY385" fmla="*/ 62138 h 332381"/>
                <a:gd name="connsiteX386" fmla="*/ 536353 w 2663946"/>
                <a:gd name="connsiteY386" fmla="*/ 64842 h 332381"/>
                <a:gd name="connsiteX387" fmla="*/ 535370 w 2663946"/>
                <a:gd name="connsiteY387" fmla="*/ 68898 h 332381"/>
                <a:gd name="connsiteX388" fmla="*/ 534387 w 2663946"/>
                <a:gd name="connsiteY388" fmla="*/ 75928 h 332381"/>
                <a:gd name="connsiteX389" fmla="*/ 535370 w 2663946"/>
                <a:gd name="connsiteY389" fmla="*/ 83228 h 332381"/>
                <a:gd name="connsiteX390" fmla="*/ 536599 w 2663946"/>
                <a:gd name="connsiteY390" fmla="*/ 87013 h 332381"/>
                <a:gd name="connsiteX391" fmla="*/ 538811 w 2663946"/>
                <a:gd name="connsiteY391" fmla="*/ 91339 h 332381"/>
                <a:gd name="connsiteX392" fmla="*/ 542253 w 2663946"/>
                <a:gd name="connsiteY392" fmla="*/ 95666 h 332381"/>
                <a:gd name="connsiteX393" fmla="*/ 546677 w 2663946"/>
                <a:gd name="connsiteY393" fmla="*/ 98369 h 332381"/>
                <a:gd name="connsiteX394" fmla="*/ 558967 w 2663946"/>
                <a:gd name="connsiteY394" fmla="*/ 95936 h 332381"/>
                <a:gd name="connsiteX395" fmla="*/ 562163 w 2663946"/>
                <a:gd name="connsiteY395" fmla="*/ 92421 h 332381"/>
                <a:gd name="connsiteX396" fmla="*/ 564621 w 2663946"/>
                <a:gd name="connsiteY396" fmla="*/ 88095 h 332381"/>
                <a:gd name="connsiteX397" fmla="*/ 565604 w 2663946"/>
                <a:gd name="connsiteY397" fmla="*/ 85932 h 332381"/>
                <a:gd name="connsiteX398" fmla="*/ 566833 w 2663946"/>
                <a:gd name="connsiteY398" fmla="*/ 81606 h 332381"/>
                <a:gd name="connsiteX399" fmla="*/ 566341 w 2663946"/>
                <a:gd name="connsiteY399" fmla="*/ 67816 h 332381"/>
                <a:gd name="connsiteX400" fmla="*/ 565358 w 2663946"/>
                <a:gd name="connsiteY400" fmla="*/ 64842 h 332381"/>
                <a:gd name="connsiteX401" fmla="*/ 564129 w 2663946"/>
                <a:gd name="connsiteY401" fmla="*/ 61868 h 332381"/>
                <a:gd name="connsiteX402" fmla="*/ 561917 w 2663946"/>
                <a:gd name="connsiteY402" fmla="*/ 58353 h 332381"/>
                <a:gd name="connsiteX403" fmla="*/ 558230 w 2663946"/>
                <a:gd name="connsiteY403" fmla="*/ 54568 h 332381"/>
                <a:gd name="connsiteX404" fmla="*/ 554297 w 2663946"/>
                <a:gd name="connsiteY404" fmla="*/ 52405 h 332381"/>
                <a:gd name="connsiteX405" fmla="*/ 372346 w 2663946"/>
                <a:gd name="connsiteY405" fmla="*/ 52405 h 332381"/>
                <a:gd name="connsiteX406" fmla="*/ 360793 w 2663946"/>
                <a:gd name="connsiteY406" fmla="*/ 54838 h 332381"/>
                <a:gd name="connsiteX407" fmla="*/ 357598 w 2663946"/>
                <a:gd name="connsiteY407" fmla="*/ 58353 h 332381"/>
                <a:gd name="connsiteX408" fmla="*/ 355385 w 2663946"/>
                <a:gd name="connsiteY408" fmla="*/ 62138 h 332381"/>
                <a:gd name="connsiteX409" fmla="*/ 354402 w 2663946"/>
                <a:gd name="connsiteY409" fmla="*/ 64842 h 332381"/>
                <a:gd name="connsiteX410" fmla="*/ 353419 w 2663946"/>
                <a:gd name="connsiteY410" fmla="*/ 68898 h 332381"/>
                <a:gd name="connsiteX411" fmla="*/ 352436 w 2663946"/>
                <a:gd name="connsiteY411" fmla="*/ 75928 h 332381"/>
                <a:gd name="connsiteX412" fmla="*/ 353419 w 2663946"/>
                <a:gd name="connsiteY412" fmla="*/ 83228 h 332381"/>
                <a:gd name="connsiteX413" fmla="*/ 354648 w 2663946"/>
                <a:gd name="connsiteY413" fmla="*/ 87013 h 332381"/>
                <a:gd name="connsiteX414" fmla="*/ 356860 w 2663946"/>
                <a:gd name="connsiteY414" fmla="*/ 91339 h 332381"/>
                <a:gd name="connsiteX415" fmla="*/ 360301 w 2663946"/>
                <a:gd name="connsiteY415" fmla="*/ 95666 h 332381"/>
                <a:gd name="connsiteX416" fmla="*/ 364726 w 2663946"/>
                <a:gd name="connsiteY416" fmla="*/ 98369 h 332381"/>
                <a:gd name="connsiteX417" fmla="*/ 377016 w 2663946"/>
                <a:gd name="connsiteY417" fmla="*/ 95936 h 332381"/>
                <a:gd name="connsiteX418" fmla="*/ 380212 w 2663946"/>
                <a:gd name="connsiteY418" fmla="*/ 92421 h 332381"/>
                <a:gd name="connsiteX419" fmla="*/ 382670 w 2663946"/>
                <a:gd name="connsiteY419" fmla="*/ 88095 h 332381"/>
                <a:gd name="connsiteX420" fmla="*/ 383653 w 2663946"/>
                <a:gd name="connsiteY420" fmla="*/ 85932 h 332381"/>
                <a:gd name="connsiteX421" fmla="*/ 384882 w 2663946"/>
                <a:gd name="connsiteY421" fmla="*/ 81606 h 332381"/>
                <a:gd name="connsiteX422" fmla="*/ 384390 w 2663946"/>
                <a:gd name="connsiteY422" fmla="*/ 67816 h 332381"/>
                <a:gd name="connsiteX423" fmla="*/ 383407 w 2663946"/>
                <a:gd name="connsiteY423" fmla="*/ 64842 h 332381"/>
                <a:gd name="connsiteX424" fmla="*/ 382178 w 2663946"/>
                <a:gd name="connsiteY424" fmla="*/ 61868 h 332381"/>
                <a:gd name="connsiteX425" fmla="*/ 379966 w 2663946"/>
                <a:gd name="connsiteY425" fmla="*/ 58353 h 332381"/>
                <a:gd name="connsiteX426" fmla="*/ 376279 w 2663946"/>
                <a:gd name="connsiteY426" fmla="*/ 54568 h 332381"/>
                <a:gd name="connsiteX427" fmla="*/ 372346 w 2663946"/>
                <a:gd name="connsiteY427" fmla="*/ 52405 h 332381"/>
                <a:gd name="connsiteX428" fmla="*/ 129300 w 2663946"/>
                <a:gd name="connsiteY428" fmla="*/ 52405 h 332381"/>
                <a:gd name="connsiteX429" fmla="*/ 117747 w 2663946"/>
                <a:gd name="connsiteY429" fmla="*/ 54838 h 332381"/>
                <a:gd name="connsiteX430" fmla="*/ 114552 w 2663946"/>
                <a:gd name="connsiteY430" fmla="*/ 58353 h 332381"/>
                <a:gd name="connsiteX431" fmla="*/ 112340 w 2663946"/>
                <a:gd name="connsiteY431" fmla="*/ 62138 h 332381"/>
                <a:gd name="connsiteX432" fmla="*/ 111356 w 2663946"/>
                <a:gd name="connsiteY432" fmla="*/ 64842 h 332381"/>
                <a:gd name="connsiteX433" fmla="*/ 110373 w 2663946"/>
                <a:gd name="connsiteY433" fmla="*/ 68898 h 332381"/>
                <a:gd name="connsiteX434" fmla="*/ 109390 w 2663946"/>
                <a:gd name="connsiteY434" fmla="*/ 75928 h 332381"/>
                <a:gd name="connsiteX435" fmla="*/ 110373 w 2663946"/>
                <a:gd name="connsiteY435" fmla="*/ 83228 h 332381"/>
                <a:gd name="connsiteX436" fmla="*/ 111602 w 2663946"/>
                <a:gd name="connsiteY436" fmla="*/ 87013 h 332381"/>
                <a:gd name="connsiteX437" fmla="*/ 113814 w 2663946"/>
                <a:gd name="connsiteY437" fmla="*/ 91339 h 332381"/>
                <a:gd name="connsiteX438" fmla="*/ 117256 w 2663946"/>
                <a:gd name="connsiteY438" fmla="*/ 95666 h 332381"/>
                <a:gd name="connsiteX439" fmla="*/ 121680 w 2663946"/>
                <a:gd name="connsiteY439" fmla="*/ 98369 h 332381"/>
                <a:gd name="connsiteX440" fmla="*/ 133970 w 2663946"/>
                <a:gd name="connsiteY440" fmla="*/ 95936 h 332381"/>
                <a:gd name="connsiteX441" fmla="*/ 137166 w 2663946"/>
                <a:gd name="connsiteY441" fmla="*/ 92421 h 332381"/>
                <a:gd name="connsiteX442" fmla="*/ 139624 w 2663946"/>
                <a:gd name="connsiteY442" fmla="*/ 88095 h 332381"/>
                <a:gd name="connsiteX443" fmla="*/ 140607 w 2663946"/>
                <a:gd name="connsiteY443" fmla="*/ 85932 h 332381"/>
                <a:gd name="connsiteX444" fmla="*/ 141836 w 2663946"/>
                <a:gd name="connsiteY444" fmla="*/ 81606 h 332381"/>
                <a:gd name="connsiteX445" fmla="*/ 141344 w 2663946"/>
                <a:gd name="connsiteY445" fmla="*/ 67816 h 332381"/>
                <a:gd name="connsiteX446" fmla="*/ 140361 w 2663946"/>
                <a:gd name="connsiteY446" fmla="*/ 64842 h 332381"/>
                <a:gd name="connsiteX447" fmla="*/ 139132 w 2663946"/>
                <a:gd name="connsiteY447" fmla="*/ 61868 h 332381"/>
                <a:gd name="connsiteX448" fmla="*/ 136920 w 2663946"/>
                <a:gd name="connsiteY448" fmla="*/ 58353 h 332381"/>
                <a:gd name="connsiteX449" fmla="*/ 133233 w 2663946"/>
                <a:gd name="connsiteY449" fmla="*/ 54568 h 332381"/>
                <a:gd name="connsiteX450" fmla="*/ 129300 w 2663946"/>
                <a:gd name="connsiteY450" fmla="*/ 52405 h 332381"/>
                <a:gd name="connsiteX451" fmla="*/ 33147 w 2663946"/>
                <a:gd name="connsiteY451" fmla="*/ 48469 h 332381"/>
                <a:gd name="connsiteX452" fmla="*/ 21486 w 2663946"/>
                <a:gd name="connsiteY452" fmla="*/ 56198 h 332381"/>
                <a:gd name="connsiteX453" fmla="*/ 20561 w 2663946"/>
                <a:gd name="connsiteY453" fmla="*/ 60781 h 332381"/>
                <a:gd name="connsiteX454" fmla="*/ 23801 w 2663946"/>
                <a:gd name="connsiteY454" fmla="*/ 60781 h 332381"/>
                <a:gd name="connsiteX455" fmla="*/ 42218 w 2663946"/>
                <a:gd name="connsiteY455" fmla="*/ 60781 h 332381"/>
                <a:gd name="connsiteX456" fmla="*/ 45732 w 2663946"/>
                <a:gd name="connsiteY456" fmla="*/ 60781 h 332381"/>
                <a:gd name="connsiteX457" fmla="*/ 44807 w 2663946"/>
                <a:gd name="connsiteY457" fmla="*/ 56198 h 332381"/>
                <a:gd name="connsiteX458" fmla="*/ 33147 w 2663946"/>
                <a:gd name="connsiteY458" fmla="*/ 48469 h 332381"/>
                <a:gd name="connsiteX459" fmla="*/ 2537931 w 2663946"/>
                <a:gd name="connsiteY459" fmla="*/ 40881 h 332381"/>
                <a:gd name="connsiteX460" fmla="*/ 2526271 w 2663946"/>
                <a:gd name="connsiteY460" fmla="*/ 48610 h 332381"/>
                <a:gd name="connsiteX461" fmla="*/ 2525346 w 2663946"/>
                <a:gd name="connsiteY461" fmla="*/ 53193 h 332381"/>
                <a:gd name="connsiteX462" fmla="*/ 2528586 w 2663946"/>
                <a:gd name="connsiteY462" fmla="*/ 53193 h 332381"/>
                <a:gd name="connsiteX463" fmla="*/ 2547003 w 2663946"/>
                <a:gd name="connsiteY463" fmla="*/ 53193 h 332381"/>
                <a:gd name="connsiteX464" fmla="*/ 2550517 w 2663946"/>
                <a:gd name="connsiteY464" fmla="*/ 53193 h 332381"/>
                <a:gd name="connsiteX465" fmla="*/ 2549592 w 2663946"/>
                <a:gd name="connsiteY465" fmla="*/ 48610 h 332381"/>
                <a:gd name="connsiteX466" fmla="*/ 2537931 w 2663946"/>
                <a:gd name="connsiteY466" fmla="*/ 40881 h 332381"/>
                <a:gd name="connsiteX467" fmla="*/ 2112934 w 2663946"/>
                <a:gd name="connsiteY467" fmla="*/ 40881 h 332381"/>
                <a:gd name="connsiteX468" fmla="*/ 2101274 w 2663946"/>
                <a:gd name="connsiteY468" fmla="*/ 48610 h 332381"/>
                <a:gd name="connsiteX469" fmla="*/ 2100349 w 2663946"/>
                <a:gd name="connsiteY469" fmla="*/ 53193 h 332381"/>
                <a:gd name="connsiteX470" fmla="*/ 2103589 w 2663946"/>
                <a:gd name="connsiteY470" fmla="*/ 53193 h 332381"/>
                <a:gd name="connsiteX471" fmla="*/ 2122006 w 2663946"/>
                <a:gd name="connsiteY471" fmla="*/ 53193 h 332381"/>
                <a:gd name="connsiteX472" fmla="*/ 2125520 w 2663946"/>
                <a:gd name="connsiteY472" fmla="*/ 53193 h 332381"/>
                <a:gd name="connsiteX473" fmla="*/ 2124595 w 2663946"/>
                <a:gd name="connsiteY473" fmla="*/ 48610 h 332381"/>
                <a:gd name="connsiteX474" fmla="*/ 2112934 w 2663946"/>
                <a:gd name="connsiteY474" fmla="*/ 40881 h 332381"/>
                <a:gd name="connsiteX475" fmla="*/ 1854966 w 2663946"/>
                <a:gd name="connsiteY475" fmla="*/ 40881 h 332381"/>
                <a:gd name="connsiteX476" fmla="*/ 1843306 w 2663946"/>
                <a:gd name="connsiteY476" fmla="*/ 48610 h 332381"/>
                <a:gd name="connsiteX477" fmla="*/ 1842381 w 2663946"/>
                <a:gd name="connsiteY477" fmla="*/ 53193 h 332381"/>
                <a:gd name="connsiteX478" fmla="*/ 1845621 w 2663946"/>
                <a:gd name="connsiteY478" fmla="*/ 53193 h 332381"/>
                <a:gd name="connsiteX479" fmla="*/ 1864038 w 2663946"/>
                <a:gd name="connsiteY479" fmla="*/ 53193 h 332381"/>
                <a:gd name="connsiteX480" fmla="*/ 1867552 w 2663946"/>
                <a:gd name="connsiteY480" fmla="*/ 53193 h 332381"/>
                <a:gd name="connsiteX481" fmla="*/ 1866627 w 2663946"/>
                <a:gd name="connsiteY481" fmla="*/ 48610 h 332381"/>
                <a:gd name="connsiteX482" fmla="*/ 1854966 w 2663946"/>
                <a:gd name="connsiteY482" fmla="*/ 40881 h 332381"/>
                <a:gd name="connsiteX483" fmla="*/ 1764027 w 2663946"/>
                <a:gd name="connsiteY483" fmla="*/ 40881 h 332381"/>
                <a:gd name="connsiteX484" fmla="*/ 1752367 w 2663946"/>
                <a:gd name="connsiteY484" fmla="*/ 48610 h 332381"/>
                <a:gd name="connsiteX485" fmla="*/ 1751442 w 2663946"/>
                <a:gd name="connsiteY485" fmla="*/ 53193 h 332381"/>
                <a:gd name="connsiteX486" fmla="*/ 1754682 w 2663946"/>
                <a:gd name="connsiteY486" fmla="*/ 53193 h 332381"/>
                <a:gd name="connsiteX487" fmla="*/ 1773099 w 2663946"/>
                <a:gd name="connsiteY487" fmla="*/ 53193 h 332381"/>
                <a:gd name="connsiteX488" fmla="*/ 1776613 w 2663946"/>
                <a:gd name="connsiteY488" fmla="*/ 53193 h 332381"/>
                <a:gd name="connsiteX489" fmla="*/ 1775687 w 2663946"/>
                <a:gd name="connsiteY489" fmla="*/ 48610 h 332381"/>
                <a:gd name="connsiteX490" fmla="*/ 1764027 w 2663946"/>
                <a:gd name="connsiteY490" fmla="*/ 40881 h 332381"/>
                <a:gd name="connsiteX491" fmla="*/ 1506059 w 2663946"/>
                <a:gd name="connsiteY491" fmla="*/ 40881 h 332381"/>
                <a:gd name="connsiteX492" fmla="*/ 1494399 w 2663946"/>
                <a:gd name="connsiteY492" fmla="*/ 48610 h 332381"/>
                <a:gd name="connsiteX493" fmla="*/ 1493474 w 2663946"/>
                <a:gd name="connsiteY493" fmla="*/ 53193 h 332381"/>
                <a:gd name="connsiteX494" fmla="*/ 1496714 w 2663946"/>
                <a:gd name="connsiteY494" fmla="*/ 53193 h 332381"/>
                <a:gd name="connsiteX495" fmla="*/ 1515131 w 2663946"/>
                <a:gd name="connsiteY495" fmla="*/ 53193 h 332381"/>
                <a:gd name="connsiteX496" fmla="*/ 1518645 w 2663946"/>
                <a:gd name="connsiteY496" fmla="*/ 53193 h 332381"/>
                <a:gd name="connsiteX497" fmla="*/ 1517719 w 2663946"/>
                <a:gd name="connsiteY497" fmla="*/ 48610 h 332381"/>
                <a:gd name="connsiteX498" fmla="*/ 1506059 w 2663946"/>
                <a:gd name="connsiteY498" fmla="*/ 40881 h 332381"/>
                <a:gd name="connsiteX499" fmla="*/ 1415120 w 2663946"/>
                <a:gd name="connsiteY499" fmla="*/ 40881 h 332381"/>
                <a:gd name="connsiteX500" fmla="*/ 1403460 w 2663946"/>
                <a:gd name="connsiteY500" fmla="*/ 48610 h 332381"/>
                <a:gd name="connsiteX501" fmla="*/ 1402535 w 2663946"/>
                <a:gd name="connsiteY501" fmla="*/ 53193 h 332381"/>
                <a:gd name="connsiteX502" fmla="*/ 1405775 w 2663946"/>
                <a:gd name="connsiteY502" fmla="*/ 53193 h 332381"/>
                <a:gd name="connsiteX503" fmla="*/ 1424192 w 2663946"/>
                <a:gd name="connsiteY503" fmla="*/ 53193 h 332381"/>
                <a:gd name="connsiteX504" fmla="*/ 1427706 w 2663946"/>
                <a:gd name="connsiteY504" fmla="*/ 53193 h 332381"/>
                <a:gd name="connsiteX505" fmla="*/ 1426780 w 2663946"/>
                <a:gd name="connsiteY505" fmla="*/ 48610 h 332381"/>
                <a:gd name="connsiteX506" fmla="*/ 1415120 w 2663946"/>
                <a:gd name="connsiteY506" fmla="*/ 40881 h 332381"/>
                <a:gd name="connsiteX507" fmla="*/ 1157152 w 2663946"/>
                <a:gd name="connsiteY507" fmla="*/ 40881 h 332381"/>
                <a:gd name="connsiteX508" fmla="*/ 1145492 w 2663946"/>
                <a:gd name="connsiteY508" fmla="*/ 48610 h 332381"/>
                <a:gd name="connsiteX509" fmla="*/ 1144567 w 2663946"/>
                <a:gd name="connsiteY509" fmla="*/ 53193 h 332381"/>
                <a:gd name="connsiteX510" fmla="*/ 1147807 w 2663946"/>
                <a:gd name="connsiteY510" fmla="*/ 53193 h 332381"/>
                <a:gd name="connsiteX511" fmla="*/ 1166224 w 2663946"/>
                <a:gd name="connsiteY511" fmla="*/ 53193 h 332381"/>
                <a:gd name="connsiteX512" fmla="*/ 1169738 w 2663946"/>
                <a:gd name="connsiteY512" fmla="*/ 53193 h 332381"/>
                <a:gd name="connsiteX513" fmla="*/ 1168812 w 2663946"/>
                <a:gd name="connsiteY513" fmla="*/ 48610 h 332381"/>
                <a:gd name="connsiteX514" fmla="*/ 1157152 w 2663946"/>
                <a:gd name="connsiteY514" fmla="*/ 40881 h 332381"/>
                <a:gd name="connsiteX515" fmla="*/ 732156 w 2663946"/>
                <a:gd name="connsiteY515" fmla="*/ 40881 h 332381"/>
                <a:gd name="connsiteX516" fmla="*/ 720495 w 2663946"/>
                <a:gd name="connsiteY516" fmla="*/ 48610 h 332381"/>
                <a:gd name="connsiteX517" fmla="*/ 719570 w 2663946"/>
                <a:gd name="connsiteY517" fmla="*/ 53193 h 332381"/>
                <a:gd name="connsiteX518" fmla="*/ 722810 w 2663946"/>
                <a:gd name="connsiteY518" fmla="*/ 53193 h 332381"/>
                <a:gd name="connsiteX519" fmla="*/ 741228 w 2663946"/>
                <a:gd name="connsiteY519" fmla="*/ 53193 h 332381"/>
                <a:gd name="connsiteX520" fmla="*/ 744742 w 2663946"/>
                <a:gd name="connsiteY520" fmla="*/ 53193 h 332381"/>
                <a:gd name="connsiteX521" fmla="*/ 743816 w 2663946"/>
                <a:gd name="connsiteY521" fmla="*/ 48610 h 332381"/>
                <a:gd name="connsiteX522" fmla="*/ 732156 w 2663946"/>
                <a:gd name="connsiteY522" fmla="*/ 40881 h 332381"/>
                <a:gd name="connsiteX523" fmla="*/ 641217 w 2663946"/>
                <a:gd name="connsiteY523" fmla="*/ 40881 h 332381"/>
                <a:gd name="connsiteX524" fmla="*/ 629556 w 2663946"/>
                <a:gd name="connsiteY524" fmla="*/ 48610 h 332381"/>
                <a:gd name="connsiteX525" fmla="*/ 628631 w 2663946"/>
                <a:gd name="connsiteY525" fmla="*/ 53193 h 332381"/>
                <a:gd name="connsiteX526" fmla="*/ 631871 w 2663946"/>
                <a:gd name="connsiteY526" fmla="*/ 53193 h 332381"/>
                <a:gd name="connsiteX527" fmla="*/ 650289 w 2663946"/>
                <a:gd name="connsiteY527" fmla="*/ 53193 h 332381"/>
                <a:gd name="connsiteX528" fmla="*/ 653802 w 2663946"/>
                <a:gd name="connsiteY528" fmla="*/ 53193 h 332381"/>
                <a:gd name="connsiteX529" fmla="*/ 652877 w 2663946"/>
                <a:gd name="connsiteY529" fmla="*/ 48610 h 332381"/>
                <a:gd name="connsiteX530" fmla="*/ 641217 w 2663946"/>
                <a:gd name="connsiteY530" fmla="*/ 40881 h 332381"/>
                <a:gd name="connsiteX531" fmla="*/ 459266 w 2663946"/>
                <a:gd name="connsiteY531" fmla="*/ 40881 h 332381"/>
                <a:gd name="connsiteX532" fmla="*/ 447605 w 2663946"/>
                <a:gd name="connsiteY532" fmla="*/ 48610 h 332381"/>
                <a:gd name="connsiteX533" fmla="*/ 446680 w 2663946"/>
                <a:gd name="connsiteY533" fmla="*/ 53193 h 332381"/>
                <a:gd name="connsiteX534" fmla="*/ 449920 w 2663946"/>
                <a:gd name="connsiteY534" fmla="*/ 53193 h 332381"/>
                <a:gd name="connsiteX535" fmla="*/ 468337 w 2663946"/>
                <a:gd name="connsiteY535" fmla="*/ 53193 h 332381"/>
                <a:gd name="connsiteX536" fmla="*/ 471851 w 2663946"/>
                <a:gd name="connsiteY536" fmla="*/ 53193 h 332381"/>
                <a:gd name="connsiteX537" fmla="*/ 470926 w 2663946"/>
                <a:gd name="connsiteY537" fmla="*/ 48610 h 332381"/>
                <a:gd name="connsiteX538" fmla="*/ 459266 w 2663946"/>
                <a:gd name="connsiteY538" fmla="*/ 40881 h 332381"/>
                <a:gd name="connsiteX539" fmla="*/ 2361413 w 2663946"/>
                <a:gd name="connsiteY539" fmla="*/ 36521 h 332381"/>
                <a:gd name="connsiteX540" fmla="*/ 2365469 w 2663946"/>
                <a:gd name="connsiteY540" fmla="*/ 36521 h 332381"/>
                <a:gd name="connsiteX541" fmla="*/ 2370065 w 2663946"/>
                <a:gd name="connsiteY541" fmla="*/ 38955 h 332381"/>
                <a:gd name="connsiteX542" fmla="*/ 2372229 w 2663946"/>
                <a:gd name="connsiteY542" fmla="*/ 45173 h 332381"/>
                <a:gd name="connsiteX543" fmla="*/ 2372229 w 2663946"/>
                <a:gd name="connsiteY543" fmla="*/ 45714 h 332381"/>
                <a:gd name="connsiteX544" fmla="*/ 2372229 w 2663946"/>
                <a:gd name="connsiteY544" fmla="*/ 98709 h 332381"/>
                <a:gd name="connsiteX545" fmla="*/ 2372769 w 2663946"/>
                <a:gd name="connsiteY545" fmla="*/ 99249 h 332381"/>
                <a:gd name="connsiteX546" fmla="*/ 2380069 w 2663946"/>
                <a:gd name="connsiteY546" fmla="*/ 99249 h 332381"/>
                <a:gd name="connsiteX547" fmla="*/ 2384125 w 2663946"/>
                <a:gd name="connsiteY547" fmla="*/ 100331 h 332381"/>
                <a:gd name="connsiteX548" fmla="*/ 2387910 w 2663946"/>
                <a:gd name="connsiteY548" fmla="*/ 107090 h 332381"/>
                <a:gd name="connsiteX549" fmla="*/ 2385207 w 2663946"/>
                <a:gd name="connsiteY549" fmla="*/ 112768 h 332381"/>
                <a:gd name="connsiteX550" fmla="*/ 2381151 w 2663946"/>
                <a:gd name="connsiteY550" fmla="*/ 114661 h 332381"/>
                <a:gd name="connsiteX551" fmla="*/ 2380881 w 2663946"/>
                <a:gd name="connsiteY551" fmla="*/ 114661 h 332381"/>
                <a:gd name="connsiteX552" fmla="*/ 2380610 w 2663946"/>
                <a:gd name="connsiteY552" fmla="*/ 114661 h 332381"/>
                <a:gd name="connsiteX553" fmla="*/ 2380069 w 2663946"/>
                <a:gd name="connsiteY553" fmla="*/ 114661 h 332381"/>
                <a:gd name="connsiteX554" fmla="*/ 2347894 w 2663946"/>
                <a:gd name="connsiteY554" fmla="*/ 114661 h 332381"/>
                <a:gd name="connsiteX555" fmla="*/ 2347354 w 2663946"/>
                <a:gd name="connsiteY555" fmla="*/ 114661 h 332381"/>
                <a:gd name="connsiteX556" fmla="*/ 2346542 w 2663946"/>
                <a:gd name="connsiteY556" fmla="*/ 114661 h 332381"/>
                <a:gd name="connsiteX557" fmla="*/ 2345731 w 2663946"/>
                <a:gd name="connsiteY557" fmla="*/ 114391 h 332381"/>
                <a:gd name="connsiteX558" fmla="*/ 2342216 w 2663946"/>
                <a:gd name="connsiteY558" fmla="*/ 112498 h 332381"/>
                <a:gd name="connsiteX559" fmla="*/ 2339783 w 2663946"/>
                <a:gd name="connsiteY559" fmla="*/ 106820 h 332381"/>
                <a:gd name="connsiteX560" fmla="*/ 2341946 w 2663946"/>
                <a:gd name="connsiteY560" fmla="*/ 101683 h 332381"/>
                <a:gd name="connsiteX561" fmla="*/ 2347624 w 2663946"/>
                <a:gd name="connsiteY561" fmla="*/ 99249 h 332381"/>
                <a:gd name="connsiteX562" fmla="*/ 2355465 w 2663946"/>
                <a:gd name="connsiteY562" fmla="*/ 99249 h 332381"/>
                <a:gd name="connsiteX563" fmla="*/ 2356006 w 2663946"/>
                <a:gd name="connsiteY563" fmla="*/ 98709 h 332381"/>
                <a:gd name="connsiteX564" fmla="*/ 2356006 w 2663946"/>
                <a:gd name="connsiteY564" fmla="*/ 52744 h 332381"/>
                <a:gd name="connsiteX565" fmla="*/ 2355465 w 2663946"/>
                <a:gd name="connsiteY565" fmla="*/ 52203 h 332381"/>
                <a:gd name="connsiteX566" fmla="*/ 2349517 w 2663946"/>
                <a:gd name="connsiteY566" fmla="*/ 52203 h 332381"/>
                <a:gd name="connsiteX567" fmla="*/ 2342216 w 2663946"/>
                <a:gd name="connsiteY567" fmla="*/ 47607 h 332381"/>
                <a:gd name="connsiteX568" fmla="*/ 2341946 w 2663946"/>
                <a:gd name="connsiteY568" fmla="*/ 41929 h 332381"/>
                <a:gd name="connsiteX569" fmla="*/ 2349246 w 2663946"/>
                <a:gd name="connsiteY569" fmla="*/ 36792 h 332381"/>
                <a:gd name="connsiteX570" fmla="*/ 2361413 w 2663946"/>
                <a:gd name="connsiteY570" fmla="*/ 36521 h 332381"/>
                <a:gd name="connsiteX571" fmla="*/ 2285396 w 2663946"/>
                <a:gd name="connsiteY571" fmla="*/ 36521 h 332381"/>
                <a:gd name="connsiteX572" fmla="*/ 2289452 w 2663946"/>
                <a:gd name="connsiteY572" fmla="*/ 36521 h 332381"/>
                <a:gd name="connsiteX573" fmla="*/ 2294048 w 2663946"/>
                <a:gd name="connsiteY573" fmla="*/ 38955 h 332381"/>
                <a:gd name="connsiteX574" fmla="*/ 2296212 w 2663946"/>
                <a:gd name="connsiteY574" fmla="*/ 45173 h 332381"/>
                <a:gd name="connsiteX575" fmla="*/ 2296212 w 2663946"/>
                <a:gd name="connsiteY575" fmla="*/ 45714 h 332381"/>
                <a:gd name="connsiteX576" fmla="*/ 2296212 w 2663946"/>
                <a:gd name="connsiteY576" fmla="*/ 98709 h 332381"/>
                <a:gd name="connsiteX577" fmla="*/ 2296752 w 2663946"/>
                <a:gd name="connsiteY577" fmla="*/ 99249 h 332381"/>
                <a:gd name="connsiteX578" fmla="*/ 2304052 w 2663946"/>
                <a:gd name="connsiteY578" fmla="*/ 99249 h 332381"/>
                <a:gd name="connsiteX579" fmla="*/ 2308108 w 2663946"/>
                <a:gd name="connsiteY579" fmla="*/ 100331 h 332381"/>
                <a:gd name="connsiteX580" fmla="*/ 2311893 w 2663946"/>
                <a:gd name="connsiteY580" fmla="*/ 107090 h 332381"/>
                <a:gd name="connsiteX581" fmla="*/ 2309190 w 2663946"/>
                <a:gd name="connsiteY581" fmla="*/ 112768 h 332381"/>
                <a:gd name="connsiteX582" fmla="*/ 2305134 w 2663946"/>
                <a:gd name="connsiteY582" fmla="*/ 114661 h 332381"/>
                <a:gd name="connsiteX583" fmla="*/ 2304864 w 2663946"/>
                <a:gd name="connsiteY583" fmla="*/ 114661 h 332381"/>
                <a:gd name="connsiteX584" fmla="*/ 2304593 w 2663946"/>
                <a:gd name="connsiteY584" fmla="*/ 114661 h 332381"/>
                <a:gd name="connsiteX585" fmla="*/ 2304052 w 2663946"/>
                <a:gd name="connsiteY585" fmla="*/ 114661 h 332381"/>
                <a:gd name="connsiteX586" fmla="*/ 2271877 w 2663946"/>
                <a:gd name="connsiteY586" fmla="*/ 114661 h 332381"/>
                <a:gd name="connsiteX587" fmla="*/ 2271337 w 2663946"/>
                <a:gd name="connsiteY587" fmla="*/ 114661 h 332381"/>
                <a:gd name="connsiteX588" fmla="*/ 2270525 w 2663946"/>
                <a:gd name="connsiteY588" fmla="*/ 114661 h 332381"/>
                <a:gd name="connsiteX589" fmla="*/ 2269714 w 2663946"/>
                <a:gd name="connsiteY589" fmla="*/ 114391 h 332381"/>
                <a:gd name="connsiteX590" fmla="*/ 2266199 w 2663946"/>
                <a:gd name="connsiteY590" fmla="*/ 112498 h 332381"/>
                <a:gd name="connsiteX591" fmla="*/ 2263766 w 2663946"/>
                <a:gd name="connsiteY591" fmla="*/ 106820 h 332381"/>
                <a:gd name="connsiteX592" fmla="*/ 2265929 w 2663946"/>
                <a:gd name="connsiteY592" fmla="*/ 101683 h 332381"/>
                <a:gd name="connsiteX593" fmla="*/ 2271607 w 2663946"/>
                <a:gd name="connsiteY593" fmla="*/ 99249 h 332381"/>
                <a:gd name="connsiteX594" fmla="*/ 2279448 w 2663946"/>
                <a:gd name="connsiteY594" fmla="*/ 99249 h 332381"/>
                <a:gd name="connsiteX595" fmla="*/ 2279989 w 2663946"/>
                <a:gd name="connsiteY595" fmla="*/ 98709 h 332381"/>
                <a:gd name="connsiteX596" fmla="*/ 2279989 w 2663946"/>
                <a:gd name="connsiteY596" fmla="*/ 52744 h 332381"/>
                <a:gd name="connsiteX597" fmla="*/ 2279448 w 2663946"/>
                <a:gd name="connsiteY597" fmla="*/ 52203 h 332381"/>
                <a:gd name="connsiteX598" fmla="*/ 2273500 w 2663946"/>
                <a:gd name="connsiteY598" fmla="*/ 52203 h 332381"/>
                <a:gd name="connsiteX599" fmla="*/ 2266199 w 2663946"/>
                <a:gd name="connsiteY599" fmla="*/ 47607 h 332381"/>
                <a:gd name="connsiteX600" fmla="*/ 2265929 w 2663946"/>
                <a:gd name="connsiteY600" fmla="*/ 41929 h 332381"/>
                <a:gd name="connsiteX601" fmla="*/ 2273229 w 2663946"/>
                <a:gd name="connsiteY601" fmla="*/ 36792 h 332381"/>
                <a:gd name="connsiteX602" fmla="*/ 2285396 w 2663946"/>
                <a:gd name="connsiteY602" fmla="*/ 36521 h 332381"/>
                <a:gd name="connsiteX603" fmla="*/ 1936416 w 2663946"/>
                <a:gd name="connsiteY603" fmla="*/ 36521 h 332381"/>
                <a:gd name="connsiteX604" fmla="*/ 1940472 w 2663946"/>
                <a:gd name="connsiteY604" fmla="*/ 36521 h 332381"/>
                <a:gd name="connsiteX605" fmla="*/ 1945068 w 2663946"/>
                <a:gd name="connsiteY605" fmla="*/ 38955 h 332381"/>
                <a:gd name="connsiteX606" fmla="*/ 1947232 w 2663946"/>
                <a:gd name="connsiteY606" fmla="*/ 45173 h 332381"/>
                <a:gd name="connsiteX607" fmla="*/ 1947232 w 2663946"/>
                <a:gd name="connsiteY607" fmla="*/ 45714 h 332381"/>
                <a:gd name="connsiteX608" fmla="*/ 1947232 w 2663946"/>
                <a:gd name="connsiteY608" fmla="*/ 98709 h 332381"/>
                <a:gd name="connsiteX609" fmla="*/ 1947772 w 2663946"/>
                <a:gd name="connsiteY609" fmla="*/ 99249 h 332381"/>
                <a:gd name="connsiteX610" fmla="*/ 1955072 w 2663946"/>
                <a:gd name="connsiteY610" fmla="*/ 99249 h 332381"/>
                <a:gd name="connsiteX611" fmla="*/ 1959128 w 2663946"/>
                <a:gd name="connsiteY611" fmla="*/ 100331 h 332381"/>
                <a:gd name="connsiteX612" fmla="*/ 1962913 w 2663946"/>
                <a:gd name="connsiteY612" fmla="*/ 107090 h 332381"/>
                <a:gd name="connsiteX613" fmla="*/ 1960210 w 2663946"/>
                <a:gd name="connsiteY613" fmla="*/ 112768 h 332381"/>
                <a:gd name="connsiteX614" fmla="*/ 1956154 w 2663946"/>
                <a:gd name="connsiteY614" fmla="*/ 114661 h 332381"/>
                <a:gd name="connsiteX615" fmla="*/ 1955884 w 2663946"/>
                <a:gd name="connsiteY615" fmla="*/ 114661 h 332381"/>
                <a:gd name="connsiteX616" fmla="*/ 1955613 w 2663946"/>
                <a:gd name="connsiteY616" fmla="*/ 114661 h 332381"/>
                <a:gd name="connsiteX617" fmla="*/ 1955072 w 2663946"/>
                <a:gd name="connsiteY617" fmla="*/ 114661 h 332381"/>
                <a:gd name="connsiteX618" fmla="*/ 1922897 w 2663946"/>
                <a:gd name="connsiteY618" fmla="*/ 114661 h 332381"/>
                <a:gd name="connsiteX619" fmla="*/ 1922357 w 2663946"/>
                <a:gd name="connsiteY619" fmla="*/ 114661 h 332381"/>
                <a:gd name="connsiteX620" fmla="*/ 1921545 w 2663946"/>
                <a:gd name="connsiteY620" fmla="*/ 114661 h 332381"/>
                <a:gd name="connsiteX621" fmla="*/ 1920734 w 2663946"/>
                <a:gd name="connsiteY621" fmla="*/ 114391 h 332381"/>
                <a:gd name="connsiteX622" fmla="*/ 1917219 w 2663946"/>
                <a:gd name="connsiteY622" fmla="*/ 112498 h 332381"/>
                <a:gd name="connsiteX623" fmla="*/ 1914786 w 2663946"/>
                <a:gd name="connsiteY623" fmla="*/ 106820 h 332381"/>
                <a:gd name="connsiteX624" fmla="*/ 1916949 w 2663946"/>
                <a:gd name="connsiteY624" fmla="*/ 101683 h 332381"/>
                <a:gd name="connsiteX625" fmla="*/ 1922627 w 2663946"/>
                <a:gd name="connsiteY625" fmla="*/ 99249 h 332381"/>
                <a:gd name="connsiteX626" fmla="*/ 1930468 w 2663946"/>
                <a:gd name="connsiteY626" fmla="*/ 99249 h 332381"/>
                <a:gd name="connsiteX627" fmla="*/ 1931009 w 2663946"/>
                <a:gd name="connsiteY627" fmla="*/ 98709 h 332381"/>
                <a:gd name="connsiteX628" fmla="*/ 1931009 w 2663946"/>
                <a:gd name="connsiteY628" fmla="*/ 52744 h 332381"/>
                <a:gd name="connsiteX629" fmla="*/ 1930468 w 2663946"/>
                <a:gd name="connsiteY629" fmla="*/ 52203 h 332381"/>
                <a:gd name="connsiteX630" fmla="*/ 1924520 w 2663946"/>
                <a:gd name="connsiteY630" fmla="*/ 52203 h 332381"/>
                <a:gd name="connsiteX631" fmla="*/ 1917219 w 2663946"/>
                <a:gd name="connsiteY631" fmla="*/ 47607 h 332381"/>
                <a:gd name="connsiteX632" fmla="*/ 1916949 w 2663946"/>
                <a:gd name="connsiteY632" fmla="*/ 41929 h 332381"/>
                <a:gd name="connsiteX633" fmla="*/ 1924249 w 2663946"/>
                <a:gd name="connsiteY633" fmla="*/ 36792 h 332381"/>
                <a:gd name="connsiteX634" fmla="*/ 1936416 w 2663946"/>
                <a:gd name="connsiteY634" fmla="*/ 36521 h 332381"/>
                <a:gd name="connsiteX635" fmla="*/ 1678521 w 2663946"/>
                <a:gd name="connsiteY635" fmla="*/ 36521 h 332381"/>
                <a:gd name="connsiteX636" fmla="*/ 1682577 w 2663946"/>
                <a:gd name="connsiteY636" fmla="*/ 36521 h 332381"/>
                <a:gd name="connsiteX637" fmla="*/ 1687173 w 2663946"/>
                <a:gd name="connsiteY637" fmla="*/ 38955 h 332381"/>
                <a:gd name="connsiteX638" fmla="*/ 1689336 w 2663946"/>
                <a:gd name="connsiteY638" fmla="*/ 45173 h 332381"/>
                <a:gd name="connsiteX639" fmla="*/ 1689336 w 2663946"/>
                <a:gd name="connsiteY639" fmla="*/ 45714 h 332381"/>
                <a:gd name="connsiteX640" fmla="*/ 1689336 w 2663946"/>
                <a:gd name="connsiteY640" fmla="*/ 98709 h 332381"/>
                <a:gd name="connsiteX641" fmla="*/ 1689877 w 2663946"/>
                <a:gd name="connsiteY641" fmla="*/ 99249 h 332381"/>
                <a:gd name="connsiteX642" fmla="*/ 1697177 w 2663946"/>
                <a:gd name="connsiteY642" fmla="*/ 99249 h 332381"/>
                <a:gd name="connsiteX643" fmla="*/ 1701233 w 2663946"/>
                <a:gd name="connsiteY643" fmla="*/ 100331 h 332381"/>
                <a:gd name="connsiteX644" fmla="*/ 1705018 w 2663946"/>
                <a:gd name="connsiteY644" fmla="*/ 107090 h 332381"/>
                <a:gd name="connsiteX645" fmla="*/ 1702315 w 2663946"/>
                <a:gd name="connsiteY645" fmla="*/ 112768 h 332381"/>
                <a:gd name="connsiteX646" fmla="*/ 1698259 w 2663946"/>
                <a:gd name="connsiteY646" fmla="*/ 114661 h 332381"/>
                <a:gd name="connsiteX647" fmla="*/ 1697989 w 2663946"/>
                <a:gd name="connsiteY647" fmla="*/ 114661 h 332381"/>
                <a:gd name="connsiteX648" fmla="*/ 1697718 w 2663946"/>
                <a:gd name="connsiteY648" fmla="*/ 114661 h 332381"/>
                <a:gd name="connsiteX649" fmla="*/ 1697177 w 2663946"/>
                <a:gd name="connsiteY649" fmla="*/ 114661 h 332381"/>
                <a:gd name="connsiteX650" fmla="*/ 1665002 w 2663946"/>
                <a:gd name="connsiteY650" fmla="*/ 114661 h 332381"/>
                <a:gd name="connsiteX651" fmla="*/ 1664462 w 2663946"/>
                <a:gd name="connsiteY651" fmla="*/ 114661 h 332381"/>
                <a:gd name="connsiteX652" fmla="*/ 1663650 w 2663946"/>
                <a:gd name="connsiteY652" fmla="*/ 114661 h 332381"/>
                <a:gd name="connsiteX653" fmla="*/ 1662839 w 2663946"/>
                <a:gd name="connsiteY653" fmla="*/ 114391 h 332381"/>
                <a:gd name="connsiteX654" fmla="*/ 1659324 w 2663946"/>
                <a:gd name="connsiteY654" fmla="*/ 112498 h 332381"/>
                <a:gd name="connsiteX655" fmla="*/ 1656891 w 2663946"/>
                <a:gd name="connsiteY655" fmla="*/ 106820 h 332381"/>
                <a:gd name="connsiteX656" fmla="*/ 1659054 w 2663946"/>
                <a:gd name="connsiteY656" fmla="*/ 101683 h 332381"/>
                <a:gd name="connsiteX657" fmla="*/ 1664732 w 2663946"/>
                <a:gd name="connsiteY657" fmla="*/ 99249 h 332381"/>
                <a:gd name="connsiteX658" fmla="*/ 1672573 w 2663946"/>
                <a:gd name="connsiteY658" fmla="*/ 99249 h 332381"/>
                <a:gd name="connsiteX659" fmla="*/ 1673114 w 2663946"/>
                <a:gd name="connsiteY659" fmla="*/ 98709 h 332381"/>
                <a:gd name="connsiteX660" fmla="*/ 1673114 w 2663946"/>
                <a:gd name="connsiteY660" fmla="*/ 52744 h 332381"/>
                <a:gd name="connsiteX661" fmla="*/ 1672573 w 2663946"/>
                <a:gd name="connsiteY661" fmla="*/ 52203 h 332381"/>
                <a:gd name="connsiteX662" fmla="*/ 1666625 w 2663946"/>
                <a:gd name="connsiteY662" fmla="*/ 52203 h 332381"/>
                <a:gd name="connsiteX663" fmla="*/ 1659324 w 2663946"/>
                <a:gd name="connsiteY663" fmla="*/ 47607 h 332381"/>
                <a:gd name="connsiteX664" fmla="*/ 1659054 w 2663946"/>
                <a:gd name="connsiteY664" fmla="*/ 41929 h 332381"/>
                <a:gd name="connsiteX665" fmla="*/ 1666354 w 2663946"/>
                <a:gd name="connsiteY665" fmla="*/ 36792 h 332381"/>
                <a:gd name="connsiteX666" fmla="*/ 1678521 w 2663946"/>
                <a:gd name="connsiteY666" fmla="*/ 36521 h 332381"/>
                <a:gd name="connsiteX667" fmla="*/ 1329614 w 2663946"/>
                <a:gd name="connsiteY667" fmla="*/ 36521 h 332381"/>
                <a:gd name="connsiteX668" fmla="*/ 1333670 w 2663946"/>
                <a:gd name="connsiteY668" fmla="*/ 36521 h 332381"/>
                <a:gd name="connsiteX669" fmla="*/ 1338266 w 2663946"/>
                <a:gd name="connsiteY669" fmla="*/ 38955 h 332381"/>
                <a:gd name="connsiteX670" fmla="*/ 1340429 w 2663946"/>
                <a:gd name="connsiteY670" fmla="*/ 45173 h 332381"/>
                <a:gd name="connsiteX671" fmla="*/ 1340429 w 2663946"/>
                <a:gd name="connsiteY671" fmla="*/ 45714 h 332381"/>
                <a:gd name="connsiteX672" fmla="*/ 1340429 w 2663946"/>
                <a:gd name="connsiteY672" fmla="*/ 98709 h 332381"/>
                <a:gd name="connsiteX673" fmla="*/ 1340970 w 2663946"/>
                <a:gd name="connsiteY673" fmla="*/ 99249 h 332381"/>
                <a:gd name="connsiteX674" fmla="*/ 1348270 w 2663946"/>
                <a:gd name="connsiteY674" fmla="*/ 99249 h 332381"/>
                <a:gd name="connsiteX675" fmla="*/ 1352326 w 2663946"/>
                <a:gd name="connsiteY675" fmla="*/ 100331 h 332381"/>
                <a:gd name="connsiteX676" fmla="*/ 1356111 w 2663946"/>
                <a:gd name="connsiteY676" fmla="*/ 107090 h 332381"/>
                <a:gd name="connsiteX677" fmla="*/ 1353408 w 2663946"/>
                <a:gd name="connsiteY677" fmla="*/ 112768 h 332381"/>
                <a:gd name="connsiteX678" fmla="*/ 1349352 w 2663946"/>
                <a:gd name="connsiteY678" fmla="*/ 114661 h 332381"/>
                <a:gd name="connsiteX679" fmla="*/ 1349082 w 2663946"/>
                <a:gd name="connsiteY679" fmla="*/ 114661 h 332381"/>
                <a:gd name="connsiteX680" fmla="*/ 1348811 w 2663946"/>
                <a:gd name="connsiteY680" fmla="*/ 114661 h 332381"/>
                <a:gd name="connsiteX681" fmla="*/ 1348270 w 2663946"/>
                <a:gd name="connsiteY681" fmla="*/ 114661 h 332381"/>
                <a:gd name="connsiteX682" fmla="*/ 1316095 w 2663946"/>
                <a:gd name="connsiteY682" fmla="*/ 114661 h 332381"/>
                <a:gd name="connsiteX683" fmla="*/ 1315555 w 2663946"/>
                <a:gd name="connsiteY683" fmla="*/ 114661 h 332381"/>
                <a:gd name="connsiteX684" fmla="*/ 1314743 w 2663946"/>
                <a:gd name="connsiteY684" fmla="*/ 114661 h 332381"/>
                <a:gd name="connsiteX685" fmla="*/ 1313932 w 2663946"/>
                <a:gd name="connsiteY685" fmla="*/ 114391 h 332381"/>
                <a:gd name="connsiteX686" fmla="*/ 1310417 w 2663946"/>
                <a:gd name="connsiteY686" fmla="*/ 112498 h 332381"/>
                <a:gd name="connsiteX687" fmla="*/ 1307984 w 2663946"/>
                <a:gd name="connsiteY687" fmla="*/ 106820 h 332381"/>
                <a:gd name="connsiteX688" fmla="*/ 1310147 w 2663946"/>
                <a:gd name="connsiteY688" fmla="*/ 101683 h 332381"/>
                <a:gd name="connsiteX689" fmla="*/ 1315825 w 2663946"/>
                <a:gd name="connsiteY689" fmla="*/ 99249 h 332381"/>
                <a:gd name="connsiteX690" fmla="*/ 1323666 w 2663946"/>
                <a:gd name="connsiteY690" fmla="*/ 99249 h 332381"/>
                <a:gd name="connsiteX691" fmla="*/ 1324207 w 2663946"/>
                <a:gd name="connsiteY691" fmla="*/ 98709 h 332381"/>
                <a:gd name="connsiteX692" fmla="*/ 1324207 w 2663946"/>
                <a:gd name="connsiteY692" fmla="*/ 52744 h 332381"/>
                <a:gd name="connsiteX693" fmla="*/ 1323666 w 2663946"/>
                <a:gd name="connsiteY693" fmla="*/ 52203 h 332381"/>
                <a:gd name="connsiteX694" fmla="*/ 1317718 w 2663946"/>
                <a:gd name="connsiteY694" fmla="*/ 52203 h 332381"/>
                <a:gd name="connsiteX695" fmla="*/ 1310417 w 2663946"/>
                <a:gd name="connsiteY695" fmla="*/ 47607 h 332381"/>
                <a:gd name="connsiteX696" fmla="*/ 1310147 w 2663946"/>
                <a:gd name="connsiteY696" fmla="*/ 41929 h 332381"/>
                <a:gd name="connsiteX697" fmla="*/ 1317447 w 2663946"/>
                <a:gd name="connsiteY697" fmla="*/ 36792 h 332381"/>
                <a:gd name="connsiteX698" fmla="*/ 1329614 w 2663946"/>
                <a:gd name="connsiteY698" fmla="*/ 36521 h 332381"/>
                <a:gd name="connsiteX699" fmla="*/ 980634 w 2663946"/>
                <a:gd name="connsiteY699" fmla="*/ 36521 h 332381"/>
                <a:gd name="connsiteX700" fmla="*/ 984690 w 2663946"/>
                <a:gd name="connsiteY700" fmla="*/ 36521 h 332381"/>
                <a:gd name="connsiteX701" fmla="*/ 989286 w 2663946"/>
                <a:gd name="connsiteY701" fmla="*/ 38955 h 332381"/>
                <a:gd name="connsiteX702" fmla="*/ 991449 w 2663946"/>
                <a:gd name="connsiteY702" fmla="*/ 45173 h 332381"/>
                <a:gd name="connsiteX703" fmla="*/ 991449 w 2663946"/>
                <a:gd name="connsiteY703" fmla="*/ 45714 h 332381"/>
                <a:gd name="connsiteX704" fmla="*/ 991449 w 2663946"/>
                <a:gd name="connsiteY704" fmla="*/ 98709 h 332381"/>
                <a:gd name="connsiteX705" fmla="*/ 991990 w 2663946"/>
                <a:gd name="connsiteY705" fmla="*/ 99249 h 332381"/>
                <a:gd name="connsiteX706" fmla="*/ 999290 w 2663946"/>
                <a:gd name="connsiteY706" fmla="*/ 99249 h 332381"/>
                <a:gd name="connsiteX707" fmla="*/ 1003346 w 2663946"/>
                <a:gd name="connsiteY707" fmla="*/ 100331 h 332381"/>
                <a:gd name="connsiteX708" fmla="*/ 1007131 w 2663946"/>
                <a:gd name="connsiteY708" fmla="*/ 107090 h 332381"/>
                <a:gd name="connsiteX709" fmla="*/ 1004428 w 2663946"/>
                <a:gd name="connsiteY709" fmla="*/ 112768 h 332381"/>
                <a:gd name="connsiteX710" fmla="*/ 1000372 w 2663946"/>
                <a:gd name="connsiteY710" fmla="*/ 114661 h 332381"/>
                <a:gd name="connsiteX711" fmla="*/ 1000102 w 2663946"/>
                <a:gd name="connsiteY711" fmla="*/ 114661 h 332381"/>
                <a:gd name="connsiteX712" fmla="*/ 999831 w 2663946"/>
                <a:gd name="connsiteY712" fmla="*/ 114661 h 332381"/>
                <a:gd name="connsiteX713" fmla="*/ 999290 w 2663946"/>
                <a:gd name="connsiteY713" fmla="*/ 114661 h 332381"/>
                <a:gd name="connsiteX714" fmla="*/ 967115 w 2663946"/>
                <a:gd name="connsiteY714" fmla="*/ 114661 h 332381"/>
                <a:gd name="connsiteX715" fmla="*/ 966575 w 2663946"/>
                <a:gd name="connsiteY715" fmla="*/ 114661 h 332381"/>
                <a:gd name="connsiteX716" fmla="*/ 965763 w 2663946"/>
                <a:gd name="connsiteY716" fmla="*/ 114661 h 332381"/>
                <a:gd name="connsiteX717" fmla="*/ 964952 w 2663946"/>
                <a:gd name="connsiteY717" fmla="*/ 114391 h 332381"/>
                <a:gd name="connsiteX718" fmla="*/ 961437 w 2663946"/>
                <a:gd name="connsiteY718" fmla="*/ 112498 h 332381"/>
                <a:gd name="connsiteX719" fmla="*/ 959004 w 2663946"/>
                <a:gd name="connsiteY719" fmla="*/ 106820 h 332381"/>
                <a:gd name="connsiteX720" fmla="*/ 961167 w 2663946"/>
                <a:gd name="connsiteY720" fmla="*/ 101683 h 332381"/>
                <a:gd name="connsiteX721" fmla="*/ 966845 w 2663946"/>
                <a:gd name="connsiteY721" fmla="*/ 99249 h 332381"/>
                <a:gd name="connsiteX722" fmla="*/ 974686 w 2663946"/>
                <a:gd name="connsiteY722" fmla="*/ 99249 h 332381"/>
                <a:gd name="connsiteX723" fmla="*/ 975227 w 2663946"/>
                <a:gd name="connsiteY723" fmla="*/ 98709 h 332381"/>
                <a:gd name="connsiteX724" fmla="*/ 975227 w 2663946"/>
                <a:gd name="connsiteY724" fmla="*/ 52744 h 332381"/>
                <a:gd name="connsiteX725" fmla="*/ 974686 w 2663946"/>
                <a:gd name="connsiteY725" fmla="*/ 52203 h 332381"/>
                <a:gd name="connsiteX726" fmla="*/ 968738 w 2663946"/>
                <a:gd name="connsiteY726" fmla="*/ 52203 h 332381"/>
                <a:gd name="connsiteX727" fmla="*/ 961437 w 2663946"/>
                <a:gd name="connsiteY727" fmla="*/ 47607 h 332381"/>
                <a:gd name="connsiteX728" fmla="*/ 961167 w 2663946"/>
                <a:gd name="connsiteY728" fmla="*/ 41929 h 332381"/>
                <a:gd name="connsiteX729" fmla="*/ 968467 w 2663946"/>
                <a:gd name="connsiteY729" fmla="*/ 36792 h 332381"/>
                <a:gd name="connsiteX730" fmla="*/ 980634 w 2663946"/>
                <a:gd name="connsiteY730" fmla="*/ 36521 h 332381"/>
                <a:gd name="connsiteX731" fmla="*/ 813605 w 2663946"/>
                <a:gd name="connsiteY731" fmla="*/ 36521 h 332381"/>
                <a:gd name="connsiteX732" fmla="*/ 817661 w 2663946"/>
                <a:gd name="connsiteY732" fmla="*/ 36521 h 332381"/>
                <a:gd name="connsiteX733" fmla="*/ 822257 w 2663946"/>
                <a:gd name="connsiteY733" fmla="*/ 38955 h 332381"/>
                <a:gd name="connsiteX734" fmla="*/ 824420 w 2663946"/>
                <a:gd name="connsiteY734" fmla="*/ 45173 h 332381"/>
                <a:gd name="connsiteX735" fmla="*/ 824420 w 2663946"/>
                <a:gd name="connsiteY735" fmla="*/ 45714 h 332381"/>
                <a:gd name="connsiteX736" fmla="*/ 824420 w 2663946"/>
                <a:gd name="connsiteY736" fmla="*/ 98709 h 332381"/>
                <a:gd name="connsiteX737" fmla="*/ 824961 w 2663946"/>
                <a:gd name="connsiteY737" fmla="*/ 99249 h 332381"/>
                <a:gd name="connsiteX738" fmla="*/ 832261 w 2663946"/>
                <a:gd name="connsiteY738" fmla="*/ 99249 h 332381"/>
                <a:gd name="connsiteX739" fmla="*/ 836317 w 2663946"/>
                <a:gd name="connsiteY739" fmla="*/ 100331 h 332381"/>
                <a:gd name="connsiteX740" fmla="*/ 840102 w 2663946"/>
                <a:gd name="connsiteY740" fmla="*/ 107090 h 332381"/>
                <a:gd name="connsiteX741" fmla="*/ 837399 w 2663946"/>
                <a:gd name="connsiteY741" fmla="*/ 112768 h 332381"/>
                <a:gd name="connsiteX742" fmla="*/ 833343 w 2663946"/>
                <a:gd name="connsiteY742" fmla="*/ 114661 h 332381"/>
                <a:gd name="connsiteX743" fmla="*/ 833073 w 2663946"/>
                <a:gd name="connsiteY743" fmla="*/ 114661 h 332381"/>
                <a:gd name="connsiteX744" fmla="*/ 832802 w 2663946"/>
                <a:gd name="connsiteY744" fmla="*/ 114661 h 332381"/>
                <a:gd name="connsiteX745" fmla="*/ 832261 w 2663946"/>
                <a:gd name="connsiteY745" fmla="*/ 114661 h 332381"/>
                <a:gd name="connsiteX746" fmla="*/ 800086 w 2663946"/>
                <a:gd name="connsiteY746" fmla="*/ 114661 h 332381"/>
                <a:gd name="connsiteX747" fmla="*/ 799546 w 2663946"/>
                <a:gd name="connsiteY747" fmla="*/ 114661 h 332381"/>
                <a:gd name="connsiteX748" fmla="*/ 798734 w 2663946"/>
                <a:gd name="connsiteY748" fmla="*/ 114661 h 332381"/>
                <a:gd name="connsiteX749" fmla="*/ 797923 w 2663946"/>
                <a:gd name="connsiteY749" fmla="*/ 114391 h 332381"/>
                <a:gd name="connsiteX750" fmla="*/ 794408 w 2663946"/>
                <a:gd name="connsiteY750" fmla="*/ 112498 h 332381"/>
                <a:gd name="connsiteX751" fmla="*/ 791975 w 2663946"/>
                <a:gd name="connsiteY751" fmla="*/ 106820 h 332381"/>
                <a:gd name="connsiteX752" fmla="*/ 794138 w 2663946"/>
                <a:gd name="connsiteY752" fmla="*/ 101683 h 332381"/>
                <a:gd name="connsiteX753" fmla="*/ 799816 w 2663946"/>
                <a:gd name="connsiteY753" fmla="*/ 99249 h 332381"/>
                <a:gd name="connsiteX754" fmla="*/ 807657 w 2663946"/>
                <a:gd name="connsiteY754" fmla="*/ 99249 h 332381"/>
                <a:gd name="connsiteX755" fmla="*/ 808198 w 2663946"/>
                <a:gd name="connsiteY755" fmla="*/ 98709 h 332381"/>
                <a:gd name="connsiteX756" fmla="*/ 808198 w 2663946"/>
                <a:gd name="connsiteY756" fmla="*/ 52744 h 332381"/>
                <a:gd name="connsiteX757" fmla="*/ 807657 w 2663946"/>
                <a:gd name="connsiteY757" fmla="*/ 52203 h 332381"/>
                <a:gd name="connsiteX758" fmla="*/ 801709 w 2663946"/>
                <a:gd name="connsiteY758" fmla="*/ 52203 h 332381"/>
                <a:gd name="connsiteX759" fmla="*/ 794408 w 2663946"/>
                <a:gd name="connsiteY759" fmla="*/ 47607 h 332381"/>
                <a:gd name="connsiteX760" fmla="*/ 794138 w 2663946"/>
                <a:gd name="connsiteY760" fmla="*/ 41929 h 332381"/>
                <a:gd name="connsiteX761" fmla="*/ 801438 w 2663946"/>
                <a:gd name="connsiteY761" fmla="*/ 36792 h 332381"/>
                <a:gd name="connsiteX762" fmla="*/ 813605 w 2663946"/>
                <a:gd name="connsiteY762" fmla="*/ 36521 h 332381"/>
                <a:gd name="connsiteX763" fmla="*/ 282748 w 2663946"/>
                <a:gd name="connsiteY763" fmla="*/ 36521 h 332381"/>
                <a:gd name="connsiteX764" fmla="*/ 286803 w 2663946"/>
                <a:gd name="connsiteY764" fmla="*/ 36521 h 332381"/>
                <a:gd name="connsiteX765" fmla="*/ 291400 w 2663946"/>
                <a:gd name="connsiteY765" fmla="*/ 38955 h 332381"/>
                <a:gd name="connsiteX766" fmla="*/ 293563 w 2663946"/>
                <a:gd name="connsiteY766" fmla="*/ 45173 h 332381"/>
                <a:gd name="connsiteX767" fmla="*/ 293563 w 2663946"/>
                <a:gd name="connsiteY767" fmla="*/ 45714 h 332381"/>
                <a:gd name="connsiteX768" fmla="*/ 293563 w 2663946"/>
                <a:gd name="connsiteY768" fmla="*/ 98709 h 332381"/>
                <a:gd name="connsiteX769" fmla="*/ 294104 w 2663946"/>
                <a:gd name="connsiteY769" fmla="*/ 99249 h 332381"/>
                <a:gd name="connsiteX770" fmla="*/ 301404 w 2663946"/>
                <a:gd name="connsiteY770" fmla="*/ 99249 h 332381"/>
                <a:gd name="connsiteX771" fmla="*/ 305460 w 2663946"/>
                <a:gd name="connsiteY771" fmla="*/ 100331 h 332381"/>
                <a:gd name="connsiteX772" fmla="*/ 309245 w 2663946"/>
                <a:gd name="connsiteY772" fmla="*/ 107090 h 332381"/>
                <a:gd name="connsiteX773" fmla="*/ 306541 w 2663946"/>
                <a:gd name="connsiteY773" fmla="*/ 112768 h 332381"/>
                <a:gd name="connsiteX774" fmla="*/ 302485 w 2663946"/>
                <a:gd name="connsiteY774" fmla="*/ 114661 h 332381"/>
                <a:gd name="connsiteX775" fmla="*/ 302215 w 2663946"/>
                <a:gd name="connsiteY775" fmla="*/ 114661 h 332381"/>
                <a:gd name="connsiteX776" fmla="*/ 301945 w 2663946"/>
                <a:gd name="connsiteY776" fmla="*/ 114661 h 332381"/>
                <a:gd name="connsiteX777" fmla="*/ 301404 w 2663946"/>
                <a:gd name="connsiteY777" fmla="*/ 114661 h 332381"/>
                <a:gd name="connsiteX778" fmla="*/ 269229 w 2663946"/>
                <a:gd name="connsiteY778" fmla="*/ 114661 h 332381"/>
                <a:gd name="connsiteX779" fmla="*/ 268688 w 2663946"/>
                <a:gd name="connsiteY779" fmla="*/ 114661 h 332381"/>
                <a:gd name="connsiteX780" fmla="*/ 267877 w 2663946"/>
                <a:gd name="connsiteY780" fmla="*/ 114661 h 332381"/>
                <a:gd name="connsiteX781" fmla="*/ 267066 w 2663946"/>
                <a:gd name="connsiteY781" fmla="*/ 114391 h 332381"/>
                <a:gd name="connsiteX782" fmla="*/ 263551 w 2663946"/>
                <a:gd name="connsiteY782" fmla="*/ 112498 h 332381"/>
                <a:gd name="connsiteX783" fmla="*/ 261117 w 2663946"/>
                <a:gd name="connsiteY783" fmla="*/ 106820 h 332381"/>
                <a:gd name="connsiteX784" fmla="*/ 263281 w 2663946"/>
                <a:gd name="connsiteY784" fmla="*/ 101683 h 332381"/>
                <a:gd name="connsiteX785" fmla="*/ 268958 w 2663946"/>
                <a:gd name="connsiteY785" fmla="*/ 99249 h 332381"/>
                <a:gd name="connsiteX786" fmla="*/ 276800 w 2663946"/>
                <a:gd name="connsiteY786" fmla="*/ 99249 h 332381"/>
                <a:gd name="connsiteX787" fmla="*/ 277340 w 2663946"/>
                <a:gd name="connsiteY787" fmla="*/ 98709 h 332381"/>
                <a:gd name="connsiteX788" fmla="*/ 277340 w 2663946"/>
                <a:gd name="connsiteY788" fmla="*/ 52744 h 332381"/>
                <a:gd name="connsiteX789" fmla="*/ 276800 w 2663946"/>
                <a:gd name="connsiteY789" fmla="*/ 52203 h 332381"/>
                <a:gd name="connsiteX790" fmla="*/ 270851 w 2663946"/>
                <a:gd name="connsiteY790" fmla="*/ 52203 h 332381"/>
                <a:gd name="connsiteX791" fmla="*/ 263551 w 2663946"/>
                <a:gd name="connsiteY791" fmla="*/ 47607 h 332381"/>
                <a:gd name="connsiteX792" fmla="*/ 263281 w 2663946"/>
                <a:gd name="connsiteY792" fmla="*/ 41929 h 332381"/>
                <a:gd name="connsiteX793" fmla="*/ 270581 w 2663946"/>
                <a:gd name="connsiteY793" fmla="*/ 36792 h 332381"/>
                <a:gd name="connsiteX794" fmla="*/ 282748 w 2663946"/>
                <a:gd name="connsiteY794" fmla="*/ 36521 h 332381"/>
                <a:gd name="connsiteX795" fmla="*/ 206731 w 2663946"/>
                <a:gd name="connsiteY795" fmla="*/ 36521 h 332381"/>
                <a:gd name="connsiteX796" fmla="*/ 210787 w 2663946"/>
                <a:gd name="connsiteY796" fmla="*/ 36521 h 332381"/>
                <a:gd name="connsiteX797" fmla="*/ 215383 w 2663946"/>
                <a:gd name="connsiteY797" fmla="*/ 38955 h 332381"/>
                <a:gd name="connsiteX798" fmla="*/ 217546 w 2663946"/>
                <a:gd name="connsiteY798" fmla="*/ 45173 h 332381"/>
                <a:gd name="connsiteX799" fmla="*/ 217546 w 2663946"/>
                <a:gd name="connsiteY799" fmla="*/ 45714 h 332381"/>
                <a:gd name="connsiteX800" fmla="*/ 217546 w 2663946"/>
                <a:gd name="connsiteY800" fmla="*/ 98709 h 332381"/>
                <a:gd name="connsiteX801" fmla="*/ 218087 w 2663946"/>
                <a:gd name="connsiteY801" fmla="*/ 99249 h 332381"/>
                <a:gd name="connsiteX802" fmla="*/ 225387 w 2663946"/>
                <a:gd name="connsiteY802" fmla="*/ 99249 h 332381"/>
                <a:gd name="connsiteX803" fmla="*/ 229443 w 2663946"/>
                <a:gd name="connsiteY803" fmla="*/ 100331 h 332381"/>
                <a:gd name="connsiteX804" fmla="*/ 233228 w 2663946"/>
                <a:gd name="connsiteY804" fmla="*/ 107090 h 332381"/>
                <a:gd name="connsiteX805" fmla="*/ 230524 w 2663946"/>
                <a:gd name="connsiteY805" fmla="*/ 112768 h 332381"/>
                <a:gd name="connsiteX806" fmla="*/ 226468 w 2663946"/>
                <a:gd name="connsiteY806" fmla="*/ 114661 h 332381"/>
                <a:gd name="connsiteX807" fmla="*/ 226198 w 2663946"/>
                <a:gd name="connsiteY807" fmla="*/ 114661 h 332381"/>
                <a:gd name="connsiteX808" fmla="*/ 225928 w 2663946"/>
                <a:gd name="connsiteY808" fmla="*/ 114661 h 332381"/>
                <a:gd name="connsiteX809" fmla="*/ 225387 w 2663946"/>
                <a:gd name="connsiteY809" fmla="*/ 114661 h 332381"/>
                <a:gd name="connsiteX810" fmla="*/ 193212 w 2663946"/>
                <a:gd name="connsiteY810" fmla="*/ 114661 h 332381"/>
                <a:gd name="connsiteX811" fmla="*/ 192671 w 2663946"/>
                <a:gd name="connsiteY811" fmla="*/ 114661 h 332381"/>
                <a:gd name="connsiteX812" fmla="*/ 191860 w 2663946"/>
                <a:gd name="connsiteY812" fmla="*/ 114661 h 332381"/>
                <a:gd name="connsiteX813" fmla="*/ 191049 w 2663946"/>
                <a:gd name="connsiteY813" fmla="*/ 114391 h 332381"/>
                <a:gd name="connsiteX814" fmla="*/ 187534 w 2663946"/>
                <a:gd name="connsiteY814" fmla="*/ 112498 h 332381"/>
                <a:gd name="connsiteX815" fmla="*/ 185101 w 2663946"/>
                <a:gd name="connsiteY815" fmla="*/ 106820 h 332381"/>
                <a:gd name="connsiteX816" fmla="*/ 187264 w 2663946"/>
                <a:gd name="connsiteY816" fmla="*/ 101683 h 332381"/>
                <a:gd name="connsiteX817" fmla="*/ 192942 w 2663946"/>
                <a:gd name="connsiteY817" fmla="*/ 99249 h 332381"/>
                <a:gd name="connsiteX818" fmla="*/ 200783 w 2663946"/>
                <a:gd name="connsiteY818" fmla="*/ 99249 h 332381"/>
                <a:gd name="connsiteX819" fmla="*/ 201323 w 2663946"/>
                <a:gd name="connsiteY819" fmla="*/ 98709 h 332381"/>
                <a:gd name="connsiteX820" fmla="*/ 201323 w 2663946"/>
                <a:gd name="connsiteY820" fmla="*/ 52744 h 332381"/>
                <a:gd name="connsiteX821" fmla="*/ 200783 w 2663946"/>
                <a:gd name="connsiteY821" fmla="*/ 52203 h 332381"/>
                <a:gd name="connsiteX822" fmla="*/ 194834 w 2663946"/>
                <a:gd name="connsiteY822" fmla="*/ 52203 h 332381"/>
                <a:gd name="connsiteX823" fmla="*/ 187534 w 2663946"/>
                <a:gd name="connsiteY823" fmla="*/ 47607 h 332381"/>
                <a:gd name="connsiteX824" fmla="*/ 187264 w 2663946"/>
                <a:gd name="connsiteY824" fmla="*/ 41929 h 332381"/>
                <a:gd name="connsiteX825" fmla="*/ 194564 w 2663946"/>
                <a:gd name="connsiteY825" fmla="*/ 36792 h 332381"/>
                <a:gd name="connsiteX826" fmla="*/ 206731 w 2663946"/>
                <a:gd name="connsiteY826" fmla="*/ 36521 h 332381"/>
                <a:gd name="connsiteX827" fmla="*/ 2627559 w 2663946"/>
                <a:gd name="connsiteY827" fmla="*/ 36452 h 332381"/>
                <a:gd name="connsiteX828" fmla="*/ 2639849 w 2663946"/>
                <a:gd name="connsiteY828" fmla="*/ 38615 h 332381"/>
                <a:gd name="connsiteX829" fmla="*/ 2647223 w 2663946"/>
                <a:gd name="connsiteY829" fmla="*/ 43212 h 332381"/>
                <a:gd name="connsiteX830" fmla="*/ 2650664 w 2663946"/>
                <a:gd name="connsiteY830" fmla="*/ 46456 h 332381"/>
                <a:gd name="connsiteX831" fmla="*/ 2654106 w 2663946"/>
                <a:gd name="connsiteY831" fmla="*/ 50782 h 332381"/>
                <a:gd name="connsiteX832" fmla="*/ 2656072 w 2663946"/>
                <a:gd name="connsiteY832" fmla="*/ 54297 h 332381"/>
                <a:gd name="connsiteX833" fmla="*/ 2658284 w 2663946"/>
                <a:gd name="connsiteY833" fmla="*/ 59705 h 332381"/>
                <a:gd name="connsiteX834" fmla="*/ 2659267 w 2663946"/>
                <a:gd name="connsiteY834" fmla="*/ 63220 h 332381"/>
                <a:gd name="connsiteX835" fmla="*/ 2660251 w 2663946"/>
                <a:gd name="connsiteY835" fmla="*/ 68357 h 332381"/>
                <a:gd name="connsiteX836" fmla="*/ 2660005 w 2663946"/>
                <a:gd name="connsiteY836" fmla="*/ 82687 h 332381"/>
                <a:gd name="connsiteX837" fmla="*/ 2659022 w 2663946"/>
                <a:gd name="connsiteY837" fmla="*/ 87554 h 332381"/>
                <a:gd name="connsiteX838" fmla="*/ 2657792 w 2663946"/>
                <a:gd name="connsiteY838" fmla="*/ 91339 h 332381"/>
                <a:gd name="connsiteX839" fmla="*/ 2656809 w 2663946"/>
                <a:gd name="connsiteY839" fmla="*/ 93773 h 332381"/>
                <a:gd name="connsiteX840" fmla="*/ 2654597 w 2663946"/>
                <a:gd name="connsiteY840" fmla="*/ 98099 h 332381"/>
                <a:gd name="connsiteX841" fmla="*/ 2652385 w 2663946"/>
                <a:gd name="connsiteY841" fmla="*/ 101343 h 332381"/>
                <a:gd name="connsiteX842" fmla="*/ 2648944 w 2663946"/>
                <a:gd name="connsiteY842" fmla="*/ 105129 h 332381"/>
                <a:gd name="connsiteX843" fmla="*/ 2645748 w 2663946"/>
                <a:gd name="connsiteY843" fmla="*/ 107832 h 332381"/>
                <a:gd name="connsiteX844" fmla="*/ 2640095 w 2663946"/>
                <a:gd name="connsiteY844" fmla="*/ 111077 h 332381"/>
                <a:gd name="connsiteX845" fmla="*/ 2632229 w 2663946"/>
                <a:gd name="connsiteY845" fmla="*/ 113240 h 332381"/>
                <a:gd name="connsiteX846" fmla="*/ 2631000 w 2663946"/>
                <a:gd name="connsiteY846" fmla="*/ 113511 h 332381"/>
                <a:gd name="connsiteX847" fmla="*/ 2626821 w 2663946"/>
                <a:gd name="connsiteY847" fmla="*/ 113511 h 332381"/>
                <a:gd name="connsiteX848" fmla="*/ 2626576 w 2663946"/>
                <a:gd name="connsiteY848" fmla="*/ 113511 h 332381"/>
                <a:gd name="connsiteX849" fmla="*/ 2613548 w 2663946"/>
                <a:gd name="connsiteY849" fmla="*/ 108644 h 332381"/>
                <a:gd name="connsiteX850" fmla="*/ 2608878 w 2663946"/>
                <a:gd name="connsiteY850" fmla="*/ 104588 h 332381"/>
                <a:gd name="connsiteX851" fmla="*/ 2605682 w 2663946"/>
                <a:gd name="connsiteY851" fmla="*/ 100803 h 332381"/>
                <a:gd name="connsiteX852" fmla="*/ 2603470 w 2663946"/>
                <a:gd name="connsiteY852" fmla="*/ 97288 h 332381"/>
                <a:gd name="connsiteX853" fmla="*/ 2601258 w 2663946"/>
                <a:gd name="connsiteY853" fmla="*/ 92962 h 332381"/>
                <a:gd name="connsiteX854" fmla="*/ 2600029 w 2663946"/>
                <a:gd name="connsiteY854" fmla="*/ 89987 h 332381"/>
                <a:gd name="connsiteX855" fmla="*/ 2599046 w 2663946"/>
                <a:gd name="connsiteY855" fmla="*/ 86743 h 332381"/>
                <a:gd name="connsiteX856" fmla="*/ 2597816 w 2663946"/>
                <a:gd name="connsiteY856" fmla="*/ 81065 h 332381"/>
                <a:gd name="connsiteX857" fmla="*/ 2597571 w 2663946"/>
                <a:gd name="connsiteY857" fmla="*/ 78091 h 332381"/>
                <a:gd name="connsiteX858" fmla="*/ 2597816 w 2663946"/>
                <a:gd name="connsiteY858" fmla="*/ 78361 h 332381"/>
                <a:gd name="connsiteX859" fmla="*/ 2597816 w 2663946"/>
                <a:gd name="connsiteY859" fmla="*/ 72683 h 332381"/>
                <a:gd name="connsiteX860" fmla="*/ 2597816 w 2663946"/>
                <a:gd name="connsiteY860" fmla="*/ 72413 h 332381"/>
                <a:gd name="connsiteX861" fmla="*/ 2598308 w 2663946"/>
                <a:gd name="connsiteY861" fmla="*/ 67816 h 332381"/>
                <a:gd name="connsiteX862" fmla="*/ 2599537 w 2663946"/>
                <a:gd name="connsiteY862" fmla="*/ 62409 h 332381"/>
                <a:gd name="connsiteX863" fmla="*/ 2600520 w 2663946"/>
                <a:gd name="connsiteY863" fmla="*/ 59164 h 332381"/>
                <a:gd name="connsiteX864" fmla="*/ 2602732 w 2663946"/>
                <a:gd name="connsiteY864" fmla="*/ 54027 h 332381"/>
                <a:gd name="connsiteX865" fmla="*/ 2604945 w 2663946"/>
                <a:gd name="connsiteY865" fmla="*/ 50242 h 332381"/>
                <a:gd name="connsiteX866" fmla="*/ 2607157 w 2663946"/>
                <a:gd name="connsiteY866" fmla="*/ 47267 h 332381"/>
                <a:gd name="connsiteX867" fmla="*/ 2609369 w 2663946"/>
                <a:gd name="connsiteY867" fmla="*/ 44834 h 332381"/>
                <a:gd name="connsiteX868" fmla="*/ 2614039 w 2663946"/>
                <a:gd name="connsiteY868" fmla="*/ 41049 h 332381"/>
                <a:gd name="connsiteX869" fmla="*/ 2617972 w 2663946"/>
                <a:gd name="connsiteY869" fmla="*/ 38886 h 332381"/>
                <a:gd name="connsiteX870" fmla="*/ 2627559 w 2663946"/>
                <a:gd name="connsiteY870" fmla="*/ 36452 h 332381"/>
                <a:gd name="connsiteX871" fmla="*/ 2445604 w 2663946"/>
                <a:gd name="connsiteY871" fmla="*/ 36452 h 332381"/>
                <a:gd name="connsiteX872" fmla="*/ 2457894 w 2663946"/>
                <a:gd name="connsiteY872" fmla="*/ 38615 h 332381"/>
                <a:gd name="connsiteX873" fmla="*/ 2465268 w 2663946"/>
                <a:gd name="connsiteY873" fmla="*/ 43212 h 332381"/>
                <a:gd name="connsiteX874" fmla="*/ 2468709 w 2663946"/>
                <a:gd name="connsiteY874" fmla="*/ 46456 h 332381"/>
                <a:gd name="connsiteX875" fmla="*/ 2472151 w 2663946"/>
                <a:gd name="connsiteY875" fmla="*/ 50782 h 332381"/>
                <a:gd name="connsiteX876" fmla="*/ 2474117 w 2663946"/>
                <a:gd name="connsiteY876" fmla="*/ 54297 h 332381"/>
                <a:gd name="connsiteX877" fmla="*/ 2476329 w 2663946"/>
                <a:gd name="connsiteY877" fmla="*/ 59705 h 332381"/>
                <a:gd name="connsiteX878" fmla="*/ 2477312 w 2663946"/>
                <a:gd name="connsiteY878" fmla="*/ 63220 h 332381"/>
                <a:gd name="connsiteX879" fmla="*/ 2478296 w 2663946"/>
                <a:gd name="connsiteY879" fmla="*/ 68357 h 332381"/>
                <a:gd name="connsiteX880" fmla="*/ 2478050 w 2663946"/>
                <a:gd name="connsiteY880" fmla="*/ 82687 h 332381"/>
                <a:gd name="connsiteX881" fmla="*/ 2477067 w 2663946"/>
                <a:gd name="connsiteY881" fmla="*/ 87554 h 332381"/>
                <a:gd name="connsiteX882" fmla="*/ 2475837 w 2663946"/>
                <a:gd name="connsiteY882" fmla="*/ 91339 h 332381"/>
                <a:gd name="connsiteX883" fmla="*/ 2474854 w 2663946"/>
                <a:gd name="connsiteY883" fmla="*/ 93773 h 332381"/>
                <a:gd name="connsiteX884" fmla="*/ 2472642 w 2663946"/>
                <a:gd name="connsiteY884" fmla="*/ 98099 h 332381"/>
                <a:gd name="connsiteX885" fmla="*/ 2470430 w 2663946"/>
                <a:gd name="connsiteY885" fmla="*/ 101343 h 332381"/>
                <a:gd name="connsiteX886" fmla="*/ 2466989 w 2663946"/>
                <a:gd name="connsiteY886" fmla="*/ 105129 h 332381"/>
                <a:gd name="connsiteX887" fmla="*/ 2463793 w 2663946"/>
                <a:gd name="connsiteY887" fmla="*/ 107832 h 332381"/>
                <a:gd name="connsiteX888" fmla="*/ 2458140 w 2663946"/>
                <a:gd name="connsiteY888" fmla="*/ 111077 h 332381"/>
                <a:gd name="connsiteX889" fmla="*/ 2450274 w 2663946"/>
                <a:gd name="connsiteY889" fmla="*/ 113240 h 332381"/>
                <a:gd name="connsiteX890" fmla="*/ 2449045 w 2663946"/>
                <a:gd name="connsiteY890" fmla="*/ 113511 h 332381"/>
                <a:gd name="connsiteX891" fmla="*/ 2444866 w 2663946"/>
                <a:gd name="connsiteY891" fmla="*/ 113511 h 332381"/>
                <a:gd name="connsiteX892" fmla="*/ 2444621 w 2663946"/>
                <a:gd name="connsiteY892" fmla="*/ 113511 h 332381"/>
                <a:gd name="connsiteX893" fmla="*/ 2431593 w 2663946"/>
                <a:gd name="connsiteY893" fmla="*/ 108644 h 332381"/>
                <a:gd name="connsiteX894" fmla="*/ 2426923 w 2663946"/>
                <a:gd name="connsiteY894" fmla="*/ 104588 h 332381"/>
                <a:gd name="connsiteX895" fmla="*/ 2423727 w 2663946"/>
                <a:gd name="connsiteY895" fmla="*/ 100803 h 332381"/>
                <a:gd name="connsiteX896" fmla="*/ 2421515 w 2663946"/>
                <a:gd name="connsiteY896" fmla="*/ 97288 h 332381"/>
                <a:gd name="connsiteX897" fmla="*/ 2419303 w 2663946"/>
                <a:gd name="connsiteY897" fmla="*/ 92962 h 332381"/>
                <a:gd name="connsiteX898" fmla="*/ 2418074 w 2663946"/>
                <a:gd name="connsiteY898" fmla="*/ 89987 h 332381"/>
                <a:gd name="connsiteX899" fmla="*/ 2417091 w 2663946"/>
                <a:gd name="connsiteY899" fmla="*/ 86743 h 332381"/>
                <a:gd name="connsiteX900" fmla="*/ 2415861 w 2663946"/>
                <a:gd name="connsiteY900" fmla="*/ 81065 h 332381"/>
                <a:gd name="connsiteX901" fmla="*/ 2415616 w 2663946"/>
                <a:gd name="connsiteY901" fmla="*/ 78091 h 332381"/>
                <a:gd name="connsiteX902" fmla="*/ 2415861 w 2663946"/>
                <a:gd name="connsiteY902" fmla="*/ 78361 h 332381"/>
                <a:gd name="connsiteX903" fmla="*/ 2415861 w 2663946"/>
                <a:gd name="connsiteY903" fmla="*/ 72683 h 332381"/>
                <a:gd name="connsiteX904" fmla="*/ 2415861 w 2663946"/>
                <a:gd name="connsiteY904" fmla="*/ 72413 h 332381"/>
                <a:gd name="connsiteX905" fmla="*/ 2416353 w 2663946"/>
                <a:gd name="connsiteY905" fmla="*/ 67816 h 332381"/>
                <a:gd name="connsiteX906" fmla="*/ 2417582 w 2663946"/>
                <a:gd name="connsiteY906" fmla="*/ 62409 h 332381"/>
                <a:gd name="connsiteX907" fmla="*/ 2418565 w 2663946"/>
                <a:gd name="connsiteY907" fmla="*/ 59164 h 332381"/>
                <a:gd name="connsiteX908" fmla="*/ 2420777 w 2663946"/>
                <a:gd name="connsiteY908" fmla="*/ 54027 h 332381"/>
                <a:gd name="connsiteX909" fmla="*/ 2422990 w 2663946"/>
                <a:gd name="connsiteY909" fmla="*/ 50242 h 332381"/>
                <a:gd name="connsiteX910" fmla="*/ 2425202 w 2663946"/>
                <a:gd name="connsiteY910" fmla="*/ 47267 h 332381"/>
                <a:gd name="connsiteX911" fmla="*/ 2427414 w 2663946"/>
                <a:gd name="connsiteY911" fmla="*/ 44834 h 332381"/>
                <a:gd name="connsiteX912" fmla="*/ 2432084 w 2663946"/>
                <a:gd name="connsiteY912" fmla="*/ 41049 h 332381"/>
                <a:gd name="connsiteX913" fmla="*/ 2436017 w 2663946"/>
                <a:gd name="connsiteY913" fmla="*/ 38886 h 332381"/>
                <a:gd name="connsiteX914" fmla="*/ 2445604 w 2663946"/>
                <a:gd name="connsiteY914" fmla="*/ 36452 h 332381"/>
                <a:gd name="connsiteX915" fmla="*/ 2202558 w 2663946"/>
                <a:gd name="connsiteY915" fmla="*/ 36452 h 332381"/>
                <a:gd name="connsiteX916" fmla="*/ 2214848 w 2663946"/>
                <a:gd name="connsiteY916" fmla="*/ 38615 h 332381"/>
                <a:gd name="connsiteX917" fmla="*/ 2222222 w 2663946"/>
                <a:gd name="connsiteY917" fmla="*/ 43212 h 332381"/>
                <a:gd name="connsiteX918" fmla="*/ 2225663 w 2663946"/>
                <a:gd name="connsiteY918" fmla="*/ 46456 h 332381"/>
                <a:gd name="connsiteX919" fmla="*/ 2229105 w 2663946"/>
                <a:gd name="connsiteY919" fmla="*/ 50782 h 332381"/>
                <a:gd name="connsiteX920" fmla="*/ 2231071 w 2663946"/>
                <a:gd name="connsiteY920" fmla="*/ 54297 h 332381"/>
                <a:gd name="connsiteX921" fmla="*/ 2233283 w 2663946"/>
                <a:gd name="connsiteY921" fmla="*/ 59705 h 332381"/>
                <a:gd name="connsiteX922" fmla="*/ 2234266 w 2663946"/>
                <a:gd name="connsiteY922" fmla="*/ 63220 h 332381"/>
                <a:gd name="connsiteX923" fmla="*/ 2235250 w 2663946"/>
                <a:gd name="connsiteY923" fmla="*/ 68357 h 332381"/>
                <a:gd name="connsiteX924" fmla="*/ 2235004 w 2663946"/>
                <a:gd name="connsiteY924" fmla="*/ 82687 h 332381"/>
                <a:gd name="connsiteX925" fmla="*/ 2234021 w 2663946"/>
                <a:gd name="connsiteY925" fmla="*/ 87554 h 332381"/>
                <a:gd name="connsiteX926" fmla="*/ 2232791 w 2663946"/>
                <a:gd name="connsiteY926" fmla="*/ 91339 h 332381"/>
                <a:gd name="connsiteX927" fmla="*/ 2231808 w 2663946"/>
                <a:gd name="connsiteY927" fmla="*/ 93773 h 332381"/>
                <a:gd name="connsiteX928" fmla="*/ 2229596 w 2663946"/>
                <a:gd name="connsiteY928" fmla="*/ 98099 h 332381"/>
                <a:gd name="connsiteX929" fmla="*/ 2227384 w 2663946"/>
                <a:gd name="connsiteY929" fmla="*/ 101343 h 332381"/>
                <a:gd name="connsiteX930" fmla="*/ 2223943 w 2663946"/>
                <a:gd name="connsiteY930" fmla="*/ 105129 h 332381"/>
                <a:gd name="connsiteX931" fmla="*/ 2220747 w 2663946"/>
                <a:gd name="connsiteY931" fmla="*/ 107832 h 332381"/>
                <a:gd name="connsiteX932" fmla="*/ 2215094 w 2663946"/>
                <a:gd name="connsiteY932" fmla="*/ 111077 h 332381"/>
                <a:gd name="connsiteX933" fmla="*/ 2207228 w 2663946"/>
                <a:gd name="connsiteY933" fmla="*/ 113240 h 332381"/>
                <a:gd name="connsiteX934" fmla="*/ 2205999 w 2663946"/>
                <a:gd name="connsiteY934" fmla="*/ 113511 h 332381"/>
                <a:gd name="connsiteX935" fmla="*/ 2201820 w 2663946"/>
                <a:gd name="connsiteY935" fmla="*/ 113511 h 332381"/>
                <a:gd name="connsiteX936" fmla="*/ 2201575 w 2663946"/>
                <a:gd name="connsiteY936" fmla="*/ 113511 h 332381"/>
                <a:gd name="connsiteX937" fmla="*/ 2188547 w 2663946"/>
                <a:gd name="connsiteY937" fmla="*/ 108644 h 332381"/>
                <a:gd name="connsiteX938" fmla="*/ 2183877 w 2663946"/>
                <a:gd name="connsiteY938" fmla="*/ 104588 h 332381"/>
                <a:gd name="connsiteX939" fmla="*/ 2180681 w 2663946"/>
                <a:gd name="connsiteY939" fmla="*/ 100803 h 332381"/>
                <a:gd name="connsiteX940" fmla="*/ 2178469 w 2663946"/>
                <a:gd name="connsiteY940" fmla="*/ 97288 h 332381"/>
                <a:gd name="connsiteX941" fmla="*/ 2176257 w 2663946"/>
                <a:gd name="connsiteY941" fmla="*/ 92962 h 332381"/>
                <a:gd name="connsiteX942" fmla="*/ 2175028 w 2663946"/>
                <a:gd name="connsiteY942" fmla="*/ 89987 h 332381"/>
                <a:gd name="connsiteX943" fmla="*/ 2174045 w 2663946"/>
                <a:gd name="connsiteY943" fmla="*/ 86743 h 332381"/>
                <a:gd name="connsiteX944" fmla="*/ 2172815 w 2663946"/>
                <a:gd name="connsiteY944" fmla="*/ 81065 h 332381"/>
                <a:gd name="connsiteX945" fmla="*/ 2172570 w 2663946"/>
                <a:gd name="connsiteY945" fmla="*/ 78091 h 332381"/>
                <a:gd name="connsiteX946" fmla="*/ 2172815 w 2663946"/>
                <a:gd name="connsiteY946" fmla="*/ 78361 h 332381"/>
                <a:gd name="connsiteX947" fmla="*/ 2172815 w 2663946"/>
                <a:gd name="connsiteY947" fmla="*/ 72683 h 332381"/>
                <a:gd name="connsiteX948" fmla="*/ 2172815 w 2663946"/>
                <a:gd name="connsiteY948" fmla="*/ 72413 h 332381"/>
                <a:gd name="connsiteX949" fmla="*/ 2173307 w 2663946"/>
                <a:gd name="connsiteY949" fmla="*/ 67816 h 332381"/>
                <a:gd name="connsiteX950" fmla="*/ 2174536 w 2663946"/>
                <a:gd name="connsiteY950" fmla="*/ 62409 h 332381"/>
                <a:gd name="connsiteX951" fmla="*/ 2175519 w 2663946"/>
                <a:gd name="connsiteY951" fmla="*/ 59164 h 332381"/>
                <a:gd name="connsiteX952" fmla="*/ 2177731 w 2663946"/>
                <a:gd name="connsiteY952" fmla="*/ 54027 h 332381"/>
                <a:gd name="connsiteX953" fmla="*/ 2179944 w 2663946"/>
                <a:gd name="connsiteY953" fmla="*/ 50242 h 332381"/>
                <a:gd name="connsiteX954" fmla="*/ 2182156 w 2663946"/>
                <a:gd name="connsiteY954" fmla="*/ 47267 h 332381"/>
                <a:gd name="connsiteX955" fmla="*/ 2184368 w 2663946"/>
                <a:gd name="connsiteY955" fmla="*/ 44834 h 332381"/>
                <a:gd name="connsiteX956" fmla="*/ 2189038 w 2663946"/>
                <a:gd name="connsiteY956" fmla="*/ 41049 h 332381"/>
                <a:gd name="connsiteX957" fmla="*/ 2192971 w 2663946"/>
                <a:gd name="connsiteY957" fmla="*/ 38886 h 332381"/>
                <a:gd name="connsiteX958" fmla="*/ 2202558 w 2663946"/>
                <a:gd name="connsiteY958" fmla="*/ 36452 h 332381"/>
                <a:gd name="connsiteX959" fmla="*/ 2020607 w 2663946"/>
                <a:gd name="connsiteY959" fmla="*/ 36452 h 332381"/>
                <a:gd name="connsiteX960" fmla="*/ 2032897 w 2663946"/>
                <a:gd name="connsiteY960" fmla="*/ 38615 h 332381"/>
                <a:gd name="connsiteX961" fmla="*/ 2040271 w 2663946"/>
                <a:gd name="connsiteY961" fmla="*/ 43212 h 332381"/>
                <a:gd name="connsiteX962" fmla="*/ 2043712 w 2663946"/>
                <a:gd name="connsiteY962" fmla="*/ 46456 h 332381"/>
                <a:gd name="connsiteX963" fmla="*/ 2047154 w 2663946"/>
                <a:gd name="connsiteY963" fmla="*/ 50782 h 332381"/>
                <a:gd name="connsiteX964" fmla="*/ 2049120 w 2663946"/>
                <a:gd name="connsiteY964" fmla="*/ 54297 h 332381"/>
                <a:gd name="connsiteX965" fmla="*/ 2051332 w 2663946"/>
                <a:gd name="connsiteY965" fmla="*/ 59705 h 332381"/>
                <a:gd name="connsiteX966" fmla="*/ 2052315 w 2663946"/>
                <a:gd name="connsiteY966" fmla="*/ 63220 h 332381"/>
                <a:gd name="connsiteX967" fmla="*/ 2053299 w 2663946"/>
                <a:gd name="connsiteY967" fmla="*/ 68357 h 332381"/>
                <a:gd name="connsiteX968" fmla="*/ 2053053 w 2663946"/>
                <a:gd name="connsiteY968" fmla="*/ 82687 h 332381"/>
                <a:gd name="connsiteX969" fmla="*/ 2052070 w 2663946"/>
                <a:gd name="connsiteY969" fmla="*/ 87554 h 332381"/>
                <a:gd name="connsiteX970" fmla="*/ 2050840 w 2663946"/>
                <a:gd name="connsiteY970" fmla="*/ 91339 h 332381"/>
                <a:gd name="connsiteX971" fmla="*/ 2049857 w 2663946"/>
                <a:gd name="connsiteY971" fmla="*/ 93773 h 332381"/>
                <a:gd name="connsiteX972" fmla="*/ 2047645 w 2663946"/>
                <a:gd name="connsiteY972" fmla="*/ 98099 h 332381"/>
                <a:gd name="connsiteX973" fmla="*/ 2045433 w 2663946"/>
                <a:gd name="connsiteY973" fmla="*/ 101343 h 332381"/>
                <a:gd name="connsiteX974" fmla="*/ 2041992 w 2663946"/>
                <a:gd name="connsiteY974" fmla="*/ 105129 h 332381"/>
                <a:gd name="connsiteX975" fmla="*/ 2038796 w 2663946"/>
                <a:gd name="connsiteY975" fmla="*/ 107832 h 332381"/>
                <a:gd name="connsiteX976" fmla="*/ 2033143 w 2663946"/>
                <a:gd name="connsiteY976" fmla="*/ 111077 h 332381"/>
                <a:gd name="connsiteX977" fmla="*/ 2025277 w 2663946"/>
                <a:gd name="connsiteY977" fmla="*/ 113240 h 332381"/>
                <a:gd name="connsiteX978" fmla="*/ 2024048 w 2663946"/>
                <a:gd name="connsiteY978" fmla="*/ 113511 h 332381"/>
                <a:gd name="connsiteX979" fmla="*/ 2019869 w 2663946"/>
                <a:gd name="connsiteY979" fmla="*/ 113511 h 332381"/>
                <a:gd name="connsiteX980" fmla="*/ 2019624 w 2663946"/>
                <a:gd name="connsiteY980" fmla="*/ 113511 h 332381"/>
                <a:gd name="connsiteX981" fmla="*/ 2006596 w 2663946"/>
                <a:gd name="connsiteY981" fmla="*/ 108644 h 332381"/>
                <a:gd name="connsiteX982" fmla="*/ 2001926 w 2663946"/>
                <a:gd name="connsiteY982" fmla="*/ 104588 h 332381"/>
                <a:gd name="connsiteX983" fmla="*/ 1998730 w 2663946"/>
                <a:gd name="connsiteY983" fmla="*/ 100803 h 332381"/>
                <a:gd name="connsiteX984" fmla="*/ 1996518 w 2663946"/>
                <a:gd name="connsiteY984" fmla="*/ 97288 h 332381"/>
                <a:gd name="connsiteX985" fmla="*/ 1994306 w 2663946"/>
                <a:gd name="connsiteY985" fmla="*/ 92962 h 332381"/>
                <a:gd name="connsiteX986" fmla="*/ 1993077 w 2663946"/>
                <a:gd name="connsiteY986" fmla="*/ 89987 h 332381"/>
                <a:gd name="connsiteX987" fmla="*/ 1992094 w 2663946"/>
                <a:gd name="connsiteY987" fmla="*/ 86743 h 332381"/>
                <a:gd name="connsiteX988" fmla="*/ 1990864 w 2663946"/>
                <a:gd name="connsiteY988" fmla="*/ 81065 h 332381"/>
                <a:gd name="connsiteX989" fmla="*/ 1990619 w 2663946"/>
                <a:gd name="connsiteY989" fmla="*/ 78091 h 332381"/>
                <a:gd name="connsiteX990" fmla="*/ 1990864 w 2663946"/>
                <a:gd name="connsiteY990" fmla="*/ 78361 h 332381"/>
                <a:gd name="connsiteX991" fmla="*/ 1990864 w 2663946"/>
                <a:gd name="connsiteY991" fmla="*/ 72683 h 332381"/>
                <a:gd name="connsiteX992" fmla="*/ 1990864 w 2663946"/>
                <a:gd name="connsiteY992" fmla="*/ 72413 h 332381"/>
                <a:gd name="connsiteX993" fmla="*/ 1991356 w 2663946"/>
                <a:gd name="connsiteY993" fmla="*/ 67816 h 332381"/>
                <a:gd name="connsiteX994" fmla="*/ 1992585 w 2663946"/>
                <a:gd name="connsiteY994" fmla="*/ 62409 h 332381"/>
                <a:gd name="connsiteX995" fmla="*/ 1993568 w 2663946"/>
                <a:gd name="connsiteY995" fmla="*/ 59164 h 332381"/>
                <a:gd name="connsiteX996" fmla="*/ 1995780 w 2663946"/>
                <a:gd name="connsiteY996" fmla="*/ 54027 h 332381"/>
                <a:gd name="connsiteX997" fmla="*/ 1997993 w 2663946"/>
                <a:gd name="connsiteY997" fmla="*/ 50242 h 332381"/>
                <a:gd name="connsiteX998" fmla="*/ 2000205 w 2663946"/>
                <a:gd name="connsiteY998" fmla="*/ 47267 h 332381"/>
                <a:gd name="connsiteX999" fmla="*/ 2002417 w 2663946"/>
                <a:gd name="connsiteY999" fmla="*/ 44834 h 332381"/>
                <a:gd name="connsiteX1000" fmla="*/ 2007087 w 2663946"/>
                <a:gd name="connsiteY1000" fmla="*/ 41049 h 332381"/>
                <a:gd name="connsiteX1001" fmla="*/ 2011020 w 2663946"/>
                <a:gd name="connsiteY1001" fmla="*/ 38886 h 332381"/>
                <a:gd name="connsiteX1002" fmla="*/ 2020607 w 2663946"/>
                <a:gd name="connsiteY1002" fmla="*/ 36452 h 332381"/>
                <a:gd name="connsiteX1003" fmla="*/ 1595683 w 2663946"/>
                <a:gd name="connsiteY1003" fmla="*/ 36452 h 332381"/>
                <a:gd name="connsiteX1004" fmla="*/ 1607973 w 2663946"/>
                <a:gd name="connsiteY1004" fmla="*/ 38615 h 332381"/>
                <a:gd name="connsiteX1005" fmla="*/ 1615347 w 2663946"/>
                <a:gd name="connsiteY1005" fmla="*/ 43212 h 332381"/>
                <a:gd name="connsiteX1006" fmla="*/ 1618788 w 2663946"/>
                <a:gd name="connsiteY1006" fmla="*/ 46456 h 332381"/>
                <a:gd name="connsiteX1007" fmla="*/ 1622230 w 2663946"/>
                <a:gd name="connsiteY1007" fmla="*/ 50782 h 332381"/>
                <a:gd name="connsiteX1008" fmla="*/ 1624196 w 2663946"/>
                <a:gd name="connsiteY1008" fmla="*/ 54297 h 332381"/>
                <a:gd name="connsiteX1009" fmla="*/ 1626408 w 2663946"/>
                <a:gd name="connsiteY1009" fmla="*/ 59705 h 332381"/>
                <a:gd name="connsiteX1010" fmla="*/ 1627391 w 2663946"/>
                <a:gd name="connsiteY1010" fmla="*/ 63220 h 332381"/>
                <a:gd name="connsiteX1011" fmla="*/ 1628374 w 2663946"/>
                <a:gd name="connsiteY1011" fmla="*/ 68357 h 332381"/>
                <a:gd name="connsiteX1012" fmla="*/ 1628129 w 2663946"/>
                <a:gd name="connsiteY1012" fmla="*/ 82687 h 332381"/>
                <a:gd name="connsiteX1013" fmla="*/ 1627146 w 2663946"/>
                <a:gd name="connsiteY1013" fmla="*/ 87554 h 332381"/>
                <a:gd name="connsiteX1014" fmla="*/ 1625916 w 2663946"/>
                <a:gd name="connsiteY1014" fmla="*/ 91339 h 332381"/>
                <a:gd name="connsiteX1015" fmla="*/ 1624933 w 2663946"/>
                <a:gd name="connsiteY1015" fmla="*/ 93773 h 332381"/>
                <a:gd name="connsiteX1016" fmla="*/ 1622721 w 2663946"/>
                <a:gd name="connsiteY1016" fmla="*/ 98099 h 332381"/>
                <a:gd name="connsiteX1017" fmla="*/ 1620509 w 2663946"/>
                <a:gd name="connsiteY1017" fmla="*/ 101343 h 332381"/>
                <a:gd name="connsiteX1018" fmla="*/ 1617068 w 2663946"/>
                <a:gd name="connsiteY1018" fmla="*/ 105129 h 332381"/>
                <a:gd name="connsiteX1019" fmla="*/ 1613872 w 2663946"/>
                <a:gd name="connsiteY1019" fmla="*/ 107832 h 332381"/>
                <a:gd name="connsiteX1020" fmla="*/ 1608219 w 2663946"/>
                <a:gd name="connsiteY1020" fmla="*/ 111077 h 332381"/>
                <a:gd name="connsiteX1021" fmla="*/ 1600353 w 2663946"/>
                <a:gd name="connsiteY1021" fmla="*/ 113240 h 332381"/>
                <a:gd name="connsiteX1022" fmla="*/ 1599124 w 2663946"/>
                <a:gd name="connsiteY1022" fmla="*/ 113511 h 332381"/>
                <a:gd name="connsiteX1023" fmla="*/ 1594945 w 2663946"/>
                <a:gd name="connsiteY1023" fmla="*/ 113511 h 332381"/>
                <a:gd name="connsiteX1024" fmla="*/ 1594699 w 2663946"/>
                <a:gd name="connsiteY1024" fmla="*/ 113511 h 332381"/>
                <a:gd name="connsiteX1025" fmla="*/ 1581672 w 2663946"/>
                <a:gd name="connsiteY1025" fmla="*/ 108644 h 332381"/>
                <a:gd name="connsiteX1026" fmla="*/ 1577002 w 2663946"/>
                <a:gd name="connsiteY1026" fmla="*/ 104588 h 332381"/>
                <a:gd name="connsiteX1027" fmla="*/ 1573806 w 2663946"/>
                <a:gd name="connsiteY1027" fmla="*/ 100803 h 332381"/>
                <a:gd name="connsiteX1028" fmla="*/ 1571594 w 2663946"/>
                <a:gd name="connsiteY1028" fmla="*/ 97288 h 332381"/>
                <a:gd name="connsiteX1029" fmla="*/ 1569382 w 2663946"/>
                <a:gd name="connsiteY1029" fmla="*/ 92962 h 332381"/>
                <a:gd name="connsiteX1030" fmla="*/ 1568153 w 2663946"/>
                <a:gd name="connsiteY1030" fmla="*/ 89987 h 332381"/>
                <a:gd name="connsiteX1031" fmla="*/ 1567169 w 2663946"/>
                <a:gd name="connsiteY1031" fmla="*/ 86743 h 332381"/>
                <a:gd name="connsiteX1032" fmla="*/ 1565940 w 2663946"/>
                <a:gd name="connsiteY1032" fmla="*/ 81065 h 332381"/>
                <a:gd name="connsiteX1033" fmla="*/ 1565695 w 2663946"/>
                <a:gd name="connsiteY1033" fmla="*/ 78091 h 332381"/>
                <a:gd name="connsiteX1034" fmla="*/ 1565940 w 2663946"/>
                <a:gd name="connsiteY1034" fmla="*/ 78361 h 332381"/>
                <a:gd name="connsiteX1035" fmla="*/ 1565940 w 2663946"/>
                <a:gd name="connsiteY1035" fmla="*/ 72683 h 332381"/>
                <a:gd name="connsiteX1036" fmla="*/ 1565940 w 2663946"/>
                <a:gd name="connsiteY1036" fmla="*/ 72413 h 332381"/>
                <a:gd name="connsiteX1037" fmla="*/ 1566432 w 2663946"/>
                <a:gd name="connsiteY1037" fmla="*/ 67816 h 332381"/>
                <a:gd name="connsiteX1038" fmla="*/ 1567661 w 2663946"/>
                <a:gd name="connsiteY1038" fmla="*/ 62409 h 332381"/>
                <a:gd name="connsiteX1039" fmla="*/ 1568644 w 2663946"/>
                <a:gd name="connsiteY1039" fmla="*/ 59164 h 332381"/>
                <a:gd name="connsiteX1040" fmla="*/ 1570856 w 2663946"/>
                <a:gd name="connsiteY1040" fmla="*/ 54027 h 332381"/>
                <a:gd name="connsiteX1041" fmla="*/ 1573069 w 2663946"/>
                <a:gd name="connsiteY1041" fmla="*/ 50242 h 332381"/>
                <a:gd name="connsiteX1042" fmla="*/ 1575281 w 2663946"/>
                <a:gd name="connsiteY1042" fmla="*/ 47267 h 332381"/>
                <a:gd name="connsiteX1043" fmla="*/ 1577493 w 2663946"/>
                <a:gd name="connsiteY1043" fmla="*/ 44834 h 332381"/>
                <a:gd name="connsiteX1044" fmla="*/ 1582163 w 2663946"/>
                <a:gd name="connsiteY1044" fmla="*/ 41049 h 332381"/>
                <a:gd name="connsiteX1045" fmla="*/ 1586096 w 2663946"/>
                <a:gd name="connsiteY1045" fmla="*/ 38886 h 332381"/>
                <a:gd name="connsiteX1046" fmla="*/ 1595683 w 2663946"/>
                <a:gd name="connsiteY1046" fmla="*/ 36452 h 332381"/>
                <a:gd name="connsiteX1047" fmla="*/ 1246776 w 2663946"/>
                <a:gd name="connsiteY1047" fmla="*/ 36452 h 332381"/>
                <a:gd name="connsiteX1048" fmla="*/ 1259066 w 2663946"/>
                <a:gd name="connsiteY1048" fmla="*/ 38615 h 332381"/>
                <a:gd name="connsiteX1049" fmla="*/ 1266440 w 2663946"/>
                <a:gd name="connsiteY1049" fmla="*/ 43212 h 332381"/>
                <a:gd name="connsiteX1050" fmla="*/ 1269881 w 2663946"/>
                <a:gd name="connsiteY1050" fmla="*/ 46456 h 332381"/>
                <a:gd name="connsiteX1051" fmla="*/ 1273323 w 2663946"/>
                <a:gd name="connsiteY1051" fmla="*/ 50782 h 332381"/>
                <a:gd name="connsiteX1052" fmla="*/ 1275289 w 2663946"/>
                <a:gd name="connsiteY1052" fmla="*/ 54297 h 332381"/>
                <a:gd name="connsiteX1053" fmla="*/ 1277501 w 2663946"/>
                <a:gd name="connsiteY1053" fmla="*/ 59705 h 332381"/>
                <a:gd name="connsiteX1054" fmla="*/ 1278484 w 2663946"/>
                <a:gd name="connsiteY1054" fmla="*/ 63220 h 332381"/>
                <a:gd name="connsiteX1055" fmla="*/ 1279467 w 2663946"/>
                <a:gd name="connsiteY1055" fmla="*/ 68357 h 332381"/>
                <a:gd name="connsiteX1056" fmla="*/ 1279222 w 2663946"/>
                <a:gd name="connsiteY1056" fmla="*/ 82687 h 332381"/>
                <a:gd name="connsiteX1057" fmla="*/ 1278239 w 2663946"/>
                <a:gd name="connsiteY1057" fmla="*/ 87554 h 332381"/>
                <a:gd name="connsiteX1058" fmla="*/ 1277009 w 2663946"/>
                <a:gd name="connsiteY1058" fmla="*/ 91339 h 332381"/>
                <a:gd name="connsiteX1059" fmla="*/ 1276026 w 2663946"/>
                <a:gd name="connsiteY1059" fmla="*/ 93773 h 332381"/>
                <a:gd name="connsiteX1060" fmla="*/ 1273814 w 2663946"/>
                <a:gd name="connsiteY1060" fmla="*/ 98099 h 332381"/>
                <a:gd name="connsiteX1061" fmla="*/ 1271602 w 2663946"/>
                <a:gd name="connsiteY1061" fmla="*/ 101343 h 332381"/>
                <a:gd name="connsiteX1062" fmla="*/ 1268161 w 2663946"/>
                <a:gd name="connsiteY1062" fmla="*/ 105129 h 332381"/>
                <a:gd name="connsiteX1063" fmla="*/ 1264965 w 2663946"/>
                <a:gd name="connsiteY1063" fmla="*/ 107832 h 332381"/>
                <a:gd name="connsiteX1064" fmla="*/ 1259312 w 2663946"/>
                <a:gd name="connsiteY1064" fmla="*/ 111077 h 332381"/>
                <a:gd name="connsiteX1065" fmla="*/ 1251446 w 2663946"/>
                <a:gd name="connsiteY1065" fmla="*/ 113240 h 332381"/>
                <a:gd name="connsiteX1066" fmla="*/ 1250217 w 2663946"/>
                <a:gd name="connsiteY1066" fmla="*/ 113511 h 332381"/>
                <a:gd name="connsiteX1067" fmla="*/ 1246038 w 2663946"/>
                <a:gd name="connsiteY1067" fmla="*/ 113511 h 332381"/>
                <a:gd name="connsiteX1068" fmla="*/ 1245792 w 2663946"/>
                <a:gd name="connsiteY1068" fmla="*/ 113511 h 332381"/>
                <a:gd name="connsiteX1069" fmla="*/ 1232765 w 2663946"/>
                <a:gd name="connsiteY1069" fmla="*/ 108644 h 332381"/>
                <a:gd name="connsiteX1070" fmla="*/ 1228095 w 2663946"/>
                <a:gd name="connsiteY1070" fmla="*/ 104588 h 332381"/>
                <a:gd name="connsiteX1071" fmla="*/ 1224899 w 2663946"/>
                <a:gd name="connsiteY1071" fmla="*/ 100803 h 332381"/>
                <a:gd name="connsiteX1072" fmla="*/ 1222687 w 2663946"/>
                <a:gd name="connsiteY1072" fmla="*/ 97288 h 332381"/>
                <a:gd name="connsiteX1073" fmla="*/ 1220475 w 2663946"/>
                <a:gd name="connsiteY1073" fmla="*/ 92962 h 332381"/>
                <a:gd name="connsiteX1074" fmla="*/ 1219246 w 2663946"/>
                <a:gd name="connsiteY1074" fmla="*/ 89987 h 332381"/>
                <a:gd name="connsiteX1075" fmla="*/ 1218262 w 2663946"/>
                <a:gd name="connsiteY1075" fmla="*/ 86743 h 332381"/>
                <a:gd name="connsiteX1076" fmla="*/ 1217033 w 2663946"/>
                <a:gd name="connsiteY1076" fmla="*/ 81065 h 332381"/>
                <a:gd name="connsiteX1077" fmla="*/ 1216788 w 2663946"/>
                <a:gd name="connsiteY1077" fmla="*/ 78091 h 332381"/>
                <a:gd name="connsiteX1078" fmla="*/ 1217033 w 2663946"/>
                <a:gd name="connsiteY1078" fmla="*/ 78361 h 332381"/>
                <a:gd name="connsiteX1079" fmla="*/ 1217033 w 2663946"/>
                <a:gd name="connsiteY1079" fmla="*/ 72683 h 332381"/>
                <a:gd name="connsiteX1080" fmla="*/ 1217033 w 2663946"/>
                <a:gd name="connsiteY1080" fmla="*/ 72413 h 332381"/>
                <a:gd name="connsiteX1081" fmla="*/ 1217525 w 2663946"/>
                <a:gd name="connsiteY1081" fmla="*/ 67816 h 332381"/>
                <a:gd name="connsiteX1082" fmla="*/ 1218754 w 2663946"/>
                <a:gd name="connsiteY1082" fmla="*/ 62409 h 332381"/>
                <a:gd name="connsiteX1083" fmla="*/ 1219737 w 2663946"/>
                <a:gd name="connsiteY1083" fmla="*/ 59164 h 332381"/>
                <a:gd name="connsiteX1084" fmla="*/ 1221949 w 2663946"/>
                <a:gd name="connsiteY1084" fmla="*/ 54027 h 332381"/>
                <a:gd name="connsiteX1085" fmla="*/ 1224162 w 2663946"/>
                <a:gd name="connsiteY1085" fmla="*/ 50242 h 332381"/>
                <a:gd name="connsiteX1086" fmla="*/ 1226374 w 2663946"/>
                <a:gd name="connsiteY1086" fmla="*/ 47267 h 332381"/>
                <a:gd name="connsiteX1087" fmla="*/ 1228586 w 2663946"/>
                <a:gd name="connsiteY1087" fmla="*/ 44834 h 332381"/>
                <a:gd name="connsiteX1088" fmla="*/ 1233256 w 2663946"/>
                <a:gd name="connsiteY1088" fmla="*/ 41049 h 332381"/>
                <a:gd name="connsiteX1089" fmla="*/ 1237189 w 2663946"/>
                <a:gd name="connsiteY1089" fmla="*/ 38886 h 332381"/>
                <a:gd name="connsiteX1090" fmla="*/ 1246776 w 2663946"/>
                <a:gd name="connsiteY1090" fmla="*/ 36452 h 332381"/>
                <a:gd name="connsiteX1091" fmla="*/ 1064825 w 2663946"/>
                <a:gd name="connsiteY1091" fmla="*/ 36452 h 332381"/>
                <a:gd name="connsiteX1092" fmla="*/ 1077115 w 2663946"/>
                <a:gd name="connsiteY1092" fmla="*/ 38615 h 332381"/>
                <a:gd name="connsiteX1093" fmla="*/ 1084489 w 2663946"/>
                <a:gd name="connsiteY1093" fmla="*/ 43212 h 332381"/>
                <a:gd name="connsiteX1094" fmla="*/ 1087930 w 2663946"/>
                <a:gd name="connsiteY1094" fmla="*/ 46456 h 332381"/>
                <a:gd name="connsiteX1095" fmla="*/ 1091372 w 2663946"/>
                <a:gd name="connsiteY1095" fmla="*/ 50782 h 332381"/>
                <a:gd name="connsiteX1096" fmla="*/ 1093338 w 2663946"/>
                <a:gd name="connsiteY1096" fmla="*/ 54297 h 332381"/>
                <a:gd name="connsiteX1097" fmla="*/ 1095550 w 2663946"/>
                <a:gd name="connsiteY1097" fmla="*/ 59705 h 332381"/>
                <a:gd name="connsiteX1098" fmla="*/ 1096533 w 2663946"/>
                <a:gd name="connsiteY1098" fmla="*/ 63220 h 332381"/>
                <a:gd name="connsiteX1099" fmla="*/ 1097516 w 2663946"/>
                <a:gd name="connsiteY1099" fmla="*/ 68357 h 332381"/>
                <a:gd name="connsiteX1100" fmla="*/ 1097271 w 2663946"/>
                <a:gd name="connsiteY1100" fmla="*/ 82687 h 332381"/>
                <a:gd name="connsiteX1101" fmla="*/ 1096288 w 2663946"/>
                <a:gd name="connsiteY1101" fmla="*/ 87554 h 332381"/>
                <a:gd name="connsiteX1102" fmla="*/ 1095058 w 2663946"/>
                <a:gd name="connsiteY1102" fmla="*/ 91339 h 332381"/>
                <a:gd name="connsiteX1103" fmla="*/ 1094075 w 2663946"/>
                <a:gd name="connsiteY1103" fmla="*/ 93773 h 332381"/>
                <a:gd name="connsiteX1104" fmla="*/ 1091863 w 2663946"/>
                <a:gd name="connsiteY1104" fmla="*/ 98099 h 332381"/>
                <a:gd name="connsiteX1105" fmla="*/ 1089651 w 2663946"/>
                <a:gd name="connsiteY1105" fmla="*/ 101343 h 332381"/>
                <a:gd name="connsiteX1106" fmla="*/ 1086210 w 2663946"/>
                <a:gd name="connsiteY1106" fmla="*/ 105129 h 332381"/>
                <a:gd name="connsiteX1107" fmla="*/ 1083014 w 2663946"/>
                <a:gd name="connsiteY1107" fmla="*/ 107832 h 332381"/>
                <a:gd name="connsiteX1108" fmla="*/ 1077361 w 2663946"/>
                <a:gd name="connsiteY1108" fmla="*/ 111077 h 332381"/>
                <a:gd name="connsiteX1109" fmla="*/ 1069495 w 2663946"/>
                <a:gd name="connsiteY1109" fmla="*/ 113240 h 332381"/>
                <a:gd name="connsiteX1110" fmla="*/ 1068266 w 2663946"/>
                <a:gd name="connsiteY1110" fmla="*/ 113511 h 332381"/>
                <a:gd name="connsiteX1111" fmla="*/ 1064087 w 2663946"/>
                <a:gd name="connsiteY1111" fmla="*/ 113511 h 332381"/>
                <a:gd name="connsiteX1112" fmla="*/ 1063841 w 2663946"/>
                <a:gd name="connsiteY1112" fmla="*/ 113511 h 332381"/>
                <a:gd name="connsiteX1113" fmla="*/ 1050814 w 2663946"/>
                <a:gd name="connsiteY1113" fmla="*/ 108644 h 332381"/>
                <a:gd name="connsiteX1114" fmla="*/ 1046144 w 2663946"/>
                <a:gd name="connsiteY1114" fmla="*/ 104588 h 332381"/>
                <a:gd name="connsiteX1115" fmla="*/ 1042948 w 2663946"/>
                <a:gd name="connsiteY1115" fmla="*/ 100803 h 332381"/>
                <a:gd name="connsiteX1116" fmla="*/ 1040736 w 2663946"/>
                <a:gd name="connsiteY1116" fmla="*/ 97288 h 332381"/>
                <a:gd name="connsiteX1117" fmla="*/ 1038524 w 2663946"/>
                <a:gd name="connsiteY1117" fmla="*/ 92962 h 332381"/>
                <a:gd name="connsiteX1118" fmla="*/ 1037295 w 2663946"/>
                <a:gd name="connsiteY1118" fmla="*/ 89987 h 332381"/>
                <a:gd name="connsiteX1119" fmla="*/ 1036311 w 2663946"/>
                <a:gd name="connsiteY1119" fmla="*/ 86743 h 332381"/>
                <a:gd name="connsiteX1120" fmla="*/ 1035082 w 2663946"/>
                <a:gd name="connsiteY1120" fmla="*/ 81065 h 332381"/>
                <a:gd name="connsiteX1121" fmla="*/ 1034837 w 2663946"/>
                <a:gd name="connsiteY1121" fmla="*/ 78091 h 332381"/>
                <a:gd name="connsiteX1122" fmla="*/ 1035082 w 2663946"/>
                <a:gd name="connsiteY1122" fmla="*/ 78361 h 332381"/>
                <a:gd name="connsiteX1123" fmla="*/ 1035082 w 2663946"/>
                <a:gd name="connsiteY1123" fmla="*/ 72683 h 332381"/>
                <a:gd name="connsiteX1124" fmla="*/ 1035082 w 2663946"/>
                <a:gd name="connsiteY1124" fmla="*/ 72413 h 332381"/>
                <a:gd name="connsiteX1125" fmla="*/ 1035574 w 2663946"/>
                <a:gd name="connsiteY1125" fmla="*/ 67816 h 332381"/>
                <a:gd name="connsiteX1126" fmla="*/ 1036803 w 2663946"/>
                <a:gd name="connsiteY1126" fmla="*/ 62409 h 332381"/>
                <a:gd name="connsiteX1127" fmla="*/ 1037786 w 2663946"/>
                <a:gd name="connsiteY1127" fmla="*/ 59164 h 332381"/>
                <a:gd name="connsiteX1128" fmla="*/ 1039998 w 2663946"/>
                <a:gd name="connsiteY1128" fmla="*/ 54027 h 332381"/>
                <a:gd name="connsiteX1129" fmla="*/ 1042211 w 2663946"/>
                <a:gd name="connsiteY1129" fmla="*/ 50242 h 332381"/>
                <a:gd name="connsiteX1130" fmla="*/ 1044423 w 2663946"/>
                <a:gd name="connsiteY1130" fmla="*/ 47267 h 332381"/>
                <a:gd name="connsiteX1131" fmla="*/ 1046635 w 2663946"/>
                <a:gd name="connsiteY1131" fmla="*/ 44834 h 332381"/>
                <a:gd name="connsiteX1132" fmla="*/ 1051305 w 2663946"/>
                <a:gd name="connsiteY1132" fmla="*/ 41049 h 332381"/>
                <a:gd name="connsiteX1133" fmla="*/ 1055238 w 2663946"/>
                <a:gd name="connsiteY1133" fmla="*/ 38886 h 332381"/>
                <a:gd name="connsiteX1134" fmla="*/ 1064825 w 2663946"/>
                <a:gd name="connsiteY1134" fmla="*/ 36452 h 332381"/>
                <a:gd name="connsiteX1135" fmla="*/ 897796 w 2663946"/>
                <a:gd name="connsiteY1135" fmla="*/ 36452 h 332381"/>
                <a:gd name="connsiteX1136" fmla="*/ 910086 w 2663946"/>
                <a:gd name="connsiteY1136" fmla="*/ 38615 h 332381"/>
                <a:gd name="connsiteX1137" fmla="*/ 917460 w 2663946"/>
                <a:gd name="connsiteY1137" fmla="*/ 43212 h 332381"/>
                <a:gd name="connsiteX1138" fmla="*/ 920901 w 2663946"/>
                <a:gd name="connsiteY1138" fmla="*/ 46456 h 332381"/>
                <a:gd name="connsiteX1139" fmla="*/ 924343 w 2663946"/>
                <a:gd name="connsiteY1139" fmla="*/ 50782 h 332381"/>
                <a:gd name="connsiteX1140" fmla="*/ 926309 w 2663946"/>
                <a:gd name="connsiteY1140" fmla="*/ 54297 h 332381"/>
                <a:gd name="connsiteX1141" fmla="*/ 928521 w 2663946"/>
                <a:gd name="connsiteY1141" fmla="*/ 59705 h 332381"/>
                <a:gd name="connsiteX1142" fmla="*/ 929504 w 2663946"/>
                <a:gd name="connsiteY1142" fmla="*/ 63220 h 332381"/>
                <a:gd name="connsiteX1143" fmla="*/ 930487 w 2663946"/>
                <a:gd name="connsiteY1143" fmla="*/ 68357 h 332381"/>
                <a:gd name="connsiteX1144" fmla="*/ 930242 w 2663946"/>
                <a:gd name="connsiteY1144" fmla="*/ 82687 h 332381"/>
                <a:gd name="connsiteX1145" fmla="*/ 929259 w 2663946"/>
                <a:gd name="connsiteY1145" fmla="*/ 87554 h 332381"/>
                <a:gd name="connsiteX1146" fmla="*/ 928029 w 2663946"/>
                <a:gd name="connsiteY1146" fmla="*/ 91339 h 332381"/>
                <a:gd name="connsiteX1147" fmla="*/ 927046 w 2663946"/>
                <a:gd name="connsiteY1147" fmla="*/ 93773 h 332381"/>
                <a:gd name="connsiteX1148" fmla="*/ 924834 w 2663946"/>
                <a:gd name="connsiteY1148" fmla="*/ 98099 h 332381"/>
                <a:gd name="connsiteX1149" fmla="*/ 922622 w 2663946"/>
                <a:gd name="connsiteY1149" fmla="*/ 101343 h 332381"/>
                <a:gd name="connsiteX1150" fmla="*/ 919181 w 2663946"/>
                <a:gd name="connsiteY1150" fmla="*/ 105129 h 332381"/>
                <a:gd name="connsiteX1151" fmla="*/ 915985 w 2663946"/>
                <a:gd name="connsiteY1151" fmla="*/ 107832 h 332381"/>
                <a:gd name="connsiteX1152" fmla="*/ 910332 w 2663946"/>
                <a:gd name="connsiteY1152" fmla="*/ 111077 h 332381"/>
                <a:gd name="connsiteX1153" fmla="*/ 902466 w 2663946"/>
                <a:gd name="connsiteY1153" fmla="*/ 113240 h 332381"/>
                <a:gd name="connsiteX1154" fmla="*/ 901237 w 2663946"/>
                <a:gd name="connsiteY1154" fmla="*/ 113511 h 332381"/>
                <a:gd name="connsiteX1155" fmla="*/ 897058 w 2663946"/>
                <a:gd name="connsiteY1155" fmla="*/ 113511 h 332381"/>
                <a:gd name="connsiteX1156" fmla="*/ 896812 w 2663946"/>
                <a:gd name="connsiteY1156" fmla="*/ 113511 h 332381"/>
                <a:gd name="connsiteX1157" fmla="*/ 883785 w 2663946"/>
                <a:gd name="connsiteY1157" fmla="*/ 108644 h 332381"/>
                <a:gd name="connsiteX1158" fmla="*/ 879115 w 2663946"/>
                <a:gd name="connsiteY1158" fmla="*/ 104588 h 332381"/>
                <a:gd name="connsiteX1159" fmla="*/ 875919 w 2663946"/>
                <a:gd name="connsiteY1159" fmla="*/ 100803 h 332381"/>
                <a:gd name="connsiteX1160" fmla="*/ 873707 w 2663946"/>
                <a:gd name="connsiteY1160" fmla="*/ 97288 h 332381"/>
                <a:gd name="connsiteX1161" fmla="*/ 871495 w 2663946"/>
                <a:gd name="connsiteY1161" fmla="*/ 92962 h 332381"/>
                <a:gd name="connsiteX1162" fmla="*/ 870266 w 2663946"/>
                <a:gd name="connsiteY1162" fmla="*/ 89987 h 332381"/>
                <a:gd name="connsiteX1163" fmla="*/ 869282 w 2663946"/>
                <a:gd name="connsiteY1163" fmla="*/ 86743 h 332381"/>
                <a:gd name="connsiteX1164" fmla="*/ 868053 w 2663946"/>
                <a:gd name="connsiteY1164" fmla="*/ 81065 h 332381"/>
                <a:gd name="connsiteX1165" fmla="*/ 867808 w 2663946"/>
                <a:gd name="connsiteY1165" fmla="*/ 78091 h 332381"/>
                <a:gd name="connsiteX1166" fmla="*/ 868053 w 2663946"/>
                <a:gd name="connsiteY1166" fmla="*/ 78361 h 332381"/>
                <a:gd name="connsiteX1167" fmla="*/ 868053 w 2663946"/>
                <a:gd name="connsiteY1167" fmla="*/ 72683 h 332381"/>
                <a:gd name="connsiteX1168" fmla="*/ 868053 w 2663946"/>
                <a:gd name="connsiteY1168" fmla="*/ 72413 h 332381"/>
                <a:gd name="connsiteX1169" fmla="*/ 868545 w 2663946"/>
                <a:gd name="connsiteY1169" fmla="*/ 67816 h 332381"/>
                <a:gd name="connsiteX1170" fmla="*/ 869774 w 2663946"/>
                <a:gd name="connsiteY1170" fmla="*/ 62409 h 332381"/>
                <a:gd name="connsiteX1171" fmla="*/ 870757 w 2663946"/>
                <a:gd name="connsiteY1171" fmla="*/ 59164 h 332381"/>
                <a:gd name="connsiteX1172" fmla="*/ 872969 w 2663946"/>
                <a:gd name="connsiteY1172" fmla="*/ 54027 h 332381"/>
                <a:gd name="connsiteX1173" fmla="*/ 875182 w 2663946"/>
                <a:gd name="connsiteY1173" fmla="*/ 50242 h 332381"/>
                <a:gd name="connsiteX1174" fmla="*/ 877394 w 2663946"/>
                <a:gd name="connsiteY1174" fmla="*/ 47267 h 332381"/>
                <a:gd name="connsiteX1175" fmla="*/ 879606 w 2663946"/>
                <a:gd name="connsiteY1175" fmla="*/ 44834 h 332381"/>
                <a:gd name="connsiteX1176" fmla="*/ 884276 w 2663946"/>
                <a:gd name="connsiteY1176" fmla="*/ 41049 h 332381"/>
                <a:gd name="connsiteX1177" fmla="*/ 888209 w 2663946"/>
                <a:gd name="connsiteY1177" fmla="*/ 38886 h 332381"/>
                <a:gd name="connsiteX1178" fmla="*/ 897796 w 2663946"/>
                <a:gd name="connsiteY1178" fmla="*/ 36452 h 332381"/>
                <a:gd name="connsiteX1179" fmla="*/ 548889 w 2663946"/>
                <a:gd name="connsiteY1179" fmla="*/ 36452 h 332381"/>
                <a:gd name="connsiteX1180" fmla="*/ 561180 w 2663946"/>
                <a:gd name="connsiteY1180" fmla="*/ 38615 h 332381"/>
                <a:gd name="connsiteX1181" fmla="*/ 568554 w 2663946"/>
                <a:gd name="connsiteY1181" fmla="*/ 43212 h 332381"/>
                <a:gd name="connsiteX1182" fmla="*/ 571995 w 2663946"/>
                <a:gd name="connsiteY1182" fmla="*/ 46456 h 332381"/>
                <a:gd name="connsiteX1183" fmla="*/ 575436 w 2663946"/>
                <a:gd name="connsiteY1183" fmla="*/ 50782 h 332381"/>
                <a:gd name="connsiteX1184" fmla="*/ 577403 w 2663946"/>
                <a:gd name="connsiteY1184" fmla="*/ 54297 h 332381"/>
                <a:gd name="connsiteX1185" fmla="*/ 579615 w 2663946"/>
                <a:gd name="connsiteY1185" fmla="*/ 59705 h 332381"/>
                <a:gd name="connsiteX1186" fmla="*/ 580598 w 2663946"/>
                <a:gd name="connsiteY1186" fmla="*/ 63220 h 332381"/>
                <a:gd name="connsiteX1187" fmla="*/ 581581 w 2663946"/>
                <a:gd name="connsiteY1187" fmla="*/ 68357 h 332381"/>
                <a:gd name="connsiteX1188" fmla="*/ 581336 w 2663946"/>
                <a:gd name="connsiteY1188" fmla="*/ 82687 h 332381"/>
                <a:gd name="connsiteX1189" fmla="*/ 580352 w 2663946"/>
                <a:gd name="connsiteY1189" fmla="*/ 87554 h 332381"/>
                <a:gd name="connsiteX1190" fmla="*/ 579123 w 2663946"/>
                <a:gd name="connsiteY1190" fmla="*/ 91339 h 332381"/>
                <a:gd name="connsiteX1191" fmla="*/ 578140 w 2663946"/>
                <a:gd name="connsiteY1191" fmla="*/ 93773 h 332381"/>
                <a:gd name="connsiteX1192" fmla="*/ 575928 w 2663946"/>
                <a:gd name="connsiteY1192" fmla="*/ 98099 h 332381"/>
                <a:gd name="connsiteX1193" fmla="*/ 573715 w 2663946"/>
                <a:gd name="connsiteY1193" fmla="*/ 101343 h 332381"/>
                <a:gd name="connsiteX1194" fmla="*/ 570274 w 2663946"/>
                <a:gd name="connsiteY1194" fmla="*/ 105129 h 332381"/>
                <a:gd name="connsiteX1195" fmla="*/ 567079 w 2663946"/>
                <a:gd name="connsiteY1195" fmla="*/ 107832 h 332381"/>
                <a:gd name="connsiteX1196" fmla="*/ 561425 w 2663946"/>
                <a:gd name="connsiteY1196" fmla="*/ 111077 h 332381"/>
                <a:gd name="connsiteX1197" fmla="*/ 553559 w 2663946"/>
                <a:gd name="connsiteY1197" fmla="*/ 113240 h 332381"/>
                <a:gd name="connsiteX1198" fmla="*/ 552331 w 2663946"/>
                <a:gd name="connsiteY1198" fmla="*/ 113511 h 332381"/>
                <a:gd name="connsiteX1199" fmla="*/ 548152 w 2663946"/>
                <a:gd name="connsiteY1199" fmla="*/ 113511 h 332381"/>
                <a:gd name="connsiteX1200" fmla="*/ 547906 w 2663946"/>
                <a:gd name="connsiteY1200" fmla="*/ 113511 h 332381"/>
                <a:gd name="connsiteX1201" fmla="*/ 534879 w 2663946"/>
                <a:gd name="connsiteY1201" fmla="*/ 108644 h 332381"/>
                <a:gd name="connsiteX1202" fmla="*/ 530208 w 2663946"/>
                <a:gd name="connsiteY1202" fmla="*/ 104588 h 332381"/>
                <a:gd name="connsiteX1203" fmla="*/ 527013 w 2663946"/>
                <a:gd name="connsiteY1203" fmla="*/ 100803 h 332381"/>
                <a:gd name="connsiteX1204" fmla="*/ 524801 w 2663946"/>
                <a:gd name="connsiteY1204" fmla="*/ 97288 h 332381"/>
                <a:gd name="connsiteX1205" fmla="*/ 522588 w 2663946"/>
                <a:gd name="connsiteY1205" fmla="*/ 92962 h 332381"/>
                <a:gd name="connsiteX1206" fmla="*/ 521359 w 2663946"/>
                <a:gd name="connsiteY1206" fmla="*/ 89987 h 332381"/>
                <a:gd name="connsiteX1207" fmla="*/ 520376 w 2663946"/>
                <a:gd name="connsiteY1207" fmla="*/ 86743 h 332381"/>
                <a:gd name="connsiteX1208" fmla="*/ 519147 w 2663946"/>
                <a:gd name="connsiteY1208" fmla="*/ 81065 h 332381"/>
                <a:gd name="connsiteX1209" fmla="*/ 518901 w 2663946"/>
                <a:gd name="connsiteY1209" fmla="*/ 78091 h 332381"/>
                <a:gd name="connsiteX1210" fmla="*/ 519147 w 2663946"/>
                <a:gd name="connsiteY1210" fmla="*/ 78361 h 332381"/>
                <a:gd name="connsiteX1211" fmla="*/ 519147 w 2663946"/>
                <a:gd name="connsiteY1211" fmla="*/ 72683 h 332381"/>
                <a:gd name="connsiteX1212" fmla="*/ 519147 w 2663946"/>
                <a:gd name="connsiteY1212" fmla="*/ 72413 h 332381"/>
                <a:gd name="connsiteX1213" fmla="*/ 519639 w 2663946"/>
                <a:gd name="connsiteY1213" fmla="*/ 67816 h 332381"/>
                <a:gd name="connsiteX1214" fmla="*/ 520868 w 2663946"/>
                <a:gd name="connsiteY1214" fmla="*/ 62409 h 332381"/>
                <a:gd name="connsiteX1215" fmla="*/ 521851 w 2663946"/>
                <a:gd name="connsiteY1215" fmla="*/ 59164 h 332381"/>
                <a:gd name="connsiteX1216" fmla="*/ 524063 w 2663946"/>
                <a:gd name="connsiteY1216" fmla="*/ 54027 h 332381"/>
                <a:gd name="connsiteX1217" fmla="*/ 526275 w 2663946"/>
                <a:gd name="connsiteY1217" fmla="*/ 50242 h 332381"/>
                <a:gd name="connsiteX1218" fmla="*/ 528488 w 2663946"/>
                <a:gd name="connsiteY1218" fmla="*/ 47267 h 332381"/>
                <a:gd name="connsiteX1219" fmla="*/ 530700 w 2663946"/>
                <a:gd name="connsiteY1219" fmla="*/ 44834 h 332381"/>
                <a:gd name="connsiteX1220" fmla="*/ 535370 w 2663946"/>
                <a:gd name="connsiteY1220" fmla="*/ 41049 h 332381"/>
                <a:gd name="connsiteX1221" fmla="*/ 539303 w 2663946"/>
                <a:gd name="connsiteY1221" fmla="*/ 38886 h 332381"/>
                <a:gd name="connsiteX1222" fmla="*/ 548889 w 2663946"/>
                <a:gd name="connsiteY1222" fmla="*/ 36452 h 332381"/>
                <a:gd name="connsiteX1223" fmla="*/ 366938 w 2663946"/>
                <a:gd name="connsiteY1223" fmla="*/ 36452 h 332381"/>
                <a:gd name="connsiteX1224" fmla="*/ 379228 w 2663946"/>
                <a:gd name="connsiteY1224" fmla="*/ 38615 h 332381"/>
                <a:gd name="connsiteX1225" fmla="*/ 386603 w 2663946"/>
                <a:gd name="connsiteY1225" fmla="*/ 43212 h 332381"/>
                <a:gd name="connsiteX1226" fmla="*/ 390044 w 2663946"/>
                <a:gd name="connsiteY1226" fmla="*/ 46456 h 332381"/>
                <a:gd name="connsiteX1227" fmla="*/ 393485 w 2663946"/>
                <a:gd name="connsiteY1227" fmla="*/ 50782 h 332381"/>
                <a:gd name="connsiteX1228" fmla="*/ 395452 w 2663946"/>
                <a:gd name="connsiteY1228" fmla="*/ 54297 h 332381"/>
                <a:gd name="connsiteX1229" fmla="*/ 397664 w 2663946"/>
                <a:gd name="connsiteY1229" fmla="*/ 59705 h 332381"/>
                <a:gd name="connsiteX1230" fmla="*/ 398647 w 2663946"/>
                <a:gd name="connsiteY1230" fmla="*/ 63220 h 332381"/>
                <a:gd name="connsiteX1231" fmla="*/ 399630 w 2663946"/>
                <a:gd name="connsiteY1231" fmla="*/ 68357 h 332381"/>
                <a:gd name="connsiteX1232" fmla="*/ 399384 w 2663946"/>
                <a:gd name="connsiteY1232" fmla="*/ 82687 h 332381"/>
                <a:gd name="connsiteX1233" fmla="*/ 398401 w 2663946"/>
                <a:gd name="connsiteY1233" fmla="*/ 87554 h 332381"/>
                <a:gd name="connsiteX1234" fmla="*/ 397172 w 2663946"/>
                <a:gd name="connsiteY1234" fmla="*/ 91339 h 332381"/>
                <a:gd name="connsiteX1235" fmla="*/ 396189 w 2663946"/>
                <a:gd name="connsiteY1235" fmla="*/ 93773 h 332381"/>
                <a:gd name="connsiteX1236" fmla="*/ 393977 w 2663946"/>
                <a:gd name="connsiteY1236" fmla="*/ 98099 h 332381"/>
                <a:gd name="connsiteX1237" fmla="*/ 391764 w 2663946"/>
                <a:gd name="connsiteY1237" fmla="*/ 101343 h 332381"/>
                <a:gd name="connsiteX1238" fmla="*/ 388323 w 2663946"/>
                <a:gd name="connsiteY1238" fmla="*/ 105129 h 332381"/>
                <a:gd name="connsiteX1239" fmla="*/ 385128 w 2663946"/>
                <a:gd name="connsiteY1239" fmla="*/ 107832 h 332381"/>
                <a:gd name="connsiteX1240" fmla="*/ 379474 w 2663946"/>
                <a:gd name="connsiteY1240" fmla="*/ 111077 h 332381"/>
                <a:gd name="connsiteX1241" fmla="*/ 371609 w 2663946"/>
                <a:gd name="connsiteY1241" fmla="*/ 113240 h 332381"/>
                <a:gd name="connsiteX1242" fmla="*/ 370380 w 2663946"/>
                <a:gd name="connsiteY1242" fmla="*/ 113511 h 332381"/>
                <a:gd name="connsiteX1243" fmla="*/ 366201 w 2663946"/>
                <a:gd name="connsiteY1243" fmla="*/ 113511 h 332381"/>
                <a:gd name="connsiteX1244" fmla="*/ 365955 w 2663946"/>
                <a:gd name="connsiteY1244" fmla="*/ 113511 h 332381"/>
                <a:gd name="connsiteX1245" fmla="*/ 352927 w 2663946"/>
                <a:gd name="connsiteY1245" fmla="*/ 108644 h 332381"/>
                <a:gd name="connsiteX1246" fmla="*/ 348257 w 2663946"/>
                <a:gd name="connsiteY1246" fmla="*/ 104588 h 332381"/>
                <a:gd name="connsiteX1247" fmla="*/ 345062 w 2663946"/>
                <a:gd name="connsiteY1247" fmla="*/ 100803 h 332381"/>
                <a:gd name="connsiteX1248" fmla="*/ 342850 w 2663946"/>
                <a:gd name="connsiteY1248" fmla="*/ 97288 h 332381"/>
                <a:gd name="connsiteX1249" fmla="*/ 340637 w 2663946"/>
                <a:gd name="connsiteY1249" fmla="*/ 92962 h 332381"/>
                <a:gd name="connsiteX1250" fmla="*/ 339408 w 2663946"/>
                <a:gd name="connsiteY1250" fmla="*/ 89987 h 332381"/>
                <a:gd name="connsiteX1251" fmla="*/ 338425 w 2663946"/>
                <a:gd name="connsiteY1251" fmla="*/ 86743 h 332381"/>
                <a:gd name="connsiteX1252" fmla="*/ 337196 w 2663946"/>
                <a:gd name="connsiteY1252" fmla="*/ 81065 h 332381"/>
                <a:gd name="connsiteX1253" fmla="*/ 336950 w 2663946"/>
                <a:gd name="connsiteY1253" fmla="*/ 78091 h 332381"/>
                <a:gd name="connsiteX1254" fmla="*/ 337196 w 2663946"/>
                <a:gd name="connsiteY1254" fmla="*/ 78361 h 332381"/>
                <a:gd name="connsiteX1255" fmla="*/ 337196 w 2663946"/>
                <a:gd name="connsiteY1255" fmla="*/ 72683 h 332381"/>
                <a:gd name="connsiteX1256" fmla="*/ 337196 w 2663946"/>
                <a:gd name="connsiteY1256" fmla="*/ 72413 h 332381"/>
                <a:gd name="connsiteX1257" fmla="*/ 337687 w 2663946"/>
                <a:gd name="connsiteY1257" fmla="*/ 67816 h 332381"/>
                <a:gd name="connsiteX1258" fmla="*/ 338917 w 2663946"/>
                <a:gd name="connsiteY1258" fmla="*/ 62409 h 332381"/>
                <a:gd name="connsiteX1259" fmla="*/ 339900 w 2663946"/>
                <a:gd name="connsiteY1259" fmla="*/ 59164 h 332381"/>
                <a:gd name="connsiteX1260" fmla="*/ 342112 w 2663946"/>
                <a:gd name="connsiteY1260" fmla="*/ 54027 h 332381"/>
                <a:gd name="connsiteX1261" fmla="*/ 344324 w 2663946"/>
                <a:gd name="connsiteY1261" fmla="*/ 50242 h 332381"/>
                <a:gd name="connsiteX1262" fmla="*/ 346536 w 2663946"/>
                <a:gd name="connsiteY1262" fmla="*/ 47267 h 332381"/>
                <a:gd name="connsiteX1263" fmla="*/ 348749 w 2663946"/>
                <a:gd name="connsiteY1263" fmla="*/ 44834 h 332381"/>
                <a:gd name="connsiteX1264" fmla="*/ 353419 w 2663946"/>
                <a:gd name="connsiteY1264" fmla="*/ 41049 h 332381"/>
                <a:gd name="connsiteX1265" fmla="*/ 357352 w 2663946"/>
                <a:gd name="connsiteY1265" fmla="*/ 38886 h 332381"/>
                <a:gd name="connsiteX1266" fmla="*/ 366938 w 2663946"/>
                <a:gd name="connsiteY1266" fmla="*/ 36452 h 332381"/>
                <a:gd name="connsiteX1267" fmla="*/ 123893 w 2663946"/>
                <a:gd name="connsiteY1267" fmla="*/ 36452 h 332381"/>
                <a:gd name="connsiteX1268" fmla="*/ 136183 w 2663946"/>
                <a:gd name="connsiteY1268" fmla="*/ 38615 h 332381"/>
                <a:gd name="connsiteX1269" fmla="*/ 143557 w 2663946"/>
                <a:gd name="connsiteY1269" fmla="*/ 43212 h 332381"/>
                <a:gd name="connsiteX1270" fmla="*/ 146998 w 2663946"/>
                <a:gd name="connsiteY1270" fmla="*/ 46456 h 332381"/>
                <a:gd name="connsiteX1271" fmla="*/ 150439 w 2663946"/>
                <a:gd name="connsiteY1271" fmla="*/ 50782 h 332381"/>
                <a:gd name="connsiteX1272" fmla="*/ 152406 w 2663946"/>
                <a:gd name="connsiteY1272" fmla="*/ 54297 h 332381"/>
                <a:gd name="connsiteX1273" fmla="*/ 154618 w 2663946"/>
                <a:gd name="connsiteY1273" fmla="*/ 59705 h 332381"/>
                <a:gd name="connsiteX1274" fmla="*/ 155601 w 2663946"/>
                <a:gd name="connsiteY1274" fmla="*/ 63220 h 332381"/>
                <a:gd name="connsiteX1275" fmla="*/ 156584 w 2663946"/>
                <a:gd name="connsiteY1275" fmla="*/ 68357 h 332381"/>
                <a:gd name="connsiteX1276" fmla="*/ 156339 w 2663946"/>
                <a:gd name="connsiteY1276" fmla="*/ 82687 h 332381"/>
                <a:gd name="connsiteX1277" fmla="*/ 155355 w 2663946"/>
                <a:gd name="connsiteY1277" fmla="*/ 87554 h 332381"/>
                <a:gd name="connsiteX1278" fmla="*/ 154126 w 2663946"/>
                <a:gd name="connsiteY1278" fmla="*/ 91339 h 332381"/>
                <a:gd name="connsiteX1279" fmla="*/ 153143 w 2663946"/>
                <a:gd name="connsiteY1279" fmla="*/ 93773 h 332381"/>
                <a:gd name="connsiteX1280" fmla="*/ 150931 w 2663946"/>
                <a:gd name="connsiteY1280" fmla="*/ 98099 h 332381"/>
                <a:gd name="connsiteX1281" fmla="*/ 148719 w 2663946"/>
                <a:gd name="connsiteY1281" fmla="*/ 101343 h 332381"/>
                <a:gd name="connsiteX1282" fmla="*/ 145277 w 2663946"/>
                <a:gd name="connsiteY1282" fmla="*/ 105129 h 332381"/>
                <a:gd name="connsiteX1283" fmla="*/ 142082 w 2663946"/>
                <a:gd name="connsiteY1283" fmla="*/ 107832 h 332381"/>
                <a:gd name="connsiteX1284" fmla="*/ 136428 w 2663946"/>
                <a:gd name="connsiteY1284" fmla="*/ 111077 h 332381"/>
                <a:gd name="connsiteX1285" fmla="*/ 128563 w 2663946"/>
                <a:gd name="connsiteY1285" fmla="*/ 113240 h 332381"/>
                <a:gd name="connsiteX1286" fmla="*/ 127334 w 2663946"/>
                <a:gd name="connsiteY1286" fmla="*/ 113511 h 332381"/>
                <a:gd name="connsiteX1287" fmla="*/ 123155 w 2663946"/>
                <a:gd name="connsiteY1287" fmla="*/ 113511 h 332381"/>
                <a:gd name="connsiteX1288" fmla="*/ 122909 w 2663946"/>
                <a:gd name="connsiteY1288" fmla="*/ 113511 h 332381"/>
                <a:gd name="connsiteX1289" fmla="*/ 109882 w 2663946"/>
                <a:gd name="connsiteY1289" fmla="*/ 108644 h 332381"/>
                <a:gd name="connsiteX1290" fmla="*/ 105211 w 2663946"/>
                <a:gd name="connsiteY1290" fmla="*/ 104588 h 332381"/>
                <a:gd name="connsiteX1291" fmla="*/ 102016 w 2663946"/>
                <a:gd name="connsiteY1291" fmla="*/ 100803 h 332381"/>
                <a:gd name="connsiteX1292" fmla="*/ 99804 w 2663946"/>
                <a:gd name="connsiteY1292" fmla="*/ 97288 h 332381"/>
                <a:gd name="connsiteX1293" fmla="*/ 97591 w 2663946"/>
                <a:gd name="connsiteY1293" fmla="*/ 92962 h 332381"/>
                <a:gd name="connsiteX1294" fmla="*/ 96362 w 2663946"/>
                <a:gd name="connsiteY1294" fmla="*/ 89987 h 332381"/>
                <a:gd name="connsiteX1295" fmla="*/ 95379 w 2663946"/>
                <a:gd name="connsiteY1295" fmla="*/ 86743 h 332381"/>
                <a:gd name="connsiteX1296" fmla="*/ 94150 w 2663946"/>
                <a:gd name="connsiteY1296" fmla="*/ 81065 h 332381"/>
                <a:gd name="connsiteX1297" fmla="*/ 93904 w 2663946"/>
                <a:gd name="connsiteY1297" fmla="*/ 78091 h 332381"/>
                <a:gd name="connsiteX1298" fmla="*/ 94150 w 2663946"/>
                <a:gd name="connsiteY1298" fmla="*/ 78361 h 332381"/>
                <a:gd name="connsiteX1299" fmla="*/ 94150 w 2663946"/>
                <a:gd name="connsiteY1299" fmla="*/ 72683 h 332381"/>
                <a:gd name="connsiteX1300" fmla="*/ 94150 w 2663946"/>
                <a:gd name="connsiteY1300" fmla="*/ 72413 h 332381"/>
                <a:gd name="connsiteX1301" fmla="*/ 94642 w 2663946"/>
                <a:gd name="connsiteY1301" fmla="*/ 67816 h 332381"/>
                <a:gd name="connsiteX1302" fmla="*/ 95871 w 2663946"/>
                <a:gd name="connsiteY1302" fmla="*/ 62409 h 332381"/>
                <a:gd name="connsiteX1303" fmla="*/ 96854 w 2663946"/>
                <a:gd name="connsiteY1303" fmla="*/ 59164 h 332381"/>
                <a:gd name="connsiteX1304" fmla="*/ 99066 w 2663946"/>
                <a:gd name="connsiteY1304" fmla="*/ 54027 h 332381"/>
                <a:gd name="connsiteX1305" fmla="*/ 101279 w 2663946"/>
                <a:gd name="connsiteY1305" fmla="*/ 50242 h 332381"/>
                <a:gd name="connsiteX1306" fmla="*/ 103491 w 2663946"/>
                <a:gd name="connsiteY1306" fmla="*/ 47267 h 332381"/>
                <a:gd name="connsiteX1307" fmla="*/ 105703 w 2663946"/>
                <a:gd name="connsiteY1307" fmla="*/ 44834 h 332381"/>
                <a:gd name="connsiteX1308" fmla="*/ 110373 w 2663946"/>
                <a:gd name="connsiteY1308" fmla="*/ 41049 h 332381"/>
                <a:gd name="connsiteX1309" fmla="*/ 114306 w 2663946"/>
                <a:gd name="connsiteY1309" fmla="*/ 38886 h 332381"/>
                <a:gd name="connsiteX1310" fmla="*/ 123893 w 2663946"/>
                <a:gd name="connsiteY1310" fmla="*/ 36452 h 332381"/>
                <a:gd name="connsiteX1311" fmla="*/ 33147 w 2663946"/>
                <a:gd name="connsiteY1311" fmla="*/ 35814 h 332381"/>
                <a:gd name="connsiteX1312" fmla="*/ 57942 w 2663946"/>
                <a:gd name="connsiteY1312" fmla="*/ 56023 h 332381"/>
                <a:gd name="connsiteX1313" fmla="*/ 58422 w 2663946"/>
                <a:gd name="connsiteY1313" fmla="*/ 60781 h 332381"/>
                <a:gd name="connsiteX1314" fmla="*/ 59840 w 2663946"/>
                <a:gd name="connsiteY1314" fmla="*/ 60781 h 332381"/>
                <a:gd name="connsiteX1315" fmla="*/ 66294 w 2663946"/>
                <a:gd name="connsiteY1315" fmla="*/ 67067 h 332381"/>
                <a:gd name="connsiteX1316" fmla="*/ 66294 w 2663946"/>
                <a:gd name="connsiteY1316" fmla="*/ 116789 h 332381"/>
                <a:gd name="connsiteX1317" fmla="*/ 59840 w 2663946"/>
                <a:gd name="connsiteY1317" fmla="*/ 123075 h 332381"/>
                <a:gd name="connsiteX1318" fmla="*/ 6453 w 2663946"/>
                <a:gd name="connsiteY1318" fmla="*/ 123075 h 332381"/>
                <a:gd name="connsiteX1319" fmla="*/ 0 w 2663946"/>
                <a:gd name="connsiteY1319" fmla="*/ 116789 h 332381"/>
                <a:gd name="connsiteX1320" fmla="*/ 0 w 2663946"/>
                <a:gd name="connsiteY1320" fmla="*/ 67067 h 332381"/>
                <a:gd name="connsiteX1321" fmla="*/ 6453 w 2663946"/>
                <a:gd name="connsiteY1321" fmla="*/ 60781 h 332381"/>
                <a:gd name="connsiteX1322" fmla="*/ 7288 w 2663946"/>
                <a:gd name="connsiteY1322" fmla="*/ 60781 h 332381"/>
                <a:gd name="connsiteX1323" fmla="*/ 7872 w 2663946"/>
                <a:gd name="connsiteY1323" fmla="*/ 60781 h 332381"/>
                <a:gd name="connsiteX1324" fmla="*/ 8351 w 2663946"/>
                <a:gd name="connsiteY1324" fmla="*/ 56023 h 332381"/>
                <a:gd name="connsiteX1325" fmla="*/ 33147 w 2663946"/>
                <a:gd name="connsiteY1325" fmla="*/ 35814 h 332381"/>
                <a:gd name="connsiteX1326" fmla="*/ 2537931 w 2663946"/>
                <a:gd name="connsiteY1326" fmla="*/ 28226 h 332381"/>
                <a:gd name="connsiteX1327" fmla="*/ 2562727 w 2663946"/>
                <a:gd name="connsiteY1327" fmla="*/ 48435 h 332381"/>
                <a:gd name="connsiteX1328" fmla="*/ 2563206 w 2663946"/>
                <a:gd name="connsiteY1328" fmla="*/ 53193 h 332381"/>
                <a:gd name="connsiteX1329" fmla="*/ 2564625 w 2663946"/>
                <a:gd name="connsiteY1329" fmla="*/ 53193 h 332381"/>
                <a:gd name="connsiteX1330" fmla="*/ 2571078 w 2663946"/>
                <a:gd name="connsiteY1330" fmla="*/ 59479 h 332381"/>
                <a:gd name="connsiteX1331" fmla="*/ 2571078 w 2663946"/>
                <a:gd name="connsiteY1331" fmla="*/ 109201 h 332381"/>
                <a:gd name="connsiteX1332" fmla="*/ 2564625 w 2663946"/>
                <a:gd name="connsiteY1332" fmla="*/ 115487 h 332381"/>
                <a:gd name="connsiteX1333" fmla="*/ 2511238 w 2663946"/>
                <a:gd name="connsiteY1333" fmla="*/ 115487 h 332381"/>
                <a:gd name="connsiteX1334" fmla="*/ 2504784 w 2663946"/>
                <a:gd name="connsiteY1334" fmla="*/ 109201 h 332381"/>
                <a:gd name="connsiteX1335" fmla="*/ 2504784 w 2663946"/>
                <a:gd name="connsiteY1335" fmla="*/ 59479 h 332381"/>
                <a:gd name="connsiteX1336" fmla="*/ 2511238 w 2663946"/>
                <a:gd name="connsiteY1336" fmla="*/ 53193 h 332381"/>
                <a:gd name="connsiteX1337" fmla="*/ 2512072 w 2663946"/>
                <a:gd name="connsiteY1337" fmla="*/ 53193 h 332381"/>
                <a:gd name="connsiteX1338" fmla="*/ 2512656 w 2663946"/>
                <a:gd name="connsiteY1338" fmla="*/ 53193 h 332381"/>
                <a:gd name="connsiteX1339" fmla="*/ 2513136 w 2663946"/>
                <a:gd name="connsiteY1339" fmla="*/ 48435 h 332381"/>
                <a:gd name="connsiteX1340" fmla="*/ 2537931 w 2663946"/>
                <a:gd name="connsiteY1340" fmla="*/ 28226 h 332381"/>
                <a:gd name="connsiteX1341" fmla="*/ 2112934 w 2663946"/>
                <a:gd name="connsiteY1341" fmla="*/ 28226 h 332381"/>
                <a:gd name="connsiteX1342" fmla="*/ 2137730 w 2663946"/>
                <a:gd name="connsiteY1342" fmla="*/ 48435 h 332381"/>
                <a:gd name="connsiteX1343" fmla="*/ 2138209 w 2663946"/>
                <a:gd name="connsiteY1343" fmla="*/ 53193 h 332381"/>
                <a:gd name="connsiteX1344" fmla="*/ 2139628 w 2663946"/>
                <a:gd name="connsiteY1344" fmla="*/ 53193 h 332381"/>
                <a:gd name="connsiteX1345" fmla="*/ 2146081 w 2663946"/>
                <a:gd name="connsiteY1345" fmla="*/ 59479 h 332381"/>
                <a:gd name="connsiteX1346" fmla="*/ 2146081 w 2663946"/>
                <a:gd name="connsiteY1346" fmla="*/ 109201 h 332381"/>
                <a:gd name="connsiteX1347" fmla="*/ 2139628 w 2663946"/>
                <a:gd name="connsiteY1347" fmla="*/ 115487 h 332381"/>
                <a:gd name="connsiteX1348" fmla="*/ 2086241 w 2663946"/>
                <a:gd name="connsiteY1348" fmla="*/ 115487 h 332381"/>
                <a:gd name="connsiteX1349" fmla="*/ 2079787 w 2663946"/>
                <a:gd name="connsiteY1349" fmla="*/ 109201 h 332381"/>
                <a:gd name="connsiteX1350" fmla="*/ 2079787 w 2663946"/>
                <a:gd name="connsiteY1350" fmla="*/ 59479 h 332381"/>
                <a:gd name="connsiteX1351" fmla="*/ 2086241 w 2663946"/>
                <a:gd name="connsiteY1351" fmla="*/ 53193 h 332381"/>
                <a:gd name="connsiteX1352" fmla="*/ 2087075 w 2663946"/>
                <a:gd name="connsiteY1352" fmla="*/ 53193 h 332381"/>
                <a:gd name="connsiteX1353" fmla="*/ 2087659 w 2663946"/>
                <a:gd name="connsiteY1353" fmla="*/ 53193 h 332381"/>
                <a:gd name="connsiteX1354" fmla="*/ 2088139 w 2663946"/>
                <a:gd name="connsiteY1354" fmla="*/ 48435 h 332381"/>
                <a:gd name="connsiteX1355" fmla="*/ 2112934 w 2663946"/>
                <a:gd name="connsiteY1355" fmla="*/ 28226 h 332381"/>
                <a:gd name="connsiteX1356" fmla="*/ 1854966 w 2663946"/>
                <a:gd name="connsiteY1356" fmla="*/ 28226 h 332381"/>
                <a:gd name="connsiteX1357" fmla="*/ 1879762 w 2663946"/>
                <a:gd name="connsiteY1357" fmla="*/ 48435 h 332381"/>
                <a:gd name="connsiteX1358" fmla="*/ 1880241 w 2663946"/>
                <a:gd name="connsiteY1358" fmla="*/ 53193 h 332381"/>
                <a:gd name="connsiteX1359" fmla="*/ 1881660 w 2663946"/>
                <a:gd name="connsiteY1359" fmla="*/ 53193 h 332381"/>
                <a:gd name="connsiteX1360" fmla="*/ 1888113 w 2663946"/>
                <a:gd name="connsiteY1360" fmla="*/ 59479 h 332381"/>
                <a:gd name="connsiteX1361" fmla="*/ 1888113 w 2663946"/>
                <a:gd name="connsiteY1361" fmla="*/ 109201 h 332381"/>
                <a:gd name="connsiteX1362" fmla="*/ 1881660 w 2663946"/>
                <a:gd name="connsiteY1362" fmla="*/ 115487 h 332381"/>
                <a:gd name="connsiteX1363" fmla="*/ 1828273 w 2663946"/>
                <a:gd name="connsiteY1363" fmla="*/ 115487 h 332381"/>
                <a:gd name="connsiteX1364" fmla="*/ 1821819 w 2663946"/>
                <a:gd name="connsiteY1364" fmla="*/ 109201 h 332381"/>
                <a:gd name="connsiteX1365" fmla="*/ 1821819 w 2663946"/>
                <a:gd name="connsiteY1365" fmla="*/ 59479 h 332381"/>
                <a:gd name="connsiteX1366" fmla="*/ 1828273 w 2663946"/>
                <a:gd name="connsiteY1366" fmla="*/ 53193 h 332381"/>
                <a:gd name="connsiteX1367" fmla="*/ 1829107 w 2663946"/>
                <a:gd name="connsiteY1367" fmla="*/ 53193 h 332381"/>
                <a:gd name="connsiteX1368" fmla="*/ 1829691 w 2663946"/>
                <a:gd name="connsiteY1368" fmla="*/ 53193 h 332381"/>
                <a:gd name="connsiteX1369" fmla="*/ 1830171 w 2663946"/>
                <a:gd name="connsiteY1369" fmla="*/ 48435 h 332381"/>
                <a:gd name="connsiteX1370" fmla="*/ 1854966 w 2663946"/>
                <a:gd name="connsiteY1370" fmla="*/ 28226 h 332381"/>
                <a:gd name="connsiteX1371" fmla="*/ 1764027 w 2663946"/>
                <a:gd name="connsiteY1371" fmla="*/ 28226 h 332381"/>
                <a:gd name="connsiteX1372" fmla="*/ 1788823 w 2663946"/>
                <a:gd name="connsiteY1372" fmla="*/ 48435 h 332381"/>
                <a:gd name="connsiteX1373" fmla="*/ 1789302 w 2663946"/>
                <a:gd name="connsiteY1373" fmla="*/ 53193 h 332381"/>
                <a:gd name="connsiteX1374" fmla="*/ 1790721 w 2663946"/>
                <a:gd name="connsiteY1374" fmla="*/ 53193 h 332381"/>
                <a:gd name="connsiteX1375" fmla="*/ 1797174 w 2663946"/>
                <a:gd name="connsiteY1375" fmla="*/ 59479 h 332381"/>
                <a:gd name="connsiteX1376" fmla="*/ 1797174 w 2663946"/>
                <a:gd name="connsiteY1376" fmla="*/ 109201 h 332381"/>
                <a:gd name="connsiteX1377" fmla="*/ 1790721 w 2663946"/>
                <a:gd name="connsiteY1377" fmla="*/ 115487 h 332381"/>
                <a:gd name="connsiteX1378" fmla="*/ 1737333 w 2663946"/>
                <a:gd name="connsiteY1378" fmla="*/ 115487 h 332381"/>
                <a:gd name="connsiteX1379" fmla="*/ 1730880 w 2663946"/>
                <a:gd name="connsiteY1379" fmla="*/ 109201 h 332381"/>
                <a:gd name="connsiteX1380" fmla="*/ 1730880 w 2663946"/>
                <a:gd name="connsiteY1380" fmla="*/ 59479 h 332381"/>
                <a:gd name="connsiteX1381" fmla="*/ 1737333 w 2663946"/>
                <a:gd name="connsiteY1381" fmla="*/ 53193 h 332381"/>
                <a:gd name="connsiteX1382" fmla="*/ 1738168 w 2663946"/>
                <a:gd name="connsiteY1382" fmla="*/ 53193 h 332381"/>
                <a:gd name="connsiteX1383" fmla="*/ 1738752 w 2663946"/>
                <a:gd name="connsiteY1383" fmla="*/ 53193 h 332381"/>
                <a:gd name="connsiteX1384" fmla="*/ 1739232 w 2663946"/>
                <a:gd name="connsiteY1384" fmla="*/ 48435 h 332381"/>
                <a:gd name="connsiteX1385" fmla="*/ 1764027 w 2663946"/>
                <a:gd name="connsiteY1385" fmla="*/ 28226 h 332381"/>
                <a:gd name="connsiteX1386" fmla="*/ 1506059 w 2663946"/>
                <a:gd name="connsiteY1386" fmla="*/ 28226 h 332381"/>
                <a:gd name="connsiteX1387" fmla="*/ 1530855 w 2663946"/>
                <a:gd name="connsiteY1387" fmla="*/ 48435 h 332381"/>
                <a:gd name="connsiteX1388" fmla="*/ 1531334 w 2663946"/>
                <a:gd name="connsiteY1388" fmla="*/ 53193 h 332381"/>
                <a:gd name="connsiteX1389" fmla="*/ 1532753 w 2663946"/>
                <a:gd name="connsiteY1389" fmla="*/ 53193 h 332381"/>
                <a:gd name="connsiteX1390" fmla="*/ 1539206 w 2663946"/>
                <a:gd name="connsiteY1390" fmla="*/ 59479 h 332381"/>
                <a:gd name="connsiteX1391" fmla="*/ 1539206 w 2663946"/>
                <a:gd name="connsiteY1391" fmla="*/ 109201 h 332381"/>
                <a:gd name="connsiteX1392" fmla="*/ 1532753 w 2663946"/>
                <a:gd name="connsiteY1392" fmla="*/ 115487 h 332381"/>
                <a:gd name="connsiteX1393" fmla="*/ 1479365 w 2663946"/>
                <a:gd name="connsiteY1393" fmla="*/ 115487 h 332381"/>
                <a:gd name="connsiteX1394" fmla="*/ 1472912 w 2663946"/>
                <a:gd name="connsiteY1394" fmla="*/ 109201 h 332381"/>
                <a:gd name="connsiteX1395" fmla="*/ 1472912 w 2663946"/>
                <a:gd name="connsiteY1395" fmla="*/ 59479 h 332381"/>
                <a:gd name="connsiteX1396" fmla="*/ 1479365 w 2663946"/>
                <a:gd name="connsiteY1396" fmla="*/ 53193 h 332381"/>
                <a:gd name="connsiteX1397" fmla="*/ 1480200 w 2663946"/>
                <a:gd name="connsiteY1397" fmla="*/ 53193 h 332381"/>
                <a:gd name="connsiteX1398" fmla="*/ 1480784 w 2663946"/>
                <a:gd name="connsiteY1398" fmla="*/ 53193 h 332381"/>
                <a:gd name="connsiteX1399" fmla="*/ 1481264 w 2663946"/>
                <a:gd name="connsiteY1399" fmla="*/ 48435 h 332381"/>
                <a:gd name="connsiteX1400" fmla="*/ 1506059 w 2663946"/>
                <a:gd name="connsiteY1400" fmla="*/ 28226 h 332381"/>
                <a:gd name="connsiteX1401" fmla="*/ 1415120 w 2663946"/>
                <a:gd name="connsiteY1401" fmla="*/ 28226 h 332381"/>
                <a:gd name="connsiteX1402" fmla="*/ 1439916 w 2663946"/>
                <a:gd name="connsiteY1402" fmla="*/ 48435 h 332381"/>
                <a:gd name="connsiteX1403" fmla="*/ 1440395 w 2663946"/>
                <a:gd name="connsiteY1403" fmla="*/ 53193 h 332381"/>
                <a:gd name="connsiteX1404" fmla="*/ 1441814 w 2663946"/>
                <a:gd name="connsiteY1404" fmla="*/ 53193 h 332381"/>
                <a:gd name="connsiteX1405" fmla="*/ 1448267 w 2663946"/>
                <a:gd name="connsiteY1405" fmla="*/ 59479 h 332381"/>
                <a:gd name="connsiteX1406" fmla="*/ 1448267 w 2663946"/>
                <a:gd name="connsiteY1406" fmla="*/ 109201 h 332381"/>
                <a:gd name="connsiteX1407" fmla="*/ 1441814 w 2663946"/>
                <a:gd name="connsiteY1407" fmla="*/ 115487 h 332381"/>
                <a:gd name="connsiteX1408" fmla="*/ 1388426 w 2663946"/>
                <a:gd name="connsiteY1408" fmla="*/ 115487 h 332381"/>
                <a:gd name="connsiteX1409" fmla="*/ 1381973 w 2663946"/>
                <a:gd name="connsiteY1409" fmla="*/ 109201 h 332381"/>
                <a:gd name="connsiteX1410" fmla="*/ 1381973 w 2663946"/>
                <a:gd name="connsiteY1410" fmla="*/ 59479 h 332381"/>
                <a:gd name="connsiteX1411" fmla="*/ 1388426 w 2663946"/>
                <a:gd name="connsiteY1411" fmla="*/ 53193 h 332381"/>
                <a:gd name="connsiteX1412" fmla="*/ 1389261 w 2663946"/>
                <a:gd name="connsiteY1412" fmla="*/ 53193 h 332381"/>
                <a:gd name="connsiteX1413" fmla="*/ 1389845 w 2663946"/>
                <a:gd name="connsiteY1413" fmla="*/ 53193 h 332381"/>
                <a:gd name="connsiteX1414" fmla="*/ 1390325 w 2663946"/>
                <a:gd name="connsiteY1414" fmla="*/ 48435 h 332381"/>
                <a:gd name="connsiteX1415" fmla="*/ 1415120 w 2663946"/>
                <a:gd name="connsiteY1415" fmla="*/ 28226 h 332381"/>
                <a:gd name="connsiteX1416" fmla="*/ 1157152 w 2663946"/>
                <a:gd name="connsiteY1416" fmla="*/ 28226 h 332381"/>
                <a:gd name="connsiteX1417" fmla="*/ 1181948 w 2663946"/>
                <a:gd name="connsiteY1417" fmla="*/ 48435 h 332381"/>
                <a:gd name="connsiteX1418" fmla="*/ 1182427 w 2663946"/>
                <a:gd name="connsiteY1418" fmla="*/ 53193 h 332381"/>
                <a:gd name="connsiteX1419" fmla="*/ 1183846 w 2663946"/>
                <a:gd name="connsiteY1419" fmla="*/ 53193 h 332381"/>
                <a:gd name="connsiteX1420" fmla="*/ 1190299 w 2663946"/>
                <a:gd name="connsiteY1420" fmla="*/ 59479 h 332381"/>
                <a:gd name="connsiteX1421" fmla="*/ 1190299 w 2663946"/>
                <a:gd name="connsiteY1421" fmla="*/ 109201 h 332381"/>
                <a:gd name="connsiteX1422" fmla="*/ 1183846 w 2663946"/>
                <a:gd name="connsiteY1422" fmla="*/ 115487 h 332381"/>
                <a:gd name="connsiteX1423" fmla="*/ 1130458 w 2663946"/>
                <a:gd name="connsiteY1423" fmla="*/ 115487 h 332381"/>
                <a:gd name="connsiteX1424" fmla="*/ 1124005 w 2663946"/>
                <a:gd name="connsiteY1424" fmla="*/ 109201 h 332381"/>
                <a:gd name="connsiteX1425" fmla="*/ 1124005 w 2663946"/>
                <a:gd name="connsiteY1425" fmla="*/ 59479 h 332381"/>
                <a:gd name="connsiteX1426" fmla="*/ 1130458 w 2663946"/>
                <a:gd name="connsiteY1426" fmla="*/ 53193 h 332381"/>
                <a:gd name="connsiteX1427" fmla="*/ 1131293 w 2663946"/>
                <a:gd name="connsiteY1427" fmla="*/ 53193 h 332381"/>
                <a:gd name="connsiteX1428" fmla="*/ 1131877 w 2663946"/>
                <a:gd name="connsiteY1428" fmla="*/ 53193 h 332381"/>
                <a:gd name="connsiteX1429" fmla="*/ 1132357 w 2663946"/>
                <a:gd name="connsiteY1429" fmla="*/ 48435 h 332381"/>
                <a:gd name="connsiteX1430" fmla="*/ 1157152 w 2663946"/>
                <a:gd name="connsiteY1430" fmla="*/ 28226 h 332381"/>
                <a:gd name="connsiteX1431" fmla="*/ 732156 w 2663946"/>
                <a:gd name="connsiteY1431" fmla="*/ 28226 h 332381"/>
                <a:gd name="connsiteX1432" fmla="*/ 756951 w 2663946"/>
                <a:gd name="connsiteY1432" fmla="*/ 48435 h 332381"/>
                <a:gd name="connsiteX1433" fmla="*/ 757431 w 2663946"/>
                <a:gd name="connsiteY1433" fmla="*/ 53193 h 332381"/>
                <a:gd name="connsiteX1434" fmla="*/ 758849 w 2663946"/>
                <a:gd name="connsiteY1434" fmla="*/ 53193 h 332381"/>
                <a:gd name="connsiteX1435" fmla="*/ 765303 w 2663946"/>
                <a:gd name="connsiteY1435" fmla="*/ 59479 h 332381"/>
                <a:gd name="connsiteX1436" fmla="*/ 765303 w 2663946"/>
                <a:gd name="connsiteY1436" fmla="*/ 109201 h 332381"/>
                <a:gd name="connsiteX1437" fmla="*/ 758849 w 2663946"/>
                <a:gd name="connsiteY1437" fmla="*/ 115487 h 332381"/>
                <a:gd name="connsiteX1438" fmla="*/ 705462 w 2663946"/>
                <a:gd name="connsiteY1438" fmla="*/ 115487 h 332381"/>
                <a:gd name="connsiteX1439" fmla="*/ 699009 w 2663946"/>
                <a:gd name="connsiteY1439" fmla="*/ 109201 h 332381"/>
                <a:gd name="connsiteX1440" fmla="*/ 699009 w 2663946"/>
                <a:gd name="connsiteY1440" fmla="*/ 59479 h 332381"/>
                <a:gd name="connsiteX1441" fmla="*/ 705462 w 2663946"/>
                <a:gd name="connsiteY1441" fmla="*/ 53193 h 332381"/>
                <a:gd name="connsiteX1442" fmla="*/ 706296 w 2663946"/>
                <a:gd name="connsiteY1442" fmla="*/ 53193 h 332381"/>
                <a:gd name="connsiteX1443" fmla="*/ 706881 w 2663946"/>
                <a:gd name="connsiteY1443" fmla="*/ 53193 h 332381"/>
                <a:gd name="connsiteX1444" fmla="*/ 707360 w 2663946"/>
                <a:gd name="connsiteY1444" fmla="*/ 48435 h 332381"/>
                <a:gd name="connsiteX1445" fmla="*/ 732156 w 2663946"/>
                <a:gd name="connsiteY1445" fmla="*/ 28226 h 332381"/>
                <a:gd name="connsiteX1446" fmla="*/ 641217 w 2663946"/>
                <a:gd name="connsiteY1446" fmla="*/ 28226 h 332381"/>
                <a:gd name="connsiteX1447" fmla="*/ 666012 w 2663946"/>
                <a:gd name="connsiteY1447" fmla="*/ 48435 h 332381"/>
                <a:gd name="connsiteX1448" fmla="*/ 666492 w 2663946"/>
                <a:gd name="connsiteY1448" fmla="*/ 53193 h 332381"/>
                <a:gd name="connsiteX1449" fmla="*/ 667910 w 2663946"/>
                <a:gd name="connsiteY1449" fmla="*/ 53193 h 332381"/>
                <a:gd name="connsiteX1450" fmla="*/ 674364 w 2663946"/>
                <a:gd name="connsiteY1450" fmla="*/ 59479 h 332381"/>
                <a:gd name="connsiteX1451" fmla="*/ 674364 w 2663946"/>
                <a:gd name="connsiteY1451" fmla="*/ 109201 h 332381"/>
                <a:gd name="connsiteX1452" fmla="*/ 667910 w 2663946"/>
                <a:gd name="connsiteY1452" fmla="*/ 115487 h 332381"/>
                <a:gd name="connsiteX1453" fmla="*/ 614523 w 2663946"/>
                <a:gd name="connsiteY1453" fmla="*/ 115487 h 332381"/>
                <a:gd name="connsiteX1454" fmla="*/ 608070 w 2663946"/>
                <a:gd name="connsiteY1454" fmla="*/ 109201 h 332381"/>
                <a:gd name="connsiteX1455" fmla="*/ 608070 w 2663946"/>
                <a:gd name="connsiteY1455" fmla="*/ 59479 h 332381"/>
                <a:gd name="connsiteX1456" fmla="*/ 614523 w 2663946"/>
                <a:gd name="connsiteY1456" fmla="*/ 53193 h 332381"/>
                <a:gd name="connsiteX1457" fmla="*/ 615358 w 2663946"/>
                <a:gd name="connsiteY1457" fmla="*/ 53193 h 332381"/>
                <a:gd name="connsiteX1458" fmla="*/ 615942 w 2663946"/>
                <a:gd name="connsiteY1458" fmla="*/ 53193 h 332381"/>
                <a:gd name="connsiteX1459" fmla="*/ 616422 w 2663946"/>
                <a:gd name="connsiteY1459" fmla="*/ 48435 h 332381"/>
                <a:gd name="connsiteX1460" fmla="*/ 641217 w 2663946"/>
                <a:gd name="connsiteY1460" fmla="*/ 28226 h 332381"/>
                <a:gd name="connsiteX1461" fmla="*/ 459266 w 2663946"/>
                <a:gd name="connsiteY1461" fmla="*/ 28226 h 332381"/>
                <a:gd name="connsiteX1462" fmla="*/ 484061 w 2663946"/>
                <a:gd name="connsiteY1462" fmla="*/ 48435 h 332381"/>
                <a:gd name="connsiteX1463" fmla="*/ 484541 w 2663946"/>
                <a:gd name="connsiteY1463" fmla="*/ 53193 h 332381"/>
                <a:gd name="connsiteX1464" fmla="*/ 485959 w 2663946"/>
                <a:gd name="connsiteY1464" fmla="*/ 53193 h 332381"/>
                <a:gd name="connsiteX1465" fmla="*/ 492413 w 2663946"/>
                <a:gd name="connsiteY1465" fmla="*/ 59479 h 332381"/>
                <a:gd name="connsiteX1466" fmla="*/ 492413 w 2663946"/>
                <a:gd name="connsiteY1466" fmla="*/ 109201 h 332381"/>
                <a:gd name="connsiteX1467" fmla="*/ 485959 w 2663946"/>
                <a:gd name="connsiteY1467" fmla="*/ 115487 h 332381"/>
                <a:gd name="connsiteX1468" fmla="*/ 432572 w 2663946"/>
                <a:gd name="connsiteY1468" fmla="*/ 115487 h 332381"/>
                <a:gd name="connsiteX1469" fmla="*/ 426119 w 2663946"/>
                <a:gd name="connsiteY1469" fmla="*/ 109201 h 332381"/>
                <a:gd name="connsiteX1470" fmla="*/ 426119 w 2663946"/>
                <a:gd name="connsiteY1470" fmla="*/ 59479 h 332381"/>
                <a:gd name="connsiteX1471" fmla="*/ 432572 w 2663946"/>
                <a:gd name="connsiteY1471" fmla="*/ 53193 h 332381"/>
                <a:gd name="connsiteX1472" fmla="*/ 433406 w 2663946"/>
                <a:gd name="connsiteY1472" fmla="*/ 53193 h 332381"/>
                <a:gd name="connsiteX1473" fmla="*/ 433991 w 2663946"/>
                <a:gd name="connsiteY1473" fmla="*/ 53193 h 332381"/>
                <a:gd name="connsiteX1474" fmla="*/ 434470 w 2663946"/>
                <a:gd name="connsiteY1474" fmla="*/ 48435 h 332381"/>
                <a:gd name="connsiteX1475" fmla="*/ 459266 w 2663946"/>
                <a:gd name="connsiteY1475" fmla="*/ 28226 h 332381"/>
                <a:gd name="connsiteX1476" fmla="*/ 15475 w 2663946"/>
                <a:gd name="connsiteY1476" fmla="*/ 1 h 332381"/>
                <a:gd name="connsiteX1477" fmla="*/ 16016 w 2663946"/>
                <a:gd name="connsiteY1477" fmla="*/ 1 h 332381"/>
                <a:gd name="connsiteX1478" fmla="*/ 15475 w 2663946"/>
                <a:gd name="connsiteY1478" fmla="*/ 1 h 33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Lst>
              <a:rect l="l" t="t" r="r" b="b"/>
              <a:pathLst>
                <a:path w="2663946" h="332381">
                  <a:moveTo>
                    <a:pt x="2632966" y="271275"/>
                  </a:moveTo>
                  <a:lnTo>
                    <a:pt x="2621414" y="273708"/>
                  </a:lnTo>
                  <a:cubicBezTo>
                    <a:pt x="2620185" y="274790"/>
                    <a:pt x="2619201" y="275871"/>
                    <a:pt x="2618218" y="277223"/>
                  </a:cubicBezTo>
                  <a:cubicBezTo>
                    <a:pt x="2617481" y="278305"/>
                    <a:pt x="2616743" y="279656"/>
                    <a:pt x="2616006" y="281008"/>
                  </a:cubicBezTo>
                  <a:cubicBezTo>
                    <a:pt x="2615514" y="281819"/>
                    <a:pt x="2615269" y="282901"/>
                    <a:pt x="2615023" y="283712"/>
                  </a:cubicBezTo>
                  <a:cubicBezTo>
                    <a:pt x="2614531" y="285064"/>
                    <a:pt x="2614285" y="286416"/>
                    <a:pt x="2614039" y="287768"/>
                  </a:cubicBezTo>
                  <a:cubicBezTo>
                    <a:pt x="2613302" y="289931"/>
                    <a:pt x="2613056" y="292094"/>
                    <a:pt x="2613056" y="294798"/>
                  </a:cubicBezTo>
                  <a:cubicBezTo>
                    <a:pt x="2613056" y="296961"/>
                    <a:pt x="2613302" y="299394"/>
                    <a:pt x="2614039" y="302098"/>
                  </a:cubicBezTo>
                  <a:cubicBezTo>
                    <a:pt x="2614531" y="303450"/>
                    <a:pt x="2614777" y="304531"/>
                    <a:pt x="2615269" y="305883"/>
                  </a:cubicBezTo>
                  <a:cubicBezTo>
                    <a:pt x="2615760" y="307506"/>
                    <a:pt x="2616497" y="308857"/>
                    <a:pt x="2617481" y="310209"/>
                  </a:cubicBezTo>
                  <a:cubicBezTo>
                    <a:pt x="2618464" y="311832"/>
                    <a:pt x="2619693" y="313183"/>
                    <a:pt x="2620922" y="314536"/>
                  </a:cubicBezTo>
                  <a:cubicBezTo>
                    <a:pt x="2622151" y="315617"/>
                    <a:pt x="2623626" y="316699"/>
                    <a:pt x="2625346" y="317239"/>
                  </a:cubicBezTo>
                  <a:cubicBezTo>
                    <a:pt x="2629771" y="318862"/>
                    <a:pt x="2633950" y="318050"/>
                    <a:pt x="2637637" y="314806"/>
                  </a:cubicBezTo>
                  <a:cubicBezTo>
                    <a:pt x="2638866" y="313724"/>
                    <a:pt x="2639849" y="312643"/>
                    <a:pt x="2640832" y="311291"/>
                  </a:cubicBezTo>
                  <a:cubicBezTo>
                    <a:pt x="2641815" y="309939"/>
                    <a:pt x="2642553" y="308587"/>
                    <a:pt x="2643290" y="306965"/>
                  </a:cubicBezTo>
                  <a:cubicBezTo>
                    <a:pt x="2643536" y="306154"/>
                    <a:pt x="2643782" y="305343"/>
                    <a:pt x="2644273" y="304802"/>
                  </a:cubicBezTo>
                  <a:cubicBezTo>
                    <a:pt x="2644765" y="303450"/>
                    <a:pt x="2645257" y="302098"/>
                    <a:pt x="2645502" y="300476"/>
                  </a:cubicBezTo>
                  <a:cubicBezTo>
                    <a:pt x="2646240" y="295879"/>
                    <a:pt x="2646240" y="291283"/>
                    <a:pt x="2645011" y="286686"/>
                  </a:cubicBezTo>
                  <a:cubicBezTo>
                    <a:pt x="2644765" y="285605"/>
                    <a:pt x="2644519" y="284523"/>
                    <a:pt x="2644027" y="283712"/>
                  </a:cubicBezTo>
                  <a:cubicBezTo>
                    <a:pt x="2643536" y="282631"/>
                    <a:pt x="2643290" y="281549"/>
                    <a:pt x="2642799" y="280738"/>
                  </a:cubicBezTo>
                  <a:cubicBezTo>
                    <a:pt x="2642061" y="279656"/>
                    <a:pt x="2641569" y="278305"/>
                    <a:pt x="2640586" y="277223"/>
                  </a:cubicBezTo>
                  <a:cubicBezTo>
                    <a:pt x="2639603" y="275871"/>
                    <a:pt x="2638374" y="274519"/>
                    <a:pt x="2636899" y="273438"/>
                  </a:cubicBezTo>
                  <a:cubicBezTo>
                    <a:pt x="2635670" y="272626"/>
                    <a:pt x="2634441" y="271815"/>
                    <a:pt x="2632966" y="271275"/>
                  </a:cubicBezTo>
                  <a:close/>
                  <a:moveTo>
                    <a:pt x="2627559" y="255322"/>
                  </a:moveTo>
                  <a:cubicBezTo>
                    <a:pt x="2631737" y="255052"/>
                    <a:pt x="2635916" y="255863"/>
                    <a:pt x="2639849" y="257485"/>
                  </a:cubicBezTo>
                  <a:cubicBezTo>
                    <a:pt x="2642553" y="258567"/>
                    <a:pt x="2645011" y="260189"/>
                    <a:pt x="2647223" y="262082"/>
                  </a:cubicBezTo>
                  <a:cubicBezTo>
                    <a:pt x="2648452" y="263163"/>
                    <a:pt x="2649435" y="264245"/>
                    <a:pt x="2650664" y="265326"/>
                  </a:cubicBezTo>
                  <a:cubicBezTo>
                    <a:pt x="2651893" y="266678"/>
                    <a:pt x="2653122" y="268300"/>
                    <a:pt x="2654106" y="269652"/>
                  </a:cubicBezTo>
                  <a:cubicBezTo>
                    <a:pt x="2654843" y="270734"/>
                    <a:pt x="2655580" y="272086"/>
                    <a:pt x="2656072" y="273167"/>
                  </a:cubicBezTo>
                  <a:cubicBezTo>
                    <a:pt x="2657055" y="274790"/>
                    <a:pt x="2657792" y="276682"/>
                    <a:pt x="2658284" y="278575"/>
                  </a:cubicBezTo>
                  <a:cubicBezTo>
                    <a:pt x="2658776" y="279656"/>
                    <a:pt x="2659022" y="281008"/>
                    <a:pt x="2659267" y="282090"/>
                  </a:cubicBezTo>
                  <a:cubicBezTo>
                    <a:pt x="2659759" y="283712"/>
                    <a:pt x="2660005" y="285605"/>
                    <a:pt x="2660251" y="287227"/>
                  </a:cubicBezTo>
                  <a:cubicBezTo>
                    <a:pt x="2660988" y="292094"/>
                    <a:pt x="2660988" y="296961"/>
                    <a:pt x="2660005" y="301557"/>
                  </a:cubicBezTo>
                  <a:cubicBezTo>
                    <a:pt x="2659759" y="303180"/>
                    <a:pt x="2659513" y="304802"/>
                    <a:pt x="2659022" y="306424"/>
                  </a:cubicBezTo>
                  <a:cubicBezTo>
                    <a:pt x="2658530" y="307776"/>
                    <a:pt x="2658284" y="308857"/>
                    <a:pt x="2657792" y="310209"/>
                  </a:cubicBezTo>
                  <a:cubicBezTo>
                    <a:pt x="2657301" y="311020"/>
                    <a:pt x="2657055" y="311832"/>
                    <a:pt x="2656809" y="312643"/>
                  </a:cubicBezTo>
                  <a:cubicBezTo>
                    <a:pt x="2656072" y="314265"/>
                    <a:pt x="2655334" y="315617"/>
                    <a:pt x="2654597" y="316969"/>
                  </a:cubicBezTo>
                  <a:lnTo>
                    <a:pt x="2652385" y="320213"/>
                  </a:lnTo>
                  <a:cubicBezTo>
                    <a:pt x="2651402" y="321565"/>
                    <a:pt x="2650173" y="322917"/>
                    <a:pt x="2648944" y="323999"/>
                  </a:cubicBezTo>
                  <a:cubicBezTo>
                    <a:pt x="2647960" y="325080"/>
                    <a:pt x="2646731" y="325891"/>
                    <a:pt x="2645748" y="326702"/>
                  </a:cubicBezTo>
                  <a:cubicBezTo>
                    <a:pt x="2644027" y="328055"/>
                    <a:pt x="2642061" y="329136"/>
                    <a:pt x="2640095" y="329947"/>
                  </a:cubicBezTo>
                  <a:cubicBezTo>
                    <a:pt x="2637637" y="331029"/>
                    <a:pt x="2634933" y="331840"/>
                    <a:pt x="2632229" y="332110"/>
                  </a:cubicBezTo>
                  <a:cubicBezTo>
                    <a:pt x="2631737" y="332110"/>
                    <a:pt x="2631492" y="332110"/>
                    <a:pt x="2631000" y="332381"/>
                  </a:cubicBezTo>
                  <a:lnTo>
                    <a:pt x="2626821" y="332381"/>
                  </a:lnTo>
                  <a:cubicBezTo>
                    <a:pt x="2626821" y="332110"/>
                    <a:pt x="2626576" y="332381"/>
                    <a:pt x="2626576" y="332381"/>
                  </a:cubicBezTo>
                  <a:cubicBezTo>
                    <a:pt x="2621905" y="331840"/>
                    <a:pt x="2617481" y="330218"/>
                    <a:pt x="2613548" y="327514"/>
                  </a:cubicBezTo>
                  <a:cubicBezTo>
                    <a:pt x="2611827" y="326432"/>
                    <a:pt x="2610353" y="325080"/>
                    <a:pt x="2608878" y="323458"/>
                  </a:cubicBezTo>
                  <a:cubicBezTo>
                    <a:pt x="2607649" y="322376"/>
                    <a:pt x="2606665" y="321025"/>
                    <a:pt x="2605682" y="319673"/>
                  </a:cubicBezTo>
                  <a:cubicBezTo>
                    <a:pt x="2604945" y="318591"/>
                    <a:pt x="2604207" y="317510"/>
                    <a:pt x="2603470" y="316158"/>
                  </a:cubicBezTo>
                  <a:cubicBezTo>
                    <a:pt x="2602732" y="314806"/>
                    <a:pt x="2601995" y="313454"/>
                    <a:pt x="2601258" y="311832"/>
                  </a:cubicBezTo>
                  <a:cubicBezTo>
                    <a:pt x="2600766" y="310750"/>
                    <a:pt x="2600520" y="309939"/>
                    <a:pt x="2600029" y="308857"/>
                  </a:cubicBezTo>
                  <a:cubicBezTo>
                    <a:pt x="2599537" y="307776"/>
                    <a:pt x="2599291" y="306694"/>
                    <a:pt x="2599046" y="305613"/>
                  </a:cubicBezTo>
                  <a:cubicBezTo>
                    <a:pt x="2598554" y="303720"/>
                    <a:pt x="2598308" y="301828"/>
                    <a:pt x="2597816" y="299935"/>
                  </a:cubicBezTo>
                  <a:cubicBezTo>
                    <a:pt x="2597571" y="298853"/>
                    <a:pt x="2597571" y="298042"/>
                    <a:pt x="2597571" y="296961"/>
                  </a:cubicBezTo>
                  <a:cubicBezTo>
                    <a:pt x="2597816" y="297772"/>
                    <a:pt x="2598062" y="297501"/>
                    <a:pt x="2597816" y="297231"/>
                  </a:cubicBezTo>
                  <a:lnTo>
                    <a:pt x="2597816" y="291553"/>
                  </a:lnTo>
                  <a:lnTo>
                    <a:pt x="2597816" y="291283"/>
                  </a:lnTo>
                  <a:cubicBezTo>
                    <a:pt x="2597816" y="289661"/>
                    <a:pt x="2598062" y="288309"/>
                    <a:pt x="2598308" y="286686"/>
                  </a:cubicBezTo>
                  <a:cubicBezTo>
                    <a:pt x="2598800" y="284794"/>
                    <a:pt x="2598800" y="282901"/>
                    <a:pt x="2599537" y="281279"/>
                  </a:cubicBezTo>
                  <a:cubicBezTo>
                    <a:pt x="2600029" y="280197"/>
                    <a:pt x="2600274" y="279116"/>
                    <a:pt x="2600520" y="278034"/>
                  </a:cubicBezTo>
                  <a:cubicBezTo>
                    <a:pt x="2601258" y="276412"/>
                    <a:pt x="2601995" y="274519"/>
                    <a:pt x="2602732" y="272897"/>
                  </a:cubicBezTo>
                  <a:cubicBezTo>
                    <a:pt x="2603470" y="271545"/>
                    <a:pt x="2604207" y="270463"/>
                    <a:pt x="2604945" y="269112"/>
                  </a:cubicBezTo>
                  <a:cubicBezTo>
                    <a:pt x="2605682" y="268030"/>
                    <a:pt x="2606420" y="266949"/>
                    <a:pt x="2607157" y="266137"/>
                  </a:cubicBezTo>
                  <a:lnTo>
                    <a:pt x="2609369" y="263704"/>
                  </a:lnTo>
                  <a:cubicBezTo>
                    <a:pt x="2610844" y="262352"/>
                    <a:pt x="2612319" y="261000"/>
                    <a:pt x="2614039" y="259919"/>
                  </a:cubicBezTo>
                  <a:cubicBezTo>
                    <a:pt x="2615269" y="259107"/>
                    <a:pt x="2616743" y="258296"/>
                    <a:pt x="2617972" y="257756"/>
                  </a:cubicBezTo>
                  <a:cubicBezTo>
                    <a:pt x="2620922" y="256404"/>
                    <a:pt x="2624118" y="255593"/>
                    <a:pt x="2627559" y="255322"/>
                  </a:cubicBezTo>
                  <a:close/>
                  <a:moveTo>
                    <a:pt x="2631061" y="191412"/>
                  </a:moveTo>
                  <a:cubicBezTo>
                    <a:pt x="2625816" y="191412"/>
                    <a:pt x="2621591" y="195573"/>
                    <a:pt x="2621591" y="200686"/>
                  </a:cubicBezTo>
                  <a:cubicBezTo>
                    <a:pt x="2621591" y="204206"/>
                    <a:pt x="2623582" y="207274"/>
                    <a:pt x="2626545" y="208843"/>
                  </a:cubicBezTo>
                  <a:lnTo>
                    <a:pt x="2626545" y="217238"/>
                  </a:lnTo>
                  <a:cubicBezTo>
                    <a:pt x="2626545" y="219688"/>
                    <a:pt x="2628560" y="221661"/>
                    <a:pt x="2631061" y="221661"/>
                  </a:cubicBezTo>
                  <a:cubicBezTo>
                    <a:pt x="2633538" y="221661"/>
                    <a:pt x="2635578" y="219688"/>
                    <a:pt x="2635578" y="217238"/>
                  </a:cubicBezTo>
                  <a:lnTo>
                    <a:pt x="2635578" y="208843"/>
                  </a:lnTo>
                  <a:cubicBezTo>
                    <a:pt x="2638517" y="207274"/>
                    <a:pt x="2640532" y="204206"/>
                    <a:pt x="2640532" y="200686"/>
                  </a:cubicBezTo>
                  <a:cubicBezTo>
                    <a:pt x="2640532" y="195573"/>
                    <a:pt x="2636282" y="191412"/>
                    <a:pt x="2631061" y="191412"/>
                  </a:cubicBezTo>
                  <a:close/>
                  <a:moveTo>
                    <a:pt x="2630799" y="152695"/>
                  </a:moveTo>
                  <a:cubicBezTo>
                    <a:pt x="2625557" y="152695"/>
                    <a:pt x="2621060" y="155882"/>
                    <a:pt x="2619139" y="160424"/>
                  </a:cubicBezTo>
                  <a:lnTo>
                    <a:pt x="2618214" y="165007"/>
                  </a:lnTo>
                  <a:lnTo>
                    <a:pt x="2621454" y="165007"/>
                  </a:lnTo>
                  <a:lnTo>
                    <a:pt x="2639871" y="165007"/>
                  </a:lnTo>
                  <a:lnTo>
                    <a:pt x="2643385" y="165007"/>
                  </a:lnTo>
                  <a:lnTo>
                    <a:pt x="2642460" y="160424"/>
                  </a:lnTo>
                  <a:cubicBezTo>
                    <a:pt x="2640538" y="155882"/>
                    <a:pt x="2636041" y="152695"/>
                    <a:pt x="2630799" y="152695"/>
                  </a:cubicBezTo>
                  <a:close/>
                  <a:moveTo>
                    <a:pt x="2630799" y="140040"/>
                  </a:moveTo>
                  <a:cubicBezTo>
                    <a:pt x="2643030" y="140040"/>
                    <a:pt x="2653235" y="148716"/>
                    <a:pt x="2655595" y="160249"/>
                  </a:cubicBezTo>
                  <a:cubicBezTo>
                    <a:pt x="2655755" y="161835"/>
                    <a:pt x="2655914" y="163421"/>
                    <a:pt x="2656074" y="165007"/>
                  </a:cubicBezTo>
                  <a:lnTo>
                    <a:pt x="2657493" y="165007"/>
                  </a:lnTo>
                  <a:cubicBezTo>
                    <a:pt x="2661062" y="165007"/>
                    <a:pt x="2663946" y="167817"/>
                    <a:pt x="2663946" y="171293"/>
                  </a:cubicBezTo>
                  <a:lnTo>
                    <a:pt x="2663946" y="221015"/>
                  </a:lnTo>
                  <a:cubicBezTo>
                    <a:pt x="2663946" y="224491"/>
                    <a:pt x="2661062" y="227301"/>
                    <a:pt x="2657493" y="227301"/>
                  </a:cubicBezTo>
                  <a:lnTo>
                    <a:pt x="2604106" y="227301"/>
                  </a:lnTo>
                  <a:cubicBezTo>
                    <a:pt x="2600537" y="227301"/>
                    <a:pt x="2597652" y="224491"/>
                    <a:pt x="2597652" y="221015"/>
                  </a:cubicBezTo>
                  <a:lnTo>
                    <a:pt x="2597652" y="171293"/>
                  </a:lnTo>
                  <a:cubicBezTo>
                    <a:pt x="2597652" y="167817"/>
                    <a:pt x="2600537" y="165007"/>
                    <a:pt x="2604106" y="165007"/>
                  </a:cubicBezTo>
                  <a:lnTo>
                    <a:pt x="2604940" y="165007"/>
                  </a:lnTo>
                  <a:lnTo>
                    <a:pt x="2605524" y="165007"/>
                  </a:lnTo>
                  <a:lnTo>
                    <a:pt x="2606004" y="160249"/>
                  </a:lnTo>
                  <a:cubicBezTo>
                    <a:pt x="2608364" y="148716"/>
                    <a:pt x="2618568" y="140040"/>
                    <a:pt x="2630799" y="140040"/>
                  </a:cubicBezTo>
                  <a:close/>
                  <a:moveTo>
                    <a:pt x="33409" y="87186"/>
                  </a:moveTo>
                  <a:cubicBezTo>
                    <a:pt x="28164" y="87186"/>
                    <a:pt x="23938" y="91347"/>
                    <a:pt x="23938" y="96460"/>
                  </a:cubicBezTo>
                  <a:cubicBezTo>
                    <a:pt x="23938" y="99980"/>
                    <a:pt x="25930" y="103048"/>
                    <a:pt x="28892" y="104617"/>
                  </a:cubicBezTo>
                  <a:lnTo>
                    <a:pt x="28892" y="113012"/>
                  </a:lnTo>
                  <a:cubicBezTo>
                    <a:pt x="28892" y="115462"/>
                    <a:pt x="30908" y="117435"/>
                    <a:pt x="33409" y="117435"/>
                  </a:cubicBezTo>
                  <a:cubicBezTo>
                    <a:pt x="35886" y="117435"/>
                    <a:pt x="37926" y="115462"/>
                    <a:pt x="37926" y="113012"/>
                  </a:cubicBezTo>
                  <a:lnTo>
                    <a:pt x="37926" y="104617"/>
                  </a:lnTo>
                  <a:cubicBezTo>
                    <a:pt x="40864" y="103048"/>
                    <a:pt x="42880" y="99980"/>
                    <a:pt x="42880" y="96460"/>
                  </a:cubicBezTo>
                  <a:cubicBezTo>
                    <a:pt x="42880" y="91347"/>
                    <a:pt x="38630" y="87186"/>
                    <a:pt x="33409" y="87186"/>
                  </a:cubicBezTo>
                  <a:close/>
                  <a:moveTo>
                    <a:pt x="2538193" y="79598"/>
                  </a:moveTo>
                  <a:cubicBezTo>
                    <a:pt x="2532948" y="79598"/>
                    <a:pt x="2528723" y="83759"/>
                    <a:pt x="2528723" y="88872"/>
                  </a:cubicBezTo>
                  <a:cubicBezTo>
                    <a:pt x="2528723" y="92392"/>
                    <a:pt x="2530714" y="95460"/>
                    <a:pt x="2533677" y="97029"/>
                  </a:cubicBezTo>
                  <a:lnTo>
                    <a:pt x="2533677" y="105424"/>
                  </a:lnTo>
                  <a:cubicBezTo>
                    <a:pt x="2533677" y="107874"/>
                    <a:pt x="2535692" y="109847"/>
                    <a:pt x="2538193" y="109847"/>
                  </a:cubicBezTo>
                  <a:cubicBezTo>
                    <a:pt x="2540670" y="109847"/>
                    <a:pt x="2542710" y="107874"/>
                    <a:pt x="2542710" y="105424"/>
                  </a:cubicBezTo>
                  <a:lnTo>
                    <a:pt x="2542710" y="97029"/>
                  </a:lnTo>
                  <a:cubicBezTo>
                    <a:pt x="2545649" y="95460"/>
                    <a:pt x="2547664" y="92392"/>
                    <a:pt x="2547664" y="88872"/>
                  </a:cubicBezTo>
                  <a:cubicBezTo>
                    <a:pt x="2547664" y="83759"/>
                    <a:pt x="2543414" y="79598"/>
                    <a:pt x="2538193" y="79598"/>
                  </a:cubicBezTo>
                  <a:close/>
                  <a:moveTo>
                    <a:pt x="2113196" y="79598"/>
                  </a:moveTo>
                  <a:cubicBezTo>
                    <a:pt x="2107951" y="79598"/>
                    <a:pt x="2103726" y="83759"/>
                    <a:pt x="2103726" y="88872"/>
                  </a:cubicBezTo>
                  <a:cubicBezTo>
                    <a:pt x="2103726" y="92392"/>
                    <a:pt x="2105717" y="95460"/>
                    <a:pt x="2108680" y="97029"/>
                  </a:cubicBezTo>
                  <a:lnTo>
                    <a:pt x="2108680" y="105424"/>
                  </a:lnTo>
                  <a:cubicBezTo>
                    <a:pt x="2108680" y="107874"/>
                    <a:pt x="2110695" y="109847"/>
                    <a:pt x="2113196" y="109847"/>
                  </a:cubicBezTo>
                  <a:cubicBezTo>
                    <a:pt x="2115673" y="109847"/>
                    <a:pt x="2117713" y="107874"/>
                    <a:pt x="2117713" y="105424"/>
                  </a:cubicBezTo>
                  <a:lnTo>
                    <a:pt x="2117713" y="97029"/>
                  </a:lnTo>
                  <a:cubicBezTo>
                    <a:pt x="2120652" y="95460"/>
                    <a:pt x="2122667" y="92392"/>
                    <a:pt x="2122667" y="88872"/>
                  </a:cubicBezTo>
                  <a:cubicBezTo>
                    <a:pt x="2122667" y="83759"/>
                    <a:pt x="2118417" y="79598"/>
                    <a:pt x="2113196" y="79598"/>
                  </a:cubicBezTo>
                  <a:close/>
                  <a:moveTo>
                    <a:pt x="1855228" y="79598"/>
                  </a:moveTo>
                  <a:cubicBezTo>
                    <a:pt x="1849983" y="79598"/>
                    <a:pt x="1845758" y="83759"/>
                    <a:pt x="1845758" y="88872"/>
                  </a:cubicBezTo>
                  <a:cubicBezTo>
                    <a:pt x="1845758" y="92392"/>
                    <a:pt x="1847749" y="95460"/>
                    <a:pt x="1850712" y="97029"/>
                  </a:cubicBezTo>
                  <a:lnTo>
                    <a:pt x="1850712" y="105424"/>
                  </a:lnTo>
                  <a:cubicBezTo>
                    <a:pt x="1850712" y="107874"/>
                    <a:pt x="1852727" y="109847"/>
                    <a:pt x="1855228" y="109847"/>
                  </a:cubicBezTo>
                  <a:cubicBezTo>
                    <a:pt x="1857705" y="109847"/>
                    <a:pt x="1859745" y="107874"/>
                    <a:pt x="1859745" y="105424"/>
                  </a:cubicBezTo>
                  <a:lnTo>
                    <a:pt x="1859745" y="97029"/>
                  </a:lnTo>
                  <a:cubicBezTo>
                    <a:pt x="1862684" y="95460"/>
                    <a:pt x="1864699" y="92392"/>
                    <a:pt x="1864699" y="88872"/>
                  </a:cubicBezTo>
                  <a:cubicBezTo>
                    <a:pt x="1864699" y="83759"/>
                    <a:pt x="1860449" y="79598"/>
                    <a:pt x="1855228" y="79598"/>
                  </a:cubicBezTo>
                  <a:close/>
                  <a:moveTo>
                    <a:pt x="1764289" y="79598"/>
                  </a:moveTo>
                  <a:cubicBezTo>
                    <a:pt x="1759044" y="79598"/>
                    <a:pt x="1754819" y="83759"/>
                    <a:pt x="1754819" y="88872"/>
                  </a:cubicBezTo>
                  <a:cubicBezTo>
                    <a:pt x="1754819" y="92392"/>
                    <a:pt x="1756810" y="95460"/>
                    <a:pt x="1759773" y="97029"/>
                  </a:cubicBezTo>
                  <a:lnTo>
                    <a:pt x="1759773" y="105424"/>
                  </a:lnTo>
                  <a:cubicBezTo>
                    <a:pt x="1759773" y="107874"/>
                    <a:pt x="1761788" y="109847"/>
                    <a:pt x="1764289" y="109847"/>
                  </a:cubicBezTo>
                  <a:cubicBezTo>
                    <a:pt x="1766766" y="109847"/>
                    <a:pt x="1768806" y="107874"/>
                    <a:pt x="1768806" y="105424"/>
                  </a:cubicBezTo>
                  <a:lnTo>
                    <a:pt x="1768806" y="97029"/>
                  </a:lnTo>
                  <a:cubicBezTo>
                    <a:pt x="1771745" y="95460"/>
                    <a:pt x="1773760" y="92392"/>
                    <a:pt x="1773760" y="88872"/>
                  </a:cubicBezTo>
                  <a:cubicBezTo>
                    <a:pt x="1773760" y="83759"/>
                    <a:pt x="1769510" y="79598"/>
                    <a:pt x="1764289" y="79598"/>
                  </a:cubicBezTo>
                  <a:close/>
                  <a:moveTo>
                    <a:pt x="1506321" y="79598"/>
                  </a:moveTo>
                  <a:cubicBezTo>
                    <a:pt x="1501076" y="79598"/>
                    <a:pt x="1496851" y="83759"/>
                    <a:pt x="1496851" y="88872"/>
                  </a:cubicBezTo>
                  <a:cubicBezTo>
                    <a:pt x="1496851" y="92392"/>
                    <a:pt x="1498842" y="95460"/>
                    <a:pt x="1501805" y="97029"/>
                  </a:cubicBezTo>
                  <a:lnTo>
                    <a:pt x="1501805" y="105424"/>
                  </a:lnTo>
                  <a:cubicBezTo>
                    <a:pt x="1501805" y="107874"/>
                    <a:pt x="1503820" y="109847"/>
                    <a:pt x="1506321" y="109847"/>
                  </a:cubicBezTo>
                  <a:cubicBezTo>
                    <a:pt x="1508798" y="109847"/>
                    <a:pt x="1510838" y="107874"/>
                    <a:pt x="1510838" y="105424"/>
                  </a:cubicBezTo>
                  <a:lnTo>
                    <a:pt x="1510838" y="97029"/>
                  </a:lnTo>
                  <a:cubicBezTo>
                    <a:pt x="1513777" y="95460"/>
                    <a:pt x="1515792" y="92392"/>
                    <a:pt x="1515792" y="88872"/>
                  </a:cubicBezTo>
                  <a:cubicBezTo>
                    <a:pt x="1515792" y="83759"/>
                    <a:pt x="1511542" y="79598"/>
                    <a:pt x="1506321" y="79598"/>
                  </a:cubicBezTo>
                  <a:close/>
                  <a:moveTo>
                    <a:pt x="1415382" y="79598"/>
                  </a:moveTo>
                  <a:cubicBezTo>
                    <a:pt x="1410137" y="79598"/>
                    <a:pt x="1405912" y="83759"/>
                    <a:pt x="1405912" y="88872"/>
                  </a:cubicBezTo>
                  <a:cubicBezTo>
                    <a:pt x="1405912" y="92392"/>
                    <a:pt x="1407903" y="95460"/>
                    <a:pt x="1410866" y="97029"/>
                  </a:cubicBezTo>
                  <a:lnTo>
                    <a:pt x="1410866" y="105424"/>
                  </a:lnTo>
                  <a:cubicBezTo>
                    <a:pt x="1410866" y="107874"/>
                    <a:pt x="1412881" y="109847"/>
                    <a:pt x="1415382" y="109847"/>
                  </a:cubicBezTo>
                  <a:cubicBezTo>
                    <a:pt x="1417859" y="109847"/>
                    <a:pt x="1419899" y="107874"/>
                    <a:pt x="1419899" y="105424"/>
                  </a:cubicBezTo>
                  <a:lnTo>
                    <a:pt x="1419899" y="97029"/>
                  </a:lnTo>
                  <a:cubicBezTo>
                    <a:pt x="1422838" y="95460"/>
                    <a:pt x="1424853" y="92392"/>
                    <a:pt x="1424853" y="88872"/>
                  </a:cubicBezTo>
                  <a:cubicBezTo>
                    <a:pt x="1424853" y="83759"/>
                    <a:pt x="1420603" y="79598"/>
                    <a:pt x="1415382" y="79598"/>
                  </a:cubicBezTo>
                  <a:close/>
                  <a:moveTo>
                    <a:pt x="1157414" y="79598"/>
                  </a:moveTo>
                  <a:cubicBezTo>
                    <a:pt x="1152169" y="79598"/>
                    <a:pt x="1147944" y="83759"/>
                    <a:pt x="1147944" y="88872"/>
                  </a:cubicBezTo>
                  <a:cubicBezTo>
                    <a:pt x="1147944" y="92392"/>
                    <a:pt x="1149935" y="95460"/>
                    <a:pt x="1152898" y="97029"/>
                  </a:cubicBezTo>
                  <a:lnTo>
                    <a:pt x="1152898" y="105424"/>
                  </a:lnTo>
                  <a:cubicBezTo>
                    <a:pt x="1152898" y="107874"/>
                    <a:pt x="1154913" y="109847"/>
                    <a:pt x="1157414" y="109847"/>
                  </a:cubicBezTo>
                  <a:cubicBezTo>
                    <a:pt x="1159891" y="109847"/>
                    <a:pt x="1161931" y="107874"/>
                    <a:pt x="1161931" y="105424"/>
                  </a:cubicBezTo>
                  <a:lnTo>
                    <a:pt x="1161931" y="97029"/>
                  </a:lnTo>
                  <a:cubicBezTo>
                    <a:pt x="1164870" y="95460"/>
                    <a:pt x="1166885" y="92392"/>
                    <a:pt x="1166885" y="88872"/>
                  </a:cubicBezTo>
                  <a:cubicBezTo>
                    <a:pt x="1166885" y="83759"/>
                    <a:pt x="1162635" y="79598"/>
                    <a:pt x="1157414" y="79598"/>
                  </a:cubicBezTo>
                  <a:close/>
                  <a:moveTo>
                    <a:pt x="732418" y="79598"/>
                  </a:moveTo>
                  <a:cubicBezTo>
                    <a:pt x="727173" y="79598"/>
                    <a:pt x="722947" y="83759"/>
                    <a:pt x="722947" y="88872"/>
                  </a:cubicBezTo>
                  <a:cubicBezTo>
                    <a:pt x="722947" y="92392"/>
                    <a:pt x="724939" y="95460"/>
                    <a:pt x="727901" y="97029"/>
                  </a:cubicBezTo>
                  <a:lnTo>
                    <a:pt x="727901" y="105424"/>
                  </a:lnTo>
                  <a:cubicBezTo>
                    <a:pt x="727901" y="107874"/>
                    <a:pt x="729917" y="109847"/>
                    <a:pt x="732418" y="109847"/>
                  </a:cubicBezTo>
                  <a:cubicBezTo>
                    <a:pt x="734895" y="109847"/>
                    <a:pt x="736935" y="107874"/>
                    <a:pt x="736935" y="105424"/>
                  </a:cubicBezTo>
                  <a:lnTo>
                    <a:pt x="736935" y="97029"/>
                  </a:lnTo>
                  <a:cubicBezTo>
                    <a:pt x="739873" y="95460"/>
                    <a:pt x="741889" y="92392"/>
                    <a:pt x="741889" y="88872"/>
                  </a:cubicBezTo>
                  <a:cubicBezTo>
                    <a:pt x="741889" y="83759"/>
                    <a:pt x="737639" y="79598"/>
                    <a:pt x="732418" y="79598"/>
                  </a:cubicBezTo>
                  <a:close/>
                  <a:moveTo>
                    <a:pt x="641479" y="79598"/>
                  </a:moveTo>
                  <a:cubicBezTo>
                    <a:pt x="636234" y="79598"/>
                    <a:pt x="632008" y="83759"/>
                    <a:pt x="632008" y="88872"/>
                  </a:cubicBezTo>
                  <a:cubicBezTo>
                    <a:pt x="632008" y="92392"/>
                    <a:pt x="634000" y="95460"/>
                    <a:pt x="636962" y="97029"/>
                  </a:cubicBezTo>
                  <a:lnTo>
                    <a:pt x="636962" y="105424"/>
                  </a:lnTo>
                  <a:cubicBezTo>
                    <a:pt x="636962" y="107874"/>
                    <a:pt x="638978" y="109847"/>
                    <a:pt x="641479" y="109847"/>
                  </a:cubicBezTo>
                  <a:cubicBezTo>
                    <a:pt x="643956" y="109847"/>
                    <a:pt x="645996" y="107874"/>
                    <a:pt x="645996" y="105424"/>
                  </a:cubicBezTo>
                  <a:lnTo>
                    <a:pt x="645996" y="97029"/>
                  </a:lnTo>
                  <a:cubicBezTo>
                    <a:pt x="648934" y="95460"/>
                    <a:pt x="650950" y="92392"/>
                    <a:pt x="650950" y="88872"/>
                  </a:cubicBezTo>
                  <a:cubicBezTo>
                    <a:pt x="650950" y="83759"/>
                    <a:pt x="646700" y="79598"/>
                    <a:pt x="641479" y="79598"/>
                  </a:cubicBezTo>
                  <a:close/>
                  <a:moveTo>
                    <a:pt x="459528" y="79598"/>
                  </a:moveTo>
                  <a:cubicBezTo>
                    <a:pt x="454283" y="79598"/>
                    <a:pt x="450057" y="83759"/>
                    <a:pt x="450057" y="88872"/>
                  </a:cubicBezTo>
                  <a:cubicBezTo>
                    <a:pt x="450057" y="92392"/>
                    <a:pt x="452049" y="95460"/>
                    <a:pt x="455011" y="97029"/>
                  </a:cubicBezTo>
                  <a:lnTo>
                    <a:pt x="455011" y="105424"/>
                  </a:lnTo>
                  <a:cubicBezTo>
                    <a:pt x="455011" y="107874"/>
                    <a:pt x="457027" y="109847"/>
                    <a:pt x="459528" y="109847"/>
                  </a:cubicBezTo>
                  <a:cubicBezTo>
                    <a:pt x="462005" y="109847"/>
                    <a:pt x="464045" y="107874"/>
                    <a:pt x="464045" y="105424"/>
                  </a:cubicBezTo>
                  <a:lnTo>
                    <a:pt x="464045" y="97029"/>
                  </a:lnTo>
                  <a:cubicBezTo>
                    <a:pt x="466983" y="95460"/>
                    <a:pt x="468999" y="92392"/>
                    <a:pt x="468999" y="88872"/>
                  </a:cubicBezTo>
                  <a:cubicBezTo>
                    <a:pt x="468999" y="83759"/>
                    <a:pt x="464749" y="79598"/>
                    <a:pt x="459528" y="79598"/>
                  </a:cubicBezTo>
                  <a:close/>
                  <a:moveTo>
                    <a:pt x="2632966" y="52405"/>
                  </a:moveTo>
                  <a:cubicBezTo>
                    <a:pt x="2628788" y="51053"/>
                    <a:pt x="2624855" y="52134"/>
                    <a:pt x="2621414" y="54838"/>
                  </a:cubicBezTo>
                  <a:cubicBezTo>
                    <a:pt x="2620185" y="55920"/>
                    <a:pt x="2619201" y="57001"/>
                    <a:pt x="2618218" y="58353"/>
                  </a:cubicBezTo>
                  <a:cubicBezTo>
                    <a:pt x="2617481" y="59435"/>
                    <a:pt x="2616743" y="60786"/>
                    <a:pt x="2616006" y="62138"/>
                  </a:cubicBezTo>
                  <a:cubicBezTo>
                    <a:pt x="2615514" y="62949"/>
                    <a:pt x="2615269" y="64031"/>
                    <a:pt x="2615023" y="64842"/>
                  </a:cubicBezTo>
                  <a:cubicBezTo>
                    <a:pt x="2614531" y="66194"/>
                    <a:pt x="2614285" y="67546"/>
                    <a:pt x="2614039" y="68898"/>
                  </a:cubicBezTo>
                  <a:cubicBezTo>
                    <a:pt x="2613302" y="71061"/>
                    <a:pt x="2613056" y="73224"/>
                    <a:pt x="2613056" y="75928"/>
                  </a:cubicBezTo>
                  <a:cubicBezTo>
                    <a:pt x="2613056" y="78091"/>
                    <a:pt x="2613302" y="80524"/>
                    <a:pt x="2614039" y="83228"/>
                  </a:cubicBezTo>
                  <a:cubicBezTo>
                    <a:pt x="2614531" y="84580"/>
                    <a:pt x="2614777" y="85661"/>
                    <a:pt x="2615269" y="87013"/>
                  </a:cubicBezTo>
                  <a:cubicBezTo>
                    <a:pt x="2615760" y="88636"/>
                    <a:pt x="2616497" y="89987"/>
                    <a:pt x="2617481" y="91339"/>
                  </a:cubicBezTo>
                  <a:cubicBezTo>
                    <a:pt x="2618464" y="92962"/>
                    <a:pt x="2619693" y="94313"/>
                    <a:pt x="2620922" y="95666"/>
                  </a:cubicBezTo>
                  <a:cubicBezTo>
                    <a:pt x="2622151" y="96747"/>
                    <a:pt x="2623626" y="97829"/>
                    <a:pt x="2625346" y="98369"/>
                  </a:cubicBezTo>
                  <a:cubicBezTo>
                    <a:pt x="2629771" y="99992"/>
                    <a:pt x="2633950" y="99180"/>
                    <a:pt x="2637637" y="95936"/>
                  </a:cubicBezTo>
                  <a:cubicBezTo>
                    <a:pt x="2638866" y="94854"/>
                    <a:pt x="2639849" y="93773"/>
                    <a:pt x="2640832" y="92421"/>
                  </a:cubicBezTo>
                  <a:cubicBezTo>
                    <a:pt x="2641815" y="91069"/>
                    <a:pt x="2642553" y="89717"/>
                    <a:pt x="2643290" y="88095"/>
                  </a:cubicBezTo>
                  <a:cubicBezTo>
                    <a:pt x="2643536" y="87284"/>
                    <a:pt x="2643782" y="86473"/>
                    <a:pt x="2644273" y="85932"/>
                  </a:cubicBezTo>
                  <a:cubicBezTo>
                    <a:pt x="2644765" y="84580"/>
                    <a:pt x="2645257" y="83228"/>
                    <a:pt x="2645502" y="81606"/>
                  </a:cubicBezTo>
                  <a:cubicBezTo>
                    <a:pt x="2646240" y="77009"/>
                    <a:pt x="2646240" y="72413"/>
                    <a:pt x="2645011" y="67816"/>
                  </a:cubicBezTo>
                  <a:cubicBezTo>
                    <a:pt x="2644765" y="66735"/>
                    <a:pt x="2644519" y="65653"/>
                    <a:pt x="2644027" y="64842"/>
                  </a:cubicBezTo>
                  <a:cubicBezTo>
                    <a:pt x="2643536" y="63761"/>
                    <a:pt x="2643290" y="62679"/>
                    <a:pt x="2642799" y="61868"/>
                  </a:cubicBezTo>
                  <a:cubicBezTo>
                    <a:pt x="2642061" y="60786"/>
                    <a:pt x="2641569" y="59435"/>
                    <a:pt x="2640586" y="58353"/>
                  </a:cubicBezTo>
                  <a:cubicBezTo>
                    <a:pt x="2639603" y="57001"/>
                    <a:pt x="2638374" y="55649"/>
                    <a:pt x="2636899" y="54568"/>
                  </a:cubicBezTo>
                  <a:cubicBezTo>
                    <a:pt x="2635670" y="53756"/>
                    <a:pt x="2634441" y="52945"/>
                    <a:pt x="2632966" y="52405"/>
                  </a:cubicBezTo>
                  <a:close/>
                  <a:moveTo>
                    <a:pt x="2451011" y="52405"/>
                  </a:moveTo>
                  <a:cubicBezTo>
                    <a:pt x="2446833" y="51053"/>
                    <a:pt x="2442900" y="52134"/>
                    <a:pt x="2439459" y="54838"/>
                  </a:cubicBezTo>
                  <a:cubicBezTo>
                    <a:pt x="2438230" y="55920"/>
                    <a:pt x="2437246" y="57001"/>
                    <a:pt x="2436263" y="58353"/>
                  </a:cubicBezTo>
                  <a:cubicBezTo>
                    <a:pt x="2435526" y="59435"/>
                    <a:pt x="2434788" y="60786"/>
                    <a:pt x="2434051" y="62138"/>
                  </a:cubicBezTo>
                  <a:cubicBezTo>
                    <a:pt x="2433559" y="62949"/>
                    <a:pt x="2433314" y="64031"/>
                    <a:pt x="2433068" y="64842"/>
                  </a:cubicBezTo>
                  <a:cubicBezTo>
                    <a:pt x="2432576" y="66194"/>
                    <a:pt x="2432330" y="67546"/>
                    <a:pt x="2432084" y="68898"/>
                  </a:cubicBezTo>
                  <a:cubicBezTo>
                    <a:pt x="2431347" y="71061"/>
                    <a:pt x="2431101" y="73224"/>
                    <a:pt x="2431101" y="75928"/>
                  </a:cubicBezTo>
                  <a:cubicBezTo>
                    <a:pt x="2431101" y="78091"/>
                    <a:pt x="2431347" y="80524"/>
                    <a:pt x="2432084" y="83228"/>
                  </a:cubicBezTo>
                  <a:cubicBezTo>
                    <a:pt x="2432576" y="84580"/>
                    <a:pt x="2432822" y="85661"/>
                    <a:pt x="2433314" y="87013"/>
                  </a:cubicBezTo>
                  <a:cubicBezTo>
                    <a:pt x="2433805" y="88636"/>
                    <a:pt x="2434542" y="89987"/>
                    <a:pt x="2435526" y="91339"/>
                  </a:cubicBezTo>
                  <a:cubicBezTo>
                    <a:pt x="2436509" y="92962"/>
                    <a:pt x="2437738" y="94313"/>
                    <a:pt x="2438967" y="95666"/>
                  </a:cubicBezTo>
                  <a:cubicBezTo>
                    <a:pt x="2440196" y="96747"/>
                    <a:pt x="2441671" y="97829"/>
                    <a:pt x="2443391" y="98369"/>
                  </a:cubicBezTo>
                  <a:cubicBezTo>
                    <a:pt x="2447816" y="99992"/>
                    <a:pt x="2451995" y="99180"/>
                    <a:pt x="2455682" y="95936"/>
                  </a:cubicBezTo>
                  <a:cubicBezTo>
                    <a:pt x="2456911" y="94854"/>
                    <a:pt x="2457894" y="93773"/>
                    <a:pt x="2458877" y="92421"/>
                  </a:cubicBezTo>
                  <a:cubicBezTo>
                    <a:pt x="2459860" y="91069"/>
                    <a:pt x="2460598" y="89717"/>
                    <a:pt x="2461335" y="88095"/>
                  </a:cubicBezTo>
                  <a:cubicBezTo>
                    <a:pt x="2461581" y="87284"/>
                    <a:pt x="2461827" y="86473"/>
                    <a:pt x="2462318" y="85932"/>
                  </a:cubicBezTo>
                  <a:cubicBezTo>
                    <a:pt x="2462810" y="84580"/>
                    <a:pt x="2463302" y="83228"/>
                    <a:pt x="2463547" y="81606"/>
                  </a:cubicBezTo>
                  <a:cubicBezTo>
                    <a:pt x="2464285" y="77009"/>
                    <a:pt x="2464285" y="72413"/>
                    <a:pt x="2463056" y="67816"/>
                  </a:cubicBezTo>
                  <a:cubicBezTo>
                    <a:pt x="2462810" y="66735"/>
                    <a:pt x="2462564" y="65653"/>
                    <a:pt x="2462072" y="64842"/>
                  </a:cubicBezTo>
                  <a:cubicBezTo>
                    <a:pt x="2461581" y="63761"/>
                    <a:pt x="2461335" y="62679"/>
                    <a:pt x="2460844" y="61868"/>
                  </a:cubicBezTo>
                  <a:cubicBezTo>
                    <a:pt x="2460106" y="60786"/>
                    <a:pt x="2459614" y="59435"/>
                    <a:pt x="2458631" y="58353"/>
                  </a:cubicBezTo>
                  <a:cubicBezTo>
                    <a:pt x="2457648" y="57001"/>
                    <a:pt x="2456419" y="55649"/>
                    <a:pt x="2454944" y="54568"/>
                  </a:cubicBezTo>
                  <a:cubicBezTo>
                    <a:pt x="2453715" y="53756"/>
                    <a:pt x="2452486" y="52945"/>
                    <a:pt x="2451011" y="52405"/>
                  </a:cubicBezTo>
                  <a:close/>
                  <a:moveTo>
                    <a:pt x="2207965" y="52405"/>
                  </a:moveTo>
                  <a:cubicBezTo>
                    <a:pt x="2203787" y="51053"/>
                    <a:pt x="2199854" y="52134"/>
                    <a:pt x="2196413" y="54838"/>
                  </a:cubicBezTo>
                  <a:cubicBezTo>
                    <a:pt x="2195184" y="55920"/>
                    <a:pt x="2194200" y="57001"/>
                    <a:pt x="2193217" y="58353"/>
                  </a:cubicBezTo>
                  <a:cubicBezTo>
                    <a:pt x="2192480" y="59435"/>
                    <a:pt x="2191742" y="60786"/>
                    <a:pt x="2191005" y="62138"/>
                  </a:cubicBezTo>
                  <a:cubicBezTo>
                    <a:pt x="2190513" y="62949"/>
                    <a:pt x="2190268" y="64031"/>
                    <a:pt x="2190022" y="64842"/>
                  </a:cubicBezTo>
                  <a:cubicBezTo>
                    <a:pt x="2189530" y="66194"/>
                    <a:pt x="2189284" y="67546"/>
                    <a:pt x="2189038" y="68898"/>
                  </a:cubicBezTo>
                  <a:cubicBezTo>
                    <a:pt x="2188301" y="71061"/>
                    <a:pt x="2188055" y="73224"/>
                    <a:pt x="2188055" y="75928"/>
                  </a:cubicBezTo>
                  <a:cubicBezTo>
                    <a:pt x="2188055" y="78091"/>
                    <a:pt x="2188301" y="80524"/>
                    <a:pt x="2189038" y="83228"/>
                  </a:cubicBezTo>
                  <a:cubicBezTo>
                    <a:pt x="2189530" y="84580"/>
                    <a:pt x="2189776" y="85661"/>
                    <a:pt x="2190268" y="87013"/>
                  </a:cubicBezTo>
                  <a:cubicBezTo>
                    <a:pt x="2190759" y="88636"/>
                    <a:pt x="2191496" y="89987"/>
                    <a:pt x="2192480" y="91339"/>
                  </a:cubicBezTo>
                  <a:cubicBezTo>
                    <a:pt x="2193463" y="92962"/>
                    <a:pt x="2194692" y="94313"/>
                    <a:pt x="2195921" y="95666"/>
                  </a:cubicBezTo>
                  <a:cubicBezTo>
                    <a:pt x="2197150" y="96747"/>
                    <a:pt x="2198625" y="97829"/>
                    <a:pt x="2200345" y="98369"/>
                  </a:cubicBezTo>
                  <a:cubicBezTo>
                    <a:pt x="2204770" y="99992"/>
                    <a:pt x="2208949" y="99180"/>
                    <a:pt x="2212636" y="95936"/>
                  </a:cubicBezTo>
                  <a:cubicBezTo>
                    <a:pt x="2213865" y="94854"/>
                    <a:pt x="2214848" y="93773"/>
                    <a:pt x="2215831" y="92421"/>
                  </a:cubicBezTo>
                  <a:cubicBezTo>
                    <a:pt x="2216814" y="91069"/>
                    <a:pt x="2217552" y="89717"/>
                    <a:pt x="2218289" y="88095"/>
                  </a:cubicBezTo>
                  <a:cubicBezTo>
                    <a:pt x="2218535" y="87284"/>
                    <a:pt x="2218781" y="86473"/>
                    <a:pt x="2219272" y="85932"/>
                  </a:cubicBezTo>
                  <a:cubicBezTo>
                    <a:pt x="2219764" y="84580"/>
                    <a:pt x="2220256" y="83228"/>
                    <a:pt x="2220501" y="81606"/>
                  </a:cubicBezTo>
                  <a:cubicBezTo>
                    <a:pt x="2221239" y="77009"/>
                    <a:pt x="2221239" y="72413"/>
                    <a:pt x="2220010" y="67816"/>
                  </a:cubicBezTo>
                  <a:cubicBezTo>
                    <a:pt x="2219764" y="66735"/>
                    <a:pt x="2219518" y="65653"/>
                    <a:pt x="2219026" y="64842"/>
                  </a:cubicBezTo>
                  <a:cubicBezTo>
                    <a:pt x="2218535" y="63761"/>
                    <a:pt x="2218289" y="62679"/>
                    <a:pt x="2217798" y="61868"/>
                  </a:cubicBezTo>
                  <a:cubicBezTo>
                    <a:pt x="2217060" y="60786"/>
                    <a:pt x="2216568" y="59435"/>
                    <a:pt x="2215585" y="58353"/>
                  </a:cubicBezTo>
                  <a:cubicBezTo>
                    <a:pt x="2214602" y="57001"/>
                    <a:pt x="2213373" y="55649"/>
                    <a:pt x="2211898" y="54568"/>
                  </a:cubicBezTo>
                  <a:cubicBezTo>
                    <a:pt x="2210669" y="53756"/>
                    <a:pt x="2209440" y="52945"/>
                    <a:pt x="2207965" y="52405"/>
                  </a:cubicBezTo>
                  <a:close/>
                  <a:moveTo>
                    <a:pt x="2026014" y="52405"/>
                  </a:moveTo>
                  <a:cubicBezTo>
                    <a:pt x="2021836" y="51053"/>
                    <a:pt x="2017903" y="52134"/>
                    <a:pt x="2014462" y="54838"/>
                  </a:cubicBezTo>
                  <a:cubicBezTo>
                    <a:pt x="2013233" y="55920"/>
                    <a:pt x="2012249" y="57001"/>
                    <a:pt x="2011266" y="58353"/>
                  </a:cubicBezTo>
                  <a:cubicBezTo>
                    <a:pt x="2010529" y="59435"/>
                    <a:pt x="2009791" y="60786"/>
                    <a:pt x="2009054" y="62138"/>
                  </a:cubicBezTo>
                  <a:cubicBezTo>
                    <a:pt x="2008562" y="62949"/>
                    <a:pt x="2008317" y="64031"/>
                    <a:pt x="2008071" y="64842"/>
                  </a:cubicBezTo>
                  <a:cubicBezTo>
                    <a:pt x="2007579" y="66194"/>
                    <a:pt x="2007333" y="67546"/>
                    <a:pt x="2007087" y="68898"/>
                  </a:cubicBezTo>
                  <a:cubicBezTo>
                    <a:pt x="2006350" y="71061"/>
                    <a:pt x="2006104" y="73224"/>
                    <a:pt x="2006104" y="75928"/>
                  </a:cubicBezTo>
                  <a:cubicBezTo>
                    <a:pt x="2006104" y="78091"/>
                    <a:pt x="2006350" y="80524"/>
                    <a:pt x="2007087" y="83228"/>
                  </a:cubicBezTo>
                  <a:cubicBezTo>
                    <a:pt x="2007579" y="84580"/>
                    <a:pt x="2007825" y="85661"/>
                    <a:pt x="2008317" y="87013"/>
                  </a:cubicBezTo>
                  <a:cubicBezTo>
                    <a:pt x="2008808" y="88636"/>
                    <a:pt x="2009545" y="89987"/>
                    <a:pt x="2010529" y="91339"/>
                  </a:cubicBezTo>
                  <a:cubicBezTo>
                    <a:pt x="2011512" y="92962"/>
                    <a:pt x="2012741" y="94313"/>
                    <a:pt x="2013970" y="95666"/>
                  </a:cubicBezTo>
                  <a:cubicBezTo>
                    <a:pt x="2015199" y="96747"/>
                    <a:pt x="2016674" y="97829"/>
                    <a:pt x="2018394" y="98369"/>
                  </a:cubicBezTo>
                  <a:cubicBezTo>
                    <a:pt x="2022819" y="99992"/>
                    <a:pt x="2026998" y="99180"/>
                    <a:pt x="2030685" y="95936"/>
                  </a:cubicBezTo>
                  <a:cubicBezTo>
                    <a:pt x="2031914" y="94854"/>
                    <a:pt x="2032897" y="93773"/>
                    <a:pt x="2033880" y="92421"/>
                  </a:cubicBezTo>
                  <a:cubicBezTo>
                    <a:pt x="2034863" y="91069"/>
                    <a:pt x="2035601" y="89717"/>
                    <a:pt x="2036338" y="88095"/>
                  </a:cubicBezTo>
                  <a:cubicBezTo>
                    <a:pt x="2036584" y="87284"/>
                    <a:pt x="2036830" y="86473"/>
                    <a:pt x="2037321" y="85932"/>
                  </a:cubicBezTo>
                  <a:cubicBezTo>
                    <a:pt x="2037813" y="84580"/>
                    <a:pt x="2038305" y="83228"/>
                    <a:pt x="2038550" y="81606"/>
                  </a:cubicBezTo>
                  <a:cubicBezTo>
                    <a:pt x="2039288" y="77009"/>
                    <a:pt x="2039288" y="72413"/>
                    <a:pt x="2038059" y="67816"/>
                  </a:cubicBezTo>
                  <a:cubicBezTo>
                    <a:pt x="2037813" y="66735"/>
                    <a:pt x="2037567" y="65653"/>
                    <a:pt x="2037075" y="64842"/>
                  </a:cubicBezTo>
                  <a:cubicBezTo>
                    <a:pt x="2036584" y="63761"/>
                    <a:pt x="2036338" y="62679"/>
                    <a:pt x="2035847" y="61868"/>
                  </a:cubicBezTo>
                  <a:cubicBezTo>
                    <a:pt x="2035109" y="60786"/>
                    <a:pt x="2034617" y="59435"/>
                    <a:pt x="2033634" y="58353"/>
                  </a:cubicBezTo>
                  <a:cubicBezTo>
                    <a:pt x="2032651" y="57001"/>
                    <a:pt x="2031422" y="55649"/>
                    <a:pt x="2029947" y="54568"/>
                  </a:cubicBezTo>
                  <a:cubicBezTo>
                    <a:pt x="2028718" y="53756"/>
                    <a:pt x="2027489" y="52945"/>
                    <a:pt x="2026014" y="52405"/>
                  </a:cubicBezTo>
                  <a:close/>
                  <a:moveTo>
                    <a:pt x="1601090" y="52405"/>
                  </a:moveTo>
                  <a:cubicBezTo>
                    <a:pt x="1596912" y="51053"/>
                    <a:pt x="1592979" y="52134"/>
                    <a:pt x="1589537" y="54838"/>
                  </a:cubicBezTo>
                  <a:cubicBezTo>
                    <a:pt x="1588309" y="55920"/>
                    <a:pt x="1587325" y="57001"/>
                    <a:pt x="1586342" y="58353"/>
                  </a:cubicBezTo>
                  <a:cubicBezTo>
                    <a:pt x="1585605" y="59435"/>
                    <a:pt x="1584867" y="60786"/>
                    <a:pt x="1584130" y="62138"/>
                  </a:cubicBezTo>
                  <a:cubicBezTo>
                    <a:pt x="1583638" y="62949"/>
                    <a:pt x="1583393" y="64031"/>
                    <a:pt x="1583147" y="64842"/>
                  </a:cubicBezTo>
                  <a:cubicBezTo>
                    <a:pt x="1582655" y="66194"/>
                    <a:pt x="1582409" y="67546"/>
                    <a:pt x="1582163" y="68898"/>
                  </a:cubicBezTo>
                  <a:cubicBezTo>
                    <a:pt x="1581426" y="71061"/>
                    <a:pt x="1581180" y="73224"/>
                    <a:pt x="1581180" y="75928"/>
                  </a:cubicBezTo>
                  <a:cubicBezTo>
                    <a:pt x="1581180" y="78091"/>
                    <a:pt x="1581426" y="80524"/>
                    <a:pt x="1582163" y="83228"/>
                  </a:cubicBezTo>
                  <a:cubicBezTo>
                    <a:pt x="1582655" y="84580"/>
                    <a:pt x="1582901" y="85661"/>
                    <a:pt x="1583393" y="87013"/>
                  </a:cubicBezTo>
                  <a:cubicBezTo>
                    <a:pt x="1583884" y="88636"/>
                    <a:pt x="1584621" y="89987"/>
                    <a:pt x="1585605" y="91339"/>
                  </a:cubicBezTo>
                  <a:cubicBezTo>
                    <a:pt x="1586588" y="92962"/>
                    <a:pt x="1587817" y="94313"/>
                    <a:pt x="1589046" y="95666"/>
                  </a:cubicBezTo>
                  <a:cubicBezTo>
                    <a:pt x="1590275" y="96747"/>
                    <a:pt x="1591750" y="97829"/>
                    <a:pt x="1593470" y="98369"/>
                  </a:cubicBezTo>
                  <a:cubicBezTo>
                    <a:pt x="1597895" y="99992"/>
                    <a:pt x="1602074" y="99180"/>
                    <a:pt x="1605761" y="95936"/>
                  </a:cubicBezTo>
                  <a:cubicBezTo>
                    <a:pt x="1606990" y="94854"/>
                    <a:pt x="1607973" y="93773"/>
                    <a:pt x="1608956" y="92421"/>
                  </a:cubicBezTo>
                  <a:cubicBezTo>
                    <a:pt x="1609939" y="91069"/>
                    <a:pt x="1610677" y="89717"/>
                    <a:pt x="1611414" y="88095"/>
                  </a:cubicBezTo>
                  <a:cubicBezTo>
                    <a:pt x="1611660" y="87284"/>
                    <a:pt x="1611906" y="86473"/>
                    <a:pt x="1612397" y="85932"/>
                  </a:cubicBezTo>
                  <a:cubicBezTo>
                    <a:pt x="1612889" y="84580"/>
                    <a:pt x="1613381" y="83228"/>
                    <a:pt x="1613626" y="81606"/>
                  </a:cubicBezTo>
                  <a:cubicBezTo>
                    <a:pt x="1614364" y="77009"/>
                    <a:pt x="1614364" y="72413"/>
                    <a:pt x="1613135" y="67816"/>
                  </a:cubicBezTo>
                  <a:cubicBezTo>
                    <a:pt x="1612889" y="66735"/>
                    <a:pt x="1612643" y="65653"/>
                    <a:pt x="1612151" y="64842"/>
                  </a:cubicBezTo>
                  <a:cubicBezTo>
                    <a:pt x="1611660" y="63761"/>
                    <a:pt x="1611414" y="62679"/>
                    <a:pt x="1610923" y="61868"/>
                  </a:cubicBezTo>
                  <a:cubicBezTo>
                    <a:pt x="1610185" y="60786"/>
                    <a:pt x="1609693" y="59435"/>
                    <a:pt x="1608710" y="58353"/>
                  </a:cubicBezTo>
                  <a:cubicBezTo>
                    <a:pt x="1607727" y="57001"/>
                    <a:pt x="1606498" y="55649"/>
                    <a:pt x="1605023" y="54568"/>
                  </a:cubicBezTo>
                  <a:cubicBezTo>
                    <a:pt x="1603794" y="53756"/>
                    <a:pt x="1602565" y="52945"/>
                    <a:pt x="1601090" y="52405"/>
                  </a:cubicBezTo>
                  <a:close/>
                  <a:moveTo>
                    <a:pt x="1252183" y="52405"/>
                  </a:moveTo>
                  <a:cubicBezTo>
                    <a:pt x="1248005" y="51053"/>
                    <a:pt x="1244072" y="52134"/>
                    <a:pt x="1240630" y="54838"/>
                  </a:cubicBezTo>
                  <a:cubicBezTo>
                    <a:pt x="1239402" y="55920"/>
                    <a:pt x="1238418" y="57001"/>
                    <a:pt x="1237435" y="58353"/>
                  </a:cubicBezTo>
                  <a:cubicBezTo>
                    <a:pt x="1236698" y="59435"/>
                    <a:pt x="1235960" y="60786"/>
                    <a:pt x="1235223" y="62138"/>
                  </a:cubicBezTo>
                  <a:cubicBezTo>
                    <a:pt x="1234731" y="62949"/>
                    <a:pt x="1234486" y="64031"/>
                    <a:pt x="1234240" y="64842"/>
                  </a:cubicBezTo>
                  <a:cubicBezTo>
                    <a:pt x="1233748" y="66194"/>
                    <a:pt x="1233502" y="67546"/>
                    <a:pt x="1233256" y="68898"/>
                  </a:cubicBezTo>
                  <a:cubicBezTo>
                    <a:pt x="1232519" y="71061"/>
                    <a:pt x="1232273" y="73224"/>
                    <a:pt x="1232273" y="75928"/>
                  </a:cubicBezTo>
                  <a:cubicBezTo>
                    <a:pt x="1232273" y="78091"/>
                    <a:pt x="1232519" y="80524"/>
                    <a:pt x="1233256" y="83228"/>
                  </a:cubicBezTo>
                  <a:cubicBezTo>
                    <a:pt x="1233748" y="84580"/>
                    <a:pt x="1233994" y="85661"/>
                    <a:pt x="1234486" y="87013"/>
                  </a:cubicBezTo>
                  <a:cubicBezTo>
                    <a:pt x="1234977" y="88636"/>
                    <a:pt x="1235714" y="89987"/>
                    <a:pt x="1236698" y="91339"/>
                  </a:cubicBezTo>
                  <a:cubicBezTo>
                    <a:pt x="1237681" y="92962"/>
                    <a:pt x="1238910" y="94313"/>
                    <a:pt x="1240139" y="95666"/>
                  </a:cubicBezTo>
                  <a:cubicBezTo>
                    <a:pt x="1241368" y="96747"/>
                    <a:pt x="1242843" y="97829"/>
                    <a:pt x="1244563" y="98369"/>
                  </a:cubicBezTo>
                  <a:cubicBezTo>
                    <a:pt x="1248988" y="99992"/>
                    <a:pt x="1253167" y="99180"/>
                    <a:pt x="1256854" y="95936"/>
                  </a:cubicBezTo>
                  <a:cubicBezTo>
                    <a:pt x="1258083" y="94854"/>
                    <a:pt x="1259066" y="93773"/>
                    <a:pt x="1260049" y="92421"/>
                  </a:cubicBezTo>
                  <a:cubicBezTo>
                    <a:pt x="1261032" y="91069"/>
                    <a:pt x="1261770" y="89717"/>
                    <a:pt x="1262507" y="88095"/>
                  </a:cubicBezTo>
                  <a:cubicBezTo>
                    <a:pt x="1262753" y="87284"/>
                    <a:pt x="1262999" y="86473"/>
                    <a:pt x="1263490" y="85932"/>
                  </a:cubicBezTo>
                  <a:cubicBezTo>
                    <a:pt x="1263982" y="84580"/>
                    <a:pt x="1264474" y="83228"/>
                    <a:pt x="1264719" y="81606"/>
                  </a:cubicBezTo>
                  <a:cubicBezTo>
                    <a:pt x="1265457" y="77009"/>
                    <a:pt x="1265457" y="72413"/>
                    <a:pt x="1264228" y="67816"/>
                  </a:cubicBezTo>
                  <a:cubicBezTo>
                    <a:pt x="1263982" y="66735"/>
                    <a:pt x="1263736" y="65653"/>
                    <a:pt x="1263244" y="64842"/>
                  </a:cubicBezTo>
                  <a:cubicBezTo>
                    <a:pt x="1262753" y="63761"/>
                    <a:pt x="1262507" y="62679"/>
                    <a:pt x="1262016" y="61868"/>
                  </a:cubicBezTo>
                  <a:cubicBezTo>
                    <a:pt x="1261278" y="60786"/>
                    <a:pt x="1260786" y="59435"/>
                    <a:pt x="1259803" y="58353"/>
                  </a:cubicBezTo>
                  <a:cubicBezTo>
                    <a:pt x="1258820" y="57001"/>
                    <a:pt x="1257591" y="55649"/>
                    <a:pt x="1256116" y="54568"/>
                  </a:cubicBezTo>
                  <a:cubicBezTo>
                    <a:pt x="1254887" y="53756"/>
                    <a:pt x="1253658" y="52945"/>
                    <a:pt x="1252183" y="52405"/>
                  </a:cubicBezTo>
                  <a:close/>
                  <a:moveTo>
                    <a:pt x="1070232" y="52405"/>
                  </a:moveTo>
                  <a:cubicBezTo>
                    <a:pt x="1066054" y="51053"/>
                    <a:pt x="1062121" y="52134"/>
                    <a:pt x="1058679" y="54838"/>
                  </a:cubicBezTo>
                  <a:cubicBezTo>
                    <a:pt x="1057451" y="55920"/>
                    <a:pt x="1056467" y="57001"/>
                    <a:pt x="1055484" y="58353"/>
                  </a:cubicBezTo>
                  <a:cubicBezTo>
                    <a:pt x="1054747" y="59435"/>
                    <a:pt x="1054009" y="60786"/>
                    <a:pt x="1053272" y="62138"/>
                  </a:cubicBezTo>
                  <a:cubicBezTo>
                    <a:pt x="1052780" y="62949"/>
                    <a:pt x="1052535" y="64031"/>
                    <a:pt x="1052289" y="64842"/>
                  </a:cubicBezTo>
                  <a:cubicBezTo>
                    <a:pt x="1051797" y="66194"/>
                    <a:pt x="1051551" y="67546"/>
                    <a:pt x="1051305" y="68898"/>
                  </a:cubicBezTo>
                  <a:cubicBezTo>
                    <a:pt x="1050568" y="71061"/>
                    <a:pt x="1050322" y="73224"/>
                    <a:pt x="1050322" y="75928"/>
                  </a:cubicBezTo>
                  <a:cubicBezTo>
                    <a:pt x="1050322" y="78091"/>
                    <a:pt x="1050568" y="80524"/>
                    <a:pt x="1051305" y="83228"/>
                  </a:cubicBezTo>
                  <a:cubicBezTo>
                    <a:pt x="1051797" y="84580"/>
                    <a:pt x="1052043" y="85661"/>
                    <a:pt x="1052535" y="87013"/>
                  </a:cubicBezTo>
                  <a:cubicBezTo>
                    <a:pt x="1053026" y="88636"/>
                    <a:pt x="1053763" y="89987"/>
                    <a:pt x="1054747" y="91339"/>
                  </a:cubicBezTo>
                  <a:cubicBezTo>
                    <a:pt x="1055730" y="92962"/>
                    <a:pt x="1056959" y="94313"/>
                    <a:pt x="1058188" y="95666"/>
                  </a:cubicBezTo>
                  <a:cubicBezTo>
                    <a:pt x="1059417" y="96747"/>
                    <a:pt x="1060892" y="97829"/>
                    <a:pt x="1062612" y="98369"/>
                  </a:cubicBezTo>
                  <a:cubicBezTo>
                    <a:pt x="1067037" y="99992"/>
                    <a:pt x="1071216" y="99180"/>
                    <a:pt x="1074903" y="95936"/>
                  </a:cubicBezTo>
                  <a:cubicBezTo>
                    <a:pt x="1076132" y="94854"/>
                    <a:pt x="1077115" y="93773"/>
                    <a:pt x="1078098" y="92421"/>
                  </a:cubicBezTo>
                  <a:cubicBezTo>
                    <a:pt x="1079081" y="91069"/>
                    <a:pt x="1079819" y="89717"/>
                    <a:pt x="1080556" y="88095"/>
                  </a:cubicBezTo>
                  <a:cubicBezTo>
                    <a:pt x="1080802" y="87284"/>
                    <a:pt x="1081048" y="86473"/>
                    <a:pt x="1081539" y="85932"/>
                  </a:cubicBezTo>
                  <a:cubicBezTo>
                    <a:pt x="1082031" y="84580"/>
                    <a:pt x="1082523" y="83228"/>
                    <a:pt x="1082768" y="81606"/>
                  </a:cubicBezTo>
                  <a:cubicBezTo>
                    <a:pt x="1083506" y="77009"/>
                    <a:pt x="1083506" y="72413"/>
                    <a:pt x="1082277" y="67816"/>
                  </a:cubicBezTo>
                  <a:cubicBezTo>
                    <a:pt x="1082031" y="66735"/>
                    <a:pt x="1081785" y="65653"/>
                    <a:pt x="1081293" y="64842"/>
                  </a:cubicBezTo>
                  <a:cubicBezTo>
                    <a:pt x="1080802" y="63761"/>
                    <a:pt x="1080556" y="62679"/>
                    <a:pt x="1080065" y="61868"/>
                  </a:cubicBezTo>
                  <a:cubicBezTo>
                    <a:pt x="1079327" y="60786"/>
                    <a:pt x="1078835" y="59435"/>
                    <a:pt x="1077852" y="58353"/>
                  </a:cubicBezTo>
                  <a:cubicBezTo>
                    <a:pt x="1076869" y="57001"/>
                    <a:pt x="1075640" y="55649"/>
                    <a:pt x="1074165" y="54568"/>
                  </a:cubicBezTo>
                  <a:cubicBezTo>
                    <a:pt x="1072936" y="53756"/>
                    <a:pt x="1071707" y="52945"/>
                    <a:pt x="1070232" y="52405"/>
                  </a:cubicBezTo>
                  <a:close/>
                  <a:moveTo>
                    <a:pt x="903203" y="52405"/>
                  </a:moveTo>
                  <a:cubicBezTo>
                    <a:pt x="899025" y="51053"/>
                    <a:pt x="895092" y="52134"/>
                    <a:pt x="891650" y="54838"/>
                  </a:cubicBezTo>
                  <a:cubicBezTo>
                    <a:pt x="890422" y="55920"/>
                    <a:pt x="889438" y="57001"/>
                    <a:pt x="888455" y="58353"/>
                  </a:cubicBezTo>
                  <a:cubicBezTo>
                    <a:pt x="887718" y="59435"/>
                    <a:pt x="886980" y="60786"/>
                    <a:pt x="886243" y="62138"/>
                  </a:cubicBezTo>
                  <a:cubicBezTo>
                    <a:pt x="885751" y="62949"/>
                    <a:pt x="885506" y="64031"/>
                    <a:pt x="885260" y="64842"/>
                  </a:cubicBezTo>
                  <a:cubicBezTo>
                    <a:pt x="884768" y="66194"/>
                    <a:pt x="884522" y="67546"/>
                    <a:pt x="884276" y="68898"/>
                  </a:cubicBezTo>
                  <a:cubicBezTo>
                    <a:pt x="883539" y="71061"/>
                    <a:pt x="883293" y="73224"/>
                    <a:pt x="883293" y="75928"/>
                  </a:cubicBezTo>
                  <a:cubicBezTo>
                    <a:pt x="883293" y="78091"/>
                    <a:pt x="883539" y="80524"/>
                    <a:pt x="884276" y="83228"/>
                  </a:cubicBezTo>
                  <a:cubicBezTo>
                    <a:pt x="884768" y="84580"/>
                    <a:pt x="885014" y="85661"/>
                    <a:pt x="885506" y="87013"/>
                  </a:cubicBezTo>
                  <a:cubicBezTo>
                    <a:pt x="885997" y="88636"/>
                    <a:pt x="886734" y="89987"/>
                    <a:pt x="887718" y="91339"/>
                  </a:cubicBezTo>
                  <a:cubicBezTo>
                    <a:pt x="888701" y="92962"/>
                    <a:pt x="889930" y="94313"/>
                    <a:pt x="891159" y="95666"/>
                  </a:cubicBezTo>
                  <a:cubicBezTo>
                    <a:pt x="892388" y="96747"/>
                    <a:pt x="893863" y="97829"/>
                    <a:pt x="895583" y="98369"/>
                  </a:cubicBezTo>
                  <a:cubicBezTo>
                    <a:pt x="900008" y="99992"/>
                    <a:pt x="904187" y="99180"/>
                    <a:pt x="907874" y="95936"/>
                  </a:cubicBezTo>
                  <a:cubicBezTo>
                    <a:pt x="909103" y="94854"/>
                    <a:pt x="910086" y="93773"/>
                    <a:pt x="911069" y="92421"/>
                  </a:cubicBezTo>
                  <a:cubicBezTo>
                    <a:pt x="912052" y="91069"/>
                    <a:pt x="912790" y="89717"/>
                    <a:pt x="913527" y="88095"/>
                  </a:cubicBezTo>
                  <a:cubicBezTo>
                    <a:pt x="913773" y="87284"/>
                    <a:pt x="914019" y="86473"/>
                    <a:pt x="914510" y="85932"/>
                  </a:cubicBezTo>
                  <a:cubicBezTo>
                    <a:pt x="915002" y="84580"/>
                    <a:pt x="915494" y="83228"/>
                    <a:pt x="915739" y="81606"/>
                  </a:cubicBezTo>
                  <a:cubicBezTo>
                    <a:pt x="916477" y="77009"/>
                    <a:pt x="916477" y="72413"/>
                    <a:pt x="915248" y="67816"/>
                  </a:cubicBezTo>
                  <a:cubicBezTo>
                    <a:pt x="915002" y="66735"/>
                    <a:pt x="914756" y="65653"/>
                    <a:pt x="914264" y="64842"/>
                  </a:cubicBezTo>
                  <a:cubicBezTo>
                    <a:pt x="913773" y="63761"/>
                    <a:pt x="913527" y="62679"/>
                    <a:pt x="913036" y="61868"/>
                  </a:cubicBezTo>
                  <a:cubicBezTo>
                    <a:pt x="912298" y="60786"/>
                    <a:pt x="911806" y="59435"/>
                    <a:pt x="910823" y="58353"/>
                  </a:cubicBezTo>
                  <a:cubicBezTo>
                    <a:pt x="909840" y="57001"/>
                    <a:pt x="908611" y="55649"/>
                    <a:pt x="907136" y="54568"/>
                  </a:cubicBezTo>
                  <a:cubicBezTo>
                    <a:pt x="905907" y="53756"/>
                    <a:pt x="904678" y="52945"/>
                    <a:pt x="903203" y="52405"/>
                  </a:cubicBezTo>
                  <a:close/>
                  <a:moveTo>
                    <a:pt x="554297" y="52405"/>
                  </a:moveTo>
                  <a:cubicBezTo>
                    <a:pt x="550118" y="51053"/>
                    <a:pt x="546186" y="52134"/>
                    <a:pt x="542744" y="54838"/>
                  </a:cubicBezTo>
                  <a:cubicBezTo>
                    <a:pt x="541515" y="55920"/>
                    <a:pt x="540532" y="57001"/>
                    <a:pt x="539549" y="58353"/>
                  </a:cubicBezTo>
                  <a:cubicBezTo>
                    <a:pt x="538811" y="59435"/>
                    <a:pt x="538074" y="60786"/>
                    <a:pt x="537337" y="62138"/>
                  </a:cubicBezTo>
                  <a:cubicBezTo>
                    <a:pt x="536845" y="62949"/>
                    <a:pt x="536599" y="64031"/>
                    <a:pt x="536353" y="64842"/>
                  </a:cubicBezTo>
                  <a:cubicBezTo>
                    <a:pt x="535862" y="66194"/>
                    <a:pt x="535616" y="67546"/>
                    <a:pt x="535370" y="68898"/>
                  </a:cubicBezTo>
                  <a:cubicBezTo>
                    <a:pt x="534633" y="71061"/>
                    <a:pt x="534387" y="73224"/>
                    <a:pt x="534387" y="75928"/>
                  </a:cubicBezTo>
                  <a:cubicBezTo>
                    <a:pt x="534387" y="78091"/>
                    <a:pt x="534633" y="80524"/>
                    <a:pt x="535370" y="83228"/>
                  </a:cubicBezTo>
                  <a:cubicBezTo>
                    <a:pt x="535862" y="84580"/>
                    <a:pt x="536108" y="85661"/>
                    <a:pt x="536599" y="87013"/>
                  </a:cubicBezTo>
                  <a:cubicBezTo>
                    <a:pt x="537091" y="88636"/>
                    <a:pt x="537828" y="89987"/>
                    <a:pt x="538811" y="91339"/>
                  </a:cubicBezTo>
                  <a:cubicBezTo>
                    <a:pt x="539794" y="92962"/>
                    <a:pt x="541024" y="94313"/>
                    <a:pt x="542253" y="95666"/>
                  </a:cubicBezTo>
                  <a:cubicBezTo>
                    <a:pt x="543482" y="96747"/>
                    <a:pt x="544957" y="97829"/>
                    <a:pt x="546677" y="98369"/>
                  </a:cubicBezTo>
                  <a:cubicBezTo>
                    <a:pt x="551102" y="99992"/>
                    <a:pt x="555280" y="99180"/>
                    <a:pt x="558967" y="95936"/>
                  </a:cubicBezTo>
                  <a:cubicBezTo>
                    <a:pt x="560196" y="94854"/>
                    <a:pt x="561180" y="93773"/>
                    <a:pt x="562163" y="92421"/>
                  </a:cubicBezTo>
                  <a:cubicBezTo>
                    <a:pt x="563146" y="91069"/>
                    <a:pt x="563883" y="89717"/>
                    <a:pt x="564621" y="88095"/>
                  </a:cubicBezTo>
                  <a:cubicBezTo>
                    <a:pt x="564867" y="87284"/>
                    <a:pt x="565112" y="86473"/>
                    <a:pt x="565604" y="85932"/>
                  </a:cubicBezTo>
                  <a:cubicBezTo>
                    <a:pt x="566096" y="84580"/>
                    <a:pt x="566587" y="83228"/>
                    <a:pt x="566833" y="81606"/>
                  </a:cubicBezTo>
                  <a:cubicBezTo>
                    <a:pt x="567571" y="77009"/>
                    <a:pt x="567571" y="72413"/>
                    <a:pt x="566341" y="67816"/>
                  </a:cubicBezTo>
                  <a:cubicBezTo>
                    <a:pt x="566096" y="66735"/>
                    <a:pt x="565850" y="65653"/>
                    <a:pt x="565358" y="64842"/>
                  </a:cubicBezTo>
                  <a:cubicBezTo>
                    <a:pt x="564867" y="63761"/>
                    <a:pt x="564621" y="62679"/>
                    <a:pt x="564129" y="61868"/>
                  </a:cubicBezTo>
                  <a:cubicBezTo>
                    <a:pt x="563392" y="60786"/>
                    <a:pt x="562900" y="59435"/>
                    <a:pt x="561917" y="58353"/>
                  </a:cubicBezTo>
                  <a:cubicBezTo>
                    <a:pt x="560934" y="57001"/>
                    <a:pt x="559705" y="55649"/>
                    <a:pt x="558230" y="54568"/>
                  </a:cubicBezTo>
                  <a:cubicBezTo>
                    <a:pt x="557001" y="53756"/>
                    <a:pt x="555772" y="52945"/>
                    <a:pt x="554297" y="52405"/>
                  </a:cubicBezTo>
                  <a:close/>
                  <a:moveTo>
                    <a:pt x="372346" y="52405"/>
                  </a:moveTo>
                  <a:cubicBezTo>
                    <a:pt x="368167" y="51053"/>
                    <a:pt x="364234" y="52134"/>
                    <a:pt x="360793" y="54838"/>
                  </a:cubicBezTo>
                  <a:cubicBezTo>
                    <a:pt x="359564" y="55920"/>
                    <a:pt x="358581" y="57001"/>
                    <a:pt x="357598" y="58353"/>
                  </a:cubicBezTo>
                  <a:cubicBezTo>
                    <a:pt x="356860" y="59435"/>
                    <a:pt x="356123" y="60786"/>
                    <a:pt x="355385" y="62138"/>
                  </a:cubicBezTo>
                  <a:cubicBezTo>
                    <a:pt x="354894" y="62949"/>
                    <a:pt x="354648" y="64031"/>
                    <a:pt x="354402" y="64842"/>
                  </a:cubicBezTo>
                  <a:cubicBezTo>
                    <a:pt x="353911" y="66194"/>
                    <a:pt x="353665" y="67546"/>
                    <a:pt x="353419" y="68898"/>
                  </a:cubicBezTo>
                  <a:cubicBezTo>
                    <a:pt x="352682" y="71061"/>
                    <a:pt x="352436" y="73224"/>
                    <a:pt x="352436" y="75928"/>
                  </a:cubicBezTo>
                  <a:cubicBezTo>
                    <a:pt x="352436" y="78091"/>
                    <a:pt x="352682" y="80524"/>
                    <a:pt x="353419" y="83228"/>
                  </a:cubicBezTo>
                  <a:cubicBezTo>
                    <a:pt x="353911" y="84580"/>
                    <a:pt x="354157" y="85661"/>
                    <a:pt x="354648" y="87013"/>
                  </a:cubicBezTo>
                  <a:cubicBezTo>
                    <a:pt x="355140" y="88636"/>
                    <a:pt x="355877" y="89987"/>
                    <a:pt x="356860" y="91339"/>
                  </a:cubicBezTo>
                  <a:cubicBezTo>
                    <a:pt x="357843" y="92962"/>
                    <a:pt x="359073" y="94313"/>
                    <a:pt x="360301" y="95666"/>
                  </a:cubicBezTo>
                  <a:cubicBezTo>
                    <a:pt x="361531" y="96747"/>
                    <a:pt x="363005" y="97829"/>
                    <a:pt x="364726" y="98369"/>
                  </a:cubicBezTo>
                  <a:cubicBezTo>
                    <a:pt x="369150" y="99992"/>
                    <a:pt x="373329" y="99180"/>
                    <a:pt x="377016" y="95936"/>
                  </a:cubicBezTo>
                  <a:cubicBezTo>
                    <a:pt x="378245" y="94854"/>
                    <a:pt x="379228" y="93773"/>
                    <a:pt x="380212" y="92421"/>
                  </a:cubicBezTo>
                  <a:cubicBezTo>
                    <a:pt x="381195" y="91069"/>
                    <a:pt x="381932" y="89717"/>
                    <a:pt x="382670" y="88095"/>
                  </a:cubicBezTo>
                  <a:cubicBezTo>
                    <a:pt x="382916" y="87284"/>
                    <a:pt x="383161" y="86473"/>
                    <a:pt x="383653" y="85932"/>
                  </a:cubicBezTo>
                  <a:cubicBezTo>
                    <a:pt x="384145" y="84580"/>
                    <a:pt x="384636" y="83228"/>
                    <a:pt x="384882" y="81606"/>
                  </a:cubicBezTo>
                  <a:cubicBezTo>
                    <a:pt x="385619" y="77009"/>
                    <a:pt x="385619" y="72413"/>
                    <a:pt x="384390" y="67816"/>
                  </a:cubicBezTo>
                  <a:cubicBezTo>
                    <a:pt x="384145" y="66735"/>
                    <a:pt x="383899" y="65653"/>
                    <a:pt x="383407" y="64842"/>
                  </a:cubicBezTo>
                  <a:cubicBezTo>
                    <a:pt x="382916" y="63761"/>
                    <a:pt x="382670" y="62679"/>
                    <a:pt x="382178" y="61868"/>
                  </a:cubicBezTo>
                  <a:cubicBezTo>
                    <a:pt x="381441" y="60786"/>
                    <a:pt x="380949" y="59435"/>
                    <a:pt x="379966" y="58353"/>
                  </a:cubicBezTo>
                  <a:cubicBezTo>
                    <a:pt x="378982" y="57001"/>
                    <a:pt x="377754" y="55649"/>
                    <a:pt x="376279" y="54568"/>
                  </a:cubicBezTo>
                  <a:cubicBezTo>
                    <a:pt x="375050" y="53756"/>
                    <a:pt x="373821" y="52945"/>
                    <a:pt x="372346" y="52405"/>
                  </a:cubicBezTo>
                  <a:close/>
                  <a:moveTo>
                    <a:pt x="129300" y="52405"/>
                  </a:moveTo>
                  <a:cubicBezTo>
                    <a:pt x="125121" y="51053"/>
                    <a:pt x="121189" y="52134"/>
                    <a:pt x="117747" y="54838"/>
                  </a:cubicBezTo>
                  <a:cubicBezTo>
                    <a:pt x="116518" y="55920"/>
                    <a:pt x="115535" y="57001"/>
                    <a:pt x="114552" y="58353"/>
                  </a:cubicBezTo>
                  <a:cubicBezTo>
                    <a:pt x="113814" y="59435"/>
                    <a:pt x="113077" y="60786"/>
                    <a:pt x="112340" y="62138"/>
                  </a:cubicBezTo>
                  <a:cubicBezTo>
                    <a:pt x="111848" y="62949"/>
                    <a:pt x="111602" y="64031"/>
                    <a:pt x="111356" y="64842"/>
                  </a:cubicBezTo>
                  <a:cubicBezTo>
                    <a:pt x="110865" y="66194"/>
                    <a:pt x="110619" y="67546"/>
                    <a:pt x="110373" y="68898"/>
                  </a:cubicBezTo>
                  <a:cubicBezTo>
                    <a:pt x="109636" y="71061"/>
                    <a:pt x="109390" y="73224"/>
                    <a:pt x="109390" y="75928"/>
                  </a:cubicBezTo>
                  <a:cubicBezTo>
                    <a:pt x="109390" y="78091"/>
                    <a:pt x="109636" y="80524"/>
                    <a:pt x="110373" y="83228"/>
                  </a:cubicBezTo>
                  <a:cubicBezTo>
                    <a:pt x="110865" y="84580"/>
                    <a:pt x="111111" y="85661"/>
                    <a:pt x="111602" y="87013"/>
                  </a:cubicBezTo>
                  <a:cubicBezTo>
                    <a:pt x="112094" y="88636"/>
                    <a:pt x="112831" y="89987"/>
                    <a:pt x="113814" y="91339"/>
                  </a:cubicBezTo>
                  <a:cubicBezTo>
                    <a:pt x="114798" y="92962"/>
                    <a:pt x="116027" y="94313"/>
                    <a:pt x="117256" y="95666"/>
                  </a:cubicBezTo>
                  <a:cubicBezTo>
                    <a:pt x="118485" y="96747"/>
                    <a:pt x="119960" y="97829"/>
                    <a:pt x="121680" y="98369"/>
                  </a:cubicBezTo>
                  <a:cubicBezTo>
                    <a:pt x="126105" y="99992"/>
                    <a:pt x="130283" y="99180"/>
                    <a:pt x="133970" y="95936"/>
                  </a:cubicBezTo>
                  <a:cubicBezTo>
                    <a:pt x="135199" y="94854"/>
                    <a:pt x="136183" y="93773"/>
                    <a:pt x="137166" y="92421"/>
                  </a:cubicBezTo>
                  <a:cubicBezTo>
                    <a:pt x="138149" y="91069"/>
                    <a:pt x="138886" y="89717"/>
                    <a:pt x="139624" y="88095"/>
                  </a:cubicBezTo>
                  <a:cubicBezTo>
                    <a:pt x="139869" y="87284"/>
                    <a:pt x="140115" y="86473"/>
                    <a:pt x="140607" y="85932"/>
                  </a:cubicBezTo>
                  <a:cubicBezTo>
                    <a:pt x="141099" y="84580"/>
                    <a:pt x="141590" y="83228"/>
                    <a:pt x="141836" y="81606"/>
                  </a:cubicBezTo>
                  <a:cubicBezTo>
                    <a:pt x="142574" y="77009"/>
                    <a:pt x="142574" y="72413"/>
                    <a:pt x="141344" y="67816"/>
                  </a:cubicBezTo>
                  <a:cubicBezTo>
                    <a:pt x="141099" y="66735"/>
                    <a:pt x="140853" y="65653"/>
                    <a:pt x="140361" y="64842"/>
                  </a:cubicBezTo>
                  <a:cubicBezTo>
                    <a:pt x="139869" y="63761"/>
                    <a:pt x="139624" y="62679"/>
                    <a:pt x="139132" y="61868"/>
                  </a:cubicBezTo>
                  <a:cubicBezTo>
                    <a:pt x="138395" y="60786"/>
                    <a:pt x="137903" y="59435"/>
                    <a:pt x="136920" y="58353"/>
                  </a:cubicBezTo>
                  <a:cubicBezTo>
                    <a:pt x="135937" y="57001"/>
                    <a:pt x="134708" y="55649"/>
                    <a:pt x="133233" y="54568"/>
                  </a:cubicBezTo>
                  <a:cubicBezTo>
                    <a:pt x="132004" y="53756"/>
                    <a:pt x="130775" y="52945"/>
                    <a:pt x="129300" y="52405"/>
                  </a:cubicBezTo>
                  <a:close/>
                  <a:moveTo>
                    <a:pt x="33147" y="48469"/>
                  </a:moveTo>
                  <a:cubicBezTo>
                    <a:pt x="27905" y="48469"/>
                    <a:pt x="23408" y="51656"/>
                    <a:pt x="21486" y="56198"/>
                  </a:cubicBezTo>
                  <a:lnTo>
                    <a:pt x="20561" y="60781"/>
                  </a:lnTo>
                  <a:lnTo>
                    <a:pt x="23801" y="60781"/>
                  </a:lnTo>
                  <a:lnTo>
                    <a:pt x="42218" y="60781"/>
                  </a:lnTo>
                  <a:lnTo>
                    <a:pt x="45732" y="60781"/>
                  </a:lnTo>
                  <a:lnTo>
                    <a:pt x="44807" y="56198"/>
                  </a:lnTo>
                  <a:cubicBezTo>
                    <a:pt x="42886" y="51656"/>
                    <a:pt x="38389" y="48469"/>
                    <a:pt x="33147" y="48469"/>
                  </a:cubicBezTo>
                  <a:close/>
                  <a:moveTo>
                    <a:pt x="2537931" y="40881"/>
                  </a:moveTo>
                  <a:cubicBezTo>
                    <a:pt x="2532689" y="40881"/>
                    <a:pt x="2528192" y="44068"/>
                    <a:pt x="2526271" y="48610"/>
                  </a:cubicBezTo>
                  <a:lnTo>
                    <a:pt x="2525346" y="53193"/>
                  </a:lnTo>
                  <a:lnTo>
                    <a:pt x="2528586" y="53193"/>
                  </a:lnTo>
                  <a:lnTo>
                    <a:pt x="2547003" y="53193"/>
                  </a:lnTo>
                  <a:lnTo>
                    <a:pt x="2550517" y="53193"/>
                  </a:lnTo>
                  <a:lnTo>
                    <a:pt x="2549592" y="48610"/>
                  </a:lnTo>
                  <a:cubicBezTo>
                    <a:pt x="2547670" y="44068"/>
                    <a:pt x="2543173" y="40881"/>
                    <a:pt x="2537931" y="40881"/>
                  </a:cubicBezTo>
                  <a:close/>
                  <a:moveTo>
                    <a:pt x="2112934" y="40881"/>
                  </a:moveTo>
                  <a:cubicBezTo>
                    <a:pt x="2107692" y="40881"/>
                    <a:pt x="2103195" y="44068"/>
                    <a:pt x="2101274" y="48610"/>
                  </a:cubicBezTo>
                  <a:lnTo>
                    <a:pt x="2100349" y="53193"/>
                  </a:lnTo>
                  <a:lnTo>
                    <a:pt x="2103589" y="53193"/>
                  </a:lnTo>
                  <a:lnTo>
                    <a:pt x="2122006" y="53193"/>
                  </a:lnTo>
                  <a:lnTo>
                    <a:pt x="2125520" y="53193"/>
                  </a:lnTo>
                  <a:lnTo>
                    <a:pt x="2124595" y="48610"/>
                  </a:lnTo>
                  <a:cubicBezTo>
                    <a:pt x="2122673" y="44068"/>
                    <a:pt x="2118176" y="40881"/>
                    <a:pt x="2112934" y="40881"/>
                  </a:cubicBezTo>
                  <a:close/>
                  <a:moveTo>
                    <a:pt x="1854966" y="40881"/>
                  </a:moveTo>
                  <a:cubicBezTo>
                    <a:pt x="1849724" y="40881"/>
                    <a:pt x="1845227" y="44068"/>
                    <a:pt x="1843306" y="48610"/>
                  </a:cubicBezTo>
                  <a:lnTo>
                    <a:pt x="1842381" y="53193"/>
                  </a:lnTo>
                  <a:lnTo>
                    <a:pt x="1845621" y="53193"/>
                  </a:lnTo>
                  <a:lnTo>
                    <a:pt x="1864038" y="53193"/>
                  </a:lnTo>
                  <a:lnTo>
                    <a:pt x="1867552" y="53193"/>
                  </a:lnTo>
                  <a:lnTo>
                    <a:pt x="1866627" y="48610"/>
                  </a:lnTo>
                  <a:cubicBezTo>
                    <a:pt x="1864705" y="44068"/>
                    <a:pt x="1860208" y="40881"/>
                    <a:pt x="1854966" y="40881"/>
                  </a:cubicBezTo>
                  <a:close/>
                  <a:moveTo>
                    <a:pt x="1764027" y="40881"/>
                  </a:moveTo>
                  <a:cubicBezTo>
                    <a:pt x="1758785" y="40881"/>
                    <a:pt x="1754288" y="44068"/>
                    <a:pt x="1752367" y="48610"/>
                  </a:cubicBezTo>
                  <a:lnTo>
                    <a:pt x="1751442" y="53193"/>
                  </a:lnTo>
                  <a:lnTo>
                    <a:pt x="1754682" y="53193"/>
                  </a:lnTo>
                  <a:lnTo>
                    <a:pt x="1773099" y="53193"/>
                  </a:lnTo>
                  <a:lnTo>
                    <a:pt x="1776613" y="53193"/>
                  </a:lnTo>
                  <a:lnTo>
                    <a:pt x="1775687" y="48610"/>
                  </a:lnTo>
                  <a:cubicBezTo>
                    <a:pt x="1773766" y="44068"/>
                    <a:pt x="1769269" y="40881"/>
                    <a:pt x="1764027" y="40881"/>
                  </a:cubicBezTo>
                  <a:close/>
                  <a:moveTo>
                    <a:pt x="1506059" y="40881"/>
                  </a:moveTo>
                  <a:cubicBezTo>
                    <a:pt x="1500817" y="40881"/>
                    <a:pt x="1496320" y="44068"/>
                    <a:pt x="1494399" y="48610"/>
                  </a:cubicBezTo>
                  <a:lnTo>
                    <a:pt x="1493474" y="53193"/>
                  </a:lnTo>
                  <a:lnTo>
                    <a:pt x="1496714" y="53193"/>
                  </a:lnTo>
                  <a:lnTo>
                    <a:pt x="1515131" y="53193"/>
                  </a:lnTo>
                  <a:lnTo>
                    <a:pt x="1518645" y="53193"/>
                  </a:lnTo>
                  <a:lnTo>
                    <a:pt x="1517719" y="48610"/>
                  </a:lnTo>
                  <a:cubicBezTo>
                    <a:pt x="1515798" y="44068"/>
                    <a:pt x="1511301" y="40881"/>
                    <a:pt x="1506059" y="40881"/>
                  </a:cubicBezTo>
                  <a:close/>
                  <a:moveTo>
                    <a:pt x="1415120" y="40881"/>
                  </a:moveTo>
                  <a:cubicBezTo>
                    <a:pt x="1409878" y="40881"/>
                    <a:pt x="1405381" y="44068"/>
                    <a:pt x="1403460" y="48610"/>
                  </a:cubicBezTo>
                  <a:lnTo>
                    <a:pt x="1402535" y="53193"/>
                  </a:lnTo>
                  <a:lnTo>
                    <a:pt x="1405775" y="53193"/>
                  </a:lnTo>
                  <a:lnTo>
                    <a:pt x="1424192" y="53193"/>
                  </a:lnTo>
                  <a:lnTo>
                    <a:pt x="1427706" y="53193"/>
                  </a:lnTo>
                  <a:lnTo>
                    <a:pt x="1426780" y="48610"/>
                  </a:lnTo>
                  <a:cubicBezTo>
                    <a:pt x="1424859" y="44068"/>
                    <a:pt x="1420362" y="40881"/>
                    <a:pt x="1415120" y="40881"/>
                  </a:cubicBezTo>
                  <a:close/>
                  <a:moveTo>
                    <a:pt x="1157152" y="40881"/>
                  </a:moveTo>
                  <a:cubicBezTo>
                    <a:pt x="1151910" y="40881"/>
                    <a:pt x="1147413" y="44068"/>
                    <a:pt x="1145492" y="48610"/>
                  </a:cubicBezTo>
                  <a:lnTo>
                    <a:pt x="1144567" y="53193"/>
                  </a:lnTo>
                  <a:lnTo>
                    <a:pt x="1147807" y="53193"/>
                  </a:lnTo>
                  <a:lnTo>
                    <a:pt x="1166224" y="53193"/>
                  </a:lnTo>
                  <a:lnTo>
                    <a:pt x="1169738" y="53193"/>
                  </a:lnTo>
                  <a:lnTo>
                    <a:pt x="1168812" y="48610"/>
                  </a:lnTo>
                  <a:cubicBezTo>
                    <a:pt x="1166891" y="44068"/>
                    <a:pt x="1162394" y="40881"/>
                    <a:pt x="1157152" y="40881"/>
                  </a:cubicBezTo>
                  <a:close/>
                  <a:moveTo>
                    <a:pt x="732156" y="40881"/>
                  </a:moveTo>
                  <a:cubicBezTo>
                    <a:pt x="726914" y="40881"/>
                    <a:pt x="722417" y="44068"/>
                    <a:pt x="720495" y="48610"/>
                  </a:cubicBezTo>
                  <a:lnTo>
                    <a:pt x="719570" y="53193"/>
                  </a:lnTo>
                  <a:lnTo>
                    <a:pt x="722810" y="53193"/>
                  </a:lnTo>
                  <a:lnTo>
                    <a:pt x="741228" y="53193"/>
                  </a:lnTo>
                  <a:lnTo>
                    <a:pt x="744742" y="53193"/>
                  </a:lnTo>
                  <a:lnTo>
                    <a:pt x="743816" y="48610"/>
                  </a:lnTo>
                  <a:cubicBezTo>
                    <a:pt x="741895" y="44068"/>
                    <a:pt x="737398" y="40881"/>
                    <a:pt x="732156" y="40881"/>
                  </a:cubicBezTo>
                  <a:close/>
                  <a:moveTo>
                    <a:pt x="641217" y="40881"/>
                  </a:moveTo>
                  <a:cubicBezTo>
                    <a:pt x="635975" y="40881"/>
                    <a:pt x="631478" y="44068"/>
                    <a:pt x="629556" y="48610"/>
                  </a:cubicBezTo>
                  <a:lnTo>
                    <a:pt x="628631" y="53193"/>
                  </a:lnTo>
                  <a:lnTo>
                    <a:pt x="631871" y="53193"/>
                  </a:lnTo>
                  <a:lnTo>
                    <a:pt x="650289" y="53193"/>
                  </a:lnTo>
                  <a:lnTo>
                    <a:pt x="653802" y="53193"/>
                  </a:lnTo>
                  <a:lnTo>
                    <a:pt x="652877" y="48610"/>
                  </a:lnTo>
                  <a:cubicBezTo>
                    <a:pt x="650956" y="44068"/>
                    <a:pt x="646459" y="40881"/>
                    <a:pt x="641217" y="40881"/>
                  </a:cubicBezTo>
                  <a:close/>
                  <a:moveTo>
                    <a:pt x="459266" y="40881"/>
                  </a:moveTo>
                  <a:cubicBezTo>
                    <a:pt x="454024" y="40881"/>
                    <a:pt x="449526" y="44068"/>
                    <a:pt x="447605" y="48610"/>
                  </a:cubicBezTo>
                  <a:lnTo>
                    <a:pt x="446680" y="53193"/>
                  </a:lnTo>
                  <a:lnTo>
                    <a:pt x="449920" y="53193"/>
                  </a:lnTo>
                  <a:lnTo>
                    <a:pt x="468337" y="53193"/>
                  </a:lnTo>
                  <a:lnTo>
                    <a:pt x="471851" y="53193"/>
                  </a:lnTo>
                  <a:lnTo>
                    <a:pt x="470926" y="48610"/>
                  </a:lnTo>
                  <a:cubicBezTo>
                    <a:pt x="469005" y="44068"/>
                    <a:pt x="464508" y="40881"/>
                    <a:pt x="459266" y="40881"/>
                  </a:cubicBezTo>
                  <a:close/>
                  <a:moveTo>
                    <a:pt x="2361413" y="36521"/>
                  </a:moveTo>
                  <a:cubicBezTo>
                    <a:pt x="2362765" y="36521"/>
                    <a:pt x="2364117" y="36251"/>
                    <a:pt x="2365469" y="36521"/>
                  </a:cubicBezTo>
                  <a:cubicBezTo>
                    <a:pt x="2367362" y="36792"/>
                    <a:pt x="2368984" y="37603"/>
                    <a:pt x="2370065" y="38955"/>
                  </a:cubicBezTo>
                  <a:cubicBezTo>
                    <a:pt x="2371688" y="40577"/>
                    <a:pt x="2372499" y="42740"/>
                    <a:pt x="2372229" y="45173"/>
                  </a:cubicBezTo>
                  <a:lnTo>
                    <a:pt x="2372229" y="45714"/>
                  </a:lnTo>
                  <a:lnTo>
                    <a:pt x="2372229" y="98709"/>
                  </a:lnTo>
                  <a:lnTo>
                    <a:pt x="2372769" y="99249"/>
                  </a:lnTo>
                  <a:lnTo>
                    <a:pt x="2380069" y="99249"/>
                  </a:lnTo>
                  <a:cubicBezTo>
                    <a:pt x="2381421" y="99249"/>
                    <a:pt x="2382773" y="99790"/>
                    <a:pt x="2384125" y="100331"/>
                  </a:cubicBezTo>
                  <a:cubicBezTo>
                    <a:pt x="2386558" y="101953"/>
                    <a:pt x="2387910" y="104116"/>
                    <a:pt x="2387910" y="107090"/>
                  </a:cubicBezTo>
                  <a:cubicBezTo>
                    <a:pt x="2387910" y="109253"/>
                    <a:pt x="2387099" y="111417"/>
                    <a:pt x="2385207" y="112768"/>
                  </a:cubicBezTo>
                  <a:cubicBezTo>
                    <a:pt x="2384125" y="113580"/>
                    <a:pt x="2382773" y="114391"/>
                    <a:pt x="2381151" y="114661"/>
                  </a:cubicBezTo>
                  <a:lnTo>
                    <a:pt x="2380881" y="114661"/>
                  </a:lnTo>
                  <a:lnTo>
                    <a:pt x="2380610" y="114661"/>
                  </a:lnTo>
                  <a:cubicBezTo>
                    <a:pt x="2380610" y="114391"/>
                    <a:pt x="2380340" y="114661"/>
                    <a:pt x="2380069" y="114661"/>
                  </a:cubicBezTo>
                  <a:lnTo>
                    <a:pt x="2347894" y="114661"/>
                  </a:lnTo>
                  <a:lnTo>
                    <a:pt x="2347354" y="114661"/>
                  </a:lnTo>
                  <a:lnTo>
                    <a:pt x="2346542" y="114661"/>
                  </a:lnTo>
                  <a:cubicBezTo>
                    <a:pt x="2346272" y="114391"/>
                    <a:pt x="2346002" y="114391"/>
                    <a:pt x="2345731" y="114391"/>
                  </a:cubicBezTo>
                  <a:cubicBezTo>
                    <a:pt x="2344379" y="114120"/>
                    <a:pt x="2343298" y="113309"/>
                    <a:pt x="2342216" y="112498"/>
                  </a:cubicBezTo>
                  <a:cubicBezTo>
                    <a:pt x="2340594" y="110876"/>
                    <a:pt x="2339783" y="108983"/>
                    <a:pt x="2339783" y="106820"/>
                  </a:cubicBezTo>
                  <a:cubicBezTo>
                    <a:pt x="2339783" y="104927"/>
                    <a:pt x="2340324" y="103035"/>
                    <a:pt x="2341946" y="101683"/>
                  </a:cubicBezTo>
                  <a:cubicBezTo>
                    <a:pt x="2343568" y="100061"/>
                    <a:pt x="2345461" y="99249"/>
                    <a:pt x="2347624" y="99249"/>
                  </a:cubicBezTo>
                  <a:lnTo>
                    <a:pt x="2355465" y="99249"/>
                  </a:lnTo>
                  <a:cubicBezTo>
                    <a:pt x="2355735" y="99249"/>
                    <a:pt x="2356006" y="99249"/>
                    <a:pt x="2356006" y="98709"/>
                  </a:cubicBezTo>
                  <a:lnTo>
                    <a:pt x="2356006" y="52744"/>
                  </a:lnTo>
                  <a:lnTo>
                    <a:pt x="2355465" y="52203"/>
                  </a:lnTo>
                  <a:lnTo>
                    <a:pt x="2349517" y="52203"/>
                  </a:lnTo>
                  <a:cubicBezTo>
                    <a:pt x="2346272" y="52203"/>
                    <a:pt x="2343839" y="50581"/>
                    <a:pt x="2342216" y="47607"/>
                  </a:cubicBezTo>
                  <a:cubicBezTo>
                    <a:pt x="2341405" y="45985"/>
                    <a:pt x="2341405" y="44092"/>
                    <a:pt x="2341946" y="41929"/>
                  </a:cubicBezTo>
                  <a:cubicBezTo>
                    <a:pt x="2343028" y="38955"/>
                    <a:pt x="2346002" y="36792"/>
                    <a:pt x="2349246" y="36792"/>
                  </a:cubicBezTo>
                  <a:cubicBezTo>
                    <a:pt x="2353302" y="36792"/>
                    <a:pt x="2357358" y="36521"/>
                    <a:pt x="2361413" y="36521"/>
                  </a:cubicBezTo>
                  <a:close/>
                  <a:moveTo>
                    <a:pt x="2285396" y="36521"/>
                  </a:moveTo>
                  <a:cubicBezTo>
                    <a:pt x="2286748" y="36521"/>
                    <a:pt x="2288100" y="36251"/>
                    <a:pt x="2289452" y="36521"/>
                  </a:cubicBezTo>
                  <a:cubicBezTo>
                    <a:pt x="2291345" y="36792"/>
                    <a:pt x="2292967" y="37603"/>
                    <a:pt x="2294048" y="38955"/>
                  </a:cubicBezTo>
                  <a:cubicBezTo>
                    <a:pt x="2295671" y="40577"/>
                    <a:pt x="2296482" y="42740"/>
                    <a:pt x="2296212" y="45173"/>
                  </a:cubicBezTo>
                  <a:lnTo>
                    <a:pt x="2296212" y="45714"/>
                  </a:lnTo>
                  <a:lnTo>
                    <a:pt x="2296212" y="98709"/>
                  </a:lnTo>
                  <a:lnTo>
                    <a:pt x="2296752" y="99249"/>
                  </a:lnTo>
                  <a:lnTo>
                    <a:pt x="2304052" y="99249"/>
                  </a:lnTo>
                  <a:cubicBezTo>
                    <a:pt x="2305404" y="99249"/>
                    <a:pt x="2306756" y="99790"/>
                    <a:pt x="2308108" y="100331"/>
                  </a:cubicBezTo>
                  <a:cubicBezTo>
                    <a:pt x="2310541" y="101953"/>
                    <a:pt x="2311893" y="104116"/>
                    <a:pt x="2311893" y="107090"/>
                  </a:cubicBezTo>
                  <a:cubicBezTo>
                    <a:pt x="2311893" y="109253"/>
                    <a:pt x="2311082" y="111417"/>
                    <a:pt x="2309190" y="112768"/>
                  </a:cubicBezTo>
                  <a:cubicBezTo>
                    <a:pt x="2308108" y="113580"/>
                    <a:pt x="2306756" y="114391"/>
                    <a:pt x="2305134" y="114661"/>
                  </a:cubicBezTo>
                  <a:lnTo>
                    <a:pt x="2304864" y="114661"/>
                  </a:lnTo>
                  <a:lnTo>
                    <a:pt x="2304593" y="114661"/>
                  </a:lnTo>
                  <a:cubicBezTo>
                    <a:pt x="2304593" y="114391"/>
                    <a:pt x="2304323" y="114661"/>
                    <a:pt x="2304052" y="114661"/>
                  </a:cubicBezTo>
                  <a:lnTo>
                    <a:pt x="2271877" y="114661"/>
                  </a:lnTo>
                  <a:lnTo>
                    <a:pt x="2271337" y="114661"/>
                  </a:lnTo>
                  <a:lnTo>
                    <a:pt x="2270525" y="114661"/>
                  </a:lnTo>
                  <a:cubicBezTo>
                    <a:pt x="2270255" y="114391"/>
                    <a:pt x="2269985" y="114391"/>
                    <a:pt x="2269714" y="114391"/>
                  </a:cubicBezTo>
                  <a:cubicBezTo>
                    <a:pt x="2268362" y="114120"/>
                    <a:pt x="2267281" y="113309"/>
                    <a:pt x="2266199" y="112498"/>
                  </a:cubicBezTo>
                  <a:cubicBezTo>
                    <a:pt x="2264577" y="110876"/>
                    <a:pt x="2263766" y="108983"/>
                    <a:pt x="2263766" y="106820"/>
                  </a:cubicBezTo>
                  <a:cubicBezTo>
                    <a:pt x="2263766" y="104927"/>
                    <a:pt x="2264307" y="103035"/>
                    <a:pt x="2265929" y="101683"/>
                  </a:cubicBezTo>
                  <a:cubicBezTo>
                    <a:pt x="2267551" y="100061"/>
                    <a:pt x="2269444" y="99249"/>
                    <a:pt x="2271607" y="99249"/>
                  </a:cubicBezTo>
                  <a:lnTo>
                    <a:pt x="2279448" y="99249"/>
                  </a:lnTo>
                  <a:cubicBezTo>
                    <a:pt x="2279718" y="99249"/>
                    <a:pt x="2279989" y="99249"/>
                    <a:pt x="2279989" y="98709"/>
                  </a:cubicBezTo>
                  <a:lnTo>
                    <a:pt x="2279989" y="52744"/>
                  </a:lnTo>
                  <a:lnTo>
                    <a:pt x="2279448" y="52203"/>
                  </a:lnTo>
                  <a:lnTo>
                    <a:pt x="2273500" y="52203"/>
                  </a:lnTo>
                  <a:cubicBezTo>
                    <a:pt x="2270255" y="52203"/>
                    <a:pt x="2267822" y="50581"/>
                    <a:pt x="2266199" y="47607"/>
                  </a:cubicBezTo>
                  <a:cubicBezTo>
                    <a:pt x="2265388" y="45985"/>
                    <a:pt x="2265388" y="44092"/>
                    <a:pt x="2265929" y="41929"/>
                  </a:cubicBezTo>
                  <a:cubicBezTo>
                    <a:pt x="2267011" y="38955"/>
                    <a:pt x="2269985" y="36792"/>
                    <a:pt x="2273229" y="36792"/>
                  </a:cubicBezTo>
                  <a:cubicBezTo>
                    <a:pt x="2277285" y="36792"/>
                    <a:pt x="2281341" y="36521"/>
                    <a:pt x="2285396" y="36521"/>
                  </a:cubicBezTo>
                  <a:close/>
                  <a:moveTo>
                    <a:pt x="1936416" y="36521"/>
                  </a:moveTo>
                  <a:cubicBezTo>
                    <a:pt x="1937768" y="36521"/>
                    <a:pt x="1939120" y="36251"/>
                    <a:pt x="1940472" y="36521"/>
                  </a:cubicBezTo>
                  <a:cubicBezTo>
                    <a:pt x="1942365" y="36792"/>
                    <a:pt x="1943987" y="37603"/>
                    <a:pt x="1945068" y="38955"/>
                  </a:cubicBezTo>
                  <a:cubicBezTo>
                    <a:pt x="1946691" y="40577"/>
                    <a:pt x="1947502" y="42740"/>
                    <a:pt x="1947232" y="45173"/>
                  </a:cubicBezTo>
                  <a:lnTo>
                    <a:pt x="1947232" y="45714"/>
                  </a:lnTo>
                  <a:lnTo>
                    <a:pt x="1947232" y="98709"/>
                  </a:lnTo>
                  <a:lnTo>
                    <a:pt x="1947772" y="99249"/>
                  </a:lnTo>
                  <a:lnTo>
                    <a:pt x="1955072" y="99249"/>
                  </a:lnTo>
                  <a:cubicBezTo>
                    <a:pt x="1956424" y="99249"/>
                    <a:pt x="1957776" y="99790"/>
                    <a:pt x="1959128" y="100331"/>
                  </a:cubicBezTo>
                  <a:cubicBezTo>
                    <a:pt x="1961561" y="101953"/>
                    <a:pt x="1962913" y="104116"/>
                    <a:pt x="1962913" y="107090"/>
                  </a:cubicBezTo>
                  <a:cubicBezTo>
                    <a:pt x="1962913" y="109253"/>
                    <a:pt x="1962102" y="111417"/>
                    <a:pt x="1960210" y="112768"/>
                  </a:cubicBezTo>
                  <a:cubicBezTo>
                    <a:pt x="1959128" y="113580"/>
                    <a:pt x="1957776" y="114391"/>
                    <a:pt x="1956154" y="114661"/>
                  </a:cubicBezTo>
                  <a:lnTo>
                    <a:pt x="1955884" y="114661"/>
                  </a:lnTo>
                  <a:lnTo>
                    <a:pt x="1955613" y="114661"/>
                  </a:lnTo>
                  <a:cubicBezTo>
                    <a:pt x="1955613" y="114391"/>
                    <a:pt x="1955343" y="114661"/>
                    <a:pt x="1955072" y="114661"/>
                  </a:cubicBezTo>
                  <a:lnTo>
                    <a:pt x="1922897" y="114661"/>
                  </a:lnTo>
                  <a:lnTo>
                    <a:pt x="1922357" y="114661"/>
                  </a:lnTo>
                  <a:lnTo>
                    <a:pt x="1921545" y="114661"/>
                  </a:lnTo>
                  <a:cubicBezTo>
                    <a:pt x="1921275" y="114391"/>
                    <a:pt x="1921005" y="114391"/>
                    <a:pt x="1920734" y="114391"/>
                  </a:cubicBezTo>
                  <a:cubicBezTo>
                    <a:pt x="1919382" y="114120"/>
                    <a:pt x="1918301" y="113309"/>
                    <a:pt x="1917219" y="112498"/>
                  </a:cubicBezTo>
                  <a:cubicBezTo>
                    <a:pt x="1915597" y="110876"/>
                    <a:pt x="1914786" y="108983"/>
                    <a:pt x="1914786" y="106820"/>
                  </a:cubicBezTo>
                  <a:cubicBezTo>
                    <a:pt x="1914786" y="104927"/>
                    <a:pt x="1915327" y="103035"/>
                    <a:pt x="1916949" y="101683"/>
                  </a:cubicBezTo>
                  <a:cubicBezTo>
                    <a:pt x="1918571" y="100061"/>
                    <a:pt x="1920464" y="99249"/>
                    <a:pt x="1922627" y="99249"/>
                  </a:cubicBezTo>
                  <a:lnTo>
                    <a:pt x="1930468" y="99249"/>
                  </a:lnTo>
                  <a:cubicBezTo>
                    <a:pt x="1930738" y="99249"/>
                    <a:pt x="1931009" y="99249"/>
                    <a:pt x="1931009" y="98709"/>
                  </a:cubicBezTo>
                  <a:lnTo>
                    <a:pt x="1931009" y="52744"/>
                  </a:lnTo>
                  <a:lnTo>
                    <a:pt x="1930468" y="52203"/>
                  </a:lnTo>
                  <a:lnTo>
                    <a:pt x="1924520" y="52203"/>
                  </a:lnTo>
                  <a:cubicBezTo>
                    <a:pt x="1921275" y="52203"/>
                    <a:pt x="1918842" y="50581"/>
                    <a:pt x="1917219" y="47607"/>
                  </a:cubicBezTo>
                  <a:cubicBezTo>
                    <a:pt x="1916408" y="45985"/>
                    <a:pt x="1916408" y="44092"/>
                    <a:pt x="1916949" y="41929"/>
                  </a:cubicBezTo>
                  <a:cubicBezTo>
                    <a:pt x="1918031" y="38955"/>
                    <a:pt x="1921005" y="36792"/>
                    <a:pt x="1924249" y="36792"/>
                  </a:cubicBezTo>
                  <a:cubicBezTo>
                    <a:pt x="1928305" y="36792"/>
                    <a:pt x="1932361" y="36521"/>
                    <a:pt x="1936416" y="36521"/>
                  </a:cubicBezTo>
                  <a:close/>
                  <a:moveTo>
                    <a:pt x="1678521" y="36521"/>
                  </a:moveTo>
                  <a:cubicBezTo>
                    <a:pt x="1679873" y="36521"/>
                    <a:pt x="1681225" y="36251"/>
                    <a:pt x="1682577" y="36521"/>
                  </a:cubicBezTo>
                  <a:cubicBezTo>
                    <a:pt x="1684470" y="36792"/>
                    <a:pt x="1686092" y="37603"/>
                    <a:pt x="1687173" y="38955"/>
                  </a:cubicBezTo>
                  <a:cubicBezTo>
                    <a:pt x="1688796" y="40577"/>
                    <a:pt x="1689607" y="42740"/>
                    <a:pt x="1689336" y="45173"/>
                  </a:cubicBezTo>
                  <a:lnTo>
                    <a:pt x="1689336" y="45714"/>
                  </a:lnTo>
                  <a:lnTo>
                    <a:pt x="1689336" y="98709"/>
                  </a:lnTo>
                  <a:lnTo>
                    <a:pt x="1689877" y="99249"/>
                  </a:lnTo>
                  <a:lnTo>
                    <a:pt x="1697177" y="99249"/>
                  </a:lnTo>
                  <a:cubicBezTo>
                    <a:pt x="1698529" y="99249"/>
                    <a:pt x="1699881" y="99790"/>
                    <a:pt x="1701233" y="100331"/>
                  </a:cubicBezTo>
                  <a:cubicBezTo>
                    <a:pt x="1703666" y="101953"/>
                    <a:pt x="1705018" y="104116"/>
                    <a:pt x="1705018" y="107090"/>
                  </a:cubicBezTo>
                  <a:cubicBezTo>
                    <a:pt x="1705018" y="109253"/>
                    <a:pt x="1704207" y="111417"/>
                    <a:pt x="1702315" y="112768"/>
                  </a:cubicBezTo>
                  <a:cubicBezTo>
                    <a:pt x="1701233" y="113580"/>
                    <a:pt x="1699881" y="114391"/>
                    <a:pt x="1698259" y="114661"/>
                  </a:cubicBezTo>
                  <a:lnTo>
                    <a:pt x="1697989" y="114661"/>
                  </a:lnTo>
                  <a:lnTo>
                    <a:pt x="1697718" y="114661"/>
                  </a:lnTo>
                  <a:cubicBezTo>
                    <a:pt x="1697718" y="114391"/>
                    <a:pt x="1697448" y="114661"/>
                    <a:pt x="1697177" y="114661"/>
                  </a:cubicBezTo>
                  <a:lnTo>
                    <a:pt x="1665002" y="114661"/>
                  </a:lnTo>
                  <a:lnTo>
                    <a:pt x="1664462" y="114661"/>
                  </a:lnTo>
                  <a:lnTo>
                    <a:pt x="1663650" y="114661"/>
                  </a:lnTo>
                  <a:cubicBezTo>
                    <a:pt x="1663380" y="114391"/>
                    <a:pt x="1663110" y="114391"/>
                    <a:pt x="1662839" y="114391"/>
                  </a:cubicBezTo>
                  <a:cubicBezTo>
                    <a:pt x="1661487" y="114120"/>
                    <a:pt x="1660406" y="113309"/>
                    <a:pt x="1659324" y="112498"/>
                  </a:cubicBezTo>
                  <a:cubicBezTo>
                    <a:pt x="1657702" y="110876"/>
                    <a:pt x="1656891" y="108983"/>
                    <a:pt x="1656891" y="106820"/>
                  </a:cubicBezTo>
                  <a:cubicBezTo>
                    <a:pt x="1656891" y="104927"/>
                    <a:pt x="1657432" y="103035"/>
                    <a:pt x="1659054" y="101683"/>
                  </a:cubicBezTo>
                  <a:cubicBezTo>
                    <a:pt x="1660676" y="100061"/>
                    <a:pt x="1662569" y="99249"/>
                    <a:pt x="1664732" y="99249"/>
                  </a:cubicBezTo>
                  <a:lnTo>
                    <a:pt x="1672573" y="99249"/>
                  </a:lnTo>
                  <a:cubicBezTo>
                    <a:pt x="1672843" y="99249"/>
                    <a:pt x="1673114" y="99249"/>
                    <a:pt x="1673114" y="98709"/>
                  </a:cubicBezTo>
                  <a:lnTo>
                    <a:pt x="1673114" y="52744"/>
                  </a:lnTo>
                  <a:lnTo>
                    <a:pt x="1672573" y="52203"/>
                  </a:lnTo>
                  <a:lnTo>
                    <a:pt x="1666625" y="52203"/>
                  </a:lnTo>
                  <a:cubicBezTo>
                    <a:pt x="1663380" y="52203"/>
                    <a:pt x="1660947" y="50581"/>
                    <a:pt x="1659324" y="47607"/>
                  </a:cubicBezTo>
                  <a:cubicBezTo>
                    <a:pt x="1658513" y="45985"/>
                    <a:pt x="1658513" y="44092"/>
                    <a:pt x="1659054" y="41929"/>
                  </a:cubicBezTo>
                  <a:cubicBezTo>
                    <a:pt x="1660136" y="38955"/>
                    <a:pt x="1663110" y="36792"/>
                    <a:pt x="1666354" y="36792"/>
                  </a:cubicBezTo>
                  <a:cubicBezTo>
                    <a:pt x="1670410" y="36792"/>
                    <a:pt x="1674465" y="36521"/>
                    <a:pt x="1678521" y="36521"/>
                  </a:cubicBezTo>
                  <a:close/>
                  <a:moveTo>
                    <a:pt x="1329614" y="36521"/>
                  </a:moveTo>
                  <a:cubicBezTo>
                    <a:pt x="1330966" y="36521"/>
                    <a:pt x="1332318" y="36251"/>
                    <a:pt x="1333670" y="36521"/>
                  </a:cubicBezTo>
                  <a:cubicBezTo>
                    <a:pt x="1335563" y="36792"/>
                    <a:pt x="1337185" y="37603"/>
                    <a:pt x="1338266" y="38955"/>
                  </a:cubicBezTo>
                  <a:cubicBezTo>
                    <a:pt x="1339889" y="40577"/>
                    <a:pt x="1340700" y="42740"/>
                    <a:pt x="1340429" y="45173"/>
                  </a:cubicBezTo>
                  <a:lnTo>
                    <a:pt x="1340429" y="45714"/>
                  </a:lnTo>
                  <a:lnTo>
                    <a:pt x="1340429" y="98709"/>
                  </a:lnTo>
                  <a:lnTo>
                    <a:pt x="1340970" y="99249"/>
                  </a:lnTo>
                  <a:lnTo>
                    <a:pt x="1348270" y="99249"/>
                  </a:lnTo>
                  <a:cubicBezTo>
                    <a:pt x="1349622" y="99249"/>
                    <a:pt x="1350974" y="99790"/>
                    <a:pt x="1352326" y="100331"/>
                  </a:cubicBezTo>
                  <a:cubicBezTo>
                    <a:pt x="1354759" y="101953"/>
                    <a:pt x="1356111" y="104116"/>
                    <a:pt x="1356111" y="107090"/>
                  </a:cubicBezTo>
                  <a:cubicBezTo>
                    <a:pt x="1356111" y="109253"/>
                    <a:pt x="1355300" y="111417"/>
                    <a:pt x="1353408" y="112768"/>
                  </a:cubicBezTo>
                  <a:cubicBezTo>
                    <a:pt x="1352326" y="113580"/>
                    <a:pt x="1350974" y="114391"/>
                    <a:pt x="1349352" y="114661"/>
                  </a:cubicBezTo>
                  <a:lnTo>
                    <a:pt x="1349082" y="114661"/>
                  </a:lnTo>
                  <a:lnTo>
                    <a:pt x="1348811" y="114661"/>
                  </a:lnTo>
                  <a:cubicBezTo>
                    <a:pt x="1348811" y="114391"/>
                    <a:pt x="1348541" y="114661"/>
                    <a:pt x="1348270" y="114661"/>
                  </a:cubicBezTo>
                  <a:lnTo>
                    <a:pt x="1316095" y="114661"/>
                  </a:lnTo>
                  <a:lnTo>
                    <a:pt x="1315555" y="114661"/>
                  </a:lnTo>
                  <a:lnTo>
                    <a:pt x="1314743" y="114661"/>
                  </a:lnTo>
                  <a:cubicBezTo>
                    <a:pt x="1314473" y="114391"/>
                    <a:pt x="1314203" y="114391"/>
                    <a:pt x="1313932" y="114391"/>
                  </a:cubicBezTo>
                  <a:cubicBezTo>
                    <a:pt x="1312580" y="114120"/>
                    <a:pt x="1311499" y="113309"/>
                    <a:pt x="1310417" y="112498"/>
                  </a:cubicBezTo>
                  <a:cubicBezTo>
                    <a:pt x="1308795" y="110876"/>
                    <a:pt x="1307984" y="108983"/>
                    <a:pt x="1307984" y="106820"/>
                  </a:cubicBezTo>
                  <a:cubicBezTo>
                    <a:pt x="1307984" y="104927"/>
                    <a:pt x="1308525" y="103035"/>
                    <a:pt x="1310147" y="101683"/>
                  </a:cubicBezTo>
                  <a:cubicBezTo>
                    <a:pt x="1311769" y="100061"/>
                    <a:pt x="1313662" y="99249"/>
                    <a:pt x="1315825" y="99249"/>
                  </a:cubicBezTo>
                  <a:lnTo>
                    <a:pt x="1323666" y="99249"/>
                  </a:lnTo>
                  <a:cubicBezTo>
                    <a:pt x="1323936" y="99249"/>
                    <a:pt x="1324207" y="99249"/>
                    <a:pt x="1324207" y="98709"/>
                  </a:cubicBezTo>
                  <a:lnTo>
                    <a:pt x="1324207" y="52744"/>
                  </a:lnTo>
                  <a:lnTo>
                    <a:pt x="1323666" y="52203"/>
                  </a:lnTo>
                  <a:lnTo>
                    <a:pt x="1317718" y="52203"/>
                  </a:lnTo>
                  <a:cubicBezTo>
                    <a:pt x="1314473" y="52203"/>
                    <a:pt x="1312040" y="50581"/>
                    <a:pt x="1310417" y="47607"/>
                  </a:cubicBezTo>
                  <a:cubicBezTo>
                    <a:pt x="1309606" y="45985"/>
                    <a:pt x="1309606" y="44092"/>
                    <a:pt x="1310147" y="41929"/>
                  </a:cubicBezTo>
                  <a:cubicBezTo>
                    <a:pt x="1311229" y="38955"/>
                    <a:pt x="1314203" y="36792"/>
                    <a:pt x="1317447" y="36792"/>
                  </a:cubicBezTo>
                  <a:cubicBezTo>
                    <a:pt x="1321503" y="36792"/>
                    <a:pt x="1325558" y="36521"/>
                    <a:pt x="1329614" y="36521"/>
                  </a:cubicBezTo>
                  <a:close/>
                  <a:moveTo>
                    <a:pt x="980634" y="36521"/>
                  </a:moveTo>
                  <a:cubicBezTo>
                    <a:pt x="981986" y="36521"/>
                    <a:pt x="983338" y="36251"/>
                    <a:pt x="984690" y="36521"/>
                  </a:cubicBezTo>
                  <a:cubicBezTo>
                    <a:pt x="986583" y="36792"/>
                    <a:pt x="988205" y="37603"/>
                    <a:pt x="989286" y="38955"/>
                  </a:cubicBezTo>
                  <a:cubicBezTo>
                    <a:pt x="990909" y="40577"/>
                    <a:pt x="991720" y="42740"/>
                    <a:pt x="991449" y="45173"/>
                  </a:cubicBezTo>
                  <a:lnTo>
                    <a:pt x="991449" y="45714"/>
                  </a:lnTo>
                  <a:lnTo>
                    <a:pt x="991449" y="98709"/>
                  </a:lnTo>
                  <a:lnTo>
                    <a:pt x="991990" y="99249"/>
                  </a:lnTo>
                  <a:lnTo>
                    <a:pt x="999290" y="99249"/>
                  </a:lnTo>
                  <a:cubicBezTo>
                    <a:pt x="1000642" y="99249"/>
                    <a:pt x="1001994" y="99790"/>
                    <a:pt x="1003346" y="100331"/>
                  </a:cubicBezTo>
                  <a:cubicBezTo>
                    <a:pt x="1005779" y="101953"/>
                    <a:pt x="1007131" y="104116"/>
                    <a:pt x="1007131" y="107090"/>
                  </a:cubicBezTo>
                  <a:cubicBezTo>
                    <a:pt x="1007131" y="109253"/>
                    <a:pt x="1006320" y="111417"/>
                    <a:pt x="1004428" y="112768"/>
                  </a:cubicBezTo>
                  <a:cubicBezTo>
                    <a:pt x="1003346" y="113580"/>
                    <a:pt x="1001994" y="114391"/>
                    <a:pt x="1000372" y="114661"/>
                  </a:cubicBezTo>
                  <a:lnTo>
                    <a:pt x="1000102" y="114661"/>
                  </a:lnTo>
                  <a:lnTo>
                    <a:pt x="999831" y="114661"/>
                  </a:lnTo>
                  <a:cubicBezTo>
                    <a:pt x="999831" y="114391"/>
                    <a:pt x="999561" y="114661"/>
                    <a:pt x="999290" y="114661"/>
                  </a:cubicBezTo>
                  <a:lnTo>
                    <a:pt x="967115" y="114661"/>
                  </a:lnTo>
                  <a:lnTo>
                    <a:pt x="966575" y="114661"/>
                  </a:lnTo>
                  <a:lnTo>
                    <a:pt x="965763" y="114661"/>
                  </a:lnTo>
                  <a:cubicBezTo>
                    <a:pt x="965493" y="114391"/>
                    <a:pt x="965223" y="114391"/>
                    <a:pt x="964952" y="114391"/>
                  </a:cubicBezTo>
                  <a:cubicBezTo>
                    <a:pt x="963600" y="114120"/>
                    <a:pt x="962519" y="113309"/>
                    <a:pt x="961437" y="112498"/>
                  </a:cubicBezTo>
                  <a:cubicBezTo>
                    <a:pt x="959815" y="110876"/>
                    <a:pt x="959004" y="108983"/>
                    <a:pt x="959004" y="106820"/>
                  </a:cubicBezTo>
                  <a:cubicBezTo>
                    <a:pt x="959004" y="104927"/>
                    <a:pt x="959545" y="103035"/>
                    <a:pt x="961167" y="101683"/>
                  </a:cubicBezTo>
                  <a:cubicBezTo>
                    <a:pt x="962789" y="100061"/>
                    <a:pt x="964682" y="99249"/>
                    <a:pt x="966845" y="99249"/>
                  </a:cubicBezTo>
                  <a:lnTo>
                    <a:pt x="974686" y="99249"/>
                  </a:lnTo>
                  <a:cubicBezTo>
                    <a:pt x="974956" y="99249"/>
                    <a:pt x="975227" y="99249"/>
                    <a:pt x="975227" y="98709"/>
                  </a:cubicBezTo>
                  <a:lnTo>
                    <a:pt x="975227" y="52744"/>
                  </a:lnTo>
                  <a:lnTo>
                    <a:pt x="974686" y="52203"/>
                  </a:lnTo>
                  <a:lnTo>
                    <a:pt x="968738" y="52203"/>
                  </a:lnTo>
                  <a:cubicBezTo>
                    <a:pt x="965493" y="52203"/>
                    <a:pt x="963060" y="50581"/>
                    <a:pt x="961437" y="47607"/>
                  </a:cubicBezTo>
                  <a:cubicBezTo>
                    <a:pt x="960626" y="45985"/>
                    <a:pt x="960626" y="44092"/>
                    <a:pt x="961167" y="41929"/>
                  </a:cubicBezTo>
                  <a:cubicBezTo>
                    <a:pt x="962249" y="38955"/>
                    <a:pt x="965223" y="36792"/>
                    <a:pt x="968467" y="36792"/>
                  </a:cubicBezTo>
                  <a:cubicBezTo>
                    <a:pt x="972523" y="36792"/>
                    <a:pt x="976578" y="36521"/>
                    <a:pt x="980634" y="36521"/>
                  </a:cubicBezTo>
                  <a:close/>
                  <a:moveTo>
                    <a:pt x="813605" y="36521"/>
                  </a:moveTo>
                  <a:cubicBezTo>
                    <a:pt x="814957" y="36521"/>
                    <a:pt x="816309" y="36251"/>
                    <a:pt x="817661" y="36521"/>
                  </a:cubicBezTo>
                  <a:cubicBezTo>
                    <a:pt x="819554" y="36792"/>
                    <a:pt x="821176" y="37603"/>
                    <a:pt x="822257" y="38955"/>
                  </a:cubicBezTo>
                  <a:cubicBezTo>
                    <a:pt x="823880" y="40577"/>
                    <a:pt x="824691" y="42740"/>
                    <a:pt x="824420" y="45173"/>
                  </a:cubicBezTo>
                  <a:lnTo>
                    <a:pt x="824420" y="45714"/>
                  </a:lnTo>
                  <a:lnTo>
                    <a:pt x="824420" y="98709"/>
                  </a:lnTo>
                  <a:lnTo>
                    <a:pt x="824961" y="99249"/>
                  </a:lnTo>
                  <a:lnTo>
                    <a:pt x="832261" y="99249"/>
                  </a:lnTo>
                  <a:cubicBezTo>
                    <a:pt x="833613" y="99249"/>
                    <a:pt x="834965" y="99790"/>
                    <a:pt x="836317" y="100331"/>
                  </a:cubicBezTo>
                  <a:cubicBezTo>
                    <a:pt x="838750" y="101953"/>
                    <a:pt x="840102" y="104116"/>
                    <a:pt x="840102" y="107090"/>
                  </a:cubicBezTo>
                  <a:cubicBezTo>
                    <a:pt x="840102" y="109253"/>
                    <a:pt x="839291" y="111417"/>
                    <a:pt x="837399" y="112768"/>
                  </a:cubicBezTo>
                  <a:cubicBezTo>
                    <a:pt x="836317" y="113580"/>
                    <a:pt x="834965" y="114391"/>
                    <a:pt x="833343" y="114661"/>
                  </a:cubicBezTo>
                  <a:lnTo>
                    <a:pt x="833073" y="114661"/>
                  </a:lnTo>
                  <a:lnTo>
                    <a:pt x="832802" y="114661"/>
                  </a:lnTo>
                  <a:cubicBezTo>
                    <a:pt x="832802" y="114391"/>
                    <a:pt x="832532" y="114661"/>
                    <a:pt x="832261" y="114661"/>
                  </a:cubicBezTo>
                  <a:lnTo>
                    <a:pt x="800086" y="114661"/>
                  </a:lnTo>
                  <a:lnTo>
                    <a:pt x="799546" y="114661"/>
                  </a:lnTo>
                  <a:lnTo>
                    <a:pt x="798734" y="114661"/>
                  </a:lnTo>
                  <a:cubicBezTo>
                    <a:pt x="798464" y="114391"/>
                    <a:pt x="798194" y="114391"/>
                    <a:pt x="797923" y="114391"/>
                  </a:cubicBezTo>
                  <a:cubicBezTo>
                    <a:pt x="796571" y="114120"/>
                    <a:pt x="795490" y="113309"/>
                    <a:pt x="794408" y="112498"/>
                  </a:cubicBezTo>
                  <a:cubicBezTo>
                    <a:pt x="792786" y="110876"/>
                    <a:pt x="791975" y="108983"/>
                    <a:pt x="791975" y="106820"/>
                  </a:cubicBezTo>
                  <a:cubicBezTo>
                    <a:pt x="791975" y="104927"/>
                    <a:pt x="792516" y="103035"/>
                    <a:pt x="794138" y="101683"/>
                  </a:cubicBezTo>
                  <a:cubicBezTo>
                    <a:pt x="795760" y="100061"/>
                    <a:pt x="797653" y="99249"/>
                    <a:pt x="799816" y="99249"/>
                  </a:cubicBezTo>
                  <a:lnTo>
                    <a:pt x="807657" y="99249"/>
                  </a:lnTo>
                  <a:cubicBezTo>
                    <a:pt x="807927" y="99249"/>
                    <a:pt x="808198" y="99249"/>
                    <a:pt x="808198" y="98709"/>
                  </a:cubicBezTo>
                  <a:lnTo>
                    <a:pt x="808198" y="52744"/>
                  </a:lnTo>
                  <a:lnTo>
                    <a:pt x="807657" y="52203"/>
                  </a:lnTo>
                  <a:lnTo>
                    <a:pt x="801709" y="52203"/>
                  </a:lnTo>
                  <a:cubicBezTo>
                    <a:pt x="798464" y="52203"/>
                    <a:pt x="796031" y="50581"/>
                    <a:pt x="794408" y="47607"/>
                  </a:cubicBezTo>
                  <a:cubicBezTo>
                    <a:pt x="793597" y="45985"/>
                    <a:pt x="793597" y="44092"/>
                    <a:pt x="794138" y="41929"/>
                  </a:cubicBezTo>
                  <a:cubicBezTo>
                    <a:pt x="795220" y="38955"/>
                    <a:pt x="798194" y="36792"/>
                    <a:pt x="801438" y="36792"/>
                  </a:cubicBezTo>
                  <a:cubicBezTo>
                    <a:pt x="805494" y="36792"/>
                    <a:pt x="809549" y="36521"/>
                    <a:pt x="813605" y="36521"/>
                  </a:cubicBezTo>
                  <a:close/>
                  <a:moveTo>
                    <a:pt x="282748" y="36521"/>
                  </a:moveTo>
                  <a:cubicBezTo>
                    <a:pt x="284100" y="36521"/>
                    <a:pt x="285452" y="36251"/>
                    <a:pt x="286803" y="36521"/>
                  </a:cubicBezTo>
                  <a:cubicBezTo>
                    <a:pt x="288696" y="36792"/>
                    <a:pt x="290318" y="37603"/>
                    <a:pt x="291400" y="38955"/>
                  </a:cubicBezTo>
                  <a:cubicBezTo>
                    <a:pt x="293022" y="40577"/>
                    <a:pt x="293833" y="42740"/>
                    <a:pt x="293563" y="45173"/>
                  </a:cubicBezTo>
                  <a:lnTo>
                    <a:pt x="293563" y="45714"/>
                  </a:lnTo>
                  <a:lnTo>
                    <a:pt x="293563" y="98709"/>
                  </a:lnTo>
                  <a:lnTo>
                    <a:pt x="294104" y="99249"/>
                  </a:lnTo>
                  <a:lnTo>
                    <a:pt x="301404" y="99249"/>
                  </a:lnTo>
                  <a:cubicBezTo>
                    <a:pt x="302756" y="99249"/>
                    <a:pt x="304108" y="99790"/>
                    <a:pt x="305460" y="100331"/>
                  </a:cubicBezTo>
                  <a:cubicBezTo>
                    <a:pt x="307893" y="101953"/>
                    <a:pt x="309245" y="104116"/>
                    <a:pt x="309245" y="107090"/>
                  </a:cubicBezTo>
                  <a:cubicBezTo>
                    <a:pt x="309245" y="109253"/>
                    <a:pt x="308434" y="111417"/>
                    <a:pt x="306541" y="112768"/>
                  </a:cubicBezTo>
                  <a:cubicBezTo>
                    <a:pt x="305460" y="113580"/>
                    <a:pt x="304108" y="114391"/>
                    <a:pt x="302485" y="114661"/>
                  </a:cubicBezTo>
                  <a:lnTo>
                    <a:pt x="302215" y="114661"/>
                  </a:lnTo>
                  <a:lnTo>
                    <a:pt x="301945" y="114661"/>
                  </a:lnTo>
                  <a:cubicBezTo>
                    <a:pt x="301945" y="114391"/>
                    <a:pt x="301674" y="114661"/>
                    <a:pt x="301404" y="114661"/>
                  </a:cubicBezTo>
                  <a:lnTo>
                    <a:pt x="269229" y="114661"/>
                  </a:lnTo>
                  <a:lnTo>
                    <a:pt x="268688" y="114661"/>
                  </a:lnTo>
                  <a:lnTo>
                    <a:pt x="267877" y="114661"/>
                  </a:lnTo>
                  <a:cubicBezTo>
                    <a:pt x="267607" y="114391"/>
                    <a:pt x="267336" y="114391"/>
                    <a:pt x="267066" y="114391"/>
                  </a:cubicBezTo>
                  <a:cubicBezTo>
                    <a:pt x="265714" y="114120"/>
                    <a:pt x="264632" y="113309"/>
                    <a:pt x="263551" y="112498"/>
                  </a:cubicBezTo>
                  <a:cubicBezTo>
                    <a:pt x="261929" y="110876"/>
                    <a:pt x="261117" y="108983"/>
                    <a:pt x="261117" y="106820"/>
                  </a:cubicBezTo>
                  <a:cubicBezTo>
                    <a:pt x="261117" y="104927"/>
                    <a:pt x="261658" y="103035"/>
                    <a:pt x="263281" y="101683"/>
                  </a:cubicBezTo>
                  <a:cubicBezTo>
                    <a:pt x="264903" y="100061"/>
                    <a:pt x="266795" y="99249"/>
                    <a:pt x="268958" y="99249"/>
                  </a:cubicBezTo>
                  <a:lnTo>
                    <a:pt x="276800" y="99249"/>
                  </a:lnTo>
                  <a:cubicBezTo>
                    <a:pt x="277070" y="99249"/>
                    <a:pt x="277340" y="99249"/>
                    <a:pt x="277340" y="98709"/>
                  </a:cubicBezTo>
                  <a:lnTo>
                    <a:pt x="277340" y="52744"/>
                  </a:lnTo>
                  <a:lnTo>
                    <a:pt x="276800" y="52203"/>
                  </a:lnTo>
                  <a:lnTo>
                    <a:pt x="270851" y="52203"/>
                  </a:lnTo>
                  <a:cubicBezTo>
                    <a:pt x="267607" y="52203"/>
                    <a:pt x="265173" y="50581"/>
                    <a:pt x="263551" y="47607"/>
                  </a:cubicBezTo>
                  <a:cubicBezTo>
                    <a:pt x="262740" y="45985"/>
                    <a:pt x="262740" y="44092"/>
                    <a:pt x="263281" y="41929"/>
                  </a:cubicBezTo>
                  <a:cubicBezTo>
                    <a:pt x="264362" y="38955"/>
                    <a:pt x="267336" y="36792"/>
                    <a:pt x="270581" y="36792"/>
                  </a:cubicBezTo>
                  <a:cubicBezTo>
                    <a:pt x="274637" y="36792"/>
                    <a:pt x="278692" y="36521"/>
                    <a:pt x="282748" y="36521"/>
                  </a:cubicBezTo>
                  <a:close/>
                  <a:moveTo>
                    <a:pt x="206731" y="36521"/>
                  </a:moveTo>
                  <a:cubicBezTo>
                    <a:pt x="208083" y="36521"/>
                    <a:pt x="209435" y="36251"/>
                    <a:pt x="210787" y="36521"/>
                  </a:cubicBezTo>
                  <a:cubicBezTo>
                    <a:pt x="212679" y="36792"/>
                    <a:pt x="214302" y="37603"/>
                    <a:pt x="215383" y="38955"/>
                  </a:cubicBezTo>
                  <a:cubicBezTo>
                    <a:pt x="217005" y="40577"/>
                    <a:pt x="217816" y="42740"/>
                    <a:pt x="217546" y="45173"/>
                  </a:cubicBezTo>
                  <a:lnTo>
                    <a:pt x="217546" y="45714"/>
                  </a:lnTo>
                  <a:lnTo>
                    <a:pt x="217546" y="98709"/>
                  </a:lnTo>
                  <a:lnTo>
                    <a:pt x="218087" y="99249"/>
                  </a:lnTo>
                  <a:lnTo>
                    <a:pt x="225387" y="99249"/>
                  </a:lnTo>
                  <a:cubicBezTo>
                    <a:pt x="226739" y="99249"/>
                    <a:pt x="228091" y="99790"/>
                    <a:pt x="229443" y="100331"/>
                  </a:cubicBezTo>
                  <a:cubicBezTo>
                    <a:pt x="231876" y="101953"/>
                    <a:pt x="233228" y="104116"/>
                    <a:pt x="233228" y="107090"/>
                  </a:cubicBezTo>
                  <a:cubicBezTo>
                    <a:pt x="233228" y="109253"/>
                    <a:pt x="232417" y="111417"/>
                    <a:pt x="230524" y="112768"/>
                  </a:cubicBezTo>
                  <a:cubicBezTo>
                    <a:pt x="229443" y="113580"/>
                    <a:pt x="228091" y="114391"/>
                    <a:pt x="226468" y="114661"/>
                  </a:cubicBezTo>
                  <a:lnTo>
                    <a:pt x="226198" y="114661"/>
                  </a:lnTo>
                  <a:lnTo>
                    <a:pt x="225928" y="114661"/>
                  </a:lnTo>
                  <a:cubicBezTo>
                    <a:pt x="225928" y="114391"/>
                    <a:pt x="225657" y="114661"/>
                    <a:pt x="225387" y="114661"/>
                  </a:cubicBezTo>
                  <a:lnTo>
                    <a:pt x="193212" y="114661"/>
                  </a:lnTo>
                  <a:lnTo>
                    <a:pt x="192671" y="114661"/>
                  </a:lnTo>
                  <a:lnTo>
                    <a:pt x="191860" y="114661"/>
                  </a:lnTo>
                  <a:cubicBezTo>
                    <a:pt x="191590" y="114391"/>
                    <a:pt x="191319" y="114391"/>
                    <a:pt x="191049" y="114391"/>
                  </a:cubicBezTo>
                  <a:cubicBezTo>
                    <a:pt x="189697" y="114120"/>
                    <a:pt x="188616" y="113309"/>
                    <a:pt x="187534" y="112498"/>
                  </a:cubicBezTo>
                  <a:cubicBezTo>
                    <a:pt x="185912" y="110876"/>
                    <a:pt x="185101" y="108983"/>
                    <a:pt x="185101" y="106820"/>
                  </a:cubicBezTo>
                  <a:cubicBezTo>
                    <a:pt x="185101" y="104927"/>
                    <a:pt x="185642" y="103035"/>
                    <a:pt x="187264" y="101683"/>
                  </a:cubicBezTo>
                  <a:cubicBezTo>
                    <a:pt x="188886" y="100061"/>
                    <a:pt x="190779" y="99249"/>
                    <a:pt x="192942" y="99249"/>
                  </a:cubicBezTo>
                  <a:lnTo>
                    <a:pt x="200783" y="99249"/>
                  </a:lnTo>
                  <a:cubicBezTo>
                    <a:pt x="201053" y="99249"/>
                    <a:pt x="201323" y="99249"/>
                    <a:pt x="201323" y="98709"/>
                  </a:cubicBezTo>
                  <a:lnTo>
                    <a:pt x="201323" y="52744"/>
                  </a:lnTo>
                  <a:lnTo>
                    <a:pt x="200783" y="52203"/>
                  </a:lnTo>
                  <a:lnTo>
                    <a:pt x="194834" y="52203"/>
                  </a:lnTo>
                  <a:cubicBezTo>
                    <a:pt x="191590" y="52203"/>
                    <a:pt x="189156" y="50581"/>
                    <a:pt x="187534" y="47607"/>
                  </a:cubicBezTo>
                  <a:cubicBezTo>
                    <a:pt x="186723" y="45985"/>
                    <a:pt x="186723" y="44092"/>
                    <a:pt x="187264" y="41929"/>
                  </a:cubicBezTo>
                  <a:cubicBezTo>
                    <a:pt x="188345" y="38955"/>
                    <a:pt x="191319" y="36792"/>
                    <a:pt x="194564" y="36792"/>
                  </a:cubicBezTo>
                  <a:cubicBezTo>
                    <a:pt x="198620" y="36792"/>
                    <a:pt x="202675" y="36521"/>
                    <a:pt x="206731" y="36521"/>
                  </a:cubicBezTo>
                  <a:close/>
                  <a:moveTo>
                    <a:pt x="2627559" y="36452"/>
                  </a:moveTo>
                  <a:cubicBezTo>
                    <a:pt x="2631737" y="36182"/>
                    <a:pt x="2635916" y="36993"/>
                    <a:pt x="2639849" y="38615"/>
                  </a:cubicBezTo>
                  <a:cubicBezTo>
                    <a:pt x="2642553" y="39697"/>
                    <a:pt x="2645011" y="41319"/>
                    <a:pt x="2647223" y="43212"/>
                  </a:cubicBezTo>
                  <a:cubicBezTo>
                    <a:pt x="2648452" y="44293"/>
                    <a:pt x="2649435" y="45375"/>
                    <a:pt x="2650664" y="46456"/>
                  </a:cubicBezTo>
                  <a:cubicBezTo>
                    <a:pt x="2651893" y="47808"/>
                    <a:pt x="2653122" y="49430"/>
                    <a:pt x="2654106" y="50782"/>
                  </a:cubicBezTo>
                  <a:cubicBezTo>
                    <a:pt x="2654843" y="51864"/>
                    <a:pt x="2655580" y="53216"/>
                    <a:pt x="2656072" y="54297"/>
                  </a:cubicBezTo>
                  <a:cubicBezTo>
                    <a:pt x="2657055" y="55920"/>
                    <a:pt x="2657792" y="57812"/>
                    <a:pt x="2658284" y="59705"/>
                  </a:cubicBezTo>
                  <a:cubicBezTo>
                    <a:pt x="2658776" y="60786"/>
                    <a:pt x="2659022" y="62138"/>
                    <a:pt x="2659267" y="63220"/>
                  </a:cubicBezTo>
                  <a:cubicBezTo>
                    <a:pt x="2659759" y="64842"/>
                    <a:pt x="2660005" y="66735"/>
                    <a:pt x="2660251" y="68357"/>
                  </a:cubicBezTo>
                  <a:cubicBezTo>
                    <a:pt x="2660988" y="73224"/>
                    <a:pt x="2660988" y="78091"/>
                    <a:pt x="2660005" y="82687"/>
                  </a:cubicBezTo>
                  <a:cubicBezTo>
                    <a:pt x="2659759" y="84310"/>
                    <a:pt x="2659513" y="85932"/>
                    <a:pt x="2659022" y="87554"/>
                  </a:cubicBezTo>
                  <a:cubicBezTo>
                    <a:pt x="2658530" y="88906"/>
                    <a:pt x="2658284" y="89987"/>
                    <a:pt x="2657792" y="91339"/>
                  </a:cubicBezTo>
                  <a:cubicBezTo>
                    <a:pt x="2657301" y="92150"/>
                    <a:pt x="2657055" y="92962"/>
                    <a:pt x="2656809" y="93773"/>
                  </a:cubicBezTo>
                  <a:cubicBezTo>
                    <a:pt x="2656072" y="95395"/>
                    <a:pt x="2655334" y="96747"/>
                    <a:pt x="2654597" y="98099"/>
                  </a:cubicBezTo>
                  <a:lnTo>
                    <a:pt x="2652385" y="101343"/>
                  </a:lnTo>
                  <a:cubicBezTo>
                    <a:pt x="2651402" y="102695"/>
                    <a:pt x="2650173" y="104047"/>
                    <a:pt x="2648944" y="105129"/>
                  </a:cubicBezTo>
                  <a:cubicBezTo>
                    <a:pt x="2647960" y="106210"/>
                    <a:pt x="2646731" y="107021"/>
                    <a:pt x="2645748" y="107832"/>
                  </a:cubicBezTo>
                  <a:cubicBezTo>
                    <a:pt x="2644027" y="109185"/>
                    <a:pt x="2642061" y="110266"/>
                    <a:pt x="2640095" y="111077"/>
                  </a:cubicBezTo>
                  <a:cubicBezTo>
                    <a:pt x="2637637" y="112159"/>
                    <a:pt x="2634933" y="112970"/>
                    <a:pt x="2632229" y="113240"/>
                  </a:cubicBezTo>
                  <a:cubicBezTo>
                    <a:pt x="2631737" y="113240"/>
                    <a:pt x="2631492" y="113240"/>
                    <a:pt x="2631000" y="113511"/>
                  </a:cubicBezTo>
                  <a:lnTo>
                    <a:pt x="2626821" y="113511"/>
                  </a:lnTo>
                  <a:cubicBezTo>
                    <a:pt x="2626821" y="113240"/>
                    <a:pt x="2626576" y="113511"/>
                    <a:pt x="2626576" y="113511"/>
                  </a:cubicBezTo>
                  <a:cubicBezTo>
                    <a:pt x="2621905" y="112970"/>
                    <a:pt x="2617481" y="111348"/>
                    <a:pt x="2613548" y="108644"/>
                  </a:cubicBezTo>
                  <a:cubicBezTo>
                    <a:pt x="2611827" y="107562"/>
                    <a:pt x="2610353" y="106210"/>
                    <a:pt x="2608878" y="104588"/>
                  </a:cubicBezTo>
                  <a:cubicBezTo>
                    <a:pt x="2607649" y="103506"/>
                    <a:pt x="2606665" y="102155"/>
                    <a:pt x="2605682" y="100803"/>
                  </a:cubicBezTo>
                  <a:cubicBezTo>
                    <a:pt x="2604945" y="99721"/>
                    <a:pt x="2604207" y="98640"/>
                    <a:pt x="2603470" y="97288"/>
                  </a:cubicBezTo>
                  <a:cubicBezTo>
                    <a:pt x="2602732" y="95936"/>
                    <a:pt x="2601995" y="94584"/>
                    <a:pt x="2601258" y="92962"/>
                  </a:cubicBezTo>
                  <a:cubicBezTo>
                    <a:pt x="2600766" y="91880"/>
                    <a:pt x="2600520" y="91069"/>
                    <a:pt x="2600029" y="89987"/>
                  </a:cubicBezTo>
                  <a:cubicBezTo>
                    <a:pt x="2599537" y="88906"/>
                    <a:pt x="2599291" y="87824"/>
                    <a:pt x="2599046" y="86743"/>
                  </a:cubicBezTo>
                  <a:cubicBezTo>
                    <a:pt x="2598554" y="84850"/>
                    <a:pt x="2598308" y="82958"/>
                    <a:pt x="2597816" y="81065"/>
                  </a:cubicBezTo>
                  <a:cubicBezTo>
                    <a:pt x="2597571" y="79983"/>
                    <a:pt x="2597571" y="79172"/>
                    <a:pt x="2597571" y="78091"/>
                  </a:cubicBezTo>
                  <a:cubicBezTo>
                    <a:pt x="2597816" y="78902"/>
                    <a:pt x="2598062" y="78631"/>
                    <a:pt x="2597816" y="78361"/>
                  </a:cubicBezTo>
                  <a:lnTo>
                    <a:pt x="2597816" y="72683"/>
                  </a:lnTo>
                  <a:lnTo>
                    <a:pt x="2597816" y="72413"/>
                  </a:lnTo>
                  <a:cubicBezTo>
                    <a:pt x="2597816" y="70791"/>
                    <a:pt x="2598062" y="69439"/>
                    <a:pt x="2598308" y="67816"/>
                  </a:cubicBezTo>
                  <a:cubicBezTo>
                    <a:pt x="2598800" y="65924"/>
                    <a:pt x="2598800" y="64031"/>
                    <a:pt x="2599537" y="62409"/>
                  </a:cubicBezTo>
                  <a:cubicBezTo>
                    <a:pt x="2600029" y="61327"/>
                    <a:pt x="2600274" y="60246"/>
                    <a:pt x="2600520" y="59164"/>
                  </a:cubicBezTo>
                  <a:cubicBezTo>
                    <a:pt x="2601258" y="57542"/>
                    <a:pt x="2601995" y="55649"/>
                    <a:pt x="2602732" y="54027"/>
                  </a:cubicBezTo>
                  <a:cubicBezTo>
                    <a:pt x="2603470" y="52675"/>
                    <a:pt x="2604207" y="51593"/>
                    <a:pt x="2604945" y="50242"/>
                  </a:cubicBezTo>
                  <a:cubicBezTo>
                    <a:pt x="2605682" y="49160"/>
                    <a:pt x="2606420" y="48079"/>
                    <a:pt x="2607157" y="47267"/>
                  </a:cubicBezTo>
                  <a:lnTo>
                    <a:pt x="2609369" y="44834"/>
                  </a:lnTo>
                  <a:cubicBezTo>
                    <a:pt x="2610844" y="43482"/>
                    <a:pt x="2612319" y="42130"/>
                    <a:pt x="2614039" y="41049"/>
                  </a:cubicBezTo>
                  <a:cubicBezTo>
                    <a:pt x="2615269" y="40237"/>
                    <a:pt x="2616743" y="39426"/>
                    <a:pt x="2617972" y="38886"/>
                  </a:cubicBezTo>
                  <a:cubicBezTo>
                    <a:pt x="2620922" y="37534"/>
                    <a:pt x="2624118" y="36723"/>
                    <a:pt x="2627559" y="36452"/>
                  </a:cubicBezTo>
                  <a:close/>
                  <a:moveTo>
                    <a:pt x="2445604" y="36452"/>
                  </a:moveTo>
                  <a:cubicBezTo>
                    <a:pt x="2449782" y="36182"/>
                    <a:pt x="2453961" y="36993"/>
                    <a:pt x="2457894" y="38615"/>
                  </a:cubicBezTo>
                  <a:cubicBezTo>
                    <a:pt x="2460598" y="39697"/>
                    <a:pt x="2463056" y="41319"/>
                    <a:pt x="2465268" y="43212"/>
                  </a:cubicBezTo>
                  <a:cubicBezTo>
                    <a:pt x="2466497" y="44293"/>
                    <a:pt x="2467480" y="45375"/>
                    <a:pt x="2468709" y="46456"/>
                  </a:cubicBezTo>
                  <a:cubicBezTo>
                    <a:pt x="2469938" y="47808"/>
                    <a:pt x="2471167" y="49430"/>
                    <a:pt x="2472151" y="50782"/>
                  </a:cubicBezTo>
                  <a:cubicBezTo>
                    <a:pt x="2472888" y="51864"/>
                    <a:pt x="2473625" y="53216"/>
                    <a:pt x="2474117" y="54297"/>
                  </a:cubicBezTo>
                  <a:cubicBezTo>
                    <a:pt x="2475100" y="55920"/>
                    <a:pt x="2475837" y="57812"/>
                    <a:pt x="2476329" y="59705"/>
                  </a:cubicBezTo>
                  <a:cubicBezTo>
                    <a:pt x="2476821" y="60786"/>
                    <a:pt x="2477067" y="62138"/>
                    <a:pt x="2477312" y="63220"/>
                  </a:cubicBezTo>
                  <a:cubicBezTo>
                    <a:pt x="2477804" y="64842"/>
                    <a:pt x="2478050" y="66735"/>
                    <a:pt x="2478296" y="68357"/>
                  </a:cubicBezTo>
                  <a:cubicBezTo>
                    <a:pt x="2479033" y="73224"/>
                    <a:pt x="2479033" y="78091"/>
                    <a:pt x="2478050" y="82687"/>
                  </a:cubicBezTo>
                  <a:cubicBezTo>
                    <a:pt x="2477804" y="84310"/>
                    <a:pt x="2477558" y="85932"/>
                    <a:pt x="2477067" y="87554"/>
                  </a:cubicBezTo>
                  <a:cubicBezTo>
                    <a:pt x="2476575" y="88906"/>
                    <a:pt x="2476329" y="89987"/>
                    <a:pt x="2475837" y="91339"/>
                  </a:cubicBezTo>
                  <a:cubicBezTo>
                    <a:pt x="2475346" y="92150"/>
                    <a:pt x="2475100" y="92962"/>
                    <a:pt x="2474854" y="93773"/>
                  </a:cubicBezTo>
                  <a:cubicBezTo>
                    <a:pt x="2474117" y="95395"/>
                    <a:pt x="2473379" y="96747"/>
                    <a:pt x="2472642" y="98099"/>
                  </a:cubicBezTo>
                  <a:lnTo>
                    <a:pt x="2470430" y="101343"/>
                  </a:lnTo>
                  <a:cubicBezTo>
                    <a:pt x="2469447" y="102695"/>
                    <a:pt x="2468218" y="104047"/>
                    <a:pt x="2466989" y="105129"/>
                  </a:cubicBezTo>
                  <a:cubicBezTo>
                    <a:pt x="2466005" y="106210"/>
                    <a:pt x="2464776" y="107021"/>
                    <a:pt x="2463793" y="107832"/>
                  </a:cubicBezTo>
                  <a:cubicBezTo>
                    <a:pt x="2462072" y="109185"/>
                    <a:pt x="2460106" y="110266"/>
                    <a:pt x="2458140" y="111077"/>
                  </a:cubicBezTo>
                  <a:cubicBezTo>
                    <a:pt x="2455682" y="112159"/>
                    <a:pt x="2452978" y="112970"/>
                    <a:pt x="2450274" y="113240"/>
                  </a:cubicBezTo>
                  <a:cubicBezTo>
                    <a:pt x="2449782" y="113240"/>
                    <a:pt x="2449537" y="113240"/>
                    <a:pt x="2449045" y="113511"/>
                  </a:cubicBezTo>
                  <a:lnTo>
                    <a:pt x="2444866" y="113511"/>
                  </a:lnTo>
                  <a:cubicBezTo>
                    <a:pt x="2444866" y="113240"/>
                    <a:pt x="2444621" y="113511"/>
                    <a:pt x="2444621" y="113511"/>
                  </a:cubicBezTo>
                  <a:cubicBezTo>
                    <a:pt x="2439950" y="112970"/>
                    <a:pt x="2435526" y="111348"/>
                    <a:pt x="2431593" y="108644"/>
                  </a:cubicBezTo>
                  <a:cubicBezTo>
                    <a:pt x="2429872" y="107562"/>
                    <a:pt x="2428398" y="106210"/>
                    <a:pt x="2426923" y="104588"/>
                  </a:cubicBezTo>
                  <a:cubicBezTo>
                    <a:pt x="2425694" y="103506"/>
                    <a:pt x="2424710" y="102155"/>
                    <a:pt x="2423727" y="100803"/>
                  </a:cubicBezTo>
                  <a:cubicBezTo>
                    <a:pt x="2422990" y="99721"/>
                    <a:pt x="2422252" y="98640"/>
                    <a:pt x="2421515" y="97288"/>
                  </a:cubicBezTo>
                  <a:cubicBezTo>
                    <a:pt x="2420777" y="95936"/>
                    <a:pt x="2420040" y="94584"/>
                    <a:pt x="2419303" y="92962"/>
                  </a:cubicBezTo>
                  <a:cubicBezTo>
                    <a:pt x="2418811" y="91880"/>
                    <a:pt x="2418565" y="91069"/>
                    <a:pt x="2418074" y="89987"/>
                  </a:cubicBezTo>
                  <a:cubicBezTo>
                    <a:pt x="2417582" y="88906"/>
                    <a:pt x="2417336" y="87824"/>
                    <a:pt x="2417091" y="86743"/>
                  </a:cubicBezTo>
                  <a:cubicBezTo>
                    <a:pt x="2416599" y="84850"/>
                    <a:pt x="2416353" y="82958"/>
                    <a:pt x="2415861" y="81065"/>
                  </a:cubicBezTo>
                  <a:cubicBezTo>
                    <a:pt x="2415616" y="79983"/>
                    <a:pt x="2415616" y="79172"/>
                    <a:pt x="2415616" y="78091"/>
                  </a:cubicBezTo>
                  <a:cubicBezTo>
                    <a:pt x="2415861" y="78902"/>
                    <a:pt x="2416107" y="78631"/>
                    <a:pt x="2415861" y="78361"/>
                  </a:cubicBezTo>
                  <a:lnTo>
                    <a:pt x="2415861" y="72683"/>
                  </a:lnTo>
                  <a:lnTo>
                    <a:pt x="2415861" y="72413"/>
                  </a:lnTo>
                  <a:cubicBezTo>
                    <a:pt x="2415861" y="70791"/>
                    <a:pt x="2416107" y="69439"/>
                    <a:pt x="2416353" y="67816"/>
                  </a:cubicBezTo>
                  <a:cubicBezTo>
                    <a:pt x="2416845" y="65924"/>
                    <a:pt x="2416845" y="64031"/>
                    <a:pt x="2417582" y="62409"/>
                  </a:cubicBezTo>
                  <a:cubicBezTo>
                    <a:pt x="2418074" y="61327"/>
                    <a:pt x="2418319" y="60246"/>
                    <a:pt x="2418565" y="59164"/>
                  </a:cubicBezTo>
                  <a:cubicBezTo>
                    <a:pt x="2419303" y="57542"/>
                    <a:pt x="2420040" y="55649"/>
                    <a:pt x="2420777" y="54027"/>
                  </a:cubicBezTo>
                  <a:cubicBezTo>
                    <a:pt x="2421515" y="52675"/>
                    <a:pt x="2422252" y="51593"/>
                    <a:pt x="2422990" y="50242"/>
                  </a:cubicBezTo>
                  <a:cubicBezTo>
                    <a:pt x="2423727" y="49160"/>
                    <a:pt x="2424465" y="48079"/>
                    <a:pt x="2425202" y="47267"/>
                  </a:cubicBezTo>
                  <a:lnTo>
                    <a:pt x="2427414" y="44834"/>
                  </a:lnTo>
                  <a:cubicBezTo>
                    <a:pt x="2428889" y="43482"/>
                    <a:pt x="2430364" y="42130"/>
                    <a:pt x="2432084" y="41049"/>
                  </a:cubicBezTo>
                  <a:cubicBezTo>
                    <a:pt x="2433314" y="40237"/>
                    <a:pt x="2434788" y="39426"/>
                    <a:pt x="2436017" y="38886"/>
                  </a:cubicBezTo>
                  <a:cubicBezTo>
                    <a:pt x="2438967" y="37534"/>
                    <a:pt x="2442163" y="36723"/>
                    <a:pt x="2445604" y="36452"/>
                  </a:cubicBezTo>
                  <a:close/>
                  <a:moveTo>
                    <a:pt x="2202558" y="36452"/>
                  </a:moveTo>
                  <a:cubicBezTo>
                    <a:pt x="2206736" y="36182"/>
                    <a:pt x="2210915" y="36993"/>
                    <a:pt x="2214848" y="38615"/>
                  </a:cubicBezTo>
                  <a:cubicBezTo>
                    <a:pt x="2217552" y="39697"/>
                    <a:pt x="2220010" y="41319"/>
                    <a:pt x="2222222" y="43212"/>
                  </a:cubicBezTo>
                  <a:cubicBezTo>
                    <a:pt x="2223451" y="44293"/>
                    <a:pt x="2224434" y="45375"/>
                    <a:pt x="2225663" y="46456"/>
                  </a:cubicBezTo>
                  <a:cubicBezTo>
                    <a:pt x="2226892" y="47808"/>
                    <a:pt x="2228121" y="49430"/>
                    <a:pt x="2229105" y="50782"/>
                  </a:cubicBezTo>
                  <a:cubicBezTo>
                    <a:pt x="2229842" y="51864"/>
                    <a:pt x="2230579" y="53216"/>
                    <a:pt x="2231071" y="54297"/>
                  </a:cubicBezTo>
                  <a:cubicBezTo>
                    <a:pt x="2232054" y="55920"/>
                    <a:pt x="2232791" y="57812"/>
                    <a:pt x="2233283" y="59705"/>
                  </a:cubicBezTo>
                  <a:cubicBezTo>
                    <a:pt x="2233775" y="60786"/>
                    <a:pt x="2234021" y="62138"/>
                    <a:pt x="2234266" y="63220"/>
                  </a:cubicBezTo>
                  <a:cubicBezTo>
                    <a:pt x="2234758" y="64842"/>
                    <a:pt x="2235004" y="66735"/>
                    <a:pt x="2235250" y="68357"/>
                  </a:cubicBezTo>
                  <a:cubicBezTo>
                    <a:pt x="2235987" y="73224"/>
                    <a:pt x="2235987" y="78091"/>
                    <a:pt x="2235004" y="82687"/>
                  </a:cubicBezTo>
                  <a:cubicBezTo>
                    <a:pt x="2234758" y="84310"/>
                    <a:pt x="2234512" y="85932"/>
                    <a:pt x="2234021" y="87554"/>
                  </a:cubicBezTo>
                  <a:cubicBezTo>
                    <a:pt x="2233529" y="88906"/>
                    <a:pt x="2233283" y="89987"/>
                    <a:pt x="2232791" y="91339"/>
                  </a:cubicBezTo>
                  <a:cubicBezTo>
                    <a:pt x="2232300" y="92150"/>
                    <a:pt x="2232054" y="92962"/>
                    <a:pt x="2231808" y="93773"/>
                  </a:cubicBezTo>
                  <a:cubicBezTo>
                    <a:pt x="2231071" y="95395"/>
                    <a:pt x="2230333" y="96747"/>
                    <a:pt x="2229596" y="98099"/>
                  </a:cubicBezTo>
                  <a:lnTo>
                    <a:pt x="2227384" y="101343"/>
                  </a:lnTo>
                  <a:cubicBezTo>
                    <a:pt x="2226401" y="102695"/>
                    <a:pt x="2225172" y="104047"/>
                    <a:pt x="2223943" y="105129"/>
                  </a:cubicBezTo>
                  <a:cubicBezTo>
                    <a:pt x="2222959" y="106210"/>
                    <a:pt x="2221730" y="107021"/>
                    <a:pt x="2220747" y="107832"/>
                  </a:cubicBezTo>
                  <a:cubicBezTo>
                    <a:pt x="2219026" y="109185"/>
                    <a:pt x="2217060" y="110266"/>
                    <a:pt x="2215094" y="111077"/>
                  </a:cubicBezTo>
                  <a:cubicBezTo>
                    <a:pt x="2212636" y="112159"/>
                    <a:pt x="2209932" y="112970"/>
                    <a:pt x="2207228" y="113240"/>
                  </a:cubicBezTo>
                  <a:cubicBezTo>
                    <a:pt x="2206736" y="113240"/>
                    <a:pt x="2206491" y="113240"/>
                    <a:pt x="2205999" y="113511"/>
                  </a:cubicBezTo>
                  <a:lnTo>
                    <a:pt x="2201820" y="113511"/>
                  </a:lnTo>
                  <a:cubicBezTo>
                    <a:pt x="2201820" y="113240"/>
                    <a:pt x="2201575" y="113511"/>
                    <a:pt x="2201575" y="113511"/>
                  </a:cubicBezTo>
                  <a:cubicBezTo>
                    <a:pt x="2196904" y="112970"/>
                    <a:pt x="2192480" y="111348"/>
                    <a:pt x="2188547" y="108644"/>
                  </a:cubicBezTo>
                  <a:cubicBezTo>
                    <a:pt x="2186826" y="107562"/>
                    <a:pt x="2185352" y="106210"/>
                    <a:pt x="2183877" y="104588"/>
                  </a:cubicBezTo>
                  <a:cubicBezTo>
                    <a:pt x="2182648" y="103506"/>
                    <a:pt x="2181664" y="102155"/>
                    <a:pt x="2180681" y="100803"/>
                  </a:cubicBezTo>
                  <a:cubicBezTo>
                    <a:pt x="2179944" y="99721"/>
                    <a:pt x="2179206" y="98640"/>
                    <a:pt x="2178469" y="97288"/>
                  </a:cubicBezTo>
                  <a:cubicBezTo>
                    <a:pt x="2177731" y="95936"/>
                    <a:pt x="2176994" y="94584"/>
                    <a:pt x="2176257" y="92962"/>
                  </a:cubicBezTo>
                  <a:cubicBezTo>
                    <a:pt x="2175765" y="91880"/>
                    <a:pt x="2175519" y="91069"/>
                    <a:pt x="2175028" y="89987"/>
                  </a:cubicBezTo>
                  <a:cubicBezTo>
                    <a:pt x="2174536" y="88906"/>
                    <a:pt x="2174290" y="87824"/>
                    <a:pt x="2174045" y="86743"/>
                  </a:cubicBezTo>
                  <a:cubicBezTo>
                    <a:pt x="2173553" y="84850"/>
                    <a:pt x="2173307" y="82958"/>
                    <a:pt x="2172815" y="81065"/>
                  </a:cubicBezTo>
                  <a:cubicBezTo>
                    <a:pt x="2172570" y="79983"/>
                    <a:pt x="2172570" y="79172"/>
                    <a:pt x="2172570" y="78091"/>
                  </a:cubicBezTo>
                  <a:cubicBezTo>
                    <a:pt x="2172815" y="78902"/>
                    <a:pt x="2173061" y="78631"/>
                    <a:pt x="2172815" y="78361"/>
                  </a:cubicBezTo>
                  <a:lnTo>
                    <a:pt x="2172815" y="72683"/>
                  </a:lnTo>
                  <a:lnTo>
                    <a:pt x="2172815" y="72413"/>
                  </a:lnTo>
                  <a:cubicBezTo>
                    <a:pt x="2172815" y="70791"/>
                    <a:pt x="2173061" y="69439"/>
                    <a:pt x="2173307" y="67816"/>
                  </a:cubicBezTo>
                  <a:cubicBezTo>
                    <a:pt x="2173799" y="65924"/>
                    <a:pt x="2173799" y="64031"/>
                    <a:pt x="2174536" y="62409"/>
                  </a:cubicBezTo>
                  <a:cubicBezTo>
                    <a:pt x="2175028" y="61327"/>
                    <a:pt x="2175273" y="60246"/>
                    <a:pt x="2175519" y="59164"/>
                  </a:cubicBezTo>
                  <a:cubicBezTo>
                    <a:pt x="2176257" y="57542"/>
                    <a:pt x="2176994" y="55649"/>
                    <a:pt x="2177731" y="54027"/>
                  </a:cubicBezTo>
                  <a:cubicBezTo>
                    <a:pt x="2178469" y="52675"/>
                    <a:pt x="2179206" y="51593"/>
                    <a:pt x="2179944" y="50242"/>
                  </a:cubicBezTo>
                  <a:cubicBezTo>
                    <a:pt x="2180681" y="49160"/>
                    <a:pt x="2181419" y="48079"/>
                    <a:pt x="2182156" y="47267"/>
                  </a:cubicBezTo>
                  <a:lnTo>
                    <a:pt x="2184368" y="44834"/>
                  </a:lnTo>
                  <a:cubicBezTo>
                    <a:pt x="2185843" y="43482"/>
                    <a:pt x="2187318" y="42130"/>
                    <a:pt x="2189038" y="41049"/>
                  </a:cubicBezTo>
                  <a:cubicBezTo>
                    <a:pt x="2190268" y="40237"/>
                    <a:pt x="2191742" y="39426"/>
                    <a:pt x="2192971" y="38886"/>
                  </a:cubicBezTo>
                  <a:cubicBezTo>
                    <a:pt x="2195921" y="37534"/>
                    <a:pt x="2199117" y="36723"/>
                    <a:pt x="2202558" y="36452"/>
                  </a:cubicBezTo>
                  <a:close/>
                  <a:moveTo>
                    <a:pt x="2020607" y="36452"/>
                  </a:moveTo>
                  <a:cubicBezTo>
                    <a:pt x="2024785" y="36182"/>
                    <a:pt x="2028964" y="36993"/>
                    <a:pt x="2032897" y="38615"/>
                  </a:cubicBezTo>
                  <a:cubicBezTo>
                    <a:pt x="2035601" y="39697"/>
                    <a:pt x="2038059" y="41319"/>
                    <a:pt x="2040271" y="43212"/>
                  </a:cubicBezTo>
                  <a:cubicBezTo>
                    <a:pt x="2041500" y="44293"/>
                    <a:pt x="2042483" y="45375"/>
                    <a:pt x="2043712" y="46456"/>
                  </a:cubicBezTo>
                  <a:cubicBezTo>
                    <a:pt x="2044941" y="47808"/>
                    <a:pt x="2046170" y="49430"/>
                    <a:pt x="2047154" y="50782"/>
                  </a:cubicBezTo>
                  <a:cubicBezTo>
                    <a:pt x="2047891" y="51864"/>
                    <a:pt x="2048628" y="53216"/>
                    <a:pt x="2049120" y="54297"/>
                  </a:cubicBezTo>
                  <a:cubicBezTo>
                    <a:pt x="2050103" y="55920"/>
                    <a:pt x="2050840" y="57812"/>
                    <a:pt x="2051332" y="59705"/>
                  </a:cubicBezTo>
                  <a:cubicBezTo>
                    <a:pt x="2051824" y="60786"/>
                    <a:pt x="2052070" y="62138"/>
                    <a:pt x="2052315" y="63220"/>
                  </a:cubicBezTo>
                  <a:cubicBezTo>
                    <a:pt x="2052807" y="64842"/>
                    <a:pt x="2053053" y="66735"/>
                    <a:pt x="2053299" y="68357"/>
                  </a:cubicBezTo>
                  <a:cubicBezTo>
                    <a:pt x="2054036" y="73224"/>
                    <a:pt x="2054036" y="78091"/>
                    <a:pt x="2053053" y="82687"/>
                  </a:cubicBezTo>
                  <a:cubicBezTo>
                    <a:pt x="2052807" y="84310"/>
                    <a:pt x="2052561" y="85932"/>
                    <a:pt x="2052070" y="87554"/>
                  </a:cubicBezTo>
                  <a:cubicBezTo>
                    <a:pt x="2051578" y="88906"/>
                    <a:pt x="2051332" y="89987"/>
                    <a:pt x="2050840" y="91339"/>
                  </a:cubicBezTo>
                  <a:cubicBezTo>
                    <a:pt x="2050349" y="92150"/>
                    <a:pt x="2050103" y="92962"/>
                    <a:pt x="2049857" y="93773"/>
                  </a:cubicBezTo>
                  <a:cubicBezTo>
                    <a:pt x="2049120" y="95395"/>
                    <a:pt x="2048382" y="96747"/>
                    <a:pt x="2047645" y="98099"/>
                  </a:cubicBezTo>
                  <a:lnTo>
                    <a:pt x="2045433" y="101343"/>
                  </a:lnTo>
                  <a:cubicBezTo>
                    <a:pt x="2044450" y="102695"/>
                    <a:pt x="2043221" y="104047"/>
                    <a:pt x="2041992" y="105129"/>
                  </a:cubicBezTo>
                  <a:cubicBezTo>
                    <a:pt x="2041008" y="106210"/>
                    <a:pt x="2039779" y="107021"/>
                    <a:pt x="2038796" y="107832"/>
                  </a:cubicBezTo>
                  <a:cubicBezTo>
                    <a:pt x="2037075" y="109185"/>
                    <a:pt x="2035109" y="110266"/>
                    <a:pt x="2033143" y="111077"/>
                  </a:cubicBezTo>
                  <a:cubicBezTo>
                    <a:pt x="2030685" y="112159"/>
                    <a:pt x="2027981" y="112970"/>
                    <a:pt x="2025277" y="113240"/>
                  </a:cubicBezTo>
                  <a:cubicBezTo>
                    <a:pt x="2024785" y="113240"/>
                    <a:pt x="2024540" y="113240"/>
                    <a:pt x="2024048" y="113511"/>
                  </a:cubicBezTo>
                  <a:lnTo>
                    <a:pt x="2019869" y="113511"/>
                  </a:lnTo>
                  <a:cubicBezTo>
                    <a:pt x="2019869" y="113240"/>
                    <a:pt x="2019624" y="113511"/>
                    <a:pt x="2019624" y="113511"/>
                  </a:cubicBezTo>
                  <a:cubicBezTo>
                    <a:pt x="2014953" y="112970"/>
                    <a:pt x="2010529" y="111348"/>
                    <a:pt x="2006596" y="108644"/>
                  </a:cubicBezTo>
                  <a:cubicBezTo>
                    <a:pt x="2004875" y="107562"/>
                    <a:pt x="2003401" y="106210"/>
                    <a:pt x="2001926" y="104588"/>
                  </a:cubicBezTo>
                  <a:cubicBezTo>
                    <a:pt x="2000697" y="103506"/>
                    <a:pt x="1999713" y="102155"/>
                    <a:pt x="1998730" y="100803"/>
                  </a:cubicBezTo>
                  <a:cubicBezTo>
                    <a:pt x="1997993" y="99721"/>
                    <a:pt x="1997255" y="98640"/>
                    <a:pt x="1996518" y="97288"/>
                  </a:cubicBezTo>
                  <a:cubicBezTo>
                    <a:pt x="1995780" y="95936"/>
                    <a:pt x="1995043" y="94584"/>
                    <a:pt x="1994306" y="92962"/>
                  </a:cubicBezTo>
                  <a:cubicBezTo>
                    <a:pt x="1993814" y="91880"/>
                    <a:pt x="1993568" y="91069"/>
                    <a:pt x="1993077" y="89987"/>
                  </a:cubicBezTo>
                  <a:cubicBezTo>
                    <a:pt x="1992585" y="88906"/>
                    <a:pt x="1992339" y="87824"/>
                    <a:pt x="1992094" y="86743"/>
                  </a:cubicBezTo>
                  <a:cubicBezTo>
                    <a:pt x="1991602" y="84850"/>
                    <a:pt x="1991356" y="82958"/>
                    <a:pt x="1990864" y="81065"/>
                  </a:cubicBezTo>
                  <a:cubicBezTo>
                    <a:pt x="1990619" y="79983"/>
                    <a:pt x="1990619" y="79172"/>
                    <a:pt x="1990619" y="78091"/>
                  </a:cubicBezTo>
                  <a:cubicBezTo>
                    <a:pt x="1990864" y="78902"/>
                    <a:pt x="1991110" y="78631"/>
                    <a:pt x="1990864" y="78361"/>
                  </a:cubicBezTo>
                  <a:lnTo>
                    <a:pt x="1990864" y="72683"/>
                  </a:lnTo>
                  <a:lnTo>
                    <a:pt x="1990864" y="72413"/>
                  </a:lnTo>
                  <a:cubicBezTo>
                    <a:pt x="1990864" y="70791"/>
                    <a:pt x="1991110" y="69439"/>
                    <a:pt x="1991356" y="67816"/>
                  </a:cubicBezTo>
                  <a:cubicBezTo>
                    <a:pt x="1991848" y="65924"/>
                    <a:pt x="1991848" y="64031"/>
                    <a:pt x="1992585" y="62409"/>
                  </a:cubicBezTo>
                  <a:cubicBezTo>
                    <a:pt x="1993077" y="61327"/>
                    <a:pt x="1993322" y="60246"/>
                    <a:pt x="1993568" y="59164"/>
                  </a:cubicBezTo>
                  <a:cubicBezTo>
                    <a:pt x="1994306" y="57542"/>
                    <a:pt x="1995043" y="55649"/>
                    <a:pt x="1995780" y="54027"/>
                  </a:cubicBezTo>
                  <a:cubicBezTo>
                    <a:pt x="1996518" y="52675"/>
                    <a:pt x="1997255" y="51593"/>
                    <a:pt x="1997993" y="50242"/>
                  </a:cubicBezTo>
                  <a:cubicBezTo>
                    <a:pt x="1998730" y="49160"/>
                    <a:pt x="1999468" y="48079"/>
                    <a:pt x="2000205" y="47267"/>
                  </a:cubicBezTo>
                  <a:lnTo>
                    <a:pt x="2002417" y="44834"/>
                  </a:lnTo>
                  <a:cubicBezTo>
                    <a:pt x="2003892" y="43482"/>
                    <a:pt x="2005367" y="42130"/>
                    <a:pt x="2007087" y="41049"/>
                  </a:cubicBezTo>
                  <a:cubicBezTo>
                    <a:pt x="2008317" y="40237"/>
                    <a:pt x="2009791" y="39426"/>
                    <a:pt x="2011020" y="38886"/>
                  </a:cubicBezTo>
                  <a:cubicBezTo>
                    <a:pt x="2013970" y="37534"/>
                    <a:pt x="2017166" y="36723"/>
                    <a:pt x="2020607" y="36452"/>
                  </a:cubicBezTo>
                  <a:close/>
                  <a:moveTo>
                    <a:pt x="1595683" y="36452"/>
                  </a:moveTo>
                  <a:cubicBezTo>
                    <a:pt x="1599861" y="36182"/>
                    <a:pt x="1604040" y="36993"/>
                    <a:pt x="1607973" y="38615"/>
                  </a:cubicBezTo>
                  <a:cubicBezTo>
                    <a:pt x="1610677" y="39697"/>
                    <a:pt x="1613135" y="41319"/>
                    <a:pt x="1615347" y="43212"/>
                  </a:cubicBezTo>
                  <a:cubicBezTo>
                    <a:pt x="1616576" y="44293"/>
                    <a:pt x="1617559" y="45375"/>
                    <a:pt x="1618788" y="46456"/>
                  </a:cubicBezTo>
                  <a:cubicBezTo>
                    <a:pt x="1620017" y="47808"/>
                    <a:pt x="1621246" y="49430"/>
                    <a:pt x="1622230" y="50782"/>
                  </a:cubicBezTo>
                  <a:cubicBezTo>
                    <a:pt x="1622967" y="51864"/>
                    <a:pt x="1623704" y="53216"/>
                    <a:pt x="1624196" y="54297"/>
                  </a:cubicBezTo>
                  <a:cubicBezTo>
                    <a:pt x="1625179" y="55920"/>
                    <a:pt x="1625916" y="57812"/>
                    <a:pt x="1626408" y="59705"/>
                  </a:cubicBezTo>
                  <a:cubicBezTo>
                    <a:pt x="1626900" y="60786"/>
                    <a:pt x="1627146" y="62138"/>
                    <a:pt x="1627391" y="63220"/>
                  </a:cubicBezTo>
                  <a:cubicBezTo>
                    <a:pt x="1627883" y="64842"/>
                    <a:pt x="1628129" y="66735"/>
                    <a:pt x="1628374" y="68357"/>
                  </a:cubicBezTo>
                  <a:cubicBezTo>
                    <a:pt x="1629112" y="73224"/>
                    <a:pt x="1629112" y="78091"/>
                    <a:pt x="1628129" y="82687"/>
                  </a:cubicBezTo>
                  <a:cubicBezTo>
                    <a:pt x="1627883" y="84310"/>
                    <a:pt x="1627637" y="85932"/>
                    <a:pt x="1627146" y="87554"/>
                  </a:cubicBezTo>
                  <a:cubicBezTo>
                    <a:pt x="1626654" y="88906"/>
                    <a:pt x="1626408" y="89987"/>
                    <a:pt x="1625916" y="91339"/>
                  </a:cubicBezTo>
                  <a:cubicBezTo>
                    <a:pt x="1625425" y="92150"/>
                    <a:pt x="1625179" y="92962"/>
                    <a:pt x="1624933" y="93773"/>
                  </a:cubicBezTo>
                  <a:cubicBezTo>
                    <a:pt x="1624196" y="95395"/>
                    <a:pt x="1623458" y="96747"/>
                    <a:pt x="1622721" y="98099"/>
                  </a:cubicBezTo>
                  <a:lnTo>
                    <a:pt x="1620509" y="101343"/>
                  </a:lnTo>
                  <a:cubicBezTo>
                    <a:pt x="1619526" y="102695"/>
                    <a:pt x="1618297" y="104047"/>
                    <a:pt x="1617068" y="105129"/>
                  </a:cubicBezTo>
                  <a:cubicBezTo>
                    <a:pt x="1616084" y="106210"/>
                    <a:pt x="1614855" y="107021"/>
                    <a:pt x="1613872" y="107832"/>
                  </a:cubicBezTo>
                  <a:cubicBezTo>
                    <a:pt x="1612151" y="109185"/>
                    <a:pt x="1610185" y="110266"/>
                    <a:pt x="1608219" y="111077"/>
                  </a:cubicBezTo>
                  <a:cubicBezTo>
                    <a:pt x="1605761" y="112159"/>
                    <a:pt x="1603057" y="112970"/>
                    <a:pt x="1600353" y="113240"/>
                  </a:cubicBezTo>
                  <a:cubicBezTo>
                    <a:pt x="1599861" y="113240"/>
                    <a:pt x="1599616" y="113240"/>
                    <a:pt x="1599124" y="113511"/>
                  </a:cubicBezTo>
                  <a:lnTo>
                    <a:pt x="1594945" y="113511"/>
                  </a:lnTo>
                  <a:cubicBezTo>
                    <a:pt x="1594945" y="113240"/>
                    <a:pt x="1594699" y="113511"/>
                    <a:pt x="1594699" y="113511"/>
                  </a:cubicBezTo>
                  <a:cubicBezTo>
                    <a:pt x="1590029" y="112970"/>
                    <a:pt x="1585605" y="111348"/>
                    <a:pt x="1581672" y="108644"/>
                  </a:cubicBezTo>
                  <a:cubicBezTo>
                    <a:pt x="1579951" y="107562"/>
                    <a:pt x="1578476" y="106210"/>
                    <a:pt x="1577002" y="104588"/>
                  </a:cubicBezTo>
                  <a:cubicBezTo>
                    <a:pt x="1575772" y="103506"/>
                    <a:pt x="1574789" y="102155"/>
                    <a:pt x="1573806" y="100803"/>
                  </a:cubicBezTo>
                  <a:cubicBezTo>
                    <a:pt x="1573069" y="99721"/>
                    <a:pt x="1572331" y="98640"/>
                    <a:pt x="1571594" y="97288"/>
                  </a:cubicBezTo>
                  <a:cubicBezTo>
                    <a:pt x="1570856" y="95936"/>
                    <a:pt x="1570119" y="94584"/>
                    <a:pt x="1569382" y="92962"/>
                  </a:cubicBezTo>
                  <a:cubicBezTo>
                    <a:pt x="1568890" y="91880"/>
                    <a:pt x="1568644" y="91069"/>
                    <a:pt x="1568153" y="89987"/>
                  </a:cubicBezTo>
                  <a:cubicBezTo>
                    <a:pt x="1567661" y="88906"/>
                    <a:pt x="1567415" y="87824"/>
                    <a:pt x="1567169" y="86743"/>
                  </a:cubicBezTo>
                  <a:cubicBezTo>
                    <a:pt x="1566678" y="84850"/>
                    <a:pt x="1566432" y="82958"/>
                    <a:pt x="1565940" y="81065"/>
                  </a:cubicBezTo>
                  <a:cubicBezTo>
                    <a:pt x="1565695" y="79983"/>
                    <a:pt x="1565695" y="79172"/>
                    <a:pt x="1565695" y="78091"/>
                  </a:cubicBezTo>
                  <a:cubicBezTo>
                    <a:pt x="1565940" y="78902"/>
                    <a:pt x="1566186" y="78631"/>
                    <a:pt x="1565940" y="78361"/>
                  </a:cubicBezTo>
                  <a:lnTo>
                    <a:pt x="1565940" y="72683"/>
                  </a:lnTo>
                  <a:lnTo>
                    <a:pt x="1565940" y="72413"/>
                  </a:lnTo>
                  <a:cubicBezTo>
                    <a:pt x="1565940" y="70791"/>
                    <a:pt x="1566186" y="69439"/>
                    <a:pt x="1566432" y="67816"/>
                  </a:cubicBezTo>
                  <a:cubicBezTo>
                    <a:pt x="1566924" y="65924"/>
                    <a:pt x="1566924" y="64031"/>
                    <a:pt x="1567661" y="62409"/>
                  </a:cubicBezTo>
                  <a:cubicBezTo>
                    <a:pt x="1568153" y="61327"/>
                    <a:pt x="1568398" y="60246"/>
                    <a:pt x="1568644" y="59164"/>
                  </a:cubicBezTo>
                  <a:cubicBezTo>
                    <a:pt x="1569382" y="57542"/>
                    <a:pt x="1570119" y="55649"/>
                    <a:pt x="1570856" y="54027"/>
                  </a:cubicBezTo>
                  <a:cubicBezTo>
                    <a:pt x="1571594" y="52675"/>
                    <a:pt x="1572331" y="51593"/>
                    <a:pt x="1573069" y="50242"/>
                  </a:cubicBezTo>
                  <a:cubicBezTo>
                    <a:pt x="1573806" y="49160"/>
                    <a:pt x="1574544" y="48079"/>
                    <a:pt x="1575281" y="47267"/>
                  </a:cubicBezTo>
                  <a:lnTo>
                    <a:pt x="1577493" y="44834"/>
                  </a:lnTo>
                  <a:cubicBezTo>
                    <a:pt x="1578968" y="43482"/>
                    <a:pt x="1580443" y="42130"/>
                    <a:pt x="1582163" y="41049"/>
                  </a:cubicBezTo>
                  <a:cubicBezTo>
                    <a:pt x="1583393" y="40237"/>
                    <a:pt x="1584867" y="39426"/>
                    <a:pt x="1586096" y="38886"/>
                  </a:cubicBezTo>
                  <a:cubicBezTo>
                    <a:pt x="1589046" y="37534"/>
                    <a:pt x="1592241" y="36723"/>
                    <a:pt x="1595683" y="36452"/>
                  </a:cubicBezTo>
                  <a:close/>
                  <a:moveTo>
                    <a:pt x="1246776" y="36452"/>
                  </a:moveTo>
                  <a:cubicBezTo>
                    <a:pt x="1250954" y="36182"/>
                    <a:pt x="1255133" y="36993"/>
                    <a:pt x="1259066" y="38615"/>
                  </a:cubicBezTo>
                  <a:cubicBezTo>
                    <a:pt x="1261770" y="39697"/>
                    <a:pt x="1264228" y="41319"/>
                    <a:pt x="1266440" y="43212"/>
                  </a:cubicBezTo>
                  <a:cubicBezTo>
                    <a:pt x="1267669" y="44293"/>
                    <a:pt x="1268652" y="45375"/>
                    <a:pt x="1269881" y="46456"/>
                  </a:cubicBezTo>
                  <a:cubicBezTo>
                    <a:pt x="1271110" y="47808"/>
                    <a:pt x="1272339" y="49430"/>
                    <a:pt x="1273323" y="50782"/>
                  </a:cubicBezTo>
                  <a:cubicBezTo>
                    <a:pt x="1274060" y="51864"/>
                    <a:pt x="1274797" y="53216"/>
                    <a:pt x="1275289" y="54297"/>
                  </a:cubicBezTo>
                  <a:cubicBezTo>
                    <a:pt x="1276272" y="55920"/>
                    <a:pt x="1277009" y="57812"/>
                    <a:pt x="1277501" y="59705"/>
                  </a:cubicBezTo>
                  <a:cubicBezTo>
                    <a:pt x="1277993" y="60786"/>
                    <a:pt x="1278239" y="62138"/>
                    <a:pt x="1278484" y="63220"/>
                  </a:cubicBezTo>
                  <a:cubicBezTo>
                    <a:pt x="1278976" y="64842"/>
                    <a:pt x="1279222" y="66735"/>
                    <a:pt x="1279467" y="68357"/>
                  </a:cubicBezTo>
                  <a:cubicBezTo>
                    <a:pt x="1280205" y="73224"/>
                    <a:pt x="1280205" y="78091"/>
                    <a:pt x="1279222" y="82687"/>
                  </a:cubicBezTo>
                  <a:cubicBezTo>
                    <a:pt x="1278976" y="84310"/>
                    <a:pt x="1278730" y="85932"/>
                    <a:pt x="1278239" y="87554"/>
                  </a:cubicBezTo>
                  <a:cubicBezTo>
                    <a:pt x="1277747" y="88906"/>
                    <a:pt x="1277501" y="89987"/>
                    <a:pt x="1277009" y="91339"/>
                  </a:cubicBezTo>
                  <a:cubicBezTo>
                    <a:pt x="1276518" y="92150"/>
                    <a:pt x="1276272" y="92962"/>
                    <a:pt x="1276026" y="93773"/>
                  </a:cubicBezTo>
                  <a:cubicBezTo>
                    <a:pt x="1275289" y="95395"/>
                    <a:pt x="1274551" y="96747"/>
                    <a:pt x="1273814" y="98099"/>
                  </a:cubicBezTo>
                  <a:lnTo>
                    <a:pt x="1271602" y="101343"/>
                  </a:lnTo>
                  <a:cubicBezTo>
                    <a:pt x="1270619" y="102695"/>
                    <a:pt x="1269390" y="104047"/>
                    <a:pt x="1268161" y="105129"/>
                  </a:cubicBezTo>
                  <a:cubicBezTo>
                    <a:pt x="1267177" y="106210"/>
                    <a:pt x="1265948" y="107021"/>
                    <a:pt x="1264965" y="107832"/>
                  </a:cubicBezTo>
                  <a:cubicBezTo>
                    <a:pt x="1263244" y="109185"/>
                    <a:pt x="1261278" y="110266"/>
                    <a:pt x="1259312" y="111077"/>
                  </a:cubicBezTo>
                  <a:cubicBezTo>
                    <a:pt x="1256854" y="112159"/>
                    <a:pt x="1254150" y="112970"/>
                    <a:pt x="1251446" y="113240"/>
                  </a:cubicBezTo>
                  <a:cubicBezTo>
                    <a:pt x="1250954" y="113240"/>
                    <a:pt x="1250709" y="113240"/>
                    <a:pt x="1250217" y="113511"/>
                  </a:cubicBezTo>
                  <a:lnTo>
                    <a:pt x="1246038" y="113511"/>
                  </a:lnTo>
                  <a:cubicBezTo>
                    <a:pt x="1246038" y="113240"/>
                    <a:pt x="1245792" y="113511"/>
                    <a:pt x="1245792" y="113511"/>
                  </a:cubicBezTo>
                  <a:cubicBezTo>
                    <a:pt x="1241122" y="112970"/>
                    <a:pt x="1236698" y="111348"/>
                    <a:pt x="1232765" y="108644"/>
                  </a:cubicBezTo>
                  <a:cubicBezTo>
                    <a:pt x="1231044" y="107562"/>
                    <a:pt x="1229569" y="106210"/>
                    <a:pt x="1228095" y="104588"/>
                  </a:cubicBezTo>
                  <a:cubicBezTo>
                    <a:pt x="1226865" y="103506"/>
                    <a:pt x="1225882" y="102155"/>
                    <a:pt x="1224899" y="100803"/>
                  </a:cubicBezTo>
                  <a:cubicBezTo>
                    <a:pt x="1224162" y="99721"/>
                    <a:pt x="1223424" y="98640"/>
                    <a:pt x="1222687" y="97288"/>
                  </a:cubicBezTo>
                  <a:cubicBezTo>
                    <a:pt x="1221949" y="95936"/>
                    <a:pt x="1221212" y="94584"/>
                    <a:pt x="1220475" y="92962"/>
                  </a:cubicBezTo>
                  <a:cubicBezTo>
                    <a:pt x="1219983" y="91880"/>
                    <a:pt x="1219737" y="91069"/>
                    <a:pt x="1219246" y="89987"/>
                  </a:cubicBezTo>
                  <a:cubicBezTo>
                    <a:pt x="1218754" y="88906"/>
                    <a:pt x="1218508" y="87824"/>
                    <a:pt x="1218262" y="86743"/>
                  </a:cubicBezTo>
                  <a:cubicBezTo>
                    <a:pt x="1217771" y="84850"/>
                    <a:pt x="1217525" y="82958"/>
                    <a:pt x="1217033" y="81065"/>
                  </a:cubicBezTo>
                  <a:cubicBezTo>
                    <a:pt x="1216788" y="79983"/>
                    <a:pt x="1216788" y="79172"/>
                    <a:pt x="1216788" y="78091"/>
                  </a:cubicBezTo>
                  <a:cubicBezTo>
                    <a:pt x="1217033" y="78902"/>
                    <a:pt x="1217279" y="78631"/>
                    <a:pt x="1217033" y="78361"/>
                  </a:cubicBezTo>
                  <a:lnTo>
                    <a:pt x="1217033" y="72683"/>
                  </a:lnTo>
                  <a:lnTo>
                    <a:pt x="1217033" y="72413"/>
                  </a:lnTo>
                  <a:cubicBezTo>
                    <a:pt x="1217033" y="70791"/>
                    <a:pt x="1217279" y="69439"/>
                    <a:pt x="1217525" y="67816"/>
                  </a:cubicBezTo>
                  <a:cubicBezTo>
                    <a:pt x="1218017" y="65924"/>
                    <a:pt x="1218017" y="64031"/>
                    <a:pt x="1218754" y="62409"/>
                  </a:cubicBezTo>
                  <a:cubicBezTo>
                    <a:pt x="1219246" y="61327"/>
                    <a:pt x="1219491" y="60246"/>
                    <a:pt x="1219737" y="59164"/>
                  </a:cubicBezTo>
                  <a:cubicBezTo>
                    <a:pt x="1220475" y="57542"/>
                    <a:pt x="1221212" y="55649"/>
                    <a:pt x="1221949" y="54027"/>
                  </a:cubicBezTo>
                  <a:cubicBezTo>
                    <a:pt x="1222687" y="52675"/>
                    <a:pt x="1223424" y="51593"/>
                    <a:pt x="1224162" y="50242"/>
                  </a:cubicBezTo>
                  <a:cubicBezTo>
                    <a:pt x="1224899" y="49160"/>
                    <a:pt x="1225637" y="48079"/>
                    <a:pt x="1226374" y="47267"/>
                  </a:cubicBezTo>
                  <a:lnTo>
                    <a:pt x="1228586" y="44834"/>
                  </a:lnTo>
                  <a:cubicBezTo>
                    <a:pt x="1230061" y="43482"/>
                    <a:pt x="1231536" y="42130"/>
                    <a:pt x="1233256" y="41049"/>
                  </a:cubicBezTo>
                  <a:cubicBezTo>
                    <a:pt x="1234486" y="40237"/>
                    <a:pt x="1235960" y="39426"/>
                    <a:pt x="1237189" y="38886"/>
                  </a:cubicBezTo>
                  <a:cubicBezTo>
                    <a:pt x="1240139" y="37534"/>
                    <a:pt x="1243334" y="36723"/>
                    <a:pt x="1246776" y="36452"/>
                  </a:cubicBezTo>
                  <a:close/>
                  <a:moveTo>
                    <a:pt x="1064825" y="36452"/>
                  </a:moveTo>
                  <a:cubicBezTo>
                    <a:pt x="1069003" y="36182"/>
                    <a:pt x="1073182" y="36993"/>
                    <a:pt x="1077115" y="38615"/>
                  </a:cubicBezTo>
                  <a:cubicBezTo>
                    <a:pt x="1079819" y="39697"/>
                    <a:pt x="1082277" y="41319"/>
                    <a:pt x="1084489" y="43212"/>
                  </a:cubicBezTo>
                  <a:cubicBezTo>
                    <a:pt x="1085718" y="44293"/>
                    <a:pt x="1086701" y="45375"/>
                    <a:pt x="1087930" y="46456"/>
                  </a:cubicBezTo>
                  <a:cubicBezTo>
                    <a:pt x="1089159" y="47808"/>
                    <a:pt x="1090388" y="49430"/>
                    <a:pt x="1091372" y="50782"/>
                  </a:cubicBezTo>
                  <a:cubicBezTo>
                    <a:pt x="1092109" y="51864"/>
                    <a:pt x="1092846" y="53216"/>
                    <a:pt x="1093338" y="54297"/>
                  </a:cubicBezTo>
                  <a:cubicBezTo>
                    <a:pt x="1094321" y="55920"/>
                    <a:pt x="1095058" y="57812"/>
                    <a:pt x="1095550" y="59705"/>
                  </a:cubicBezTo>
                  <a:cubicBezTo>
                    <a:pt x="1096042" y="60786"/>
                    <a:pt x="1096288" y="62138"/>
                    <a:pt x="1096533" y="63220"/>
                  </a:cubicBezTo>
                  <a:cubicBezTo>
                    <a:pt x="1097025" y="64842"/>
                    <a:pt x="1097271" y="66735"/>
                    <a:pt x="1097516" y="68357"/>
                  </a:cubicBezTo>
                  <a:cubicBezTo>
                    <a:pt x="1098254" y="73224"/>
                    <a:pt x="1098254" y="78091"/>
                    <a:pt x="1097271" y="82687"/>
                  </a:cubicBezTo>
                  <a:cubicBezTo>
                    <a:pt x="1097025" y="84310"/>
                    <a:pt x="1096779" y="85932"/>
                    <a:pt x="1096288" y="87554"/>
                  </a:cubicBezTo>
                  <a:cubicBezTo>
                    <a:pt x="1095796" y="88906"/>
                    <a:pt x="1095550" y="89987"/>
                    <a:pt x="1095058" y="91339"/>
                  </a:cubicBezTo>
                  <a:cubicBezTo>
                    <a:pt x="1094567" y="92150"/>
                    <a:pt x="1094321" y="92962"/>
                    <a:pt x="1094075" y="93773"/>
                  </a:cubicBezTo>
                  <a:cubicBezTo>
                    <a:pt x="1093338" y="95395"/>
                    <a:pt x="1092600" y="96747"/>
                    <a:pt x="1091863" y="98099"/>
                  </a:cubicBezTo>
                  <a:lnTo>
                    <a:pt x="1089651" y="101343"/>
                  </a:lnTo>
                  <a:cubicBezTo>
                    <a:pt x="1088668" y="102695"/>
                    <a:pt x="1087439" y="104047"/>
                    <a:pt x="1086210" y="105129"/>
                  </a:cubicBezTo>
                  <a:cubicBezTo>
                    <a:pt x="1085226" y="106210"/>
                    <a:pt x="1083997" y="107021"/>
                    <a:pt x="1083014" y="107832"/>
                  </a:cubicBezTo>
                  <a:cubicBezTo>
                    <a:pt x="1081293" y="109185"/>
                    <a:pt x="1079327" y="110266"/>
                    <a:pt x="1077361" y="111077"/>
                  </a:cubicBezTo>
                  <a:cubicBezTo>
                    <a:pt x="1074903" y="112159"/>
                    <a:pt x="1072199" y="112970"/>
                    <a:pt x="1069495" y="113240"/>
                  </a:cubicBezTo>
                  <a:cubicBezTo>
                    <a:pt x="1069003" y="113240"/>
                    <a:pt x="1068758" y="113240"/>
                    <a:pt x="1068266" y="113511"/>
                  </a:cubicBezTo>
                  <a:lnTo>
                    <a:pt x="1064087" y="113511"/>
                  </a:lnTo>
                  <a:cubicBezTo>
                    <a:pt x="1064087" y="113240"/>
                    <a:pt x="1063841" y="113511"/>
                    <a:pt x="1063841" y="113511"/>
                  </a:cubicBezTo>
                  <a:cubicBezTo>
                    <a:pt x="1059171" y="112970"/>
                    <a:pt x="1054747" y="111348"/>
                    <a:pt x="1050814" y="108644"/>
                  </a:cubicBezTo>
                  <a:cubicBezTo>
                    <a:pt x="1049093" y="107562"/>
                    <a:pt x="1047618" y="106210"/>
                    <a:pt x="1046144" y="104588"/>
                  </a:cubicBezTo>
                  <a:cubicBezTo>
                    <a:pt x="1044914" y="103506"/>
                    <a:pt x="1043931" y="102155"/>
                    <a:pt x="1042948" y="100803"/>
                  </a:cubicBezTo>
                  <a:cubicBezTo>
                    <a:pt x="1042211" y="99721"/>
                    <a:pt x="1041473" y="98640"/>
                    <a:pt x="1040736" y="97288"/>
                  </a:cubicBezTo>
                  <a:cubicBezTo>
                    <a:pt x="1039998" y="95936"/>
                    <a:pt x="1039261" y="94584"/>
                    <a:pt x="1038524" y="92962"/>
                  </a:cubicBezTo>
                  <a:cubicBezTo>
                    <a:pt x="1038032" y="91880"/>
                    <a:pt x="1037786" y="91069"/>
                    <a:pt x="1037295" y="89987"/>
                  </a:cubicBezTo>
                  <a:cubicBezTo>
                    <a:pt x="1036803" y="88906"/>
                    <a:pt x="1036557" y="87824"/>
                    <a:pt x="1036311" y="86743"/>
                  </a:cubicBezTo>
                  <a:cubicBezTo>
                    <a:pt x="1035820" y="84850"/>
                    <a:pt x="1035574" y="82958"/>
                    <a:pt x="1035082" y="81065"/>
                  </a:cubicBezTo>
                  <a:cubicBezTo>
                    <a:pt x="1034837" y="79983"/>
                    <a:pt x="1034837" y="79172"/>
                    <a:pt x="1034837" y="78091"/>
                  </a:cubicBezTo>
                  <a:cubicBezTo>
                    <a:pt x="1035082" y="78902"/>
                    <a:pt x="1035328" y="78631"/>
                    <a:pt x="1035082" y="78361"/>
                  </a:cubicBezTo>
                  <a:lnTo>
                    <a:pt x="1035082" y="72683"/>
                  </a:lnTo>
                  <a:lnTo>
                    <a:pt x="1035082" y="72413"/>
                  </a:lnTo>
                  <a:cubicBezTo>
                    <a:pt x="1035082" y="70791"/>
                    <a:pt x="1035328" y="69439"/>
                    <a:pt x="1035574" y="67816"/>
                  </a:cubicBezTo>
                  <a:cubicBezTo>
                    <a:pt x="1036066" y="65924"/>
                    <a:pt x="1036066" y="64031"/>
                    <a:pt x="1036803" y="62409"/>
                  </a:cubicBezTo>
                  <a:cubicBezTo>
                    <a:pt x="1037295" y="61327"/>
                    <a:pt x="1037540" y="60246"/>
                    <a:pt x="1037786" y="59164"/>
                  </a:cubicBezTo>
                  <a:cubicBezTo>
                    <a:pt x="1038524" y="57542"/>
                    <a:pt x="1039261" y="55649"/>
                    <a:pt x="1039998" y="54027"/>
                  </a:cubicBezTo>
                  <a:cubicBezTo>
                    <a:pt x="1040736" y="52675"/>
                    <a:pt x="1041473" y="51593"/>
                    <a:pt x="1042211" y="50242"/>
                  </a:cubicBezTo>
                  <a:cubicBezTo>
                    <a:pt x="1042948" y="49160"/>
                    <a:pt x="1043686" y="48079"/>
                    <a:pt x="1044423" y="47267"/>
                  </a:cubicBezTo>
                  <a:lnTo>
                    <a:pt x="1046635" y="44834"/>
                  </a:lnTo>
                  <a:cubicBezTo>
                    <a:pt x="1048110" y="43482"/>
                    <a:pt x="1049585" y="42130"/>
                    <a:pt x="1051305" y="41049"/>
                  </a:cubicBezTo>
                  <a:cubicBezTo>
                    <a:pt x="1052535" y="40237"/>
                    <a:pt x="1054009" y="39426"/>
                    <a:pt x="1055238" y="38886"/>
                  </a:cubicBezTo>
                  <a:cubicBezTo>
                    <a:pt x="1058188" y="37534"/>
                    <a:pt x="1061383" y="36723"/>
                    <a:pt x="1064825" y="36452"/>
                  </a:cubicBezTo>
                  <a:close/>
                  <a:moveTo>
                    <a:pt x="897796" y="36452"/>
                  </a:moveTo>
                  <a:cubicBezTo>
                    <a:pt x="901974" y="36182"/>
                    <a:pt x="906153" y="36993"/>
                    <a:pt x="910086" y="38615"/>
                  </a:cubicBezTo>
                  <a:cubicBezTo>
                    <a:pt x="912790" y="39697"/>
                    <a:pt x="915248" y="41319"/>
                    <a:pt x="917460" y="43212"/>
                  </a:cubicBezTo>
                  <a:cubicBezTo>
                    <a:pt x="918689" y="44293"/>
                    <a:pt x="919672" y="45375"/>
                    <a:pt x="920901" y="46456"/>
                  </a:cubicBezTo>
                  <a:cubicBezTo>
                    <a:pt x="922130" y="47808"/>
                    <a:pt x="923359" y="49430"/>
                    <a:pt x="924343" y="50782"/>
                  </a:cubicBezTo>
                  <a:cubicBezTo>
                    <a:pt x="925080" y="51864"/>
                    <a:pt x="925817" y="53216"/>
                    <a:pt x="926309" y="54297"/>
                  </a:cubicBezTo>
                  <a:cubicBezTo>
                    <a:pt x="927292" y="55920"/>
                    <a:pt x="928029" y="57812"/>
                    <a:pt x="928521" y="59705"/>
                  </a:cubicBezTo>
                  <a:cubicBezTo>
                    <a:pt x="929013" y="60786"/>
                    <a:pt x="929259" y="62138"/>
                    <a:pt x="929504" y="63220"/>
                  </a:cubicBezTo>
                  <a:cubicBezTo>
                    <a:pt x="929996" y="64842"/>
                    <a:pt x="930242" y="66735"/>
                    <a:pt x="930487" y="68357"/>
                  </a:cubicBezTo>
                  <a:cubicBezTo>
                    <a:pt x="931225" y="73224"/>
                    <a:pt x="931225" y="78091"/>
                    <a:pt x="930242" y="82687"/>
                  </a:cubicBezTo>
                  <a:cubicBezTo>
                    <a:pt x="929996" y="84310"/>
                    <a:pt x="929750" y="85932"/>
                    <a:pt x="929259" y="87554"/>
                  </a:cubicBezTo>
                  <a:cubicBezTo>
                    <a:pt x="928767" y="88906"/>
                    <a:pt x="928521" y="89987"/>
                    <a:pt x="928029" y="91339"/>
                  </a:cubicBezTo>
                  <a:cubicBezTo>
                    <a:pt x="927538" y="92150"/>
                    <a:pt x="927292" y="92962"/>
                    <a:pt x="927046" y="93773"/>
                  </a:cubicBezTo>
                  <a:cubicBezTo>
                    <a:pt x="926309" y="95395"/>
                    <a:pt x="925571" y="96747"/>
                    <a:pt x="924834" y="98099"/>
                  </a:cubicBezTo>
                  <a:lnTo>
                    <a:pt x="922622" y="101343"/>
                  </a:lnTo>
                  <a:cubicBezTo>
                    <a:pt x="921639" y="102695"/>
                    <a:pt x="920410" y="104047"/>
                    <a:pt x="919181" y="105129"/>
                  </a:cubicBezTo>
                  <a:cubicBezTo>
                    <a:pt x="918197" y="106210"/>
                    <a:pt x="916968" y="107021"/>
                    <a:pt x="915985" y="107832"/>
                  </a:cubicBezTo>
                  <a:cubicBezTo>
                    <a:pt x="914264" y="109185"/>
                    <a:pt x="912298" y="110266"/>
                    <a:pt x="910332" y="111077"/>
                  </a:cubicBezTo>
                  <a:cubicBezTo>
                    <a:pt x="907874" y="112159"/>
                    <a:pt x="905170" y="112970"/>
                    <a:pt x="902466" y="113240"/>
                  </a:cubicBezTo>
                  <a:cubicBezTo>
                    <a:pt x="901974" y="113240"/>
                    <a:pt x="901729" y="113240"/>
                    <a:pt x="901237" y="113511"/>
                  </a:cubicBezTo>
                  <a:lnTo>
                    <a:pt x="897058" y="113511"/>
                  </a:lnTo>
                  <a:cubicBezTo>
                    <a:pt x="897058" y="113240"/>
                    <a:pt x="896812" y="113511"/>
                    <a:pt x="896812" y="113511"/>
                  </a:cubicBezTo>
                  <a:cubicBezTo>
                    <a:pt x="892142" y="112970"/>
                    <a:pt x="887718" y="111348"/>
                    <a:pt x="883785" y="108644"/>
                  </a:cubicBezTo>
                  <a:cubicBezTo>
                    <a:pt x="882064" y="107562"/>
                    <a:pt x="880589" y="106210"/>
                    <a:pt x="879115" y="104588"/>
                  </a:cubicBezTo>
                  <a:cubicBezTo>
                    <a:pt x="877885" y="103506"/>
                    <a:pt x="876902" y="102155"/>
                    <a:pt x="875919" y="100803"/>
                  </a:cubicBezTo>
                  <a:cubicBezTo>
                    <a:pt x="875182" y="99721"/>
                    <a:pt x="874444" y="98640"/>
                    <a:pt x="873707" y="97288"/>
                  </a:cubicBezTo>
                  <a:cubicBezTo>
                    <a:pt x="872969" y="95936"/>
                    <a:pt x="872232" y="94584"/>
                    <a:pt x="871495" y="92962"/>
                  </a:cubicBezTo>
                  <a:cubicBezTo>
                    <a:pt x="871003" y="91880"/>
                    <a:pt x="870757" y="91069"/>
                    <a:pt x="870266" y="89987"/>
                  </a:cubicBezTo>
                  <a:cubicBezTo>
                    <a:pt x="869774" y="88906"/>
                    <a:pt x="869528" y="87824"/>
                    <a:pt x="869282" y="86743"/>
                  </a:cubicBezTo>
                  <a:cubicBezTo>
                    <a:pt x="868791" y="84850"/>
                    <a:pt x="868545" y="82958"/>
                    <a:pt x="868053" y="81065"/>
                  </a:cubicBezTo>
                  <a:cubicBezTo>
                    <a:pt x="867808" y="79983"/>
                    <a:pt x="867808" y="79172"/>
                    <a:pt x="867808" y="78091"/>
                  </a:cubicBezTo>
                  <a:cubicBezTo>
                    <a:pt x="868053" y="78902"/>
                    <a:pt x="868299" y="78631"/>
                    <a:pt x="868053" y="78361"/>
                  </a:cubicBezTo>
                  <a:lnTo>
                    <a:pt x="868053" y="72683"/>
                  </a:lnTo>
                  <a:lnTo>
                    <a:pt x="868053" y="72413"/>
                  </a:lnTo>
                  <a:cubicBezTo>
                    <a:pt x="868053" y="70791"/>
                    <a:pt x="868299" y="69439"/>
                    <a:pt x="868545" y="67816"/>
                  </a:cubicBezTo>
                  <a:cubicBezTo>
                    <a:pt x="869037" y="65924"/>
                    <a:pt x="869037" y="64031"/>
                    <a:pt x="869774" y="62409"/>
                  </a:cubicBezTo>
                  <a:cubicBezTo>
                    <a:pt x="870266" y="61327"/>
                    <a:pt x="870511" y="60246"/>
                    <a:pt x="870757" y="59164"/>
                  </a:cubicBezTo>
                  <a:cubicBezTo>
                    <a:pt x="871495" y="57542"/>
                    <a:pt x="872232" y="55649"/>
                    <a:pt x="872969" y="54027"/>
                  </a:cubicBezTo>
                  <a:cubicBezTo>
                    <a:pt x="873707" y="52675"/>
                    <a:pt x="874444" y="51593"/>
                    <a:pt x="875182" y="50242"/>
                  </a:cubicBezTo>
                  <a:cubicBezTo>
                    <a:pt x="875919" y="49160"/>
                    <a:pt x="876657" y="48079"/>
                    <a:pt x="877394" y="47267"/>
                  </a:cubicBezTo>
                  <a:lnTo>
                    <a:pt x="879606" y="44834"/>
                  </a:lnTo>
                  <a:cubicBezTo>
                    <a:pt x="881081" y="43482"/>
                    <a:pt x="882556" y="42130"/>
                    <a:pt x="884276" y="41049"/>
                  </a:cubicBezTo>
                  <a:cubicBezTo>
                    <a:pt x="885506" y="40237"/>
                    <a:pt x="886980" y="39426"/>
                    <a:pt x="888209" y="38886"/>
                  </a:cubicBezTo>
                  <a:cubicBezTo>
                    <a:pt x="891159" y="37534"/>
                    <a:pt x="894354" y="36723"/>
                    <a:pt x="897796" y="36452"/>
                  </a:cubicBezTo>
                  <a:close/>
                  <a:moveTo>
                    <a:pt x="548889" y="36452"/>
                  </a:moveTo>
                  <a:cubicBezTo>
                    <a:pt x="553068" y="36182"/>
                    <a:pt x="557247" y="36993"/>
                    <a:pt x="561180" y="38615"/>
                  </a:cubicBezTo>
                  <a:cubicBezTo>
                    <a:pt x="563883" y="39697"/>
                    <a:pt x="566341" y="41319"/>
                    <a:pt x="568554" y="43212"/>
                  </a:cubicBezTo>
                  <a:cubicBezTo>
                    <a:pt x="569783" y="44293"/>
                    <a:pt x="570766" y="45375"/>
                    <a:pt x="571995" y="46456"/>
                  </a:cubicBezTo>
                  <a:cubicBezTo>
                    <a:pt x="573224" y="47808"/>
                    <a:pt x="574453" y="49430"/>
                    <a:pt x="575436" y="50782"/>
                  </a:cubicBezTo>
                  <a:cubicBezTo>
                    <a:pt x="576174" y="51864"/>
                    <a:pt x="576911" y="53216"/>
                    <a:pt x="577403" y="54297"/>
                  </a:cubicBezTo>
                  <a:cubicBezTo>
                    <a:pt x="578386" y="55920"/>
                    <a:pt x="579123" y="57812"/>
                    <a:pt x="579615" y="59705"/>
                  </a:cubicBezTo>
                  <a:cubicBezTo>
                    <a:pt x="580106" y="60786"/>
                    <a:pt x="580352" y="62138"/>
                    <a:pt x="580598" y="63220"/>
                  </a:cubicBezTo>
                  <a:cubicBezTo>
                    <a:pt x="581090" y="64842"/>
                    <a:pt x="581336" y="66735"/>
                    <a:pt x="581581" y="68357"/>
                  </a:cubicBezTo>
                  <a:cubicBezTo>
                    <a:pt x="582319" y="73224"/>
                    <a:pt x="582319" y="78091"/>
                    <a:pt x="581336" y="82687"/>
                  </a:cubicBezTo>
                  <a:cubicBezTo>
                    <a:pt x="581090" y="84310"/>
                    <a:pt x="580844" y="85932"/>
                    <a:pt x="580352" y="87554"/>
                  </a:cubicBezTo>
                  <a:cubicBezTo>
                    <a:pt x="579861" y="88906"/>
                    <a:pt x="579615" y="89987"/>
                    <a:pt x="579123" y="91339"/>
                  </a:cubicBezTo>
                  <a:cubicBezTo>
                    <a:pt x="578631" y="92150"/>
                    <a:pt x="578386" y="92962"/>
                    <a:pt x="578140" y="93773"/>
                  </a:cubicBezTo>
                  <a:cubicBezTo>
                    <a:pt x="577403" y="95395"/>
                    <a:pt x="576665" y="96747"/>
                    <a:pt x="575928" y="98099"/>
                  </a:cubicBezTo>
                  <a:lnTo>
                    <a:pt x="573715" y="101343"/>
                  </a:lnTo>
                  <a:cubicBezTo>
                    <a:pt x="572732" y="102695"/>
                    <a:pt x="571503" y="104047"/>
                    <a:pt x="570274" y="105129"/>
                  </a:cubicBezTo>
                  <a:cubicBezTo>
                    <a:pt x="569291" y="106210"/>
                    <a:pt x="568062" y="107021"/>
                    <a:pt x="567079" y="107832"/>
                  </a:cubicBezTo>
                  <a:cubicBezTo>
                    <a:pt x="565358" y="109185"/>
                    <a:pt x="563392" y="110266"/>
                    <a:pt x="561425" y="111077"/>
                  </a:cubicBezTo>
                  <a:cubicBezTo>
                    <a:pt x="558967" y="112159"/>
                    <a:pt x="556264" y="112970"/>
                    <a:pt x="553559" y="113240"/>
                  </a:cubicBezTo>
                  <a:cubicBezTo>
                    <a:pt x="553068" y="113240"/>
                    <a:pt x="552822" y="113240"/>
                    <a:pt x="552331" y="113511"/>
                  </a:cubicBezTo>
                  <a:lnTo>
                    <a:pt x="548152" y="113511"/>
                  </a:lnTo>
                  <a:cubicBezTo>
                    <a:pt x="548152" y="113240"/>
                    <a:pt x="547906" y="113511"/>
                    <a:pt x="547906" y="113511"/>
                  </a:cubicBezTo>
                  <a:cubicBezTo>
                    <a:pt x="543236" y="112970"/>
                    <a:pt x="538811" y="111348"/>
                    <a:pt x="534879" y="108644"/>
                  </a:cubicBezTo>
                  <a:cubicBezTo>
                    <a:pt x="533158" y="107562"/>
                    <a:pt x="531683" y="106210"/>
                    <a:pt x="530208" y="104588"/>
                  </a:cubicBezTo>
                  <a:cubicBezTo>
                    <a:pt x="528979" y="103506"/>
                    <a:pt x="527996" y="102155"/>
                    <a:pt x="527013" y="100803"/>
                  </a:cubicBezTo>
                  <a:cubicBezTo>
                    <a:pt x="526275" y="99721"/>
                    <a:pt x="525538" y="98640"/>
                    <a:pt x="524801" y="97288"/>
                  </a:cubicBezTo>
                  <a:cubicBezTo>
                    <a:pt x="524063" y="95936"/>
                    <a:pt x="523326" y="94584"/>
                    <a:pt x="522588" y="92962"/>
                  </a:cubicBezTo>
                  <a:cubicBezTo>
                    <a:pt x="522097" y="91880"/>
                    <a:pt x="521851" y="91069"/>
                    <a:pt x="521359" y="89987"/>
                  </a:cubicBezTo>
                  <a:cubicBezTo>
                    <a:pt x="520868" y="88906"/>
                    <a:pt x="520622" y="87824"/>
                    <a:pt x="520376" y="86743"/>
                  </a:cubicBezTo>
                  <a:cubicBezTo>
                    <a:pt x="519884" y="84850"/>
                    <a:pt x="519639" y="82958"/>
                    <a:pt x="519147" y="81065"/>
                  </a:cubicBezTo>
                  <a:cubicBezTo>
                    <a:pt x="518901" y="79983"/>
                    <a:pt x="518901" y="79172"/>
                    <a:pt x="518901" y="78091"/>
                  </a:cubicBezTo>
                  <a:cubicBezTo>
                    <a:pt x="519147" y="78902"/>
                    <a:pt x="519393" y="78631"/>
                    <a:pt x="519147" y="78361"/>
                  </a:cubicBezTo>
                  <a:lnTo>
                    <a:pt x="519147" y="72683"/>
                  </a:lnTo>
                  <a:lnTo>
                    <a:pt x="519147" y="72413"/>
                  </a:lnTo>
                  <a:cubicBezTo>
                    <a:pt x="519147" y="70791"/>
                    <a:pt x="519393" y="69439"/>
                    <a:pt x="519639" y="67816"/>
                  </a:cubicBezTo>
                  <a:cubicBezTo>
                    <a:pt x="520130" y="65924"/>
                    <a:pt x="520130" y="64031"/>
                    <a:pt x="520868" y="62409"/>
                  </a:cubicBezTo>
                  <a:cubicBezTo>
                    <a:pt x="521359" y="61327"/>
                    <a:pt x="521605" y="60246"/>
                    <a:pt x="521851" y="59164"/>
                  </a:cubicBezTo>
                  <a:cubicBezTo>
                    <a:pt x="522588" y="57542"/>
                    <a:pt x="523326" y="55649"/>
                    <a:pt x="524063" y="54027"/>
                  </a:cubicBezTo>
                  <a:cubicBezTo>
                    <a:pt x="524801" y="52675"/>
                    <a:pt x="525538" y="51593"/>
                    <a:pt x="526275" y="50242"/>
                  </a:cubicBezTo>
                  <a:cubicBezTo>
                    <a:pt x="527013" y="49160"/>
                    <a:pt x="527750" y="48079"/>
                    <a:pt x="528488" y="47267"/>
                  </a:cubicBezTo>
                  <a:lnTo>
                    <a:pt x="530700" y="44834"/>
                  </a:lnTo>
                  <a:cubicBezTo>
                    <a:pt x="532175" y="43482"/>
                    <a:pt x="533650" y="42130"/>
                    <a:pt x="535370" y="41049"/>
                  </a:cubicBezTo>
                  <a:cubicBezTo>
                    <a:pt x="536599" y="40237"/>
                    <a:pt x="538074" y="39426"/>
                    <a:pt x="539303" y="38886"/>
                  </a:cubicBezTo>
                  <a:cubicBezTo>
                    <a:pt x="542253" y="37534"/>
                    <a:pt x="545448" y="36723"/>
                    <a:pt x="548889" y="36452"/>
                  </a:cubicBezTo>
                  <a:close/>
                  <a:moveTo>
                    <a:pt x="366938" y="36452"/>
                  </a:moveTo>
                  <a:cubicBezTo>
                    <a:pt x="371117" y="36182"/>
                    <a:pt x="375296" y="36993"/>
                    <a:pt x="379228" y="38615"/>
                  </a:cubicBezTo>
                  <a:cubicBezTo>
                    <a:pt x="381932" y="39697"/>
                    <a:pt x="384390" y="41319"/>
                    <a:pt x="386603" y="43212"/>
                  </a:cubicBezTo>
                  <a:cubicBezTo>
                    <a:pt x="387831" y="44293"/>
                    <a:pt x="388815" y="45375"/>
                    <a:pt x="390044" y="46456"/>
                  </a:cubicBezTo>
                  <a:cubicBezTo>
                    <a:pt x="391273" y="47808"/>
                    <a:pt x="392502" y="49430"/>
                    <a:pt x="393485" y="50782"/>
                  </a:cubicBezTo>
                  <a:cubicBezTo>
                    <a:pt x="394223" y="51864"/>
                    <a:pt x="394960" y="53216"/>
                    <a:pt x="395452" y="54297"/>
                  </a:cubicBezTo>
                  <a:cubicBezTo>
                    <a:pt x="396435" y="55920"/>
                    <a:pt x="397172" y="57812"/>
                    <a:pt x="397664" y="59705"/>
                  </a:cubicBezTo>
                  <a:cubicBezTo>
                    <a:pt x="398155" y="60786"/>
                    <a:pt x="398401" y="62138"/>
                    <a:pt x="398647" y="63220"/>
                  </a:cubicBezTo>
                  <a:cubicBezTo>
                    <a:pt x="399139" y="64842"/>
                    <a:pt x="399384" y="66735"/>
                    <a:pt x="399630" y="68357"/>
                  </a:cubicBezTo>
                  <a:cubicBezTo>
                    <a:pt x="400368" y="73224"/>
                    <a:pt x="400368" y="78091"/>
                    <a:pt x="399384" y="82687"/>
                  </a:cubicBezTo>
                  <a:cubicBezTo>
                    <a:pt x="399139" y="84310"/>
                    <a:pt x="398893" y="85932"/>
                    <a:pt x="398401" y="87554"/>
                  </a:cubicBezTo>
                  <a:cubicBezTo>
                    <a:pt x="397909" y="88906"/>
                    <a:pt x="397664" y="89987"/>
                    <a:pt x="397172" y="91339"/>
                  </a:cubicBezTo>
                  <a:cubicBezTo>
                    <a:pt x="396681" y="92150"/>
                    <a:pt x="396435" y="92962"/>
                    <a:pt x="396189" y="93773"/>
                  </a:cubicBezTo>
                  <a:cubicBezTo>
                    <a:pt x="395452" y="95395"/>
                    <a:pt x="394714" y="96747"/>
                    <a:pt x="393977" y="98099"/>
                  </a:cubicBezTo>
                  <a:lnTo>
                    <a:pt x="391764" y="101343"/>
                  </a:lnTo>
                  <a:cubicBezTo>
                    <a:pt x="390781" y="102695"/>
                    <a:pt x="389552" y="104047"/>
                    <a:pt x="388323" y="105129"/>
                  </a:cubicBezTo>
                  <a:cubicBezTo>
                    <a:pt x="387340" y="106210"/>
                    <a:pt x="386111" y="107021"/>
                    <a:pt x="385128" y="107832"/>
                  </a:cubicBezTo>
                  <a:cubicBezTo>
                    <a:pt x="383407" y="109185"/>
                    <a:pt x="381441" y="110266"/>
                    <a:pt x="379474" y="111077"/>
                  </a:cubicBezTo>
                  <a:cubicBezTo>
                    <a:pt x="377016" y="112159"/>
                    <a:pt x="374312" y="112970"/>
                    <a:pt x="371609" y="113240"/>
                  </a:cubicBezTo>
                  <a:cubicBezTo>
                    <a:pt x="371117" y="113240"/>
                    <a:pt x="370871" y="113240"/>
                    <a:pt x="370380" y="113511"/>
                  </a:cubicBezTo>
                  <a:lnTo>
                    <a:pt x="366201" y="113511"/>
                  </a:lnTo>
                  <a:cubicBezTo>
                    <a:pt x="366201" y="113240"/>
                    <a:pt x="365955" y="113511"/>
                    <a:pt x="365955" y="113511"/>
                  </a:cubicBezTo>
                  <a:cubicBezTo>
                    <a:pt x="361285" y="112970"/>
                    <a:pt x="356860" y="111348"/>
                    <a:pt x="352927" y="108644"/>
                  </a:cubicBezTo>
                  <a:cubicBezTo>
                    <a:pt x="351207" y="107562"/>
                    <a:pt x="349732" y="106210"/>
                    <a:pt x="348257" y="104588"/>
                  </a:cubicBezTo>
                  <a:cubicBezTo>
                    <a:pt x="347028" y="103506"/>
                    <a:pt x="346045" y="102155"/>
                    <a:pt x="345062" y="100803"/>
                  </a:cubicBezTo>
                  <a:cubicBezTo>
                    <a:pt x="344324" y="99721"/>
                    <a:pt x="343587" y="98640"/>
                    <a:pt x="342850" y="97288"/>
                  </a:cubicBezTo>
                  <a:cubicBezTo>
                    <a:pt x="342112" y="95936"/>
                    <a:pt x="341375" y="94584"/>
                    <a:pt x="340637" y="92962"/>
                  </a:cubicBezTo>
                  <a:cubicBezTo>
                    <a:pt x="340146" y="91880"/>
                    <a:pt x="339900" y="91069"/>
                    <a:pt x="339408" y="89987"/>
                  </a:cubicBezTo>
                  <a:cubicBezTo>
                    <a:pt x="338917" y="88906"/>
                    <a:pt x="338671" y="87824"/>
                    <a:pt x="338425" y="86743"/>
                  </a:cubicBezTo>
                  <a:cubicBezTo>
                    <a:pt x="337933" y="84850"/>
                    <a:pt x="337687" y="82958"/>
                    <a:pt x="337196" y="81065"/>
                  </a:cubicBezTo>
                  <a:cubicBezTo>
                    <a:pt x="336950" y="79983"/>
                    <a:pt x="336950" y="79172"/>
                    <a:pt x="336950" y="78091"/>
                  </a:cubicBezTo>
                  <a:cubicBezTo>
                    <a:pt x="337196" y="78902"/>
                    <a:pt x="337442" y="78631"/>
                    <a:pt x="337196" y="78361"/>
                  </a:cubicBezTo>
                  <a:lnTo>
                    <a:pt x="337196" y="72683"/>
                  </a:lnTo>
                  <a:lnTo>
                    <a:pt x="337196" y="72413"/>
                  </a:lnTo>
                  <a:cubicBezTo>
                    <a:pt x="337196" y="70791"/>
                    <a:pt x="337442" y="69439"/>
                    <a:pt x="337687" y="67816"/>
                  </a:cubicBezTo>
                  <a:cubicBezTo>
                    <a:pt x="338179" y="65924"/>
                    <a:pt x="338179" y="64031"/>
                    <a:pt x="338917" y="62409"/>
                  </a:cubicBezTo>
                  <a:cubicBezTo>
                    <a:pt x="339408" y="61327"/>
                    <a:pt x="339654" y="60246"/>
                    <a:pt x="339900" y="59164"/>
                  </a:cubicBezTo>
                  <a:cubicBezTo>
                    <a:pt x="340637" y="57542"/>
                    <a:pt x="341375" y="55649"/>
                    <a:pt x="342112" y="54027"/>
                  </a:cubicBezTo>
                  <a:cubicBezTo>
                    <a:pt x="342850" y="52675"/>
                    <a:pt x="343587" y="51593"/>
                    <a:pt x="344324" y="50242"/>
                  </a:cubicBezTo>
                  <a:cubicBezTo>
                    <a:pt x="345062" y="49160"/>
                    <a:pt x="345799" y="48079"/>
                    <a:pt x="346536" y="47267"/>
                  </a:cubicBezTo>
                  <a:lnTo>
                    <a:pt x="348749" y="44834"/>
                  </a:lnTo>
                  <a:cubicBezTo>
                    <a:pt x="350224" y="43482"/>
                    <a:pt x="351699" y="42130"/>
                    <a:pt x="353419" y="41049"/>
                  </a:cubicBezTo>
                  <a:cubicBezTo>
                    <a:pt x="354648" y="40237"/>
                    <a:pt x="356123" y="39426"/>
                    <a:pt x="357352" y="38886"/>
                  </a:cubicBezTo>
                  <a:cubicBezTo>
                    <a:pt x="360301" y="37534"/>
                    <a:pt x="363497" y="36723"/>
                    <a:pt x="366938" y="36452"/>
                  </a:cubicBezTo>
                  <a:close/>
                  <a:moveTo>
                    <a:pt x="123893" y="36452"/>
                  </a:moveTo>
                  <a:cubicBezTo>
                    <a:pt x="128071" y="36182"/>
                    <a:pt x="132250" y="36993"/>
                    <a:pt x="136183" y="38615"/>
                  </a:cubicBezTo>
                  <a:cubicBezTo>
                    <a:pt x="138886" y="39697"/>
                    <a:pt x="141344" y="41319"/>
                    <a:pt x="143557" y="43212"/>
                  </a:cubicBezTo>
                  <a:cubicBezTo>
                    <a:pt x="144786" y="44293"/>
                    <a:pt x="145769" y="45375"/>
                    <a:pt x="146998" y="46456"/>
                  </a:cubicBezTo>
                  <a:cubicBezTo>
                    <a:pt x="148227" y="47808"/>
                    <a:pt x="149456" y="49430"/>
                    <a:pt x="150439" y="50782"/>
                  </a:cubicBezTo>
                  <a:cubicBezTo>
                    <a:pt x="151176" y="51864"/>
                    <a:pt x="151914" y="53216"/>
                    <a:pt x="152406" y="54297"/>
                  </a:cubicBezTo>
                  <a:cubicBezTo>
                    <a:pt x="153389" y="55920"/>
                    <a:pt x="154126" y="57812"/>
                    <a:pt x="154618" y="59705"/>
                  </a:cubicBezTo>
                  <a:cubicBezTo>
                    <a:pt x="155109" y="60786"/>
                    <a:pt x="155355" y="62138"/>
                    <a:pt x="155601" y="63220"/>
                  </a:cubicBezTo>
                  <a:cubicBezTo>
                    <a:pt x="156093" y="64842"/>
                    <a:pt x="156339" y="66735"/>
                    <a:pt x="156584" y="68357"/>
                  </a:cubicBezTo>
                  <a:cubicBezTo>
                    <a:pt x="157322" y="73224"/>
                    <a:pt x="157322" y="78091"/>
                    <a:pt x="156339" y="82687"/>
                  </a:cubicBezTo>
                  <a:cubicBezTo>
                    <a:pt x="156093" y="84310"/>
                    <a:pt x="155847" y="85932"/>
                    <a:pt x="155355" y="87554"/>
                  </a:cubicBezTo>
                  <a:cubicBezTo>
                    <a:pt x="154864" y="88906"/>
                    <a:pt x="154618" y="89987"/>
                    <a:pt x="154126" y="91339"/>
                  </a:cubicBezTo>
                  <a:cubicBezTo>
                    <a:pt x="153635" y="92150"/>
                    <a:pt x="153389" y="92962"/>
                    <a:pt x="153143" y="93773"/>
                  </a:cubicBezTo>
                  <a:cubicBezTo>
                    <a:pt x="152406" y="95395"/>
                    <a:pt x="151668" y="96747"/>
                    <a:pt x="150931" y="98099"/>
                  </a:cubicBezTo>
                  <a:lnTo>
                    <a:pt x="148719" y="101343"/>
                  </a:lnTo>
                  <a:cubicBezTo>
                    <a:pt x="147735" y="102695"/>
                    <a:pt x="146506" y="104047"/>
                    <a:pt x="145277" y="105129"/>
                  </a:cubicBezTo>
                  <a:cubicBezTo>
                    <a:pt x="144294" y="106210"/>
                    <a:pt x="143065" y="107021"/>
                    <a:pt x="142082" y="107832"/>
                  </a:cubicBezTo>
                  <a:cubicBezTo>
                    <a:pt x="140361" y="109185"/>
                    <a:pt x="138395" y="110266"/>
                    <a:pt x="136428" y="111077"/>
                  </a:cubicBezTo>
                  <a:cubicBezTo>
                    <a:pt x="133970" y="112159"/>
                    <a:pt x="131266" y="112970"/>
                    <a:pt x="128563" y="113240"/>
                  </a:cubicBezTo>
                  <a:cubicBezTo>
                    <a:pt x="128071" y="113240"/>
                    <a:pt x="127825" y="113240"/>
                    <a:pt x="127334" y="113511"/>
                  </a:cubicBezTo>
                  <a:lnTo>
                    <a:pt x="123155" y="113511"/>
                  </a:lnTo>
                  <a:cubicBezTo>
                    <a:pt x="123155" y="113240"/>
                    <a:pt x="122909" y="113511"/>
                    <a:pt x="122909" y="113511"/>
                  </a:cubicBezTo>
                  <a:cubicBezTo>
                    <a:pt x="118239" y="112970"/>
                    <a:pt x="113814" y="111348"/>
                    <a:pt x="109882" y="108644"/>
                  </a:cubicBezTo>
                  <a:cubicBezTo>
                    <a:pt x="108161" y="107562"/>
                    <a:pt x="106686" y="106210"/>
                    <a:pt x="105211" y="104588"/>
                  </a:cubicBezTo>
                  <a:cubicBezTo>
                    <a:pt x="103982" y="103506"/>
                    <a:pt x="102999" y="102155"/>
                    <a:pt x="102016" y="100803"/>
                  </a:cubicBezTo>
                  <a:cubicBezTo>
                    <a:pt x="101279" y="99721"/>
                    <a:pt x="100541" y="98640"/>
                    <a:pt x="99804" y="97288"/>
                  </a:cubicBezTo>
                  <a:cubicBezTo>
                    <a:pt x="99066" y="95936"/>
                    <a:pt x="98329" y="94584"/>
                    <a:pt x="97591" y="92962"/>
                  </a:cubicBezTo>
                  <a:cubicBezTo>
                    <a:pt x="97100" y="91880"/>
                    <a:pt x="96854" y="91069"/>
                    <a:pt x="96362" y="89987"/>
                  </a:cubicBezTo>
                  <a:cubicBezTo>
                    <a:pt x="95871" y="88906"/>
                    <a:pt x="95625" y="87824"/>
                    <a:pt x="95379" y="86743"/>
                  </a:cubicBezTo>
                  <a:cubicBezTo>
                    <a:pt x="94888" y="84850"/>
                    <a:pt x="94642" y="82958"/>
                    <a:pt x="94150" y="81065"/>
                  </a:cubicBezTo>
                  <a:cubicBezTo>
                    <a:pt x="93904" y="79983"/>
                    <a:pt x="93904" y="79172"/>
                    <a:pt x="93904" y="78091"/>
                  </a:cubicBezTo>
                  <a:cubicBezTo>
                    <a:pt x="94150" y="78902"/>
                    <a:pt x="94396" y="78631"/>
                    <a:pt x="94150" y="78361"/>
                  </a:cubicBezTo>
                  <a:lnTo>
                    <a:pt x="94150" y="72683"/>
                  </a:lnTo>
                  <a:lnTo>
                    <a:pt x="94150" y="72413"/>
                  </a:lnTo>
                  <a:cubicBezTo>
                    <a:pt x="94150" y="70791"/>
                    <a:pt x="94396" y="69439"/>
                    <a:pt x="94642" y="67816"/>
                  </a:cubicBezTo>
                  <a:cubicBezTo>
                    <a:pt x="95133" y="65924"/>
                    <a:pt x="95133" y="64031"/>
                    <a:pt x="95871" y="62409"/>
                  </a:cubicBezTo>
                  <a:cubicBezTo>
                    <a:pt x="96362" y="61327"/>
                    <a:pt x="96608" y="60246"/>
                    <a:pt x="96854" y="59164"/>
                  </a:cubicBezTo>
                  <a:cubicBezTo>
                    <a:pt x="97591" y="57542"/>
                    <a:pt x="98329" y="55649"/>
                    <a:pt x="99066" y="54027"/>
                  </a:cubicBezTo>
                  <a:cubicBezTo>
                    <a:pt x="99804" y="52675"/>
                    <a:pt x="100541" y="51593"/>
                    <a:pt x="101279" y="50242"/>
                  </a:cubicBezTo>
                  <a:cubicBezTo>
                    <a:pt x="102016" y="49160"/>
                    <a:pt x="102753" y="48079"/>
                    <a:pt x="103491" y="47267"/>
                  </a:cubicBezTo>
                  <a:lnTo>
                    <a:pt x="105703" y="44834"/>
                  </a:lnTo>
                  <a:cubicBezTo>
                    <a:pt x="107178" y="43482"/>
                    <a:pt x="108653" y="42130"/>
                    <a:pt x="110373" y="41049"/>
                  </a:cubicBezTo>
                  <a:cubicBezTo>
                    <a:pt x="111602" y="40237"/>
                    <a:pt x="113077" y="39426"/>
                    <a:pt x="114306" y="38886"/>
                  </a:cubicBezTo>
                  <a:cubicBezTo>
                    <a:pt x="117256" y="37534"/>
                    <a:pt x="120451" y="36723"/>
                    <a:pt x="123893" y="36452"/>
                  </a:cubicBezTo>
                  <a:close/>
                  <a:moveTo>
                    <a:pt x="33147" y="35814"/>
                  </a:moveTo>
                  <a:cubicBezTo>
                    <a:pt x="45378" y="35814"/>
                    <a:pt x="55582" y="44490"/>
                    <a:pt x="57942" y="56023"/>
                  </a:cubicBezTo>
                  <a:lnTo>
                    <a:pt x="58422" y="60781"/>
                  </a:lnTo>
                  <a:lnTo>
                    <a:pt x="59840" y="60781"/>
                  </a:lnTo>
                  <a:cubicBezTo>
                    <a:pt x="63409" y="60781"/>
                    <a:pt x="66294" y="63591"/>
                    <a:pt x="66294" y="67067"/>
                  </a:cubicBezTo>
                  <a:lnTo>
                    <a:pt x="66294" y="116789"/>
                  </a:lnTo>
                  <a:cubicBezTo>
                    <a:pt x="66294" y="120265"/>
                    <a:pt x="63409" y="123075"/>
                    <a:pt x="59840" y="123075"/>
                  </a:cubicBezTo>
                  <a:lnTo>
                    <a:pt x="6453" y="123075"/>
                  </a:lnTo>
                  <a:cubicBezTo>
                    <a:pt x="2884" y="123075"/>
                    <a:pt x="0" y="120265"/>
                    <a:pt x="0" y="116789"/>
                  </a:cubicBezTo>
                  <a:lnTo>
                    <a:pt x="0" y="67067"/>
                  </a:lnTo>
                  <a:cubicBezTo>
                    <a:pt x="0" y="63591"/>
                    <a:pt x="2884" y="60781"/>
                    <a:pt x="6453" y="60781"/>
                  </a:cubicBezTo>
                  <a:lnTo>
                    <a:pt x="7288" y="60781"/>
                  </a:lnTo>
                  <a:lnTo>
                    <a:pt x="7872" y="60781"/>
                  </a:lnTo>
                  <a:cubicBezTo>
                    <a:pt x="8032" y="59195"/>
                    <a:pt x="8191" y="57609"/>
                    <a:pt x="8351" y="56023"/>
                  </a:cubicBezTo>
                  <a:cubicBezTo>
                    <a:pt x="10711" y="44490"/>
                    <a:pt x="20916" y="35814"/>
                    <a:pt x="33147" y="35814"/>
                  </a:cubicBezTo>
                  <a:close/>
                  <a:moveTo>
                    <a:pt x="2537931" y="28226"/>
                  </a:moveTo>
                  <a:cubicBezTo>
                    <a:pt x="2550162" y="28226"/>
                    <a:pt x="2560367" y="36902"/>
                    <a:pt x="2562727" y="48435"/>
                  </a:cubicBezTo>
                  <a:cubicBezTo>
                    <a:pt x="2562887" y="50021"/>
                    <a:pt x="2563046" y="51607"/>
                    <a:pt x="2563206" y="53193"/>
                  </a:cubicBezTo>
                  <a:lnTo>
                    <a:pt x="2564625" y="53193"/>
                  </a:lnTo>
                  <a:cubicBezTo>
                    <a:pt x="2568194" y="53193"/>
                    <a:pt x="2571078" y="56003"/>
                    <a:pt x="2571078" y="59479"/>
                  </a:cubicBezTo>
                  <a:lnTo>
                    <a:pt x="2571078" y="109201"/>
                  </a:lnTo>
                  <a:cubicBezTo>
                    <a:pt x="2571078" y="112677"/>
                    <a:pt x="2568194" y="115487"/>
                    <a:pt x="2564625" y="115487"/>
                  </a:cubicBezTo>
                  <a:lnTo>
                    <a:pt x="2511238" y="115487"/>
                  </a:lnTo>
                  <a:cubicBezTo>
                    <a:pt x="2507669" y="115487"/>
                    <a:pt x="2504784" y="112677"/>
                    <a:pt x="2504784" y="109201"/>
                  </a:cubicBezTo>
                  <a:lnTo>
                    <a:pt x="2504784" y="59479"/>
                  </a:lnTo>
                  <a:cubicBezTo>
                    <a:pt x="2504784" y="56003"/>
                    <a:pt x="2507669" y="53193"/>
                    <a:pt x="2511238" y="53193"/>
                  </a:cubicBezTo>
                  <a:lnTo>
                    <a:pt x="2512072" y="53193"/>
                  </a:lnTo>
                  <a:lnTo>
                    <a:pt x="2512656" y="53193"/>
                  </a:lnTo>
                  <a:lnTo>
                    <a:pt x="2513136" y="48435"/>
                  </a:lnTo>
                  <a:cubicBezTo>
                    <a:pt x="2515496" y="36902"/>
                    <a:pt x="2525700" y="28226"/>
                    <a:pt x="2537931" y="28226"/>
                  </a:cubicBezTo>
                  <a:close/>
                  <a:moveTo>
                    <a:pt x="2112934" y="28226"/>
                  </a:moveTo>
                  <a:cubicBezTo>
                    <a:pt x="2125165" y="28226"/>
                    <a:pt x="2135370" y="36902"/>
                    <a:pt x="2137730" y="48435"/>
                  </a:cubicBezTo>
                  <a:cubicBezTo>
                    <a:pt x="2137890" y="50021"/>
                    <a:pt x="2138049" y="51607"/>
                    <a:pt x="2138209" y="53193"/>
                  </a:cubicBezTo>
                  <a:lnTo>
                    <a:pt x="2139628" y="53193"/>
                  </a:lnTo>
                  <a:cubicBezTo>
                    <a:pt x="2143197" y="53193"/>
                    <a:pt x="2146081" y="56003"/>
                    <a:pt x="2146081" y="59479"/>
                  </a:cubicBezTo>
                  <a:lnTo>
                    <a:pt x="2146081" y="109201"/>
                  </a:lnTo>
                  <a:cubicBezTo>
                    <a:pt x="2146081" y="112677"/>
                    <a:pt x="2143197" y="115487"/>
                    <a:pt x="2139628" y="115487"/>
                  </a:cubicBezTo>
                  <a:lnTo>
                    <a:pt x="2086241" y="115487"/>
                  </a:lnTo>
                  <a:cubicBezTo>
                    <a:pt x="2082672" y="115487"/>
                    <a:pt x="2079787" y="112677"/>
                    <a:pt x="2079787" y="109201"/>
                  </a:cubicBezTo>
                  <a:lnTo>
                    <a:pt x="2079787" y="59479"/>
                  </a:lnTo>
                  <a:cubicBezTo>
                    <a:pt x="2079787" y="56003"/>
                    <a:pt x="2082672" y="53193"/>
                    <a:pt x="2086241" y="53193"/>
                  </a:cubicBezTo>
                  <a:lnTo>
                    <a:pt x="2087075" y="53193"/>
                  </a:lnTo>
                  <a:lnTo>
                    <a:pt x="2087659" y="53193"/>
                  </a:lnTo>
                  <a:lnTo>
                    <a:pt x="2088139" y="48435"/>
                  </a:lnTo>
                  <a:cubicBezTo>
                    <a:pt x="2090499" y="36902"/>
                    <a:pt x="2100703" y="28226"/>
                    <a:pt x="2112934" y="28226"/>
                  </a:cubicBezTo>
                  <a:close/>
                  <a:moveTo>
                    <a:pt x="1854966" y="28226"/>
                  </a:moveTo>
                  <a:cubicBezTo>
                    <a:pt x="1867197" y="28226"/>
                    <a:pt x="1877402" y="36902"/>
                    <a:pt x="1879762" y="48435"/>
                  </a:cubicBezTo>
                  <a:cubicBezTo>
                    <a:pt x="1879922" y="50021"/>
                    <a:pt x="1880081" y="51607"/>
                    <a:pt x="1880241" y="53193"/>
                  </a:cubicBezTo>
                  <a:lnTo>
                    <a:pt x="1881660" y="53193"/>
                  </a:lnTo>
                  <a:cubicBezTo>
                    <a:pt x="1885229" y="53193"/>
                    <a:pt x="1888113" y="56003"/>
                    <a:pt x="1888113" y="59479"/>
                  </a:cubicBezTo>
                  <a:lnTo>
                    <a:pt x="1888113" y="109201"/>
                  </a:lnTo>
                  <a:cubicBezTo>
                    <a:pt x="1888113" y="112677"/>
                    <a:pt x="1885229" y="115487"/>
                    <a:pt x="1881660" y="115487"/>
                  </a:cubicBezTo>
                  <a:lnTo>
                    <a:pt x="1828273" y="115487"/>
                  </a:lnTo>
                  <a:cubicBezTo>
                    <a:pt x="1824704" y="115487"/>
                    <a:pt x="1821819" y="112677"/>
                    <a:pt x="1821819" y="109201"/>
                  </a:cubicBezTo>
                  <a:lnTo>
                    <a:pt x="1821819" y="59479"/>
                  </a:lnTo>
                  <a:cubicBezTo>
                    <a:pt x="1821819" y="56003"/>
                    <a:pt x="1824704" y="53193"/>
                    <a:pt x="1828273" y="53193"/>
                  </a:cubicBezTo>
                  <a:lnTo>
                    <a:pt x="1829107" y="53193"/>
                  </a:lnTo>
                  <a:lnTo>
                    <a:pt x="1829691" y="53193"/>
                  </a:lnTo>
                  <a:lnTo>
                    <a:pt x="1830171" y="48435"/>
                  </a:lnTo>
                  <a:cubicBezTo>
                    <a:pt x="1832531" y="36902"/>
                    <a:pt x="1842735" y="28226"/>
                    <a:pt x="1854966" y="28226"/>
                  </a:cubicBezTo>
                  <a:close/>
                  <a:moveTo>
                    <a:pt x="1764027" y="28226"/>
                  </a:moveTo>
                  <a:cubicBezTo>
                    <a:pt x="1776258" y="28226"/>
                    <a:pt x="1786463" y="36902"/>
                    <a:pt x="1788823" y="48435"/>
                  </a:cubicBezTo>
                  <a:cubicBezTo>
                    <a:pt x="1788983" y="50021"/>
                    <a:pt x="1789142" y="51607"/>
                    <a:pt x="1789302" y="53193"/>
                  </a:cubicBezTo>
                  <a:lnTo>
                    <a:pt x="1790721" y="53193"/>
                  </a:lnTo>
                  <a:cubicBezTo>
                    <a:pt x="1794290" y="53193"/>
                    <a:pt x="1797174" y="56003"/>
                    <a:pt x="1797174" y="59479"/>
                  </a:cubicBezTo>
                  <a:lnTo>
                    <a:pt x="1797174" y="109201"/>
                  </a:lnTo>
                  <a:cubicBezTo>
                    <a:pt x="1797174" y="112677"/>
                    <a:pt x="1794290" y="115487"/>
                    <a:pt x="1790721" y="115487"/>
                  </a:cubicBezTo>
                  <a:lnTo>
                    <a:pt x="1737333" y="115487"/>
                  </a:lnTo>
                  <a:cubicBezTo>
                    <a:pt x="1733765" y="115487"/>
                    <a:pt x="1730880" y="112677"/>
                    <a:pt x="1730880" y="109201"/>
                  </a:cubicBezTo>
                  <a:lnTo>
                    <a:pt x="1730880" y="59479"/>
                  </a:lnTo>
                  <a:cubicBezTo>
                    <a:pt x="1730880" y="56003"/>
                    <a:pt x="1733765" y="53193"/>
                    <a:pt x="1737333" y="53193"/>
                  </a:cubicBezTo>
                  <a:lnTo>
                    <a:pt x="1738168" y="53193"/>
                  </a:lnTo>
                  <a:lnTo>
                    <a:pt x="1738752" y="53193"/>
                  </a:lnTo>
                  <a:lnTo>
                    <a:pt x="1739232" y="48435"/>
                  </a:lnTo>
                  <a:cubicBezTo>
                    <a:pt x="1741592" y="36902"/>
                    <a:pt x="1751796" y="28226"/>
                    <a:pt x="1764027" y="28226"/>
                  </a:cubicBezTo>
                  <a:close/>
                  <a:moveTo>
                    <a:pt x="1506059" y="28226"/>
                  </a:moveTo>
                  <a:cubicBezTo>
                    <a:pt x="1518290" y="28226"/>
                    <a:pt x="1528495" y="36902"/>
                    <a:pt x="1530855" y="48435"/>
                  </a:cubicBezTo>
                  <a:cubicBezTo>
                    <a:pt x="1531015" y="50021"/>
                    <a:pt x="1531174" y="51607"/>
                    <a:pt x="1531334" y="53193"/>
                  </a:cubicBezTo>
                  <a:lnTo>
                    <a:pt x="1532753" y="53193"/>
                  </a:lnTo>
                  <a:cubicBezTo>
                    <a:pt x="1536322" y="53193"/>
                    <a:pt x="1539206" y="56003"/>
                    <a:pt x="1539206" y="59479"/>
                  </a:cubicBezTo>
                  <a:lnTo>
                    <a:pt x="1539206" y="109201"/>
                  </a:lnTo>
                  <a:cubicBezTo>
                    <a:pt x="1539206" y="112677"/>
                    <a:pt x="1536322" y="115487"/>
                    <a:pt x="1532753" y="115487"/>
                  </a:cubicBezTo>
                  <a:lnTo>
                    <a:pt x="1479365" y="115487"/>
                  </a:lnTo>
                  <a:cubicBezTo>
                    <a:pt x="1475797" y="115487"/>
                    <a:pt x="1472912" y="112677"/>
                    <a:pt x="1472912" y="109201"/>
                  </a:cubicBezTo>
                  <a:lnTo>
                    <a:pt x="1472912" y="59479"/>
                  </a:lnTo>
                  <a:cubicBezTo>
                    <a:pt x="1472912" y="56003"/>
                    <a:pt x="1475797" y="53193"/>
                    <a:pt x="1479365" y="53193"/>
                  </a:cubicBezTo>
                  <a:lnTo>
                    <a:pt x="1480200" y="53193"/>
                  </a:lnTo>
                  <a:lnTo>
                    <a:pt x="1480784" y="53193"/>
                  </a:lnTo>
                  <a:lnTo>
                    <a:pt x="1481264" y="48435"/>
                  </a:lnTo>
                  <a:cubicBezTo>
                    <a:pt x="1483624" y="36902"/>
                    <a:pt x="1493828" y="28226"/>
                    <a:pt x="1506059" y="28226"/>
                  </a:cubicBezTo>
                  <a:close/>
                  <a:moveTo>
                    <a:pt x="1415120" y="28226"/>
                  </a:moveTo>
                  <a:cubicBezTo>
                    <a:pt x="1427351" y="28226"/>
                    <a:pt x="1437556" y="36902"/>
                    <a:pt x="1439916" y="48435"/>
                  </a:cubicBezTo>
                  <a:cubicBezTo>
                    <a:pt x="1440076" y="50021"/>
                    <a:pt x="1440235" y="51607"/>
                    <a:pt x="1440395" y="53193"/>
                  </a:cubicBezTo>
                  <a:lnTo>
                    <a:pt x="1441814" y="53193"/>
                  </a:lnTo>
                  <a:cubicBezTo>
                    <a:pt x="1445383" y="53193"/>
                    <a:pt x="1448267" y="56003"/>
                    <a:pt x="1448267" y="59479"/>
                  </a:cubicBezTo>
                  <a:lnTo>
                    <a:pt x="1448267" y="109201"/>
                  </a:lnTo>
                  <a:cubicBezTo>
                    <a:pt x="1448267" y="112677"/>
                    <a:pt x="1445383" y="115487"/>
                    <a:pt x="1441814" y="115487"/>
                  </a:cubicBezTo>
                  <a:lnTo>
                    <a:pt x="1388426" y="115487"/>
                  </a:lnTo>
                  <a:cubicBezTo>
                    <a:pt x="1384858" y="115487"/>
                    <a:pt x="1381973" y="112677"/>
                    <a:pt x="1381973" y="109201"/>
                  </a:cubicBezTo>
                  <a:lnTo>
                    <a:pt x="1381973" y="59479"/>
                  </a:lnTo>
                  <a:cubicBezTo>
                    <a:pt x="1381973" y="56003"/>
                    <a:pt x="1384858" y="53193"/>
                    <a:pt x="1388426" y="53193"/>
                  </a:cubicBezTo>
                  <a:lnTo>
                    <a:pt x="1389261" y="53193"/>
                  </a:lnTo>
                  <a:lnTo>
                    <a:pt x="1389845" y="53193"/>
                  </a:lnTo>
                  <a:lnTo>
                    <a:pt x="1390325" y="48435"/>
                  </a:lnTo>
                  <a:cubicBezTo>
                    <a:pt x="1392685" y="36902"/>
                    <a:pt x="1402889" y="28226"/>
                    <a:pt x="1415120" y="28226"/>
                  </a:cubicBezTo>
                  <a:close/>
                  <a:moveTo>
                    <a:pt x="1157152" y="28226"/>
                  </a:moveTo>
                  <a:cubicBezTo>
                    <a:pt x="1169383" y="28226"/>
                    <a:pt x="1179588" y="36902"/>
                    <a:pt x="1181948" y="48435"/>
                  </a:cubicBezTo>
                  <a:cubicBezTo>
                    <a:pt x="1182108" y="50021"/>
                    <a:pt x="1182267" y="51607"/>
                    <a:pt x="1182427" y="53193"/>
                  </a:cubicBezTo>
                  <a:lnTo>
                    <a:pt x="1183846" y="53193"/>
                  </a:lnTo>
                  <a:cubicBezTo>
                    <a:pt x="1187415" y="53193"/>
                    <a:pt x="1190299" y="56003"/>
                    <a:pt x="1190299" y="59479"/>
                  </a:cubicBezTo>
                  <a:lnTo>
                    <a:pt x="1190299" y="109201"/>
                  </a:lnTo>
                  <a:cubicBezTo>
                    <a:pt x="1190299" y="112677"/>
                    <a:pt x="1187415" y="115487"/>
                    <a:pt x="1183846" y="115487"/>
                  </a:cubicBezTo>
                  <a:lnTo>
                    <a:pt x="1130458" y="115487"/>
                  </a:lnTo>
                  <a:cubicBezTo>
                    <a:pt x="1126890" y="115487"/>
                    <a:pt x="1124005" y="112677"/>
                    <a:pt x="1124005" y="109201"/>
                  </a:cubicBezTo>
                  <a:lnTo>
                    <a:pt x="1124005" y="59479"/>
                  </a:lnTo>
                  <a:cubicBezTo>
                    <a:pt x="1124005" y="56003"/>
                    <a:pt x="1126890" y="53193"/>
                    <a:pt x="1130458" y="53193"/>
                  </a:cubicBezTo>
                  <a:lnTo>
                    <a:pt x="1131293" y="53193"/>
                  </a:lnTo>
                  <a:lnTo>
                    <a:pt x="1131877" y="53193"/>
                  </a:lnTo>
                  <a:lnTo>
                    <a:pt x="1132357" y="48435"/>
                  </a:lnTo>
                  <a:cubicBezTo>
                    <a:pt x="1134717" y="36902"/>
                    <a:pt x="1144921" y="28226"/>
                    <a:pt x="1157152" y="28226"/>
                  </a:cubicBezTo>
                  <a:close/>
                  <a:moveTo>
                    <a:pt x="732156" y="28226"/>
                  </a:moveTo>
                  <a:cubicBezTo>
                    <a:pt x="744387" y="28226"/>
                    <a:pt x="754591" y="36902"/>
                    <a:pt x="756951" y="48435"/>
                  </a:cubicBezTo>
                  <a:lnTo>
                    <a:pt x="757431" y="53193"/>
                  </a:lnTo>
                  <a:lnTo>
                    <a:pt x="758849" y="53193"/>
                  </a:lnTo>
                  <a:cubicBezTo>
                    <a:pt x="762418" y="53193"/>
                    <a:pt x="765303" y="56003"/>
                    <a:pt x="765303" y="59479"/>
                  </a:cubicBezTo>
                  <a:lnTo>
                    <a:pt x="765303" y="109201"/>
                  </a:lnTo>
                  <a:cubicBezTo>
                    <a:pt x="765303" y="112677"/>
                    <a:pt x="762418" y="115487"/>
                    <a:pt x="758849" y="115487"/>
                  </a:cubicBezTo>
                  <a:lnTo>
                    <a:pt x="705462" y="115487"/>
                  </a:lnTo>
                  <a:cubicBezTo>
                    <a:pt x="701893" y="115487"/>
                    <a:pt x="699009" y="112677"/>
                    <a:pt x="699009" y="109201"/>
                  </a:cubicBezTo>
                  <a:lnTo>
                    <a:pt x="699009" y="59479"/>
                  </a:lnTo>
                  <a:cubicBezTo>
                    <a:pt x="699009" y="56003"/>
                    <a:pt x="701893" y="53193"/>
                    <a:pt x="705462" y="53193"/>
                  </a:cubicBezTo>
                  <a:lnTo>
                    <a:pt x="706296" y="53193"/>
                  </a:lnTo>
                  <a:lnTo>
                    <a:pt x="706881" y="53193"/>
                  </a:lnTo>
                  <a:cubicBezTo>
                    <a:pt x="707041" y="51607"/>
                    <a:pt x="707200" y="50021"/>
                    <a:pt x="707360" y="48435"/>
                  </a:cubicBezTo>
                  <a:cubicBezTo>
                    <a:pt x="709720" y="36902"/>
                    <a:pt x="719925" y="28226"/>
                    <a:pt x="732156" y="28226"/>
                  </a:cubicBezTo>
                  <a:close/>
                  <a:moveTo>
                    <a:pt x="641217" y="28226"/>
                  </a:moveTo>
                  <a:cubicBezTo>
                    <a:pt x="653448" y="28226"/>
                    <a:pt x="663652" y="36902"/>
                    <a:pt x="666012" y="48435"/>
                  </a:cubicBezTo>
                  <a:lnTo>
                    <a:pt x="666492" y="53193"/>
                  </a:lnTo>
                  <a:lnTo>
                    <a:pt x="667910" y="53193"/>
                  </a:lnTo>
                  <a:cubicBezTo>
                    <a:pt x="671479" y="53193"/>
                    <a:pt x="674364" y="56003"/>
                    <a:pt x="674364" y="59479"/>
                  </a:cubicBezTo>
                  <a:lnTo>
                    <a:pt x="674364" y="109201"/>
                  </a:lnTo>
                  <a:cubicBezTo>
                    <a:pt x="674364" y="112677"/>
                    <a:pt x="671479" y="115487"/>
                    <a:pt x="667910" y="115487"/>
                  </a:cubicBezTo>
                  <a:lnTo>
                    <a:pt x="614523" y="115487"/>
                  </a:lnTo>
                  <a:cubicBezTo>
                    <a:pt x="610954" y="115487"/>
                    <a:pt x="608070" y="112677"/>
                    <a:pt x="608070" y="109201"/>
                  </a:cubicBezTo>
                  <a:lnTo>
                    <a:pt x="608070" y="59479"/>
                  </a:lnTo>
                  <a:cubicBezTo>
                    <a:pt x="608070" y="56003"/>
                    <a:pt x="610954" y="53193"/>
                    <a:pt x="614523" y="53193"/>
                  </a:cubicBezTo>
                  <a:lnTo>
                    <a:pt x="615358" y="53193"/>
                  </a:lnTo>
                  <a:lnTo>
                    <a:pt x="615942" y="53193"/>
                  </a:lnTo>
                  <a:lnTo>
                    <a:pt x="616422" y="48435"/>
                  </a:lnTo>
                  <a:cubicBezTo>
                    <a:pt x="618781" y="36902"/>
                    <a:pt x="628986" y="28226"/>
                    <a:pt x="641217" y="28226"/>
                  </a:cubicBezTo>
                  <a:close/>
                  <a:moveTo>
                    <a:pt x="459266" y="28226"/>
                  </a:moveTo>
                  <a:cubicBezTo>
                    <a:pt x="471497" y="28226"/>
                    <a:pt x="481701" y="36902"/>
                    <a:pt x="484061" y="48435"/>
                  </a:cubicBezTo>
                  <a:lnTo>
                    <a:pt x="484541" y="53193"/>
                  </a:lnTo>
                  <a:lnTo>
                    <a:pt x="485959" y="53193"/>
                  </a:lnTo>
                  <a:cubicBezTo>
                    <a:pt x="489528" y="53193"/>
                    <a:pt x="492413" y="56003"/>
                    <a:pt x="492413" y="59479"/>
                  </a:cubicBezTo>
                  <a:lnTo>
                    <a:pt x="492413" y="109201"/>
                  </a:lnTo>
                  <a:cubicBezTo>
                    <a:pt x="492413" y="112677"/>
                    <a:pt x="489528" y="115487"/>
                    <a:pt x="485959" y="115487"/>
                  </a:cubicBezTo>
                  <a:lnTo>
                    <a:pt x="432572" y="115487"/>
                  </a:lnTo>
                  <a:cubicBezTo>
                    <a:pt x="429003" y="115487"/>
                    <a:pt x="426119" y="112677"/>
                    <a:pt x="426119" y="109201"/>
                  </a:cubicBezTo>
                  <a:lnTo>
                    <a:pt x="426119" y="59479"/>
                  </a:lnTo>
                  <a:cubicBezTo>
                    <a:pt x="426119" y="56003"/>
                    <a:pt x="429003" y="53193"/>
                    <a:pt x="432572" y="53193"/>
                  </a:cubicBezTo>
                  <a:lnTo>
                    <a:pt x="433406" y="53193"/>
                  </a:lnTo>
                  <a:lnTo>
                    <a:pt x="433991" y="53193"/>
                  </a:lnTo>
                  <a:cubicBezTo>
                    <a:pt x="434151" y="51607"/>
                    <a:pt x="434310" y="50021"/>
                    <a:pt x="434470" y="48435"/>
                  </a:cubicBezTo>
                  <a:cubicBezTo>
                    <a:pt x="436830" y="36902"/>
                    <a:pt x="447035" y="28226"/>
                    <a:pt x="459266" y="28226"/>
                  </a:cubicBezTo>
                  <a:close/>
                  <a:moveTo>
                    <a:pt x="15475" y="1"/>
                  </a:moveTo>
                  <a:lnTo>
                    <a:pt x="16016" y="1"/>
                  </a:lnTo>
                  <a:cubicBezTo>
                    <a:pt x="11870" y="2660"/>
                    <a:pt x="15655" y="1"/>
                    <a:pt x="15475" y="1"/>
                  </a:cubicBezTo>
                  <a:close/>
                </a:path>
              </a:pathLst>
            </a:custGeom>
            <a:solidFill>
              <a:srgbClr val="BFBFBF"/>
            </a:solidFill>
            <a:ln w="9525" cap="flat">
              <a:noFill/>
              <a:prstDash val="solid"/>
              <a:miter/>
            </a:ln>
          </p:spPr>
          <p:txBody>
            <a:bodyPr wrap="square">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146" name="TextBox 145">
              <a:extLst>
                <a:ext uri="{FF2B5EF4-FFF2-40B4-BE49-F238E27FC236}">
                  <a16:creationId xmlns:a16="http://schemas.microsoft.com/office/drawing/2014/main" id="{0549DFA8-EFAB-4EB6-A29F-8734FC0B0427}"/>
                </a:ext>
              </a:extLst>
            </p:cNvPr>
            <p:cNvSpPr txBox="1"/>
            <p:nvPr/>
          </p:nvSpPr>
          <p:spPr>
            <a:xfrm>
              <a:off x="6161029" y="1952626"/>
              <a:ext cx="1445954" cy="548868"/>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r" defTabSz="342892" rtl="0" eaLnBrk="1" fontAlgn="base" latinLnBrk="0" hangingPunct="1">
                <a:lnSpc>
                  <a:spcPct val="100000"/>
                </a:lnSpc>
                <a:spcBef>
                  <a:spcPct val="0"/>
                </a:spcBef>
                <a:spcAft>
                  <a:spcPts val="450"/>
                </a:spcAft>
                <a:buClrTx/>
                <a:buSzTx/>
                <a:buFontTx/>
                <a:buNone/>
                <a:tabLst/>
                <a:defRPr/>
              </a:pPr>
              <a:r>
                <a:rPr kumimoji="0" lang="en-US" sz="1200" b="0" i="0" u="none" strike="noStrike" kern="1200" cap="none" spc="0" normalizeH="0" baseline="0" noProof="0" dirty="0">
                  <a:ln>
                    <a:noFill/>
                  </a:ln>
                  <a:solidFill>
                    <a:srgbClr val="00BCEB"/>
                  </a:solidFill>
                  <a:effectLst/>
                  <a:uLnTx/>
                  <a:uFillTx/>
                  <a:latin typeface="CiscoSansTT ExtraLight"/>
                  <a:ea typeface="ＭＳ Ｐゴシック" charset="0"/>
                </a:rPr>
                <a:t>Data collection</a:t>
              </a:r>
            </a:p>
            <a:p>
              <a:pPr marL="0" marR="0" lvl="0" indent="0" algn="r" defTabSz="342892"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dirty="0">
                  <a:ln>
                    <a:noFill/>
                  </a:ln>
                  <a:solidFill>
                    <a:srgbClr val="676767"/>
                  </a:solidFill>
                  <a:effectLst/>
                  <a:uLnTx/>
                  <a:uFillTx/>
                  <a:latin typeface="CiscoSansTT ExtraLight"/>
                  <a:ea typeface="ＭＳ Ｐゴシック" charset="0"/>
                </a:rPr>
                <a:t>Rich telemetry from the existing network infrastructure </a:t>
              </a:r>
              <a:endParaRPr kumimoji="0" lang="en-US" sz="675" b="1" i="0" u="none" strike="noStrike" kern="1200" cap="none" spc="0" normalizeH="0" baseline="0" noProof="0" dirty="0">
                <a:ln>
                  <a:noFill/>
                </a:ln>
                <a:solidFill>
                  <a:srgbClr val="676767"/>
                </a:solidFill>
                <a:effectLst/>
                <a:uLnTx/>
                <a:uFillTx/>
                <a:latin typeface="CiscoSansTT ExtraLight"/>
                <a:ea typeface="ＭＳ Ｐゴシック" charset="0"/>
              </a:endParaRPr>
            </a:p>
          </p:txBody>
        </p:sp>
        <p:sp>
          <p:nvSpPr>
            <p:cNvPr id="158" name="Freeform: Shape 157">
              <a:extLst>
                <a:ext uri="{FF2B5EF4-FFF2-40B4-BE49-F238E27FC236}">
                  <a16:creationId xmlns:a16="http://schemas.microsoft.com/office/drawing/2014/main" id="{4AFF65A9-9C08-48C1-8FD2-9755EAED38A1}"/>
                </a:ext>
              </a:extLst>
            </p:cNvPr>
            <p:cNvSpPr/>
            <p:nvPr/>
          </p:nvSpPr>
          <p:spPr>
            <a:xfrm>
              <a:off x="5879718" y="2209428"/>
              <a:ext cx="1633993" cy="351307"/>
            </a:xfrm>
            <a:custGeom>
              <a:avLst/>
              <a:gdLst>
                <a:gd name="connsiteX0" fmla="*/ 0 w 2670048"/>
                <a:gd name="connsiteY0" fmla="*/ 310896 h 310896"/>
                <a:gd name="connsiteX1" fmla="*/ 310896 w 2670048"/>
                <a:gd name="connsiteY1" fmla="*/ 0 h 310896"/>
                <a:gd name="connsiteX2" fmla="*/ 2670048 w 2670048"/>
                <a:gd name="connsiteY2" fmla="*/ 0 h 310896"/>
                <a:gd name="connsiteX0" fmla="*/ 0 w 2670048"/>
                <a:gd name="connsiteY0" fmla="*/ 310896 h 310896"/>
                <a:gd name="connsiteX1" fmla="*/ 310896 w 2670048"/>
                <a:gd name="connsiteY1" fmla="*/ 0 h 310896"/>
                <a:gd name="connsiteX2" fmla="*/ 1871472 w 2670048"/>
                <a:gd name="connsiteY2" fmla="*/ 0 h 310896"/>
                <a:gd name="connsiteX3" fmla="*/ 2670048 w 2670048"/>
                <a:gd name="connsiteY3" fmla="*/ 0 h 310896"/>
                <a:gd name="connsiteX0" fmla="*/ 0 w 2670048"/>
                <a:gd name="connsiteY0" fmla="*/ 310896 h 310896"/>
                <a:gd name="connsiteX1" fmla="*/ 310896 w 2670048"/>
                <a:gd name="connsiteY1" fmla="*/ 0 h 310896"/>
                <a:gd name="connsiteX2" fmla="*/ 1816608 w 2670048"/>
                <a:gd name="connsiteY2" fmla="*/ 0 h 310896"/>
                <a:gd name="connsiteX3" fmla="*/ 2670048 w 2670048"/>
                <a:gd name="connsiteY3" fmla="*/ 0 h 310896"/>
                <a:gd name="connsiteX0" fmla="*/ 0 w 1816608"/>
                <a:gd name="connsiteY0" fmla="*/ 310896 h 310896"/>
                <a:gd name="connsiteX1" fmla="*/ 310896 w 1816608"/>
                <a:gd name="connsiteY1" fmla="*/ 0 h 310896"/>
                <a:gd name="connsiteX2" fmla="*/ 1816608 w 1816608"/>
                <a:gd name="connsiteY2" fmla="*/ 0 h 310896"/>
              </a:gdLst>
              <a:ahLst/>
              <a:cxnLst>
                <a:cxn ang="0">
                  <a:pos x="connsiteX0" y="connsiteY0"/>
                </a:cxn>
                <a:cxn ang="0">
                  <a:pos x="connsiteX1" y="connsiteY1"/>
                </a:cxn>
                <a:cxn ang="0">
                  <a:pos x="connsiteX2" y="connsiteY2"/>
                </a:cxn>
              </a:cxnLst>
              <a:rect l="l" t="t" r="r" b="b"/>
              <a:pathLst>
                <a:path w="1816608" h="310896">
                  <a:moveTo>
                    <a:pt x="0" y="310896"/>
                  </a:moveTo>
                  <a:lnTo>
                    <a:pt x="310896" y="0"/>
                  </a:lnTo>
                  <a:lnTo>
                    <a:pt x="1816608" y="0"/>
                  </a:lnTo>
                </a:path>
              </a:pathLst>
            </a:custGeom>
            <a:noFill/>
            <a:ln w="12700" cap="rnd">
              <a:solidFill>
                <a:schemeClr val="bg1"/>
              </a:solidFill>
              <a:round/>
              <a:headEnd/>
              <a:tailEnd/>
            </a:ln>
            <a:effectLst/>
          </p:spPr>
          <p:txBody>
            <a:bodyPr rtlCol="0" anchor="ct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grpSp>
      <p:sp>
        <p:nvSpPr>
          <p:cNvPr id="2" name="Title 1">
            <a:extLst>
              <a:ext uri="{FF2B5EF4-FFF2-40B4-BE49-F238E27FC236}">
                <a16:creationId xmlns:a16="http://schemas.microsoft.com/office/drawing/2014/main" id="{307E1AC1-15E4-4EAD-AD03-03C7DA305440}"/>
              </a:ext>
            </a:extLst>
          </p:cNvPr>
          <p:cNvSpPr>
            <a:spLocks noGrp="1"/>
          </p:cNvSpPr>
          <p:nvPr>
            <p:ph type="title"/>
          </p:nvPr>
        </p:nvSpPr>
        <p:spPr/>
        <p:txBody>
          <a:bodyPr/>
          <a:lstStyle/>
          <a:p>
            <a:r>
              <a:rPr lang="en-US" dirty="0"/>
              <a:t>Security Analytics with </a:t>
            </a:r>
            <a:r>
              <a:rPr lang="en-US" dirty="0" err="1"/>
              <a:t>Stealthwatch</a:t>
            </a:r>
            <a:r>
              <a:rPr lang="en-US" dirty="0"/>
              <a:t> Enterprise</a:t>
            </a:r>
          </a:p>
        </p:txBody>
      </p:sp>
      <p:grpSp>
        <p:nvGrpSpPr>
          <p:cNvPr id="3" name="Group 2">
            <a:extLst>
              <a:ext uri="{FF2B5EF4-FFF2-40B4-BE49-F238E27FC236}">
                <a16:creationId xmlns:a16="http://schemas.microsoft.com/office/drawing/2014/main" id="{975B70A4-D835-4F2B-98F0-70063C6922A9}"/>
              </a:ext>
            </a:extLst>
          </p:cNvPr>
          <p:cNvGrpSpPr/>
          <p:nvPr/>
        </p:nvGrpSpPr>
        <p:grpSpPr>
          <a:xfrm>
            <a:off x="5377598" y="2467605"/>
            <a:ext cx="2244962" cy="2293596"/>
            <a:chOff x="4030102" y="1985802"/>
            <a:chExt cx="4119389" cy="4208628"/>
          </a:xfrm>
          <a:solidFill>
            <a:srgbClr val="FBAB18"/>
          </a:solidFill>
          <a:effectLst/>
        </p:grpSpPr>
        <p:cxnSp>
          <p:nvCxnSpPr>
            <p:cNvPr id="4" name="Straight Connector 3">
              <a:extLst>
                <a:ext uri="{FF2B5EF4-FFF2-40B4-BE49-F238E27FC236}">
                  <a16:creationId xmlns:a16="http://schemas.microsoft.com/office/drawing/2014/main" id="{D84949AD-0BF2-4ADA-948C-8637F848F0AF}"/>
                </a:ext>
              </a:extLst>
            </p:cNvPr>
            <p:cNvCxnSpPr>
              <a:cxnSpLocks/>
              <a:stCxn id="80" idx="4"/>
              <a:endCxn id="63" idx="4"/>
            </p:cNvCxnSpPr>
            <p:nvPr/>
          </p:nvCxnSpPr>
          <p:spPr>
            <a:xfrm flipH="1">
              <a:off x="6433214" y="3608060"/>
              <a:ext cx="1475648" cy="2267655"/>
            </a:xfrm>
            <a:prstGeom prst="line">
              <a:avLst/>
            </a:prstGeom>
            <a:grpFill/>
            <a:ln w="9525" cap="flat" cmpd="sng" algn="ctr">
              <a:solidFill>
                <a:srgbClr val="FBAB18"/>
              </a:solidFill>
              <a:prstDash val="solid"/>
            </a:ln>
            <a:effectLst/>
          </p:spPr>
        </p:cxnSp>
        <p:cxnSp>
          <p:nvCxnSpPr>
            <p:cNvPr id="5" name="Straight Connector 4">
              <a:extLst>
                <a:ext uri="{FF2B5EF4-FFF2-40B4-BE49-F238E27FC236}">
                  <a16:creationId xmlns:a16="http://schemas.microsoft.com/office/drawing/2014/main" id="{870B5815-872B-4B6E-96B5-ECEFCE0206AF}"/>
                </a:ext>
              </a:extLst>
            </p:cNvPr>
            <p:cNvCxnSpPr>
              <a:stCxn id="81" idx="4"/>
              <a:endCxn id="104" idx="3"/>
            </p:cNvCxnSpPr>
            <p:nvPr/>
          </p:nvCxnSpPr>
          <p:spPr>
            <a:xfrm flipH="1">
              <a:off x="6869852" y="3652680"/>
              <a:ext cx="1246175" cy="1260517"/>
            </a:xfrm>
            <a:prstGeom prst="line">
              <a:avLst/>
            </a:prstGeom>
            <a:grpFill/>
            <a:ln w="9525" cap="flat" cmpd="sng" algn="ctr">
              <a:solidFill>
                <a:srgbClr val="FBAB18"/>
              </a:solidFill>
              <a:prstDash val="solid"/>
            </a:ln>
            <a:effectLst/>
          </p:spPr>
        </p:cxnSp>
        <p:cxnSp>
          <p:nvCxnSpPr>
            <p:cNvPr id="6" name="Straight Connector 5">
              <a:extLst>
                <a:ext uri="{FF2B5EF4-FFF2-40B4-BE49-F238E27FC236}">
                  <a16:creationId xmlns:a16="http://schemas.microsoft.com/office/drawing/2014/main" id="{4AC6A8A7-99EA-4368-B0E4-7D1D9FCC496A}"/>
                </a:ext>
              </a:extLst>
            </p:cNvPr>
            <p:cNvCxnSpPr>
              <a:stCxn id="81" idx="4"/>
              <a:endCxn id="92" idx="37"/>
            </p:cNvCxnSpPr>
            <p:nvPr/>
          </p:nvCxnSpPr>
          <p:spPr>
            <a:xfrm flipH="1">
              <a:off x="8106466" y="3652680"/>
              <a:ext cx="9561" cy="965706"/>
            </a:xfrm>
            <a:prstGeom prst="line">
              <a:avLst/>
            </a:prstGeom>
            <a:grpFill/>
            <a:ln w="6350" cap="flat" cmpd="sng" algn="ctr">
              <a:solidFill>
                <a:srgbClr val="FBAB18"/>
              </a:solidFill>
              <a:prstDash val="solid"/>
            </a:ln>
            <a:effectLst/>
          </p:spPr>
        </p:cxnSp>
        <p:grpSp>
          <p:nvGrpSpPr>
            <p:cNvPr id="7" name="Group 6">
              <a:extLst>
                <a:ext uri="{FF2B5EF4-FFF2-40B4-BE49-F238E27FC236}">
                  <a16:creationId xmlns:a16="http://schemas.microsoft.com/office/drawing/2014/main" id="{E7982563-AD04-450D-9883-064284BAC42F}"/>
                </a:ext>
              </a:extLst>
            </p:cNvPr>
            <p:cNvGrpSpPr/>
            <p:nvPr/>
          </p:nvGrpSpPr>
          <p:grpSpPr>
            <a:xfrm>
              <a:off x="4030102" y="1985802"/>
              <a:ext cx="4119389" cy="4208628"/>
              <a:chOff x="6731001" y="5445126"/>
              <a:chExt cx="4103687" cy="4192588"/>
            </a:xfrm>
            <a:grpFill/>
            <a:effectLst/>
          </p:grpSpPr>
          <p:sp>
            <p:nvSpPr>
              <p:cNvPr id="11" name="Oval 5">
                <a:extLst>
                  <a:ext uri="{FF2B5EF4-FFF2-40B4-BE49-F238E27FC236}">
                    <a16:creationId xmlns:a16="http://schemas.microsoft.com/office/drawing/2014/main" id="{5ABAE803-77A8-436B-89B5-A5A3A721B3F4}"/>
                  </a:ext>
                </a:extLst>
              </p:cNvPr>
              <p:cNvSpPr>
                <a:spLocks noChangeArrowheads="1"/>
              </p:cNvSpPr>
              <p:nvPr/>
            </p:nvSpPr>
            <p:spPr bwMode="auto">
              <a:xfrm>
                <a:off x="8631238" y="7088188"/>
                <a:ext cx="258763" cy="257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2" name="Oval 6">
                <a:extLst>
                  <a:ext uri="{FF2B5EF4-FFF2-40B4-BE49-F238E27FC236}">
                    <a16:creationId xmlns:a16="http://schemas.microsoft.com/office/drawing/2014/main" id="{0E172D44-B88D-4A79-87CF-01868EC551EA}"/>
                  </a:ext>
                </a:extLst>
              </p:cNvPr>
              <p:cNvSpPr>
                <a:spLocks noChangeArrowheads="1"/>
              </p:cNvSpPr>
              <p:nvPr/>
            </p:nvSpPr>
            <p:spPr bwMode="auto">
              <a:xfrm>
                <a:off x="10429876" y="6365876"/>
                <a:ext cx="200025" cy="201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3" name="Oval 8">
                <a:extLst>
                  <a:ext uri="{FF2B5EF4-FFF2-40B4-BE49-F238E27FC236}">
                    <a16:creationId xmlns:a16="http://schemas.microsoft.com/office/drawing/2014/main" id="{210F0AEA-E21F-493C-8945-2DEE0960DE46}"/>
                  </a:ext>
                </a:extLst>
              </p:cNvPr>
              <p:cNvSpPr>
                <a:spLocks noChangeArrowheads="1"/>
              </p:cNvSpPr>
              <p:nvPr/>
            </p:nvSpPr>
            <p:spPr bwMode="auto">
              <a:xfrm>
                <a:off x="9148763" y="7689851"/>
                <a:ext cx="157163"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4" name="Oval 9">
                <a:extLst>
                  <a:ext uri="{FF2B5EF4-FFF2-40B4-BE49-F238E27FC236}">
                    <a16:creationId xmlns:a16="http://schemas.microsoft.com/office/drawing/2014/main" id="{B3D425A4-39C4-491E-AE8B-62035D471BEF}"/>
                  </a:ext>
                </a:extLst>
              </p:cNvPr>
              <p:cNvSpPr>
                <a:spLocks noChangeArrowheads="1"/>
              </p:cNvSpPr>
              <p:nvPr/>
            </p:nvSpPr>
            <p:spPr bwMode="auto">
              <a:xfrm>
                <a:off x="8937626" y="8296276"/>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5" name="Oval 10">
                <a:extLst>
                  <a:ext uri="{FF2B5EF4-FFF2-40B4-BE49-F238E27FC236}">
                    <a16:creationId xmlns:a16="http://schemas.microsoft.com/office/drawing/2014/main" id="{7BB2B66C-97FF-4ECE-AB1D-CC32E8A0F3F2}"/>
                  </a:ext>
                </a:extLst>
              </p:cNvPr>
              <p:cNvSpPr>
                <a:spLocks noChangeArrowheads="1"/>
              </p:cNvSpPr>
              <p:nvPr/>
            </p:nvSpPr>
            <p:spPr bwMode="auto">
              <a:xfrm>
                <a:off x="8491538" y="7874001"/>
                <a:ext cx="52388"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6" name="Oval 11">
                <a:extLst>
                  <a:ext uri="{FF2B5EF4-FFF2-40B4-BE49-F238E27FC236}">
                    <a16:creationId xmlns:a16="http://schemas.microsoft.com/office/drawing/2014/main" id="{5321FD16-8F7A-4482-B2AF-49F1CDBA9837}"/>
                  </a:ext>
                </a:extLst>
              </p:cNvPr>
              <p:cNvSpPr>
                <a:spLocks noChangeArrowheads="1"/>
              </p:cNvSpPr>
              <p:nvPr/>
            </p:nvSpPr>
            <p:spPr bwMode="auto">
              <a:xfrm>
                <a:off x="9631363" y="6411913"/>
                <a:ext cx="157163" cy="155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7" name="Oval 12">
                <a:extLst>
                  <a:ext uri="{FF2B5EF4-FFF2-40B4-BE49-F238E27FC236}">
                    <a16:creationId xmlns:a16="http://schemas.microsoft.com/office/drawing/2014/main" id="{1F1647A7-1E5F-45D5-831F-F4C1175916AA}"/>
                  </a:ext>
                </a:extLst>
              </p:cNvPr>
              <p:cNvSpPr>
                <a:spLocks noChangeArrowheads="1"/>
              </p:cNvSpPr>
              <p:nvPr/>
            </p:nvSpPr>
            <p:spPr bwMode="auto">
              <a:xfrm>
                <a:off x="9747251" y="6053138"/>
                <a:ext cx="68263"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8" name="Oval 13">
                <a:extLst>
                  <a:ext uri="{FF2B5EF4-FFF2-40B4-BE49-F238E27FC236}">
                    <a16:creationId xmlns:a16="http://schemas.microsoft.com/office/drawing/2014/main" id="{3D79BF9C-2591-4C7B-BC3D-A27FAF4B6319}"/>
                  </a:ext>
                </a:extLst>
              </p:cNvPr>
              <p:cNvSpPr>
                <a:spLocks noChangeArrowheads="1"/>
              </p:cNvSpPr>
              <p:nvPr/>
            </p:nvSpPr>
            <p:spPr bwMode="auto">
              <a:xfrm>
                <a:off x="10042526" y="5984876"/>
                <a:ext cx="68263"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9" name="Oval 14">
                <a:extLst>
                  <a:ext uri="{FF2B5EF4-FFF2-40B4-BE49-F238E27FC236}">
                    <a16:creationId xmlns:a16="http://schemas.microsoft.com/office/drawing/2014/main" id="{752C0A6A-3182-4989-AFD7-AC0B68F65656}"/>
                  </a:ext>
                </a:extLst>
              </p:cNvPr>
              <p:cNvSpPr>
                <a:spLocks noChangeArrowheads="1"/>
              </p:cNvSpPr>
              <p:nvPr/>
            </p:nvSpPr>
            <p:spPr bwMode="auto">
              <a:xfrm>
                <a:off x="10229851" y="6040438"/>
                <a:ext cx="68263"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0" name="Oval 15">
                <a:extLst>
                  <a:ext uri="{FF2B5EF4-FFF2-40B4-BE49-F238E27FC236}">
                    <a16:creationId xmlns:a16="http://schemas.microsoft.com/office/drawing/2014/main" id="{8A380545-D4AB-4CEE-9A6F-864E5E7C365D}"/>
                  </a:ext>
                </a:extLst>
              </p:cNvPr>
              <p:cNvSpPr>
                <a:spLocks noChangeArrowheads="1"/>
              </p:cNvSpPr>
              <p:nvPr/>
            </p:nvSpPr>
            <p:spPr bwMode="auto">
              <a:xfrm>
                <a:off x="9709151" y="5664201"/>
                <a:ext cx="68263" cy="714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1" name="Oval 16">
                <a:extLst>
                  <a:ext uri="{FF2B5EF4-FFF2-40B4-BE49-F238E27FC236}">
                    <a16:creationId xmlns:a16="http://schemas.microsoft.com/office/drawing/2014/main" id="{61BCC9E9-6CC0-4562-8F47-1BACDCDAE09C}"/>
                  </a:ext>
                </a:extLst>
              </p:cNvPr>
              <p:cNvSpPr>
                <a:spLocks noChangeArrowheads="1"/>
              </p:cNvSpPr>
              <p:nvPr/>
            </p:nvSpPr>
            <p:spPr bwMode="auto">
              <a:xfrm>
                <a:off x="9451976" y="5697538"/>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2" name="Oval 17">
                <a:extLst>
                  <a:ext uri="{FF2B5EF4-FFF2-40B4-BE49-F238E27FC236}">
                    <a16:creationId xmlns:a16="http://schemas.microsoft.com/office/drawing/2014/main" id="{15463A67-DA10-43F1-A3BA-A993440D0F6A}"/>
                  </a:ext>
                </a:extLst>
              </p:cNvPr>
              <p:cNvSpPr>
                <a:spLocks noChangeArrowheads="1"/>
              </p:cNvSpPr>
              <p:nvPr/>
            </p:nvSpPr>
            <p:spPr bwMode="auto">
              <a:xfrm>
                <a:off x="9280526" y="5524501"/>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3" name="Oval 18">
                <a:extLst>
                  <a:ext uri="{FF2B5EF4-FFF2-40B4-BE49-F238E27FC236}">
                    <a16:creationId xmlns:a16="http://schemas.microsoft.com/office/drawing/2014/main" id="{452FBDC7-4EF9-458A-B977-E52CB8D7835E}"/>
                  </a:ext>
                </a:extLst>
              </p:cNvPr>
              <p:cNvSpPr>
                <a:spLocks noChangeArrowheads="1"/>
              </p:cNvSpPr>
              <p:nvPr/>
            </p:nvSpPr>
            <p:spPr bwMode="auto">
              <a:xfrm>
                <a:off x="9075738" y="5464176"/>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4" name="Oval 19">
                <a:extLst>
                  <a:ext uri="{FF2B5EF4-FFF2-40B4-BE49-F238E27FC236}">
                    <a16:creationId xmlns:a16="http://schemas.microsoft.com/office/drawing/2014/main" id="{D5C07609-56ED-4A7D-891A-3C58574910B4}"/>
                  </a:ext>
                </a:extLst>
              </p:cNvPr>
              <p:cNvSpPr>
                <a:spLocks noChangeArrowheads="1"/>
              </p:cNvSpPr>
              <p:nvPr/>
            </p:nvSpPr>
            <p:spPr bwMode="auto">
              <a:xfrm>
                <a:off x="8691563" y="54451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5" name="Oval 20">
                <a:extLst>
                  <a:ext uri="{FF2B5EF4-FFF2-40B4-BE49-F238E27FC236}">
                    <a16:creationId xmlns:a16="http://schemas.microsoft.com/office/drawing/2014/main" id="{573B4294-DED6-4129-94DD-7E8D09509D35}"/>
                  </a:ext>
                </a:extLst>
              </p:cNvPr>
              <p:cNvSpPr>
                <a:spLocks noChangeArrowheads="1"/>
              </p:cNvSpPr>
              <p:nvPr/>
            </p:nvSpPr>
            <p:spPr bwMode="auto">
              <a:xfrm>
                <a:off x="8809038" y="5627688"/>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6" name="Oval 21">
                <a:extLst>
                  <a:ext uri="{FF2B5EF4-FFF2-40B4-BE49-F238E27FC236}">
                    <a16:creationId xmlns:a16="http://schemas.microsoft.com/office/drawing/2014/main" id="{35F45098-BBB1-4CE9-A136-19BFB61B805E}"/>
                  </a:ext>
                </a:extLst>
              </p:cNvPr>
              <p:cNvSpPr>
                <a:spLocks noChangeArrowheads="1"/>
              </p:cNvSpPr>
              <p:nvPr/>
            </p:nvSpPr>
            <p:spPr bwMode="auto">
              <a:xfrm>
                <a:off x="8509001" y="601503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7" name="Oval 22">
                <a:extLst>
                  <a:ext uri="{FF2B5EF4-FFF2-40B4-BE49-F238E27FC236}">
                    <a16:creationId xmlns:a16="http://schemas.microsoft.com/office/drawing/2014/main" id="{D09075A5-F080-49FF-81FC-814FC39617A7}"/>
                  </a:ext>
                </a:extLst>
              </p:cNvPr>
              <p:cNvSpPr>
                <a:spLocks noChangeArrowheads="1"/>
              </p:cNvSpPr>
              <p:nvPr/>
            </p:nvSpPr>
            <p:spPr bwMode="auto">
              <a:xfrm>
                <a:off x="9202738" y="5967413"/>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8" name="Oval 23">
                <a:extLst>
                  <a:ext uri="{FF2B5EF4-FFF2-40B4-BE49-F238E27FC236}">
                    <a16:creationId xmlns:a16="http://schemas.microsoft.com/office/drawing/2014/main" id="{8EBC476D-D268-4AF0-943E-BF7E2FA8E630}"/>
                  </a:ext>
                </a:extLst>
              </p:cNvPr>
              <p:cNvSpPr>
                <a:spLocks noChangeArrowheads="1"/>
              </p:cNvSpPr>
              <p:nvPr/>
            </p:nvSpPr>
            <p:spPr bwMode="auto">
              <a:xfrm>
                <a:off x="8396288" y="5580063"/>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9" name="Oval 24">
                <a:extLst>
                  <a:ext uri="{FF2B5EF4-FFF2-40B4-BE49-F238E27FC236}">
                    <a16:creationId xmlns:a16="http://schemas.microsoft.com/office/drawing/2014/main" id="{7AD5706C-6FA9-42B9-ACBE-87747519FCB7}"/>
                  </a:ext>
                </a:extLst>
              </p:cNvPr>
              <p:cNvSpPr>
                <a:spLocks noChangeArrowheads="1"/>
              </p:cNvSpPr>
              <p:nvPr/>
            </p:nvSpPr>
            <p:spPr bwMode="auto">
              <a:xfrm>
                <a:off x="8396288" y="5484813"/>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0" name="Oval 25">
                <a:extLst>
                  <a:ext uri="{FF2B5EF4-FFF2-40B4-BE49-F238E27FC236}">
                    <a16:creationId xmlns:a16="http://schemas.microsoft.com/office/drawing/2014/main" id="{87E15AAA-39CE-40D1-AF76-80F372AFE75F}"/>
                  </a:ext>
                </a:extLst>
              </p:cNvPr>
              <p:cNvSpPr>
                <a:spLocks noChangeArrowheads="1"/>
              </p:cNvSpPr>
              <p:nvPr/>
            </p:nvSpPr>
            <p:spPr bwMode="auto">
              <a:xfrm>
                <a:off x="8086726" y="5762626"/>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1" name="Oval 26">
                <a:extLst>
                  <a:ext uri="{FF2B5EF4-FFF2-40B4-BE49-F238E27FC236}">
                    <a16:creationId xmlns:a16="http://schemas.microsoft.com/office/drawing/2014/main" id="{EAA74CA1-D0F6-4A4F-A41A-28D94BBCB5E4}"/>
                  </a:ext>
                </a:extLst>
              </p:cNvPr>
              <p:cNvSpPr>
                <a:spLocks noChangeArrowheads="1"/>
              </p:cNvSpPr>
              <p:nvPr/>
            </p:nvSpPr>
            <p:spPr bwMode="auto">
              <a:xfrm>
                <a:off x="7964488" y="57626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2" name="Oval 27">
                <a:extLst>
                  <a:ext uri="{FF2B5EF4-FFF2-40B4-BE49-F238E27FC236}">
                    <a16:creationId xmlns:a16="http://schemas.microsoft.com/office/drawing/2014/main" id="{11C9A115-7286-4A58-93BD-16DAE51179B5}"/>
                  </a:ext>
                </a:extLst>
              </p:cNvPr>
              <p:cNvSpPr>
                <a:spLocks noChangeArrowheads="1"/>
              </p:cNvSpPr>
              <p:nvPr/>
            </p:nvSpPr>
            <p:spPr bwMode="auto">
              <a:xfrm>
                <a:off x="7767638" y="57118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3" name="Oval 28">
                <a:extLst>
                  <a:ext uri="{FF2B5EF4-FFF2-40B4-BE49-F238E27FC236}">
                    <a16:creationId xmlns:a16="http://schemas.microsoft.com/office/drawing/2014/main" id="{230847BF-A7DC-400A-BFF0-8371240E7B20}"/>
                  </a:ext>
                </a:extLst>
              </p:cNvPr>
              <p:cNvSpPr>
                <a:spLocks noChangeArrowheads="1"/>
              </p:cNvSpPr>
              <p:nvPr/>
            </p:nvSpPr>
            <p:spPr bwMode="auto">
              <a:xfrm>
                <a:off x="7577138" y="5840413"/>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4" name="Oval 29">
                <a:extLst>
                  <a:ext uri="{FF2B5EF4-FFF2-40B4-BE49-F238E27FC236}">
                    <a16:creationId xmlns:a16="http://schemas.microsoft.com/office/drawing/2014/main" id="{663E1F77-7B12-4F5C-B653-68D688C4BC90}"/>
                  </a:ext>
                </a:extLst>
              </p:cNvPr>
              <p:cNvSpPr>
                <a:spLocks noChangeArrowheads="1"/>
              </p:cNvSpPr>
              <p:nvPr/>
            </p:nvSpPr>
            <p:spPr bwMode="auto">
              <a:xfrm>
                <a:off x="7242176" y="6116638"/>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5" name="Oval 30">
                <a:extLst>
                  <a:ext uri="{FF2B5EF4-FFF2-40B4-BE49-F238E27FC236}">
                    <a16:creationId xmlns:a16="http://schemas.microsoft.com/office/drawing/2014/main" id="{DDCDA541-AFCA-4ACB-9E2C-74245CB8E21A}"/>
                  </a:ext>
                </a:extLst>
              </p:cNvPr>
              <p:cNvSpPr>
                <a:spLocks noChangeArrowheads="1"/>
              </p:cNvSpPr>
              <p:nvPr/>
            </p:nvSpPr>
            <p:spPr bwMode="auto">
              <a:xfrm>
                <a:off x="7138988" y="631507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6" name="Oval 31">
                <a:extLst>
                  <a:ext uri="{FF2B5EF4-FFF2-40B4-BE49-F238E27FC236}">
                    <a16:creationId xmlns:a16="http://schemas.microsoft.com/office/drawing/2014/main" id="{0F54968E-A911-4B01-A965-7F42CF9EC8D7}"/>
                  </a:ext>
                </a:extLst>
              </p:cNvPr>
              <p:cNvSpPr>
                <a:spLocks noChangeArrowheads="1"/>
              </p:cNvSpPr>
              <p:nvPr/>
            </p:nvSpPr>
            <p:spPr bwMode="auto">
              <a:xfrm>
                <a:off x="7197726" y="65754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7" name="Oval 32">
                <a:extLst>
                  <a:ext uri="{FF2B5EF4-FFF2-40B4-BE49-F238E27FC236}">
                    <a16:creationId xmlns:a16="http://schemas.microsoft.com/office/drawing/2014/main" id="{20F694B7-BED7-4D4F-B8E9-A0D1E43B5F71}"/>
                  </a:ext>
                </a:extLst>
              </p:cNvPr>
              <p:cNvSpPr>
                <a:spLocks noChangeArrowheads="1"/>
              </p:cNvSpPr>
              <p:nvPr/>
            </p:nvSpPr>
            <p:spPr bwMode="auto">
              <a:xfrm>
                <a:off x="7065963" y="653097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8" name="Oval 33">
                <a:extLst>
                  <a:ext uri="{FF2B5EF4-FFF2-40B4-BE49-F238E27FC236}">
                    <a16:creationId xmlns:a16="http://schemas.microsoft.com/office/drawing/2014/main" id="{B1F4D2F8-A259-4BF9-93C6-671534DC1361}"/>
                  </a:ext>
                </a:extLst>
              </p:cNvPr>
              <p:cNvSpPr>
                <a:spLocks noChangeArrowheads="1"/>
              </p:cNvSpPr>
              <p:nvPr/>
            </p:nvSpPr>
            <p:spPr bwMode="auto">
              <a:xfrm>
                <a:off x="7366001" y="64912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9" name="Oval 34">
                <a:extLst>
                  <a:ext uri="{FF2B5EF4-FFF2-40B4-BE49-F238E27FC236}">
                    <a16:creationId xmlns:a16="http://schemas.microsoft.com/office/drawing/2014/main" id="{0E616648-9B6A-436A-B32C-36AD9D5C7960}"/>
                  </a:ext>
                </a:extLst>
              </p:cNvPr>
              <p:cNvSpPr>
                <a:spLocks noChangeArrowheads="1"/>
              </p:cNvSpPr>
              <p:nvPr/>
            </p:nvSpPr>
            <p:spPr bwMode="auto">
              <a:xfrm>
                <a:off x="6897688" y="68421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40" name="Oval 35">
                <a:extLst>
                  <a:ext uri="{FF2B5EF4-FFF2-40B4-BE49-F238E27FC236}">
                    <a16:creationId xmlns:a16="http://schemas.microsoft.com/office/drawing/2014/main" id="{3C38AE21-4951-49E4-9D80-CF961F41905A}"/>
                  </a:ext>
                </a:extLst>
              </p:cNvPr>
              <p:cNvSpPr>
                <a:spLocks noChangeArrowheads="1"/>
              </p:cNvSpPr>
              <p:nvPr/>
            </p:nvSpPr>
            <p:spPr bwMode="auto">
              <a:xfrm>
                <a:off x="6811963" y="711835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41" name="Oval 36">
                <a:extLst>
                  <a:ext uri="{FF2B5EF4-FFF2-40B4-BE49-F238E27FC236}">
                    <a16:creationId xmlns:a16="http://schemas.microsoft.com/office/drawing/2014/main" id="{E1F19E8E-7B82-4478-A443-C2B2AFE294E8}"/>
                  </a:ext>
                </a:extLst>
              </p:cNvPr>
              <p:cNvSpPr>
                <a:spLocks noChangeArrowheads="1"/>
              </p:cNvSpPr>
              <p:nvPr/>
            </p:nvSpPr>
            <p:spPr bwMode="auto">
              <a:xfrm>
                <a:off x="6731001" y="7245351"/>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42" name="Oval 37">
                <a:extLst>
                  <a:ext uri="{FF2B5EF4-FFF2-40B4-BE49-F238E27FC236}">
                    <a16:creationId xmlns:a16="http://schemas.microsoft.com/office/drawing/2014/main" id="{DD79104C-FC97-4278-AFB1-AECA45EA728E}"/>
                  </a:ext>
                </a:extLst>
              </p:cNvPr>
              <p:cNvSpPr>
                <a:spLocks noChangeArrowheads="1"/>
              </p:cNvSpPr>
              <p:nvPr/>
            </p:nvSpPr>
            <p:spPr bwMode="auto">
              <a:xfrm>
                <a:off x="6851651" y="7389813"/>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43" name="Oval 38">
                <a:extLst>
                  <a:ext uri="{FF2B5EF4-FFF2-40B4-BE49-F238E27FC236}">
                    <a16:creationId xmlns:a16="http://schemas.microsoft.com/office/drawing/2014/main" id="{16778CB5-6C5F-4D39-B446-7EFCAA984EE1}"/>
                  </a:ext>
                </a:extLst>
              </p:cNvPr>
              <p:cNvSpPr>
                <a:spLocks noChangeArrowheads="1"/>
              </p:cNvSpPr>
              <p:nvPr/>
            </p:nvSpPr>
            <p:spPr bwMode="auto">
              <a:xfrm>
                <a:off x="7096126" y="700563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44" name="Oval 39">
                <a:extLst>
                  <a:ext uri="{FF2B5EF4-FFF2-40B4-BE49-F238E27FC236}">
                    <a16:creationId xmlns:a16="http://schemas.microsoft.com/office/drawing/2014/main" id="{BE3AC7BC-5FF5-4AC9-BDC2-AA993FB1D801}"/>
                  </a:ext>
                </a:extLst>
              </p:cNvPr>
              <p:cNvSpPr>
                <a:spLocks noChangeArrowheads="1"/>
              </p:cNvSpPr>
              <p:nvPr/>
            </p:nvSpPr>
            <p:spPr bwMode="auto">
              <a:xfrm>
                <a:off x="7361238" y="7504113"/>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45" name="Oval 40">
                <a:extLst>
                  <a:ext uri="{FF2B5EF4-FFF2-40B4-BE49-F238E27FC236}">
                    <a16:creationId xmlns:a16="http://schemas.microsoft.com/office/drawing/2014/main" id="{F9BCE3B0-B867-48B2-8B71-750C12B80787}"/>
                  </a:ext>
                </a:extLst>
              </p:cNvPr>
              <p:cNvSpPr>
                <a:spLocks noChangeArrowheads="1"/>
              </p:cNvSpPr>
              <p:nvPr/>
            </p:nvSpPr>
            <p:spPr bwMode="auto">
              <a:xfrm>
                <a:off x="6943726" y="76422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46" name="Oval 41">
                <a:extLst>
                  <a:ext uri="{FF2B5EF4-FFF2-40B4-BE49-F238E27FC236}">
                    <a16:creationId xmlns:a16="http://schemas.microsoft.com/office/drawing/2014/main" id="{02620581-D135-42F3-940C-CB85C17CCBB2}"/>
                  </a:ext>
                </a:extLst>
              </p:cNvPr>
              <p:cNvSpPr>
                <a:spLocks noChangeArrowheads="1"/>
              </p:cNvSpPr>
              <p:nvPr/>
            </p:nvSpPr>
            <p:spPr bwMode="auto">
              <a:xfrm>
                <a:off x="6981826" y="789305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47" name="Oval 42">
                <a:extLst>
                  <a:ext uri="{FF2B5EF4-FFF2-40B4-BE49-F238E27FC236}">
                    <a16:creationId xmlns:a16="http://schemas.microsoft.com/office/drawing/2014/main" id="{F1EC4C96-4364-45E4-8D0D-CC85154F88F4}"/>
                  </a:ext>
                </a:extLst>
              </p:cNvPr>
              <p:cNvSpPr>
                <a:spLocks noChangeArrowheads="1"/>
              </p:cNvSpPr>
              <p:nvPr/>
            </p:nvSpPr>
            <p:spPr bwMode="auto">
              <a:xfrm>
                <a:off x="6757988" y="77787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48" name="Oval 43">
                <a:extLst>
                  <a:ext uri="{FF2B5EF4-FFF2-40B4-BE49-F238E27FC236}">
                    <a16:creationId xmlns:a16="http://schemas.microsoft.com/office/drawing/2014/main" id="{B1EBC3A0-ABE6-44E7-B217-618C6EF915C5}"/>
                  </a:ext>
                </a:extLst>
              </p:cNvPr>
              <p:cNvSpPr>
                <a:spLocks noChangeArrowheads="1"/>
              </p:cNvSpPr>
              <p:nvPr/>
            </p:nvSpPr>
            <p:spPr bwMode="auto">
              <a:xfrm>
                <a:off x="6781801" y="7867651"/>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49" name="Oval 44">
                <a:extLst>
                  <a:ext uri="{FF2B5EF4-FFF2-40B4-BE49-F238E27FC236}">
                    <a16:creationId xmlns:a16="http://schemas.microsoft.com/office/drawing/2014/main" id="{9B3D6C8F-E37C-40DE-BB97-15FB6A2A0E75}"/>
                  </a:ext>
                </a:extLst>
              </p:cNvPr>
              <p:cNvSpPr>
                <a:spLocks noChangeArrowheads="1"/>
              </p:cNvSpPr>
              <p:nvPr/>
            </p:nvSpPr>
            <p:spPr bwMode="auto">
              <a:xfrm>
                <a:off x="6896101" y="8329613"/>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50" name="Oval 45">
                <a:extLst>
                  <a:ext uri="{FF2B5EF4-FFF2-40B4-BE49-F238E27FC236}">
                    <a16:creationId xmlns:a16="http://schemas.microsoft.com/office/drawing/2014/main" id="{B5EF0A8D-C701-48BD-B468-4563B119988C}"/>
                  </a:ext>
                </a:extLst>
              </p:cNvPr>
              <p:cNvSpPr>
                <a:spLocks noChangeArrowheads="1"/>
              </p:cNvSpPr>
              <p:nvPr/>
            </p:nvSpPr>
            <p:spPr bwMode="auto">
              <a:xfrm>
                <a:off x="6981826" y="8262938"/>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51" name="Oval 46">
                <a:extLst>
                  <a:ext uri="{FF2B5EF4-FFF2-40B4-BE49-F238E27FC236}">
                    <a16:creationId xmlns:a16="http://schemas.microsoft.com/office/drawing/2014/main" id="{5480D6D0-C177-422A-B231-162A307D69C1}"/>
                  </a:ext>
                </a:extLst>
              </p:cNvPr>
              <p:cNvSpPr>
                <a:spLocks noChangeArrowheads="1"/>
              </p:cNvSpPr>
              <p:nvPr/>
            </p:nvSpPr>
            <p:spPr bwMode="auto">
              <a:xfrm>
                <a:off x="7016751" y="840263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52" name="Oval 47">
                <a:extLst>
                  <a:ext uri="{FF2B5EF4-FFF2-40B4-BE49-F238E27FC236}">
                    <a16:creationId xmlns:a16="http://schemas.microsoft.com/office/drawing/2014/main" id="{3DB6D41B-74C1-4EA3-8DE8-01D58A0F5460}"/>
                  </a:ext>
                </a:extLst>
              </p:cNvPr>
              <p:cNvSpPr>
                <a:spLocks noChangeArrowheads="1"/>
              </p:cNvSpPr>
              <p:nvPr/>
            </p:nvSpPr>
            <p:spPr bwMode="auto">
              <a:xfrm>
                <a:off x="7289801" y="8208963"/>
                <a:ext cx="65088"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53" name="Oval 48">
                <a:extLst>
                  <a:ext uri="{FF2B5EF4-FFF2-40B4-BE49-F238E27FC236}">
                    <a16:creationId xmlns:a16="http://schemas.microsoft.com/office/drawing/2014/main" id="{F3012245-3742-4985-B0F6-C8723A6D7338}"/>
                  </a:ext>
                </a:extLst>
              </p:cNvPr>
              <p:cNvSpPr>
                <a:spLocks noChangeArrowheads="1"/>
              </p:cNvSpPr>
              <p:nvPr/>
            </p:nvSpPr>
            <p:spPr bwMode="auto">
              <a:xfrm>
                <a:off x="7131051" y="86804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54" name="Oval 49">
                <a:extLst>
                  <a:ext uri="{FF2B5EF4-FFF2-40B4-BE49-F238E27FC236}">
                    <a16:creationId xmlns:a16="http://schemas.microsoft.com/office/drawing/2014/main" id="{4075DCFC-F816-4687-9DCA-F641BE4ACC28}"/>
                  </a:ext>
                </a:extLst>
              </p:cNvPr>
              <p:cNvSpPr>
                <a:spLocks noChangeArrowheads="1"/>
              </p:cNvSpPr>
              <p:nvPr/>
            </p:nvSpPr>
            <p:spPr bwMode="auto">
              <a:xfrm>
                <a:off x="7210426" y="882173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55" name="Oval 50">
                <a:extLst>
                  <a:ext uri="{FF2B5EF4-FFF2-40B4-BE49-F238E27FC236}">
                    <a16:creationId xmlns:a16="http://schemas.microsoft.com/office/drawing/2014/main" id="{5CD72157-ECBC-40D1-B4F1-02ED7B41428B}"/>
                  </a:ext>
                </a:extLst>
              </p:cNvPr>
              <p:cNvSpPr>
                <a:spLocks noChangeArrowheads="1"/>
              </p:cNvSpPr>
              <p:nvPr/>
            </p:nvSpPr>
            <p:spPr bwMode="auto">
              <a:xfrm>
                <a:off x="7354888" y="8742363"/>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56" name="Oval 51">
                <a:extLst>
                  <a:ext uri="{FF2B5EF4-FFF2-40B4-BE49-F238E27FC236}">
                    <a16:creationId xmlns:a16="http://schemas.microsoft.com/office/drawing/2014/main" id="{668A1755-9511-4656-B6ED-B9C697A5A0BD}"/>
                  </a:ext>
                </a:extLst>
              </p:cNvPr>
              <p:cNvSpPr>
                <a:spLocks noChangeArrowheads="1"/>
              </p:cNvSpPr>
              <p:nvPr/>
            </p:nvSpPr>
            <p:spPr bwMode="auto">
              <a:xfrm>
                <a:off x="7399338" y="8847138"/>
                <a:ext cx="80963"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57" name="Oval 52">
                <a:extLst>
                  <a:ext uri="{FF2B5EF4-FFF2-40B4-BE49-F238E27FC236}">
                    <a16:creationId xmlns:a16="http://schemas.microsoft.com/office/drawing/2014/main" id="{856CF6D3-3A41-4840-BF25-63E61B38986B}"/>
                  </a:ext>
                </a:extLst>
              </p:cNvPr>
              <p:cNvSpPr>
                <a:spLocks noChangeArrowheads="1"/>
              </p:cNvSpPr>
              <p:nvPr/>
            </p:nvSpPr>
            <p:spPr bwMode="auto">
              <a:xfrm>
                <a:off x="7797801" y="8709026"/>
                <a:ext cx="74613"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58" name="Oval 53">
                <a:extLst>
                  <a:ext uri="{FF2B5EF4-FFF2-40B4-BE49-F238E27FC236}">
                    <a16:creationId xmlns:a16="http://schemas.microsoft.com/office/drawing/2014/main" id="{4946E847-D457-4343-A335-E8157CED9D67}"/>
                  </a:ext>
                </a:extLst>
              </p:cNvPr>
              <p:cNvSpPr>
                <a:spLocks noChangeArrowheads="1"/>
              </p:cNvSpPr>
              <p:nvPr/>
            </p:nvSpPr>
            <p:spPr bwMode="auto">
              <a:xfrm>
                <a:off x="8377238" y="8528051"/>
                <a:ext cx="71438"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59" name="Oval 55">
                <a:extLst>
                  <a:ext uri="{FF2B5EF4-FFF2-40B4-BE49-F238E27FC236}">
                    <a16:creationId xmlns:a16="http://schemas.microsoft.com/office/drawing/2014/main" id="{4E870237-1F67-4A24-A1B5-17372C45FB01}"/>
                  </a:ext>
                </a:extLst>
              </p:cNvPr>
              <p:cNvSpPr>
                <a:spLocks noChangeArrowheads="1"/>
              </p:cNvSpPr>
              <p:nvPr/>
            </p:nvSpPr>
            <p:spPr bwMode="auto">
              <a:xfrm>
                <a:off x="6897688" y="664210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60" name="Oval 56">
                <a:extLst>
                  <a:ext uri="{FF2B5EF4-FFF2-40B4-BE49-F238E27FC236}">
                    <a16:creationId xmlns:a16="http://schemas.microsoft.com/office/drawing/2014/main" id="{057A36F8-1983-41EB-8B08-3E06573655B4}"/>
                  </a:ext>
                </a:extLst>
              </p:cNvPr>
              <p:cNvSpPr>
                <a:spLocks noChangeArrowheads="1"/>
              </p:cNvSpPr>
              <p:nvPr/>
            </p:nvSpPr>
            <p:spPr bwMode="auto">
              <a:xfrm>
                <a:off x="8112126" y="5562601"/>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61" name="Oval 57">
                <a:extLst>
                  <a:ext uri="{FF2B5EF4-FFF2-40B4-BE49-F238E27FC236}">
                    <a16:creationId xmlns:a16="http://schemas.microsoft.com/office/drawing/2014/main" id="{3D6E18F3-8595-484B-B059-B4DFB70D24F8}"/>
                  </a:ext>
                </a:extLst>
              </p:cNvPr>
              <p:cNvSpPr>
                <a:spLocks noChangeArrowheads="1"/>
              </p:cNvSpPr>
              <p:nvPr/>
            </p:nvSpPr>
            <p:spPr bwMode="auto">
              <a:xfrm>
                <a:off x="8383588" y="9020176"/>
                <a:ext cx="157163" cy="155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62" name="Oval 58">
                <a:extLst>
                  <a:ext uri="{FF2B5EF4-FFF2-40B4-BE49-F238E27FC236}">
                    <a16:creationId xmlns:a16="http://schemas.microsoft.com/office/drawing/2014/main" id="{7DBE1CA6-EDEB-46DE-9A5E-6C19F8805DFE}"/>
                  </a:ext>
                </a:extLst>
              </p:cNvPr>
              <p:cNvSpPr>
                <a:spLocks noChangeArrowheads="1"/>
              </p:cNvSpPr>
              <p:nvPr/>
            </p:nvSpPr>
            <p:spPr bwMode="auto">
              <a:xfrm>
                <a:off x="9026526" y="8823326"/>
                <a:ext cx="44450"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63" name="Oval 59">
                <a:extLst>
                  <a:ext uri="{FF2B5EF4-FFF2-40B4-BE49-F238E27FC236}">
                    <a16:creationId xmlns:a16="http://schemas.microsoft.com/office/drawing/2014/main" id="{3C5EDCCC-9646-4C1E-A2BE-6F1391B9A405}"/>
                  </a:ext>
                </a:extLst>
              </p:cNvPr>
              <p:cNvSpPr>
                <a:spLocks noChangeArrowheads="1"/>
              </p:cNvSpPr>
              <p:nvPr/>
            </p:nvSpPr>
            <p:spPr bwMode="auto">
              <a:xfrm>
                <a:off x="9093201" y="9255126"/>
                <a:ext cx="63500"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64" name="Oval 60">
                <a:extLst>
                  <a:ext uri="{FF2B5EF4-FFF2-40B4-BE49-F238E27FC236}">
                    <a16:creationId xmlns:a16="http://schemas.microsoft.com/office/drawing/2014/main" id="{89710F53-6EE1-401E-80CF-7EB9625238EA}"/>
                  </a:ext>
                </a:extLst>
              </p:cNvPr>
              <p:cNvSpPr>
                <a:spLocks noChangeArrowheads="1"/>
              </p:cNvSpPr>
              <p:nvPr/>
            </p:nvSpPr>
            <p:spPr bwMode="auto">
              <a:xfrm>
                <a:off x="9124951" y="95186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65" name="Oval 61">
                <a:extLst>
                  <a:ext uri="{FF2B5EF4-FFF2-40B4-BE49-F238E27FC236}">
                    <a16:creationId xmlns:a16="http://schemas.microsoft.com/office/drawing/2014/main" id="{70C3F2C7-2A21-4A4C-A73F-77CAE29F9217}"/>
                  </a:ext>
                </a:extLst>
              </p:cNvPr>
              <p:cNvSpPr>
                <a:spLocks noChangeArrowheads="1"/>
              </p:cNvSpPr>
              <p:nvPr/>
            </p:nvSpPr>
            <p:spPr bwMode="auto">
              <a:xfrm>
                <a:off x="8604251" y="9537701"/>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66" name="Oval 62">
                <a:extLst>
                  <a:ext uri="{FF2B5EF4-FFF2-40B4-BE49-F238E27FC236}">
                    <a16:creationId xmlns:a16="http://schemas.microsoft.com/office/drawing/2014/main" id="{EE75F127-436B-4233-ACE4-63F3E1077596}"/>
                  </a:ext>
                </a:extLst>
              </p:cNvPr>
              <p:cNvSpPr>
                <a:spLocks noChangeArrowheads="1"/>
              </p:cNvSpPr>
              <p:nvPr/>
            </p:nvSpPr>
            <p:spPr bwMode="auto">
              <a:xfrm>
                <a:off x="8524876" y="9444038"/>
                <a:ext cx="68263"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67" name="Oval 63">
                <a:extLst>
                  <a:ext uri="{FF2B5EF4-FFF2-40B4-BE49-F238E27FC236}">
                    <a16:creationId xmlns:a16="http://schemas.microsoft.com/office/drawing/2014/main" id="{3F218A05-E84B-49F7-9965-1ED2EA3D19F0}"/>
                  </a:ext>
                </a:extLst>
              </p:cNvPr>
              <p:cNvSpPr>
                <a:spLocks noChangeArrowheads="1"/>
              </p:cNvSpPr>
              <p:nvPr/>
            </p:nvSpPr>
            <p:spPr bwMode="auto">
              <a:xfrm>
                <a:off x="8235951" y="9444038"/>
                <a:ext cx="71438"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68" name="Oval 64">
                <a:extLst>
                  <a:ext uri="{FF2B5EF4-FFF2-40B4-BE49-F238E27FC236}">
                    <a16:creationId xmlns:a16="http://schemas.microsoft.com/office/drawing/2014/main" id="{6028D099-D4B8-4F9F-BDA2-4CED16443DD4}"/>
                  </a:ext>
                </a:extLst>
              </p:cNvPr>
              <p:cNvSpPr>
                <a:spLocks noChangeArrowheads="1"/>
              </p:cNvSpPr>
              <p:nvPr/>
            </p:nvSpPr>
            <p:spPr bwMode="auto">
              <a:xfrm>
                <a:off x="8026401" y="9417051"/>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69" name="Oval 65">
                <a:extLst>
                  <a:ext uri="{FF2B5EF4-FFF2-40B4-BE49-F238E27FC236}">
                    <a16:creationId xmlns:a16="http://schemas.microsoft.com/office/drawing/2014/main" id="{B2D29F6C-73E5-402F-B00E-92EE930EC57C}"/>
                  </a:ext>
                </a:extLst>
              </p:cNvPr>
              <p:cNvSpPr>
                <a:spLocks noChangeArrowheads="1"/>
              </p:cNvSpPr>
              <p:nvPr/>
            </p:nvSpPr>
            <p:spPr bwMode="auto">
              <a:xfrm>
                <a:off x="7874001" y="9169401"/>
                <a:ext cx="71438"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70" name="Oval 66">
                <a:extLst>
                  <a:ext uri="{FF2B5EF4-FFF2-40B4-BE49-F238E27FC236}">
                    <a16:creationId xmlns:a16="http://schemas.microsoft.com/office/drawing/2014/main" id="{4DF255E2-3512-4891-8541-D37AE01834B8}"/>
                  </a:ext>
                </a:extLst>
              </p:cNvPr>
              <p:cNvSpPr>
                <a:spLocks noChangeArrowheads="1"/>
              </p:cNvSpPr>
              <p:nvPr/>
            </p:nvSpPr>
            <p:spPr bwMode="auto">
              <a:xfrm>
                <a:off x="7494588" y="9086851"/>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71" name="Oval 67">
                <a:extLst>
                  <a:ext uri="{FF2B5EF4-FFF2-40B4-BE49-F238E27FC236}">
                    <a16:creationId xmlns:a16="http://schemas.microsoft.com/office/drawing/2014/main" id="{F05265AD-7F0C-4880-8CE7-929A05A36A2A}"/>
                  </a:ext>
                </a:extLst>
              </p:cNvPr>
              <p:cNvSpPr>
                <a:spLocks noChangeArrowheads="1"/>
              </p:cNvSpPr>
              <p:nvPr/>
            </p:nvSpPr>
            <p:spPr bwMode="auto">
              <a:xfrm>
                <a:off x="7640638" y="9196388"/>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72" name="Oval 68">
                <a:extLst>
                  <a:ext uri="{FF2B5EF4-FFF2-40B4-BE49-F238E27FC236}">
                    <a16:creationId xmlns:a16="http://schemas.microsoft.com/office/drawing/2014/main" id="{53C16189-2FB1-4613-B225-BFE0B015BD2C}"/>
                  </a:ext>
                </a:extLst>
              </p:cNvPr>
              <p:cNvSpPr>
                <a:spLocks noChangeArrowheads="1"/>
              </p:cNvSpPr>
              <p:nvPr/>
            </p:nvSpPr>
            <p:spPr bwMode="auto">
              <a:xfrm>
                <a:off x="9610726" y="938688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73" name="Oval 69">
                <a:extLst>
                  <a:ext uri="{FF2B5EF4-FFF2-40B4-BE49-F238E27FC236}">
                    <a16:creationId xmlns:a16="http://schemas.microsoft.com/office/drawing/2014/main" id="{65C6D4A8-0C05-49A0-B2AB-DD547C5726C3}"/>
                  </a:ext>
                </a:extLst>
              </p:cNvPr>
              <p:cNvSpPr>
                <a:spLocks noChangeArrowheads="1"/>
              </p:cNvSpPr>
              <p:nvPr/>
            </p:nvSpPr>
            <p:spPr bwMode="auto">
              <a:xfrm>
                <a:off x="9675813" y="9231457"/>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74" name="Oval 70">
                <a:extLst>
                  <a:ext uri="{FF2B5EF4-FFF2-40B4-BE49-F238E27FC236}">
                    <a16:creationId xmlns:a16="http://schemas.microsoft.com/office/drawing/2014/main" id="{9AB7FDDC-4A08-4608-B6C5-387FD9522963}"/>
                  </a:ext>
                </a:extLst>
              </p:cNvPr>
              <p:cNvSpPr>
                <a:spLocks noChangeArrowheads="1"/>
              </p:cNvSpPr>
              <p:nvPr/>
            </p:nvSpPr>
            <p:spPr bwMode="auto">
              <a:xfrm>
                <a:off x="7815263" y="6184901"/>
                <a:ext cx="155575"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75" name="Oval 71">
                <a:extLst>
                  <a:ext uri="{FF2B5EF4-FFF2-40B4-BE49-F238E27FC236}">
                    <a16:creationId xmlns:a16="http://schemas.microsoft.com/office/drawing/2014/main" id="{1A054707-B401-4717-BC54-37B162D86049}"/>
                  </a:ext>
                </a:extLst>
              </p:cNvPr>
              <p:cNvSpPr>
                <a:spLocks noChangeArrowheads="1"/>
              </p:cNvSpPr>
              <p:nvPr/>
            </p:nvSpPr>
            <p:spPr bwMode="auto">
              <a:xfrm>
                <a:off x="7586663" y="6842126"/>
                <a:ext cx="68263"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76" name="Oval 72">
                <a:extLst>
                  <a:ext uri="{FF2B5EF4-FFF2-40B4-BE49-F238E27FC236}">
                    <a16:creationId xmlns:a16="http://schemas.microsoft.com/office/drawing/2014/main" id="{9CD62B85-EDD9-44EF-B20C-A280588FB024}"/>
                  </a:ext>
                </a:extLst>
              </p:cNvPr>
              <p:cNvSpPr>
                <a:spLocks noChangeArrowheads="1"/>
              </p:cNvSpPr>
              <p:nvPr/>
            </p:nvSpPr>
            <p:spPr bwMode="auto">
              <a:xfrm>
                <a:off x="8229601" y="6615113"/>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77" name="Oval 73">
                <a:extLst>
                  <a:ext uri="{FF2B5EF4-FFF2-40B4-BE49-F238E27FC236}">
                    <a16:creationId xmlns:a16="http://schemas.microsoft.com/office/drawing/2014/main" id="{630179FF-A099-458E-AB86-B876141C700B}"/>
                  </a:ext>
                </a:extLst>
              </p:cNvPr>
              <p:cNvSpPr>
                <a:spLocks noChangeArrowheads="1"/>
              </p:cNvSpPr>
              <p:nvPr/>
            </p:nvSpPr>
            <p:spPr bwMode="auto">
              <a:xfrm>
                <a:off x="8996363" y="6470651"/>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78" name="Oval 74">
                <a:extLst>
                  <a:ext uri="{FF2B5EF4-FFF2-40B4-BE49-F238E27FC236}">
                    <a16:creationId xmlns:a16="http://schemas.microsoft.com/office/drawing/2014/main" id="{EFDA8788-255A-4C8E-88B1-4D994E15E35E}"/>
                  </a:ext>
                </a:extLst>
              </p:cNvPr>
              <p:cNvSpPr>
                <a:spLocks noChangeArrowheads="1"/>
              </p:cNvSpPr>
              <p:nvPr/>
            </p:nvSpPr>
            <p:spPr bwMode="auto">
              <a:xfrm>
                <a:off x="9475788" y="7061201"/>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79" name="Oval 75">
                <a:extLst>
                  <a:ext uri="{FF2B5EF4-FFF2-40B4-BE49-F238E27FC236}">
                    <a16:creationId xmlns:a16="http://schemas.microsoft.com/office/drawing/2014/main" id="{27AABD78-54A7-48FB-9B0E-CAB49A10AA17}"/>
                  </a:ext>
                </a:extLst>
              </p:cNvPr>
              <p:cNvSpPr>
                <a:spLocks noChangeArrowheads="1"/>
              </p:cNvSpPr>
              <p:nvPr/>
            </p:nvSpPr>
            <p:spPr bwMode="auto">
              <a:xfrm>
                <a:off x="10120313" y="699452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80" name="Oval 76">
                <a:extLst>
                  <a:ext uri="{FF2B5EF4-FFF2-40B4-BE49-F238E27FC236}">
                    <a16:creationId xmlns:a16="http://schemas.microsoft.com/office/drawing/2014/main" id="{A1683174-EE03-4157-BC37-F65F62DAB72E}"/>
                  </a:ext>
                </a:extLst>
              </p:cNvPr>
              <p:cNvSpPr>
                <a:spLocks noChangeArrowheads="1"/>
              </p:cNvSpPr>
              <p:nvPr/>
            </p:nvSpPr>
            <p:spPr bwMode="auto">
              <a:xfrm>
                <a:off x="10561638" y="699452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81" name="Oval 77">
                <a:extLst>
                  <a:ext uri="{FF2B5EF4-FFF2-40B4-BE49-F238E27FC236}">
                    <a16:creationId xmlns:a16="http://schemas.microsoft.com/office/drawing/2014/main" id="{E427A9DB-2375-4AC0-A206-4E3ED35E77E9}"/>
                  </a:ext>
                </a:extLst>
              </p:cNvPr>
              <p:cNvSpPr>
                <a:spLocks noChangeArrowheads="1"/>
              </p:cNvSpPr>
              <p:nvPr/>
            </p:nvSpPr>
            <p:spPr bwMode="auto">
              <a:xfrm>
                <a:off x="10768013" y="7037388"/>
                <a:ext cx="66675"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82" name="Oval 78">
                <a:extLst>
                  <a:ext uri="{FF2B5EF4-FFF2-40B4-BE49-F238E27FC236}">
                    <a16:creationId xmlns:a16="http://schemas.microsoft.com/office/drawing/2014/main" id="{7AE2BB0B-37EC-439B-B6B2-2EC3D42FC0B3}"/>
                  </a:ext>
                </a:extLst>
              </p:cNvPr>
              <p:cNvSpPr>
                <a:spLocks noChangeArrowheads="1"/>
              </p:cNvSpPr>
              <p:nvPr/>
            </p:nvSpPr>
            <p:spPr bwMode="auto">
              <a:xfrm>
                <a:off x="10186988" y="644207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83" name="Oval 79">
                <a:extLst>
                  <a:ext uri="{FF2B5EF4-FFF2-40B4-BE49-F238E27FC236}">
                    <a16:creationId xmlns:a16="http://schemas.microsoft.com/office/drawing/2014/main" id="{6B0F1E23-ECEE-445D-8161-77BECA808E85}"/>
                  </a:ext>
                </a:extLst>
              </p:cNvPr>
              <p:cNvSpPr>
                <a:spLocks noChangeArrowheads="1"/>
              </p:cNvSpPr>
              <p:nvPr/>
            </p:nvSpPr>
            <p:spPr bwMode="auto">
              <a:xfrm>
                <a:off x="7985126" y="73247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84" name="Oval 80">
                <a:extLst>
                  <a:ext uri="{FF2B5EF4-FFF2-40B4-BE49-F238E27FC236}">
                    <a16:creationId xmlns:a16="http://schemas.microsoft.com/office/drawing/2014/main" id="{C9A7D945-BD2A-494B-8370-DAB7D5EE152D}"/>
                  </a:ext>
                </a:extLst>
              </p:cNvPr>
              <p:cNvSpPr>
                <a:spLocks noChangeArrowheads="1"/>
              </p:cNvSpPr>
              <p:nvPr/>
            </p:nvSpPr>
            <p:spPr bwMode="auto">
              <a:xfrm>
                <a:off x="10496551" y="8515351"/>
                <a:ext cx="133350" cy="1333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85" name="Oval 81">
                <a:extLst>
                  <a:ext uri="{FF2B5EF4-FFF2-40B4-BE49-F238E27FC236}">
                    <a16:creationId xmlns:a16="http://schemas.microsoft.com/office/drawing/2014/main" id="{4FCEB87B-1868-4827-A802-F257AA2190BA}"/>
                  </a:ext>
                </a:extLst>
              </p:cNvPr>
              <p:cNvSpPr>
                <a:spLocks noChangeArrowheads="1"/>
              </p:cNvSpPr>
              <p:nvPr/>
            </p:nvSpPr>
            <p:spPr bwMode="auto">
              <a:xfrm>
                <a:off x="10123488" y="904398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86" name="Freeform 83">
                <a:extLst>
                  <a:ext uri="{FF2B5EF4-FFF2-40B4-BE49-F238E27FC236}">
                    <a16:creationId xmlns:a16="http://schemas.microsoft.com/office/drawing/2014/main" id="{B3DD4C03-CD7C-4ECC-A8C6-91AC48A9CD39}"/>
                  </a:ext>
                </a:extLst>
              </p:cNvPr>
              <p:cNvSpPr>
                <a:spLocks/>
              </p:cNvSpPr>
              <p:nvPr/>
            </p:nvSpPr>
            <p:spPr bwMode="auto">
              <a:xfrm>
                <a:off x="9517063" y="8323263"/>
                <a:ext cx="85725" cy="85725"/>
              </a:xfrm>
              <a:custGeom>
                <a:avLst/>
                <a:gdLst>
                  <a:gd name="T0" fmla="*/ 17 w 40"/>
                  <a:gd name="T1" fmla="*/ 38 h 40"/>
                  <a:gd name="T2" fmla="*/ 2 w 40"/>
                  <a:gd name="T3" fmla="*/ 17 h 40"/>
                  <a:gd name="T4" fmla="*/ 23 w 40"/>
                  <a:gd name="T5" fmla="*/ 2 h 40"/>
                  <a:gd name="T6" fmla="*/ 38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3" y="0"/>
                      <a:pt x="23" y="2"/>
                    </a:cubicBezTo>
                    <a:cubicBezTo>
                      <a:pt x="33" y="4"/>
                      <a:pt x="40" y="13"/>
                      <a:pt x="38" y="23"/>
                    </a:cubicBezTo>
                    <a:cubicBezTo>
                      <a:pt x="36"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87" name="Freeform 84">
                <a:extLst>
                  <a:ext uri="{FF2B5EF4-FFF2-40B4-BE49-F238E27FC236}">
                    <a16:creationId xmlns:a16="http://schemas.microsoft.com/office/drawing/2014/main" id="{F7DD3478-FDE5-4B0F-9819-6685FEC01361}"/>
                  </a:ext>
                </a:extLst>
              </p:cNvPr>
              <p:cNvSpPr>
                <a:spLocks/>
              </p:cNvSpPr>
              <p:nvPr/>
            </p:nvSpPr>
            <p:spPr bwMode="auto">
              <a:xfrm>
                <a:off x="10109201" y="8281988"/>
                <a:ext cx="85725" cy="88900"/>
              </a:xfrm>
              <a:custGeom>
                <a:avLst/>
                <a:gdLst>
                  <a:gd name="T0" fmla="*/ 16 w 40"/>
                  <a:gd name="T1" fmla="*/ 39 h 41"/>
                  <a:gd name="T2" fmla="*/ 1 w 40"/>
                  <a:gd name="T3" fmla="*/ 17 h 41"/>
                  <a:gd name="T4" fmla="*/ 23 w 40"/>
                  <a:gd name="T5" fmla="*/ 2 h 41"/>
                  <a:gd name="T6" fmla="*/ 38 w 40"/>
                  <a:gd name="T7" fmla="*/ 24 h 41"/>
                  <a:gd name="T8" fmla="*/ 16 w 40"/>
                  <a:gd name="T9" fmla="*/ 39 h 41"/>
                </a:gdLst>
                <a:ahLst/>
                <a:cxnLst>
                  <a:cxn ang="0">
                    <a:pos x="T0" y="T1"/>
                  </a:cxn>
                  <a:cxn ang="0">
                    <a:pos x="T2" y="T3"/>
                  </a:cxn>
                  <a:cxn ang="0">
                    <a:pos x="T4" y="T5"/>
                  </a:cxn>
                  <a:cxn ang="0">
                    <a:pos x="T6" y="T7"/>
                  </a:cxn>
                  <a:cxn ang="0">
                    <a:pos x="T8" y="T9"/>
                  </a:cxn>
                </a:cxnLst>
                <a:rect l="0" t="0" r="r" b="b"/>
                <a:pathLst>
                  <a:path w="40" h="41">
                    <a:moveTo>
                      <a:pt x="16" y="39"/>
                    </a:moveTo>
                    <a:cubicBezTo>
                      <a:pt x="6" y="37"/>
                      <a:pt x="0" y="27"/>
                      <a:pt x="1" y="17"/>
                    </a:cubicBezTo>
                    <a:cubicBezTo>
                      <a:pt x="3" y="7"/>
                      <a:pt x="13" y="0"/>
                      <a:pt x="23" y="2"/>
                    </a:cubicBezTo>
                    <a:cubicBezTo>
                      <a:pt x="33" y="4"/>
                      <a:pt x="40" y="14"/>
                      <a:pt x="38" y="24"/>
                    </a:cubicBezTo>
                    <a:cubicBezTo>
                      <a:pt x="36" y="34"/>
                      <a:pt x="26" y="41"/>
                      <a:pt x="16"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88" name="Freeform 85">
                <a:extLst>
                  <a:ext uri="{FF2B5EF4-FFF2-40B4-BE49-F238E27FC236}">
                    <a16:creationId xmlns:a16="http://schemas.microsoft.com/office/drawing/2014/main" id="{B28D5BF6-C1A3-4B37-9313-75A2353A66B3}"/>
                  </a:ext>
                </a:extLst>
              </p:cNvPr>
              <p:cNvSpPr>
                <a:spLocks/>
              </p:cNvSpPr>
              <p:nvPr/>
            </p:nvSpPr>
            <p:spPr bwMode="auto">
              <a:xfrm>
                <a:off x="10545763" y="8174038"/>
                <a:ext cx="85725" cy="85725"/>
              </a:xfrm>
              <a:custGeom>
                <a:avLst/>
                <a:gdLst>
                  <a:gd name="T0" fmla="*/ 17 w 40"/>
                  <a:gd name="T1" fmla="*/ 38 h 40"/>
                  <a:gd name="T2" fmla="*/ 2 w 40"/>
                  <a:gd name="T3" fmla="*/ 17 h 40"/>
                  <a:gd name="T4" fmla="*/ 24 w 40"/>
                  <a:gd name="T5" fmla="*/ 2 h 40"/>
                  <a:gd name="T6" fmla="*/ 39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4" y="0"/>
                      <a:pt x="24" y="2"/>
                    </a:cubicBezTo>
                    <a:cubicBezTo>
                      <a:pt x="34" y="4"/>
                      <a:pt x="40" y="13"/>
                      <a:pt x="39" y="23"/>
                    </a:cubicBezTo>
                    <a:cubicBezTo>
                      <a:pt x="37"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89" name="Freeform 87">
                <a:extLst>
                  <a:ext uri="{FF2B5EF4-FFF2-40B4-BE49-F238E27FC236}">
                    <a16:creationId xmlns:a16="http://schemas.microsoft.com/office/drawing/2014/main" id="{DB9EE053-B823-4389-AA17-619AD29A72F7}"/>
                  </a:ext>
                </a:extLst>
              </p:cNvPr>
              <p:cNvSpPr>
                <a:spLocks/>
              </p:cNvSpPr>
              <p:nvPr/>
            </p:nvSpPr>
            <p:spPr bwMode="auto">
              <a:xfrm>
                <a:off x="9867901" y="7691438"/>
                <a:ext cx="85725" cy="87313"/>
              </a:xfrm>
              <a:custGeom>
                <a:avLst/>
                <a:gdLst>
                  <a:gd name="T0" fmla="*/ 17 w 40"/>
                  <a:gd name="T1" fmla="*/ 38 h 40"/>
                  <a:gd name="T2" fmla="*/ 2 w 40"/>
                  <a:gd name="T3" fmla="*/ 17 h 40"/>
                  <a:gd name="T4" fmla="*/ 24 w 40"/>
                  <a:gd name="T5" fmla="*/ 2 h 40"/>
                  <a:gd name="T6" fmla="*/ 39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4" y="0"/>
                      <a:pt x="24" y="2"/>
                    </a:cubicBezTo>
                    <a:cubicBezTo>
                      <a:pt x="34" y="4"/>
                      <a:pt x="40" y="13"/>
                      <a:pt x="39" y="23"/>
                    </a:cubicBezTo>
                    <a:cubicBezTo>
                      <a:pt x="37"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90" name="Freeform 89">
                <a:extLst>
                  <a:ext uri="{FF2B5EF4-FFF2-40B4-BE49-F238E27FC236}">
                    <a16:creationId xmlns:a16="http://schemas.microsoft.com/office/drawing/2014/main" id="{FFD55367-7F00-4F28-B428-E40C701A44CE}"/>
                  </a:ext>
                </a:extLst>
              </p:cNvPr>
              <p:cNvSpPr>
                <a:spLocks/>
              </p:cNvSpPr>
              <p:nvPr/>
            </p:nvSpPr>
            <p:spPr bwMode="auto">
              <a:xfrm>
                <a:off x="10731501" y="7570788"/>
                <a:ext cx="85725" cy="88900"/>
              </a:xfrm>
              <a:custGeom>
                <a:avLst/>
                <a:gdLst>
                  <a:gd name="T0" fmla="*/ 17 w 40"/>
                  <a:gd name="T1" fmla="*/ 39 h 41"/>
                  <a:gd name="T2" fmla="*/ 2 w 40"/>
                  <a:gd name="T3" fmla="*/ 17 h 41"/>
                  <a:gd name="T4" fmla="*/ 24 w 40"/>
                  <a:gd name="T5" fmla="*/ 2 h 41"/>
                  <a:gd name="T6" fmla="*/ 39 w 40"/>
                  <a:gd name="T7" fmla="*/ 24 h 41"/>
                  <a:gd name="T8" fmla="*/ 17 w 40"/>
                  <a:gd name="T9" fmla="*/ 39 h 41"/>
                </a:gdLst>
                <a:ahLst/>
                <a:cxnLst>
                  <a:cxn ang="0">
                    <a:pos x="T0" y="T1"/>
                  </a:cxn>
                  <a:cxn ang="0">
                    <a:pos x="T2" y="T3"/>
                  </a:cxn>
                  <a:cxn ang="0">
                    <a:pos x="T4" y="T5"/>
                  </a:cxn>
                  <a:cxn ang="0">
                    <a:pos x="T6" y="T7"/>
                  </a:cxn>
                  <a:cxn ang="0">
                    <a:pos x="T8" y="T9"/>
                  </a:cxn>
                </a:cxnLst>
                <a:rect l="0" t="0" r="r" b="b"/>
                <a:pathLst>
                  <a:path w="40" h="41">
                    <a:moveTo>
                      <a:pt x="17" y="39"/>
                    </a:moveTo>
                    <a:cubicBezTo>
                      <a:pt x="7" y="37"/>
                      <a:pt x="0" y="27"/>
                      <a:pt x="2" y="17"/>
                    </a:cubicBezTo>
                    <a:cubicBezTo>
                      <a:pt x="4" y="7"/>
                      <a:pt x="14" y="0"/>
                      <a:pt x="24" y="2"/>
                    </a:cubicBezTo>
                    <a:cubicBezTo>
                      <a:pt x="34" y="4"/>
                      <a:pt x="40" y="14"/>
                      <a:pt x="39" y="24"/>
                    </a:cubicBezTo>
                    <a:cubicBezTo>
                      <a:pt x="37" y="34"/>
                      <a:pt x="27" y="41"/>
                      <a:pt x="1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91" name="Freeform 90">
                <a:extLst>
                  <a:ext uri="{FF2B5EF4-FFF2-40B4-BE49-F238E27FC236}">
                    <a16:creationId xmlns:a16="http://schemas.microsoft.com/office/drawing/2014/main" id="{6A5917A7-B804-4D6C-9CAF-2D8FCD222CBC}"/>
                  </a:ext>
                </a:extLst>
              </p:cNvPr>
              <p:cNvSpPr>
                <a:spLocks noEditPoints="1"/>
              </p:cNvSpPr>
              <p:nvPr/>
            </p:nvSpPr>
            <p:spPr bwMode="auto">
              <a:xfrm>
                <a:off x="6764338" y="5513388"/>
                <a:ext cx="3805238" cy="3914775"/>
              </a:xfrm>
              <a:custGeom>
                <a:avLst/>
                <a:gdLst>
                  <a:gd name="T0" fmla="*/ 424 w 2397"/>
                  <a:gd name="T1" fmla="*/ 2129 h 2466"/>
                  <a:gd name="T2" fmla="*/ 1034 w 2397"/>
                  <a:gd name="T3" fmla="*/ 1921 h 2466"/>
                  <a:gd name="T4" fmla="*/ 254 w 2397"/>
                  <a:gd name="T5" fmla="*/ 2017 h 2466"/>
                  <a:gd name="T6" fmla="*/ 680 w 2397"/>
                  <a:gd name="T7" fmla="*/ 1604 h 2466"/>
                  <a:gd name="T8" fmla="*/ 156 w 2397"/>
                  <a:gd name="T9" fmla="*/ 1515 h 2466"/>
                  <a:gd name="T10" fmla="*/ 14 w 2397"/>
                  <a:gd name="T11" fmla="*/ 1447 h 2466"/>
                  <a:gd name="T12" fmla="*/ 110 w 2397"/>
                  <a:gd name="T13" fmla="*/ 861 h 2466"/>
                  <a:gd name="T14" fmla="*/ 216 w 2397"/>
                  <a:gd name="T15" fmla="*/ 664 h 2466"/>
                  <a:gd name="T16" fmla="*/ 792 w 2397"/>
                  <a:gd name="T17" fmla="*/ 1167 h 2466"/>
                  <a:gd name="T18" fmla="*/ 1597 w 2397"/>
                  <a:gd name="T19" fmla="*/ 663 h 2466"/>
                  <a:gd name="T20" fmla="*/ 1609 w 2397"/>
                  <a:gd name="T21" fmla="*/ 34 h 2466"/>
                  <a:gd name="T22" fmla="*/ 1056 w 2397"/>
                  <a:gd name="T23" fmla="*/ 0 h 2466"/>
                  <a:gd name="T24" fmla="*/ 1050 w 2397"/>
                  <a:gd name="T25" fmla="*/ 12 h 2466"/>
                  <a:gd name="T26" fmla="*/ 1609 w 2397"/>
                  <a:gd name="T27" fmla="*/ 29 h 2466"/>
                  <a:gd name="T28" fmla="*/ 1868 w 2397"/>
                  <a:gd name="T29" fmla="*/ 390 h 2466"/>
                  <a:gd name="T30" fmla="*/ 1869 w 2397"/>
                  <a:gd name="T31" fmla="*/ 397 h 2466"/>
                  <a:gd name="T32" fmla="*/ 1830 w 2397"/>
                  <a:gd name="T33" fmla="*/ 1832 h 2466"/>
                  <a:gd name="T34" fmla="*/ 2397 w 2397"/>
                  <a:gd name="T35" fmla="*/ 1933 h 2466"/>
                  <a:gd name="T36" fmla="*/ 1830 w 2397"/>
                  <a:gd name="T37" fmla="*/ 1838 h 2466"/>
                  <a:gd name="T38" fmla="*/ 2389 w 2397"/>
                  <a:gd name="T39" fmla="*/ 1934 h 2466"/>
                  <a:gd name="T40" fmla="*/ 402 w 2397"/>
                  <a:gd name="T41" fmla="*/ 2061 h 2466"/>
                  <a:gd name="T42" fmla="*/ 1852 w 2397"/>
                  <a:gd name="T43" fmla="*/ 633 h 2466"/>
                  <a:gd name="T44" fmla="*/ 1559 w 2397"/>
                  <a:gd name="T45" fmla="*/ 1413 h 2466"/>
                  <a:gd name="T46" fmla="*/ 1110 w 2397"/>
                  <a:gd name="T47" fmla="*/ 1504 h 2466"/>
                  <a:gd name="T48" fmla="*/ 674 w 2397"/>
                  <a:gd name="T49" fmla="*/ 2039 h 2466"/>
                  <a:gd name="T50" fmla="*/ 676 w 2397"/>
                  <a:gd name="T51" fmla="*/ 1615 h 2466"/>
                  <a:gd name="T52" fmla="*/ 821 w 2397"/>
                  <a:gd name="T53" fmla="*/ 1596 h 2466"/>
                  <a:gd name="T54" fmla="*/ 36 w 2397"/>
                  <a:gd name="T55" fmla="*/ 1503 h 2466"/>
                  <a:gd name="T56" fmla="*/ 197 w 2397"/>
                  <a:gd name="T57" fmla="*/ 1198 h 2466"/>
                  <a:gd name="T58" fmla="*/ 125 w 2397"/>
                  <a:gd name="T59" fmla="*/ 1168 h 2466"/>
                  <a:gd name="T60" fmla="*/ 202 w 2397"/>
                  <a:gd name="T61" fmla="*/ 1194 h 2466"/>
                  <a:gd name="T62" fmla="*/ 765 w 2397"/>
                  <a:gd name="T63" fmla="*/ 1510 h 2466"/>
                  <a:gd name="T64" fmla="*/ 116 w 2397"/>
                  <a:gd name="T65" fmla="*/ 861 h 2466"/>
                  <a:gd name="T66" fmla="*/ 231 w 2397"/>
                  <a:gd name="T67" fmla="*/ 964 h 2466"/>
                  <a:gd name="T68" fmla="*/ 778 w 2397"/>
                  <a:gd name="T69" fmla="*/ 1519 h 2466"/>
                  <a:gd name="T70" fmla="*/ 959 w 2397"/>
                  <a:gd name="T71" fmla="*/ 1349 h 2466"/>
                  <a:gd name="T72" fmla="*/ 691 w 2397"/>
                  <a:gd name="T73" fmla="*/ 1593 h 2466"/>
                  <a:gd name="T74" fmla="*/ 772 w 2397"/>
                  <a:gd name="T75" fmla="*/ 1510 h 2466"/>
                  <a:gd name="T76" fmla="*/ 944 w 2397"/>
                  <a:gd name="T77" fmla="*/ 1333 h 2466"/>
                  <a:gd name="T78" fmla="*/ 1559 w 2397"/>
                  <a:gd name="T79" fmla="*/ 1406 h 2466"/>
                  <a:gd name="T80" fmla="*/ 1600 w 2397"/>
                  <a:gd name="T81" fmla="*/ 668 h 2466"/>
                  <a:gd name="T82" fmla="*/ 961 w 2397"/>
                  <a:gd name="T83" fmla="*/ 1343 h 2466"/>
                  <a:gd name="T84" fmla="*/ 140 w 2397"/>
                  <a:gd name="T85" fmla="*/ 1345 h 2466"/>
                  <a:gd name="T86" fmla="*/ 544 w 2397"/>
                  <a:gd name="T87" fmla="*/ 860 h 2466"/>
                  <a:gd name="T88" fmla="*/ 1247 w 2397"/>
                  <a:gd name="T89" fmla="*/ 1015 h 2466"/>
                  <a:gd name="T90" fmla="*/ 183 w 2397"/>
                  <a:gd name="T91" fmla="*/ 1186 h 2466"/>
                  <a:gd name="T92" fmla="*/ 183 w 2397"/>
                  <a:gd name="T93" fmla="*/ 1186 h 2466"/>
                  <a:gd name="T94" fmla="*/ 1852 w 2397"/>
                  <a:gd name="T95" fmla="*/ 616 h 2466"/>
                  <a:gd name="T96" fmla="*/ 1872 w 2397"/>
                  <a:gd name="T97" fmla="*/ 612 h 2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97" h="2466">
                    <a:moveTo>
                      <a:pt x="1811" y="2466"/>
                    </a:moveTo>
                    <a:lnTo>
                      <a:pt x="1825" y="1838"/>
                    </a:lnTo>
                    <a:lnTo>
                      <a:pt x="424" y="2129"/>
                    </a:lnTo>
                    <a:lnTo>
                      <a:pt x="394" y="2057"/>
                    </a:lnTo>
                    <a:lnTo>
                      <a:pt x="673" y="2034"/>
                    </a:lnTo>
                    <a:lnTo>
                      <a:pt x="1034" y="1921"/>
                    </a:lnTo>
                    <a:lnTo>
                      <a:pt x="824" y="1600"/>
                    </a:lnTo>
                    <a:lnTo>
                      <a:pt x="664" y="1654"/>
                    </a:lnTo>
                    <a:lnTo>
                      <a:pt x="254" y="2017"/>
                    </a:lnTo>
                    <a:lnTo>
                      <a:pt x="250" y="2013"/>
                    </a:lnTo>
                    <a:lnTo>
                      <a:pt x="672" y="1611"/>
                    </a:lnTo>
                    <a:lnTo>
                      <a:pt x="680" y="1604"/>
                    </a:lnTo>
                    <a:lnTo>
                      <a:pt x="398" y="1281"/>
                    </a:lnTo>
                    <a:lnTo>
                      <a:pt x="202" y="1200"/>
                    </a:lnTo>
                    <a:lnTo>
                      <a:pt x="156" y="1515"/>
                    </a:lnTo>
                    <a:lnTo>
                      <a:pt x="107" y="1806"/>
                    </a:lnTo>
                    <a:lnTo>
                      <a:pt x="30" y="1504"/>
                    </a:lnTo>
                    <a:lnTo>
                      <a:pt x="14" y="1447"/>
                    </a:lnTo>
                    <a:lnTo>
                      <a:pt x="0" y="1110"/>
                    </a:lnTo>
                    <a:lnTo>
                      <a:pt x="125" y="1162"/>
                    </a:lnTo>
                    <a:lnTo>
                      <a:pt x="110" y="861"/>
                    </a:lnTo>
                    <a:lnTo>
                      <a:pt x="106" y="735"/>
                    </a:lnTo>
                    <a:lnTo>
                      <a:pt x="215" y="661"/>
                    </a:lnTo>
                    <a:lnTo>
                      <a:pt x="216" y="664"/>
                    </a:lnTo>
                    <a:lnTo>
                      <a:pt x="769" y="1506"/>
                    </a:lnTo>
                    <a:lnTo>
                      <a:pt x="940" y="1329"/>
                    </a:lnTo>
                    <a:lnTo>
                      <a:pt x="792" y="1167"/>
                    </a:lnTo>
                    <a:lnTo>
                      <a:pt x="535" y="856"/>
                    </a:lnTo>
                    <a:lnTo>
                      <a:pt x="539" y="856"/>
                    </a:lnTo>
                    <a:lnTo>
                      <a:pt x="1597" y="663"/>
                    </a:lnTo>
                    <a:lnTo>
                      <a:pt x="1864" y="396"/>
                    </a:lnTo>
                    <a:lnTo>
                      <a:pt x="1852" y="120"/>
                    </a:lnTo>
                    <a:lnTo>
                      <a:pt x="1609" y="34"/>
                    </a:lnTo>
                    <a:lnTo>
                      <a:pt x="1312" y="98"/>
                    </a:lnTo>
                    <a:lnTo>
                      <a:pt x="848" y="185"/>
                    </a:lnTo>
                    <a:lnTo>
                      <a:pt x="1056" y="0"/>
                    </a:lnTo>
                    <a:lnTo>
                      <a:pt x="1056" y="67"/>
                    </a:lnTo>
                    <a:lnTo>
                      <a:pt x="1050" y="67"/>
                    </a:lnTo>
                    <a:lnTo>
                      <a:pt x="1050" y="12"/>
                    </a:lnTo>
                    <a:lnTo>
                      <a:pt x="866" y="177"/>
                    </a:lnTo>
                    <a:lnTo>
                      <a:pt x="1311" y="94"/>
                    </a:lnTo>
                    <a:lnTo>
                      <a:pt x="1609" y="29"/>
                    </a:lnTo>
                    <a:lnTo>
                      <a:pt x="1857" y="116"/>
                    </a:lnTo>
                    <a:lnTo>
                      <a:pt x="1857" y="117"/>
                    </a:lnTo>
                    <a:lnTo>
                      <a:pt x="1868" y="390"/>
                    </a:lnTo>
                    <a:lnTo>
                      <a:pt x="1899" y="361"/>
                    </a:lnTo>
                    <a:lnTo>
                      <a:pt x="1903" y="363"/>
                    </a:lnTo>
                    <a:lnTo>
                      <a:pt x="1869" y="397"/>
                    </a:lnTo>
                    <a:lnTo>
                      <a:pt x="1878" y="616"/>
                    </a:lnTo>
                    <a:lnTo>
                      <a:pt x="1857" y="620"/>
                    </a:lnTo>
                    <a:lnTo>
                      <a:pt x="1830" y="1832"/>
                    </a:lnTo>
                    <a:lnTo>
                      <a:pt x="2134" y="1768"/>
                    </a:lnTo>
                    <a:lnTo>
                      <a:pt x="2135" y="1770"/>
                    </a:lnTo>
                    <a:lnTo>
                      <a:pt x="2397" y="1933"/>
                    </a:lnTo>
                    <a:lnTo>
                      <a:pt x="2135" y="2243"/>
                    </a:lnTo>
                    <a:lnTo>
                      <a:pt x="1811" y="2466"/>
                    </a:lnTo>
                    <a:close/>
                    <a:moveTo>
                      <a:pt x="1830" y="1838"/>
                    </a:moveTo>
                    <a:lnTo>
                      <a:pt x="1817" y="2455"/>
                    </a:lnTo>
                    <a:lnTo>
                      <a:pt x="2131" y="2239"/>
                    </a:lnTo>
                    <a:lnTo>
                      <a:pt x="2389" y="1934"/>
                    </a:lnTo>
                    <a:lnTo>
                      <a:pt x="2133" y="1775"/>
                    </a:lnTo>
                    <a:lnTo>
                      <a:pt x="1830" y="1838"/>
                    </a:lnTo>
                    <a:close/>
                    <a:moveTo>
                      <a:pt x="402" y="2061"/>
                    </a:moveTo>
                    <a:lnTo>
                      <a:pt x="428" y="2122"/>
                    </a:lnTo>
                    <a:lnTo>
                      <a:pt x="1825" y="1832"/>
                    </a:lnTo>
                    <a:lnTo>
                      <a:pt x="1852" y="633"/>
                    </a:lnTo>
                    <a:lnTo>
                      <a:pt x="1731" y="997"/>
                    </a:lnTo>
                    <a:lnTo>
                      <a:pt x="1562" y="1416"/>
                    </a:lnTo>
                    <a:lnTo>
                      <a:pt x="1559" y="1413"/>
                    </a:lnTo>
                    <a:lnTo>
                      <a:pt x="1221" y="1106"/>
                    </a:lnTo>
                    <a:lnTo>
                      <a:pt x="963" y="1347"/>
                    </a:lnTo>
                    <a:lnTo>
                      <a:pt x="1110" y="1504"/>
                    </a:lnTo>
                    <a:lnTo>
                      <a:pt x="829" y="1598"/>
                    </a:lnTo>
                    <a:lnTo>
                      <a:pt x="1043" y="1923"/>
                    </a:lnTo>
                    <a:lnTo>
                      <a:pt x="674" y="2039"/>
                    </a:lnTo>
                    <a:lnTo>
                      <a:pt x="402" y="2061"/>
                    </a:lnTo>
                    <a:close/>
                    <a:moveTo>
                      <a:pt x="773" y="1523"/>
                    </a:moveTo>
                    <a:lnTo>
                      <a:pt x="676" y="1615"/>
                    </a:lnTo>
                    <a:lnTo>
                      <a:pt x="364" y="1912"/>
                    </a:lnTo>
                    <a:lnTo>
                      <a:pt x="661" y="1649"/>
                    </a:lnTo>
                    <a:lnTo>
                      <a:pt x="821" y="1596"/>
                    </a:lnTo>
                    <a:lnTo>
                      <a:pt x="773" y="1523"/>
                    </a:lnTo>
                    <a:close/>
                    <a:moveTo>
                      <a:pt x="19" y="1447"/>
                    </a:moveTo>
                    <a:lnTo>
                      <a:pt x="36" y="1503"/>
                    </a:lnTo>
                    <a:lnTo>
                      <a:pt x="106" y="1781"/>
                    </a:lnTo>
                    <a:lnTo>
                      <a:pt x="151" y="1514"/>
                    </a:lnTo>
                    <a:lnTo>
                      <a:pt x="197" y="1198"/>
                    </a:lnTo>
                    <a:lnTo>
                      <a:pt x="182" y="1192"/>
                    </a:lnTo>
                    <a:lnTo>
                      <a:pt x="136" y="1383"/>
                    </a:lnTo>
                    <a:lnTo>
                      <a:pt x="125" y="1168"/>
                    </a:lnTo>
                    <a:lnTo>
                      <a:pt x="6" y="1118"/>
                    </a:lnTo>
                    <a:lnTo>
                      <a:pt x="19" y="1447"/>
                    </a:lnTo>
                    <a:close/>
                    <a:moveTo>
                      <a:pt x="202" y="1194"/>
                    </a:moveTo>
                    <a:lnTo>
                      <a:pt x="402" y="1276"/>
                    </a:lnTo>
                    <a:lnTo>
                      <a:pt x="681" y="1596"/>
                    </a:lnTo>
                    <a:lnTo>
                      <a:pt x="765" y="1510"/>
                    </a:lnTo>
                    <a:lnTo>
                      <a:pt x="213" y="669"/>
                    </a:lnTo>
                    <a:lnTo>
                      <a:pt x="112" y="737"/>
                    </a:lnTo>
                    <a:lnTo>
                      <a:pt x="116" y="861"/>
                    </a:lnTo>
                    <a:lnTo>
                      <a:pt x="131" y="1164"/>
                    </a:lnTo>
                    <a:lnTo>
                      <a:pt x="178" y="1183"/>
                    </a:lnTo>
                    <a:lnTo>
                      <a:pt x="231" y="964"/>
                    </a:lnTo>
                    <a:lnTo>
                      <a:pt x="236" y="964"/>
                    </a:lnTo>
                    <a:lnTo>
                      <a:pt x="202" y="1194"/>
                    </a:lnTo>
                    <a:close/>
                    <a:moveTo>
                      <a:pt x="778" y="1519"/>
                    </a:moveTo>
                    <a:lnTo>
                      <a:pt x="826" y="1593"/>
                    </a:lnTo>
                    <a:lnTo>
                      <a:pt x="1099" y="1502"/>
                    </a:lnTo>
                    <a:lnTo>
                      <a:pt x="959" y="1349"/>
                    </a:lnTo>
                    <a:lnTo>
                      <a:pt x="778" y="1519"/>
                    </a:lnTo>
                    <a:close/>
                    <a:moveTo>
                      <a:pt x="768" y="1514"/>
                    </a:moveTo>
                    <a:lnTo>
                      <a:pt x="691" y="1593"/>
                    </a:lnTo>
                    <a:lnTo>
                      <a:pt x="771" y="1518"/>
                    </a:lnTo>
                    <a:lnTo>
                      <a:pt x="768" y="1514"/>
                    </a:lnTo>
                    <a:close/>
                    <a:moveTo>
                      <a:pt x="772" y="1510"/>
                    </a:moveTo>
                    <a:lnTo>
                      <a:pt x="775" y="1515"/>
                    </a:lnTo>
                    <a:lnTo>
                      <a:pt x="957" y="1345"/>
                    </a:lnTo>
                    <a:lnTo>
                      <a:pt x="944" y="1333"/>
                    </a:lnTo>
                    <a:lnTo>
                      <a:pt x="772" y="1510"/>
                    </a:lnTo>
                    <a:close/>
                    <a:moveTo>
                      <a:pt x="1221" y="1098"/>
                    </a:moveTo>
                    <a:lnTo>
                      <a:pt x="1559" y="1406"/>
                    </a:lnTo>
                    <a:lnTo>
                      <a:pt x="1727" y="994"/>
                    </a:lnTo>
                    <a:lnTo>
                      <a:pt x="1849" y="622"/>
                    </a:lnTo>
                    <a:lnTo>
                      <a:pt x="1600" y="668"/>
                    </a:lnTo>
                    <a:lnTo>
                      <a:pt x="1250" y="1019"/>
                    </a:lnTo>
                    <a:lnTo>
                      <a:pt x="948" y="1329"/>
                    </a:lnTo>
                    <a:lnTo>
                      <a:pt x="961" y="1343"/>
                    </a:lnTo>
                    <a:lnTo>
                      <a:pt x="1221" y="1098"/>
                    </a:lnTo>
                    <a:close/>
                    <a:moveTo>
                      <a:pt x="131" y="1170"/>
                    </a:moveTo>
                    <a:lnTo>
                      <a:pt x="140" y="1345"/>
                    </a:lnTo>
                    <a:lnTo>
                      <a:pt x="177" y="1189"/>
                    </a:lnTo>
                    <a:lnTo>
                      <a:pt x="131" y="1170"/>
                    </a:lnTo>
                    <a:close/>
                    <a:moveTo>
                      <a:pt x="544" y="860"/>
                    </a:moveTo>
                    <a:lnTo>
                      <a:pt x="797" y="1164"/>
                    </a:lnTo>
                    <a:lnTo>
                      <a:pt x="944" y="1325"/>
                    </a:lnTo>
                    <a:lnTo>
                      <a:pt x="1247" y="1015"/>
                    </a:lnTo>
                    <a:lnTo>
                      <a:pt x="1590" y="669"/>
                    </a:lnTo>
                    <a:lnTo>
                      <a:pt x="544" y="860"/>
                    </a:lnTo>
                    <a:close/>
                    <a:moveTo>
                      <a:pt x="183" y="1186"/>
                    </a:moveTo>
                    <a:lnTo>
                      <a:pt x="198" y="1192"/>
                    </a:lnTo>
                    <a:lnTo>
                      <a:pt x="223" y="1023"/>
                    </a:lnTo>
                    <a:lnTo>
                      <a:pt x="183" y="1186"/>
                    </a:lnTo>
                    <a:close/>
                    <a:moveTo>
                      <a:pt x="1864" y="403"/>
                    </a:moveTo>
                    <a:lnTo>
                      <a:pt x="1606" y="661"/>
                    </a:lnTo>
                    <a:lnTo>
                      <a:pt x="1852" y="616"/>
                    </a:lnTo>
                    <a:lnTo>
                      <a:pt x="1859" y="597"/>
                    </a:lnTo>
                    <a:lnTo>
                      <a:pt x="1857" y="615"/>
                    </a:lnTo>
                    <a:lnTo>
                      <a:pt x="1872" y="612"/>
                    </a:lnTo>
                    <a:lnTo>
                      <a:pt x="1864" y="4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92" name="Freeform 91">
                <a:extLst>
                  <a:ext uri="{FF2B5EF4-FFF2-40B4-BE49-F238E27FC236}">
                    <a16:creationId xmlns:a16="http://schemas.microsoft.com/office/drawing/2014/main" id="{26353F31-15C0-4678-B3B6-B37953D5CF44}"/>
                  </a:ext>
                </a:extLst>
              </p:cNvPr>
              <p:cNvSpPr>
                <a:spLocks noEditPoints="1"/>
              </p:cNvSpPr>
              <p:nvPr/>
            </p:nvSpPr>
            <p:spPr bwMode="auto">
              <a:xfrm>
                <a:off x="7229476" y="5584826"/>
                <a:ext cx="3579813" cy="2747963"/>
              </a:xfrm>
              <a:custGeom>
                <a:avLst/>
                <a:gdLst>
                  <a:gd name="T0" fmla="*/ 1823 w 2255"/>
                  <a:gd name="T1" fmla="*/ 1731 h 1731"/>
                  <a:gd name="T2" fmla="*/ 1681 w 2255"/>
                  <a:gd name="T3" fmla="*/ 1647 h 1731"/>
                  <a:gd name="T4" fmla="*/ 1091 w 2255"/>
                  <a:gd name="T5" fmla="*/ 1727 h 1731"/>
                  <a:gd name="T6" fmla="*/ 1090 w 2255"/>
                  <a:gd name="T7" fmla="*/ 1727 h 1731"/>
                  <a:gd name="T8" fmla="*/ 806 w 2255"/>
                  <a:gd name="T9" fmla="*/ 1458 h 1731"/>
                  <a:gd name="T10" fmla="*/ 810 w 2255"/>
                  <a:gd name="T11" fmla="*/ 1455 h 1731"/>
                  <a:gd name="T12" fmla="*/ 1152 w 2255"/>
                  <a:gd name="T13" fmla="*/ 1333 h 1731"/>
                  <a:gd name="T14" fmla="*/ 0 w 2255"/>
                  <a:gd name="T15" fmla="*/ 649 h 1731"/>
                  <a:gd name="T16" fmla="*/ 215 w 2255"/>
                  <a:gd name="T17" fmla="*/ 359 h 1731"/>
                  <a:gd name="T18" fmla="*/ 186 w 2255"/>
                  <a:gd name="T19" fmla="*/ 320 h 1731"/>
                  <a:gd name="T20" fmla="*/ 186 w 2255"/>
                  <a:gd name="T21" fmla="*/ 318 h 1731"/>
                  <a:gd name="T22" fmla="*/ 357 w 2255"/>
                  <a:gd name="T23" fmla="*/ 102 h 1731"/>
                  <a:gd name="T24" fmla="*/ 357 w 2255"/>
                  <a:gd name="T25" fmla="*/ 102 h 1731"/>
                  <a:gd name="T26" fmla="*/ 571 w 2255"/>
                  <a:gd name="T27" fmla="*/ 0 h 1731"/>
                  <a:gd name="T28" fmla="*/ 573 w 2255"/>
                  <a:gd name="T29" fmla="*/ 0 h 1731"/>
                  <a:gd name="T30" fmla="*/ 1279 w 2255"/>
                  <a:gd name="T31" fmla="*/ 267 h 1731"/>
                  <a:gd name="T32" fmla="*/ 830 w 2255"/>
                  <a:gd name="T33" fmla="*/ 298 h 1731"/>
                  <a:gd name="T34" fmla="*/ 830 w 2255"/>
                  <a:gd name="T35" fmla="*/ 292 h 1731"/>
                  <a:gd name="T36" fmla="*/ 1255 w 2255"/>
                  <a:gd name="T37" fmla="*/ 263 h 1731"/>
                  <a:gd name="T38" fmla="*/ 573 w 2255"/>
                  <a:gd name="T39" fmla="*/ 5 h 1731"/>
                  <a:gd name="T40" fmla="*/ 360 w 2255"/>
                  <a:gd name="T41" fmla="*/ 106 h 1731"/>
                  <a:gd name="T42" fmla="*/ 193 w 2255"/>
                  <a:gd name="T43" fmla="*/ 320 h 1731"/>
                  <a:gd name="T44" fmla="*/ 221 w 2255"/>
                  <a:gd name="T45" fmla="*/ 359 h 1731"/>
                  <a:gd name="T46" fmla="*/ 8 w 2255"/>
                  <a:gd name="T47" fmla="*/ 647 h 1731"/>
                  <a:gd name="T48" fmla="*/ 1159 w 2255"/>
                  <a:gd name="T49" fmla="*/ 1330 h 1731"/>
                  <a:gd name="T50" fmla="*/ 1811 w 2255"/>
                  <a:gd name="T51" fmla="*/ 1094 h 1731"/>
                  <a:gd name="T52" fmla="*/ 2078 w 2255"/>
                  <a:gd name="T53" fmla="*/ 533 h 1731"/>
                  <a:gd name="T54" fmla="*/ 2255 w 2255"/>
                  <a:gd name="T55" fmla="*/ 939 h 1731"/>
                  <a:gd name="T56" fmla="*/ 2252 w 2255"/>
                  <a:gd name="T57" fmla="*/ 940 h 1731"/>
                  <a:gd name="T58" fmla="*/ 1815 w 2255"/>
                  <a:gd name="T59" fmla="*/ 1098 h 1731"/>
                  <a:gd name="T60" fmla="*/ 1692 w 2255"/>
                  <a:gd name="T61" fmla="*/ 1357 h 1731"/>
                  <a:gd name="T62" fmla="*/ 1292 w 2255"/>
                  <a:gd name="T63" fmla="*/ 1385 h 1731"/>
                  <a:gd name="T64" fmla="*/ 1292 w 2255"/>
                  <a:gd name="T65" fmla="*/ 1379 h 1731"/>
                  <a:gd name="T66" fmla="*/ 1688 w 2255"/>
                  <a:gd name="T67" fmla="*/ 1352 h 1731"/>
                  <a:gd name="T68" fmla="*/ 1808 w 2255"/>
                  <a:gd name="T69" fmla="*/ 1100 h 1731"/>
                  <a:gd name="T70" fmla="*/ 1164 w 2255"/>
                  <a:gd name="T71" fmla="*/ 1333 h 1731"/>
                  <a:gd name="T72" fmla="*/ 1682 w 2255"/>
                  <a:gd name="T73" fmla="*/ 1640 h 1731"/>
                  <a:gd name="T74" fmla="*/ 2244 w 2255"/>
                  <a:gd name="T75" fmla="*/ 1564 h 1731"/>
                  <a:gd name="T76" fmla="*/ 2118 w 2255"/>
                  <a:gd name="T77" fmla="*/ 1661 h 1731"/>
                  <a:gd name="T78" fmla="*/ 1823 w 2255"/>
                  <a:gd name="T79" fmla="*/ 1731 h 1731"/>
                  <a:gd name="T80" fmla="*/ 1689 w 2255"/>
                  <a:gd name="T81" fmla="*/ 1646 h 1731"/>
                  <a:gd name="T82" fmla="*/ 1823 w 2255"/>
                  <a:gd name="T83" fmla="*/ 1726 h 1731"/>
                  <a:gd name="T84" fmla="*/ 2115 w 2255"/>
                  <a:gd name="T85" fmla="*/ 1655 h 1731"/>
                  <a:gd name="T86" fmla="*/ 2223 w 2255"/>
                  <a:gd name="T87" fmla="*/ 1572 h 1731"/>
                  <a:gd name="T88" fmla="*/ 1689 w 2255"/>
                  <a:gd name="T89" fmla="*/ 1646 h 1731"/>
                  <a:gd name="T90" fmla="*/ 817 w 2255"/>
                  <a:gd name="T91" fmla="*/ 1459 h 1731"/>
                  <a:gd name="T92" fmla="*/ 1092 w 2255"/>
                  <a:gd name="T93" fmla="*/ 1722 h 1731"/>
                  <a:gd name="T94" fmla="*/ 1673 w 2255"/>
                  <a:gd name="T95" fmla="*/ 1642 h 1731"/>
                  <a:gd name="T96" fmla="*/ 1157 w 2255"/>
                  <a:gd name="T97" fmla="*/ 1336 h 1731"/>
                  <a:gd name="T98" fmla="*/ 817 w 2255"/>
                  <a:gd name="T99" fmla="*/ 1459 h 1731"/>
                  <a:gd name="T100" fmla="*/ 2078 w 2255"/>
                  <a:gd name="T101" fmla="*/ 547 h 1731"/>
                  <a:gd name="T102" fmla="*/ 1819 w 2255"/>
                  <a:gd name="T103" fmla="*/ 1091 h 1731"/>
                  <a:gd name="T104" fmla="*/ 2247 w 2255"/>
                  <a:gd name="T105" fmla="*/ 936 h 1731"/>
                  <a:gd name="T106" fmla="*/ 2078 w 2255"/>
                  <a:gd name="T107" fmla="*/ 547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55" h="1731">
                    <a:moveTo>
                      <a:pt x="1823" y="1731"/>
                    </a:moveTo>
                    <a:lnTo>
                      <a:pt x="1681" y="1647"/>
                    </a:lnTo>
                    <a:lnTo>
                      <a:pt x="1091" y="1727"/>
                    </a:lnTo>
                    <a:lnTo>
                      <a:pt x="1090" y="1727"/>
                    </a:lnTo>
                    <a:lnTo>
                      <a:pt x="806" y="1458"/>
                    </a:lnTo>
                    <a:lnTo>
                      <a:pt x="810" y="1455"/>
                    </a:lnTo>
                    <a:lnTo>
                      <a:pt x="1152" y="1333"/>
                    </a:lnTo>
                    <a:lnTo>
                      <a:pt x="0" y="649"/>
                    </a:lnTo>
                    <a:lnTo>
                      <a:pt x="215" y="359"/>
                    </a:lnTo>
                    <a:lnTo>
                      <a:pt x="186" y="320"/>
                    </a:lnTo>
                    <a:lnTo>
                      <a:pt x="186" y="318"/>
                    </a:lnTo>
                    <a:lnTo>
                      <a:pt x="357" y="102"/>
                    </a:lnTo>
                    <a:lnTo>
                      <a:pt x="357" y="102"/>
                    </a:lnTo>
                    <a:lnTo>
                      <a:pt x="571" y="0"/>
                    </a:lnTo>
                    <a:lnTo>
                      <a:pt x="573" y="0"/>
                    </a:lnTo>
                    <a:lnTo>
                      <a:pt x="1279" y="267"/>
                    </a:lnTo>
                    <a:lnTo>
                      <a:pt x="830" y="298"/>
                    </a:lnTo>
                    <a:lnTo>
                      <a:pt x="830" y="292"/>
                    </a:lnTo>
                    <a:lnTo>
                      <a:pt x="1255" y="263"/>
                    </a:lnTo>
                    <a:lnTo>
                      <a:pt x="573" y="5"/>
                    </a:lnTo>
                    <a:lnTo>
                      <a:pt x="360" y="106"/>
                    </a:lnTo>
                    <a:lnTo>
                      <a:pt x="193" y="320"/>
                    </a:lnTo>
                    <a:lnTo>
                      <a:pt x="221" y="359"/>
                    </a:lnTo>
                    <a:lnTo>
                      <a:pt x="8" y="647"/>
                    </a:lnTo>
                    <a:lnTo>
                      <a:pt x="1159" y="1330"/>
                    </a:lnTo>
                    <a:lnTo>
                      <a:pt x="1811" y="1094"/>
                    </a:lnTo>
                    <a:lnTo>
                      <a:pt x="2078" y="533"/>
                    </a:lnTo>
                    <a:lnTo>
                      <a:pt x="2255" y="939"/>
                    </a:lnTo>
                    <a:lnTo>
                      <a:pt x="2252" y="940"/>
                    </a:lnTo>
                    <a:lnTo>
                      <a:pt x="1815" y="1098"/>
                    </a:lnTo>
                    <a:lnTo>
                      <a:pt x="1692" y="1357"/>
                    </a:lnTo>
                    <a:lnTo>
                      <a:pt x="1292" y="1385"/>
                    </a:lnTo>
                    <a:lnTo>
                      <a:pt x="1292" y="1379"/>
                    </a:lnTo>
                    <a:lnTo>
                      <a:pt x="1688" y="1352"/>
                    </a:lnTo>
                    <a:lnTo>
                      <a:pt x="1808" y="1100"/>
                    </a:lnTo>
                    <a:lnTo>
                      <a:pt x="1164" y="1333"/>
                    </a:lnTo>
                    <a:lnTo>
                      <a:pt x="1682" y="1640"/>
                    </a:lnTo>
                    <a:lnTo>
                      <a:pt x="2244" y="1564"/>
                    </a:lnTo>
                    <a:lnTo>
                      <a:pt x="2118" y="1661"/>
                    </a:lnTo>
                    <a:lnTo>
                      <a:pt x="1823" y="1731"/>
                    </a:lnTo>
                    <a:close/>
                    <a:moveTo>
                      <a:pt x="1689" y="1646"/>
                    </a:moveTo>
                    <a:lnTo>
                      <a:pt x="1823" y="1726"/>
                    </a:lnTo>
                    <a:lnTo>
                      <a:pt x="2115" y="1655"/>
                    </a:lnTo>
                    <a:lnTo>
                      <a:pt x="2223" y="1572"/>
                    </a:lnTo>
                    <a:lnTo>
                      <a:pt x="1689" y="1646"/>
                    </a:lnTo>
                    <a:close/>
                    <a:moveTo>
                      <a:pt x="817" y="1459"/>
                    </a:moveTo>
                    <a:lnTo>
                      <a:pt x="1092" y="1722"/>
                    </a:lnTo>
                    <a:lnTo>
                      <a:pt x="1673" y="1642"/>
                    </a:lnTo>
                    <a:lnTo>
                      <a:pt x="1157" y="1336"/>
                    </a:lnTo>
                    <a:lnTo>
                      <a:pt x="817" y="1459"/>
                    </a:lnTo>
                    <a:close/>
                    <a:moveTo>
                      <a:pt x="2078" y="547"/>
                    </a:moveTo>
                    <a:lnTo>
                      <a:pt x="1819" y="1091"/>
                    </a:lnTo>
                    <a:lnTo>
                      <a:pt x="2247" y="936"/>
                    </a:lnTo>
                    <a:lnTo>
                      <a:pt x="2078" y="5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cs typeface="+mn-cs"/>
                </a:endParaRPr>
              </a:p>
            </p:txBody>
          </p:sp>
          <p:sp>
            <p:nvSpPr>
              <p:cNvPr id="93" name="Freeform 92">
                <a:extLst>
                  <a:ext uri="{FF2B5EF4-FFF2-40B4-BE49-F238E27FC236}">
                    <a16:creationId xmlns:a16="http://schemas.microsoft.com/office/drawing/2014/main" id="{E6FA55D3-ACF5-4C78-B758-589322BE7D54}"/>
                  </a:ext>
                </a:extLst>
              </p:cNvPr>
              <p:cNvSpPr>
                <a:spLocks noEditPoints="1"/>
              </p:cNvSpPr>
              <p:nvPr/>
            </p:nvSpPr>
            <p:spPr bwMode="auto">
              <a:xfrm>
                <a:off x="7004051" y="5795963"/>
                <a:ext cx="3476625" cy="3094038"/>
              </a:xfrm>
              <a:custGeom>
                <a:avLst/>
                <a:gdLst>
                  <a:gd name="T0" fmla="*/ 274 w 2190"/>
                  <a:gd name="T1" fmla="*/ 1949 h 1949"/>
                  <a:gd name="T2" fmla="*/ 148 w 2190"/>
                  <a:gd name="T3" fmla="*/ 1929 h 1949"/>
                  <a:gd name="T4" fmla="*/ 79 w 2190"/>
                  <a:gd name="T5" fmla="*/ 1647 h 1949"/>
                  <a:gd name="T6" fmla="*/ 26 w 2190"/>
                  <a:gd name="T7" fmla="*/ 1666 h 1949"/>
                  <a:gd name="T8" fmla="*/ 5 w 2190"/>
                  <a:gd name="T9" fmla="*/ 1574 h 1949"/>
                  <a:gd name="T10" fmla="*/ 0 w 2190"/>
                  <a:gd name="T11" fmla="*/ 1313 h 1949"/>
                  <a:gd name="T12" fmla="*/ 81 w 2190"/>
                  <a:gd name="T13" fmla="*/ 1641 h 1949"/>
                  <a:gd name="T14" fmla="*/ 548 w 2190"/>
                  <a:gd name="T15" fmla="*/ 1473 h 1949"/>
                  <a:gd name="T16" fmla="*/ 953 w 2190"/>
                  <a:gd name="T17" fmla="*/ 1322 h 1949"/>
                  <a:gd name="T18" fmla="*/ 1409 w 2190"/>
                  <a:gd name="T19" fmla="*/ 1262 h 1949"/>
                  <a:gd name="T20" fmla="*/ 1736 w 2190"/>
                  <a:gd name="T21" fmla="*/ 1228 h 1949"/>
                  <a:gd name="T22" fmla="*/ 1896 w 2190"/>
                  <a:gd name="T23" fmla="*/ 748 h 1949"/>
                  <a:gd name="T24" fmla="*/ 800 w 2190"/>
                  <a:gd name="T25" fmla="*/ 542 h 1949"/>
                  <a:gd name="T26" fmla="*/ 1132 w 2190"/>
                  <a:gd name="T27" fmla="*/ 917 h 1949"/>
                  <a:gd name="T28" fmla="*/ 1046 w 2190"/>
                  <a:gd name="T29" fmla="*/ 897 h 1949"/>
                  <a:gd name="T30" fmla="*/ 1046 w 2190"/>
                  <a:gd name="T31" fmla="*/ 897 h 1949"/>
                  <a:gd name="T32" fmla="*/ 357 w 2190"/>
                  <a:gd name="T33" fmla="*/ 226 h 1949"/>
                  <a:gd name="T34" fmla="*/ 628 w 2190"/>
                  <a:gd name="T35" fmla="*/ 0 h 1949"/>
                  <a:gd name="T36" fmla="*/ 715 w 2190"/>
                  <a:gd name="T37" fmla="*/ 0 h 1949"/>
                  <a:gd name="T38" fmla="*/ 715 w 2190"/>
                  <a:gd name="T39" fmla="*/ 6 h 1949"/>
                  <a:gd name="T40" fmla="*/ 631 w 2190"/>
                  <a:gd name="T41" fmla="*/ 6 h 1949"/>
                  <a:gd name="T42" fmla="*/ 365 w 2190"/>
                  <a:gd name="T43" fmla="*/ 226 h 1949"/>
                  <a:gd name="T44" fmla="*/ 1048 w 2190"/>
                  <a:gd name="T45" fmla="*/ 891 h 1949"/>
                  <a:gd name="T46" fmla="*/ 1116 w 2190"/>
                  <a:gd name="T47" fmla="*/ 908 h 1949"/>
                  <a:gd name="T48" fmla="*/ 785 w 2190"/>
                  <a:gd name="T49" fmla="*/ 533 h 1949"/>
                  <a:gd name="T50" fmla="*/ 1898 w 2190"/>
                  <a:gd name="T51" fmla="*/ 743 h 1949"/>
                  <a:gd name="T52" fmla="*/ 2002 w 2190"/>
                  <a:gd name="T53" fmla="*/ 427 h 1949"/>
                  <a:gd name="T54" fmla="*/ 2007 w 2190"/>
                  <a:gd name="T55" fmla="*/ 429 h 1949"/>
                  <a:gd name="T56" fmla="*/ 1903 w 2190"/>
                  <a:gd name="T57" fmla="*/ 744 h 1949"/>
                  <a:gd name="T58" fmla="*/ 1984 w 2190"/>
                  <a:gd name="T59" fmla="*/ 759 h 1949"/>
                  <a:gd name="T60" fmla="*/ 1984 w 2190"/>
                  <a:gd name="T61" fmla="*/ 761 h 1949"/>
                  <a:gd name="T62" fmla="*/ 2190 w 2190"/>
                  <a:gd name="T63" fmla="*/ 1189 h 1949"/>
                  <a:gd name="T64" fmla="*/ 1832 w 2190"/>
                  <a:gd name="T65" fmla="*/ 1224 h 1949"/>
                  <a:gd name="T66" fmla="*/ 1740 w 2190"/>
                  <a:gd name="T67" fmla="*/ 1234 h 1949"/>
                  <a:gd name="T68" fmla="*/ 1614 w 2190"/>
                  <a:gd name="T69" fmla="*/ 1616 h 1949"/>
                  <a:gd name="T70" fmla="*/ 1982 w 2190"/>
                  <a:gd name="T71" fmla="*/ 1573 h 1949"/>
                  <a:gd name="T72" fmla="*/ 1983 w 2190"/>
                  <a:gd name="T73" fmla="*/ 1578 h 1949"/>
                  <a:gd name="T74" fmla="*/ 274 w 2190"/>
                  <a:gd name="T75" fmla="*/ 1949 h 1949"/>
                  <a:gd name="T76" fmla="*/ 152 w 2190"/>
                  <a:gd name="T77" fmla="*/ 1924 h 1949"/>
                  <a:gd name="T78" fmla="*/ 274 w 2190"/>
                  <a:gd name="T79" fmla="*/ 1944 h 1949"/>
                  <a:gd name="T80" fmla="*/ 1929 w 2190"/>
                  <a:gd name="T81" fmla="*/ 1585 h 1949"/>
                  <a:gd name="T82" fmla="*/ 1606 w 2190"/>
                  <a:gd name="T83" fmla="*/ 1622 h 1949"/>
                  <a:gd name="T84" fmla="*/ 1607 w 2190"/>
                  <a:gd name="T85" fmla="*/ 1617 h 1949"/>
                  <a:gd name="T86" fmla="*/ 1735 w 2190"/>
                  <a:gd name="T87" fmla="*/ 1234 h 1949"/>
                  <a:gd name="T88" fmla="*/ 1409 w 2190"/>
                  <a:gd name="T89" fmla="*/ 1268 h 1949"/>
                  <a:gd name="T90" fmla="*/ 953 w 2190"/>
                  <a:gd name="T91" fmla="*/ 1328 h 1949"/>
                  <a:gd name="T92" fmla="*/ 549 w 2190"/>
                  <a:gd name="T93" fmla="*/ 1479 h 1949"/>
                  <a:gd name="T94" fmla="*/ 83 w 2190"/>
                  <a:gd name="T95" fmla="*/ 1646 h 1949"/>
                  <a:gd name="T96" fmla="*/ 152 w 2190"/>
                  <a:gd name="T97" fmla="*/ 1924 h 1949"/>
                  <a:gd name="T98" fmla="*/ 11 w 2190"/>
                  <a:gd name="T99" fmla="*/ 1574 h 1949"/>
                  <a:gd name="T100" fmla="*/ 30 w 2190"/>
                  <a:gd name="T101" fmla="*/ 1658 h 1949"/>
                  <a:gd name="T102" fmla="*/ 77 w 2190"/>
                  <a:gd name="T103" fmla="*/ 1642 h 1949"/>
                  <a:gd name="T104" fmla="*/ 7 w 2190"/>
                  <a:gd name="T105" fmla="*/ 1360 h 1949"/>
                  <a:gd name="T106" fmla="*/ 11 w 2190"/>
                  <a:gd name="T107" fmla="*/ 1574 h 1949"/>
                  <a:gd name="T108" fmla="*/ 1902 w 2190"/>
                  <a:gd name="T109" fmla="*/ 750 h 1949"/>
                  <a:gd name="T110" fmla="*/ 1743 w 2190"/>
                  <a:gd name="T111" fmla="*/ 1228 h 1949"/>
                  <a:gd name="T112" fmla="*/ 1831 w 2190"/>
                  <a:gd name="T113" fmla="*/ 1219 h 1949"/>
                  <a:gd name="T114" fmla="*/ 2182 w 2190"/>
                  <a:gd name="T115" fmla="*/ 1184 h 1949"/>
                  <a:gd name="T116" fmla="*/ 1980 w 2190"/>
                  <a:gd name="T117" fmla="*/ 765 h 1949"/>
                  <a:gd name="T118" fmla="*/ 1902 w 2190"/>
                  <a:gd name="T119" fmla="*/ 750 h 1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90" h="1949">
                    <a:moveTo>
                      <a:pt x="274" y="1949"/>
                    </a:moveTo>
                    <a:lnTo>
                      <a:pt x="148" y="1929"/>
                    </a:lnTo>
                    <a:lnTo>
                      <a:pt x="79" y="1647"/>
                    </a:lnTo>
                    <a:lnTo>
                      <a:pt x="26" y="1666"/>
                    </a:lnTo>
                    <a:lnTo>
                      <a:pt x="5" y="1574"/>
                    </a:lnTo>
                    <a:lnTo>
                      <a:pt x="0" y="1313"/>
                    </a:lnTo>
                    <a:lnTo>
                      <a:pt x="81" y="1641"/>
                    </a:lnTo>
                    <a:lnTo>
                      <a:pt x="548" y="1473"/>
                    </a:lnTo>
                    <a:lnTo>
                      <a:pt x="953" y="1322"/>
                    </a:lnTo>
                    <a:lnTo>
                      <a:pt x="1409" y="1262"/>
                    </a:lnTo>
                    <a:lnTo>
                      <a:pt x="1736" y="1228"/>
                    </a:lnTo>
                    <a:lnTo>
                      <a:pt x="1896" y="748"/>
                    </a:lnTo>
                    <a:lnTo>
                      <a:pt x="800" y="542"/>
                    </a:lnTo>
                    <a:lnTo>
                      <a:pt x="1132" y="917"/>
                    </a:lnTo>
                    <a:lnTo>
                      <a:pt x="1046" y="897"/>
                    </a:lnTo>
                    <a:lnTo>
                      <a:pt x="1046" y="897"/>
                    </a:lnTo>
                    <a:lnTo>
                      <a:pt x="357" y="226"/>
                    </a:lnTo>
                    <a:lnTo>
                      <a:pt x="628" y="0"/>
                    </a:lnTo>
                    <a:lnTo>
                      <a:pt x="715" y="0"/>
                    </a:lnTo>
                    <a:lnTo>
                      <a:pt x="715" y="6"/>
                    </a:lnTo>
                    <a:lnTo>
                      <a:pt x="631" y="6"/>
                    </a:lnTo>
                    <a:lnTo>
                      <a:pt x="365" y="226"/>
                    </a:lnTo>
                    <a:lnTo>
                      <a:pt x="1048" y="891"/>
                    </a:lnTo>
                    <a:lnTo>
                      <a:pt x="1116" y="908"/>
                    </a:lnTo>
                    <a:lnTo>
                      <a:pt x="785" y="533"/>
                    </a:lnTo>
                    <a:lnTo>
                      <a:pt x="1898" y="743"/>
                    </a:lnTo>
                    <a:lnTo>
                      <a:pt x="2002" y="427"/>
                    </a:lnTo>
                    <a:lnTo>
                      <a:pt x="2007" y="429"/>
                    </a:lnTo>
                    <a:lnTo>
                      <a:pt x="1903" y="744"/>
                    </a:lnTo>
                    <a:lnTo>
                      <a:pt x="1984" y="759"/>
                    </a:lnTo>
                    <a:lnTo>
                      <a:pt x="1984" y="761"/>
                    </a:lnTo>
                    <a:lnTo>
                      <a:pt x="2190" y="1189"/>
                    </a:lnTo>
                    <a:lnTo>
                      <a:pt x="1832" y="1224"/>
                    </a:lnTo>
                    <a:lnTo>
                      <a:pt x="1740" y="1234"/>
                    </a:lnTo>
                    <a:lnTo>
                      <a:pt x="1614" y="1616"/>
                    </a:lnTo>
                    <a:lnTo>
                      <a:pt x="1982" y="1573"/>
                    </a:lnTo>
                    <a:lnTo>
                      <a:pt x="1983" y="1578"/>
                    </a:lnTo>
                    <a:lnTo>
                      <a:pt x="274" y="1949"/>
                    </a:lnTo>
                    <a:close/>
                    <a:moveTo>
                      <a:pt x="152" y="1924"/>
                    </a:moveTo>
                    <a:lnTo>
                      <a:pt x="274" y="1944"/>
                    </a:lnTo>
                    <a:lnTo>
                      <a:pt x="1929" y="1585"/>
                    </a:lnTo>
                    <a:lnTo>
                      <a:pt x="1606" y="1622"/>
                    </a:lnTo>
                    <a:lnTo>
                      <a:pt x="1607" y="1617"/>
                    </a:lnTo>
                    <a:lnTo>
                      <a:pt x="1735" y="1234"/>
                    </a:lnTo>
                    <a:lnTo>
                      <a:pt x="1409" y="1268"/>
                    </a:lnTo>
                    <a:lnTo>
                      <a:pt x="953" y="1328"/>
                    </a:lnTo>
                    <a:lnTo>
                      <a:pt x="549" y="1479"/>
                    </a:lnTo>
                    <a:lnTo>
                      <a:pt x="83" y="1646"/>
                    </a:lnTo>
                    <a:lnTo>
                      <a:pt x="152" y="1924"/>
                    </a:lnTo>
                    <a:close/>
                    <a:moveTo>
                      <a:pt x="11" y="1574"/>
                    </a:moveTo>
                    <a:lnTo>
                      <a:pt x="30" y="1658"/>
                    </a:lnTo>
                    <a:lnTo>
                      <a:pt x="77" y="1642"/>
                    </a:lnTo>
                    <a:lnTo>
                      <a:pt x="7" y="1360"/>
                    </a:lnTo>
                    <a:lnTo>
                      <a:pt x="11" y="1574"/>
                    </a:lnTo>
                    <a:close/>
                    <a:moveTo>
                      <a:pt x="1902" y="750"/>
                    </a:moveTo>
                    <a:lnTo>
                      <a:pt x="1743" y="1228"/>
                    </a:lnTo>
                    <a:lnTo>
                      <a:pt x="1831" y="1219"/>
                    </a:lnTo>
                    <a:lnTo>
                      <a:pt x="2182" y="1184"/>
                    </a:lnTo>
                    <a:lnTo>
                      <a:pt x="1980" y="765"/>
                    </a:lnTo>
                    <a:lnTo>
                      <a:pt x="1902" y="7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cs typeface="+mn-cs"/>
                </a:endParaRPr>
              </a:p>
            </p:txBody>
          </p:sp>
          <p:sp>
            <p:nvSpPr>
              <p:cNvPr id="94" name="Freeform 93">
                <a:extLst>
                  <a:ext uri="{FF2B5EF4-FFF2-40B4-BE49-F238E27FC236}">
                    <a16:creationId xmlns:a16="http://schemas.microsoft.com/office/drawing/2014/main" id="{CF9D93EB-4599-411E-8FEF-2BBBD5B0CB20}"/>
                  </a:ext>
                </a:extLst>
              </p:cNvPr>
              <p:cNvSpPr>
                <a:spLocks noEditPoints="1"/>
              </p:cNvSpPr>
              <p:nvPr/>
            </p:nvSpPr>
            <p:spPr bwMode="auto">
              <a:xfrm>
                <a:off x="7939088" y="5476876"/>
                <a:ext cx="2327275" cy="795338"/>
              </a:xfrm>
              <a:custGeom>
                <a:avLst/>
                <a:gdLst>
                  <a:gd name="T0" fmla="*/ 0 w 1466"/>
                  <a:gd name="T1" fmla="*/ 501 h 501"/>
                  <a:gd name="T2" fmla="*/ 38 w 1466"/>
                  <a:gd name="T3" fmla="*/ 204 h 501"/>
                  <a:gd name="T4" fmla="*/ 43 w 1466"/>
                  <a:gd name="T5" fmla="*/ 204 h 501"/>
                  <a:gd name="T6" fmla="*/ 6 w 1466"/>
                  <a:gd name="T7" fmla="*/ 492 h 501"/>
                  <a:gd name="T8" fmla="*/ 383 w 1466"/>
                  <a:gd name="T9" fmla="*/ 360 h 501"/>
                  <a:gd name="T10" fmla="*/ 926 w 1466"/>
                  <a:gd name="T11" fmla="*/ 177 h 501"/>
                  <a:gd name="T12" fmla="*/ 482 w 1466"/>
                  <a:gd name="T13" fmla="*/ 0 h 501"/>
                  <a:gd name="T14" fmla="*/ 740 w 1466"/>
                  <a:gd name="T15" fmla="*/ 14 h 501"/>
                  <a:gd name="T16" fmla="*/ 984 w 1466"/>
                  <a:gd name="T17" fmla="*/ 163 h 501"/>
                  <a:gd name="T18" fmla="*/ 942 w 1466"/>
                  <a:gd name="T19" fmla="*/ 177 h 501"/>
                  <a:gd name="T20" fmla="*/ 1346 w 1466"/>
                  <a:gd name="T21" fmla="*/ 339 h 501"/>
                  <a:gd name="T22" fmla="*/ 1466 w 1466"/>
                  <a:gd name="T23" fmla="*/ 374 h 501"/>
                  <a:gd name="T24" fmla="*/ 1464 w 1466"/>
                  <a:gd name="T25" fmla="*/ 379 h 501"/>
                  <a:gd name="T26" fmla="*/ 1345 w 1466"/>
                  <a:gd name="T27" fmla="*/ 344 h 501"/>
                  <a:gd name="T28" fmla="*/ 934 w 1466"/>
                  <a:gd name="T29" fmla="*/ 180 h 501"/>
                  <a:gd name="T30" fmla="*/ 385 w 1466"/>
                  <a:gd name="T31" fmla="*/ 366 h 501"/>
                  <a:gd name="T32" fmla="*/ 0 w 1466"/>
                  <a:gd name="T33" fmla="*/ 501 h 501"/>
                  <a:gd name="T34" fmla="*/ 515 w 1466"/>
                  <a:gd name="T35" fmla="*/ 7 h 501"/>
                  <a:gd name="T36" fmla="*/ 934 w 1466"/>
                  <a:gd name="T37" fmla="*/ 174 h 501"/>
                  <a:gd name="T38" fmla="*/ 971 w 1466"/>
                  <a:gd name="T39" fmla="*/ 162 h 501"/>
                  <a:gd name="T40" fmla="*/ 739 w 1466"/>
                  <a:gd name="T41" fmla="*/ 18 h 501"/>
                  <a:gd name="T42" fmla="*/ 515 w 1466"/>
                  <a:gd name="T43" fmla="*/ 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66" h="501">
                    <a:moveTo>
                      <a:pt x="0" y="501"/>
                    </a:moveTo>
                    <a:lnTo>
                      <a:pt x="38" y="204"/>
                    </a:lnTo>
                    <a:lnTo>
                      <a:pt x="43" y="204"/>
                    </a:lnTo>
                    <a:lnTo>
                      <a:pt x="6" y="492"/>
                    </a:lnTo>
                    <a:lnTo>
                      <a:pt x="383" y="360"/>
                    </a:lnTo>
                    <a:lnTo>
                      <a:pt x="926" y="177"/>
                    </a:lnTo>
                    <a:lnTo>
                      <a:pt x="482" y="0"/>
                    </a:lnTo>
                    <a:lnTo>
                      <a:pt x="740" y="14"/>
                    </a:lnTo>
                    <a:lnTo>
                      <a:pt x="984" y="163"/>
                    </a:lnTo>
                    <a:lnTo>
                      <a:pt x="942" y="177"/>
                    </a:lnTo>
                    <a:lnTo>
                      <a:pt x="1346" y="339"/>
                    </a:lnTo>
                    <a:lnTo>
                      <a:pt x="1466" y="374"/>
                    </a:lnTo>
                    <a:lnTo>
                      <a:pt x="1464" y="379"/>
                    </a:lnTo>
                    <a:lnTo>
                      <a:pt x="1345" y="344"/>
                    </a:lnTo>
                    <a:lnTo>
                      <a:pt x="934" y="180"/>
                    </a:lnTo>
                    <a:lnTo>
                      <a:pt x="385" y="366"/>
                    </a:lnTo>
                    <a:lnTo>
                      <a:pt x="0" y="501"/>
                    </a:lnTo>
                    <a:close/>
                    <a:moveTo>
                      <a:pt x="515" y="7"/>
                    </a:moveTo>
                    <a:lnTo>
                      <a:pt x="934" y="174"/>
                    </a:lnTo>
                    <a:lnTo>
                      <a:pt x="971" y="162"/>
                    </a:lnTo>
                    <a:lnTo>
                      <a:pt x="739" y="18"/>
                    </a:lnTo>
                    <a:lnTo>
                      <a:pt x="51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95" name="Freeform 94">
                <a:extLst>
                  <a:ext uri="{FF2B5EF4-FFF2-40B4-BE49-F238E27FC236}">
                    <a16:creationId xmlns:a16="http://schemas.microsoft.com/office/drawing/2014/main" id="{4396B011-BAA2-4801-B65C-E0E173BF5340}"/>
                  </a:ext>
                </a:extLst>
              </p:cNvPr>
              <p:cNvSpPr>
                <a:spLocks/>
              </p:cNvSpPr>
              <p:nvPr/>
            </p:nvSpPr>
            <p:spPr bwMode="auto">
              <a:xfrm>
                <a:off x="7608888" y="5516563"/>
                <a:ext cx="2435225" cy="1685925"/>
              </a:xfrm>
              <a:custGeom>
                <a:avLst/>
                <a:gdLst>
                  <a:gd name="T0" fmla="*/ 754 w 1534"/>
                  <a:gd name="T1" fmla="*/ 1062 h 1062"/>
                  <a:gd name="T2" fmla="*/ 741 w 1534"/>
                  <a:gd name="T3" fmla="*/ 1033 h 1062"/>
                  <a:gd name="T4" fmla="*/ 741 w 1534"/>
                  <a:gd name="T5" fmla="*/ 1032 h 1062"/>
                  <a:gd name="T6" fmla="*/ 891 w 1534"/>
                  <a:gd name="T7" fmla="*/ 622 h 1062"/>
                  <a:gd name="T8" fmla="*/ 521 w 1534"/>
                  <a:gd name="T9" fmla="*/ 9 h 1062"/>
                  <a:gd name="T10" fmla="*/ 334 w 1534"/>
                  <a:gd name="T11" fmla="*/ 182 h 1062"/>
                  <a:gd name="T12" fmla="*/ 247 w 1534"/>
                  <a:gd name="T13" fmla="*/ 182 h 1062"/>
                  <a:gd name="T14" fmla="*/ 125 w 1534"/>
                  <a:gd name="T15" fmla="*/ 150 h 1062"/>
                  <a:gd name="T16" fmla="*/ 8 w 1534"/>
                  <a:gd name="T17" fmla="*/ 228 h 1062"/>
                  <a:gd name="T18" fmla="*/ 414 w 1534"/>
                  <a:gd name="T19" fmla="*/ 711 h 1062"/>
                  <a:gd name="T20" fmla="*/ 410 w 1534"/>
                  <a:gd name="T21" fmla="*/ 715 h 1062"/>
                  <a:gd name="T22" fmla="*/ 0 w 1534"/>
                  <a:gd name="T23" fmla="*/ 227 h 1062"/>
                  <a:gd name="T24" fmla="*/ 125 w 1534"/>
                  <a:gd name="T25" fmla="*/ 144 h 1062"/>
                  <a:gd name="T26" fmla="*/ 248 w 1534"/>
                  <a:gd name="T27" fmla="*/ 176 h 1062"/>
                  <a:gd name="T28" fmla="*/ 332 w 1534"/>
                  <a:gd name="T29" fmla="*/ 176 h 1062"/>
                  <a:gd name="T30" fmla="*/ 522 w 1534"/>
                  <a:gd name="T31" fmla="*/ 0 h 1062"/>
                  <a:gd name="T32" fmla="*/ 897 w 1534"/>
                  <a:gd name="T33" fmla="*/ 621 h 1062"/>
                  <a:gd name="T34" fmla="*/ 897 w 1534"/>
                  <a:gd name="T35" fmla="*/ 622 h 1062"/>
                  <a:gd name="T36" fmla="*/ 746 w 1534"/>
                  <a:gd name="T37" fmla="*/ 1033 h 1062"/>
                  <a:gd name="T38" fmla="*/ 757 w 1534"/>
                  <a:gd name="T39" fmla="*/ 1052 h 1062"/>
                  <a:gd name="T40" fmla="*/ 1530 w 1534"/>
                  <a:gd name="T41" fmla="*/ 315 h 1062"/>
                  <a:gd name="T42" fmla="*/ 1534 w 1534"/>
                  <a:gd name="T43" fmla="*/ 318 h 1062"/>
                  <a:gd name="T44" fmla="*/ 754 w 1534"/>
                  <a:gd name="T45" fmla="*/ 1062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4" h="1062">
                    <a:moveTo>
                      <a:pt x="754" y="1062"/>
                    </a:moveTo>
                    <a:lnTo>
                      <a:pt x="741" y="1033"/>
                    </a:lnTo>
                    <a:lnTo>
                      <a:pt x="741" y="1032"/>
                    </a:lnTo>
                    <a:lnTo>
                      <a:pt x="891" y="622"/>
                    </a:lnTo>
                    <a:lnTo>
                      <a:pt x="521" y="9"/>
                    </a:lnTo>
                    <a:lnTo>
                      <a:pt x="334" y="182"/>
                    </a:lnTo>
                    <a:lnTo>
                      <a:pt x="247" y="182"/>
                    </a:lnTo>
                    <a:lnTo>
                      <a:pt x="125" y="150"/>
                    </a:lnTo>
                    <a:lnTo>
                      <a:pt x="8" y="228"/>
                    </a:lnTo>
                    <a:lnTo>
                      <a:pt x="414" y="711"/>
                    </a:lnTo>
                    <a:lnTo>
                      <a:pt x="410" y="715"/>
                    </a:lnTo>
                    <a:lnTo>
                      <a:pt x="0" y="227"/>
                    </a:lnTo>
                    <a:lnTo>
                      <a:pt x="125" y="144"/>
                    </a:lnTo>
                    <a:lnTo>
                      <a:pt x="248" y="176"/>
                    </a:lnTo>
                    <a:lnTo>
                      <a:pt x="332" y="176"/>
                    </a:lnTo>
                    <a:lnTo>
                      <a:pt x="522" y="0"/>
                    </a:lnTo>
                    <a:lnTo>
                      <a:pt x="897" y="621"/>
                    </a:lnTo>
                    <a:lnTo>
                      <a:pt x="897" y="622"/>
                    </a:lnTo>
                    <a:lnTo>
                      <a:pt x="746" y="1033"/>
                    </a:lnTo>
                    <a:lnTo>
                      <a:pt x="757" y="1052"/>
                    </a:lnTo>
                    <a:lnTo>
                      <a:pt x="1530" y="315"/>
                    </a:lnTo>
                    <a:lnTo>
                      <a:pt x="1534" y="318"/>
                    </a:lnTo>
                    <a:lnTo>
                      <a:pt x="754" y="10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cs typeface="+mn-cs"/>
                </a:endParaRPr>
              </a:p>
            </p:txBody>
          </p:sp>
          <p:sp>
            <p:nvSpPr>
              <p:cNvPr id="96" name="Freeform 95">
                <a:extLst>
                  <a:ext uri="{FF2B5EF4-FFF2-40B4-BE49-F238E27FC236}">
                    <a16:creationId xmlns:a16="http://schemas.microsoft.com/office/drawing/2014/main" id="{3029B830-401F-42D0-B3E1-7379F4A39209}"/>
                  </a:ext>
                </a:extLst>
              </p:cNvPr>
              <p:cNvSpPr>
                <a:spLocks noEditPoints="1"/>
              </p:cNvSpPr>
              <p:nvPr/>
            </p:nvSpPr>
            <p:spPr bwMode="auto">
              <a:xfrm>
                <a:off x="7313613" y="5800726"/>
                <a:ext cx="1250950" cy="3683000"/>
              </a:xfrm>
              <a:custGeom>
                <a:avLst/>
                <a:gdLst>
                  <a:gd name="T0" fmla="*/ 788 w 788"/>
                  <a:gd name="T1" fmla="*/ 2320 h 2320"/>
                  <a:gd name="T2" fmla="*/ 395 w 788"/>
                  <a:gd name="T3" fmla="*/ 2154 h 2320"/>
                  <a:gd name="T4" fmla="*/ 613 w 788"/>
                  <a:gd name="T5" fmla="*/ 2320 h 2320"/>
                  <a:gd name="T6" fmla="*/ 470 w 788"/>
                  <a:gd name="T7" fmla="*/ 2303 h 2320"/>
                  <a:gd name="T8" fmla="*/ 227 w 788"/>
                  <a:gd name="T9" fmla="*/ 2164 h 2320"/>
                  <a:gd name="T10" fmla="*/ 133 w 788"/>
                  <a:gd name="T11" fmla="*/ 2093 h 2320"/>
                  <a:gd name="T12" fmla="*/ 133 w 788"/>
                  <a:gd name="T13" fmla="*/ 2092 h 2320"/>
                  <a:gd name="T14" fmla="*/ 193 w 788"/>
                  <a:gd name="T15" fmla="*/ 1677 h 2320"/>
                  <a:gd name="T16" fmla="*/ 0 w 788"/>
                  <a:gd name="T17" fmla="*/ 1536 h 2320"/>
                  <a:gd name="T18" fmla="*/ 220 w 788"/>
                  <a:gd name="T19" fmla="*/ 1483 h 2320"/>
                  <a:gd name="T20" fmla="*/ 432 w 788"/>
                  <a:gd name="T21" fmla="*/ 0 h 2320"/>
                  <a:gd name="T22" fmla="*/ 437 w 788"/>
                  <a:gd name="T23" fmla="*/ 0 h 2320"/>
                  <a:gd name="T24" fmla="*/ 225 w 788"/>
                  <a:gd name="T25" fmla="*/ 1481 h 2320"/>
                  <a:gd name="T26" fmla="*/ 350 w 788"/>
                  <a:gd name="T27" fmla="*/ 1450 h 2320"/>
                  <a:gd name="T28" fmla="*/ 352 w 788"/>
                  <a:gd name="T29" fmla="*/ 1455 h 2320"/>
                  <a:gd name="T30" fmla="*/ 225 w 788"/>
                  <a:gd name="T31" fmla="*/ 1487 h 2320"/>
                  <a:gd name="T32" fmla="*/ 198 w 788"/>
                  <a:gd name="T33" fmla="*/ 1674 h 2320"/>
                  <a:gd name="T34" fmla="*/ 726 w 788"/>
                  <a:gd name="T35" fmla="*/ 2058 h 2320"/>
                  <a:gd name="T36" fmla="*/ 727 w 788"/>
                  <a:gd name="T37" fmla="*/ 2059 h 2320"/>
                  <a:gd name="T38" fmla="*/ 788 w 788"/>
                  <a:gd name="T39" fmla="*/ 2320 h 2320"/>
                  <a:gd name="T40" fmla="*/ 472 w 788"/>
                  <a:gd name="T41" fmla="*/ 2297 h 2320"/>
                  <a:gd name="T42" fmla="*/ 593 w 788"/>
                  <a:gd name="T43" fmla="*/ 2312 h 2320"/>
                  <a:gd name="T44" fmla="*/ 357 w 788"/>
                  <a:gd name="T45" fmla="*/ 2133 h 2320"/>
                  <a:gd name="T46" fmla="*/ 780 w 788"/>
                  <a:gd name="T47" fmla="*/ 2311 h 2320"/>
                  <a:gd name="T48" fmla="*/ 722 w 788"/>
                  <a:gd name="T49" fmla="*/ 2062 h 2320"/>
                  <a:gd name="T50" fmla="*/ 197 w 788"/>
                  <a:gd name="T51" fmla="*/ 1680 h 2320"/>
                  <a:gd name="T52" fmla="*/ 139 w 788"/>
                  <a:gd name="T53" fmla="*/ 2091 h 2320"/>
                  <a:gd name="T54" fmla="*/ 229 w 788"/>
                  <a:gd name="T55" fmla="*/ 2160 h 2320"/>
                  <a:gd name="T56" fmla="*/ 472 w 788"/>
                  <a:gd name="T57" fmla="*/ 2297 h 2320"/>
                  <a:gd name="T58" fmla="*/ 12 w 788"/>
                  <a:gd name="T59" fmla="*/ 1538 h 2320"/>
                  <a:gd name="T60" fmla="*/ 193 w 788"/>
                  <a:gd name="T61" fmla="*/ 1670 h 2320"/>
                  <a:gd name="T62" fmla="*/ 219 w 788"/>
                  <a:gd name="T63" fmla="*/ 1488 h 2320"/>
                  <a:gd name="T64" fmla="*/ 12 w 788"/>
                  <a:gd name="T65" fmla="*/ 1538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8" h="2320">
                    <a:moveTo>
                      <a:pt x="788" y="2320"/>
                    </a:moveTo>
                    <a:lnTo>
                      <a:pt x="395" y="2154"/>
                    </a:lnTo>
                    <a:lnTo>
                      <a:pt x="613" y="2320"/>
                    </a:lnTo>
                    <a:lnTo>
                      <a:pt x="470" y="2303"/>
                    </a:lnTo>
                    <a:lnTo>
                      <a:pt x="227" y="2164"/>
                    </a:lnTo>
                    <a:lnTo>
                      <a:pt x="133" y="2093"/>
                    </a:lnTo>
                    <a:lnTo>
                      <a:pt x="133" y="2092"/>
                    </a:lnTo>
                    <a:lnTo>
                      <a:pt x="193" y="1677"/>
                    </a:lnTo>
                    <a:lnTo>
                      <a:pt x="0" y="1536"/>
                    </a:lnTo>
                    <a:lnTo>
                      <a:pt x="220" y="1483"/>
                    </a:lnTo>
                    <a:lnTo>
                      <a:pt x="432" y="0"/>
                    </a:lnTo>
                    <a:lnTo>
                      <a:pt x="437" y="0"/>
                    </a:lnTo>
                    <a:lnTo>
                      <a:pt x="225" y="1481"/>
                    </a:lnTo>
                    <a:lnTo>
                      <a:pt x="350" y="1450"/>
                    </a:lnTo>
                    <a:lnTo>
                      <a:pt x="352" y="1455"/>
                    </a:lnTo>
                    <a:lnTo>
                      <a:pt x="225" y="1487"/>
                    </a:lnTo>
                    <a:lnTo>
                      <a:pt x="198" y="1674"/>
                    </a:lnTo>
                    <a:lnTo>
                      <a:pt x="726" y="2058"/>
                    </a:lnTo>
                    <a:lnTo>
                      <a:pt x="727" y="2059"/>
                    </a:lnTo>
                    <a:lnTo>
                      <a:pt x="788" y="2320"/>
                    </a:lnTo>
                    <a:close/>
                    <a:moveTo>
                      <a:pt x="472" y="2297"/>
                    </a:moveTo>
                    <a:lnTo>
                      <a:pt x="593" y="2312"/>
                    </a:lnTo>
                    <a:lnTo>
                      <a:pt x="357" y="2133"/>
                    </a:lnTo>
                    <a:lnTo>
                      <a:pt x="780" y="2311"/>
                    </a:lnTo>
                    <a:lnTo>
                      <a:pt x="722" y="2062"/>
                    </a:lnTo>
                    <a:lnTo>
                      <a:pt x="197" y="1680"/>
                    </a:lnTo>
                    <a:lnTo>
                      <a:pt x="139" y="2091"/>
                    </a:lnTo>
                    <a:lnTo>
                      <a:pt x="229" y="2160"/>
                    </a:lnTo>
                    <a:lnTo>
                      <a:pt x="472" y="2297"/>
                    </a:lnTo>
                    <a:close/>
                    <a:moveTo>
                      <a:pt x="12" y="1538"/>
                    </a:moveTo>
                    <a:lnTo>
                      <a:pt x="193" y="1670"/>
                    </a:lnTo>
                    <a:lnTo>
                      <a:pt x="219" y="1488"/>
                    </a:lnTo>
                    <a:lnTo>
                      <a:pt x="12" y="1538"/>
                    </a:lnTo>
                    <a:close/>
                  </a:path>
                </a:pathLst>
              </a:custGeom>
              <a:grpFill/>
              <a:ln>
                <a:noFill/>
              </a:ln>
              <a:effectLst>
                <a:glow>
                  <a:srgbClr val="FBAB18"/>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cs typeface="+mn-cs"/>
                </a:endParaRPr>
              </a:p>
            </p:txBody>
          </p:sp>
          <p:sp>
            <p:nvSpPr>
              <p:cNvPr id="97" name="Freeform 96">
                <a:extLst>
                  <a:ext uri="{FF2B5EF4-FFF2-40B4-BE49-F238E27FC236}">
                    <a16:creationId xmlns:a16="http://schemas.microsoft.com/office/drawing/2014/main" id="{1070FCB3-3983-463C-BACA-DB7FF5743BE4}"/>
                  </a:ext>
                </a:extLst>
              </p:cNvPr>
              <p:cNvSpPr>
                <a:spLocks/>
              </p:cNvSpPr>
              <p:nvPr/>
            </p:nvSpPr>
            <p:spPr bwMode="auto">
              <a:xfrm>
                <a:off x="7354888" y="8778876"/>
                <a:ext cx="1806575" cy="812799"/>
              </a:xfrm>
              <a:custGeom>
                <a:avLst/>
                <a:gdLst>
                  <a:gd name="T0" fmla="*/ 818 w 1138"/>
                  <a:gd name="T1" fmla="*/ 512 h 512"/>
                  <a:gd name="T2" fmla="*/ 818 w 1138"/>
                  <a:gd name="T3" fmla="*/ 512 h 512"/>
                  <a:gd name="T4" fmla="*/ 576 w 1138"/>
                  <a:gd name="T5" fmla="*/ 443 h 512"/>
                  <a:gd name="T6" fmla="*/ 578 w 1138"/>
                  <a:gd name="T7" fmla="*/ 438 h 512"/>
                  <a:gd name="T8" fmla="*/ 819 w 1138"/>
                  <a:gd name="T9" fmla="*/ 507 h 512"/>
                  <a:gd name="T10" fmla="*/ 1133 w 1138"/>
                  <a:gd name="T11" fmla="*/ 484 h 512"/>
                  <a:gd name="T12" fmla="*/ 1065 w 1138"/>
                  <a:gd name="T13" fmla="*/ 31 h 512"/>
                  <a:gd name="T14" fmla="*/ 0 w 1138"/>
                  <a:gd name="T15" fmla="*/ 5 h 512"/>
                  <a:gd name="T16" fmla="*/ 0 w 1138"/>
                  <a:gd name="T17" fmla="*/ 0 h 512"/>
                  <a:gd name="T18" fmla="*/ 1069 w 1138"/>
                  <a:gd name="T19" fmla="*/ 25 h 512"/>
                  <a:gd name="T20" fmla="*/ 1070 w 1138"/>
                  <a:gd name="T21" fmla="*/ 28 h 512"/>
                  <a:gd name="T22" fmla="*/ 1138 w 1138"/>
                  <a:gd name="T23" fmla="*/ 489 h 512"/>
                  <a:gd name="T24" fmla="*/ 818 w 1138"/>
                  <a:gd name="T25"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8" h="512">
                    <a:moveTo>
                      <a:pt x="818" y="512"/>
                    </a:moveTo>
                    <a:lnTo>
                      <a:pt x="818" y="512"/>
                    </a:lnTo>
                    <a:lnTo>
                      <a:pt x="576" y="443"/>
                    </a:lnTo>
                    <a:lnTo>
                      <a:pt x="578" y="438"/>
                    </a:lnTo>
                    <a:lnTo>
                      <a:pt x="819" y="507"/>
                    </a:lnTo>
                    <a:lnTo>
                      <a:pt x="1133" y="484"/>
                    </a:lnTo>
                    <a:lnTo>
                      <a:pt x="1065" y="31"/>
                    </a:lnTo>
                    <a:lnTo>
                      <a:pt x="0" y="5"/>
                    </a:lnTo>
                    <a:lnTo>
                      <a:pt x="0" y="0"/>
                    </a:lnTo>
                    <a:lnTo>
                      <a:pt x="1069" y="25"/>
                    </a:lnTo>
                    <a:lnTo>
                      <a:pt x="1070" y="28"/>
                    </a:lnTo>
                    <a:lnTo>
                      <a:pt x="1138" y="489"/>
                    </a:lnTo>
                    <a:lnTo>
                      <a:pt x="818" y="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cs typeface="+mn-cs"/>
                </a:endParaRPr>
              </a:p>
            </p:txBody>
          </p:sp>
          <p:sp>
            <p:nvSpPr>
              <p:cNvPr id="98" name="Freeform 97">
                <a:extLst>
                  <a:ext uri="{FF2B5EF4-FFF2-40B4-BE49-F238E27FC236}">
                    <a16:creationId xmlns:a16="http://schemas.microsoft.com/office/drawing/2014/main" id="{EF4C9679-CA3B-4BAF-AAC5-F600612E2B86}"/>
                  </a:ext>
                </a:extLst>
              </p:cNvPr>
              <p:cNvSpPr>
                <a:spLocks/>
              </p:cNvSpPr>
              <p:nvPr/>
            </p:nvSpPr>
            <p:spPr bwMode="auto">
              <a:xfrm>
                <a:off x="9155113" y="8208963"/>
                <a:ext cx="1449388" cy="1346200"/>
              </a:xfrm>
              <a:custGeom>
                <a:avLst/>
                <a:gdLst>
                  <a:gd name="T0" fmla="*/ 3 w 913"/>
                  <a:gd name="T1" fmla="*/ 848 h 848"/>
                  <a:gd name="T2" fmla="*/ 0 w 913"/>
                  <a:gd name="T3" fmla="*/ 844 h 848"/>
                  <a:gd name="T4" fmla="*/ 894 w 913"/>
                  <a:gd name="T5" fmla="*/ 10 h 848"/>
                  <a:gd name="T6" fmla="*/ 628 w 913"/>
                  <a:gd name="T7" fmla="*/ 76 h 848"/>
                  <a:gd name="T8" fmla="*/ 627 w 913"/>
                  <a:gd name="T9" fmla="*/ 72 h 848"/>
                  <a:gd name="T10" fmla="*/ 913 w 913"/>
                  <a:gd name="T11" fmla="*/ 0 h 848"/>
                  <a:gd name="T12" fmla="*/ 3 w 913"/>
                  <a:gd name="T13" fmla="*/ 848 h 848"/>
                </a:gdLst>
                <a:ahLst/>
                <a:cxnLst>
                  <a:cxn ang="0">
                    <a:pos x="T0" y="T1"/>
                  </a:cxn>
                  <a:cxn ang="0">
                    <a:pos x="T2" y="T3"/>
                  </a:cxn>
                  <a:cxn ang="0">
                    <a:pos x="T4" y="T5"/>
                  </a:cxn>
                  <a:cxn ang="0">
                    <a:pos x="T6" y="T7"/>
                  </a:cxn>
                  <a:cxn ang="0">
                    <a:pos x="T8" y="T9"/>
                  </a:cxn>
                  <a:cxn ang="0">
                    <a:pos x="T10" y="T11"/>
                  </a:cxn>
                  <a:cxn ang="0">
                    <a:pos x="T12" y="T13"/>
                  </a:cxn>
                </a:cxnLst>
                <a:rect l="0" t="0" r="r" b="b"/>
                <a:pathLst>
                  <a:path w="913" h="848">
                    <a:moveTo>
                      <a:pt x="3" y="848"/>
                    </a:moveTo>
                    <a:lnTo>
                      <a:pt x="0" y="844"/>
                    </a:lnTo>
                    <a:lnTo>
                      <a:pt x="894" y="10"/>
                    </a:lnTo>
                    <a:lnTo>
                      <a:pt x="628" y="76"/>
                    </a:lnTo>
                    <a:lnTo>
                      <a:pt x="627" y="72"/>
                    </a:lnTo>
                    <a:lnTo>
                      <a:pt x="913" y="0"/>
                    </a:lnTo>
                    <a:lnTo>
                      <a:pt x="3" y="8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99" name="Freeform 98">
                <a:extLst>
                  <a:ext uri="{FF2B5EF4-FFF2-40B4-BE49-F238E27FC236}">
                    <a16:creationId xmlns:a16="http://schemas.microsoft.com/office/drawing/2014/main" id="{941AA2D3-0B19-49A7-9F27-989FE08067E8}"/>
                  </a:ext>
                </a:extLst>
              </p:cNvPr>
              <p:cNvSpPr>
                <a:spLocks/>
              </p:cNvSpPr>
              <p:nvPr/>
            </p:nvSpPr>
            <p:spPr bwMode="auto">
              <a:xfrm>
                <a:off x="9153526" y="6502401"/>
                <a:ext cx="555625" cy="3049588"/>
              </a:xfrm>
              <a:custGeom>
                <a:avLst/>
                <a:gdLst>
                  <a:gd name="T0" fmla="*/ 5 w 350"/>
                  <a:gd name="T1" fmla="*/ 1921 h 1921"/>
                  <a:gd name="T2" fmla="*/ 0 w 350"/>
                  <a:gd name="T3" fmla="*/ 1921 h 1921"/>
                  <a:gd name="T4" fmla="*/ 344 w 350"/>
                  <a:gd name="T5" fmla="*/ 0 h 1921"/>
                  <a:gd name="T6" fmla="*/ 350 w 350"/>
                  <a:gd name="T7" fmla="*/ 1 h 1921"/>
                  <a:gd name="T8" fmla="*/ 5 w 350"/>
                  <a:gd name="T9" fmla="*/ 1921 h 1921"/>
                </a:gdLst>
                <a:ahLst/>
                <a:cxnLst>
                  <a:cxn ang="0">
                    <a:pos x="T0" y="T1"/>
                  </a:cxn>
                  <a:cxn ang="0">
                    <a:pos x="T2" y="T3"/>
                  </a:cxn>
                  <a:cxn ang="0">
                    <a:pos x="T4" y="T5"/>
                  </a:cxn>
                  <a:cxn ang="0">
                    <a:pos x="T6" y="T7"/>
                  </a:cxn>
                  <a:cxn ang="0">
                    <a:pos x="T8" y="T9"/>
                  </a:cxn>
                </a:cxnLst>
                <a:rect l="0" t="0" r="r" b="b"/>
                <a:pathLst>
                  <a:path w="350" h="1921">
                    <a:moveTo>
                      <a:pt x="5" y="1921"/>
                    </a:moveTo>
                    <a:lnTo>
                      <a:pt x="0" y="1921"/>
                    </a:lnTo>
                    <a:lnTo>
                      <a:pt x="344" y="0"/>
                    </a:lnTo>
                    <a:lnTo>
                      <a:pt x="350" y="1"/>
                    </a:lnTo>
                    <a:lnTo>
                      <a:pt x="5" y="19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00" name="Freeform 99">
                <a:extLst>
                  <a:ext uri="{FF2B5EF4-FFF2-40B4-BE49-F238E27FC236}">
                    <a16:creationId xmlns:a16="http://schemas.microsoft.com/office/drawing/2014/main" id="{5067AF06-CCF2-44F8-B3BF-1E39AFEBF9F8}"/>
                  </a:ext>
                </a:extLst>
              </p:cNvPr>
              <p:cNvSpPr>
                <a:spLocks/>
              </p:cNvSpPr>
              <p:nvPr/>
            </p:nvSpPr>
            <p:spPr bwMode="auto">
              <a:xfrm>
                <a:off x="10217151" y="6472238"/>
                <a:ext cx="563563" cy="1211263"/>
              </a:xfrm>
              <a:custGeom>
                <a:avLst/>
                <a:gdLst>
                  <a:gd name="T0" fmla="*/ 164 w 355"/>
                  <a:gd name="T1" fmla="*/ 763 h 763"/>
                  <a:gd name="T2" fmla="*/ 162 w 355"/>
                  <a:gd name="T3" fmla="*/ 758 h 763"/>
                  <a:gd name="T4" fmla="*/ 348 w 355"/>
                  <a:gd name="T5" fmla="*/ 718 h 763"/>
                  <a:gd name="T6" fmla="*/ 236 w 355"/>
                  <a:gd name="T7" fmla="*/ 351 h 763"/>
                  <a:gd name="T8" fmla="*/ 0 w 355"/>
                  <a:gd name="T9" fmla="*/ 3 h 763"/>
                  <a:gd name="T10" fmla="*/ 4 w 355"/>
                  <a:gd name="T11" fmla="*/ 0 h 763"/>
                  <a:gd name="T12" fmla="*/ 240 w 355"/>
                  <a:gd name="T13" fmla="*/ 348 h 763"/>
                  <a:gd name="T14" fmla="*/ 241 w 355"/>
                  <a:gd name="T15" fmla="*/ 350 h 763"/>
                  <a:gd name="T16" fmla="*/ 355 w 355"/>
                  <a:gd name="T17" fmla="*/ 722 h 763"/>
                  <a:gd name="T18" fmla="*/ 164 w 355"/>
                  <a:gd name="T19" fmla="*/ 76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763">
                    <a:moveTo>
                      <a:pt x="164" y="763"/>
                    </a:moveTo>
                    <a:lnTo>
                      <a:pt x="162" y="758"/>
                    </a:lnTo>
                    <a:lnTo>
                      <a:pt x="348" y="718"/>
                    </a:lnTo>
                    <a:lnTo>
                      <a:pt x="236" y="351"/>
                    </a:lnTo>
                    <a:lnTo>
                      <a:pt x="0" y="3"/>
                    </a:lnTo>
                    <a:lnTo>
                      <a:pt x="4" y="0"/>
                    </a:lnTo>
                    <a:lnTo>
                      <a:pt x="240" y="348"/>
                    </a:lnTo>
                    <a:lnTo>
                      <a:pt x="241" y="350"/>
                    </a:lnTo>
                    <a:lnTo>
                      <a:pt x="355" y="722"/>
                    </a:lnTo>
                    <a:lnTo>
                      <a:pt x="164" y="7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cs typeface="+mn-cs"/>
                </a:endParaRPr>
              </a:p>
            </p:txBody>
          </p:sp>
          <p:sp>
            <p:nvSpPr>
              <p:cNvPr id="101" name="Oval 100">
                <a:extLst>
                  <a:ext uri="{FF2B5EF4-FFF2-40B4-BE49-F238E27FC236}">
                    <a16:creationId xmlns:a16="http://schemas.microsoft.com/office/drawing/2014/main" id="{4400AAD1-71E5-4FA9-9EFC-CEE03CCB6F80}"/>
                  </a:ext>
                </a:extLst>
              </p:cNvPr>
              <p:cNvSpPr>
                <a:spLocks noChangeArrowheads="1"/>
              </p:cNvSpPr>
              <p:nvPr/>
            </p:nvSpPr>
            <p:spPr bwMode="auto">
              <a:xfrm>
                <a:off x="10218738" y="8782051"/>
                <a:ext cx="34925" cy="33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02" name="Oval 101">
                <a:extLst>
                  <a:ext uri="{FF2B5EF4-FFF2-40B4-BE49-F238E27FC236}">
                    <a16:creationId xmlns:a16="http://schemas.microsoft.com/office/drawing/2014/main" id="{DB406FE9-8C87-4CA3-BE60-3BBC6E508CA1}"/>
                  </a:ext>
                </a:extLst>
              </p:cNvPr>
              <p:cNvSpPr>
                <a:spLocks noChangeArrowheads="1"/>
              </p:cNvSpPr>
              <p:nvPr/>
            </p:nvSpPr>
            <p:spPr bwMode="auto">
              <a:xfrm>
                <a:off x="7493001" y="6035676"/>
                <a:ext cx="74613"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03" name="Oval 102">
                <a:extLst>
                  <a:ext uri="{FF2B5EF4-FFF2-40B4-BE49-F238E27FC236}">
                    <a16:creationId xmlns:a16="http://schemas.microsoft.com/office/drawing/2014/main" id="{C8C49477-88AB-4540-A124-5E3E612D92FB}"/>
                  </a:ext>
                </a:extLst>
              </p:cNvPr>
              <p:cNvSpPr>
                <a:spLocks noChangeArrowheads="1"/>
              </p:cNvSpPr>
              <p:nvPr/>
            </p:nvSpPr>
            <p:spPr bwMode="auto">
              <a:xfrm>
                <a:off x="7534276" y="611663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04" name="Freeform 103">
                <a:extLst>
                  <a:ext uri="{FF2B5EF4-FFF2-40B4-BE49-F238E27FC236}">
                    <a16:creationId xmlns:a16="http://schemas.microsoft.com/office/drawing/2014/main" id="{AA669807-18D2-4010-8360-84FCB51E6661}"/>
                  </a:ext>
                </a:extLst>
              </p:cNvPr>
              <p:cNvSpPr>
                <a:spLocks/>
              </p:cNvSpPr>
              <p:nvPr/>
            </p:nvSpPr>
            <p:spPr bwMode="auto">
              <a:xfrm>
                <a:off x="9559926" y="8361363"/>
                <a:ext cx="681038" cy="441325"/>
              </a:xfrm>
              <a:custGeom>
                <a:avLst/>
                <a:gdLst>
                  <a:gd name="T0" fmla="*/ 425 w 429"/>
                  <a:gd name="T1" fmla="*/ 278 h 278"/>
                  <a:gd name="T2" fmla="*/ 197 w 429"/>
                  <a:gd name="T3" fmla="*/ 16 h 278"/>
                  <a:gd name="T4" fmla="*/ 0 w 429"/>
                  <a:gd name="T5" fmla="*/ 6 h 278"/>
                  <a:gd name="T6" fmla="*/ 0 w 429"/>
                  <a:gd name="T7" fmla="*/ 0 h 278"/>
                  <a:gd name="T8" fmla="*/ 199 w 429"/>
                  <a:gd name="T9" fmla="*/ 11 h 278"/>
                  <a:gd name="T10" fmla="*/ 429 w 429"/>
                  <a:gd name="T11" fmla="*/ 274 h 278"/>
                  <a:gd name="T12" fmla="*/ 425 w 429"/>
                  <a:gd name="T13" fmla="*/ 278 h 278"/>
                </a:gdLst>
                <a:ahLst/>
                <a:cxnLst>
                  <a:cxn ang="0">
                    <a:pos x="T0" y="T1"/>
                  </a:cxn>
                  <a:cxn ang="0">
                    <a:pos x="T2" y="T3"/>
                  </a:cxn>
                  <a:cxn ang="0">
                    <a:pos x="T4" y="T5"/>
                  </a:cxn>
                  <a:cxn ang="0">
                    <a:pos x="T6" y="T7"/>
                  </a:cxn>
                  <a:cxn ang="0">
                    <a:pos x="T8" y="T9"/>
                  </a:cxn>
                  <a:cxn ang="0">
                    <a:pos x="T10" y="T11"/>
                  </a:cxn>
                  <a:cxn ang="0">
                    <a:pos x="T12" y="T13"/>
                  </a:cxn>
                </a:cxnLst>
                <a:rect l="0" t="0" r="r" b="b"/>
                <a:pathLst>
                  <a:path w="429" h="278">
                    <a:moveTo>
                      <a:pt x="425" y="278"/>
                    </a:moveTo>
                    <a:lnTo>
                      <a:pt x="197" y="16"/>
                    </a:lnTo>
                    <a:lnTo>
                      <a:pt x="0" y="6"/>
                    </a:lnTo>
                    <a:lnTo>
                      <a:pt x="0" y="0"/>
                    </a:lnTo>
                    <a:lnTo>
                      <a:pt x="199" y="11"/>
                    </a:lnTo>
                    <a:lnTo>
                      <a:pt x="429" y="274"/>
                    </a:lnTo>
                    <a:lnTo>
                      <a:pt x="425"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05" name="Freeform 104">
                <a:extLst>
                  <a:ext uri="{FF2B5EF4-FFF2-40B4-BE49-F238E27FC236}">
                    <a16:creationId xmlns:a16="http://schemas.microsoft.com/office/drawing/2014/main" id="{367186BC-9A1C-455E-BC85-D38DD3742B81}"/>
                  </a:ext>
                </a:extLst>
              </p:cNvPr>
              <p:cNvSpPr>
                <a:spLocks/>
              </p:cNvSpPr>
              <p:nvPr/>
            </p:nvSpPr>
            <p:spPr bwMode="auto">
              <a:xfrm>
                <a:off x="6786563" y="7118351"/>
                <a:ext cx="225425" cy="1262063"/>
              </a:xfrm>
              <a:custGeom>
                <a:avLst/>
                <a:gdLst>
                  <a:gd name="T0" fmla="*/ 93 w 142"/>
                  <a:gd name="T1" fmla="*/ 795 h 795"/>
                  <a:gd name="T2" fmla="*/ 16 w 142"/>
                  <a:gd name="T3" fmla="*/ 514 h 795"/>
                  <a:gd name="T4" fmla="*/ 0 w 142"/>
                  <a:gd name="T5" fmla="*/ 436 h 795"/>
                  <a:gd name="T6" fmla="*/ 0 w 142"/>
                  <a:gd name="T7" fmla="*/ 436 h 795"/>
                  <a:gd name="T8" fmla="*/ 38 w 142"/>
                  <a:gd name="T9" fmla="*/ 0 h 795"/>
                  <a:gd name="T10" fmla="*/ 43 w 142"/>
                  <a:gd name="T11" fmla="*/ 0 h 795"/>
                  <a:gd name="T12" fmla="*/ 5 w 142"/>
                  <a:gd name="T13" fmla="*/ 436 h 795"/>
                  <a:gd name="T14" fmla="*/ 22 w 142"/>
                  <a:gd name="T15" fmla="*/ 512 h 795"/>
                  <a:gd name="T16" fmla="*/ 92 w 142"/>
                  <a:gd name="T17" fmla="*/ 771 h 795"/>
                  <a:gd name="T18" fmla="*/ 137 w 142"/>
                  <a:gd name="T19" fmla="*/ 503 h 795"/>
                  <a:gd name="T20" fmla="*/ 121 w 142"/>
                  <a:gd name="T21" fmla="*/ 355 h 795"/>
                  <a:gd name="T22" fmla="*/ 62 w 142"/>
                  <a:gd name="T23" fmla="*/ 196 h 795"/>
                  <a:gd name="T24" fmla="*/ 68 w 142"/>
                  <a:gd name="T25" fmla="*/ 194 h 795"/>
                  <a:gd name="T26" fmla="*/ 126 w 142"/>
                  <a:gd name="T27" fmla="*/ 353 h 795"/>
                  <a:gd name="T28" fmla="*/ 142 w 142"/>
                  <a:gd name="T29" fmla="*/ 503 h 795"/>
                  <a:gd name="T30" fmla="*/ 142 w 142"/>
                  <a:gd name="T31" fmla="*/ 504 h 795"/>
                  <a:gd name="T32" fmla="*/ 93 w 142"/>
                  <a:gd name="T33" fmla="*/ 795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795">
                    <a:moveTo>
                      <a:pt x="93" y="795"/>
                    </a:moveTo>
                    <a:lnTo>
                      <a:pt x="16" y="514"/>
                    </a:lnTo>
                    <a:lnTo>
                      <a:pt x="0" y="436"/>
                    </a:lnTo>
                    <a:lnTo>
                      <a:pt x="0" y="436"/>
                    </a:lnTo>
                    <a:lnTo>
                      <a:pt x="38" y="0"/>
                    </a:lnTo>
                    <a:lnTo>
                      <a:pt x="43" y="0"/>
                    </a:lnTo>
                    <a:lnTo>
                      <a:pt x="5" y="436"/>
                    </a:lnTo>
                    <a:lnTo>
                      <a:pt x="22" y="512"/>
                    </a:lnTo>
                    <a:lnTo>
                      <a:pt x="92" y="771"/>
                    </a:lnTo>
                    <a:lnTo>
                      <a:pt x="137" y="503"/>
                    </a:lnTo>
                    <a:lnTo>
                      <a:pt x="121" y="355"/>
                    </a:lnTo>
                    <a:lnTo>
                      <a:pt x="62" y="196"/>
                    </a:lnTo>
                    <a:lnTo>
                      <a:pt x="68" y="194"/>
                    </a:lnTo>
                    <a:lnTo>
                      <a:pt x="126" y="353"/>
                    </a:lnTo>
                    <a:lnTo>
                      <a:pt x="142" y="503"/>
                    </a:lnTo>
                    <a:lnTo>
                      <a:pt x="142" y="504"/>
                    </a:lnTo>
                    <a:lnTo>
                      <a:pt x="93" y="7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06" name="Freeform 105">
                <a:extLst>
                  <a:ext uri="{FF2B5EF4-FFF2-40B4-BE49-F238E27FC236}">
                    <a16:creationId xmlns:a16="http://schemas.microsoft.com/office/drawing/2014/main" id="{6B75DDF6-A859-4E38-B70D-8C04763C8030}"/>
                  </a:ext>
                </a:extLst>
              </p:cNvPr>
              <p:cNvSpPr>
                <a:spLocks noEditPoints="1"/>
              </p:cNvSpPr>
              <p:nvPr/>
            </p:nvSpPr>
            <p:spPr bwMode="auto">
              <a:xfrm>
                <a:off x="6811963" y="7408863"/>
                <a:ext cx="200025" cy="971550"/>
              </a:xfrm>
              <a:custGeom>
                <a:avLst/>
                <a:gdLst>
                  <a:gd name="T0" fmla="*/ 73 w 126"/>
                  <a:gd name="T1" fmla="*/ 612 h 612"/>
                  <a:gd name="T2" fmla="*/ 0 w 126"/>
                  <a:gd name="T3" fmla="*/ 310 h 612"/>
                  <a:gd name="T4" fmla="*/ 0 w 126"/>
                  <a:gd name="T5" fmla="*/ 309 h 612"/>
                  <a:gd name="T6" fmla="*/ 48 w 126"/>
                  <a:gd name="T7" fmla="*/ 0 h 612"/>
                  <a:gd name="T8" fmla="*/ 110 w 126"/>
                  <a:gd name="T9" fmla="*/ 170 h 612"/>
                  <a:gd name="T10" fmla="*/ 126 w 126"/>
                  <a:gd name="T11" fmla="*/ 325 h 612"/>
                  <a:gd name="T12" fmla="*/ 73 w 126"/>
                  <a:gd name="T13" fmla="*/ 612 h 612"/>
                  <a:gd name="T14" fmla="*/ 6 w 126"/>
                  <a:gd name="T15" fmla="*/ 309 h 612"/>
                  <a:gd name="T16" fmla="*/ 73 w 126"/>
                  <a:gd name="T17" fmla="*/ 587 h 612"/>
                  <a:gd name="T18" fmla="*/ 121 w 126"/>
                  <a:gd name="T19" fmla="*/ 325 h 612"/>
                  <a:gd name="T20" fmla="*/ 105 w 126"/>
                  <a:gd name="T21" fmla="*/ 172 h 612"/>
                  <a:gd name="T22" fmla="*/ 50 w 126"/>
                  <a:gd name="T23" fmla="*/ 22 h 612"/>
                  <a:gd name="T24" fmla="*/ 6 w 126"/>
                  <a:gd name="T25" fmla="*/ 309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612">
                    <a:moveTo>
                      <a:pt x="73" y="612"/>
                    </a:moveTo>
                    <a:lnTo>
                      <a:pt x="0" y="310"/>
                    </a:lnTo>
                    <a:lnTo>
                      <a:pt x="0" y="309"/>
                    </a:lnTo>
                    <a:lnTo>
                      <a:pt x="48" y="0"/>
                    </a:lnTo>
                    <a:lnTo>
                      <a:pt x="110" y="170"/>
                    </a:lnTo>
                    <a:lnTo>
                      <a:pt x="126" y="325"/>
                    </a:lnTo>
                    <a:lnTo>
                      <a:pt x="73" y="612"/>
                    </a:lnTo>
                    <a:close/>
                    <a:moveTo>
                      <a:pt x="6" y="309"/>
                    </a:moveTo>
                    <a:lnTo>
                      <a:pt x="73" y="587"/>
                    </a:lnTo>
                    <a:lnTo>
                      <a:pt x="121" y="325"/>
                    </a:lnTo>
                    <a:lnTo>
                      <a:pt x="105" y="172"/>
                    </a:lnTo>
                    <a:lnTo>
                      <a:pt x="50" y="22"/>
                    </a:lnTo>
                    <a:lnTo>
                      <a:pt x="6"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07" name="Freeform 106">
                <a:extLst>
                  <a:ext uri="{FF2B5EF4-FFF2-40B4-BE49-F238E27FC236}">
                    <a16:creationId xmlns:a16="http://schemas.microsoft.com/office/drawing/2014/main" id="{3B833107-462C-43A0-914A-5EEFC9CBE293}"/>
                  </a:ext>
                </a:extLst>
              </p:cNvPr>
              <p:cNvSpPr>
                <a:spLocks/>
              </p:cNvSpPr>
              <p:nvPr/>
            </p:nvSpPr>
            <p:spPr bwMode="auto">
              <a:xfrm>
                <a:off x="6846888" y="7154863"/>
                <a:ext cx="47625" cy="274638"/>
              </a:xfrm>
              <a:custGeom>
                <a:avLst/>
                <a:gdLst>
                  <a:gd name="T0" fmla="*/ 24 w 30"/>
                  <a:gd name="T1" fmla="*/ 173 h 173"/>
                  <a:gd name="T2" fmla="*/ 0 w 30"/>
                  <a:gd name="T3" fmla="*/ 1 h 173"/>
                  <a:gd name="T4" fmla="*/ 5 w 30"/>
                  <a:gd name="T5" fmla="*/ 0 h 173"/>
                  <a:gd name="T6" fmla="*/ 30 w 30"/>
                  <a:gd name="T7" fmla="*/ 171 h 173"/>
                  <a:gd name="T8" fmla="*/ 24 w 30"/>
                  <a:gd name="T9" fmla="*/ 173 h 173"/>
                </a:gdLst>
                <a:ahLst/>
                <a:cxnLst>
                  <a:cxn ang="0">
                    <a:pos x="T0" y="T1"/>
                  </a:cxn>
                  <a:cxn ang="0">
                    <a:pos x="T2" y="T3"/>
                  </a:cxn>
                  <a:cxn ang="0">
                    <a:pos x="T4" y="T5"/>
                  </a:cxn>
                  <a:cxn ang="0">
                    <a:pos x="T6" y="T7"/>
                  </a:cxn>
                  <a:cxn ang="0">
                    <a:pos x="T8" y="T9"/>
                  </a:cxn>
                </a:cxnLst>
                <a:rect l="0" t="0" r="r" b="b"/>
                <a:pathLst>
                  <a:path w="30" h="173">
                    <a:moveTo>
                      <a:pt x="24" y="173"/>
                    </a:moveTo>
                    <a:lnTo>
                      <a:pt x="0" y="1"/>
                    </a:lnTo>
                    <a:lnTo>
                      <a:pt x="5" y="0"/>
                    </a:lnTo>
                    <a:lnTo>
                      <a:pt x="30" y="171"/>
                    </a:lnTo>
                    <a:lnTo>
                      <a:pt x="2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08" name="Freeform 107">
                <a:extLst>
                  <a:ext uri="{FF2B5EF4-FFF2-40B4-BE49-F238E27FC236}">
                    <a16:creationId xmlns:a16="http://schemas.microsoft.com/office/drawing/2014/main" id="{2A589453-CAEA-437C-9485-0D3369224B7C}"/>
                  </a:ext>
                </a:extLst>
              </p:cNvPr>
              <p:cNvSpPr>
                <a:spLocks/>
              </p:cNvSpPr>
              <p:nvPr/>
            </p:nvSpPr>
            <p:spPr bwMode="auto">
              <a:xfrm>
                <a:off x="7277101" y="6154738"/>
                <a:ext cx="403225" cy="3041650"/>
              </a:xfrm>
              <a:custGeom>
                <a:avLst/>
                <a:gdLst>
                  <a:gd name="T0" fmla="*/ 248 w 254"/>
                  <a:gd name="T1" fmla="*/ 1916 h 1916"/>
                  <a:gd name="T2" fmla="*/ 0 w 254"/>
                  <a:gd name="T3" fmla="*/ 0 h 1916"/>
                  <a:gd name="T4" fmla="*/ 4 w 254"/>
                  <a:gd name="T5" fmla="*/ 0 h 1916"/>
                  <a:gd name="T6" fmla="*/ 254 w 254"/>
                  <a:gd name="T7" fmla="*/ 1916 h 1916"/>
                  <a:gd name="T8" fmla="*/ 248 w 254"/>
                  <a:gd name="T9" fmla="*/ 1916 h 1916"/>
                </a:gdLst>
                <a:ahLst/>
                <a:cxnLst>
                  <a:cxn ang="0">
                    <a:pos x="T0" y="T1"/>
                  </a:cxn>
                  <a:cxn ang="0">
                    <a:pos x="T2" y="T3"/>
                  </a:cxn>
                  <a:cxn ang="0">
                    <a:pos x="T4" y="T5"/>
                  </a:cxn>
                  <a:cxn ang="0">
                    <a:pos x="T6" y="T7"/>
                  </a:cxn>
                  <a:cxn ang="0">
                    <a:pos x="T8" y="T9"/>
                  </a:cxn>
                </a:cxnLst>
                <a:rect l="0" t="0" r="r" b="b"/>
                <a:pathLst>
                  <a:path w="254" h="1916">
                    <a:moveTo>
                      <a:pt x="248" y="1916"/>
                    </a:moveTo>
                    <a:lnTo>
                      <a:pt x="0" y="0"/>
                    </a:lnTo>
                    <a:lnTo>
                      <a:pt x="4" y="0"/>
                    </a:lnTo>
                    <a:lnTo>
                      <a:pt x="254" y="1916"/>
                    </a:lnTo>
                    <a:lnTo>
                      <a:pt x="248" y="19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09" name="Freeform 108">
                <a:extLst>
                  <a:ext uri="{FF2B5EF4-FFF2-40B4-BE49-F238E27FC236}">
                    <a16:creationId xmlns:a16="http://schemas.microsoft.com/office/drawing/2014/main" id="{81BB464A-00D1-4BE7-B61B-F3252108928C}"/>
                  </a:ext>
                </a:extLst>
              </p:cNvPr>
              <p:cNvSpPr>
                <a:spLocks/>
              </p:cNvSpPr>
              <p:nvPr/>
            </p:nvSpPr>
            <p:spPr bwMode="auto">
              <a:xfrm>
                <a:off x="7173913" y="5873751"/>
                <a:ext cx="404813" cy="742950"/>
              </a:xfrm>
              <a:custGeom>
                <a:avLst/>
                <a:gdLst>
                  <a:gd name="T0" fmla="*/ 41 w 255"/>
                  <a:gd name="T1" fmla="*/ 468 h 468"/>
                  <a:gd name="T2" fmla="*/ 38 w 255"/>
                  <a:gd name="T3" fmla="*/ 464 h 468"/>
                  <a:gd name="T4" fmla="*/ 140 w 255"/>
                  <a:gd name="T5" fmla="*/ 414 h 468"/>
                  <a:gd name="T6" fmla="*/ 0 w 255"/>
                  <a:gd name="T7" fmla="*/ 302 h 468"/>
                  <a:gd name="T8" fmla="*/ 65 w 255"/>
                  <a:gd name="T9" fmla="*/ 174 h 468"/>
                  <a:gd name="T10" fmla="*/ 252 w 255"/>
                  <a:gd name="T11" fmla="*/ 0 h 468"/>
                  <a:gd name="T12" fmla="*/ 255 w 255"/>
                  <a:gd name="T13" fmla="*/ 4 h 468"/>
                  <a:gd name="T14" fmla="*/ 69 w 255"/>
                  <a:gd name="T15" fmla="*/ 178 h 468"/>
                  <a:gd name="T16" fmla="*/ 7 w 255"/>
                  <a:gd name="T17" fmla="*/ 301 h 468"/>
                  <a:gd name="T18" fmla="*/ 151 w 255"/>
                  <a:gd name="T19" fmla="*/ 414 h 468"/>
                  <a:gd name="T20" fmla="*/ 41 w 255"/>
                  <a:gd name="T21"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5" h="468">
                    <a:moveTo>
                      <a:pt x="41" y="468"/>
                    </a:moveTo>
                    <a:lnTo>
                      <a:pt x="38" y="464"/>
                    </a:lnTo>
                    <a:lnTo>
                      <a:pt x="140" y="414"/>
                    </a:lnTo>
                    <a:lnTo>
                      <a:pt x="0" y="302"/>
                    </a:lnTo>
                    <a:lnTo>
                      <a:pt x="65" y="174"/>
                    </a:lnTo>
                    <a:lnTo>
                      <a:pt x="252" y="0"/>
                    </a:lnTo>
                    <a:lnTo>
                      <a:pt x="255" y="4"/>
                    </a:lnTo>
                    <a:lnTo>
                      <a:pt x="69" y="178"/>
                    </a:lnTo>
                    <a:lnTo>
                      <a:pt x="7" y="301"/>
                    </a:lnTo>
                    <a:lnTo>
                      <a:pt x="151" y="414"/>
                    </a:lnTo>
                    <a:lnTo>
                      <a:pt x="41" y="4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grpSp>
        <p:cxnSp>
          <p:nvCxnSpPr>
            <p:cNvPr id="8" name="Straight Connector 7">
              <a:extLst>
                <a:ext uri="{FF2B5EF4-FFF2-40B4-BE49-F238E27FC236}">
                  <a16:creationId xmlns:a16="http://schemas.microsoft.com/office/drawing/2014/main" id="{D937893F-40E1-48AE-9436-4F276BF399F9}"/>
                </a:ext>
              </a:extLst>
            </p:cNvPr>
            <p:cNvCxnSpPr>
              <a:stCxn id="100" idx="3"/>
              <a:endCxn id="87" idx="2"/>
            </p:cNvCxnSpPr>
            <p:nvPr/>
          </p:nvCxnSpPr>
          <p:spPr>
            <a:xfrm flipH="1">
              <a:off x="7470709" y="3576191"/>
              <a:ext cx="434967" cy="1261684"/>
            </a:xfrm>
            <a:prstGeom prst="line">
              <a:avLst/>
            </a:prstGeom>
            <a:grpFill/>
            <a:ln w="6350" cap="flat" cmpd="sng" algn="ctr">
              <a:solidFill>
                <a:srgbClr val="FBAB18"/>
              </a:solidFill>
              <a:prstDash val="solid"/>
            </a:ln>
            <a:effectLst/>
          </p:spPr>
        </p:cxnSp>
        <p:sp>
          <p:nvSpPr>
            <p:cNvPr id="9" name="Oval 8">
              <a:extLst>
                <a:ext uri="{FF2B5EF4-FFF2-40B4-BE49-F238E27FC236}">
                  <a16:creationId xmlns:a16="http://schemas.microsoft.com/office/drawing/2014/main" id="{CD4B06F1-75E8-41DC-81DE-11D4D6F37520}"/>
                </a:ext>
              </a:extLst>
            </p:cNvPr>
            <p:cNvSpPr/>
            <p:nvPr/>
          </p:nvSpPr>
          <p:spPr>
            <a:xfrm>
              <a:off x="8060651" y="4577752"/>
              <a:ext cx="71351" cy="71351"/>
            </a:xfrm>
            <a:prstGeom prst="ellipse">
              <a:avLst/>
            </a:prstGeom>
            <a:grpFill/>
            <a:ln w="25400" cap="flat" cmpd="sng" algn="ctr">
              <a:noFill/>
              <a:prstDash val="solid"/>
            </a:ln>
            <a:effectLst/>
          </p:spPr>
          <p:txBody>
            <a:bodyPr rtlCol="0" anchor="t"/>
            <a:lstStyle/>
            <a:p>
              <a:pPr marL="214308" marR="0" lvl="0" indent="-214308"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cxnSp>
          <p:nvCxnSpPr>
            <p:cNvPr id="10" name="Straight Connector 9">
              <a:extLst>
                <a:ext uri="{FF2B5EF4-FFF2-40B4-BE49-F238E27FC236}">
                  <a16:creationId xmlns:a16="http://schemas.microsoft.com/office/drawing/2014/main" id="{7A309637-B0EE-48BF-9301-1605095F9C9D}"/>
                </a:ext>
              </a:extLst>
            </p:cNvPr>
            <p:cNvCxnSpPr>
              <a:stCxn id="93" idx="58"/>
              <a:endCxn id="92" idx="42"/>
            </p:cNvCxnSpPr>
            <p:nvPr/>
          </p:nvCxnSpPr>
          <p:spPr>
            <a:xfrm>
              <a:off x="7459478" y="3557066"/>
              <a:ext cx="441420" cy="1206337"/>
            </a:xfrm>
            <a:prstGeom prst="line">
              <a:avLst/>
            </a:prstGeom>
            <a:grpFill/>
            <a:ln w="6350" cap="flat" cmpd="sng" algn="ctr">
              <a:solidFill>
                <a:srgbClr val="FBAB18"/>
              </a:solidFill>
              <a:prstDash val="solid"/>
            </a:ln>
            <a:effectLst/>
          </p:spPr>
        </p:cxnSp>
      </p:grpSp>
      <p:sp>
        <p:nvSpPr>
          <p:cNvPr id="154" name="Rectangle 153">
            <a:extLst>
              <a:ext uri="{FF2B5EF4-FFF2-40B4-BE49-F238E27FC236}">
                <a16:creationId xmlns:a16="http://schemas.microsoft.com/office/drawing/2014/main" id="{D833537E-27B4-4018-9B06-976663EA08E7}"/>
              </a:ext>
            </a:extLst>
          </p:cNvPr>
          <p:cNvSpPr/>
          <p:nvPr/>
        </p:nvSpPr>
        <p:spPr>
          <a:xfrm>
            <a:off x="5316105" y="2439109"/>
            <a:ext cx="2413786" cy="2426448"/>
          </a:xfrm>
          <a:prstGeom prst="rect">
            <a:avLst/>
          </a:prstGeom>
          <a:solidFill>
            <a:schemeClr val="bg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110" name="Picture 109">
            <a:extLst>
              <a:ext uri="{FF2B5EF4-FFF2-40B4-BE49-F238E27FC236}">
                <a16:creationId xmlns:a16="http://schemas.microsoft.com/office/drawing/2014/main" id="{7233B74F-9F5B-4C38-8FA8-040D0273F7EA}"/>
              </a:ext>
            </a:extLst>
          </p:cNvPr>
          <p:cNvPicPr>
            <a:picLocks noChangeAspect="1"/>
          </p:cNvPicPr>
          <p:nvPr/>
        </p:nvPicPr>
        <p:blipFill>
          <a:blip r:embed="rId3" cstate="screen">
            <a:duotone>
              <a:schemeClr val="accent4">
                <a:shade val="45000"/>
                <a:satMod val="135000"/>
              </a:schemeClr>
              <a:prstClr val="white"/>
            </a:duotone>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tretch>
            <a:fillRect/>
          </a:stretch>
        </p:blipFill>
        <p:spPr>
          <a:xfrm>
            <a:off x="6477871" y="3731325"/>
            <a:ext cx="41911" cy="51110"/>
          </a:xfrm>
          <a:prstGeom prst="rect">
            <a:avLst/>
          </a:prstGeom>
        </p:spPr>
      </p:pic>
      <p:sp>
        <p:nvSpPr>
          <p:cNvPr id="111" name="Rectangle: Rounded Corners 110">
            <a:extLst>
              <a:ext uri="{FF2B5EF4-FFF2-40B4-BE49-F238E27FC236}">
                <a16:creationId xmlns:a16="http://schemas.microsoft.com/office/drawing/2014/main" id="{0061099C-9282-47AE-AD3B-27B0191CCA3C}"/>
              </a:ext>
            </a:extLst>
          </p:cNvPr>
          <p:cNvSpPr/>
          <p:nvPr/>
        </p:nvSpPr>
        <p:spPr>
          <a:xfrm>
            <a:off x="5791429" y="3104439"/>
            <a:ext cx="1419290" cy="704798"/>
          </a:xfrm>
          <a:prstGeom prst="roundRect">
            <a:avLst>
              <a:gd name="adj" fmla="val 9707"/>
            </a:avLst>
          </a:prstGeom>
          <a:solidFill>
            <a:schemeClr val="bg2"/>
          </a:solidFill>
          <a:ln w="12700">
            <a:solidFill>
              <a:srgbClr val="FBAB18"/>
            </a:solidFill>
            <a:prstDash val="dash"/>
            <a:round/>
            <a:headEnd/>
            <a:tailEnd/>
          </a:ln>
          <a:effec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cs typeface="+mn-cs"/>
            </a:endParaRPr>
          </a:p>
        </p:txBody>
      </p:sp>
      <p:sp>
        <p:nvSpPr>
          <p:cNvPr id="112" name="Freeform: Shape 111">
            <a:extLst>
              <a:ext uri="{FF2B5EF4-FFF2-40B4-BE49-F238E27FC236}">
                <a16:creationId xmlns:a16="http://schemas.microsoft.com/office/drawing/2014/main" id="{AB516F1E-8826-4A41-9940-E83F162637F4}"/>
              </a:ext>
            </a:extLst>
          </p:cNvPr>
          <p:cNvSpPr/>
          <p:nvPr/>
        </p:nvSpPr>
        <p:spPr>
          <a:xfrm flipV="1">
            <a:off x="5791731" y="3561495"/>
            <a:ext cx="1421480" cy="47432"/>
          </a:xfrm>
          <a:custGeom>
            <a:avLst/>
            <a:gdLst>
              <a:gd name="connsiteX0" fmla="*/ 0 w 4999219"/>
              <a:gd name="connsiteY0" fmla="*/ 0 h 0"/>
              <a:gd name="connsiteX1" fmla="*/ 4999219 w 4999219"/>
              <a:gd name="connsiteY1" fmla="*/ 0 h 0"/>
            </a:gdLst>
            <a:ahLst/>
            <a:cxnLst>
              <a:cxn ang="0">
                <a:pos x="connsiteX0" y="connsiteY0"/>
              </a:cxn>
              <a:cxn ang="0">
                <a:pos x="connsiteX1" y="connsiteY1"/>
              </a:cxn>
            </a:cxnLst>
            <a:rect l="l" t="t" r="r" b="b"/>
            <a:pathLst>
              <a:path w="4999219">
                <a:moveTo>
                  <a:pt x="0" y="0"/>
                </a:moveTo>
                <a:lnTo>
                  <a:pt x="4999219" y="0"/>
                </a:lnTo>
              </a:path>
            </a:pathLst>
          </a:custGeom>
          <a:solidFill>
            <a:srgbClr val="FFFFFF"/>
          </a:solidFill>
          <a:ln w="9525">
            <a:solidFill>
              <a:srgbClr val="FFFFFF">
                <a:lumMod val="65000"/>
              </a:srgbClr>
            </a:solidFill>
            <a:prstDash val="dash"/>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grpSp>
        <p:nvGrpSpPr>
          <p:cNvPr id="113" name="Group 112">
            <a:extLst>
              <a:ext uri="{FF2B5EF4-FFF2-40B4-BE49-F238E27FC236}">
                <a16:creationId xmlns:a16="http://schemas.microsoft.com/office/drawing/2014/main" id="{7FC0827F-CB67-41C4-A17A-05E39763CC8D}"/>
              </a:ext>
            </a:extLst>
          </p:cNvPr>
          <p:cNvGrpSpPr/>
          <p:nvPr/>
        </p:nvGrpSpPr>
        <p:grpSpPr>
          <a:xfrm>
            <a:off x="6126990" y="3349432"/>
            <a:ext cx="746707" cy="259496"/>
            <a:chOff x="4105196" y="2901315"/>
            <a:chExt cx="915442" cy="318135"/>
          </a:xfrm>
          <a:effectLst/>
        </p:grpSpPr>
        <p:sp>
          <p:nvSpPr>
            <p:cNvPr id="114" name="Freeform: Shape 113">
              <a:extLst>
                <a:ext uri="{FF2B5EF4-FFF2-40B4-BE49-F238E27FC236}">
                  <a16:creationId xmlns:a16="http://schemas.microsoft.com/office/drawing/2014/main" id="{BAF61097-31AA-4E87-AE97-F58FACAC7E5C}"/>
                </a:ext>
              </a:extLst>
            </p:cNvPr>
            <p:cNvSpPr/>
            <p:nvPr/>
          </p:nvSpPr>
          <p:spPr>
            <a:xfrm>
              <a:off x="4105196" y="2901315"/>
              <a:ext cx="0" cy="318135"/>
            </a:xfrm>
            <a:custGeom>
              <a:avLst/>
              <a:gdLst>
                <a:gd name="connsiteX0" fmla="*/ 0 w 0"/>
                <a:gd name="connsiteY0" fmla="*/ 432816 h 432816"/>
                <a:gd name="connsiteX1" fmla="*/ 0 w 0"/>
                <a:gd name="connsiteY1" fmla="*/ 0 h 432816"/>
              </a:gdLst>
              <a:ahLst/>
              <a:cxnLst>
                <a:cxn ang="0">
                  <a:pos x="connsiteX0" y="connsiteY0"/>
                </a:cxn>
                <a:cxn ang="0">
                  <a:pos x="connsiteX1" y="connsiteY1"/>
                </a:cxn>
              </a:cxnLst>
              <a:rect l="l" t="t" r="r" b="b"/>
              <a:pathLst>
                <a:path h="432816">
                  <a:moveTo>
                    <a:pt x="0" y="432816"/>
                  </a:moveTo>
                  <a:lnTo>
                    <a:pt x="0" y="0"/>
                  </a:lnTo>
                </a:path>
              </a:pathLst>
            </a:custGeom>
            <a:solidFill>
              <a:srgbClr val="FFFFFF"/>
            </a:solidFill>
            <a:ln w="9525">
              <a:solidFill>
                <a:srgbClr val="FFFFFF">
                  <a:lumMod val="65000"/>
                </a:srgbClr>
              </a:solidFill>
              <a:prstDash val="dash"/>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15" name="Freeform: Shape 114">
              <a:extLst>
                <a:ext uri="{FF2B5EF4-FFF2-40B4-BE49-F238E27FC236}">
                  <a16:creationId xmlns:a16="http://schemas.microsoft.com/office/drawing/2014/main" id="{2C411867-B89A-43D2-8828-4DC91610A8D2}"/>
                </a:ext>
              </a:extLst>
            </p:cNvPr>
            <p:cNvSpPr/>
            <p:nvPr/>
          </p:nvSpPr>
          <p:spPr>
            <a:xfrm>
              <a:off x="5020638" y="2901315"/>
              <a:ext cx="0" cy="318135"/>
            </a:xfrm>
            <a:custGeom>
              <a:avLst/>
              <a:gdLst>
                <a:gd name="connsiteX0" fmla="*/ 0 w 0"/>
                <a:gd name="connsiteY0" fmla="*/ 432816 h 432816"/>
                <a:gd name="connsiteX1" fmla="*/ 0 w 0"/>
                <a:gd name="connsiteY1" fmla="*/ 0 h 432816"/>
              </a:gdLst>
              <a:ahLst/>
              <a:cxnLst>
                <a:cxn ang="0">
                  <a:pos x="connsiteX0" y="connsiteY0"/>
                </a:cxn>
                <a:cxn ang="0">
                  <a:pos x="connsiteX1" y="connsiteY1"/>
                </a:cxn>
              </a:cxnLst>
              <a:rect l="l" t="t" r="r" b="b"/>
              <a:pathLst>
                <a:path h="432816">
                  <a:moveTo>
                    <a:pt x="0" y="432816"/>
                  </a:moveTo>
                  <a:lnTo>
                    <a:pt x="0" y="0"/>
                  </a:lnTo>
                </a:path>
              </a:pathLst>
            </a:custGeom>
            <a:solidFill>
              <a:srgbClr val="FFFFFF"/>
            </a:solidFill>
            <a:ln w="9525">
              <a:solidFill>
                <a:srgbClr val="FFFFFF">
                  <a:lumMod val="65000"/>
                </a:srgbClr>
              </a:solidFill>
              <a:prstDash val="dash"/>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116" name="Group 115">
            <a:extLst>
              <a:ext uri="{FF2B5EF4-FFF2-40B4-BE49-F238E27FC236}">
                <a16:creationId xmlns:a16="http://schemas.microsoft.com/office/drawing/2014/main" id="{64FAD2BD-D0B3-4562-8AB7-7D1DE47BFAF5}"/>
              </a:ext>
            </a:extLst>
          </p:cNvPr>
          <p:cNvGrpSpPr/>
          <p:nvPr/>
        </p:nvGrpSpPr>
        <p:grpSpPr>
          <a:xfrm>
            <a:off x="6180117" y="3276920"/>
            <a:ext cx="649248" cy="0"/>
            <a:chOff x="4170327" y="2812418"/>
            <a:chExt cx="795960" cy="0"/>
          </a:xfrm>
        </p:grpSpPr>
        <p:sp>
          <p:nvSpPr>
            <p:cNvPr id="117" name="Freeform: Shape 116">
              <a:extLst>
                <a:ext uri="{FF2B5EF4-FFF2-40B4-BE49-F238E27FC236}">
                  <a16:creationId xmlns:a16="http://schemas.microsoft.com/office/drawing/2014/main" id="{8E23F8C9-17F0-4356-9900-A543AC978255}"/>
                </a:ext>
              </a:extLst>
            </p:cNvPr>
            <p:cNvSpPr/>
            <p:nvPr/>
          </p:nvSpPr>
          <p:spPr>
            <a:xfrm>
              <a:off x="4170327" y="2812418"/>
              <a:ext cx="138582" cy="0"/>
            </a:xfrm>
            <a:custGeom>
              <a:avLst/>
              <a:gdLst>
                <a:gd name="connsiteX0" fmla="*/ 0 w 396240"/>
                <a:gd name="connsiteY0" fmla="*/ 0 h 0"/>
                <a:gd name="connsiteX1" fmla="*/ 396240 w 396240"/>
                <a:gd name="connsiteY1" fmla="*/ 0 h 0"/>
              </a:gdLst>
              <a:ahLst/>
              <a:cxnLst>
                <a:cxn ang="0">
                  <a:pos x="connsiteX0" y="connsiteY0"/>
                </a:cxn>
                <a:cxn ang="0">
                  <a:pos x="connsiteX1" y="connsiteY1"/>
                </a:cxn>
              </a:cxnLst>
              <a:rect l="l" t="t" r="r" b="b"/>
              <a:pathLst>
                <a:path w="396240">
                  <a:moveTo>
                    <a:pt x="0" y="0"/>
                  </a:moveTo>
                  <a:lnTo>
                    <a:pt x="396240" y="0"/>
                  </a:lnTo>
                </a:path>
              </a:pathLst>
            </a:custGeom>
            <a:solidFill>
              <a:srgbClr val="FFFFFF"/>
            </a:solidFill>
            <a:ln w="9525">
              <a:solidFill>
                <a:srgbClr val="FFFFFF">
                  <a:lumMod val="65000"/>
                </a:srgbClr>
              </a:solidFill>
              <a:prstDash val="dash"/>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18" name="Freeform: Shape 117">
              <a:extLst>
                <a:ext uri="{FF2B5EF4-FFF2-40B4-BE49-F238E27FC236}">
                  <a16:creationId xmlns:a16="http://schemas.microsoft.com/office/drawing/2014/main" id="{8A5C571A-770F-4754-AEDF-2435485CC2A5}"/>
                </a:ext>
              </a:extLst>
            </p:cNvPr>
            <p:cNvSpPr/>
            <p:nvPr/>
          </p:nvSpPr>
          <p:spPr>
            <a:xfrm>
              <a:off x="4827705" y="2812418"/>
              <a:ext cx="138582" cy="0"/>
            </a:xfrm>
            <a:custGeom>
              <a:avLst/>
              <a:gdLst>
                <a:gd name="connsiteX0" fmla="*/ 0 w 396240"/>
                <a:gd name="connsiteY0" fmla="*/ 0 h 0"/>
                <a:gd name="connsiteX1" fmla="*/ 396240 w 396240"/>
                <a:gd name="connsiteY1" fmla="*/ 0 h 0"/>
              </a:gdLst>
              <a:ahLst/>
              <a:cxnLst>
                <a:cxn ang="0">
                  <a:pos x="connsiteX0" y="connsiteY0"/>
                </a:cxn>
                <a:cxn ang="0">
                  <a:pos x="connsiteX1" y="connsiteY1"/>
                </a:cxn>
              </a:cxnLst>
              <a:rect l="l" t="t" r="r" b="b"/>
              <a:pathLst>
                <a:path w="396240">
                  <a:moveTo>
                    <a:pt x="0" y="0"/>
                  </a:moveTo>
                  <a:lnTo>
                    <a:pt x="396240" y="0"/>
                  </a:lnTo>
                </a:path>
              </a:pathLst>
            </a:custGeom>
            <a:solidFill>
              <a:srgbClr val="FFFFFF"/>
            </a:solidFill>
            <a:ln w="9525">
              <a:solidFill>
                <a:srgbClr val="FFFFFF">
                  <a:lumMod val="65000"/>
                </a:srgbClr>
              </a:solidFill>
              <a:prstDash val="dash"/>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119" name="Group 118">
            <a:extLst>
              <a:ext uri="{FF2B5EF4-FFF2-40B4-BE49-F238E27FC236}">
                <a16:creationId xmlns:a16="http://schemas.microsoft.com/office/drawing/2014/main" id="{08F47CEB-2B2F-475A-BD33-FCDFE6AA882A}"/>
              </a:ext>
            </a:extLst>
          </p:cNvPr>
          <p:cNvGrpSpPr/>
          <p:nvPr/>
        </p:nvGrpSpPr>
        <p:grpSpPr>
          <a:xfrm>
            <a:off x="6965906" y="3522947"/>
            <a:ext cx="175300" cy="175300"/>
            <a:chOff x="3647234" y="2505303"/>
            <a:chExt cx="594360" cy="594360"/>
          </a:xfrm>
        </p:grpSpPr>
        <p:sp>
          <p:nvSpPr>
            <p:cNvPr id="120" name="Oval 119">
              <a:extLst>
                <a:ext uri="{FF2B5EF4-FFF2-40B4-BE49-F238E27FC236}">
                  <a16:creationId xmlns:a16="http://schemas.microsoft.com/office/drawing/2014/main" id="{4BC9F270-CDBF-4BE5-852E-213421642E37}"/>
                </a:ext>
              </a:extLst>
            </p:cNvPr>
            <p:cNvSpPr/>
            <p:nvPr/>
          </p:nvSpPr>
          <p:spPr>
            <a:xfrm>
              <a:off x="3647234" y="2505303"/>
              <a:ext cx="594360" cy="594360"/>
            </a:xfrm>
            <a:prstGeom prst="ellipse">
              <a:avLst/>
            </a:prstGeom>
            <a:solidFill>
              <a:srgbClr val="005073"/>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cs typeface="+mn-cs"/>
              </a:endParaRPr>
            </a:p>
          </p:txBody>
        </p:sp>
        <p:grpSp>
          <p:nvGrpSpPr>
            <p:cNvPr id="121" name="Group 120">
              <a:extLst>
                <a:ext uri="{FF2B5EF4-FFF2-40B4-BE49-F238E27FC236}">
                  <a16:creationId xmlns:a16="http://schemas.microsoft.com/office/drawing/2014/main" id="{D1776D74-8396-4CE4-93D7-DFB637B44053}"/>
                </a:ext>
              </a:extLst>
            </p:cNvPr>
            <p:cNvGrpSpPr/>
            <p:nvPr/>
          </p:nvGrpSpPr>
          <p:grpSpPr>
            <a:xfrm>
              <a:off x="3761080" y="2619016"/>
              <a:ext cx="366840" cy="366825"/>
              <a:chOff x="4034392" y="1826565"/>
              <a:chExt cx="248145" cy="248145"/>
            </a:xfrm>
            <a:solidFill>
              <a:srgbClr val="6EBE4A"/>
            </a:solidFill>
          </p:grpSpPr>
          <p:grpSp>
            <p:nvGrpSpPr>
              <p:cNvPr id="122" name="Group 121">
                <a:extLst>
                  <a:ext uri="{FF2B5EF4-FFF2-40B4-BE49-F238E27FC236}">
                    <a16:creationId xmlns:a16="http://schemas.microsoft.com/office/drawing/2014/main" id="{CF0F3220-6DF6-41BB-8092-1144F57F5F50}"/>
                  </a:ext>
                </a:extLst>
              </p:cNvPr>
              <p:cNvGrpSpPr/>
              <p:nvPr/>
            </p:nvGrpSpPr>
            <p:grpSpPr>
              <a:xfrm>
                <a:off x="4127062" y="1826565"/>
                <a:ext cx="62740" cy="248145"/>
                <a:chOff x="4120827" y="1826565"/>
                <a:chExt cx="62740" cy="248145"/>
              </a:xfrm>
              <a:grpFill/>
            </p:grpSpPr>
            <p:sp>
              <p:nvSpPr>
                <p:cNvPr id="126" name="Freeform 39">
                  <a:extLst>
                    <a:ext uri="{FF2B5EF4-FFF2-40B4-BE49-F238E27FC236}">
                      <a16:creationId xmlns:a16="http://schemas.microsoft.com/office/drawing/2014/main" id="{B82BC093-0903-4311-A422-3712B5E0EA6F}"/>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127" name="Freeform 40">
                  <a:extLst>
                    <a:ext uri="{FF2B5EF4-FFF2-40B4-BE49-F238E27FC236}">
                      <a16:creationId xmlns:a16="http://schemas.microsoft.com/office/drawing/2014/main" id="{67E25B1F-1747-4AFB-A3F0-522FF3A607A0}"/>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nvGrpSpPr>
              <p:cNvPr id="123" name="Group 122">
                <a:extLst>
                  <a:ext uri="{FF2B5EF4-FFF2-40B4-BE49-F238E27FC236}">
                    <a16:creationId xmlns:a16="http://schemas.microsoft.com/office/drawing/2014/main" id="{0023EE62-7DD4-4DFA-94B0-4629021880BF}"/>
                  </a:ext>
                </a:extLst>
              </p:cNvPr>
              <p:cNvGrpSpPr/>
              <p:nvPr/>
            </p:nvGrpSpPr>
            <p:grpSpPr>
              <a:xfrm rot="5400000">
                <a:off x="4127095" y="1826598"/>
                <a:ext cx="62740" cy="248145"/>
                <a:chOff x="4120827" y="1826565"/>
                <a:chExt cx="62740" cy="248145"/>
              </a:xfrm>
              <a:grpFill/>
            </p:grpSpPr>
            <p:sp>
              <p:nvSpPr>
                <p:cNvPr id="124" name="Freeform 37">
                  <a:extLst>
                    <a:ext uri="{FF2B5EF4-FFF2-40B4-BE49-F238E27FC236}">
                      <a16:creationId xmlns:a16="http://schemas.microsoft.com/office/drawing/2014/main" id="{D251A7EE-6935-41B0-B771-2EF44DB6B329}"/>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125" name="Freeform 38">
                  <a:extLst>
                    <a:ext uri="{FF2B5EF4-FFF2-40B4-BE49-F238E27FC236}">
                      <a16:creationId xmlns:a16="http://schemas.microsoft.com/office/drawing/2014/main" id="{CF7256B1-92A7-483D-8F0C-266A4E6331B4}"/>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grpSp>
      <p:grpSp>
        <p:nvGrpSpPr>
          <p:cNvPr id="128" name="Group 127">
            <a:extLst>
              <a:ext uri="{FF2B5EF4-FFF2-40B4-BE49-F238E27FC236}">
                <a16:creationId xmlns:a16="http://schemas.microsoft.com/office/drawing/2014/main" id="{F2804011-1325-4399-B8A5-916710C349EE}"/>
              </a:ext>
            </a:extLst>
          </p:cNvPr>
          <p:cNvGrpSpPr/>
          <p:nvPr/>
        </p:nvGrpSpPr>
        <p:grpSpPr>
          <a:xfrm>
            <a:off x="6041158" y="3190169"/>
            <a:ext cx="175300" cy="175300"/>
            <a:chOff x="4682991" y="1019790"/>
            <a:chExt cx="548640" cy="548640"/>
          </a:xfrm>
          <a:effectLst/>
        </p:grpSpPr>
        <p:sp>
          <p:nvSpPr>
            <p:cNvPr id="129" name="Oval 263">
              <a:extLst>
                <a:ext uri="{FF2B5EF4-FFF2-40B4-BE49-F238E27FC236}">
                  <a16:creationId xmlns:a16="http://schemas.microsoft.com/office/drawing/2014/main" id="{E961E7F7-2755-48E1-970F-451B06B8FCBE}"/>
                </a:ext>
              </a:extLst>
            </p:cNvPr>
            <p:cNvSpPr>
              <a:spLocks/>
            </p:cNvSpPr>
            <p:nvPr/>
          </p:nvSpPr>
          <p:spPr bwMode="auto">
            <a:xfrm>
              <a:off x="4682991" y="1019790"/>
              <a:ext cx="548640" cy="548640"/>
            </a:xfrm>
            <a:prstGeom prst="ellipse">
              <a:avLst/>
            </a:prstGeom>
            <a:solidFill>
              <a:srgbClr val="6EBE4A"/>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cs typeface="+mn-cs"/>
              </a:endParaRPr>
            </a:p>
          </p:txBody>
        </p:sp>
        <p:grpSp>
          <p:nvGrpSpPr>
            <p:cNvPr id="130" name="Group 129">
              <a:extLst>
                <a:ext uri="{FF2B5EF4-FFF2-40B4-BE49-F238E27FC236}">
                  <a16:creationId xmlns:a16="http://schemas.microsoft.com/office/drawing/2014/main" id="{8C296729-918C-4C44-818F-82E1E9A496A6}"/>
                </a:ext>
              </a:extLst>
            </p:cNvPr>
            <p:cNvGrpSpPr/>
            <p:nvPr/>
          </p:nvGrpSpPr>
          <p:grpSpPr>
            <a:xfrm>
              <a:off x="4789549" y="1151957"/>
              <a:ext cx="335524" cy="284307"/>
              <a:chOff x="4780856" y="1109136"/>
              <a:chExt cx="335524" cy="284307"/>
            </a:xfrm>
          </p:grpSpPr>
          <p:sp>
            <p:nvSpPr>
              <p:cNvPr id="131" name="Freeform 297">
                <a:extLst>
                  <a:ext uri="{FF2B5EF4-FFF2-40B4-BE49-F238E27FC236}">
                    <a16:creationId xmlns:a16="http://schemas.microsoft.com/office/drawing/2014/main" id="{676A39AD-5E17-4284-9F5C-68841F57030D}"/>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rgbClr val="005073"/>
              </a:solidFill>
              <a:ln w="25400" cap="flat" cmpd="sng" algn="ctr">
                <a:no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charset="0"/>
                  <a:cs typeface="+mn-cs"/>
                </a:endParaRPr>
              </a:p>
            </p:txBody>
          </p:sp>
          <p:sp>
            <p:nvSpPr>
              <p:cNvPr id="132" name="Freeform 298">
                <a:extLst>
                  <a:ext uri="{FF2B5EF4-FFF2-40B4-BE49-F238E27FC236}">
                    <a16:creationId xmlns:a16="http://schemas.microsoft.com/office/drawing/2014/main" id="{3A7EB76B-3EAE-4320-9020-8C304B20E4C7}"/>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rgbClr val="005073"/>
              </a:solidFill>
              <a:ln w="25400" cap="flat" cmpd="sng" algn="ctr">
                <a:no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charset="0"/>
                  <a:cs typeface="+mn-cs"/>
                </a:endParaRPr>
              </a:p>
            </p:txBody>
          </p:sp>
          <p:sp>
            <p:nvSpPr>
              <p:cNvPr id="133" name="Freeform 299">
                <a:extLst>
                  <a:ext uri="{FF2B5EF4-FFF2-40B4-BE49-F238E27FC236}">
                    <a16:creationId xmlns:a16="http://schemas.microsoft.com/office/drawing/2014/main" id="{B725B66D-C2FD-40C2-A29A-09305BC43CE1}"/>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rgbClr val="005073"/>
              </a:solidFill>
              <a:ln w="25400" cap="flat" cmpd="sng" algn="ctr">
                <a:no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charset="0"/>
                  <a:cs typeface="+mn-cs"/>
                </a:endParaRPr>
              </a:p>
            </p:txBody>
          </p:sp>
          <p:sp>
            <p:nvSpPr>
              <p:cNvPr id="134" name="Freeform 300">
                <a:extLst>
                  <a:ext uri="{FF2B5EF4-FFF2-40B4-BE49-F238E27FC236}">
                    <a16:creationId xmlns:a16="http://schemas.microsoft.com/office/drawing/2014/main" id="{33AA4E3B-F200-4778-B3A3-7156AFEA44B2}"/>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rgbClr val="005073"/>
              </a:solidFill>
              <a:ln w="25400" cap="flat" cmpd="sng" algn="ctr">
                <a:no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charset="0"/>
                  <a:cs typeface="+mn-cs"/>
                </a:endParaRPr>
              </a:p>
            </p:txBody>
          </p:sp>
        </p:grpSp>
      </p:grpSp>
      <p:grpSp>
        <p:nvGrpSpPr>
          <p:cNvPr id="135" name="Group 134">
            <a:extLst>
              <a:ext uri="{FF2B5EF4-FFF2-40B4-BE49-F238E27FC236}">
                <a16:creationId xmlns:a16="http://schemas.microsoft.com/office/drawing/2014/main" id="{86F99F82-D136-4281-900E-01A3FF88BE2D}"/>
              </a:ext>
            </a:extLst>
          </p:cNvPr>
          <p:cNvGrpSpPr/>
          <p:nvPr/>
        </p:nvGrpSpPr>
        <p:grpSpPr>
          <a:xfrm>
            <a:off x="5858135" y="3522947"/>
            <a:ext cx="175300" cy="175300"/>
            <a:chOff x="3647234" y="2505303"/>
            <a:chExt cx="594360" cy="594360"/>
          </a:xfrm>
        </p:grpSpPr>
        <p:sp>
          <p:nvSpPr>
            <p:cNvPr id="136" name="Oval 135">
              <a:extLst>
                <a:ext uri="{FF2B5EF4-FFF2-40B4-BE49-F238E27FC236}">
                  <a16:creationId xmlns:a16="http://schemas.microsoft.com/office/drawing/2014/main" id="{E048F911-02C8-45C3-9734-B520EC660B94}"/>
                </a:ext>
              </a:extLst>
            </p:cNvPr>
            <p:cNvSpPr/>
            <p:nvPr/>
          </p:nvSpPr>
          <p:spPr>
            <a:xfrm>
              <a:off x="3647234" y="2505303"/>
              <a:ext cx="594360" cy="594360"/>
            </a:xfrm>
            <a:prstGeom prst="ellipse">
              <a:avLst/>
            </a:prstGeom>
            <a:solidFill>
              <a:srgbClr val="005073"/>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cs typeface="+mn-cs"/>
              </a:endParaRPr>
            </a:p>
          </p:txBody>
        </p:sp>
        <p:grpSp>
          <p:nvGrpSpPr>
            <p:cNvPr id="137" name="Group 136">
              <a:extLst>
                <a:ext uri="{FF2B5EF4-FFF2-40B4-BE49-F238E27FC236}">
                  <a16:creationId xmlns:a16="http://schemas.microsoft.com/office/drawing/2014/main" id="{E000CDA7-55E2-4928-8C21-40FEFBD8CF5A}"/>
                </a:ext>
              </a:extLst>
            </p:cNvPr>
            <p:cNvGrpSpPr/>
            <p:nvPr/>
          </p:nvGrpSpPr>
          <p:grpSpPr>
            <a:xfrm>
              <a:off x="3761080" y="2619016"/>
              <a:ext cx="366840" cy="366825"/>
              <a:chOff x="4034392" y="1826565"/>
              <a:chExt cx="248145" cy="248145"/>
            </a:xfrm>
            <a:solidFill>
              <a:srgbClr val="6EBE4A"/>
            </a:solidFill>
          </p:grpSpPr>
          <p:grpSp>
            <p:nvGrpSpPr>
              <p:cNvPr id="138" name="Group 137">
                <a:extLst>
                  <a:ext uri="{FF2B5EF4-FFF2-40B4-BE49-F238E27FC236}">
                    <a16:creationId xmlns:a16="http://schemas.microsoft.com/office/drawing/2014/main" id="{39E2F66A-66F8-4BC7-9BE9-F6BC4C93AE2A}"/>
                  </a:ext>
                </a:extLst>
              </p:cNvPr>
              <p:cNvGrpSpPr/>
              <p:nvPr/>
            </p:nvGrpSpPr>
            <p:grpSpPr>
              <a:xfrm>
                <a:off x="4127062" y="1826565"/>
                <a:ext cx="62740" cy="248145"/>
                <a:chOff x="4120827" y="1826565"/>
                <a:chExt cx="62740" cy="248145"/>
              </a:xfrm>
              <a:grpFill/>
            </p:grpSpPr>
            <p:sp>
              <p:nvSpPr>
                <p:cNvPr id="142" name="Freeform 39">
                  <a:extLst>
                    <a:ext uri="{FF2B5EF4-FFF2-40B4-BE49-F238E27FC236}">
                      <a16:creationId xmlns:a16="http://schemas.microsoft.com/office/drawing/2014/main" id="{EF2158BA-D826-438E-B6ED-92698F15D269}"/>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143" name="Freeform 40">
                  <a:extLst>
                    <a:ext uri="{FF2B5EF4-FFF2-40B4-BE49-F238E27FC236}">
                      <a16:creationId xmlns:a16="http://schemas.microsoft.com/office/drawing/2014/main" id="{FAEBAACB-6B4B-40DD-854A-F1C4255D6F4D}"/>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nvGrpSpPr>
              <p:cNvPr id="139" name="Group 138">
                <a:extLst>
                  <a:ext uri="{FF2B5EF4-FFF2-40B4-BE49-F238E27FC236}">
                    <a16:creationId xmlns:a16="http://schemas.microsoft.com/office/drawing/2014/main" id="{734D2123-0731-4517-9E79-8F1AC995CB41}"/>
                  </a:ext>
                </a:extLst>
              </p:cNvPr>
              <p:cNvGrpSpPr/>
              <p:nvPr/>
            </p:nvGrpSpPr>
            <p:grpSpPr>
              <a:xfrm rot="5400000">
                <a:off x="4127095" y="1826598"/>
                <a:ext cx="62740" cy="248145"/>
                <a:chOff x="4120827" y="1826565"/>
                <a:chExt cx="62740" cy="248145"/>
              </a:xfrm>
              <a:grpFill/>
            </p:grpSpPr>
            <p:sp>
              <p:nvSpPr>
                <p:cNvPr id="140" name="Freeform 37">
                  <a:extLst>
                    <a:ext uri="{FF2B5EF4-FFF2-40B4-BE49-F238E27FC236}">
                      <a16:creationId xmlns:a16="http://schemas.microsoft.com/office/drawing/2014/main" id="{1CEA854D-37D1-4D3A-8BEA-86A183C670DF}"/>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141" name="Freeform 38">
                  <a:extLst>
                    <a:ext uri="{FF2B5EF4-FFF2-40B4-BE49-F238E27FC236}">
                      <a16:creationId xmlns:a16="http://schemas.microsoft.com/office/drawing/2014/main" id="{F02988DA-83D6-47D6-BA78-84316C4CC4B0}"/>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grpSp>
      <p:grpSp>
        <p:nvGrpSpPr>
          <p:cNvPr id="147" name="Group 146">
            <a:extLst>
              <a:ext uri="{FF2B5EF4-FFF2-40B4-BE49-F238E27FC236}">
                <a16:creationId xmlns:a16="http://schemas.microsoft.com/office/drawing/2014/main" id="{05D1E3BE-B096-4112-9489-2BFC368045E0}"/>
              </a:ext>
            </a:extLst>
          </p:cNvPr>
          <p:cNvGrpSpPr/>
          <p:nvPr/>
        </p:nvGrpSpPr>
        <p:grpSpPr>
          <a:xfrm>
            <a:off x="6787864" y="3190168"/>
            <a:ext cx="175300" cy="175300"/>
            <a:chOff x="4682991" y="1019790"/>
            <a:chExt cx="548640" cy="548640"/>
          </a:xfrm>
        </p:grpSpPr>
        <p:sp>
          <p:nvSpPr>
            <p:cNvPr id="148" name="Oval 263">
              <a:extLst>
                <a:ext uri="{FF2B5EF4-FFF2-40B4-BE49-F238E27FC236}">
                  <a16:creationId xmlns:a16="http://schemas.microsoft.com/office/drawing/2014/main" id="{AD8F7907-0C3A-4D49-9791-CAD6649CF7B6}"/>
                </a:ext>
              </a:extLst>
            </p:cNvPr>
            <p:cNvSpPr>
              <a:spLocks/>
            </p:cNvSpPr>
            <p:nvPr/>
          </p:nvSpPr>
          <p:spPr bwMode="auto">
            <a:xfrm>
              <a:off x="4682991" y="1019790"/>
              <a:ext cx="548640" cy="548640"/>
            </a:xfrm>
            <a:prstGeom prst="ellipse">
              <a:avLst/>
            </a:prstGeom>
            <a:solidFill>
              <a:srgbClr val="6EBE4A"/>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cs typeface="+mn-cs"/>
              </a:endParaRPr>
            </a:p>
          </p:txBody>
        </p:sp>
        <p:grpSp>
          <p:nvGrpSpPr>
            <p:cNvPr id="149" name="Group 148">
              <a:extLst>
                <a:ext uri="{FF2B5EF4-FFF2-40B4-BE49-F238E27FC236}">
                  <a16:creationId xmlns:a16="http://schemas.microsoft.com/office/drawing/2014/main" id="{E9C9E713-AA3B-43EE-86A4-5A5357458D03}"/>
                </a:ext>
              </a:extLst>
            </p:cNvPr>
            <p:cNvGrpSpPr/>
            <p:nvPr/>
          </p:nvGrpSpPr>
          <p:grpSpPr>
            <a:xfrm>
              <a:off x="4789549" y="1151957"/>
              <a:ext cx="335524" cy="284307"/>
              <a:chOff x="4780856" y="1109136"/>
              <a:chExt cx="335524" cy="284307"/>
            </a:xfrm>
          </p:grpSpPr>
          <p:sp>
            <p:nvSpPr>
              <p:cNvPr id="150" name="Freeform 297">
                <a:extLst>
                  <a:ext uri="{FF2B5EF4-FFF2-40B4-BE49-F238E27FC236}">
                    <a16:creationId xmlns:a16="http://schemas.microsoft.com/office/drawing/2014/main" id="{B0EC9319-A9EA-4E86-AE25-F3F42AE34398}"/>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rgbClr val="005073"/>
              </a:solidFill>
              <a:ln w="25400" cap="flat" cmpd="sng" algn="ctr">
                <a:no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charset="0"/>
                  <a:cs typeface="+mn-cs"/>
                </a:endParaRPr>
              </a:p>
            </p:txBody>
          </p:sp>
          <p:sp>
            <p:nvSpPr>
              <p:cNvPr id="151" name="Freeform 298">
                <a:extLst>
                  <a:ext uri="{FF2B5EF4-FFF2-40B4-BE49-F238E27FC236}">
                    <a16:creationId xmlns:a16="http://schemas.microsoft.com/office/drawing/2014/main" id="{B677DB89-7C57-492A-9B1A-416DDA5C84B7}"/>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rgbClr val="005073"/>
              </a:solidFill>
              <a:ln w="25400" cap="flat" cmpd="sng" algn="ctr">
                <a:no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charset="0"/>
                  <a:cs typeface="+mn-cs"/>
                </a:endParaRPr>
              </a:p>
            </p:txBody>
          </p:sp>
          <p:sp>
            <p:nvSpPr>
              <p:cNvPr id="152" name="Freeform 299">
                <a:extLst>
                  <a:ext uri="{FF2B5EF4-FFF2-40B4-BE49-F238E27FC236}">
                    <a16:creationId xmlns:a16="http://schemas.microsoft.com/office/drawing/2014/main" id="{E0797964-4C5D-45FE-840B-EC1717997BBF}"/>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rgbClr val="005073"/>
              </a:solidFill>
              <a:ln w="25400" cap="flat" cmpd="sng" algn="ctr">
                <a:no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charset="0"/>
                  <a:cs typeface="+mn-cs"/>
                </a:endParaRPr>
              </a:p>
            </p:txBody>
          </p:sp>
          <p:sp>
            <p:nvSpPr>
              <p:cNvPr id="153" name="Freeform 300">
                <a:extLst>
                  <a:ext uri="{FF2B5EF4-FFF2-40B4-BE49-F238E27FC236}">
                    <a16:creationId xmlns:a16="http://schemas.microsoft.com/office/drawing/2014/main" id="{2C49F96A-6435-4EA7-B3D3-A9060459C357}"/>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rgbClr val="005073"/>
              </a:solidFill>
              <a:ln w="25400" cap="flat" cmpd="sng" algn="ctr">
                <a:noFill/>
                <a:prstDash val="solid"/>
              </a:ln>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ＭＳ Ｐゴシック" charset="0"/>
                  <a:cs typeface="+mn-cs"/>
                </a:endParaRPr>
              </a:p>
            </p:txBody>
          </p:sp>
        </p:grpSp>
      </p:grpSp>
      <p:grpSp>
        <p:nvGrpSpPr>
          <p:cNvPr id="222" name="Group 221">
            <a:extLst>
              <a:ext uri="{FF2B5EF4-FFF2-40B4-BE49-F238E27FC236}">
                <a16:creationId xmlns:a16="http://schemas.microsoft.com/office/drawing/2014/main" id="{02FD6955-5984-41FE-91C0-5634B9E5A1F7}"/>
              </a:ext>
            </a:extLst>
          </p:cNvPr>
          <p:cNvGrpSpPr/>
          <p:nvPr/>
        </p:nvGrpSpPr>
        <p:grpSpPr>
          <a:xfrm>
            <a:off x="6349479" y="3457162"/>
            <a:ext cx="309158" cy="321587"/>
            <a:chOff x="7227465" y="3598760"/>
            <a:chExt cx="505358" cy="525674"/>
          </a:xfrm>
        </p:grpSpPr>
        <p:pic>
          <p:nvPicPr>
            <p:cNvPr id="223" name="Picture 222">
              <a:extLst>
                <a:ext uri="{FF2B5EF4-FFF2-40B4-BE49-F238E27FC236}">
                  <a16:creationId xmlns:a16="http://schemas.microsoft.com/office/drawing/2014/main" id="{8E4B11F5-EACF-4583-9D0C-CE1F7B1EF51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27465" y="3598760"/>
              <a:ext cx="500848" cy="500847"/>
            </a:xfrm>
            <a:prstGeom prst="ellipse">
              <a:avLst/>
            </a:prstGeom>
            <a:solidFill>
              <a:srgbClr val="FFFFFF"/>
            </a:solidFill>
            <a:ln w="12700">
              <a:noFill/>
              <a:prstDash val="solid"/>
              <a:round/>
              <a:headEnd/>
              <a:tailEnd/>
            </a:ln>
            <a:effectLst/>
          </p:spPr>
        </p:pic>
        <p:grpSp>
          <p:nvGrpSpPr>
            <p:cNvPr id="224" name="Group 223">
              <a:extLst>
                <a:ext uri="{FF2B5EF4-FFF2-40B4-BE49-F238E27FC236}">
                  <a16:creationId xmlns:a16="http://schemas.microsoft.com/office/drawing/2014/main" id="{672F5137-BB76-4BE2-82D6-AAE7C4610D0F}"/>
                </a:ext>
              </a:extLst>
            </p:cNvPr>
            <p:cNvGrpSpPr/>
            <p:nvPr/>
          </p:nvGrpSpPr>
          <p:grpSpPr>
            <a:xfrm>
              <a:off x="7503526" y="3895137"/>
              <a:ext cx="229297" cy="229297"/>
              <a:chOff x="1817606" y="2379531"/>
              <a:chExt cx="594360" cy="594360"/>
            </a:xfrm>
            <a:effectLst/>
          </p:grpSpPr>
          <p:sp>
            <p:nvSpPr>
              <p:cNvPr id="225" name="Freeform 5">
                <a:extLst>
                  <a:ext uri="{FF2B5EF4-FFF2-40B4-BE49-F238E27FC236}">
                    <a16:creationId xmlns:a16="http://schemas.microsoft.com/office/drawing/2014/main" id="{2A9A450C-5107-4526-82AA-4EB7D6B09568}"/>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grpSp>
            <p:nvGrpSpPr>
              <p:cNvPr id="226" name="Group 157">
                <a:extLst>
                  <a:ext uri="{FF2B5EF4-FFF2-40B4-BE49-F238E27FC236}">
                    <a16:creationId xmlns:a16="http://schemas.microsoft.com/office/drawing/2014/main" id="{DB1409D4-EEEB-41AE-B918-1B3BC299D600}"/>
                  </a:ext>
                </a:extLst>
              </p:cNvPr>
              <p:cNvGrpSpPr>
                <a:grpSpLocks noChangeAspect="1"/>
              </p:cNvGrpSpPr>
              <p:nvPr/>
            </p:nvGrpSpPr>
            <p:grpSpPr>
              <a:xfrm>
                <a:off x="1928007" y="2538225"/>
                <a:ext cx="373559" cy="276972"/>
                <a:chOff x="13636625" y="1373188"/>
                <a:chExt cx="1330325" cy="825500"/>
              </a:xfrm>
              <a:solidFill>
                <a:srgbClr val="FFFFFF"/>
              </a:solidFill>
            </p:grpSpPr>
            <p:sp>
              <p:nvSpPr>
                <p:cNvPr id="227" name="Rectangle 17">
                  <a:extLst>
                    <a:ext uri="{FF2B5EF4-FFF2-40B4-BE49-F238E27FC236}">
                      <a16:creationId xmlns:a16="http://schemas.microsoft.com/office/drawing/2014/main" id="{83B3FB9E-BD16-43ED-BEAB-B3EA732114E4}"/>
                    </a:ext>
                  </a:extLst>
                </p:cNvPr>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28" name="Rectangle 18">
                  <a:extLst>
                    <a:ext uri="{FF2B5EF4-FFF2-40B4-BE49-F238E27FC236}">
                      <a16:creationId xmlns:a16="http://schemas.microsoft.com/office/drawing/2014/main" id="{853A2DD2-D355-4E8A-A137-A5CDD9D5CFC5}"/>
                    </a:ext>
                  </a:extLst>
                </p:cNvPr>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29" name="Rectangle 19">
                  <a:extLst>
                    <a:ext uri="{FF2B5EF4-FFF2-40B4-BE49-F238E27FC236}">
                      <a16:creationId xmlns:a16="http://schemas.microsoft.com/office/drawing/2014/main" id="{B0C58062-9BC3-4ABB-ACD1-D4237DE3E4B8}"/>
                    </a:ext>
                  </a:extLst>
                </p:cNvPr>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30" name="Rectangle 20">
                  <a:extLst>
                    <a:ext uri="{FF2B5EF4-FFF2-40B4-BE49-F238E27FC236}">
                      <a16:creationId xmlns:a16="http://schemas.microsoft.com/office/drawing/2014/main" id="{00B9995B-7D82-4CAB-8EF0-A79DFD583FCE}"/>
                    </a:ext>
                  </a:extLst>
                </p:cNvPr>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31" name="Rectangle 21">
                  <a:extLst>
                    <a:ext uri="{FF2B5EF4-FFF2-40B4-BE49-F238E27FC236}">
                      <a16:creationId xmlns:a16="http://schemas.microsoft.com/office/drawing/2014/main" id="{B03F3275-44F6-41A2-88C8-2D6A9CBF68F8}"/>
                    </a:ext>
                  </a:extLst>
                </p:cNvPr>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32" name="Rectangle 22">
                  <a:extLst>
                    <a:ext uri="{FF2B5EF4-FFF2-40B4-BE49-F238E27FC236}">
                      <a16:creationId xmlns:a16="http://schemas.microsoft.com/office/drawing/2014/main" id="{3FE9ECAA-A149-41E2-B5A3-68CE428084E6}"/>
                    </a:ext>
                  </a:extLst>
                </p:cNvPr>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33" name="Rectangle 23">
                  <a:extLst>
                    <a:ext uri="{FF2B5EF4-FFF2-40B4-BE49-F238E27FC236}">
                      <a16:creationId xmlns:a16="http://schemas.microsoft.com/office/drawing/2014/main" id="{5B0D6387-309A-43DC-B1B6-7056763DFDB1}"/>
                    </a:ext>
                  </a:extLst>
                </p:cNvPr>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34" name="Rectangle 24">
                  <a:extLst>
                    <a:ext uri="{FF2B5EF4-FFF2-40B4-BE49-F238E27FC236}">
                      <a16:creationId xmlns:a16="http://schemas.microsoft.com/office/drawing/2014/main" id="{A43F77B2-98DF-4A85-8BB4-99799E1F8926}"/>
                    </a:ext>
                  </a:extLst>
                </p:cNvPr>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35" name="Rectangle 25">
                  <a:extLst>
                    <a:ext uri="{FF2B5EF4-FFF2-40B4-BE49-F238E27FC236}">
                      <a16:creationId xmlns:a16="http://schemas.microsoft.com/office/drawing/2014/main" id="{396D352A-B503-4080-8DAA-CF468C1E9E77}"/>
                    </a:ext>
                  </a:extLst>
                </p:cNvPr>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36" name="Rectangle 26">
                  <a:extLst>
                    <a:ext uri="{FF2B5EF4-FFF2-40B4-BE49-F238E27FC236}">
                      <a16:creationId xmlns:a16="http://schemas.microsoft.com/office/drawing/2014/main" id="{08B861B8-BFB9-48B5-AD59-1CBB1A09058A}"/>
                    </a:ext>
                  </a:extLst>
                </p:cNvPr>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37" name="Rectangle 27">
                  <a:extLst>
                    <a:ext uri="{FF2B5EF4-FFF2-40B4-BE49-F238E27FC236}">
                      <a16:creationId xmlns:a16="http://schemas.microsoft.com/office/drawing/2014/main" id="{94B07C1A-DBD7-49A9-9749-ED114C825DE7}"/>
                    </a:ext>
                  </a:extLst>
                </p:cNvPr>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38" name="Rectangle 28">
                  <a:extLst>
                    <a:ext uri="{FF2B5EF4-FFF2-40B4-BE49-F238E27FC236}">
                      <a16:creationId xmlns:a16="http://schemas.microsoft.com/office/drawing/2014/main" id="{5A977384-0870-44C9-8068-EFE2F48BC7BB}"/>
                    </a:ext>
                  </a:extLst>
                </p:cNvPr>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39" name="Rectangle 29">
                  <a:extLst>
                    <a:ext uri="{FF2B5EF4-FFF2-40B4-BE49-F238E27FC236}">
                      <a16:creationId xmlns:a16="http://schemas.microsoft.com/office/drawing/2014/main" id="{EE3FF243-E2FF-4920-9B9F-ECFE9F919E04}"/>
                    </a:ext>
                  </a:extLst>
                </p:cNvPr>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40" name="Rectangle 30">
                  <a:extLst>
                    <a:ext uri="{FF2B5EF4-FFF2-40B4-BE49-F238E27FC236}">
                      <a16:creationId xmlns:a16="http://schemas.microsoft.com/office/drawing/2014/main" id="{A3268FB7-B878-45E6-B9FA-1A3371B434DC}"/>
                    </a:ext>
                  </a:extLst>
                </p:cNvPr>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41" name="Rectangle 31">
                  <a:extLst>
                    <a:ext uri="{FF2B5EF4-FFF2-40B4-BE49-F238E27FC236}">
                      <a16:creationId xmlns:a16="http://schemas.microsoft.com/office/drawing/2014/main" id="{D68194A4-69B1-4DB4-B771-2DD13D0642D6}"/>
                    </a:ext>
                  </a:extLst>
                </p:cNvPr>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42" name="Rectangle 32">
                  <a:extLst>
                    <a:ext uri="{FF2B5EF4-FFF2-40B4-BE49-F238E27FC236}">
                      <a16:creationId xmlns:a16="http://schemas.microsoft.com/office/drawing/2014/main" id="{023B6BE6-0F3D-4B45-9893-93D267F48B77}"/>
                    </a:ext>
                  </a:extLst>
                </p:cNvPr>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43" name="Rectangle 33">
                  <a:extLst>
                    <a:ext uri="{FF2B5EF4-FFF2-40B4-BE49-F238E27FC236}">
                      <a16:creationId xmlns:a16="http://schemas.microsoft.com/office/drawing/2014/main" id="{F6005261-2532-4DED-A8B7-2604925C96CE}"/>
                    </a:ext>
                  </a:extLst>
                </p:cNvPr>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44" name="Rectangle 34">
                  <a:extLst>
                    <a:ext uri="{FF2B5EF4-FFF2-40B4-BE49-F238E27FC236}">
                      <a16:creationId xmlns:a16="http://schemas.microsoft.com/office/drawing/2014/main" id="{42382D5E-E699-47AF-BED2-950269563D3A}"/>
                    </a:ext>
                  </a:extLst>
                </p:cNvPr>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45" name="Rectangle 35">
                  <a:extLst>
                    <a:ext uri="{FF2B5EF4-FFF2-40B4-BE49-F238E27FC236}">
                      <a16:creationId xmlns:a16="http://schemas.microsoft.com/office/drawing/2014/main" id="{349C9BA9-5E2F-488D-A546-93B977116185}"/>
                    </a:ext>
                  </a:extLst>
                </p:cNvPr>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46" name="Rectangle 36">
                  <a:extLst>
                    <a:ext uri="{FF2B5EF4-FFF2-40B4-BE49-F238E27FC236}">
                      <a16:creationId xmlns:a16="http://schemas.microsoft.com/office/drawing/2014/main" id="{17BB2CDD-201C-409C-87D5-DD34D6D7A034}"/>
                    </a:ext>
                  </a:extLst>
                </p:cNvPr>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247" name="Rectangle 37">
                  <a:extLst>
                    <a:ext uri="{FF2B5EF4-FFF2-40B4-BE49-F238E27FC236}">
                      <a16:creationId xmlns:a16="http://schemas.microsoft.com/office/drawing/2014/main" id="{F82317C8-835E-4F70-B9FF-CBE9641DBF5C}"/>
                    </a:ext>
                  </a:extLst>
                </p:cNvPr>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23"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grpSp>
        </p:grpSp>
      </p:grpSp>
      <p:grpSp>
        <p:nvGrpSpPr>
          <p:cNvPr id="270" name="Group 269">
            <a:extLst>
              <a:ext uri="{FF2B5EF4-FFF2-40B4-BE49-F238E27FC236}">
                <a16:creationId xmlns:a16="http://schemas.microsoft.com/office/drawing/2014/main" id="{9BC89F17-DCC7-48C3-A7B0-95193197796E}"/>
              </a:ext>
            </a:extLst>
          </p:cNvPr>
          <p:cNvGrpSpPr/>
          <p:nvPr/>
        </p:nvGrpSpPr>
        <p:grpSpPr>
          <a:xfrm>
            <a:off x="6555810" y="3190500"/>
            <a:ext cx="175300" cy="175300"/>
            <a:chOff x="4267363" y="2915258"/>
            <a:chExt cx="548640" cy="548640"/>
          </a:xfrm>
        </p:grpSpPr>
        <p:sp>
          <p:nvSpPr>
            <p:cNvPr id="271" name="Oval 263">
              <a:extLst>
                <a:ext uri="{FF2B5EF4-FFF2-40B4-BE49-F238E27FC236}">
                  <a16:creationId xmlns:a16="http://schemas.microsoft.com/office/drawing/2014/main" id="{BFE2D74C-9A42-489D-BCE5-3C94E935E544}"/>
                </a:ext>
              </a:extLst>
            </p:cNvPr>
            <p:cNvSpPr>
              <a:spLocks/>
            </p:cNvSpPr>
            <p:nvPr/>
          </p:nvSpPr>
          <p:spPr bwMode="auto">
            <a:xfrm>
              <a:off x="4267363" y="2915258"/>
              <a:ext cx="548640" cy="548640"/>
            </a:xfrm>
            <a:prstGeom prst="ellipse">
              <a:avLst/>
            </a:prstGeom>
            <a:solidFill>
              <a:srgbClr val="E9E9E9"/>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72" name="object 424">
              <a:extLst>
                <a:ext uri="{FF2B5EF4-FFF2-40B4-BE49-F238E27FC236}">
                  <a16:creationId xmlns:a16="http://schemas.microsoft.com/office/drawing/2014/main" id="{BF3F7911-B274-4ED2-89F8-C246713DE907}"/>
                </a:ext>
              </a:extLst>
            </p:cNvPr>
            <p:cNvSpPr/>
            <p:nvPr/>
          </p:nvSpPr>
          <p:spPr>
            <a:xfrm>
              <a:off x="4405503" y="3248452"/>
              <a:ext cx="273263" cy="107076"/>
            </a:xfrm>
            <a:custGeom>
              <a:avLst/>
              <a:gdLst/>
              <a:ahLst/>
              <a:cxnLst/>
              <a:rect l="l" t="t" r="r" b="b"/>
              <a:pathLst>
                <a:path w="669290" h="262254">
                  <a:moveTo>
                    <a:pt x="668489" y="0"/>
                  </a:moveTo>
                  <a:lnTo>
                    <a:pt x="0" y="1193"/>
                  </a:lnTo>
                  <a:lnTo>
                    <a:pt x="469" y="262064"/>
                  </a:lnTo>
                  <a:lnTo>
                    <a:pt x="668959" y="260870"/>
                  </a:lnTo>
                  <a:lnTo>
                    <a:pt x="668849" y="199643"/>
                  </a:lnTo>
                  <a:lnTo>
                    <a:pt x="335864" y="199643"/>
                  </a:lnTo>
                  <a:lnTo>
                    <a:pt x="322226" y="198526"/>
                  </a:lnTo>
                  <a:lnTo>
                    <a:pt x="286588" y="180111"/>
                  </a:lnTo>
                  <a:lnTo>
                    <a:pt x="267601" y="146786"/>
                  </a:lnTo>
                  <a:lnTo>
                    <a:pt x="96862" y="146786"/>
                  </a:lnTo>
                  <a:lnTo>
                    <a:pt x="96862" y="122326"/>
                  </a:lnTo>
                  <a:lnTo>
                    <a:pt x="266090" y="122326"/>
                  </a:lnTo>
                  <a:lnTo>
                    <a:pt x="268308" y="111248"/>
                  </a:lnTo>
                  <a:lnTo>
                    <a:pt x="307751" y="66658"/>
                  </a:lnTo>
                  <a:lnTo>
                    <a:pt x="333746" y="61194"/>
                  </a:lnTo>
                  <a:lnTo>
                    <a:pt x="668600" y="61194"/>
                  </a:lnTo>
                  <a:lnTo>
                    <a:pt x="668489" y="0"/>
                  </a:lnTo>
                  <a:close/>
                </a:path>
                <a:path w="669290" h="262254">
                  <a:moveTo>
                    <a:pt x="668600" y="61194"/>
                  </a:moveTo>
                  <a:lnTo>
                    <a:pt x="333746" y="61194"/>
                  </a:lnTo>
                  <a:lnTo>
                    <a:pt x="359898" y="65856"/>
                  </a:lnTo>
                  <a:lnTo>
                    <a:pt x="383031" y="80695"/>
                  </a:lnTo>
                  <a:lnTo>
                    <a:pt x="390820" y="89699"/>
                  </a:lnTo>
                  <a:lnTo>
                    <a:pt x="396874" y="99801"/>
                  </a:lnTo>
                  <a:lnTo>
                    <a:pt x="401119" y="110758"/>
                  </a:lnTo>
                  <a:lnTo>
                    <a:pt x="403478" y="122326"/>
                  </a:lnTo>
                  <a:lnTo>
                    <a:pt x="581774" y="122326"/>
                  </a:lnTo>
                  <a:lnTo>
                    <a:pt x="581774" y="146786"/>
                  </a:lnTo>
                  <a:lnTo>
                    <a:pt x="402069" y="146786"/>
                  </a:lnTo>
                  <a:lnTo>
                    <a:pt x="399321" y="155533"/>
                  </a:lnTo>
                  <a:lnTo>
                    <a:pt x="374083" y="187472"/>
                  </a:lnTo>
                  <a:lnTo>
                    <a:pt x="335864" y="199643"/>
                  </a:lnTo>
                  <a:lnTo>
                    <a:pt x="668849" y="199643"/>
                  </a:lnTo>
                  <a:lnTo>
                    <a:pt x="668600" y="61194"/>
                  </a:lnTo>
                  <a:close/>
                </a:path>
              </a:pathLst>
            </a:custGeom>
            <a:solidFill>
              <a:srgbClr val="00BCEB"/>
            </a:solidFill>
          </p:spPr>
          <p:txBody>
            <a:bodyPr wrap="square" lIns="0" tIns="0" rIns="0" bIns="0" rtlCol="0"/>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grpSp>
          <p:nvGrpSpPr>
            <p:cNvPr id="273" name="Group 272">
              <a:extLst>
                <a:ext uri="{FF2B5EF4-FFF2-40B4-BE49-F238E27FC236}">
                  <a16:creationId xmlns:a16="http://schemas.microsoft.com/office/drawing/2014/main" id="{A2B82416-1B49-4ED2-A3C7-354EA4F54B21}"/>
                </a:ext>
              </a:extLst>
            </p:cNvPr>
            <p:cNvGrpSpPr/>
            <p:nvPr/>
          </p:nvGrpSpPr>
          <p:grpSpPr>
            <a:xfrm>
              <a:off x="4422922" y="3030100"/>
              <a:ext cx="238375" cy="192830"/>
              <a:chOff x="5121843" y="3876582"/>
              <a:chExt cx="437148" cy="353618"/>
            </a:xfrm>
          </p:grpSpPr>
          <p:sp>
            <p:nvSpPr>
              <p:cNvPr id="274" name="Freeform 176">
                <a:extLst>
                  <a:ext uri="{FF2B5EF4-FFF2-40B4-BE49-F238E27FC236}">
                    <a16:creationId xmlns:a16="http://schemas.microsoft.com/office/drawing/2014/main" id="{B55A3D3A-FCA2-4F48-B2EE-6D0C1EBDDBD7}"/>
                  </a:ext>
                </a:extLst>
              </p:cNvPr>
              <p:cNvSpPr>
                <a:spLocks/>
              </p:cNvSpPr>
              <p:nvPr/>
            </p:nvSpPr>
            <p:spPr bwMode="auto">
              <a:xfrm>
                <a:off x="5291689" y="4129962"/>
                <a:ext cx="100237" cy="100238"/>
              </a:xfrm>
              <a:custGeom>
                <a:avLst/>
                <a:gdLst>
                  <a:gd name="T0" fmla="*/ 31 w 213"/>
                  <a:gd name="T1" fmla="*/ 31 h 213"/>
                  <a:gd name="T2" fmla="*/ 17 w 213"/>
                  <a:gd name="T3" fmla="*/ 48 h 213"/>
                  <a:gd name="T4" fmla="*/ 8 w 213"/>
                  <a:gd name="T5" fmla="*/ 67 h 213"/>
                  <a:gd name="T6" fmla="*/ 2 w 213"/>
                  <a:gd name="T7" fmla="*/ 86 h 213"/>
                  <a:gd name="T8" fmla="*/ 0 w 213"/>
                  <a:gd name="T9" fmla="*/ 107 h 213"/>
                  <a:gd name="T10" fmla="*/ 2 w 213"/>
                  <a:gd name="T11" fmla="*/ 127 h 213"/>
                  <a:gd name="T12" fmla="*/ 8 w 213"/>
                  <a:gd name="T13" fmla="*/ 146 h 213"/>
                  <a:gd name="T14" fmla="*/ 17 w 213"/>
                  <a:gd name="T15" fmla="*/ 166 h 213"/>
                  <a:gd name="T16" fmla="*/ 31 w 213"/>
                  <a:gd name="T17" fmla="*/ 182 h 213"/>
                  <a:gd name="T18" fmla="*/ 39 w 213"/>
                  <a:gd name="T19" fmla="*/ 190 h 213"/>
                  <a:gd name="T20" fmla="*/ 57 w 213"/>
                  <a:gd name="T21" fmla="*/ 202 h 213"/>
                  <a:gd name="T22" fmla="*/ 76 w 213"/>
                  <a:gd name="T23" fmla="*/ 210 h 213"/>
                  <a:gd name="T24" fmla="*/ 97 w 213"/>
                  <a:gd name="T25" fmla="*/ 213 h 213"/>
                  <a:gd name="T26" fmla="*/ 117 w 213"/>
                  <a:gd name="T27" fmla="*/ 213 h 213"/>
                  <a:gd name="T28" fmla="*/ 137 w 213"/>
                  <a:gd name="T29" fmla="*/ 210 h 213"/>
                  <a:gd name="T30" fmla="*/ 157 w 213"/>
                  <a:gd name="T31" fmla="*/ 202 h 213"/>
                  <a:gd name="T32" fmla="*/ 174 w 213"/>
                  <a:gd name="T33" fmla="*/ 190 h 213"/>
                  <a:gd name="T34" fmla="*/ 182 w 213"/>
                  <a:gd name="T35" fmla="*/ 182 h 213"/>
                  <a:gd name="T36" fmla="*/ 196 w 213"/>
                  <a:gd name="T37" fmla="*/ 166 h 213"/>
                  <a:gd name="T38" fmla="*/ 206 w 213"/>
                  <a:gd name="T39" fmla="*/ 146 h 213"/>
                  <a:gd name="T40" fmla="*/ 212 w 213"/>
                  <a:gd name="T41" fmla="*/ 127 h 213"/>
                  <a:gd name="T42" fmla="*/ 213 w 213"/>
                  <a:gd name="T43" fmla="*/ 107 h 213"/>
                  <a:gd name="T44" fmla="*/ 212 w 213"/>
                  <a:gd name="T45" fmla="*/ 86 h 213"/>
                  <a:gd name="T46" fmla="*/ 206 w 213"/>
                  <a:gd name="T47" fmla="*/ 67 h 213"/>
                  <a:gd name="T48" fmla="*/ 196 w 213"/>
                  <a:gd name="T49" fmla="*/ 48 h 213"/>
                  <a:gd name="T50" fmla="*/ 182 w 213"/>
                  <a:gd name="T51" fmla="*/ 31 h 213"/>
                  <a:gd name="T52" fmla="*/ 174 w 213"/>
                  <a:gd name="T53" fmla="*/ 24 h 213"/>
                  <a:gd name="T54" fmla="*/ 157 w 213"/>
                  <a:gd name="T55" fmla="*/ 12 h 213"/>
                  <a:gd name="T56" fmla="*/ 137 w 213"/>
                  <a:gd name="T57" fmla="*/ 4 h 213"/>
                  <a:gd name="T58" fmla="*/ 117 w 213"/>
                  <a:gd name="T59" fmla="*/ 0 h 213"/>
                  <a:gd name="T60" fmla="*/ 97 w 213"/>
                  <a:gd name="T61" fmla="*/ 0 h 213"/>
                  <a:gd name="T62" fmla="*/ 76 w 213"/>
                  <a:gd name="T63" fmla="*/ 4 h 213"/>
                  <a:gd name="T64" fmla="*/ 57 w 213"/>
                  <a:gd name="T65" fmla="*/ 12 h 213"/>
                  <a:gd name="T66" fmla="*/ 39 w 213"/>
                  <a:gd name="T67" fmla="*/ 24 h 213"/>
                  <a:gd name="T68" fmla="*/ 31 w 213"/>
                  <a:gd name="T69" fmla="*/ 3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213">
                    <a:moveTo>
                      <a:pt x="31" y="31"/>
                    </a:moveTo>
                    <a:lnTo>
                      <a:pt x="31" y="31"/>
                    </a:lnTo>
                    <a:lnTo>
                      <a:pt x="24" y="39"/>
                    </a:lnTo>
                    <a:lnTo>
                      <a:pt x="17" y="48"/>
                    </a:lnTo>
                    <a:lnTo>
                      <a:pt x="12" y="57"/>
                    </a:lnTo>
                    <a:lnTo>
                      <a:pt x="8" y="67"/>
                    </a:lnTo>
                    <a:lnTo>
                      <a:pt x="4" y="76"/>
                    </a:lnTo>
                    <a:lnTo>
                      <a:pt x="2" y="86"/>
                    </a:lnTo>
                    <a:lnTo>
                      <a:pt x="1" y="97"/>
                    </a:lnTo>
                    <a:lnTo>
                      <a:pt x="0" y="107"/>
                    </a:lnTo>
                    <a:lnTo>
                      <a:pt x="1" y="116"/>
                    </a:lnTo>
                    <a:lnTo>
                      <a:pt x="2" y="127"/>
                    </a:lnTo>
                    <a:lnTo>
                      <a:pt x="4" y="137"/>
                    </a:lnTo>
                    <a:lnTo>
                      <a:pt x="8" y="146"/>
                    </a:lnTo>
                    <a:lnTo>
                      <a:pt x="12" y="157"/>
                    </a:lnTo>
                    <a:lnTo>
                      <a:pt x="17" y="166"/>
                    </a:lnTo>
                    <a:lnTo>
                      <a:pt x="24" y="174"/>
                    </a:lnTo>
                    <a:lnTo>
                      <a:pt x="31" y="182"/>
                    </a:lnTo>
                    <a:lnTo>
                      <a:pt x="31" y="182"/>
                    </a:lnTo>
                    <a:lnTo>
                      <a:pt x="39" y="190"/>
                    </a:lnTo>
                    <a:lnTo>
                      <a:pt x="48" y="196"/>
                    </a:lnTo>
                    <a:lnTo>
                      <a:pt x="57" y="202"/>
                    </a:lnTo>
                    <a:lnTo>
                      <a:pt x="67" y="206"/>
                    </a:lnTo>
                    <a:lnTo>
                      <a:pt x="76" y="210"/>
                    </a:lnTo>
                    <a:lnTo>
                      <a:pt x="86" y="212"/>
                    </a:lnTo>
                    <a:lnTo>
                      <a:pt x="97" y="213"/>
                    </a:lnTo>
                    <a:lnTo>
                      <a:pt x="107" y="213"/>
                    </a:lnTo>
                    <a:lnTo>
                      <a:pt x="117" y="213"/>
                    </a:lnTo>
                    <a:lnTo>
                      <a:pt x="127" y="212"/>
                    </a:lnTo>
                    <a:lnTo>
                      <a:pt x="137" y="210"/>
                    </a:lnTo>
                    <a:lnTo>
                      <a:pt x="147" y="206"/>
                    </a:lnTo>
                    <a:lnTo>
                      <a:pt x="157" y="202"/>
                    </a:lnTo>
                    <a:lnTo>
                      <a:pt x="166" y="196"/>
                    </a:lnTo>
                    <a:lnTo>
                      <a:pt x="174" y="190"/>
                    </a:lnTo>
                    <a:lnTo>
                      <a:pt x="182" y="182"/>
                    </a:lnTo>
                    <a:lnTo>
                      <a:pt x="182" y="182"/>
                    </a:lnTo>
                    <a:lnTo>
                      <a:pt x="190" y="174"/>
                    </a:lnTo>
                    <a:lnTo>
                      <a:pt x="196" y="166"/>
                    </a:lnTo>
                    <a:lnTo>
                      <a:pt x="202" y="157"/>
                    </a:lnTo>
                    <a:lnTo>
                      <a:pt x="206" y="146"/>
                    </a:lnTo>
                    <a:lnTo>
                      <a:pt x="210" y="137"/>
                    </a:lnTo>
                    <a:lnTo>
                      <a:pt x="212" y="127"/>
                    </a:lnTo>
                    <a:lnTo>
                      <a:pt x="213" y="116"/>
                    </a:lnTo>
                    <a:lnTo>
                      <a:pt x="213" y="107"/>
                    </a:lnTo>
                    <a:lnTo>
                      <a:pt x="213" y="97"/>
                    </a:lnTo>
                    <a:lnTo>
                      <a:pt x="212" y="86"/>
                    </a:lnTo>
                    <a:lnTo>
                      <a:pt x="210" y="76"/>
                    </a:lnTo>
                    <a:lnTo>
                      <a:pt x="206" y="67"/>
                    </a:lnTo>
                    <a:lnTo>
                      <a:pt x="202" y="57"/>
                    </a:lnTo>
                    <a:lnTo>
                      <a:pt x="196" y="48"/>
                    </a:lnTo>
                    <a:lnTo>
                      <a:pt x="190" y="39"/>
                    </a:lnTo>
                    <a:lnTo>
                      <a:pt x="182" y="31"/>
                    </a:lnTo>
                    <a:lnTo>
                      <a:pt x="182" y="31"/>
                    </a:lnTo>
                    <a:lnTo>
                      <a:pt x="174" y="24"/>
                    </a:lnTo>
                    <a:lnTo>
                      <a:pt x="166" y="17"/>
                    </a:lnTo>
                    <a:lnTo>
                      <a:pt x="157" y="12"/>
                    </a:lnTo>
                    <a:lnTo>
                      <a:pt x="147" y="8"/>
                    </a:lnTo>
                    <a:lnTo>
                      <a:pt x="137" y="4"/>
                    </a:lnTo>
                    <a:lnTo>
                      <a:pt x="127" y="2"/>
                    </a:lnTo>
                    <a:lnTo>
                      <a:pt x="117" y="0"/>
                    </a:lnTo>
                    <a:lnTo>
                      <a:pt x="107" y="0"/>
                    </a:lnTo>
                    <a:lnTo>
                      <a:pt x="97" y="0"/>
                    </a:lnTo>
                    <a:lnTo>
                      <a:pt x="86" y="2"/>
                    </a:lnTo>
                    <a:lnTo>
                      <a:pt x="76" y="4"/>
                    </a:lnTo>
                    <a:lnTo>
                      <a:pt x="67" y="8"/>
                    </a:lnTo>
                    <a:lnTo>
                      <a:pt x="57" y="12"/>
                    </a:lnTo>
                    <a:lnTo>
                      <a:pt x="48" y="17"/>
                    </a:lnTo>
                    <a:lnTo>
                      <a:pt x="39" y="24"/>
                    </a:lnTo>
                    <a:lnTo>
                      <a:pt x="31" y="31"/>
                    </a:lnTo>
                    <a:lnTo>
                      <a:pt x="31" y="31"/>
                    </a:lnTo>
                    <a:close/>
                  </a:path>
                </a:pathLst>
              </a:custGeom>
              <a:solidFill>
                <a:srgbClr val="9CE5F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76767"/>
                  </a:solidFill>
                  <a:effectLst/>
                  <a:uLnTx/>
                  <a:uFillTx/>
                  <a:latin typeface="Arial"/>
                  <a:ea typeface="ＭＳ Ｐゴシック" charset="0"/>
                  <a:cs typeface="+mn-cs"/>
                </a:endParaRPr>
              </a:p>
            </p:txBody>
          </p:sp>
          <p:sp>
            <p:nvSpPr>
              <p:cNvPr id="275" name="Freeform 177">
                <a:extLst>
                  <a:ext uri="{FF2B5EF4-FFF2-40B4-BE49-F238E27FC236}">
                    <a16:creationId xmlns:a16="http://schemas.microsoft.com/office/drawing/2014/main" id="{C3737BCB-7346-4D0E-BB9D-6B8E36C3B380}"/>
                  </a:ext>
                </a:extLst>
              </p:cNvPr>
              <p:cNvSpPr>
                <a:spLocks/>
              </p:cNvSpPr>
              <p:nvPr/>
            </p:nvSpPr>
            <p:spPr bwMode="auto">
              <a:xfrm>
                <a:off x="5244355" y="4049215"/>
                <a:ext cx="194907" cy="69611"/>
              </a:xfrm>
              <a:custGeom>
                <a:avLst/>
                <a:gdLst>
                  <a:gd name="T0" fmla="*/ 302 w 424"/>
                  <a:gd name="T1" fmla="*/ 15 h 155"/>
                  <a:gd name="T2" fmla="*/ 257 w 424"/>
                  <a:gd name="T3" fmla="*/ 4 h 155"/>
                  <a:gd name="T4" fmla="*/ 212 w 424"/>
                  <a:gd name="T5" fmla="*/ 0 h 155"/>
                  <a:gd name="T6" fmla="*/ 184 w 424"/>
                  <a:gd name="T7" fmla="*/ 1 h 155"/>
                  <a:gd name="T8" fmla="*/ 131 w 424"/>
                  <a:gd name="T9" fmla="*/ 12 h 155"/>
                  <a:gd name="T10" fmla="*/ 81 w 424"/>
                  <a:gd name="T11" fmla="*/ 32 h 155"/>
                  <a:gd name="T12" fmla="*/ 56 w 424"/>
                  <a:gd name="T13" fmla="*/ 47 h 155"/>
                  <a:gd name="T14" fmla="*/ 33 w 424"/>
                  <a:gd name="T15" fmla="*/ 64 h 155"/>
                  <a:gd name="T16" fmla="*/ 11 w 424"/>
                  <a:gd name="T17" fmla="*/ 83 h 155"/>
                  <a:gd name="T18" fmla="*/ 7 w 424"/>
                  <a:gd name="T19" fmla="*/ 90 h 155"/>
                  <a:gd name="T20" fmla="*/ 0 w 424"/>
                  <a:gd name="T21" fmla="*/ 105 h 155"/>
                  <a:gd name="T22" fmla="*/ 0 w 424"/>
                  <a:gd name="T23" fmla="*/ 121 h 155"/>
                  <a:gd name="T24" fmla="*/ 7 w 424"/>
                  <a:gd name="T25" fmla="*/ 136 h 155"/>
                  <a:gd name="T26" fmla="*/ 11 w 424"/>
                  <a:gd name="T27" fmla="*/ 142 h 155"/>
                  <a:gd name="T28" fmla="*/ 25 w 424"/>
                  <a:gd name="T29" fmla="*/ 151 h 155"/>
                  <a:gd name="T30" fmla="*/ 41 w 424"/>
                  <a:gd name="T31" fmla="*/ 155 h 155"/>
                  <a:gd name="T32" fmla="*/ 49 w 424"/>
                  <a:gd name="T33" fmla="*/ 154 h 155"/>
                  <a:gd name="T34" fmla="*/ 64 w 424"/>
                  <a:gd name="T35" fmla="*/ 148 h 155"/>
                  <a:gd name="T36" fmla="*/ 70 w 424"/>
                  <a:gd name="T37" fmla="*/ 142 h 155"/>
                  <a:gd name="T38" fmla="*/ 102 w 424"/>
                  <a:gd name="T39" fmla="*/ 117 h 155"/>
                  <a:gd name="T40" fmla="*/ 137 w 424"/>
                  <a:gd name="T41" fmla="*/ 98 h 155"/>
                  <a:gd name="T42" fmla="*/ 174 w 424"/>
                  <a:gd name="T43" fmla="*/ 88 h 155"/>
                  <a:gd name="T44" fmla="*/ 212 w 424"/>
                  <a:gd name="T45" fmla="*/ 84 h 155"/>
                  <a:gd name="T46" fmla="*/ 228 w 424"/>
                  <a:gd name="T47" fmla="*/ 84 h 155"/>
                  <a:gd name="T48" fmla="*/ 261 w 424"/>
                  <a:gd name="T49" fmla="*/ 90 h 155"/>
                  <a:gd name="T50" fmla="*/ 276 w 424"/>
                  <a:gd name="T51" fmla="*/ 95 h 155"/>
                  <a:gd name="T52" fmla="*/ 316 w 424"/>
                  <a:gd name="T53" fmla="*/ 113 h 155"/>
                  <a:gd name="T54" fmla="*/ 353 w 424"/>
                  <a:gd name="T55" fmla="*/ 142 h 155"/>
                  <a:gd name="T56" fmla="*/ 360 w 424"/>
                  <a:gd name="T57" fmla="*/ 148 h 155"/>
                  <a:gd name="T58" fmla="*/ 375 w 424"/>
                  <a:gd name="T59" fmla="*/ 154 h 155"/>
                  <a:gd name="T60" fmla="*/ 391 w 424"/>
                  <a:gd name="T61" fmla="*/ 154 h 155"/>
                  <a:gd name="T62" fmla="*/ 406 w 424"/>
                  <a:gd name="T63" fmla="*/ 148 h 155"/>
                  <a:gd name="T64" fmla="*/ 412 w 424"/>
                  <a:gd name="T65" fmla="*/ 142 h 155"/>
                  <a:gd name="T66" fmla="*/ 421 w 424"/>
                  <a:gd name="T67" fmla="*/ 128 h 155"/>
                  <a:gd name="T68" fmla="*/ 424 w 424"/>
                  <a:gd name="T69" fmla="*/ 113 h 155"/>
                  <a:gd name="T70" fmla="*/ 421 w 424"/>
                  <a:gd name="T71" fmla="*/ 97 h 155"/>
                  <a:gd name="T72" fmla="*/ 412 w 424"/>
                  <a:gd name="T73" fmla="*/ 83 h 155"/>
                  <a:gd name="T74" fmla="*/ 400 w 424"/>
                  <a:gd name="T75" fmla="*/ 72 h 155"/>
                  <a:gd name="T76" fmla="*/ 374 w 424"/>
                  <a:gd name="T77" fmla="*/ 51 h 155"/>
                  <a:gd name="T78" fmla="*/ 346 w 424"/>
                  <a:gd name="T79" fmla="*/ 35 h 155"/>
                  <a:gd name="T80" fmla="*/ 317 w 424"/>
                  <a:gd name="T81" fmla="*/ 21 h 155"/>
                  <a:gd name="T82" fmla="*/ 302 w 424"/>
                  <a:gd name="T83" fmla="*/ 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4" h="155">
                    <a:moveTo>
                      <a:pt x="302" y="15"/>
                    </a:moveTo>
                    <a:lnTo>
                      <a:pt x="302" y="15"/>
                    </a:lnTo>
                    <a:lnTo>
                      <a:pt x="280" y="8"/>
                    </a:lnTo>
                    <a:lnTo>
                      <a:pt x="257" y="4"/>
                    </a:lnTo>
                    <a:lnTo>
                      <a:pt x="235" y="1"/>
                    </a:lnTo>
                    <a:lnTo>
                      <a:pt x="212" y="0"/>
                    </a:lnTo>
                    <a:lnTo>
                      <a:pt x="212" y="0"/>
                    </a:lnTo>
                    <a:lnTo>
                      <a:pt x="184" y="1"/>
                    </a:lnTo>
                    <a:lnTo>
                      <a:pt x="158" y="6"/>
                    </a:lnTo>
                    <a:lnTo>
                      <a:pt x="131" y="12"/>
                    </a:lnTo>
                    <a:lnTo>
                      <a:pt x="105" y="21"/>
                    </a:lnTo>
                    <a:lnTo>
                      <a:pt x="81" y="32"/>
                    </a:lnTo>
                    <a:lnTo>
                      <a:pt x="68" y="39"/>
                    </a:lnTo>
                    <a:lnTo>
                      <a:pt x="56" y="47"/>
                    </a:lnTo>
                    <a:lnTo>
                      <a:pt x="45" y="56"/>
                    </a:lnTo>
                    <a:lnTo>
                      <a:pt x="33" y="64"/>
                    </a:lnTo>
                    <a:lnTo>
                      <a:pt x="22" y="73"/>
                    </a:lnTo>
                    <a:lnTo>
                      <a:pt x="11" y="83"/>
                    </a:lnTo>
                    <a:lnTo>
                      <a:pt x="11" y="83"/>
                    </a:lnTo>
                    <a:lnTo>
                      <a:pt x="7" y="90"/>
                    </a:lnTo>
                    <a:lnTo>
                      <a:pt x="2" y="97"/>
                    </a:lnTo>
                    <a:lnTo>
                      <a:pt x="0" y="105"/>
                    </a:lnTo>
                    <a:lnTo>
                      <a:pt x="0" y="113"/>
                    </a:lnTo>
                    <a:lnTo>
                      <a:pt x="0" y="121"/>
                    </a:lnTo>
                    <a:lnTo>
                      <a:pt x="2" y="128"/>
                    </a:lnTo>
                    <a:lnTo>
                      <a:pt x="7" y="136"/>
                    </a:lnTo>
                    <a:lnTo>
                      <a:pt x="11" y="142"/>
                    </a:lnTo>
                    <a:lnTo>
                      <a:pt x="11" y="142"/>
                    </a:lnTo>
                    <a:lnTo>
                      <a:pt x="18" y="148"/>
                    </a:lnTo>
                    <a:lnTo>
                      <a:pt x="25" y="151"/>
                    </a:lnTo>
                    <a:lnTo>
                      <a:pt x="33" y="154"/>
                    </a:lnTo>
                    <a:lnTo>
                      <a:pt x="41" y="155"/>
                    </a:lnTo>
                    <a:lnTo>
                      <a:pt x="41" y="155"/>
                    </a:lnTo>
                    <a:lnTo>
                      <a:pt x="49" y="154"/>
                    </a:lnTo>
                    <a:lnTo>
                      <a:pt x="57" y="151"/>
                    </a:lnTo>
                    <a:lnTo>
                      <a:pt x="64" y="148"/>
                    </a:lnTo>
                    <a:lnTo>
                      <a:pt x="70" y="142"/>
                    </a:lnTo>
                    <a:lnTo>
                      <a:pt x="70" y="142"/>
                    </a:lnTo>
                    <a:lnTo>
                      <a:pt x="86" y="128"/>
                    </a:lnTo>
                    <a:lnTo>
                      <a:pt x="102" y="117"/>
                    </a:lnTo>
                    <a:lnTo>
                      <a:pt x="119" y="106"/>
                    </a:lnTo>
                    <a:lnTo>
                      <a:pt x="137" y="98"/>
                    </a:lnTo>
                    <a:lnTo>
                      <a:pt x="154" y="92"/>
                    </a:lnTo>
                    <a:lnTo>
                      <a:pt x="174" y="88"/>
                    </a:lnTo>
                    <a:lnTo>
                      <a:pt x="192" y="84"/>
                    </a:lnTo>
                    <a:lnTo>
                      <a:pt x="212" y="84"/>
                    </a:lnTo>
                    <a:lnTo>
                      <a:pt x="212" y="84"/>
                    </a:lnTo>
                    <a:lnTo>
                      <a:pt x="228" y="84"/>
                    </a:lnTo>
                    <a:lnTo>
                      <a:pt x="244" y="87"/>
                    </a:lnTo>
                    <a:lnTo>
                      <a:pt x="261" y="90"/>
                    </a:lnTo>
                    <a:lnTo>
                      <a:pt x="276" y="95"/>
                    </a:lnTo>
                    <a:lnTo>
                      <a:pt x="276" y="95"/>
                    </a:lnTo>
                    <a:lnTo>
                      <a:pt x="296" y="103"/>
                    </a:lnTo>
                    <a:lnTo>
                      <a:pt x="316" y="113"/>
                    </a:lnTo>
                    <a:lnTo>
                      <a:pt x="336" y="127"/>
                    </a:lnTo>
                    <a:lnTo>
                      <a:pt x="353" y="142"/>
                    </a:lnTo>
                    <a:lnTo>
                      <a:pt x="353" y="142"/>
                    </a:lnTo>
                    <a:lnTo>
                      <a:pt x="360" y="148"/>
                    </a:lnTo>
                    <a:lnTo>
                      <a:pt x="367" y="151"/>
                    </a:lnTo>
                    <a:lnTo>
                      <a:pt x="375" y="154"/>
                    </a:lnTo>
                    <a:lnTo>
                      <a:pt x="383" y="155"/>
                    </a:lnTo>
                    <a:lnTo>
                      <a:pt x="391" y="154"/>
                    </a:lnTo>
                    <a:lnTo>
                      <a:pt x="398" y="151"/>
                    </a:lnTo>
                    <a:lnTo>
                      <a:pt x="406" y="148"/>
                    </a:lnTo>
                    <a:lnTo>
                      <a:pt x="412" y="142"/>
                    </a:lnTo>
                    <a:lnTo>
                      <a:pt x="412" y="142"/>
                    </a:lnTo>
                    <a:lnTo>
                      <a:pt x="417" y="136"/>
                    </a:lnTo>
                    <a:lnTo>
                      <a:pt x="421" y="128"/>
                    </a:lnTo>
                    <a:lnTo>
                      <a:pt x="423" y="121"/>
                    </a:lnTo>
                    <a:lnTo>
                      <a:pt x="424" y="113"/>
                    </a:lnTo>
                    <a:lnTo>
                      <a:pt x="423" y="105"/>
                    </a:lnTo>
                    <a:lnTo>
                      <a:pt x="421" y="97"/>
                    </a:lnTo>
                    <a:lnTo>
                      <a:pt x="417" y="90"/>
                    </a:lnTo>
                    <a:lnTo>
                      <a:pt x="412" y="83"/>
                    </a:lnTo>
                    <a:lnTo>
                      <a:pt x="412" y="83"/>
                    </a:lnTo>
                    <a:lnTo>
                      <a:pt x="400" y="72"/>
                    </a:lnTo>
                    <a:lnTo>
                      <a:pt x="387" y="61"/>
                    </a:lnTo>
                    <a:lnTo>
                      <a:pt x="374" y="51"/>
                    </a:lnTo>
                    <a:lnTo>
                      <a:pt x="360" y="43"/>
                    </a:lnTo>
                    <a:lnTo>
                      <a:pt x="346" y="35"/>
                    </a:lnTo>
                    <a:lnTo>
                      <a:pt x="332" y="27"/>
                    </a:lnTo>
                    <a:lnTo>
                      <a:pt x="317" y="21"/>
                    </a:lnTo>
                    <a:lnTo>
                      <a:pt x="302" y="15"/>
                    </a:lnTo>
                    <a:lnTo>
                      <a:pt x="302" y="15"/>
                    </a:lnTo>
                    <a:close/>
                  </a:path>
                </a:pathLst>
              </a:custGeom>
              <a:solidFill>
                <a:srgbClr val="005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76767"/>
                  </a:solidFill>
                  <a:effectLst/>
                  <a:uLnTx/>
                  <a:uFillTx/>
                  <a:latin typeface="Arial"/>
                  <a:ea typeface="ＭＳ Ｐゴシック" charset="0"/>
                  <a:cs typeface="+mn-cs"/>
                </a:endParaRPr>
              </a:p>
            </p:txBody>
          </p:sp>
          <p:sp>
            <p:nvSpPr>
              <p:cNvPr id="276" name="Freeform 178">
                <a:extLst>
                  <a:ext uri="{FF2B5EF4-FFF2-40B4-BE49-F238E27FC236}">
                    <a16:creationId xmlns:a16="http://schemas.microsoft.com/office/drawing/2014/main" id="{41883E5C-A885-41E1-8616-ACB508B87288}"/>
                  </a:ext>
                </a:extLst>
              </p:cNvPr>
              <p:cNvSpPr>
                <a:spLocks/>
              </p:cNvSpPr>
              <p:nvPr/>
            </p:nvSpPr>
            <p:spPr bwMode="auto">
              <a:xfrm>
                <a:off x="5183099" y="3962898"/>
                <a:ext cx="317419" cy="97455"/>
              </a:xfrm>
              <a:custGeom>
                <a:avLst/>
                <a:gdLst>
                  <a:gd name="T0" fmla="*/ 341 w 682"/>
                  <a:gd name="T1" fmla="*/ 0 h 208"/>
                  <a:gd name="T2" fmla="*/ 296 w 682"/>
                  <a:gd name="T3" fmla="*/ 2 h 208"/>
                  <a:gd name="T4" fmla="*/ 252 w 682"/>
                  <a:gd name="T5" fmla="*/ 9 h 208"/>
                  <a:gd name="T6" fmla="*/ 208 w 682"/>
                  <a:gd name="T7" fmla="*/ 19 h 208"/>
                  <a:gd name="T8" fmla="*/ 166 w 682"/>
                  <a:gd name="T9" fmla="*/ 34 h 208"/>
                  <a:gd name="T10" fmla="*/ 124 w 682"/>
                  <a:gd name="T11" fmla="*/ 54 h 208"/>
                  <a:gd name="T12" fmla="*/ 85 w 682"/>
                  <a:gd name="T13" fmla="*/ 77 h 208"/>
                  <a:gd name="T14" fmla="*/ 47 w 682"/>
                  <a:gd name="T15" fmla="*/ 105 h 208"/>
                  <a:gd name="T16" fmla="*/ 12 w 682"/>
                  <a:gd name="T17" fmla="*/ 137 h 208"/>
                  <a:gd name="T18" fmla="*/ 6 w 682"/>
                  <a:gd name="T19" fmla="*/ 143 h 208"/>
                  <a:gd name="T20" fmla="*/ 1 w 682"/>
                  <a:gd name="T21" fmla="*/ 158 h 208"/>
                  <a:gd name="T22" fmla="*/ 1 w 682"/>
                  <a:gd name="T23" fmla="*/ 174 h 208"/>
                  <a:gd name="T24" fmla="*/ 6 w 682"/>
                  <a:gd name="T25" fmla="*/ 189 h 208"/>
                  <a:gd name="T26" fmla="*/ 12 w 682"/>
                  <a:gd name="T27" fmla="*/ 196 h 208"/>
                  <a:gd name="T28" fmla="*/ 26 w 682"/>
                  <a:gd name="T29" fmla="*/ 205 h 208"/>
                  <a:gd name="T30" fmla="*/ 41 w 682"/>
                  <a:gd name="T31" fmla="*/ 208 h 208"/>
                  <a:gd name="T32" fmla="*/ 49 w 682"/>
                  <a:gd name="T33" fmla="*/ 208 h 208"/>
                  <a:gd name="T34" fmla="*/ 64 w 682"/>
                  <a:gd name="T35" fmla="*/ 201 h 208"/>
                  <a:gd name="T36" fmla="*/ 71 w 682"/>
                  <a:gd name="T37" fmla="*/ 196 h 208"/>
                  <a:gd name="T38" fmla="*/ 100 w 682"/>
                  <a:gd name="T39" fmla="*/ 169 h 208"/>
                  <a:gd name="T40" fmla="*/ 131 w 682"/>
                  <a:gd name="T41" fmla="*/ 146 h 208"/>
                  <a:gd name="T42" fmla="*/ 163 w 682"/>
                  <a:gd name="T43" fmla="*/ 128 h 208"/>
                  <a:gd name="T44" fmla="*/ 197 w 682"/>
                  <a:gd name="T45" fmla="*/ 112 h 208"/>
                  <a:gd name="T46" fmla="*/ 233 w 682"/>
                  <a:gd name="T47" fmla="*/ 99 h 208"/>
                  <a:gd name="T48" fmla="*/ 268 w 682"/>
                  <a:gd name="T49" fmla="*/ 91 h 208"/>
                  <a:gd name="T50" fmla="*/ 304 w 682"/>
                  <a:gd name="T51" fmla="*/ 85 h 208"/>
                  <a:gd name="T52" fmla="*/ 341 w 682"/>
                  <a:gd name="T53" fmla="*/ 84 h 208"/>
                  <a:gd name="T54" fmla="*/ 360 w 682"/>
                  <a:gd name="T55" fmla="*/ 84 h 208"/>
                  <a:gd name="T56" fmla="*/ 395 w 682"/>
                  <a:gd name="T57" fmla="*/ 88 h 208"/>
                  <a:gd name="T58" fmla="*/ 432 w 682"/>
                  <a:gd name="T59" fmla="*/ 94 h 208"/>
                  <a:gd name="T60" fmla="*/ 467 w 682"/>
                  <a:gd name="T61" fmla="*/ 105 h 208"/>
                  <a:gd name="T62" fmla="*/ 501 w 682"/>
                  <a:gd name="T63" fmla="*/ 119 h 208"/>
                  <a:gd name="T64" fmla="*/ 535 w 682"/>
                  <a:gd name="T65" fmla="*/ 136 h 208"/>
                  <a:gd name="T66" fmla="*/ 566 w 682"/>
                  <a:gd name="T67" fmla="*/ 158 h 208"/>
                  <a:gd name="T68" fmla="*/ 596 w 682"/>
                  <a:gd name="T69" fmla="*/ 182 h 208"/>
                  <a:gd name="T70" fmla="*/ 611 w 682"/>
                  <a:gd name="T71" fmla="*/ 196 h 208"/>
                  <a:gd name="T72" fmla="*/ 625 w 682"/>
                  <a:gd name="T73" fmla="*/ 205 h 208"/>
                  <a:gd name="T74" fmla="*/ 640 w 682"/>
                  <a:gd name="T75" fmla="*/ 208 h 208"/>
                  <a:gd name="T76" fmla="*/ 656 w 682"/>
                  <a:gd name="T77" fmla="*/ 205 h 208"/>
                  <a:gd name="T78" fmla="*/ 670 w 682"/>
                  <a:gd name="T79" fmla="*/ 196 h 208"/>
                  <a:gd name="T80" fmla="*/ 675 w 682"/>
                  <a:gd name="T81" fmla="*/ 189 h 208"/>
                  <a:gd name="T82" fmla="*/ 682 w 682"/>
                  <a:gd name="T83" fmla="*/ 174 h 208"/>
                  <a:gd name="T84" fmla="*/ 682 w 682"/>
                  <a:gd name="T85" fmla="*/ 158 h 208"/>
                  <a:gd name="T86" fmla="*/ 675 w 682"/>
                  <a:gd name="T87" fmla="*/ 143 h 208"/>
                  <a:gd name="T88" fmla="*/ 670 w 682"/>
                  <a:gd name="T89" fmla="*/ 137 h 208"/>
                  <a:gd name="T90" fmla="*/ 634 w 682"/>
                  <a:gd name="T91" fmla="*/ 105 h 208"/>
                  <a:gd name="T92" fmla="*/ 597 w 682"/>
                  <a:gd name="T93" fmla="*/ 77 h 208"/>
                  <a:gd name="T94" fmla="*/ 557 w 682"/>
                  <a:gd name="T95" fmla="*/ 54 h 208"/>
                  <a:gd name="T96" fmla="*/ 515 w 682"/>
                  <a:gd name="T97" fmla="*/ 34 h 208"/>
                  <a:gd name="T98" fmla="*/ 473 w 682"/>
                  <a:gd name="T99" fmla="*/ 19 h 208"/>
                  <a:gd name="T100" fmla="*/ 430 w 682"/>
                  <a:gd name="T101" fmla="*/ 9 h 208"/>
                  <a:gd name="T102" fmla="*/ 385 w 682"/>
                  <a:gd name="T103" fmla="*/ 2 h 208"/>
                  <a:gd name="T104" fmla="*/ 341 w 682"/>
                  <a:gd name="T10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2" h="208">
                    <a:moveTo>
                      <a:pt x="341" y="0"/>
                    </a:moveTo>
                    <a:lnTo>
                      <a:pt x="341" y="0"/>
                    </a:lnTo>
                    <a:lnTo>
                      <a:pt x="318" y="1"/>
                    </a:lnTo>
                    <a:lnTo>
                      <a:pt x="296" y="2"/>
                    </a:lnTo>
                    <a:lnTo>
                      <a:pt x="274" y="6"/>
                    </a:lnTo>
                    <a:lnTo>
                      <a:pt x="252" y="9"/>
                    </a:lnTo>
                    <a:lnTo>
                      <a:pt x="230" y="14"/>
                    </a:lnTo>
                    <a:lnTo>
                      <a:pt x="208" y="19"/>
                    </a:lnTo>
                    <a:lnTo>
                      <a:pt x="186" y="26"/>
                    </a:lnTo>
                    <a:lnTo>
                      <a:pt x="166" y="34"/>
                    </a:lnTo>
                    <a:lnTo>
                      <a:pt x="145" y="44"/>
                    </a:lnTo>
                    <a:lnTo>
                      <a:pt x="124" y="54"/>
                    </a:lnTo>
                    <a:lnTo>
                      <a:pt x="105" y="64"/>
                    </a:lnTo>
                    <a:lnTo>
                      <a:pt x="85" y="77"/>
                    </a:lnTo>
                    <a:lnTo>
                      <a:pt x="65" y="90"/>
                    </a:lnTo>
                    <a:lnTo>
                      <a:pt x="47" y="105"/>
                    </a:lnTo>
                    <a:lnTo>
                      <a:pt x="30" y="120"/>
                    </a:lnTo>
                    <a:lnTo>
                      <a:pt x="12" y="137"/>
                    </a:lnTo>
                    <a:lnTo>
                      <a:pt x="12" y="137"/>
                    </a:lnTo>
                    <a:lnTo>
                      <a:pt x="6" y="143"/>
                    </a:lnTo>
                    <a:lnTo>
                      <a:pt x="3" y="150"/>
                    </a:lnTo>
                    <a:lnTo>
                      <a:pt x="1" y="158"/>
                    </a:lnTo>
                    <a:lnTo>
                      <a:pt x="0" y="166"/>
                    </a:lnTo>
                    <a:lnTo>
                      <a:pt x="1" y="174"/>
                    </a:lnTo>
                    <a:lnTo>
                      <a:pt x="3" y="182"/>
                    </a:lnTo>
                    <a:lnTo>
                      <a:pt x="6" y="189"/>
                    </a:lnTo>
                    <a:lnTo>
                      <a:pt x="12" y="196"/>
                    </a:lnTo>
                    <a:lnTo>
                      <a:pt x="12" y="196"/>
                    </a:lnTo>
                    <a:lnTo>
                      <a:pt x="18" y="201"/>
                    </a:lnTo>
                    <a:lnTo>
                      <a:pt x="26" y="205"/>
                    </a:lnTo>
                    <a:lnTo>
                      <a:pt x="33" y="208"/>
                    </a:lnTo>
                    <a:lnTo>
                      <a:pt x="41" y="208"/>
                    </a:lnTo>
                    <a:lnTo>
                      <a:pt x="41" y="208"/>
                    </a:lnTo>
                    <a:lnTo>
                      <a:pt x="49" y="208"/>
                    </a:lnTo>
                    <a:lnTo>
                      <a:pt x="57" y="205"/>
                    </a:lnTo>
                    <a:lnTo>
                      <a:pt x="64" y="201"/>
                    </a:lnTo>
                    <a:lnTo>
                      <a:pt x="71" y="196"/>
                    </a:lnTo>
                    <a:lnTo>
                      <a:pt x="71" y="196"/>
                    </a:lnTo>
                    <a:lnTo>
                      <a:pt x="85" y="182"/>
                    </a:lnTo>
                    <a:lnTo>
                      <a:pt x="100" y="169"/>
                    </a:lnTo>
                    <a:lnTo>
                      <a:pt x="115" y="158"/>
                    </a:lnTo>
                    <a:lnTo>
                      <a:pt x="131" y="146"/>
                    </a:lnTo>
                    <a:lnTo>
                      <a:pt x="147" y="136"/>
                    </a:lnTo>
                    <a:lnTo>
                      <a:pt x="163" y="128"/>
                    </a:lnTo>
                    <a:lnTo>
                      <a:pt x="181" y="119"/>
                    </a:lnTo>
                    <a:lnTo>
                      <a:pt x="197" y="112"/>
                    </a:lnTo>
                    <a:lnTo>
                      <a:pt x="214" y="105"/>
                    </a:lnTo>
                    <a:lnTo>
                      <a:pt x="233" y="99"/>
                    </a:lnTo>
                    <a:lnTo>
                      <a:pt x="250" y="94"/>
                    </a:lnTo>
                    <a:lnTo>
                      <a:pt x="268" y="91"/>
                    </a:lnTo>
                    <a:lnTo>
                      <a:pt x="286" y="88"/>
                    </a:lnTo>
                    <a:lnTo>
                      <a:pt x="304" y="85"/>
                    </a:lnTo>
                    <a:lnTo>
                      <a:pt x="323" y="84"/>
                    </a:lnTo>
                    <a:lnTo>
                      <a:pt x="341" y="84"/>
                    </a:lnTo>
                    <a:lnTo>
                      <a:pt x="341" y="84"/>
                    </a:lnTo>
                    <a:lnTo>
                      <a:pt x="360" y="84"/>
                    </a:lnTo>
                    <a:lnTo>
                      <a:pt x="378" y="85"/>
                    </a:lnTo>
                    <a:lnTo>
                      <a:pt x="395" y="88"/>
                    </a:lnTo>
                    <a:lnTo>
                      <a:pt x="414" y="91"/>
                    </a:lnTo>
                    <a:lnTo>
                      <a:pt x="432" y="94"/>
                    </a:lnTo>
                    <a:lnTo>
                      <a:pt x="450" y="99"/>
                    </a:lnTo>
                    <a:lnTo>
                      <a:pt x="467" y="105"/>
                    </a:lnTo>
                    <a:lnTo>
                      <a:pt x="484" y="112"/>
                    </a:lnTo>
                    <a:lnTo>
                      <a:pt x="501" y="119"/>
                    </a:lnTo>
                    <a:lnTo>
                      <a:pt x="519" y="128"/>
                    </a:lnTo>
                    <a:lnTo>
                      <a:pt x="535" y="136"/>
                    </a:lnTo>
                    <a:lnTo>
                      <a:pt x="551" y="146"/>
                    </a:lnTo>
                    <a:lnTo>
                      <a:pt x="566" y="158"/>
                    </a:lnTo>
                    <a:lnTo>
                      <a:pt x="581" y="169"/>
                    </a:lnTo>
                    <a:lnTo>
                      <a:pt x="596" y="182"/>
                    </a:lnTo>
                    <a:lnTo>
                      <a:pt x="611" y="196"/>
                    </a:lnTo>
                    <a:lnTo>
                      <a:pt x="611" y="196"/>
                    </a:lnTo>
                    <a:lnTo>
                      <a:pt x="617" y="201"/>
                    </a:lnTo>
                    <a:lnTo>
                      <a:pt x="625" y="205"/>
                    </a:lnTo>
                    <a:lnTo>
                      <a:pt x="632" y="208"/>
                    </a:lnTo>
                    <a:lnTo>
                      <a:pt x="640" y="208"/>
                    </a:lnTo>
                    <a:lnTo>
                      <a:pt x="648" y="208"/>
                    </a:lnTo>
                    <a:lnTo>
                      <a:pt x="656" y="205"/>
                    </a:lnTo>
                    <a:lnTo>
                      <a:pt x="663" y="201"/>
                    </a:lnTo>
                    <a:lnTo>
                      <a:pt x="670" y="196"/>
                    </a:lnTo>
                    <a:lnTo>
                      <a:pt x="670" y="196"/>
                    </a:lnTo>
                    <a:lnTo>
                      <a:pt x="675" y="189"/>
                    </a:lnTo>
                    <a:lnTo>
                      <a:pt x="679" y="182"/>
                    </a:lnTo>
                    <a:lnTo>
                      <a:pt x="682" y="174"/>
                    </a:lnTo>
                    <a:lnTo>
                      <a:pt x="682" y="166"/>
                    </a:lnTo>
                    <a:lnTo>
                      <a:pt x="682" y="158"/>
                    </a:lnTo>
                    <a:lnTo>
                      <a:pt x="679" y="150"/>
                    </a:lnTo>
                    <a:lnTo>
                      <a:pt x="675" y="143"/>
                    </a:lnTo>
                    <a:lnTo>
                      <a:pt x="670" y="137"/>
                    </a:lnTo>
                    <a:lnTo>
                      <a:pt x="670" y="137"/>
                    </a:lnTo>
                    <a:lnTo>
                      <a:pt x="653" y="120"/>
                    </a:lnTo>
                    <a:lnTo>
                      <a:pt x="634" y="105"/>
                    </a:lnTo>
                    <a:lnTo>
                      <a:pt x="616" y="90"/>
                    </a:lnTo>
                    <a:lnTo>
                      <a:pt x="597" y="77"/>
                    </a:lnTo>
                    <a:lnTo>
                      <a:pt x="578" y="64"/>
                    </a:lnTo>
                    <a:lnTo>
                      <a:pt x="557" y="54"/>
                    </a:lnTo>
                    <a:lnTo>
                      <a:pt x="536" y="44"/>
                    </a:lnTo>
                    <a:lnTo>
                      <a:pt x="515" y="34"/>
                    </a:lnTo>
                    <a:lnTo>
                      <a:pt x="495" y="26"/>
                    </a:lnTo>
                    <a:lnTo>
                      <a:pt x="473" y="19"/>
                    </a:lnTo>
                    <a:lnTo>
                      <a:pt x="452" y="14"/>
                    </a:lnTo>
                    <a:lnTo>
                      <a:pt x="430" y="9"/>
                    </a:lnTo>
                    <a:lnTo>
                      <a:pt x="408" y="6"/>
                    </a:lnTo>
                    <a:lnTo>
                      <a:pt x="385" y="2"/>
                    </a:lnTo>
                    <a:lnTo>
                      <a:pt x="363" y="1"/>
                    </a:lnTo>
                    <a:lnTo>
                      <a:pt x="341" y="0"/>
                    </a:lnTo>
                    <a:lnTo>
                      <a:pt x="341" y="0"/>
                    </a:lnTo>
                    <a:close/>
                  </a:path>
                </a:pathLst>
              </a:custGeom>
              <a:solidFill>
                <a:srgbClr val="005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76767"/>
                  </a:solidFill>
                  <a:effectLst/>
                  <a:uLnTx/>
                  <a:uFillTx/>
                  <a:latin typeface="Arial"/>
                  <a:ea typeface="ＭＳ Ｐゴシック" charset="0"/>
                  <a:cs typeface="+mn-cs"/>
                </a:endParaRPr>
              </a:p>
            </p:txBody>
          </p:sp>
          <p:sp>
            <p:nvSpPr>
              <p:cNvPr id="277" name="Freeform 179">
                <a:extLst>
                  <a:ext uri="{FF2B5EF4-FFF2-40B4-BE49-F238E27FC236}">
                    <a16:creationId xmlns:a16="http://schemas.microsoft.com/office/drawing/2014/main" id="{CE7F3F12-D294-4A19-9EF9-250DD8EFB5C2}"/>
                  </a:ext>
                </a:extLst>
              </p:cNvPr>
              <p:cNvSpPr>
                <a:spLocks/>
              </p:cNvSpPr>
              <p:nvPr/>
            </p:nvSpPr>
            <p:spPr bwMode="auto">
              <a:xfrm>
                <a:off x="5121843" y="3876582"/>
                <a:ext cx="437148" cy="125299"/>
              </a:xfrm>
              <a:custGeom>
                <a:avLst/>
                <a:gdLst>
                  <a:gd name="T0" fmla="*/ 495 w 946"/>
                  <a:gd name="T1" fmla="*/ 0 h 270"/>
                  <a:gd name="T2" fmla="*/ 430 w 946"/>
                  <a:gd name="T3" fmla="*/ 3 h 270"/>
                  <a:gd name="T4" fmla="*/ 366 w 946"/>
                  <a:gd name="T5" fmla="*/ 13 h 270"/>
                  <a:gd name="T6" fmla="*/ 303 w 946"/>
                  <a:gd name="T7" fmla="*/ 28 h 270"/>
                  <a:gd name="T8" fmla="*/ 241 w 946"/>
                  <a:gd name="T9" fmla="*/ 50 h 270"/>
                  <a:gd name="T10" fmla="*/ 180 w 946"/>
                  <a:gd name="T11" fmla="*/ 77 h 270"/>
                  <a:gd name="T12" fmla="*/ 121 w 946"/>
                  <a:gd name="T13" fmla="*/ 112 h 270"/>
                  <a:gd name="T14" fmla="*/ 65 w 946"/>
                  <a:gd name="T15" fmla="*/ 152 h 270"/>
                  <a:gd name="T16" fmla="*/ 12 w 946"/>
                  <a:gd name="T17" fmla="*/ 198 h 270"/>
                  <a:gd name="T18" fmla="*/ 6 w 946"/>
                  <a:gd name="T19" fmla="*/ 204 h 270"/>
                  <a:gd name="T20" fmla="*/ 1 w 946"/>
                  <a:gd name="T21" fmla="*/ 219 h 270"/>
                  <a:gd name="T22" fmla="*/ 0 w 946"/>
                  <a:gd name="T23" fmla="*/ 235 h 270"/>
                  <a:gd name="T24" fmla="*/ 5 w 946"/>
                  <a:gd name="T25" fmla="*/ 250 h 270"/>
                  <a:gd name="T26" fmla="*/ 11 w 946"/>
                  <a:gd name="T27" fmla="*/ 257 h 270"/>
                  <a:gd name="T28" fmla="*/ 25 w 946"/>
                  <a:gd name="T29" fmla="*/ 266 h 270"/>
                  <a:gd name="T30" fmla="*/ 41 w 946"/>
                  <a:gd name="T31" fmla="*/ 270 h 270"/>
                  <a:gd name="T32" fmla="*/ 49 w 946"/>
                  <a:gd name="T33" fmla="*/ 269 h 270"/>
                  <a:gd name="T34" fmla="*/ 64 w 946"/>
                  <a:gd name="T35" fmla="*/ 263 h 270"/>
                  <a:gd name="T36" fmla="*/ 70 w 946"/>
                  <a:gd name="T37" fmla="*/ 258 h 270"/>
                  <a:gd name="T38" fmla="*/ 117 w 946"/>
                  <a:gd name="T39" fmla="*/ 217 h 270"/>
                  <a:gd name="T40" fmla="*/ 167 w 946"/>
                  <a:gd name="T41" fmla="*/ 182 h 270"/>
                  <a:gd name="T42" fmla="*/ 218 w 946"/>
                  <a:gd name="T43" fmla="*/ 152 h 270"/>
                  <a:gd name="T44" fmla="*/ 272 w 946"/>
                  <a:gd name="T45" fmla="*/ 127 h 270"/>
                  <a:gd name="T46" fmla="*/ 326 w 946"/>
                  <a:gd name="T47" fmla="*/ 108 h 270"/>
                  <a:gd name="T48" fmla="*/ 381 w 946"/>
                  <a:gd name="T49" fmla="*/ 95 h 270"/>
                  <a:gd name="T50" fmla="*/ 438 w 946"/>
                  <a:gd name="T51" fmla="*/ 86 h 270"/>
                  <a:gd name="T52" fmla="*/ 495 w 946"/>
                  <a:gd name="T53" fmla="*/ 83 h 270"/>
                  <a:gd name="T54" fmla="*/ 521 w 946"/>
                  <a:gd name="T55" fmla="*/ 84 h 270"/>
                  <a:gd name="T56" fmla="*/ 573 w 946"/>
                  <a:gd name="T57" fmla="*/ 89 h 270"/>
                  <a:gd name="T58" fmla="*/ 625 w 946"/>
                  <a:gd name="T59" fmla="*/ 99 h 270"/>
                  <a:gd name="T60" fmla="*/ 675 w 946"/>
                  <a:gd name="T61" fmla="*/ 114 h 270"/>
                  <a:gd name="T62" fmla="*/ 723 w 946"/>
                  <a:gd name="T63" fmla="*/ 134 h 270"/>
                  <a:gd name="T64" fmla="*/ 769 w 946"/>
                  <a:gd name="T65" fmla="*/ 158 h 270"/>
                  <a:gd name="T66" fmla="*/ 813 w 946"/>
                  <a:gd name="T67" fmla="*/ 188 h 270"/>
                  <a:gd name="T68" fmla="*/ 855 w 946"/>
                  <a:gd name="T69" fmla="*/ 223 h 270"/>
                  <a:gd name="T70" fmla="*/ 874 w 946"/>
                  <a:gd name="T71" fmla="*/ 241 h 270"/>
                  <a:gd name="T72" fmla="*/ 888 w 946"/>
                  <a:gd name="T73" fmla="*/ 250 h 270"/>
                  <a:gd name="T74" fmla="*/ 903 w 946"/>
                  <a:gd name="T75" fmla="*/ 254 h 270"/>
                  <a:gd name="T76" fmla="*/ 919 w 946"/>
                  <a:gd name="T77" fmla="*/ 251 h 270"/>
                  <a:gd name="T78" fmla="*/ 933 w 946"/>
                  <a:gd name="T79" fmla="*/ 242 h 270"/>
                  <a:gd name="T80" fmla="*/ 939 w 946"/>
                  <a:gd name="T81" fmla="*/ 236 h 270"/>
                  <a:gd name="T82" fmla="*/ 945 w 946"/>
                  <a:gd name="T83" fmla="*/ 221 h 270"/>
                  <a:gd name="T84" fmla="*/ 946 w 946"/>
                  <a:gd name="T85" fmla="*/ 205 h 270"/>
                  <a:gd name="T86" fmla="*/ 939 w 946"/>
                  <a:gd name="T87" fmla="*/ 190 h 270"/>
                  <a:gd name="T88" fmla="*/ 934 w 946"/>
                  <a:gd name="T89" fmla="*/ 183 h 270"/>
                  <a:gd name="T90" fmla="*/ 888 w 946"/>
                  <a:gd name="T91" fmla="*/ 141 h 270"/>
                  <a:gd name="T92" fmla="*/ 838 w 946"/>
                  <a:gd name="T93" fmla="*/ 103 h 270"/>
                  <a:gd name="T94" fmla="*/ 787 w 946"/>
                  <a:gd name="T95" fmla="*/ 71 h 270"/>
                  <a:gd name="T96" fmla="*/ 731 w 946"/>
                  <a:gd name="T97" fmla="*/ 46 h 270"/>
                  <a:gd name="T98" fmla="*/ 673 w 946"/>
                  <a:gd name="T99" fmla="*/ 25 h 270"/>
                  <a:gd name="T100" fmla="*/ 615 w 946"/>
                  <a:gd name="T101" fmla="*/ 11 h 270"/>
                  <a:gd name="T102" fmla="*/ 555 w 946"/>
                  <a:gd name="T103" fmla="*/ 3 h 270"/>
                  <a:gd name="T104" fmla="*/ 495 w 946"/>
                  <a:gd name="T10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6" h="270">
                    <a:moveTo>
                      <a:pt x="495" y="0"/>
                    </a:moveTo>
                    <a:lnTo>
                      <a:pt x="495" y="0"/>
                    </a:lnTo>
                    <a:lnTo>
                      <a:pt x="462" y="1"/>
                    </a:lnTo>
                    <a:lnTo>
                      <a:pt x="430" y="3"/>
                    </a:lnTo>
                    <a:lnTo>
                      <a:pt x="398" y="7"/>
                    </a:lnTo>
                    <a:lnTo>
                      <a:pt x="366" y="13"/>
                    </a:lnTo>
                    <a:lnTo>
                      <a:pt x="334" y="20"/>
                    </a:lnTo>
                    <a:lnTo>
                      <a:pt x="303" y="28"/>
                    </a:lnTo>
                    <a:lnTo>
                      <a:pt x="272" y="38"/>
                    </a:lnTo>
                    <a:lnTo>
                      <a:pt x="241" y="50"/>
                    </a:lnTo>
                    <a:lnTo>
                      <a:pt x="210" y="63"/>
                    </a:lnTo>
                    <a:lnTo>
                      <a:pt x="180" y="77"/>
                    </a:lnTo>
                    <a:lnTo>
                      <a:pt x="151" y="95"/>
                    </a:lnTo>
                    <a:lnTo>
                      <a:pt x="121" y="112"/>
                    </a:lnTo>
                    <a:lnTo>
                      <a:pt x="93" y="131"/>
                    </a:lnTo>
                    <a:lnTo>
                      <a:pt x="65" y="152"/>
                    </a:lnTo>
                    <a:lnTo>
                      <a:pt x="39" y="174"/>
                    </a:lnTo>
                    <a:lnTo>
                      <a:pt x="12" y="198"/>
                    </a:lnTo>
                    <a:lnTo>
                      <a:pt x="12" y="198"/>
                    </a:lnTo>
                    <a:lnTo>
                      <a:pt x="6" y="204"/>
                    </a:lnTo>
                    <a:lnTo>
                      <a:pt x="3" y="212"/>
                    </a:lnTo>
                    <a:lnTo>
                      <a:pt x="1" y="219"/>
                    </a:lnTo>
                    <a:lnTo>
                      <a:pt x="0" y="227"/>
                    </a:lnTo>
                    <a:lnTo>
                      <a:pt x="0" y="235"/>
                    </a:lnTo>
                    <a:lnTo>
                      <a:pt x="2" y="243"/>
                    </a:lnTo>
                    <a:lnTo>
                      <a:pt x="5" y="250"/>
                    </a:lnTo>
                    <a:lnTo>
                      <a:pt x="11" y="257"/>
                    </a:lnTo>
                    <a:lnTo>
                      <a:pt x="11" y="257"/>
                    </a:lnTo>
                    <a:lnTo>
                      <a:pt x="18" y="263"/>
                    </a:lnTo>
                    <a:lnTo>
                      <a:pt x="25" y="266"/>
                    </a:lnTo>
                    <a:lnTo>
                      <a:pt x="33" y="269"/>
                    </a:lnTo>
                    <a:lnTo>
                      <a:pt x="41" y="270"/>
                    </a:lnTo>
                    <a:lnTo>
                      <a:pt x="41" y="270"/>
                    </a:lnTo>
                    <a:lnTo>
                      <a:pt x="49" y="269"/>
                    </a:lnTo>
                    <a:lnTo>
                      <a:pt x="56" y="266"/>
                    </a:lnTo>
                    <a:lnTo>
                      <a:pt x="64" y="263"/>
                    </a:lnTo>
                    <a:lnTo>
                      <a:pt x="70" y="258"/>
                    </a:lnTo>
                    <a:lnTo>
                      <a:pt x="70" y="258"/>
                    </a:lnTo>
                    <a:lnTo>
                      <a:pt x="93" y="238"/>
                    </a:lnTo>
                    <a:lnTo>
                      <a:pt x="117" y="217"/>
                    </a:lnTo>
                    <a:lnTo>
                      <a:pt x="141" y="198"/>
                    </a:lnTo>
                    <a:lnTo>
                      <a:pt x="167" y="182"/>
                    </a:lnTo>
                    <a:lnTo>
                      <a:pt x="192" y="166"/>
                    </a:lnTo>
                    <a:lnTo>
                      <a:pt x="218" y="152"/>
                    </a:lnTo>
                    <a:lnTo>
                      <a:pt x="244" y="138"/>
                    </a:lnTo>
                    <a:lnTo>
                      <a:pt x="272" y="127"/>
                    </a:lnTo>
                    <a:lnTo>
                      <a:pt x="298" y="116"/>
                    </a:lnTo>
                    <a:lnTo>
                      <a:pt x="326" y="108"/>
                    </a:lnTo>
                    <a:lnTo>
                      <a:pt x="354" y="100"/>
                    </a:lnTo>
                    <a:lnTo>
                      <a:pt x="381" y="95"/>
                    </a:lnTo>
                    <a:lnTo>
                      <a:pt x="410" y="90"/>
                    </a:lnTo>
                    <a:lnTo>
                      <a:pt x="438" y="86"/>
                    </a:lnTo>
                    <a:lnTo>
                      <a:pt x="466" y="84"/>
                    </a:lnTo>
                    <a:lnTo>
                      <a:pt x="495" y="83"/>
                    </a:lnTo>
                    <a:lnTo>
                      <a:pt x="495" y="83"/>
                    </a:lnTo>
                    <a:lnTo>
                      <a:pt x="521" y="84"/>
                    </a:lnTo>
                    <a:lnTo>
                      <a:pt x="546" y="86"/>
                    </a:lnTo>
                    <a:lnTo>
                      <a:pt x="573" y="89"/>
                    </a:lnTo>
                    <a:lnTo>
                      <a:pt x="600" y="93"/>
                    </a:lnTo>
                    <a:lnTo>
                      <a:pt x="625" y="99"/>
                    </a:lnTo>
                    <a:lnTo>
                      <a:pt x="650" y="106"/>
                    </a:lnTo>
                    <a:lnTo>
                      <a:pt x="675" y="114"/>
                    </a:lnTo>
                    <a:lnTo>
                      <a:pt x="699" y="123"/>
                    </a:lnTo>
                    <a:lnTo>
                      <a:pt x="723" y="134"/>
                    </a:lnTo>
                    <a:lnTo>
                      <a:pt x="746" y="145"/>
                    </a:lnTo>
                    <a:lnTo>
                      <a:pt x="769" y="158"/>
                    </a:lnTo>
                    <a:lnTo>
                      <a:pt x="792" y="172"/>
                    </a:lnTo>
                    <a:lnTo>
                      <a:pt x="813" y="188"/>
                    </a:lnTo>
                    <a:lnTo>
                      <a:pt x="835" y="204"/>
                    </a:lnTo>
                    <a:lnTo>
                      <a:pt x="855" y="223"/>
                    </a:lnTo>
                    <a:lnTo>
                      <a:pt x="874" y="241"/>
                    </a:lnTo>
                    <a:lnTo>
                      <a:pt x="874" y="241"/>
                    </a:lnTo>
                    <a:lnTo>
                      <a:pt x="880" y="247"/>
                    </a:lnTo>
                    <a:lnTo>
                      <a:pt x="888" y="250"/>
                    </a:lnTo>
                    <a:lnTo>
                      <a:pt x="895" y="254"/>
                    </a:lnTo>
                    <a:lnTo>
                      <a:pt x="903" y="254"/>
                    </a:lnTo>
                    <a:lnTo>
                      <a:pt x="911" y="254"/>
                    </a:lnTo>
                    <a:lnTo>
                      <a:pt x="919" y="251"/>
                    </a:lnTo>
                    <a:lnTo>
                      <a:pt x="926" y="248"/>
                    </a:lnTo>
                    <a:lnTo>
                      <a:pt x="933" y="242"/>
                    </a:lnTo>
                    <a:lnTo>
                      <a:pt x="933" y="242"/>
                    </a:lnTo>
                    <a:lnTo>
                      <a:pt x="939" y="236"/>
                    </a:lnTo>
                    <a:lnTo>
                      <a:pt x="942" y="230"/>
                    </a:lnTo>
                    <a:lnTo>
                      <a:pt x="945" y="221"/>
                    </a:lnTo>
                    <a:lnTo>
                      <a:pt x="946" y="213"/>
                    </a:lnTo>
                    <a:lnTo>
                      <a:pt x="946" y="205"/>
                    </a:lnTo>
                    <a:lnTo>
                      <a:pt x="943" y="197"/>
                    </a:lnTo>
                    <a:lnTo>
                      <a:pt x="939" y="190"/>
                    </a:lnTo>
                    <a:lnTo>
                      <a:pt x="934" y="183"/>
                    </a:lnTo>
                    <a:lnTo>
                      <a:pt x="934" y="183"/>
                    </a:lnTo>
                    <a:lnTo>
                      <a:pt x="911" y="161"/>
                    </a:lnTo>
                    <a:lnTo>
                      <a:pt x="888" y="141"/>
                    </a:lnTo>
                    <a:lnTo>
                      <a:pt x="864" y="121"/>
                    </a:lnTo>
                    <a:lnTo>
                      <a:pt x="838" y="103"/>
                    </a:lnTo>
                    <a:lnTo>
                      <a:pt x="813" y="86"/>
                    </a:lnTo>
                    <a:lnTo>
                      <a:pt x="787" y="71"/>
                    </a:lnTo>
                    <a:lnTo>
                      <a:pt x="759" y="58"/>
                    </a:lnTo>
                    <a:lnTo>
                      <a:pt x="731" y="46"/>
                    </a:lnTo>
                    <a:lnTo>
                      <a:pt x="702" y="35"/>
                    </a:lnTo>
                    <a:lnTo>
                      <a:pt x="673" y="25"/>
                    </a:lnTo>
                    <a:lnTo>
                      <a:pt x="645" y="18"/>
                    </a:lnTo>
                    <a:lnTo>
                      <a:pt x="615" y="11"/>
                    </a:lnTo>
                    <a:lnTo>
                      <a:pt x="585" y="7"/>
                    </a:lnTo>
                    <a:lnTo>
                      <a:pt x="555" y="3"/>
                    </a:lnTo>
                    <a:lnTo>
                      <a:pt x="525" y="1"/>
                    </a:lnTo>
                    <a:lnTo>
                      <a:pt x="495" y="0"/>
                    </a:lnTo>
                    <a:lnTo>
                      <a:pt x="495" y="0"/>
                    </a:lnTo>
                    <a:close/>
                  </a:path>
                </a:pathLst>
              </a:custGeom>
              <a:solidFill>
                <a:srgbClr val="005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76767"/>
                  </a:solidFill>
                  <a:effectLst/>
                  <a:uLnTx/>
                  <a:uFillTx/>
                  <a:latin typeface="Arial"/>
                  <a:ea typeface="ＭＳ Ｐゴシック" charset="0"/>
                  <a:cs typeface="+mn-cs"/>
                </a:endParaRPr>
              </a:p>
            </p:txBody>
          </p:sp>
        </p:grpSp>
      </p:grpSp>
      <p:grpSp>
        <p:nvGrpSpPr>
          <p:cNvPr id="282" name="Group 281">
            <a:extLst>
              <a:ext uri="{FF2B5EF4-FFF2-40B4-BE49-F238E27FC236}">
                <a16:creationId xmlns:a16="http://schemas.microsoft.com/office/drawing/2014/main" id="{07A26DC4-4D05-4B1E-9C57-A5CE2475B9A2}"/>
              </a:ext>
            </a:extLst>
          </p:cNvPr>
          <p:cNvGrpSpPr/>
          <p:nvPr/>
        </p:nvGrpSpPr>
        <p:grpSpPr>
          <a:xfrm>
            <a:off x="6274201" y="3190169"/>
            <a:ext cx="175099" cy="175300"/>
            <a:chOff x="4814888" y="2215702"/>
            <a:chExt cx="548006" cy="548640"/>
          </a:xfrm>
        </p:grpSpPr>
        <p:sp>
          <p:nvSpPr>
            <p:cNvPr id="283" name="Freeform 5">
              <a:extLst>
                <a:ext uri="{FF2B5EF4-FFF2-40B4-BE49-F238E27FC236}">
                  <a16:creationId xmlns:a16="http://schemas.microsoft.com/office/drawing/2014/main" id="{54DC93C1-DEEF-416D-AC26-09CE15B8BC2B}"/>
                </a:ext>
              </a:extLst>
            </p:cNvPr>
            <p:cNvSpPr>
              <a:spLocks/>
            </p:cNvSpPr>
            <p:nvPr/>
          </p:nvSpPr>
          <p:spPr bwMode="auto">
            <a:xfrm>
              <a:off x="4814888" y="2215702"/>
              <a:ext cx="548006" cy="54864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rgbClr val="E9E9E9"/>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84" name="Freeform 6">
              <a:extLst>
                <a:ext uri="{FF2B5EF4-FFF2-40B4-BE49-F238E27FC236}">
                  <a16:creationId xmlns:a16="http://schemas.microsoft.com/office/drawing/2014/main" id="{7AD99D6A-FA85-4E5A-8B63-D08821973292}"/>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85" name="Freeform 7">
              <a:extLst>
                <a:ext uri="{FF2B5EF4-FFF2-40B4-BE49-F238E27FC236}">
                  <a16:creationId xmlns:a16="http://schemas.microsoft.com/office/drawing/2014/main" id="{ECEB2F77-0B62-4B15-B87B-C7B153D329CB}"/>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86" name="Freeform 8">
              <a:extLst>
                <a:ext uri="{FF2B5EF4-FFF2-40B4-BE49-F238E27FC236}">
                  <a16:creationId xmlns:a16="http://schemas.microsoft.com/office/drawing/2014/main" id="{5112ADEA-CD85-44C5-B568-6B805C1D40EC}"/>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70"/>
                    <a:pt x="69" y="0"/>
                    <a:pt x="154" y="0"/>
                  </a:cubicBezTo>
                  <a:lnTo>
                    <a:pt x="1195" y="0"/>
                  </a:lnTo>
                  <a:cubicBezTo>
                    <a:pt x="1281" y="0"/>
                    <a:pt x="1350" y="70"/>
                    <a:pt x="1350" y="156"/>
                  </a:cubicBezTo>
                  <a:lnTo>
                    <a:pt x="1350" y="572"/>
                  </a:lnTo>
                  <a:cubicBezTo>
                    <a:pt x="1350" y="658"/>
                    <a:pt x="1281" y="728"/>
                    <a:pt x="1195" y="728"/>
                  </a:cubicBezTo>
                  <a:lnTo>
                    <a:pt x="154" y="728"/>
                  </a:lnTo>
                  <a:cubicBezTo>
                    <a:pt x="69" y="728"/>
                    <a:pt x="0" y="658"/>
                    <a:pt x="0" y="572"/>
                  </a:cubicBezTo>
                  <a:lnTo>
                    <a:pt x="0" y="156"/>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87" name="Freeform 9">
              <a:extLst>
                <a:ext uri="{FF2B5EF4-FFF2-40B4-BE49-F238E27FC236}">
                  <a16:creationId xmlns:a16="http://schemas.microsoft.com/office/drawing/2014/main" id="{308648D0-50BA-4AE9-B663-C6026ECD7F20}"/>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69"/>
                    <a:pt x="69" y="0"/>
                    <a:pt x="154" y="0"/>
                  </a:cubicBezTo>
                  <a:lnTo>
                    <a:pt x="1195" y="0"/>
                  </a:lnTo>
                  <a:cubicBezTo>
                    <a:pt x="1281" y="0"/>
                    <a:pt x="1350" y="69"/>
                    <a:pt x="1350" y="156"/>
                  </a:cubicBezTo>
                  <a:lnTo>
                    <a:pt x="1350" y="572"/>
                  </a:lnTo>
                  <a:cubicBezTo>
                    <a:pt x="1350" y="658"/>
                    <a:pt x="1281" y="728"/>
                    <a:pt x="1195" y="728"/>
                  </a:cubicBezTo>
                  <a:lnTo>
                    <a:pt x="154" y="728"/>
                  </a:lnTo>
                  <a:cubicBezTo>
                    <a:pt x="69" y="728"/>
                    <a:pt x="0" y="658"/>
                    <a:pt x="0" y="572"/>
                  </a:cubicBezTo>
                  <a:lnTo>
                    <a:pt x="0" y="156"/>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88" name="Freeform 13">
              <a:extLst>
                <a:ext uri="{FF2B5EF4-FFF2-40B4-BE49-F238E27FC236}">
                  <a16:creationId xmlns:a16="http://schemas.microsoft.com/office/drawing/2014/main" id="{1676788A-5561-420B-AC45-6E11FBBFCEF6}"/>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89" name="Freeform 14">
              <a:extLst>
                <a:ext uri="{FF2B5EF4-FFF2-40B4-BE49-F238E27FC236}">
                  <a16:creationId xmlns:a16="http://schemas.microsoft.com/office/drawing/2014/main" id="{11E3F75D-744A-49C1-A3D7-B87A94F40DB6}"/>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90" name="Freeform 15">
              <a:extLst>
                <a:ext uri="{FF2B5EF4-FFF2-40B4-BE49-F238E27FC236}">
                  <a16:creationId xmlns:a16="http://schemas.microsoft.com/office/drawing/2014/main" id="{7F1B1F62-2252-4C91-9297-B7836ED07FB5}"/>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91" name="Freeform 16">
              <a:extLst>
                <a:ext uri="{FF2B5EF4-FFF2-40B4-BE49-F238E27FC236}">
                  <a16:creationId xmlns:a16="http://schemas.microsoft.com/office/drawing/2014/main" id="{34124574-78CD-409E-8B28-C1D699656A8D}"/>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92" name="Freeform 17">
              <a:extLst>
                <a:ext uri="{FF2B5EF4-FFF2-40B4-BE49-F238E27FC236}">
                  <a16:creationId xmlns:a16="http://schemas.microsoft.com/office/drawing/2014/main" id="{BF72E96E-97FB-4FD3-BFCB-1F3D404EB977}"/>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93" name="Freeform 18">
              <a:extLst>
                <a:ext uri="{FF2B5EF4-FFF2-40B4-BE49-F238E27FC236}">
                  <a16:creationId xmlns:a16="http://schemas.microsoft.com/office/drawing/2014/main" id="{BC871474-A291-422A-974D-AAB0116615AF}"/>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94" name="Freeform 10">
              <a:extLst>
                <a:ext uri="{FF2B5EF4-FFF2-40B4-BE49-F238E27FC236}">
                  <a16:creationId xmlns:a16="http://schemas.microsoft.com/office/drawing/2014/main" id="{04266702-C666-4062-B3DF-7191513B3CED}"/>
                </a:ext>
              </a:extLst>
            </p:cNvPr>
            <p:cNvSpPr>
              <a:spLocks/>
            </p:cNvSpPr>
            <p:nvPr/>
          </p:nvSpPr>
          <p:spPr bwMode="auto">
            <a:xfrm>
              <a:off x="5019974" y="2372635"/>
              <a:ext cx="304390" cy="205185"/>
            </a:xfrm>
            <a:custGeom>
              <a:avLst/>
              <a:gdLst>
                <a:gd name="T0" fmla="*/ 0 w 1048"/>
                <a:gd name="T1" fmla="*/ 82 h 705"/>
                <a:gd name="T2" fmla="*/ 0 w 1048"/>
                <a:gd name="T3" fmla="*/ 82 h 705"/>
                <a:gd name="T4" fmla="*/ 81 w 1048"/>
                <a:gd name="T5" fmla="*/ 0 h 705"/>
                <a:gd name="T6" fmla="*/ 967 w 1048"/>
                <a:gd name="T7" fmla="*/ 0 h 705"/>
                <a:gd name="T8" fmla="*/ 1048 w 1048"/>
                <a:gd name="T9" fmla="*/ 82 h 705"/>
                <a:gd name="T10" fmla="*/ 1048 w 1048"/>
                <a:gd name="T11" fmla="*/ 624 h 705"/>
                <a:gd name="T12" fmla="*/ 967 w 1048"/>
                <a:gd name="T13" fmla="*/ 705 h 705"/>
                <a:gd name="T14" fmla="*/ 81 w 1048"/>
                <a:gd name="T15" fmla="*/ 705 h 705"/>
                <a:gd name="T16" fmla="*/ 0 w 1048"/>
                <a:gd name="T17" fmla="*/ 624 h 705"/>
                <a:gd name="T18" fmla="*/ 0 w 1048"/>
                <a:gd name="T19"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705">
                  <a:moveTo>
                    <a:pt x="0" y="82"/>
                  </a:moveTo>
                  <a:lnTo>
                    <a:pt x="0" y="82"/>
                  </a:lnTo>
                  <a:cubicBezTo>
                    <a:pt x="0" y="37"/>
                    <a:pt x="36" y="0"/>
                    <a:pt x="81" y="0"/>
                  </a:cubicBezTo>
                  <a:lnTo>
                    <a:pt x="967" y="0"/>
                  </a:lnTo>
                  <a:cubicBezTo>
                    <a:pt x="1011" y="0"/>
                    <a:pt x="1048" y="37"/>
                    <a:pt x="1048" y="82"/>
                  </a:cubicBezTo>
                  <a:lnTo>
                    <a:pt x="1048" y="624"/>
                  </a:lnTo>
                  <a:cubicBezTo>
                    <a:pt x="1048" y="668"/>
                    <a:pt x="1011" y="705"/>
                    <a:pt x="967" y="705"/>
                  </a:cubicBezTo>
                  <a:lnTo>
                    <a:pt x="81" y="705"/>
                  </a:lnTo>
                  <a:cubicBezTo>
                    <a:pt x="36" y="705"/>
                    <a:pt x="0" y="668"/>
                    <a:pt x="0" y="624"/>
                  </a:cubicBezTo>
                  <a:lnTo>
                    <a:pt x="0" y="82"/>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95" name="Rectangle: Rounded Corners 294">
              <a:extLst>
                <a:ext uri="{FF2B5EF4-FFF2-40B4-BE49-F238E27FC236}">
                  <a16:creationId xmlns:a16="http://schemas.microsoft.com/office/drawing/2014/main" id="{B7C50F5D-C5CB-4F48-924D-4F7162019470}"/>
                </a:ext>
              </a:extLst>
            </p:cNvPr>
            <p:cNvSpPr/>
            <p:nvPr/>
          </p:nvSpPr>
          <p:spPr>
            <a:xfrm>
              <a:off x="5098452" y="2601637"/>
              <a:ext cx="147435" cy="19155"/>
            </a:xfrm>
            <a:prstGeom prst="roundRect">
              <a:avLst>
                <a:gd name="adj" fmla="val 50000"/>
              </a:avLst>
            </a:prstGeom>
            <a:solidFill>
              <a:srgbClr val="00BCEB"/>
            </a:solidFill>
            <a:ln w="25400" cap="flat" cmpd="sng" algn="ctr">
              <a:noFill/>
              <a:prstDash val="soli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296" name="Rectangle: Rounded Corners 295">
              <a:extLst>
                <a:ext uri="{FF2B5EF4-FFF2-40B4-BE49-F238E27FC236}">
                  <a16:creationId xmlns:a16="http://schemas.microsoft.com/office/drawing/2014/main" id="{156F5CF2-ABF6-424C-99D7-F0810D2063ED}"/>
                </a:ext>
              </a:extLst>
            </p:cNvPr>
            <p:cNvSpPr/>
            <p:nvPr/>
          </p:nvSpPr>
          <p:spPr>
            <a:xfrm>
              <a:off x="5146148" y="2581388"/>
              <a:ext cx="52042" cy="16681"/>
            </a:xfrm>
            <a:prstGeom prst="roundRect">
              <a:avLst>
                <a:gd name="adj" fmla="val 50000"/>
              </a:avLst>
            </a:prstGeom>
            <a:solidFill>
              <a:srgbClr val="00BCEB"/>
            </a:solidFill>
            <a:ln w="25400" cap="flat" cmpd="sng" algn="ctr">
              <a:noFill/>
              <a:prstDash val="soli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297" name="Rectangle: Rounded Corners 296">
              <a:extLst>
                <a:ext uri="{FF2B5EF4-FFF2-40B4-BE49-F238E27FC236}">
                  <a16:creationId xmlns:a16="http://schemas.microsoft.com/office/drawing/2014/main" id="{75D6CEDC-FAE7-4E28-9C75-46133C72DC72}"/>
                </a:ext>
              </a:extLst>
            </p:cNvPr>
            <p:cNvSpPr/>
            <p:nvPr/>
          </p:nvSpPr>
          <p:spPr>
            <a:xfrm>
              <a:off x="4881676" y="2620538"/>
              <a:ext cx="414429" cy="19155"/>
            </a:xfrm>
            <a:prstGeom prst="roundRect">
              <a:avLst>
                <a:gd name="adj" fmla="val 50000"/>
              </a:avLst>
            </a:prstGeom>
            <a:solidFill>
              <a:srgbClr val="00BCEB">
                <a:lumMod val="60000"/>
                <a:lumOff val="40000"/>
              </a:srgbClr>
            </a:solidFill>
            <a:ln w="25400" cap="flat" cmpd="sng" algn="ctr">
              <a:noFill/>
              <a:prstDash val="soli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grpSp>
      <p:sp>
        <p:nvSpPr>
          <p:cNvPr id="1206" name="Rectangle 1205">
            <a:extLst>
              <a:ext uri="{FF2B5EF4-FFF2-40B4-BE49-F238E27FC236}">
                <a16:creationId xmlns:a16="http://schemas.microsoft.com/office/drawing/2014/main" id="{1D548EDF-9167-4F38-8525-C547055DEC9F}"/>
              </a:ext>
            </a:extLst>
          </p:cNvPr>
          <p:cNvSpPr/>
          <p:nvPr/>
        </p:nvSpPr>
        <p:spPr>
          <a:xfrm>
            <a:off x="5776220" y="3091825"/>
            <a:ext cx="1455534" cy="731798"/>
          </a:xfrm>
          <a:prstGeom prst="rect">
            <a:avLst/>
          </a:prstGeom>
          <a:solidFill>
            <a:schemeClr val="bg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59" name="Group 158"/>
          <p:cNvGrpSpPr/>
          <p:nvPr/>
        </p:nvGrpSpPr>
        <p:grpSpPr>
          <a:xfrm>
            <a:off x="3949788" y="1053895"/>
            <a:ext cx="2983799" cy="1320136"/>
            <a:chOff x="4077382" y="1224019"/>
            <a:chExt cx="2983799" cy="1320136"/>
          </a:xfrm>
        </p:grpSpPr>
        <p:sp>
          <p:nvSpPr>
            <p:cNvPr id="1923" name="TextBox 1922">
              <a:extLst>
                <a:ext uri="{FF2B5EF4-FFF2-40B4-BE49-F238E27FC236}">
                  <a16:creationId xmlns:a16="http://schemas.microsoft.com/office/drawing/2014/main" id="{575C7C48-E731-44A6-BBDF-5C3E495E413B}"/>
                </a:ext>
              </a:extLst>
            </p:cNvPr>
            <p:cNvSpPr txBox="1"/>
            <p:nvPr/>
          </p:nvSpPr>
          <p:spPr>
            <a:xfrm>
              <a:off x="5162889" y="1224019"/>
              <a:ext cx="1898292" cy="766877"/>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r" defTabSz="342892" rtl="0" eaLnBrk="1" fontAlgn="base" latinLnBrk="0" hangingPunct="1">
                <a:lnSpc>
                  <a:spcPct val="100000"/>
                </a:lnSpc>
                <a:spcBef>
                  <a:spcPct val="0"/>
                </a:spcBef>
                <a:spcAft>
                  <a:spcPts val="450"/>
                </a:spcAft>
                <a:buClrTx/>
                <a:buSzTx/>
                <a:buFontTx/>
                <a:buNone/>
                <a:tabLst/>
                <a:defRPr/>
              </a:pPr>
              <a:r>
                <a:rPr kumimoji="0" lang="en-US" sz="1200" b="0" i="0" u="none" strike="noStrike" kern="1200" cap="none" spc="0" normalizeH="0" baseline="0" noProof="0" dirty="0">
                  <a:ln>
                    <a:noFill/>
                  </a:ln>
                  <a:solidFill>
                    <a:srgbClr val="00BCEB"/>
                  </a:solidFill>
                  <a:effectLst/>
                  <a:uLnTx/>
                  <a:uFillTx/>
                  <a:latin typeface="CiscoSansTT ExtraLight"/>
                  <a:ea typeface="ＭＳ Ｐゴシック" charset="0"/>
                </a:rPr>
                <a:t>Global threat intelligence </a:t>
              </a:r>
            </a:p>
            <a:p>
              <a:pPr marL="0" marR="0" lvl="0" indent="0" algn="r" defTabSz="342892" rtl="0" eaLnBrk="1" fontAlgn="base" latinLnBrk="0" hangingPunct="1">
                <a:lnSpc>
                  <a:spcPct val="100000"/>
                </a:lnSpc>
                <a:spcBef>
                  <a:spcPct val="0"/>
                </a:spcBef>
                <a:spcAft>
                  <a:spcPts val="450"/>
                </a:spcAft>
                <a:buClrTx/>
                <a:buSzTx/>
                <a:buFontTx/>
                <a:buNone/>
                <a:tabLst/>
                <a:defRPr/>
              </a:pPr>
              <a:r>
                <a:rPr kumimoji="0" lang="en-US" sz="1000" b="0" i="0" u="none" strike="noStrike" kern="1200" cap="none" spc="0" normalizeH="0" baseline="0" noProof="0" dirty="0">
                  <a:ln>
                    <a:noFill/>
                  </a:ln>
                  <a:solidFill>
                    <a:srgbClr val="00BCEB"/>
                  </a:solidFill>
                  <a:effectLst/>
                  <a:uLnTx/>
                  <a:uFillTx/>
                  <a:latin typeface="CiscoSansTT ExtraLight"/>
                  <a:ea typeface="ＭＳ Ｐゴシック" charset="0"/>
                </a:rPr>
                <a:t>(powered by </a:t>
              </a:r>
              <a:r>
                <a:rPr kumimoji="0" lang="en-US" sz="1000" b="0" i="0" u="none" strike="noStrike" kern="1200" cap="none" spc="0" normalizeH="0" baseline="0" noProof="0" dirty="0" err="1">
                  <a:ln>
                    <a:noFill/>
                  </a:ln>
                  <a:solidFill>
                    <a:srgbClr val="00BCEB"/>
                  </a:solidFill>
                  <a:effectLst/>
                  <a:uLnTx/>
                  <a:uFillTx/>
                  <a:latin typeface="CiscoSansTT ExtraLight"/>
                  <a:ea typeface="ＭＳ Ｐゴシック" charset="0"/>
                </a:rPr>
                <a:t>Talos</a:t>
              </a:r>
              <a:r>
                <a:rPr kumimoji="0" lang="en-US" sz="1000" b="0" i="0" u="none" strike="noStrike" kern="1200" cap="none" spc="0" normalizeH="0" baseline="0" noProof="0" dirty="0">
                  <a:ln>
                    <a:noFill/>
                  </a:ln>
                  <a:solidFill>
                    <a:srgbClr val="00BCEB"/>
                  </a:solidFill>
                  <a:effectLst/>
                  <a:uLnTx/>
                  <a:uFillTx/>
                  <a:latin typeface="CiscoSansTT ExtraLight"/>
                  <a:ea typeface="ＭＳ Ｐゴシック" charset="0"/>
                </a:rPr>
                <a:t>)</a:t>
              </a:r>
            </a:p>
            <a:p>
              <a:pPr marL="0" marR="0" lvl="0" indent="0" algn="r" defTabSz="342892"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dirty="0">
                  <a:ln>
                    <a:noFill/>
                  </a:ln>
                  <a:solidFill>
                    <a:srgbClr val="676767"/>
                  </a:solidFill>
                  <a:effectLst/>
                  <a:uLnTx/>
                  <a:uFillTx/>
                  <a:latin typeface="CiscoSansTT ExtraLight"/>
                  <a:ea typeface="ＭＳ Ｐゴシック" charset="0"/>
                </a:rPr>
                <a:t>Intelligence of global threat campaigns mapped to local alarms for faster mitigation</a:t>
              </a:r>
              <a:endParaRPr kumimoji="0" lang="en-US" sz="675" b="1" i="0" u="none" strike="noStrike" kern="1200" cap="none" spc="0" normalizeH="0" baseline="0" noProof="0" dirty="0">
                <a:ln>
                  <a:noFill/>
                </a:ln>
                <a:solidFill>
                  <a:srgbClr val="676767"/>
                </a:solidFill>
                <a:effectLst/>
                <a:uLnTx/>
                <a:uFillTx/>
                <a:latin typeface="CiscoSansTT ExtraLight"/>
                <a:ea typeface="ＭＳ Ｐゴシック" charset="0"/>
              </a:endParaRPr>
            </a:p>
          </p:txBody>
        </p:sp>
        <p:grpSp>
          <p:nvGrpSpPr>
            <p:cNvPr id="1932" name="Group 1931">
              <a:extLst>
                <a:ext uri="{FF2B5EF4-FFF2-40B4-BE49-F238E27FC236}">
                  <a16:creationId xmlns:a16="http://schemas.microsoft.com/office/drawing/2014/main" id="{BD147A76-0140-43EF-A5E4-6E6E90EED684}"/>
                </a:ext>
              </a:extLst>
            </p:cNvPr>
            <p:cNvGrpSpPr/>
            <p:nvPr/>
          </p:nvGrpSpPr>
          <p:grpSpPr>
            <a:xfrm>
              <a:off x="4077382" y="1287015"/>
              <a:ext cx="954784" cy="945234"/>
              <a:chOff x="2017356" y="1807714"/>
              <a:chExt cx="1415320" cy="1401164"/>
            </a:xfrm>
          </p:grpSpPr>
          <p:sp>
            <p:nvSpPr>
              <p:cNvPr id="1933" name="Freeform 24">
                <a:extLst>
                  <a:ext uri="{FF2B5EF4-FFF2-40B4-BE49-F238E27FC236}">
                    <a16:creationId xmlns:a16="http://schemas.microsoft.com/office/drawing/2014/main" id="{FDAC73B7-036A-4A51-91AC-B1129E2E3E19}"/>
                  </a:ext>
                </a:extLst>
              </p:cNvPr>
              <p:cNvSpPr>
                <a:spLocks noEditPoints="1"/>
              </p:cNvSpPr>
              <p:nvPr/>
            </p:nvSpPr>
            <p:spPr bwMode="auto">
              <a:xfrm>
                <a:off x="2017356" y="1807714"/>
                <a:ext cx="1415320" cy="1401164"/>
              </a:xfrm>
              <a:custGeom>
                <a:avLst/>
                <a:gdLst/>
                <a:ahLst/>
                <a:cxnLst>
                  <a:cxn ang="0">
                    <a:pos x="1329" y="160"/>
                  </a:cxn>
                  <a:cxn ang="0">
                    <a:pos x="1045" y="28"/>
                  </a:cxn>
                  <a:cxn ang="0">
                    <a:pos x="220" y="282"/>
                  </a:cxn>
                  <a:cxn ang="0">
                    <a:pos x="47" y="592"/>
                  </a:cxn>
                  <a:cxn ang="0">
                    <a:pos x="350" y="1503"/>
                  </a:cxn>
                  <a:cxn ang="0">
                    <a:pos x="600" y="1628"/>
                  </a:cxn>
                  <a:cxn ang="0">
                    <a:pos x="1236" y="1564"/>
                  </a:cxn>
                  <a:cxn ang="0">
                    <a:pos x="1647" y="1034"/>
                  </a:cxn>
                  <a:cxn ang="0">
                    <a:pos x="1514" y="463"/>
                  </a:cxn>
                  <a:cxn ang="0">
                    <a:pos x="1456" y="368"/>
                  </a:cxn>
                  <a:cxn ang="0">
                    <a:pos x="1198" y="647"/>
                  </a:cxn>
                  <a:cxn ang="0">
                    <a:pos x="1422" y="844"/>
                  </a:cxn>
                  <a:cxn ang="0">
                    <a:pos x="881" y="266"/>
                  </a:cxn>
                  <a:cxn ang="0">
                    <a:pos x="759" y="476"/>
                  </a:cxn>
                  <a:cxn ang="0">
                    <a:pos x="489" y="721"/>
                  </a:cxn>
                  <a:cxn ang="0">
                    <a:pos x="572" y="354"/>
                  </a:cxn>
                  <a:cxn ang="0">
                    <a:pos x="865" y="622"/>
                  </a:cxn>
                  <a:cxn ang="0">
                    <a:pos x="940" y="645"/>
                  </a:cxn>
                  <a:cxn ang="0">
                    <a:pos x="857" y="918"/>
                  </a:cxn>
                  <a:cxn ang="0">
                    <a:pos x="1196" y="566"/>
                  </a:cxn>
                  <a:cxn ang="0">
                    <a:pos x="1352" y="417"/>
                  </a:cxn>
                  <a:cxn ang="0">
                    <a:pos x="1342" y="451"/>
                  </a:cxn>
                  <a:cxn ang="0">
                    <a:pos x="1302" y="250"/>
                  </a:cxn>
                  <a:cxn ang="0">
                    <a:pos x="1098" y="127"/>
                  </a:cxn>
                  <a:cxn ang="0">
                    <a:pos x="1110" y="581"/>
                  </a:cxn>
                  <a:cxn ang="0">
                    <a:pos x="1022" y="104"/>
                  </a:cxn>
                  <a:cxn ang="0">
                    <a:pos x="791" y="89"/>
                  </a:cxn>
                  <a:cxn ang="0">
                    <a:pos x="793" y="90"/>
                  </a:cxn>
                  <a:cxn ang="0">
                    <a:pos x="641" y="223"/>
                  </a:cxn>
                  <a:cxn ang="0">
                    <a:pos x="760" y="203"/>
                  </a:cxn>
                  <a:cxn ang="0">
                    <a:pos x="632" y="92"/>
                  </a:cxn>
                  <a:cxn ang="0">
                    <a:pos x="609" y="98"/>
                  </a:cxn>
                  <a:cxn ang="0">
                    <a:pos x="362" y="287"/>
                  </a:cxn>
                  <a:cxn ang="0">
                    <a:pos x="509" y="298"/>
                  </a:cxn>
                  <a:cxn ang="0">
                    <a:pos x="122" y="615"/>
                  </a:cxn>
                  <a:cxn ang="0">
                    <a:pos x="255" y="428"/>
                  </a:cxn>
                  <a:cxn ang="0">
                    <a:pos x="286" y="1340"/>
                  </a:cxn>
                  <a:cxn ang="0">
                    <a:pos x="310" y="1209"/>
                  </a:cxn>
                  <a:cxn ang="0">
                    <a:pos x="217" y="1006"/>
                  </a:cxn>
                  <a:cxn ang="0">
                    <a:pos x="295" y="588"/>
                  </a:cxn>
                  <a:cxn ang="0">
                    <a:pos x="348" y="1061"/>
                  </a:cxn>
                  <a:cxn ang="0">
                    <a:pos x="634" y="1382"/>
                  </a:cxn>
                  <a:cxn ang="0">
                    <a:pos x="436" y="1046"/>
                  </a:cxn>
                  <a:cxn ang="0">
                    <a:pos x="399" y="1176"/>
                  </a:cxn>
                  <a:cxn ang="0">
                    <a:pos x="990" y="1444"/>
                  </a:cxn>
                  <a:cxn ang="0">
                    <a:pos x="1108" y="1024"/>
                  </a:cxn>
                  <a:cxn ang="0">
                    <a:pos x="732" y="1329"/>
                  </a:cxn>
                  <a:cxn ang="0">
                    <a:pos x="1263" y="1407"/>
                  </a:cxn>
                  <a:cxn ang="0">
                    <a:pos x="1394" y="1262"/>
                  </a:cxn>
                  <a:cxn ang="0">
                    <a:pos x="1126" y="1296"/>
                  </a:cxn>
                  <a:cxn ang="0">
                    <a:pos x="1395" y="1260"/>
                  </a:cxn>
                  <a:cxn ang="0">
                    <a:pos x="1417" y="475"/>
                  </a:cxn>
                  <a:cxn ang="0">
                    <a:pos x="1515" y="736"/>
                  </a:cxn>
                  <a:cxn ang="0">
                    <a:pos x="1552" y="1078"/>
                  </a:cxn>
                  <a:cxn ang="0">
                    <a:pos x="1497" y="1170"/>
                  </a:cxn>
                  <a:cxn ang="0">
                    <a:pos x="1561" y="1051"/>
                  </a:cxn>
                </a:cxnLst>
                <a:rect l="0" t="0" r="r" b="b"/>
                <a:pathLst>
                  <a:path w="1678" h="1666">
                    <a:moveTo>
                      <a:pt x="1621" y="547"/>
                    </a:moveTo>
                    <a:cubicBezTo>
                      <a:pt x="1570" y="408"/>
                      <a:pt x="1481" y="283"/>
                      <a:pt x="1364" y="187"/>
                    </a:cubicBezTo>
                    <a:cubicBezTo>
                      <a:pt x="1359" y="184"/>
                      <a:pt x="1355" y="180"/>
                      <a:pt x="1350" y="176"/>
                    </a:cubicBezTo>
                    <a:cubicBezTo>
                      <a:pt x="1343" y="171"/>
                      <a:pt x="1336" y="166"/>
                      <a:pt x="1329" y="160"/>
                    </a:cubicBezTo>
                    <a:cubicBezTo>
                      <a:pt x="1267" y="115"/>
                      <a:pt x="1197" y="78"/>
                      <a:pt x="1121" y="51"/>
                    </a:cubicBezTo>
                    <a:cubicBezTo>
                      <a:pt x="1118" y="50"/>
                      <a:pt x="1115" y="49"/>
                      <a:pt x="1112" y="48"/>
                    </a:cubicBezTo>
                    <a:cubicBezTo>
                      <a:pt x="1102" y="44"/>
                      <a:pt x="1092" y="41"/>
                      <a:pt x="1082" y="38"/>
                    </a:cubicBezTo>
                    <a:cubicBezTo>
                      <a:pt x="1070" y="35"/>
                      <a:pt x="1058" y="31"/>
                      <a:pt x="1045" y="28"/>
                    </a:cubicBezTo>
                    <a:cubicBezTo>
                      <a:pt x="967" y="8"/>
                      <a:pt x="888" y="0"/>
                      <a:pt x="811" y="3"/>
                    </a:cubicBezTo>
                    <a:cubicBezTo>
                      <a:pt x="802" y="3"/>
                      <a:pt x="793" y="4"/>
                      <a:pt x="785" y="4"/>
                    </a:cubicBezTo>
                    <a:cubicBezTo>
                      <a:pt x="628" y="15"/>
                      <a:pt x="478" y="70"/>
                      <a:pt x="353" y="161"/>
                    </a:cubicBezTo>
                    <a:cubicBezTo>
                      <a:pt x="305" y="196"/>
                      <a:pt x="260" y="237"/>
                      <a:pt x="220" y="282"/>
                    </a:cubicBezTo>
                    <a:cubicBezTo>
                      <a:pt x="180" y="327"/>
                      <a:pt x="145" y="377"/>
                      <a:pt x="115" y="431"/>
                    </a:cubicBezTo>
                    <a:cubicBezTo>
                      <a:pt x="93" y="470"/>
                      <a:pt x="74" y="512"/>
                      <a:pt x="59" y="556"/>
                    </a:cubicBezTo>
                    <a:cubicBezTo>
                      <a:pt x="58" y="558"/>
                      <a:pt x="57" y="560"/>
                      <a:pt x="56" y="563"/>
                    </a:cubicBezTo>
                    <a:cubicBezTo>
                      <a:pt x="53" y="572"/>
                      <a:pt x="50" y="582"/>
                      <a:pt x="47" y="592"/>
                    </a:cubicBezTo>
                    <a:cubicBezTo>
                      <a:pt x="2" y="738"/>
                      <a:pt x="0" y="888"/>
                      <a:pt x="34" y="1028"/>
                    </a:cubicBezTo>
                    <a:cubicBezTo>
                      <a:pt x="51" y="1096"/>
                      <a:pt x="76" y="1162"/>
                      <a:pt x="109" y="1224"/>
                    </a:cubicBezTo>
                    <a:cubicBezTo>
                      <a:pt x="151" y="1304"/>
                      <a:pt x="208" y="1378"/>
                      <a:pt x="275" y="1441"/>
                    </a:cubicBezTo>
                    <a:cubicBezTo>
                      <a:pt x="299" y="1463"/>
                      <a:pt x="324" y="1484"/>
                      <a:pt x="350" y="1503"/>
                    </a:cubicBezTo>
                    <a:cubicBezTo>
                      <a:pt x="414" y="1549"/>
                      <a:pt x="485" y="1588"/>
                      <a:pt x="563" y="1615"/>
                    </a:cubicBezTo>
                    <a:cubicBezTo>
                      <a:pt x="566" y="1616"/>
                      <a:pt x="568" y="1617"/>
                      <a:pt x="571" y="1618"/>
                    </a:cubicBezTo>
                    <a:cubicBezTo>
                      <a:pt x="580" y="1621"/>
                      <a:pt x="590" y="1625"/>
                      <a:pt x="599" y="1627"/>
                    </a:cubicBezTo>
                    <a:cubicBezTo>
                      <a:pt x="600" y="1628"/>
                      <a:pt x="600" y="1628"/>
                      <a:pt x="600" y="1628"/>
                    </a:cubicBezTo>
                    <a:cubicBezTo>
                      <a:pt x="613" y="1632"/>
                      <a:pt x="626" y="1635"/>
                      <a:pt x="638" y="1638"/>
                    </a:cubicBezTo>
                    <a:cubicBezTo>
                      <a:pt x="719" y="1659"/>
                      <a:pt x="800" y="1666"/>
                      <a:pt x="879" y="1663"/>
                    </a:cubicBezTo>
                    <a:cubicBezTo>
                      <a:pt x="912" y="1661"/>
                      <a:pt x="944" y="1658"/>
                      <a:pt x="976" y="1653"/>
                    </a:cubicBezTo>
                    <a:cubicBezTo>
                      <a:pt x="1067" y="1638"/>
                      <a:pt x="1155" y="1607"/>
                      <a:pt x="1236" y="1564"/>
                    </a:cubicBezTo>
                    <a:cubicBezTo>
                      <a:pt x="1298" y="1531"/>
                      <a:pt x="1355" y="1489"/>
                      <a:pt x="1407" y="1441"/>
                    </a:cubicBezTo>
                    <a:cubicBezTo>
                      <a:pt x="1504" y="1352"/>
                      <a:pt x="1581" y="1237"/>
                      <a:pt x="1627" y="1103"/>
                    </a:cubicBezTo>
                    <a:cubicBezTo>
                      <a:pt x="1630" y="1094"/>
                      <a:pt x="1633" y="1084"/>
                      <a:pt x="1636" y="1074"/>
                    </a:cubicBezTo>
                    <a:cubicBezTo>
                      <a:pt x="1640" y="1061"/>
                      <a:pt x="1644" y="1047"/>
                      <a:pt x="1647" y="1034"/>
                    </a:cubicBezTo>
                    <a:cubicBezTo>
                      <a:pt x="1659" y="985"/>
                      <a:pt x="1667" y="936"/>
                      <a:pt x="1670" y="887"/>
                    </a:cubicBezTo>
                    <a:cubicBezTo>
                      <a:pt x="1678" y="770"/>
                      <a:pt x="1660" y="654"/>
                      <a:pt x="1621" y="547"/>
                    </a:cubicBezTo>
                    <a:close/>
                    <a:moveTo>
                      <a:pt x="1456" y="368"/>
                    </a:moveTo>
                    <a:cubicBezTo>
                      <a:pt x="1480" y="399"/>
                      <a:pt x="1499" y="431"/>
                      <a:pt x="1514" y="463"/>
                    </a:cubicBezTo>
                    <a:cubicBezTo>
                      <a:pt x="1496" y="443"/>
                      <a:pt x="1478" y="423"/>
                      <a:pt x="1459" y="405"/>
                    </a:cubicBezTo>
                    <a:cubicBezTo>
                      <a:pt x="1451" y="393"/>
                      <a:pt x="1442" y="381"/>
                      <a:pt x="1433" y="370"/>
                    </a:cubicBezTo>
                    <a:cubicBezTo>
                      <a:pt x="1432" y="358"/>
                      <a:pt x="1430" y="346"/>
                      <a:pt x="1428" y="334"/>
                    </a:cubicBezTo>
                    <a:cubicBezTo>
                      <a:pt x="1438" y="345"/>
                      <a:pt x="1448" y="356"/>
                      <a:pt x="1456" y="368"/>
                    </a:cubicBezTo>
                    <a:close/>
                    <a:moveTo>
                      <a:pt x="1422" y="844"/>
                    </a:moveTo>
                    <a:cubicBezTo>
                      <a:pt x="1381" y="876"/>
                      <a:pt x="1330" y="901"/>
                      <a:pt x="1271" y="919"/>
                    </a:cubicBezTo>
                    <a:cubicBezTo>
                      <a:pt x="1248" y="926"/>
                      <a:pt x="1223" y="931"/>
                      <a:pt x="1198" y="936"/>
                    </a:cubicBezTo>
                    <a:cubicBezTo>
                      <a:pt x="1207" y="836"/>
                      <a:pt x="1207" y="739"/>
                      <a:pt x="1198" y="647"/>
                    </a:cubicBezTo>
                    <a:cubicBezTo>
                      <a:pt x="1205" y="646"/>
                      <a:pt x="1212" y="644"/>
                      <a:pt x="1218" y="642"/>
                    </a:cubicBezTo>
                    <a:cubicBezTo>
                      <a:pt x="1261" y="629"/>
                      <a:pt x="1300" y="610"/>
                      <a:pt x="1333" y="584"/>
                    </a:cubicBezTo>
                    <a:cubicBezTo>
                      <a:pt x="1343" y="601"/>
                      <a:pt x="1351" y="619"/>
                      <a:pt x="1359" y="637"/>
                    </a:cubicBezTo>
                    <a:cubicBezTo>
                      <a:pt x="1389" y="702"/>
                      <a:pt x="1410" y="772"/>
                      <a:pt x="1422" y="844"/>
                    </a:cubicBezTo>
                    <a:close/>
                    <a:moveTo>
                      <a:pt x="702" y="422"/>
                    </a:moveTo>
                    <a:cubicBezTo>
                      <a:pt x="697" y="416"/>
                      <a:pt x="692" y="410"/>
                      <a:pt x="688" y="405"/>
                    </a:cubicBezTo>
                    <a:cubicBezTo>
                      <a:pt x="667" y="377"/>
                      <a:pt x="652" y="348"/>
                      <a:pt x="644" y="320"/>
                    </a:cubicBezTo>
                    <a:cubicBezTo>
                      <a:pt x="720" y="289"/>
                      <a:pt x="800" y="271"/>
                      <a:pt x="881" y="266"/>
                    </a:cubicBezTo>
                    <a:cubicBezTo>
                      <a:pt x="819" y="308"/>
                      <a:pt x="759" y="360"/>
                      <a:pt x="702" y="422"/>
                    </a:cubicBezTo>
                    <a:close/>
                    <a:moveTo>
                      <a:pt x="960" y="310"/>
                    </a:moveTo>
                    <a:cubicBezTo>
                      <a:pt x="888" y="547"/>
                      <a:pt x="888" y="547"/>
                      <a:pt x="888" y="547"/>
                    </a:cubicBezTo>
                    <a:cubicBezTo>
                      <a:pt x="839" y="528"/>
                      <a:pt x="796" y="504"/>
                      <a:pt x="759" y="476"/>
                    </a:cubicBezTo>
                    <a:cubicBezTo>
                      <a:pt x="784" y="449"/>
                      <a:pt x="809" y="425"/>
                      <a:pt x="834" y="403"/>
                    </a:cubicBezTo>
                    <a:cubicBezTo>
                      <a:pt x="875" y="366"/>
                      <a:pt x="917" y="335"/>
                      <a:pt x="960" y="310"/>
                    </a:cubicBezTo>
                    <a:close/>
                    <a:moveTo>
                      <a:pt x="650" y="481"/>
                    </a:moveTo>
                    <a:cubicBezTo>
                      <a:pt x="591" y="552"/>
                      <a:pt x="538" y="633"/>
                      <a:pt x="489" y="721"/>
                    </a:cubicBezTo>
                    <a:cubicBezTo>
                      <a:pt x="465" y="698"/>
                      <a:pt x="443" y="674"/>
                      <a:pt x="424" y="649"/>
                    </a:cubicBezTo>
                    <a:cubicBezTo>
                      <a:pt x="392" y="607"/>
                      <a:pt x="368" y="564"/>
                      <a:pt x="353" y="520"/>
                    </a:cubicBezTo>
                    <a:cubicBezTo>
                      <a:pt x="411" y="459"/>
                      <a:pt x="477" y="407"/>
                      <a:pt x="548" y="366"/>
                    </a:cubicBezTo>
                    <a:cubicBezTo>
                      <a:pt x="556" y="362"/>
                      <a:pt x="564" y="358"/>
                      <a:pt x="572" y="354"/>
                    </a:cubicBezTo>
                    <a:cubicBezTo>
                      <a:pt x="583" y="388"/>
                      <a:pt x="602" y="422"/>
                      <a:pt x="625" y="453"/>
                    </a:cubicBezTo>
                    <a:cubicBezTo>
                      <a:pt x="633" y="463"/>
                      <a:pt x="641" y="472"/>
                      <a:pt x="650" y="481"/>
                    </a:cubicBezTo>
                    <a:close/>
                    <a:moveTo>
                      <a:pt x="708" y="535"/>
                    </a:moveTo>
                    <a:cubicBezTo>
                      <a:pt x="752" y="570"/>
                      <a:pt x="805" y="600"/>
                      <a:pt x="865" y="622"/>
                    </a:cubicBezTo>
                    <a:cubicBezTo>
                      <a:pt x="782" y="895"/>
                      <a:pt x="782" y="895"/>
                      <a:pt x="782" y="895"/>
                    </a:cubicBezTo>
                    <a:cubicBezTo>
                      <a:pt x="694" y="865"/>
                      <a:pt x="616" y="822"/>
                      <a:pt x="551" y="773"/>
                    </a:cubicBezTo>
                    <a:cubicBezTo>
                      <a:pt x="598" y="685"/>
                      <a:pt x="651" y="605"/>
                      <a:pt x="708" y="535"/>
                    </a:cubicBezTo>
                    <a:close/>
                    <a:moveTo>
                      <a:pt x="940" y="645"/>
                    </a:moveTo>
                    <a:cubicBezTo>
                      <a:pt x="1002" y="660"/>
                      <a:pt x="1063" y="664"/>
                      <a:pt x="1120" y="660"/>
                    </a:cubicBezTo>
                    <a:cubicBezTo>
                      <a:pt x="1121" y="668"/>
                      <a:pt x="1122" y="675"/>
                      <a:pt x="1122" y="683"/>
                    </a:cubicBezTo>
                    <a:cubicBezTo>
                      <a:pt x="1129" y="766"/>
                      <a:pt x="1127" y="854"/>
                      <a:pt x="1118" y="945"/>
                    </a:cubicBezTo>
                    <a:cubicBezTo>
                      <a:pt x="1036" y="950"/>
                      <a:pt x="947" y="941"/>
                      <a:pt x="857" y="918"/>
                    </a:cubicBezTo>
                    <a:lnTo>
                      <a:pt x="940" y="645"/>
                    </a:lnTo>
                    <a:close/>
                    <a:moveTo>
                      <a:pt x="1126" y="341"/>
                    </a:moveTo>
                    <a:cubicBezTo>
                      <a:pt x="1190" y="390"/>
                      <a:pt x="1246" y="449"/>
                      <a:pt x="1292" y="516"/>
                    </a:cubicBezTo>
                    <a:cubicBezTo>
                      <a:pt x="1267" y="538"/>
                      <a:pt x="1234" y="555"/>
                      <a:pt x="1196" y="566"/>
                    </a:cubicBezTo>
                    <a:cubicBezTo>
                      <a:pt x="1193" y="567"/>
                      <a:pt x="1191" y="568"/>
                      <a:pt x="1188" y="568"/>
                    </a:cubicBezTo>
                    <a:cubicBezTo>
                      <a:pt x="1184" y="544"/>
                      <a:pt x="1179" y="519"/>
                      <a:pt x="1174" y="495"/>
                    </a:cubicBezTo>
                    <a:cubicBezTo>
                      <a:pt x="1162" y="441"/>
                      <a:pt x="1145" y="389"/>
                      <a:pt x="1126" y="341"/>
                    </a:cubicBezTo>
                    <a:close/>
                    <a:moveTo>
                      <a:pt x="1352" y="417"/>
                    </a:moveTo>
                    <a:cubicBezTo>
                      <a:pt x="1351" y="423"/>
                      <a:pt x="1350" y="429"/>
                      <a:pt x="1348" y="434"/>
                    </a:cubicBezTo>
                    <a:cubicBezTo>
                      <a:pt x="1348" y="435"/>
                      <a:pt x="1347" y="437"/>
                      <a:pt x="1347" y="438"/>
                    </a:cubicBezTo>
                    <a:cubicBezTo>
                      <a:pt x="1347" y="439"/>
                      <a:pt x="1346" y="441"/>
                      <a:pt x="1345" y="442"/>
                    </a:cubicBezTo>
                    <a:cubicBezTo>
                      <a:pt x="1344" y="445"/>
                      <a:pt x="1343" y="448"/>
                      <a:pt x="1342" y="451"/>
                    </a:cubicBezTo>
                    <a:cubicBezTo>
                      <a:pt x="1318" y="417"/>
                      <a:pt x="1291" y="385"/>
                      <a:pt x="1262" y="356"/>
                    </a:cubicBezTo>
                    <a:cubicBezTo>
                      <a:pt x="1294" y="374"/>
                      <a:pt x="1324" y="394"/>
                      <a:pt x="1352" y="417"/>
                    </a:cubicBezTo>
                    <a:close/>
                    <a:moveTo>
                      <a:pt x="1297" y="243"/>
                    </a:moveTo>
                    <a:cubicBezTo>
                      <a:pt x="1299" y="245"/>
                      <a:pt x="1301" y="247"/>
                      <a:pt x="1302" y="250"/>
                    </a:cubicBezTo>
                    <a:cubicBezTo>
                      <a:pt x="1317" y="269"/>
                      <a:pt x="1329" y="289"/>
                      <a:pt x="1338" y="309"/>
                    </a:cubicBezTo>
                    <a:cubicBezTo>
                      <a:pt x="1291" y="279"/>
                      <a:pt x="1240" y="254"/>
                      <a:pt x="1186" y="234"/>
                    </a:cubicBezTo>
                    <a:cubicBezTo>
                      <a:pt x="1224" y="232"/>
                      <a:pt x="1261" y="235"/>
                      <a:pt x="1297" y="243"/>
                    </a:cubicBezTo>
                    <a:close/>
                    <a:moveTo>
                      <a:pt x="1098" y="127"/>
                    </a:moveTo>
                    <a:cubicBezTo>
                      <a:pt x="1122" y="136"/>
                      <a:pt x="1146" y="146"/>
                      <a:pt x="1169" y="157"/>
                    </a:cubicBezTo>
                    <a:cubicBezTo>
                      <a:pt x="1141" y="159"/>
                      <a:pt x="1112" y="164"/>
                      <a:pt x="1084" y="172"/>
                    </a:cubicBezTo>
                    <a:lnTo>
                      <a:pt x="1098" y="127"/>
                    </a:lnTo>
                    <a:close/>
                    <a:moveTo>
                      <a:pt x="1110" y="581"/>
                    </a:moveTo>
                    <a:cubicBezTo>
                      <a:pt x="1064" y="585"/>
                      <a:pt x="1014" y="581"/>
                      <a:pt x="963" y="570"/>
                    </a:cubicBezTo>
                    <a:cubicBezTo>
                      <a:pt x="1035" y="332"/>
                      <a:pt x="1035" y="332"/>
                      <a:pt x="1035" y="332"/>
                    </a:cubicBezTo>
                    <a:cubicBezTo>
                      <a:pt x="1070" y="404"/>
                      <a:pt x="1095" y="488"/>
                      <a:pt x="1110" y="581"/>
                    </a:cubicBezTo>
                    <a:close/>
                    <a:moveTo>
                      <a:pt x="1022" y="104"/>
                    </a:moveTo>
                    <a:cubicBezTo>
                      <a:pt x="1009" y="148"/>
                      <a:pt x="1009" y="148"/>
                      <a:pt x="1009" y="148"/>
                    </a:cubicBezTo>
                    <a:cubicBezTo>
                      <a:pt x="990" y="127"/>
                      <a:pt x="969" y="107"/>
                      <a:pt x="947" y="89"/>
                    </a:cubicBezTo>
                    <a:cubicBezTo>
                      <a:pt x="972" y="93"/>
                      <a:pt x="997" y="97"/>
                      <a:pt x="1022" y="104"/>
                    </a:cubicBezTo>
                    <a:close/>
                    <a:moveTo>
                      <a:pt x="791" y="89"/>
                    </a:moveTo>
                    <a:cubicBezTo>
                      <a:pt x="792" y="90"/>
                      <a:pt x="792" y="90"/>
                      <a:pt x="793" y="90"/>
                    </a:cubicBezTo>
                    <a:cubicBezTo>
                      <a:pt x="793" y="89"/>
                      <a:pt x="793" y="89"/>
                      <a:pt x="793" y="89"/>
                    </a:cubicBezTo>
                    <a:cubicBezTo>
                      <a:pt x="793" y="89"/>
                      <a:pt x="793" y="89"/>
                      <a:pt x="793" y="89"/>
                    </a:cubicBezTo>
                    <a:cubicBezTo>
                      <a:pt x="793" y="90"/>
                      <a:pt x="793" y="90"/>
                      <a:pt x="793" y="90"/>
                    </a:cubicBezTo>
                    <a:cubicBezTo>
                      <a:pt x="827" y="103"/>
                      <a:pt x="860" y="121"/>
                      <a:pt x="889" y="144"/>
                    </a:cubicBezTo>
                    <a:cubicBezTo>
                      <a:pt x="833" y="130"/>
                      <a:pt x="776" y="123"/>
                      <a:pt x="720" y="122"/>
                    </a:cubicBezTo>
                    <a:cubicBezTo>
                      <a:pt x="741" y="109"/>
                      <a:pt x="764" y="98"/>
                      <a:pt x="791" y="89"/>
                    </a:cubicBezTo>
                    <a:close/>
                    <a:moveTo>
                      <a:pt x="641" y="223"/>
                    </a:moveTo>
                    <a:cubicBezTo>
                      <a:pt x="642" y="222"/>
                      <a:pt x="642" y="221"/>
                      <a:pt x="642" y="220"/>
                    </a:cubicBezTo>
                    <a:cubicBezTo>
                      <a:pt x="643" y="218"/>
                      <a:pt x="644" y="215"/>
                      <a:pt x="645" y="212"/>
                    </a:cubicBezTo>
                    <a:cubicBezTo>
                      <a:pt x="646" y="209"/>
                      <a:pt x="647" y="206"/>
                      <a:pt x="648" y="203"/>
                    </a:cubicBezTo>
                    <a:cubicBezTo>
                      <a:pt x="685" y="200"/>
                      <a:pt x="722" y="200"/>
                      <a:pt x="760" y="203"/>
                    </a:cubicBezTo>
                    <a:cubicBezTo>
                      <a:pt x="718" y="211"/>
                      <a:pt x="678" y="223"/>
                      <a:pt x="638" y="238"/>
                    </a:cubicBezTo>
                    <a:cubicBezTo>
                      <a:pt x="639" y="233"/>
                      <a:pt x="640" y="228"/>
                      <a:pt x="641" y="223"/>
                    </a:cubicBezTo>
                    <a:close/>
                    <a:moveTo>
                      <a:pt x="609" y="98"/>
                    </a:moveTo>
                    <a:cubicBezTo>
                      <a:pt x="616" y="96"/>
                      <a:pt x="624" y="94"/>
                      <a:pt x="632" y="92"/>
                    </a:cubicBezTo>
                    <a:cubicBezTo>
                      <a:pt x="623" y="100"/>
                      <a:pt x="615" y="109"/>
                      <a:pt x="608" y="119"/>
                    </a:cubicBezTo>
                    <a:cubicBezTo>
                      <a:pt x="593" y="124"/>
                      <a:pt x="578" y="129"/>
                      <a:pt x="564" y="135"/>
                    </a:cubicBezTo>
                    <a:cubicBezTo>
                      <a:pt x="538" y="140"/>
                      <a:pt x="512" y="146"/>
                      <a:pt x="487" y="153"/>
                    </a:cubicBezTo>
                    <a:cubicBezTo>
                      <a:pt x="522" y="130"/>
                      <a:pt x="563" y="112"/>
                      <a:pt x="609" y="98"/>
                    </a:cubicBezTo>
                    <a:close/>
                    <a:moveTo>
                      <a:pt x="335" y="377"/>
                    </a:moveTo>
                    <a:cubicBezTo>
                      <a:pt x="337" y="361"/>
                      <a:pt x="341" y="344"/>
                      <a:pt x="345" y="328"/>
                    </a:cubicBezTo>
                    <a:cubicBezTo>
                      <a:pt x="347" y="323"/>
                      <a:pt x="348" y="319"/>
                      <a:pt x="350" y="314"/>
                    </a:cubicBezTo>
                    <a:cubicBezTo>
                      <a:pt x="353" y="305"/>
                      <a:pt x="357" y="296"/>
                      <a:pt x="362" y="287"/>
                    </a:cubicBezTo>
                    <a:cubicBezTo>
                      <a:pt x="425" y="254"/>
                      <a:pt x="493" y="230"/>
                      <a:pt x="562" y="216"/>
                    </a:cubicBezTo>
                    <a:cubicBezTo>
                      <a:pt x="561" y="220"/>
                      <a:pt x="560" y="225"/>
                      <a:pt x="559" y="230"/>
                    </a:cubicBezTo>
                    <a:cubicBezTo>
                      <a:pt x="557" y="244"/>
                      <a:pt x="556" y="258"/>
                      <a:pt x="557" y="273"/>
                    </a:cubicBezTo>
                    <a:cubicBezTo>
                      <a:pt x="541" y="281"/>
                      <a:pt x="525" y="289"/>
                      <a:pt x="509" y="298"/>
                    </a:cubicBezTo>
                    <a:cubicBezTo>
                      <a:pt x="447" y="333"/>
                      <a:pt x="388" y="377"/>
                      <a:pt x="334" y="428"/>
                    </a:cubicBezTo>
                    <a:cubicBezTo>
                      <a:pt x="333" y="411"/>
                      <a:pt x="333" y="394"/>
                      <a:pt x="335" y="377"/>
                    </a:cubicBezTo>
                    <a:close/>
                    <a:moveTo>
                      <a:pt x="122" y="615"/>
                    </a:moveTo>
                    <a:cubicBezTo>
                      <a:pt x="122" y="615"/>
                      <a:pt x="122" y="615"/>
                      <a:pt x="122" y="615"/>
                    </a:cubicBezTo>
                    <a:cubicBezTo>
                      <a:pt x="122" y="615"/>
                      <a:pt x="123" y="614"/>
                      <a:pt x="123" y="614"/>
                    </a:cubicBezTo>
                    <a:cubicBezTo>
                      <a:pt x="125" y="605"/>
                      <a:pt x="128" y="597"/>
                      <a:pt x="131" y="588"/>
                    </a:cubicBezTo>
                    <a:cubicBezTo>
                      <a:pt x="160" y="502"/>
                      <a:pt x="204" y="425"/>
                      <a:pt x="258" y="359"/>
                    </a:cubicBezTo>
                    <a:cubicBezTo>
                      <a:pt x="255" y="382"/>
                      <a:pt x="254" y="405"/>
                      <a:pt x="255" y="428"/>
                    </a:cubicBezTo>
                    <a:cubicBezTo>
                      <a:pt x="256" y="452"/>
                      <a:pt x="260" y="476"/>
                      <a:pt x="265" y="500"/>
                    </a:cubicBezTo>
                    <a:cubicBezTo>
                      <a:pt x="202" y="573"/>
                      <a:pt x="150" y="658"/>
                      <a:pt x="109" y="751"/>
                    </a:cubicBezTo>
                    <a:cubicBezTo>
                      <a:pt x="105" y="705"/>
                      <a:pt x="109" y="659"/>
                      <a:pt x="122" y="615"/>
                    </a:cubicBezTo>
                    <a:close/>
                    <a:moveTo>
                      <a:pt x="286" y="1340"/>
                    </a:moveTo>
                    <a:cubicBezTo>
                      <a:pt x="204" y="1250"/>
                      <a:pt x="145" y="1141"/>
                      <a:pt x="114" y="1023"/>
                    </a:cubicBezTo>
                    <a:cubicBezTo>
                      <a:pt x="115" y="1015"/>
                      <a:pt x="116" y="1008"/>
                      <a:pt x="118" y="1001"/>
                    </a:cubicBezTo>
                    <a:cubicBezTo>
                      <a:pt x="129" y="1019"/>
                      <a:pt x="141" y="1036"/>
                      <a:pt x="155" y="1054"/>
                    </a:cubicBezTo>
                    <a:cubicBezTo>
                      <a:pt x="197" y="1109"/>
                      <a:pt x="250" y="1162"/>
                      <a:pt x="310" y="1209"/>
                    </a:cubicBezTo>
                    <a:cubicBezTo>
                      <a:pt x="300" y="1253"/>
                      <a:pt x="293" y="1297"/>
                      <a:pt x="286" y="1340"/>
                    </a:cubicBezTo>
                    <a:close/>
                    <a:moveTo>
                      <a:pt x="348" y="1061"/>
                    </a:moveTo>
                    <a:cubicBezTo>
                      <a:pt x="342" y="1082"/>
                      <a:pt x="336" y="1103"/>
                      <a:pt x="331" y="1124"/>
                    </a:cubicBezTo>
                    <a:cubicBezTo>
                      <a:pt x="287" y="1087"/>
                      <a:pt x="249" y="1047"/>
                      <a:pt x="217" y="1006"/>
                    </a:cubicBezTo>
                    <a:cubicBezTo>
                      <a:pt x="187" y="966"/>
                      <a:pt x="163" y="925"/>
                      <a:pt x="145" y="884"/>
                    </a:cubicBezTo>
                    <a:cubicBezTo>
                      <a:pt x="145" y="883"/>
                      <a:pt x="145" y="882"/>
                      <a:pt x="146" y="881"/>
                    </a:cubicBezTo>
                    <a:cubicBezTo>
                      <a:pt x="149" y="871"/>
                      <a:pt x="152" y="861"/>
                      <a:pt x="155" y="851"/>
                    </a:cubicBezTo>
                    <a:cubicBezTo>
                      <a:pt x="189" y="753"/>
                      <a:pt x="237" y="665"/>
                      <a:pt x="295" y="588"/>
                    </a:cubicBezTo>
                    <a:cubicBezTo>
                      <a:pt x="312" y="626"/>
                      <a:pt x="335" y="662"/>
                      <a:pt x="361" y="697"/>
                    </a:cubicBezTo>
                    <a:cubicBezTo>
                      <a:pt x="387" y="731"/>
                      <a:pt x="418" y="764"/>
                      <a:pt x="452" y="794"/>
                    </a:cubicBezTo>
                    <a:cubicBezTo>
                      <a:pt x="418" y="866"/>
                      <a:pt x="387" y="942"/>
                      <a:pt x="361" y="1022"/>
                    </a:cubicBezTo>
                    <a:cubicBezTo>
                      <a:pt x="357" y="1035"/>
                      <a:pt x="352" y="1048"/>
                      <a:pt x="348" y="1061"/>
                    </a:cubicBezTo>
                    <a:close/>
                    <a:moveTo>
                      <a:pt x="586" y="1540"/>
                    </a:moveTo>
                    <a:cubicBezTo>
                      <a:pt x="500" y="1509"/>
                      <a:pt x="423" y="1464"/>
                      <a:pt x="357" y="1408"/>
                    </a:cubicBezTo>
                    <a:cubicBezTo>
                      <a:pt x="363" y="1359"/>
                      <a:pt x="370" y="1309"/>
                      <a:pt x="380" y="1259"/>
                    </a:cubicBezTo>
                    <a:cubicBezTo>
                      <a:pt x="456" y="1308"/>
                      <a:pt x="541" y="1350"/>
                      <a:pt x="634" y="1382"/>
                    </a:cubicBezTo>
                    <a:lnTo>
                      <a:pt x="586" y="1540"/>
                    </a:lnTo>
                    <a:close/>
                    <a:moveTo>
                      <a:pt x="399" y="1176"/>
                    </a:moveTo>
                    <a:cubicBezTo>
                      <a:pt x="406" y="1146"/>
                      <a:pt x="414" y="1115"/>
                      <a:pt x="424" y="1084"/>
                    </a:cubicBezTo>
                    <a:cubicBezTo>
                      <a:pt x="428" y="1072"/>
                      <a:pt x="432" y="1059"/>
                      <a:pt x="436" y="1046"/>
                    </a:cubicBezTo>
                    <a:cubicBezTo>
                      <a:pt x="459" y="976"/>
                      <a:pt x="486" y="908"/>
                      <a:pt x="515" y="845"/>
                    </a:cubicBezTo>
                    <a:cubicBezTo>
                      <a:pt x="586" y="896"/>
                      <a:pt x="668" y="939"/>
                      <a:pt x="759" y="971"/>
                    </a:cubicBezTo>
                    <a:cubicBezTo>
                      <a:pt x="657" y="1306"/>
                      <a:pt x="657" y="1306"/>
                      <a:pt x="657" y="1306"/>
                    </a:cubicBezTo>
                    <a:cubicBezTo>
                      <a:pt x="560" y="1273"/>
                      <a:pt x="473" y="1228"/>
                      <a:pt x="399" y="1176"/>
                    </a:cubicBezTo>
                    <a:close/>
                    <a:moveTo>
                      <a:pt x="926" y="1580"/>
                    </a:moveTo>
                    <a:cubicBezTo>
                      <a:pt x="839" y="1590"/>
                      <a:pt x="750" y="1585"/>
                      <a:pt x="661" y="1563"/>
                    </a:cubicBezTo>
                    <a:cubicBezTo>
                      <a:pt x="710" y="1405"/>
                      <a:pt x="710" y="1405"/>
                      <a:pt x="710" y="1405"/>
                    </a:cubicBezTo>
                    <a:cubicBezTo>
                      <a:pt x="805" y="1430"/>
                      <a:pt x="899" y="1443"/>
                      <a:pt x="990" y="1444"/>
                    </a:cubicBezTo>
                    <a:cubicBezTo>
                      <a:pt x="970" y="1491"/>
                      <a:pt x="949" y="1537"/>
                      <a:pt x="926" y="1580"/>
                    </a:cubicBezTo>
                    <a:close/>
                    <a:moveTo>
                      <a:pt x="732" y="1329"/>
                    </a:moveTo>
                    <a:cubicBezTo>
                      <a:pt x="834" y="994"/>
                      <a:pt x="834" y="994"/>
                      <a:pt x="834" y="994"/>
                    </a:cubicBezTo>
                    <a:cubicBezTo>
                      <a:pt x="928" y="1018"/>
                      <a:pt x="1020" y="1028"/>
                      <a:pt x="1108" y="1024"/>
                    </a:cubicBezTo>
                    <a:cubicBezTo>
                      <a:pt x="1095" y="1106"/>
                      <a:pt x="1076" y="1189"/>
                      <a:pt x="1051" y="1273"/>
                    </a:cubicBezTo>
                    <a:cubicBezTo>
                      <a:pt x="1047" y="1286"/>
                      <a:pt x="1043" y="1299"/>
                      <a:pt x="1039" y="1311"/>
                    </a:cubicBezTo>
                    <a:cubicBezTo>
                      <a:pt x="1033" y="1329"/>
                      <a:pt x="1027" y="1347"/>
                      <a:pt x="1020" y="1365"/>
                    </a:cubicBezTo>
                    <a:cubicBezTo>
                      <a:pt x="929" y="1367"/>
                      <a:pt x="831" y="1355"/>
                      <a:pt x="732" y="1329"/>
                    </a:cubicBezTo>
                    <a:close/>
                    <a:moveTo>
                      <a:pt x="1343" y="1393"/>
                    </a:moveTo>
                    <a:cubicBezTo>
                      <a:pt x="1251" y="1475"/>
                      <a:pt x="1141" y="1533"/>
                      <a:pt x="1023" y="1562"/>
                    </a:cubicBezTo>
                    <a:cubicBezTo>
                      <a:pt x="1042" y="1523"/>
                      <a:pt x="1060" y="1483"/>
                      <a:pt x="1076" y="1441"/>
                    </a:cubicBezTo>
                    <a:cubicBezTo>
                      <a:pt x="1142" y="1436"/>
                      <a:pt x="1204" y="1425"/>
                      <a:pt x="1263" y="1407"/>
                    </a:cubicBezTo>
                    <a:cubicBezTo>
                      <a:pt x="1294" y="1398"/>
                      <a:pt x="1323" y="1387"/>
                      <a:pt x="1351" y="1374"/>
                    </a:cubicBezTo>
                    <a:cubicBezTo>
                      <a:pt x="1348" y="1381"/>
                      <a:pt x="1346" y="1387"/>
                      <a:pt x="1343" y="1393"/>
                    </a:cubicBezTo>
                    <a:close/>
                    <a:moveTo>
                      <a:pt x="1395" y="1260"/>
                    </a:moveTo>
                    <a:cubicBezTo>
                      <a:pt x="1394" y="1260"/>
                      <a:pt x="1394" y="1261"/>
                      <a:pt x="1394" y="1262"/>
                    </a:cubicBezTo>
                    <a:cubicBezTo>
                      <a:pt x="1349" y="1291"/>
                      <a:pt x="1298" y="1314"/>
                      <a:pt x="1240" y="1331"/>
                    </a:cubicBezTo>
                    <a:cubicBezTo>
                      <a:pt x="1198" y="1344"/>
                      <a:pt x="1153" y="1353"/>
                      <a:pt x="1106" y="1359"/>
                    </a:cubicBezTo>
                    <a:cubicBezTo>
                      <a:pt x="1109" y="1351"/>
                      <a:pt x="1111" y="1344"/>
                      <a:pt x="1114" y="1336"/>
                    </a:cubicBezTo>
                    <a:cubicBezTo>
                      <a:pt x="1118" y="1323"/>
                      <a:pt x="1122" y="1310"/>
                      <a:pt x="1126" y="1296"/>
                    </a:cubicBezTo>
                    <a:cubicBezTo>
                      <a:pt x="1155" y="1202"/>
                      <a:pt x="1175" y="1109"/>
                      <a:pt x="1188" y="1017"/>
                    </a:cubicBezTo>
                    <a:cubicBezTo>
                      <a:pt x="1225" y="1012"/>
                      <a:pt x="1260" y="1004"/>
                      <a:pt x="1294" y="994"/>
                    </a:cubicBezTo>
                    <a:cubicBezTo>
                      <a:pt x="1344" y="979"/>
                      <a:pt x="1391" y="959"/>
                      <a:pt x="1433" y="933"/>
                    </a:cubicBezTo>
                    <a:cubicBezTo>
                      <a:pt x="1440" y="1039"/>
                      <a:pt x="1428" y="1150"/>
                      <a:pt x="1395" y="1260"/>
                    </a:cubicBezTo>
                    <a:close/>
                    <a:moveTo>
                      <a:pt x="1431" y="604"/>
                    </a:moveTo>
                    <a:cubicBezTo>
                      <a:pt x="1419" y="577"/>
                      <a:pt x="1405" y="551"/>
                      <a:pt x="1390" y="525"/>
                    </a:cubicBezTo>
                    <a:cubicBezTo>
                      <a:pt x="1398" y="514"/>
                      <a:pt x="1405" y="502"/>
                      <a:pt x="1411" y="489"/>
                    </a:cubicBezTo>
                    <a:cubicBezTo>
                      <a:pt x="1414" y="484"/>
                      <a:pt x="1416" y="480"/>
                      <a:pt x="1417" y="475"/>
                    </a:cubicBezTo>
                    <a:cubicBezTo>
                      <a:pt x="1467" y="525"/>
                      <a:pt x="1510" y="582"/>
                      <a:pt x="1544" y="645"/>
                    </a:cubicBezTo>
                    <a:cubicBezTo>
                      <a:pt x="1542" y="660"/>
                      <a:pt x="1539" y="674"/>
                      <a:pt x="1535" y="689"/>
                    </a:cubicBezTo>
                    <a:cubicBezTo>
                      <a:pt x="1533" y="694"/>
                      <a:pt x="1532" y="698"/>
                      <a:pt x="1530" y="703"/>
                    </a:cubicBezTo>
                    <a:cubicBezTo>
                      <a:pt x="1526" y="714"/>
                      <a:pt x="1521" y="725"/>
                      <a:pt x="1515" y="736"/>
                    </a:cubicBezTo>
                    <a:cubicBezTo>
                      <a:pt x="1508" y="751"/>
                      <a:pt x="1499" y="764"/>
                      <a:pt x="1489" y="777"/>
                    </a:cubicBezTo>
                    <a:cubicBezTo>
                      <a:pt x="1476" y="717"/>
                      <a:pt x="1456" y="659"/>
                      <a:pt x="1431" y="604"/>
                    </a:cubicBezTo>
                    <a:close/>
                    <a:moveTo>
                      <a:pt x="1561" y="1051"/>
                    </a:moveTo>
                    <a:cubicBezTo>
                      <a:pt x="1558" y="1060"/>
                      <a:pt x="1555" y="1069"/>
                      <a:pt x="1552" y="1078"/>
                    </a:cubicBezTo>
                    <a:cubicBezTo>
                      <a:pt x="1555" y="1069"/>
                      <a:pt x="1558" y="1061"/>
                      <a:pt x="1560" y="1052"/>
                    </a:cubicBezTo>
                    <a:cubicBezTo>
                      <a:pt x="1560" y="1052"/>
                      <a:pt x="1560" y="1052"/>
                      <a:pt x="1560" y="1052"/>
                    </a:cubicBezTo>
                    <a:cubicBezTo>
                      <a:pt x="1559" y="1058"/>
                      <a:pt x="1557" y="1063"/>
                      <a:pt x="1555" y="1069"/>
                    </a:cubicBezTo>
                    <a:cubicBezTo>
                      <a:pt x="1542" y="1105"/>
                      <a:pt x="1522" y="1139"/>
                      <a:pt x="1497" y="1170"/>
                    </a:cubicBezTo>
                    <a:cubicBezTo>
                      <a:pt x="1515" y="1071"/>
                      <a:pt x="1518" y="972"/>
                      <a:pt x="1507" y="876"/>
                    </a:cubicBezTo>
                    <a:cubicBezTo>
                      <a:pt x="1524" y="860"/>
                      <a:pt x="1540" y="842"/>
                      <a:pt x="1554" y="823"/>
                    </a:cubicBezTo>
                    <a:cubicBezTo>
                      <a:pt x="1568" y="805"/>
                      <a:pt x="1580" y="785"/>
                      <a:pt x="1590" y="764"/>
                    </a:cubicBezTo>
                    <a:cubicBezTo>
                      <a:pt x="1599" y="858"/>
                      <a:pt x="1590" y="955"/>
                      <a:pt x="1561" y="1051"/>
                    </a:cubicBezTo>
                    <a:close/>
                  </a:path>
                </a:pathLst>
              </a:custGeom>
              <a:solidFill>
                <a:schemeClr val="accent1">
                  <a:lumMod val="20000"/>
                  <a:lumOff val="80000"/>
                </a:schemeClr>
              </a:solidFill>
              <a:ln w="12700">
                <a:solidFill>
                  <a:schemeClr val="bg2"/>
                </a:solidFill>
                <a:round/>
                <a:headEnd/>
                <a:tailEnd/>
              </a:ln>
              <a:effectLst/>
            </p:spPr>
            <p:txBody>
              <a:bodyPr vert="horz" wrap="square" lIns="68580" tIns="34290" rIns="68580" bIns="34290" numCol="1" anchor="ctr" anchorCtr="0" compatLnSpc="1">
                <a:prstTxWarp prst="textNoShape">
                  <a:avLst/>
                </a:prstTxWarp>
              </a:bodyPr>
              <a:lstStyle/>
              <a:p>
                <a:pPr marL="0" marR="0" lvl="0" indent="0" algn="l" defTabSz="456778" rtl="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a:ln>
                    <a:noFill/>
                  </a:ln>
                  <a:solidFill>
                    <a:srgbClr val="000000"/>
                  </a:solidFill>
                  <a:effectLst/>
                  <a:uLnTx/>
                  <a:uFillTx/>
                  <a:latin typeface="CiscoSansTT Light"/>
                  <a:ea typeface="ＭＳ Ｐゴシック" charset="0"/>
                  <a:cs typeface="CiscoSansTT Light"/>
                </a:endParaRPr>
              </a:p>
            </p:txBody>
          </p:sp>
          <p:grpSp>
            <p:nvGrpSpPr>
              <p:cNvPr id="1934" name="Group 1933">
                <a:extLst>
                  <a:ext uri="{FF2B5EF4-FFF2-40B4-BE49-F238E27FC236}">
                    <a16:creationId xmlns:a16="http://schemas.microsoft.com/office/drawing/2014/main" id="{C9D8E281-619D-4C93-9765-2962D1DCDD95}"/>
                  </a:ext>
                </a:extLst>
              </p:cNvPr>
              <p:cNvGrpSpPr/>
              <p:nvPr/>
            </p:nvGrpSpPr>
            <p:grpSpPr>
              <a:xfrm>
                <a:off x="2263038" y="2224658"/>
                <a:ext cx="983490" cy="983488"/>
                <a:chOff x="5693729" y="2263589"/>
                <a:chExt cx="1219889" cy="1219886"/>
              </a:xfrm>
            </p:grpSpPr>
            <p:sp>
              <p:nvSpPr>
                <p:cNvPr id="1935" name="Oval 1934">
                  <a:extLst>
                    <a:ext uri="{FF2B5EF4-FFF2-40B4-BE49-F238E27FC236}">
                      <a16:creationId xmlns:a16="http://schemas.microsoft.com/office/drawing/2014/main" id="{51196E0D-1B89-4A60-9D3D-F9EA9AB538E9}"/>
                    </a:ext>
                  </a:extLst>
                </p:cNvPr>
                <p:cNvSpPr/>
                <p:nvPr/>
              </p:nvSpPr>
              <p:spPr>
                <a:xfrm>
                  <a:off x="5693729" y="2263589"/>
                  <a:ext cx="1219889" cy="1219886"/>
                </a:xfrm>
                <a:prstGeom prst="ellipse">
                  <a:avLst/>
                </a:prstGeom>
                <a:solidFill>
                  <a:srgbClr val="005073"/>
                </a:solidFill>
                <a:ln w="12700" cap="flat" cmpd="sng" algn="ctr">
                  <a:noFill/>
                  <a:prstDash val="solid"/>
                </a:ln>
                <a:effectLst/>
              </p:spPr>
              <p:txBody>
                <a:bodyPr rtlCol="0" anchor="t"/>
                <a:lstStyle/>
                <a:p>
                  <a:pPr marL="214307" marR="0" lvl="0" indent="-214307" algn="l" defTabSz="34289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grpSp>
              <p:nvGrpSpPr>
                <p:cNvPr id="1936" name="Group 1935">
                  <a:extLst>
                    <a:ext uri="{FF2B5EF4-FFF2-40B4-BE49-F238E27FC236}">
                      <a16:creationId xmlns:a16="http://schemas.microsoft.com/office/drawing/2014/main" id="{A2255A1C-D73C-4A03-A9F8-D1DD81C14BF2}"/>
                    </a:ext>
                  </a:extLst>
                </p:cNvPr>
                <p:cNvGrpSpPr/>
                <p:nvPr/>
              </p:nvGrpSpPr>
              <p:grpSpPr>
                <a:xfrm>
                  <a:off x="5723967" y="2540624"/>
                  <a:ext cx="1100032" cy="538851"/>
                  <a:chOff x="4003849" y="2762704"/>
                  <a:chExt cx="601852" cy="294821"/>
                </a:xfrm>
                <a:solidFill>
                  <a:srgbClr val="FFFFFF"/>
                </a:solidFill>
              </p:grpSpPr>
              <p:sp>
                <p:nvSpPr>
                  <p:cNvPr id="1938" name="Freeform 225">
                    <a:extLst>
                      <a:ext uri="{FF2B5EF4-FFF2-40B4-BE49-F238E27FC236}">
                        <a16:creationId xmlns:a16="http://schemas.microsoft.com/office/drawing/2014/main" id="{C8D62BCD-DBE8-43C1-85F6-02975E051EBC}"/>
                      </a:ext>
                    </a:extLst>
                  </p:cNvPr>
                  <p:cNvSpPr>
                    <a:spLocks/>
                  </p:cNvSpPr>
                  <p:nvPr/>
                </p:nvSpPr>
                <p:spPr bwMode="auto">
                  <a:xfrm>
                    <a:off x="4003849" y="2929013"/>
                    <a:ext cx="601852" cy="128512"/>
                  </a:xfrm>
                  <a:custGeom>
                    <a:avLst/>
                    <a:gdLst>
                      <a:gd name="T0" fmla="*/ 389 w 436"/>
                      <a:gd name="T1" fmla="*/ 93 h 93"/>
                      <a:gd name="T2" fmla="*/ 47 w 436"/>
                      <a:gd name="T3" fmla="*/ 93 h 93"/>
                      <a:gd name="T4" fmla="*/ 0 w 436"/>
                      <a:gd name="T5" fmla="*/ 46 h 93"/>
                      <a:gd name="T6" fmla="*/ 0 w 436"/>
                      <a:gd name="T7" fmla="*/ 46 h 93"/>
                      <a:gd name="T8" fmla="*/ 47 w 436"/>
                      <a:gd name="T9" fmla="*/ 0 h 93"/>
                      <a:gd name="T10" fmla="*/ 389 w 436"/>
                      <a:gd name="T11" fmla="*/ 0 h 93"/>
                      <a:gd name="T12" fmla="*/ 436 w 436"/>
                      <a:gd name="T13" fmla="*/ 46 h 93"/>
                      <a:gd name="T14" fmla="*/ 436 w 436"/>
                      <a:gd name="T15" fmla="*/ 46 h 93"/>
                      <a:gd name="T16" fmla="*/ 389 w 436"/>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6" h="93">
                        <a:moveTo>
                          <a:pt x="389" y="93"/>
                        </a:moveTo>
                        <a:cubicBezTo>
                          <a:pt x="47" y="93"/>
                          <a:pt x="47" y="93"/>
                          <a:pt x="47" y="93"/>
                        </a:cubicBezTo>
                        <a:cubicBezTo>
                          <a:pt x="21" y="93"/>
                          <a:pt x="0" y="72"/>
                          <a:pt x="0" y="46"/>
                        </a:cubicBezTo>
                        <a:cubicBezTo>
                          <a:pt x="0" y="46"/>
                          <a:pt x="0" y="46"/>
                          <a:pt x="0" y="46"/>
                        </a:cubicBezTo>
                        <a:cubicBezTo>
                          <a:pt x="0" y="21"/>
                          <a:pt x="21" y="0"/>
                          <a:pt x="47" y="0"/>
                        </a:cubicBezTo>
                        <a:cubicBezTo>
                          <a:pt x="389" y="0"/>
                          <a:pt x="389" y="0"/>
                          <a:pt x="389" y="0"/>
                        </a:cubicBezTo>
                        <a:cubicBezTo>
                          <a:pt x="415" y="0"/>
                          <a:pt x="436" y="21"/>
                          <a:pt x="436" y="46"/>
                        </a:cubicBezTo>
                        <a:cubicBezTo>
                          <a:pt x="436" y="46"/>
                          <a:pt x="436" y="46"/>
                          <a:pt x="436" y="46"/>
                        </a:cubicBezTo>
                        <a:cubicBezTo>
                          <a:pt x="436" y="72"/>
                          <a:pt x="415" y="93"/>
                          <a:pt x="389"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939" name="Freeform 226">
                    <a:extLst>
                      <a:ext uri="{FF2B5EF4-FFF2-40B4-BE49-F238E27FC236}">
                        <a16:creationId xmlns:a16="http://schemas.microsoft.com/office/drawing/2014/main" id="{B944E77A-4C36-4857-8CAE-F52F17FB129B}"/>
                      </a:ext>
                    </a:extLst>
                  </p:cNvPr>
                  <p:cNvSpPr>
                    <a:spLocks/>
                  </p:cNvSpPr>
                  <p:nvPr/>
                </p:nvSpPr>
                <p:spPr bwMode="auto">
                  <a:xfrm>
                    <a:off x="4136431" y="2845858"/>
                    <a:ext cx="426239" cy="128512"/>
                  </a:xfrm>
                  <a:custGeom>
                    <a:avLst/>
                    <a:gdLst>
                      <a:gd name="T0" fmla="*/ 262 w 309"/>
                      <a:gd name="T1" fmla="*/ 93 h 93"/>
                      <a:gd name="T2" fmla="*/ 46 w 309"/>
                      <a:gd name="T3" fmla="*/ 93 h 93"/>
                      <a:gd name="T4" fmla="*/ 0 w 309"/>
                      <a:gd name="T5" fmla="*/ 47 h 93"/>
                      <a:gd name="T6" fmla="*/ 0 w 309"/>
                      <a:gd name="T7" fmla="*/ 47 h 93"/>
                      <a:gd name="T8" fmla="*/ 46 w 309"/>
                      <a:gd name="T9" fmla="*/ 0 h 93"/>
                      <a:gd name="T10" fmla="*/ 262 w 309"/>
                      <a:gd name="T11" fmla="*/ 0 h 93"/>
                      <a:gd name="T12" fmla="*/ 309 w 309"/>
                      <a:gd name="T13" fmla="*/ 47 h 93"/>
                      <a:gd name="T14" fmla="*/ 309 w 309"/>
                      <a:gd name="T15" fmla="*/ 47 h 93"/>
                      <a:gd name="T16" fmla="*/ 262 w 309"/>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93">
                        <a:moveTo>
                          <a:pt x="262" y="93"/>
                        </a:moveTo>
                        <a:cubicBezTo>
                          <a:pt x="46" y="93"/>
                          <a:pt x="46" y="93"/>
                          <a:pt x="46" y="93"/>
                        </a:cubicBezTo>
                        <a:cubicBezTo>
                          <a:pt x="21" y="93"/>
                          <a:pt x="0" y="72"/>
                          <a:pt x="0" y="47"/>
                        </a:cubicBezTo>
                        <a:cubicBezTo>
                          <a:pt x="0" y="47"/>
                          <a:pt x="0" y="47"/>
                          <a:pt x="0" y="47"/>
                        </a:cubicBezTo>
                        <a:cubicBezTo>
                          <a:pt x="0" y="21"/>
                          <a:pt x="21" y="0"/>
                          <a:pt x="46" y="0"/>
                        </a:cubicBezTo>
                        <a:cubicBezTo>
                          <a:pt x="262" y="0"/>
                          <a:pt x="262" y="0"/>
                          <a:pt x="262" y="0"/>
                        </a:cubicBezTo>
                        <a:cubicBezTo>
                          <a:pt x="288" y="0"/>
                          <a:pt x="309" y="21"/>
                          <a:pt x="309" y="47"/>
                        </a:cubicBezTo>
                        <a:cubicBezTo>
                          <a:pt x="309" y="47"/>
                          <a:pt x="309" y="47"/>
                          <a:pt x="309" y="47"/>
                        </a:cubicBezTo>
                        <a:cubicBezTo>
                          <a:pt x="309" y="72"/>
                          <a:pt x="288" y="93"/>
                          <a:pt x="262"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940" name="Freeform 227">
                    <a:extLst>
                      <a:ext uri="{FF2B5EF4-FFF2-40B4-BE49-F238E27FC236}">
                        <a16:creationId xmlns:a16="http://schemas.microsoft.com/office/drawing/2014/main" id="{C658FE74-3334-43B0-B927-E3F344025A41}"/>
                      </a:ext>
                    </a:extLst>
                  </p:cNvPr>
                  <p:cNvSpPr>
                    <a:spLocks/>
                  </p:cNvSpPr>
                  <p:nvPr/>
                </p:nvSpPr>
                <p:spPr bwMode="auto">
                  <a:xfrm>
                    <a:off x="4304485" y="2762704"/>
                    <a:ext cx="202944" cy="130256"/>
                  </a:xfrm>
                  <a:custGeom>
                    <a:avLst/>
                    <a:gdLst>
                      <a:gd name="T0" fmla="*/ 100 w 147"/>
                      <a:gd name="T1" fmla="*/ 94 h 94"/>
                      <a:gd name="T2" fmla="*/ 47 w 147"/>
                      <a:gd name="T3" fmla="*/ 94 h 94"/>
                      <a:gd name="T4" fmla="*/ 0 w 147"/>
                      <a:gd name="T5" fmla="*/ 47 h 94"/>
                      <a:gd name="T6" fmla="*/ 0 w 147"/>
                      <a:gd name="T7" fmla="*/ 47 h 94"/>
                      <a:gd name="T8" fmla="*/ 47 w 147"/>
                      <a:gd name="T9" fmla="*/ 0 h 94"/>
                      <a:gd name="T10" fmla="*/ 100 w 147"/>
                      <a:gd name="T11" fmla="*/ 0 h 94"/>
                      <a:gd name="T12" fmla="*/ 147 w 147"/>
                      <a:gd name="T13" fmla="*/ 47 h 94"/>
                      <a:gd name="T14" fmla="*/ 147 w 147"/>
                      <a:gd name="T15" fmla="*/ 47 h 94"/>
                      <a:gd name="T16" fmla="*/ 100 w 147"/>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94">
                        <a:moveTo>
                          <a:pt x="100" y="94"/>
                        </a:moveTo>
                        <a:cubicBezTo>
                          <a:pt x="47" y="94"/>
                          <a:pt x="47" y="94"/>
                          <a:pt x="47" y="94"/>
                        </a:cubicBezTo>
                        <a:cubicBezTo>
                          <a:pt x="21" y="94"/>
                          <a:pt x="0" y="73"/>
                          <a:pt x="0" y="47"/>
                        </a:cubicBezTo>
                        <a:cubicBezTo>
                          <a:pt x="0" y="47"/>
                          <a:pt x="0" y="47"/>
                          <a:pt x="0" y="47"/>
                        </a:cubicBezTo>
                        <a:cubicBezTo>
                          <a:pt x="0" y="21"/>
                          <a:pt x="21" y="0"/>
                          <a:pt x="47" y="0"/>
                        </a:cubicBezTo>
                        <a:cubicBezTo>
                          <a:pt x="100" y="0"/>
                          <a:pt x="100" y="0"/>
                          <a:pt x="100" y="0"/>
                        </a:cubicBezTo>
                        <a:cubicBezTo>
                          <a:pt x="126" y="0"/>
                          <a:pt x="147" y="21"/>
                          <a:pt x="147" y="47"/>
                        </a:cubicBezTo>
                        <a:cubicBezTo>
                          <a:pt x="147" y="47"/>
                          <a:pt x="147" y="47"/>
                          <a:pt x="147" y="47"/>
                        </a:cubicBezTo>
                        <a:cubicBezTo>
                          <a:pt x="147" y="73"/>
                          <a:pt x="126" y="94"/>
                          <a:pt x="10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grpSp>
            <p:sp>
              <p:nvSpPr>
                <p:cNvPr id="1937" name="Freeform: Shape 1936">
                  <a:extLst>
                    <a:ext uri="{FF2B5EF4-FFF2-40B4-BE49-F238E27FC236}">
                      <a16:creationId xmlns:a16="http://schemas.microsoft.com/office/drawing/2014/main" id="{6CF6A037-F64D-476E-9DC3-E1ECF5D14636}"/>
                    </a:ext>
                  </a:extLst>
                </p:cNvPr>
                <p:cNvSpPr/>
                <p:nvPr/>
              </p:nvSpPr>
              <p:spPr>
                <a:xfrm>
                  <a:off x="6280459" y="2615564"/>
                  <a:ext cx="402998" cy="421553"/>
                </a:xfrm>
                <a:custGeom>
                  <a:avLst/>
                  <a:gdLst>
                    <a:gd name="connsiteX0" fmla="*/ 454624 w 492842"/>
                    <a:gd name="connsiteY0" fmla="*/ 489658 h 515534"/>
                    <a:gd name="connsiteX1" fmla="*/ 447459 w 492842"/>
                    <a:gd name="connsiteY1" fmla="*/ 496823 h 515534"/>
                    <a:gd name="connsiteX2" fmla="*/ 454624 w 492842"/>
                    <a:gd name="connsiteY2" fmla="*/ 503989 h 515534"/>
                    <a:gd name="connsiteX3" fmla="*/ 461790 w 492842"/>
                    <a:gd name="connsiteY3" fmla="*/ 496823 h 515534"/>
                    <a:gd name="connsiteX4" fmla="*/ 454624 w 492842"/>
                    <a:gd name="connsiteY4" fmla="*/ 489658 h 515534"/>
                    <a:gd name="connsiteX5" fmla="*/ 350777 w 492842"/>
                    <a:gd name="connsiteY5" fmla="*/ 327634 h 515534"/>
                    <a:gd name="connsiteX6" fmla="*/ 333705 w 492842"/>
                    <a:gd name="connsiteY6" fmla="*/ 351916 h 515534"/>
                    <a:gd name="connsiteX7" fmla="*/ 314894 w 492842"/>
                    <a:gd name="connsiteY7" fmla="*/ 364103 h 515534"/>
                    <a:gd name="connsiteX8" fmla="*/ 314894 w 492842"/>
                    <a:gd name="connsiteY8" fmla="*/ 428892 h 515534"/>
                    <a:gd name="connsiteX9" fmla="*/ 351120 w 492842"/>
                    <a:gd name="connsiteY9" fmla="*/ 396106 h 515534"/>
                    <a:gd name="connsiteX10" fmla="*/ 383366 w 492842"/>
                    <a:gd name="connsiteY10" fmla="*/ 328828 h 515534"/>
                    <a:gd name="connsiteX11" fmla="*/ 383532 w 492842"/>
                    <a:gd name="connsiteY11" fmla="*/ 327634 h 515534"/>
                    <a:gd name="connsiteX12" fmla="*/ 464975 w 492842"/>
                    <a:gd name="connsiteY12" fmla="*/ 314496 h 515534"/>
                    <a:gd name="connsiteX13" fmla="*/ 457810 w 492842"/>
                    <a:gd name="connsiteY13" fmla="*/ 321661 h 515534"/>
                    <a:gd name="connsiteX14" fmla="*/ 464975 w 492842"/>
                    <a:gd name="connsiteY14" fmla="*/ 328827 h 515534"/>
                    <a:gd name="connsiteX15" fmla="*/ 472141 w 492842"/>
                    <a:gd name="connsiteY15" fmla="*/ 321661 h 515534"/>
                    <a:gd name="connsiteX16" fmla="*/ 464975 w 492842"/>
                    <a:gd name="connsiteY16" fmla="*/ 314496 h 515534"/>
                    <a:gd name="connsiteX17" fmla="*/ 108227 w 492842"/>
                    <a:gd name="connsiteY17" fmla="*/ 312108 h 515534"/>
                    <a:gd name="connsiteX18" fmla="*/ 110272 w 492842"/>
                    <a:gd name="connsiteY18" fmla="*/ 328032 h 515534"/>
                    <a:gd name="connsiteX19" fmla="*/ 142916 w 492842"/>
                    <a:gd name="connsiteY19" fmla="*/ 396504 h 515534"/>
                    <a:gd name="connsiteX20" fmla="*/ 246819 w 492842"/>
                    <a:gd name="connsiteY20" fmla="*/ 472938 h 515534"/>
                    <a:gd name="connsiteX21" fmla="*/ 302951 w 492842"/>
                    <a:gd name="connsiteY21" fmla="*/ 438076 h 515534"/>
                    <a:gd name="connsiteX22" fmla="*/ 302951 w 492842"/>
                    <a:gd name="connsiteY22" fmla="*/ 371841 h 515534"/>
                    <a:gd name="connsiteX23" fmla="*/ 294592 w 492842"/>
                    <a:gd name="connsiteY23" fmla="*/ 377257 h 515534"/>
                    <a:gd name="connsiteX24" fmla="*/ 246820 w 492842"/>
                    <a:gd name="connsiteY24" fmla="*/ 386550 h 515534"/>
                    <a:gd name="connsiteX25" fmla="*/ 133512 w 492842"/>
                    <a:gd name="connsiteY25" fmla="*/ 314166 h 515534"/>
                    <a:gd name="connsiteX26" fmla="*/ 133076 w 492842"/>
                    <a:gd name="connsiteY26" fmla="*/ 312108 h 515534"/>
                    <a:gd name="connsiteX27" fmla="*/ 34634 w 492842"/>
                    <a:gd name="connsiteY27" fmla="*/ 298970 h 515534"/>
                    <a:gd name="connsiteX28" fmla="*/ 27469 w 492842"/>
                    <a:gd name="connsiteY28" fmla="*/ 306135 h 515534"/>
                    <a:gd name="connsiteX29" fmla="*/ 34634 w 492842"/>
                    <a:gd name="connsiteY29" fmla="*/ 313301 h 515534"/>
                    <a:gd name="connsiteX30" fmla="*/ 41800 w 492842"/>
                    <a:gd name="connsiteY30" fmla="*/ 306135 h 515534"/>
                    <a:gd name="connsiteX31" fmla="*/ 34634 w 492842"/>
                    <a:gd name="connsiteY31" fmla="*/ 298970 h 515534"/>
                    <a:gd name="connsiteX32" fmla="*/ 365902 w 492842"/>
                    <a:gd name="connsiteY32" fmla="*/ 250005 h 515534"/>
                    <a:gd name="connsiteX33" fmla="*/ 369832 w 492842"/>
                    <a:gd name="connsiteY33" fmla="*/ 268316 h 515534"/>
                    <a:gd name="connsiteX34" fmla="*/ 360129 w 492842"/>
                    <a:gd name="connsiteY34" fmla="*/ 314334 h 515534"/>
                    <a:gd name="connsiteX35" fmla="*/ 359175 w 492842"/>
                    <a:gd name="connsiteY35" fmla="*/ 315690 h 515534"/>
                    <a:gd name="connsiteX36" fmla="*/ 385187 w 492842"/>
                    <a:gd name="connsiteY36" fmla="*/ 315690 h 515534"/>
                    <a:gd name="connsiteX37" fmla="*/ 394294 w 492842"/>
                    <a:gd name="connsiteY37" fmla="*/ 250005 h 515534"/>
                    <a:gd name="connsiteX38" fmla="*/ 98564 w 492842"/>
                    <a:gd name="connsiteY38" fmla="*/ 236868 h 515534"/>
                    <a:gd name="connsiteX39" fmla="*/ 106693 w 492842"/>
                    <a:gd name="connsiteY39" fmla="*/ 300164 h 515534"/>
                    <a:gd name="connsiteX40" fmla="*/ 130549 w 492842"/>
                    <a:gd name="connsiteY40" fmla="*/ 300164 h 515534"/>
                    <a:gd name="connsiteX41" fmla="*/ 123808 w 492842"/>
                    <a:gd name="connsiteY41" fmla="*/ 268316 h 515534"/>
                    <a:gd name="connsiteX42" fmla="*/ 130397 w 492842"/>
                    <a:gd name="connsiteY42" fmla="*/ 236868 h 515534"/>
                    <a:gd name="connsiteX43" fmla="*/ 473733 w 492842"/>
                    <a:gd name="connsiteY43" fmla="*/ 236867 h 515534"/>
                    <a:gd name="connsiteX44" fmla="*/ 466568 w 492842"/>
                    <a:gd name="connsiteY44" fmla="*/ 244032 h 515534"/>
                    <a:gd name="connsiteX45" fmla="*/ 473733 w 492842"/>
                    <a:gd name="connsiteY45" fmla="*/ 250800 h 515534"/>
                    <a:gd name="connsiteX46" fmla="*/ 480899 w 492842"/>
                    <a:gd name="connsiteY46" fmla="*/ 243634 h 515534"/>
                    <a:gd name="connsiteX47" fmla="*/ 473733 w 492842"/>
                    <a:gd name="connsiteY47" fmla="*/ 236867 h 515534"/>
                    <a:gd name="connsiteX48" fmla="*/ 204622 w 492842"/>
                    <a:gd name="connsiteY48" fmla="*/ 227710 h 515534"/>
                    <a:gd name="connsiteX49" fmla="*/ 204622 w 492842"/>
                    <a:gd name="connsiteY49" fmla="*/ 308922 h 515534"/>
                    <a:gd name="connsiteX50" fmla="*/ 289018 w 492842"/>
                    <a:gd name="connsiteY50" fmla="*/ 308922 h 515534"/>
                    <a:gd name="connsiteX51" fmla="*/ 289018 w 492842"/>
                    <a:gd name="connsiteY51" fmla="*/ 227710 h 515534"/>
                    <a:gd name="connsiteX52" fmla="*/ 19108 w 492842"/>
                    <a:gd name="connsiteY52" fmla="*/ 224128 h 515534"/>
                    <a:gd name="connsiteX53" fmla="*/ 11943 w 492842"/>
                    <a:gd name="connsiteY53" fmla="*/ 230895 h 515534"/>
                    <a:gd name="connsiteX54" fmla="*/ 19108 w 492842"/>
                    <a:gd name="connsiteY54" fmla="*/ 238061 h 515534"/>
                    <a:gd name="connsiteX55" fmla="*/ 25876 w 492842"/>
                    <a:gd name="connsiteY55" fmla="*/ 230895 h 515534"/>
                    <a:gd name="connsiteX56" fmla="*/ 19108 w 492842"/>
                    <a:gd name="connsiteY56" fmla="*/ 224128 h 515534"/>
                    <a:gd name="connsiteX57" fmla="*/ 326837 w 492842"/>
                    <a:gd name="connsiteY57" fmla="*/ 198649 h 515534"/>
                    <a:gd name="connsiteX58" fmla="*/ 302952 w 492842"/>
                    <a:gd name="connsiteY58" fmla="*/ 224127 h 515534"/>
                    <a:gd name="connsiteX59" fmla="*/ 303350 w 492842"/>
                    <a:gd name="connsiteY59" fmla="*/ 226516 h 515534"/>
                    <a:gd name="connsiteX60" fmla="*/ 303350 w 492842"/>
                    <a:gd name="connsiteY60" fmla="*/ 310116 h 515534"/>
                    <a:gd name="connsiteX61" fmla="*/ 289814 w 492842"/>
                    <a:gd name="connsiteY61" fmla="*/ 323253 h 515534"/>
                    <a:gd name="connsiteX62" fmla="*/ 203428 w 492842"/>
                    <a:gd name="connsiteY62" fmla="*/ 323253 h 515534"/>
                    <a:gd name="connsiteX63" fmla="*/ 200641 w 492842"/>
                    <a:gd name="connsiteY63" fmla="*/ 322855 h 515534"/>
                    <a:gd name="connsiteX64" fmla="*/ 175958 w 492842"/>
                    <a:gd name="connsiteY64" fmla="*/ 346741 h 515534"/>
                    <a:gd name="connsiteX65" fmla="*/ 246820 w 492842"/>
                    <a:gd name="connsiteY65" fmla="*/ 372219 h 515534"/>
                    <a:gd name="connsiteX66" fmla="*/ 354704 w 492842"/>
                    <a:gd name="connsiteY66" fmla="*/ 268316 h 515534"/>
                    <a:gd name="connsiteX67" fmla="*/ 326837 w 492842"/>
                    <a:gd name="connsiteY67" fmla="*/ 198649 h 515534"/>
                    <a:gd name="connsiteX68" fmla="*/ 246820 w 492842"/>
                    <a:gd name="connsiteY68" fmla="*/ 164413 h 515534"/>
                    <a:gd name="connsiteX69" fmla="*/ 138537 w 492842"/>
                    <a:gd name="connsiteY69" fmla="*/ 268316 h 515534"/>
                    <a:gd name="connsiteX70" fmla="*/ 165608 w 492842"/>
                    <a:gd name="connsiteY70" fmla="*/ 336390 h 515534"/>
                    <a:gd name="connsiteX71" fmla="*/ 190291 w 492842"/>
                    <a:gd name="connsiteY71" fmla="*/ 312505 h 515534"/>
                    <a:gd name="connsiteX72" fmla="*/ 189893 w 492842"/>
                    <a:gd name="connsiteY72" fmla="*/ 309718 h 515534"/>
                    <a:gd name="connsiteX73" fmla="*/ 189893 w 492842"/>
                    <a:gd name="connsiteY73" fmla="*/ 226516 h 515534"/>
                    <a:gd name="connsiteX74" fmla="*/ 203428 w 492842"/>
                    <a:gd name="connsiteY74" fmla="*/ 213379 h 515534"/>
                    <a:gd name="connsiteX75" fmla="*/ 290213 w 492842"/>
                    <a:gd name="connsiteY75" fmla="*/ 213379 h 515534"/>
                    <a:gd name="connsiteX76" fmla="*/ 293397 w 492842"/>
                    <a:gd name="connsiteY76" fmla="*/ 213777 h 515534"/>
                    <a:gd name="connsiteX77" fmla="*/ 316487 w 492842"/>
                    <a:gd name="connsiteY77" fmla="*/ 189095 h 515534"/>
                    <a:gd name="connsiteX78" fmla="*/ 246820 w 492842"/>
                    <a:gd name="connsiteY78" fmla="*/ 164413 h 515534"/>
                    <a:gd name="connsiteX79" fmla="*/ 184716 w 492842"/>
                    <a:gd name="connsiteY79" fmla="*/ 112361 h 515534"/>
                    <a:gd name="connsiteX80" fmla="*/ 141560 w 492842"/>
                    <a:gd name="connsiteY80" fmla="*/ 130059 h 515534"/>
                    <a:gd name="connsiteX81" fmla="*/ 85988 w 492842"/>
                    <a:gd name="connsiteY81" fmla="*/ 138935 h 515534"/>
                    <a:gd name="connsiteX82" fmla="*/ 97031 w 492842"/>
                    <a:gd name="connsiteY82" fmla="*/ 224924 h 515534"/>
                    <a:gd name="connsiteX83" fmla="*/ 132899 w 492842"/>
                    <a:gd name="connsiteY83" fmla="*/ 224924 h 515534"/>
                    <a:gd name="connsiteX84" fmla="*/ 133450 w 492842"/>
                    <a:gd name="connsiteY84" fmla="*/ 222299 h 515534"/>
                    <a:gd name="connsiteX85" fmla="*/ 177885 w 492842"/>
                    <a:gd name="connsiteY85" fmla="*/ 170278 h 515534"/>
                    <a:gd name="connsiteX86" fmla="*/ 184716 w 492842"/>
                    <a:gd name="connsiteY86" fmla="*/ 167110 h 515534"/>
                    <a:gd name="connsiteX87" fmla="*/ 246023 w 492842"/>
                    <a:gd name="connsiteY87" fmla="*/ 68870 h 515534"/>
                    <a:gd name="connsiteX88" fmla="*/ 222697 w 492842"/>
                    <a:gd name="connsiteY88" fmla="*/ 88719 h 515534"/>
                    <a:gd name="connsiteX89" fmla="*/ 196659 w 492842"/>
                    <a:gd name="connsiteY89" fmla="*/ 105365 h 515534"/>
                    <a:gd name="connsiteX90" fmla="*/ 196659 w 492842"/>
                    <a:gd name="connsiteY90" fmla="*/ 161573 h 515534"/>
                    <a:gd name="connsiteX91" fmla="*/ 209975 w 492842"/>
                    <a:gd name="connsiteY91" fmla="*/ 155399 h 515534"/>
                    <a:gd name="connsiteX92" fmla="*/ 246422 w 492842"/>
                    <a:gd name="connsiteY92" fmla="*/ 150082 h 515534"/>
                    <a:gd name="connsiteX93" fmla="*/ 359954 w 492842"/>
                    <a:gd name="connsiteY93" fmla="*/ 222299 h 515534"/>
                    <a:gd name="connsiteX94" fmla="*/ 363338 w 492842"/>
                    <a:gd name="connsiteY94" fmla="*/ 238061 h 515534"/>
                    <a:gd name="connsiteX95" fmla="*/ 395949 w 492842"/>
                    <a:gd name="connsiteY95" fmla="*/ 238061 h 515534"/>
                    <a:gd name="connsiteX96" fmla="*/ 407649 w 492842"/>
                    <a:gd name="connsiteY96" fmla="*/ 153665 h 515534"/>
                    <a:gd name="connsiteX97" fmla="*/ 246023 w 492842"/>
                    <a:gd name="connsiteY97" fmla="*/ 68870 h 515534"/>
                    <a:gd name="connsiteX98" fmla="*/ 45383 w 492842"/>
                    <a:gd name="connsiteY98" fmla="*/ 11943 h 515534"/>
                    <a:gd name="connsiteX99" fmla="*/ 38218 w 492842"/>
                    <a:gd name="connsiteY99" fmla="*/ 19108 h 515534"/>
                    <a:gd name="connsiteX100" fmla="*/ 45383 w 492842"/>
                    <a:gd name="connsiteY100" fmla="*/ 26274 h 515534"/>
                    <a:gd name="connsiteX101" fmla="*/ 52549 w 492842"/>
                    <a:gd name="connsiteY101" fmla="*/ 19108 h 515534"/>
                    <a:gd name="connsiteX102" fmla="*/ 45383 w 492842"/>
                    <a:gd name="connsiteY102" fmla="*/ 11943 h 515534"/>
                    <a:gd name="connsiteX103" fmla="*/ 45383 w 492842"/>
                    <a:gd name="connsiteY103" fmla="*/ 0 h 515534"/>
                    <a:gd name="connsiteX104" fmla="*/ 58819 w 492842"/>
                    <a:gd name="connsiteY104" fmla="*/ 5523 h 515534"/>
                    <a:gd name="connsiteX105" fmla="*/ 61998 w 492842"/>
                    <a:gd name="connsiteY105" fmla="*/ 13137 h 515534"/>
                    <a:gd name="connsiteX106" fmla="*/ 196659 w 492842"/>
                    <a:gd name="connsiteY106" fmla="*/ 13137 h 515534"/>
                    <a:gd name="connsiteX107" fmla="*/ 196659 w 492842"/>
                    <a:gd name="connsiteY107" fmla="*/ 72209 h 515534"/>
                    <a:gd name="connsiteX108" fmla="*/ 223860 w 492842"/>
                    <a:gd name="connsiteY108" fmla="*/ 51236 h 515534"/>
                    <a:gd name="connsiteX109" fmla="*/ 236070 w 492842"/>
                    <a:gd name="connsiteY109" fmla="*/ 39013 h 515534"/>
                    <a:gd name="connsiteX110" fmla="*/ 246819 w 492842"/>
                    <a:gd name="connsiteY110" fmla="*/ 34236 h 515534"/>
                    <a:gd name="connsiteX111" fmla="*/ 257567 w 492842"/>
                    <a:gd name="connsiteY111" fmla="*/ 39411 h 515534"/>
                    <a:gd name="connsiteX112" fmla="*/ 423971 w 492842"/>
                    <a:gd name="connsiteY112" fmla="*/ 126992 h 515534"/>
                    <a:gd name="connsiteX113" fmla="*/ 433924 w 492842"/>
                    <a:gd name="connsiteY113" fmla="*/ 132168 h 515534"/>
                    <a:gd name="connsiteX114" fmla="*/ 437108 w 492842"/>
                    <a:gd name="connsiteY114" fmla="*/ 142916 h 515534"/>
                    <a:gd name="connsiteX115" fmla="*/ 423944 w 492842"/>
                    <a:gd name="connsiteY115" fmla="*/ 238061 h 515534"/>
                    <a:gd name="connsiteX116" fmla="*/ 456891 w 492842"/>
                    <a:gd name="connsiteY116" fmla="*/ 238061 h 515534"/>
                    <a:gd name="connsiteX117" fmla="*/ 460149 w 492842"/>
                    <a:gd name="connsiteY117" fmla="*/ 230050 h 515534"/>
                    <a:gd name="connsiteX118" fmla="*/ 473733 w 492842"/>
                    <a:gd name="connsiteY118" fmla="*/ 224526 h 515534"/>
                    <a:gd name="connsiteX119" fmla="*/ 492842 w 492842"/>
                    <a:gd name="connsiteY119" fmla="*/ 243634 h 515534"/>
                    <a:gd name="connsiteX120" fmla="*/ 473733 w 492842"/>
                    <a:gd name="connsiteY120" fmla="*/ 262743 h 515534"/>
                    <a:gd name="connsiteX121" fmla="*/ 460298 w 492842"/>
                    <a:gd name="connsiteY121" fmla="*/ 257220 h 515534"/>
                    <a:gd name="connsiteX122" fmla="*/ 457286 w 492842"/>
                    <a:gd name="connsiteY122" fmla="*/ 250005 h 515534"/>
                    <a:gd name="connsiteX123" fmla="*/ 422291 w 492842"/>
                    <a:gd name="connsiteY123" fmla="*/ 250005 h 515534"/>
                    <a:gd name="connsiteX124" fmla="*/ 413203 w 492842"/>
                    <a:gd name="connsiteY124" fmla="*/ 315690 h 515534"/>
                    <a:gd name="connsiteX125" fmla="*/ 448133 w 492842"/>
                    <a:gd name="connsiteY125" fmla="*/ 315690 h 515534"/>
                    <a:gd name="connsiteX126" fmla="*/ 451391 w 492842"/>
                    <a:gd name="connsiteY126" fmla="*/ 307679 h 515534"/>
                    <a:gd name="connsiteX127" fmla="*/ 464975 w 492842"/>
                    <a:gd name="connsiteY127" fmla="*/ 302155 h 515534"/>
                    <a:gd name="connsiteX128" fmla="*/ 484084 w 492842"/>
                    <a:gd name="connsiteY128" fmla="*/ 321263 h 515534"/>
                    <a:gd name="connsiteX129" fmla="*/ 464975 w 492842"/>
                    <a:gd name="connsiteY129" fmla="*/ 340372 h 515534"/>
                    <a:gd name="connsiteX130" fmla="*/ 451540 w 492842"/>
                    <a:gd name="connsiteY130" fmla="*/ 334849 h 515534"/>
                    <a:gd name="connsiteX131" fmla="*/ 448528 w 492842"/>
                    <a:gd name="connsiteY131" fmla="*/ 327634 h 515534"/>
                    <a:gd name="connsiteX132" fmla="*/ 411550 w 492842"/>
                    <a:gd name="connsiteY132" fmla="*/ 327634 h 515534"/>
                    <a:gd name="connsiteX133" fmla="*/ 410834 w 492842"/>
                    <a:gd name="connsiteY133" fmla="*/ 332809 h 515534"/>
                    <a:gd name="connsiteX134" fmla="*/ 371025 w 492842"/>
                    <a:gd name="connsiteY134" fmla="*/ 415613 h 515534"/>
                    <a:gd name="connsiteX135" fmla="*/ 322855 w 492842"/>
                    <a:gd name="connsiteY135" fmla="*/ 458856 h 515534"/>
                    <a:gd name="connsiteX136" fmla="*/ 314894 w 492842"/>
                    <a:gd name="connsiteY136" fmla="*/ 463613 h 515534"/>
                    <a:gd name="connsiteX137" fmla="*/ 314894 w 492842"/>
                    <a:gd name="connsiteY137" fmla="*/ 490852 h 515534"/>
                    <a:gd name="connsiteX138" fmla="*/ 437782 w 492842"/>
                    <a:gd name="connsiteY138" fmla="*/ 490852 h 515534"/>
                    <a:gd name="connsiteX139" fmla="*/ 441040 w 492842"/>
                    <a:gd name="connsiteY139" fmla="*/ 482841 h 515534"/>
                    <a:gd name="connsiteX140" fmla="*/ 454624 w 492842"/>
                    <a:gd name="connsiteY140" fmla="*/ 477317 h 515534"/>
                    <a:gd name="connsiteX141" fmla="*/ 473733 w 492842"/>
                    <a:gd name="connsiteY141" fmla="*/ 496425 h 515534"/>
                    <a:gd name="connsiteX142" fmla="*/ 454624 w 492842"/>
                    <a:gd name="connsiteY142" fmla="*/ 515534 h 515534"/>
                    <a:gd name="connsiteX143" fmla="*/ 441189 w 492842"/>
                    <a:gd name="connsiteY143" fmla="*/ 510011 h 515534"/>
                    <a:gd name="connsiteX144" fmla="*/ 438176 w 492842"/>
                    <a:gd name="connsiteY144" fmla="*/ 502795 h 515534"/>
                    <a:gd name="connsiteX145" fmla="*/ 302951 w 492842"/>
                    <a:gd name="connsiteY145" fmla="*/ 502795 h 515534"/>
                    <a:gd name="connsiteX146" fmla="*/ 302951 w 492842"/>
                    <a:gd name="connsiteY146" fmla="*/ 470751 h 515534"/>
                    <a:gd name="connsiteX147" fmla="*/ 251994 w 492842"/>
                    <a:gd name="connsiteY147" fmla="*/ 501203 h 515534"/>
                    <a:gd name="connsiteX148" fmla="*/ 246819 w 492842"/>
                    <a:gd name="connsiteY148" fmla="*/ 502397 h 515534"/>
                    <a:gd name="connsiteX149" fmla="*/ 241246 w 492842"/>
                    <a:gd name="connsiteY149" fmla="*/ 501203 h 515534"/>
                    <a:gd name="connsiteX150" fmla="*/ 122613 w 492842"/>
                    <a:gd name="connsiteY150" fmla="*/ 416011 h 515534"/>
                    <a:gd name="connsiteX151" fmla="*/ 82804 w 492842"/>
                    <a:gd name="connsiteY151" fmla="*/ 332013 h 515534"/>
                    <a:gd name="connsiteX152" fmla="*/ 80248 w 492842"/>
                    <a:gd name="connsiteY152" fmla="*/ 312108 h 515534"/>
                    <a:gd name="connsiteX153" fmla="*/ 51082 w 492842"/>
                    <a:gd name="connsiteY153" fmla="*/ 312108 h 515534"/>
                    <a:gd name="connsiteX154" fmla="*/ 48070 w 492842"/>
                    <a:gd name="connsiteY154" fmla="*/ 319322 h 515534"/>
                    <a:gd name="connsiteX155" fmla="*/ 34634 w 492842"/>
                    <a:gd name="connsiteY155" fmla="*/ 324846 h 515534"/>
                    <a:gd name="connsiteX156" fmla="*/ 15526 w 492842"/>
                    <a:gd name="connsiteY156" fmla="*/ 305737 h 515534"/>
                    <a:gd name="connsiteX157" fmla="*/ 34634 w 492842"/>
                    <a:gd name="connsiteY157" fmla="*/ 286629 h 515534"/>
                    <a:gd name="connsiteX158" fmla="*/ 48219 w 492842"/>
                    <a:gd name="connsiteY158" fmla="*/ 292153 h 515534"/>
                    <a:gd name="connsiteX159" fmla="*/ 51477 w 492842"/>
                    <a:gd name="connsiteY159" fmla="*/ 300164 h 515534"/>
                    <a:gd name="connsiteX160" fmla="*/ 78714 w 492842"/>
                    <a:gd name="connsiteY160" fmla="*/ 300164 h 515534"/>
                    <a:gd name="connsiteX161" fmla="*/ 70586 w 492842"/>
                    <a:gd name="connsiteY161" fmla="*/ 236868 h 515534"/>
                    <a:gd name="connsiteX162" fmla="*/ 35723 w 492842"/>
                    <a:gd name="connsiteY162" fmla="*/ 236868 h 515534"/>
                    <a:gd name="connsiteX163" fmla="*/ 32544 w 492842"/>
                    <a:gd name="connsiteY163" fmla="*/ 244480 h 515534"/>
                    <a:gd name="connsiteX164" fmla="*/ 19108 w 492842"/>
                    <a:gd name="connsiteY164" fmla="*/ 250004 h 515534"/>
                    <a:gd name="connsiteX165" fmla="*/ 0 w 492842"/>
                    <a:gd name="connsiteY165" fmla="*/ 230895 h 515534"/>
                    <a:gd name="connsiteX166" fmla="*/ 19108 w 492842"/>
                    <a:gd name="connsiteY166" fmla="*/ 211787 h 515534"/>
                    <a:gd name="connsiteX167" fmla="*/ 32693 w 492842"/>
                    <a:gd name="connsiteY167" fmla="*/ 217311 h 515534"/>
                    <a:gd name="connsiteX168" fmla="*/ 35789 w 492842"/>
                    <a:gd name="connsiteY168" fmla="*/ 224924 h 515534"/>
                    <a:gd name="connsiteX169" fmla="*/ 69053 w 492842"/>
                    <a:gd name="connsiteY169" fmla="*/ 224924 h 515534"/>
                    <a:gd name="connsiteX170" fmla="*/ 56529 w 492842"/>
                    <a:gd name="connsiteY170" fmla="*/ 127391 h 515534"/>
                    <a:gd name="connsiteX171" fmla="*/ 60112 w 492842"/>
                    <a:gd name="connsiteY171" fmla="*/ 116244 h 515534"/>
                    <a:gd name="connsiteX172" fmla="*/ 70861 w 492842"/>
                    <a:gd name="connsiteY172" fmla="*/ 111865 h 515534"/>
                    <a:gd name="connsiteX173" fmla="*/ 138382 w 492842"/>
                    <a:gd name="connsiteY173" fmla="*/ 102106 h 515534"/>
                    <a:gd name="connsiteX174" fmla="*/ 184716 w 492842"/>
                    <a:gd name="connsiteY174" fmla="*/ 79790 h 515534"/>
                    <a:gd name="connsiteX175" fmla="*/ 184716 w 492842"/>
                    <a:gd name="connsiteY175" fmla="*/ 25080 h 515534"/>
                    <a:gd name="connsiteX176" fmla="*/ 61961 w 492842"/>
                    <a:gd name="connsiteY176" fmla="*/ 25080 h 515534"/>
                    <a:gd name="connsiteX177" fmla="*/ 58819 w 492842"/>
                    <a:gd name="connsiteY177" fmla="*/ 32494 h 515534"/>
                    <a:gd name="connsiteX178" fmla="*/ 45383 w 492842"/>
                    <a:gd name="connsiteY178" fmla="*/ 37819 h 515534"/>
                    <a:gd name="connsiteX179" fmla="*/ 26275 w 492842"/>
                    <a:gd name="connsiteY179" fmla="*/ 18710 h 515534"/>
                    <a:gd name="connsiteX180" fmla="*/ 45383 w 492842"/>
                    <a:gd name="connsiteY180" fmla="*/ 0 h 51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492842" h="515534">
                      <a:moveTo>
                        <a:pt x="454624" y="489658"/>
                      </a:moveTo>
                      <a:cubicBezTo>
                        <a:pt x="450643" y="489658"/>
                        <a:pt x="447459" y="492842"/>
                        <a:pt x="447459" y="496823"/>
                      </a:cubicBezTo>
                      <a:cubicBezTo>
                        <a:pt x="447459" y="500804"/>
                        <a:pt x="450643" y="503989"/>
                        <a:pt x="454624" y="503989"/>
                      </a:cubicBezTo>
                      <a:cubicBezTo>
                        <a:pt x="458605" y="503989"/>
                        <a:pt x="461790" y="500804"/>
                        <a:pt x="461790" y="496823"/>
                      </a:cubicBezTo>
                      <a:cubicBezTo>
                        <a:pt x="461790" y="492842"/>
                        <a:pt x="458207" y="489658"/>
                        <a:pt x="454624" y="489658"/>
                      </a:cubicBezTo>
                      <a:close/>
                      <a:moveTo>
                        <a:pt x="350777" y="327634"/>
                      </a:moveTo>
                      <a:lnTo>
                        <a:pt x="333705" y="351916"/>
                      </a:lnTo>
                      <a:lnTo>
                        <a:pt x="314894" y="364103"/>
                      </a:lnTo>
                      <a:lnTo>
                        <a:pt x="314894" y="428892"/>
                      </a:lnTo>
                      <a:lnTo>
                        <a:pt x="351120" y="396106"/>
                      </a:lnTo>
                      <a:cubicBezTo>
                        <a:pt x="368636" y="377395"/>
                        <a:pt x="380181" y="353908"/>
                        <a:pt x="383366" y="328828"/>
                      </a:cubicBezTo>
                      <a:lnTo>
                        <a:pt x="383532" y="327634"/>
                      </a:lnTo>
                      <a:close/>
                      <a:moveTo>
                        <a:pt x="464975" y="314496"/>
                      </a:moveTo>
                      <a:cubicBezTo>
                        <a:pt x="460994" y="314496"/>
                        <a:pt x="457810" y="317680"/>
                        <a:pt x="457810" y="321661"/>
                      </a:cubicBezTo>
                      <a:cubicBezTo>
                        <a:pt x="457810" y="325642"/>
                        <a:pt x="460994" y="328827"/>
                        <a:pt x="464975" y="328827"/>
                      </a:cubicBezTo>
                      <a:cubicBezTo>
                        <a:pt x="468956" y="328827"/>
                        <a:pt x="472141" y="325642"/>
                        <a:pt x="472141" y="321661"/>
                      </a:cubicBezTo>
                      <a:cubicBezTo>
                        <a:pt x="472141" y="317680"/>
                        <a:pt x="468956" y="314496"/>
                        <a:pt x="464975" y="314496"/>
                      </a:cubicBezTo>
                      <a:close/>
                      <a:moveTo>
                        <a:pt x="108227" y="312108"/>
                      </a:moveTo>
                      <a:lnTo>
                        <a:pt x="110272" y="328032"/>
                      </a:lnTo>
                      <a:cubicBezTo>
                        <a:pt x="113457" y="353908"/>
                        <a:pt x="125002" y="377794"/>
                        <a:pt x="142916" y="396504"/>
                      </a:cubicBezTo>
                      <a:cubicBezTo>
                        <a:pt x="164413" y="419195"/>
                        <a:pt x="199844" y="450645"/>
                        <a:pt x="246819" y="472938"/>
                      </a:cubicBezTo>
                      <a:lnTo>
                        <a:pt x="302951" y="438076"/>
                      </a:lnTo>
                      <a:lnTo>
                        <a:pt x="302951" y="371841"/>
                      </a:lnTo>
                      <a:lnTo>
                        <a:pt x="294592" y="377257"/>
                      </a:lnTo>
                      <a:cubicBezTo>
                        <a:pt x="279887" y="383241"/>
                        <a:pt x="263739" y="386550"/>
                        <a:pt x="246820" y="386550"/>
                      </a:cubicBezTo>
                      <a:cubicBezTo>
                        <a:pt x="196062" y="386550"/>
                        <a:pt x="152247" y="356544"/>
                        <a:pt x="133512" y="314166"/>
                      </a:cubicBezTo>
                      <a:lnTo>
                        <a:pt x="133076" y="312108"/>
                      </a:lnTo>
                      <a:close/>
                      <a:moveTo>
                        <a:pt x="34634" y="298970"/>
                      </a:moveTo>
                      <a:cubicBezTo>
                        <a:pt x="30653" y="298970"/>
                        <a:pt x="27469" y="302154"/>
                        <a:pt x="27469" y="306135"/>
                      </a:cubicBezTo>
                      <a:cubicBezTo>
                        <a:pt x="27469" y="310116"/>
                        <a:pt x="30653" y="313301"/>
                        <a:pt x="34634" y="313301"/>
                      </a:cubicBezTo>
                      <a:cubicBezTo>
                        <a:pt x="38615" y="313301"/>
                        <a:pt x="41800" y="310116"/>
                        <a:pt x="41800" y="306135"/>
                      </a:cubicBezTo>
                      <a:cubicBezTo>
                        <a:pt x="41800" y="302154"/>
                        <a:pt x="38615" y="298970"/>
                        <a:pt x="34634" y="298970"/>
                      </a:cubicBezTo>
                      <a:close/>
                      <a:moveTo>
                        <a:pt x="365902" y="250005"/>
                      </a:moveTo>
                      <a:lnTo>
                        <a:pt x="369832" y="268316"/>
                      </a:lnTo>
                      <a:cubicBezTo>
                        <a:pt x="369832" y="284638"/>
                        <a:pt x="366374" y="300189"/>
                        <a:pt x="360129" y="314334"/>
                      </a:cubicBezTo>
                      <a:lnTo>
                        <a:pt x="359175" y="315690"/>
                      </a:lnTo>
                      <a:lnTo>
                        <a:pt x="385187" y="315690"/>
                      </a:lnTo>
                      <a:lnTo>
                        <a:pt x="394294" y="250005"/>
                      </a:lnTo>
                      <a:close/>
                      <a:moveTo>
                        <a:pt x="98564" y="236868"/>
                      </a:moveTo>
                      <a:lnTo>
                        <a:pt x="106693" y="300164"/>
                      </a:lnTo>
                      <a:lnTo>
                        <a:pt x="130549" y="300164"/>
                      </a:lnTo>
                      <a:lnTo>
                        <a:pt x="123808" y="268316"/>
                      </a:lnTo>
                      <a:lnTo>
                        <a:pt x="130397" y="236868"/>
                      </a:lnTo>
                      <a:close/>
                      <a:moveTo>
                        <a:pt x="473733" y="236867"/>
                      </a:moveTo>
                      <a:cubicBezTo>
                        <a:pt x="469752" y="236867"/>
                        <a:pt x="466568" y="240051"/>
                        <a:pt x="466568" y="244032"/>
                      </a:cubicBezTo>
                      <a:cubicBezTo>
                        <a:pt x="466568" y="248013"/>
                        <a:pt x="469752" y="250800"/>
                        <a:pt x="473733" y="250800"/>
                      </a:cubicBezTo>
                      <a:cubicBezTo>
                        <a:pt x="477714" y="250800"/>
                        <a:pt x="480899" y="247615"/>
                        <a:pt x="480899" y="243634"/>
                      </a:cubicBezTo>
                      <a:cubicBezTo>
                        <a:pt x="480899" y="239653"/>
                        <a:pt x="477714" y="236867"/>
                        <a:pt x="473733" y="236867"/>
                      </a:cubicBezTo>
                      <a:close/>
                      <a:moveTo>
                        <a:pt x="204622" y="227710"/>
                      </a:moveTo>
                      <a:lnTo>
                        <a:pt x="204622" y="308922"/>
                      </a:lnTo>
                      <a:lnTo>
                        <a:pt x="289018" y="308922"/>
                      </a:lnTo>
                      <a:lnTo>
                        <a:pt x="289018" y="227710"/>
                      </a:lnTo>
                      <a:close/>
                      <a:moveTo>
                        <a:pt x="19108" y="224128"/>
                      </a:moveTo>
                      <a:cubicBezTo>
                        <a:pt x="15127" y="224128"/>
                        <a:pt x="11943" y="226914"/>
                        <a:pt x="11943" y="230895"/>
                      </a:cubicBezTo>
                      <a:cubicBezTo>
                        <a:pt x="11943" y="234876"/>
                        <a:pt x="15127" y="238061"/>
                        <a:pt x="19108" y="238061"/>
                      </a:cubicBezTo>
                      <a:cubicBezTo>
                        <a:pt x="23089" y="238061"/>
                        <a:pt x="25876" y="234876"/>
                        <a:pt x="25876" y="230895"/>
                      </a:cubicBezTo>
                      <a:cubicBezTo>
                        <a:pt x="25876" y="226914"/>
                        <a:pt x="22691" y="224128"/>
                        <a:pt x="19108" y="224128"/>
                      </a:cubicBezTo>
                      <a:close/>
                      <a:moveTo>
                        <a:pt x="326837" y="198649"/>
                      </a:moveTo>
                      <a:lnTo>
                        <a:pt x="302952" y="224127"/>
                      </a:lnTo>
                      <a:cubicBezTo>
                        <a:pt x="303350" y="224924"/>
                        <a:pt x="303350" y="225720"/>
                        <a:pt x="303350" y="226516"/>
                      </a:cubicBezTo>
                      <a:lnTo>
                        <a:pt x="303350" y="310116"/>
                      </a:lnTo>
                      <a:cubicBezTo>
                        <a:pt x="303350" y="317282"/>
                        <a:pt x="297378" y="323253"/>
                        <a:pt x="289814" y="323253"/>
                      </a:cubicBezTo>
                      <a:lnTo>
                        <a:pt x="203428" y="323253"/>
                      </a:lnTo>
                      <a:cubicBezTo>
                        <a:pt x="202632" y="323253"/>
                        <a:pt x="201437" y="323253"/>
                        <a:pt x="200641" y="322855"/>
                      </a:cubicBezTo>
                      <a:lnTo>
                        <a:pt x="175958" y="346741"/>
                      </a:lnTo>
                      <a:cubicBezTo>
                        <a:pt x="195068" y="362665"/>
                        <a:pt x="219750" y="372219"/>
                        <a:pt x="246820" y="372219"/>
                      </a:cubicBezTo>
                      <a:cubicBezTo>
                        <a:pt x="306136" y="372219"/>
                        <a:pt x="354704" y="325642"/>
                        <a:pt x="354704" y="268316"/>
                      </a:cubicBezTo>
                      <a:cubicBezTo>
                        <a:pt x="354704" y="241644"/>
                        <a:pt x="344353" y="217360"/>
                        <a:pt x="326837" y="198649"/>
                      </a:cubicBezTo>
                      <a:close/>
                      <a:moveTo>
                        <a:pt x="246820" y="164413"/>
                      </a:moveTo>
                      <a:cubicBezTo>
                        <a:pt x="187106" y="164413"/>
                        <a:pt x="138537" y="210990"/>
                        <a:pt x="138537" y="268316"/>
                      </a:cubicBezTo>
                      <a:cubicBezTo>
                        <a:pt x="138537" y="294192"/>
                        <a:pt x="148888" y="318476"/>
                        <a:pt x="165608" y="336390"/>
                      </a:cubicBezTo>
                      <a:lnTo>
                        <a:pt x="190291" y="312505"/>
                      </a:lnTo>
                      <a:cubicBezTo>
                        <a:pt x="189893" y="311708"/>
                        <a:pt x="189893" y="310514"/>
                        <a:pt x="189893" y="309718"/>
                      </a:cubicBezTo>
                      <a:lnTo>
                        <a:pt x="189893" y="226516"/>
                      </a:lnTo>
                      <a:cubicBezTo>
                        <a:pt x="189893" y="219350"/>
                        <a:pt x="195864" y="213379"/>
                        <a:pt x="203428" y="213379"/>
                      </a:cubicBezTo>
                      <a:lnTo>
                        <a:pt x="290213" y="213379"/>
                      </a:lnTo>
                      <a:cubicBezTo>
                        <a:pt x="291009" y="213379"/>
                        <a:pt x="292203" y="213379"/>
                        <a:pt x="293397" y="213777"/>
                      </a:cubicBezTo>
                      <a:lnTo>
                        <a:pt x="316487" y="189095"/>
                      </a:lnTo>
                      <a:cubicBezTo>
                        <a:pt x="297776" y="173569"/>
                        <a:pt x="273492" y="164413"/>
                        <a:pt x="246820" y="164413"/>
                      </a:cubicBezTo>
                      <a:close/>
                      <a:moveTo>
                        <a:pt x="184716" y="112361"/>
                      </a:moveTo>
                      <a:lnTo>
                        <a:pt x="141560" y="130059"/>
                      </a:lnTo>
                      <a:cubicBezTo>
                        <a:pt x="124579" y="135029"/>
                        <a:pt x="105992" y="138338"/>
                        <a:pt x="85988" y="138935"/>
                      </a:cubicBezTo>
                      <a:lnTo>
                        <a:pt x="97031" y="224924"/>
                      </a:lnTo>
                      <a:lnTo>
                        <a:pt x="132899" y="224924"/>
                      </a:lnTo>
                      <a:lnTo>
                        <a:pt x="133450" y="222299"/>
                      </a:lnTo>
                      <a:cubicBezTo>
                        <a:pt x="142761" y="201082"/>
                        <a:pt x="158315" y="183027"/>
                        <a:pt x="177885" y="170278"/>
                      </a:cubicBezTo>
                      <a:lnTo>
                        <a:pt x="184716" y="167110"/>
                      </a:lnTo>
                      <a:close/>
                      <a:moveTo>
                        <a:pt x="246023" y="68870"/>
                      </a:moveTo>
                      <a:cubicBezTo>
                        <a:pt x="240350" y="74344"/>
                        <a:pt x="232513" y="81311"/>
                        <a:pt x="222697" y="88719"/>
                      </a:cubicBezTo>
                      <a:lnTo>
                        <a:pt x="196659" y="105365"/>
                      </a:lnTo>
                      <a:lnTo>
                        <a:pt x="196659" y="161573"/>
                      </a:lnTo>
                      <a:lnTo>
                        <a:pt x="209975" y="155399"/>
                      </a:lnTo>
                      <a:cubicBezTo>
                        <a:pt x="221491" y="151944"/>
                        <a:pt x="233732" y="150082"/>
                        <a:pt x="246422" y="150082"/>
                      </a:cubicBezTo>
                      <a:cubicBezTo>
                        <a:pt x="297478" y="150082"/>
                        <a:pt x="341144" y="179864"/>
                        <a:pt x="359954" y="222299"/>
                      </a:cubicBezTo>
                      <a:lnTo>
                        <a:pt x="363338" y="238061"/>
                      </a:lnTo>
                      <a:lnTo>
                        <a:pt x="395949" y="238061"/>
                      </a:lnTo>
                      <a:lnTo>
                        <a:pt x="407649" y="153665"/>
                      </a:lnTo>
                      <a:cubicBezTo>
                        <a:pt x="326438" y="144509"/>
                        <a:pt x="268714" y="92756"/>
                        <a:pt x="246023" y="68870"/>
                      </a:cubicBezTo>
                      <a:close/>
                      <a:moveTo>
                        <a:pt x="45383" y="11943"/>
                      </a:moveTo>
                      <a:cubicBezTo>
                        <a:pt x="41402" y="11943"/>
                        <a:pt x="38218" y="15127"/>
                        <a:pt x="38218" y="19108"/>
                      </a:cubicBezTo>
                      <a:cubicBezTo>
                        <a:pt x="38218" y="23089"/>
                        <a:pt x="41402" y="26274"/>
                        <a:pt x="45383" y="26274"/>
                      </a:cubicBezTo>
                      <a:cubicBezTo>
                        <a:pt x="49364" y="26274"/>
                        <a:pt x="52549" y="23089"/>
                        <a:pt x="52549" y="19108"/>
                      </a:cubicBezTo>
                      <a:cubicBezTo>
                        <a:pt x="52549" y="15127"/>
                        <a:pt x="48966" y="11943"/>
                        <a:pt x="45383" y="11943"/>
                      </a:cubicBezTo>
                      <a:close/>
                      <a:moveTo>
                        <a:pt x="45383" y="0"/>
                      </a:moveTo>
                      <a:cubicBezTo>
                        <a:pt x="50558" y="0"/>
                        <a:pt x="55336" y="2090"/>
                        <a:pt x="58819" y="5523"/>
                      </a:cubicBezTo>
                      <a:lnTo>
                        <a:pt x="61998" y="13137"/>
                      </a:lnTo>
                      <a:lnTo>
                        <a:pt x="196659" y="13137"/>
                      </a:lnTo>
                      <a:lnTo>
                        <a:pt x="196659" y="72209"/>
                      </a:lnTo>
                      <a:lnTo>
                        <a:pt x="223860" y="51236"/>
                      </a:lnTo>
                      <a:cubicBezTo>
                        <a:pt x="231642" y="44089"/>
                        <a:pt x="235871" y="39212"/>
                        <a:pt x="236070" y="39013"/>
                      </a:cubicBezTo>
                      <a:cubicBezTo>
                        <a:pt x="238857" y="35829"/>
                        <a:pt x="242838" y="33838"/>
                        <a:pt x="246819" y="34236"/>
                      </a:cubicBezTo>
                      <a:cubicBezTo>
                        <a:pt x="251198" y="34236"/>
                        <a:pt x="254781" y="36227"/>
                        <a:pt x="257567" y="39411"/>
                      </a:cubicBezTo>
                      <a:cubicBezTo>
                        <a:pt x="258364" y="40208"/>
                        <a:pt x="324447" y="122613"/>
                        <a:pt x="423971" y="126992"/>
                      </a:cubicBezTo>
                      <a:cubicBezTo>
                        <a:pt x="427952" y="126992"/>
                        <a:pt x="431535" y="128983"/>
                        <a:pt x="433924" y="132168"/>
                      </a:cubicBezTo>
                      <a:cubicBezTo>
                        <a:pt x="436312" y="135352"/>
                        <a:pt x="437506" y="138935"/>
                        <a:pt x="437108" y="142916"/>
                      </a:cubicBezTo>
                      <a:lnTo>
                        <a:pt x="423944" y="238061"/>
                      </a:lnTo>
                      <a:lnTo>
                        <a:pt x="456891" y="238061"/>
                      </a:lnTo>
                      <a:lnTo>
                        <a:pt x="460149" y="230050"/>
                      </a:lnTo>
                      <a:cubicBezTo>
                        <a:pt x="463582" y="226616"/>
                        <a:pt x="468359" y="224526"/>
                        <a:pt x="473733" y="224526"/>
                      </a:cubicBezTo>
                      <a:cubicBezTo>
                        <a:pt x="484482" y="224526"/>
                        <a:pt x="492842" y="232886"/>
                        <a:pt x="492842" y="243634"/>
                      </a:cubicBezTo>
                      <a:cubicBezTo>
                        <a:pt x="492842" y="254383"/>
                        <a:pt x="484084" y="262743"/>
                        <a:pt x="473733" y="262743"/>
                      </a:cubicBezTo>
                      <a:cubicBezTo>
                        <a:pt x="468558" y="262743"/>
                        <a:pt x="463781" y="260653"/>
                        <a:pt x="460298" y="257220"/>
                      </a:cubicBezTo>
                      <a:lnTo>
                        <a:pt x="457286" y="250005"/>
                      </a:lnTo>
                      <a:lnTo>
                        <a:pt x="422291" y="250005"/>
                      </a:lnTo>
                      <a:lnTo>
                        <a:pt x="413203" y="315690"/>
                      </a:lnTo>
                      <a:lnTo>
                        <a:pt x="448133" y="315690"/>
                      </a:lnTo>
                      <a:lnTo>
                        <a:pt x="451391" y="307679"/>
                      </a:lnTo>
                      <a:cubicBezTo>
                        <a:pt x="454824" y="304245"/>
                        <a:pt x="459601" y="302155"/>
                        <a:pt x="464975" y="302155"/>
                      </a:cubicBezTo>
                      <a:cubicBezTo>
                        <a:pt x="475724" y="302155"/>
                        <a:pt x="484084" y="310515"/>
                        <a:pt x="484084" y="321263"/>
                      </a:cubicBezTo>
                      <a:cubicBezTo>
                        <a:pt x="484084" y="332012"/>
                        <a:pt x="475326" y="340372"/>
                        <a:pt x="464975" y="340372"/>
                      </a:cubicBezTo>
                      <a:cubicBezTo>
                        <a:pt x="459800" y="340372"/>
                        <a:pt x="455023" y="338282"/>
                        <a:pt x="451540" y="334849"/>
                      </a:cubicBezTo>
                      <a:lnTo>
                        <a:pt x="448528" y="327634"/>
                      </a:lnTo>
                      <a:lnTo>
                        <a:pt x="411550" y="327634"/>
                      </a:lnTo>
                      <a:lnTo>
                        <a:pt x="410834" y="332809"/>
                      </a:lnTo>
                      <a:cubicBezTo>
                        <a:pt x="406455" y="363860"/>
                        <a:pt x="392920" y="392523"/>
                        <a:pt x="371025" y="415613"/>
                      </a:cubicBezTo>
                      <a:cubicBezTo>
                        <a:pt x="358883" y="428352"/>
                        <a:pt x="342760" y="443679"/>
                        <a:pt x="322855" y="458856"/>
                      </a:cubicBezTo>
                      <a:lnTo>
                        <a:pt x="314894" y="463613"/>
                      </a:lnTo>
                      <a:lnTo>
                        <a:pt x="314894" y="490852"/>
                      </a:lnTo>
                      <a:lnTo>
                        <a:pt x="437782" y="490852"/>
                      </a:lnTo>
                      <a:lnTo>
                        <a:pt x="441040" y="482841"/>
                      </a:lnTo>
                      <a:cubicBezTo>
                        <a:pt x="444473" y="479407"/>
                        <a:pt x="449250" y="477317"/>
                        <a:pt x="454624" y="477317"/>
                      </a:cubicBezTo>
                      <a:cubicBezTo>
                        <a:pt x="465373" y="477317"/>
                        <a:pt x="473733" y="485677"/>
                        <a:pt x="473733" y="496425"/>
                      </a:cubicBezTo>
                      <a:cubicBezTo>
                        <a:pt x="473733" y="507174"/>
                        <a:pt x="464975" y="515534"/>
                        <a:pt x="454624" y="515534"/>
                      </a:cubicBezTo>
                      <a:cubicBezTo>
                        <a:pt x="449449" y="515534"/>
                        <a:pt x="444672" y="513444"/>
                        <a:pt x="441189" y="510011"/>
                      </a:cubicBezTo>
                      <a:lnTo>
                        <a:pt x="438176" y="502795"/>
                      </a:lnTo>
                      <a:lnTo>
                        <a:pt x="302951" y="502795"/>
                      </a:lnTo>
                      <a:lnTo>
                        <a:pt x="302951" y="470751"/>
                      </a:lnTo>
                      <a:lnTo>
                        <a:pt x="251994" y="501203"/>
                      </a:lnTo>
                      <a:cubicBezTo>
                        <a:pt x="250402" y="501999"/>
                        <a:pt x="248411" y="502397"/>
                        <a:pt x="246819" y="502397"/>
                      </a:cubicBezTo>
                      <a:cubicBezTo>
                        <a:pt x="244828" y="502397"/>
                        <a:pt x="242838" y="501999"/>
                        <a:pt x="241246" y="501203"/>
                      </a:cubicBezTo>
                      <a:cubicBezTo>
                        <a:pt x="187105" y="476919"/>
                        <a:pt x="146897" y="441489"/>
                        <a:pt x="122613" y="416011"/>
                      </a:cubicBezTo>
                      <a:cubicBezTo>
                        <a:pt x="100718" y="392921"/>
                        <a:pt x="86785" y="363860"/>
                        <a:pt x="82804" y="332013"/>
                      </a:cubicBezTo>
                      <a:lnTo>
                        <a:pt x="80248" y="312108"/>
                      </a:lnTo>
                      <a:lnTo>
                        <a:pt x="51082" y="312108"/>
                      </a:lnTo>
                      <a:lnTo>
                        <a:pt x="48070" y="319322"/>
                      </a:lnTo>
                      <a:cubicBezTo>
                        <a:pt x="44587" y="322756"/>
                        <a:pt x="39809" y="324846"/>
                        <a:pt x="34634" y="324846"/>
                      </a:cubicBezTo>
                      <a:cubicBezTo>
                        <a:pt x="24284" y="324846"/>
                        <a:pt x="15526" y="316486"/>
                        <a:pt x="15526" y="305737"/>
                      </a:cubicBezTo>
                      <a:cubicBezTo>
                        <a:pt x="15526" y="294989"/>
                        <a:pt x="23886" y="286629"/>
                        <a:pt x="34634" y="286629"/>
                      </a:cubicBezTo>
                      <a:cubicBezTo>
                        <a:pt x="40008" y="286629"/>
                        <a:pt x="44786" y="288719"/>
                        <a:pt x="48219" y="292153"/>
                      </a:cubicBezTo>
                      <a:lnTo>
                        <a:pt x="51477" y="300164"/>
                      </a:lnTo>
                      <a:lnTo>
                        <a:pt x="78714" y="300164"/>
                      </a:lnTo>
                      <a:lnTo>
                        <a:pt x="70586" y="236868"/>
                      </a:lnTo>
                      <a:lnTo>
                        <a:pt x="35723" y="236868"/>
                      </a:lnTo>
                      <a:lnTo>
                        <a:pt x="32544" y="244480"/>
                      </a:lnTo>
                      <a:cubicBezTo>
                        <a:pt x="29061" y="247914"/>
                        <a:pt x="24283" y="250004"/>
                        <a:pt x="19108" y="250004"/>
                      </a:cubicBezTo>
                      <a:cubicBezTo>
                        <a:pt x="8360" y="250004"/>
                        <a:pt x="0" y="241246"/>
                        <a:pt x="0" y="230895"/>
                      </a:cubicBezTo>
                      <a:cubicBezTo>
                        <a:pt x="0" y="220545"/>
                        <a:pt x="8360" y="211787"/>
                        <a:pt x="19108" y="211787"/>
                      </a:cubicBezTo>
                      <a:cubicBezTo>
                        <a:pt x="24482" y="211787"/>
                        <a:pt x="29260" y="213877"/>
                        <a:pt x="32693" y="217311"/>
                      </a:cubicBezTo>
                      <a:lnTo>
                        <a:pt x="35789" y="224924"/>
                      </a:lnTo>
                      <a:lnTo>
                        <a:pt x="69053" y="224924"/>
                      </a:lnTo>
                      <a:lnTo>
                        <a:pt x="56529" y="127391"/>
                      </a:lnTo>
                      <a:cubicBezTo>
                        <a:pt x="56131" y="123410"/>
                        <a:pt x="57326" y="119031"/>
                        <a:pt x="60112" y="116244"/>
                      </a:cubicBezTo>
                      <a:cubicBezTo>
                        <a:pt x="62899" y="113457"/>
                        <a:pt x="66880" y="111467"/>
                        <a:pt x="70861" y="111865"/>
                      </a:cubicBezTo>
                      <a:cubicBezTo>
                        <a:pt x="95642" y="112761"/>
                        <a:pt x="118308" y="108705"/>
                        <a:pt x="138382" y="102106"/>
                      </a:cubicBezTo>
                      <a:lnTo>
                        <a:pt x="184716" y="79790"/>
                      </a:lnTo>
                      <a:lnTo>
                        <a:pt x="184716" y="25080"/>
                      </a:lnTo>
                      <a:lnTo>
                        <a:pt x="61961" y="25080"/>
                      </a:lnTo>
                      <a:lnTo>
                        <a:pt x="58819" y="32494"/>
                      </a:lnTo>
                      <a:cubicBezTo>
                        <a:pt x="55336" y="35828"/>
                        <a:pt x="50558" y="37819"/>
                        <a:pt x="45383" y="37819"/>
                      </a:cubicBezTo>
                      <a:cubicBezTo>
                        <a:pt x="35033" y="37819"/>
                        <a:pt x="26275" y="29459"/>
                        <a:pt x="26275" y="18710"/>
                      </a:cubicBezTo>
                      <a:cubicBezTo>
                        <a:pt x="26275" y="7962"/>
                        <a:pt x="35033" y="0"/>
                        <a:pt x="45383" y="0"/>
                      </a:cubicBezTo>
                      <a:close/>
                    </a:path>
                  </a:pathLst>
                </a:custGeom>
                <a:solidFill>
                  <a:srgbClr val="005073"/>
                </a:solidFill>
                <a:ln w="12700" cap="flat" cmpd="sng" algn="ctr">
                  <a:noFill/>
                  <a:prstDash val="solid"/>
                </a:ln>
                <a:effectLst/>
              </p:spPr>
              <p:txBody>
                <a:bodyPr rtlCol="0" anchor="t"/>
                <a:lstStyle/>
                <a:p>
                  <a:pPr marL="214307" marR="0" lvl="0" indent="-214307" algn="l" defTabSz="342892"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0" cap="none" spc="0" normalizeH="0" baseline="0" noProof="0">
                    <a:ln>
                      <a:noFill/>
                    </a:ln>
                    <a:solidFill>
                      <a:srgbClr val="005073"/>
                    </a:solidFill>
                    <a:effectLst/>
                    <a:uLnTx/>
                    <a:uFillTx/>
                    <a:latin typeface="CiscoSansTT ExtraLight"/>
                    <a:ea typeface="ＭＳ Ｐゴシック" charset="0"/>
                    <a:cs typeface="+mn-cs"/>
                  </a:endParaRPr>
                </a:p>
              </p:txBody>
            </p:sp>
          </p:grpSp>
        </p:grpSp>
        <p:grpSp>
          <p:nvGrpSpPr>
            <p:cNvPr id="1942" name="Group 1941">
              <a:extLst>
                <a:ext uri="{FF2B5EF4-FFF2-40B4-BE49-F238E27FC236}">
                  <a16:creationId xmlns:a16="http://schemas.microsoft.com/office/drawing/2014/main" id="{9192DF6C-9C60-4CB4-92A2-96CB0F337D0E}"/>
                </a:ext>
              </a:extLst>
            </p:cNvPr>
            <p:cNvGrpSpPr/>
            <p:nvPr/>
          </p:nvGrpSpPr>
          <p:grpSpPr>
            <a:xfrm>
              <a:off x="4351647" y="2261212"/>
              <a:ext cx="406254" cy="282943"/>
              <a:chOff x="2196939" y="4705846"/>
              <a:chExt cx="602209" cy="419418"/>
            </a:xfrm>
            <a:solidFill>
              <a:schemeClr val="tx2"/>
            </a:solidFill>
          </p:grpSpPr>
          <p:sp>
            <p:nvSpPr>
              <p:cNvPr id="1943" name="Freeform: Shape 1942">
                <a:extLst>
                  <a:ext uri="{FF2B5EF4-FFF2-40B4-BE49-F238E27FC236}">
                    <a16:creationId xmlns:a16="http://schemas.microsoft.com/office/drawing/2014/main" id="{A787A92C-7122-4024-BD02-F4766C736B9F}"/>
                  </a:ext>
                </a:extLst>
              </p:cNvPr>
              <p:cNvSpPr/>
              <p:nvPr/>
            </p:nvSpPr>
            <p:spPr>
              <a:xfrm rot="10800000">
                <a:off x="2683869" y="4705846"/>
                <a:ext cx="115279" cy="419418"/>
              </a:xfrm>
              <a:custGeom>
                <a:avLst/>
                <a:gdLst>
                  <a:gd name="connsiteX0" fmla="*/ 226667 w 227935"/>
                  <a:gd name="connsiteY0" fmla="*/ 0 h 1120398"/>
                  <a:gd name="connsiteX1" fmla="*/ 227935 w 227935"/>
                  <a:gd name="connsiteY1" fmla="*/ 1863 h 1120398"/>
                  <a:gd name="connsiteX2" fmla="*/ 227935 w 227935"/>
                  <a:gd name="connsiteY2" fmla="*/ 1120398 h 1120398"/>
                  <a:gd name="connsiteX3" fmla="*/ 113334 w 227935"/>
                  <a:gd name="connsiteY3" fmla="*/ 1120398 h 1120398"/>
                  <a:gd name="connsiteX4" fmla="*/ 113334 w 227935"/>
                  <a:gd name="connsiteY4" fmla="*/ 333033 h 1120398"/>
                  <a:gd name="connsiteX5" fmla="*/ 0 w 227935"/>
                  <a:gd name="connsiteY5" fmla="*/ 333033 h 1120398"/>
                  <a:gd name="connsiteX6" fmla="*/ 226667 w 227935"/>
                  <a:gd name="connsiteY6" fmla="*/ 0 h 1120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935" h="1120398">
                    <a:moveTo>
                      <a:pt x="226667" y="0"/>
                    </a:moveTo>
                    <a:lnTo>
                      <a:pt x="227935" y="1863"/>
                    </a:lnTo>
                    <a:lnTo>
                      <a:pt x="227935" y="1120398"/>
                    </a:lnTo>
                    <a:lnTo>
                      <a:pt x="113334" y="1120398"/>
                    </a:lnTo>
                    <a:lnTo>
                      <a:pt x="113334" y="333033"/>
                    </a:lnTo>
                    <a:lnTo>
                      <a:pt x="0" y="333033"/>
                    </a:lnTo>
                    <a:lnTo>
                      <a:pt x="226667"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944" name="Freeform: Shape 1943">
                <a:extLst>
                  <a:ext uri="{FF2B5EF4-FFF2-40B4-BE49-F238E27FC236}">
                    <a16:creationId xmlns:a16="http://schemas.microsoft.com/office/drawing/2014/main" id="{DA9E2382-0095-4EAE-84CF-C4EF1731CF73}"/>
                  </a:ext>
                </a:extLst>
              </p:cNvPr>
              <p:cNvSpPr/>
              <p:nvPr/>
            </p:nvSpPr>
            <p:spPr>
              <a:xfrm rot="10800000" flipV="1">
                <a:off x="2196939" y="4706443"/>
                <a:ext cx="113996" cy="418718"/>
              </a:xfrm>
              <a:custGeom>
                <a:avLst/>
                <a:gdLst>
                  <a:gd name="connsiteX0" fmla="*/ 0 w 225399"/>
                  <a:gd name="connsiteY0" fmla="*/ 0 h 1118535"/>
                  <a:gd name="connsiteX1" fmla="*/ 225399 w 225399"/>
                  <a:gd name="connsiteY1" fmla="*/ 331170 h 1118535"/>
                  <a:gd name="connsiteX2" fmla="*/ 112066 w 225399"/>
                  <a:gd name="connsiteY2" fmla="*/ 331170 h 1118535"/>
                  <a:gd name="connsiteX3" fmla="*/ 112066 w 225399"/>
                  <a:gd name="connsiteY3" fmla="*/ 1118535 h 1118535"/>
                  <a:gd name="connsiteX4" fmla="*/ 0 w 225399"/>
                  <a:gd name="connsiteY4" fmla="*/ 1118535 h 1118535"/>
                  <a:gd name="connsiteX5" fmla="*/ 0 w 225399"/>
                  <a:gd name="connsiteY5" fmla="*/ 0 h 111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399" h="1118535">
                    <a:moveTo>
                      <a:pt x="0" y="0"/>
                    </a:moveTo>
                    <a:lnTo>
                      <a:pt x="225399" y="331170"/>
                    </a:lnTo>
                    <a:lnTo>
                      <a:pt x="112066" y="331170"/>
                    </a:lnTo>
                    <a:lnTo>
                      <a:pt x="112066" y="1118535"/>
                    </a:lnTo>
                    <a:lnTo>
                      <a:pt x="0" y="1118535"/>
                    </a:lnTo>
                    <a:lnTo>
                      <a:pt x="0"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945" name="Freeform: Shape 1944">
                <a:extLst>
                  <a:ext uri="{FF2B5EF4-FFF2-40B4-BE49-F238E27FC236}">
                    <a16:creationId xmlns:a16="http://schemas.microsoft.com/office/drawing/2014/main" id="{4E55D229-6357-47A7-B7D5-E8F1E41260B6}"/>
                  </a:ext>
                </a:extLst>
              </p:cNvPr>
              <p:cNvSpPr/>
              <p:nvPr/>
            </p:nvSpPr>
            <p:spPr>
              <a:xfrm>
                <a:off x="2445050" y="4734219"/>
                <a:ext cx="50631" cy="8195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1449" y="279030"/>
                      <a:pt x="156686" y="281887"/>
                      <a:pt x="151924" y="282840"/>
                    </a:cubicBezTo>
                    <a:cubicBezTo>
                      <a:pt x="151924" y="282840"/>
                      <a:pt x="150971" y="282840"/>
                      <a:pt x="150971" y="282840"/>
                    </a:cubicBezTo>
                    <a:cubicBezTo>
                      <a:pt x="150971" y="282840"/>
                      <a:pt x="150019" y="282840"/>
                      <a:pt x="150019" y="282840"/>
                    </a:cubicBezTo>
                    <a:cubicBezTo>
                      <a:pt x="150019" y="281887"/>
                      <a:pt x="149066" y="282840"/>
                      <a:pt x="148114" y="282840"/>
                    </a:cubicBezTo>
                    <a:cubicBezTo>
                      <a:pt x="110014" y="282840"/>
                      <a:pt x="71914" y="282840"/>
                      <a:pt x="34766" y="282840"/>
                    </a:cubicBezTo>
                    <a:cubicBezTo>
                      <a:pt x="33814" y="282840"/>
                      <a:pt x="33814" y="282840"/>
                      <a:pt x="32861" y="282840"/>
                    </a:cubicBezTo>
                    <a:cubicBezTo>
                      <a:pt x="31909"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46" name="Freeform: Shape 1945">
                <a:extLst>
                  <a:ext uri="{FF2B5EF4-FFF2-40B4-BE49-F238E27FC236}">
                    <a16:creationId xmlns:a16="http://schemas.microsoft.com/office/drawing/2014/main" id="{6A51A4A0-EB7A-403B-89D7-9C050CBD269B}"/>
                  </a:ext>
                </a:extLst>
              </p:cNvPr>
              <p:cNvSpPr/>
              <p:nvPr/>
            </p:nvSpPr>
            <p:spPr>
              <a:xfrm>
                <a:off x="2431192" y="4863283"/>
                <a:ext cx="71949" cy="81958"/>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7819"/>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47" name="Freeform: Shape 1946">
                <a:extLst>
                  <a:ext uri="{FF2B5EF4-FFF2-40B4-BE49-F238E27FC236}">
                    <a16:creationId xmlns:a16="http://schemas.microsoft.com/office/drawing/2014/main" id="{00211003-EE4C-444F-B060-81BE5F655E81}"/>
                  </a:ext>
                </a:extLst>
              </p:cNvPr>
              <p:cNvSpPr/>
              <p:nvPr/>
            </p:nvSpPr>
            <p:spPr>
              <a:xfrm>
                <a:off x="2445050" y="4994736"/>
                <a:ext cx="50631" cy="8195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48" name="Freeform: Shape 1947">
                <a:extLst>
                  <a:ext uri="{FF2B5EF4-FFF2-40B4-BE49-F238E27FC236}">
                    <a16:creationId xmlns:a16="http://schemas.microsoft.com/office/drawing/2014/main" id="{4F676933-6AA7-4AB0-BAD9-2AC350B94976}"/>
                  </a:ext>
                </a:extLst>
              </p:cNvPr>
              <p:cNvSpPr/>
              <p:nvPr/>
            </p:nvSpPr>
            <p:spPr>
              <a:xfrm>
                <a:off x="2505541" y="4734214"/>
                <a:ext cx="50631" cy="81958"/>
              </a:xfrm>
              <a:custGeom>
                <a:avLst/>
                <a:gdLst/>
                <a:ahLst/>
                <a:cxnLst/>
                <a:rect l="0" t="0" r="0" b="0"/>
                <a:pathLst>
                  <a:path w="180975" h="285750">
                    <a:moveTo>
                      <a:pt x="30956" y="282840"/>
                    </a:moveTo>
                    <a:cubicBezTo>
                      <a:pt x="30956"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49" name="Freeform: Shape 1948">
                <a:extLst>
                  <a:ext uri="{FF2B5EF4-FFF2-40B4-BE49-F238E27FC236}">
                    <a16:creationId xmlns:a16="http://schemas.microsoft.com/office/drawing/2014/main" id="{1D7B1F4D-799F-40F2-BB76-2A5A20394ECE}"/>
                  </a:ext>
                </a:extLst>
              </p:cNvPr>
              <p:cNvSpPr/>
              <p:nvPr/>
            </p:nvSpPr>
            <p:spPr>
              <a:xfrm>
                <a:off x="2505541" y="4863215"/>
                <a:ext cx="50631" cy="8195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50" name="Freeform: Shape 1949">
                <a:extLst>
                  <a:ext uri="{FF2B5EF4-FFF2-40B4-BE49-F238E27FC236}">
                    <a16:creationId xmlns:a16="http://schemas.microsoft.com/office/drawing/2014/main" id="{D4BD72C7-583E-4AA9-AA9E-7F61127E42F9}"/>
                  </a:ext>
                </a:extLst>
              </p:cNvPr>
              <p:cNvSpPr/>
              <p:nvPr/>
            </p:nvSpPr>
            <p:spPr>
              <a:xfrm>
                <a:off x="2568969" y="4734210"/>
                <a:ext cx="50631" cy="8195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51" name="Freeform: Shape 1950">
                <a:extLst>
                  <a:ext uri="{FF2B5EF4-FFF2-40B4-BE49-F238E27FC236}">
                    <a16:creationId xmlns:a16="http://schemas.microsoft.com/office/drawing/2014/main" id="{81C2F585-778E-45B6-BAAB-495B3330011F}"/>
                  </a:ext>
                </a:extLst>
              </p:cNvPr>
              <p:cNvSpPr/>
              <p:nvPr/>
            </p:nvSpPr>
            <p:spPr>
              <a:xfrm>
                <a:off x="2568969" y="4863215"/>
                <a:ext cx="50631" cy="8195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52" name="Freeform: Shape 1951">
                <a:extLst>
                  <a:ext uri="{FF2B5EF4-FFF2-40B4-BE49-F238E27FC236}">
                    <a16:creationId xmlns:a16="http://schemas.microsoft.com/office/drawing/2014/main" id="{4735100E-B6CC-4AED-A678-9D3FEC44E82B}"/>
                  </a:ext>
                </a:extLst>
              </p:cNvPr>
              <p:cNvSpPr/>
              <p:nvPr/>
            </p:nvSpPr>
            <p:spPr>
              <a:xfrm>
                <a:off x="2568969" y="4994738"/>
                <a:ext cx="50631" cy="8195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53" name="Freeform: Shape 1952">
                <a:extLst>
                  <a:ext uri="{FF2B5EF4-FFF2-40B4-BE49-F238E27FC236}">
                    <a16:creationId xmlns:a16="http://schemas.microsoft.com/office/drawing/2014/main" id="{27963D4B-34A5-436C-8753-E39468607D1C}"/>
                  </a:ext>
                </a:extLst>
              </p:cNvPr>
              <p:cNvSpPr/>
              <p:nvPr/>
            </p:nvSpPr>
            <p:spPr>
              <a:xfrm>
                <a:off x="2509235" y="4994738"/>
                <a:ext cx="50631" cy="8195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54" name="Freeform: Shape 1953">
                <a:extLst>
                  <a:ext uri="{FF2B5EF4-FFF2-40B4-BE49-F238E27FC236}">
                    <a16:creationId xmlns:a16="http://schemas.microsoft.com/office/drawing/2014/main" id="{BF46A66C-FBCA-4F50-8C92-4941DEE9C30B}"/>
                  </a:ext>
                </a:extLst>
              </p:cNvPr>
              <p:cNvSpPr/>
              <p:nvPr/>
            </p:nvSpPr>
            <p:spPr>
              <a:xfrm>
                <a:off x="2365640" y="4734296"/>
                <a:ext cx="71949" cy="81959"/>
              </a:xfrm>
              <a:custGeom>
                <a:avLst/>
                <a:gdLst/>
                <a:ahLst/>
                <a:cxnLst/>
                <a:rect l="0" t="0" r="0" b="0"/>
                <a:pathLst>
                  <a:path w="257175" h="285750">
                    <a:moveTo>
                      <a:pt x="7144" y="154962"/>
                    </a:moveTo>
                    <a:cubicBezTo>
                      <a:pt x="7144" y="148294"/>
                      <a:pt x="7144" y="141627"/>
                      <a:pt x="7144" y="134959"/>
                    </a:cubicBezTo>
                    <a:cubicBezTo>
                      <a:pt x="7144" y="134959"/>
                      <a:pt x="7144" y="134959"/>
                      <a:pt x="7144" y="134007"/>
                    </a:cubicBezTo>
                    <a:cubicBezTo>
                      <a:pt x="7144" y="128292"/>
                      <a:pt x="8096" y="123529"/>
                      <a:pt x="9049" y="117814"/>
                    </a:cubicBezTo>
                    <a:cubicBezTo>
                      <a:pt x="10954" y="111147"/>
                      <a:pt x="10954" y="104479"/>
                      <a:pt x="13811" y="98764"/>
                    </a:cubicBezTo>
                    <a:cubicBezTo>
                      <a:pt x="15716" y="94954"/>
                      <a:pt x="16669"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4019"/>
                      <a:pt x="32861" y="230209"/>
                      <a:pt x="30004" y="225447"/>
                    </a:cubicBezTo>
                    <a:cubicBezTo>
                      <a:pt x="27146" y="220684"/>
                      <a:pt x="24289" y="215922"/>
                      <a:pt x="21431" y="210207"/>
                    </a:cubicBezTo>
                    <a:cubicBezTo>
                      <a:pt x="19526" y="206397"/>
                      <a:pt x="18574" y="203539"/>
                      <a:pt x="16669" y="199729"/>
                    </a:cubicBezTo>
                    <a:cubicBezTo>
                      <a:pt x="14764" y="195919"/>
                      <a:pt x="13811" y="192109"/>
                      <a:pt x="12859" y="188299"/>
                    </a:cubicBezTo>
                    <a:cubicBezTo>
                      <a:pt x="10954" y="181632"/>
                      <a:pt x="10001" y="174964"/>
                      <a:pt x="8096" y="168297"/>
                    </a:cubicBezTo>
                    <a:cubicBezTo>
                      <a:pt x="7144" y="164487"/>
                      <a:pt x="7144" y="161629"/>
                      <a:pt x="7144" y="157819"/>
                    </a:cubicBezTo>
                    <a:cubicBezTo>
                      <a:pt x="7144" y="157819"/>
                      <a:pt x="8096" y="155914"/>
                      <a:pt x="7144" y="154962"/>
                    </a:cubicBezTo>
                    <a:close/>
                    <a:moveTo>
                      <a:pt x="66199" y="146389"/>
                    </a:moveTo>
                    <a:cubicBezTo>
                      <a:pt x="66199" y="154009"/>
                      <a:pt x="67151" y="162582"/>
                      <a:pt x="70009" y="172107"/>
                    </a:cubicBezTo>
                    <a:cubicBezTo>
                      <a:pt x="71914" y="176869"/>
                      <a:pt x="72866" y="180679"/>
                      <a:pt x="74771" y="185442"/>
                    </a:cubicBezTo>
                    <a:cubicBezTo>
                      <a:pt x="76676" y="191157"/>
                      <a:pt x="79534" y="195919"/>
                      <a:pt x="83344" y="200682"/>
                    </a:cubicBezTo>
                    <a:cubicBezTo>
                      <a:pt x="87154" y="205444"/>
                      <a:pt x="90964" y="210207"/>
                      <a:pt x="96679" y="214969"/>
                    </a:cubicBezTo>
                    <a:cubicBezTo>
                      <a:pt x="101441" y="218779"/>
                      <a:pt x="107156" y="222589"/>
                      <a:pt x="113824" y="224494"/>
                    </a:cubicBezTo>
                    <a:cubicBezTo>
                      <a:pt x="130969" y="230209"/>
                      <a:pt x="147161" y="227352"/>
                      <a:pt x="161449" y="215922"/>
                    </a:cubicBezTo>
                    <a:cubicBezTo>
                      <a:pt x="166211" y="212112"/>
                      <a:pt x="170021" y="208302"/>
                      <a:pt x="173831" y="203539"/>
                    </a:cubicBezTo>
                    <a:cubicBezTo>
                      <a:pt x="177641" y="198777"/>
                      <a:pt x="180499" y="194014"/>
                      <a:pt x="183356" y="188299"/>
                    </a:cubicBezTo>
                    <a:cubicBezTo>
                      <a:pt x="184309" y="185442"/>
                      <a:pt x="185261" y="182584"/>
                      <a:pt x="187166" y="180679"/>
                    </a:cubicBezTo>
                    <a:cubicBezTo>
                      <a:pt x="189071" y="175917"/>
                      <a:pt x="190976" y="171154"/>
                      <a:pt x="191929" y="165439"/>
                    </a:cubicBezTo>
                    <a:cubicBezTo>
                      <a:pt x="194786" y="149247"/>
                      <a:pt x="194786" y="133054"/>
                      <a:pt x="190024" y="116862"/>
                    </a:cubicBezTo>
                    <a:cubicBezTo>
                      <a:pt x="189071" y="113052"/>
                      <a:pt x="188119" y="109242"/>
                      <a:pt x="186214" y="106384"/>
                    </a:cubicBezTo>
                    <a:cubicBezTo>
                      <a:pt x="184309" y="102574"/>
                      <a:pt x="183356" y="98764"/>
                      <a:pt x="181451" y="95907"/>
                    </a:cubicBezTo>
                    <a:cubicBezTo>
                      <a:pt x="178594" y="92097"/>
                      <a:pt x="176689" y="87334"/>
                      <a:pt x="172879" y="83524"/>
                    </a:cubicBezTo>
                    <a:cubicBezTo>
                      <a:pt x="169069" y="78762"/>
                      <a:pt x="164306" y="73999"/>
                      <a:pt x="158591" y="70189"/>
                    </a:cubicBezTo>
                    <a:cubicBezTo>
                      <a:pt x="153829" y="67332"/>
                      <a:pt x="149066" y="64474"/>
                      <a:pt x="143351" y="62569"/>
                    </a:cubicBezTo>
                    <a:cubicBezTo>
                      <a:pt x="127159" y="57807"/>
                      <a:pt x="111919" y="61617"/>
                      <a:pt x="98584" y="71142"/>
                    </a:cubicBezTo>
                    <a:cubicBezTo>
                      <a:pt x="93821" y="74952"/>
                      <a:pt x="90011" y="78762"/>
                      <a:pt x="86201" y="83524"/>
                    </a:cubicBezTo>
                    <a:cubicBezTo>
                      <a:pt x="83344" y="87334"/>
                      <a:pt x="80486" y="92097"/>
                      <a:pt x="77629" y="96859"/>
                    </a:cubicBezTo>
                    <a:cubicBezTo>
                      <a:pt x="75724" y="99717"/>
                      <a:pt x="74771" y="103527"/>
                      <a:pt x="73819" y="106384"/>
                    </a:cubicBezTo>
                    <a:cubicBezTo>
                      <a:pt x="71914" y="111147"/>
                      <a:pt x="70961" y="115909"/>
                      <a:pt x="70009" y="120672"/>
                    </a:cubicBezTo>
                    <a:cubicBezTo>
                      <a:pt x="67151" y="129244"/>
                      <a:pt x="67151" y="136864"/>
                      <a:pt x="66199" y="146389"/>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55" name="Freeform: Shape 1954">
                <a:extLst>
                  <a:ext uri="{FF2B5EF4-FFF2-40B4-BE49-F238E27FC236}">
                    <a16:creationId xmlns:a16="http://schemas.microsoft.com/office/drawing/2014/main" id="{63C75598-7187-49BD-9CC0-7BF1C73A2F4A}"/>
                  </a:ext>
                </a:extLst>
              </p:cNvPr>
              <p:cNvSpPr/>
              <p:nvPr/>
            </p:nvSpPr>
            <p:spPr>
              <a:xfrm>
                <a:off x="2378698" y="4863217"/>
                <a:ext cx="50631" cy="8195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56" name="Freeform: Shape 1955">
                <a:extLst>
                  <a:ext uri="{FF2B5EF4-FFF2-40B4-BE49-F238E27FC236}">
                    <a16:creationId xmlns:a16="http://schemas.microsoft.com/office/drawing/2014/main" id="{44622E5F-343A-452C-8B63-E9530401BE95}"/>
                  </a:ext>
                </a:extLst>
              </p:cNvPr>
              <p:cNvSpPr/>
              <p:nvPr/>
            </p:nvSpPr>
            <p:spPr>
              <a:xfrm>
                <a:off x="2365374" y="4994818"/>
                <a:ext cx="71949" cy="81958"/>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7819"/>
                      <a:pt x="9049" y="156867"/>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8104" y="137817"/>
                      <a:pt x="67151" y="146389"/>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sp>
          <p:nvSpPr>
            <p:cNvPr id="157" name="Freeform: Shape 156">
              <a:extLst>
                <a:ext uri="{FF2B5EF4-FFF2-40B4-BE49-F238E27FC236}">
                  <a16:creationId xmlns:a16="http://schemas.microsoft.com/office/drawing/2014/main" id="{E0FBB86A-0C09-4172-BF8A-3F40F37C8A1D}"/>
                </a:ext>
              </a:extLst>
            </p:cNvPr>
            <p:cNvSpPr/>
            <p:nvPr/>
          </p:nvSpPr>
          <p:spPr>
            <a:xfrm>
              <a:off x="5054997" y="1466862"/>
              <a:ext cx="1908153" cy="323509"/>
            </a:xfrm>
            <a:custGeom>
              <a:avLst/>
              <a:gdLst>
                <a:gd name="connsiteX0" fmla="*/ 0 w 2688336"/>
                <a:gd name="connsiteY0" fmla="*/ 359664 h 359664"/>
                <a:gd name="connsiteX1" fmla="*/ 359664 w 2688336"/>
                <a:gd name="connsiteY1" fmla="*/ 0 h 359664"/>
                <a:gd name="connsiteX2" fmla="*/ 2688336 w 2688336"/>
                <a:gd name="connsiteY2" fmla="*/ 0 h 359664"/>
                <a:gd name="connsiteX0" fmla="*/ 0 w 2688336"/>
                <a:gd name="connsiteY0" fmla="*/ 359664 h 359664"/>
                <a:gd name="connsiteX1" fmla="*/ 359664 w 2688336"/>
                <a:gd name="connsiteY1" fmla="*/ 0 h 359664"/>
                <a:gd name="connsiteX2" fmla="*/ 2121408 w 2688336"/>
                <a:gd name="connsiteY2" fmla="*/ 0 h 359664"/>
                <a:gd name="connsiteX3" fmla="*/ 2688336 w 2688336"/>
                <a:gd name="connsiteY3" fmla="*/ 0 h 359664"/>
                <a:gd name="connsiteX0" fmla="*/ 0 w 2121408"/>
                <a:gd name="connsiteY0" fmla="*/ 359664 h 359664"/>
                <a:gd name="connsiteX1" fmla="*/ 359664 w 2121408"/>
                <a:gd name="connsiteY1" fmla="*/ 0 h 359664"/>
                <a:gd name="connsiteX2" fmla="*/ 2121408 w 2121408"/>
                <a:gd name="connsiteY2" fmla="*/ 0 h 359664"/>
              </a:gdLst>
              <a:ahLst/>
              <a:cxnLst>
                <a:cxn ang="0">
                  <a:pos x="connsiteX0" y="connsiteY0"/>
                </a:cxn>
                <a:cxn ang="0">
                  <a:pos x="connsiteX1" y="connsiteY1"/>
                </a:cxn>
                <a:cxn ang="0">
                  <a:pos x="connsiteX2" y="connsiteY2"/>
                </a:cxn>
              </a:cxnLst>
              <a:rect l="l" t="t" r="r" b="b"/>
              <a:pathLst>
                <a:path w="2121408" h="359664">
                  <a:moveTo>
                    <a:pt x="0" y="359664"/>
                  </a:moveTo>
                  <a:lnTo>
                    <a:pt x="359664" y="0"/>
                  </a:lnTo>
                  <a:lnTo>
                    <a:pt x="2121408" y="0"/>
                  </a:lnTo>
                </a:path>
              </a:pathLst>
            </a:custGeom>
            <a:noFill/>
            <a:ln w="12700" cap="rnd">
              <a:solidFill>
                <a:schemeClr val="bg1"/>
              </a:solidFill>
              <a:round/>
              <a:headEnd/>
              <a:tailEnd/>
            </a:ln>
            <a:effectLst/>
          </p:spPr>
          <p:txBody>
            <a:bodyPr rtlCol="0" anchor="ct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155" name="Group 154"/>
          <p:cNvGrpSpPr/>
          <p:nvPr/>
        </p:nvGrpSpPr>
        <p:grpSpPr>
          <a:xfrm>
            <a:off x="886794" y="1999289"/>
            <a:ext cx="3151583" cy="2015350"/>
            <a:chOff x="1014388" y="2169413"/>
            <a:chExt cx="3151583" cy="2015350"/>
          </a:xfrm>
        </p:grpSpPr>
        <p:sp>
          <p:nvSpPr>
            <p:cNvPr id="370" name="TextBox 369">
              <a:extLst>
                <a:ext uri="{FF2B5EF4-FFF2-40B4-BE49-F238E27FC236}">
                  <a16:creationId xmlns:a16="http://schemas.microsoft.com/office/drawing/2014/main" id="{10524E08-834E-4E10-BCC9-27F743FB3813}"/>
                </a:ext>
              </a:extLst>
            </p:cNvPr>
            <p:cNvSpPr txBox="1"/>
            <p:nvPr/>
          </p:nvSpPr>
          <p:spPr>
            <a:xfrm flipH="1">
              <a:off x="1014388" y="2169413"/>
              <a:ext cx="1870190" cy="548868"/>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l" defTabSz="342892" rtl="0" eaLnBrk="1" fontAlgn="base" latinLnBrk="0" hangingPunct="1">
                <a:lnSpc>
                  <a:spcPct val="100000"/>
                </a:lnSpc>
                <a:spcBef>
                  <a:spcPct val="0"/>
                </a:spcBef>
                <a:spcAft>
                  <a:spcPts val="450"/>
                </a:spcAft>
                <a:buClrTx/>
                <a:buSzTx/>
                <a:buFontTx/>
                <a:buNone/>
                <a:tabLst/>
                <a:defRPr/>
              </a:pPr>
              <a:r>
                <a:rPr kumimoji="0" lang="en-US" sz="1200" b="0" i="0" u="none" strike="noStrike" kern="1200" cap="none" spc="0" normalizeH="0" baseline="0" noProof="0" dirty="0">
                  <a:ln>
                    <a:noFill/>
                  </a:ln>
                  <a:solidFill>
                    <a:srgbClr val="00BCEB"/>
                  </a:solidFill>
                  <a:effectLst/>
                  <a:uLnTx/>
                  <a:uFillTx/>
                  <a:latin typeface="CiscoSansTT ExtraLight"/>
                  <a:ea typeface="ＭＳ Ｐゴシック" charset="0"/>
                </a:rPr>
                <a:t>Behavioral modeling</a:t>
              </a:r>
            </a:p>
            <a:p>
              <a:pPr marL="0" marR="0" lvl="0" indent="0" algn="l" defTabSz="342892"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dirty="0">
                  <a:ln>
                    <a:noFill/>
                  </a:ln>
                  <a:solidFill>
                    <a:srgbClr val="676767"/>
                  </a:solidFill>
                  <a:effectLst/>
                  <a:uLnTx/>
                  <a:uFillTx/>
                  <a:latin typeface="CiscoSansTT ExtraLight"/>
                  <a:ea typeface="ＭＳ Ｐゴシック" charset="0"/>
                </a:rPr>
                <a:t>Behavioral analysis of every activity within the network to pinpoint anomalies</a:t>
              </a:r>
            </a:p>
          </p:txBody>
        </p:sp>
        <p:sp>
          <p:nvSpPr>
            <p:cNvPr id="567" name="Trapezoid 1548">
              <a:extLst>
                <a:ext uri="{FF2B5EF4-FFF2-40B4-BE49-F238E27FC236}">
                  <a16:creationId xmlns:a16="http://schemas.microsoft.com/office/drawing/2014/main" id="{9E975ADE-8CA0-46BB-8707-60C29863A83B}"/>
                </a:ext>
              </a:extLst>
            </p:cNvPr>
            <p:cNvSpPr/>
            <p:nvPr/>
          </p:nvSpPr>
          <p:spPr>
            <a:xfrm rot="5400000">
              <a:off x="3202928" y="3156228"/>
              <a:ext cx="1272821" cy="653264"/>
            </a:xfrm>
            <a:custGeom>
              <a:avLst/>
              <a:gdLst>
                <a:gd name="connsiteX0" fmla="*/ 0 w 2726228"/>
                <a:gd name="connsiteY0" fmla="*/ 395625 h 395625"/>
                <a:gd name="connsiteX1" fmla="*/ 98906 w 2726228"/>
                <a:gd name="connsiteY1" fmla="*/ 0 h 395625"/>
                <a:gd name="connsiteX2" fmla="*/ 2627322 w 2726228"/>
                <a:gd name="connsiteY2" fmla="*/ 0 h 395625"/>
                <a:gd name="connsiteX3" fmla="*/ 2726228 w 2726228"/>
                <a:gd name="connsiteY3" fmla="*/ 395625 h 395625"/>
                <a:gd name="connsiteX4" fmla="*/ 0 w 2726228"/>
                <a:gd name="connsiteY4" fmla="*/ 395625 h 395625"/>
                <a:gd name="connsiteX0" fmla="*/ 0 w 2726228"/>
                <a:gd name="connsiteY0" fmla="*/ 395625 h 395625"/>
                <a:gd name="connsiteX1" fmla="*/ 98906 w 2726228"/>
                <a:gd name="connsiteY1" fmla="*/ 0 h 395625"/>
                <a:gd name="connsiteX2" fmla="*/ 932636 w 2726228"/>
                <a:gd name="connsiteY2" fmla="*/ 12192 h 395625"/>
                <a:gd name="connsiteX3" fmla="*/ 2726228 w 2726228"/>
                <a:gd name="connsiteY3" fmla="*/ 395625 h 395625"/>
                <a:gd name="connsiteX4" fmla="*/ 0 w 2726228"/>
                <a:gd name="connsiteY4" fmla="*/ 395625 h 395625"/>
                <a:gd name="connsiteX0" fmla="*/ 0 w 2726228"/>
                <a:gd name="connsiteY0" fmla="*/ 1081426 h 1081426"/>
                <a:gd name="connsiteX1" fmla="*/ 207766 w 2726228"/>
                <a:gd name="connsiteY1" fmla="*/ 0 h 1081426"/>
                <a:gd name="connsiteX2" fmla="*/ 932636 w 2726228"/>
                <a:gd name="connsiteY2" fmla="*/ 697993 h 1081426"/>
                <a:gd name="connsiteX3" fmla="*/ 2726228 w 2726228"/>
                <a:gd name="connsiteY3" fmla="*/ 1081426 h 1081426"/>
                <a:gd name="connsiteX4" fmla="*/ 0 w 2726228"/>
                <a:gd name="connsiteY4" fmla="*/ 1081426 h 1081426"/>
                <a:gd name="connsiteX0" fmla="*/ 0 w 2726228"/>
                <a:gd name="connsiteY0" fmla="*/ 1081426 h 1081426"/>
                <a:gd name="connsiteX1" fmla="*/ 207766 w 2726228"/>
                <a:gd name="connsiteY1" fmla="*/ 0 h 1081426"/>
                <a:gd name="connsiteX2" fmla="*/ 1106808 w 2726228"/>
                <a:gd name="connsiteY2" fmla="*/ 88393 h 1081426"/>
                <a:gd name="connsiteX3" fmla="*/ 2726228 w 2726228"/>
                <a:gd name="connsiteY3" fmla="*/ 1081426 h 1081426"/>
                <a:gd name="connsiteX4" fmla="*/ 0 w 2726228"/>
                <a:gd name="connsiteY4" fmla="*/ 1081426 h 1081426"/>
                <a:gd name="connsiteX0" fmla="*/ 404121 w 3130349"/>
                <a:gd name="connsiteY0" fmla="*/ 1005684 h 1005684"/>
                <a:gd name="connsiteX1" fmla="*/ -1 w 3130349"/>
                <a:gd name="connsiteY1" fmla="*/ 0 h 1005684"/>
                <a:gd name="connsiteX2" fmla="*/ 1510929 w 3130349"/>
                <a:gd name="connsiteY2" fmla="*/ 12651 h 1005684"/>
                <a:gd name="connsiteX3" fmla="*/ 3130349 w 3130349"/>
                <a:gd name="connsiteY3" fmla="*/ 1005684 h 1005684"/>
                <a:gd name="connsiteX4" fmla="*/ 404121 w 3130349"/>
                <a:gd name="connsiteY4" fmla="*/ 1005684 h 1005684"/>
                <a:gd name="connsiteX0" fmla="*/ 404122 w 3130350"/>
                <a:gd name="connsiteY0" fmla="*/ 1005684 h 1005684"/>
                <a:gd name="connsiteX1" fmla="*/ 0 w 3130350"/>
                <a:gd name="connsiteY1" fmla="*/ 0 h 1005684"/>
                <a:gd name="connsiteX2" fmla="*/ 729792 w 3130350"/>
                <a:gd name="connsiteY2" fmla="*/ 27 h 1005684"/>
                <a:gd name="connsiteX3" fmla="*/ 3130350 w 3130350"/>
                <a:gd name="connsiteY3" fmla="*/ 1005684 h 1005684"/>
                <a:gd name="connsiteX4" fmla="*/ 404122 w 3130350"/>
                <a:gd name="connsiteY4" fmla="*/ 1005684 h 1005684"/>
                <a:gd name="connsiteX0" fmla="*/ 404122 w 3130350"/>
                <a:gd name="connsiteY0" fmla="*/ 1005684 h 1005684"/>
                <a:gd name="connsiteX1" fmla="*/ 0 w 3130350"/>
                <a:gd name="connsiteY1" fmla="*/ 0 h 1005684"/>
                <a:gd name="connsiteX2" fmla="*/ 612626 w 3130350"/>
                <a:gd name="connsiteY2" fmla="*/ 12650 h 1005684"/>
                <a:gd name="connsiteX3" fmla="*/ 3130350 w 3130350"/>
                <a:gd name="connsiteY3" fmla="*/ 1005684 h 1005684"/>
                <a:gd name="connsiteX4" fmla="*/ 404122 w 3130350"/>
                <a:gd name="connsiteY4" fmla="*/ 1005684 h 1005684"/>
                <a:gd name="connsiteX0" fmla="*/ 299974 w 3130350"/>
                <a:gd name="connsiteY0" fmla="*/ 1005683 h 1005684"/>
                <a:gd name="connsiteX1" fmla="*/ 0 w 3130350"/>
                <a:gd name="connsiteY1" fmla="*/ 0 h 1005684"/>
                <a:gd name="connsiteX2" fmla="*/ 612626 w 3130350"/>
                <a:gd name="connsiteY2" fmla="*/ 12650 h 1005684"/>
                <a:gd name="connsiteX3" fmla="*/ 3130350 w 3130350"/>
                <a:gd name="connsiteY3" fmla="*/ 1005684 h 1005684"/>
                <a:gd name="connsiteX4" fmla="*/ 299974 w 3130350"/>
                <a:gd name="connsiteY4" fmla="*/ 1005683 h 1005684"/>
                <a:gd name="connsiteX0" fmla="*/ 299974 w 3130350"/>
                <a:gd name="connsiteY0" fmla="*/ 1005683 h 1005684"/>
                <a:gd name="connsiteX1" fmla="*/ 0 w 3130350"/>
                <a:gd name="connsiteY1" fmla="*/ 0 h 1005684"/>
                <a:gd name="connsiteX2" fmla="*/ 2231922 w 3130350"/>
                <a:gd name="connsiteY2" fmla="*/ 38451 h 1005684"/>
                <a:gd name="connsiteX3" fmla="*/ 3130350 w 3130350"/>
                <a:gd name="connsiteY3" fmla="*/ 1005684 h 1005684"/>
                <a:gd name="connsiteX4" fmla="*/ 299974 w 3130350"/>
                <a:gd name="connsiteY4" fmla="*/ 1005683 h 1005684"/>
                <a:gd name="connsiteX0" fmla="*/ 0 w 2830376"/>
                <a:gd name="connsiteY0" fmla="*/ 979882 h 979883"/>
                <a:gd name="connsiteX1" fmla="*/ 864312 w 2830376"/>
                <a:gd name="connsiteY1" fmla="*/ 1 h 979883"/>
                <a:gd name="connsiteX2" fmla="*/ 1931948 w 2830376"/>
                <a:gd name="connsiteY2" fmla="*/ 12650 h 979883"/>
                <a:gd name="connsiteX3" fmla="*/ 2830376 w 2830376"/>
                <a:gd name="connsiteY3" fmla="*/ 979883 h 979883"/>
                <a:gd name="connsiteX4" fmla="*/ 0 w 2830376"/>
                <a:gd name="connsiteY4" fmla="*/ 979882 h 979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0376" h="979883">
                  <a:moveTo>
                    <a:pt x="0" y="979882"/>
                  </a:moveTo>
                  <a:lnTo>
                    <a:pt x="864312" y="1"/>
                  </a:lnTo>
                  <a:lnTo>
                    <a:pt x="1931948" y="12650"/>
                  </a:lnTo>
                  <a:lnTo>
                    <a:pt x="2830376" y="979883"/>
                  </a:lnTo>
                  <a:lnTo>
                    <a:pt x="0" y="979882"/>
                  </a:lnTo>
                  <a:close/>
                </a:path>
              </a:pathLst>
            </a:custGeom>
            <a:gradFill>
              <a:gsLst>
                <a:gs pos="7000">
                  <a:schemeClr val="accent1">
                    <a:lumMod val="20000"/>
                    <a:lumOff val="80000"/>
                    <a:alpha val="31000"/>
                  </a:schemeClr>
                </a:gs>
                <a:gs pos="80000">
                  <a:schemeClr val="accent1">
                    <a:alpha val="34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957" name="Group 1956">
              <a:extLst>
                <a:ext uri="{FF2B5EF4-FFF2-40B4-BE49-F238E27FC236}">
                  <a16:creationId xmlns:a16="http://schemas.microsoft.com/office/drawing/2014/main" id="{D62398B6-A06F-4BA8-B586-6E12DEC4AEB1}"/>
                </a:ext>
              </a:extLst>
            </p:cNvPr>
            <p:cNvGrpSpPr/>
            <p:nvPr/>
          </p:nvGrpSpPr>
          <p:grpSpPr>
            <a:xfrm>
              <a:off x="2339399" y="2716324"/>
              <a:ext cx="1173308" cy="1468439"/>
              <a:chOff x="1973015" y="2470974"/>
              <a:chExt cx="2231880" cy="2793282"/>
            </a:xfrm>
          </p:grpSpPr>
          <p:sp>
            <p:nvSpPr>
              <p:cNvPr id="568" name="Rectangle: Rounded Corners 567">
                <a:extLst>
                  <a:ext uri="{FF2B5EF4-FFF2-40B4-BE49-F238E27FC236}">
                    <a16:creationId xmlns:a16="http://schemas.microsoft.com/office/drawing/2014/main" id="{782305FF-A334-4EE0-B62A-B87FCF8A273C}"/>
                  </a:ext>
                </a:extLst>
              </p:cNvPr>
              <p:cNvSpPr/>
              <p:nvPr/>
            </p:nvSpPr>
            <p:spPr>
              <a:xfrm>
                <a:off x="1973015" y="2470974"/>
                <a:ext cx="2231880" cy="2793282"/>
              </a:xfrm>
              <a:prstGeom prst="roundRect">
                <a:avLst>
                  <a:gd name="adj" fmla="val 923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504" name="Group 503">
                <a:extLst>
                  <a:ext uri="{FF2B5EF4-FFF2-40B4-BE49-F238E27FC236}">
                    <a16:creationId xmlns:a16="http://schemas.microsoft.com/office/drawing/2014/main" id="{3A30695F-FCFB-49CF-B509-615A0F704C33}"/>
                  </a:ext>
                </a:extLst>
              </p:cNvPr>
              <p:cNvGrpSpPr/>
              <p:nvPr/>
            </p:nvGrpSpPr>
            <p:grpSpPr>
              <a:xfrm>
                <a:off x="2006369" y="3342042"/>
                <a:ext cx="2165170" cy="1118844"/>
                <a:chOff x="4916728" y="4322064"/>
                <a:chExt cx="2387600" cy="1233784"/>
              </a:xfrm>
            </p:grpSpPr>
            <p:sp>
              <p:nvSpPr>
                <p:cNvPr id="505" name="Rectangle 504">
                  <a:extLst>
                    <a:ext uri="{FF2B5EF4-FFF2-40B4-BE49-F238E27FC236}">
                      <a16:creationId xmlns:a16="http://schemas.microsoft.com/office/drawing/2014/main" id="{57014A02-EEF0-43C2-A8EC-093A4D7E0FDF}"/>
                    </a:ext>
                  </a:extLst>
                </p:cNvPr>
                <p:cNvSpPr/>
                <p:nvPr/>
              </p:nvSpPr>
              <p:spPr>
                <a:xfrm>
                  <a:off x="4916728" y="4537276"/>
                  <a:ext cx="2387600" cy="1018572"/>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06" name="Freeform: Shape 505">
                  <a:extLst>
                    <a:ext uri="{FF2B5EF4-FFF2-40B4-BE49-F238E27FC236}">
                      <a16:creationId xmlns:a16="http://schemas.microsoft.com/office/drawing/2014/main" id="{1FC42FDA-F443-4E34-8626-AC9AFA2BBAFD}"/>
                    </a:ext>
                  </a:extLst>
                </p:cNvPr>
                <p:cNvSpPr/>
                <p:nvPr/>
              </p:nvSpPr>
              <p:spPr>
                <a:xfrm>
                  <a:off x="4916728" y="4322064"/>
                  <a:ext cx="2387600" cy="215212"/>
                </a:xfrm>
                <a:custGeom>
                  <a:avLst/>
                  <a:gdLst>
                    <a:gd name="connsiteX0" fmla="*/ 280416 w 2346960"/>
                    <a:gd name="connsiteY0" fmla="*/ 0 h 213360"/>
                    <a:gd name="connsiteX1" fmla="*/ 0 w 2346960"/>
                    <a:gd name="connsiteY1" fmla="*/ 213360 h 213360"/>
                    <a:gd name="connsiteX2" fmla="*/ 2346960 w 2346960"/>
                    <a:gd name="connsiteY2" fmla="*/ 213360 h 213360"/>
                    <a:gd name="connsiteX3" fmla="*/ 2103120 w 2346960"/>
                    <a:gd name="connsiteY3" fmla="*/ 24384 h 213360"/>
                    <a:gd name="connsiteX4" fmla="*/ 280416 w 2346960"/>
                    <a:gd name="connsiteY4" fmla="*/ 0 h 21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6960" h="213360">
                      <a:moveTo>
                        <a:pt x="280416" y="0"/>
                      </a:moveTo>
                      <a:lnTo>
                        <a:pt x="0" y="213360"/>
                      </a:lnTo>
                      <a:lnTo>
                        <a:pt x="2346960" y="213360"/>
                      </a:lnTo>
                      <a:lnTo>
                        <a:pt x="2103120" y="24384"/>
                      </a:lnTo>
                      <a:lnTo>
                        <a:pt x="280416" y="0"/>
                      </a:lnTo>
                      <a:close/>
                    </a:path>
                  </a:pathLst>
                </a:custGeom>
                <a:gradFill>
                  <a:gsLst>
                    <a:gs pos="7000">
                      <a:schemeClr val="bg2"/>
                    </a:gs>
                    <a:gs pos="80000">
                      <a:schemeClr val="bg2">
                        <a:lumMod val="95000"/>
                        <a:alpha val="93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507" name="Group 506">
                <a:extLst>
                  <a:ext uri="{FF2B5EF4-FFF2-40B4-BE49-F238E27FC236}">
                    <a16:creationId xmlns:a16="http://schemas.microsoft.com/office/drawing/2014/main" id="{E34D9D65-647C-466B-8E9B-FBC7B067363E}"/>
                  </a:ext>
                </a:extLst>
              </p:cNvPr>
              <p:cNvGrpSpPr/>
              <p:nvPr/>
            </p:nvGrpSpPr>
            <p:grpSpPr>
              <a:xfrm>
                <a:off x="2098837" y="3543196"/>
                <a:ext cx="2029756" cy="721116"/>
                <a:chOff x="5018695" y="4528643"/>
                <a:chExt cx="2238274" cy="795197"/>
              </a:xfrm>
            </p:grpSpPr>
            <p:grpSp>
              <p:nvGrpSpPr>
                <p:cNvPr id="508" name="Group 507">
                  <a:extLst>
                    <a:ext uri="{FF2B5EF4-FFF2-40B4-BE49-F238E27FC236}">
                      <a16:creationId xmlns:a16="http://schemas.microsoft.com/office/drawing/2014/main" id="{03BB73BB-B03C-40AA-BCFD-9FBDE49E9CDC}"/>
                    </a:ext>
                  </a:extLst>
                </p:cNvPr>
                <p:cNvGrpSpPr/>
                <p:nvPr/>
              </p:nvGrpSpPr>
              <p:grpSpPr>
                <a:xfrm>
                  <a:off x="5018695" y="4884998"/>
                  <a:ext cx="2238274" cy="438841"/>
                  <a:chOff x="3484535" y="5612130"/>
                  <a:chExt cx="2089291" cy="409631"/>
                </a:xfrm>
                <a:solidFill>
                  <a:schemeClr val="bg2">
                    <a:lumMod val="85000"/>
                  </a:schemeClr>
                </a:solidFill>
              </p:grpSpPr>
              <p:sp>
                <p:nvSpPr>
                  <p:cNvPr id="542" name="Rectangle 541">
                    <a:extLst>
                      <a:ext uri="{FF2B5EF4-FFF2-40B4-BE49-F238E27FC236}">
                        <a16:creationId xmlns:a16="http://schemas.microsoft.com/office/drawing/2014/main" id="{3E42E447-9BF5-40F0-AD81-31CD04C56FD6}"/>
                      </a:ext>
                    </a:extLst>
                  </p:cNvPr>
                  <p:cNvSpPr/>
                  <p:nvPr/>
                </p:nvSpPr>
                <p:spPr>
                  <a:xfrm>
                    <a:off x="3484535" y="5828116"/>
                    <a:ext cx="71936" cy="19364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43" name="Rectangle 542">
                    <a:extLst>
                      <a:ext uri="{FF2B5EF4-FFF2-40B4-BE49-F238E27FC236}">
                        <a16:creationId xmlns:a16="http://schemas.microsoft.com/office/drawing/2014/main" id="{EF7CCC4E-CF9D-4C73-836F-461CEA1CF13A}"/>
                      </a:ext>
                    </a:extLst>
                  </p:cNvPr>
                  <p:cNvSpPr/>
                  <p:nvPr/>
                </p:nvSpPr>
                <p:spPr>
                  <a:xfrm>
                    <a:off x="3588736" y="5623544"/>
                    <a:ext cx="74438" cy="39821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44" name="Rectangle 543">
                    <a:extLst>
                      <a:ext uri="{FF2B5EF4-FFF2-40B4-BE49-F238E27FC236}">
                        <a16:creationId xmlns:a16="http://schemas.microsoft.com/office/drawing/2014/main" id="{37562991-1ADD-471F-A5F0-EE3768BFCFB4}"/>
                      </a:ext>
                    </a:extLst>
                  </p:cNvPr>
                  <p:cNvSpPr/>
                  <p:nvPr/>
                </p:nvSpPr>
                <p:spPr>
                  <a:xfrm>
                    <a:off x="3695439" y="5748077"/>
                    <a:ext cx="74438" cy="27368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45" name="Rectangle 544">
                    <a:extLst>
                      <a:ext uri="{FF2B5EF4-FFF2-40B4-BE49-F238E27FC236}">
                        <a16:creationId xmlns:a16="http://schemas.microsoft.com/office/drawing/2014/main" id="{15020EFE-8029-48F5-B28F-FBD9EE752102}"/>
                      </a:ext>
                    </a:extLst>
                  </p:cNvPr>
                  <p:cNvSpPr/>
                  <p:nvPr/>
                </p:nvSpPr>
                <p:spPr>
                  <a:xfrm>
                    <a:off x="3802142" y="5692832"/>
                    <a:ext cx="74438" cy="32892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46" name="Rectangle 545">
                    <a:extLst>
                      <a:ext uri="{FF2B5EF4-FFF2-40B4-BE49-F238E27FC236}">
                        <a16:creationId xmlns:a16="http://schemas.microsoft.com/office/drawing/2014/main" id="{01E1950D-FFC7-43CA-AB5F-46DD2119632A}"/>
                      </a:ext>
                    </a:extLst>
                  </p:cNvPr>
                  <p:cNvSpPr/>
                  <p:nvPr/>
                </p:nvSpPr>
                <p:spPr>
                  <a:xfrm>
                    <a:off x="3908845" y="5931877"/>
                    <a:ext cx="71936" cy="8988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47" name="Rectangle 546">
                    <a:extLst>
                      <a:ext uri="{FF2B5EF4-FFF2-40B4-BE49-F238E27FC236}">
                        <a16:creationId xmlns:a16="http://schemas.microsoft.com/office/drawing/2014/main" id="{48EE081C-1048-4BCA-AD88-26115AA793A9}"/>
                      </a:ext>
                    </a:extLst>
                  </p:cNvPr>
                  <p:cNvSpPr/>
                  <p:nvPr/>
                </p:nvSpPr>
                <p:spPr>
                  <a:xfrm>
                    <a:off x="4013046" y="5836920"/>
                    <a:ext cx="74438" cy="184841"/>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48" name="Rectangle 547">
                    <a:extLst>
                      <a:ext uri="{FF2B5EF4-FFF2-40B4-BE49-F238E27FC236}">
                        <a16:creationId xmlns:a16="http://schemas.microsoft.com/office/drawing/2014/main" id="{9177E88D-5B55-40D5-84FE-2641D7F8D7F2}"/>
                      </a:ext>
                    </a:extLst>
                  </p:cNvPr>
                  <p:cNvSpPr/>
                  <p:nvPr/>
                </p:nvSpPr>
                <p:spPr>
                  <a:xfrm>
                    <a:off x="4119749" y="5894725"/>
                    <a:ext cx="74438" cy="127036"/>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49" name="Rectangle 548">
                    <a:extLst>
                      <a:ext uri="{FF2B5EF4-FFF2-40B4-BE49-F238E27FC236}">
                        <a16:creationId xmlns:a16="http://schemas.microsoft.com/office/drawing/2014/main" id="{2C13B8E8-9162-4D92-8BE8-D02A5F01EF73}"/>
                      </a:ext>
                    </a:extLst>
                  </p:cNvPr>
                  <p:cNvSpPr/>
                  <p:nvPr/>
                </p:nvSpPr>
                <p:spPr>
                  <a:xfrm>
                    <a:off x="4226452" y="5869082"/>
                    <a:ext cx="74438" cy="15267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0" name="Rectangle 549">
                    <a:extLst>
                      <a:ext uri="{FF2B5EF4-FFF2-40B4-BE49-F238E27FC236}">
                        <a16:creationId xmlns:a16="http://schemas.microsoft.com/office/drawing/2014/main" id="{3F9FFEC0-3150-49B4-A73C-6F4A1EE92D37}"/>
                      </a:ext>
                    </a:extLst>
                  </p:cNvPr>
                  <p:cNvSpPr/>
                  <p:nvPr/>
                </p:nvSpPr>
                <p:spPr>
                  <a:xfrm flipH="1">
                    <a:off x="4653264" y="5881853"/>
                    <a:ext cx="71936" cy="139908"/>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1" name="Rectangle 550">
                    <a:extLst>
                      <a:ext uri="{FF2B5EF4-FFF2-40B4-BE49-F238E27FC236}">
                        <a16:creationId xmlns:a16="http://schemas.microsoft.com/office/drawing/2014/main" id="{B71E7AC6-4C46-4A73-9D30-3832FA25293C}"/>
                      </a:ext>
                    </a:extLst>
                  </p:cNvPr>
                  <p:cNvSpPr/>
                  <p:nvPr/>
                </p:nvSpPr>
                <p:spPr>
                  <a:xfrm flipH="1">
                    <a:off x="4546561" y="5734050"/>
                    <a:ext cx="74438" cy="287711"/>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2" name="Rectangle 551">
                    <a:extLst>
                      <a:ext uri="{FF2B5EF4-FFF2-40B4-BE49-F238E27FC236}">
                        <a16:creationId xmlns:a16="http://schemas.microsoft.com/office/drawing/2014/main" id="{147BDE8C-EDC0-4A8D-8316-2707666F7D76}"/>
                      </a:ext>
                    </a:extLst>
                  </p:cNvPr>
                  <p:cNvSpPr/>
                  <p:nvPr/>
                </p:nvSpPr>
                <p:spPr>
                  <a:xfrm flipH="1">
                    <a:off x="4439858" y="5824025"/>
                    <a:ext cx="74438" cy="197736"/>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3" name="Rectangle 552">
                    <a:extLst>
                      <a:ext uri="{FF2B5EF4-FFF2-40B4-BE49-F238E27FC236}">
                        <a16:creationId xmlns:a16="http://schemas.microsoft.com/office/drawing/2014/main" id="{88A334E0-3135-426F-AB84-DE91B2A0F9BB}"/>
                      </a:ext>
                    </a:extLst>
                  </p:cNvPr>
                  <p:cNvSpPr/>
                  <p:nvPr/>
                </p:nvSpPr>
                <p:spPr>
                  <a:xfrm flipH="1">
                    <a:off x="4333155" y="5784110"/>
                    <a:ext cx="74438" cy="237651"/>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4" name="Rectangle 553">
                    <a:extLst>
                      <a:ext uri="{FF2B5EF4-FFF2-40B4-BE49-F238E27FC236}">
                        <a16:creationId xmlns:a16="http://schemas.microsoft.com/office/drawing/2014/main" id="{51A675A2-1235-4AC0-AE11-4400CDA81AD7}"/>
                      </a:ext>
                    </a:extLst>
                  </p:cNvPr>
                  <p:cNvSpPr/>
                  <p:nvPr/>
                </p:nvSpPr>
                <p:spPr>
                  <a:xfrm flipH="1">
                    <a:off x="5077574" y="5822566"/>
                    <a:ext cx="71936" cy="19919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5" name="Rectangle 554">
                    <a:extLst>
                      <a:ext uri="{FF2B5EF4-FFF2-40B4-BE49-F238E27FC236}">
                        <a16:creationId xmlns:a16="http://schemas.microsoft.com/office/drawing/2014/main" id="{865A7971-AC5B-4A5A-BADC-3C3A571BC005}"/>
                      </a:ext>
                    </a:extLst>
                  </p:cNvPr>
                  <p:cNvSpPr/>
                  <p:nvPr/>
                </p:nvSpPr>
                <p:spPr>
                  <a:xfrm flipH="1">
                    <a:off x="4970871" y="5612130"/>
                    <a:ext cx="74438" cy="409631"/>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6" name="Rectangle 555">
                    <a:extLst>
                      <a:ext uri="{FF2B5EF4-FFF2-40B4-BE49-F238E27FC236}">
                        <a16:creationId xmlns:a16="http://schemas.microsoft.com/office/drawing/2014/main" id="{3A097F3A-3E70-4E94-9691-860EA06D9862}"/>
                      </a:ext>
                    </a:extLst>
                  </p:cNvPr>
                  <p:cNvSpPr/>
                  <p:nvPr/>
                </p:nvSpPr>
                <p:spPr>
                  <a:xfrm flipH="1">
                    <a:off x="4864168" y="5740232"/>
                    <a:ext cx="74438" cy="28152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7" name="Rectangle 556">
                    <a:extLst>
                      <a:ext uri="{FF2B5EF4-FFF2-40B4-BE49-F238E27FC236}">
                        <a16:creationId xmlns:a16="http://schemas.microsoft.com/office/drawing/2014/main" id="{4A38FCBA-2780-47E6-95FC-5ED17734F34B}"/>
                      </a:ext>
                    </a:extLst>
                  </p:cNvPr>
                  <p:cNvSpPr/>
                  <p:nvPr/>
                </p:nvSpPr>
                <p:spPr>
                  <a:xfrm flipH="1">
                    <a:off x="4757465" y="5683404"/>
                    <a:ext cx="74438" cy="33835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8" name="Rectangle 557">
                    <a:extLst>
                      <a:ext uri="{FF2B5EF4-FFF2-40B4-BE49-F238E27FC236}">
                        <a16:creationId xmlns:a16="http://schemas.microsoft.com/office/drawing/2014/main" id="{4B567128-8EFD-42DE-8EED-07E1C78B315F}"/>
                      </a:ext>
                    </a:extLst>
                  </p:cNvPr>
                  <p:cNvSpPr/>
                  <p:nvPr/>
                </p:nvSpPr>
                <p:spPr>
                  <a:xfrm flipH="1">
                    <a:off x="5501890" y="5878147"/>
                    <a:ext cx="71936" cy="14361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9" name="Rectangle 558">
                    <a:extLst>
                      <a:ext uri="{FF2B5EF4-FFF2-40B4-BE49-F238E27FC236}">
                        <a16:creationId xmlns:a16="http://schemas.microsoft.com/office/drawing/2014/main" id="{6F6ABF2E-5BDD-419C-BFB9-AB30AE6A5418}"/>
                      </a:ext>
                    </a:extLst>
                  </p:cNvPr>
                  <p:cNvSpPr/>
                  <p:nvPr/>
                </p:nvSpPr>
                <p:spPr>
                  <a:xfrm flipH="1">
                    <a:off x="5395181" y="5726430"/>
                    <a:ext cx="74438" cy="295331"/>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60" name="Rectangle 559">
                    <a:extLst>
                      <a:ext uri="{FF2B5EF4-FFF2-40B4-BE49-F238E27FC236}">
                        <a16:creationId xmlns:a16="http://schemas.microsoft.com/office/drawing/2014/main" id="{0D3A14B2-5231-4336-B3AD-BA89DD2DC392}"/>
                      </a:ext>
                    </a:extLst>
                  </p:cNvPr>
                  <p:cNvSpPr/>
                  <p:nvPr/>
                </p:nvSpPr>
                <p:spPr>
                  <a:xfrm flipH="1">
                    <a:off x="5288478" y="5818788"/>
                    <a:ext cx="74438" cy="202973"/>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61" name="Rectangle 560">
                    <a:extLst>
                      <a:ext uri="{FF2B5EF4-FFF2-40B4-BE49-F238E27FC236}">
                        <a16:creationId xmlns:a16="http://schemas.microsoft.com/office/drawing/2014/main" id="{388F9BE6-0A12-46D6-9107-D7D6916139DD}"/>
                      </a:ext>
                    </a:extLst>
                  </p:cNvPr>
                  <p:cNvSpPr/>
                  <p:nvPr/>
                </p:nvSpPr>
                <p:spPr>
                  <a:xfrm flipH="1">
                    <a:off x="5181775" y="5777816"/>
                    <a:ext cx="74438" cy="24394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509" name="Group 508">
                  <a:extLst>
                    <a:ext uri="{FF2B5EF4-FFF2-40B4-BE49-F238E27FC236}">
                      <a16:creationId xmlns:a16="http://schemas.microsoft.com/office/drawing/2014/main" id="{F16E25A2-65EE-4342-9AC8-E115CEC5565B}"/>
                    </a:ext>
                  </a:extLst>
                </p:cNvPr>
                <p:cNvGrpSpPr/>
                <p:nvPr/>
              </p:nvGrpSpPr>
              <p:grpSpPr>
                <a:xfrm>
                  <a:off x="5287313" y="4761398"/>
                  <a:ext cx="382413" cy="562442"/>
                  <a:chOff x="5247640" y="4761398"/>
                  <a:chExt cx="382413" cy="562442"/>
                </a:xfrm>
              </p:grpSpPr>
              <p:grpSp>
                <p:nvGrpSpPr>
                  <p:cNvPr id="532" name="Group 531">
                    <a:extLst>
                      <a:ext uri="{FF2B5EF4-FFF2-40B4-BE49-F238E27FC236}">
                        <a16:creationId xmlns:a16="http://schemas.microsoft.com/office/drawing/2014/main" id="{5254B152-FC37-46E2-94CD-4B20347F6C5E}"/>
                      </a:ext>
                    </a:extLst>
                  </p:cNvPr>
                  <p:cNvGrpSpPr/>
                  <p:nvPr/>
                </p:nvGrpSpPr>
                <p:grpSpPr>
                  <a:xfrm>
                    <a:off x="5247640" y="4820028"/>
                    <a:ext cx="382413" cy="503812"/>
                    <a:chOff x="5196840" y="4820028"/>
                    <a:chExt cx="382413" cy="503812"/>
                  </a:xfrm>
                </p:grpSpPr>
                <p:sp>
                  <p:nvSpPr>
                    <p:cNvPr id="538" name="Rectangle 537">
                      <a:extLst>
                        <a:ext uri="{FF2B5EF4-FFF2-40B4-BE49-F238E27FC236}">
                          <a16:creationId xmlns:a16="http://schemas.microsoft.com/office/drawing/2014/main" id="{E5381306-7BA9-404C-A05A-3BCD36A0307A}"/>
                        </a:ext>
                      </a:extLst>
                    </p:cNvPr>
                    <p:cNvSpPr/>
                    <p:nvPr/>
                  </p:nvSpPr>
                  <p:spPr>
                    <a:xfrm>
                      <a:off x="5196840" y="5130194"/>
                      <a:ext cx="71936" cy="19364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39" name="Rectangle 538">
                      <a:extLst>
                        <a:ext uri="{FF2B5EF4-FFF2-40B4-BE49-F238E27FC236}">
                          <a16:creationId xmlns:a16="http://schemas.microsoft.com/office/drawing/2014/main" id="{9211FD1E-90BC-497E-9EDC-795AAE938A8C}"/>
                        </a:ext>
                      </a:extLst>
                    </p:cNvPr>
                    <p:cNvSpPr/>
                    <p:nvPr/>
                  </p:nvSpPr>
                  <p:spPr>
                    <a:xfrm>
                      <a:off x="5297830" y="4820028"/>
                      <a:ext cx="74438" cy="503812"/>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40" name="Rectangle 539">
                      <a:extLst>
                        <a:ext uri="{FF2B5EF4-FFF2-40B4-BE49-F238E27FC236}">
                          <a16:creationId xmlns:a16="http://schemas.microsoft.com/office/drawing/2014/main" id="{99A50FD8-107B-4D35-9E14-EB4CF557CCB6}"/>
                        </a:ext>
                      </a:extLst>
                    </p:cNvPr>
                    <p:cNvSpPr/>
                    <p:nvPr/>
                  </p:nvSpPr>
                  <p:spPr>
                    <a:xfrm>
                      <a:off x="5401322" y="5050155"/>
                      <a:ext cx="74438" cy="27368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41" name="Rectangle 540">
                      <a:extLst>
                        <a:ext uri="{FF2B5EF4-FFF2-40B4-BE49-F238E27FC236}">
                          <a16:creationId xmlns:a16="http://schemas.microsoft.com/office/drawing/2014/main" id="{FFF41293-FAAF-403B-9917-0A0E77878818}"/>
                        </a:ext>
                      </a:extLst>
                    </p:cNvPr>
                    <p:cNvSpPr/>
                    <p:nvPr/>
                  </p:nvSpPr>
                  <p:spPr>
                    <a:xfrm>
                      <a:off x="5504815" y="4994910"/>
                      <a:ext cx="74438" cy="32892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sp>
                <p:nvSpPr>
                  <p:cNvPr id="533" name="Freeform: Shape 532">
                    <a:extLst>
                      <a:ext uri="{FF2B5EF4-FFF2-40B4-BE49-F238E27FC236}">
                        <a16:creationId xmlns:a16="http://schemas.microsoft.com/office/drawing/2014/main" id="{9D05A183-D5C4-4FC7-AE92-F8B906ED9ABA}"/>
                      </a:ext>
                    </a:extLst>
                  </p:cNvPr>
                  <p:cNvSpPr/>
                  <p:nvPr/>
                </p:nvSpPr>
                <p:spPr>
                  <a:xfrm>
                    <a:off x="5288280" y="4789176"/>
                    <a:ext cx="302260" cy="316224"/>
                  </a:xfrm>
                  <a:custGeom>
                    <a:avLst/>
                    <a:gdLst>
                      <a:gd name="connsiteX0" fmla="*/ 0 w 302260"/>
                      <a:gd name="connsiteY0" fmla="*/ 205740 h 205740"/>
                      <a:gd name="connsiteX1" fmla="*/ 96520 w 302260"/>
                      <a:gd name="connsiteY1" fmla="*/ 0 h 205740"/>
                      <a:gd name="connsiteX2" fmla="*/ 203200 w 302260"/>
                      <a:gd name="connsiteY2" fmla="*/ 139700 h 205740"/>
                      <a:gd name="connsiteX3" fmla="*/ 302260 w 302260"/>
                      <a:gd name="connsiteY3" fmla="*/ 53340 h 205740"/>
                      <a:gd name="connsiteX0" fmla="*/ 0 w 302260"/>
                      <a:gd name="connsiteY0" fmla="*/ 379571 h 379571"/>
                      <a:gd name="connsiteX1" fmla="*/ 96520 w 302260"/>
                      <a:gd name="connsiteY1" fmla="*/ 0 h 379571"/>
                      <a:gd name="connsiteX2" fmla="*/ 203200 w 302260"/>
                      <a:gd name="connsiteY2" fmla="*/ 313531 h 379571"/>
                      <a:gd name="connsiteX3" fmla="*/ 302260 w 302260"/>
                      <a:gd name="connsiteY3" fmla="*/ 227171 h 379571"/>
                      <a:gd name="connsiteX0" fmla="*/ 0 w 302260"/>
                      <a:gd name="connsiteY0" fmla="*/ 316224 h 316224"/>
                      <a:gd name="connsiteX1" fmla="*/ 93766 w 302260"/>
                      <a:gd name="connsiteY1" fmla="*/ 0 h 316224"/>
                      <a:gd name="connsiteX2" fmla="*/ 203200 w 302260"/>
                      <a:gd name="connsiteY2" fmla="*/ 250184 h 316224"/>
                      <a:gd name="connsiteX3" fmla="*/ 302260 w 302260"/>
                      <a:gd name="connsiteY3" fmla="*/ 163824 h 316224"/>
                    </a:gdLst>
                    <a:ahLst/>
                    <a:cxnLst>
                      <a:cxn ang="0">
                        <a:pos x="connsiteX0" y="connsiteY0"/>
                      </a:cxn>
                      <a:cxn ang="0">
                        <a:pos x="connsiteX1" y="connsiteY1"/>
                      </a:cxn>
                      <a:cxn ang="0">
                        <a:pos x="connsiteX2" y="connsiteY2"/>
                      </a:cxn>
                      <a:cxn ang="0">
                        <a:pos x="connsiteX3" y="connsiteY3"/>
                      </a:cxn>
                    </a:cxnLst>
                    <a:rect l="l" t="t" r="r" b="b"/>
                    <a:pathLst>
                      <a:path w="302260" h="316224">
                        <a:moveTo>
                          <a:pt x="0" y="316224"/>
                        </a:moveTo>
                        <a:lnTo>
                          <a:pt x="93766" y="0"/>
                        </a:lnTo>
                        <a:lnTo>
                          <a:pt x="203200" y="250184"/>
                        </a:lnTo>
                        <a:lnTo>
                          <a:pt x="302260" y="163824"/>
                        </a:lnTo>
                      </a:path>
                    </a:pathLst>
                  </a:custGeom>
                  <a:no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534" name="Oval 533">
                    <a:extLst>
                      <a:ext uri="{FF2B5EF4-FFF2-40B4-BE49-F238E27FC236}">
                        <a16:creationId xmlns:a16="http://schemas.microsoft.com/office/drawing/2014/main" id="{3F449907-D182-4C06-953B-964DE024C0CC}"/>
                      </a:ext>
                    </a:extLst>
                  </p:cNvPr>
                  <p:cNvSpPr/>
                  <p:nvPr/>
                </p:nvSpPr>
                <p:spPr>
                  <a:xfrm>
                    <a:off x="5259507" y="5082116"/>
                    <a:ext cx="45720" cy="4572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35" name="Oval 534">
                    <a:extLst>
                      <a:ext uri="{FF2B5EF4-FFF2-40B4-BE49-F238E27FC236}">
                        <a16:creationId xmlns:a16="http://schemas.microsoft.com/office/drawing/2014/main" id="{851DFE63-8ACC-4798-A696-A48756D9941C}"/>
                      </a:ext>
                    </a:extLst>
                  </p:cNvPr>
                  <p:cNvSpPr/>
                  <p:nvPr/>
                </p:nvSpPr>
                <p:spPr>
                  <a:xfrm>
                    <a:off x="5361762" y="4761398"/>
                    <a:ext cx="45720" cy="45720"/>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36" name="Oval 535">
                    <a:extLst>
                      <a:ext uri="{FF2B5EF4-FFF2-40B4-BE49-F238E27FC236}">
                        <a16:creationId xmlns:a16="http://schemas.microsoft.com/office/drawing/2014/main" id="{A6EFFBC1-D8CF-40BB-B482-FAD7DAE6C959}"/>
                      </a:ext>
                    </a:extLst>
                  </p:cNvPr>
                  <p:cNvSpPr/>
                  <p:nvPr/>
                </p:nvSpPr>
                <p:spPr>
                  <a:xfrm>
                    <a:off x="5467787" y="5003376"/>
                    <a:ext cx="45720" cy="4572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37" name="Oval 536">
                    <a:extLst>
                      <a:ext uri="{FF2B5EF4-FFF2-40B4-BE49-F238E27FC236}">
                        <a16:creationId xmlns:a16="http://schemas.microsoft.com/office/drawing/2014/main" id="{253CD2D0-F4DD-4243-9DD3-F3B8CBA3F4C7}"/>
                      </a:ext>
                    </a:extLst>
                  </p:cNvPr>
                  <p:cNvSpPr/>
                  <p:nvPr/>
                </p:nvSpPr>
                <p:spPr>
                  <a:xfrm>
                    <a:off x="5571927" y="4934796"/>
                    <a:ext cx="45720" cy="4572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510" name="Group 509">
                  <a:extLst>
                    <a:ext uri="{FF2B5EF4-FFF2-40B4-BE49-F238E27FC236}">
                      <a16:creationId xmlns:a16="http://schemas.microsoft.com/office/drawing/2014/main" id="{74B0CAAC-050D-4FFB-838F-87B9CE333E9F}"/>
                    </a:ext>
                  </a:extLst>
                </p:cNvPr>
                <p:cNvGrpSpPr/>
                <p:nvPr/>
              </p:nvGrpSpPr>
              <p:grpSpPr>
                <a:xfrm>
                  <a:off x="5928278" y="4528643"/>
                  <a:ext cx="382413" cy="795197"/>
                  <a:chOff x="5897880" y="4528643"/>
                  <a:chExt cx="382413" cy="795197"/>
                </a:xfrm>
              </p:grpSpPr>
              <p:grpSp>
                <p:nvGrpSpPr>
                  <p:cNvPr id="522" name="Group 521">
                    <a:extLst>
                      <a:ext uri="{FF2B5EF4-FFF2-40B4-BE49-F238E27FC236}">
                        <a16:creationId xmlns:a16="http://schemas.microsoft.com/office/drawing/2014/main" id="{2E5495E1-1BD0-41C5-B6D1-DC67DC14B88E}"/>
                      </a:ext>
                    </a:extLst>
                  </p:cNvPr>
                  <p:cNvGrpSpPr/>
                  <p:nvPr/>
                </p:nvGrpSpPr>
                <p:grpSpPr>
                  <a:xfrm>
                    <a:off x="5897880" y="4582262"/>
                    <a:ext cx="382413" cy="741578"/>
                    <a:chOff x="5196840" y="4582262"/>
                    <a:chExt cx="382413" cy="741578"/>
                  </a:xfrm>
                </p:grpSpPr>
                <p:sp>
                  <p:nvSpPr>
                    <p:cNvPr id="528" name="Rectangle 527">
                      <a:extLst>
                        <a:ext uri="{FF2B5EF4-FFF2-40B4-BE49-F238E27FC236}">
                          <a16:creationId xmlns:a16="http://schemas.microsoft.com/office/drawing/2014/main" id="{0923FBB8-8D61-419E-AD40-FCEE0E5808E2}"/>
                        </a:ext>
                      </a:extLst>
                    </p:cNvPr>
                    <p:cNvSpPr/>
                    <p:nvPr/>
                  </p:nvSpPr>
                  <p:spPr>
                    <a:xfrm>
                      <a:off x="5196840" y="4912996"/>
                      <a:ext cx="71936" cy="41084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9" name="Rectangle 528">
                      <a:extLst>
                        <a:ext uri="{FF2B5EF4-FFF2-40B4-BE49-F238E27FC236}">
                          <a16:creationId xmlns:a16="http://schemas.microsoft.com/office/drawing/2014/main" id="{8F15681B-898C-4466-B425-D8A062D7A3D0}"/>
                        </a:ext>
                      </a:extLst>
                    </p:cNvPr>
                    <p:cNvSpPr/>
                    <p:nvPr/>
                  </p:nvSpPr>
                  <p:spPr>
                    <a:xfrm>
                      <a:off x="5297830" y="5082540"/>
                      <a:ext cx="74438" cy="24129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30" name="Rectangle 529">
                      <a:extLst>
                        <a:ext uri="{FF2B5EF4-FFF2-40B4-BE49-F238E27FC236}">
                          <a16:creationId xmlns:a16="http://schemas.microsoft.com/office/drawing/2014/main" id="{BE4831D2-12AC-4CF4-9164-5A66012EBEB1}"/>
                        </a:ext>
                      </a:extLst>
                    </p:cNvPr>
                    <p:cNvSpPr/>
                    <p:nvPr/>
                  </p:nvSpPr>
                  <p:spPr>
                    <a:xfrm>
                      <a:off x="5401322" y="4582262"/>
                      <a:ext cx="74438" cy="741577"/>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31" name="Rectangle 530">
                      <a:extLst>
                        <a:ext uri="{FF2B5EF4-FFF2-40B4-BE49-F238E27FC236}">
                          <a16:creationId xmlns:a16="http://schemas.microsoft.com/office/drawing/2014/main" id="{444829B1-2045-4AC4-B18A-99C6F823E71F}"/>
                        </a:ext>
                      </a:extLst>
                    </p:cNvPr>
                    <p:cNvSpPr/>
                    <p:nvPr/>
                  </p:nvSpPr>
                  <p:spPr>
                    <a:xfrm>
                      <a:off x="5504815" y="5158740"/>
                      <a:ext cx="74438" cy="16509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sp>
                <p:nvSpPr>
                  <p:cNvPr id="523" name="Oval 522">
                    <a:extLst>
                      <a:ext uri="{FF2B5EF4-FFF2-40B4-BE49-F238E27FC236}">
                        <a16:creationId xmlns:a16="http://schemas.microsoft.com/office/drawing/2014/main" id="{A2EDBBAB-B93F-4B6C-8BAC-1C415821801B}"/>
                      </a:ext>
                    </a:extLst>
                  </p:cNvPr>
                  <p:cNvSpPr/>
                  <p:nvPr/>
                </p:nvSpPr>
                <p:spPr>
                  <a:xfrm>
                    <a:off x="6013887" y="5026236"/>
                    <a:ext cx="45720" cy="4572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4" name="Oval 523">
                    <a:extLst>
                      <a:ext uri="{FF2B5EF4-FFF2-40B4-BE49-F238E27FC236}">
                        <a16:creationId xmlns:a16="http://schemas.microsoft.com/office/drawing/2014/main" id="{E27CD50A-486C-49EC-AA33-ACEFD8E3B7B5}"/>
                      </a:ext>
                    </a:extLst>
                  </p:cNvPr>
                  <p:cNvSpPr/>
                  <p:nvPr/>
                </p:nvSpPr>
                <p:spPr>
                  <a:xfrm>
                    <a:off x="6217087" y="5104976"/>
                    <a:ext cx="45720" cy="4572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5" name="Freeform: Shape 524">
                    <a:extLst>
                      <a:ext uri="{FF2B5EF4-FFF2-40B4-BE49-F238E27FC236}">
                        <a16:creationId xmlns:a16="http://schemas.microsoft.com/office/drawing/2014/main" id="{F7ED3BEA-2984-4E4B-A540-ADD9D2081BE0}"/>
                      </a:ext>
                    </a:extLst>
                  </p:cNvPr>
                  <p:cNvSpPr/>
                  <p:nvPr/>
                </p:nvSpPr>
                <p:spPr>
                  <a:xfrm>
                    <a:off x="5932805" y="4567554"/>
                    <a:ext cx="310515" cy="558165"/>
                  </a:xfrm>
                  <a:custGeom>
                    <a:avLst/>
                    <a:gdLst>
                      <a:gd name="connsiteX0" fmla="*/ 0 w 320040"/>
                      <a:gd name="connsiteY0" fmla="*/ 73660 h 320040"/>
                      <a:gd name="connsiteX1" fmla="*/ 116840 w 320040"/>
                      <a:gd name="connsiteY1" fmla="*/ 243840 h 320040"/>
                      <a:gd name="connsiteX2" fmla="*/ 210820 w 320040"/>
                      <a:gd name="connsiteY2" fmla="*/ 0 h 320040"/>
                      <a:gd name="connsiteX3" fmla="*/ 320040 w 320040"/>
                      <a:gd name="connsiteY3" fmla="*/ 320040 h 320040"/>
                      <a:gd name="connsiteX0" fmla="*/ 0 w 320040"/>
                      <a:gd name="connsiteY0" fmla="*/ 311785 h 558165"/>
                      <a:gd name="connsiteX1" fmla="*/ 116840 w 320040"/>
                      <a:gd name="connsiteY1" fmla="*/ 481965 h 558165"/>
                      <a:gd name="connsiteX2" fmla="*/ 208438 w 320040"/>
                      <a:gd name="connsiteY2" fmla="*/ 0 h 558165"/>
                      <a:gd name="connsiteX3" fmla="*/ 320040 w 320040"/>
                      <a:gd name="connsiteY3" fmla="*/ 558165 h 558165"/>
                      <a:gd name="connsiteX0" fmla="*/ 0 w 310515"/>
                      <a:gd name="connsiteY0" fmla="*/ 309403 h 558165"/>
                      <a:gd name="connsiteX1" fmla="*/ 107315 w 310515"/>
                      <a:gd name="connsiteY1" fmla="*/ 481965 h 558165"/>
                      <a:gd name="connsiteX2" fmla="*/ 198913 w 310515"/>
                      <a:gd name="connsiteY2" fmla="*/ 0 h 558165"/>
                      <a:gd name="connsiteX3" fmla="*/ 310515 w 310515"/>
                      <a:gd name="connsiteY3" fmla="*/ 558165 h 558165"/>
                    </a:gdLst>
                    <a:ahLst/>
                    <a:cxnLst>
                      <a:cxn ang="0">
                        <a:pos x="connsiteX0" y="connsiteY0"/>
                      </a:cxn>
                      <a:cxn ang="0">
                        <a:pos x="connsiteX1" y="connsiteY1"/>
                      </a:cxn>
                      <a:cxn ang="0">
                        <a:pos x="connsiteX2" y="connsiteY2"/>
                      </a:cxn>
                      <a:cxn ang="0">
                        <a:pos x="connsiteX3" y="connsiteY3"/>
                      </a:cxn>
                    </a:cxnLst>
                    <a:rect l="l" t="t" r="r" b="b"/>
                    <a:pathLst>
                      <a:path w="310515" h="558165">
                        <a:moveTo>
                          <a:pt x="0" y="309403"/>
                        </a:moveTo>
                        <a:lnTo>
                          <a:pt x="107315" y="481965"/>
                        </a:lnTo>
                        <a:lnTo>
                          <a:pt x="198913" y="0"/>
                        </a:lnTo>
                        <a:cubicBezTo>
                          <a:pt x="235320" y="106680"/>
                          <a:pt x="274108" y="451485"/>
                          <a:pt x="310515" y="558165"/>
                        </a:cubicBezTo>
                      </a:path>
                    </a:pathLst>
                  </a:custGeom>
                  <a:no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526" name="Oval 525">
                    <a:extLst>
                      <a:ext uri="{FF2B5EF4-FFF2-40B4-BE49-F238E27FC236}">
                        <a16:creationId xmlns:a16="http://schemas.microsoft.com/office/drawing/2014/main" id="{B17DC523-C493-4F28-8FE6-6DA5C1BB9F64}"/>
                      </a:ext>
                    </a:extLst>
                  </p:cNvPr>
                  <p:cNvSpPr/>
                  <p:nvPr/>
                </p:nvSpPr>
                <p:spPr>
                  <a:xfrm>
                    <a:off x="5909747" y="4856056"/>
                    <a:ext cx="45720" cy="4572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7" name="Oval 526">
                    <a:extLst>
                      <a:ext uri="{FF2B5EF4-FFF2-40B4-BE49-F238E27FC236}">
                        <a16:creationId xmlns:a16="http://schemas.microsoft.com/office/drawing/2014/main" id="{99DA97F3-82BF-480F-9392-0CF1F655C980}"/>
                      </a:ext>
                    </a:extLst>
                  </p:cNvPr>
                  <p:cNvSpPr/>
                  <p:nvPr/>
                </p:nvSpPr>
                <p:spPr>
                  <a:xfrm>
                    <a:off x="6110407" y="4528643"/>
                    <a:ext cx="45720" cy="45720"/>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511" name="Group 510">
                  <a:extLst>
                    <a:ext uri="{FF2B5EF4-FFF2-40B4-BE49-F238E27FC236}">
                      <a16:creationId xmlns:a16="http://schemas.microsoft.com/office/drawing/2014/main" id="{0C181EA0-B7BC-4C55-975D-F395F9CB1BFD}"/>
                    </a:ext>
                  </a:extLst>
                </p:cNvPr>
                <p:cNvGrpSpPr/>
                <p:nvPr/>
              </p:nvGrpSpPr>
              <p:grpSpPr>
                <a:xfrm>
                  <a:off x="6586632" y="4693330"/>
                  <a:ext cx="382413" cy="630510"/>
                  <a:chOff x="6578600" y="4693330"/>
                  <a:chExt cx="382413" cy="630510"/>
                </a:xfrm>
              </p:grpSpPr>
              <p:grpSp>
                <p:nvGrpSpPr>
                  <p:cNvPr id="512" name="Group 511">
                    <a:extLst>
                      <a:ext uri="{FF2B5EF4-FFF2-40B4-BE49-F238E27FC236}">
                        <a16:creationId xmlns:a16="http://schemas.microsoft.com/office/drawing/2014/main" id="{29DED09E-4C9E-492D-B90E-F9705A8C8B97}"/>
                      </a:ext>
                    </a:extLst>
                  </p:cNvPr>
                  <p:cNvGrpSpPr/>
                  <p:nvPr/>
                </p:nvGrpSpPr>
                <p:grpSpPr>
                  <a:xfrm>
                    <a:off x="6578600" y="4752774"/>
                    <a:ext cx="382413" cy="571066"/>
                    <a:chOff x="5196840" y="4752774"/>
                    <a:chExt cx="382413" cy="571066"/>
                  </a:xfrm>
                </p:grpSpPr>
                <p:sp>
                  <p:nvSpPr>
                    <p:cNvPr id="518" name="Rectangle 517">
                      <a:extLst>
                        <a:ext uri="{FF2B5EF4-FFF2-40B4-BE49-F238E27FC236}">
                          <a16:creationId xmlns:a16="http://schemas.microsoft.com/office/drawing/2014/main" id="{BE3E013C-DEF7-4FED-8694-2E3B147B9C25}"/>
                        </a:ext>
                      </a:extLst>
                    </p:cNvPr>
                    <p:cNvSpPr/>
                    <p:nvPr/>
                  </p:nvSpPr>
                  <p:spPr>
                    <a:xfrm>
                      <a:off x="5196840" y="5010150"/>
                      <a:ext cx="71936" cy="31369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19" name="Rectangle 518">
                      <a:extLst>
                        <a:ext uri="{FF2B5EF4-FFF2-40B4-BE49-F238E27FC236}">
                          <a16:creationId xmlns:a16="http://schemas.microsoft.com/office/drawing/2014/main" id="{B81822A4-B862-4F10-BB5A-FDF9263397A3}"/>
                        </a:ext>
                      </a:extLst>
                    </p:cNvPr>
                    <p:cNvSpPr/>
                    <p:nvPr/>
                  </p:nvSpPr>
                  <p:spPr>
                    <a:xfrm>
                      <a:off x="5297830" y="5200650"/>
                      <a:ext cx="74438" cy="12318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0" name="Rectangle 519">
                      <a:extLst>
                        <a:ext uri="{FF2B5EF4-FFF2-40B4-BE49-F238E27FC236}">
                          <a16:creationId xmlns:a16="http://schemas.microsoft.com/office/drawing/2014/main" id="{25D1A003-B3AB-4C7C-9789-0015AB5D9AAD}"/>
                        </a:ext>
                      </a:extLst>
                    </p:cNvPr>
                    <p:cNvSpPr/>
                    <p:nvPr/>
                  </p:nvSpPr>
                  <p:spPr>
                    <a:xfrm>
                      <a:off x="5401322" y="4752774"/>
                      <a:ext cx="74438" cy="57106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1" name="Rectangle 520">
                      <a:extLst>
                        <a:ext uri="{FF2B5EF4-FFF2-40B4-BE49-F238E27FC236}">
                          <a16:creationId xmlns:a16="http://schemas.microsoft.com/office/drawing/2014/main" id="{D153CC27-4A48-4066-B7B3-535F6194B8C3}"/>
                        </a:ext>
                      </a:extLst>
                    </p:cNvPr>
                    <p:cNvSpPr/>
                    <p:nvPr/>
                  </p:nvSpPr>
                  <p:spPr>
                    <a:xfrm>
                      <a:off x="5504815" y="5017770"/>
                      <a:ext cx="74438" cy="30606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sp>
                <p:nvSpPr>
                  <p:cNvPr id="513" name="Oval 512">
                    <a:extLst>
                      <a:ext uri="{FF2B5EF4-FFF2-40B4-BE49-F238E27FC236}">
                        <a16:creationId xmlns:a16="http://schemas.microsoft.com/office/drawing/2014/main" id="{21144121-0D62-4388-B9A5-0329477B98C0}"/>
                      </a:ext>
                    </a:extLst>
                  </p:cNvPr>
                  <p:cNvSpPr/>
                  <p:nvPr/>
                </p:nvSpPr>
                <p:spPr>
                  <a:xfrm>
                    <a:off x="6587927" y="4952576"/>
                    <a:ext cx="45720" cy="4572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14" name="Oval 513">
                    <a:extLst>
                      <a:ext uri="{FF2B5EF4-FFF2-40B4-BE49-F238E27FC236}">
                        <a16:creationId xmlns:a16="http://schemas.microsoft.com/office/drawing/2014/main" id="{96125438-A7E1-43A7-AC30-54E92500FE91}"/>
                      </a:ext>
                    </a:extLst>
                  </p:cNvPr>
                  <p:cNvSpPr/>
                  <p:nvPr/>
                </p:nvSpPr>
                <p:spPr>
                  <a:xfrm>
                    <a:off x="6689527" y="5143076"/>
                    <a:ext cx="45720" cy="4572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15" name="Oval 514">
                    <a:extLst>
                      <a:ext uri="{FF2B5EF4-FFF2-40B4-BE49-F238E27FC236}">
                        <a16:creationId xmlns:a16="http://schemas.microsoft.com/office/drawing/2014/main" id="{03C20D70-21C7-49AD-B27F-263663965DD6}"/>
                      </a:ext>
                    </a:extLst>
                  </p:cNvPr>
                  <p:cNvSpPr/>
                  <p:nvPr/>
                </p:nvSpPr>
                <p:spPr>
                  <a:xfrm>
                    <a:off x="6797945" y="4693330"/>
                    <a:ext cx="45720" cy="45720"/>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16" name="Freeform: Shape 515">
                    <a:extLst>
                      <a:ext uri="{FF2B5EF4-FFF2-40B4-BE49-F238E27FC236}">
                        <a16:creationId xmlns:a16="http://schemas.microsoft.com/office/drawing/2014/main" id="{E59B3457-0DA7-44FB-A132-2E4CA562AD13}"/>
                      </a:ext>
                    </a:extLst>
                  </p:cNvPr>
                  <p:cNvSpPr/>
                  <p:nvPr/>
                </p:nvSpPr>
                <p:spPr>
                  <a:xfrm>
                    <a:off x="6614160" y="4717216"/>
                    <a:ext cx="302260" cy="449144"/>
                  </a:xfrm>
                  <a:custGeom>
                    <a:avLst/>
                    <a:gdLst>
                      <a:gd name="connsiteX0" fmla="*/ 0 w 302260"/>
                      <a:gd name="connsiteY0" fmla="*/ 53340 h 243840"/>
                      <a:gd name="connsiteX1" fmla="*/ 101600 w 302260"/>
                      <a:gd name="connsiteY1" fmla="*/ 243840 h 243840"/>
                      <a:gd name="connsiteX2" fmla="*/ 200660 w 302260"/>
                      <a:gd name="connsiteY2" fmla="*/ 0 h 243840"/>
                      <a:gd name="connsiteX3" fmla="*/ 302260 w 302260"/>
                      <a:gd name="connsiteY3" fmla="*/ 66040 h 243840"/>
                      <a:gd name="connsiteX0" fmla="*/ 0 w 302260"/>
                      <a:gd name="connsiteY0" fmla="*/ 272415 h 462915"/>
                      <a:gd name="connsiteX1" fmla="*/ 101600 w 302260"/>
                      <a:gd name="connsiteY1" fmla="*/ 462915 h 462915"/>
                      <a:gd name="connsiteX2" fmla="*/ 203041 w 302260"/>
                      <a:gd name="connsiteY2" fmla="*/ 0 h 462915"/>
                      <a:gd name="connsiteX3" fmla="*/ 302260 w 302260"/>
                      <a:gd name="connsiteY3" fmla="*/ 285115 h 462915"/>
                      <a:gd name="connsiteX0" fmla="*/ 0 w 302260"/>
                      <a:gd name="connsiteY0" fmla="*/ 272415 h 462915"/>
                      <a:gd name="connsiteX1" fmla="*/ 101600 w 302260"/>
                      <a:gd name="connsiteY1" fmla="*/ 462915 h 462915"/>
                      <a:gd name="connsiteX2" fmla="*/ 203041 w 302260"/>
                      <a:gd name="connsiteY2" fmla="*/ 0 h 462915"/>
                      <a:gd name="connsiteX3" fmla="*/ 302260 w 302260"/>
                      <a:gd name="connsiteY3" fmla="*/ 285115 h 462915"/>
                      <a:gd name="connsiteX0" fmla="*/ 0 w 302260"/>
                      <a:gd name="connsiteY0" fmla="*/ 272415 h 462915"/>
                      <a:gd name="connsiteX1" fmla="*/ 101600 w 302260"/>
                      <a:gd name="connsiteY1" fmla="*/ 462915 h 462915"/>
                      <a:gd name="connsiteX2" fmla="*/ 203041 w 302260"/>
                      <a:gd name="connsiteY2" fmla="*/ 0 h 462915"/>
                      <a:gd name="connsiteX3" fmla="*/ 302260 w 302260"/>
                      <a:gd name="connsiteY3" fmla="*/ 285115 h 462915"/>
                      <a:gd name="connsiteX0" fmla="*/ 0 w 302260"/>
                      <a:gd name="connsiteY0" fmla="*/ 272415 h 462915"/>
                      <a:gd name="connsiteX1" fmla="*/ 101600 w 302260"/>
                      <a:gd name="connsiteY1" fmla="*/ 462915 h 462915"/>
                      <a:gd name="connsiteX2" fmla="*/ 203041 w 302260"/>
                      <a:gd name="connsiteY2" fmla="*/ 0 h 462915"/>
                      <a:gd name="connsiteX3" fmla="*/ 302260 w 302260"/>
                      <a:gd name="connsiteY3" fmla="*/ 285115 h 462915"/>
                      <a:gd name="connsiteX0" fmla="*/ 0 w 302260"/>
                      <a:gd name="connsiteY0" fmla="*/ 258644 h 449144"/>
                      <a:gd name="connsiteX1" fmla="*/ 101600 w 302260"/>
                      <a:gd name="connsiteY1" fmla="*/ 449144 h 449144"/>
                      <a:gd name="connsiteX2" fmla="*/ 205796 w 302260"/>
                      <a:gd name="connsiteY2" fmla="*/ 0 h 449144"/>
                      <a:gd name="connsiteX3" fmla="*/ 302260 w 302260"/>
                      <a:gd name="connsiteY3" fmla="*/ 271344 h 449144"/>
                    </a:gdLst>
                    <a:ahLst/>
                    <a:cxnLst>
                      <a:cxn ang="0">
                        <a:pos x="connsiteX0" y="connsiteY0"/>
                      </a:cxn>
                      <a:cxn ang="0">
                        <a:pos x="connsiteX1" y="connsiteY1"/>
                      </a:cxn>
                      <a:cxn ang="0">
                        <a:pos x="connsiteX2" y="connsiteY2"/>
                      </a:cxn>
                      <a:cxn ang="0">
                        <a:pos x="connsiteX3" y="connsiteY3"/>
                      </a:cxn>
                    </a:cxnLst>
                    <a:rect l="l" t="t" r="r" b="b"/>
                    <a:pathLst>
                      <a:path w="302260" h="449144">
                        <a:moveTo>
                          <a:pt x="0" y="258644"/>
                        </a:moveTo>
                        <a:lnTo>
                          <a:pt x="101600" y="449144"/>
                        </a:lnTo>
                        <a:lnTo>
                          <a:pt x="205796" y="0"/>
                        </a:lnTo>
                        <a:cubicBezTo>
                          <a:pt x="234900" y="72019"/>
                          <a:pt x="266011" y="170750"/>
                          <a:pt x="302260" y="271344"/>
                        </a:cubicBezTo>
                      </a:path>
                    </a:pathLst>
                  </a:custGeom>
                  <a:no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517" name="Oval 516">
                    <a:extLst>
                      <a:ext uri="{FF2B5EF4-FFF2-40B4-BE49-F238E27FC236}">
                        <a16:creationId xmlns:a16="http://schemas.microsoft.com/office/drawing/2014/main" id="{3BAAF7FE-35FD-4D81-84B0-C3065A04EF23}"/>
                      </a:ext>
                    </a:extLst>
                  </p:cNvPr>
                  <p:cNvSpPr/>
                  <p:nvPr/>
                </p:nvSpPr>
                <p:spPr>
                  <a:xfrm>
                    <a:off x="6897807" y="4965276"/>
                    <a:ext cx="45720" cy="4572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grpSp>
            <p:nvGrpSpPr>
              <p:cNvPr id="562" name="Group 561">
                <a:extLst>
                  <a:ext uri="{FF2B5EF4-FFF2-40B4-BE49-F238E27FC236}">
                    <a16:creationId xmlns:a16="http://schemas.microsoft.com/office/drawing/2014/main" id="{345D31AF-37CF-4880-A1FE-FAA4E9F12E5A}"/>
                  </a:ext>
                </a:extLst>
              </p:cNvPr>
              <p:cNvGrpSpPr/>
              <p:nvPr/>
            </p:nvGrpSpPr>
            <p:grpSpPr>
              <a:xfrm rot="18540058">
                <a:off x="2893246" y="3293832"/>
                <a:ext cx="721601" cy="1261448"/>
                <a:chOff x="4236570" y="5476541"/>
                <a:chExt cx="487379" cy="852000"/>
              </a:xfrm>
            </p:grpSpPr>
            <p:sp>
              <p:nvSpPr>
                <p:cNvPr id="563" name="Oval 562">
                  <a:extLst>
                    <a:ext uri="{FF2B5EF4-FFF2-40B4-BE49-F238E27FC236}">
                      <a16:creationId xmlns:a16="http://schemas.microsoft.com/office/drawing/2014/main" id="{6241D10C-2624-4591-A4C5-CE80207492DC}"/>
                    </a:ext>
                  </a:extLst>
                </p:cNvPr>
                <p:cNvSpPr/>
                <p:nvPr/>
              </p:nvSpPr>
              <p:spPr>
                <a:xfrm>
                  <a:off x="4261668" y="5501640"/>
                  <a:ext cx="437182" cy="437180"/>
                </a:xfrm>
                <a:prstGeom prst="ellipse">
                  <a:avLst/>
                </a:prstGeom>
                <a:solidFill>
                  <a:schemeClr val="bg2">
                    <a:alpha val="6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564" name="Circle: Hollow 563">
                  <a:extLst>
                    <a:ext uri="{FF2B5EF4-FFF2-40B4-BE49-F238E27FC236}">
                      <a16:creationId xmlns:a16="http://schemas.microsoft.com/office/drawing/2014/main" id="{0827C0ED-BB7A-44CC-A56F-F1E08432417B}"/>
                    </a:ext>
                  </a:extLst>
                </p:cNvPr>
                <p:cNvSpPr/>
                <p:nvPr/>
              </p:nvSpPr>
              <p:spPr>
                <a:xfrm>
                  <a:off x="4236570" y="5476541"/>
                  <a:ext cx="487379" cy="487379"/>
                </a:xfrm>
                <a:prstGeom prst="donut">
                  <a:avLst>
                    <a:gd name="adj" fmla="val 14623"/>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565" name="Rectangle: Rounded Corners 564">
                  <a:extLst>
                    <a:ext uri="{FF2B5EF4-FFF2-40B4-BE49-F238E27FC236}">
                      <a16:creationId xmlns:a16="http://schemas.microsoft.com/office/drawing/2014/main" id="{2003CF06-2F79-4B40-8E70-8C0D31D0B0E2}"/>
                    </a:ext>
                  </a:extLst>
                </p:cNvPr>
                <p:cNvSpPr/>
                <p:nvPr/>
              </p:nvSpPr>
              <p:spPr>
                <a:xfrm>
                  <a:off x="4441205" y="5938520"/>
                  <a:ext cx="78108" cy="26924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66" name="Rectangle: Rounded Corners 565">
                  <a:extLst>
                    <a:ext uri="{FF2B5EF4-FFF2-40B4-BE49-F238E27FC236}">
                      <a16:creationId xmlns:a16="http://schemas.microsoft.com/office/drawing/2014/main" id="{ED68DD09-99A3-4F7F-B87D-18DBFF0623E7}"/>
                    </a:ext>
                  </a:extLst>
                </p:cNvPr>
                <p:cNvSpPr/>
                <p:nvPr/>
              </p:nvSpPr>
              <p:spPr>
                <a:xfrm>
                  <a:off x="4431076" y="6015821"/>
                  <a:ext cx="113082" cy="312720"/>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569" name="Group 568">
                <a:extLst>
                  <a:ext uri="{FF2B5EF4-FFF2-40B4-BE49-F238E27FC236}">
                    <a16:creationId xmlns:a16="http://schemas.microsoft.com/office/drawing/2014/main" id="{8859038D-F015-4ADE-8E3D-093DC3A57FDC}"/>
                  </a:ext>
                </a:extLst>
              </p:cNvPr>
              <p:cNvGrpSpPr/>
              <p:nvPr/>
            </p:nvGrpSpPr>
            <p:grpSpPr>
              <a:xfrm>
                <a:off x="2517014" y="4677317"/>
                <a:ext cx="444505" cy="383871"/>
                <a:chOff x="3859466" y="1735167"/>
                <a:chExt cx="1421332" cy="1227452"/>
              </a:xfrm>
            </p:grpSpPr>
            <p:sp>
              <p:nvSpPr>
                <p:cNvPr id="570" name="Freeform 45">
                  <a:extLst>
                    <a:ext uri="{FF2B5EF4-FFF2-40B4-BE49-F238E27FC236}">
                      <a16:creationId xmlns:a16="http://schemas.microsoft.com/office/drawing/2014/main" id="{7462A63C-9276-4681-AA8B-0388C93D5266}"/>
                    </a:ext>
                  </a:extLst>
                </p:cNvPr>
                <p:cNvSpPr>
                  <a:spLocks/>
                </p:cNvSpPr>
                <p:nvPr/>
              </p:nvSpPr>
              <p:spPr bwMode="auto">
                <a:xfrm>
                  <a:off x="3859466" y="1735167"/>
                  <a:ext cx="1421332" cy="1227452"/>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BAB18">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571" name="Oval 47">
                  <a:extLst>
                    <a:ext uri="{FF2B5EF4-FFF2-40B4-BE49-F238E27FC236}">
                      <a16:creationId xmlns:a16="http://schemas.microsoft.com/office/drawing/2014/main" id="{EE7F2C09-37D8-423F-97A4-32311A63E4B5}"/>
                    </a:ext>
                  </a:extLst>
                </p:cNvPr>
                <p:cNvSpPr>
                  <a:spLocks noChangeArrowheads="1"/>
                </p:cNvSpPr>
                <p:nvPr/>
              </p:nvSpPr>
              <p:spPr bwMode="auto">
                <a:xfrm>
                  <a:off x="4270691" y="2210574"/>
                  <a:ext cx="608240" cy="6082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572" name="Freeform 46">
                  <a:extLst>
                    <a:ext uri="{FF2B5EF4-FFF2-40B4-BE49-F238E27FC236}">
                      <a16:creationId xmlns:a16="http://schemas.microsoft.com/office/drawing/2014/main" id="{A92C0BB4-59E1-49FD-B9AF-C088E67D697B}"/>
                    </a:ext>
                  </a:extLst>
                </p:cNvPr>
                <p:cNvSpPr>
                  <a:spLocks noEditPoints="1"/>
                </p:cNvSpPr>
                <p:nvPr/>
              </p:nvSpPr>
              <p:spPr bwMode="auto">
                <a:xfrm>
                  <a:off x="4239201" y="2181756"/>
                  <a:ext cx="671221" cy="665873"/>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573" name="Freeform 48">
                  <a:extLst>
                    <a:ext uri="{FF2B5EF4-FFF2-40B4-BE49-F238E27FC236}">
                      <a16:creationId xmlns:a16="http://schemas.microsoft.com/office/drawing/2014/main" id="{3DD08D08-8B19-4114-9125-9F1CAD967208}"/>
                    </a:ext>
                  </a:extLst>
                </p:cNvPr>
                <p:cNvSpPr>
                  <a:spLocks/>
                </p:cNvSpPr>
                <p:nvPr/>
              </p:nvSpPr>
              <p:spPr bwMode="auto">
                <a:xfrm>
                  <a:off x="4538210" y="2306403"/>
                  <a:ext cx="63845" cy="276594"/>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574" name="Oval 49">
                  <a:extLst>
                    <a:ext uri="{FF2B5EF4-FFF2-40B4-BE49-F238E27FC236}">
                      <a16:creationId xmlns:a16="http://schemas.microsoft.com/office/drawing/2014/main" id="{DDEBA0D6-C40F-4D27-991D-EC032A701296}"/>
                    </a:ext>
                  </a:extLst>
                </p:cNvPr>
                <p:cNvSpPr>
                  <a:spLocks noChangeArrowheads="1"/>
                </p:cNvSpPr>
                <p:nvPr/>
              </p:nvSpPr>
              <p:spPr bwMode="auto">
                <a:xfrm>
                  <a:off x="4535199" y="2633285"/>
                  <a:ext cx="66855" cy="65518"/>
                </a:xfrm>
                <a:prstGeom prst="ellipse">
                  <a:avLst/>
                </a:pr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575" name="Group 574">
                <a:extLst>
                  <a:ext uri="{FF2B5EF4-FFF2-40B4-BE49-F238E27FC236}">
                    <a16:creationId xmlns:a16="http://schemas.microsoft.com/office/drawing/2014/main" id="{6F10F60E-F03F-49CB-A843-56883CB49E53}"/>
                  </a:ext>
                </a:extLst>
              </p:cNvPr>
              <p:cNvGrpSpPr/>
              <p:nvPr/>
            </p:nvGrpSpPr>
            <p:grpSpPr>
              <a:xfrm>
                <a:off x="3190042" y="4677317"/>
                <a:ext cx="444505" cy="383871"/>
                <a:chOff x="3859466" y="1735167"/>
                <a:chExt cx="1421332" cy="1227452"/>
              </a:xfrm>
            </p:grpSpPr>
            <p:sp>
              <p:nvSpPr>
                <p:cNvPr id="576" name="Freeform 45">
                  <a:extLst>
                    <a:ext uri="{FF2B5EF4-FFF2-40B4-BE49-F238E27FC236}">
                      <a16:creationId xmlns:a16="http://schemas.microsoft.com/office/drawing/2014/main" id="{556C87E4-C1AA-4BA5-B0A8-F384611D1468}"/>
                    </a:ext>
                  </a:extLst>
                </p:cNvPr>
                <p:cNvSpPr>
                  <a:spLocks/>
                </p:cNvSpPr>
                <p:nvPr/>
              </p:nvSpPr>
              <p:spPr bwMode="auto">
                <a:xfrm>
                  <a:off x="3859466" y="1735167"/>
                  <a:ext cx="1421332" cy="1227452"/>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BAB18">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577" name="Oval 47">
                  <a:extLst>
                    <a:ext uri="{FF2B5EF4-FFF2-40B4-BE49-F238E27FC236}">
                      <a16:creationId xmlns:a16="http://schemas.microsoft.com/office/drawing/2014/main" id="{90FEB56F-C79B-4B74-8E98-426B5F3675CC}"/>
                    </a:ext>
                  </a:extLst>
                </p:cNvPr>
                <p:cNvSpPr>
                  <a:spLocks noChangeArrowheads="1"/>
                </p:cNvSpPr>
                <p:nvPr/>
              </p:nvSpPr>
              <p:spPr bwMode="auto">
                <a:xfrm>
                  <a:off x="4270691" y="2210574"/>
                  <a:ext cx="608240" cy="6082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578" name="Freeform 46">
                  <a:extLst>
                    <a:ext uri="{FF2B5EF4-FFF2-40B4-BE49-F238E27FC236}">
                      <a16:creationId xmlns:a16="http://schemas.microsoft.com/office/drawing/2014/main" id="{FBD938C5-CD47-4B1E-9743-52E539C03FAF}"/>
                    </a:ext>
                  </a:extLst>
                </p:cNvPr>
                <p:cNvSpPr>
                  <a:spLocks noEditPoints="1"/>
                </p:cNvSpPr>
                <p:nvPr/>
              </p:nvSpPr>
              <p:spPr bwMode="auto">
                <a:xfrm>
                  <a:off x="4239201" y="2181756"/>
                  <a:ext cx="671221" cy="665873"/>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579" name="Freeform 48">
                  <a:extLst>
                    <a:ext uri="{FF2B5EF4-FFF2-40B4-BE49-F238E27FC236}">
                      <a16:creationId xmlns:a16="http://schemas.microsoft.com/office/drawing/2014/main" id="{7721EEE0-C3F6-4218-A20F-683E13D49DC0}"/>
                    </a:ext>
                  </a:extLst>
                </p:cNvPr>
                <p:cNvSpPr>
                  <a:spLocks/>
                </p:cNvSpPr>
                <p:nvPr/>
              </p:nvSpPr>
              <p:spPr bwMode="auto">
                <a:xfrm>
                  <a:off x="4538210" y="2306403"/>
                  <a:ext cx="63845" cy="276594"/>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580" name="Oval 49">
                  <a:extLst>
                    <a:ext uri="{FF2B5EF4-FFF2-40B4-BE49-F238E27FC236}">
                      <a16:creationId xmlns:a16="http://schemas.microsoft.com/office/drawing/2014/main" id="{DEE3E5C5-E4BF-4F5C-AF04-7A5B29617CF6}"/>
                    </a:ext>
                  </a:extLst>
                </p:cNvPr>
                <p:cNvSpPr>
                  <a:spLocks noChangeArrowheads="1"/>
                </p:cNvSpPr>
                <p:nvPr/>
              </p:nvSpPr>
              <p:spPr bwMode="auto">
                <a:xfrm>
                  <a:off x="4535199" y="2633285"/>
                  <a:ext cx="66855" cy="65518"/>
                </a:xfrm>
                <a:prstGeom prst="ellipse">
                  <a:avLst/>
                </a:pr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581" name="Group 580">
                <a:extLst>
                  <a:ext uri="{FF2B5EF4-FFF2-40B4-BE49-F238E27FC236}">
                    <a16:creationId xmlns:a16="http://schemas.microsoft.com/office/drawing/2014/main" id="{9ACD4216-FECB-49DC-A32B-671D05997315}"/>
                  </a:ext>
                </a:extLst>
              </p:cNvPr>
              <p:cNvGrpSpPr/>
              <p:nvPr/>
            </p:nvGrpSpPr>
            <p:grpSpPr>
              <a:xfrm>
                <a:off x="2788858" y="4624771"/>
                <a:ext cx="566196" cy="488963"/>
                <a:chOff x="3859466" y="1735167"/>
                <a:chExt cx="1421332" cy="1227452"/>
              </a:xfrm>
            </p:grpSpPr>
            <p:sp>
              <p:nvSpPr>
                <p:cNvPr id="582" name="Freeform 45">
                  <a:extLst>
                    <a:ext uri="{FF2B5EF4-FFF2-40B4-BE49-F238E27FC236}">
                      <a16:creationId xmlns:a16="http://schemas.microsoft.com/office/drawing/2014/main" id="{EB6CDD53-6BC5-4E69-A396-D7D8F8899C99}"/>
                    </a:ext>
                  </a:extLst>
                </p:cNvPr>
                <p:cNvSpPr>
                  <a:spLocks/>
                </p:cNvSpPr>
                <p:nvPr/>
              </p:nvSpPr>
              <p:spPr bwMode="auto">
                <a:xfrm>
                  <a:off x="3859466" y="1735167"/>
                  <a:ext cx="1421332" cy="1227452"/>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AAC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583" name="Oval 47">
                  <a:extLst>
                    <a:ext uri="{FF2B5EF4-FFF2-40B4-BE49-F238E27FC236}">
                      <a16:creationId xmlns:a16="http://schemas.microsoft.com/office/drawing/2014/main" id="{CDB20DCD-45EF-4EE0-AFA3-864B80393DB8}"/>
                    </a:ext>
                  </a:extLst>
                </p:cNvPr>
                <p:cNvSpPr>
                  <a:spLocks noChangeArrowheads="1"/>
                </p:cNvSpPr>
                <p:nvPr/>
              </p:nvSpPr>
              <p:spPr bwMode="auto">
                <a:xfrm>
                  <a:off x="4270691" y="2210574"/>
                  <a:ext cx="608240" cy="6082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584" name="Freeform 46">
                  <a:extLst>
                    <a:ext uri="{FF2B5EF4-FFF2-40B4-BE49-F238E27FC236}">
                      <a16:creationId xmlns:a16="http://schemas.microsoft.com/office/drawing/2014/main" id="{4261C0D1-3076-443E-9FCD-FAA49E0EECFD}"/>
                    </a:ext>
                  </a:extLst>
                </p:cNvPr>
                <p:cNvSpPr>
                  <a:spLocks noEditPoints="1"/>
                </p:cNvSpPr>
                <p:nvPr/>
              </p:nvSpPr>
              <p:spPr bwMode="auto">
                <a:xfrm>
                  <a:off x="4239201" y="2181756"/>
                  <a:ext cx="671221" cy="665873"/>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585" name="Freeform 48">
                  <a:extLst>
                    <a:ext uri="{FF2B5EF4-FFF2-40B4-BE49-F238E27FC236}">
                      <a16:creationId xmlns:a16="http://schemas.microsoft.com/office/drawing/2014/main" id="{1001906C-C559-483D-8516-241BF2CD4370}"/>
                    </a:ext>
                  </a:extLst>
                </p:cNvPr>
                <p:cNvSpPr>
                  <a:spLocks/>
                </p:cNvSpPr>
                <p:nvPr/>
              </p:nvSpPr>
              <p:spPr bwMode="auto">
                <a:xfrm>
                  <a:off x="4538211" y="2309778"/>
                  <a:ext cx="63845" cy="276602"/>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586" name="Oval 49">
                  <a:extLst>
                    <a:ext uri="{FF2B5EF4-FFF2-40B4-BE49-F238E27FC236}">
                      <a16:creationId xmlns:a16="http://schemas.microsoft.com/office/drawing/2014/main" id="{9A84424A-5E10-44ED-8A64-C79370A9D85F}"/>
                    </a:ext>
                  </a:extLst>
                </p:cNvPr>
                <p:cNvSpPr>
                  <a:spLocks noChangeArrowheads="1"/>
                </p:cNvSpPr>
                <p:nvPr/>
              </p:nvSpPr>
              <p:spPr bwMode="auto">
                <a:xfrm>
                  <a:off x="4535199" y="2633285"/>
                  <a:ext cx="66855" cy="65518"/>
                </a:xfrm>
                <a:prstGeom prst="ellipse">
                  <a:avLst/>
                </a:pr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706" name="Group 705">
                <a:extLst>
                  <a:ext uri="{FF2B5EF4-FFF2-40B4-BE49-F238E27FC236}">
                    <a16:creationId xmlns:a16="http://schemas.microsoft.com/office/drawing/2014/main" id="{CF3F34B4-7187-4101-B512-D8436AA69496}"/>
                  </a:ext>
                </a:extLst>
              </p:cNvPr>
              <p:cNvGrpSpPr/>
              <p:nvPr/>
            </p:nvGrpSpPr>
            <p:grpSpPr>
              <a:xfrm>
                <a:off x="2287911" y="2601647"/>
                <a:ext cx="1641269" cy="633696"/>
                <a:chOff x="1614624" y="2065058"/>
                <a:chExt cx="1809878" cy="698796"/>
              </a:xfrm>
            </p:grpSpPr>
            <p:grpSp>
              <p:nvGrpSpPr>
                <p:cNvPr id="645" name="Group 644">
                  <a:extLst>
                    <a:ext uri="{FF2B5EF4-FFF2-40B4-BE49-F238E27FC236}">
                      <a16:creationId xmlns:a16="http://schemas.microsoft.com/office/drawing/2014/main" id="{C9799AF0-5E07-4468-9BCA-353AC5109FE0}"/>
                    </a:ext>
                  </a:extLst>
                </p:cNvPr>
                <p:cNvGrpSpPr/>
                <p:nvPr/>
              </p:nvGrpSpPr>
              <p:grpSpPr>
                <a:xfrm>
                  <a:off x="1614624" y="2065058"/>
                  <a:ext cx="1809878" cy="698796"/>
                  <a:chOff x="5227192" y="3594199"/>
                  <a:chExt cx="1809878" cy="698796"/>
                </a:xfrm>
              </p:grpSpPr>
              <p:grpSp>
                <p:nvGrpSpPr>
                  <p:cNvPr id="646" name="Group 645">
                    <a:extLst>
                      <a:ext uri="{FF2B5EF4-FFF2-40B4-BE49-F238E27FC236}">
                        <a16:creationId xmlns:a16="http://schemas.microsoft.com/office/drawing/2014/main" id="{4C19DAB9-6E7D-406A-A3C5-83B429B1B9A8}"/>
                      </a:ext>
                    </a:extLst>
                  </p:cNvPr>
                  <p:cNvGrpSpPr/>
                  <p:nvPr/>
                </p:nvGrpSpPr>
                <p:grpSpPr>
                  <a:xfrm>
                    <a:off x="5357333" y="3594334"/>
                    <a:ext cx="142262" cy="698526"/>
                    <a:chOff x="5066742" y="3685753"/>
                    <a:chExt cx="120310" cy="590741"/>
                  </a:xfrm>
                  <a:solidFill>
                    <a:schemeClr val="tx1">
                      <a:lumMod val="50000"/>
                      <a:lumOff val="50000"/>
                    </a:schemeClr>
                  </a:solidFill>
                </p:grpSpPr>
                <p:sp>
                  <p:nvSpPr>
                    <p:cNvPr id="699" name="Freeform: Shape 698">
                      <a:extLst>
                        <a:ext uri="{FF2B5EF4-FFF2-40B4-BE49-F238E27FC236}">
                          <a16:creationId xmlns:a16="http://schemas.microsoft.com/office/drawing/2014/main" id="{C34EF1FE-B8BA-4720-9572-D5E9BD8E9538}"/>
                        </a:ext>
                      </a:extLst>
                    </p:cNvPr>
                    <p:cNvSpPr/>
                    <p:nvPr/>
                  </p:nvSpPr>
                  <p:spPr>
                    <a:xfrm>
                      <a:off x="5066742" y="3685753"/>
                      <a:ext cx="120310" cy="133678"/>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00" name="Freeform: Shape 699">
                      <a:extLst>
                        <a:ext uri="{FF2B5EF4-FFF2-40B4-BE49-F238E27FC236}">
                          <a16:creationId xmlns:a16="http://schemas.microsoft.com/office/drawing/2014/main" id="{5232A36B-57DD-4D5F-92D9-D339BC10A8F3}"/>
                        </a:ext>
                      </a:extLst>
                    </p:cNvPr>
                    <p:cNvSpPr/>
                    <p:nvPr/>
                  </p:nvSpPr>
                  <p:spPr>
                    <a:xfrm>
                      <a:off x="5089913" y="3838031"/>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1449" y="279030"/>
                            <a:pt x="156686" y="281887"/>
                            <a:pt x="151924" y="282840"/>
                          </a:cubicBezTo>
                          <a:cubicBezTo>
                            <a:pt x="151924" y="282840"/>
                            <a:pt x="150971" y="282840"/>
                            <a:pt x="150971" y="282840"/>
                          </a:cubicBezTo>
                          <a:cubicBezTo>
                            <a:pt x="150971" y="282840"/>
                            <a:pt x="150019" y="282840"/>
                            <a:pt x="150019" y="282840"/>
                          </a:cubicBezTo>
                          <a:cubicBezTo>
                            <a:pt x="150019" y="281887"/>
                            <a:pt x="149066" y="282840"/>
                            <a:pt x="148114" y="282840"/>
                          </a:cubicBezTo>
                          <a:cubicBezTo>
                            <a:pt x="110014" y="282840"/>
                            <a:pt x="71914" y="282840"/>
                            <a:pt x="34766" y="282840"/>
                          </a:cubicBezTo>
                          <a:cubicBezTo>
                            <a:pt x="33814" y="282840"/>
                            <a:pt x="33814" y="282840"/>
                            <a:pt x="32861" y="282840"/>
                          </a:cubicBezTo>
                          <a:cubicBezTo>
                            <a:pt x="31909"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01" name="Freeform: Shape 700">
                      <a:extLst>
                        <a:ext uri="{FF2B5EF4-FFF2-40B4-BE49-F238E27FC236}">
                          <a16:creationId xmlns:a16="http://schemas.microsoft.com/office/drawing/2014/main" id="{A6CE4411-06D7-483F-A743-F9F0EBC17510}"/>
                        </a:ext>
                      </a:extLst>
                    </p:cNvPr>
                    <p:cNvSpPr/>
                    <p:nvPr/>
                  </p:nvSpPr>
                  <p:spPr>
                    <a:xfrm>
                      <a:off x="5066742" y="3990537"/>
                      <a:ext cx="120310" cy="133678"/>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7819"/>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02" name="Freeform: Shape 701">
                      <a:extLst>
                        <a:ext uri="{FF2B5EF4-FFF2-40B4-BE49-F238E27FC236}">
                          <a16:creationId xmlns:a16="http://schemas.microsoft.com/office/drawing/2014/main" id="{3BD0E8E7-1B0A-452C-BDC8-2EF6EB6712FB}"/>
                        </a:ext>
                      </a:extLst>
                    </p:cNvPr>
                    <p:cNvSpPr/>
                    <p:nvPr/>
                  </p:nvSpPr>
                  <p:spPr>
                    <a:xfrm>
                      <a:off x="5089913" y="4142816"/>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647" name="Group 646">
                    <a:extLst>
                      <a:ext uri="{FF2B5EF4-FFF2-40B4-BE49-F238E27FC236}">
                        <a16:creationId xmlns:a16="http://schemas.microsoft.com/office/drawing/2014/main" id="{AE9C80E2-7546-44A7-8644-90858864F3D6}"/>
                      </a:ext>
                    </a:extLst>
                  </p:cNvPr>
                  <p:cNvGrpSpPr/>
                  <p:nvPr/>
                </p:nvGrpSpPr>
                <p:grpSpPr>
                  <a:xfrm>
                    <a:off x="5504338" y="3594200"/>
                    <a:ext cx="100109" cy="518464"/>
                    <a:chOff x="5191063" y="3685639"/>
                    <a:chExt cx="84662" cy="438463"/>
                  </a:xfrm>
                  <a:solidFill>
                    <a:schemeClr val="tx1">
                      <a:lumMod val="50000"/>
                      <a:lumOff val="50000"/>
                    </a:schemeClr>
                  </a:solidFill>
                </p:grpSpPr>
                <p:sp>
                  <p:nvSpPr>
                    <p:cNvPr id="696" name="Freeform: Shape 695">
                      <a:extLst>
                        <a:ext uri="{FF2B5EF4-FFF2-40B4-BE49-F238E27FC236}">
                          <a16:creationId xmlns:a16="http://schemas.microsoft.com/office/drawing/2014/main" id="{3C28612C-6835-4C88-AC12-813B5610C7D0}"/>
                        </a:ext>
                      </a:extLst>
                    </p:cNvPr>
                    <p:cNvSpPr/>
                    <p:nvPr/>
                  </p:nvSpPr>
                  <p:spPr>
                    <a:xfrm>
                      <a:off x="5191063" y="3685639"/>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97" name="Freeform: Shape 696">
                      <a:extLst>
                        <a:ext uri="{FF2B5EF4-FFF2-40B4-BE49-F238E27FC236}">
                          <a16:creationId xmlns:a16="http://schemas.microsoft.com/office/drawing/2014/main" id="{C3D2F3BF-8810-46A2-9942-27A2B943B712}"/>
                        </a:ext>
                      </a:extLst>
                    </p:cNvPr>
                    <p:cNvSpPr/>
                    <p:nvPr/>
                  </p:nvSpPr>
                  <p:spPr>
                    <a:xfrm>
                      <a:off x="5191063" y="3838031"/>
                      <a:ext cx="84662" cy="133678"/>
                    </a:xfrm>
                    <a:custGeom>
                      <a:avLst/>
                      <a:gdLst/>
                      <a:ahLst/>
                      <a:cxnLst/>
                      <a:rect l="0" t="0" r="0" b="0"/>
                      <a:pathLst>
                        <a:path w="180975" h="285750">
                          <a:moveTo>
                            <a:pt x="30956" y="282840"/>
                          </a:moveTo>
                          <a:cubicBezTo>
                            <a:pt x="30956"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98" name="Freeform: Shape 697">
                      <a:extLst>
                        <a:ext uri="{FF2B5EF4-FFF2-40B4-BE49-F238E27FC236}">
                          <a16:creationId xmlns:a16="http://schemas.microsoft.com/office/drawing/2014/main" id="{18F52949-63D8-43FA-B07D-6BAEE714980E}"/>
                        </a:ext>
                      </a:extLst>
                    </p:cNvPr>
                    <p:cNvSpPr/>
                    <p:nvPr/>
                  </p:nvSpPr>
                  <p:spPr>
                    <a:xfrm>
                      <a:off x="5191063" y="3990424"/>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648" name="Group 647">
                    <a:extLst>
                      <a:ext uri="{FF2B5EF4-FFF2-40B4-BE49-F238E27FC236}">
                        <a16:creationId xmlns:a16="http://schemas.microsoft.com/office/drawing/2014/main" id="{28581E96-994A-42DE-AA62-B7D72CDF264E}"/>
                      </a:ext>
                    </a:extLst>
                  </p:cNvPr>
                  <p:cNvGrpSpPr/>
                  <p:nvPr/>
                </p:nvGrpSpPr>
                <p:grpSpPr>
                  <a:xfrm>
                    <a:off x="5629738" y="3594199"/>
                    <a:ext cx="100109" cy="698661"/>
                    <a:chOff x="5297113" y="3685639"/>
                    <a:chExt cx="84662" cy="590855"/>
                  </a:xfrm>
                  <a:solidFill>
                    <a:schemeClr val="tx1">
                      <a:lumMod val="50000"/>
                      <a:lumOff val="50000"/>
                    </a:schemeClr>
                  </a:solidFill>
                </p:grpSpPr>
                <p:sp>
                  <p:nvSpPr>
                    <p:cNvPr id="692" name="Freeform: Shape 691">
                      <a:extLst>
                        <a:ext uri="{FF2B5EF4-FFF2-40B4-BE49-F238E27FC236}">
                          <a16:creationId xmlns:a16="http://schemas.microsoft.com/office/drawing/2014/main" id="{803EAFCE-A02C-435A-9539-94C490F9682F}"/>
                        </a:ext>
                      </a:extLst>
                    </p:cNvPr>
                    <p:cNvSpPr/>
                    <p:nvPr/>
                  </p:nvSpPr>
                  <p:spPr>
                    <a:xfrm>
                      <a:off x="5297113" y="3685639"/>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0974" y="237120"/>
                            <a:pt x="175736" y="245692"/>
                            <a:pt x="175736" y="255217"/>
                          </a:cubicBezTo>
                          <a:cubicBezTo>
                            <a:pt x="175736" y="262837"/>
                            <a:pt x="172879" y="270457"/>
                            <a:pt x="166211" y="275220"/>
                          </a:cubicBezTo>
                          <a:cubicBezTo>
                            <a:pt x="162401" y="278077"/>
                            <a:pt x="157639" y="280935"/>
                            <a:pt x="151924" y="281887"/>
                          </a:cubicBezTo>
                          <a:cubicBezTo>
                            <a:pt x="151924" y="281887"/>
                            <a:pt x="150971" y="281887"/>
                            <a:pt x="150971" y="281887"/>
                          </a:cubicBezTo>
                          <a:cubicBezTo>
                            <a:pt x="150971" y="281887"/>
                            <a:pt x="150019" y="281887"/>
                            <a:pt x="150019" y="281887"/>
                          </a:cubicBezTo>
                          <a:cubicBezTo>
                            <a:pt x="150019" y="280935"/>
                            <a:pt x="149066" y="281887"/>
                            <a:pt x="148114" y="281887"/>
                          </a:cubicBezTo>
                          <a:cubicBezTo>
                            <a:pt x="110014" y="281887"/>
                            <a:pt x="71914" y="281887"/>
                            <a:pt x="34766" y="281887"/>
                          </a:cubicBezTo>
                          <a:cubicBezTo>
                            <a:pt x="33814" y="281887"/>
                            <a:pt x="33814" y="281887"/>
                            <a:pt x="32861" y="281887"/>
                          </a:cubicBezTo>
                          <a:cubicBezTo>
                            <a:pt x="32861"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93" name="Freeform: Shape 692">
                      <a:extLst>
                        <a:ext uri="{FF2B5EF4-FFF2-40B4-BE49-F238E27FC236}">
                          <a16:creationId xmlns:a16="http://schemas.microsoft.com/office/drawing/2014/main" id="{778E5AE7-7C5C-475D-A491-C8089109DC94}"/>
                        </a:ext>
                      </a:extLst>
                    </p:cNvPr>
                    <p:cNvSpPr/>
                    <p:nvPr/>
                  </p:nvSpPr>
                  <p:spPr>
                    <a:xfrm>
                      <a:off x="5297113" y="3838031"/>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94" name="Freeform: Shape 693">
                      <a:extLst>
                        <a:ext uri="{FF2B5EF4-FFF2-40B4-BE49-F238E27FC236}">
                          <a16:creationId xmlns:a16="http://schemas.microsoft.com/office/drawing/2014/main" id="{DDB1832E-308A-415A-9F6F-764557799FD2}"/>
                        </a:ext>
                      </a:extLst>
                    </p:cNvPr>
                    <p:cNvSpPr/>
                    <p:nvPr/>
                  </p:nvSpPr>
                  <p:spPr>
                    <a:xfrm>
                      <a:off x="5297113" y="3990424"/>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95" name="Freeform: Shape 694">
                      <a:extLst>
                        <a:ext uri="{FF2B5EF4-FFF2-40B4-BE49-F238E27FC236}">
                          <a16:creationId xmlns:a16="http://schemas.microsoft.com/office/drawing/2014/main" id="{34BD6223-2B8F-444F-9F7F-5CBCCD5C27DC}"/>
                        </a:ext>
                      </a:extLst>
                    </p:cNvPr>
                    <p:cNvSpPr/>
                    <p:nvPr/>
                  </p:nvSpPr>
                  <p:spPr>
                    <a:xfrm>
                      <a:off x="5297113" y="4142816"/>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649" name="Group 648">
                    <a:extLst>
                      <a:ext uri="{FF2B5EF4-FFF2-40B4-BE49-F238E27FC236}">
                        <a16:creationId xmlns:a16="http://schemas.microsoft.com/office/drawing/2014/main" id="{574A0CF1-5164-4BB4-BB47-DD6583AA96A9}"/>
                      </a:ext>
                    </a:extLst>
                  </p:cNvPr>
                  <p:cNvGrpSpPr/>
                  <p:nvPr/>
                </p:nvGrpSpPr>
                <p:grpSpPr>
                  <a:xfrm>
                    <a:off x="5227192" y="3594199"/>
                    <a:ext cx="142788" cy="698796"/>
                    <a:chOff x="4956682" y="3685639"/>
                    <a:chExt cx="120755" cy="590969"/>
                  </a:xfrm>
                  <a:solidFill>
                    <a:schemeClr val="tx1">
                      <a:lumMod val="50000"/>
                      <a:lumOff val="50000"/>
                    </a:schemeClr>
                  </a:solidFill>
                </p:grpSpPr>
                <p:sp>
                  <p:nvSpPr>
                    <p:cNvPr id="688" name="Freeform: Shape 687">
                      <a:extLst>
                        <a:ext uri="{FF2B5EF4-FFF2-40B4-BE49-F238E27FC236}">
                          <a16:creationId xmlns:a16="http://schemas.microsoft.com/office/drawing/2014/main" id="{8781D849-4245-4550-9EA6-9E5783FA70BD}"/>
                        </a:ext>
                      </a:extLst>
                    </p:cNvPr>
                    <p:cNvSpPr/>
                    <p:nvPr/>
                  </p:nvSpPr>
                  <p:spPr>
                    <a:xfrm>
                      <a:off x="4978961" y="3685639"/>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89" name="Freeform: Shape 688">
                      <a:extLst>
                        <a:ext uri="{FF2B5EF4-FFF2-40B4-BE49-F238E27FC236}">
                          <a16:creationId xmlns:a16="http://schemas.microsoft.com/office/drawing/2014/main" id="{C62E32B2-BDE7-4B11-BE14-079EC5B26ACE}"/>
                        </a:ext>
                      </a:extLst>
                    </p:cNvPr>
                    <p:cNvSpPr/>
                    <p:nvPr/>
                  </p:nvSpPr>
                  <p:spPr>
                    <a:xfrm>
                      <a:off x="4957127" y="3838145"/>
                      <a:ext cx="120310" cy="133678"/>
                    </a:xfrm>
                    <a:custGeom>
                      <a:avLst/>
                      <a:gdLst/>
                      <a:ahLst/>
                      <a:cxnLst/>
                      <a:rect l="0" t="0" r="0" b="0"/>
                      <a:pathLst>
                        <a:path w="257175" h="285750">
                          <a:moveTo>
                            <a:pt x="7144" y="154962"/>
                          </a:moveTo>
                          <a:cubicBezTo>
                            <a:pt x="7144" y="148294"/>
                            <a:pt x="7144" y="141627"/>
                            <a:pt x="7144" y="134959"/>
                          </a:cubicBezTo>
                          <a:cubicBezTo>
                            <a:pt x="7144" y="134959"/>
                            <a:pt x="7144" y="134959"/>
                            <a:pt x="7144" y="134007"/>
                          </a:cubicBezTo>
                          <a:cubicBezTo>
                            <a:pt x="7144" y="128292"/>
                            <a:pt x="8096" y="123529"/>
                            <a:pt x="9049" y="117814"/>
                          </a:cubicBezTo>
                          <a:cubicBezTo>
                            <a:pt x="10954" y="111147"/>
                            <a:pt x="10954" y="104479"/>
                            <a:pt x="13811" y="98764"/>
                          </a:cubicBezTo>
                          <a:cubicBezTo>
                            <a:pt x="15716" y="94954"/>
                            <a:pt x="16669"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4019"/>
                            <a:pt x="32861" y="230209"/>
                            <a:pt x="30004" y="225447"/>
                          </a:cubicBezTo>
                          <a:cubicBezTo>
                            <a:pt x="27146" y="220684"/>
                            <a:pt x="24289" y="215922"/>
                            <a:pt x="21431" y="210207"/>
                          </a:cubicBezTo>
                          <a:cubicBezTo>
                            <a:pt x="19526" y="206397"/>
                            <a:pt x="18574" y="203539"/>
                            <a:pt x="16669" y="199729"/>
                          </a:cubicBezTo>
                          <a:cubicBezTo>
                            <a:pt x="14764" y="195919"/>
                            <a:pt x="13811" y="192109"/>
                            <a:pt x="12859" y="188299"/>
                          </a:cubicBezTo>
                          <a:cubicBezTo>
                            <a:pt x="10954" y="181632"/>
                            <a:pt x="10001" y="174964"/>
                            <a:pt x="8096" y="168297"/>
                          </a:cubicBezTo>
                          <a:cubicBezTo>
                            <a:pt x="7144" y="164487"/>
                            <a:pt x="7144" y="161629"/>
                            <a:pt x="7144" y="157819"/>
                          </a:cubicBezTo>
                          <a:cubicBezTo>
                            <a:pt x="7144" y="157819"/>
                            <a:pt x="8096" y="155914"/>
                            <a:pt x="7144" y="154962"/>
                          </a:cubicBezTo>
                          <a:close/>
                          <a:moveTo>
                            <a:pt x="66199" y="146389"/>
                          </a:moveTo>
                          <a:cubicBezTo>
                            <a:pt x="66199" y="154009"/>
                            <a:pt x="67151" y="162582"/>
                            <a:pt x="70009" y="172107"/>
                          </a:cubicBezTo>
                          <a:cubicBezTo>
                            <a:pt x="71914" y="176869"/>
                            <a:pt x="72866" y="180679"/>
                            <a:pt x="74771" y="185442"/>
                          </a:cubicBezTo>
                          <a:cubicBezTo>
                            <a:pt x="76676" y="191157"/>
                            <a:pt x="79534" y="195919"/>
                            <a:pt x="83344" y="200682"/>
                          </a:cubicBezTo>
                          <a:cubicBezTo>
                            <a:pt x="87154" y="205444"/>
                            <a:pt x="90964" y="210207"/>
                            <a:pt x="96679" y="214969"/>
                          </a:cubicBezTo>
                          <a:cubicBezTo>
                            <a:pt x="101441" y="218779"/>
                            <a:pt x="107156" y="222589"/>
                            <a:pt x="113824" y="224494"/>
                          </a:cubicBezTo>
                          <a:cubicBezTo>
                            <a:pt x="130969" y="230209"/>
                            <a:pt x="147161" y="227352"/>
                            <a:pt x="161449" y="215922"/>
                          </a:cubicBezTo>
                          <a:cubicBezTo>
                            <a:pt x="166211" y="212112"/>
                            <a:pt x="170021" y="208302"/>
                            <a:pt x="173831" y="203539"/>
                          </a:cubicBezTo>
                          <a:cubicBezTo>
                            <a:pt x="177641" y="198777"/>
                            <a:pt x="180499" y="194014"/>
                            <a:pt x="183356" y="188299"/>
                          </a:cubicBezTo>
                          <a:cubicBezTo>
                            <a:pt x="184309" y="185442"/>
                            <a:pt x="185261" y="182584"/>
                            <a:pt x="187166" y="180679"/>
                          </a:cubicBezTo>
                          <a:cubicBezTo>
                            <a:pt x="189071" y="175917"/>
                            <a:pt x="190976" y="171154"/>
                            <a:pt x="191929" y="165439"/>
                          </a:cubicBezTo>
                          <a:cubicBezTo>
                            <a:pt x="194786" y="149247"/>
                            <a:pt x="194786" y="133054"/>
                            <a:pt x="190024" y="116862"/>
                          </a:cubicBezTo>
                          <a:cubicBezTo>
                            <a:pt x="189071" y="113052"/>
                            <a:pt x="188119" y="109242"/>
                            <a:pt x="186214" y="106384"/>
                          </a:cubicBezTo>
                          <a:cubicBezTo>
                            <a:pt x="184309" y="102574"/>
                            <a:pt x="183356" y="98764"/>
                            <a:pt x="181451" y="95907"/>
                          </a:cubicBezTo>
                          <a:cubicBezTo>
                            <a:pt x="178594" y="92097"/>
                            <a:pt x="176689" y="87334"/>
                            <a:pt x="172879" y="83524"/>
                          </a:cubicBezTo>
                          <a:cubicBezTo>
                            <a:pt x="169069" y="78762"/>
                            <a:pt x="164306" y="73999"/>
                            <a:pt x="158591" y="70189"/>
                          </a:cubicBezTo>
                          <a:cubicBezTo>
                            <a:pt x="153829" y="67332"/>
                            <a:pt x="149066" y="64474"/>
                            <a:pt x="143351" y="62569"/>
                          </a:cubicBezTo>
                          <a:cubicBezTo>
                            <a:pt x="127159" y="57807"/>
                            <a:pt x="111919" y="61617"/>
                            <a:pt x="98584" y="71142"/>
                          </a:cubicBezTo>
                          <a:cubicBezTo>
                            <a:pt x="93821" y="74952"/>
                            <a:pt x="90011" y="78762"/>
                            <a:pt x="86201" y="83524"/>
                          </a:cubicBezTo>
                          <a:cubicBezTo>
                            <a:pt x="83344" y="87334"/>
                            <a:pt x="80486" y="92097"/>
                            <a:pt x="77629" y="96859"/>
                          </a:cubicBezTo>
                          <a:cubicBezTo>
                            <a:pt x="75724" y="99717"/>
                            <a:pt x="74771" y="103527"/>
                            <a:pt x="73819" y="106384"/>
                          </a:cubicBezTo>
                          <a:cubicBezTo>
                            <a:pt x="71914" y="111147"/>
                            <a:pt x="70961" y="115909"/>
                            <a:pt x="70009" y="120672"/>
                          </a:cubicBezTo>
                          <a:cubicBezTo>
                            <a:pt x="67151" y="129244"/>
                            <a:pt x="67151" y="136864"/>
                            <a:pt x="66199" y="146389"/>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90" name="Freeform: Shape 689">
                      <a:extLst>
                        <a:ext uri="{FF2B5EF4-FFF2-40B4-BE49-F238E27FC236}">
                          <a16:creationId xmlns:a16="http://schemas.microsoft.com/office/drawing/2014/main" id="{9B82D671-46E2-48F3-B9A3-4C6DAD8CF85E}"/>
                        </a:ext>
                      </a:extLst>
                    </p:cNvPr>
                    <p:cNvSpPr/>
                    <p:nvPr/>
                  </p:nvSpPr>
                  <p:spPr>
                    <a:xfrm>
                      <a:off x="4978961" y="3990424"/>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91" name="Freeform: Shape 690">
                      <a:extLst>
                        <a:ext uri="{FF2B5EF4-FFF2-40B4-BE49-F238E27FC236}">
                          <a16:creationId xmlns:a16="http://schemas.microsoft.com/office/drawing/2014/main" id="{1A241F65-423A-4B90-B3B2-C403597E5F9C}"/>
                        </a:ext>
                      </a:extLst>
                    </p:cNvPr>
                    <p:cNvSpPr/>
                    <p:nvPr/>
                  </p:nvSpPr>
                  <p:spPr>
                    <a:xfrm>
                      <a:off x="4956682" y="4142930"/>
                      <a:ext cx="120310" cy="133678"/>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7819"/>
                            <a:pt x="9049" y="156867"/>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8104" y="137817"/>
                            <a:pt x="67151" y="146389"/>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650" name="Group 649">
                    <a:extLst>
                      <a:ext uri="{FF2B5EF4-FFF2-40B4-BE49-F238E27FC236}">
                        <a16:creationId xmlns:a16="http://schemas.microsoft.com/office/drawing/2014/main" id="{3D6473B5-5E09-41D3-91CD-ED24E3AF3ACD}"/>
                      </a:ext>
                    </a:extLst>
                  </p:cNvPr>
                  <p:cNvGrpSpPr/>
                  <p:nvPr/>
                </p:nvGrpSpPr>
                <p:grpSpPr>
                  <a:xfrm>
                    <a:off x="6108683" y="3594334"/>
                    <a:ext cx="142262" cy="698526"/>
                    <a:chOff x="5702155" y="3685753"/>
                    <a:chExt cx="120310" cy="590741"/>
                  </a:xfrm>
                  <a:solidFill>
                    <a:schemeClr val="tx1">
                      <a:lumMod val="50000"/>
                      <a:lumOff val="50000"/>
                    </a:schemeClr>
                  </a:solidFill>
                </p:grpSpPr>
                <p:sp>
                  <p:nvSpPr>
                    <p:cNvPr id="685" name="Freeform: Shape 684">
                      <a:extLst>
                        <a:ext uri="{FF2B5EF4-FFF2-40B4-BE49-F238E27FC236}">
                          <a16:creationId xmlns:a16="http://schemas.microsoft.com/office/drawing/2014/main" id="{913E3A73-4F86-4C9F-ACAB-B44DF0D69975}"/>
                        </a:ext>
                      </a:extLst>
                    </p:cNvPr>
                    <p:cNvSpPr/>
                    <p:nvPr/>
                  </p:nvSpPr>
                  <p:spPr>
                    <a:xfrm>
                      <a:off x="5702155" y="3685753"/>
                      <a:ext cx="120310" cy="133678"/>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8096"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86" name="Freeform: Shape 685">
                      <a:extLst>
                        <a:ext uri="{FF2B5EF4-FFF2-40B4-BE49-F238E27FC236}">
                          <a16:creationId xmlns:a16="http://schemas.microsoft.com/office/drawing/2014/main" id="{296B593B-E17A-495C-9787-A223D740D9EC}"/>
                        </a:ext>
                      </a:extLst>
                    </p:cNvPr>
                    <p:cNvSpPr/>
                    <p:nvPr/>
                  </p:nvSpPr>
                  <p:spPr>
                    <a:xfrm>
                      <a:off x="5725326" y="3838031"/>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0956"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87" name="Freeform: Shape 686">
                      <a:extLst>
                        <a:ext uri="{FF2B5EF4-FFF2-40B4-BE49-F238E27FC236}">
                          <a16:creationId xmlns:a16="http://schemas.microsoft.com/office/drawing/2014/main" id="{57168287-0E36-4F8E-9A53-1BF39F99FF06}"/>
                        </a:ext>
                      </a:extLst>
                    </p:cNvPr>
                    <p:cNvSpPr/>
                    <p:nvPr/>
                  </p:nvSpPr>
                  <p:spPr>
                    <a:xfrm>
                      <a:off x="5725326" y="4142816"/>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0956"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651" name="Group 650">
                    <a:extLst>
                      <a:ext uri="{FF2B5EF4-FFF2-40B4-BE49-F238E27FC236}">
                        <a16:creationId xmlns:a16="http://schemas.microsoft.com/office/drawing/2014/main" id="{9F0BD836-9DAD-40AB-AD6E-A75AC4B731B6}"/>
                      </a:ext>
                    </a:extLst>
                  </p:cNvPr>
                  <p:cNvGrpSpPr/>
                  <p:nvPr/>
                </p:nvGrpSpPr>
                <p:grpSpPr>
                  <a:xfrm>
                    <a:off x="6255687" y="3594199"/>
                    <a:ext cx="100109" cy="698661"/>
                    <a:chOff x="5826476" y="3685639"/>
                    <a:chExt cx="84662" cy="590855"/>
                  </a:xfrm>
                  <a:solidFill>
                    <a:schemeClr val="tx1">
                      <a:lumMod val="50000"/>
                      <a:lumOff val="50000"/>
                    </a:schemeClr>
                  </a:solidFill>
                </p:grpSpPr>
                <p:sp>
                  <p:nvSpPr>
                    <p:cNvPr id="681" name="Freeform: Shape 680">
                      <a:extLst>
                        <a:ext uri="{FF2B5EF4-FFF2-40B4-BE49-F238E27FC236}">
                          <a16:creationId xmlns:a16="http://schemas.microsoft.com/office/drawing/2014/main" id="{E0764853-A46D-48FD-8844-DB6998B64EA8}"/>
                        </a:ext>
                      </a:extLst>
                    </p:cNvPr>
                    <p:cNvSpPr/>
                    <p:nvPr/>
                  </p:nvSpPr>
                  <p:spPr>
                    <a:xfrm>
                      <a:off x="5826476" y="3685639"/>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82" name="Freeform: Shape 681">
                      <a:extLst>
                        <a:ext uri="{FF2B5EF4-FFF2-40B4-BE49-F238E27FC236}">
                          <a16:creationId xmlns:a16="http://schemas.microsoft.com/office/drawing/2014/main" id="{A91028BD-F1F9-4DED-A70A-A2CA525A2A59}"/>
                        </a:ext>
                      </a:extLst>
                    </p:cNvPr>
                    <p:cNvSpPr/>
                    <p:nvPr/>
                  </p:nvSpPr>
                  <p:spPr>
                    <a:xfrm>
                      <a:off x="5826476" y="3838031"/>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83" name="Freeform: Shape 682">
                      <a:extLst>
                        <a:ext uri="{FF2B5EF4-FFF2-40B4-BE49-F238E27FC236}">
                          <a16:creationId xmlns:a16="http://schemas.microsoft.com/office/drawing/2014/main" id="{6FA09DAB-07C9-4295-A40C-7EDC01252FEE}"/>
                        </a:ext>
                      </a:extLst>
                    </p:cNvPr>
                    <p:cNvSpPr/>
                    <p:nvPr/>
                  </p:nvSpPr>
                  <p:spPr>
                    <a:xfrm>
                      <a:off x="5826476" y="3990424"/>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84" name="Freeform: Shape 683">
                      <a:extLst>
                        <a:ext uri="{FF2B5EF4-FFF2-40B4-BE49-F238E27FC236}">
                          <a16:creationId xmlns:a16="http://schemas.microsoft.com/office/drawing/2014/main" id="{858CFF32-A986-4DC3-8CAF-DE1BF588E296}"/>
                        </a:ext>
                      </a:extLst>
                    </p:cNvPr>
                    <p:cNvSpPr/>
                    <p:nvPr/>
                  </p:nvSpPr>
                  <p:spPr>
                    <a:xfrm>
                      <a:off x="5826476" y="4142816"/>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652" name="Group 651">
                    <a:extLst>
                      <a:ext uri="{FF2B5EF4-FFF2-40B4-BE49-F238E27FC236}">
                        <a16:creationId xmlns:a16="http://schemas.microsoft.com/office/drawing/2014/main" id="{27495030-778E-4C90-96A1-C6C599DA4566}"/>
                      </a:ext>
                    </a:extLst>
                  </p:cNvPr>
                  <p:cNvGrpSpPr/>
                  <p:nvPr/>
                </p:nvGrpSpPr>
                <p:grpSpPr>
                  <a:xfrm>
                    <a:off x="5883173" y="3594199"/>
                    <a:ext cx="100109" cy="698661"/>
                    <a:chOff x="5511442" y="3685639"/>
                    <a:chExt cx="84662" cy="590855"/>
                  </a:xfrm>
                  <a:solidFill>
                    <a:schemeClr val="tx1">
                      <a:lumMod val="50000"/>
                      <a:lumOff val="50000"/>
                    </a:schemeClr>
                  </a:solidFill>
                </p:grpSpPr>
                <p:sp>
                  <p:nvSpPr>
                    <p:cNvPr id="677" name="Freeform: Shape 676">
                      <a:extLst>
                        <a:ext uri="{FF2B5EF4-FFF2-40B4-BE49-F238E27FC236}">
                          <a16:creationId xmlns:a16="http://schemas.microsoft.com/office/drawing/2014/main" id="{54952738-9AF4-4DA4-BE67-A82CD769262B}"/>
                        </a:ext>
                      </a:extLst>
                    </p:cNvPr>
                    <p:cNvSpPr/>
                    <p:nvPr/>
                  </p:nvSpPr>
                  <p:spPr>
                    <a:xfrm>
                      <a:off x="5511442" y="3685639"/>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78" name="Freeform: Shape 677">
                      <a:extLst>
                        <a:ext uri="{FF2B5EF4-FFF2-40B4-BE49-F238E27FC236}">
                          <a16:creationId xmlns:a16="http://schemas.microsoft.com/office/drawing/2014/main" id="{D58E8A8C-30FC-4993-9D13-04E81DDA5999}"/>
                        </a:ext>
                      </a:extLst>
                    </p:cNvPr>
                    <p:cNvSpPr/>
                    <p:nvPr/>
                  </p:nvSpPr>
                  <p:spPr>
                    <a:xfrm>
                      <a:off x="5511442" y="3838031"/>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79" name="Freeform: Shape 678">
                      <a:extLst>
                        <a:ext uri="{FF2B5EF4-FFF2-40B4-BE49-F238E27FC236}">
                          <a16:creationId xmlns:a16="http://schemas.microsoft.com/office/drawing/2014/main" id="{3A5FA5E3-6C16-49E3-AC85-051802AA38D5}"/>
                        </a:ext>
                      </a:extLst>
                    </p:cNvPr>
                    <p:cNvSpPr/>
                    <p:nvPr/>
                  </p:nvSpPr>
                  <p:spPr>
                    <a:xfrm>
                      <a:off x="5511442" y="3990424"/>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80" name="Freeform: Shape 679">
                      <a:extLst>
                        <a:ext uri="{FF2B5EF4-FFF2-40B4-BE49-F238E27FC236}">
                          <a16:creationId xmlns:a16="http://schemas.microsoft.com/office/drawing/2014/main" id="{6B10FE38-AA12-49D1-BAAD-5B60217E6E48}"/>
                        </a:ext>
                      </a:extLst>
                    </p:cNvPr>
                    <p:cNvSpPr/>
                    <p:nvPr/>
                  </p:nvSpPr>
                  <p:spPr>
                    <a:xfrm>
                      <a:off x="5511442" y="4142816"/>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653" name="Group 652">
                    <a:extLst>
                      <a:ext uri="{FF2B5EF4-FFF2-40B4-BE49-F238E27FC236}">
                        <a16:creationId xmlns:a16="http://schemas.microsoft.com/office/drawing/2014/main" id="{7625D26E-6C62-4CE5-8865-1F4DF021B4AD}"/>
                      </a:ext>
                    </a:extLst>
                  </p:cNvPr>
                  <p:cNvGrpSpPr/>
                  <p:nvPr/>
                </p:nvGrpSpPr>
                <p:grpSpPr>
                  <a:xfrm>
                    <a:off x="5978541" y="3594199"/>
                    <a:ext cx="142262" cy="698796"/>
                    <a:chOff x="5592095" y="3685639"/>
                    <a:chExt cx="120310" cy="590969"/>
                  </a:xfrm>
                  <a:solidFill>
                    <a:schemeClr val="tx1">
                      <a:lumMod val="50000"/>
                      <a:lumOff val="50000"/>
                    </a:schemeClr>
                  </a:solidFill>
                </p:grpSpPr>
                <p:sp>
                  <p:nvSpPr>
                    <p:cNvPr id="673" name="Freeform: Shape 672">
                      <a:extLst>
                        <a:ext uri="{FF2B5EF4-FFF2-40B4-BE49-F238E27FC236}">
                          <a16:creationId xmlns:a16="http://schemas.microsoft.com/office/drawing/2014/main" id="{D9A266BF-D591-4E09-9F2F-FAF79DAC01ED}"/>
                        </a:ext>
                      </a:extLst>
                    </p:cNvPr>
                    <p:cNvSpPr/>
                    <p:nvPr/>
                  </p:nvSpPr>
                  <p:spPr>
                    <a:xfrm>
                      <a:off x="5614374" y="3685639"/>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74" name="Freeform: Shape 673">
                      <a:extLst>
                        <a:ext uri="{FF2B5EF4-FFF2-40B4-BE49-F238E27FC236}">
                          <a16:creationId xmlns:a16="http://schemas.microsoft.com/office/drawing/2014/main" id="{C6D404FF-8D1F-4616-B703-00EE7DD29490}"/>
                        </a:ext>
                      </a:extLst>
                    </p:cNvPr>
                    <p:cNvSpPr/>
                    <p:nvPr/>
                  </p:nvSpPr>
                  <p:spPr>
                    <a:xfrm>
                      <a:off x="5592095" y="3838145"/>
                      <a:ext cx="120310" cy="133678"/>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7819"/>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75" name="Freeform: Shape 674">
                      <a:extLst>
                        <a:ext uri="{FF2B5EF4-FFF2-40B4-BE49-F238E27FC236}">
                          <a16:creationId xmlns:a16="http://schemas.microsoft.com/office/drawing/2014/main" id="{5C201B2B-0FAF-4725-8568-1FE89AAF49B8}"/>
                        </a:ext>
                      </a:extLst>
                    </p:cNvPr>
                    <p:cNvSpPr/>
                    <p:nvPr/>
                  </p:nvSpPr>
                  <p:spPr>
                    <a:xfrm>
                      <a:off x="5614374" y="3990424"/>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76" name="Freeform: Shape 675">
                      <a:extLst>
                        <a:ext uri="{FF2B5EF4-FFF2-40B4-BE49-F238E27FC236}">
                          <a16:creationId xmlns:a16="http://schemas.microsoft.com/office/drawing/2014/main" id="{494FA165-B1BA-4F99-9C3E-AA21F2576E66}"/>
                        </a:ext>
                      </a:extLst>
                    </p:cNvPr>
                    <p:cNvSpPr/>
                    <p:nvPr/>
                  </p:nvSpPr>
                  <p:spPr>
                    <a:xfrm>
                      <a:off x="5592095" y="4142930"/>
                      <a:ext cx="120310" cy="133678"/>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7819"/>
                            <a:pt x="9049" y="156867"/>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7817"/>
                            <a:pt x="67151" y="146389"/>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654" name="Group 653">
                    <a:extLst>
                      <a:ext uri="{FF2B5EF4-FFF2-40B4-BE49-F238E27FC236}">
                        <a16:creationId xmlns:a16="http://schemas.microsoft.com/office/drawing/2014/main" id="{E8C183D4-6BB7-4883-A78A-F47599C32374}"/>
                      </a:ext>
                    </a:extLst>
                  </p:cNvPr>
                  <p:cNvGrpSpPr/>
                  <p:nvPr/>
                </p:nvGrpSpPr>
                <p:grpSpPr>
                  <a:xfrm>
                    <a:off x="6894808" y="3594334"/>
                    <a:ext cx="142262" cy="698526"/>
                    <a:chOff x="6366978" y="3685753"/>
                    <a:chExt cx="120310" cy="590741"/>
                  </a:xfrm>
                  <a:solidFill>
                    <a:schemeClr val="tx1">
                      <a:lumMod val="50000"/>
                      <a:lumOff val="50000"/>
                    </a:schemeClr>
                  </a:solidFill>
                </p:grpSpPr>
                <p:sp>
                  <p:nvSpPr>
                    <p:cNvPr id="669" name="Freeform: Shape 668">
                      <a:extLst>
                        <a:ext uri="{FF2B5EF4-FFF2-40B4-BE49-F238E27FC236}">
                          <a16:creationId xmlns:a16="http://schemas.microsoft.com/office/drawing/2014/main" id="{3C7D0158-102C-4637-B998-67EE81FBF3F6}"/>
                        </a:ext>
                      </a:extLst>
                    </p:cNvPr>
                    <p:cNvSpPr/>
                    <p:nvPr/>
                  </p:nvSpPr>
                  <p:spPr>
                    <a:xfrm>
                      <a:off x="6366978" y="3685753"/>
                      <a:ext cx="120310" cy="133678"/>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70" name="Freeform: Shape 669">
                      <a:extLst>
                        <a:ext uri="{FF2B5EF4-FFF2-40B4-BE49-F238E27FC236}">
                          <a16:creationId xmlns:a16="http://schemas.microsoft.com/office/drawing/2014/main" id="{9D24E1D4-663B-42E0-841C-79E446603858}"/>
                        </a:ext>
                      </a:extLst>
                    </p:cNvPr>
                    <p:cNvSpPr/>
                    <p:nvPr/>
                  </p:nvSpPr>
                  <p:spPr>
                    <a:xfrm>
                      <a:off x="6390148" y="3838031"/>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0956"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71" name="Freeform: Shape 670">
                      <a:extLst>
                        <a:ext uri="{FF2B5EF4-FFF2-40B4-BE49-F238E27FC236}">
                          <a16:creationId xmlns:a16="http://schemas.microsoft.com/office/drawing/2014/main" id="{05BB57E3-49C3-4A7A-9F92-68AEE18C9F63}"/>
                        </a:ext>
                      </a:extLst>
                    </p:cNvPr>
                    <p:cNvSpPr/>
                    <p:nvPr/>
                  </p:nvSpPr>
                  <p:spPr>
                    <a:xfrm>
                      <a:off x="6366978" y="3990537"/>
                      <a:ext cx="120310" cy="133678"/>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7819"/>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72" name="Freeform: Shape 671">
                      <a:extLst>
                        <a:ext uri="{FF2B5EF4-FFF2-40B4-BE49-F238E27FC236}">
                          <a16:creationId xmlns:a16="http://schemas.microsoft.com/office/drawing/2014/main" id="{78BCC2FD-150E-4E1E-87B5-13C76F00EE47}"/>
                        </a:ext>
                      </a:extLst>
                    </p:cNvPr>
                    <p:cNvSpPr/>
                    <p:nvPr/>
                  </p:nvSpPr>
                  <p:spPr>
                    <a:xfrm>
                      <a:off x="6390148" y="4142816"/>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0956"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655" name="Group 654">
                    <a:extLst>
                      <a:ext uri="{FF2B5EF4-FFF2-40B4-BE49-F238E27FC236}">
                        <a16:creationId xmlns:a16="http://schemas.microsoft.com/office/drawing/2014/main" id="{A3636C44-01A3-4775-B36E-5ECE8D9617DA}"/>
                      </a:ext>
                    </a:extLst>
                  </p:cNvPr>
                  <p:cNvGrpSpPr/>
                  <p:nvPr/>
                </p:nvGrpSpPr>
                <p:grpSpPr>
                  <a:xfrm>
                    <a:off x="6785741" y="3594199"/>
                    <a:ext cx="100109" cy="698661"/>
                    <a:chOff x="6274740" y="3685639"/>
                    <a:chExt cx="84662" cy="590855"/>
                  </a:xfrm>
                  <a:solidFill>
                    <a:schemeClr val="tx1">
                      <a:lumMod val="50000"/>
                      <a:lumOff val="50000"/>
                    </a:schemeClr>
                  </a:solidFill>
                </p:grpSpPr>
                <p:sp>
                  <p:nvSpPr>
                    <p:cNvPr id="666" name="Freeform: Shape 665">
                      <a:extLst>
                        <a:ext uri="{FF2B5EF4-FFF2-40B4-BE49-F238E27FC236}">
                          <a16:creationId xmlns:a16="http://schemas.microsoft.com/office/drawing/2014/main" id="{67FFCD56-C2D1-4930-AA0A-1E30D8950FDF}"/>
                        </a:ext>
                      </a:extLst>
                    </p:cNvPr>
                    <p:cNvSpPr/>
                    <p:nvPr/>
                  </p:nvSpPr>
                  <p:spPr>
                    <a:xfrm>
                      <a:off x="6274740" y="3685639"/>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0956"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67" name="Freeform: Shape 666">
                      <a:extLst>
                        <a:ext uri="{FF2B5EF4-FFF2-40B4-BE49-F238E27FC236}">
                          <a16:creationId xmlns:a16="http://schemas.microsoft.com/office/drawing/2014/main" id="{5B2B6BAD-AD1C-474D-884E-21F14A51722B}"/>
                        </a:ext>
                      </a:extLst>
                    </p:cNvPr>
                    <p:cNvSpPr/>
                    <p:nvPr/>
                  </p:nvSpPr>
                  <p:spPr>
                    <a:xfrm>
                      <a:off x="6274740" y="3838031"/>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0956"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68" name="Freeform: Shape 667">
                      <a:extLst>
                        <a:ext uri="{FF2B5EF4-FFF2-40B4-BE49-F238E27FC236}">
                          <a16:creationId xmlns:a16="http://schemas.microsoft.com/office/drawing/2014/main" id="{E07AD132-5A49-486F-BBA5-CE52F090CB52}"/>
                        </a:ext>
                      </a:extLst>
                    </p:cNvPr>
                    <p:cNvSpPr/>
                    <p:nvPr/>
                  </p:nvSpPr>
                  <p:spPr>
                    <a:xfrm>
                      <a:off x="6274740" y="4142816"/>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0956"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656" name="Group 655">
                    <a:extLst>
                      <a:ext uri="{FF2B5EF4-FFF2-40B4-BE49-F238E27FC236}">
                        <a16:creationId xmlns:a16="http://schemas.microsoft.com/office/drawing/2014/main" id="{2FD33420-DB00-4273-B822-CED7AE233B06}"/>
                      </a:ext>
                    </a:extLst>
                  </p:cNvPr>
                  <p:cNvGrpSpPr/>
                  <p:nvPr/>
                </p:nvGrpSpPr>
                <p:grpSpPr>
                  <a:xfrm>
                    <a:off x="6671405" y="3594199"/>
                    <a:ext cx="100109" cy="698661"/>
                    <a:chOff x="6178047" y="3685639"/>
                    <a:chExt cx="84662" cy="590855"/>
                  </a:xfrm>
                  <a:solidFill>
                    <a:schemeClr val="tx1">
                      <a:lumMod val="50000"/>
                      <a:lumOff val="50000"/>
                    </a:schemeClr>
                  </a:solidFill>
                </p:grpSpPr>
                <p:sp>
                  <p:nvSpPr>
                    <p:cNvPr id="662" name="Freeform: Shape 661">
                      <a:extLst>
                        <a:ext uri="{FF2B5EF4-FFF2-40B4-BE49-F238E27FC236}">
                          <a16:creationId xmlns:a16="http://schemas.microsoft.com/office/drawing/2014/main" id="{A3DC82D9-9722-4AC9-82A1-04392D325856}"/>
                        </a:ext>
                      </a:extLst>
                    </p:cNvPr>
                    <p:cNvSpPr/>
                    <p:nvPr/>
                  </p:nvSpPr>
                  <p:spPr>
                    <a:xfrm>
                      <a:off x="6178047" y="3685639"/>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0956"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63" name="Freeform: Shape 662">
                      <a:extLst>
                        <a:ext uri="{FF2B5EF4-FFF2-40B4-BE49-F238E27FC236}">
                          <a16:creationId xmlns:a16="http://schemas.microsoft.com/office/drawing/2014/main" id="{47977DD4-7F34-49AB-8E1C-7E841CEE73EB}"/>
                        </a:ext>
                      </a:extLst>
                    </p:cNvPr>
                    <p:cNvSpPr/>
                    <p:nvPr/>
                  </p:nvSpPr>
                  <p:spPr>
                    <a:xfrm>
                      <a:off x="6178047" y="3838031"/>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0956"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64" name="Freeform: Shape 663">
                      <a:extLst>
                        <a:ext uri="{FF2B5EF4-FFF2-40B4-BE49-F238E27FC236}">
                          <a16:creationId xmlns:a16="http://schemas.microsoft.com/office/drawing/2014/main" id="{115BECB7-0F16-4183-B112-749A00EB3181}"/>
                        </a:ext>
                      </a:extLst>
                    </p:cNvPr>
                    <p:cNvSpPr/>
                    <p:nvPr/>
                  </p:nvSpPr>
                  <p:spPr>
                    <a:xfrm>
                      <a:off x="6178047" y="3990424"/>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0956"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65" name="Freeform: Shape 664">
                      <a:extLst>
                        <a:ext uri="{FF2B5EF4-FFF2-40B4-BE49-F238E27FC236}">
                          <a16:creationId xmlns:a16="http://schemas.microsoft.com/office/drawing/2014/main" id="{55BD098A-5F57-4CB1-B307-F4369A75C2E8}"/>
                        </a:ext>
                      </a:extLst>
                    </p:cNvPr>
                    <p:cNvSpPr/>
                    <p:nvPr/>
                  </p:nvSpPr>
                  <p:spPr>
                    <a:xfrm>
                      <a:off x="6178047" y="4142816"/>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0956"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657" name="Group 656">
                    <a:extLst>
                      <a:ext uri="{FF2B5EF4-FFF2-40B4-BE49-F238E27FC236}">
                        <a16:creationId xmlns:a16="http://schemas.microsoft.com/office/drawing/2014/main" id="{3699F35F-2FCD-4CAA-9501-F650E26DDA11}"/>
                      </a:ext>
                    </a:extLst>
                  </p:cNvPr>
                  <p:cNvGrpSpPr/>
                  <p:nvPr/>
                </p:nvGrpSpPr>
                <p:grpSpPr>
                  <a:xfrm>
                    <a:off x="6518606" y="3594199"/>
                    <a:ext cx="142262" cy="698796"/>
                    <a:chOff x="6048825" y="3685639"/>
                    <a:chExt cx="120310" cy="590969"/>
                  </a:xfrm>
                  <a:solidFill>
                    <a:schemeClr val="tx1">
                      <a:lumMod val="50000"/>
                      <a:lumOff val="50000"/>
                    </a:schemeClr>
                  </a:solidFill>
                </p:grpSpPr>
                <p:sp>
                  <p:nvSpPr>
                    <p:cNvPr id="658" name="Freeform: Shape 657">
                      <a:extLst>
                        <a:ext uri="{FF2B5EF4-FFF2-40B4-BE49-F238E27FC236}">
                          <a16:creationId xmlns:a16="http://schemas.microsoft.com/office/drawing/2014/main" id="{9A0977EF-BD6B-42DD-86E4-0170B6CB302D}"/>
                        </a:ext>
                      </a:extLst>
                    </p:cNvPr>
                    <p:cNvSpPr/>
                    <p:nvPr/>
                  </p:nvSpPr>
                  <p:spPr>
                    <a:xfrm>
                      <a:off x="6071105" y="3685639"/>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59" name="Freeform: Shape 658">
                      <a:extLst>
                        <a:ext uri="{FF2B5EF4-FFF2-40B4-BE49-F238E27FC236}">
                          <a16:creationId xmlns:a16="http://schemas.microsoft.com/office/drawing/2014/main" id="{87B5D14C-733C-4D8E-A1C5-A41AF0AA7E47}"/>
                        </a:ext>
                      </a:extLst>
                    </p:cNvPr>
                    <p:cNvSpPr/>
                    <p:nvPr/>
                  </p:nvSpPr>
                  <p:spPr>
                    <a:xfrm>
                      <a:off x="6048825" y="3838145"/>
                      <a:ext cx="120310" cy="133678"/>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7819"/>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60" name="Freeform: Shape 659">
                      <a:extLst>
                        <a:ext uri="{FF2B5EF4-FFF2-40B4-BE49-F238E27FC236}">
                          <a16:creationId xmlns:a16="http://schemas.microsoft.com/office/drawing/2014/main" id="{4F7D5D4A-6D35-442E-B8D7-BCE3B943D539}"/>
                        </a:ext>
                      </a:extLst>
                    </p:cNvPr>
                    <p:cNvSpPr/>
                    <p:nvPr/>
                  </p:nvSpPr>
                  <p:spPr>
                    <a:xfrm>
                      <a:off x="6071105" y="3990424"/>
                      <a:ext cx="84662" cy="133678"/>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1909" y="282840"/>
                            <a:pt x="30956" y="282840"/>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61" name="Freeform: Shape 660">
                      <a:extLst>
                        <a:ext uri="{FF2B5EF4-FFF2-40B4-BE49-F238E27FC236}">
                          <a16:creationId xmlns:a16="http://schemas.microsoft.com/office/drawing/2014/main" id="{70B73410-EFCC-4C83-80A6-9CA1543BC397}"/>
                        </a:ext>
                      </a:extLst>
                    </p:cNvPr>
                    <p:cNvSpPr/>
                    <p:nvPr/>
                  </p:nvSpPr>
                  <p:spPr>
                    <a:xfrm>
                      <a:off x="6048825" y="4142930"/>
                      <a:ext cx="120310" cy="133678"/>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7819"/>
                            <a:pt x="9049" y="156867"/>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7817"/>
                            <a:pt x="67151" y="146389"/>
                          </a:cubicBezTo>
                          <a:close/>
                        </a:path>
                      </a:pathLst>
                    </a:custGeom>
                    <a:grp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sp>
              <p:nvSpPr>
                <p:cNvPr id="703" name="Freeform: Shape 702">
                  <a:extLst>
                    <a:ext uri="{FF2B5EF4-FFF2-40B4-BE49-F238E27FC236}">
                      <a16:creationId xmlns:a16="http://schemas.microsoft.com/office/drawing/2014/main" id="{C5242846-EBD5-4456-B173-92FE37ED9F35}"/>
                    </a:ext>
                  </a:extLst>
                </p:cNvPr>
                <p:cNvSpPr/>
                <p:nvPr/>
              </p:nvSpPr>
              <p:spPr>
                <a:xfrm>
                  <a:off x="1891770" y="2605650"/>
                  <a:ext cx="100109" cy="158069"/>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chemeClr val="tx1">
                    <a:lumMod val="50000"/>
                    <a:lumOff val="50000"/>
                  </a:schemeClr>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04" name="Freeform: Shape 703">
                  <a:extLst>
                    <a:ext uri="{FF2B5EF4-FFF2-40B4-BE49-F238E27FC236}">
                      <a16:creationId xmlns:a16="http://schemas.microsoft.com/office/drawing/2014/main" id="{6E654EDC-62E8-4CEB-9305-4BD02D260958}"/>
                    </a:ext>
                  </a:extLst>
                </p:cNvPr>
                <p:cNvSpPr/>
                <p:nvPr/>
              </p:nvSpPr>
              <p:spPr>
                <a:xfrm>
                  <a:off x="2496115" y="2425587"/>
                  <a:ext cx="142262" cy="158069"/>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7819"/>
                        <a:pt x="8096"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chemeClr val="tx1">
                    <a:lumMod val="50000"/>
                    <a:lumOff val="50000"/>
                  </a:schemeClr>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05" name="Freeform: Shape 704">
                  <a:extLst>
                    <a:ext uri="{FF2B5EF4-FFF2-40B4-BE49-F238E27FC236}">
                      <a16:creationId xmlns:a16="http://schemas.microsoft.com/office/drawing/2014/main" id="{3B64FCAF-E1E3-447D-8576-DA37BD816087}"/>
                    </a:ext>
                  </a:extLst>
                </p:cNvPr>
                <p:cNvSpPr/>
                <p:nvPr/>
              </p:nvSpPr>
              <p:spPr>
                <a:xfrm>
                  <a:off x="3173173" y="2425453"/>
                  <a:ext cx="100109" cy="158069"/>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1906" y="39952"/>
                        <a:pt x="11906" y="33285"/>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1909" y="282840"/>
                        <a:pt x="30956" y="282840"/>
                        <a:pt x="30956" y="282840"/>
                      </a:cubicBezTo>
                      <a:close/>
                    </a:path>
                  </a:pathLst>
                </a:custGeom>
                <a:solidFill>
                  <a:schemeClr val="tx1">
                    <a:lumMod val="50000"/>
                    <a:lumOff val="50000"/>
                  </a:schemeClr>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sp>
          <p:nvSpPr>
            <p:cNvPr id="182" name="Freeform: Shape 181">
              <a:extLst>
                <a:ext uri="{FF2B5EF4-FFF2-40B4-BE49-F238E27FC236}">
                  <a16:creationId xmlns:a16="http://schemas.microsoft.com/office/drawing/2014/main" id="{300D7AB2-D8E9-4C22-B492-32EEE7F8D344}"/>
                </a:ext>
              </a:extLst>
            </p:cNvPr>
            <p:cNvSpPr/>
            <p:nvPr/>
          </p:nvSpPr>
          <p:spPr>
            <a:xfrm>
              <a:off x="1107596" y="2421171"/>
              <a:ext cx="1958346" cy="275423"/>
            </a:xfrm>
            <a:custGeom>
              <a:avLst/>
              <a:gdLst>
                <a:gd name="connsiteX0" fmla="*/ 2029968 w 2029968"/>
                <a:gd name="connsiteY0" fmla="*/ 237744 h 237744"/>
                <a:gd name="connsiteX1" fmla="*/ 1792224 w 2029968"/>
                <a:gd name="connsiteY1" fmla="*/ 0 h 237744"/>
                <a:gd name="connsiteX2" fmla="*/ 0 w 2029968"/>
                <a:gd name="connsiteY2" fmla="*/ 0 h 237744"/>
              </a:gdLst>
              <a:ahLst/>
              <a:cxnLst>
                <a:cxn ang="0">
                  <a:pos x="connsiteX0" y="connsiteY0"/>
                </a:cxn>
                <a:cxn ang="0">
                  <a:pos x="connsiteX1" y="connsiteY1"/>
                </a:cxn>
                <a:cxn ang="0">
                  <a:pos x="connsiteX2" y="connsiteY2"/>
                </a:cxn>
              </a:cxnLst>
              <a:rect l="l" t="t" r="r" b="b"/>
              <a:pathLst>
                <a:path w="2029968" h="237744">
                  <a:moveTo>
                    <a:pt x="2029968" y="237744"/>
                  </a:moveTo>
                  <a:lnTo>
                    <a:pt x="1792224" y="0"/>
                  </a:lnTo>
                  <a:lnTo>
                    <a:pt x="0" y="0"/>
                  </a:lnTo>
                </a:path>
              </a:pathLst>
            </a:custGeom>
            <a:noFill/>
            <a:ln w="12700" cap="rnd">
              <a:solidFill>
                <a:schemeClr val="bg1"/>
              </a:solidFill>
              <a:round/>
              <a:headEnd/>
              <a:tailEnd/>
            </a:ln>
            <a:effectLst/>
          </p:spPr>
          <p:txBody>
            <a:bodyPr rtlCol="0" anchor="ct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144" name="Group 143"/>
          <p:cNvGrpSpPr/>
          <p:nvPr/>
        </p:nvGrpSpPr>
        <p:grpSpPr>
          <a:xfrm>
            <a:off x="1268806" y="1416225"/>
            <a:ext cx="3838409" cy="2497706"/>
            <a:chOff x="1396400" y="1586349"/>
            <a:chExt cx="3838409" cy="2497706"/>
          </a:xfrm>
        </p:grpSpPr>
        <p:sp>
          <p:nvSpPr>
            <p:cNvPr id="1920" name="TextBox 1919">
              <a:extLst>
                <a:ext uri="{FF2B5EF4-FFF2-40B4-BE49-F238E27FC236}">
                  <a16:creationId xmlns:a16="http://schemas.microsoft.com/office/drawing/2014/main" id="{1DFABF9C-0B76-4E32-A5A9-ED43971D8A5B}"/>
                </a:ext>
              </a:extLst>
            </p:cNvPr>
            <p:cNvSpPr txBox="1"/>
            <p:nvPr/>
          </p:nvSpPr>
          <p:spPr>
            <a:xfrm flipH="1">
              <a:off x="1396400" y="1586349"/>
              <a:ext cx="2348739" cy="548868"/>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l" defTabSz="342892" rtl="0" eaLnBrk="1" fontAlgn="base" latinLnBrk="0" hangingPunct="1">
                <a:lnSpc>
                  <a:spcPct val="100000"/>
                </a:lnSpc>
                <a:spcBef>
                  <a:spcPct val="0"/>
                </a:spcBef>
                <a:spcAft>
                  <a:spcPts val="450"/>
                </a:spcAft>
                <a:buClrTx/>
                <a:buSzTx/>
                <a:buFontTx/>
                <a:buNone/>
                <a:tabLst/>
                <a:defRPr/>
              </a:pPr>
              <a:r>
                <a:rPr kumimoji="0" lang="en-US" sz="1200" b="0" i="0" u="none" strike="noStrike" kern="1200" cap="none" spc="0" normalizeH="0" baseline="0" noProof="0" dirty="0">
                  <a:ln>
                    <a:noFill/>
                  </a:ln>
                  <a:solidFill>
                    <a:srgbClr val="00BCEB"/>
                  </a:solidFill>
                  <a:effectLst/>
                  <a:uLnTx/>
                  <a:uFillTx/>
                  <a:latin typeface="CiscoSansTT ExtraLight"/>
                  <a:ea typeface="ＭＳ Ｐゴシック" charset="0"/>
                </a:rPr>
                <a:t>Multilayered machine learning</a:t>
              </a:r>
            </a:p>
            <a:p>
              <a:pPr marL="0" marR="0" lvl="0" indent="0" algn="l" defTabSz="342892"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dirty="0">
                  <a:ln>
                    <a:noFill/>
                  </a:ln>
                  <a:solidFill>
                    <a:srgbClr val="676767"/>
                  </a:solidFill>
                  <a:effectLst/>
                  <a:uLnTx/>
                  <a:uFillTx/>
                  <a:latin typeface="CiscoSansTT ExtraLight"/>
                  <a:ea typeface="ＭＳ Ｐゴシック" charset="0"/>
                </a:rPr>
                <a:t>Combination of supervised and unsupervised techniques to convict advanced threats with high fidelity</a:t>
              </a:r>
            </a:p>
          </p:txBody>
        </p:sp>
        <p:grpSp>
          <p:nvGrpSpPr>
            <p:cNvPr id="372" name="Group 371">
              <a:extLst>
                <a:ext uri="{FF2B5EF4-FFF2-40B4-BE49-F238E27FC236}">
                  <a16:creationId xmlns:a16="http://schemas.microsoft.com/office/drawing/2014/main" id="{D3E37BEC-2846-4EFF-BD15-63DBF5C8E256}"/>
                </a:ext>
              </a:extLst>
            </p:cNvPr>
            <p:cNvGrpSpPr/>
            <p:nvPr/>
          </p:nvGrpSpPr>
          <p:grpSpPr>
            <a:xfrm>
              <a:off x="3874739" y="2776441"/>
              <a:ext cx="1360070" cy="1307614"/>
              <a:chOff x="2962523" y="1232169"/>
              <a:chExt cx="2223210" cy="2137464"/>
            </a:xfrm>
          </p:grpSpPr>
          <p:grpSp>
            <p:nvGrpSpPr>
              <p:cNvPr id="386" name="Group 385">
                <a:extLst>
                  <a:ext uri="{FF2B5EF4-FFF2-40B4-BE49-F238E27FC236}">
                    <a16:creationId xmlns:a16="http://schemas.microsoft.com/office/drawing/2014/main" id="{4231E1D0-2FE1-48C3-BAA1-C18A5F706627}"/>
                  </a:ext>
                </a:extLst>
              </p:cNvPr>
              <p:cNvGrpSpPr/>
              <p:nvPr/>
            </p:nvGrpSpPr>
            <p:grpSpPr>
              <a:xfrm>
                <a:off x="2962523" y="1232169"/>
                <a:ext cx="2223210" cy="1991510"/>
                <a:chOff x="5021777" y="963772"/>
                <a:chExt cx="2811027" cy="2518069"/>
              </a:xfrm>
            </p:grpSpPr>
            <p:sp>
              <p:nvSpPr>
                <p:cNvPr id="417" name="Rounded Rectangle 128">
                  <a:extLst>
                    <a:ext uri="{FF2B5EF4-FFF2-40B4-BE49-F238E27FC236}">
                      <a16:creationId xmlns:a16="http://schemas.microsoft.com/office/drawing/2014/main" id="{439D5F4B-9905-4C05-A148-F7719E9C4B02}"/>
                    </a:ext>
                  </a:extLst>
                </p:cNvPr>
                <p:cNvSpPr/>
                <p:nvPr/>
              </p:nvSpPr>
              <p:spPr>
                <a:xfrm rot="5400000" flipH="1" flipV="1">
                  <a:off x="5168778" y="966461"/>
                  <a:ext cx="2518069" cy="2512691"/>
                </a:xfrm>
                <a:prstGeom prst="ellipse">
                  <a:avLst/>
                </a:prstGeom>
                <a:solidFill>
                  <a:schemeClr val="bg2"/>
                </a:solidFill>
                <a:ln w="28575" cap="flat" cmpd="sng" algn="ctr">
                  <a:solidFill>
                    <a:schemeClr val="tx2"/>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418" name="Freeform 130">
                  <a:extLst>
                    <a:ext uri="{FF2B5EF4-FFF2-40B4-BE49-F238E27FC236}">
                      <a16:creationId xmlns:a16="http://schemas.microsoft.com/office/drawing/2014/main" id="{59A40DF5-DBBA-4DCE-B002-1BB4B59D82C8}"/>
                    </a:ext>
                  </a:extLst>
                </p:cNvPr>
                <p:cNvSpPr/>
                <p:nvPr/>
              </p:nvSpPr>
              <p:spPr>
                <a:xfrm>
                  <a:off x="5021777" y="2045604"/>
                  <a:ext cx="306602" cy="208664"/>
                </a:xfrm>
                <a:custGeom>
                  <a:avLst/>
                  <a:gdLst>
                    <a:gd name="connsiteX0" fmla="*/ 33134 w 306308"/>
                    <a:gd name="connsiteY0" fmla="*/ 0 h 185510"/>
                    <a:gd name="connsiteX1" fmla="*/ 48081 w 306308"/>
                    <a:gd name="connsiteY1" fmla="*/ 6191 h 185510"/>
                    <a:gd name="connsiteX2" fmla="*/ 153154 w 306308"/>
                    <a:gd name="connsiteY2" fmla="*/ 111264 h 185510"/>
                    <a:gd name="connsiteX3" fmla="*/ 258230 w 306308"/>
                    <a:gd name="connsiteY3" fmla="*/ 6189 h 185510"/>
                    <a:gd name="connsiteX4" fmla="*/ 273174 w 306308"/>
                    <a:gd name="connsiteY4" fmla="*/ 0 h 185510"/>
                    <a:gd name="connsiteX5" fmla="*/ 296604 w 306308"/>
                    <a:gd name="connsiteY5" fmla="*/ 9704 h 185510"/>
                    <a:gd name="connsiteX6" fmla="*/ 296604 w 306308"/>
                    <a:gd name="connsiteY6" fmla="*/ 56561 h 185510"/>
                    <a:gd name="connsiteX7" fmla="*/ 177359 w 306308"/>
                    <a:gd name="connsiteY7" fmla="*/ 175805 h 185510"/>
                    <a:gd name="connsiteX8" fmla="*/ 153930 w 306308"/>
                    <a:gd name="connsiteY8" fmla="*/ 185510 h 185510"/>
                    <a:gd name="connsiteX9" fmla="*/ 153154 w 306308"/>
                    <a:gd name="connsiteY9" fmla="*/ 185188 h 185510"/>
                    <a:gd name="connsiteX10" fmla="*/ 152377 w 306308"/>
                    <a:gd name="connsiteY10" fmla="*/ 185510 h 185510"/>
                    <a:gd name="connsiteX11" fmla="*/ 128949 w 306308"/>
                    <a:gd name="connsiteY11" fmla="*/ 175805 h 185510"/>
                    <a:gd name="connsiteX12" fmla="*/ 9705 w 306308"/>
                    <a:gd name="connsiteY12" fmla="*/ 56561 h 185510"/>
                    <a:gd name="connsiteX13" fmla="*/ 9705 w 306308"/>
                    <a:gd name="connsiteY13" fmla="*/ 9704 h 185510"/>
                    <a:gd name="connsiteX14" fmla="*/ 33134 w 306308"/>
                    <a:gd name="connsiteY14" fmla="*/ 0 h 185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6308" h="185510">
                      <a:moveTo>
                        <a:pt x="33134" y="0"/>
                      </a:moveTo>
                      <a:lnTo>
                        <a:pt x="48081" y="6191"/>
                      </a:lnTo>
                      <a:lnTo>
                        <a:pt x="153154" y="111264"/>
                      </a:lnTo>
                      <a:lnTo>
                        <a:pt x="258230" y="6189"/>
                      </a:lnTo>
                      <a:lnTo>
                        <a:pt x="273174" y="0"/>
                      </a:lnTo>
                      <a:cubicBezTo>
                        <a:pt x="281654" y="0"/>
                        <a:pt x="290134" y="3235"/>
                        <a:pt x="296604" y="9704"/>
                      </a:cubicBezTo>
                      <a:cubicBezTo>
                        <a:pt x="309543" y="22642"/>
                        <a:pt x="309543" y="43622"/>
                        <a:pt x="296604" y="56561"/>
                      </a:cubicBezTo>
                      <a:lnTo>
                        <a:pt x="177359" y="175805"/>
                      </a:lnTo>
                      <a:cubicBezTo>
                        <a:pt x="170889" y="182274"/>
                        <a:pt x="162410" y="185510"/>
                        <a:pt x="153930" y="185510"/>
                      </a:cubicBezTo>
                      <a:lnTo>
                        <a:pt x="153154" y="185188"/>
                      </a:lnTo>
                      <a:lnTo>
                        <a:pt x="152377" y="185510"/>
                      </a:lnTo>
                      <a:cubicBezTo>
                        <a:pt x="143898" y="185510"/>
                        <a:pt x="135419" y="182274"/>
                        <a:pt x="128949" y="175805"/>
                      </a:cubicBezTo>
                      <a:lnTo>
                        <a:pt x="9705" y="56561"/>
                      </a:lnTo>
                      <a:cubicBezTo>
                        <a:pt x="-3235" y="43622"/>
                        <a:pt x="-3235" y="22642"/>
                        <a:pt x="9705" y="9704"/>
                      </a:cubicBezTo>
                      <a:cubicBezTo>
                        <a:pt x="16175" y="3235"/>
                        <a:pt x="24654" y="0"/>
                        <a:pt x="33134" y="0"/>
                      </a:cubicBezTo>
                      <a:close/>
                    </a:path>
                  </a:pathLst>
                </a:custGeom>
                <a:solidFill>
                  <a:schemeClr val="tx2"/>
                </a:solidFill>
                <a:ln w="19050" cap="flat" cmpd="sng" algn="ctr">
                  <a:solidFill>
                    <a:schemeClr val="bg2"/>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419" name="Freeform 130">
                  <a:extLst>
                    <a:ext uri="{FF2B5EF4-FFF2-40B4-BE49-F238E27FC236}">
                      <a16:creationId xmlns:a16="http://schemas.microsoft.com/office/drawing/2014/main" id="{0DB97C7A-B01B-4A2D-99FF-E7F909410BDE}"/>
                    </a:ext>
                  </a:extLst>
                </p:cNvPr>
                <p:cNvSpPr/>
                <p:nvPr/>
              </p:nvSpPr>
              <p:spPr>
                <a:xfrm flipV="1">
                  <a:off x="7526202" y="2045604"/>
                  <a:ext cx="306602" cy="208664"/>
                </a:xfrm>
                <a:custGeom>
                  <a:avLst/>
                  <a:gdLst>
                    <a:gd name="connsiteX0" fmla="*/ 33134 w 306308"/>
                    <a:gd name="connsiteY0" fmla="*/ 0 h 185510"/>
                    <a:gd name="connsiteX1" fmla="*/ 48081 w 306308"/>
                    <a:gd name="connsiteY1" fmla="*/ 6191 h 185510"/>
                    <a:gd name="connsiteX2" fmla="*/ 153154 w 306308"/>
                    <a:gd name="connsiteY2" fmla="*/ 111264 h 185510"/>
                    <a:gd name="connsiteX3" fmla="*/ 258230 w 306308"/>
                    <a:gd name="connsiteY3" fmla="*/ 6189 h 185510"/>
                    <a:gd name="connsiteX4" fmla="*/ 273174 w 306308"/>
                    <a:gd name="connsiteY4" fmla="*/ 0 h 185510"/>
                    <a:gd name="connsiteX5" fmla="*/ 296604 w 306308"/>
                    <a:gd name="connsiteY5" fmla="*/ 9704 h 185510"/>
                    <a:gd name="connsiteX6" fmla="*/ 296604 w 306308"/>
                    <a:gd name="connsiteY6" fmla="*/ 56561 h 185510"/>
                    <a:gd name="connsiteX7" fmla="*/ 177359 w 306308"/>
                    <a:gd name="connsiteY7" fmla="*/ 175805 h 185510"/>
                    <a:gd name="connsiteX8" fmla="*/ 153930 w 306308"/>
                    <a:gd name="connsiteY8" fmla="*/ 185510 h 185510"/>
                    <a:gd name="connsiteX9" fmla="*/ 153154 w 306308"/>
                    <a:gd name="connsiteY9" fmla="*/ 185188 h 185510"/>
                    <a:gd name="connsiteX10" fmla="*/ 152377 w 306308"/>
                    <a:gd name="connsiteY10" fmla="*/ 185510 h 185510"/>
                    <a:gd name="connsiteX11" fmla="*/ 128949 w 306308"/>
                    <a:gd name="connsiteY11" fmla="*/ 175805 h 185510"/>
                    <a:gd name="connsiteX12" fmla="*/ 9705 w 306308"/>
                    <a:gd name="connsiteY12" fmla="*/ 56561 h 185510"/>
                    <a:gd name="connsiteX13" fmla="*/ 9705 w 306308"/>
                    <a:gd name="connsiteY13" fmla="*/ 9704 h 185510"/>
                    <a:gd name="connsiteX14" fmla="*/ 33134 w 306308"/>
                    <a:gd name="connsiteY14" fmla="*/ 0 h 185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6308" h="185510">
                      <a:moveTo>
                        <a:pt x="33134" y="0"/>
                      </a:moveTo>
                      <a:lnTo>
                        <a:pt x="48081" y="6191"/>
                      </a:lnTo>
                      <a:lnTo>
                        <a:pt x="153154" y="111264"/>
                      </a:lnTo>
                      <a:lnTo>
                        <a:pt x="258230" y="6189"/>
                      </a:lnTo>
                      <a:lnTo>
                        <a:pt x="273174" y="0"/>
                      </a:lnTo>
                      <a:cubicBezTo>
                        <a:pt x="281654" y="0"/>
                        <a:pt x="290134" y="3235"/>
                        <a:pt x="296604" y="9704"/>
                      </a:cubicBezTo>
                      <a:cubicBezTo>
                        <a:pt x="309543" y="22642"/>
                        <a:pt x="309543" y="43622"/>
                        <a:pt x="296604" y="56561"/>
                      </a:cubicBezTo>
                      <a:lnTo>
                        <a:pt x="177359" y="175805"/>
                      </a:lnTo>
                      <a:cubicBezTo>
                        <a:pt x="170889" y="182274"/>
                        <a:pt x="162410" y="185510"/>
                        <a:pt x="153930" y="185510"/>
                      </a:cubicBezTo>
                      <a:lnTo>
                        <a:pt x="153154" y="185188"/>
                      </a:lnTo>
                      <a:lnTo>
                        <a:pt x="152377" y="185510"/>
                      </a:lnTo>
                      <a:cubicBezTo>
                        <a:pt x="143898" y="185510"/>
                        <a:pt x="135419" y="182274"/>
                        <a:pt x="128949" y="175805"/>
                      </a:cubicBezTo>
                      <a:lnTo>
                        <a:pt x="9705" y="56561"/>
                      </a:lnTo>
                      <a:cubicBezTo>
                        <a:pt x="-3235" y="43622"/>
                        <a:pt x="-3235" y="22642"/>
                        <a:pt x="9705" y="9704"/>
                      </a:cubicBezTo>
                      <a:cubicBezTo>
                        <a:pt x="16175" y="3235"/>
                        <a:pt x="24654" y="0"/>
                        <a:pt x="33134" y="0"/>
                      </a:cubicBezTo>
                      <a:close/>
                    </a:path>
                  </a:pathLst>
                </a:custGeom>
                <a:solidFill>
                  <a:schemeClr val="tx2"/>
                </a:solidFill>
                <a:ln w="19050" cap="flat" cmpd="sng" algn="ctr">
                  <a:solidFill>
                    <a:schemeClr val="bg2"/>
                  </a:solidFill>
                  <a:prstDash val="solid"/>
                </a:ln>
                <a:effectLst/>
              </p:spPr>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grpSp>
          <p:grpSp>
            <p:nvGrpSpPr>
              <p:cNvPr id="387" name="Group 386">
                <a:extLst>
                  <a:ext uri="{FF2B5EF4-FFF2-40B4-BE49-F238E27FC236}">
                    <a16:creationId xmlns:a16="http://schemas.microsoft.com/office/drawing/2014/main" id="{10F5D965-1950-4496-8518-D37B30EC043B}"/>
                  </a:ext>
                </a:extLst>
              </p:cNvPr>
              <p:cNvGrpSpPr>
                <a:grpSpLocks noChangeAspect="1"/>
              </p:cNvGrpSpPr>
              <p:nvPr/>
            </p:nvGrpSpPr>
            <p:grpSpPr>
              <a:xfrm rot="19510077">
                <a:off x="4139292" y="3054657"/>
                <a:ext cx="309187" cy="311812"/>
                <a:chOff x="12587348" y="2301556"/>
                <a:chExt cx="115021" cy="115998"/>
              </a:xfrm>
              <a:solidFill>
                <a:schemeClr val="accent3"/>
              </a:solidFill>
            </p:grpSpPr>
            <p:sp>
              <p:nvSpPr>
                <p:cNvPr id="403" name="Freeform 36">
                  <a:extLst>
                    <a:ext uri="{FF2B5EF4-FFF2-40B4-BE49-F238E27FC236}">
                      <a16:creationId xmlns:a16="http://schemas.microsoft.com/office/drawing/2014/main" id="{710F1EC5-612F-4DCF-94F6-2995C9D9FF91}"/>
                    </a:ext>
                  </a:extLst>
                </p:cNvPr>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4" name="Freeform 37">
                  <a:extLst>
                    <a:ext uri="{FF2B5EF4-FFF2-40B4-BE49-F238E27FC236}">
                      <a16:creationId xmlns:a16="http://schemas.microsoft.com/office/drawing/2014/main" id="{B273D51F-212A-4075-8273-312670C66BCB}"/>
                    </a:ext>
                  </a:extLst>
                </p:cNvPr>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5" name="Freeform 38">
                  <a:extLst>
                    <a:ext uri="{FF2B5EF4-FFF2-40B4-BE49-F238E27FC236}">
                      <a16:creationId xmlns:a16="http://schemas.microsoft.com/office/drawing/2014/main" id="{82685F85-ED2B-4639-9996-7372F181BBD8}"/>
                    </a:ext>
                  </a:extLst>
                </p:cNvPr>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6" name="Rectangle 405">
                  <a:extLst>
                    <a:ext uri="{FF2B5EF4-FFF2-40B4-BE49-F238E27FC236}">
                      <a16:creationId xmlns:a16="http://schemas.microsoft.com/office/drawing/2014/main" id="{C39A506A-B6E0-4D01-B43C-B3E9E7248DD9}"/>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7" name="Rectangle 406">
                  <a:extLst>
                    <a:ext uri="{FF2B5EF4-FFF2-40B4-BE49-F238E27FC236}">
                      <a16:creationId xmlns:a16="http://schemas.microsoft.com/office/drawing/2014/main" id="{97E0926C-4A24-4151-9CE9-958F5D79BD74}"/>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8" name="Freeform 41">
                  <a:extLst>
                    <a:ext uri="{FF2B5EF4-FFF2-40B4-BE49-F238E27FC236}">
                      <a16:creationId xmlns:a16="http://schemas.microsoft.com/office/drawing/2014/main" id="{018934D8-AC83-4867-9E8B-E11DF1BC44A7}"/>
                    </a:ext>
                  </a:extLst>
                </p:cNvPr>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9" name="Rectangle 408">
                  <a:extLst>
                    <a:ext uri="{FF2B5EF4-FFF2-40B4-BE49-F238E27FC236}">
                      <a16:creationId xmlns:a16="http://schemas.microsoft.com/office/drawing/2014/main" id="{F18382B3-D2CD-41E5-8888-CAC8DBB3856F}"/>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0" name="Rectangle 409">
                  <a:extLst>
                    <a:ext uri="{FF2B5EF4-FFF2-40B4-BE49-F238E27FC236}">
                      <a16:creationId xmlns:a16="http://schemas.microsoft.com/office/drawing/2014/main" id="{6F585D89-8371-4CF3-91B9-6282BE56C462}"/>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1" name="Freeform 44">
                  <a:extLst>
                    <a:ext uri="{FF2B5EF4-FFF2-40B4-BE49-F238E27FC236}">
                      <a16:creationId xmlns:a16="http://schemas.microsoft.com/office/drawing/2014/main" id="{FC9D6C76-0B39-4733-8C30-7A5DB8096A5D}"/>
                    </a:ext>
                  </a:extLst>
                </p:cNvPr>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2" name="Freeform 45">
                  <a:extLst>
                    <a:ext uri="{FF2B5EF4-FFF2-40B4-BE49-F238E27FC236}">
                      <a16:creationId xmlns:a16="http://schemas.microsoft.com/office/drawing/2014/main" id="{24F328C8-3781-4A46-B814-8863360A7C34}"/>
                    </a:ext>
                  </a:extLst>
                </p:cNvPr>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3" name="Freeform 46">
                  <a:extLst>
                    <a:ext uri="{FF2B5EF4-FFF2-40B4-BE49-F238E27FC236}">
                      <a16:creationId xmlns:a16="http://schemas.microsoft.com/office/drawing/2014/main" id="{63967052-DFB9-4354-996A-F7E47938560C}"/>
                    </a:ext>
                  </a:extLst>
                </p:cNvPr>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4" name="Freeform 47">
                  <a:extLst>
                    <a:ext uri="{FF2B5EF4-FFF2-40B4-BE49-F238E27FC236}">
                      <a16:creationId xmlns:a16="http://schemas.microsoft.com/office/drawing/2014/main" id="{B4226227-D91B-44DA-8D70-28B12EDB16A6}"/>
                    </a:ext>
                  </a:extLst>
                </p:cNvPr>
                <p:cNvSpPr>
                  <a:spLocks noChangeAspect="1"/>
                </p:cNvSpPr>
                <p:nvPr/>
              </p:nvSpPr>
              <p:spPr bwMode="auto">
                <a:xfrm>
                  <a:off x="12598373" y="2313558"/>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5" name="Oval 414">
                  <a:extLst>
                    <a:ext uri="{FF2B5EF4-FFF2-40B4-BE49-F238E27FC236}">
                      <a16:creationId xmlns:a16="http://schemas.microsoft.com/office/drawing/2014/main" id="{3667732D-6A42-4041-A18F-1C5D01C300E5}"/>
                    </a:ext>
                  </a:extLst>
                </p:cNvPr>
                <p:cNvSpPr>
                  <a:spLocks noChangeAspect="1" noChangeArrowheads="1"/>
                </p:cNvSpPr>
                <p:nvPr/>
              </p:nvSpPr>
              <p:spPr bwMode="auto">
                <a:xfrm>
                  <a:off x="12627372" y="2341557"/>
                  <a:ext cx="34999" cy="35999"/>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16" name="Freeform 49">
                  <a:extLst>
                    <a:ext uri="{FF2B5EF4-FFF2-40B4-BE49-F238E27FC236}">
                      <a16:creationId xmlns:a16="http://schemas.microsoft.com/office/drawing/2014/main" id="{8AC21C85-37BE-4770-B99D-3EDBF271C6CB}"/>
                    </a:ext>
                  </a:extLst>
                </p:cNvPr>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388" name="Group 387">
                <a:extLst>
                  <a:ext uri="{FF2B5EF4-FFF2-40B4-BE49-F238E27FC236}">
                    <a16:creationId xmlns:a16="http://schemas.microsoft.com/office/drawing/2014/main" id="{79A02864-C1DF-4F5F-8D1D-F323A99C8F08}"/>
                  </a:ext>
                </a:extLst>
              </p:cNvPr>
              <p:cNvGrpSpPr>
                <a:grpSpLocks noChangeAspect="1"/>
              </p:cNvGrpSpPr>
              <p:nvPr/>
            </p:nvGrpSpPr>
            <p:grpSpPr>
              <a:xfrm rot="20192543">
                <a:off x="3766302" y="3008806"/>
                <a:ext cx="357790" cy="360827"/>
                <a:chOff x="12587348" y="2301556"/>
                <a:chExt cx="115021" cy="115998"/>
              </a:xfrm>
              <a:solidFill>
                <a:schemeClr val="accent3"/>
              </a:solidFill>
            </p:grpSpPr>
            <p:sp>
              <p:nvSpPr>
                <p:cNvPr id="389" name="Freeform 36">
                  <a:extLst>
                    <a:ext uri="{FF2B5EF4-FFF2-40B4-BE49-F238E27FC236}">
                      <a16:creationId xmlns:a16="http://schemas.microsoft.com/office/drawing/2014/main" id="{77FA045D-423A-415B-93B0-DB240BE13BBB}"/>
                    </a:ext>
                  </a:extLst>
                </p:cNvPr>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90" name="Freeform 37">
                  <a:extLst>
                    <a:ext uri="{FF2B5EF4-FFF2-40B4-BE49-F238E27FC236}">
                      <a16:creationId xmlns:a16="http://schemas.microsoft.com/office/drawing/2014/main" id="{FB29EC6E-A776-46C2-AB58-6BA58BA9ECA2}"/>
                    </a:ext>
                  </a:extLst>
                </p:cNvPr>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91" name="Freeform 38">
                  <a:extLst>
                    <a:ext uri="{FF2B5EF4-FFF2-40B4-BE49-F238E27FC236}">
                      <a16:creationId xmlns:a16="http://schemas.microsoft.com/office/drawing/2014/main" id="{FB561ED3-7531-4042-B979-4C329671EF6A}"/>
                    </a:ext>
                  </a:extLst>
                </p:cNvPr>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92" name="Rectangle 391">
                  <a:extLst>
                    <a:ext uri="{FF2B5EF4-FFF2-40B4-BE49-F238E27FC236}">
                      <a16:creationId xmlns:a16="http://schemas.microsoft.com/office/drawing/2014/main" id="{0814EE07-847F-4EA3-AD2A-81566AB95A8A}"/>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93" name="Rectangle 392">
                  <a:extLst>
                    <a:ext uri="{FF2B5EF4-FFF2-40B4-BE49-F238E27FC236}">
                      <a16:creationId xmlns:a16="http://schemas.microsoft.com/office/drawing/2014/main" id="{2911DA1A-2C7C-4FC6-BBF9-2FCD27542D01}"/>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94" name="Freeform 41">
                  <a:extLst>
                    <a:ext uri="{FF2B5EF4-FFF2-40B4-BE49-F238E27FC236}">
                      <a16:creationId xmlns:a16="http://schemas.microsoft.com/office/drawing/2014/main" id="{34303025-876D-409C-84AC-26648E864630}"/>
                    </a:ext>
                  </a:extLst>
                </p:cNvPr>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95" name="Rectangle 394">
                  <a:extLst>
                    <a:ext uri="{FF2B5EF4-FFF2-40B4-BE49-F238E27FC236}">
                      <a16:creationId xmlns:a16="http://schemas.microsoft.com/office/drawing/2014/main" id="{6857E0E1-DD29-4F4A-A7A1-CB7C67CE6168}"/>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96" name="Rectangle 395">
                  <a:extLst>
                    <a:ext uri="{FF2B5EF4-FFF2-40B4-BE49-F238E27FC236}">
                      <a16:creationId xmlns:a16="http://schemas.microsoft.com/office/drawing/2014/main" id="{56E5F000-1641-4EED-8E16-477D0323C03F}"/>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97" name="Freeform 44">
                  <a:extLst>
                    <a:ext uri="{FF2B5EF4-FFF2-40B4-BE49-F238E27FC236}">
                      <a16:creationId xmlns:a16="http://schemas.microsoft.com/office/drawing/2014/main" id="{DAED4E9B-4B5B-436C-81B1-5C8F37E63A7A}"/>
                    </a:ext>
                  </a:extLst>
                </p:cNvPr>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98" name="Freeform 45">
                  <a:extLst>
                    <a:ext uri="{FF2B5EF4-FFF2-40B4-BE49-F238E27FC236}">
                      <a16:creationId xmlns:a16="http://schemas.microsoft.com/office/drawing/2014/main" id="{28ADA0AF-0B9B-4EFE-A869-88659AF68CF9}"/>
                    </a:ext>
                  </a:extLst>
                </p:cNvPr>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99" name="Freeform 46">
                  <a:extLst>
                    <a:ext uri="{FF2B5EF4-FFF2-40B4-BE49-F238E27FC236}">
                      <a16:creationId xmlns:a16="http://schemas.microsoft.com/office/drawing/2014/main" id="{2D673F8A-0C76-4550-9EF2-01177C785002}"/>
                    </a:ext>
                  </a:extLst>
                </p:cNvPr>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0" name="Freeform 47">
                  <a:extLst>
                    <a:ext uri="{FF2B5EF4-FFF2-40B4-BE49-F238E27FC236}">
                      <a16:creationId xmlns:a16="http://schemas.microsoft.com/office/drawing/2014/main" id="{D820A550-0DAC-423D-A2B1-CBF03B55DA01}"/>
                    </a:ext>
                  </a:extLst>
                </p:cNvPr>
                <p:cNvSpPr>
                  <a:spLocks noChangeAspect="1"/>
                </p:cNvSpPr>
                <p:nvPr/>
              </p:nvSpPr>
              <p:spPr bwMode="auto">
                <a:xfrm>
                  <a:off x="12598373" y="2313558"/>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1" name="Oval 400">
                  <a:extLst>
                    <a:ext uri="{FF2B5EF4-FFF2-40B4-BE49-F238E27FC236}">
                      <a16:creationId xmlns:a16="http://schemas.microsoft.com/office/drawing/2014/main" id="{434A2263-1784-4E4A-8EE3-74C489CDCD5B}"/>
                    </a:ext>
                  </a:extLst>
                </p:cNvPr>
                <p:cNvSpPr>
                  <a:spLocks noChangeAspect="1" noChangeArrowheads="1"/>
                </p:cNvSpPr>
                <p:nvPr/>
              </p:nvSpPr>
              <p:spPr bwMode="auto">
                <a:xfrm>
                  <a:off x="12627372" y="2341557"/>
                  <a:ext cx="34999" cy="35999"/>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02" name="Freeform 49">
                  <a:extLst>
                    <a:ext uri="{FF2B5EF4-FFF2-40B4-BE49-F238E27FC236}">
                      <a16:creationId xmlns:a16="http://schemas.microsoft.com/office/drawing/2014/main" id="{82E71E39-A7F2-46DB-900C-EE260E0F524B}"/>
                    </a:ext>
                  </a:extLst>
                </p:cNvPr>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373" name="Group 372">
              <a:extLst>
                <a:ext uri="{FF2B5EF4-FFF2-40B4-BE49-F238E27FC236}">
                  <a16:creationId xmlns:a16="http://schemas.microsoft.com/office/drawing/2014/main" id="{8DD900F6-9CDF-4659-9860-AD2612D09C9B}"/>
                </a:ext>
              </a:extLst>
            </p:cNvPr>
            <p:cNvGrpSpPr/>
            <p:nvPr/>
          </p:nvGrpSpPr>
          <p:grpSpPr>
            <a:xfrm>
              <a:off x="4343831" y="2553288"/>
              <a:ext cx="421884" cy="421884"/>
              <a:chOff x="8661278" y="1941349"/>
              <a:chExt cx="1195479" cy="1195479"/>
            </a:xfrm>
          </p:grpSpPr>
          <p:sp>
            <p:nvSpPr>
              <p:cNvPr id="374" name="Oval 373">
                <a:extLst>
                  <a:ext uri="{FF2B5EF4-FFF2-40B4-BE49-F238E27FC236}">
                    <a16:creationId xmlns:a16="http://schemas.microsoft.com/office/drawing/2014/main" id="{68067EA6-B172-4D33-BA62-98101C0DE146}"/>
                  </a:ext>
                </a:extLst>
              </p:cNvPr>
              <p:cNvSpPr/>
              <p:nvPr/>
            </p:nvSpPr>
            <p:spPr>
              <a:xfrm>
                <a:off x="8661278" y="1941349"/>
                <a:ext cx="1195479" cy="1195479"/>
              </a:xfrm>
              <a:prstGeom prst="ellipse">
                <a:avLst/>
              </a:prstGeom>
              <a:solidFill>
                <a:schemeClr val="bg2"/>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375" name="Group 374">
                <a:extLst>
                  <a:ext uri="{FF2B5EF4-FFF2-40B4-BE49-F238E27FC236}">
                    <a16:creationId xmlns:a16="http://schemas.microsoft.com/office/drawing/2014/main" id="{D5C38F9B-5499-4D8C-987F-0F0D895B348B}"/>
                  </a:ext>
                </a:extLst>
              </p:cNvPr>
              <p:cNvGrpSpPr>
                <a:grpSpLocks noChangeAspect="1"/>
              </p:cNvGrpSpPr>
              <p:nvPr/>
            </p:nvGrpSpPr>
            <p:grpSpPr>
              <a:xfrm>
                <a:off x="8809926" y="2064526"/>
                <a:ext cx="905968" cy="938877"/>
                <a:chOff x="3492667" y="1430757"/>
                <a:chExt cx="467986" cy="484986"/>
              </a:xfrm>
            </p:grpSpPr>
            <p:sp>
              <p:nvSpPr>
                <p:cNvPr id="376" name="Freeform 597">
                  <a:extLst>
                    <a:ext uri="{FF2B5EF4-FFF2-40B4-BE49-F238E27FC236}">
                      <a16:creationId xmlns:a16="http://schemas.microsoft.com/office/drawing/2014/main" id="{B962D996-D1DE-446D-B826-43A5DDCB743A}"/>
                    </a:ext>
                  </a:extLst>
                </p:cNvPr>
                <p:cNvSpPr>
                  <a:spLocks noEditPoints="1"/>
                </p:cNvSpPr>
                <p:nvPr/>
              </p:nvSpPr>
              <p:spPr bwMode="auto">
                <a:xfrm>
                  <a:off x="3492667" y="1430758"/>
                  <a:ext cx="221993" cy="484985"/>
                </a:xfrm>
                <a:custGeom>
                  <a:avLst/>
                  <a:gdLst>
                    <a:gd name="T0" fmla="*/ 69 w 94"/>
                    <a:gd name="T1" fmla="*/ 0 h 205"/>
                    <a:gd name="T2" fmla="*/ 47 w 94"/>
                    <a:gd name="T3" fmla="*/ 11 h 205"/>
                    <a:gd name="T4" fmla="*/ 22 w 94"/>
                    <a:gd name="T5" fmla="*/ 38 h 205"/>
                    <a:gd name="T6" fmla="*/ 10 w 94"/>
                    <a:gd name="T7" fmla="*/ 67 h 205"/>
                    <a:gd name="T8" fmla="*/ 0 w 94"/>
                    <a:gd name="T9" fmla="*/ 90 h 205"/>
                    <a:gd name="T10" fmla="*/ 0 w 94"/>
                    <a:gd name="T11" fmla="*/ 91 h 205"/>
                    <a:gd name="T12" fmla="*/ 2 w 94"/>
                    <a:gd name="T13" fmla="*/ 99 h 205"/>
                    <a:gd name="T14" fmla="*/ 4 w 94"/>
                    <a:gd name="T15" fmla="*/ 105 h 205"/>
                    <a:gd name="T16" fmla="*/ 7 w 94"/>
                    <a:gd name="T17" fmla="*/ 137 h 205"/>
                    <a:gd name="T18" fmla="*/ 21 w 94"/>
                    <a:gd name="T19" fmla="*/ 171 h 205"/>
                    <a:gd name="T20" fmla="*/ 23 w 94"/>
                    <a:gd name="T21" fmla="*/ 179 h 205"/>
                    <a:gd name="T22" fmla="*/ 53 w 94"/>
                    <a:gd name="T23" fmla="*/ 194 h 205"/>
                    <a:gd name="T24" fmla="*/ 88 w 94"/>
                    <a:gd name="T25" fmla="*/ 199 h 205"/>
                    <a:gd name="T26" fmla="*/ 94 w 94"/>
                    <a:gd name="T27" fmla="*/ 27 h 205"/>
                    <a:gd name="T28" fmla="*/ 70 w 94"/>
                    <a:gd name="T29" fmla="*/ 48 h 205"/>
                    <a:gd name="T30" fmla="*/ 86 w 94"/>
                    <a:gd name="T31" fmla="*/ 53 h 205"/>
                    <a:gd name="T32" fmla="*/ 47 w 94"/>
                    <a:gd name="T33" fmla="*/ 103 h 205"/>
                    <a:gd name="T34" fmla="*/ 29 w 94"/>
                    <a:gd name="T35" fmla="*/ 84 h 205"/>
                    <a:gd name="T36" fmla="*/ 46 w 94"/>
                    <a:gd name="T37" fmla="*/ 112 h 205"/>
                    <a:gd name="T38" fmla="*/ 86 w 94"/>
                    <a:gd name="T39" fmla="*/ 137 h 205"/>
                    <a:gd name="T40" fmla="*/ 39 w 94"/>
                    <a:gd name="T41" fmla="*/ 160 h 205"/>
                    <a:gd name="T42" fmla="*/ 48 w 94"/>
                    <a:gd name="T43" fmla="*/ 160 h 205"/>
                    <a:gd name="T44" fmla="*/ 86 w 94"/>
                    <a:gd name="T45" fmla="*/ 146 h 205"/>
                    <a:gd name="T46" fmla="*/ 74 w 94"/>
                    <a:gd name="T47" fmla="*/ 197 h 205"/>
                    <a:gd name="T48" fmla="*/ 72 w 94"/>
                    <a:gd name="T49" fmla="*/ 169 h 205"/>
                    <a:gd name="T50" fmla="*/ 64 w 94"/>
                    <a:gd name="T51" fmla="*/ 157 h 205"/>
                    <a:gd name="T52" fmla="*/ 62 w 94"/>
                    <a:gd name="T53" fmla="*/ 162 h 205"/>
                    <a:gd name="T54" fmla="*/ 54 w 94"/>
                    <a:gd name="T55" fmla="*/ 184 h 205"/>
                    <a:gd name="T56" fmla="*/ 46 w 94"/>
                    <a:gd name="T57" fmla="*/ 185 h 205"/>
                    <a:gd name="T58" fmla="*/ 30 w 94"/>
                    <a:gd name="T59" fmla="*/ 168 h 205"/>
                    <a:gd name="T60" fmla="*/ 13 w 94"/>
                    <a:gd name="T61" fmla="*/ 147 h 205"/>
                    <a:gd name="T62" fmla="*/ 15 w 94"/>
                    <a:gd name="T63" fmla="*/ 132 h 205"/>
                    <a:gd name="T64" fmla="*/ 13 w 94"/>
                    <a:gd name="T65" fmla="*/ 108 h 205"/>
                    <a:gd name="T66" fmla="*/ 8 w 94"/>
                    <a:gd name="T67" fmla="*/ 89 h 205"/>
                    <a:gd name="T68" fmla="*/ 48 w 94"/>
                    <a:gd name="T69" fmla="*/ 88 h 205"/>
                    <a:gd name="T70" fmla="*/ 56 w 94"/>
                    <a:gd name="T71" fmla="*/ 91 h 205"/>
                    <a:gd name="T72" fmla="*/ 28 w 94"/>
                    <a:gd name="T73" fmla="*/ 61 h 205"/>
                    <a:gd name="T74" fmla="*/ 17 w 94"/>
                    <a:gd name="T75" fmla="*/ 59 h 205"/>
                    <a:gd name="T76" fmla="*/ 31 w 94"/>
                    <a:gd name="T77" fmla="*/ 40 h 205"/>
                    <a:gd name="T78" fmla="*/ 31 w 94"/>
                    <a:gd name="T79" fmla="*/ 34 h 205"/>
                    <a:gd name="T80" fmla="*/ 47 w 94"/>
                    <a:gd name="T81" fmla="*/ 20 h 205"/>
                    <a:gd name="T82" fmla="*/ 68 w 94"/>
                    <a:gd name="T83" fmla="*/ 31 h 205"/>
                    <a:gd name="T84" fmla="*/ 57 w 94"/>
                    <a:gd name="T85" fmla="*/ 13 h 205"/>
                    <a:gd name="T86" fmla="*/ 86 w 94"/>
                    <a:gd name="T87" fmla="*/ 27 h 205"/>
                    <a:gd name="T88" fmla="*/ 75 w 94"/>
                    <a:gd name="T89" fmla="*/ 4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205">
                      <a:moveTo>
                        <a:pt x="87" y="7"/>
                      </a:moveTo>
                      <a:cubicBezTo>
                        <a:pt x="82" y="2"/>
                        <a:pt x="76" y="0"/>
                        <a:pt x="69" y="0"/>
                      </a:cubicBezTo>
                      <a:cubicBezTo>
                        <a:pt x="60" y="0"/>
                        <a:pt x="52" y="4"/>
                        <a:pt x="47" y="11"/>
                      </a:cubicBezTo>
                      <a:cubicBezTo>
                        <a:pt x="47" y="11"/>
                        <a:pt x="47" y="11"/>
                        <a:pt x="47" y="11"/>
                      </a:cubicBezTo>
                      <a:cubicBezTo>
                        <a:pt x="33" y="11"/>
                        <a:pt x="22" y="22"/>
                        <a:pt x="22" y="36"/>
                      </a:cubicBezTo>
                      <a:cubicBezTo>
                        <a:pt x="22" y="37"/>
                        <a:pt x="22" y="37"/>
                        <a:pt x="22" y="38"/>
                      </a:cubicBezTo>
                      <a:cubicBezTo>
                        <a:pt x="14" y="41"/>
                        <a:pt x="8" y="50"/>
                        <a:pt x="8" y="59"/>
                      </a:cubicBezTo>
                      <a:cubicBezTo>
                        <a:pt x="8" y="62"/>
                        <a:pt x="9" y="64"/>
                        <a:pt x="10" y="67"/>
                      </a:cubicBezTo>
                      <a:cubicBezTo>
                        <a:pt x="3" y="73"/>
                        <a:pt x="0" y="81"/>
                        <a:pt x="0" y="89"/>
                      </a:cubicBezTo>
                      <a:cubicBezTo>
                        <a:pt x="0" y="90"/>
                        <a:pt x="0" y="90"/>
                        <a:pt x="0" y="90"/>
                      </a:cubicBezTo>
                      <a:cubicBezTo>
                        <a:pt x="0" y="90"/>
                        <a:pt x="0" y="90"/>
                        <a:pt x="0" y="90"/>
                      </a:cubicBezTo>
                      <a:cubicBezTo>
                        <a:pt x="0" y="91"/>
                        <a:pt x="0" y="91"/>
                        <a:pt x="0" y="91"/>
                      </a:cubicBezTo>
                      <a:cubicBezTo>
                        <a:pt x="0" y="91"/>
                        <a:pt x="0" y="91"/>
                        <a:pt x="0" y="91"/>
                      </a:cubicBezTo>
                      <a:cubicBezTo>
                        <a:pt x="0" y="94"/>
                        <a:pt x="1" y="97"/>
                        <a:pt x="2" y="99"/>
                      </a:cubicBezTo>
                      <a:cubicBezTo>
                        <a:pt x="2" y="100"/>
                        <a:pt x="2" y="100"/>
                        <a:pt x="2" y="100"/>
                      </a:cubicBezTo>
                      <a:cubicBezTo>
                        <a:pt x="3" y="102"/>
                        <a:pt x="3" y="103"/>
                        <a:pt x="4" y="105"/>
                      </a:cubicBezTo>
                      <a:cubicBezTo>
                        <a:pt x="1" y="109"/>
                        <a:pt x="0" y="114"/>
                        <a:pt x="0" y="120"/>
                      </a:cubicBezTo>
                      <a:cubicBezTo>
                        <a:pt x="0" y="126"/>
                        <a:pt x="2" y="132"/>
                        <a:pt x="7" y="137"/>
                      </a:cubicBezTo>
                      <a:cubicBezTo>
                        <a:pt x="5" y="140"/>
                        <a:pt x="5" y="143"/>
                        <a:pt x="5" y="147"/>
                      </a:cubicBezTo>
                      <a:cubicBezTo>
                        <a:pt x="5" y="157"/>
                        <a:pt x="11" y="167"/>
                        <a:pt x="21" y="171"/>
                      </a:cubicBezTo>
                      <a:cubicBezTo>
                        <a:pt x="21" y="174"/>
                        <a:pt x="22" y="176"/>
                        <a:pt x="23" y="178"/>
                      </a:cubicBezTo>
                      <a:cubicBezTo>
                        <a:pt x="23" y="179"/>
                        <a:pt x="23" y="179"/>
                        <a:pt x="23" y="179"/>
                      </a:cubicBezTo>
                      <a:cubicBezTo>
                        <a:pt x="27" y="188"/>
                        <a:pt x="36" y="194"/>
                        <a:pt x="46" y="194"/>
                      </a:cubicBezTo>
                      <a:cubicBezTo>
                        <a:pt x="48" y="194"/>
                        <a:pt x="51" y="194"/>
                        <a:pt x="53" y="194"/>
                      </a:cubicBezTo>
                      <a:cubicBezTo>
                        <a:pt x="58" y="201"/>
                        <a:pt x="65" y="205"/>
                        <a:pt x="74" y="205"/>
                      </a:cubicBezTo>
                      <a:cubicBezTo>
                        <a:pt x="80" y="205"/>
                        <a:pt x="84" y="203"/>
                        <a:pt x="88" y="199"/>
                      </a:cubicBezTo>
                      <a:cubicBezTo>
                        <a:pt x="93" y="195"/>
                        <a:pt x="94" y="189"/>
                        <a:pt x="94" y="183"/>
                      </a:cubicBezTo>
                      <a:cubicBezTo>
                        <a:pt x="94" y="27"/>
                        <a:pt x="94" y="27"/>
                        <a:pt x="94" y="27"/>
                      </a:cubicBezTo>
                      <a:cubicBezTo>
                        <a:pt x="94" y="19"/>
                        <a:pt x="92" y="12"/>
                        <a:pt x="87" y="7"/>
                      </a:cubicBezTo>
                      <a:close/>
                      <a:moveTo>
                        <a:pt x="70" y="48"/>
                      </a:moveTo>
                      <a:cubicBezTo>
                        <a:pt x="70" y="51"/>
                        <a:pt x="72" y="53"/>
                        <a:pt x="75" y="53"/>
                      </a:cubicBezTo>
                      <a:cubicBezTo>
                        <a:pt x="86" y="53"/>
                        <a:pt x="86" y="53"/>
                        <a:pt x="86" y="53"/>
                      </a:cubicBezTo>
                      <a:cubicBezTo>
                        <a:pt x="86" y="103"/>
                        <a:pt x="86" y="103"/>
                        <a:pt x="86" y="103"/>
                      </a:cubicBezTo>
                      <a:cubicBezTo>
                        <a:pt x="86" y="103"/>
                        <a:pt x="55" y="103"/>
                        <a:pt x="47" y="103"/>
                      </a:cubicBezTo>
                      <a:cubicBezTo>
                        <a:pt x="40" y="103"/>
                        <a:pt x="33" y="97"/>
                        <a:pt x="33" y="89"/>
                      </a:cubicBezTo>
                      <a:cubicBezTo>
                        <a:pt x="33" y="86"/>
                        <a:pt x="31" y="84"/>
                        <a:pt x="29" y="84"/>
                      </a:cubicBezTo>
                      <a:cubicBezTo>
                        <a:pt x="26" y="84"/>
                        <a:pt x="25" y="86"/>
                        <a:pt x="25" y="89"/>
                      </a:cubicBezTo>
                      <a:cubicBezTo>
                        <a:pt x="25" y="101"/>
                        <a:pt x="35" y="112"/>
                        <a:pt x="46" y="112"/>
                      </a:cubicBezTo>
                      <a:cubicBezTo>
                        <a:pt x="58" y="112"/>
                        <a:pt x="86" y="113"/>
                        <a:pt x="86" y="113"/>
                      </a:cubicBezTo>
                      <a:cubicBezTo>
                        <a:pt x="86" y="137"/>
                        <a:pt x="86" y="137"/>
                        <a:pt x="86" y="137"/>
                      </a:cubicBezTo>
                      <a:cubicBezTo>
                        <a:pt x="86" y="137"/>
                        <a:pt x="75" y="137"/>
                        <a:pt x="62" y="137"/>
                      </a:cubicBezTo>
                      <a:cubicBezTo>
                        <a:pt x="49" y="137"/>
                        <a:pt x="39" y="147"/>
                        <a:pt x="39" y="160"/>
                      </a:cubicBezTo>
                      <a:cubicBezTo>
                        <a:pt x="39" y="162"/>
                        <a:pt x="41" y="164"/>
                        <a:pt x="44" y="164"/>
                      </a:cubicBezTo>
                      <a:cubicBezTo>
                        <a:pt x="46" y="164"/>
                        <a:pt x="48" y="162"/>
                        <a:pt x="48" y="160"/>
                      </a:cubicBezTo>
                      <a:cubicBezTo>
                        <a:pt x="48" y="152"/>
                        <a:pt x="54" y="146"/>
                        <a:pt x="62" y="146"/>
                      </a:cubicBezTo>
                      <a:cubicBezTo>
                        <a:pt x="70" y="146"/>
                        <a:pt x="86" y="146"/>
                        <a:pt x="86" y="146"/>
                      </a:cubicBezTo>
                      <a:cubicBezTo>
                        <a:pt x="86" y="183"/>
                        <a:pt x="86" y="183"/>
                        <a:pt x="86" y="183"/>
                      </a:cubicBezTo>
                      <a:cubicBezTo>
                        <a:pt x="86" y="191"/>
                        <a:pt x="80" y="197"/>
                        <a:pt x="74" y="197"/>
                      </a:cubicBezTo>
                      <a:cubicBezTo>
                        <a:pt x="68" y="197"/>
                        <a:pt x="64" y="194"/>
                        <a:pt x="60" y="190"/>
                      </a:cubicBezTo>
                      <a:cubicBezTo>
                        <a:pt x="67" y="185"/>
                        <a:pt x="72" y="177"/>
                        <a:pt x="72" y="169"/>
                      </a:cubicBezTo>
                      <a:cubicBezTo>
                        <a:pt x="72" y="165"/>
                        <a:pt x="71" y="162"/>
                        <a:pt x="70" y="159"/>
                      </a:cubicBezTo>
                      <a:cubicBezTo>
                        <a:pt x="69" y="157"/>
                        <a:pt x="66" y="156"/>
                        <a:pt x="64" y="157"/>
                      </a:cubicBezTo>
                      <a:cubicBezTo>
                        <a:pt x="63" y="157"/>
                        <a:pt x="62" y="158"/>
                        <a:pt x="62" y="159"/>
                      </a:cubicBezTo>
                      <a:cubicBezTo>
                        <a:pt x="61" y="160"/>
                        <a:pt x="61" y="161"/>
                        <a:pt x="62" y="162"/>
                      </a:cubicBezTo>
                      <a:cubicBezTo>
                        <a:pt x="63" y="164"/>
                        <a:pt x="63" y="167"/>
                        <a:pt x="63" y="169"/>
                      </a:cubicBezTo>
                      <a:cubicBezTo>
                        <a:pt x="63" y="175"/>
                        <a:pt x="59" y="181"/>
                        <a:pt x="54" y="184"/>
                      </a:cubicBezTo>
                      <a:cubicBezTo>
                        <a:pt x="53" y="184"/>
                        <a:pt x="53" y="184"/>
                        <a:pt x="53" y="184"/>
                      </a:cubicBezTo>
                      <a:cubicBezTo>
                        <a:pt x="51" y="185"/>
                        <a:pt x="49" y="185"/>
                        <a:pt x="46" y="185"/>
                      </a:cubicBezTo>
                      <a:cubicBezTo>
                        <a:pt x="37" y="185"/>
                        <a:pt x="30" y="178"/>
                        <a:pt x="30" y="169"/>
                      </a:cubicBezTo>
                      <a:cubicBezTo>
                        <a:pt x="30" y="168"/>
                        <a:pt x="30" y="168"/>
                        <a:pt x="30" y="168"/>
                      </a:cubicBezTo>
                      <a:cubicBezTo>
                        <a:pt x="30" y="166"/>
                        <a:pt x="28" y="164"/>
                        <a:pt x="26" y="164"/>
                      </a:cubicBezTo>
                      <a:cubicBezTo>
                        <a:pt x="19" y="162"/>
                        <a:pt x="13" y="154"/>
                        <a:pt x="13" y="147"/>
                      </a:cubicBezTo>
                      <a:cubicBezTo>
                        <a:pt x="13" y="144"/>
                        <a:pt x="14" y="141"/>
                        <a:pt x="16" y="138"/>
                      </a:cubicBezTo>
                      <a:cubicBezTo>
                        <a:pt x="17" y="136"/>
                        <a:pt x="16" y="134"/>
                        <a:pt x="15" y="132"/>
                      </a:cubicBezTo>
                      <a:cubicBezTo>
                        <a:pt x="11" y="129"/>
                        <a:pt x="8" y="125"/>
                        <a:pt x="8" y="120"/>
                      </a:cubicBezTo>
                      <a:cubicBezTo>
                        <a:pt x="8" y="115"/>
                        <a:pt x="10" y="111"/>
                        <a:pt x="13" y="108"/>
                      </a:cubicBezTo>
                      <a:cubicBezTo>
                        <a:pt x="15" y="106"/>
                        <a:pt x="15" y="104"/>
                        <a:pt x="13" y="102"/>
                      </a:cubicBezTo>
                      <a:cubicBezTo>
                        <a:pt x="10" y="99"/>
                        <a:pt x="8" y="94"/>
                        <a:pt x="8" y="89"/>
                      </a:cubicBezTo>
                      <a:cubicBezTo>
                        <a:pt x="8" y="78"/>
                        <a:pt x="17" y="69"/>
                        <a:pt x="28" y="69"/>
                      </a:cubicBezTo>
                      <a:cubicBezTo>
                        <a:pt x="39" y="69"/>
                        <a:pt x="48" y="78"/>
                        <a:pt x="48" y="88"/>
                      </a:cubicBezTo>
                      <a:cubicBezTo>
                        <a:pt x="49" y="91"/>
                        <a:pt x="51" y="92"/>
                        <a:pt x="53" y="92"/>
                      </a:cubicBezTo>
                      <a:cubicBezTo>
                        <a:pt x="54" y="92"/>
                        <a:pt x="55" y="92"/>
                        <a:pt x="56" y="91"/>
                      </a:cubicBezTo>
                      <a:cubicBezTo>
                        <a:pt x="57" y="90"/>
                        <a:pt x="57" y="89"/>
                        <a:pt x="57" y="88"/>
                      </a:cubicBezTo>
                      <a:cubicBezTo>
                        <a:pt x="56" y="72"/>
                        <a:pt x="44" y="61"/>
                        <a:pt x="28" y="61"/>
                      </a:cubicBezTo>
                      <a:cubicBezTo>
                        <a:pt x="25" y="61"/>
                        <a:pt x="21" y="61"/>
                        <a:pt x="18" y="63"/>
                      </a:cubicBezTo>
                      <a:cubicBezTo>
                        <a:pt x="17" y="61"/>
                        <a:pt x="17" y="60"/>
                        <a:pt x="17" y="59"/>
                      </a:cubicBezTo>
                      <a:cubicBezTo>
                        <a:pt x="17" y="52"/>
                        <a:pt x="21" y="47"/>
                        <a:pt x="28" y="45"/>
                      </a:cubicBezTo>
                      <a:cubicBezTo>
                        <a:pt x="30" y="44"/>
                        <a:pt x="31" y="42"/>
                        <a:pt x="31" y="40"/>
                      </a:cubicBezTo>
                      <a:cubicBezTo>
                        <a:pt x="31" y="39"/>
                        <a:pt x="30" y="38"/>
                        <a:pt x="30" y="36"/>
                      </a:cubicBezTo>
                      <a:cubicBezTo>
                        <a:pt x="30" y="36"/>
                        <a:pt x="31" y="35"/>
                        <a:pt x="31" y="34"/>
                      </a:cubicBezTo>
                      <a:cubicBezTo>
                        <a:pt x="31" y="34"/>
                        <a:pt x="31" y="34"/>
                        <a:pt x="31" y="34"/>
                      </a:cubicBezTo>
                      <a:cubicBezTo>
                        <a:pt x="32" y="26"/>
                        <a:pt x="39" y="20"/>
                        <a:pt x="47" y="20"/>
                      </a:cubicBezTo>
                      <a:cubicBezTo>
                        <a:pt x="53" y="20"/>
                        <a:pt x="59" y="23"/>
                        <a:pt x="62" y="29"/>
                      </a:cubicBezTo>
                      <a:cubicBezTo>
                        <a:pt x="63" y="31"/>
                        <a:pt x="66" y="32"/>
                        <a:pt x="68" y="31"/>
                      </a:cubicBezTo>
                      <a:cubicBezTo>
                        <a:pt x="70" y="30"/>
                        <a:pt x="71" y="27"/>
                        <a:pt x="70" y="25"/>
                      </a:cubicBezTo>
                      <a:cubicBezTo>
                        <a:pt x="67" y="20"/>
                        <a:pt x="62" y="15"/>
                        <a:pt x="57" y="13"/>
                      </a:cubicBezTo>
                      <a:cubicBezTo>
                        <a:pt x="60" y="10"/>
                        <a:pt x="64" y="8"/>
                        <a:pt x="69" y="8"/>
                      </a:cubicBezTo>
                      <a:cubicBezTo>
                        <a:pt x="79" y="8"/>
                        <a:pt x="86" y="16"/>
                        <a:pt x="86" y="27"/>
                      </a:cubicBezTo>
                      <a:cubicBezTo>
                        <a:pt x="86" y="44"/>
                        <a:pt x="86" y="44"/>
                        <a:pt x="86" y="44"/>
                      </a:cubicBezTo>
                      <a:cubicBezTo>
                        <a:pt x="75" y="44"/>
                        <a:pt x="75" y="44"/>
                        <a:pt x="75" y="44"/>
                      </a:cubicBezTo>
                      <a:cubicBezTo>
                        <a:pt x="72" y="44"/>
                        <a:pt x="70" y="46"/>
                        <a:pt x="70" y="48"/>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7" name="Freeform 598">
                  <a:extLst>
                    <a:ext uri="{FF2B5EF4-FFF2-40B4-BE49-F238E27FC236}">
                      <a16:creationId xmlns:a16="http://schemas.microsoft.com/office/drawing/2014/main" id="{5B2D5A24-A983-4CDF-8E97-DDCD6777B657}"/>
                    </a:ext>
                  </a:extLst>
                </p:cNvPr>
                <p:cNvSpPr>
                  <a:spLocks/>
                </p:cNvSpPr>
                <p:nvPr/>
              </p:nvSpPr>
              <p:spPr bwMode="auto">
                <a:xfrm>
                  <a:off x="3641663" y="1563581"/>
                  <a:ext cx="46999" cy="72998"/>
                </a:xfrm>
                <a:custGeom>
                  <a:avLst/>
                  <a:gdLst>
                    <a:gd name="T0" fmla="*/ 0 w 20"/>
                    <a:gd name="T1" fmla="*/ 5 h 31"/>
                    <a:gd name="T2" fmla="*/ 4 w 20"/>
                    <a:gd name="T3" fmla="*/ 9 h 31"/>
                    <a:gd name="T4" fmla="*/ 11 w 20"/>
                    <a:gd name="T5" fmla="*/ 16 h 31"/>
                    <a:gd name="T6" fmla="*/ 4 w 20"/>
                    <a:gd name="T7" fmla="*/ 22 h 31"/>
                    <a:gd name="T8" fmla="*/ 0 w 20"/>
                    <a:gd name="T9" fmla="*/ 27 h 31"/>
                    <a:gd name="T10" fmla="*/ 4 w 20"/>
                    <a:gd name="T11" fmla="*/ 31 h 31"/>
                    <a:gd name="T12" fmla="*/ 20 w 20"/>
                    <a:gd name="T13" fmla="*/ 16 h 31"/>
                    <a:gd name="T14" fmla="*/ 4 w 20"/>
                    <a:gd name="T15" fmla="*/ 0 h 31"/>
                    <a:gd name="T16" fmla="*/ 0 w 20"/>
                    <a:gd name="T1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1">
                      <a:moveTo>
                        <a:pt x="0" y="5"/>
                      </a:moveTo>
                      <a:cubicBezTo>
                        <a:pt x="0" y="7"/>
                        <a:pt x="2" y="9"/>
                        <a:pt x="4" y="9"/>
                      </a:cubicBezTo>
                      <a:cubicBezTo>
                        <a:pt x="8" y="9"/>
                        <a:pt x="11" y="12"/>
                        <a:pt x="11" y="16"/>
                      </a:cubicBezTo>
                      <a:cubicBezTo>
                        <a:pt x="11" y="19"/>
                        <a:pt x="8" y="22"/>
                        <a:pt x="4" y="22"/>
                      </a:cubicBezTo>
                      <a:cubicBezTo>
                        <a:pt x="2" y="22"/>
                        <a:pt x="0" y="24"/>
                        <a:pt x="0" y="27"/>
                      </a:cubicBezTo>
                      <a:cubicBezTo>
                        <a:pt x="0" y="29"/>
                        <a:pt x="2" y="31"/>
                        <a:pt x="4" y="31"/>
                      </a:cubicBezTo>
                      <a:cubicBezTo>
                        <a:pt x="13" y="31"/>
                        <a:pt x="20" y="24"/>
                        <a:pt x="20" y="16"/>
                      </a:cubicBezTo>
                      <a:cubicBezTo>
                        <a:pt x="20" y="7"/>
                        <a:pt x="13" y="0"/>
                        <a:pt x="4" y="0"/>
                      </a:cubicBezTo>
                      <a:cubicBezTo>
                        <a:pt x="2" y="0"/>
                        <a:pt x="0" y="2"/>
                        <a:pt x="0" y="5"/>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8" name="Freeform 599">
                  <a:extLst>
                    <a:ext uri="{FF2B5EF4-FFF2-40B4-BE49-F238E27FC236}">
                      <a16:creationId xmlns:a16="http://schemas.microsoft.com/office/drawing/2014/main" id="{96234DB8-4299-42E1-A908-E247972AC651}"/>
                    </a:ext>
                  </a:extLst>
                </p:cNvPr>
                <p:cNvSpPr>
                  <a:spLocks/>
                </p:cNvSpPr>
                <p:nvPr/>
              </p:nvSpPr>
              <p:spPr bwMode="auto">
                <a:xfrm>
                  <a:off x="3596664" y="1497583"/>
                  <a:ext cx="46999" cy="49998"/>
                </a:xfrm>
                <a:custGeom>
                  <a:avLst/>
                  <a:gdLst>
                    <a:gd name="T0" fmla="*/ 20 w 20"/>
                    <a:gd name="T1" fmla="*/ 17 h 21"/>
                    <a:gd name="T2" fmla="*/ 16 w 20"/>
                    <a:gd name="T3" fmla="*/ 12 h 21"/>
                    <a:gd name="T4" fmla="*/ 8 w 20"/>
                    <a:gd name="T5" fmla="*/ 5 h 21"/>
                    <a:gd name="T6" fmla="*/ 4 w 20"/>
                    <a:gd name="T7" fmla="*/ 0 h 21"/>
                    <a:gd name="T8" fmla="*/ 0 w 20"/>
                    <a:gd name="T9" fmla="*/ 5 h 21"/>
                    <a:gd name="T10" fmla="*/ 16 w 20"/>
                    <a:gd name="T11" fmla="*/ 21 h 21"/>
                    <a:gd name="T12" fmla="*/ 20 w 20"/>
                    <a:gd name="T13" fmla="*/ 17 h 21"/>
                  </a:gdLst>
                  <a:ahLst/>
                  <a:cxnLst>
                    <a:cxn ang="0">
                      <a:pos x="T0" y="T1"/>
                    </a:cxn>
                    <a:cxn ang="0">
                      <a:pos x="T2" y="T3"/>
                    </a:cxn>
                    <a:cxn ang="0">
                      <a:pos x="T4" y="T5"/>
                    </a:cxn>
                    <a:cxn ang="0">
                      <a:pos x="T6" y="T7"/>
                    </a:cxn>
                    <a:cxn ang="0">
                      <a:pos x="T8" y="T9"/>
                    </a:cxn>
                    <a:cxn ang="0">
                      <a:pos x="T10" y="T11"/>
                    </a:cxn>
                    <a:cxn ang="0">
                      <a:pos x="T12" y="T13"/>
                    </a:cxn>
                  </a:cxnLst>
                  <a:rect l="0" t="0" r="r" b="b"/>
                  <a:pathLst>
                    <a:path w="20" h="21">
                      <a:moveTo>
                        <a:pt x="20" y="17"/>
                      </a:moveTo>
                      <a:cubicBezTo>
                        <a:pt x="20" y="14"/>
                        <a:pt x="18" y="12"/>
                        <a:pt x="16" y="12"/>
                      </a:cubicBezTo>
                      <a:cubicBezTo>
                        <a:pt x="12" y="12"/>
                        <a:pt x="8" y="9"/>
                        <a:pt x="8" y="5"/>
                      </a:cubicBezTo>
                      <a:cubicBezTo>
                        <a:pt x="8" y="2"/>
                        <a:pt x="6" y="0"/>
                        <a:pt x="4" y="0"/>
                      </a:cubicBezTo>
                      <a:cubicBezTo>
                        <a:pt x="2" y="0"/>
                        <a:pt x="0" y="2"/>
                        <a:pt x="0" y="5"/>
                      </a:cubicBezTo>
                      <a:cubicBezTo>
                        <a:pt x="0" y="14"/>
                        <a:pt x="7" y="21"/>
                        <a:pt x="16" y="21"/>
                      </a:cubicBezTo>
                      <a:cubicBezTo>
                        <a:pt x="18" y="21"/>
                        <a:pt x="20" y="19"/>
                        <a:pt x="20" y="17"/>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79" name="Freeform 600">
                  <a:extLst>
                    <a:ext uri="{FF2B5EF4-FFF2-40B4-BE49-F238E27FC236}">
                      <a16:creationId xmlns:a16="http://schemas.microsoft.com/office/drawing/2014/main" id="{ED1E7C4A-F5C6-49FD-8539-CBFBD230147D}"/>
                    </a:ext>
                  </a:extLst>
                </p:cNvPr>
                <p:cNvSpPr>
                  <a:spLocks/>
                </p:cNvSpPr>
                <p:nvPr/>
              </p:nvSpPr>
              <p:spPr bwMode="auto">
                <a:xfrm>
                  <a:off x="3551665" y="1710576"/>
                  <a:ext cx="46999" cy="48999"/>
                </a:xfrm>
                <a:custGeom>
                  <a:avLst/>
                  <a:gdLst>
                    <a:gd name="T0" fmla="*/ 4 w 20"/>
                    <a:gd name="T1" fmla="*/ 21 h 21"/>
                    <a:gd name="T2" fmla="*/ 8 w 20"/>
                    <a:gd name="T3" fmla="*/ 16 h 21"/>
                    <a:gd name="T4" fmla="*/ 16 w 20"/>
                    <a:gd name="T5" fmla="*/ 9 h 21"/>
                    <a:gd name="T6" fmla="*/ 20 w 20"/>
                    <a:gd name="T7" fmla="*/ 4 h 21"/>
                    <a:gd name="T8" fmla="*/ 16 w 20"/>
                    <a:gd name="T9" fmla="*/ 0 h 21"/>
                    <a:gd name="T10" fmla="*/ 0 w 20"/>
                    <a:gd name="T11" fmla="*/ 16 h 21"/>
                    <a:gd name="T12" fmla="*/ 4 w 20"/>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 h="21">
                      <a:moveTo>
                        <a:pt x="4" y="21"/>
                      </a:moveTo>
                      <a:cubicBezTo>
                        <a:pt x="6" y="21"/>
                        <a:pt x="8" y="19"/>
                        <a:pt x="8" y="16"/>
                      </a:cubicBezTo>
                      <a:cubicBezTo>
                        <a:pt x="8" y="12"/>
                        <a:pt x="12" y="9"/>
                        <a:pt x="16" y="9"/>
                      </a:cubicBezTo>
                      <a:cubicBezTo>
                        <a:pt x="18" y="9"/>
                        <a:pt x="20" y="7"/>
                        <a:pt x="20" y="4"/>
                      </a:cubicBezTo>
                      <a:cubicBezTo>
                        <a:pt x="20" y="2"/>
                        <a:pt x="18" y="0"/>
                        <a:pt x="16" y="0"/>
                      </a:cubicBezTo>
                      <a:cubicBezTo>
                        <a:pt x="7" y="0"/>
                        <a:pt x="0" y="7"/>
                        <a:pt x="0" y="16"/>
                      </a:cubicBezTo>
                      <a:cubicBezTo>
                        <a:pt x="0" y="19"/>
                        <a:pt x="1" y="21"/>
                        <a:pt x="4" y="2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80" name="Freeform 601">
                  <a:extLst>
                    <a:ext uri="{FF2B5EF4-FFF2-40B4-BE49-F238E27FC236}">
                      <a16:creationId xmlns:a16="http://schemas.microsoft.com/office/drawing/2014/main" id="{15FE6A56-EFAA-459B-BAE9-7DB6553F5E9F}"/>
                    </a:ext>
                  </a:extLst>
                </p:cNvPr>
                <p:cNvSpPr>
                  <a:spLocks/>
                </p:cNvSpPr>
                <p:nvPr/>
              </p:nvSpPr>
              <p:spPr bwMode="auto">
                <a:xfrm>
                  <a:off x="3612663" y="1710576"/>
                  <a:ext cx="75998" cy="22999"/>
                </a:xfrm>
                <a:custGeom>
                  <a:avLst/>
                  <a:gdLst>
                    <a:gd name="T0" fmla="*/ 4 w 32"/>
                    <a:gd name="T1" fmla="*/ 10 h 10"/>
                    <a:gd name="T2" fmla="*/ 28 w 32"/>
                    <a:gd name="T3" fmla="*/ 10 h 10"/>
                    <a:gd name="T4" fmla="*/ 32 w 32"/>
                    <a:gd name="T5" fmla="*/ 5 h 10"/>
                    <a:gd name="T6" fmla="*/ 28 w 32"/>
                    <a:gd name="T7" fmla="*/ 0 h 10"/>
                    <a:gd name="T8" fmla="*/ 4 w 32"/>
                    <a:gd name="T9" fmla="*/ 0 h 10"/>
                    <a:gd name="T10" fmla="*/ 0 w 32"/>
                    <a:gd name="T11" fmla="*/ 5 h 10"/>
                    <a:gd name="T12" fmla="*/ 4 w 3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2" h="10">
                      <a:moveTo>
                        <a:pt x="4" y="10"/>
                      </a:moveTo>
                      <a:cubicBezTo>
                        <a:pt x="28" y="10"/>
                        <a:pt x="28" y="10"/>
                        <a:pt x="28" y="10"/>
                      </a:cubicBezTo>
                      <a:cubicBezTo>
                        <a:pt x="30" y="10"/>
                        <a:pt x="32" y="7"/>
                        <a:pt x="32" y="5"/>
                      </a:cubicBezTo>
                      <a:cubicBezTo>
                        <a:pt x="32" y="2"/>
                        <a:pt x="30" y="0"/>
                        <a:pt x="28" y="0"/>
                      </a:cubicBezTo>
                      <a:cubicBezTo>
                        <a:pt x="4" y="0"/>
                        <a:pt x="4" y="0"/>
                        <a:pt x="4" y="0"/>
                      </a:cubicBezTo>
                      <a:cubicBezTo>
                        <a:pt x="2" y="0"/>
                        <a:pt x="0" y="2"/>
                        <a:pt x="0" y="5"/>
                      </a:cubicBezTo>
                      <a:cubicBezTo>
                        <a:pt x="0" y="7"/>
                        <a:pt x="2" y="10"/>
                        <a:pt x="4" y="1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81" name="Freeform 602">
                  <a:extLst>
                    <a:ext uri="{FF2B5EF4-FFF2-40B4-BE49-F238E27FC236}">
                      <a16:creationId xmlns:a16="http://schemas.microsoft.com/office/drawing/2014/main" id="{540025F9-AAA4-4EB8-964E-D0384BAD35F8}"/>
                    </a:ext>
                  </a:extLst>
                </p:cNvPr>
                <p:cNvSpPr>
                  <a:spLocks noEditPoints="1"/>
                </p:cNvSpPr>
                <p:nvPr/>
              </p:nvSpPr>
              <p:spPr bwMode="auto">
                <a:xfrm>
                  <a:off x="3737660" y="1430757"/>
                  <a:ext cx="222993" cy="484985"/>
                </a:xfrm>
                <a:custGeom>
                  <a:avLst/>
                  <a:gdLst>
                    <a:gd name="T0" fmla="*/ 0 w 94"/>
                    <a:gd name="T1" fmla="*/ 183 h 205"/>
                    <a:gd name="T2" fmla="*/ 19 w 94"/>
                    <a:gd name="T3" fmla="*/ 205 h 205"/>
                    <a:gd name="T4" fmla="*/ 47 w 94"/>
                    <a:gd name="T5" fmla="*/ 194 h 205"/>
                    <a:gd name="T6" fmla="*/ 71 w 94"/>
                    <a:gd name="T7" fmla="*/ 178 h 205"/>
                    <a:gd name="T8" fmla="*/ 89 w 94"/>
                    <a:gd name="T9" fmla="*/ 147 h 205"/>
                    <a:gd name="T10" fmla="*/ 94 w 94"/>
                    <a:gd name="T11" fmla="*/ 120 h 205"/>
                    <a:gd name="T12" fmla="*/ 92 w 94"/>
                    <a:gd name="T13" fmla="*/ 100 h 205"/>
                    <a:gd name="T14" fmla="*/ 93 w 94"/>
                    <a:gd name="T15" fmla="*/ 91 h 205"/>
                    <a:gd name="T16" fmla="*/ 94 w 94"/>
                    <a:gd name="T17" fmla="*/ 90 h 205"/>
                    <a:gd name="T18" fmla="*/ 94 w 94"/>
                    <a:gd name="T19" fmla="*/ 89 h 205"/>
                    <a:gd name="T20" fmla="*/ 85 w 94"/>
                    <a:gd name="T21" fmla="*/ 59 h 205"/>
                    <a:gd name="T22" fmla="*/ 72 w 94"/>
                    <a:gd name="T23" fmla="*/ 36 h 205"/>
                    <a:gd name="T24" fmla="*/ 46 w 94"/>
                    <a:gd name="T25" fmla="*/ 11 h 205"/>
                    <a:gd name="T26" fmla="*/ 6 w 94"/>
                    <a:gd name="T27" fmla="*/ 7 h 205"/>
                    <a:gd name="T28" fmla="*/ 19 w 94"/>
                    <a:gd name="T29" fmla="*/ 44 h 205"/>
                    <a:gd name="T30" fmla="*/ 7 w 94"/>
                    <a:gd name="T31" fmla="*/ 27 h 205"/>
                    <a:gd name="T32" fmla="*/ 36 w 94"/>
                    <a:gd name="T33" fmla="*/ 13 h 205"/>
                    <a:gd name="T34" fmla="*/ 26 w 94"/>
                    <a:gd name="T35" fmla="*/ 31 h 205"/>
                    <a:gd name="T36" fmla="*/ 46 w 94"/>
                    <a:gd name="T37" fmla="*/ 20 h 205"/>
                    <a:gd name="T38" fmla="*/ 63 w 94"/>
                    <a:gd name="T39" fmla="*/ 34 h 205"/>
                    <a:gd name="T40" fmla="*/ 62 w 94"/>
                    <a:gd name="T41" fmla="*/ 40 h 205"/>
                    <a:gd name="T42" fmla="*/ 76 w 94"/>
                    <a:gd name="T43" fmla="*/ 59 h 205"/>
                    <a:gd name="T44" fmla="*/ 65 w 94"/>
                    <a:gd name="T45" fmla="*/ 61 h 205"/>
                    <a:gd name="T46" fmla="*/ 37 w 94"/>
                    <a:gd name="T47" fmla="*/ 91 h 205"/>
                    <a:gd name="T48" fmla="*/ 45 w 94"/>
                    <a:gd name="T49" fmla="*/ 88 h 205"/>
                    <a:gd name="T50" fmla="*/ 85 w 94"/>
                    <a:gd name="T51" fmla="*/ 89 h 205"/>
                    <a:gd name="T52" fmla="*/ 80 w 94"/>
                    <a:gd name="T53" fmla="*/ 108 h 205"/>
                    <a:gd name="T54" fmla="*/ 79 w 94"/>
                    <a:gd name="T55" fmla="*/ 132 h 205"/>
                    <a:gd name="T56" fmla="*/ 80 w 94"/>
                    <a:gd name="T57" fmla="*/ 147 h 205"/>
                    <a:gd name="T58" fmla="*/ 64 w 94"/>
                    <a:gd name="T59" fmla="*/ 168 h 205"/>
                    <a:gd name="T60" fmla="*/ 47 w 94"/>
                    <a:gd name="T61" fmla="*/ 185 h 205"/>
                    <a:gd name="T62" fmla="*/ 40 w 94"/>
                    <a:gd name="T63" fmla="*/ 184 h 205"/>
                    <a:gd name="T64" fmla="*/ 32 w 94"/>
                    <a:gd name="T65" fmla="*/ 162 h 205"/>
                    <a:gd name="T66" fmla="*/ 29 w 94"/>
                    <a:gd name="T67" fmla="*/ 157 h 205"/>
                    <a:gd name="T68" fmla="*/ 22 w 94"/>
                    <a:gd name="T69" fmla="*/ 169 h 205"/>
                    <a:gd name="T70" fmla="*/ 20 w 94"/>
                    <a:gd name="T71" fmla="*/ 197 h 205"/>
                    <a:gd name="T72" fmla="*/ 7 w 94"/>
                    <a:gd name="T73" fmla="*/ 146 h 205"/>
                    <a:gd name="T74" fmla="*/ 45 w 94"/>
                    <a:gd name="T75" fmla="*/ 160 h 205"/>
                    <a:gd name="T76" fmla="*/ 54 w 94"/>
                    <a:gd name="T77" fmla="*/ 160 h 205"/>
                    <a:gd name="T78" fmla="*/ 7 w 94"/>
                    <a:gd name="T79" fmla="*/ 137 h 205"/>
                    <a:gd name="T80" fmla="*/ 47 w 94"/>
                    <a:gd name="T81" fmla="*/ 112 h 205"/>
                    <a:gd name="T82" fmla="*/ 64 w 94"/>
                    <a:gd name="T83" fmla="*/ 84 h 205"/>
                    <a:gd name="T84" fmla="*/ 46 w 94"/>
                    <a:gd name="T85" fmla="*/ 103 h 205"/>
                    <a:gd name="T86" fmla="*/ 7 w 94"/>
                    <a:gd name="T87" fmla="*/ 53 h 205"/>
                    <a:gd name="T88" fmla="*/ 23 w 94"/>
                    <a:gd name="T89" fmla="*/ 4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205">
                      <a:moveTo>
                        <a:pt x="0" y="27"/>
                      </a:moveTo>
                      <a:cubicBezTo>
                        <a:pt x="0" y="183"/>
                        <a:pt x="0" y="183"/>
                        <a:pt x="0" y="183"/>
                      </a:cubicBezTo>
                      <a:cubicBezTo>
                        <a:pt x="0" y="189"/>
                        <a:pt x="1" y="195"/>
                        <a:pt x="5" y="199"/>
                      </a:cubicBezTo>
                      <a:cubicBezTo>
                        <a:pt x="9" y="203"/>
                        <a:pt x="13" y="205"/>
                        <a:pt x="19" y="205"/>
                      </a:cubicBezTo>
                      <a:cubicBezTo>
                        <a:pt x="28" y="205"/>
                        <a:pt x="35" y="201"/>
                        <a:pt x="41" y="194"/>
                      </a:cubicBezTo>
                      <a:cubicBezTo>
                        <a:pt x="43" y="194"/>
                        <a:pt x="45" y="194"/>
                        <a:pt x="47" y="194"/>
                      </a:cubicBezTo>
                      <a:cubicBezTo>
                        <a:pt x="57" y="194"/>
                        <a:pt x="66" y="188"/>
                        <a:pt x="70" y="179"/>
                      </a:cubicBezTo>
                      <a:cubicBezTo>
                        <a:pt x="71" y="178"/>
                        <a:pt x="71" y="178"/>
                        <a:pt x="71" y="178"/>
                      </a:cubicBezTo>
                      <a:cubicBezTo>
                        <a:pt x="72" y="176"/>
                        <a:pt x="72" y="174"/>
                        <a:pt x="72" y="171"/>
                      </a:cubicBezTo>
                      <a:cubicBezTo>
                        <a:pt x="82" y="167"/>
                        <a:pt x="89" y="157"/>
                        <a:pt x="89" y="147"/>
                      </a:cubicBezTo>
                      <a:cubicBezTo>
                        <a:pt x="89" y="143"/>
                        <a:pt x="88" y="140"/>
                        <a:pt x="87" y="137"/>
                      </a:cubicBezTo>
                      <a:cubicBezTo>
                        <a:pt x="91" y="132"/>
                        <a:pt x="94" y="126"/>
                        <a:pt x="94" y="120"/>
                      </a:cubicBezTo>
                      <a:cubicBezTo>
                        <a:pt x="94" y="114"/>
                        <a:pt x="92" y="109"/>
                        <a:pt x="89" y="105"/>
                      </a:cubicBezTo>
                      <a:cubicBezTo>
                        <a:pt x="90" y="103"/>
                        <a:pt x="91" y="102"/>
                        <a:pt x="92" y="100"/>
                      </a:cubicBezTo>
                      <a:cubicBezTo>
                        <a:pt x="92" y="99"/>
                        <a:pt x="92" y="99"/>
                        <a:pt x="92" y="99"/>
                      </a:cubicBezTo>
                      <a:cubicBezTo>
                        <a:pt x="93" y="97"/>
                        <a:pt x="93" y="94"/>
                        <a:pt x="93" y="91"/>
                      </a:cubicBezTo>
                      <a:cubicBezTo>
                        <a:pt x="94" y="91"/>
                        <a:pt x="94" y="91"/>
                        <a:pt x="94" y="91"/>
                      </a:cubicBezTo>
                      <a:cubicBezTo>
                        <a:pt x="94" y="90"/>
                        <a:pt x="94" y="90"/>
                        <a:pt x="94" y="90"/>
                      </a:cubicBezTo>
                      <a:cubicBezTo>
                        <a:pt x="94" y="90"/>
                        <a:pt x="94" y="90"/>
                        <a:pt x="94" y="90"/>
                      </a:cubicBezTo>
                      <a:cubicBezTo>
                        <a:pt x="94" y="89"/>
                        <a:pt x="94" y="89"/>
                        <a:pt x="94" y="89"/>
                      </a:cubicBezTo>
                      <a:cubicBezTo>
                        <a:pt x="94" y="81"/>
                        <a:pt x="90" y="73"/>
                        <a:pt x="83" y="67"/>
                      </a:cubicBezTo>
                      <a:cubicBezTo>
                        <a:pt x="84" y="64"/>
                        <a:pt x="85" y="62"/>
                        <a:pt x="85" y="59"/>
                      </a:cubicBezTo>
                      <a:cubicBezTo>
                        <a:pt x="85" y="50"/>
                        <a:pt x="80" y="41"/>
                        <a:pt x="72" y="38"/>
                      </a:cubicBezTo>
                      <a:cubicBezTo>
                        <a:pt x="72" y="37"/>
                        <a:pt x="72" y="37"/>
                        <a:pt x="72" y="36"/>
                      </a:cubicBezTo>
                      <a:cubicBezTo>
                        <a:pt x="72" y="22"/>
                        <a:pt x="60" y="11"/>
                        <a:pt x="46" y="11"/>
                      </a:cubicBezTo>
                      <a:cubicBezTo>
                        <a:pt x="46" y="11"/>
                        <a:pt x="46" y="11"/>
                        <a:pt x="46" y="11"/>
                      </a:cubicBezTo>
                      <a:cubicBezTo>
                        <a:pt x="41" y="4"/>
                        <a:pt x="34" y="0"/>
                        <a:pt x="25" y="0"/>
                      </a:cubicBezTo>
                      <a:cubicBezTo>
                        <a:pt x="18" y="0"/>
                        <a:pt x="11" y="2"/>
                        <a:pt x="6" y="7"/>
                      </a:cubicBezTo>
                      <a:cubicBezTo>
                        <a:pt x="1" y="12"/>
                        <a:pt x="0" y="19"/>
                        <a:pt x="0" y="27"/>
                      </a:cubicBezTo>
                      <a:close/>
                      <a:moveTo>
                        <a:pt x="19" y="44"/>
                      </a:moveTo>
                      <a:cubicBezTo>
                        <a:pt x="7" y="44"/>
                        <a:pt x="7" y="44"/>
                        <a:pt x="7" y="44"/>
                      </a:cubicBezTo>
                      <a:cubicBezTo>
                        <a:pt x="7" y="27"/>
                        <a:pt x="7" y="27"/>
                        <a:pt x="7" y="27"/>
                      </a:cubicBezTo>
                      <a:cubicBezTo>
                        <a:pt x="7" y="16"/>
                        <a:pt x="15" y="8"/>
                        <a:pt x="25" y="8"/>
                      </a:cubicBezTo>
                      <a:cubicBezTo>
                        <a:pt x="29" y="8"/>
                        <a:pt x="33" y="10"/>
                        <a:pt x="36" y="13"/>
                      </a:cubicBezTo>
                      <a:cubicBezTo>
                        <a:pt x="31" y="15"/>
                        <a:pt x="26" y="20"/>
                        <a:pt x="24" y="25"/>
                      </a:cubicBezTo>
                      <a:cubicBezTo>
                        <a:pt x="23" y="27"/>
                        <a:pt x="23" y="30"/>
                        <a:pt x="26" y="31"/>
                      </a:cubicBezTo>
                      <a:cubicBezTo>
                        <a:pt x="28" y="32"/>
                        <a:pt x="30" y="31"/>
                        <a:pt x="31" y="29"/>
                      </a:cubicBezTo>
                      <a:cubicBezTo>
                        <a:pt x="34" y="23"/>
                        <a:pt x="40" y="20"/>
                        <a:pt x="46" y="20"/>
                      </a:cubicBezTo>
                      <a:cubicBezTo>
                        <a:pt x="55" y="20"/>
                        <a:pt x="62" y="26"/>
                        <a:pt x="63" y="34"/>
                      </a:cubicBezTo>
                      <a:cubicBezTo>
                        <a:pt x="63" y="34"/>
                        <a:pt x="63" y="34"/>
                        <a:pt x="63" y="34"/>
                      </a:cubicBezTo>
                      <a:cubicBezTo>
                        <a:pt x="63" y="35"/>
                        <a:pt x="63" y="36"/>
                        <a:pt x="63" y="36"/>
                      </a:cubicBezTo>
                      <a:cubicBezTo>
                        <a:pt x="63" y="38"/>
                        <a:pt x="63" y="39"/>
                        <a:pt x="62" y="40"/>
                      </a:cubicBezTo>
                      <a:cubicBezTo>
                        <a:pt x="62" y="42"/>
                        <a:pt x="63" y="44"/>
                        <a:pt x="66" y="45"/>
                      </a:cubicBezTo>
                      <a:cubicBezTo>
                        <a:pt x="72" y="47"/>
                        <a:pt x="76" y="52"/>
                        <a:pt x="76" y="59"/>
                      </a:cubicBezTo>
                      <a:cubicBezTo>
                        <a:pt x="76" y="60"/>
                        <a:pt x="76" y="61"/>
                        <a:pt x="76" y="63"/>
                      </a:cubicBezTo>
                      <a:cubicBezTo>
                        <a:pt x="72" y="61"/>
                        <a:pt x="69" y="61"/>
                        <a:pt x="65" y="61"/>
                      </a:cubicBezTo>
                      <a:cubicBezTo>
                        <a:pt x="50" y="61"/>
                        <a:pt x="37" y="72"/>
                        <a:pt x="36" y="88"/>
                      </a:cubicBezTo>
                      <a:cubicBezTo>
                        <a:pt x="36" y="89"/>
                        <a:pt x="37" y="90"/>
                        <a:pt x="37" y="91"/>
                      </a:cubicBezTo>
                      <a:cubicBezTo>
                        <a:pt x="38" y="92"/>
                        <a:pt x="39" y="92"/>
                        <a:pt x="40" y="92"/>
                      </a:cubicBezTo>
                      <a:cubicBezTo>
                        <a:pt x="43" y="92"/>
                        <a:pt x="45" y="91"/>
                        <a:pt x="45" y="88"/>
                      </a:cubicBezTo>
                      <a:cubicBezTo>
                        <a:pt x="45" y="78"/>
                        <a:pt x="54" y="69"/>
                        <a:pt x="65" y="69"/>
                      </a:cubicBezTo>
                      <a:cubicBezTo>
                        <a:pt x="76" y="69"/>
                        <a:pt x="85" y="78"/>
                        <a:pt x="85" y="89"/>
                      </a:cubicBezTo>
                      <a:cubicBezTo>
                        <a:pt x="85" y="94"/>
                        <a:pt x="83" y="99"/>
                        <a:pt x="80" y="102"/>
                      </a:cubicBezTo>
                      <a:cubicBezTo>
                        <a:pt x="79" y="104"/>
                        <a:pt x="79" y="106"/>
                        <a:pt x="80" y="108"/>
                      </a:cubicBezTo>
                      <a:cubicBezTo>
                        <a:pt x="83" y="111"/>
                        <a:pt x="85" y="115"/>
                        <a:pt x="85" y="120"/>
                      </a:cubicBezTo>
                      <a:cubicBezTo>
                        <a:pt x="85" y="125"/>
                        <a:pt x="83" y="129"/>
                        <a:pt x="79" y="132"/>
                      </a:cubicBezTo>
                      <a:cubicBezTo>
                        <a:pt x="77" y="134"/>
                        <a:pt x="77" y="136"/>
                        <a:pt x="78" y="138"/>
                      </a:cubicBezTo>
                      <a:cubicBezTo>
                        <a:pt x="79" y="141"/>
                        <a:pt x="80" y="144"/>
                        <a:pt x="80" y="147"/>
                      </a:cubicBezTo>
                      <a:cubicBezTo>
                        <a:pt x="80" y="154"/>
                        <a:pt x="75" y="162"/>
                        <a:pt x="67" y="164"/>
                      </a:cubicBezTo>
                      <a:cubicBezTo>
                        <a:pt x="65" y="164"/>
                        <a:pt x="64" y="166"/>
                        <a:pt x="64" y="168"/>
                      </a:cubicBezTo>
                      <a:cubicBezTo>
                        <a:pt x="64" y="169"/>
                        <a:pt x="64" y="169"/>
                        <a:pt x="64" y="169"/>
                      </a:cubicBezTo>
                      <a:cubicBezTo>
                        <a:pt x="64" y="178"/>
                        <a:pt x="56" y="185"/>
                        <a:pt x="47" y="185"/>
                      </a:cubicBezTo>
                      <a:cubicBezTo>
                        <a:pt x="45" y="185"/>
                        <a:pt x="43" y="185"/>
                        <a:pt x="41" y="184"/>
                      </a:cubicBezTo>
                      <a:cubicBezTo>
                        <a:pt x="40" y="184"/>
                        <a:pt x="40" y="184"/>
                        <a:pt x="40" y="184"/>
                      </a:cubicBezTo>
                      <a:cubicBezTo>
                        <a:pt x="34" y="181"/>
                        <a:pt x="30" y="175"/>
                        <a:pt x="30" y="169"/>
                      </a:cubicBezTo>
                      <a:cubicBezTo>
                        <a:pt x="30" y="167"/>
                        <a:pt x="31" y="164"/>
                        <a:pt x="32" y="162"/>
                      </a:cubicBezTo>
                      <a:cubicBezTo>
                        <a:pt x="32" y="161"/>
                        <a:pt x="32" y="160"/>
                        <a:pt x="32" y="159"/>
                      </a:cubicBezTo>
                      <a:cubicBezTo>
                        <a:pt x="31" y="158"/>
                        <a:pt x="30" y="157"/>
                        <a:pt x="29" y="157"/>
                      </a:cubicBezTo>
                      <a:cubicBezTo>
                        <a:pt x="27" y="156"/>
                        <a:pt x="25" y="157"/>
                        <a:pt x="24" y="159"/>
                      </a:cubicBezTo>
                      <a:cubicBezTo>
                        <a:pt x="22" y="162"/>
                        <a:pt x="22" y="165"/>
                        <a:pt x="22" y="169"/>
                      </a:cubicBezTo>
                      <a:cubicBezTo>
                        <a:pt x="22" y="177"/>
                        <a:pt x="26" y="185"/>
                        <a:pt x="33" y="190"/>
                      </a:cubicBezTo>
                      <a:cubicBezTo>
                        <a:pt x="29" y="194"/>
                        <a:pt x="25" y="197"/>
                        <a:pt x="20" y="197"/>
                      </a:cubicBezTo>
                      <a:cubicBezTo>
                        <a:pt x="13" y="197"/>
                        <a:pt x="7" y="191"/>
                        <a:pt x="7" y="183"/>
                      </a:cubicBezTo>
                      <a:cubicBezTo>
                        <a:pt x="7" y="146"/>
                        <a:pt x="7" y="146"/>
                        <a:pt x="7" y="146"/>
                      </a:cubicBezTo>
                      <a:cubicBezTo>
                        <a:pt x="7" y="146"/>
                        <a:pt x="23" y="146"/>
                        <a:pt x="31" y="146"/>
                      </a:cubicBezTo>
                      <a:cubicBezTo>
                        <a:pt x="39" y="146"/>
                        <a:pt x="45" y="152"/>
                        <a:pt x="45" y="160"/>
                      </a:cubicBezTo>
                      <a:cubicBezTo>
                        <a:pt x="45" y="162"/>
                        <a:pt x="47" y="164"/>
                        <a:pt x="50" y="164"/>
                      </a:cubicBezTo>
                      <a:cubicBezTo>
                        <a:pt x="52" y="164"/>
                        <a:pt x="54" y="162"/>
                        <a:pt x="54" y="160"/>
                      </a:cubicBezTo>
                      <a:cubicBezTo>
                        <a:pt x="54" y="147"/>
                        <a:pt x="44" y="137"/>
                        <a:pt x="31" y="137"/>
                      </a:cubicBezTo>
                      <a:cubicBezTo>
                        <a:pt x="19" y="137"/>
                        <a:pt x="7" y="137"/>
                        <a:pt x="7" y="137"/>
                      </a:cubicBezTo>
                      <a:cubicBezTo>
                        <a:pt x="7" y="113"/>
                        <a:pt x="7" y="113"/>
                        <a:pt x="7" y="113"/>
                      </a:cubicBezTo>
                      <a:cubicBezTo>
                        <a:pt x="7" y="113"/>
                        <a:pt x="35" y="112"/>
                        <a:pt x="47" y="112"/>
                      </a:cubicBezTo>
                      <a:cubicBezTo>
                        <a:pt x="59" y="112"/>
                        <a:pt x="69" y="101"/>
                        <a:pt x="69" y="89"/>
                      </a:cubicBezTo>
                      <a:cubicBezTo>
                        <a:pt x="69" y="86"/>
                        <a:pt x="67" y="84"/>
                        <a:pt x="64" y="84"/>
                      </a:cubicBezTo>
                      <a:cubicBezTo>
                        <a:pt x="62" y="84"/>
                        <a:pt x="60" y="86"/>
                        <a:pt x="60" y="89"/>
                      </a:cubicBezTo>
                      <a:cubicBezTo>
                        <a:pt x="60" y="97"/>
                        <a:pt x="54" y="103"/>
                        <a:pt x="46" y="103"/>
                      </a:cubicBezTo>
                      <a:cubicBezTo>
                        <a:pt x="38" y="103"/>
                        <a:pt x="7" y="103"/>
                        <a:pt x="7" y="103"/>
                      </a:cubicBezTo>
                      <a:cubicBezTo>
                        <a:pt x="7" y="53"/>
                        <a:pt x="7" y="53"/>
                        <a:pt x="7" y="53"/>
                      </a:cubicBezTo>
                      <a:cubicBezTo>
                        <a:pt x="19" y="53"/>
                        <a:pt x="19" y="53"/>
                        <a:pt x="19" y="53"/>
                      </a:cubicBezTo>
                      <a:cubicBezTo>
                        <a:pt x="21" y="53"/>
                        <a:pt x="23" y="51"/>
                        <a:pt x="23" y="48"/>
                      </a:cubicBezTo>
                      <a:cubicBezTo>
                        <a:pt x="23" y="46"/>
                        <a:pt x="21" y="44"/>
                        <a:pt x="19" y="44"/>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82" name="Freeform 603">
                  <a:extLst>
                    <a:ext uri="{FF2B5EF4-FFF2-40B4-BE49-F238E27FC236}">
                      <a16:creationId xmlns:a16="http://schemas.microsoft.com/office/drawing/2014/main" id="{D3F91231-1DA1-4AAF-BF44-50970EC18F43}"/>
                    </a:ext>
                  </a:extLst>
                </p:cNvPr>
                <p:cNvSpPr>
                  <a:spLocks/>
                </p:cNvSpPr>
                <p:nvPr/>
              </p:nvSpPr>
              <p:spPr bwMode="auto">
                <a:xfrm>
                  <a:off x="3763659" y="1563581"/>
                  <a:ext cx="44999" cy="72998"/>
                </a:xfrm>
                <a:custGeom>
                  <a:avLst/>
                  <a:gdLst>
                    <a:gd name="T0" fmla="*/ 19 w 19"/>
                    <a:gd name="T1" fmla="*/ 5 h 31"/>
                    <a:gd name="T2" fmla="*/ 15 w 19"/>
                    <a:gd name="T3" fmla="*/ 9 h 31"/>
                    <a:gd name="T4" fmla="*/ 8 w 19"/>
                    <a:gd name="T5" fmla="*/ 16 h 31"/>
                    <a:gd name="T6" fmla="*/ 15 w 19"/>
                    <a:gd name="T7" fmla="*/ 22 h 31"/>
                    <a:gd name="T8" fmla="*/ 19 w 19"/>
                    <a:gd name="T9" fmla="*/ 27 h 31"/>
                    <a:gd name="T10" fmla="*/ 15 w 19"/>
                    <a:gd name="T11" fmla="*/ 31 h 31"/>
                    <a:gd name="T12" fmla="*/ 0 w 19"/>
                    <a:gd name="T13" fmla="*/ 16 h 31"/>
                    <a:gd name="T14" fmla="*/ 15 w 19"/>
                    <a:gd name="T15" fmla="*/ 0 h 31"/>
                    <a:gd name="T16" fmla="*/ 19 w 19"/>
                    <a:gd name="T1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1">
                      <a:moveTo>
                        <a:pt x="19" y="5"/>
                      </a:moveTo>
                      <a:cubicBezTo>
                        <a:pt x="19" y="7"/>
                        <a:pt x="18" y="9"/>
                        <a:pt x="15" y="9"/>
                      </a:cubicBezTo>
                      <a:cubicBezTo>
                        <a:pt x="11" y="9"/>
                        <a:pt x="8" y="12"/>
                        <a:pt x="8" y="16"/>
                      </a:cubicBezTo>
                      <a:cubicBezTo>
                        <a:pt x="8" y="19"/>
                        <a:pt x="11" y="22"/>
                        <a:pt x="15" y="22"/>
                      </a:cubicBezTo>
                      <a:cubicBezTo>
                        <a:pt x="18" y="22"/>
                        <a:pt x="19" y="24"/>
                        <a:pt x="19" y="27"/>
                      </a:cubicBezTo>
                      <a:cubicBezTo>
                        <a:pt x="19" y="29"/>
                        <a:pt x="18" y="31"/>
                        <a:pt x="15" y="31"/>
                      </a:cubicBezTo>
                      <a:cubicBezTo>
                        <a:pt x="7" y="31"/>
                        <a:pt x="0" y="24"/>
                        <a:pt x="0" y="16"/>
                      </a:cubicBezTo>
                      <a:cubicBezTo>
                        <a:pt x="0" y="7"/>
                        <a:pt x="7" y="0"/>
                        <a:pt x="15" y="0"/>
                      </a:cubicBezTo>
                      <a:cubicBezTo>
                        <a:pt x="18" y="0"/>
                        <a:pt x="19" y="2"/>
                        <a:pt x="19" y="5"/>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83" name="Freeform 604">
                  <a:extLst>
                    <a:ext uri="{FF2B5EF4-FFF2-40B4-BE49-F238E27FC236}">
                      <a16:creationId xmlns:a16="http://schemas.microsoft.com/office/drawing/2014/main" id="{5071B294-E4BB-48F2-BE93-566DA4018A3F}"/>
                    </a:ext>
                  </a:extLst>
                </p:cNvPr>
                <p:cNvSpPr>
                  <a:spLocks/>
                </p:cNvSpPr>
                <p:nvPr/>
              </p:nvSpPr>
              <p:spPr bwMode="auto">
                <a:xfrm>
                  <a:off x="3806658" y="1497583"/>
                  <a:ext cx="49998" cy="49998"/>
                </a:xfrm>
                <a:custGeom>
                  <a:avLst/>
                  <a:gdLst>
                    <a:gd name="T0" fmla="*/ 0 w 21"/>
                    <a:gd name="T1" fmla="*/ 17 h 21"/>
                    <a:gd name="T2" fmla="*/ 5 w 21"/>
                    <a:gd name="T3" fmla="*/ 12 h 21"/>
                    <a:gd name="T4" fmla="*/ 12 w 21"/>
                    <a:gd name="T5" fmla="*/ 5 h 21"/>
                    <a:gd name="T6" fmla="*/ 16 w 21"/>
                    <a:gd name="T7" fmla="*/ 0 h 21"/>
                    <a:gd name="T8" fmla="*/ 21 w 21"/>
                    <a:gd name="T9" fmla="*/ 5 h 21"/>
                    <a:gd name="T10" fmla="*/ 5 w 21"/>
                    <a:gd name="T11" fmla="*/ 21 h 21"/>
                    <a:gd name="T12" fmla="*/ 0 w 21"/>
                    <a:gd name="T13" fmla="*/ 17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0" y="17"/>
                      </a:moveTo>
                      <a:cubicBezTo>
                        <a:pt x="0" y="14"/>
                        <a:pt x="2" y="12"/>
                        <a:pt x="5" y="12"/>
                      </a:cubicBezTo>
                      <a:cubicBezTo>
                        <a:pt x="9" y="12"/>
                        <a:pt x="12" y="9"/>
                        <a:pt x="12" y="5"/>
                      </a:cubicBezTo>
                      <a:cubicBezTo>
                        <a:pt x="12" y="2"/>
                        <a:pt x="14" y="0"/>
                        <a:pt x="16" y="0"/>
                      </a:cubicBezTo>
                      <a:cubicBezTo>
                        <a:pt x="19" y="0"/>
                        <a:pt x="21" y="2"/>
                        <a:pt x="21" y="5"/>
                      </a:cubicBezTo>
                      <a:cubicBezTo>
                        <a:pt x="21" y="14"/>
                        <a:pt x="13" y="21"/>
                        <a:pt x="5" y="21"/>
                      </a:cubicBezTo>
                      <a:cubicBezTo>
                        <a:pt x="2" y="21"/>
                        <a:pt x="0" y="19"/>
                        <a:pt x="0" y="17"/>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84" name="Freeform 605">
                  <a:extLst>
                    <a:ext uri="{FF2B5EF4-FFF2-40B4-BE49-F238E27FC236}">
                      <a16:creationId xmlns:a16="http://schemas.microsoft.com/office/drawing/2014/main" id="{148CA4EB-312F-4493-AB41-991D231E6BEE}"/>
                    </a:ext>
                  </a:extLst>
                </p:cNvPr>
                <p:cNvSpPr>
                  <a:spLocks/>
                </p:cNvSpPr>
                <p:nvPr/>
              </p:nvSpPr>
              <p:spPr bwMode="auto">
                <a:xfrm>
                  <a:off x="3851656" y="1710576"/>
                  <a:ext cx="49998" cy="48999"/>
                </a:xfrm>
                <a:custGeom>
                  <a:avLst/>
                  <a:gdLst>
                    <a:gd name="T0" fmla="*/ 16 w 21"/>
                    <a:gd name="T1" fmla="*/ 21 h 21"/>
                    <a:gd name="T2" fmla="*/ 12 w 21"/>
                    <a:gd name="T3" fmla="*/ 16 h 21"/>
                    <a:gd name="T4" fmla="*/ 5 w 21"/>
                    <a:gd name="T5" fmla="*/ 9 h 21"/>
                    <a:gd name="T6" fmla="*/ 0 w 21"/>
                    <a:gd name="T7" fmla="*/ 4 h 21"/>
                    <a:gd name="T8" fmla="*/ 5 w 21"/>
                    <a:gd name="T9" fmla="*/ 0 h 21"/>
                    <a:gd name="T10" fmla="*/ 21 w 21"/>
                    <a:gd name="T11" fmla="*/ 16 h 21"/>
                    <a:gd name="T12" fmla="*/ 16 w 21"/>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16" y="21"/>
                      </a:moveTo>
                      <a:cubicBezTo>
                        <a:pt x="14" y="21"/>
                        <a:pt x="12" y="19"/>
                        <a:pt x="12" y="16"/>
                      </a:cubicBezTo>
                      <a:cubicBezTo>
                        <a:pt x="12" y="12"/>
                        <a:pt x="9" y="9"/>
                        <a:pt x="5" y="9"/>
                      </a:cubicBezTo>
                      <a:cubicBezTo>
                        <a:pt x="2" y="9"/>
                        <a:pt x="0" y="7"/>
                        <a:pt x="0" y="4"/>
                      </a:cubicBezTo>
                      <a:cubicBezTo>
                        <a:pt x="0" y="2"/>
                        <a:pt x="2" y="0"/>
                        <a:pt x="5" y="0"/>
                      </a:cubicBezTo>
                      <a:cubicBezTo>
                        <a:pt x="14" y="0"/>
                        <a:pt x="21" y="7"/>
                        <a:pt x="21" y="16"/>
                      </a:cubicBezTo>
                      <a:cubicBezTo>
                        <a:pt x="21" y="19"/>
                        <a:pt x="19" y="21"/>
                        <a:pt x="16" y="2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85" name="Freeform 606">
                  <a:extLst>
                    <a:ext uri="{FF2B5EF4-FFF2-40B4-BE49-F238E27FC236}">
                      <a16:creationId xmlns:a16="http://schemas.microsoft.com/office/drawing/2014/main" id="{0C33FC06-9303-4C21-BDA4-00ADB975E2A6}"/>
                    </a:ext>
                  </a:extLst>
                </p:cNvPr>
                <p:cNvSpPr>
                  <a:spLocks/>
                </p:cNvSpPr>
                <p:nvPr/>
              </p:nvSpPr>
              <p:spPr bwMode="auto">
                <a:xfrm>
                  <a:off x="3761659" y="1710576"/>
                  <a:ext cx="77998" cy="22999"/>
                </a:xfrm>
                <a:custGeom>
                  <a:avLst/>
                  <a:gdLst>
                    <a:gd name="T0" fmla="*/ 28 w 33"/>
                    <a:gd name="T1" fmla="*/ 10 h 10"/>
                    <a:gd name="T2" fmla="*/ 5 w 33"/>
                    <a:gd name="T3" fmla="*/ 10 h 10"/>
                    <a:gd name="T4" fmla="*/ 0 w 33"/>
                    <a:gd name="T5" fmla="*/ 5 h 10"/>
                    <a:gd name="T6" fmla="*/ 5 w 33"/>
                    <a:gd name="T7" fmla="*/ 0 h 10"/>
                    <a:gd name="T8" fmla="*/ 28 w 33"/>
                    <a:gd name="T9" fmla="*/ 0 h 10"/>
                    <a:gd name="T10" fmla="*/ 33 w 33"/>
                    <a:gd name="T11" fmla="*/ 5 h 10"/>
                    <a:gd name="T12" fmla="*/ 28 w 3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3" h="10">
                      <a:moveTo>
                        <a:pt x="28" y="10"/>
                      </a:moveTo>
                      <a:cubicBezTo>
                        <a:pt x="5" y="10"/>
                        <a:pt x="5" y="10"/>
                        <a:pt x="5" y="10"/>
                      </a:cubicBezTo>
                      <a:cubicBezTo>
                        <a:pt x="2" y="10"/>
                        <a:pt x="0" y="7"/>
                        <a:pt x="0" y="5"/>
                      </a:cubicBezTo>
                      <a:cubicBezTo>
                        <a:pt x="0" y="2"/>
                        <a:pt x="2" y="0"/>
                        <a:pt x="5" y="0"/>
                      </a:cubicBezTo>
                      <a:cubicBezTo>
                        <a:pt x="28" y="0"/>
                        <a:pt x="28" y="0"/>
                        <a:pt x="28" y="0"/>
                      </a:cubicBezTo>
                      <a:cubicBezTo>
                        <a:pt x="31" y="0"/>
                        <a:pt x="33" y="2"/>
                        <a:pt x="33" y="5"/>
                      </a:cubicBezTo>
                      <a:cubicBezTo>
                        <a:pt x="33" y="7"/>
                        <a:pt x="31" y="10"/>
                        <a:pt x="28" y="10"/>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grpSp>
        <p:sp>
          <p:nvSpPr>
            <p:cNvPr id="156" name="Freeform: Shape 155">
              <a:extLst>
                <a:ext uri="{FF2B5EF4-FFF2-40B4-BE49-F238E27FC236}">
                  <a16:creationId xmlns:a16="http://schemas.microsoft.com/office/drawing/2014/main" id="{4A0F94B9-8D9F-4419-8137-FDA1B59AFEBC}"/>
                </a:ext>
              </a:extLst>
            </p:cNvPr>
            <p:cNvSpPr/>
            <p:nvPr/>
          </p:nvSpPr>
          <p:spPr>
            <a:xfrm>
              <a:off x="1477927" y="1853402"/>
              <a:ext cx="2850046" cy="806031"/>
            </a:xfrm>
            <a:custGeom>
              <a:avLst/>
              <a:gdLst>
                <a:gd name="connsiteX0" fmla="*/ 2761488 w 2761488"/>
                <a:gd name="connsiteY0" fmla="*/ 725424 h 725424"/>
                <a:gd name="connsiteX1" fmla="*/ 2036064 w 2761488"/>
                <a:gd name="connsiteY1" fmla="*/ 0 h 725424"/>
                <a:gd name="connsiteX2" fmla="*/ 0 w 2761488"/>
                <a:gd name="connsiteY2" fmla="*/ 0 h 725424"/>
              </a:gdLst>
              <a:ahLst/>
              <a:cxnLst>
                <a:cxn ang="0">
                  <a:pos x="connsiteX0" y="connsiteY0"/>
                </a:cxn>
                <a:cxn ang="0">
                  <a:pos x="connsiteX1" y="connsiteY1"/>
                </a:cxn>
                <a:cxn ang="0">
                  <a:pos x="connsiteX2" y="connsiteY2"/>
                </a:cxn>
              </a:cxnLst>
              <a:rect l="l" t="t" r="r" b="b"/>
              <a:pathLst>
                <a:path w="2761488" h="725424">
                  <a:moveTo>
                    <a:pt x="2761488" y="725424"/>
                  </a:moveTo>
                  <a:lnTo>
                    <a:pt x="2036064" y="0"/>
                  </a:lnTo>
                  <a:lnTo>
                    <a:pt x="0" y="0"/>
                  </a:lnTo>
                </a:path>
              </a:pathLst>
            </a:custGeom>
            <a:noFill/>
            <a:ln w="12700" cap="rnd">
              <a:solidFill>
                <a:schemeClr val="bg1"/>
              </a:solidFill>
              <a:round/>
              <a:headEnd/>
              <a:tailEnd/>
            </a:ln>
            <a:effectLst/>
          </p:spPr>
          <p:txBody>
            <a:bodyPr rtlCol="0" anchor="ct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145" name="Group 144"/>
          <p:cNvGrpSpPr/>
          <p:nvPr/>
        </p:nvGrpSpPr>
        <p:grpSpPr>
          <a:xfrm>
            <a:off x="1447825" y="3579043"/>
            <a:ext cx="3742345" cy="1031205"/>
            <a:chOff x="1575419" y="3749167"/>
            <a:chExt cx="3742345" cy="1031205"/>
          </a:xfrm>
        </p:grpSpPr>
        <p:sp>
          <p:nvSpPr>
            <p:cNvPr id="1926" name="TextBox 1925">
              <a:extLst>
                <a:ext uri="{FF2B5EF4-FFF2-40B4-BE49-F238E27FC236}">
                  <a16:creationId xmlns:a16="http://schemas.microsoft.com/office/drawing/2014/main" id="{F74874DB-8015-4D5E-9A36-4D45F14685D7}"/>
                </a:ext>
              </a:extLst>
            </p:cNvPr>
            <p:cNvSpPr txBox="1"/>
            <p:nvPr/>
          </p:nvSpPr>
          <p:spPr>
            <a:xfrm flipH="1">
              <a:off x="1575419" y="4231573"/>
              <a:ext cx="2066714" cy="493693"/>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l" defTabSz="342892" rtl="0" eaLnBrk="1" fontAlgn="base" latinLnBrk="0" hangingPunct="1">
                <a:lnSpc>
                  <a:spcPct val="100000"/>
                </a:lnSpc>
                <a:spcBef>
                  <a:spcPct val="0"/>
                </a:spcBef>
                <a:spcAft>
                  <a:spcPts val="450"/>
                </a:spcAft>
                <a:buClrTx/>
                <a:buSzTx/>
                <a:buFontTx/>
                <a:buNone/>
                <a:tabLst/>
                <a:defRPr/>
              </a:pPr>
              <a:r>
                <a:rPr kumimoji="0" lang="en-US" sz="1200" b="0" i="0" u="none" strike="noStrike" kern="1200" cap="none" spc="0" normalizeH="0" baseline="0" noProof="0" dirty="0">
                  <a:ln>
                    <a:noFill/>
                  </a:ln>
                  <a:solidFill>
                    <a:srgbClr val="00BCEB"/>
                  </a:solidFill>
                  <a:effectLst/>
                  <a:uLnTx/>
                  <a:uFillTx/>
                  <a:latin typeface="CiscoSansTT ExtraLight"/>
                  <a:ea typeface="ＭＳ Ｐゴシック" charset="0"/>
                </a:rPr>
                <a:t>Encrypted Traffic Analytics</a:t>
              </a:r>
            </a:p>
            <a:p>
              <a:pPr marL="0" marR="0" lvl="0" indent="0" algn="l" defTabSz="342892"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dirty="0">
                  <a:ln>
                    <a:noFill/>
                  </a:ln>
                  <a:solidFill>
                    <a:srgbClr val="676767"/>
                  </a:solidFill>
                  <a:effectLst/>
                  <a:uLnTx/>
                  <a:uFillTx/>
                  <a:latin typeface="CiscoSansTT ExtraLight"/>
                  <a:ea typeface="ＭＳ Ｐゴシック" charset="0"/>
                </a:rPr>
                <a:t>Malware detection without any decryption using enhanced telemetry from the new Cisco devices</a:t>
              </a:r>
            </a:p>
          </p:txBody>
        </p:sp>
        <p:sp>
          <p:nvSpPr>
            <p:cNvPr id="1927" name="Freeform: Shape 1926">
              <a:extLst>
                <a:ext uri="{FF2B5EF4-FFF2-40B4-BE49-F238E27FC236}">
                  <a16:creationId xmlns:a16="http://schemas.microsoft.com/office/drawing/2014/main" id="{393233C3-B0ED-4EF1-8E8A-1E4D14E3BC9F}"/>
                </a:ext>
              </a:extLst>
            </p:cNvPr>
            <p:cNvSpPr/>
            <p:nvPr/>
          </p:nvSpPr>
          <p:spPr>
            <a:xfrm rot="12724705">
              <a:off x="4745768" y="3849555"/>
              <a:ext cx="510483" cy="534082"/>
            </a:xfrm>
            <a:custGeom>
              <a:avLst/>
              <a:gdLst>
                <a:gd name="connsiteX0" fmla="*/ 0 w 711200"/>
                <a:gd name="connsiteY0" fmla="*/ 0 h 635000"/>
                <a:gd name="connsiteX1" fmla="*/ 284480 w 711200"/>
                <a:gd name="connsiteY1" fmla="*/ 482600 h 635000"/>
                <a:gd name="connsiteX2" fmla="*/ 711200 w 711200"/>
                <a:gd name="connsiteY2" fmla="*/ 635000 h 635000"/>
              </a:gdLst>
              <a:ahLst/>
              <a:cxnLst>
                <a:cxn ang="0">
                  <a:pos x="connsiteX0" y="connsiteY0"/>
                </a:cxn>
                <a:cxn ang="0">
                  <a:pos x="connsiteX1" y="connsiteY1"/>
                </a:cxn>
                <a:cxn ang="0">
                  <a:pos x="connsiteX2" y="connsiteY2"/>
                </a:cxn>
              </a:cxnLst>
              <a:rect l="l" t="t" r="r" b="b"/>
              <a:pathLst>
                <a:path w="711200" h="635000">
                  <a:moveTo>
                    <a:pt x="0" y="0"/>
                  </a:moveTo>
                  <a:lnTo>
                    <a:pt x="284480" y="482600"/>
                  </a:lnTo>
                  <a:lnTo>
                    <a:pt x="711200" y="635000"/>
                  </a:lnTo>
                </a:path>
              </a:pathLst>
            </a:cu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1928" name="Freeform: Shape 1927">
              <a:extLst>
                <a:ext uri="{FF2B5EF4-FFF2-40B4-BE49-F238E27FC236}">
                  <a16:creationId xmlns:a16="http://schemas.microsoft.com/office/drawing/2014/main" id="{7FFE74B3-69E3-4D0D-8D10-E445F753E2D5}"/>
                </a:ext>
              </a:extLst>
            </p:cNvPr>
            <p:cNvSpPr/>
            <p:nvPr/>
          </p:nvSpPr>
          <p:spPr>
            <a:xfrm>
              <a:off x="3985336" y="3749167"/>
              <a:ext cx="266331" cy="440495"/>
            </a:xfrm>
            <a:custGeom>
              <a:avLst/>
              <a:gdLst>
                <a:gd name="connsiteX0" fmla="*/ 207264 w 414528"/>
                <a:gd name="connsiteY0" fmla="*/ 505968 h 505968"/>
                <a:gd name="connsiteX1" fmla="*/ 0 w 414528"/>
                <a:gd name="connsiteY1" fmla="*/ 316992 h 505968"/>
                <a:gd name="connsiteX2" fmla="*/ 414528 w 414528"/>
                <a:gd name="connsiteY2" fmla="*/ 0 h 505968"/>
              </a:gdLst>
              <a:ahLst/>
              <a:cxnLst>
                <a:cxn ang="0">
                  <a:pos x="connsiteX0" y="connsiteY0"/>
                </a:cxn>
                <a:cxn ang="0">
                  <a:pos x="connsiteX1" y="connsiteY1"/>
                </a:cxn>
                <a:cxn ang="0">
                  <a:pos x="connsiteX2" y="connsiteY2"/>
                </a:cxn>
              </a:cxnLst>
              <a:rect l="l" t="t" r="r" b="b"/>
              <a:pathLst>
                <a:path w="414528" h="505968">
                  <a:moveTo>
                    <a:pt x="207264" y="505968"/>
                  </a:moveTo>
                  <a:lnTo>
                    <a:pt x="0" y="316992"/>
                  </a:lnTo>
                  <a:lnTo>
                    <a:pt x="414528" y="0"/>
                  </a:lnTo>
                </a:path>
              </a:pathLst>
            </a:cu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1930" name="Group 1929">
              <a:extLst>
                <a:ext uri="{FF2B5EF4-FFF2-40B4-BE49-F238E27FC236}">
                  <a16:creationId xmlns:a16="http://schemas.microsoft.com/office/drawing/2014/main" id="{5F6F0249-DD9A-4C80-BBE1-853FB80BAE23}"/>
                </a:ext>
              </a:extLst>
            </p:cNvPr>
            <p:cNvGrpSpPr/>
            <p:nvPr/>
          </p:nvGrpSpPr>
          <p:grpSpPr>
            <a:xfrm>
              <a:off x="4822293" y="4093967"/>
              <a:ext cx="495471" cy="496895"/>
              <a:chOff x="5551970" y="4408061"/>
              <a:chExt cx="809912" cy="812239"/>
            </a:xfrm>
          </p:grpSpPr>
          <p:sp>
            <p:nvSpPr>
              <p:cNvPr id="1313" name="Freeform 277">
                <a:extLst>
                  <a:ext uri="{FF2B5EF4-FFF2-40B4-BE49-F238E27FC236}">
                    <a16:creationId xmlns:a16="http://schemas.microsoft.com/office/drawing/2014/main" id="{A62C13C0-B62F-49D4-BF77-FF675CDF41A5}"/>
                  </a:ext>
                </a:extLst>
              </p:cNvPr>
              <p:cNvSpPr>
                <a:spLocks noEditPoints="1"/>
              </p:cNvSpPr>
              <p:nvPr/>
            </p:nvSpPr>
            <p:spPr bwMode="auto">
              <a:xfrm>
                <a:off x="5551970" y="4408061"/>
                <a:ext cx="809912" cy="812239"/>
              </a:xfrm>
              <a:prstGeom prst="ellipse">
                <a:avLst/>
              </a:prstGeom>
              <a:solidFill>
                <a:schemeClr val="bg2"/>
              </a:solidFill>
              <a:ln>
                <a:noFill/>
              </a:ln>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grpSp>
            <p:nvGrpSpPr>
              <p:cNvPr id="1335" name="Group 1334">
                <a:extLst>
                  <a:ext uri="{FF2B5EF4-FFF2-40B4-BE49-F238E27FC236}">
                    <a16:creationId xmlns:a16="http://schemas.microsoft.com/office/drawing/2014/main" id="{04411B76-02E1-495F-A02B-9ED1847418F5}"/>
                  </a:ext>
                </a:extLst>
              </p:cNvPr>
              <p:cNvGrpSpPr/>
              <p:nvPr/>
            </p:nvGrpSpPr>
            <p:grpSpPr>
              <a:xfrm>
                <a:off x="5555565" y="4698220"/>
                <a:ext cx="806317" cy="219868"/>
                <a:chOff x="2123329" y="4209449"/>
                <a:chExt cx="806317" cy="219868"/>
              </a:xfrm>
            </p:grpSpPr>
            <p:grpSp>
              <p:nvGrpSpPr>
                <p:cNvPr id="1636" name="Group 1635">
                  <a:extLst>
                    <a:ext uri="{FF2B5EF4-FFF2-40B4-BE49-F238E27FC236}">
                      <a16:creationId xmlns:a16="http://schemas.microsoft.com/office/drawing/2014/main" id="{8446076D-A51B-4838-AD65-19042BF19C90}"/>
                    </a:ext>
                  </a:extLst>
                </p:cNvPr>
                <p:cNvGrpSpPr/>
                <p:nvPr/>
              </p:nvGrpSpPr>
              <p:grpSpPr>
                <a:xfrm>
                  <a:off x="2123329" y="4209449"/>
                  <a:ext cx="219868" cy="219868"/>
                  <a:chOff x="1299278" y="4593318"/>
                  <a:chExt cx="219868" cy="219868"/>
                </a:xfrm>
              </p:grpSpPr>
              <p:sp>
                <p:nvSpPr>
                  <p:cNvPr id="1646" name="Oval 1645">
                    <a:extLst>
                      <a:ext uri="{FF2B5EF4-FFF2-40B4-BE49-F238E27FC236}">
                        <a16:creationId xmlns:a16="http://schemas.microsoft.com/office/drawing/2014/main" id="{2E4D23CD-D205-4EEC-B284-C56A86EC31C1}"/>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47" name="Freeform: Shape 1646">
                    <a:extLst>
                      <a:ext uri="{FF2B5EF4-FFF2-40B4-BE49-F238E27FC236}">
                        <a16:creationId xmlns:a16="http://schemas.microsoft.com/office/drawing/2014/main" id="{C8E73729-6556-4B8E-9E4A-9137650D6D92}"/>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637" name="Group 1636">
                  <a:extLst>
                    <a:ext uri="{FF2B5EF4-FFF2-40B4-BE49-F238E27FC236}">
                      <a16:creationId xmlns:a16="http://schemas.microsoft.com/office/drawing/2014/main" id="{E1CD3384-0962-4005-8AC8-35812186B740}"/>
                    </a:ext>
                  </a:extLst>
                </p:cNvPr>
                <p:cNvGrpSpPr/>
                <p:nvPr/>
              </p:nvGrpSpPr>
              <p:grpSpPr>
                <a:xfrm>
                  <a:off x="2317468" y="4209449"/>
                  <a:ext cx="219868" cy="219868"/>
                  <a:chOff x="1677883" y="4334258"/>
                  <a:chExt cx="219868" cy="219868"/>
                </a:xfrm>
              </p:grpSpPr>
              <p:sp>
                <p:nvSpPr>
                  <p:cNvPr id="1644" name="Oval 1643">
                    <a:extLst>
                      <a:ext uri="{FF2B5EF4-FFF2-40B4-BE49-F238E27FC236}">
                        <a16:creationId xmlns:a16="http://schemas.microsoft.com/office/drawing/2014/main" id="{8DDE99F9-FDAB-4323-9F4F-284A675B89D2}"/>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45" name="Freeform: Shape 1644">
                    <a:extLst>
                      <a:ext uri="{FF2B5EF4-FFF2-40B4-BE49-F238E27FC236}">
                        <a16:creationId xmlns:a16="http://schemas.microsoft.com/office/drawing/2014/main" id="{EE9F34FD-A187-4C01-8272-C6E08F680E71}"/>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38" name="Group 1637">
                  <a:extLst>
                    <a:ext uri="{FF2B5EF4-FFF2-40B4-BE49-F238E27FC236}">
                      <a16:creationId xmlns:a16="http://schemas.microsoft.com/office/drawing/2014/main" id="{6237941F-6F50-4AB4-996E-BB3FA13AD723}"/>
                    </a:ext>
                  </a:extLst>
                </p:cNvPr>
                <p:cNvGrpSpPr/>
                <p:nvPr/>
              </p:nvGrpSpPr>
              <p:grpSpPr>
                <a:xfrm>
                  <a:off x="2709778" y="4209449"/>
                  <a:ext cx="219868" cy="219868"/>
                  <a:chOff x="1677883" y="4334258"/>
                  <a:chExt cx="219868" cy="219868"/>
                </a:xfrm>
              </p:grpSpPr>
              <p:sp>
                <p:nvSpPr>
                  <p:cNvPr id="1642" name="Oval 1641">
                    <a:extLst>
                      <a:ext uri="{FF2B5EF4-FFF2-40B4-BE49-F238E27FC236}">
                        <a16:creationId xmlns:a16="http://schemas.microsoft.com/office/drawing/2014/main" id="{8D1F564D-1A7E-44A6-A177-87AF9CCDDA8C}"/>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43" name="Freeform: Shape 1642">
                    <a:extLst>
                      <a:ext uri="{FF2B5EF4-FFF2-40B4-BE49-F238E27FC236}">
                        <a16:creationId xmlns:a16="http://schemas.microsoft.com/office/drawing/2014/main" id="{B305ADE3-296D-4651-9499-D9FC757BED32}"/>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39" name="Group 1638">
                  <a:extLst>
                    <a:ext uri="{FF2B5EF4-FFF2-40B4-BE49-F238E27FC236}">
                      <a16:creationId xmlns:a16="http://schemas.microsoft.com/office/drawing/2014/main" id="{6ABFCA97-E747-4411-8C4B-3A8745744320}"/>
                    </a:ext>
                  </a:extLst>
                </p:cNvPr>
                <p:cNvGrpSpPr/>
                <p:nvPr/>
              </p:nvGrpSpPr>
              <p:grpSpPr>
                <a:xfrm>
                  <a:off x="2511686" y="4209449"/>
                  <a:ext cx="219868" cy="219868"/>
                  <a:chOff x="1218819" y="4058009"/>
                  <a:chExt cx="219868" cy="219868"/>
                </a:xfrm>
              </p:grpSpPr>
              <p:sp>
                <p:nvSpPr>
                  <p:cNvPr id="1640" name="Oval 1639">
                    <a:extLst>
                      <a:ext uri="{FF2B5EF4-FFF2-40B4-BE49-F238E27FC236}">
                        <a16:creationId xmlns:a16="http://schemas.microsoft.com/office/drawing/2014/main" id="{5B67B504-F28F-4EB0-BDB3-528E2D335B3B}"/>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41" name="Freeform: Shape 1640">
                    <a:extLst>
                      <a:ext uri="{FF2B5EF4-FFF2-40B4-BE49-F238E27FC236}">
                        <a16:creationId xmlns:a16="http://schemas.microsoft.com/office/drawing/2014/main" id="{68FDDC8D-9702-484B-A086-6DE8C08CCBAF}"/>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36" name="Group 1335">
                <a:extLst>
                  <a:ext uri="{FF2B5EF4-FFF2-40B4-BE49-F238E27FC236}">
                    <a16:creationId xmlns:a16="http://schemas.microsoft.com/office/drawing/2014/main" id="{5518A417-A0DB-4C47-88C3-5A4E0B739698}"/>
                  </a:ext>
                </a:extLst>
              </p:cNvPr>
              <p:cNvGrpSpPr/>
              <p:nvPr/>
            </p:nvGrpSpPr>
            <p:grpSpPr>
              <a:xfrm>
                <a:off x="5555565" y="4698220"/>
                <a:ext cx="806317" cy="219868"/>
                <a:chOff x="2123329" y="4294858"/>
                <a:chExt cx="806317" cy="219868"/>
              </a:xfrm>
            </p:grpSpPr>
            <p:grpSp>
              <p:nvGrpSpPr>
                <p:cNvPr id="1624" name="Group 1623">
                  <a:extLst>
                    <a:ext uri="{FF2B5EF4-FFF2-40B4-BE49-F238E27FC236}">
                      <a16:creationId xmlns:a16="http://schemas.microsoft.com/office/drawing/2014/main" id="{E961C524-9205-473E-9E20-25A0B2FDD213}"/>
                    </a:ext>
                  </a:extLst>
                </p:cNvPr>
                <p:cNvGrpSpPr/>
                <p:nvPr/>
              </p:nvGrpSpPr>
              <p:grpSpPr>
                <a:xfrm>
                  <a:off x="2123329" y="4294858"/>
                  <a:ext cx="219868" cy="219868"/>
                  <a:chOff x="1677883" y="4334258"/>
                  <a:chExt cx="219868" cy="219868"/>
                </a:xfrm>
              </p:grpSpPr>
              <p:sp>
                <p:nvSpPr>
                  <p:cNvPr id="1634" name="Oval 1633">
                    <a:extLst>
                      <a:ext uri="{FF2B5EF4-FFF2-40B4-BE49-F238E27FC236}">
                        <a16:creationId xmlns:a16="http://schemas.microsoft.com/office/drawing/2014/main" id="{9133DAC4-7C4B-486A-B206-378835F6F209}"/>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35" name="Freeform: Shape 1634">
                    <a:extLst>
                      <a:ext uri="{FF2B5EF4-FFF2-40B4-BE49-F238E27FC236}">
                        <a16:creationId xmlns:a16="http://schemas.microsoft.com/office/drawing/2014/main" id="{BF5DCB6C-7879-46FC-8E73-57B15137AECE}"/>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25" name="Group 1624">
                  <a:extLst>
                    <a:ext uri="{FF2B5EF4-FFF2-40B4-BE49-F238E27FC236}">
                      <a16:creationId xmlns:a16="http://schemas.microsoft.com/office/drawing/2014/main" id="{3A80F865-2301-4E25-ABF9-CF6396FA9ABA}"/>
                    </a:ext>
                  </a:extLst>
                </p:cNvPr>
                <p:cNvGrpSpPr/>
                <p:nvPr/>
              </p:nvGrpSpPr>
              <p:grpSpPr>
                <a:xfrm>
                  <a:off x="2511686" y="4294858"/>
                  <a:ext cx="219868" cy="219868"/>
                  <a:chOff x="1677883" y="4334258"/>
                  <a:chExt cx="219868" cy="219868"/>
                </a:xfrm>
              </p:grpSpPr>
              <p:sp>
                <p:nvSpPr>
                  <p:cNvPr id="1632" name="Oval 1631">
                    <a:extLst>
                      <a:ext uri="{FF2B5EF4-FFF2-40B4-BE49-F238E27FC236}">
                        <a16:creationId xmlns:a16="http://schemas.microsoft.com/office/drawing/2014/main" id="{AF3070E1-26E2-4A80-87AC-373BC463DEAC}"/>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33" name="Freeform: Shape 1632">
                    <a:extLst>
                      <a:ext uri="{FF2B5EF4-FFF2-40B4-BE49-F238E27FC236}">
                        <a16:creationId xmlns:a16="http://schemas.microsoft.com/office/drawing/2014/main" id="{379A73B3-075C-463E-B05D-78606EA5B417}"/>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626" name="Group 1625">
                  <a:extLst>
                    <a:ext uri="{FF2B5EF4-FFF2-40B4-BE49-F238E27FC236}">
                      <a16:creationId xmlns:a16="http://schemas.microsoft.com/office/drawing/2014/main" id="{0B7ABAC0-8D28-443D-8D7F-07366444A7B0}"/>
                    </a:ext>
                  </a:extLst>
                </p:cNvPr>
                <p:cNvGrpSpPr/>
                <p:nvPr/>
              </p:nvGrpSpPr>
              <p:grpSpPr>
                <a:xfrm>
                  <a:off x="2317468" y="4294858"/>
                  <a:ext cx="219868" cy="219868"/>
                  <a:chOff x="1299278" y="4593318"/>
                  <a:chExt cx="219868" cy="219868"/>
                </a:xfrm>
              </p:grpSpPr>
              <p:sp>
                <p:nvSpPr>
                  <p:cNvPr id="1630" name="Oval 1629">
                    <a:extLst>
                      <a:ext uri="{FF2B5EF4-FFF2-40B4-BE49-F238E27FC236}">
                        <a16:creationId xmlns:a16="http://schemas.microsoft.com/office/drawing/2014/main" id="{22C067D4-76FE-4324-BFC2-928471133E36}"/>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31" name="Freeform: Shape 1630">
                    <a:extLst>
                      <a:ext uri="{FF2B5EF4-FFF2-40B4-BE49-F238E27FC236}">
                        <a16:creationId xmlns:a16="http://schemas.microsoft.com/office/drawing/2014/main" id="{03C3AB87-ACCE-47AA-9C3B-F2BFA81C1B31}"/>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627" name="Group 1626">
                  <a:extLst>
                    <a:ext uri="{FF2B5EF4-FFF2-40B4-BE49-F238E27FC236}">
                      <a16:creationId xmlns:a16="http://schemas.microsoft.com/office/drawing/2014/main" id="{EC65329F-ED6E-4111-94E7-628CF56317B5}"/>
                    </a:ext>
                  </a:extLst>
                </p:cNvPr>
                <p:cNvGrpSpPr/>
                <p:nvPr/>
              </p:nvGrpSpPr>
              <p:grpSpPr>
                <a:xfrm>
                  <a:off x="2709778" y="4294858"/>
                  <a:ext cx="219868" cy="219868"/>
                  <a:chOff x="1218819" y="4058009"/>
                  <a:chExt cx="219868" cy="219868"/>
                </a:xfrm>
              </p:grpSpPr>
              <p:sp>
                <p:nvSpPr>
                  <p:cNvPr id="1628" name="Oval 1627">
                    <a:extLst>
                      <a:ext uri="{FF2B5EF4-FFF2-40B4-BE49-F238E27FC236}">
                        <a16:creationId xmlns:a16="http://schemas.microsoft.com/office/drawing/2014/main" id="{0FB148B9-9950-408A-948C-504747C9F3D9}"/>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29" name="Freeform: Shape 1628">
                    <a:extLst>
                      <a:ext uri="{FF2B5EF4-FFF2-40B4-BE49-F238E27FC236}">
                        <a16:creationId xmlns:a16="http://schemas.microsoft.com/office/drawing/2014/main" id="{994D5714-7D3C-4B6E-971C-B755745C73D7}"/>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37" name="Group 1336">
                <a:extLst>
                  <a:ext uri="{FF2B5EF4-FFF2-40B4-BE49-F238E27FC236}">
                    <a16:creationId xmlns:a16="http://schemas.microsoft.com/office/drawing/2014/main" id="{3DBF683C-8940-45D3-BFCE-B492314D5447}"/>
                  </a:ext>
                </a:extLst>
              </p:cNvPr>
              <p:cNvGrpSpPr/>
              <p:nvPr/>
            </p:nvGrpSpPr>
            <p:grpSpPr>
              <a:xfrm>
                <a:off x="5555565" y="4698220"/>
                <a:ext cx="806317" cy="219868"/>
                <a:chOff x="2123329" y="4596706"/>
                <a:chExt cx="806317" cy="219868"/>
              </a:xfrm>
            </p:grpSpPr>
            <p:grpSp>
              <p:nvGrpSpPr>
                <p:cNvPr id="1612" name="Group 1611">
                  <a:extLst>
                    <a:ext uri="{FF2B5EF4-FFF2-40B4-BE49-F238E27FC236}">
                      <a16:creationId xmlns:a16="http://schemas.microsoft.com/office/drawing/2014/main" id="{FB8EBA47-1220-46BB-9CBD-95B8ECE067F8}"/>
                    </a:ext>
                  </a:extLst>
                </p:cNvPr>
                <p:cNvGrpSpPr/>
                <p:nvPr/>
              </p:nvGrpSpPr>
              <p:grpSpPr>
                <a:xfrm>
                  <a:off x="2123329" y="4596706"/>
                  <a:ext cx="219868" cy="219868"/>
                  <a:chOff x="1299278" y="4593318"/>
                  <a:chExt cx="219868" cy="219868"/>
                </a:xfrm>
              </p:grpSpPr>
              <p:sp>
                <p:nvSpPr>
                  <p:cNvPr id="1622" name="Oval 1621">
                    <a:extLst>
                      <a:ext uri="{FF2B5EF4-FFF2-40B4-BE49-F238E27FC236}">
                        <a16:creationId xmlns:a16="http://schemas.microsoft.com/office/drawing/2014/main" id="{F9528D92-9FF9-4C59-BD29-6AC72DD975F8}"/>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23" name="Freeform: Shape 1622">
                    <a:extLst>
                      <a:ext uri="{FF2B5EF4-FFF2-40B4-BE49-F238E27FC236}">
                        <a16:creationId xmlns:a16="http://schemas.microsoft.com/office/drawing/2014/main" id="{2A1F6769-D9E2-4726-AACC-105B03E07087}"/>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613" name="Group 1612">
                  <a:extLst>
                    <a:ext uri="{FF2B5EF4-FFF2-40B4-BE49-F238E27FC236}">
                      <a16:creationId xmlns:a16="http://schemas.microsoft.com/office/drawing/2014/main" id="{E9CFB290-15E5-400D-BA8C-073E997D1F32}"/>
                    </a:ext>
                  </a:extLst>
                </p:cNvPr>
                <p:cNvGrpSpPr/>
                <p:nvPr/>
              </p:nvGrpSpPr>
              <p:grpSpPr>
                <a:xfrm>
                  <a:off x="2317468" y="4596706"/>
                  <a:ext cx="219868" cy="219868"/>
                  <a:chOff x="1677883" y="4334258"/>
                  <a:chExt cx="219868" cy="219868"/>
                </a:xfrm>
              </p:grpSpPr>
              <p:sp>
                <p:nvSpPr>
                  <p:cNvPr id="1620" name="Oval 1619">
                    <a:extLst>
                      <a:ext uri="{FF2B5EF4-FFF2-40B4-BE49-F238E27FC236}">
                        <a16:creationId xmlns:a16="http://schemas.microsoft.com/office/drawing/2014/main" id="{93C8A280-FD48-4851-A1D6-9B59B27D96E4}"/>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21" name="Freeform: Shape 1620">
                    <a:extLst>
                      <a:ext uri="{FF2B5EF4-FFF2-40B4-BE49-F238E27FC236}">
                        <a16:creationId xmlns:a16="http://schemas.microsoft.com/office/drawing/2014/main" id="{9A5966D4-C546-46E5-911B-7889BE2BB8C8}"/>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14" name="Group 1613">
                  <a:extLst>
                    <a:ext uri="{FF2B5EF4-FFF2-40B4-BE49-F238E27FC236}">
                      <a16:creationId xmlns:a16="http://schemas.microsoft.com/office/drawing/2014/main" id="{FDD1DC89-E8D2-4A42-A64D-A57B17105514}"/>
                    </a:ext>
                  </a:extLst>
                </p:cNvPr>
                <p:cNvGrpSpPr/>
                <p:nvPr/>
              </p:nvGrpSpPr>
              <p:grpSpPr>
                <a:xfrm>
                  <a:off x="2709778" y="4596706"/>
                  <a:ext cx="219868" cy="219868"/>
                  <a:chOff x="1677883" y="4334258"/>
                  <a:chExt cx="219868" cy="219868"/>
                </a:xfrm>
              </p:grpSpPr>
              <p:sp>
                <p:nvSpPr>
                  <p:cNvPr id="1618" name="Oval 1617">
                    <a:extLst>
                      <a:ext uri="{FF2B5EF4-FFF2-40B4-BE49-F238E27FC236}">
                        <a16:creationId xmlns:a16="http://schemas.microsoft.com/office/drawing/2014/main" id="{4E671FDB-9D5C-455D-B6C8-1997A1027F44}"/>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19" name="Freeform: Shape 1618">
                    <a:extLst>
                      <a:ext uri="{FF2B5EF4-FFF2-40B4-BE49-F238E27FC236}">
                        <a16:creationId xmlns:a16="http://schemas.microsoft.com/office/drawing/2014/main" id="{3BFFB756-64E0-4D8C-A8E7-61871085DFB6}"/>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15" name="Group 1614">
                  <a:extLst>
                    <a:ext uri="{FF2B5EF4-FFF2-40B4-BE49-F238E27FC236}">
                      <a16:creationId xmlns:a16="http://schemas.microsoft.com/office/drawing/2014/main" id="{6E8A7EAD-09E6-40AC-B51D-23F018D4BEBC}"/>
                    </a:ext>
                  </a:extLst>
                </p:cNvPr>
                <p:cNvGrpSpPr/>
                <p:nvPr/>
              </p:nvGrpSpPr>
              <p:grpSpPr>
                <a:xfrm>
                  <a:off x="2511686" y="4596706"/>
                  <a:ext cx="219868" cy="219868"/>
                  <a:chOff x="1299278" y="4593318"/>
                  <a:chExt cx="219868" cy="219868"/>
                </a:xfrm>
              </p:grpSpPr>
              <p:sp>
                <p:nvSpPr>
                  <p:cNvPr id="1616" name="Oval 1615">
                    <a:extLst>
                      <a:ext uri="{FF2B5EF4-FFF2-40B4-BE49-F238E27FC236}">
                        <a16:creationId xmlns:a16="http://schemas.microsoft.com/office/drawing/2014/main" id="{6CF9D470-9FBD-4EA0-814D-94A365AE857D}"/>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17" name="Freeform: Shape 1616">
                    <a:extLst>
                      <a:ext uri="{FF2B5EF4-FFF2-40B4-BE49-F238E27FC236}">
                        <a16:creationId xmlns:a16="http://schemas.microsoft.com/office/drawing/2014/main" id="{9A980515-0C0F-436A-89AD-D0F5D344649D}"/>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grpSp>
            <p:nvGrpSpPr>
              <p:cNvPr id="1338" name="Group 1337">
                <a:extLst>
                  <a:ext uri="{FF2B5EF4-FFF2-40B4-BE49-F238E27FC236}">
                    <a16:creationId xmlns:a16="http://schemas.microsoft.com/office/drawing/2014/main" id="{BF4912D1-DFF7-4DA1-9C6B-A2E395023341}"/>
                  </a:ext>
                </a:extLst>
              </p:cNvPr>
              <p:cNvGrpSpPr/>
              <p:nvPr/>
            </p:nvGrpSpPr>
            <p:grpSpPr>
              <a:xfrm>
                <a:off x="5555565" y="4698220"/>
                <a:ext cx="806317" cy="219868"/>
                <a:chOff x="2123329" y="4685709"/>
                <a:chExt cx="806317" cy="219868"/>
              </a:xfrm>
            </p:grpSpPr>
            <p:grpSp>
              <p:nvGrpSpPr>
                <p:cNvPr id="1600" name="Group 1599">
                  <a:extLst>
                    <a:ext uri="{FF2B5EF4-FFF2-40B4-BE49-F238E27FC236}">
                      <a16:creationId xmlns:a16="http://schemas.microsoft.com/office/drawing/2014/main" id="{F34996E2-936C-41FA-BCAA-1F6AD475EE21}"/>
                    </a:ext>
                  </a:extLst>
                </p:cNvPr>
                <p:cNvGrpSpPr/>
                <p:nvPr/>
              </p:nvGrpSpPr>
              <p:grpSpPr>
                <a:xfrm>
                  <a:off x="2511686" y="4685709"/>
                  <a:ext cx="219868" cy="219868"/>
                  <a:chOff x="1677883" y="4334258"/>
                  <a:chExt cx="219868" cy="219868"/>
                </a:xfrm>
              </p:grpSpPr>
              <p:sp>
                <p:nvSpPr>
                  <p:cNvPr id="1610" name="Oval 1609">
                    <a:extLst>
                      <a:ext uri="{FF2B5EF4-FFF2-40B4-BE49-F238E27FC236}">
                        <a16:creationId xmlns:a16="http://schemas.microsoft.com/office/drawing/2014/main" id="{3E8000E2-176F-4C38-A4AC-5102305029C3}"/>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11" name="Freeform: Shape 1610">
                    <a:extLst>
                      <a:ext uri="{FF2B5EF4-FFF2-40B4-BE49-F238E27FC236}">
                        <a16:creationId xmlns:a16="http://schemas.microsoft.com/office/drawing/2014/main" id="{A9DF065C-CF6E-4D66-B816-BEACAB8872BB}"/>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01" name="Group 1600">
                  <a:extLst>
                    <a:ext uri="{FF2B5EF4-FFF2-40B4-BE49-F238E27FC236}">
                      <a16:creationId xmlns:a16="http://schemas.microsoft.com/office/drawing/2014/main" id="{B6FBB085-0C48-47F6-8EB8-8A52B6304F0E}"/>
                    </a:ext>
                  </a:extLst>
                </p:cNvPr>
                <p:cNvGrpSpPr/>
                <p:nvPr/>
              </p:nvGrpSpPr>
              <p:grpSpPr>
                <a:xfrm>
                  <a:off x="2317468" y="4685709"/>
                  <a:ext cx="219868" cy="219868"/>
                  <a:chOff x="1299278" y="4593318"/>
                  <a:chExt cx="219868" cy="219868"/>
                </a:xfrm>
              </p:grpSpPr>
              <p:sp>
                <p:nvSpPr>
                  <p:cNvPr id="1608" name="Oval 1607">
                    <a:extLst>
                      <a:ext uri="{FF2B5EF4-FFF2-40B4-BE49-F238E27FC236}">
                        <a16:creationId xmlns:a16="http://schemas.microsoft.com/office/drawing/2014/main" id="{EC231560-3508-4FF2-B64E-EDCF0F570C54}"/>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09" name="Freeform: Shape 1608">
                    <a:extLst>
                      <a:ext uri="{FF2B5EF4-FFF2-40B4-BE49-F238E27FC236}">
                        <a16:creationId xmlns:a16="http://schemas.microsoft.com/office/drawing/2014/main" id="{663DF0CE-DFDA-49B7-AC06-1CC69F6964B9}"/>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602" name="Group 1601">
                  <a:extLst>
                    <a:ext uri="{FF2B5EF4-FFF2-40B4-BE49-F238E27FC236}">
                      <a16:creationId xmlns:a16="http://schemas.microsoft.com/office/drawing/2014/main" id="{EF6760ED-72C7-487D-B8C5-D5F460B4787A}"/>
                    </a:ext>
                  </a:extLst>
                </p:cNvPr>
                <p:cNvGrpSpPr/>
                <p:nvPr/>
              </p:nvGrpSpPr>
              <p:grpSpPr>
                <a:xfrm>
                  <a:off x="2709778" y="4685709"/>
                  <a:ext cx="219868" cy="219868"/>
                  <a:chOff x="1299278" y="4593318"/>
                  <a:chExt cx="219868" cy="219868"/>
                </a:xfrm>
              </p:grpSpPr>
              <p:sp>
                <p:nvSpPr>
                  <p:cNvPr id="1606" name="Oval 1605">
                    <a:extLst>
                      <a:ext uri="{FF2B5EF4-FFF2-40B4-BE49-F238E27FC236}">
                        <a16:creationId xmlns:a16="http://schemas.microsoft.com/office/drawing/2014/main" id="{BB15A8D3-DB87-435A-A97A-5C2801E754B3}"/>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07" name="Freeform: Shape 1606">
                    <a:extLst>
                      <a:ext uri="{FF2B5EF4-FFF2-40B4-BE49-F238E27FC236}">
                        <a16:creationId xmlns:a16="http://schemas.microsoft.com/office/drawing/2014/main" id="{F1DDD1C5-AC40-4065-BDAC-AF7DFCB40FC0}"/>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603" name="Group 1602">
                  <a:extLst>
                    <a:ext uri="{FF2B5EF4-FFF2-40B4-BE49-F238E27FC236}">
                      <a16:creationId xmlns:a16="http://schemas.microsoft.com/office/drawing/2014/main" id="{855C50F0-CEEF-468D-BE75-DEA27F88EBF8}"/>
                    </a:ext>
                  </a:extLst>
                </p:cNvPr>
                <p:cNvGrpSpPr/>
                <p:nvPr/>
              </p:nvGrpSpPr>
              <p:grpSpPr>
                <a:xfrm>
                  <a:off x="2123329" y="4685709"/>
                  <a:ext cx="219868" cy="219868"/>
                  <a:chOff x="1218819" y="4058009"/>
                  <a:chExt cx="219868" cy="219868"/>
                </a:xfrm>
              </p:grpSpPr>
              <p:sp>
                <p:nvSpPr>
                  <p:cNvPr id="1604" name="Oval 1603">
                    <a:extLst>
                      <a:ext uri="{FF2B5EF4-FFF2-40B4-BE49-F238E27FC236}">
                        <a16:creationId xmlns:a16="http://schemas.microsoft.com/office/drawing/2014/main" id="{873F78E0-91ED-479D-A10C-C430A3D141A6}"/>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05" name="Freeform: Shape 1604">
                    <a:extLst>
                      <a:ext uri="{FF2B5EF4-FFF2-40B4-BE49-F238E27FC236}">
                        <a16:creationId xmlns:a16="http://schemas.microsoft.com/office/drawing/2014/main" id="{C69760B4-D12E-4FED-9C60-A6069DFA2EFA}"/>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39" name="Group 1338">
                <a:extLst>
                  <a:ext uri="{FF2B5EF4-FFF2-40B4-BE49-F238E27FC236}">
                    <a16:creationId xmlns:a16="http://schemas.microsoft.com/office/drawing/2014/main" id="{8F91459D-1096-4087-B6E0-AE1518289B4C}"/>
                  </a:ext>
                </a:extLst>
              </p:cNvPr>
              <p:cNvGrpSpPr/>
              <p:nvPr/>
            </p:nvGrpSpPr>
            <p:grpSpPr>
              <a:xfrm>
                <a:off x="5555565" y="4698220"/>
                <a:ext cx="806317" cy="219868"/>
                <a:chOff x="2123329" y="5027825"/>
                <a:chExt cx="806317" cy="219868"/>
              </a:xfrm>
            </p:grpSpPr>
            <p:grpSp>
              <p:nvGrpSpPr>
                <p:cNvPr id="1588" name="Group 1587">
                  <a:extLst>
                    <a:ext uri="{FF2B5EF4-FFF2-40B4-BE49-F238E27FC236}">
                      <a16:creationId xmlns:a16="http://schemas.microsoft.com/office/drawing/2014/main" id="{C12158BE-4CEA-46DE-B936-D08897237EE5}"/>
                    </a:ext>
                  </a:extLst>
                </p:cNvPr>
                <p:cNvGrpSpPr/>
                <p:nvPr/>
              </p:nvGrpSpPr>
              <p:grpSpPr>
                <a:xfrm>
                  <a:off x="2709778" y="5027825"/>
                  <a:ext cx="219868" cy="219868"/>
                  <a:chOff x="1677883" y="4334258"/>
                  <a:chExt cx="219868" cy="219868"/>
                </a:xfrm>
              </p:grpSpPr>
              <p:sp>
                <p:nvSpPr>
                  <p:cNvPr id="1598" name="Oval 1597">
                    <a:extLst>
                      <a:ext uri="{FF2B5EF4-FFF2-40B4-BE49-F238E27FC236}">
                        <a16:creationId xmlns:a16="http://schemas.microsoft.com/office/drawing/2014/main" id="{0F88E867-5103-485B-8C17-219FB33E0799}"/>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99" name="Freeform: Shape 1598">
                    <a:extLst>
                      <a:ext uri="{FF2B5EF4-FFF2-40B4-BE49-F238E27FC236}">
                        <a16:creationId xmlns:a16="http://schemas.microsoft.com/office/drawing/2014/main" id="{611DAF02-74EC-4D2D-87B4-9344CF0E1391}"/>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589" name="Group 1588">
                  <a:extLst>
                    <a:ext uri="{FF2B5EF4-FFF2-40B4-BE49-F238E27FC236}">
                      <a16:creationId xmlns:a16="http://schemas.microsoft.com/office/drawing/2014/main" id="{EDC314D6-7936-41F9-85E4-8C15D2AFB1EA}"/>
                    </a:ext>
                  </a:extLst>
                </p:cNvPr>
                <p:cNvGrpSpPr/>
                <p:nvPr/>
              </p:nvGrpSpPr>
              <p:grpSpPr>
                <a:xfrm>
                  <a:off x="2511686" y="5027825"/>
                  <a:ext cx="219868" cy="219868"/>
                  <a:chOff x="1299278" y="4593318"/>
                  <a:chExt cx="219868" cy="219868"/>
                </a:xfrm>
              </p:grpSpPr>
              <p:sp>
                <p:nvSpPr>
                  <p:cNvPr id="1596" name="Oval 1595">
                    <a:extLst>
                      <a:ext uri="{FF2B5EF4-FFF2-40B4-BE49-F238E27FC236}">
                        <a16:creationId xmlns:a16="http://schemas.microsoft.com/office/drawing/2014/main" id="{310EBDD1-0859-4FF8-80DF-6DB8757BB4CB}"/>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97" name="Freeform: Shape 1596">
                    <a:extLst>
                      <a:ext uri="{FF2B5EF4-FFF2-40B4-BE49-F238E27FC236}">
                        <a16:creationId xmlns:a16="http://schemas.microsoft.com/office/drawing/2014/main" id="{4BEB0EA0-A2C9-48E7-B61A-55CB9F261145}"/>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590" name="Group 1589">
                  <a:extLst>
                    <a:ext uri="{FF2B5EF4-FFF2-40B4-BE49-F238E27FC236}">
                      <a16:creationId xmlns:a16="http://schemas.microsoft.com/office/drawing/2014/main" id="{4D0A8158-4E21-46E8-95FE-6795D157EC54}"/>
                    </a:ext>
                  </a:extLst>
                </p:cNvPr>
                <p:cNvGrpSpPr/>
                <p:nvPr/>
              </p:nvGrpSpPr>
              <p:grpSpPr>
                <a:xfrm>
                  <a:off x="2123329" y="5027825"/>
                  <a:ext cx="219868" cy="219868"/>
                  <a:chOff x="1218819" y="4058009"/>
                  <a:chExt cx="219868" cy="219868"/>
                </a:xfrm>
              </p:grpSpPr>
              <p:sp>
                <p:nvSpPr>
                  <p:cNvPr id="1594" name="Oval 1593">
                    <a:extLst>
                      <a:ext uri="{FF2B5EF4-FFF2-40B4-BE49-F238E27FC236}">
                        <a16:creationId xmlns:a16="http://schemas.microsoft.com/office/drawing/2014/main" id="{479B5467-3B7B-4C8C-9505-F4E9C20E0FF4}"/>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95" name="Freeform: Shape 1594">
                    <a:extLst>
                      <a:ext uri="{FF2B5EF4-FFF2-40B4-BE49-F238E27FC236}">
                        <a16:creationId xmlns:a16="http://schemas.microsoft.com/office/drawing/2014/main" id="{65B8EE2D-384F-4296-A266-53306995AD05}"/>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591" name="Group 1590">
                  <a:extLst>
                    <a:ext uri="{FF2B5EF4-FFF2-40B4-BE49-F238E27FC236}">
                      <a16:creationId xmlns:a16="http://schemas.microsoft.com/office/drawing/2014/main" id="{2820D119-ECB2-4660-9303-942990744CB6}"/>
                    </a:ext>
                  </a:extLst>
                </p:cNvPr>
                <p:cNvGrpSpPr/>
                <p:nvPr/>
              </p:nvGrpSpPr>
              <p:grpSpPr>
                <a:xfrm>
                  <a:off x="2317468" y="5027825"/>
                  <a:ext cx="219868" cy="219868"/>
                  <a:chOff x="1218819" y="4058009"/>
                  <a:chExt cx="219868" cy="219868"/>
                </a:xfrm>
              </p:grpSpPr>
              <p:sp>
                <p:nvSpPr>
                  <p:cNvPr id="1592" name="Oval 1591">
                    <a:extLst>
                      <a:ext uri="{FF2B5EF4-FFF2-40B4-BE49-F238E27FC236}">
                        <a16:creationId xmlns:a16="http://schemas.microsoft.com/office/drawing/2014/main" id="{4E52A952-F7F9-45FD-A653-C90E9B270BC8}"/>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93" name="Freeform: Shape 1592">
                    <a:extLst>
                      <a:ext uri="{FF2B5EF4-FFF2-40B4-BE49-F238E27FC236}">
                        <a16:creationId xmlns:a16="http://schemas.microsoft.com/office/drawing/2014/main" id="{22D6A046-6EE5-4C31-B423-B74D3451B291}"/>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40" name="Group 1339">
                <a:extLst>
                  <a:ext uri="{FF2B5EF4-FFF2-40B4-BE49-F238E27FC236}">
                    <a16:creationId xmlns:a16="http://schemas.microsoft.com/office/drawing/2014/main" id="{D63E7617-047A-4CD8-93CD-E85C04D17B90}"/>
                  </a:ext>
                </a:extLst>
              </p:cNvPr>
              <p:cNvGrpSpPr/>
              <p:nvPr/>
            </p:nvGrpSpPr>
            <p:grpSpPr>
              <a:xfrm>
                <a:off x="5555565" y="4698220"/>
                <a:ext cx="806317" cy="219868"/>
                <a:chOff x="2123329" y="4893584"/>
                <a:chExt cx="806317" cy="219868"/>
              </a:xfrm>
            </p:grpSpPr>
            <p:grpSp>
              <p:nvGrpSpPr>
                <p:cNvPr id="1576" name="Group 1575">
                  <a:extLst>
                    <a:ext uri="{FF2B5EF4-FFF2-40B4-BE49-F238E27FC236}">
                      <a16:creationId xmlns:a16="http://schemas.microsoft.com/office/drawing/2014/main" id="{B014C8FF-5D11-43DB-B787-A17B7DC91DDC}"/>
                    </a:ext>
                  </a:extLst>
                </p:cNvPr>
                <p:cNvGrpSpPr/>
                <p:nvPr/>
              </p:nvGrpSpPr>
              <p:grpSpPr>
                <a:xfrm>
                  <a:off x="2123329" y="4893584"/>
                  <a:ext cx="219868" cy="219868"/>
                  <a:chOff x="1677883" y="4334258"/>
                  <a:chExt cx="219868" cy="219868"/>
                </a:xfrm>
              </p:grpSpPr>
              <p:sp>
                <p:nvSpPr>
                  <p:cNvPr id="1586" name="Oval 1585">
                    <a:extLst>
                      <a:ext uri="{FF2B5EF4-FFF2-40B4-BE49-F238E27FC236}">
                        <a16:creationId xmlns:a16="http://schemas.microsoft.com/office/drawing/2014/main" id="{74723F09-6C63-4E5B-BB93-C065E3801A55}"/>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87" name="Freeform: Shape 1586">
                    <a:extLst>
                      <a:ext uri="{FF2B5EF4-FFF2-40B4-BE49-F238E27FC236}">
                        <a16:creationId xmlns:a16="http://schemas.microsoft.com/office/drawing/2014/main" id="{4CCC3DC8-0E2B-4A01-9AC2-8A389555FCBA}"/>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577" name="Group 1576">
                  <a:extLst>
                    <a:ext uri="{FF2B5EF4-FFF2-40B4-BE49-F238E27FC236}">
                      <a16:creationId xmlns:a16="http://schemas.microsoft.com/office/drawing/2014/main" id="{BA124425-B32E-44B0-A85C-3AA6D11CE253}"/>
                    </a:ext>
                  </a:extLst>
                </p:cNvPr>
                <p:cNvGrpSpPr/>
                <p:nvPr/>
              </p:nvGrpSpPr>
              <p:grpSpPr>
                <a:xfrm>
                  <a:off x="2709778" y="4893584"/>
                  <a:ext cx="219868" cy="219868"/>
                  <a:chOff x="1299278" y="4593318"/>
                  <a:chExt cx="219868" cy="219868"/>
                </a:xfrm>
              </p:grpSpPr>
              <p:sp>
                <p:nvSpPr>
                  <p:cNvPr id="1584" name="Oval 1583">
                    <a:extLst>
                      <a:ext uri="{FF2B5EF4-FFF2-40B4-BE49-F238E27FC236}">
                        <a16:creationId xmlns:a16="http://schemas.microsoft.com/office/drawing/2014/main" id="{28CFBC85-EE39-4D44-BA31-31A28B344DD8}"/>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85" name="Freeform: Shape 1584">
                    <a:extLst>
                      <a:ext uri="{FF2B5EF4-FFF2-40B4-BE49-F238E27FC236}">
                        <a16:creationId xmlns:a16="http://schemas.microsoft.com/office/drawing/2014/main" id="{82B16C53-3426-4B3B-B8BE-8904BC9CCBF9}"/>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578" name="Group 1577">
                  <a:extLst>
                    <a:ext uri="{FF2B5EF4-FFF2-40B4-BE49-F238E27FC236}">
                      <a16:creationId xmlns:a16="http://schemas.microsoft.com/office/drawing/2014/main" id="{F4B8897B-3ED7-45A0-AFF8-7910602A4F8E}"/>
                    </a:ext>
                  </a:extLst>
                </p:cNvPr>
                <p:cNvGrpSpPr/>
                <p:nvPr/>
              </p:nvGrpSpPr>
              <p:grpSpPr>
                <a:xfrm>
                  <a:off x="2317468" y="4893584"/>
                  <a:ext cx="219868" cy="219868"/>
                  <a:chOff x="1218819" y="4058009"/>
                  <a:chExt cx="219868" cy="219868"/>
                </a:xfrm>
              </p:grpSpPr>
              <p:sp>
                <p:nvSpPr>
                  <p:cNvPr id="1582" name="Oval 1581">
                    <a:extLst>
                      <a:ext uri="{FF2B5EF4-FFF2-40B4-BE49-F238E27FC236}">
                        <a16:creationId xmlns:a16="http://schemas.microsoft.com/office/drawing/2014/main" id="{FE83D6AB-FD6C-4D1D-9CFF-01A2A7C11FB6}"/>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83" name="Freeform: Shape 1582">
                    <a:extLst>
                      <a:ext uri="{FF2B5EF4-FFF2-40B4-BE49-F238E27FC236}">
                        <a16:creationId xmlns:a16="http://schemas.microsoft.com/office/drawing/2014/main" id="{438187AB-68BD-4156-9697-0BBB3D954615}"/>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579" name="Group 1578">
                  <a:extLst>
                    <a:ext uri="{FF2B5EF4-FFF2-40B4-BE49-F238E27FC236}">
                      <a16:creationId xmlns:a16="http://schemas.microsoft.com/office/drawing/2014/main" id="{B5694154-6F14-4251-A049-92AAAB695952}"/>
                    </a:ext>
                  </a:extLst>
                </p:cNvPr>
                <p:cNvGrpSpPr/>
                <p:nvPr/>
              </p:nvGrpSpPr>
              <p:grpSpPr>
                <a:xfrm>
                  <a:off x="2511686" y="4893584"/>
                  <a:ext cx="219868" cy="219868"/>
                  <a:chOff x="1218819" y="4058009"/>
                  <a:chExt cx="219868" cy="219868"/>
                </a:xfrm>
              </p:grpSpPr>
              <p:sp>
                <p:nvSpPr>
                  <p:cNvPr id="1580" name="Oval 1579">
                    <a:extLst>
                      <a:ext uri="{FF2B5EF4-FFF2-40B4-BE49-F238E27FC236}">
                        <a16:creationId xmlns:a16="http://schemas.microsoft.com/office/drawing/2014/main" id="{9C67E6A4-2408-4682-A002-15FED9DCD157}"/>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81" name="Freeform: Shape 1580">
                    <a:extLst>
                      <a:ext uri="{FF2B5EF4-FFF2-40B4-BE49-F238E27FC236}">
                        <a16:creationId xmlns:a16="http://schemas.microsoft.com/office/drawing/2014/main" id="{C001C1D8-57B3-4950-BF3F-68C2664A8EC3}"/>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41" name="Group 1340">
                <a:extLst>
                  <a:ext uri="{FF2B5EF4-FFF2-40B4-BE49-F238E27FC236}">
                    <a16:creationId xmlns:a16="http://schemas.microsoft.com/office/drawing/2014/main" id="{C632734F-56CC-480A-9B71-8DA3159BDE5F}"/>
                  </a:ext>
                </a:extLst>
              </p:cNvPr>
              <p:cNvGrpSpPr/>
              <p:nvPr/>
            </p:nvGrpSpPr>
            <p:grpSpPr>
              <a:xfrm>
                <a:off x="5555565" y="4698220"/>
                <a:ext cx="806317" cy="219868"/>
                <a:chOff x="2123329" y="5426244"/>
                <a:chExt cx="806317" cy="219868"/>
              </a:xfrm>
            </p:grpSpPr>
            <p:grpSp>
              <p:nvGrpSpPr>
                <p:cNvPr id="1564" name="Group 1563">
                  <a:extLst>
                    <a:ext uri="{FF2B5EF4-FFF2-40B4-BE49-F238E27FC236}">
                      <a16:creationId xmlns:a16="http://schemas.microsoft.com/office/drawing/2014/main" id="{8F677E4B-4940-41B5-A7C3-F59843AEAEE0}"/>
                    </a:ext>
                  </a:extLst>
                </p:cNvPr>
                <p:cNvGrpSpPr/>
                <p:nvPr/>
              </p:nvGrpSpPr>
              <p:grpSpPr>
                <a:xfrm>
                  <a:off x="2317468" y="5426244"/>
                  <a:ext cx="219868" cy="219868"/>
                  <a:chOff x="1677883" y="4334258"/>
                  <a:chExt cx="219868" cy="219868"/>
                </a:xfrm>
              </p:grpSpPr>
              <p:sp>
                <p:nvSpPr>
                  <p:cNvPr id="1574" name="Oval 1573">
                    <a:extLst>
                      <a:ext uri="{FF2B5EF4-FFF2-40B4-BE49-F238E27FC236}">
                        <a16:creationId xmlns:a16="http://schemas.microsoft.com/office/drawing/2014/main" id="{BCE0636F-B1B3-4E54-9F0C-74A692EA83D1}"/>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75" name="Freeform: Shape 1574">
                    <a:extLst>
                      <a:ext uri="{FF2B5EF4-FFF2-40B4-BE49-F238E27FC236}">
                        <a16:creationId xmlns:a16="http://schemas.microsoft.com/office/drawing/2014/main" id="{258323BE-8D2A-4555-B6D0-5F495E0AB5D6}"/>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565" name="Group 1564">
                  <a:extLst>
                    <a:ext uri="{FF2B5EF4-FFF2-40B4-BE49-F238E27FC236}">
                      <a16:creationId xmlns:a16="http://schemas.microsoft.com/office/drawing/2014/main" id="{468CB7CC-0795-4D4A-8058-1534AF6061CF}"/>
                    </a:ext>
                  </a:extLst>
                </p:cNvPr>
                <p:cNvGrpSpPr/>
                <p:nvPr/>
              </p:nvGrpSpPr>
              <p:grpSpPr>
                <a:xfrm>
                  <a:off x="2123329" y="5426244"/>
                  <a:ext cx="219868" cy="219868"/>
                  <a:chOff x="1218819" y="4058009"/>
                  <a:chExt cx="219868" cy="219868"/>
                </a:xfrm>
              </p:grpSpPr>
              <p:sp>
                <p:nvSpPr>
                  <p:cNvPr id="1572" name="Oval 1571">
                    <a:extLst>
                      <a:ext uri="{FF2B5EF4-FFF2-40B4-BE49-F238E27FC236}">
                        <a16:creationId xmlns:a16="http://schemas.microsoft.com/office/drawing/2014/main" id="{6815D693-47D2-4943-BB89-76CC9D319F07}"/>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73" name="Freeform: Shape 1572">
                    <a:extLst>
                      <a:ext uri="{FF2B5EF4-FFF2-40B4-BE49-F238E27FC236}">
                        <a16:creationId xmlns:a16="http://schemas.microsoft.com/office/drawing/2014/main" id="{E0D81888-ED4D-4D54-A8EA-A054B56AC392}"/>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566" name="Group 1565">
                  <a:extLst>
                    <a:ext uri="{FF2B5EF4-FFF2-40B4-BE49-F238E27FC236}">
                      <a16:creationId xmlns:a16="http://schemas.microsoft.com/office/drawing/2014/main" id="{C036FCE0-1DCB-4D1B-B36A-7D5A16AB2C92}"/>
                    </a:ext>
                  </a:extLst>
                </p:cNvPr>
                <p:cNvGrpSpPr/>
                <p:nvPr/>
              </p:nvGrpSpPr>
              <p:grpSpPr>
                <a:xfrm>
                  <a:off x="2511686" y="5426244"/>
                  <a:ext cx="219868" cy="219868"/>
                  <a:chOff x="1218819" y="4058009"/>
                  <a:chExt cx="219868" cy="219868"/>
                </a:xfrm>
              </p:grpSpPr>
              <p:sp>
                <p:nvSpPr>
                  <p:cNvPr id="1570" name="Oval 1569">
                    <a:extLst>
                      <a:ext uri="{FF2B5EF4-FFF2-40B4-BE49-F238E27FC236}">
                        <a16:creationId xmlns:a16="http://schemas.microsoft.com/office/drawing/2014/main" id="{D87B107B-E197-42FB-ABF5-168D8DAB9E52}"/>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71" name="Freeform: Shape 1570">
                    <a:extLst>
                      <a:ext uri="{FF2B5EF4-FFF2-40B4-BE49-F238E27FC236}">
                        <a16:creationId xmlns:a16="http://schemas.microsoft.com/office/drawing/2014/main" id="{34C86B5F-695A-48A4-9AFA-C24E71A5F069}"/>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567" name="Group 1566">
                  <a:extLst>
                    <a:ext uri="{FF2B5EF4-FFF2-40B4-BE49-F238E27FC236}">
                      <a16:creationId xmlns:a16="http://schemas.microsoft.com/office/drawing/2014/main" id="{226B5C2C-D5E6-4093-9C0D-A2FD820EA6D7}"/>
                    </a:ext>
                  </a:extLst>
                </p:cNvPr>
                <p:cNvGrpSpPr/>
                <p:nvPr/>
              </p:nvGrpSpPr>
              <p:grpSpPr>
                <a:xfrm>
                  <a:off x="2709778" y="5426244"/>
                  <a:ext cx="219868" cy="219868"/>
                  <a:chOff x="1218819" y="4058009"/>
                  <a:chExt cx="219868" cy="219868"/>
                </a:xfrm>
              </p:grpSpPr>
              <p:sp>
                <p:nvSpPr>
                  <p:cNvPr id="1568" name="Oval 1567">
                    <a:extLst>
                      <a:ext uri="{FF2B5EF4-FFF2-40B4-BE49-F238E27FC236}">
                        <a16:creationId xmlns:a16="http://schemas.microsoft.com/office/drawing/2014/main" id="{E7206BA2-121F-41B5-9F8A-953841FB24A3}"/>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69" name="Freeform: Shape 1568">
                    <a:extLst>
                      <a:ext uri="{FF2B5EF4-FFF2-40B4-BE49-F238E27FC236}">
                        <a16:creationId xmlns:a16="http://schemas.microsoft.com/office/drawing/2014/main" id="{B284D64D-9CAF-4D81-832D-A6FBFD40879E}"/>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42" name="Group 1341">
                <a:extLst>
                  <a:ext uri="{FF2B5EF4-FFF2-40B4-BE49-F238E27FC236}">
                    <a16:creationId xmlns:a16="http://schemas.microsoft.com/office/drawing/2014/main" id="{18154D23-FB5D-4153-8137-D53752FCF834}"/>
                  </a:ext>
                </a:extLst>
              </p:cNvPr>
              <p:cNvGrpSpPr/>
              <p:nvPr/>
            </p:nvGrpSpPr>
            <p:grpSpPr>
              <a:xfrm>
                <a:off x="5555565" y="4698220"/>
                <a:ext cx="806317" cy="219868"/>
                <a:chOff x="2123329" y="5314847"/>
                <a:chExt cx="806317" cy="219868"/>
              </a:xfrm>
            </p:grpSpPr>
            <p:grpSp>
              <p:nvGrpSpPr>
                <p:cNvPr id="1552" name="Group 1551">
                  <a:extLst>
                    <a:ext uri="{FF2B5EF4-FFF2-40B4-BE49-F238E27FC236}">
                      <a16:creationId xmlns:a16="http://schemas.microsoft.com/office/drawing/2014/main" id="{2D599940-2090-4CB3-B70C-EB19106F69AC}"/>
                    </a:ext>
                  </a:extLst>
                </p:cNvPr>
                <p:cNvGrpSpPr/>
                <p:nvPr/>
              </p:nvGrpSpPr>
              <p:grpSpPr>
                <a:xfrm>
                  <a:off x="2123329" y="5314847"/>
                  <a:ext cx="219868" cy="219868"/>
                  <a:chOff x="1677883" y="4334258"/>
                  <a:chExt cx="219868" cy="219868"/>
                </a:xfrm>
              </p:grpSpPr>
              <p:sp>
                <p:nvSpPr>
                  <p:cNvPr id="1562" name="Oval 1561">
                    <a:extLst>
                      <a:ext uri="{FF2B5EF4-FFF2-40B4-BE49-F238E27FC236}">
                        <a16:creationId xmlns:a16="http://schemas.microsoft.com/office/drawing/2014/main" id="{177ABE17-48BA-4CEB-B9A4-21BD940E1476}"/>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63" name="Freeform: Shape 1562">
                    <a:extLst>
                      <a:ext uri="{FF2B5EF4-FFF2-40B4-BE49-F238E27FC236}">
                        <a16:creationId xmlns:a16="http://schemas.microsoft.com/office/drawing/2014/main" id="{E0A33B9E-89B0-4167-9320-827595C09A56}"/>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553" name="Group 1552">
                  <a:extLst>
                    <a:ext uri="{FF2B5EF4-FFF2-40B4-BE49-F238E27FC236}">
                      <a16:creationId xmlns:a16="http://schemas.microsoft.com/office/drawing/2014/main" id="{E01AA5CB-CF76-4916-9894-0A79C5CFC081}"/>
                    </a:ext>
                  </a:extLst>
                </p:cNvPr>
                <p:cNvGrpSpPr/>
                <p:nvPr/>
              </p:nvGrpSpPr>
              <p:grpSpPr>
                <a:xfrm>
                  <a:off x="2511686" y="5314847"/>
                  <a:ext cx="219868" cy="219868"/>
                  <a:chOff x="1677883" y="4334258"/>
                  <a:chExt cx="219868" cy="219868"/>
                </a:xfrm>
              </p:grpSpPr>
              <p:sp>
                <p:nvSpPr>
                  <p:cNvPr id="1560" name="Oval 1559">
                    <a:extLst>
                      <a:ext uri="{FF2B5EF4-FFF2-40B4-BE49-F238E27FC236}">
                        <a16:creationId xmlns:a16="http://schemas.microsoft.com/office/drawing/2014/main" id="{46A539FB-D358-44C6-8CBE-090E4AD8212D}"/>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61" name="Freeform: Shape 1560">
                    <a:extLst>
                      <a:ext uri="{FF2B5EF4-FFF2-40B4-BE49-F238E27FC236}">
                        <a16:creationId xmlns:a16="http://schemas.microsoft.com/office/drawing/2014/main" id="{6DDAD93E-7324-4DB2-A081-4331B895E3E2}"/>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554" name="Group 1553">
                  <a:extLst>
                    <a:ext uri="{FF2B5EF4-FFF2-40B4-BE49-F238E27FC236}">
                      <a16:creationId xmlns:a16="http://schemas.microsoft.com/office/drawing/2014/main" id="{B4A502D8-3086-4C33-879E-AF0CA3DF4558}"/>
                    </a:ext>
                  </a:extLst>
                </p:cNvPr>
                <p:cNvGrpSpPr/>
                <p:nvPr/>
              </p:nvGrpSpPr>
              <p:grpSpPr>
                <a:xfrm>
                  <a:off x="2317468" y="5314847"/>
                  <a:ext cx="219868" cy="219868"/>
                  <a:chOff x="1218819" y="4058009"/>
                  <a:chExt cx="219868" cy="219868"/>
                </a:xfrm>
              </p:grpSpPr>
              <p:sp>
                <p:nvSpPr>
                  <p:cNvPr id="1558" name="Oval 1557">
                    <a:extLst>
                      <a:ext uri="{FF2B5EF4-FFF2-40B4-BE49-F238E27FC236}">
                        <a16:creationId xmlns:a16="http://schemas.microsoft.com/office/drawing/2014/main" id="{3D59E2DE-C1F8-460B-876B-E12FB29A4D04}"/>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59" name="Freeform: Shape 1558">
                    <a:extLst>
                      <a:ext uri="{FF2B5EF4-FFF2-40B4-BE49-F238E27FC236}">
                        <a16:creationId xmlns:a16="http://schemas.microsoft.com/office/drawing/2014/main" id="{32361409-00E8-4D78-8805-1FE99EBC5605}"/>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555" name="Group 1554">
                  <a:extLst>
                    <a:ext uri="{FF2B5EF4-FFF2-40B4-BE49-F238E27FC236}">
                      <a16:creationId xmlns:a16="http://schemas.microsoft.com/office/drawing/2014/main" id="{7E019FE5-B05C-4AC9-9A03-1FE8E54AF9A4}"/>
                    </a:ext>
                  </a:extLst>
                </p:cNvPr>
                <p:cNvGrpSpPr/>
                <p:nvPr/>
              </p:nvGrpSpPr>
              <p:grpSpPr>
                <a:xfrm>
                  <a:off x="2709778" y="5314847"/>
                  <a:ext cx="219868" cy="219868"/>
                  <a:chOff x="1218819" y="4058009"/>
                  <a:chExt cx="219868" cy="219868"/>
                </a:xfrm>
              </p:grpSpPr>
              <p:sp>
                <p:nvSpPr>
                  <p:cNvPr id="1556" name="Oval 1555">
                    <a:extLst>
                      <a:ext uri="{FF2B5EF4-FFF2-40B4-BE49-F238E27FC236}">
                        <a16:creationId xmlns:a16="http://schemas.microsoft.com/office/drawing/2014/main" id="{013A5848-FE58-4224-8CFF-FF16AD44F746}"/>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57" name="Freeform: Shape 1556">
                    <a:extLst>
                      <a:ext uri="{FF2B5EF4-FFF2-40B4-BE49-F238E27FC236}">
                        <a16:creationId xmlns:a16="http://schemas.microsoft.com/office/drawing/2014/main" id="{D9A84577-6096-4572-8B28-EDD75F1C56C4}"/>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43" name="Group 1342">
                <a:extLst>
                  <a:ext uri="{FF2B5EF4-FFF2-40B4-BE49-F238E27FC236}">
                    <a16:creationId xmlns:a16="http://schemas.microsoft.com/office/drawing/2014/main" id="{30BD0D7B-9AD2-4FD2-B4BA-58FD639C1167}"/>
                  </a:ext>
                </a:extLst>
              </p:cNvPr>
              <p:cNvGrpSpPr/>
              <p:nvPr/>
            </p:nvGrpSpPr>
            <p:grpSpPr>
              <a:xfrm>
                <a:off x="5555565" y="4698220"/>
                <a:ext cx="806317" cy="219868"/>
                <a:chOff x="2123329" y="5531699"/>
                <a:chExt cx="806317" cy="219868"/>
              </a:xfrm>
            </p:grpSpPr>
            <p:grpSp>
              <p:nvGrpSpPr>
                <p:cNvPr id="1540" name="Group 1539">
                  <a:extLst>
                    <a:ext uri="{FF2B5EF4-FFF2-40B4-BE49-F238E27FC236}">
                      <a16:creationId xmlns:a16="http://schemas.microsoft.com/office/drawing/2014/main" id="{7456EB12-D3CB-4432-A054-BFB2C784EDD6}"/>
                    </a:ext>
                  </a:extLst>
                </p:cNvPr>
                <p:cNvGrpSpPr/>
                <p:nvPr/>
              </p:nvGrpSpPr>
              <p:grpSpPr>
                <a:xfrm>
                  <a:off x="2123329" y="5531699"/>
                  <a:ext cx="219868" cy="219868"/>
                  <a:chOff x="1299278" y="4593318"/>
                  <a:chExt cx="219868" cy="219868"/>
                </a:xfrm>
              </p:grpSpPr>
              <p:sp>
                <p:nvSpPr>
                  <p:cNvPr id="1550" name="Oval 1549">
                    <a:extLst>
                      <a:ext uri="{FF2B5EF4-FFF2-40B4-BE49-F238E27FC236}">
                        <a16:creationId xmlns:a16="http://schemas.microsoft.com/office/drawing/2014/main" id="{850A661A-D818-4203-9763-FEA5E76DACD1}"/>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51" name="Freeform: Shape 1550">
                    <a:extLst>
                      <a:ext uri="{FF2B5EF4-FFF2-40B4-BE49-F238E27FC236}">
                        <a16:creationId xmlns:a16="http://schemas.microsoft.com/office/drawing/2014/main" id="{91854B5E-5550-49C4-AC9A-C84F612D7D3A}"/>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541" name="Group 1540">
                  <a:extLst>
                    <a:ext uri="{FF2B5EF4-FFF2-40B4-BE49-F238E27FC236}">
                      <a16:creationId xmlns:a16="http://schemas.microsoft.com/office/drawing/2014/main" id="{4B9AF8B1-C262-48BA-972E-0252BF085D9D}"/>
                    </a:ext>
                  </a:extLst>
                </p:cNvPr>
                <p:cNvGrpSpPr/>
                <p:nvPr/>
              </p:nvGrpSpPr>
              <p:grpSpPr>
                <a:xfrm>
                  <a:off x="2317468" y="5531699"/>
                  <a:ext cx="219868" cy="219868"/>
                  <a:chOff x="1677883" y="4334258"/>
                  <a:chExt cx="219868" cy="219868"/>
                </a:xfrm>
              </p:grpSpPr>
              <p:sp>
                <p:nvSpPr>
                  <p:cNvPr id="1548" name="Oval 1547">
                    <a:extLst>
                      <a:ext uri="{FF2B5EF4-FFF2-40B4-BE49-F238E27FC236}">
                        <a16:creationId xmlns:a16="http://schemas.microsoft.com/office/drawing/2014/main" id="{E7E891D9-EEC7-4E70-BC2D-77D71735AF75}"/>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49" name="Freeform: Shape 1548">
                    <a:extLst>
                      <a:ext uri="{FF2B5EF4-FFF2-40B4-BE49-F238E27FC236}">
                        <a16:creationId xmlns:a16="http://schemas.microsoft.com/office/drawing/2014/main" id="{1EB28B96-38BA-42CB-8263-962C4A66B7E6}"/>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542" name="Group 1541">
                  <a:extLst>
                    <a:ext uri="{FF2B5EF4-FFF2-40B4-BE49-F238E27FC236}">
                      <a16:creationId xmlns:a16="http://schemas.microsoft.com/office/drawing/2014/main" id="{E7E4CC5A-04B6-4AF9-8F6D-04700D8BA6BB}"/>
                    </a:ext>
                  </a:extLst>
                </p:cNvPr>
                <p:cNvGrpSpPr/>
                <p:nvPr/>
              </p:nvGrpSpPr>
              <p:grpSpPr>
                <a:xfrm>
                  <a:off x="2709778" y="5531699"/>
                  <a:ext cx="219868" cy="219868"/>
                  <a:chOff x="1677883" y="4334258"/>
                  <a:chExt cx="219868" cy="219868"/>
                </a:xfrm>
              </p:grpSpPr>
              <p:sp>
                <p:nvSpPr>
                  <p:cNvPr id="1546" name="Oval 1545">
                    <a:extLst>
                      <a:ext uri="{FF2B5EF4-FFF2-40B4-BE49-F238E27FC236}">
                        <a16:creationId xmlns:a16="http://schemas.microsoft.com/office/drawing/2014/main" id="{91DC77E6-B541-4BF9-A168-103411DA9CF5}"/>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47" name="Freeform: Shape 1546">
                    <a:extLst>
                      <a:ext uri="{FF2B5EF4-FFF2-40B4-BE49-F238E27FC236}">
                        <a16:creationId xmlns:a16="http://schemas.microsoft.com/office/drawing/2014/main" id="{7C05BA09-0FC3-483E-B6FC-91F741265656}"/>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543" name="Group 1542">
                  <a:extLst>
                    <a:ext uri="{FF2B5EF4-FFF2-40B4-BE49-F238E27FC236}">
                      <a16:creationId xmlns:a16="http://schemas.microsoft.com/office/drawing/2014/main" id="{CC769B0F-0702-4031-BE61-58DC728E4E65}"/>
                    </a:ext>
                  </a:extLst>
                </p:cNvPr>
                <p:cNvGrpSpPr/>
                <p:nvPr/>
              </p:nvGrpSpPr>
              <p:grpSpPr>
                <a:xfrm>
                  <a:off x="2511686" y="5531699"/>
                  <a:ext cx="219868" cy="219868"/>
                  <a:chOff x="1218819" y="4058009"/>
                  <a:chExt cx="219868" cy="219868"/>
                </a:xfrm>
              </p:grpSpPr>
              <p:sp>
                <p:nvSpPr>
                  <p:cNvPr id="1544" name="Oval 1543">
                    <a:extLst>
                      <a:ext uri="{FF2B5EF4-FFF2-40B4-BE49-F238E27FC236}">
                        <a16:creationId xmlns:a16="http://schemas.microsoft.com/office/drawing/2014/main" id="{7B162C7C-9087-45AC-A140-D22B601213BC}"/>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45" name="Freeform: Shape 1544">
                    <a:extLst>
                      <a:ext uri="{FF2B5EF4-FFF2-40B4-BE49-F238E27FC236}">
                        <a16:creationId xmlns:a16="http://schemas.microsoft.com/office/drawing/2014/main" id="{573A4253-DCED-49F9-A06D-E4CE27B618B8}"/>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44" name="Group 1343">
                <a:extLst>
                  <a:ext uri="{FF2B5EF4-FFF2-40B4-BE49-F238E27FC236}">
                    <a16:creationId xmlns:a16="http://schemas.microsoft.com/office/drawing/2014/main" id="{49F4EA7C-7E6D-42FB-9DAD-335B5CD4559D}"/>
                  </a:ext>
                </a:extLst>
              </p:cNvPr>
              <p:cNvGrpSpPr/>
              <p:nvPr/>
            </p:nvGrpSpPr>
            <p:grpSpPr>
              <a:xfrm>
                <a:off x="5555565" y="4698220"/>
                <a:ext cx="806317" cy="219868"/>
                <a:chOff x="2123329" y="5582816"/>
                <a:chExt cx="806317" cy="219868"/>
              </a:xfrm>
            </p:grpSpPr>
            <p:grpSp>
              <p:nvGrpSpPr>
                <p:cNvPr id="1528" name="Group 1527">
                  <a:extLst>
                    <a:ext uri="{FF2B5EF4-FFF2-40B4-BE49-F238E27FC236}">
                      <a16:creationId xmlns:a16="http://schemas.microsoft.com/office/drawing/2014/main" id="{D277985A-0C1A-4EFB-AE8A-F8D25EC8627E}"/>
                    </a:ext>
                  </a:extLst>
                </p:cNvPr>
                <p:cNvGrpSpPr/>
                <p:nvPr/>
              </p:nvGrpSpPr>
              <p:grpSpPr>
                <a:xfrm>
                  <a:off x="2123329" y="5582816"/>
                  <a:ext cx="219868" cy="219868"/>
                  <a:chOff x="1299278" y="4593318"/>
                  <a:chExt cx="219868" cy="219868"/>
                </a:xfrm>
              </p:grpSpPr>
              <p:sp>
                <p:nvSpPr>
                  <p:cNvPr id="1538" name="Oval 1537">
                    <a:extLst>
                      <a:ext uri="{FF2B5EF4-FFF2-40B4-BE49-F238E27FC236}">
                        <a16:creationId xmlns:a16="http://schemas.microsoft.com/office/drawing/2014/main" id="{1DC8D7E4-63BD-48B5-938D-B6A566A10360}"/>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39" name="Freeform: Shape 1538">
                    <a:extLst>
                      <a:ext uri="{FF2B5EF4-FFF2-40B4-BE49-F238E27FC236}">
                        <a16:creationId xmlns:a16="http://schemas.microsoft.com/office/drawing/2014/main" id="{693816D6-0D5D-4E64-9960-32DE84B48996}"/>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529" name="Group 1528">
                  <a:extLst>
                    <a:ext uri="{FF2B5EF4-FFF2-40B4-BE49-F238E27FC236}">
                      <a16:creationId xmlns:a16="http://schemas.microsoft.com/office/drawing/2014/main" id="{4E057B08-AD76-4BFA-8A05-E8CDFFEA1158}"/>
                    </a:ext>
                  </a:extLst>
                </p:cNvPr>
                <p:cNvGrpSpPr/>
                <p:nvPr/>
              </p:nvGrpSpPr>
              <p:grpSpPr>
                <a:xfrm>
                  <a:off x="2511686" y="5582816"/>
                  <a:ext cx="219868" cy="219868"/>
                  <a:chOff x="1677883" y="4334258"/>
                  <a:chExt cx="219868" cy="219868"/>
                </a:xfrm>
              </p:grpSpPr>
              <p:sp>
                <p:nvSpPr>
                  <p:cNvPr id="1536" name="Oval 1535">
                    <a:extLst>
                      <a:ext uri="{FF2B5EF4-FFF2-40B4-BE49-F238E27FC236}">
                        <a16:creationId xmlns:a16="http://schemas.microsoft.com/office/drawing/2014/main" id="{0D7E6226-C89D-47AA-AFF4-FC2C8553DD6C}"/>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37" name="Freeform: Shape 1536">
                    <a:extLst>
                      <a:ext uri="{FF2B5EF4-FFF2-40B4-BE49-F238E27FC236}">
                        <a16:creationId xmlns:a16="http://schemas.microsoft.com/office/drawing/2014/main" id="{838DA27F-9075-459B-B01C-C008439F27BC}"/>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530" name="Group 1529">
                  <a:extLst>
                    <a:ext uri="{FF2B5EF4-FFF2-40B4-BE49-F238E27FC236}">
                      <a16:creationId xmlns:a16="http://schemas.microsoft.com/office/drawing/2014/main" id="{4996417F-4C2A-4F52-B718-B14879EBD961}"/>
                    </a:ext>
                  </a:extLst>
                </p:cNvPr>
                <p:cNvGrpSpPr/>
                <p:nvPr/>
              </p:nvGrpSpPr>
              <p:grpSpPr>
                <a:xfrm>
                  <a:off x="2317468" y="5582816"/>
                  <a:ext cx="219868" cy="219868"/>
                  <a:chOff x="1299278" y="4593318"/>
                  <a:chExt cx="219868" cy="219868"/>
                </a:xfrm>
              </p:grpSpPr>
              <p:sp>
                <p:nvSpPr>
                  <p:cNvPr id="1534" name="Oval 1533">
                    <a:extLst>
                      <a:ext uri="{FF2B5EF4-FFF2-40B4-BE49-F238E27FC236}">
                        <a16:creationId xmlns:a16="http://schemas.microsoft.com/office/drawing/2014/main" id="{233530B5-06B3-482A-9B4B-8CA91B6C0822}"/>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35" name="Freeform: Shape 1534">
                    <a:extLst>
                      <a:ext uri="{FF2B5EF4-FFF2-40B4-BE49-F238E27FC236}">
                        <a16:creationId xmlns:a16="http://schemas.microsoft.com/office/drawing/2014/main" id="{BDCD4290-D953-4AD1-A883-00F4909A1483}"/>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531" name="Group 1530">
                  <a:extLst>
                    <a:ext uri="{FF2B5EF4-FFF2-40B4-BE49-F238E27FC236}">
                      <a16:creationId xmlns:a16="http://schemas.microsoft.com/office/drawing/2014/main" id="{4FF1320B-96E5-4996-8686-B1AF85130607}"/>
                    </a:ext>
                  </a:extLst>
                </p:cNvPr>
                <p:cNvGrpSpPr/>
                <p:nvPr/>
              </p:nvGrpSpPr>
              <p:grpSpPr>
                <a:xfrm>
                  <a:off x="2709778" y="5582816"/>
                  <a:ext cx="219868" cy="219868"/>
                  <a:chOff x="1218819" y="4058009"/>
                  <a:chExt cx="219868" cy="219868"/>
                </a:xfrm>
              </p:grpSpPr>
              <p:sp>
                <p:nvSpPr>
                  <p:cNvPr id="1532" name="Oval 1531">
                    <a:extLst>
                      <a:ext uri="{FF2B5EF4-FFF2-40B4-BE49-F238E27FC236}">
                        <a16:creationId xmlns:a16="http://schemas.microsoft.com/office/drawing/2014/main" id="{C1EA49CB-ED1D-4862-82CC-8642D9740C63}"/>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33" name="Freeform: Shape 1532">
                    <a:extLst>
                      <a:ext uri="{FF2B5EF4-FFF2-40B4-BE49-F238E27FC236}">
                        <a16:creationId xmlns:a16="http://schemas.microsoft.com/office/drawing/2014/main" id="{B783553E-E2D6-47EC-B124-91306B311B1B}"/>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45" name="Group 1344">
                <a:extLst>
                  <a:ext uri="{FF2B5EF4-FFF2-40B4-BE49-F238E27FC236}">
                    <a16:creationId xmlns:a16="http://schemas.microsoft.com/office/drawing/2014/main" id="{E629313A-9979-4D73-8938-BDF0676AA055}"/>
                  </a:ext>
                </a:extLst>
              </p:cNvPr>
              <p:cNvGrpSpPr/>
              <p:nvPr/>
            </p:nvGrpSpPr>
            <p:grpSpPr>
              <a:xfrm>
                <a:off x="5555565" y="4698220"/>
                <a:ext cx="806317" cy="219868"/>
                <a:chOff x="2123329" y="5977177"/>
                <a:chExt cx="806317" cy="219868"/>
              </a:xfrm>
            </p:grpSpPr>
            <p:grpSp>
              <p:nvGrpSpPr>
                <p:cNvPr id="1516" name="Group 1515">
                  <a:extLst>
                    <a:ext uri="{FF2B5EF4-FFF2-40B4-BE49-F238E27FC236}">
                      <a16:creationId xmlns:a16="http://schemas.microsoft.com/office/drawing/2014/main" id="{35A9EFD3-012C-4D48-B92E-678326F0EFF4}"/>
                    </a:ext>
                  </a:extLst>
                </p:cNvPr>
                <p:cNvGrpSpPr/>
                <p:nvPr/>
              </p:nvGrpSpPr>
              <p:grpSpPr>
                <a:xfrm>
                  <a:off x="2123329" y="5977177"/>
                  <a:ext cx="219868" cy="219868"/>
                  <a:chOff x="1677883" y="4334258"/>
                  <a:chExt cx="219868" cy="219868"/>
                </a:xfrm>
              </p:grpSpPr>
              <p:sp>
                <p:nvSpPr>
                  <p:cNvPr id="1526" name="Oval 1525">
                    <a:extLst>
                      <a:ext uri="{FF2B5EF4-FFF2-40B4-BE49-F238E27FC236}">
                        <a16:creationId xmlns:a16="http://schemas.microsoft.com/office/drawing/2014/main" id="{1B76853D-A7F7-42FA-BC9B-913A727CCBBA}"/>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27" name="Freeform: Shape 1526">
                    <a:extLst>
                      <a:ext uri="{FF2B5EF4-FFF2-40B4-BE49-F238E27FC236}">
                        <a16:creationId xmlns:a16="http://schemas.microsoft.com/office/drawing/2014/main" id="{5BEE19BC-C48B-4303-ADE7-310D0A33B876}"/>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517" name="Group 1516">
                  <a:extLst>
                    <a:ext uri="{FF2B5EF4-FFF2-40B4-BE49-F238E27FC236}">
                      <a16:creationId xmlns:a16="http://schemas.microsoft.com/office/drawing/2014/main" id="{D757C88A-7085-4FE3-B235-F34D56AD5868}"/>
                    </a:ext>
                  </a:extLst>
                </p:cNvPr>
                <p:cNvGrpSpPr/>
                <p:nvPr/>
              </p:nvGrpSpPr>
              <p:grpSpPr>
                <a:xfrm>
                  <a:off x="2709778" y="5977177"/>
                  <a:ext cx="219868" cy="219868"/>
                  <a:chOff x="1677883" y="4334258"/>
                  <a:chExt cx="219868" cy="219868"/>
                </a:xfrm>
              </p:grpSpPr>
              <p:sp>
                <p:nvSpPr>
                  <p:cNvPr id="1524" name="Oval 1523">
                    <a:extLst>
                      <a:ext uri="{FF2B5EF4-FFF2-40B4-BE49-F238E27FC236}">
                        <a16:creationId xmlns:a16="http://schemas.microsoft.com/office/drawing/2014/main" id="{802857B6-5DDE-438C-AB22-39F7FCC23340}"/>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25" name="Freeform: Shape 1524">
                    <a:extLst>
                      <a:ext uri="{FF2B5EF4-FFF2-40B4-BE49-F238E27FC236}">
                        <a16:creationId xmlns:a16="http://schemas.microsoft.com/office/drawing/2014/main" id="{C92F5B4C-A743-4655-87D9-5C8868F82A30}"/>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518" name="Group 1517">
                  <a:extLst>
                    <a:ext uri="{FF2B5EF4-FFF2-40B4-BE49-F238E27FC236}">
                      <a16:creationId xmlns:a16="http://schemas.microsoft.com/office/drawing/2014/main" id="{F9774671-2837-4B47-8ECF-A751CA8BA2B8}"/>
                    </a:ext>
                  </a:extLst>
                </p:cNvPr>
                <p:cNvGrpSpPr/>
                <p:nvPr/>
              </p:nvGrpSpPr>
              <p:grpSpPr>
                <a:xfrm>
                  <a:off x="2317468" y="5977177"/>
                  <a:ext cx="219868" cy="219868"/>
                  <a:chOff x="1299278" y="4593318"/>
                  <a:chExt cx="219868" cy="219868"/>
                </a:xfrm>
              </p:grpSpPr>
              <p:sp>
                <p:nvSpPr>
                  <p:cNvPr id="1522" name="Oval 1521">
                    <a:extLst>
                      <a:ext uri="{FF2B5EF4-FFF2-40B4-BE49-F238E27FC236}">
                        <a16:creationId xmlns:a16="http://schemas.microsoft.com/office/drawing/2014/main" id="{00F1A0C5-614F-4DE4-89CD-7EB9D5B087F9}"/>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23" name="Freeform: Shape 1522">
                    <a:extLst>
                      <a:ext uri="{FF2B5EF4-FFF2-40B4-BE49-F238E27FC236}">
                        <a16:creationId xmlns:a16="http://schemas.microsoft.com/office/drawing/2014/main" id="{26DB3343-84D5-4693-8D4B-8A8B08062685}"/>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519" name="Group 1518">
                  <a:extLst>
                    <a:ext uri="{FF2B5EF4-FFF2-40B4-BE49-F238E27FC236}">
                      <a16:creationId xmlns:a16="http://schemas.microsoft.com/office/drawing/2014/main" id="{A1154B98-7695-4BC7-B819-D249133F74C0}"/>
                    </a:ext>
                  </a:extLst>
                </p:cNvPr>
                <p:cNvGrpSpPr/>
                <p:nvPr/>
              </p:nvGrpSpPr>
              <p:grpSpPr>
                <a:xfrm>
                  <a:off x="2511686" y="5977177"/>
                  <a:ext cx="219868" cy="219868"/>
                  <a:chOff x="1299278" y="4593318"/>
                  <a:chExt cx="219868" cy="219868"/>
                </a:xfrm>
              </p:grpSpPr>
              <p:sp>
                <p:nvSpPr>
                  <p:cNvPr id="1520" name="Oval 1519">
                    <a:extLst>
                      <a:ext uri="{FF2B5EF4-FFF2-40B4-BE49-F238E27FC236}">
                        <a16:creationId xmlns:a16="http://schemas.microsoft.com/office/drawing/2014/main" id="{98B287C6-E47A-48D9-BA2A-739A5D3A5C80}"/>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21" name="Freeform: Shape 1520">
                    <a:extLst>
                      <a:ext uri="{FF2B5EF4-FFF2-40B4-BE49-F238E27FC236}">
                        <a16:creationId xmlns:a16="http://schemas.microsoft.com/office/drawing/2014/main" id="{77577856-1112-49FB-A10F-835F4513C3D7}"/>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grpSp>
            <p:nvGrpSpPr>
              <p:cNvPr id="1346" name="Group 1345">
                <a:extLst>
                  <a:ext uri="{FF2B5EF4-FFF2-40B4-BE49-F238E27FC236}">
                    <a16:creationId xmlns:a16="http://schemas.microsoft.com/office/drawing/2014/main" id="{4C2415DE-B2A9-45AF-8DF0-88E3755EE1E9}"/>
                  </a:ext>
                </a:extLst>
              </p:cNvPr>
              <p:cNvGrpSpPr/>
              <p:nvPr/>
            </p:nvGrpSpPr>
            <p:grpSpPr>
              <a:xfrm>
                <a:off x="5555565" y="4698220"/>
                <a:ext cx="806317" cy="219868"/>
                <a:chOff x="2123329" y="6275727"/>
                <a:chExt cx="806317" cy="219868"/>
              </a:xfrm>
            </p:grpSpPr>
            <p:grpSp>
              <p:nvGrpSpPr>
                <p:cNvPr id="1504" name="Group 1503">
                  <a:extLst>
                    <a:ext uri="{FF2B5EF4-FFF2-40B4-BE49-F238E27FC236}">
                      <a16:creationId xmlns:a16="http://schemas.microsoft.com/office/drawing/2014/main" id="{8DD4AFC0-85A8-4AFD-A979-7A438A347AB2}"/>
                    </a:ext>
                  </a:extLst>
                </p:cNvPr>
                <p:cNvGrpSpPr/>
                <p:nvPr/>
              </p:nvGrpSpPr>
              <p:grpSpPr>
                <a:xfrm>
                  <a:off x="2317468" y="6275727"/>
                  <a:ext cx="219868" cy="219868"/>
                  <a:chOff x="1677883" y="4334258"/>
                  <a:chExt cx="219868" cy="219868"/>
                </a:xfrm>
              </p:grpSpPr>
              <p:sp>
                <p:nvSpPr>
                  <p:cNvPr id="1514" name="Oval 1513">
                    <a:extLst>
                      <a:ext uri="{FF2B5EF4-FFF2-40B4-BE49-F238E27FC236}">
                        <a16:creationId xmlns:a16="http://schemas.microsoft.com/office/drawing/2014/main" id="{41C22031-F061-4486-8EE4-93D40A790CFF}"/>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15" name="Freeform: Shape 1514">
                    <a:extLst>
                      <a:ext uri="{FF2B5EF4-FFF2-40B4-BE49-F238E27FC236}">
                        <a16:creationId xmlns:a16="http://schemas.microsoft.com/office/drawing/2014/main" id="{D78CA074-C7BE-4D1D-A742-6CE5CA17EC56}"/>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505" name="Group 1504">
                  <a:extLst>
                    <a:ext uri="{FF2B5EF4-FFF2-40B4-BE49-F238E27FC236}">
                      <a16:creationId xmlns:a16="http://schemas.microsoft.com/office/drawing/2014/main" id="{F6771F32-A36A-47A9-9ACE-C790068E250A}"/>
                    </a:ext>
                  </a:extLst>
                </p:cNvPr>
                <p:cNvGrpSpPr/>
                <p:nvPr/>
              </p:nvGrpSpPr>
              <p:grpSpPr>
                <a:xfrm>
                  <a:off x="2511686" y="6275727"/>
                  <a:ext cx="219868" cy="219868"/>
                  <a:chOff x="1299278" y="4593318"/>
                  <a:chExt cx="219868" cy="219868"/>
                </a:xfrm>
              </p:grpSpPr>
              <p:sp>
                <p:nvSpPr>
                  <p:cNvPr id="1512" name="Oval 1511">
                    <a:extLst>
                      <a:ext uri="{FF2B5EF4-FFF2-40B4-BE49-F238E27FC236}">
                        <a16:creationId xmlns:a16="http://schemas.microsoft.com/office/drawing/2014/main" id="{50F1D5F2-871E-41F4-A0AC-77843398285E}"/>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13" name="Freeform: Shape 1512">
                    <a:extLst>
                      <a:ext uri="{FF2B5EF4-FFF2-40B4-BE49-F238E27FC236}">
                        <a16:creationId xmlns:a16="http://schemas.microsoft.com/office/drawing/2014/main" id="{6F354C8D-6F56-492A-BFD2-C98832435A3E}"/>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506" name="Group 1505">
                  <a:extLst>
                    <a:ext uri="{FF2B5EF4-FFF2-40B4-BE49-F238E27FC236}">
                      <a16:creationId xmlns:a16="http://schemas.microsoft.com/office/drawing/2014/main" id="{BA05EF25-3888-4CE2-9759-1E02BA850EF5}"/>
                    </a:ext>
                  </a:extLst>
                </p:cNvPr>
                <p:cNvGrpSpPr/>
                <p:nvPr/>
              </p:nvGrpSpPr>
              <p:grpSpPr>
                <a:xfrm>
                  <a:off x="2709778" y="6275727"/>
                  <a:ext cx="219868" cy="219868"/>
                  <a:chOff x="1299278" y="4593318"/>
                  <a:chExt cx="219868" cy="219868"/>
                </a:xfrm>
              </p:grpSpPr>
              <p:sp>
                <p:nvSpPr>
                  <p:cNvPr id="1510" name="Oval 1509">
                    <a:extLst>
                      <a:ext uri="{FF2B5EF4-FFF2-40B4-BE49-F238E27FC236}">
                        <a16:creationId xmlns:a16="http://schemas.microsoft.com/office/drawing/2014/main" id="{31EF2D66-C364-4E09-AB83-D7A92B4C3BD5}"/>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11" name="Freeform: Shape 1510">
                    <a:extLst>
                      <a:ext uri="{FF2B5EF4-FFF2-40B4-BE49-F238E27FC236}">
                        <a16:creationId xmlns:a16="http://schemas.microsoft.com/office/drawing/2014/main" id="{BD9AB7C7-6B31-4DA2-8D86-5A7CADEF4A61}"/>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507" name="Group 1506">
                  <a:extLst>
                    <a:ext uri="{FF2B5EF4-FFF2-40B4-BE49-F238E27FC236}">
                      <a16:creationId xmlns:a16="http://schemas.microsoft.com/office/drawing/2014/main" id="{04355A96-EB29-497E-A788-03F290C35DC2}"/>
                    </a:ext>
                  </a:extLst>
                </p:cNvPr>
                <p:cNvGrpSpPr/>
                <p:nvPr/>
              </p:nvGrpSpPr>
              <p:grpSpPr>
                <a:xfrm>
                  <a:off x="2123329" y="6275727"/>
                  <a:ext cx="219868" cy="219868"/>
                  <a:chOff x="1218819" y="4058009"/>
                  <a:chExt cx="219868" cy="219868"/>
                </a:xfrm>
              </p:grpSpPr>
              <p:sp>
                <p:nvSpPr>
                  <p:cNvPr id="1508" name="Oval 1507">
                    <a:extLst>
                      <a:ext uri="{FF2B5EF4-FFF2-40B4-BE49-F238E27FC236}">
                        <a16:creationId xmlns:a16="http://schemas.microsoft.com/office/drawing/2014/main" id="{F29CF124-11B5-406F-93AA-4BA91B822BC0}"/>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09" name="Freeform: Shape 1508">
                    <a:extLst>
                      <a:ext uri="{FF2B5EF4-FFF2-40B4-BE49-F238E27FC236}">
                        <a16:creationId xmlns:a16="http://schemas.microsoft.com/office/drawing/2014/main" id="{DB89084F-7FB8-4D50-B3EA-CCC71F5C288A}"/>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47" name="Group 1346">
                <a:extLst>
                  <a:ext uri="{FF2B5EF4-FFF2-40B4-BE49-F238E27FC236}">
                    <a16:creationId xmlns:a16="http://schemas.microsoft.com/office/drawing/2014/main" id="{86938C6D-5E95-468F-88AF-CD0A5568A82A}"/>
                  </a:ext>
                </a:extLst>
              </p:cNvPr>
              <p:cNvGrpSpPr/>
              <p:nvPr/>
            </p:nvGrpSpPr>
            <p:grpSpPr>
              <a:xfrm>
                <a:off x="5555565" y="4698220"/>
                <a:ext cx="806317" cy="219868"/>
                <a:chOff x="2123329" y="3847941"/>
                <a:chExt cx="806317" cy="219868"/>
              </a:xfrm>
            </p:grpSpPr>
            <p:grpSp>
              <p:nvGrpSpPr>
                <p:cNvPr id="1492" name="Group 1491">
                  <a:extLst>
                    <a:ext uri="{FF2B5EF4-FFF2-40B4-BE49-F238E27FC236}">
                      <a16:creationId xmlns:a16="http://schemas.microsoft.com/office/drawing/2014/main" id="{E532EF6C-86AF-42B8-89FA-000F03852474}"/>
                    </a:ext>
                  </a:extLst>
                </p:cNvPr>
                <p:cNvGrpSpPr/>
                <p:nvPr/>
              </p:nvGrpSpPr>
              <p:grpSpPr>
                <a:xfrm>
                  <a:off x="2123329" y="3847941"/>
                  <a:ext cx="219868" cy="219868"/>
                  <a:chOff x="1677883" y="4334258"/>
                  <a:chExt cx="219868" cy="219868"/>
                </a:xfrm>
              </p:grpSpPr>
              <p:sp>
                <p:nvSpPr>
                  <p:cNvPr id="1502" name="Oval 1501">
                    <a:extLst>
                      <a:ext uri="{FF2B5EF4-FFF2-40B4-BE49-F238E27FC236}">
                        <a16:creationId xmlns:a16="http://schemas.microsoft.com/office/drawing/2014/main" id="{3EBA67AD-4706-4137-997C-33CA08FAF17C}"/>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03" name="Freeform: Shape 1502">
                    <a:extLst>
                      <a:ext uri="{FF2B5EF4-FFF2-40B4-BE49-F238E27FC236}">
                        <a16:creationId xmlns:a16="http://schemas.microsoft.com/office/drawing/2014/main" id="{E0C4A952-AAD4-44DB-8B3C-71BB4FE6C050}"/>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493" name="Group 1492">
                  <a:extLst>
                    <a:ext uri="{FF2B5EF4-FFF2-40B4-BE49-F238E27FC236}">
                      <a16:creationId xmlns:a16="http://schemas.microsoft.com/office/drawing/2014/main" id="{ABCD773A-45C4-495E-8BF3-38A2A96D1D80}"/>
                    </a:ext>
                  </a:extLst>
                </p:cNvPr>
                <p:cNvGrpSpPr/>
                <p:nvPr/>
              </p:nvGrpSpPr>
              <p:grpSpPr>
                <a:xfrm>
                  <a:off x="2511686" y="3847941"/>
                  <a:ext cx="219868" cy="219868"/>
                  <a:chOff x="1677883" y="4334258"/>
                  <a:chExt cx="219868" cy="219868"/>
                </a:xfrm>
              </p:grpSpPr>
              <p:sp>
                <p:nvSpPr>
                  <p:cNvPr id="1500" name="Oval 1499">
                    <a:extLst>
                      <a:ext uri="{FF2B5EF4-FFF2-40B4-BE49-F238E27FC236}">
                        <a16:creationId xmlns:a16="http://schemas.microsoft.com/office/drawing/2014/main" id="{B8FFAF2A-3DBB-4EDD-BA98-A8C09C030AFB}"/>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01" name="Freeform: Shape 1500">
                    <a:extLst>
                      <a:ext uri="{FF2B5EF4-FFF2-40B4-BE49-F238E27FC236}">
                        <a16:creationId xmlns:a16="http://schemas.microsoft.com/office/drawing/2014/main" id="{5D697E42-1AEF-440F-BD89-D4D2D5F67272}"/>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494" name="Group 1493">
                  <a:extLst>
                    <a:ext uri="{FF2B5EF4-FFF2-40B4-BE49-F238E27FC236}">
                      <a16:creationId xmlns:a16="http://schemas.microsoft.com/office/drawing/2014/main" id="{1D1BC9F7-DB94-4B22-A34C-CA446F7527BC}"/>
                    </a:ext>
                  </a:extLst>
                </p:cNvPr>
                <p:cNvGrpSpPr/>
                <p:nvPr/>
              </p:nvGrpSpPr>
              <p:grpSpPr>
                <a:xfrm>
                  <a:off x="2709778" y="3847941"/>
                  <a:ext cx="219868" cy="219868"/>
                  <a:chOff x="1299278" y="4593318"/>
                  <a:chExt cx="219868" cy="219868"/>
                </a:xfrm>
              </p:grpSpPr>
              <p:sp>
                <p:nvSpPr>
                  <p:cNvPr id="1498" name="Oval 1497">
                    <a:extLst>
                      <a:ext uri="{FF2B5EF4-FFF2-40B4-BE49-F238E27FC236}">
                        <a16:creationId xmlns:a16="http://schemas.microsoft.com/office/drawing/2014/main" id="{D27BC5AA-34AF-40B7-8402-466C05FC9D8D}"/>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99" name="Freeform: Shape 1498">
                    <a:extLst>
                      <a:ext uri="{FF2B5EF4-FFF2-40B4-BE49-F238E27FC236}">
                        <a16:creationId xmlns:a16="http://schemas.microsoft.com/office/drawing/2014/main" id="{5150F251-F118-40E4-BAB8-BBBE55B8B7DF}"/>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495" name="Group 1494">
                  <a:extLst>
                    <a:ext uri="{FF2B5EF4-FFF2-40B4-BE49-F238E27FC236}">
                      <a16:creationId xmlns:a16="http://schemas.microsoft.com/office/drawing/2014/main" id="{5EA0BA9F-81A8-4536-972F-DCFB5AA76DD3}"/>
                    </a:ext>
                  </a:extLst>
                </p:cNvPr>
                <p:cNvGrpSpPr/>
                <p:nvPr/>
              </p:nvGrpSpPr>
              <p:grpSpPr>
                <a:xfrm>
                  <a:off x="2317468" y="3847941"/>
                  <a:ext cx="219868" cy="219868"/>
                  <a:chOff x="1218819" y="4058009"/>
                  <a:chExt cx="219868" cy="219868"/>
                </a:xfrm>
              </p:grpSpPr>
              <p:sp>
                <p:nvSpPr>
                  <p:cNvPr id="1496" name="Oval 1495">
                    <a:extLst>
                      <a:ext uri="{FF2B5EF4-FFF2-40B4-BE49-F238E27FC236}">
                        <a16:creationId xmlns:a16="http://schemas.microsoft.com/office/drawing/2014/main" id="{B98A033E-2B45-4C51-BC84-537BDB84D2B6}"/>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97" name="Freeform: Shape 1496">
                    <a:extLst>
                      <a:ext uri="{FF2B5EF4-FFF2-40B4-BE49-F238E27FC236}">
                        <a16:creationId xmlns:a16="http://schemas.microsoft.com/office/drawing/2014/main" id="{C3A293B2-C6C0-4BDF-A797-E45AC6BB74A2}"/>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48" name="Group 1347">
                <a:extLst>
                  <a:ext uri="{FF2B5EF4-FFF2-40B4-BE49-F238E27FC236}">
                    <a16:creationId xmlns:a16="http://schemas.microsoft.com/office/drawing/2014/main" id="{B601369B-7A98-437B-988D-D0061C02F4B6}"/>
                  </a:ext>
                </a:extLst>
              </p:cNvPr>
              <p:cNvGrpSpPr/>
              <p:nvPr/>
            </p:nvGrpSpPr>
            <p:grpSpPr>
              <a:xfrm>
                <a:off x="5555565" y="4698220"/>
                <a:ext cx="806317" cy="219868"/>
                <a:chOff x="2123329" y="3723210"/>
                <a:chExt cx="806317" cy="219868"/>
              </a:xfrm>
            </p:grpSpPr>
            <p:grpSp>
              <p:nvGrpSpPr>
                <p:cNvPr id="1480" name="Group 1479">
                  <a:extLst>
                    <a:ext uri="{FF2B5EF4-FFF2-40B4-BE49-F238E27FC236}">
                      <a16:creationId xmlns:a16="http://schemas.microsoft.com/office/drawing/2014/main" id="{AE02B824-05B1-4F61-8F91-C1F4B19FD273}"/>
                    </a:ext>
                  </a:extLst>
                </p:cNvPr>
                <p:cNvGrpSpPr/>
                <p:nvPr/>
              </p:nvGrpSpPr>
              <p:grpSpPr>
                <a:xfrm>
                  <a:off x="2123329" y="3723210"/>
                  <a:ext cx="219868" cy="219868"/>
                  <a:chOff x="1299278" y="4593318"/>
                  <a:chExt cx="219868" cy="219868"/>
                </a:xfrm>
              </p:grpSpPr>
              <p:sp>
                <p:nvSpPr>
                  <p:cNvPr id="1490" name="Oval 1489">
                    <a:extLst>
                      <a:ext uri="{FF2B5EF4-FFF2-40B4-BE49-F238E27FC236}">
                        <a16:creationId xmlns:a16="http://schemas.microsoft.com/office/drawing/2014/main" id="{6A259B46-DFD2-4DFD-BDCA-B41217292FF6}"/>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91" name="Freeform: Shape 1490">
                    <a:extLst>
                      <a:ext uri="{FF2B5EF4-FFF2-40B4-BE49-F238E27FC236}">
                        <a16:creationId xmlns:a16="http://schemas.microsoft.com/office/drawing/2014/main" id="{6B3620B2-6FFE-4EF0-BD93-2898BDBF9F17}"/>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481" name="Group 1480">
                  <a:extLst>
                    <a:ext uri="{FF2B5EF4-FFF2-40B4-BE49-F238E27FC236}">
                      <a16:creationId xmlns:a16="http://schemas.microsoft.com/office/drawing/2014/main" id="{8949EF22-6357-4314-8C58-C8E8F5CFE603}"/>
                    </a:ext>
                  </a:extLst>
                </p:cNvPr>
                <p:cNvGrpSpPr/>
                <p:nvPr/>
              </p:nvGrpSpPr>
              <p:grpSpPr>
                <a:xfrm>
                  <a:off x="2317468" y="3723210"/>
                  <a:ext cx="219868" cy="219868"/>
                  <a:chOff x="1677883" y="4334258"/>
                  <a:chExt cx="219868" cy="219868"/>
                </a:xfrm>
              </p:grpSpPr>
              <p:sp>
                <p:nvSpPr>
                  <p:cNvPr id="1488" name="Oval 1487">
                    <a:extLst>
                      <a:ext uri="{FF2B5EF4-FFF2-40B4-BE49-F238E27FC236}">
                        <a16:creationId xmlns:a16="http://schemas.microsoft.com/office/drawing/2014/main" id="{BD9EAA2C-E6E3-489E-B235-A522272BCB43}"/>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89" name="Freeform: Shape 1488">
                    <a:extLst>
                      <a:ext uri="{FF2B5EF4-FFF2-40B4-BE49-F238E27FC236}">
                        <a16:creationId xmlns:a16="http://schemas.microsoft.com/office/drawing/2014/main" id="{D17F2269-6B6F-476B-8715-06D24FAEF1EC}"/>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482" name="Group 1481">
                  <a:extLst>
                    <a:ext uri="{FF2B5EF4-FFF2-40B4-BE49-F238E27FC236}">
                      <a16:creationId xmlns:a16="http://schemas.microsoft.com/office/drawing/2014/main" id="{FB935063-9720-4AB4-AF19-2B8F5516244C}"/>
                    </a:ext>
                  </a:extLst>
                </p:cNvPr>
                <p:cNvGrpSpPr/>
                <p:nvPr/>
              </p:nvGrpSpPr>
              <p:grpSpPr>
                <a:xfrm>
                  <a:off x="2709778" y="3723210"/>
                  <a:ext cx="219868" cy="219868"/>
                  <a:chOff x="1677883" y="4334258"/>
                  <a:chExt cx="219868" cy="219868"/>
                </a:xfrm>
              </p:grpSpPr>
              <p:sp>
                <p:nvSpPr>
                  <p:cNvPr id="1486" name="Oval 1485">
                    <a:extLst>
                      <a:ext uri="{FF2B5EF4-FFF2-40B4-BE49-F238E27FC236}">
                        <a16:creationId xmlns:a16="http://schemas.microsoft.com/office/drawing/2014/main" id="{F995691A-1DB5-492D-9DB9-97D001DC2BCE}"/>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87" name="Freeform: Shape 1486">
                    <a:extLst>
                      <a:ext uri="{FF2B5EF4-FFF2-40B4-BE49-F238E27FC236}">
                        <a16:creationId xmlns:a16="http://schemas.microsoft.com/office/drawing/2014/main" id="{E624CAF0-56A0-482F-BC68-77982F7CCD42}"/>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483" name="Group 1482">
                  <a:extLst>
                    <a:ext uri="{FF2B5EF4-FFF2-40B4-BE49-F238E27FC236}">
                      <a16:creationId xmlns:a16="http://schemas.microsoft.com/office/drawing/2014/main" id="{AF69C6CB-0875-455A-89ED-FF4D03BE324E}"/>
                    </a:ext>
                  </a:extLst>
                </p:cNvPr>
                <p:cNvGrpSpPr/>
                <p:nvPr/>
              </p:nvGrpSpPr>
              <p:grpSpPr>
                <a:xfrm>
                  <a:off x="2511686" y="3723210"/>
                  <a:ext cx="219868" cy="219868"/>
                  <a:chOff x="1218819" y="4058009"/>
                  <a:chExt cx="219868" cy="219868"/>
                </a:xfrm>
              </p:grpSpPr>
              <p:sp>
                <p:nvSpPr>
                  <p:cNvPr id="1484" name="Oval 1483">
                    <a:extLst>
                      <a:ext uri="{FF2B5EF4-FFF2-40B4-BE49-F238E27FC236}">
                        <a16:creationId xmlns:a16="http://schemas.microsoft.com/office/drawing/2014/main" id="{4F5BECE0-1221-436F-9603-D5517F3F44A7}"/>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85" name="Freeform: Shape 1484">
                    <a:extLst>
                      <a:ext uri="{FF2B5EF4-FFF2-40B4-BE49-F238E27FC236}">
                        <a16:creationId xmlns:a16="http://schemas.microsoft.com/office/drawing/2014/main" id="{534CA35D-BF39-41EA-9F0E-51E97B24A0E5}"/>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49" name="Group 1348">
                <a:extLst>
                  <a:ext uri="{FF2B5EF4-FFF2-40B4-BE49-F238E27FC236}">
                    <a16:creationId xmlns:a16="http://schemas.microsoft.com/office/drawing/2014/main" id="{9A96E386-BDBA-4C93-8398-1F5A3C33B549}"/>
                  </a:ext>
                </a:extLst>
              </p:cNvPr>
              <p:cNvGrpSpPr/>
              <p:nvPr/>
            </p:nvGrpSpPr>
            <p:grpSpPr>
              <a:xfrm>
                <a:off x="5555565" y="4698220"/>
                <a:ext cx="806317" cy="219868"/>
                <a:chOff x="2123329" y="3732717"/>
                <a:chExt cx="806317" cy="219868"/>
              </a:xfrm>
            </p:grpSpPr>
            <p:grpSp>
              <p:nvGrpSpPr>
                <p:cNvPr id="1468" name="Group 1467">
                  <a:extLst>
                    <a:ext uri="{FF2B5EF4-FFF2-40B4-BE49-F238E27FC236}">
                      <a16:creationId xmlns:a16="http://schemas.microsoft.com/office/drawing/2014/main" id="{7DC134C5-3AEA-4D5F-8307-3153854B767E}"/>
                    </a:ext>
                  </a:extLst>
                </p:cNvPr>
                <p:cNvGrpSpPr/>
                <p:nvPr/>
              </p:nvGrpSpPr>
              <p:grpSpPr>
                <a:xfrm>
                  <a:off x="2123329" y="3732717"/>
                  <a:ext cx="219868" cy="219868"/>
                  <a:chOff x="1677883" y="4334258"/>
                  <a:chExt cx="219868" cy="219868"/>
                </a:xfrm>
              </p:grpSpPr>
              <p:sp>
                <p:nvSpPr>
                  <p:cNvPr id="1478" name="Oval 1477">
                    <a:extLst>
                      <a:ext uri="{FF2B5EF4-FFF2-40B4-BE49-F238E27FC236}">
                        <a16:creationId xmlns:a16="http://schemas.microsoft.com/office/drawing/2014/main" id="{771CC6B0-CD15-48BF-8FF8-8EC5A52D4AD7}"/>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79" name="Freeform: Shape 1478">
                    <a:extLst>
                      <a:ext uri="{FF2B5EF4-FFF2-40B4-BE49-F238E27FC236}">
                        <a16:creationId xmlns:a16="http://schemas.microsoft.com/office/drawing/2014/main" id="{61AC4FBD-B295-4AF3-8724-53B7F104AA44}"/>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469" name="Group 1468">
                  <a:extLst>
                    <a:ext uri="{FF2B5EF4-FFF2-40B4-BE49-F238E27FC236}">
                      <a16:creationId xmlns:a16="http://schemas.microsoft.com/office/drawing/2014/main" id="{87534E6C-E345-48BA-B359-74D5DC9049FC}"/>
                    </a:ext>
                  </a:extLst>
                </p:cNvPr>
                <p:cNvGrpSpPr/>
                <p:nvPr/>
              </p:nvGrpSpPr>
              <p:grpSpPr>
                <a:xfrm>
                  <a:off x="2511686" y="3732717"/>
                  <a:ext cx="219868" cy="219868"/>
                  <a:chOff x="1677883" y="4334258"/>
                  <a:chExt cx="219868" cy="219868"/>
                </a:xfrm>
              </p:grpSpPr>
              <p:sp>
                <p:nvSpPr>
                  <p:cNvPr id="1476" name="Oval 1475">
                    <a:extLst>
                      <a:ext uri="{FF2B5EF4-FFF2-40B4-BE49-F238E27FC236}">
                        <a16:creationId xmlns:a16="http://schemas.microsoft.com/office/drawing/2014/main" id="{207DFEFB-61C3-44FC-9319-5952AD20B24E}"/>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77" name="Freeform: Shape 1476">
                    <a:extLst>
                      <a:ext uri="{FF2B5EF4-FFF2-40B4-BE49-F238E27FC236}">
                        <a16:creationId xmlns:a16="http://schemas.microsoft.com/office/drawing/2014/main" id="{C9A31DD9-686B-4572-A836-65D5462082BC}"/>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470" name="Group 1469">
                  <a:extLst>
                    <a:ext uri="{FF2B5EF4-FFF2-40B4-BE49-F238E27FC236}">
                      <a16:creationId xmlns:a16="http://schemas.microsoft.com/office/drawing/2014/main" id="{8C0EB58F-CD8A-4AB4-94E1-E8BC1870A6B9}"/>
                    </a:ext>
                  </a:extLst>
                </p:cNvPr>
                <p:cNvGrpSpPr/>
                <p:nvPr/>
              </p:nvGrpSpPr>
              <p:grpSpPr>
                <a:xfrm>
                  <a:off x="2317468" y="3732717"/>
                  <a:ext cx="219868" cy="219868"/>
                  <a:chOff x="1299278" y="4593318"/>
                  <a:chExt cx="219868" cy="219868"/>
                </a:xfrm>
              </p:grpSpPr>
              <p:sp>
                <p:nvSpPr>
                  <p:cNvPr id="1474" name="Oval 1473">
                    <a:extLst>
                      <a:ext uri="{FF2B5EF4-FFF2-40B4-BE49-F238E27FC236}">
                        <a16:creationId xmlns:a16="http://schemas.microsoft.com/office/drawing/2014/main" id="{85F2096B-BD29-4FC5-872C-133D90B8ADB6}"/>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75" name="Freeform: Shape 1474">
                    <a:extLst>
                      <a:ext uri="{FF2B5EF4-FFF2-40B4-BE49-F238E27FC236}">
                        <a16:creationId xmlns:a16="http://schemas.microsoft.com/office/drawing/2014/main" id="{3E6BADD9-C161-42BF-822A-F41BBA3DBA2B}"/>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471" name="Group 1470">
                  <a:extLst>
                    <a:ext uri="{FF2B5EF4-FFF2-40B4-BE49-F238E27FC236}">
                      <a16:creationId xmlns:a16="http://schemas.microsoft.com/office/drawing/2014/main" id="{704E22A4-6F1F-43F1-9641-1449609DDFFD}"/>
                    </a:ext>
                  </a:extLst>
                </p:cNvPr>
                <p:cNvGrpSpPr/>
                <p:nvPr/>
              </p:nvGrpSpPr>
              <p:grpSpPr>
                <a:xfrm>
                  <a:off x="2709778" y="3732717"/>
                  <a:ext cx="219868" cy="219868"/>
                  <a:chOff x="1218819" y="4058009"/>
                  <a:chExt cx="219868" cy="219868"/>
                </a:xfrm>
              </p:grpSpPr>
              <p:sp>
                <p:nvSpPr>
                  <p:cNvPr id="1472" name="Oval 1471">
                    <a:extLst>
                      <a:ext uri="{FF2B5EF4-FFF2-40B4-BE49-F238E27FC236}">
                        <a16:creationId xmlns:a16="http://schemas.microsoft.com/office/drawing/2014/main" id="{A9BD828E-F444-4A01-82F1-012F60B667F4}"/>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73" name="Freeform: Shape 1472">
                    <a:extLst>
                      <a:ext uri="{FF2B5EF4-FFF2-40B4-BE49-F238E27FC236}">
                        <a16:creationId xmlns:a16="http://schemas.microsoft.com/office/drawing/2014/main" id="{89E58949-54DA-4057-BE41-76F8D79EDEC9}"/>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50" name="Group 1349">
                <a:extLst>
                  <a:ext uri="{FF2B5EF4-FFF2-40B4-BE49-F238E27FC236}">
                    <a16:creationId xmlns:a16="http://schemas.microsoft.com/office/drawing/2014/main" id="{23E8BA24-FE91-4B3A-AE95-64D77ADC7371}"/>
                  </a:ext>
                </a:extLst>
              </p:cNvPr>
              <p:cNvGrpSpPr/>
              <p:nvPr/>
            </p:nvGrpSpPr>
            <p:grpSpPr>
              <a:xfrm>
                <a:off x="5555565" y="4698220"/>
                <a:ext cx="806317" cy="219868"/>
                <a:chOff x="2123329" y="5385585"/>
                <a:chExt cx="806317" cy="219868"/>
              </a:xfrm>
            </p:grpSpPr>
            <p:grpSp>
              <p:nvGrpSpPr>
                <p:cNvPr id="1456" name="Group 1455">
                  <a:extLst>
                    <a:ext uri="{FF2B5EF4-FFF2-40B4-BE49-F238E27FC236}">
                      <a16:creationId xmlns:a16="http://schemas.microsoft.com/office/drawing/2014/main" id="{61B02E35-FD5B-4C44-B759-7E66A0493F2C}"/>
                    </a:ext>
                  </a:extLst>
                </p:cNvPr>
                <p:cNvGrpSpPr/>
                <p:nvPr/>
              </p:nvGrpSpPr>
              <p:grpSpPr>
                <a:xfrm>
                  <a:off x="2123329" y="5385585"/>
                  <a:ext cx="219868" cy="219868"/>
                  <a:chOff x="1299278" y="4593318"/>
                  <a:chExt cx="219868" cy="219868"/>
                </a:xfrm>
              </p:grpSpPr>
              <p:sp>
                <p:nvSpPr>
                  <p:cNvPr id="1466" name="Oval 1465">
                    <a:extLst>
                      <a:ext uri="{FF2B5EF4-FFF2-40B4-BE49-F238E27FC236}">
                        <a16:creationId xmlns:a16="http://schemas.microsoft.com/office/drawing/2014/main" id="{58DE3158-FF1F-4800-906C-6C0943AEDB7B}"/>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67" name="Freeform: Shape 1466">
                    <a:extLst>
                      <a:ext uri="{FF2B5EF4-FFF2-40B4-BE49-F238E27FC236}">
                        <a16:creationId xmlns:a16="http://schemas.microsoft.com/office/drawing/2014/main" id="{AE1CC940-055B-4B01-8B6B-72DAE2166B61}"/>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457" name="Group 1456">
                  <a:extLst>
                    <a:ext uri="{FF2B5EF4-FFF2-40B4-BE49-F238E27FC236}">
                      <a16:creationId xmlns:a16="http://schemas.microsoft.com/office/drawing/2014/main" id="{D6B6913B-8C1E-4232-9B8E-BBACC04E21C7}"/>
                    </a:ext>
                  </a:extLst>
                </p:cNvPr>
                <p:cNvGrpSpPr/>
                <p:nvPr/>
              </p:nvGrpSpPr>
              <p:grpSpPr>
                <a:xfrm>
                  <a:off x="2317468" y="5385585"/>
                  <a:ext cx="219868" cy="219868"/>
                  <a:chOff x="1677883" y="4334258"/>
                  <a:chExt cx="219868" cy="219868"/>
                </a:xfrm>
              </p:grpSpPr>
              <p:sp>
                <p:nvSpPr>
                  <p:cNvPr id="1464" name="Oval 1463">
                    <a:extLst>
                      <a:ext uri="{FF2B5EF4-FFF2-40B4-BE49-F238E27FC236}">
                        <a16:creationId xmlns:a16="http://schemas.microsoft.com/office/drawing/2014/main" id="{72A84C14-4979-4516-9365-4CF253EF0F7D}"/>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65" name="Freeform: Shape 1464">
                    <a:extLst>
                      <a:ext uri="{FF2B5EF4-FFF2-40B4-BE49-F238E27FC236}">
                        <a16:creationId xmlns:a16="http://schemas.microsoft.com/office/drawing/2014/main" id="{5360F89C-21FE-4F45-A5F9-50AB16D7FED4}"/>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458" name="Group 1457">
                  <a:extLst>
                    <a:ext uri="{FF2B5EF4-FFF2-40B4-BE49-F238E27FC236}">
                      <a16:creationId xmlns:a16="http://schemas.microsoft.com/office/drawing/2014/main" id="{8E43C2EF-443B-4A90-B3C8-6DF0ACD82C94}"/>
                    </a:ext>
                  </a:extLst>
                </p:cNvPr>
                <p:cNvGrpSpPr/>
                <p:nvPr/>
              </p:nvGrpSpPr>
              <p:grpSpPr>
                <a:xfrm>
                  <a:off x="2709778" y="5385585"/>
                  <a:ext cx="219868" cy="219868"/>
                  <a:chOff x="1677883" y="4334258"/>
                  <a:chExt cx="219868" cy="219868"/>
                </a:xfrm>
              </p:grpSpPr>
              <p:sp>
                <p:nvSpPr>
                  <p:cNvPr id="1462" name="Oval 1461">
                    <a:extLst>
                      <a:ext uri="{FF2B5EF4-FFF2-40B4-BE49-F238E27FC236}">
                        <a16:creationId xmlns:a16="http://schemas.microsoft.com/office/drawing/2014/main" id="{50C3774C-35C4-492D-8774-9E3C0DFAA2EC}"/>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63" name="Freeform: Shape 1462">
                    <a:extLst>
                      <a:ext uri="{FF2B5EF4-FFF2-40B4-BE49-F238E27FC236}">
                        <a16:creationId xmlns:a16="http://schemas.microsoft.com/office/drawing/2014/main" id="{2A26D2C5-020D-4F4A-B7F6-5F7178D1DB69}"/>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459" name="Group 1458">
                  <a:extLst>
                    <a:ext uri="{FF2B5EF4-FFF2-40B4-BE49-F238E27FC236}">
                      <a16:creationId xmlns:a16="http://schemas.microsoft.com/office/drawing/2014/main" id="{57802851-6138-42FC-8187-D52D22A23080}"/>
                    </a:ext>
                  </a:extLst>
                </p:cNvPr>
                <p:cNvGrpSpPr/>
                <p:nvPr/>
              </p:nvGrpSpPr>
              <p:grpSpPr>
                <a:xfrm>
                  <a:off x="2511686" y="5385585"/>
                  <a:ext cx="219868" cy="219868"/>
                  <a:chOff x="1299278" y="4593318"/>
                  <a:chExt cx="219868" cy="219868"/>
                </a:xfrm>
              </p:grpSpPr>
              <p:sp>
                <p:nvSpPr>
                  <p:cNvPr id="1460" name="Oval 1459">
                    <a:extLst>
                      <a:ext uri="{FF2B5EF4-FFF2-40B4-BE49-F238E27FC236}">
                        <a16:creationId xmlns:a16="http://schemas.microsoft.com/office/drawing/2014/main" id="{05C25BFA-3F1B-4922-9004-29241245B283}"/>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61" name="Freeform: Shape 1460">
                    <a:extLst>
                      <a:ext uri="{FF2B5EF4-FFF2-40B4-BE49-F238E27FC236}">
                        <a16:creationId xmlns:a16="http://schemas.microsoft.com/office/drawing/2014/main" id="{2316DE6A-0B0F-498F-B3D7-8DF2BE7A16D1}"/>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grpSp>
            <p:nvGrpSpPr>
              <p:cNvPr id="1351" name="Group 1350">
                <a:extLst>
                  <a:ext uri="{FF2B5EF4-FFF2-40B4-BE49-F238E27FC236}">
                    <a16:creationId xmlns:a16="http://schemas.microsoft.com/office/drawing/2014/main" id="{4813B800-7521-41C4-9922-B4D7DADA8378}"/>
                  </a:ext>
                </a:extLst>
              </p:cNvPr>
              <p:cNvGrpSpPr/>
              <p:nvPr/>
            </p:nvGrpSpPr>
            <p:grpSpPr>
              <a:xfrm>
                <a:off x="5555565" y="4698220"/>
                <a:ext cx="806317" cy="219868"/>
                <a:chOff x="4604112" y="3480552"/>
                <a:chExt cx="806317" cy="219868"/>
              </a:xfrm>
            </p:grpSpPr>
            <p:grpSp>
              <p:nvGrpSpPr>
                <p:cNvPr id="1443" name="Group 1442">
                  <a:extLst>
                    <a:ext uri="{FF2B5EF4-FFF2-40B4-BE49-F238E27FC236}">
                      <a16:creationId xmlns:a16="http://schemas.microsoft.com/office/drawing/2014/main" id="{C599A403-F050-4818-BB0F-B7725222926B}"/>
                    </a:ext>
                  </a:extLst>
                </p:cNvPr>
                <p:cNvGrpSpPr/>
                <p:nvPr/>
              </p:nvGrpSpPr>
              <p:grpSpPr>
                <a:xfrm>
                  <a:off x="4604112" y="3480552"/>
                  <a:ext cx="806317" cy="219868"/>
                  <a:chOff x="2123329" y="7200665"/>
                  <a:chExt cx="806317" cy="219868"/>
                </a:xfrm>
              </p:grpSpPr>
              <p:grpSp>
                <p:nvGrpSpPr>
                  <p:cNvPr id="1445" name="Group 1444">
                    <a:extLst>
                      <a:ext uri="{FF2B5EF4-FFF2-40B4-BE49-F238E27FC236}">
                        <a16:creationId xmlns:a16="http://schemas.microsoft.com/office/drawing/2014/main" id="{EDEDC908-03F4-44E8-B553-FDE1D44EF891}"/>
                      </a:ext>
                    </a:extLst>
                  </p:cNvPr>
                  <p:cNvGrpSpPr/>
                  <p:nvPr/>
                </p:nvGrpSpPr>
                <p:grpSpPr>
                  <a:xfrm>
                    <a:off x="2511686" y="7200665"/>
                    <a:ext cx="219868" cy="219868"/>
                    <a:chOff x="1677883" y="4334258"/>
                    <a:chExt cx="219868" cy="219868"/>
                  </a:xfrm>
                </p:grpSpPr>
                <p:sp>
                  <p:nvSpPr>
                    <p:cNvPr id="1454" name="Oval 1453">
                      <a:extLst>
                        <a:ext uri="{FF2B5EF4-FFF2-40B4-BE49-F238E27FC236}">
                          <a16:creationId xmlns:a16="http://schemas.microsoft.com/office/drawing/2014/main" id="{DC662F6F-EE0D-40B4-A195-DE4155710208}"/>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55" name="Freeform: Shape 1454">
                      <a:extLst>
                        <a:ext uri="{FF2B5EF4-FFF2-40B4-BE49-F238E27FC236}">
                          <a16:creationId xmlns:a16="http://schemas.microsoft.com/office/drawing/2014/main" id="{16C7D2F4-3B9E-4332-9077-AF27B846656F}"/>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446" name="Group 1445">
                    <a:extLst>
                      <a:ext uri="{FF2B5EF4-FFF2-40B4-BE49-F238E27FC236}">
                        <a16:creationId xmlns:a16="http://schemas.microsoft.com/office/drawing/2014/main" id="{116C802B-57BA-421F-9207-C91093A7C691}"/>
                      </a:ext>
                    </a:extLst>
                  </p:cNvPr>
                  <p:cNvGrpSpPr/>
                  <p:nvPr/>
                </p:nvGrpSpPr>
                <p:grpSpPr>
                  <a:xfrm>
                    <a:off x="2317468" y="7200665"/>
                    <a:ext cx="219868" cy="219868"/>
                    <a:chOff x="1299278" y="4593318"/>
                    <a:chExt cx="219868" cy="219868"/>
                  </a:xfrm>
                </p:grpSpPr>
                <p:sp>
                  <p:nvSpPr>
                    <p:cNvPr id="1452" name="Oval 1451">
                      <a:extLst>
                        <a:ext uri="{FF2B5EF4-FFF2-40B4-BE49-F238E27FC236}">
                          <a16:creationId xmlns:a16="http://schemas.microsoft.com/office/drawing/2014/main" id="{125B8EB1-EE78-4A9C-9FA9-D7CD048F9791}"/>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53" name="Freeform: Shape 1452">
                      <a:extLst>
                        <a:ext uri="{FF2B5EF4-FFF2-40B4-BE49-F238E27FC236}">
                          <a16:creationId xmlns:a16="http://schemas.microsoft.com/office/drawing/2014/main" id="{B9522228-1699-44FD-8A83-B30DF7752608}"/>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447" name="Group 1446">
                    <a:extLst>
                      <a:ext uri="{FF2B5EF4-FFF2-40B4-BE49-F238E27FC236}">
                        <a16:creationId xmlns:a16="http://schemas.microsoft.com/office/drawing/2014/main" id="{98BA0085-BD12-4081-8EB0-3C9BC1FFD879}"/>
                      </a:ext>
                    </a:extLst>
                  </p:cNvPr>
                  <p:cNvGrpSpPr/>
                  <p:nvPr/>
                </p:nvGrpSpPr>
                <p:grpSpPr>
                  <a:xfrm>
                    <a:off x="2709778" y="7200665"/>
                    <a:ext cx="219868" cy="219868"/>
                    <a:chOff x="1299278" y="4593318"/>
                    <a:chExt cx="219868" cy="219868"/>
                  </a:xfrm>
                </p:grpSpPr>
                <p:sp>
                  <p:nvSpPr>
                    <p:cNvPr id="1450" name="Oval 1449">
                      <a:extLst>
                        <a:ext uri="{FF2B5EF4-FFF2-40B4-BE49-F238E27FC236}">
                          <a16:creationId xmlns:a16="http://schemas.microsoft.com/office/drawing/2014/main" id="{678ACA97-FEE9-4EEE-890D-555FAE632062}"/>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51" name="Freeform: Shape 1450">
                      <a:extLst>
                        <a:ext uri="{FF2B5EF4-FFF2-40B4-BE49-F238E27FC236}">
                          <a16:creationId xmlns:a16="http://schemas.microsoft.com/office/drawing/2014/main" id="{101F67EE-C893-4528-A2B6-7CA675CBFA6D}"/>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sp>
                <p:nvSpPr>
                  <p:cNvPr id="1448" name="Oval 1447">
                    <a:extLst>
                      <a:ext uri="{FF2B5EF4-FFF2-40B4-BE49-F238E27FC236}">
                        <a16:creationId xmlns:a16="http://schemas.microsoft.com/office/drawing/2014/main" id="{526E73E9-B52E-4B1F-815D-A641D4F8F173}"/>
                      </a:ext>
                    </a:extLst>
                  </p:cNvPr>
                  <p:cNvSpPr/>
                  <p:nvPr/>
                </p:nvSpPr>
                <p:spPr>
                  <a:xfrm>
                    <a:off x="2123329" y="7200665"/>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49" name="Rectangle 1448">
                    <a:extLst>
                      <a:ext uri="{FF2B5EF4-FFF2-40B4-BE49-F238E27FC236}">
                        <a16:creationId xmlns:a16="http://schemas.microsoft.com/office/drawing/2014/main" id="{91E87DAA-9595-4EA4-BC85-DBF5CA99BB50}"/>
                      </a:ext>
                    </a:extLst>
                  </p:cNvPr>
                  <p:cNvSpPr/>
                  <p:nvPr/>
                </p:nvSpPr>
                <p:spPr>
                  <a:xfrm>
                    <a:off x="2161293" y="7273143"/>
                    <a:ext cx="149354" cy="9191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1" i="0" u="none" strike="noStrike" kern="1200" cap="none" spc="0" normalizeH="0" baseline="0" noProof="0" dirty="0">
                      <a:ln>
                        <a:noFill/>
                      </a:ln>
                      <a:solidFill>
                        <a:srgbClr val="005073"/>
                      </a:solidFill>
                      <a:effectLst/>
                      <a:uLnTx/>
                      <a:uFillTx/>
                      <a:latin typeface="CiscoSansTT ExtraLight"/>
                      <a:ea typeface="+mn-ea"/>
                      <a:cs typeface="+mn-cs"/>
                    </a:endParaRPr>
                  </a:p>
                </p:txBody>
              </p:sp>
            </p:grpSp>
            <p:sp>
              <p:nvSpPr>
                <p:cNvPr id="1444" name="Freeform: Shape 1443">
                  <a:extLst>
                    <a:ext uri="{FF2B5EF4-FFF2-40B4-BE49-F238E27FC236}">
                      <a16:creationId xmlns:a16="http://schemas.microsoft.com/office/drawing/2014/main" id="{9C3A51EE-FD11-41ED-B78A-7C94DE26D7DD}"/>
                    </a:ext>
                  </a:extLst>
                </p:cNvPr>
                <p:cNvSpPr/>
                <p:nvPr/>
              </p:nvSpPr>
              <p:spPr>
                <a:xfrm flipH="1">
                  <a:off x="4645732" y="3499691"/>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352" name="Group 1351">
                <a:extLst>
                  <a:ext uri="{FF2B5EF4-FFF2-40B4-BE49-F238E27FC236}">
                    <a16:creationId xmlns:a16="http://schemas.microsoft.com/office/drawing/2014/main" id="{BE41C8B7-CEBC-43E1-95D7-E767DC3B779F}"/>
                  </a:ext>
                </a:extLst>
              </p:cNvPr>
              <p:cNvGrpSpPr/>
              <p:nvPr/>
            </p:nvGrpSpPr>
            <p:grpSpPr>
              <a:xfrm>
                <a:off x="5555565" y="4698220"/>
                <a:ext cx="806317" cy="219868"/>
                <a:chOff x="4604112" y="3296958"/>
                <a:chExt cx="806317" cy="219868"/>
              </a:xfrm>
            </p:grpSpPr>
            <p:grpSp>
              <p:nvGrpSpPr>
                <p:cNvPr id="1431" name="Group 1430">
                  <a:extLst>
                    <a:ext uri="{FF2B5EF4-FFF2-40B4-BE49-F238E27FC236}">
                      <a16:creationId xmlns:a16="http://schemas.microsoft.com/office/drawing/2014/main" id="{74C3C38D-A64C-4ECA-A690-1F14475B6815}"/>
                    </a:ext>
                  </a:extLst>
                </p:cNvPr>
                <p:cNvGrpSpPr/>
                <p:nvPr/>
              </p:nvGrpSpPr>
              <p:grpSpPr>
                <a:xfrm>
                  <a:off x="4604112" y="3296958"/>
                  <a:ext cx="219868" cy="219868"/>
                  <a:chOff x="1299278" y="4593318"/>
                  <a:chExt cx="219868" cy="219868"/>
                </a:xfrm>
              </p:grpSpPr>
              <p:sp>
                <p:nvSpPr>
                  <p:cNvPr id="1441" name="Oval 1440">
                    <a:extLst>
                      <a:ext uri="{FF2B5EF4-FFF2-40B4-BE49-F238E27FC236}">
                        <a16:creationId xmlns:a16="http://schemas.microsoft.com/office/drawing/2014/main" id="{9D6AD7CA-DC95-4796-A096-4A05B5579074}"/>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42" name="Freeform: Shape 1441">
                    <a:extLst>
                      <a:ext uri="{FF2B5EF4-FFF2-40B4-BE49-F238E27FC236}">
                        <a16:creationId xmlns:a16="http://schemas.microsoft.com/office/drawing/2014/main" id="{AC88CE29-C80D-41A5-96E3-404AEB547257}"/>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432" name="Group 1431">
                  <a:extLst>
                    <a:ext uri="{FF2B5EF4-FFF2-40B4-BE49-F238E27FC236}">
                      <a16:creationId xmlns:a16="http://schemas.microsoft.com/office/drawing/2014/main" id="{6C93A3F1-867E-4B15-BCD3-857FB0AF3FA3}"/>
                    </a:ext>
                  </a:extLst>
                </p:cNvPr>
                <p:cNvGrpSpPr/>
                <p:nvPr/>
              </p:nvGrpSpPr>
              <p:grpSpPr>
                <a:xfrm>
                  <a:off x="5190561" y="3296958"/>
                  <a:ext cx="219868" cy="219868"/>
                  <a:chOff x="1677883" y="4334258"/>
                  <a:chExt cx="219868" cy="219868"/>
                </a:xfrm>
              </p:grpSpPr>
              <p:sp>
                <p:nvSpPr>
                  <p:cNvPr id="1439" name="Oval 1438">
                    <a:extLst>
                      <a:ext uri="{FF2B5EF4-FFF2-40B4-BE49-F238E27FC236}">
                        <a16:creationId xmlns:a16="http://schemas.microsoft.com/office/drawing/2014/main" id="{A066D322-817E-4940-B8C3-10B89081E875}"/>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40" name="Freeform: Shape 1439">
                    <a:extLst>
                      <a:ext uri="{FF2B5EF4-FFF2-40B4-BE49-F238E27FC236}">
                        <a16:creationId xmlns:a16="http://schemas.microsoft.com/office/drawing/2014/main" id="{BE92B044-49F3-483C-B2AC-B4D36A9161D4}"/>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433" name="Group 1432">
                  <a:extLst>
                    <a:ext uri="{FF2B5EF4-FFF2-40B4-BE49-F238E27FC236}">
                      <a16:creationId xmlns:a16="http://schemas.microsoft.com/office/drawing/2014/main" id="{3CC29A6D-0501-4AAC-BE19-856BEDEE388C}"/>
                    </a:ext>
                  </a:extLst>
                </p:cNvPr>
                <p:cNvGrpSpPr/>
                <p:nvPr/>
              </p:nvGrpSpPr>
              <p:grpSpPr>
                <a:xfrm>
                  <a:off x="4992469" y="3296958"/>
                  <a:ext cx="219868" cy="219868"/>
                  <a:chOff x="1299278" y="4593318"/>
                  <a:chExt cx="219868" cy="219868"/>
                </a:xfrm>
              </p:grpSpPr>
              <p:sp>
                <p:nvSpPr>
                  <p:cNvPr id="1437" name="Oval 1436">
                    <a:extLst>
                      <a:ext uri="{FF2B5EF4-FFF2-40B4-BE49-F238E27FC236}">
                        <a16:creationId xmlns:a16="http://schemas.microsoft.com/office/drawing/2014/main" id="{235FA77A-22FF-4EE0-AAF7-9DAB365F9A5B}"/>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38" name="Freeform: Shape 1437">
                    <a:extLst>
                      <a:ext uri="{FF2B5EF4-FFF2-40B4-BE49-F238E27FC236}">
                        <a16:creationId xmlns:a16="http://schemas.microsoft.com/office/drawing/2014/main" id="{CD074369-A7DD-4C96-8C44-D6F07E6A3790}"/>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434" name="Group 1433">
                  <a:extLst>
                    <a:ext uri="{FF2B5EF4-FFF2-40B4-BE49-F238E27FC236}">
                      <a16:creationId xmlns:a16="http://schemas.microsoft.com/office/drawing/2014/main" id="{7CAB1DB9-E45C-4C2F-B417-BDAFE1E1CC7C}"/>
                    </a:ext>
                  </a:extLst>
                </p:cNvPr>
                <p:cNvGrpSpPr/>
                <p:nvPr/>
              </p:nvGrpSpPr>
              <p:grpSpPr>
                <a:xfrm>
                  <a:off x="4798251" y="3296958"/>
                  <a:ext cx="219868" cy="219868"/>
                  <a:chOff x="5342961" y="4056604"/>
                  <a:chExt cx="219868" cy="219868"/>
                </a:xfrm>
              </p:grpSpPr>
              <p:sp>
                <p:nvSpPr>
                  <p:cNvPr id="1435" name="Oval 1434">
                    <a:extLst>
                      <a:ext uri="{FF2B5EF4-FFF2-40B4-BE49-F238E27FC236}">
                        <a16:creationId xmlns:a16="http://schemas.microsoft.com/office/drawing/2014/main" id="{33D488EC-06FC-43D3-825B-B5948C655E66}"/>
                      </a:ext>
                    </a:extLst>
                  </p:cNvPr>
                  <p:cNvSpPr/>
                  <p:nvPr/>
                </p:nvSpPr>
                <p:spPr>
                  <a:xfrm>
                    <a:off x="5342961" y="4056604"/>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36" name="Freeform: Shape 1435">
                    <a:extLst>
                      <a:ext uri="{FF2B5EF4-FFF2-40B4-BE49-F238E27FC236}">
                        <a16:creationId xmlns:a16="http://schemas.microsoft.com/office/drawing/2014/main" id="{39756D8B-8F1F-4B69-BD7F-D588849BB0BE}"/>
                      </a:ext>
                    </a:extLst>
                  </p:cNvPr>
                  <p:cNvSpPr/>
                  <p:nvPr/>
                </p:nvSpPr>
                <p:spPr>
                  <a:xfrm flipH="1">
                    <a:off x="5387333" y="4080240"/>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53" name="Group 1352">
                <a:extLst>
                  <a:ext uri="{FF2B5EF4-FFF2-40B4-BE49-F238E27FC236}">
                    <a16:creationId xmlns:a16="http://schemas.microsoft.com/office/drawing/2014/main" id="{770EF114-6099-432C-B346-907247F7A0F3}"/>
                  </a:ext>
                </a:extLst>
              </p:cNvPr>
              <p:cNvGrpSpPr/>
              <p:nvPr/>
            </p:nvGrpSpPr>
            <p:grpSpPr>
              <a:xfrm>
                <a:off x="5749704" y="4698220"/>
                <a:ext cx="219868" cy="219868"/>
                <a:chOff x="4798251" y="3296958"/>
                <a:chExt cx="219868" cy="219868"/>
              </a:xfrm>
            </p:grpSpPr>
            <p:sp>
              <p:nvSpPr>
                <p:cNvPr id="1427" name="Oval 1426">
                  <a:extLst>
                    <a:ext uri="{FF2B5EF4-FFF2-40B4-BE49-F238E27FC236}">
                      <a16:creationId xmlns:a16="http://schemas.microsoft.com/office/drawing/2014/main" id="{E5A5128F-6044-465F-BA6D-1EBF09FC6038}"/>
                    </a:ext>
                  </a:extLst>
                </p:cNvPr>
                <p:cNvSpPr/>
                <p:nvPr/>
              </p:nvSpPr>
              <p:spPr>
                <a:xfrm>
                  <a:off x="4798251" y="32969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428" name="Group 1427">
                  <a:extLst>
                    <a:ext uri="{FF2B5EF4-FFF2-40B4-BE49-F238E27FC236}">
                      <a16:creationId xmlns:a16="http://schemas.microsoft.com/office/drawing/2014/main" id="{CE9296EE-7274-41AA-9F98-C79CAA2C0B62}"/>
                    </a:ext>
                  </a:extLst>
                </p:cNvPr>
                <p:cNvGrpSpPr/>
                <p:nvPr/>
              </p:nvGrpSpPr>
              <p:grpSpPr>
                <a:xfrm>
                  <a:off x="4828786" y="3318651"/>
                  <a:ext cx="160583" cy="156968"/>
                  <a:chOff x="5679900" y="3293791"/>
                  <a:chExt cx="284020" cy="277627"/>
                </a:xfrm>
              </p:grpSpPr>
              <p:sp>
                <p:nvSpPr>
                  <p:cNvPr id="1429" name="Rectangle 1428">
                    <a:extLst>
                      <a:ext uri="{FF2B5EF4-FFF2-40B4-BE49-F238E27FC236}">
                        <a16:creationId xmlns:a16="http://schemas.microsoft.com/office/drawing/2014/main" id="{7C4952BB-4110-49A3-8EB5-4785648844F5}"/>
                      </a:ext>
                    </a:extLst>
                  </p:cNvPr>
                  <p:cNvSpPr/>
                  <p:nvPr/>
                </p:nvSpPr>
                <p:spPr>
                  <a:xfrm>
                    <a:off x="5692140" y="3390900"/>
                    <a:ext cx="264160" cy="16256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1"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30" name="Freeform 23">
                    <a:extLst>
                      <a:ext uri="{FF2B5EF4-FFF2-40B4-BE49-F238E27FC236}">
                        <a16:creationId xmlns:a16="http://schemas.microsoft.com/office/drawing/2014/main" id="{98B251F3-854D-47AC-ADF4-1B0C3C056E62}"/>
                      </a:ext>
                    </a:extLst>
                  </p:cNvPr>
                  <p:cNvSpPr>
                    <a:spLocks noEditPoints="1"/>
                  </p:cNvSpPr>
                  <p:nvPr/>
                </p:nvSpPr>
                <p:spPr bwMode="auto">
                  <a:xfrm>
                    <a:off x="5679900" y="3293791"/>
                    <a:ext cx="284020" cy="277627"/>
                  </a:xfrm>
                  <a:custGeom>
                    <a:avLst/>
                    <a:gdLst>
                      <a:gd name="T0" fmla="*/ 722 w 722"/>
                      <a:gd name="T1" fmla="*/ 313 h 707"/>
                      <a:gd name="T2" fmla="*/ 717 w 722"/>
                      <a:gd name="T3" fmla="*/ 253 h 707"/>
                      <a:gd name="T4" fmla="*/ 689 w 722"/>
                      <a:gd name="T5" fmla="*/ 227 h 707"/>
                      <a:gd name="T6" fmla="*/ 412 w 722"/>
                      <a:gd name="T7" fmla="*/ 226 h 707"/>
                      <a:gd name="T8" fmla="*/ 411 w 722"/>
                      <a:gd name="T9" fmla="*/ 179 h 707"/>
                      <a:gd name="T10" fmla="*/ 327 w 722"/>
                      <a:gd name="T11" fmla="*/ 24 h 707"/>
                      <a:gd name="T12" fmla="*/ 334 w 722"/>
                      <a:gd name="T13" fmla="*/ 179 h 707"/>
                      <a:gd name="T14" fmla="*/ 324 w 722"/>
                      <a:gd name="T15" fmla="*/ 226 h 707"/>
                      <a:gd name="T16" fmla="*/ 33 w 722"/>
                      <a:gd name="T17" fmla="*/ 228 h 707"/>
                      <a:gd name="T18" fmla="*/ 0 w 722"/>
                      <a:gd name="T19" fmla="*/ 272 h 707"/>
                      <a:gd name="T20" fmla="*/ 2 w 722"/>
                      <a:gd name="T21" fmla="*/ 675 h 707"/>
                      <a:gd name="T22" fmla="*/ 4 w 722"/>
                      <a:gd name="T23" fmla="*/ 682 h 707"/>
                      <a:gd name="T24" fmla="*/ 8 w 722"/>
                      <a:gd name="T25" fmla="*/ 689 h 707"/>
                      <a:gd name="T26" fmla="*/ 21 w 722"/>
                      <a:gd name="T27" fmla="*/ 700 h 707"/>
                      <a:gd name="T28" fmla="*/ 51 w 722"/>
                      <a:gd name="T29" fmla="*/ 706 h 707"/>
                      <a:gd name="T30" fmla="*/ 702 w 722"/>
                      <a:gd name="T31" fmla="*/ 699 h 707"/>
                      <a:gd name="T32" fmla="*/ 707 w 722"/>
                      <a:gd name="T33" fmla="*/ 696 h 707"/>
                      <a:gd name="T34" fmla="*/ 717 w 722"/>
                      <a:gd name="T35" fmla="*/ 683 h 707"/>
                      <a:gd name="T36" fmla="*/ 721 w 722"/>
                      <a:gd name="T37" fmla="*/ 675 h 707"/>
                      <a:gd name="T38" fmla="*/ 404 w 722"/>
                      <a:gd name="T39" fmla="*/ 286 h 707"/>
                      <a:gd name="T40" fmla="*/ 394 w 722"/>
                      <a:gd name="T41" fmla="*/ 417 h 707"/>
                      <a:gd name="T42" fmla="*/ 404 w 722"/>
                      <a:gd name="T43" fmla="*/ 286 h 707"/>
                      <a:gd name="T44" fmla="*/ 371 w 722"/>
                      <a:gd name="T45" fmla="*/ 59 h 707"/>
                      <a:gd name="T46" fmla="*/ 369 w 722"/>
                      <a:gd name="T47" fmla="*/ 147 h 707"/>
                      <a:gd name="T48" fmla="*/ 124 w 722"/>
                      <a:gd name="T49" fmla="*/ 285 h 707"/>
                      <a:gd name="T50" fmla="*/ 333 w 722"/>
                      <a:gd name="T51" fmla="*/ 285 h 707"/>
                      <a:gd name="T52" fmla="*/ 349 w 722"/>
                      <a:gd name="T53" fmla="*/ 415 h 707"/>
                      <a:gd name="T54" fmla="*/ 122 w 722"/>
                      <a:gd name="T55" fmla="*/ 290 h 707"/>
                      <a:gd name="T56" fmla="*/ 661 w 722"/>
                      <a:gd name="T57" fmla="*/ 625 h 707"/>
                      <a:gd name="T58" fmla="*/ 77 w 722"/>
                      <a:gd name="T59" fmla="*/ 647 h 707"/>
                      <a:gd name="T60" fmla="*/ 58 w 722"/>
                      <a:gd name="T61" fmla="*/ 305 h 707"/>
                      <a:gd name="T62" fmla="*/ 74 w 722"/>
                      <a:gd name="T63" fmla="*/ 294 h 707"/>
                      <a:gd name="T64" fmla="*/ 349 w 722"/>
                      <a:gd name="T65" fmla="*/ 480 h 707"/>
                      <a:gd name="T66" fmla="*/ 286 w 722"/>
                      <a:gd name="T67" fmla="*/ 585 h 707"/>
                      <a:gd name="T68" fmla="*/ 245 w 722"/>
                      <a:gd name="T69" fmla="*/ 517 h 707"/>
                      <a:gd name="T70" fmla="*/ 243 w 722"/>
                      <a:gd name="T71" fmla="*/ 473 h 707"/>
                      <a:gd name="T72" fmla="*/ 198 w 722"/>
                      <a:gd name="T73" fmla="*/ 406 h 707"/>
                      <a:gd name="T74" fmla="*/ 201 w 722"/>
                      <a:gd name="T75" fmla="*/ 553 h 707"/>
                      <a:gd name="T76" fmla="*/ 377 w 722"/>
                      <a:gd name="T77" fmla="*/ 581 h 707"/>
                      <a:gd name="T78" fmla="*/ 426 w 722"/>
                      <a:gd name="T79" fmla="*/ 426 h 707"/>
                      <a:gd name="T80" fmla="*/ 658 w 722"/>
                      <a:gd name="T81" fmla="*/ 285 h 707"/>
                      <a:gd name="T82" fmla="*/ 661 w 722"/>
                      <a:gd name="T83" fmla="*/ 62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22" h="707">
                        <a:moveTo>
                          <a:pt x="722" y="649"/>
                        </a:moveTo>
                        <a:cubicBezTo>
                          <a:pt x="722" y="537"/>
                          <a:pt x="722" y="425"/>
                          <a:pt x="722" y="313"/>
                        </a:cubicBezTo>
                        <a:cubicBezTo>
                          <a:pt x="722" y="295"/>
                          <a:pt x="721" y="277"/>
                          <a:pt x="721" y="259"/>
                        </a:cubicBezTo>
                        <a:cubicBezTo>
                          <a:pt x="720" y="257"/>
                          <a:pt x="718" y="255"/>
                          <a:pt x="717" y="253"/>
                        </a:cubicBezTo>
                        <a:cubicBezTo>
                          <a:pt x="716" y="238"/>
                          <a:pt x="705" y="232"/>
                          <a:pt x="693" y="228"/>
                        </a:cubicBezTo>
                        <a:cubicBezTo>
                          <a:pt x="692" y="227"/>
                          <a:pt x="691" y="227"/>
                          <a:pt x="689" y="227"/>
                        </a:cubicBezTo>
                        <a:cubicBezTo>
                          <a:pt x="677" y="227"/>
                          <a:pt x="664" y="226"/>
                          <a:pt x="651" y="226"/>
                        </a:cubicBezTo>
                        <a:cubicBezTo>
                          <a:pt x="572" y="226"/>
                          <a:pt x="492" y="227"/>
                          <a:pt x="412" y="226"/>
                        </a:cubicBezTo>
                        <a:cubicBezTo>
                          <a:pt x="405" y="226"/>
                          <a:pt x="397" y="230"/>
                          <a:pt x="394" y="219"/>
                        </a:cubicBezTo>
                        <a:cubicBezTo>
                          <a:pt x="389" y="203"/>
                          <a:pt x="395" y="187"/>
                          <a:pt x="411" y="179"/>
                        </a:cubicBezTo>
                        <a:cubicBezTo>
                          <a:pt x="454" y="156"/>
                          <a:pt x="471" y="102"/>
                          <a:pt x="449" y="59"/>
                        </a:cubicBezTo>
                        <a:cubicBezTo>
                          <a:pt x="426" y="17"/>
                          <a:pt x="369" y="0"/>
                          <a:pt x="327" y="24"/>
                        </a:cubicBezTo>
                        <a:cubicBezTo>
                          <a:pt x="297" y="41"/>
                          <a:pt x="283" y="68"/>
                          <a:pt x="284" y="102"/>
                        </a:cubicBezTo>
                        <a:cubicBezTo>
                          <a:pt x="284" y="138"/>
                          <a:pt x="301" y="165"/>
                          <a:pt x="334" y="179"/>
                        </a:cubicBezTo>
                        <a:cubicBezTo>
                          <a:pt x="355" y="188"/>
                          <a:pt x="349" y="203"/>
                          <a:pt x="348" y="217"/>
                        </a:cubicBezTo>
                        <a:cubicBezTo>
                          <a:pt x="347" y="234"/>
                          <a:pt x="333" y="224"/>
                          <a:pt x="324" y="226"/>
                        </a:cubicBezTo>
                        <a:cubicBezTo>
                          <a:pt x="319" y="227"/>
                          <a:pt x="314" y="226"/>
                          <a:pt x="309" y="226"/>
                        </a:cubicBezTo>
                        <a:cubicBezTo>
                          <a:pt x="217" y="227"/>
                          <a:pt x="125" y="227"/>
                          <a:pt x="33" y="228"/>
                        </a:cubicBezTo>
                        <a:cubicBezTo>
                          <a:pt x="32" y="227"/>
                          <a:pt x="31" y="227"/>
                          <a:pt x="29" y="228"/>
                        </a:cubicBezTo>
                        <a:cubicBezTo>
                          <a:pt x="8" y="234"/>
                          <a:pt x="0" y="250"/>
                          <a:pt x="0" y="272"/>
                        </a:cubicBezTo>
                        <a:cubicBezTo>
                          <a:pt x="1" y="378"/>
                          <a:pt x="0" y="485"/>
                          <a:pt x="0" y="591"/>
                        </a:cubicBezTo>
                        <a:cubicBezTo>
                          <a:pt x="0" y="619"/>
                          <a:pt x="1" y="647"/>
                          <a:pt x="2" y="675"/>
                        </a:cubicBezTo>
                        <a:cubicBezTo>
                          <a:pt x="3" y="677"/>
                          <a:pt x="4" y="679"/>
                          <a:pt x="5" y="681"/>
                        </a:cubicBezTo>
                        <a:cubicBezTo>
                          <a:pt x="5" y="681"/>
                          <a:pt x="4" y="682"/>
                          <a:pt x="4" y="682"/>
                        </a:cubicBezTo>
                        <a:cubicBezTo>
                          <a:pt x="5" y="683"/>
                          <a:pt x="5" y="683"/>
                          <a:pt x="5" y="683"/>
                        </a:cubicBezTo>
                        <a:cubicBezTo>
                          <a:pt x="6" y="685"/>
                          <a:pt x="7" y="687"/>
                          <a:pt x="8" y="689"/>
                        </a:cubicBezTo>
                        <a:cubicBezTo>
                          <a:pt x="11" y="691"/>
                          <a:pt x="13" y="693"/>
                          <a:pt x="15" y="696"/>
                        </a:cubicBezTo>
                        <a:cubicBezTo>
                          <a:pt x="17" y="697"/>
                          <a:pt x="19" y="698"/>
                          <a:pt x="21" y="700"/>
                        </a:cubicBezTo>
                        <a:cubicBezTo>
                          <a:pt x="21" y="700"/>
                          <a:pt x="21" y="700"/>
                          <a:pt x="21" y="700"/>
                        </a:cubicBezTo>
                        <a:cubicBezTo>
                          <a:pt x="30" y="707"/>
                          <a:pt x="41" y="706"/>
                          <a:pt x="51" y="706"/>
                        </a:cubicBezTo>
                        <a:cubicBezTo>
                          <a:pt x="258" y="706"/>
                          <a:pt x="465" y="706"/>
                          <a:pt x="671" y="706"/>
                        </a:cubicBezTo>
                        <a:cubicBezTo>
                          <a:pt x="682" y="706"/>
                          <a:pt x="693" y="707"/>
                          <a:pt x="702" y="699"/>
                        </a:cubicBezTo>
                        <a:cubicBezTo>
                          <a:pt x="702" y="699"/>
                          <a:pt x="702" y="699"/>
                          <a:pt x="702" y="699"/>
                        </a:cubicBezTo>
                        <a:cubicBezTo>
                          <a:pt x="703" y="698"/>
                          <a:pt x="705" y="697"/>
                          <a:pt x="707" y="696"/>
                        </a:cubicBezTo>
                        <a:cubicBezTo>
                          <a:pt x="709" y="693"/>
                          <a:pt x="712" y="691"/>
                          <a:pt x="714" y="689"/>
                        </a:cubicBezTo>
                        <a:cubicBezTo>
                          <a:pt x="715" y="687"/>
                          <a:pt x="716" y="685"/>
                          <a:pt x="717" y="683"/>
                        </a:cubicBezTo>
                        <a:cubicBezTo>
                          <a:pt x="717" y="683"/>
                          <a:pt x="717" y="681"/>
                          <a:pt x="717" y="681"/>
                        </a:cubicBezTo>
                        <a:cubicBezTo>
                          <a:pt x="718" y="679"/>
                          <a:pt x="719" y="677"/>
                          <a:pt x="721" y="675"/>
                        </a:cubicBezTo>
                        <a:cubicBezTo>
                          <a:pt x="721" y="667"/>
                          <a:pt x="722" y="658"/>
                          <a:pt x="722" y="649"/>
                        </a:cubicBezTo>
                        <a:close/>
                        <a:moveTo>
                          <a:pt x="404" y="286"/>
                        </a:moveTo>
                        <a:cubicBezTo>
                          <a:pt x="467" y="286"/>
                          <a:pt x="529" y="286"/>
                          <a:pt x="592" y="290"/>
                        </a:cubicBezTo>
                        <a:cubicBezTo>
                          <a:pt x="527" y="331"/>
                          <a:pt x="462" y="373"/>
                          <a:pt x="394" y="417"/>
                        </a:cubicBezTo>
                        <a:cubicBezTo>
                          <a:pt x="394" y="374"/>
                          <a:pt x="394" y="336"/>
                          <a:pt x="394" y="298"/>
                        </a:cubicBezTo>
                        <a:cubicBezTo>
                          <a:pt x="394" y="291"/>
                          <a:pt x="395" y="286"/>
                          <a:pt x="404" y="286"/>
                        </a:cubicBezTo>
                        <a:close/>
                        <a:moveTo>
                          <a:pt x="329" y="101"/>
                        </a:moveTo>
                        <a:cubicBezTo>
                          <a:pt x="329" y="78"/>
                          <a:pt x="348" y="59"/>
                          <a:pt x="371" y="59"/>
                        </a:cubicBezTo>
                        <a:cubicBezTo>
                          <a:pt x="393" y="59"/>
                          <a:pt x="413" y="78"/>
                          <a:pt x="413" y="101"/>
                        </a:cubicBezTo>
                        <a:cubicBezTo>
                          <a:pt x="414" y="122"/>
                          <a:pt x="390" y="147"/>
                          <a:pt x="369" y="147"/>
                        </a:cubicBezTo>
                        <a:cubicBezTo>
                          <a:pt x="352" y="147"/>
                          <a:pt x="329" y="121"/>
                          <a:pt x="329" y="101"/>
                        </a:cubicBezTo>
                        <a:close/>
                        <a:moveTo>
                          <a:pt x="124" y="285"/>
                        </a:moveTo>
                        <a:cubicBezTo>
                          <a:pt x="154" y="285"/>
                          <a:pt x="183" y="285"/>
                          <a:pt x="213" y="285"/>
                        </a:cubicBezTo>
                        <a:cubicBezTo>
                          <a:pt x="253" y="285"/>
                          <a:pt x="293" y="286"/>
                          <a:pt x="333" y="285"/>
                        </a:cubicBezTo>
                        <a:cubicBezTo>
                          <a:pt x="344" y="285"/>
                          <a:pt x="349" y="288"/>
                          <a:pt x="349" y="301"/>
                        </a:cubicBezTo>
                        <a:cubicBezTo>
                          <a:pt x="348" y="339"/>
                          <a:pt x="349" y="377"/>
                          <a:pt x="349" y="415"/>
                        </a:cubicBezTo>
                        <a:cubicBezTo>
                          <a:pt x="349" y="423"/>
                          <a:pt x="349" y="430"/>
                          <a:pt x="337" y="423"/>
                        </a:cubicBezTo>
                        <a:cubicBezTo>
                          <a:pt x="266" y="379"/>
                          <a:pt x="194" y="334"/>
                          <a:pt x="122" y="290"/>
                        </a:cubicBezTo>
                        <a:cubicBezTo>
                          <a:pt x="123" y="288"/>
                          <a:pt x="123" y="287"/>
                          <a:pt x="124" y="285"/>
                        </a:cubicBezTo>
                        <a:close/>
                        <a:moveTo>
                          <a:pt x="661" y="625"/>
                        </a:moveTo>
                        <a:cubicBezTo>
                          <a:pt x="662" y="641"/>
                          <a:pt x="659" y="647"/>
                          <a:pt x="641" y="647"/>
                        </a:cubicBezTo>
                        <a:cubicBezTo>
                          <a:pt x="453" y="646"/>
                          <a:pt x="265" y="646"/>
                          <a:pt x="77" y="647"/>
                        </a:cubicBezTo>
                        <a:cubicBezTo>
                          <a:pt x="61" y="647"/>
                          <a:pt x="57" y="643"/>
                          <a:pt x="57" y="627"/>
                        </a:cubicBezTo>
                        <a:cubicBezTo>
                          <a:pt x="58" y="520"/>
                          <a:pt x="57" y="412"/>
                          <a:pt x="58" y="305"/>
                        </a:cubicBezTo>
                        <a:cubicBezTo>
                          <a:pt x="58" y="299"/>
                          <a:pt x="54" y="292"/>
                          <a:pt x="60" y="288"/>
                        </a:cubicBezTo>
                        <a:cubicBezTo>
                          <a:pt x="65" y="286"/>
                          <a:pt x="70" y="291"/>
                          <a:pt x="74" y="294"/>
                        </a:cubicBezTo>
                        <a:cubicBezTo>
                          <a:pt x="162" y="348"/>
                          <a:pt x="249" y="402"/>
                          <a:pt x="336" y="456"/>
                        </a:cubicBezTo>
                        <a:cubicBezTo>
                          <a:pt x="346" y="462"/>
                          <a:pt x="350" y="468"/>
                          <a:pt x="349" y="480"/>
                        </a:cubicBezTo>
                        <a:cubicBezTo>
                          <a:pt x="348" y="500"/>
                          <a:pt x="351" y="520"/>
                          <a:pt x="345" y="539"/>
                        </a:cubicBezTo>
                        <a:cubicBezTo>
                          <a:pt x="337" y="566"/>
                          <a:pt x="312" y="588"/>
                          <a:pt x="286" y="585"/>
                        </a:cubicBezTo>
                        <a:cubicBezTo>
                          <a:pt x="274" y="584"/>
                          <a:pt x="263" y="575"/>
                          <a:pt x="256" y="563"/>
                        </a:cubicBezTo>
                        <a:cubicBezTo>
                          <a:pt x="248" y="549"/>
                          <a:pt x="244" y="533"/>
                          <a:pt x="245" y="517"/>
                        </a:cubicBezTo>
                        <a:cubicBezTo>
                          <a:pt x="245" y="515"/>
                          <a:pt x="245" y="511"/>
                          <a:pt x="246" y="511"/>
                        </a:cubicBezTo>
                        <a:cubicBezTo>
                          <a:pt x="273" y="497"/>
                          <a:pt x="249" y="484"/>
                          <a:pt x="243" y="473"/>
                        </a:cubicBezTo>
                        <a:cubicBezTo>
                          <a:pt x="232" y="453"/>
                          <a:pt x="218" y="434"/>
                          <a:pt x="205" y="415"/>
                        </a:cubicBezTo>
                        <a:cubicBezTo>
                          <a:pt x="204" y="411"/>
                          <a:pt x="203" y="406"/>
                          <a:pt x="198" y="406"/>
                        </a:cubicBezTo>
                        <a:cubicBezTo>
                          <a:pt x="198" y="410"/>
                          <a:pt x="198" y="415"/>
                          <a:pt x="198" y="419"/>
                        </a:cubicBezTo>
                        <a:cubicBezTo>
                          <a:pt x="198" y="463"/>
                          <a:pt x="193" y="508"/>
                          <a:pt x="201" y="553"/>
                        </a:cubicBezTo>
                        <a:cubicBezTo>
                          <a:pt x="209" y="598"/>
                          <a:pt x="233" y="622"/>
                          <a:pt x="278" y="630"/>
                        </a:cubicBezTo>
                        <a:cubicBezTo>
                          <a:pt x="317" y="636"/>
                          <a:pt x="357" y="616"/>
                          <a:pt x="377" y="581"/>
                        </a:cubicBezTo>
                        <a:cubicBezTo>
                          <a:pt x="393" y="552"/>
                          <a:pt x="397" y="520"/>
                          <a:pt x="393" y="488"/>
                        </a:cubicBezTo>
                        <a:cubicBezTo>
                          <a:pt x="390" y="458"/>
                          <a:pt x="400" y="442"/>
                          <a:pt x="426" y="426"/>
                        </a:cubicBezTo>
                        <a:cubicBezTo>
                          <a:pt x="498" y="383"/>
                          <a:pt x="568" y="336"/>
                          <a:pt x="638" y="291"/>
                        </a:cubicBezTo>
                        <a:cubicBezTo>
                          <a:pt x="644" y="287"/>
                          <a:pt x="651" y="280"/>
                          <a:pt x="658" y="285"/>
                        </a:cubicBezTo>
                        <a:cubicBezTo>
                          <a:pt x="664" y="289"/>
                          <a:pt x="661" y="297"/>
                          <a:pt x="661" y="303"/>
                        </a:cubicBezTo>
                        <a:cubicBezTo>
                          <a:pt x="661" y="411"/>
                          <a:pt x="661" y="518"/>
                          <a:pt x="661" y="625"/>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grpSp>
          <p:sp>
            <p:nvSpPr>
              <p:cNvPr id="1354" name="Freeform 277">
                <a:extLst>
                  <a:ext uri="{FF2B5EF4-FFF2-40B4-BE49-F238E27FC236}">
                    <a16:creationId xmlns:a16="http://schemas.microsoft.com/office/drawing/2014/main" id="{70A78C5E-20DD-4E5B-93FF-51D620AD57ED}"/>
                  </a:ext>
                </a:extLst>
              </p:cNvPr>
              <p:cNvSpPr>
                <a:spLocks noEditPoints="1"/>
              </p:cNvSpPr>
              <p:nvPr/>
            </p:nvSpPr>
            <p:spPr bwMode="auto">
              <a:xfrm>
                <a:off x="5551970" y="4408061"/>
                <a:ext cx="809912" cy="812239"/>
              </a:xfrm>
              <a:prstGeom prst="donut">
                <a:avLst>
                  <a:gd name="adj" fmla="val 4686"/>
                </a:avLst>
              </a:prstGeom>
              <a:solidFill>
                <a:srgbClr val="005073"/>
              </a:solidFill>
              <a:ln>
                <a:noFill/>
              </a:ln>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929" name="Group 1928">
              <a:extLst>
                <a:ext uri="{FF2B5EF4-FFF2-40B4-BE49-F238E27FC236}">
                  <a16:creationId xmlns:a16="http://schemas.microsoft.com/office/drawing/2014/main" id="{3186F59D-7CE5-4405-A4F4-9BEBCB1AA580}"/>
                </a:ext>
              </a:extLst>
            </p:cNvPr>
            <p:cNvGrpSpPr/>
            <p:nvPr/>
          </p:nvGrpSpPr>
          <p:grpSpPr>
            <a:xfrm>
              <a:off x="3881136" y="4078127"/>
              <a:ext cx="700232" cy="702245"/>
              <a:chOff x="4250028" y="4576861"/>
              <a:chExt cx="1144620" cy="1147910"/>
            </a:xfrm>
          </p:grpSpPr>
          <p:sp>
            <p:nvSpPr>
              <p:cNvPr id="1316" name="Freeform 277">
                <a:extLst>
                  <a:ext uri="{FF2B5EF4-FFF2-40B4-BE49-F238E27FC236}">
                    <a16:creationId xmlns:a16="http://schemas.microsoft.com/office/drawing/2014/main" id="{685199F4-9FE1-4137-9B33-989788C10AFD}"/>
                  </a:ext>
                </a:extLst>
              </p:cNvPr>
              <p:cNvSpPr>
                <a:spLocks noEditPoints="1"/>
              </p:cNvSpPr>
              <p:nvPr/>
            </p:nvSpPr>
            <p:spPr bwMode="auto">
              <a:xfrm>
                <a:off x="4250028" y="4576861"/>
                <a:ext cx="1144620" cy="1147910"/>
              </a:xfrm>
              <a:prstGeom prst="ellipse">
                <a:avLst/>
              </a:prstGeom>
              <a:solidFill>
                <a:schemeClr val="bg2"/>
              </a:solidFill>
              <a:ln>
                <a:noFill/>
              </a:ln>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grpSp>
            <p:nvGrpSpPr>
              <p:cNvPr id="1317" name="Group 1316">
                <a:extLst>
                  <a:ext uri="{FF2B5EF4-FFF2-40B4-BE49-F238E27FC236}">
                    <a16:creationId xmlns:a16="http://schemas.microsoft.com/office/drawing/2014/main" id="{C50702AC-F329-4DFD-8A2B-FC34A6B2A25F}"/>
                  </a:ext>
                </a:extLst>
              </p:cNvPr>
              <p:cNvGrpSpPr/>
              <p:nvPr/>
            </p:nvGrpSpPr>
            <p:grpSpPr>
              <a:xfrm>
                <a:off x="4696684" y="4617609"/>
                <a:ext cx="219868" cy="1073789"/>
                <a:chOff x="936799" y="3900803"/>
                <a:chExt cx="219868" cy="1073789"/>
              </a:xfrm>
            </p:grpSpPr>
            <p:grpSp>
              <p:nvGrpSpPr>
                <p:cNvPr id="1903" name="Group 1902">
                  <a:extLst>
                    <a:ext uri="{FF2B5EF4-FFF2-40B4-BE49-F238E27FC236}">
                      <a16:creationId xmlns:a16="http://schemas.microsoft.com/office/drawing/2014/main" id="{64E30556-A5AA-4B5C-BC71-5180A6597801}"/>
                    </a:ext>
                  </a:extLst>
                </p:cNvPr>
                <p:cNvGrpSpPr/>
                <p:nvPr/>
              </p:nvGrpSpPr>
              <p:grpSpPr>
                <a:xfrm>
                  <a:off x="936799" y="4541489"/>
                  <a:ext cx="219868" cy="219868"/>
                  <a:chOff x="1299278" y="4593318"/>
                  <a:chExt cx="219868" cy="219868"/>
                </a:xfrm>
              </p:grpSpPr>
              <p:sp>
                <p:nvSpPr>
                  <p:cNvPr id="1916" name="Oval 1915">
                    <a:extLst>
                      <a:ext uri="{FF2B5EF4-FFF2-40B4-BE49-F238E27FC236}">
                        <a16:creationId xmlns:a16="http://schemas.microsoft.com/office/drawing/2014/main" id="{53CED7A0-2467-4877-91F6-3E45A08B1B26}"/>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917" name="Freeform: Shape 1916">
                    <a:extLst>
                      <a:ext uri="{FF2B5EF4-FFF2-40B4-BE49-F238E27FC236}">
                        <a16:creationId xmlns:a16="http://schemas.microsoft.com/office/drawing/2014/main" id="{6CD17104-B5E6-4D5D-9195-76D2CE7BD7CD}"/>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904" name="Group 1903">
                  <a:extLst>
                    <a:ext uri="{FF2B5EF4-FFF2-40B4-BE49-F238E27FC236}">
                      <a16:creationId xmlns:a16="http://schemas.microsoft.com/office/drawing/2014/main" id="{FA477FA8-629E-4D99-9F38-5634CC9C9E71}"/>
                    </a:ext>
                  </a:extLst>
                </p:cNvPr>
                <p:cNvGrpSpPr/>
                <p:nvPr/>
              </p:nvGrpSpPr>
              <p:grpSpPr>
                <a:xfrm>
                  <a:off x="936799" y="4754724"/>
                  <a:ext cx="219868" cy="219868"/>
                  <a:chOff x="1218819" y="4058009"/>
                  <a:chExt cx="219868" cy="219868"/>
                </a:xfrm>
              </p:grpSpPr>
              <p:sp>
                <p:nvSpPr>
                  <p:cNvPr id="1914" name="Oval 1913">
                    <a:extLst>
                      <a:ext uri="{FF2B5EF4-FFF2-40B4-BE49-F238E27FC236}">
                        <a16:creationId xmlns:a16="http://schemas.microsoft.com/office/drawing/2014/main" id="{AF545F47-6C10-45E7-BC86-039F2CFA3FDF}"/>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915" name="Freeform: Shape 1914">
                    <a:extLst>
                      <a:ext uri="{FF2B5EF4-FFF2-40B4-BE49-F238E27FC236}">
                        <a16:creationId xmlns:a16="http://schemas.microsoft.com/office/drawing/2014/main" id="{14D2CF97-FFC6-4947-8902-7B2C048BB931}"/>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905" name="Group 1904">
                  <a:extLst>
                    <a:ext uri="{FF2B5EF4-FFF2-40B4-BE49-F238E27FC236}">
                      <a16:creationId xmlns:a16="http://schemas.microsoft.com/office/drawing/2014/main" id="{11309F47-88D2-44E5-B570-7199D00A930C}"/>
                    </a:ext>
                  </a:extLst>
                </p:cNvPr>
                <p:cNvGrpSpPr/>
                <p:nvPr/>
              </p:nvGrpSpPr>
              <p:grpSpPr>
                <a:xfrm>
                  <a:off x="936799" y="4124939"/>
                  <a:ext cx="219868" cy="219868"/>
                  <a:chOff x="1677883" y="4334258"/>
                  <a:chExt cx="219868" cy="219868"/>
                </a:xfrm>
              </p:grpSpPr>
              <p:sp>
                <p:nvSpPr>
                  <p:cNvPr id="1912" name="Oval 1911">
                    <a:extLst>
                      <a:ext uri="{FF2B5EF4-FFF2-40B4-BE49-F238E27FC236}">
                        <a16:creationId xmlns:a16="http://schemas.microsoft.com/office/drawing/2014/main" id="{05FC8037-6F13-4BA4-86CF-853BD3B05A91}"/>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913" name="Freeform: Shape 1912">
                    <a:extLst>
                      <a:ext uri="{FF2B5EF4-FFF2-40B4-BE49-F238E27FC236}">
                        <a16:creationId xmlns:a16="http://schemas.microsoft.com/office/drawing/2014/main" id="{DD8BDA19-7B3E-46EC-A398-4AC1FBDCDAD3}"/>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906" name="Group 1905">
                  <a:extLst>
                    <a:ext uri="{FF2B5EF4-FFF2-40B4-BE49-F238E27FC236}">
                      <a16:creationId xmlns:a16="http://schemas.microsoft.com/office/drawing/2014/main" id="{45247462-4BE5-470C-A8FB-E1C0C41AB112}"/>
                    </a:ext>
                  </a:extLst>
                </p:cNvPr>
                <p:cNvGrpSpPr/>
                <p:nvPr/>
              </p:nvGrpSpPr>
              <p:grpSpPr>
                <a:xfrm>
                  <a:off x="936799" y="3900803"/>
                  <a:ext cx="219868" cy="219868"/>
                  <a:chOff x="1677883" y="4334258"/>
                  <a:chExt cx="219868" cy="219868"/>
                </a:xfrm>
              </p:grpSpPr>
              <p:sp>
                <p:nvSpPr>
                  <p:cNvPr id="1910" name="Oval 1909">
                    <a:extLst>
                      <a:ext uri="{FF2B5EF4-FFF2-40B4-BE49-F238E27FC236}">
                        <a16:creationId xmlns:a16="http://schemas.microsoft.com/office/drawing/2014/main" id="{20D46E65-6958-4BA4-9A04-1129B67692DD}"/>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911" name="Freeform: Shape 1910">
                    <a:extLst>
                      <a:ext uri="{FF2B5EF4-FFF2-40B4-BE49-F238E27FC236}">
                        <a16:creationId xmlns:a16="http://schemas.microsoft.com/office/drawing/2014/main" id="{37EA27A2-F2A2-4DDC-9853-9997F9450B4F}"/>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907" name="Group 1906">
                  <a:extLst>
                    <a:ext uri="{FF2B5EF4-FFF2-40B4-BE49-F238E27FC236}">
                      <a16:creationId xmlns:a16="http://schemas.microsoft.com/office/drawing/2014/main" id="{67DFA27D-DD53-4233-B477-D89C9702AF11}"/>
                    </a:ext>
                  </a:extLst>
                </p:cNvPr>
                <p:cNvGrpSpPr/>
                <p:nvPr/>
              </p:nvGrpSpPr>
              <p:grpSpPr>
                <a:xfrm>
                  <a:off x="936799" y="4335319"/>
                  <a:ext cx="219868" cy="219868"/>
                  <a:chOff x="1299278" y="4593318"/>
                  <a:chExt cx="219868" cy="219868"/>
                </a:xfrm>
              </p:grpSpPr>
              <p:sp>
                <p:nvSpPr>
                  <p:cNvPr id="1908" name="Oval 1907">
                    <a:extLst>
                      <a:ext uri="{FF2B5EF4-FFF2-40B4-BE49-F238E27FC236}">
                        <a16:creationId xmlns:a16="http://schemas.microsoft.com/office/drawing/2014/main" id="{5620B707-93AC-4AAD-B4F6-BE4749D607F7}"/>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909" name="Freeform: Shape 1908">
                    <a:extLst>
                      <a:ext uri="{FF2B5EF4-FFF2-40B4-BE49-F238E27FC236}">
                        <a16:creationId xmlns:a16="http://schemas.microsoft.com/office/drawing/2014/main" id="{8C3CCE01-7613-4829-8228-E86E08D951F3}"/>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grpSp>
            <p:nvGrpSpPr>
              <p:cNvPr id="1318" name="Group 1317">
                <a:extLst>
                  <a:ext uri="{FF2B5EF4-FFF2-40B4-BE49-F238E27FC236}">
                    <a16:creationId xmlns:a16="http://schemas.microsoft.com/office/drawing/2014/main" id="{5D4F4494-6B16-4CA4-91FE-D2F1B073EE98}"/>
                  </a:ext>
                </a:extLst>
              </p:cNvPr>
              <p:cNvGrpSpPr/>
              <p:nvPr/>
            </p:nvGrpSpPr>
            <p:grpSpPr>
              <a:xfrm>
                <a:off x="4696684" y="4617609"/>
                <a:ext cx="219868" cy="1073789"/>
                <a:chOff x="1381132" y="3900803"/>
                <a:chExt cx="219868" cy="1073789"/>
              </a:xfrm>
            </p:grpSpPr>
            <p:grpSp>
              <p:nvGrpSpPr>
                <p:cNvPr id="1888" name="Group 1887">
                  <a:extLst>
                    <a:ext uri="{FF2B5EF4-FFF2-40B4-BE49-F238E27FC236}">
                      <a16:creationId xmlns:a16="http://schemas.microsoft.com/office/drawing/2014/main" id="{1BA0C0B2-C6EB-49E2-92B6-362F2C7602FF}"/>
                    </a:ext>
                  </a:extLst>
                </p:cNvPr>
                <p:cNvGrpSpPr/>
                <p:nvPr/>
              </p:nvGrpSpPr>
              <p:grpSpPr>
                <a:xfrm>
                  <a:off x="1381132" y="4541489"/>
                  <a:ext cx="219868" cy="219868"/>
                  <a:chOff x="1299278" y="4593318"/>
                  <a:chExt cx="219868" cy="219868"/>
                </a:xfrm>
              </p:grpSpPr>
              <p:sp>
                <p:nvSpPr>
                  <p:cNvPr id="1901" name="Oval 1900">
                    <a:extLst>
                      <a:ext uri="{FF2B5EF4-FFF2-40B4-BE49-F238E27FC236}">
                        <a16:creationId xmlns:a16="http://schemas.microsoft.com/office/drawing/2014/main" id="{5A2B7F30-2915-4417-8922-1823534353C8}"/>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902" name="Freeform: Shape 1901">
                    <a:extLst>
                      <a:ext uri="{FF2B5EF4-FFF2-40B4-BE49-F238E27FC236}">
                        <a16:creationId xmlns:a16="http://schemas.microsoft.com/office/drawing/2014/main" id="{52E6F8D9-CC5B-4C08-80EB-085D2EAE6D82}"/>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889" name="Group 1888">
                  <a:extLst>
                    <a:ext uri="{FF2B5EF4-FFF2-40B4-BE49-F238E27FC236}">
                      <a16:creationId xmlns:a16="http://schemas.microsoft.com/office/drawing/2014/main" id="{1C4EAA54-A012-4AED-9DA0-E2933BFBC3CF}"/>
                    </a:ext>
                  </a:extLst>
                </p:cNvPr>
                <p:cNvGrpSpPr/>
                <p:nvPr/>
              </p:nvGrpSpPr>
              <p:grpSpPr>
                <a:xfrm>
                  <a:off x="1381132" y="4335319"/>
                  <a:ext cx="219868" cy="219868"/>
                  <a:chOff x="1677883" y="4334258"/>
                  <a:chExt cx="219868" cy="219868"/>
                </a:xfrm>
              </p:grpSpPr>
              <p:sp>
                <p:nvSpPr>
                  <p:cNvPr id="1899" name="Oval 1898">
                    <a:extLst>
                      <a:ext uri="{FF2B5EF4-FFF2-40B4-BE49-F238E27FC236}">
                        <a16:creationId xmlns:a16="http://schemas.microsoft.com/office/drawing/2014/main" id="{D5DE8751-A121-42AD-A695-A4DC0F52CCB7}"/>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900" name="Freeform: Shape 1899">
                    <a:extLst>
                      <a:ext uri="{FF2B5EF4-FFF2-40B4-BE49-F238E27FC236}">
                        <a16:creationId xmlns:a16="http://schemas.microsoft.com/office/drawing/2014/main" id="{5418FD4C-77A2-4CB7-B141-45A0C9840949}"/>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890" name="Group 1889">
                  <a:extLst>
                    <a:ext uri="{FF2B5EF4-FFF2-40B4-BE49-F238E27FC236}">
                      <a16:creationId xmlns:a16="http://schemas.microsoft.com/office/drawing/2014/main" id="{61654750-6254-4699-877B-7ABC43CD010D}"/>
                    </a:ext>
                  </a:extLst>
                </p:cNvPr>
                <p:cNvGrpSpPr/>
                <p:nvPr/>
              </p:nvGrpSpPr>
              <p:grpSpPr>
                <a:xfrm>
                  <a:off x="1381132" y="4124939"/>
                  <a:ext cx="219868" cy="219868"/>
                  <a:chOff x="1677883" y="4334258"/>
                  <a:chExt cx="219868" cy="219868"/>
                </a:xfrm>
              </p:grpSpPr>
              <p:sp>
                <p:nvSpPr>
                  <p:cNvPr id="1897" name="Oval 1896">
                    <a:extLst>
                      <a:ext uri="{FF2B5EF4-FFF2-40B4-BE49-F238E27FC236}">
                        <a16:creationId xmlns:a16="http://schemas.microsoft.com/office/drawing/2014/main" id="{71900F28-FDDB-4CDF-B1A6-7CE65D3CB2F0}"/>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98" name="Freeform: Shape 1897">
                    <a:extLst>
                      <a:ext uri="{FF2B5EF4-FFF2-40B4-BE49-F238E27FC236}">
                        <a16:creationId xmlns:a16="http://schemas.microsoft.com/office/drawing/2014/main" id="{1EFC62C6-223D-477C-8F69-77004443EA35}"/>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891" name="Group 1890">
                  <a:extLst>
                    <a:ext uri="{FF2B5EF4-FFF2-40B4-BE49-F238E27FC236}">
                      <a16:creationId xmlns:a16="http://schemas.microsoft.com/office/drawing/2014/main" id="{C599B360-C719-460F-AA56-F26CDE35FF32}"/>
                    </a:ext>
                  </a:extLst>
                </p:cNvPr>
                <p:cNvGrpSpPr/>
                <p:nvPr/>
              </p:nvGrpSpPr>
              <p:grpSpPr>
                <a:xfrm>
                  <a:off x="1381132" y="3900803"/>
                  <a:ext cx="219868" cy="219868"/>
                  <a:chOff x="1299278" y="4593318"/>
                  <a:chExt cx="219868" cy="219868"/>
                </a:xfrm>
              </p:grpSpPr>
              <p:sp>
                <p:nvSpPr>
                  <p:cNvPr id="1895" name="Oval 1894">
                    <a:extLst>
                      <a:ext uri="{FF2B5EF4-FFF2-40B4-BE49-F238E27FC236}">
                        <a16:creationId xmlns:a16="http://schemas.microsoft.com/office/drawing/2014/main" id="{FD0B15D3-CE32-48D2-8DFB-6233F0830D37}"/>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96" name="Freeform: Shape 1895">
                    <a:extLst>
                      <a:ext uri="{FF2B5EF4-FFF2-40B4-BE49-F238E27FC236}">
                        <a16:creationId xmlns:a16="http://schemas.microsoft.com/office/drawing/2014/main" id="{44925261-4DD2-4846-8291-9311F9476005}"/>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892" name="Group 1891">
                  <a:extLst>
                    <a:ext uri="{FF2B5EF4-FFF2-40B4-BE49-F238E27FC236}">
                      <a16:creationId xmlns:a16="http://schemas.microsoft.com/office/drawing/2014/main" id="{AAEE1E2C-91B6-4548-A43A-48B2359CAA93}"/>
                    </a:ext>
                  </a:extLst>
                </p:cNvPr>
                <p:cNvGrpSpPr/>
                <p:nvPr/>
              </p:nvGrpSpPr>
              <p:grpSpPr>
                <a:xfrm>
                  <a:off x="1381132" y="4754724"/>
                  <a:ext cx="219868" cy="219868"/>
                  <a:chOff x="1299278" y="4593318"/>
                  <a:chExt cx="219868" cy="219868"/>
                </a:xfrm>
              </p:grpSpPr>
              <p:sp>
                <p:nvSpPr>
                  <p:cNvPr id="1893" name="Oval 1892">
                    <a:extLst>
                      <a:ext uri="{FF2B5EF4-FFF2-40B4-BE49-F238E27FC236}">
                        <a16:creationId xmlns:a16="http://schemas.microsoft.com/office/drawing/2014/main" id="{35AB5404-8674-4E08-B39D-914D58145DB3}"/>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94" name="Freeform: Shape 1893">
                    <a:extLst>
                      <a:ext uri="{FF2B5EF4-FFF2-40B4-BE49-F238E27FC236}">
                        <a16:creationId xmlns:a16="http://schemas.microsoft.com/office/drawing/2014/main" id="{6BECC894-56B8-477D-9C9C-52EE47D221B5}"/>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grpSp>
            <p:nvGrpSpPr>
              <p:cNvPr id="1319" name="Group 1318">
                <a:extLst>
                  <a:ext uri="{FF2B5EF4-FFF2-40B4-BE49-F238E27FC236}">
                    <a16:creationId xmlns:a16="http://schemas.microsoft.com/office/drawing/2014/main" id="{91ED4BE5-6A1F-4C0E-933D-8A1C460F2B99}"/>
                  </a:ext>
                </a:extLst>
              </p:cNvPr>
              <p:cNvGrpSpPr/>
              <p:nvPr/>
            </p:nvGrpSpPr>
            <p:grpSpPr>
              <a:xfrm>
                <a:off x="4696684" y="4617609"/>
                <a:ext cx="219868" cy="1073789"/>
                <a:chOff x="1403036" y="3900803"/>
                <a:chExt cx="219868" cy="1073789"/>
              </a:xfrm>
            </p:grpSpPr>
            <p:grpSp>
              <p:nvGrpSpPr>
                <p:cNvPr id="1873" name="Group 1872">
                  <a:extLst>
                    <a:ext uri="{FF2B5EF4-FFF2-40B4-BE49-F238E27FC236}">
                      <a16:creationId xmlns:a16="http://schemas.microsoft.com/office/drawing/2014/main" id="{ED8B6AE2-7864-4ACC-AF19-DC81823476D5}"/>
                    </a:ext>
                  </a:extLst>
                </p:cNvPr>
                <p:cNvGrpSpPr/>
                <p:nvPr/>
              </p:nvGrpSpPr>
              <p:grpSpPr>
                <a:xfrm>
                  <a:off x="1403036" y="4541489"/>
                  <a:ext cx="219868" cy="219868"/>
                  <a:chOff x="1677883" y="4334258"/>
                  <a:chExt cx="219868" cy="219868"/>
                </a:xfrm>
              </p:grpSpPr>
              <p:sp>
                <p:nvSpPr>
                  <p:cNvPr id="1886" name="Oval 1885">
                    <a:extLst>
                      <a:ext uri="{FF2B5EF4-FFF2-40B4-BE49-F238E27FC236}">
                        <a16:creationId xmlns:a16="http://schemas.microsoft.com/office/drawing/2014/main" id="{40D236A2-6BBF-4F84-B656-C5228BC7AB9A}"/>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87" name="Freeform: Shape 1886">
                    <a:extLst>
                      <a:ext uri="{FF2B5EF4-FFF2-40B4-BE49-F238E27FC236}">
                        <a16:creationId xmlns:a16="http://schemas.microsoft.com/office/drawing/2014/main" id="{32469522-FBC6-43A3-B603-65285168CE50}"/>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874" name="Group 1873">
                  <a:extLst>
                    <a:ext uri="{FF2B5EF4-FFF2-40B4-BE49-F238E27FC236}">
                      <a16:creationId xmlns:a16="http://schemas.microsoft.com/office/drawing/2014/main" id="{83BBC5A7-C61A-4A55-8D61-137AC7501CD4}"/>
                    </a:ext>
                  </a:extLst>
                </p:cNvPr>
                <p:cNvGrpSpPr/>
                <p:nvPr/>
              </p:nvGrpSpPr>
              <p:grpSpPr>
                <a:xfrm>
                  <a:off x="1403036" y="4335319"/>
                  <a:ext cx="219868" cy="219868"/>
                  <a:chOff x="1677883" y="4334258"/>
                  <a:chExt cx="219868" cy="219868"/>
                </a:xfrm>
              </p:grpSpPr>
              <p:sp>
                <p:nvSpPr>
                  <p:cNvPr id="1884" name="Oval 1883">
                    <a:extLst>
                      <a:ext uri="{FF2B5EF4-FFF2-40B4-BE49-F238E27FC236}">
                        <a16:creationId xmlns:a16="http://schemas.microsoft.com/office/drawing/2014/main" id="{83C54BC1-F847-43F7-BF4A-E9E3B4C17DA5}"/>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85" name="Freeform: Shape 1884">
                    <a:extLst>
                      <a:ext uri="{FF2B5EF4-FFF2-40B4-BE49-F238E27FC236}">
                        <a16:creationId xmlns:a16="http://schemas.microsoft.com/office/drawing/2014/main" id="{E07EAF23-173E-4497-90CA-A4FDB98F4716}"/>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875" name="Group 1874">
                  <a:extLst>
                    <a:ext uri="{FF2B5EF4-FFF2-40B4-BE49-F238E27FC236}">
                      <a16:creationId xmlns:a16="http://schemas.microsoft.com/office/drawing/2014/main" id="{864B138C-DD14-4F4B-AE82-4392A83BEE7F}"/>
                    </a:ext>
                  </a:extLst>
                </p:cNvPr>
                <p:cNvGrpSpPr/>
                <p:nvPr/>
              </p:nvGrpSpPr>
              <p:grpSpPr>
                <a:xfrm>
                  <a:off x="1403036" y="4124939"/>
                  <a:ext cx="219868" cy="219868"/>
                  <a:chOff x="1299278" y="4593318"/>
                  <a:chExt cx="219868" cy="219868"/>
                </a:xfrm>
              </p:grpSpPr>
              <p:sp>
                <p:nvSpPr>
                  <p:cNvPr id="1882" name="Oval 1881">
                    <a:extLst>
                      <a:ext uri="{FF2B5EF4-FFF2-40B4-BE49-F238E27FC236}">
                        <a16:creationId xmlns:a16="http://schemas.microsoft.com/office/drawing/2014/main" id="{79E0DFDC-27A6-4110-BC2C-364B7C99472F}"/>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83" name="Freeform: Shape 1882">
                    <a:extLst>
                      <a:ext uri="{FF2B5EF4-FFF2-40B4-BE49-F238E27FC236}">
                        <a16:creationId xmlns:a16="http://schemas.microsoft.com/office/drawing/2014/main" id="{4F3C57E1-CA0F-412C-A4B7-BEFA68B0DD9F}"/>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876" name="Group 1875">
                  <a:extLst>
                    <a:ext uri="{FF2B5EF4-FFF2-40B4-BE49-F238E27FC236}">
                      <a16:creationId xmlns:a16="http://schemas.microsoft.com/office/drawing/2014/main" id="{80049FD2-EF74-46B8-A1A3-06BD9723FE48}"/>
                    </a:ext>
                  </a:extLst>
                </p:cNvPr>
                <p:cNvGrpSpPr/>
                <p:nvPr/>
              </p:nvGrpSpPr>
              <p:grpSpPr>
                <a:xfrm>
                  <a:off x="1403036" y="4754724"/>
                  <a:ext cx="219868" cy="219868"/>
                  <a:chOff x="1299278" y="4593318"/>
                  <a:chExt cx="219868" cy="219868"/>
                </a:xfrm>
              </p:grpSpPr>
              <p:sp>
                <p:nvSpPr>
                  <p:cNvPr id="1880" name="Oval 1879">
                    <a:extLst>
                      <a:ext uri="{FF2B5EF4-FFF2-40B4-BE49-F238E27FC236}">
                        <a16:creationId xmlns:a16="http://schemas.microsoft.com/office/drawing/2014/main" id="{2FE29A9E-F0C2-48C7-8876-EBB715B94073}"/>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81" name="Freeform: Shape 1880">
                    <a:extLst>
                      <a:ext uri="{FF2B5EF4-FFF2-40B4-BE49-F238E27FC236}">
                        <a16:creationId xmlns:a16="http://schemas.microsoft.com/office/drawing/2014/main" id="{67E95E10-3399-49D6-9B92-A2F137A48636}"/>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877" name="Group 1876">
                  <a:extLst>
                    <a:ext uri="{FF2B5EF4-FFF2-40B4-BE49-F238E27FC236}">
                      <a16:creationId xmlns:a16="http://schemas.microsoft.com/office/drawing/2014/main" id="{B1AD18EF-08D5-4647-853B-FFAEF1335BDD}"/>
                    </a:ext>
                  </a:extLst>
                </p:cNvPr>
                <p:cNvGrpSpPr/>
                <p:nvPr/>
              </p:nvGrpSpPr>
              <p:grpSpPr>
                <a:xfrm>
                  <a:off x="1403036" y="3900803"/>
                  <a:ext cx="219868" cy="219868"/>
                  <a:chOff x="1218819" y="4058009"/>
                  <a:chExt cx="219868" cy="219868"/>
                </a:xfrm>
              </p:grpSpPr>
              <p:sp>
                <p:nvSpPr>
                  <p:cNvPr id="1878" name="Oval 1877">
                    <a:extLst>
                      <a:ext uri="{FF2B5EF4-FFF2-40B4-BE49-F238E27FC236}">
                        <a16:creationId xmlns:a16="http://schemas.microsoft.com/office/drawing/2014/main" id="{4871256C-46BD-4D96-A14F-2CC76FAA5CC0}"/>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79" name="Freeform: Shape 1878">
                    <a:extLst>
                      <a:ext uri="{FF2B5EF4-FFF2-40B4-BE49-F238E27FC236}">
                        <a16:creationId xmlns:a16="http://schemas.microsoft.com/office/drawing/2014/main" id="{423B56CD-7393-4F9D-B7F0-BDF8ECF56C89}"/>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20" name="Group 1319">
                <a:extLst>
                  <a:ext uri="{FF2B5EF4-FFF2-40B4-BE49-F238E27FC236}">
                    <a16:creationId xmlns:a16="http://schemas.microsoft.com/office/drawing/2014/main" id="{77F97B36-3E89-4F7A-ADAB-B24131BC9E05}"/>
                  </a:ext>
                </a:extLst>
              </p:cNvPr>
              <p:cNvGrpSpPr/>
              <p:nvPr/>
            </p:nvGrpSpPr>
            <p:grpSpPr>
              <a:xfrm>
                <a:off x="4696684" y="4617609"/>
                <a:ext cx="219868" cy="1073789"/>
                <a:chOff x="1934732" y="3900803"/>
                <a:chExt cx="219868" cy="1073789"/>
              </a:xfrm>
            </p:grpSpPr>
            <p:grpSp>
              <p:nvGrpSpPr>
                <p:cNvPr id="1858" name="Group 1857">
                  <a:extLst>
                    <a:ext uri="{FF2B5EF4-FFF2-40B4-BE49-F238E27FC236}">
                      <a16:creationId xmlns:a16="http://schemas.microsoft.com/office/drawing/2014/main" id="{DA42AB00-716C-40E9-9E8A-6875121B558B}"/>
                    </a:ext>
                  </a:extLst>
                </p:cNvPr>
                <p:cNvGrpSpPr/>
                <p:nvPr/>
              </p:nvGrpSpPr>
              <p:grpSpPr>
                <a:xfrm>
                  <a:off x="1934732" y="4754724"/>
                  <a:ext cx="219868" cy="219868"/>
                  <a:chOff x="1677883" y="4334258"/>
                  <a:chExt cx="219868" cy="219868"/>
                </a:xfrm>
              </p:grpSpPr>
              <p:sp>
                <p:nvSpPr>
                  <p:cNvPr id="1871" name="Oval 1870">
                    <a:extLst>
                      <a:ext uri="{FF2B5EF4-FFF2-40B4-BE49-F238E27FC236}">
                        <a16:creationId xmlns:a16="http://schemas.microsoft.com/office/drawing/2014/main" id="{E5338976-F462-4155-9A3A-2C0EEC862621}"/>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72" name="Freeform: Shape 1871">
                    <a:extLst>
                      <a:ext uri="{FF2B5EF4-FFF2-40B4-BE49-F238E27FC236}">
                        <a16:creationId xmlns:a16="http://schemas.microsoft.com/office/drawing/2014/main" id="{93CD9DEF-C472-4BAF-873E-A424693B9FF7}"/>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859" name="Group 1858">
                  <a:extLst>
                    <a:ext uri="{FF2B5EF4-FFF2-40B4-BE49-F238E27FC236}">
                      <a16:creationId xmlns:a16="http://schemas.microsoft.com/office/drawing/2014/main" id="{C6977E32-D956-4515-8024-20721BA721CE}"/>
                    </a:ext>
                  </a:extLst>
                </p:cNvPr>
                <p:cNvGrpSpPr/>
                <p:nvPr/>
              </p:nvGrpSpPr>
              <p:grpSpPr>
                <a:xfrm>
                  <a:off x="1934732" y="4541489"/>
                  <a:ext cx="219868" cy="219868"/>
                  <a:chOff x="1677883" y="4334258"/>
                  <a:chExt cx="219868" cy="219868"/>
                </a:xfrm>
              </p:grpSpPr>
              <p:sp>
                <p:nvSpPr>
                  <p:cNvPr id="1869" name="Oval 1868">
                    <a:extLst>
                      <a:ext uri="{FF2B5EF4-FFF2-40B4-BE49-F238E27FC236}">
                        <a16:creationId xmlns:a16="http://schemas.microsoft.com/office/drawing/2014/main" id="{8F814FF7-3AD6-4548-BC53-7F11583919AB}"/>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70" name="Freeform: Shape 1869">
                    <a:extLst>
                      <a:ext uri="{FF2B5EF4-FFF2-40B4-BE49-F238E27FC236}">
                        <a16:creationId xmlns:a16="http://schemas.microsoft.com/office/drawing/2014/main" id="{AC6FB159-54E9-436E-9310-30811C8C2FA9}"/>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860" name="Group 1859">
                  <a:extLst>
                    <a:ext uri="{FF2B5EF4-FFF2-40B4-BE49-F238E27FC236}">
                      <a16:creationId xmlns:a16="http://schemas.microsoft.com/office/drawing/2014/main" id="{427EA910-40D8-41FF-814B-B9D54F716ADB}"/>
                    </a:ext>
                  </a:extLst>
                </p:cNvPr>
                <p:cNvGrpSpPr/>
                <p:nvPr/>
              </p:nvGrpSpPr>
              <p:grpSpPr>
                <a:xfrm>
                  <a:off x="1934732" y="4335319"/>
                  <a:ext cx="219868" cy="219868"/>
                  <a:chOff x="1299278" y="4593318"/>
                  <a:chExt cx="219868" cy="219868"/>
                </a:xfrm>
              </p:grpSpPr>
              <p:sp>
                <p:nvSpPr>
                  <p:cNvPr id="1867" name="Oval 1866">
                    <a:extLst>
                      <a:ext uri="{FF2B5EF4-FFF2-40B4-BE49-F238E27FC236}">
                        <a16:creationId xmlns:a16="http://schemas.microsoft.com/office/drawing/2014/main" id="{B064A36C-91B4-4399-9453-2DE3F68E2CCA}"/>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68" name="Freeform: Shape 1867">
                    <a:extLst>
                      <a:ext uri="{FF2B5EF4-FFF2-40B4-BE49-F238E27FC236}">
                        <a16:creationId xmlns:a16="http://schemas.microsoft.com/office/drawing/2014/main" id="{0F49CD6C-E7C9-4A28-9B00-92C052F6AC85}"/>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861" name="Group 1860">
                  <a:extLst>
                    <a:ext uri="{FF2B5EF4-FFF2-40B4-BE49-F238E27FC236}">
                      <a16:creationId xmlns:a16="http://schemas.microsoft.com/office/drawing/2014/main" id="{863F64A7-44B2-43D9-8F3E-DD9D3E4C8D27}"/>
                    </a:ext>
                  </a:extLst>
                </p:cNvPr>
                <p:cNvGrpSpPr/>
                <p:nvPr/>
              </p:nvGrpSpPr>
              <p:grpSpPr>
                <a:xfrm>
                  <a:off x="1934732" y="4124939"/>
                  <a:ext cx="219868" cy="219868"/>
                  <a:chOff x="1218819" y="4058009"/>
                  <a:chExt cx="219868" cy="219868"/>
                </a:xfrm>
              </p:grpSpPr>
              <p:sp>
                <p:nvSpPr>
                  <p:cNvPr id="1865" name="Oval 1864">
                    <a:extLst>
                      <a:ext uri="{FF2B5EF4-FFF2-40B4-BE49-F238E27FC236}">
                        <a16:creationId xmlns:a16="http://schemas.microsoft.com/office/drawing/2014/main" id="{D718E90A-3A6B-4FB8-A58A-980D21A59950}"/>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66" name="Freeform: Shape 1865">
                    <a:extLst>
                      <a:ext uri="{FF2B5EF4-FFF2-40B4-BE49-F238E27FC236}">
                        <a16:creationId xmlns:a16="http://schemas.microsoft.com/office/drawing/2014/main" id="{1FAFB1F7-66F2-4E33-8EDF-998065021859}"/>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862" name="Group 1861">
                  <a:extLst>
                    <a:ext uri="{FF2B5EF4-FFF2-40B4-BE49-F238E27FC236}">
                      <a16:creationId xmlns:a16="http://schemas.microsoft.com/office/drawing/2014/main" id="{9EDAD514-ADB3-4B58-9AB8-05CDC51DFFE1}"/>
                    </a:ext>
                  </a:extLst>
                </p:cNvPr>
                <p:cNvGrpSpPr/>
                <p:nvPr/>
              </p:nvGrpSpPr>
              <p:grpSpPr>
                <a:xfrm>
                  <a:off x="1934732" y="3900803"/>
                  <a:ext cx="219868" cy="219868"/>
                  <a:chOff x="1218819" y="4058009"/>
                  <a:chExt cx="219868" cy="219868"/>
                </a:xfrm>
              </p:grpSpPr>
              <p:sp>
                <p:nvSpPr>
                  <p:cNvPr id="1863" name="Oval 1862">
                    <a:extLst>
                      <a:ext uri="{FF2B5EF4-FFF2-40B4-BE49-F238E27FC236}">
                        <a16:creationId xmlns:a16="http://schemas.microsoft.com/office/drawing/2014/main" id="{A6B27EB4-B737-4F73-9058-75D56A6D8D28}"/>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64" name="Freeform: Shape 1863">
                    <a:extLst>
                      <a:ext uri="{FF2B5EF4-FFF2-40B4-BE49-F238E27FC236}">
                        <a16:creationId xmlns:a16="http://schemas.microsoft.com/office/drawing/2014/main" id="{0EF28E51-FF63-406C-A3A5-E336076BBFA4}"/>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21" name="Group 1320">
                <a:extLst>
                  <a:ext uri="{FF2B5EF4-FFF2-40B4-BE49-F238E27FC236}">
                    <a16:creationId xmlns:a16="http://schemas.microsoft.com/office/drawing/2014/main" id="{BDC31B9A-9D89-4C76-A747-D24393B17643}"/>
                  </a:ext>
                </a:extLst>
              </p:cNvPr>
              <p:cNvGrpSpPr/>
              <p:nvPr/>
            </p:nvGrpSpPr>
            <p:grpSpPr>
              <a:xfrm>
                <a:off x="4696684" y="4617609"/>
                <a:ext cx="219868" cy="1073789"/>
                <a:chOff x="1600640" y="3900803"/>
                <a:chExt cx="219868" cy="1073789"/>
              </a:xfrm>
            </p:grpSpPr>
            <p:grpSp>
              <p:nvGrpSpPr>
                <p:cNvPr id="1843" name="Group 1842">
                  <a:extLst>
                    <a:ext uri="{FF2B5EF4-FFF2-40B4-BE49-F238E27FC236}">
                      <a16:creationId xmlns:a16="http://schemas.microsoft.com/office/drawing/2014/main" id="{BCDD0CB0-AC3D-4283-AEB7-A57F711106EE}"/>
                    </a:ext>
                  </a:extLst>
                </p:cNvPr>
                <p:cNvGrpSpPr/>
                <p:nvPr/>
              </p:nvGrpSpPr>
              <p:grpSpPr>
                <a:xfrm>
                  <a:off x="1600640" y="4754724"/>
                  <a:ext cx="219868" cy="219868"/>
                  <a:chOff x="1677883" y="4334258"/>
                  <a:chExt cx="219868" cy="219868"/>
                </a:xfrm>
              </p:grpSpPr>
              <p:sp>
                <p:nvSpPr>
                  <p:cNvPr id="1856" name="Oval 1855">
                    <a:extLst>
                      <a:ext uri="{FF2B5EF4-FFF2-40B4-BE49-F238E27FC236}">
                        <a16:creationId xmlns:a16="http://schemas.microsoft.com/office/drawing/2014/main" id="{A58346CE-E9C2-48FE-97AB-0AE5E0200301}"/>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57" name="Freeform: Shape 1856">
                    <a:extLst>
                      <a:ext uri="{FF2B5EF4-FFF2-40B4-BE49-F238E27FC236}">
                        <a16:creationId xmlns:a16="http://schemas.microsoft.com/office/drawing/2014/main" id="{C68196E4-BEAE-4FE7-BEFE-49601AFA1292}"/>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844" name="Group 1843">
                  <a:extLst>
                    <a:ext uri="{FF2B5EF4-FFF2-40B4-BE49-F238E27FC236}">
                      <a16:creationId xmlns:a16="http://schemas.microsoft.com/office/drawing/2014/main" id="{D27DE5BD-9314-44A2-857D-6DCCB75044D1}"/>
                    </a:ext>
                  </a:extLst>
                </p:cNvPr>
                <p:cNvGrpSpPr/>
                <p:nvPr/>
              </p:nvGrpSpPr>
              <p:grpSpPr>
                <a:xfrm>
                  <a:off x="1600640" y="4541489"/>
                  <a:ext cx="219868" cy="219868"/>
                  <a:chOff x="1299278" y="4593318"/>
                  <a:chExt cx="219868" cy="219868"/>
                </a:xfrm>
              </p:grpSpPr>
              <p:sp>
                <p:nvSpPr>
                  <p:cNvPr id="1854" name="Oval 1853">
                    <a:extLst>
                      <a:ext uri="{FF2B5EF4-FFF2-40B4-BE49-F238E27FC236}">
                        <a16:creationId xmlns:a16="http://schemas.microsoft.com/office/drawing/2014/main" id="{F23BD0F5-38EB-4995-80E8-B7F8C4DB86D9}"/>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55" name="Freeform: Shape 1854">
                    <a:extLst>
                      <a:ext uri="{FF2B5EF4-FFF2-40B4-BE49-F238E27FC236}">
                        <a16:creationId xmlns:a16="http://schemas.microsoft.com/office/drawing/2014/main" id="{49CCBD13-A2D9-4F35-84CA-BB1D7874F2D1}"/>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845" name="Group 1844">
                  <a:extLst>
                    <a:ext uri="{FF2B5EF4-FFF2-40B4-BE49-F238E27FC236}">
                      <a16:creationId xmlns:a16="http://schemas.microsoft.com/office/drawing/2014/main" id="{9FFD8ABE-D5AC-4B64-AD55-4E7E996BFC60}"/>
                    </a:ext>
                  </a:extLst>
                </p:cNvPr>
                <p:cNvGrpSpPr/>
                <p:nvPr/>
              </p:nvGrpSpPr>
              <p:grpSpPr>
                <a:xfrm>
                  <a:off x="1600640" y="3900803"/>
                  <a:ext cx="219868" cy="219868"/>
                  <a:chOff x="1677883" y="4334258"/>
                  <a:chExt cx="219868" cy="219868"/>
                </a:xfrm>
              </p:grpSpPr>
              <p:sp>
                <p:nvSpPr>
                  <p:cNvPr id="1852" name="Oval 1851">
                    <a:extLst>
                      <a:ext uri="{FF2B5EF4-FFF2-40B4-BE49-F238E27FC236}">
                        <a16:creationId xmlns:a16="http://schemas.microsoft.com/office/drawing/2014/main" id="{F9FF2771-7C98-4C39-83CC-73889A47DE4C}"/>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53" name="Freeform: Shape 1852">
                    <a:extLst>
                      <a:ext uri="{FF2B5EF4-FFF2-40B4-BE49-F238E27FC236}">
                        <a16:creationId xmlns:a16="http://schemas.microsoft.com/office/drawing/2014/main" id="{952AAF5E-1094-4495-98F4-53919D4A16FF}"/>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846" name="Group 1845">
                  <a:extLst>
                    <a:ext uri="{FF2B5EF4-FFF2-40B4-BE49-F238E27FC236}">
                      <a16:creationId xmlns:a16="http://schemas.microsoft.com/office/drawing/2014/main" id="{514DF6A1-C0C1-44AC-A496-AB1EA0A60CF2}"/>
                    </a:ext>
                  </a:extLst>
                </p:cNvPr>
                <p:cNvGrpSpPr/>
                <p:nvPr/>
              </p:nvGrpSpPr>
              <p:grpSpPr>
                <a:xfrm>
                  <a:off x="1600640" y="4335319"/>
                  <a:ext cx="219868" cy="219868"/>
                  <a:chOff x="1218819" y="4058009"/>
                  <a:chExt cx="219868" cy="219868"/>
                </a:xfrm>
              </p:grpSpPr>
              <p:sp>
                <p:nvSpPr>
                  <p:cNvPr id="1850" name="Oval 1849">
                    <a:extLst>
                      <a:ext uri="{FF2B5EF4-FFF2-40B4-BE49-F238E27FC236}">
                        <a16:creationId xmlns:a16="http://schemas.microsoft.com/office/drawing/2014/main" id="{FF59CD17-3BC3-4D04-9C23-658BF5C3C8E5}"/>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51" name="Freeform: Shape 1850">
                    <a:extLst>
                      <a:ext uri="{FF2B5EF4-FFF2-40B4-BE49-F238E27FC236}">
                        <a16:creationId xmlns:a16="http://schemas.microsoft.com/office/drawing/2014/main" id="{A812AEB6-03B1-4FFE-ADA7-06EA80FDE74F}"/>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847" name="Group 1846">
                  <a:extLst>
                    <a:ext uri="{FF2B5EF4-FFF2-40B4-BE49-F238E27FC236}">
                      <a16:creationId xmlns:a16="http://schemas.microsoft.com/office/drawing/2014/main" id="{6D1BE827-D9C8-41CD-A99A-E0A4C28AA5C6}"/>
                    </a:ext>
                  </a:extLst>
                </p:cNvPr>
                <p:cNvGrpSpPr/>
                <p:nvPr/>
              </p:nvGrpSpPr>
              <p:grpSpPr>
                <a:xfrm>
                  <a:off x="1600640" y="4124939"/>
                  <a:ext cx="219868" cy="219868"/>
                  <a:chOff x="1218819" y="4058009"/>
                  <a:chExt cx="219868" cy="219868"/>
                </a:xfrm>
              </p:grpSpPr>
              <p:sp>
                <p:nvSpPr>
                  <p:cNvPr id="1848" name="Oval 1847">
                    <a:extLst>
                      <a:ext uri="{FF2B5EF4-FFF2-40B4-BE49-F238E27FC236}">
                        <a16:creationId xmlns:a16="http://schemas.microsoft.com/office/drawing/2014/main" id="{3B25307B-74AB-4DB8-88BF-19B98EC7743F}"/>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49" name="Freeform: Shape 1848">
                    <a:extLst>
                      <a:ext uri="{FF2B5EF4-FFF2-40B4-BE49-F238E27FC236}">
                        <a16:creationId xmlns:a16="http://schemas.microsoft.com/office/drawing/2014/main" id="{F00A6A65-EBFC-4373-9AE7-94BF53A4687E}"/>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22" name="Group 1321">
                <a:extLst>
                  <a:ext uri="{FF2B5EF4-FFF2-40B4-BE49-F238E27FC236}">
                    <a16:creationId xmlns:a16="http://schemas.microsoft.com/office/drawing/2014/main" id="{522B133A-C8C5-4743-9222-B56F3B7929E0}"/>
                  </a:ext>
                </a:extLst>
              </p:cNvPr>
              <p:cNvGrpSpPr/>
              <p:nvPr/>
            </p:nvGrpSpPr>
            <p:grpSpPr>
              <a:xfrm>
                <a:off x="4696684" y="4617609"/>
                <a:ext cx="219868" cy="1073789"/>
                <a:chOff x="1881860" y="3900803"/>
                <a:chExt cx="219868" cy="1073789"/>
              </a:xfrm>
            </p:grpSpPr>
            <p:grpSp>
              <p:nvGrpSpPr>
                <p:cNvPr id="1828" name="Group 1827">
                  <a:extLst>
                    <a:ext uri="{FF2B5EF4-FFF2-40B4-BE49-F238E27FC236}">
                      <a16:creationId xmlns:a16="http://schemas.microsoft.com/office/drawing/2014/main" id="{1C7734E1-A89F-44D3-9A15-D22857C995E5}"/>
                    </a:ext>
                  </a:extLst>
                </p:cNvPr>
                <p:cNvGrpSpPr/>
                <p:nvPr/>
              </p:nvGrpSpPr>
              <p:grpSpPr>
                <a:xfrm>
                  <a:off x="1881860" y="4124939"/>
                  <a:ext cx="219868" cy="219868"/>
                  <a:chOff x="1677883" y="4334258"/>
                  <a:chExt cx="219868" cy="219868"/>
                </a:xfrm>
              </p:grpSpPr>
              <p:sp>
                <p:nvSpPr>
                  <p:cNvPr id="1841" name="Oval 1840">
                    <a:extLst>
                      <a:ext uri="{FF2B5EF4-FFF2-40B4-BE49-F238E27FC236}">
                        <a16:creationId xmlns:a16="http://schemas.microsoft.com/office/drawing/2014/main" id="{40236954-9E99-4B3F-8E93-266D1A6BFF63}"/>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42" name="Freeform: Shape 1841">
                    <a:extLst>
                      <a:ext uri="{FF2B5EF4-FFF2-40B4-BE49-F238E27FC236}">
                        <a16:creationId xmlns:a16="http://schemas.microsoft.com/office/drawing/2014/main" id="{61000F7B-9D75-498E-98F8-751FF8FF8558}"/>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829" name="Group 1828">
                  <a:extLst>
                    <a:ext uri="{FF2B5EF4-FFF2-40B4-BE49-F238E27FC236}">
                      <a16:creationId xmlns:a16="http://schemas.microsoft.com/office/drawing/2014/main" id="{6DF5D469-47CF-44E1-9C9A-2EDB6F3F8F4A}"/>
                    </a:ext>
                  </a:extLst>
                </p:cNvPr>
                <p:cNvGrpSpPr/>
                <p:nvPr/>
              </p:nvGrpSpPr>
              <p:grpSpPr>
                <a:xfrm>
                  <a:off x="1881860" y="3900803"/>
                  <a:ext cx="219868" cy="219868"/>
                  <a:chOff x="1677883" y="4334258"/>
                  <a:chExt cx="219868" cy="219868"/>
                </a:xfrm>
              </p:grpSpPr>
              <p:sp>
                <p:nvSpPr>
                  <p:cNvPr id="1839" name="Oval 1838">
                    <a:extLst>
                      <a:ext uri="{FF2B5EF4-FFF2-40B4-BE49-F238E27FC236}">
                        <a16:creationId xmlns:a16="http://schemas.microsoft.com/office/drawing/2014/main" id="{17E2C30F-CB07-463E-AEBD-602337ECFD18}"/>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40" name="Freeform: Shape 1839">
                    <a:extLst>
                      <a:ext uri="{FF2B5EF4-FFF2-40B4-BE49-F238E27FC236}">
                        <a16:creationId xmlns:a16="http://schemas.microsoft.com/office/drawing/2014/main" id="{977A7361-E5F8-4B02-80A2-2DD4935D1926}"/>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830" name="Group 1829">
                  <a:extLst>
                    <a:ext uri="{FF2B5EF4-FFF2-40B4-BE49-F238E27FC236}">
                      <a16:creationId xmlns:a16="http://schemas.microsoft.com/office/drawing/2014/main" id="{577BB43F-DA1A-4C26-B8CC-3CDEFA0D00F4}"/>
                    </a:ext>
                  </a:extLst>
                </p:cNvPr>
                <p:cNvGrpSpPr/>
                <p:nvPr/>
              </p:nvGrpSpPr>
              <p:grpSpPr>
                <a:xfrm>
                  <a:off x="1881860" y="4754724"/>
                  <a:ext cx="219868" cy="219868"/>
                  <a:chOff x="1299278" y="4593318"/>
                  <a:chExt cx="219868" cy="219868"/>
                </a:xfrm>
              </p:grpSpPr>
              <p:sp>
                <p:nvSpPr>
                  <p:cNvPr id="1837" name="Oval 1836">
                    <a:extLst>
                      <a:ext uri="{FF2B5EF4-FFF2-40B4-BE49-F238E27FC236}">
                        <a16:creationId xmlns:a16="http://schemas.microsoft.com/office/drawing/2014/main" id="{8D5834DA-F2B6-445D-8421-3DAEB6F688D1}"/>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38" name="Freeform: Shape 1837">
                    <a:extLst>
                      <a:ext uri="{FF2B5EF4-FFF2-40B4-BE49-F238E27FC236}">
                        <a16:creationId xmlns:a16="http://schemas.microsoft.com/office/drawing/2014/main" id="{A14F9E63-E45B-49F4-8397-B325EFA3633B}"/>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831" name="Group 1830">
                  <a:extLst>
                    <a:ext uri="{FF2B5EF4-FFF2-40B4-BE49-F238E27FC236}">
                      <a16:creationId xmlns:a16="http://schemas.microsoft.com/office/drawing/2014/main" id="{4D9FF7D9-EFEE-40CC-BB96-FAD2C2C7D969}"/>
                    </a:ext>
                  </a:extLst>
                </p:cNvPr>
                <p:cNvGrpSpPr/>
                <p:nvPr/>
              </p:nvGrpSpPr>
              <p:grpSpPr>
                <a:xfrm>
                  <a:off x="1881860" y="4541489"/>
                  <a:ext cx="219868" cy="219868"/>
                  <a:chOff x="1218819" y="4058009"/>
                  <a:chExt cx="219868" cy="219868"/>
                </a:xfrm>
              </p:grpSpPr>
              <p:sp>
                <p:nvSpPr>
                  <p:cNvPr id="1835" name="Oval 1834">
                    <a:extLst>
                      <a:ext uri="{FF2B5EF4-FFF2-40B4-BE49-F238E27FC236}">
                        <a16:creationId xmlns:a16="http://schemas.microsoft.com/office/drawing/2014/main" id="{30B6BCAE-4CA9-47B4-8028-3150184396C7}"/>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36" name="Freeform: Shape 1835">
                    <a:extLst>
                      <a:ext uri="{FF2B5EF4-FFF2-40B4-BE49-F238E27FC236}">
                        <a16:creationId xmlns:a16="http://schemas.microsoft.com/office/drawing/2014/main" id="{F2CB7B75-4813-4990-B5DD-3D1A7A2C9B90}"/>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832" name="Group 1831">
                  <a:extLst>
                    <a:ext uri="{FF2B5EF4-FFF2-40B4-BE49-F238E27FC236}">
                      <a16:creationId xmlns:a16="http://schemas.microsoft.com/office/drawing/2014/main" id="{AACDD995-1E51-4186-96E4-C853BDFAC9E5}"/>
                    </a:ext>
                  </a:extLst>
                </p:cNvPr>
                <p:cNvGrpSpPr/>
                <p:nvPr/>
              </p:nvGrpSpPr>
              <p:grpSpPr>
                <a:xfrm>
                  <a:off x="1881860" y="4335319"/>
                  <a:ext cx="219868" cy="219868"/>
                  <a:chOff x="1218819" y="4058009"/>
                  <a:chExt cx="219868" cy="219868"/>
                </a:xfrm>
              </p:grpSpPr>
              <p:sp>
                <p:nvSpPr>
                  <p:cNvPr id="1833" name="Oval 1832">
                    <a:extLst>
                      <a:ext uri="{FF2B5EF4-FFF2-40B4-BE49-F238E27FC236}">
                        <a16:creationId xmlns:a16="http://schemas.microsoft.com/office/drawing/2014/main" id="{CBC51B6F-7514-4BBA-A0C9-303E598A9EC6}"/>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34" name="Freeform: Shape 1833">
                    <a:extLst>
                      <a:ext uri="{FF2B5EF4-FFF2-40B4-BE49-F238E27FC236}">
                        <a16:creationId xmlns:a16="http://schemas.microsoft.com/office/drawing/2014/main" id="{76745BA9-0C4D-4FDA-B207-7206386BD4C4}"/>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23" name="Group 1322">
                <a:extLst>
                  <a:ext uri="{FF2B5EF4-FFF2-40B4-BE49-F238E27FC236}">
                    <a16:creationId xmlns:a16="http://schemas.microsoft.com/office/drawing/2014/main" id="{1CD08FED-58E9-4AD0-8497-9AF89EF57EE1}"/>
                  </a:ext>
                </a:extLst>
              </p:cNvPr>
              <p:cNvGrpSpPr/>
              <p:nvPr/>
            </p:nvGrpSpPr>
            <p:grpSpPr>
              <a:xfrm>
                <a:off x="4696684" y="4617609"/>
                <a:ext cx="219868" cy="1073789"/>
                <a:chOff x="2729749" y="3900803"/>
                <a:chExt cx="219868" cy="1073789"/>
              </a:xfrm>
            </p:grpSpPr>
            <p:grpSp>
              <p:nvGrpSpPr>
                <p:cNvPr id="1813" name="Group 1812">
                  <a:extLst>
                    <a:ext uri="{FF2B5EF4-FFF2-40B4-BE49-F238E27FC236}">
                      <a16:creationId xmlns:a16="http://schemas.microsoft.com/office/drawing/2014/main" id="{0C2761C1-6004-4655-A40A-819D5CEB5E36}"/>
                    </a:ext>
                  </a:extLst>
                </p:cNvPr>
                <p:cNvGrpSpPr/>
                <p:nvPr/>
              </p:nvGrpSpPr>
              <p:grpSpPr>
                <a:xfrm>
                  <a:off x="2729749" y="4754724"/>
                  <a:ext cx="219868" cy="219868"/>
                  <a:chOff x="1218819" y="4058009"/>
                  <a:chExt cx="219868" cy="219868"/>
                </a:xfrm>
              </p:grpSpPr>
              <p:sp>
                <p:nvSpPr>
                  <p:cNvPr id="1826" name="Oval 1825">
                    <a:extLst>
                      <a:ext uri="{FF2B5EF4-FFF2-40B4-BE49-F238E27FC236}">
                        <a16:creationId xmlns:a16="http://schemas.microsoft.com/office/drawing/2014/main" id="{02D6A50A-2289-4D5F-9CB0-E060E69E778B}"/>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27" name="Freeform: Shape 1826">
                    <a:extLst>
                      <a:ext uri="{FF2B5EF4-FFF2-40B4-BE49-F238E27FC236}">
                        <a16:creationId xmlns:a16="http://schemas.microsoft.com/office/drawing/2014/main" id="{F4E24337-874C-4EE0-B451-8162808BEF66}"/>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814" name="Group 1813">
                  <a:extLst>
                    <a:ext uri="{FF2B5EF4-FFF2-40B4-BE49-F238E27FC236}">
                      <a16:creationId xmlns:a16="http://schemas.microsoft.com/office/drawing/2014/main" id="{4BC2FCD7-FF10-4772-BC2A-795310DDF135}"/>
                    </a:ext>
                  </a:extLst>
                </p:cNvPr>
                <p:cNvGrpSpPr/>
                <p:nvPr/>
              </p:nvGrpSpPr>
              <p:grpSpPr>
                <a:xfrm>
                  <a:off x="2729749" y="4335319"/>
                  <a:ext cx="219868" cy="219868"/>
                  <a:chOff x="1677883" y="4334258"/>
                  <a:chExt cx="219868" cy="219868"/>
                </a:xfrm>
              </p:grpSpPr>
              <p:sp>
                <p:nvSpPr>
                  <p:cNvPr id="1824" name="Oval 1823">
                    <a:extLst>
                      <a:ext uri="{FF2B5EF4-FFF2-40B4-BE49-F238E27FC236}">
                        <a16:creationId xmlns:a16="http://schemas.microsoft.com/office/drawing/2014/main" id="{379B3EF8-7D50-41B1-9CC1-C1845EEECB44}"/>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25" name="Freeform: Shape 1824">
                    <a:extLst>
                      <a:ext uri="{FF2B5EF4-FFF2-40B4-BE49-F238E27FC236}">
                        <a16:creationId xmlns:a16="http://schemas.microsoft.com/office/drawing/2014/main" id="{8988E0A4-7530-4E72-AAA9-32B800F184C3}"/>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815" name="Group 1814">
                  <a:extLst>
                    <a:ext uri="{FF2B5EF4-FFF2-40B4-BE49-F238E27FC236}">
                      <a16:creationId xmlns:a16="http://schemas.microsoft.com/office/drawing/2014/main" id="{3980AC42-E8E6-402C-8EC2-77A3CD988741}"/>
                    </a:ext>
                  </a:extLst>
                </p:cNvPr>
                <p:cNvGrpSpPr/>
                <p:nvPr/>
              </p:nvGrpSpPr>
              <p:grpSpPr>
                <a:xfrm>
                  <a:off x="2729749" y="4124939"/>
                  <a:ext cx="219868" cy="219868"/>
                  <a:chOff x="1677883" y="4334258"/>
                  <a:chExt cx="219868" cy="219868"/>
                </a:xfrm>
              </p:grpSpPr>
              <p:sp>
                <p:nvSpPr>
                  <p:cNvPr id="1822" name="Oval 1821">
                    <a:extLst>
                      <a:ext uri="{FF2B5EF4-FFF2-40B4-BE49-F238E27FC236}">
                        <a16:creationId xmlns:a16="http://schemas.microsoft.com/office/drawing/2014/main" id="{C06465B9-9025-4F3D-94E9-B4F583DC1907}"/>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23" name="Freeform: Shape 1822">
                    <a:extLst>
                      <a:ext uri="{FF2B5EF4-FFF2-40B4-BE49-F238E27FC236}">
                        <a16:creationId xmlns:a16="http://schemas.microsoft.com/office/drawing/2014/main" id="{59C404A4-0160-4A4B-BAEB-C240091EB510}"/>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816" name="Group 1815">
                  <a:extLst>
                    <a:ext uri="{FF2B5EF4-FFF2-40B4-BE49-F238E27FC236}">
                      <a16:creationId xmlns:a16="http://schemas.microsoft.com/office/drawing/2014/main" id="{3931F95E-8C9F-4FDA-9747-183B4A5D6023}"/>
                    </a:ext>
                  </a:extLst>
                </p:cNvPr>
                <p:cNvGrpSpPr/>
                <p:nvPr/>
              </p:nvGrpSpPr>
              <p:grpSpPr>
                <a:xfrm>
                  <a:off x="2729749" y="3900803"/>
                  <a:ext cx="219868" cy="219868"/>
                  <a:chOff x="1299278" y="4593318"/>
                  <a:chExt cx="219868" cy="219868"/>
                </a:xfrm>
              </p:grpSpPr>
              <p:sp>
                <p:nvSpPr>
                  <p:cNvPr id="1820" name="Oval 1819">
                    <a:extLst>
                      <a:ext uri="{FF2B5EF4-FFF2-40B4-BE49-F238E27FC236}">
                        <a16:creationId xmlns:a16="http://schemas.microsoft.com/office/drawing/2014/main" id="{B4CFEE01-5D97-4B35-ACA6-2239B103B018}"/>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21" name="Freeform: Shape 1820">
                    <a:extLst>
                      <a:ext uri="{FF2B5EF4-FFF2-40B4-BE49-F238E27FC236}">
                        <a16:creationId xmlns:a16="http://schemas.microsoft.com/office/drawing/2014/main" id="{1B367E91-E958-4478-9085-B250FF196556}"/>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817" name="Group 1816">
                  <a:extLst>
                    <a:ext uri="{FF2B5EF4-FFF2-40B4-BE49-F238E27FC236}">
                      <a16:creationId xmlns:a16="http://schemas.microsoft.com/office/drawing/2014/main" id="{B9D1A629-8FE9-48FD-BE0F-920EAA9F157F}"/>
                    </a:ext>
                  </a:extLst>
                </p:cNvPr>
                <p:cNvGrpSpPr/>
                <p:nvPr/>
              </p:nvGrpSpPr>
              <p:grpSpPr>
                <a:xfrm>
                  <a:off x="2729749" y="4541489"/>
                  <a:ext cx="219868" cy="219868"/>
                  <a:chOff x="1218819" y="4058009"/>
                  <a:chExt cx="219868" cy="219868"/>
                </a:xfrm>
              </p:grpSpPr>
              <p:sp>
                <p:nvSpPr>
                  <p:cNvPr id="1818" name="Oval 1817">
                    <a:extLst>
                      <a:ext uri="{FF2B5EF4-FFF2-40B4-BE49-F238E27FC236}">
                        <a16:creationId xmlns:a16="http://schemas.microsoft.com/office/drawing/2014/main" id="{15AADB4A-14E3-4593-9422-5504A111FA11}"/>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19" name="Freeform: Shape 1818">
                    <a:extLst>
                      <a:ext uri="{FF2B5EF4-FFF2-40B4-BE49-F238E27FC236}">
                        <a16:creationId xmlns:a16="http://schemas.microsoft.com/office/drawing/2014/main" id="{23C62DA4-494D-4323-AB20-A07253798A96}"/>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24" name="Group 1323">
                <a:extLst>
                  <a:ext uri="{FF2B5EF4-FFF2-40B4-BE49-F238E27FC236}">
                    <a16:creationId xmlns:a16="http://schemas.microsoft.com/office/drawing/2014/main" id="{085A2DFA-A060-4ACA-ADE0-CBA52B840892}"/>
                  </a:ext>
                </a:extLst>
              </p:cNvPr>
              <p:cNvGrpSpPr/>
              <p:nvPr/>
            </p:nvGrpSpPr>
            <p:grpSpPr>
              <a:xfrm>
                <a:off x="4696684" y="4617609"/>
                <a:ext cx="219868" cy="1073789"/>
                <a:chOff x="1995813" y="3900803"/>
                <a:chExt cx="219868" cy="1073789"/>
              </a:xfrm>
            </p:grpSpPr>
            <p:grpSp>
              <p:nvGrpSpPr>
                <p:cNvPr id="1798" name="Group 1797">
                  <a:extLst>
                    <a:ext uri="{FF2B5EF4-FFF2-40B4-BE49-F238E27FC236}">
                      <a16:creationId xmlns:a16="http://schemas.microsoft.com/office/drawing/2014/main" id="{60F613A2-E791-4B07-93BF-D515C301E4F3}"/>
                    </a:ext>
                  </a:extLst>
                </p:cNvPr>
                <p:cNvGrpSpPr/>
                <p:nvPr/>
              </p:nvGrpSpPr>
              <p:grpSpPr>
                <a:xfrm>
                  <a:off x="1995813" y="4754724"/>
                  <a:ext cx="219868" cy="219868"/>
                  <a:chOff x="1218819" y="4058009"/>
                  <a:chExt cx="219868" cy="219868"/>
                </a:xfrm>
              </p:grpSpPr>
              <p:sp>
                <p:nvSpPr>
                  <p:cNvPr id="1811" name="Oval 1810">
                    <a:extLst>
                      <a:ext uri="{FF2B5EF4-FFF2-40B4-BE49-F238E27FC236}">
                        <a16:creationId xmlns:a16="http://schemas.microsoft.com/office/drawing/2014/main" id="{43B3CE76-DB59-4F72-8642-70436E8A61BC}"/>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12" name="Freeform: Shape 1811">
                    <a:extLst>
                      <a:ext uri="{FF2B5EF4-FFF2-40B4-BE49-F238E27FC236}">
                        <a16:creationId xmlns:a16="http://schemas.microsoft.com/office/drawing/2014/main" id="{CCA37778-2AF0-49F4-B7C5-DEE5399020D1}"/>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799" name="Group 1798">
                  <a:extLst>
                    <a:ext uri="{FF2B5EF4-FFF2-40B4-BE49-F238E27FC236}">
                      <a16:creationId xmlns:a16="http://schemas.microsoft.com/office/drawing/2014/main" id="{8382747F-4802-4421-80E5-D74E320DD446}"/>
                    </a:ext>
                  </a:extLst>
                </p:cNvPr>
                <p:cNvGrpSpPr/>
                <p:nvPr/>
              </p:nvGrpSpPr>
              <p:grpSpPr>
                <a:xfrm>
                  <a:off x="1995813" y="4541489"/>
                  <a:ext cx="219868" cy="219868"/>
                  <a:chOff x="1677883" y="4334258"/>
                  <a:chExt cx="219868" cy="219868"/>
                </a:xfrm>
              </p:grpSpPr>
              <p:sp>
                <p:nvSpPr>
                  <p:cNvPr id="1809" name="Oval 1808">
                    <a:extLst>
                      <a:ext uri="{FF2B5EF4-FFF2-40B4-BE49-F238E27FC236}">
                        <a16:creationId xmlns:a16="http://schemas.microsoft.com/office/drawing/2014/main" id="{EA93B4AD-3F44-47F8-9D2C-127C6D0F2CEE}"/>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10" name="Freeform: Shape 1809">
                    <a:extLst>
                      <a:ext uri="{FF2B5EF4-FFF2-40B4-BE49-F238E27FC236}">
                        <a16:creationId xmlns:a16="http://schemas.microsoft.com/office/drawing/2014/main" id="{5438EB05-103D-4377-A626-ADD6BCE34860}"/>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800" name="Group 1799">
                  <a:extLst>
                    <a:ext uri="{FF2B5EF4-FFF2-40B4-BE49-F238E27FC236}">
                      <a16:creationId xmlns:a16="http://schemas.microsoft.com/office/drawing/2014/main" id="{6FE81638-56D2-4C77-9F3A-6BB480B8B1B3}"/>
                    </a:ext>
                  </a:extLst>
                </p:cNvPr>
                <p:cNvGrpSpPr/>
                <p:nvPr/>
              </p:nvGrpSpPr>
              <p:grpSpPr>
                <a:xfrm>
                  <a:off x="1995813" y="4335319"/>
                  <a:ext cx="219868" cy="219868"/>
                  <a:chOff x="1677883" y="4334258"/>
                  <a:chExt cx="219868" cy="219868"/>
                </a:xfrm>
              </p:grpSpPr>
              <p:sp>
                <p:nvSpPr>
                  <p:cNvPr id="1807" name="Oval 1806">
                    <a:extLst>
                      <a:ext uri="{FF2B5EF4-FFF2-40B4-BE49-F238E27FC236}">
                        <a16:creationId xmlns:a16="http://schemas.microsoft.com/office/drawing/2014/main" id="{C98AABE5-539D-487D-8E6B-673869184F7F}"/>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08" name="Freeform: Shape 1807">
                    <a:extLst>
                      <a:ext uri="{FF2B5EF4-FFF2-40B4-BE49-F238E27FC236}">
                        <a16:creationId xmlns:a16="http://schemas.microsoft.com/office/drawing/2014/main" id="{FB0827C9-19B4-49F7-A865-47E346D66E6F}"/>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801" name="Group 1800">
                  <a:extLst>
                    <a:ext uri="{FF2B5EF4-FFF2-40B4-BE49-F238E27FC236}">
                      <a16:creationId xmlns:a16="http://schemas.microsoft.com/office/drawing/2014/main" id="{C730285F-AC9E-48DA-ABE2-ADACCE44F4F8}"/>
                    </a:ext>
                  </a:extLst>
                </p:cNvPr>
                <p:cNvGrpSpPr/>
                <p:nvPr/>
              </p:nvGrpSpPr>
              <p:grpSpPr>
                <a:xfrm>
                  <a:off x="1995813" y="4124939"/>
                  <a:ext cx="219868" cy="219868"/>
                  <a:chOff x="1299278" y="4593318"/>
                  <a:chExt cx="219868" cy="219868"/>
                </a:xfrm>
              </p:grpSpPr>
              <p:sp>
                <p:nvSpPr>
                  <p:cNvPr id="1805" name="Oval 1804">
                    <a:extLst>
                      <a:ext uri="{FF2B5EF4-FFF2-40B4-BE49-F238E27FC236}">
                        <a16:creationId xmlns:a16="http://schemas.microsoft.com/office/drawing/2014/main" id="{04DC7071-4397-4741-AA68-A5792185FBF5}"/>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06" name="Freeform: Shape 1805">
                    <a:extLst>
                      <a:ext uri="{FF2B5EF4-FFF2-40B4-BE49-F238E27FC236}">
                        <a16:creationId xmlns:a16="http://schemas.microsoft.com/office/drawing/2014/main" id="{34FA1616-7D3F-4EC0-A7E4-86933170EB41}"/>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802" name="Group 1801">
                  <a:extLst>
                    <a:ext uri="{FF2B5EF4-FFF2-40B4-BE49-F238E27FC236}">
                      <a16:creationId xmlns:a16="http://schemas.microsoft.com/office/drawing/2014/main" id="{741AC531-0255-444B-ADDC-CFED9361F22A}"/>
                    </a:ext>
                  </a:extLst>
                </p:cNvPr>
                <p:cNvGrpSpPr/>
                <p:nvPr/>
              </p:nvGrpSpPr>
              <p:grpSpPr>
                <a:xfrm>
                  <a:off x="1995813" y="3900803"/>
                  <a:ext cx="219868" cy="219868"/>
                  <a:chOff x="1218819" y="4058009"/>
                  <a:chExt cx="219868" cy="219868"/>
                </a:xfrm>
              </p:grpSpPr>
              <p:sp>
                <p:nvSpPr>
                  <p:cNvPr id="1803" name="Oval 1802">
                    <a:extLst>
                      <a:ext uri="{FF2B5EF4-FFF2-40B4-BE49-F238E27FC236}">
                        <a16:creationId xmlns:a16="http://schemas.microsoft.com/office/drawing/2014/main" id="{7349EEE1-9A21-470A-8B61-41FAE164477A}"/>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04" name="Freeform: Shape 1803">
                    <a:extLst>
                      <a:ext uri="{FF2B5EF4-FFF2-40B4-BE49-F238E27FC236}">
                        <a16:creationId xmlns:a16="http://schemas.microsoft.com/office/drawing/2014/main" id="{01D660E1-B3B7-465F-A60D-BA98940EB6BF}"/>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25" name="Group 1324">
                <a:extLst>
                  <a:ext uri="{FF2B5EF4-FFF2-40B4-BE49-F238E27FC236}">
                    <a16:creationId xmlns:a16="http://schemas.microsoft.com/office/drawing/2014/main" id="{18DE5434-0EA1-45E7-9C36-6F22D9794A89}"/>
                  </a:ext>
                </a:extLst>
              </p:cNvPr>
              <p:cNvGrpSpPr/>
              <p:nvPr/>
            </p:nvGrpSpPr>
            <p:grpSpPr>
              <a:xfrm>
                <a:off x="4696684" y="4617609"/>
                <a:ext cx="219868" cy="1073789"/>
                <a:chOff x="2569505" y="3900803"/>
                <a:chExt cx="219868" cy="1073789"/>
              </a:xfrm>
            </p:grpSpPr>
            <p:grpSp>
              <p:nvGrpSpPr>
                <p:cNvPr id="1783" name="Group 1782">
                  <a:extLst>
                    <a:ext uri="{FF2B5EF4-FFF2-40B4-BE49-F238E27FC236}">
                      <a16:creationId xmlns:a16="http://schemas.microsoft.com/office/drawing/2014/main" id="{4AFA4E39-4EF5-4E9F-AB30-DE0EB23D8365}"/>
                    </a:ext>
                  </a:extLst>
                </p:cNvPr>
                <p:cNvGrpSpPr/>
                <p:nvPr/>
              </p:nvGrpSpPr>
              <p:grpSpPr>
                <a:xfrm>
                  <a:off x="2569505" y="4754724"/>
                  <a:ext cx="219868" cy="219868"/>
                  <a:chOff x="1677883" y="4334258"/>
                  <a:chExt cx="219868" cy="219868"/>
                </a:xfrm>
              </p:grpSpPr>
              <p:sp>
                <p:nvSpPr>
                  <p:cNvPr id="1796" name="Oval 1795">
                    <a:extLst>
                      <a:ext uri="{FF2B5EF4-FFF2-40B4-BE49-F238E27FC236}">
                        <a16:creationId xmlns:a16="http://schemas.microsoft.com/office/drawing/2014/main" id="{27CFCD2E-2307-4326-A1CA-2F175FC216EF}"/>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97" name="Freeform: Shape 1796">
                    <a:extLst>
                      <a:ext uri="{FF2B5EF4-FFF2-40B4-BE49-F238E27FC236}">
                        <a16:creationId xmlns:a16="http://schemas.microsoft.com/office/drawing/2014/main" id="{FDF31117-253E-43EC-B923-BFC0F99C380D}"/>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784" name="Group 1783">
                  <a:extLst>
                    <a:ext uri="{FF2B5EF4-FFF2-40B4-BE49-F238E27FC236}">
                      <a16:creationId xmlns:a16="http://schemas.microsoft.com/office/drawing/2014/main" id="{0CB0F318-4916-4A8F-BB21-3C8336947AF7}"/>
                    </a:ext>
                  </a:extLst>
                </p:cNvPr>
                <p:cNvGrpSpPr/>
                <p:nvPr/>
              </p:nvGrpSpPr>
              <p:grpSpPr>
                <a:xfrm>
                  <a:off x="2569505" y="4541489"/>
                  <a:ext cx="219868" cy="219868"/>
                  <a:chOff x="1677883" y="4334258"/>
                  <a:chExt cx="219868" cy="219868"/>
                </a:xfrm>
              </p:grpSpPr>
              <p:sp>
                <p:nvSpPr>
                  <p:cNvPr id="1794" name="Oval 1793">
                    <a:extLst>
                      <a:ext uri="{FF2B5EF4-FFF2-40B4-BE49-F238E27FC236}">
                        <a16:creationId xmlns:a16="http://schemas.microsoft.com/office/drawing/2014/main" id="{B93187C2-EB80-4153-9DC9-5E86E8BB53D5}"/>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95" name="Freeform: Shape 1794">
                    <a:extLst>
                      <a:ext uri="{FF2B5EF4-FFF2-40B4-BE49-F238E27FC236}">
                        <a16:creationId xmlns:a16="http://schemas.microsoft.com/office/drawing/2014/main" id="{4BBB5E82-010C-4500-BB14-92790DB42BF5}"/>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785" name="Group 1784">
                  <a:extLst>
                    <a:ext uri="{FF2B5EF4-FFF2-40B4-BE49-F238E27FC236}">
                      <a16:creationId xmlns:a16="http://schemas.microsoft.com/office/drawing/2014/main" id="{4EE3DB1D-9755-4AD8-8B85-9577A936E226}"/>
                    </a:ext>
                  </a:extLst>
                </p:cNvPr>
                <p:cNvGrpSpPr/>
                <p:nvPr/>
              </p:nvGrpSpPr>
              <p:grpSpPr>
                <a:xfrm>
                  <a:off x="2569505" y="3900803"/>
                  <a:ext cx="219868" cy="219868"/>
                  <a:chOff x="1677883" y="4334258"/>
                  <a:chExt cx="219868" cy="219868"/>
                </a:xfrm>
              </p:grpSpPr>
              <p:sp>
                <p:nvSpPr>
                  <p:cNvPr id="1792" name="Oval 1791">
                    <a:extLst>
                      <a:ext uri="{FF2B5EF4-FFF2-40B4-BE49-F238E27FC236}">
                        <a16:creationId xmlns:a16="http://schemas.microsoft.com/office/drawing/2014/main" id="{5C841849-8789-418D-A3AE-CF4EAD8BE5C9}"/>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93" name="Freeform: Shape 1792">
                    <a:extLst>
                      <a:ext uri="{FF2B5EF4-FFF2-40B4-BE49-F238E27FC236}">
                        <a16:creationId xmlns:a16="http://schemas.microsoft.com/office/drawing/2014/main" id="{03567D7A-2B26-4BC5-964E-75D6DB5C70B1}"/>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786" name="Group 1785">
                  <a:extLst>
                    <a:ext uri="{FF2B5EF4-FFF2-40B4-BE49-F238E27FC236}">
                      <a16:creationId xmlns:a16="http://schemas.microsoft.com/office/drawing/2014/main" id="{4A948745-9581-459D-B0F9-DDDF9E53FA2A}"/>
                    </a:ext>
                  </a:extLst>
                </p:cNvPr>
                <p:cNvGrpSpPr/>
                <p:nvPr/>
              </p:nvGrpSpPr>
              <p:grpSpPr>
                <a:xfrm>
                  <a:off x="2569505" y="4335319"/>
                  <a:ext cx="219868" cy="219868"/>
                  <a:chOff x="1299278" y="4593318"/>
                  <a:chExt cx="219868" cy="219868"/>
                </a:xfrm>
              </p:grpSpPr>
              <p:sp>
                <p:nvSpPr>
                  <p:cNvPr id="1790" name="Oval 1789">
                    <a:extLst>
                      <a:ext uri="{FF2B5EF4-FFF2-40B4-BE49-F238E27FC236}">
                        <a16:creationId xmlns:a16="http://schemas.microsoft.com/office/drawing/2014/main" id="{EB59DEB8-395A-488A-973A-136DE195BC20}"/>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91" name="Freeform: Shape 1790">
                    <a:extLst>
                      <a:ext uri="{FF2B5EF4-FFF2-40B4-BE49-F238E27FC236}">
                        <a16:creationId xmlns:a16="http://schemas.microsoft.com/office/drawing/2014/main" id="{A798F683-CD8D-470D-A389-946135B7061C}"/>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787" name="Group 1786">
                  <a:extLst>
                    <a:ext uri="{FF2B5EF4-FFF2-40B4-BE49-F238E27FC236}">
                      <a16:creationId xmlns:a16="http://schemas.microsoft.com/office/drawing/2014/main" id="{2DB471A1-93BF-4B65-BBC3-AEB482E5874C}"/>
                    </a:ext>
                  </a:extLst>
                </p:cNvPr>
                <p:cNvGrpSpPr/>
                <p:nvPr/>
              </p:nvGrpSpPr>
              <p:grpSpPr>
                <a:xfrm>
                  <a:off x="2569505" y="4124939"/>
                  <a:ext cx="219868" cy="219868"/>
                  <a:chOff x="1218819" y="4058009"/>
                  <a:chExt cx="219868" cy="219868"/>
                </a:xfrm>
              </p:grpSpPr>
              <p:sp>
                <p:nvSpPr>
                  <p:cNvPr id="1788" name="Oval 1787">
                    <a:extLst>
                      <a:ext uri="{FF2B5EF4-FFF2-40B4-BE49-F238E27FC236}">
                        <a16:creationId xmlns:a16="http://schemas.microsoft.com/office/drawing/2014/main" id="{945787AC-FC24-4CD5-BA01-D86CBCEB0194}"/>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89" name="Freeform: Shape 1788">
                    <a:extLst>
                      <a:ext uri="{FF2B5EF4-FFF2-40B4-BE49-F238E27FC236}">
                        <a16:creationId xmlns:a16="http://schemas.microsoft.com/office/drawing/2014/main" id="{CF012863-D109-4E47-966E-92E6D1F07E21}"/>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26" name="Group 1325">
                <a:extLst>
                  <a:ext uri="{FF2B5EF4-FFF2-40B4-BE49-F238E27FC236}">
                    <a16:creationId xmlns:a16="http://schemas.microsoft.com/office/drawing/2014/main" id="{704FBFFD-5629-4E74-A2DD-FABB2C70C315}"/>
                  </a:ext>
                </a:extLst>
              </p:cNvPr>
              <p:cNvGrpSpPr/>
              <p:nvPr/>
            </p:nvGrpSpPr>
            <p:grpSpPr>
              <a:xfrm>
                <a:off x="4696684" y="4617609"/>
                <a:ext cx="219868" cy="1073789"/>
                <a:chOff x="2814861" y="3900803"/>
                <a:chExt cx="219868" cy="1073789"/>
              </a:xfrm>
            </p:grpSpPr>
            <p:grpSp>
              <p:nvGrpSpPr>
                <p:cNvPr id="1768" name="Group 1767">
                  <a:extLst>
                    <a:ext uri="{FF2B5EF4-FFF2-40B4-BE49-F238E27FC236}">
                      <a16:creationId xmlns:a16="http://schemas.microsoft.com/office/drawing/2014/main" id="{2A3DE7F2-47EE-4BE4-ACD8-6FA4A5989FB7}"/>
                    </a:ext>
                  </a:extLst>
                </p:cNvPr>
                <p:cNvGrpSpPr/>
                <p:nvPr/>
              </p:nvGrpSpPr>
              <p:grpSpPr>
                <a:xfrm>
                  <a:off x="2814861" y="4754724"/>
                  <a:ext cx="219868" cy="219868"/>
                  <a:chOff x="1677883" y="4334258"/>
                  <a:chExt cx="219868" cy="219868"/>
                </a:xfrm>
              </p:grpSpPr>
              <p:sp>
                <p:nvSpPr>
                  <p:cNvPr id="1781" name="Oval 1780">
                    <a:extLst>
                      <a:ext uri="{FF2B5EF4-FFF2-40B4-BE49-F238E27FC236}">
                        <a16:creationId xmlns:a16="http://schemas.microsoft.com/office/drawing/2014/main" id="{244083DE-4C55-4011-AC24-F2BE2FC945FC}"/>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82" name="Freeform: Shape 1781">
                    <a:extLst>
                      <a:ext uri="{FF2B5EF4-FFF2-40B4-BE49-F238E27FC236}">
                        <a16:creationId xmlns:a16="http://schemas.microsoft.com/office/drawing/2014/main" id="{D61ADCCD-89A3-447B-8270-DC66C3755983}"/>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769" name="Group 1768">
                  <a:extLst>
                    <a:ext uri="{FF2B5EF4-FFF2-40B4-BE49-F238E27FC236}">
                      <a16:creationId xmlns:a16="http://schemas.microsoft.com/office/drawing/2014/main" id="{FEC81B68-E284-4407-9152-B83E4A87D38F}"/>
                    </a:ext>
                  </a:extLst>
                </p:cNvPr>
                <p:cNvGrpSpPr/>
                <p:nvPr/>
              </p:nvGrpSpPr>
              <p:grpSpPr>
                <a:xfrm>
                  <a:off x="2814861" y="4541489"/>
                  <a:ext cx="219868" cy="219868"/>
                  <a:chOff x="1299278" y="4593318"/>
                  <a:chExt cx="219868" cy="219868"/>
                </a:xfrm>
              </p:grpSpPr>
              <p:sp>
                <p:nvSpPr>
                  <p:cNvPr id="1779" name="Oval 1778">
                    <a:extLst>
                      <a:ext uri="{FF2B5EF4-FFF2-40B4-BE49-F238E27FC236}">
                        <a16:creationId xmlns:a16="http://schemas.microsoft.com/office/drawing/2014/main" id="{3FD49EA2-5124-43FD-9466-0A8E02F93834}"/>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80" name="Freeform: Shape 1779">
                    <a:extLst>
                      <a:ext uri="{FF2B5EF4-FFF2-40B4-BE49-F238E27FC236}">
                        <a16:creationId xmlns:a16="http://schemas.microsoft.com/office/drawing/2014/main" id="{95F8C403-7974-41E4-829B-CB726313A921}"/>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770" name="Group 1769">
                  <a:extLst>
                    <a:ext uri="{FF2B5EF4-FFF2-40B4-BE49-F238E27FC236}">
                      <a16:creationId xmlns:a16="http://schemas.microsoft.com/office/drawing/2014/main" id="{BC2AAB9A-6E79-440B-B70D-EA43BD3CC81A}"/>
                    </a:ext>
                  </a:extLst>
                </p:cNvPr>
                <p:cNvGrpSpPr/>
                <p:nvPr/>
              </p:nvGrpSpPr>
              <p:grpSpPr>
                <a:xfrm>
                  <a:off x="2814861" y="4124939"/>
                  <a:ext cx="219868" cy="219868"/>
                  <a:chOff x="1677883" y="4334258"/>
                  <a:chExt cx="219868" cy="219868"/>
                </a:xfrm>
              </p:grpSpPr>
              <p:sp>
                <p:nvSpPr>
                  <p:cNvPr id="1777" name="Oval 1776">
                    <a:extLst>
                      <a:ext uri="{FF2B5EF4-FFF2-40B4-BE49-F238E27FC236}">
                        <a16:creationId xmlns:a16="http://schemas.microsoft.com/office/drawing/2014/main" id="{0C006CA5-1868-47B0-B570-5B4D35B82461}"/>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78" name="Freeform: Shape 1777">
                    <a:extLst>
                      <a:ext uri="{FF2B5EF4-FFF2-40B4-BE49-F238E27FC236}">
                        <a16:creationId xmlns:a16="http://schemas.microsoft.com/office/drawing/2014/main" id="{7103DC4A-8512-4F6A-9B8C-9686B0759672}"/>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771" name="Group 1770">
                  <a:extLst>
                    <a:ext uri="{FF2B5EF4-FFF2-40B4-BE49-F238E27FC236}">
                      <a16:creationId xmlns:a16="http://schemas.microsoft.com/office/drawing/2014/main" id="{8EDB14A2-D34B-4367-9398-9D28E8026BF5}"/>
                    </a:ext>
                  </a:extLst>
                </p:cNvPr>
                <p:cNvGrpSpPr/>
                <p:nvPr/>
              </p:nvGrpSpPr>
              <p:grpSpPr>
                <a:xfrm>
                  <a:off x="2814861" y="4335319"/>
                  <a:ext cx="219868" cy="219868"/>
                  <a:chOff x="1218819" y="4058009"/>
                  <a:chExt cx="219868" cy="219868"/>
                </a:xfrm>
              </p:grpSpPr>
              <p:sp>
                <p:nvSpPr>
                  <p:cNvPr id="1775" name="Oval 1774">
                    <a:extLst>
                      <a:ext uri="{FF2B5EF4-FFF2-40B4-BE49-F238E27FC236}">
                        <a16:creationId xmlns:a16="http://schemas.microsoft.com/office/drawing/2014/main" id="{BBDB30B5-98AB-4F9D-8BEC-67B381156ECE}"/>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76" name="Freeform: Shape 1775">
                    <a:extLst>
                      <a:ext uri="{FF2B5EF4-FFF2-40B4-BE49-F238E27FC236}">
                        <a16:creationId xmlns:a16="http://schemas.microsoft.com/office/drawing/2014/main" id="{78C5EB24-029F-468A-88D6-BE3F372D755A}"/>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772" name="Group 1771">
                  <a:extLst>
                    <a:ext uri="{FF2B5EF4-FFF2-40B4-BE49-F238E27FC236}">
                      <a16:creationId xmlns:a16="http://schemas.microsoft.com/office/drawing/2014/main" id="{200B5A17-97CC-4DD7-8E26-3C0FE0D55EBB}"/>
                    </a:ext>
                  </a:extLst>
                </p:cNvPr>
                <p:cNvGrpSpPr/>
                <p:nvPr/>
              </p:nvGrpSpPr>
              <p:grpSpPr>
                <a:xfrm>
                  <a:off x="2814861" y="3900803"/>
                  <a:ext cx="219868" cy="219868"/>
                  <a:chOff x="1218819" y="4058009"/>
                  <a:chExt cx="219868" cy="219868"/>
                </a:xfrm>
              </p:grpSpPr>
              <p:sp>
                <p:nvSpPr>
                  <p:cNvPr id="1773" name="Oval 1772">
                    <a:extLst>
                      <a:ext uri="{FF2B5EF4-FFF2-40B4-BE49-F238E27FC236}">
                        <a16:creationId xmlns:a16="http://schemas.microsoft.com/office/drawing/2014/main" id="{21F2FF5A-4743-4C05-8022-CB45A60B1D03}"/>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74" name="Freeform: Shape 1773">
                    <a:extLst>
                      <a:ext uri="{FF2B5EF4-FFF2-40B4-BE49-F238E27FC236}">
                        <a16:creationId xmlns:a16="http://schemas.microsoft.com/office/drawing/2014/main" id="{992AD917-44C2-4CE4-8F53-30238F015171}"/>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27" name="Group 1326">
                <a:extLst>
                  <a:ext uri="{FF2B5EF4-FFF2-40B4-BE49-F238E27FC236}">
                    <a16:creationId xmlns:a16="http://schemas.microsoft.com/office/drawing/2014/main" id="{518F36D1-D8E1-457F-A0B5-8B05A601DD5D}"/>
                  </a:ext>
                </a:extLst>
              </p:cNvPr>
              <p:cNvGrpSpPr/>
              <p:nvPr/>
            </p:nvGrpSpPr>
            <p:grpSpPr>
              <a:xfrm>
                <a:off x="4696684" y="4617609"/>
                <a:ext cx="219868" cy="1073789"/>
                <a:chOff x="936799" y="3900803"/>
                <a:chExt cx="219868" cy="1073789"/>
              </a:xfrm>
            </p:grpSpPr>
            <p:grpSp>
              <p:nvGrpSpPr>
                <p:cNvPr id="1753" name="Group 1752">
                  <a:extLst>
                    <a:ext uri="{FF2B5EF4-FFF2-40B4-BE49-F238E27FC236}">
                      <a16:creationId xmlns:a16="http://schemas.microsoft.com/office/drawing/2014/main" id="{B574CB6F-ADDC-4A24-A7A0-44953FFA8D68}"/>
                    </a:ext>
                  </a:extLst>
                </p:cNvPr>
                <p:cNvGrpSpPr/>
                <p:nvPr/>
              </p:nvGrpSpPr>
              <p:grpSpPr>
                <a:xfrm>
                  <a:off x="936799" y="4541489"/>
                  <a:ext cx="219868" cy="219868"/>
                  <a:chOff x="1299278" y="4593318"/>
                  <a:chExt cx="219868" cy="219868"/>
                </a:xfrm>
              </p:grpSpPr>
              <p:sp>
                <p:nvSpPr>
                  <p:cNvPr id="1766" name="Oval 1765">
                    <a:extLst>
                      <a:ext uri="{FF2B5EF4-FFF2-40B4-BE49-F238E27FC236}">
                        <a16:creationId xmlns:a16="http://schemas.microsoft.com/office/drawing/2014/main" id="{8CD171CE-6C5C-41EB-805D-3CF4E9409952}"/>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67" name="Freeform: Shape 1766">
                    <a:extLst>
                      <a:ext uri="{FF2B5EF4-FFF2-40B4-BE49-F238E27FC236}">
                        <a16:creationId xmlns:a16="http://schemas.microsoft.com/office/drawing/2014/main" id="{E3E0E168-C2E2-4057-9B3C-323ABFF91F24}"/>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754" name="Group 1753">
                  <a:extLst>
                    <a:ext uri="{FF2B5EF4-FFF2-40B4-BE49-F238E27FC236}">
                      <a16:creationId xmlns:a16="http://schemas.microsoft.com/office/drawing/2014/main" id="{BBD08F3A-C1F3-455A-B201-1666686D08B2}"/>
                    </a:ext>
                  </a:extLst>
                </p:cNvPr>
                <p:cNvGrpSpPr/>
                <p:nvPr/>
              </p:nvGrpSpPr>
              <p:grpSpPr>
                <a:xfrm>
                  <a:off x="936799" y="4754724"/>
                  <a:ext cx="219868" cy="219868"/>
                  <a:chOff x="1218819" y="4058009"/>
                  <a:chExt cx="219868" cy="219868"/>
                </a:xfrm>
              </p:grpSpPr>
              <p:sp>
                <p:nvSpPr>
                  <p:cNvPr id="1764" name="Oval 1763">
                    <a:extLst>
                      <a:ext uri="{FF2B5EF4-FFF2-40B4-BE49-F238E27FC236}">
                        <a16:creationId xmlns:a16="http://schemas.microsoft.com/office/drawing/2014/main" id="{DF4C3D24-0BB3-4A67-8944-24CC0BA02C11}"/>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65" name="Freeform: Shape 1764">
                    <a:extLst>
                      <a:ext uri="{FF2B5EF4-FFF2-40B4-BE49-F238E27FC236}">
                        <a16:creationId xmlns:a16="http://schemas.microsoft.com/office/drawing/2014/main" id="{D9C299B0-AA7A-4691-9CF1-67EE5E068D12}"/>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755" name="Group 1754">
                  <a:extLst>
                    <a:ext uri="{FF2B5EF4-FFF2-40B4-BE49-F238E27FC236}">
                      <a16:creationId xmlns:a16="http://schemas.microsoft.com/office/drawing/2014/main" id="{C7B4F008-17CD-4D0A-8D0A-7E0B2FA68EF5}"/>
                    </a:ext>
                  </a:extLst>
                </p:cNvPr>
                <p:cNvGrpSpPr/>
                <p:nvPr/>
              </p:nvGrpSpPr>
              <p:grpSpPr>
                <a:xfrm>
                  <a:off x="936799" y="4124939"/>
                  <a:ext cx="219868" cy="219868"/>
                  <a:chOff x="1677883" y="4334258"/>
                  <a:chExt cx="219868" cy="219868"/>
                </a:xfrm>
              </p:grpSpPr>
              <p:sp>
                <p:nvSpPr>
                  <p:cNvPr id="1762" name="Oval 1761">
                    <a:extLst>
                      <a:ext uri="{FF2B5EF4-FFF2-40B4-BE49-F238E27FC236}">
                        <a16:creationId xmlns:a16="http://schemas.microsoft.com/office/drawing/2014/main" id="{AF3F6A32-E7B4-4B24-A31B-45E514ED54A4}"/>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63" name="Freeform: Shape 1762">
                    <a:extLst>
                      <a:ext uri="{FF2B5EF4-FFF2-40B4-BE49-F238E27FC236}">
                        <a16:creationId xmlns:a16="http://schemas.microsoft.com/office/drawing/2014/main" id="{6B17056C-FDDA-4448-B556-9A1B1B8D6125}"/>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756" name="Group 1755">
                  <a:extLst>
                    <a:ext uri="{FF2B5EF4-FFF2-40B4-BE49-F238E27FC236}">
                      <a16:creationId xmlns:a16="http://schemas.microsoft.com/office/drawing/2014/main" id="{7680290D-E6E6-4420-90D7-A93BC1C651AD}"/>
                    </a:ext>
                  </a:extLst>
                </p:cNvPr>
                <p:cNvGrpSpPr/>
                <p:nvPr/>
              </p:nvGrpSpPr>
              <p:grpSpPr>
                <a:xfrm>
                  <a:off x="936799" y="3900803"/>
                  <a:ext cx="219868" cy="219868"/>
                  <a:chOff x="1677883" y="4334258"/>
                  <a:chExt cx="219868" cy="219868"/>
                </a:xfrm>
              </p:grpSpPr>
              <p:sp>
                <p:nvSpPr>
                  <p:cNvPr id="1760" name="Oval 1759">
                    <a:extLst>
                      <a:ext uri="{FF2B5EF4-FFF2-40B4-BE49-F238E27FC236}">
                        <a16:creationId xmlns:a16="http://schemas.microsoft.com/office/drawing/2014/main" id="{66953460-45BF-40C1-B549-0E3034948BE7}"/>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61" name="Freeform: Shape 1760">
                    <a:extLst>
                      <a:ext uri="{FF2B5EF4-FFF2-40B4-BE49-F238E27FC236}">
                        <a16:creationId xmlns:a16="http://schemas.microsoft.com/office/drawing/2014/main" id="{8C6159D3-629F-487C-B932-C7267AD64B07}"/>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757" name="Group 1756">
                  <a:extLst>
                    <a:ext uri="{FF2B5EF4-FFF2-40B4-BE49-F238E27FC236}">
                      <a16:creationId xmlns:a16="http://schemas.microsoft.com/office/drawing/2014/main" id="{597C46F6-F924-42CD-9466-BE2D09A3B6DB}"/>
                    </a:ext>
                  </a:extLst>
                </p:cNvPr>
                <p:cNvGrpSpPr/>
                <p:nvPr/>
              </p:nvGrpSpPr>
              <p:grpSpPr>
                <a:xfrm>
                  <a:off x="936799" y="4335319"/>
                  <a:ext cx="219868" cy="219868"/>
                  <a:chOff x="1299278" y="4593318"/>
                  <a:chExt cx="219868" cy="219868"/>
                </a:xfrm>
              </p:grpSpPr>
              <p:sp>
                <p:nvSpPr>
                  <p:cNvPr id="1758" name="Oval 1757">
                    <a:extLst>
                      <a:ext uri="{FF2B5EF4-FFF2-40B4-BE49-F238E27FC236}">
                        <a16:creationId xmlns:a16="http://schemas.microsoft.com/office/drawing/2014/main" id="{D295C7CD-56F6-448B-BA83-A6818937518F}"/>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59" name="Freeform: Shape 1758">
                    <a:extLst>
                      <a:ext uri="{FF2B5EF4-FFF2-40B4-BE49-F238E27FC236}">
                        <a16:creationId xmlns:a16="http://schemas.microsoft.com/office/drawing/2014/main" id="{9AD0321B-4944-451A-BE71-065EB6A9C22F}"/>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grpSp>
            <p:nvGrpSpPr>
              <p:cNvPr id="1328" name="Group 1327">
                <a:extLst>
                  <a:ext uri="{FF2B5EF4-FFF2-40B4-BE49-F238E27FC236}">
                    <a16:creationId xmlns:a16="http://schemas.microsoft.com/office/drawing/2014/main" id="{66A50976-628B-41B9-8231-73A6C3C6817A}"/>
                  </a:ext>
                </a:extLst>
              </p:cNvPr>
              <p:cNvGrpSpPr/>
              <p:nvPr/>
            </p:nvGrpSpPr>
            <p:grpSpPr>
              <a:xfrm>
                <a:off x="4696684" y="4617609"/>
                <a:ext cx="219868" cy="1073789"/>
                <a:chOff x="1381132" y="3900803"/>
                <a:chExt cx="219868" cy="1073789"/>
              </a:xfrm>
            </p:grpSpPr>
            <p:grpSp>
              <p:nvGrpSpPr>
                <p:cNvPr id="1738" name="Group 1737">
                  <a:extLst>
                    <a:ext uri="{FF2B5EF4-FFF2-40B4-BE49-F238E27FC236}">
                      <a16:creationId xmlns:a16="http://schemas.microsoft.com/office/drawing/2014/main" id="{908968A9-BE3A-4783-A14C-70AC82D499C7}"/>
                    </a:ext>
                  </a:extLst>
                </p:cNvPr>
                <p:cNvGrpSpPr/>
                <p:nvPr/>
              </p:nvGrpSpPr>
              <p:grpSpPr>
                <a:xfrm>
                  <a:off x="1381132" y="4541489"/>
                  <a:ext cx="219868" cy="219868"/>
                  <a:chOff x="1299278" y="4593318"/>
                  <a:chExt cx="219868" cy="219868"/>
                </a:xfrm>
              </p:grpSpPr>
              <p:sp>
                <p:nvSpPr>
                  <p:cNvPr id="1751" name="Oval 1750">
                    <a:extLst>
                      <a:ext uri="{FF2B5EF4-FFF2-40B4-BE49-F238E27FC236}">
                        <a16:creationId xmlns:a16="http://schemas.microsoft.com/office/drawing/2014/main" id="{601A38A1-9183-4A61-B73A-D78FF4460E49}"/>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52" name="Freeform: Shape 1751">
                    <a:extLst>
                      <a:ext uri="{FF2B5EF4-FFF2-40B4-BE49-F238E27FC236}">
                        <a16:creationId xmlns:a16="http://schemas.microsoft.com/office/drawing/2014/main" id="{BAA27E86-DF11-46FC-B5A5-4BAAE02D9C7E}"/>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739" name="Group 1738">
                  <a:extLst>
                    <a:ext uri="{FF2B5EF4-FFF2-40B4-BE49-F238E27FC236}">
                      <a16:creationId xmlns:a16="http://schemas.microsoft.com/office/drawing/2014/main" id="{23AE2C7E-FC2C-450D-BE85-861013E3F607}"/>
                    </a:ext>
                  </a:extLst>
                </p:cNvPr>
                <p:cNvGrpSpPr/>
                <p:nvPr/>
              </p:nvGrpSpPr>
              <p:grpSpPr>
                <a:xfrm>
                  <a:off x="1381132" y="4335319"/>
                  <a:ext cx="219868" cy="219868"/>
                  <a:chOff x="1677883" y="4334258"/>
                  <a:chExt cx="219868" cy="219868"/>
                </a:xfrm>
              </p:grpSpPr>
              <p:sp>
                <p:nvSpPr>
                  <p:cNvPr id="1749" name="Oval 1748">
                    <a:extLst>
                      <a:ext uri="{FF2B5EF4-FFF2-40B4-BE49-F238E27FC236}">
                        <a16:creationId xmlns:a16="http://schemas.microsoft.com/office/drawing/2014/main" id="{D9E596E1-F1B5-4CE2-8F01-D73A3E33C467}"/>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50" name="Freeform: Shape 1749">
                    <a:extLst>
                      <a:ext uri="{FF2B5EF4-FFF2-40B4-BE49-F238E27FC236}">
                        <a16:creationId xmlns:a16="http://schemas.microsoft.com/office/drawing/2014/main" id="{E4DAB41B-63DE-4451-86FC-BCB89EA19502}"/>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740" name="Group 1739">
                  <a:extLst>
                    <a:ext uri="{FF2B5EF4-FFF2-40B4-BE49-F238E27FC236}">
                      <a16:creationId xmlns:a16="http://schemas.microsoft.com/office/drawing/2014/main" id="{A46EBB3D-38CC-410A-8410-849C0C7C48C8}"/>
                    </a:ext>
                  </a:extLst>
                </p:cNvPr>
                <p:cNvGrpSpPr/>
                <p:nvPr/>
              </p:nvGrpSpPr>
              <p:grpSpPr>
                <a:xfrm>
                  <a:off x="1381132" y="4124939"/>
                  <a:ext cx="219868" cy="219868"/>
                  <a:chOff x="1677883" y="4334258"/>
                  <a:chExt cx="219868" cy="219868"/>
                </a:xfrm>
              </p:grpSpPr>
              <p:sp>
                <p:nvSpPr>
                  <p:cNvPr id="1747" name="Oval 1746">
                    <a:extLst>
                      <a:ext uri="{FF2B5EF4-FFF2-40B4-BE49-F238E27FC236}">
                        <a16:creationId xmlns:a16="http://schemas.microsoft.com/office/drawing/2014/main" id="{6B75E910-F694-43DF-AD7F-66A5234C5EBD}"/>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48" name="Freeform: Shape 1747">
                    <a:extLst>
                      <a:ext uri="{FF2B5EF4-FFF2-40B4-BE49-F238E27FC236}">
                        <a16:creationId xmlns:a16="http://schemas.microsoft.com/office/drawing/2014/main" id="{DD03F23D-62D7-4FC9-A2FD-F8BFBB4E9D37}"/>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741" name="Group 1740">
                  <a:extLst>
                    <a:ext uri="{FF2B5EF4-FFF2-40B4-BE49-F238E27FC236}">
                      <a16:creationId xmlns:a16="http://schemas.microsoft.com/office/drawing/2014/main" id="{D79E5DFE-0289-4D14-A5A0-8865E3128D54}"/>
                    </a:ext>
                  </a:extLst>
                </p:cNvPr>
                <p:cNvGrpSpPr/>
                <p:nvPr/>
              </p:nvGrpSpPr>
              <p:grpSpPr>
                <a:xfrm>
                  <a:off x="1381132" y="3900803"/>
                  <a:ext cx="219868" cy="219868"/>
                  <a:chOff x="1299278" y="4593318"/>
                  <a:chExt cx="219868" cy="219868"/>
                </a:xfrm>
              </p:grpSpPr>
              <p:sp>
                <p:nvSpPr>
                  <p:cNvPr id="1745" name="Oval 1744">
                    <a:extLst>
                      <a:ext uri="{FF2B5EF4-FFF2-40B4-BE49-F238E27FC236}">
                        <a16:creationId xmlns:a16="http://schemas.microsoft.com/office/drawing/2014/main" id="{CBBA74D7-1678-40E2-AAC0-65ED78640088}"/>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46" name="Freeform: Shape 1745">
                    <a:extLst>
                      <a:ext uri="{FF2B5EF4-FFF2-40B4-BE49-F238E27FC236}">
                        <a16:creationId xmlns:a16="http://schemas.microsoft.com/office/drawing/2014/main" id="{FAC86C0C-3EA2-4286-ABB1-05E0BA8D1982}"/>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742" name="Group 1741">
                  <a:extLst>
                    <a:ext uri="{FF2B5EF4-FFF2-40B4-BE49-F238E27FC236}">
                      <a16:creationId xmlns:a16="http://schemas.microsoft.com/office/drawing/2014/main" id="{624EC799-59FB-4FAE-A073-D6BBEAC9A783}"/>
                    </a:ext>
                  </a:extLst>
                </p:cNvPr>
                <p:cNvGrpSpPr/>
                <p:nvPr/>
              </p:nvGrpSpPr>
              <p:grpSpPr>
                <a:xfrm>
                  <a:off x="1381132" y="4754724"/>
                  <a:ext cx="219868" cy="219868"/>
                  <a:chOff x="1299278" y="4593318"/>
                  <a:chExt cx="219868" cy="219868"/>
                </a:xfrm>
              </p:grpSpPr>
              <p:sp>
                <p:nvSpPr>
                  <p:cNvPr id="1743" name="Oval 1742">
                    <a:extLst>
                      <a:ext uri="{FF2B5EF4-FFF2-40B4-BE49-F238E27FC236}">
                        <a16:creationId xmlns:a16="http://schemas.microsoft.com/office/drawing/2014/main" id="{F6AA2CE8-0039-4D42-842B-D29840989309}"/>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44" name="Freeform: Shape 1743">
                    <a:extLst>
                      <a:ext uri="{FF2B5EF4-FFF2-40B4-BE49-F238E27FC236}">
                        <a16:creationId xmlns:a16="http://schemas.microsoft.com/office/drawing/2014/main" id="{1A1F9E96-2C81-4C3F-BF1A-74D5778BCF45}"/>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grpSp>
            <p:nvGrpSpPr>
              <p:cNvPr id="1329" name="Group 1328">
                <a:extLst>
                  <a:ext uri="{FF2B5EF4-FFF2-40B4-BE49-F238E27FC236}">
                    <a16:creationId xmlns:a16="http://schemas.microsoft.com/office/drawing/2014/main" id="{83FB2AAB-01EB-4E28-AC93-404446A4A23B}"/>
                  </a:ext>
                </a:extLst>
              </p:cNvPr>
              <p:cNvGrpSpPr/>
              <p:nvPr/>
            </p:nvGrpSpPr>
            <p:grpSpPr>
              <a:xfrm>
                <a:off x="4696684" y="4617609"/>
                <a:ext cx="219868" cy="1073789"/>
                <a:chOff x="1403036" y="3900803"/>
                <a:chExt cx="219868" cy="1073789"/>
              </a:xfrm>
            </p:grpSpPr>
            <p:grpSp>
              <p:nvGrpSpPr>
                <p:cNvPr id="1723" name="Group 1722">
                  <a:extLst>
                    <a:ext uri="{FF2B5EF4-FFF2-40B4-BE49-F238E27FC236}">
                      <a16:creationId xmlns:a16="http://schemas.microsoft.com/office/drawing/2014/main" id="{8B168A17-826B-4920-BF22-8C40FC1C1858}"/>
                    </a:ext>
                  </a:extLst>
                </p:cNvPr>
                <p:cNvGrpSpPr/>
                <p:nvPr/>
              </p:nvGrpSpPr>
              <p:grpSpPr>
                <a:xfrm>
                  <a:off x="1403036" y="4541489"/>
                  <a:ext cx="219868" cy="219868"/>
                  <a:chOff x="1677883" y="4334258"/>
                  <a:chExt cx="219868" cy="219868"/>
                </a:xfrm>
              </p:grpSpPr>
              <p:sp>
                <p:nvSpPr>
                  <p:cNvPr id="1736" name="Oval 1735">
                    <a:extLst>
                      <a:ext uri="{FF2B5EF4-FFF2-40B4-BE49-F238E27FC236}">
                        <a16:creationId xmlns:a16="http://schemas.microsoft.com/office/drawing/2014/main" id="{657C438C-8F9A-431C-B65D-AD2388EDF57C}"/>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37" name="Freeform: Shape 1736">
                    <a:extLst>
                      <a:ext uri="{FF2B5EF4-FFF2-40B4-BE49-F238E27FC236}">
                        <a16:creationId xmlns:a16="http://schemas.microsoft.com/office/drawing/2014/main" id="{9009F320-B6D1-456B-861B-B47E5FB9692F}"/>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724" name="Group 1723">
                  <a:extLst>
                    <a:ext uri="{FF2B5EF4-FFF2-40B4-BE49-F238E27FC236}">
                      <a16:creationId xmlns:a16="http://schemas.microsoft.com/office/drawing/2014/main" id="{DD4D427F-427C-410E-9235-F05CE7CE74B9}"/>
                    </a:ext>
                  </a:extLst>
                </p:cNvPr>
                <p:cNvGrpSpPr/>
                <p:nvPr/>
              </p:nvGrpSpPr>
              <p:grpSpPr>
                <a:xfrm>
                  <a:off x="1403036" y="4335319"/>
                  <a:ext cx="219868" cy="219868"/>
                  <a:chOff x="1677883" y="4334258"/>
                  <a:chExt cx="219868" cy="219868"/>
                </a:xfrm>
              </p:grpSpPr>
              <p:sp>
                <p:nvSpPr>
                  <p:cNvPr id="1734" name="Oval 1733">
                    <a:extLst>
                      <a:ext uri="{FF2B5EF4-FFF2-40B4-BE49-F238E27FC236}">
                        <a16:creationId xmlns:a16="http://schemas.microsoft.com/office/drawing/2014/main" id="{FD51353B-6B65-43C9-A5E0-B36479380A27}"/>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35" name="Freeform: Shape 1734">
                    <a:extLst>
                      <a:ext uri="{FF2B5EF4-FFF2-40B4-BE49-F238E27FC236}">
                        <a16:creationId xmlns:a16="http://schemas.microsoft.com/office/drawing/2014/main" id="{36A27DE3-F1E3-4B2F-9C5F-20151D0AE833}"/>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725" name="Group 1724">
                  <a:extLst>
                    <a:ext uri="{FF2B5EF4-FFF2-40B4-BE49-F238E27FC236}">
                      <a16:creationId xmlns:a16="http://schemas.microsoft.com/office/drawing/2014/main" id="{03CE3D48-265A-45D4-9F07-8AF0F7433E5D}"/>
                    </a:ext>
                  </a:extLst>
                </p:cNvPr>
                <p:cNvGrpSpPr/>
                <p:nvPr/>
              </p:nvGrpSpPr>
              <p:grpSpPr>
                <a:xfrm>
                  <a:off x="1403036" y="4124939"/>
                  <a:ext cx="219868" cy="219868"/>
                  <a:chOff x="1299278" y="4593318"/>
                  <a:chExt cx="219868" cy="219868"/>
                </a:xfrm>
              </p:grpSpPr>
              <p:sp>
                <p:nvSpPr>
                  <p:cNvPr id="1732" name="Oval 1731">
                    <a:extLst>
                      <a:ext uri="{FF2B5EF4-FFF2-40B4-BE49-F238E27FC236}">
                        <a16:creationId xmlns:a16="http://schemas.microsoft.com/office/drawing/2014/main" id="{AAB9BD5D-CDAF-480E-871E-B6971AF367B3}"/>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33" name="Freeform: Shape 1732">
                    <a:extLst>
                      <a:ext uri="{FF2B5EF4-FFF2-40B4-BE49-F238E27FC236}">
                        <a16:creationId xmlns:a16="http://schemas.microsoft.com/office/drawing/2014/main" id="{A6550680-B3F8-460B-99F2-B2F1C4D121A1}"/>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726" name="Group 1725">
                  <a:extLst>
                    <a:ext uri="{FF2B5EF4-FFF2-40B4-BE49-F238E27FC236}">
                      <a16:creationId xmlns:a16="http://schemas.microsoft.com/office/drawing/2014/main" id="{8A03DB12-6ED1-4522-B740-DA11831BAF65}"/>
                    </a:ext>
                  </a:extLst>
                </p:cNvPr>
                <p:cNvGrpSpPr/>
                <p:nvPr/>
              </p:nvGrpSpPr>
              <p:grpSpPr>
                <a:xfrm>
                  <a:off x="1403036" y="4754724"/>
                  <a:ext cx="219868" cy="219868"/>
                  <a:chOff x="1299278" y="4593318"/>
                  <a:chExt cx="219868" cy="219868"/>
                </a:xfrm>
              </p:grpSpPr>
              <p:sp>
                <p:nvSpPr>
                  <p:cNvPr id="1730" name="Oval 1729">
                    <a:extLst>
                      <a:ext uri="{FF2B5EF4-FFF2-40B4-BE49-F238E27FC236}">
                        <a16:creationId xmlns:a16="http://schemas.microsoft.com/office/drawing/2014/main" id="{80225C09-EF2D-4058-88BD-5836327B6FA9}"/>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31" name="Freeform: Shape 1730">
                    <a:extLst>
                      <a:ext uri="{FF2B5EF4-FFF2-40B4-BE49-F238E27FC236}">
                        <a16:creationId xmlns:a16="http://schemas.microsoft.com/office/drawing/2014/main" id="{C4A81347-FE18-4B52-BC7B-C1CAA70FD170}"/>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727" name="Group 1726">
                  <a:extLst>
                    <a:ext uri="{FF2B5EF4-FFF2-40B4-BE49-F238E27FC236}">
                      <a16:creationId xmlns:a16="http://schemas.microsoft.com/office/drawing/2014/main" id="{C2A90F5A-C7BF-4AC7-88FC-A5F0216EE0D2}"/>
                    </a:ext>
                  </a:extLst>
                </p:cNvPr>
                <p:cNvGrpSpPr/>
                <p:nvPr/>
              </p:nvGrpSpPr>
              <p:grpSpPr>
                <a:xfrm>
                  <a:off x="1403036" y="3900803"/>
                  <a:ext cx="219868" cy="219868"/>
                  <a:chOff x="1218819" y="4058009"/>
                  <a:chExt cx="219868" cy="219868"/>
                </a:xfrm>
              </p:grpSpPr>
              <p:sp>
                <p:nvSpPr>
                  <p:cNvPr id="1728" name="Oval 1727">
                    <a:extLst>
                      <a:ext uri="{FF2B5EF4-FFF2-40B4-BE49-F238E27FC236}">
                        <a16:creationId xmlns:a16="http://schemas.microsoft.com/office/drawing/2014/main" id="{9739CDB0-28A6-428D-BFCB-376CDC463651}"/>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29" name="Freeform: Shape 1728">
                    <a:extLst>
                      <a:ext uri="{FF2B5EF4-FFF2-40B4-BE49-F238E27FC236}">
                        <a16:creationId xmlns:a16="http://schemas.microsoft.com/office/drawing/2014/main" id="{494C8B88-E0FD-415E-B905-4DDB8F37B861}"/>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30" name="Group 1329">
                <a:extLst>
                  <a:ext uri="{FF2B5EF4-FFF2-40B4-BE49-F238E27FC236}">
                    <a16:creationId xmlns:a16="http://schemas.microsoft.com/office/drawing/2014/main" id="{F12F0792-6C60-497D-9C5E-74F6553878FA}"/>
                  </a:ext>
                </a:extLst>
              </p:cNvPr>
              <p:cNvGrpSpPr/>
              <p:nvPr/>
            </p:nvGrpSpPr>
            <p:grpSpPr>
              <a:xfrm>
                <a:off x="4696684" y="4617609"/>
                <a:ext cx="219868" cy="1073789"/>
                <a:chOff x="1934732" y="3900803"/>
                <a:chExt cx="219868" cy="1073789"/>
              </a:xfrm>
            </p:grpSpPr>
            <p:grpSp>
              <p:nvGrpSpPr>
                <p:cNvPr id="1708" name="Group 1707">
                  <a:extLst>
                    <a:ext uri="{FF2B5EF4-FFF2-40B4-BE49-F238E27FC236}">
                      <a16:creationId xmlns:a16="http://schemas.microsoft.com/office/drawing/2014/main" id="{598056FE-053F-4A44-8038-7C58CE7F38CF}"/>
                    </a:ext>
                  </a:extLst>
                </p:cNvPr>
                <p:cNvGrpSpPr/>
                <p:nvPr/>
              </p:nvGrpSpPr>
              <p:grpSpPr>
                <a:xfrm>
                  <a:off x="1934732" y="4754724"/>
                  <a:ext cx="219868" cy="219868"/>
                  <a:chOff x="1677883" y="4334258"/>
                  <a:chExt cx="219868" cy="219868"/>
                </a:xfrm>
              </p:grpSpPr>
              <p:sp>
                <p:nvSpPr>
                  <p:cNvPr id="1721" name="Oval 1720">
                    <a:extLst>
                      <a:ext uri="{FF2B5EF4-FFF2-40B4-BE49-F238E27FC236}">
                        <a16:creationId xmlns:a16="http://schemas.microsoft.com/office/drawing/2014/main" id="{82CAB3F7-AE0B-4AD0-82F8-3BAA3707E618}"/>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22" name="Freeform: Shape 1721">
                    <a:extLst>
                      <a:ext uri="{FF2B5EF4-FFF2-40B4-BE49-F238E27FC236}">
                        <a16:creationId xmlns:a16="http://schemas.microsoft.com/office/drawing/2014/main" id="{24FF125D-BE5F-4119-B126-67E8C2FD7B6A}"/>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709" name="Group 1708">
                  <a:extLst>
                    <a:ext uri="{FF2B5EF4-FFF2-40B4-BE49-F238E27FC236}">
                      <a16:creationId xmlns:a16="http://schemas.microsoft.com/office/drawing/2014/main" id="{7FD1BD97-9486-420B-ADEE-E3A7E75DCB5E}"/>
                    </a:ext>
                  </a:extLst>
                </p:cNvPr>
                <p:cNvGrpSpPr/>
                <p:nvPr/>
              </p:nvGrpSpPr>
              <p:grpSpPr>
                <a:xfrm>
                  <a:off x="1934732" y="4541489"/>
                  <a:ext cx="219868" cy="219868"/>
                  <a:chOff x="1677883" y="4334258"/>
                  <a:chExt cx="219868" cy="219868"/>
                </a:xfrm>
              </p:grpSpPr>
              <p:sp>
                <p:nvSpPr>
                  <p:cNvPr id="1719" name="Oval 1718">
                    <a:extLst>
                      <a:ext uri="{FF2B5EF4-FFF2-40B4-BE49-F238E27FC236}">
                        <a16:creationId xmlns:a16="http://schemas.microsoft.com/office/drawing/2014/main" id="{671141C8-1622-4231-95E1-DC6A1FE8C21F}"/>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20" name="Freeform: Shape 1719">
                    <a:extLst>
                      <a:ext uri="{FF2B5EF4-FFF2-40B4-BE49-F238E27FC236}">
                        <a16:creationId xmlns:a16="http://schemas.microsoft.com/office/drawing/2014/main" id="{48B0A68E-D03C-4DCD-AD89-CF2DCF6EE52D}"/>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710" name="Group 1709">
                  <a:extLst>
                    <a:ext uri="{FF2B5EF4-FFF2-40B4-BE49-F238E27FC236}">
                      <a16:creationId xmlns:a16="http://schemas.microsoft.com/office/drawing/2014/main" id="{F0B4D59B-00D6-4720-9720-56F7E5A8C580}"/>
                    </a:ext>
                  </a:extLst>
                </p:cNvPr>
                <p:cNvGrpSpPr/>
                <p:nvPr/>
              </p:nvGrpSpPr>
              <p:grpSpPr>
                <a:xfrm>
                  <a:off x="1934732" y="4335319"/>
                  <a:ext cx="219868" cy="219868"/>
                  <a:chOff x="1299278" y="4593318"/>
                  <a:chExt cx="219868" cy="219868"/>
                </a:xfrm>
              </p:grpSpPr>
              <p:sp>
                <p:nvSpPr>
                  <p:cNvPr id="1717" name="Oval 1716">
                    <a:extLst>
                      <a:ext uri="{FF2B5EF4-FFF2-40B4-BE49-F238E27FC236}">
                        <a16:creationId xmlns:a16="http://schemas.microsoft.com/office/drawing/2014/main" id="{A20680B4-DA3A-4902-9628-8897EF2DFA69}"/>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18" name="Freeform: Shape 1717">
                    <a:extLst>
                      <a:ext uri="{FF2B5EF4-FFF2-40B4-BE49-F238E27FC236}">
                        <a16:creationId xmlns:a16="http://schemas.microsoft.com/office/drawing/2014/main" id="{88F8067E-6238-4DB5-ABF3-883C758D6273}"/>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711" name="Group 1710">
                  <a:extLst>
                    <a:ext uri="{FF2B5EF4-FFF2-40B4-BE49-F238E27FC236}">
                      <a16:creationId xmlns:a16="http://schemas.microsoft.com/office/drawing/2014/main" id="{2190CC17-885C-4C18-8EF5-1D1240F4280A}"/>
                    </a:ext>
                  </a:extLst>
                </p:cNvPr>
                <p:cNvGrpSpPr/>
                <p:nvPr/>
              </p:nvGrpSpPr>
              <p:grpSpPr>
                <a:xfrm>
                  <a:off x="1934732" y="4124939"/>
                  <a:ext cx="219868" cy="219868"/>
                  <a:chOff x="1218819" y="4058009"/>
                  <a:chExt cx="219868" cy="219868"/>
                </a:xfrm>
              </p:grpSpPr>
              <p:sp>
                <p:nvSpPr>
                  <p:cNvPr id="1715" name="Oval 1714">
                    <a:extLst>
                      <a:ext uri="{FF2B5EF4-FFF2-40B4-BE49-F238E27FC236}">
                        <a16:creationId xmlns:a16="http://schemas.microsoft.com/office/drawing/2014/main" id="{3F5D635B-7E73-4171-889D-51A9FF731B7F}"/>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16" name="Freeform: Shape 1715">
                    <a:extLst>
                      <a:ext uri="{FF2B5EF4-FFF2-40B4-BE49-F238E27FC236}">
                        <a16:creationId xmlns:a16="http://schemas.microsoft.com/office/drawing/2014/main" id="{449A879A-75FE-4F03-BA9E-E7A249634ED0}"/>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712" name="Group 1711">
                  <a:extLst>
                    <a:ext uri="{FF2B5EF4-FFF2-40B4-BE49-F238E27FC236}">
                      <a16:creationId xmlns:a16="http://schemas.microsoft.com/office/drawing/2014/main" id="{067DB740-41EA-429B-9979-A6EF8A852E9C}"/>
                    </a:ext>
                  </a:extLst>
                </p:cNvPr>
                <p:cNvGrpSpPr/>
                <p:nvPr/>
              </p:nvGrpSpPr>
              <p:grpSpPr>
                <a:xfrm>
                  <a:off x="1934732" y="3900803"/>
                  <a:ext cx="219868" cy="219868"/>
                  <a:chOff x="1218819" y="4058009"/>
                  <a:chExt cx="219868" cy="219868"/>
                </a:xfrm>
              </p:grpSpPr>
              <p:sp>
                <p:nvSpPr>
                  <p:cNvPr id="1713" name="Oval 1712">
                    <a:extLst>
                      <a:ext uri="{FF2B5EF4-FFF2-40B4-BE49-F238E27FC236}">
                        <a16:creationId xmlns:a16="http://schemas.microsoft.com/office/drawing/2014/main" id="{32AA3E7E-3BFB-44E4-8EBA-0ECCABC03CED}"/>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14" name="Freeform: Shape 1713">
                    <a:extLst>
                      <a:ext uri="{FF2B5EF4-FFF2-40B4-BE49-F238E27FC236}">
                        <a16:creationId xmlns:a16="http://schemas.microsoft.com/office/drawing/2014/main" id="{82DDD56A-0C08-4BCA-B17F-0629A6DDF8EF}"/>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31" name="Group 1330">
                <a:extLst>
                  <a:ext uri="{FF2B5EF4-FFF2-40B4-BE49-F238E27FC236}">
                    <a16:creationId xmlns:a16="http://schemas.microsoft.com/office/drawing/2014/main" id="{8B3ADF90-33B5-4CF1-B88E-912AD6BBFBEC}"/>
                  </a:ext>
                </a:extLst>
              </p:cNvPr>
              <p:cNvGrpSpPr/>
              <p:nvPr/>
            </p:nvGrpSpPr>
            <p:grpSpPr>
              <a:xfrm>
                <a:off x="4696684" y="4617609"/>
                <a:ext cx="219868" cy="1073789"/>
                <a:chOff x="1600640" y="3900803"/>
                <a:chExt cx="219868" cy="1073789"/>
              </a:xfrm>
            </p:grpSpPr>
            <p:grpSp>
              <p:nvGrpSpPr>
                <p:cNvPr id="1693" name="Group 1692">
                  <a:extLst>
                    <a:ext uri="{FF2B5EF4-FFF2-40B4-BE49-F238E27FC236}">
                      <a16:creationId xmlns:a16="http://schemas.microsoft.com/office/drawing/2014/main" id="{BC133CBB-297F-4D48-8F9F-7E887E2481C5}"/>
                    </a:ext>
                  </a:extLst>
                </p:cNvPr>
                <p:cNvGrpSpPr/>
                <p:nvPr/>
              </p:nvGrpSpPr>
              <p:grpSpPr>
                <a:xfrm>
                  <a:off x="1600640" y="4754724"/>
                  <a:ext cx="219868" cy="219868"/>
                  <a:chOff x="1677883" y="4334258"/>
                  <a:chExt cx="219868" cy="219868"/>
                </a:xfrm>
              </p:grpSpPr>
              <p:sp>
                <p:nvSpPr>
                  <p:cNvPr id="1706" name="Oval 1705">
                    <a:extLst>
                      <a:ext uri="{FF2B5EF4-FFF2-40B4-BE49-F238E27FC236}">
                        <a16:creationId xmlns:a16="http://schemas.microsoft.com/office/drawing/2014/main" id="{D1F38382-23E3-4E24-91D7-2D4171312FBE}"/>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07" name="Freeform: Shape 1706">
                    <a:extLst>
                      <a:ext uri="{FF2B5EF4-FFF2-40B4-BE49-F238E27FC236}">
                        <a16:creationId xmlns:a16="http://schemas.microsoft.com/office/drawing/2014/main" id="{2C3B8DBD-CA18-4265-B9A9-5A0CDBEC76E5}"/>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94" name="Group 1693">
                  <a:extLst>
                    <a:ext uri="{FF2B5EF4-FFF2-40B4-BE49-F238E27FC236}">
                      <a16:creationId xmlns:a16="http://schemas.microsoft.com/office/drawing/2014/main" id="{D64EA548-01EE-42FC-B861-A9AD011B40B8}"/>
                    </a:ext>
                  </a:extLst>
                </p:cNvPr>
                <p:cNvGrpSpPr/>
                <p:nvPr/>
              </p:nvGrpSpPr>
              <p:grpSpPr>
                <a:xfrm>
                  <a:off x="1600640" y="4541489"/>
                  <a:ext cx="219868" cy="219868"/>
                  <a:chOff x="1299278" y="4593318"/>
                  <a:chExt cx="219868" cy="219868"/>
                </a:xfrm>
              </p:grpSpPr>
              <p:sp>
                <p:nvSpPr>
                  <p:cNvPr id="1704" name="Oval 1703">
                    <a:extLst>
                      <a:ext uri="{FF2B5EF4-FFF2-40B4-BE49-F238E27FC236}">
                        <a16:creationId xmlns:a16="http://schemas.microsoft.com/office/drawing/2014/main" id="{5D8DBDFD-D8BA-424A-A757-37B2DE2E8847}"/>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05" name="Freeform: Shape 1704">
                    <a:extLst>
                      <a:ext uri="{FF2B5EF4-FFF2-40B4-BE49-F238E27FC236}">
                        <a16:creationId xmlns:a16="http://schemas.microsoft.com/office/drawing/2014/main" id="{53F94205-5865-4042-AFEF-7150730B3CE9}"/>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695" name="Group 1694">
                  <a:extLst>
                    <a:ext uri="{FF2B5EF4-FFF2-40B4-BE49-F238E27FC236}">
                      <a16:creationId xmlns:a16="http://schemas.microsoft.com/office/drawing/2014/main" id="{984C53CE-610D-40C5-8969-062D84FF3C26}"/>
                    </a:ext>
                  </a:extLst>
                </p:cNvPr>
                <p:cNvGrpSpPr/>
                <p:nvPr/>
              </p:nvGrpSpPr>
              <p:grpSpPr>
                <a:xfrm>
                  <a:off x="1600640" y="3900803"/>
                  <a:ext cx="219868" cy="219868"/>
                  <a:chOff x="1677883" y="4334258"/>
                  <a:chExt cx="219868" cy="219868"/>
                </a:xfrm>
              </p:grpSpPr>
              <p:sp>
                <p:nvSpPr>
                  <p:cNvPr id="1702" name="Oval 1701">
                    <a:extLst>
                      <a:ext uri="{FF2B5EF4-FFF2-40B4-BE49-F238E27FC236}">
                        <a16:creationId xmlns:a16="http://schemas.microsoft.com/office/drawing/2014/main" id="{C19AD91D-6D2F-4D06-8963-C46879FA12FE}"/>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03" name="Freeform: Shape 1702">
                    <a:extLst>
                      <a:ext uri="{FF2B5EF4-FFF2-40B4-BE49-F238E27FC236}">
                        <a16:creationId xmlns:a16="http://schemas.microsoft.com/office/drawing/2014/main" id="{AB743E75-0044-490A-88B4-9C578B7A72D5}"/>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96" name="Group 1695">
                  <a:extLst>
                    <a:ext uri="{FF2B5EF4-FFF2-40B4-BE49-F238E27FC236}">
                      <a16:creationId xmlns:a16="http://schemas.microsoft.com/office/drawing/2014/main" id="{F93F1FFF-50DF-43CB-8477-924ACE0D2A53}"/>
                    </a:ext>
                  </a:extLst>
                </p:cNvPr>
                <p:cNvGrpSpPr/>
                <p:nvPr/>
              </p:nvGrpSpPr>
              <p:grpSpPr>
                <a:xfrm>
                  <a:off x="1600640" y="4335319"/>
                  <a:ext cx="219868" cy="219868"/>
                  <a:chOff x="1218819" y="4058009"/>
                  <a:chExt cx="219868" cy="219868"/>
                </a:xfrm>
              </p:grpSpPr>
              <p:sp>
                <p:nvSpPr>
                  <p:cNvPr id="1700" name="Oval 1699">
                    <a:extLst>
                      <a:ext uri="{FF2B5EF4-FFF2-40B4-BE49-F238E27FC236}">
                        <a16:creationId xmlns:a16="http://schemas.microsoft.com/office/drawing/2014/main" id="{72B03BD9-35DD-4583-92A9-FC414E3AA8D0}"/>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01" name="Freeform: Shape 1700">
                    <a:extLst>
                      <a:ext uri="{FF2B5EF4-FFF2-40B4-BE49-F238E27FC236}">
                        <a16:creationId xmlns:a16="http://schemas.microsoft.com/office/drawing/2014/main" id="{9A341984-7536-4C93-9D80-CA40685210E8}"/>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697" name="Group 1696">
                  <a:extLst>
                    <a:ext uri="{FF2B5EF4-FFF2-40B4-BE49-F238E27FC236}">
                      <a16:creationId xmlns:a16="http://schemas.microsoft.com/office/drawing/2014/main" id="{E8EA036B-65FE-4A47-9243-102ACD10C281}"/>
                    </a:ext>
                  </a:extLst>
                </p:cNvPr>
                <p:cNvGrpSpPr/>
                <p:nvPr/>
              </p:nvGrpSpPr>
              <p:grpSpPr>
                <a:xfrm>
                  <a:off x="1600640" y="4124939"/>
                  <a:ext cx="219868" cy="219868"/>
                  <a:chOff x="1218819" y="4058009"/>
                  <a:chExt cx="219868" cy="219868"/>
                </a:xfrm>
              </p:grpSpPr>
              <p:sp>
                <p:nvSpPr>
                  <p:cNvPr id="1698" name="Oval 1697">
                    <a:extLst>
                      <a:ext uri="{FF2B5EF4-FFF2-40B4-BE49-F238E27FC236}">
                        <a16:creationId xmlns:a16="http://schemas.microsoft.com/office/drawing/2014/main" id="{3BE5D055-37BC-4C3C-9FE2-25534ECFCB8F}"/>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99" name="Freeform: Shape 1698">
                    <a:extLst>
                      <a:ext uri="{FF2B5EF4-FFF2-40B4-BE49-F238E27FC236}">
                        <a16:creationId xmlns:a16="http://schemas.microsoft.com/office/drawing/2014/main" id="{68563FAA-F569-4FC5-A8D1-BD1608F1993C}"/>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32" name="Group 1331">
                <a:extLst>
                  <a:ext uri="{FF2B5EF4-FFF2-40B4-BE49-F238E27FC236}">
                    <a16:creationId xmlns:a16="http://schemas.microsoft.com/office/drawing/2014/main" id="{E0BBCD03-27E3-4E3F-9C49-3BA2D3BCD643}"/>
                  </a:ext>
                </a:extLst>
              </p:cNvPr>
              <p:cNvGrpSpPr/>
              <p:nvPr/>
            </p:nvGrpSpPr>
            <p:grpSpPr>
              <a:xfrm>
                <a:off x="4696684" y="4617609"/>
                <a:ext cx="219868" cy="1073789"/>
                <a:chOff x="1881860" y="3900803"/>
                <a:chExt cx="219868" cy="1073789"/>
              </a:xfrm>
            </p:grpSpPr>
            <p:grpSp>
              <p:nvGrpSpPr>
                <p:cNvPr id="1678" name="Group 1677">
                  <a:extLst>
                    <a:ext uri="{FF2B5EF4-FFF2-40B4-BE49-F238E27FC236}">
                      <a16:creationId xmlns:a16="http://schemas.microsoft.com/office/drawing/2014/main" id="{99CA07AC-9A79-4253-95E8-59647A86C2E3}"/>
                    </a:ext>
                  </a:extLst>
                </p:cNvPr>
                <p:cNvGrpSpPr/>
                <p:nvPr/>
              </p:nvGrpSpPr>
              <p:grpSpPr>
                <a:xfrm>
                  <a:off x="1881860" y="4124939"/>
                  <a:ext cx="219868" cy="219868"/>
                  <a:chOff x="1677883" y="4334258"/>
                  <a:chExt cx="219868" cy="219868"/>
                </a:xfrm>
              </p:grpSpPr>
              <p:sp>
                <p:nvSpPr>
                  <p:cNvPr id="1691" name="Oval 1690">
                    <a:extLst>
                      <a:ext uri="{FF2B5EF4-FFF2-40B4-BE49-F238E27FC236}">
                        <a16:creationId xmlns:a16="http://schemas.microsoft.com/office/drawing/2014/main" id="{B065D9C6-F599-403F-9FA4-BE175BDED80D}"/>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92" name="Freeform: Shape 1691">
                    <a:extLst>
                      <a:ext uri="{FF2B5EF4-FFF2-40B4-BE49-F238E27FC236}">
                        <a16:creationId xmlns:a16="http://schemas.microsoft.com/office/drawing/2014/main" id="{928D9128-FCA9-4D43-B0FC-E0C034004B34}"/>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79" name="Group 1678">
                  <a:extLst>
                    <a:ext uri="{FF2B5EF4-FFF2-40B4-BE49-F238E27FC236}">
                      <a16:creationId xmlns:a16="http://schemas.microsoft.com/office/drawing/2014/main" id="{5D0BD0AF-2DA0-4DAE-987C-D84B6EA41D6D}"/>
                    </a:ext>
                  </a:extLst>
                </p:cNvPr>
                <p:cNvGrpSpPr/>
                <p:nvPr/>
              </p:nvGrpSpPr>
              <p:grpSpPr>
                <a:xfrm>
                  <a:off x="1881860" y="3900803"/>
                  <a:ext cx="219868" cy="219868"/>
                  <a:chOff x="1677883" y="4334258"/>
                  <a:chExt cx="219868" cy="219868"/>
                </a:xfrm>
              </p:grpSpPr>
              <p:sp>
                <p:nvSpPr>
                  <p:cNvPr id="1689" name="Oval 1688">
                    <a:extLst>
                      <a:ext uri="{FF2B5EF4-FFF2-40B4-BE49-F238E27FC236}">
                        <a16:creationId xmlns:a16="http://schemas.microsoft.com/office/drawing/2014/main" id="{A3F52FC7-7DA8-4555-98AB-C515927B1123}"/>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90" name="Freeform: Shape 1689">
                    <a:extLst>
                      <a:ext uri="{FF2B5EF4-FFF2-40B4-BE49-F238E27FC236}">
                        <a16:creationId xmlns:a16="http://schemas.microsoft.com/office/drawing/2014/main" id="{8448BC67-4358-4C30-819B-269F2EC73910}"/>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80" name="Group 1679">
                  <a:extLst>
                    <a:ext uri="{FF2B5EF4-FFF2-40B4-BE49-F238E27FC236}">
                      <a16:creationId xmlns:a16="http://schemas.microsoft.com/office/drawing/2014/main" id="{B58FF43F-9347-459A-8502-7BAA9E3BD700}"/>
                    </a:ext>
                  </a:extLst>
                </p:cNvPr>
                <p:cNvGrpSpPr/>
                <p:nvPr/>
              </p:nvGrpSpPr>
              <p:grpSpPr>
                <a:xfrm>
                  <a:off x="1881860" y="4754724"/>
                  <a:ext cx="219868" cy="219868"/>
                  <a:chOff x="1299278" y="4593318"/>
                  <a:chExt cx="219868" cy="219868"/>
                </a:xfrm>
              </p:grpSpPr>
              <p:sp>
                <p:nvSpPr>
                  <p:cNvPr id="1687" name="Oval 1686">
                    <a:extLst>
                      <a:ext uri="{FF2B5EF4-FFF2-40B4-BE49-F238E27FC236}">
                        <a16:creationId xmlns:a16="http://schemas.microsoft.com/office/drawing/2014/main" id="{C61F4AE3-2C75-4F08-8C6D-0ED8158611B8}"/>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88" name="Freeform: Shape 1687">
                    <a:extLst>
                      <a:ext uri="{FF2B5EF4-FFF2-40B4-BE49-F238E27FC236}">
                        <a16:creationId xmlns:a16="http://schemas.microsoft.com/office/drawing/2014/main" id="{DEC5ABB2-DE43-4B9F-86D0-26B03EA03909}"/>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681" name="Group 1680">
                  <a:extLst>
                    <a:ext uri="{FF2B5EF4-FFF2-40B4-BE49-F238E27FC236}">
                      <a16:creationId xmlns:a16="http://schemas.microsoft.com/office/drawing/2014/main" id="{53039CDD-3F62-43C1-82D2-3C33A3FE93D0}"/>
                    </a:ext>
                  </a:extLst>
                </p:cNvPr>
                <p:cNvGrpSpPr/>
                <p:nvPr/>
              </p:nvGrpSpPr>
              <p:grpSpPr>
                <a:xfrm>
                  <a:off x="1881860" y="4541489"/>
                  <a:ext cx="219868" cy="219868"/>
                  <a:chOff x="1218819" y="4058009"/>
                  <a:chExt cx="219868" cy="219868"/>
                </a:xfrm>
              </p:grpSpPr>
              <p:sp>
                <p:nvSpPr>
                  <p:cNvPr id="1685" name="Oval 1684">
                    <a:extLst>
                      <a:ext uri="{FF2B5EF4-FFF2-40B4-BE49-F238E27FC236}">
                        <a16:creationId xmlns:a16="http://schemas.microsoft.com/office/drawing/2014/main" id="{E7A64D5A-02D8-44A5-B077-9494391B9DC9}"/>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86" name="Freeform: Shape 1685">
                    <a:extLst>
                      <a:ext uri="{FF2B5EF4-FFF2-40B4-BE49-F238E27FC236}">
                        <a16:creationId xmlns:a16="http://schemas.microsoft.com/office/drawing/2014/main" id="{86A55543-CBD0-4195-B44D-D36DFB429D11}"/>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682" name="Group 1681">
                  <a:extLst>
                    <a:ext uri="{FF2B5EF4-FFF2-40B4-BE49-F238E27FC236}">
                      <a16:creationId xmlns:a16="http://schemas.microsoft.com/office/drawing/2014/main" id="{36E43BE2-F5E4-4D93-8425-7F9FFB68F9BA}"/>
                    </a:ext>
                  </a:extLst>
                </p:cNvPr>
                <p:cNvGrpSpPr/>
                <p:nvPr/>
              </p:nvGrpSpPr>
              <p:grpSpPr>
                <a:xfrm>
                  <a:off x="1881860" y="4335319"/>
                  <a:ext cx="219868" cy="219868"/>
                  <a:chOff x="1218819" y="4058009"/>
                  <a:chExt cx="219868" cy="219868"/>
                </a:xfrm>
              </p:grpSpPr>
              <p:sp>
                <p:nvSpPr>
                  <p:cNvPr id="1683" name="Oval 1682">
                    <a:extLst>
                      <a:ext uri="{FF2B5EF4-FFF2-40B4-BE49-F238E27FC236}">
                        <a16:creationId xmlns:a16="http://schemas.microsoft.com/office/drawing/2014/main" id="{EFE1A7B0-C051-4BF3-8D80-AD6C0904DC3D}"/>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84" name="Freeform: Shape 1683">
                    <a:extLst>
                      <a:ext uri="{FF2B5EF4-FFF2-40B4-BE49-F238E27FC236}">
                        <a16:creationId xmlns:a16="http://schemas.microsoft.com/office/drawing/2014/main" id="{E92A9485-D3F7-4519-A0AF-365716F754AC}"/>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33" name="Group 1332">
                <a:extLst>
                  <a:ext uri="{FF2B5EF4-FFF2-40B4-BE49-F238E27FC236}">
                    <a16:creationId xmlns:a16="http://schemas.microsoft.com/office/drawing/2014/main" id="{4C2F3ECA-7285-4530-BC9B-159435690780}"/>
                  </a:ext>
                </a:extLst>
              </p:cNvPr>
              <p:cNvGrpSpPr/>
              <p:nvPr/>
            </p:nvGrpSpPr>
            <p:grpSpPr>
              <a:xfrm>
                <a:off x="4696684" y="4617609"/>
                <a:ext cx="219868" cy="1073789"/>
                <a:chOff x="2729749" y="3900803"/>
                <a:chExt cx="219868" cy="1073789"/>
              </a:xfrm>
            </p:grpSpPr>
            <p:grpSp>
              <p:nvGrpSpPr>
                <p:cNvPr id="1663" name="Group 1662">
                  <a:extLst>
                    <a:ext uri="{FF2B5EF4-FFF2-40B4-BE49-F238E27FC236}">
                      <a16:creationId xmlns:a16="http://schemas.microsoft.com/office/drawing/2014/main" id="{2C5CDA06-5611-4575-B34D-223D8164EF6A}"/>
                    </a:ext>
                  </a:extLst>
                </p:cNvPr>
                <p:cNvGrpSpPr/>
                <p:nvPr/>
              </p:nvGrpSpPr>
              <p:grpSpPr>
                <a:xfrm>
                  <a:off x="2729749" y="4754724"/>
                  <a:ext cx="219868" cy="219868"/>
                  <a:chOff x="1218819" y="4058009"/>
                  <a:chExt cx="219868" cy="219868"/>
                </a:xfrm>
              </p:grpSpPr>
              <p:sp>
                <p:nvSpPr>
                  <p:cNvPr id="1676" name="Oval 1675">
                    <a:extLst>
                      <a:ext uri="{FF2B5EF4-FFF2-40B4-BE49-F238E27FC236}">
                        <a16:creationId xmlns:a16="http://schemas.microsoft.com/office/drawing/2014/main" id="{D9011E27-EB21-4EF0-B37F-A4899158A0BD}"/>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77" name="Freeform: Shape 1676">
                    <a:extLst>
                      <a:ext uri="{FF2B5EF4-FFF2-40B4-BE49-F238E27FC236}">
                        <a16:creationId xmlns:a16="http://schemas.microsoft.com/office/drawing/2014/main" id="{1AA9AA18-F9B6-4110-9A95-4A292FD22877}"/>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664" name="Group 1663">
                  <a:extLst>
                    <a:ext uri="{FF2B5EF4-FFF2-40B4-BE49-F238E27FC236}">
                      <a16:creationId xmlns:a16="http://schemas.microsoft.com/office/drawing/2014/main" id="{B84C3D13-CE93-4701-982E-62A80199E344}"/>
                    </a:ext>
                  </a:extLst>
                </p:cNvPr>
                <p:cNvGrpSpPr/>
                <p:nvPr/>
              </p:nvGrpSpPr>
              <p:grpSpPr>
                <a:xfrm>
                  <a:off x="2729749" y="4335319"/>
                  <a:ext cx="219868" cy="219868"/>
                  <a:chOff x="1677883" y="4334258"/>
                  <a:chExt cx="219868" cy="219868"/>
                </a:xfrm>
              </p:grpSpPr>
              <p:sp>
                <p:nvSpPr>
                  <p:cNvPr id="1674" name="Oval 1673">
                    <a:extLst>
                      <a:ext uri="{FF2B5EF4-FFF2-40B4-BE49-F238E27FC236}">
                        <a16:creationId xmlns:a16="http://schemas.microsoft.com/office/drawing/2014/main" id="{01C544ED-EE79-4E6F-99D5-4865733D78FE}"/>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75" name="Freeform: Shape 1674">
                    <a:extLst>
                      <a:ext uri="{FF2B5EF4-FFF2-40B4-BE49-F238E27FC236}">
                        <a16:creationId xmlns:a16="http://schemas.microsoft.com/office/drawing/2014/main" id="{4C0F6E52-F401-41E8-B6F9-E5840CBC2320}"/>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65" name="Group 1664">
                  <a:extLst>
                    <a:ext uri="{FF2B5EF4-FFF2-40B4-BE49-F238E27FC236}">
                      <a16:creationId xmlns:a16="http://schemas.microsoft.com/office/drawing/2014/main" id="{F967830D-9B70-439D-B02C-B367A9309540}"/>
                    </a:ext>
                  </a:extLst>
                </p:cNvPr>
                <p:cNvGrpSpPr/>
                <p:nvPr/>
              </p:nvGrpSpPr>
              <p:grpSpPr>
                <a:xfrm>
                  <a:off x="2729749" y="4124939"/>
                  <a:ext cx="219868" cy="219868"/>
                  <a:chOff x="1677883" y="4334258"/>
                  <a:chExt cx="219868" cy="219868"/>
                </a:xfrm>
              </p:grpSpPr>
              <p:sp>
                <p:nvSpPr>
                  <p:cNvPr id="1672" name="Oval 1671">
                    <a:extLst>
                      <a:ext uri="{FF2B5EF4-FFF2-40B4-BE49-F238E27FC236}">
                        <a16:creationId xmlns:a16="http://schemas.microsoft.com/office/drawing/2014/main" id="{854523B0-158D-46B4-A396-FAF18ECA1B3E}"/>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73" name="Freeform: Shape 1672">
                    <a:extLst>
                      <a:ext uri="{FF2B5EF4-FFF2-40B4-BE49-F238E27FC236}">
                        <a16:creationId xmlns:a16="http://schemas.microsoft.com/office/drawing/2014/main" id="{72FC2AC5-3AE0-4D74-99D0-4085429258CA}"/>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66" name="Group 1665">
                  <a:extLst>
                    <a:ext uri="{FF2B5EF4-FFF2-40B4-BE49-F238E27FC236}">
                      <a16:creationId xmlns:a16="http://schemas.microsoft.com/office/drawing/2014/main" id="{955FA14E-FA25-451F-B4C8-0A43BFFB97FE}"/>
                    </a:ext>
                  </a:extLst>
                </p:cNvPr>
                <p:cNvGrpSpPr/>
                <p:nvPr/>
              </p:nvGrpSpPr>
              <p:grpSpPr>
                <a:xfrm>
                  <a:off x="2729749" y="3900803"/>
                  <a:ext cx="219868" cy="219868"/>
                  <a:chOff x="1299278" y="4593318"/>
                  <a:chExt cx="219868" cy="219868"/>
                </a:xfrm>
              </p:grpSpPr>
              <p:sp>
                <p:nvSpPr>
                  <p:cNvPr id="1670" name="Oval 1669">
                    <a:extLst>
                      <a:ext uri="{FF2B5EF4-FFF2-40B4-BE49-F238E27FC236}">
                        <a16:creationId xmlns:a16="http://schemas.microsoft.com/office/drawing/2014/main" id="{C3718A41-A00C-4737-AA3C-AE8BED24B5AE}"/>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71" name="Freeform: Shape 1670">
                    <a:extLst>
                      <a:ext uri="{FF2B5EF4-FFF2-40B4-BE49-F238E27FC236}">
                        <a16:creationId xmlns:a16="http://schemas.microsoft.com/office/drawing/2014/main" id="{CA3EE908-A5E7-47CA-9BD5-927C4172CD1A}"/>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667" name="Group 1666">
                  <a:extLst>
                    <a:ext uri="{FF2B5EF4-FFF2-40B4-BE49-F238E27FC236}">
                      <a16:creationId xmlns:a16="http://schemas.microsoft.com/office/drawing/2014/main" id="{8E4C41B4-C90B-4D2E-A995-410D0DD06687}"/>
                    </a:ext>
                  </a:extLst>
                </p:cNvPr>
                <p:cNvGrpSpPr/>
                <p:nvPr/>
              </p:nvGrpSpPr>
              <p:grpSpPr>
                <a:xfrm>
                  <a:off x="2729749" y="4541489"/>
                  <a:ext cx="219868" cy="219868"/>
                  <a:chOff x="1218819" y="4058009"/>
                  <a:chExt cx="219868" cy="219868"/>
                </a:xfrm>
              </p:grpSpPr>
              <p:sp>
                <p:nvSpPr>
                  <p:cNvPr id="1668" name="Oval 1667">
                    <a:extLst>
                      <a:ext uri="{FF2B5EF4-FFF2-40B4-BE49-F238E27FC236}">
                        <a16:creationId xmlns:a16="http://schemas.microsoft.com/office/drawing/2014/main" id="{37686D99-F1E6-4FB4-8D0E-3066B9A6AE5D}"/>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69" name="Freeform: Shape 1668">
                    <a:extLst>
                      <a:ext uri="{FF2B5EF4-FFF2-40B4-BE49-F238E27FC236}">
                        <a16:creationId xmlns:a16="http://schemas.microsoft.com/office/drawing/2014/main" id="{BCEABFFF-BB47-4F17-B6AD-911D7F4F38BA}"/>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34" name="Group 1333">
                <a:extLst>
                  <a:ext uri="{FF2B5EF4-FFF2-40B4-BE49-F238E27FC236}">
                    <a16:creationId xmlns:a16="http://schemas.microsoft.com/office/drawing/2014/main" id="{52854850-5FA3-4586-871C-9A29E0E9CE45}"/>
                  </a:ext>
                </a:extLst>
              </p:cNvPr>
              <p:cNvGrpSpPr/>
              <p:nvPr/>
            </p:nvGrpSpPr>
            <p:grpSpPr>
              <a:xfrm>
                <a:off x="4696684" y="4617609"/>
                <a:ext cx="219868" cy="1073789"/>
                <a:chOff x="1995813" y="3900803"/>
                <a:chExt cx="219868" cy="1073789"/>
              </a:xfrm>
            </p:grpSpPr>
            <p:grpSp>
              <p:nvGrpSpPr>
                <p:cNvPr id="1648" name="Group 1647">
                  <a:extLst>
                    <a:ext uri="{FF2B5EF4-FFF2-40B4-BE49-F238E27FC236}">
                      <a16:creationId xmlns:a16="http://schemas.microsoft.com/office/drawing/2014/main" id="{379A6250-A69C-440C-B82B-2563394A470E}"/>
                    </a:ext>
                  </a:extLst>
                </p:cNvPr>
                <p:cNvGrpSpPr/>
                <p:nvPr/>
              </p:nvGrpSpPr>
              <p:grpSpPr>
                <a:xfrm>
                  <a:off x="1995813" y="4754724"/>
                  <a:ext cx="219868" cy="219868"/>
                  <a:chOff x="1218819" y="4058009"/>
                  <a:chExt cx="219868" cy="219868"/>
                </a:xfrm>
              </p:grpSpPr>
              <p:sp>
                <p:nvSpPr>
                  <p:cNvPr id="1661" name="Oval 1660">
                    <a:extLst>
                      <a:ext uri="{FF2B5EF4-FFF2-40B4-BE49-F238E27FC236}">
                        <a16:creationId xmlns:a16="http://schemas.microsoft.com/office/drawing/2014/main" id="{B3F5AE39-3045-4414-A4B4-4881A4D2F7DC}"/>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62" name="Freeform: Shape 1661">
                    <a:extLst>
                      <a:ext uri="{FF2B5EF4-FFF2-40B4-BE49-F238E27FC236}">
                        <a16:creationId xmlns:a16="http://schemas.microsoft.com/office/drawing/2014/main" id="{31CAEBC9-23D7-428F-BEA2-3D39547678E2}"/>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649" name="Group 1648">
                  <a:extLst>
                    <a:ext uri="{FF2B5EF4-FFF2-40B4-BE49-F238E27FC236}">
                      <a16:creationId xmlns:a16="http://schemas.microsoft.com/office/drawing/2014/main" id="{6DA33A91-1A79-45ED-ACC0-3E23B1CFD152}"/>
                    </a:ext>
                  </a:extLst>
                </p:cNvPr>
                <p:cNvGrpSpPr/>
                <p:nvPr/>
              </p:nvGrpSpPr>
              <p:grpSpPr>
                <a:xfrm>
                  <a:off x="1995813" y="4541489"/>
                  <a:ext cx="219868" cy="219868"/>
                  <a:chOff x="1677883" y="4334258"/>
                  <a:chExt cx="219868" cy="219868"/>
                </a:xfrm>
              </p:grpSpPr>
              <p:sp>
                <p:nvSpPr>
                  <p:cNvPr id="1659" name="Oval 1658">
                    <a:extLst>
                      <a:ext uri="{FF2B5EF4-FFF2-40B4-BE49-F238E27FC236}">
                        <a16:creationId xmlns:a16="http://schemas.microsoft.com/office/drawing/2014/main" id="{9842E5F1-E89C-4D83-8A09-29539B60B820}"/>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60" name="Freeform: Shape 1659">
                    <a:extLst>
                      <a:ext uri="{FF2B5EF4-FFF2-40B4-BE49-F238E27FC236}">
                        <a16:creationId xmlns:a16="http://schemas.microsoft.com/office/drawing/2014/main" id="{C02D6222-FF69-41D1-9812-3AF47B7A6BA5}"/>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50" name="Group 1649">
                  <a:extLst>
                    <a:ext uri="{FF2B5EF4-FFF2-40B4-BE49-F238E27FC236}">
                      <a16:creationId xmlns:a16="http://schemas.microsoft.com/office/drawing/2014/main" id="{A2BFABC9-E2B2-42BF-931B-8BD8E18C7C81}"/>
                    </a:ext>
                  </a:extLst>
                </p:cNvPr>
                <p:cNvGrpSpPr/>
                <p:nvPr/>
              </p:nvGrpSpPr>
              <p:grpSpPr>
                <a:xfrm>
                  <a:off x="1995813" y="4335319"/>
                  <a:ext cx="219868" cy="219868"/>
                  <a:chOff x="1677883" y="4334258"/>
                  <a:chExt cx="219868" cy="219868"/>
                </a:xfrm>
              </p:grpSpPr>
              <p:sp>
                <p:nvSpPr>
                  <p:cNvPr id="1657" name="Oval 1656">
                    <a:extLst>
                      <a:ext uri="{FF2B5EF4-FFF2-40B4-BE49-F238E27FC236}">
                        <a16:creationId xmlns:a16="http://schemas.microsoft.com/office/drawing/2014/main" id="{50F572F4-0A5C-4C2E-8F3A-F266EA90B13A}"/>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58" name="Freeform: Shape 1657">
                    <a:extLst>
                      <a:ext uri="{FF2B5EF4-FFF2-40B4-BE49-F238E27FC236}">
                        <a16:creationId xmlns:a16="http://schemas.microsoft.com/office/drawing/2014/main" id="{1DA7E77B-FC8B-47E2-AB2E-198D58DA51DA}"/>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51" name="Group 1650">
                  <a:extLst>
                    <a:ext uri="{FF2B5EF4-FFF2-40B4-BE49-F238E27FC236}">
                      <a16:creationId xmlns:a16="http://schemas.microsoft.com/office/drawing/2014/main" id="{7D6CCF5B-68A1-44FE-98EC-4D3B4EAAA1EE}"/>
                    </a:ext>
                  </a:extLst>
                </p:cNvPr>
                <p:cNvGrpSpPr/>
                <p:nvPr/>
              </p:nvGrpSpPr>
              <p:grpSpPr>
                <a:xfrm>
                  <a:off x="1995813" y="4124939"/>
                  <a:ext cx="219868" cy="219868"/>
                  <a:chOff x="1299278" y="4593318"/>
                  <a:chExt cx="219868" cy="219868"/>
                </a:xfrm>
              </p:grpSpPr>
              <p:sp>
                <p:nvSpPr>
                  <p:cNvPr id="1655" name="Oval 1654">
                    <a:extLst>
                      <a:ext uri="{FF2B5EF4-FFF2-40B4-BE49-F238E27FC236}">
                        <a16:creationId xmlns:a16="http://schemas.microsoft.com/office/drawing/2014/main" id="{68E9437C-BF27-4907-A6D3-738DC7661C8F}"/>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56" name="Freeform: Shape 1655">
                    <a:extLst>
                      <a:ext uri="{FF2B5EF4-FFF2-40B4-BE49-F238E27FC236}">
                        <a16:creationId xmlns:a16="http://schemas.microsoft.com/office/drawing/2014/main" id="{268E9A93-33E4-4CFB-A99B-687929FBDBA2}"/>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652" name="Group 1651">
                  <a:extLst>
                    <a:ext uri="{FF2B5EF4-FFF2-40B4-BE49-F238E27FC236}">
                      <a16:creationId xmlns:a16="http://schemas.microsoft.com/office/drawing/2014/main" id="{EF194029-7B2E-4102-B0E0-7376C718EB4C}"/>
                    </a:ext>
                  </a:extLst>
                </p:cNvPr>
                <p:cNvGrpSpPr/>
                <p:nvPr/>
              </p:nvGrpSpPr>
              <p:grpSpPr>
                <a:xfrm>
                  <a:off x="1995813" y="3900803"/>
                  <a:ext cx="219868" cy="219868"/>
                  <a:chOff x="1218819" y="4058009"/>
                  <a:chExt cx="219868" cy="219868"/>
                </a:xfrm>
              </p:grpSpPr>
              <p:sp>
                <p:nvSpPr>
                  <p:cNvPr id="1653" name="Oval 1652">
                    <a:extLst>
                      <a:ext uri="{FF2B5EF4-FFF2-40B4-BE49-F238E27FC236}">
                        <a16:creationId xmlns:a16="http://schemas.microsoft.com/office/drawing/2014/main" id="{8845D5C8-9DEE-4E9D-81F9-0E5D3AA3333D}"/>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54" name="Freeform: Shape 1653">
                    <a:extLst>
                      <a:ext uri="{FF2B5EF4-FFF2-40B4-BE49-F238E27FC236}">
                        <a16:creationId xmlns:a16="http://schemas.microsoft.com/office/drawing/2014/main" id="{07058B46-06A1-447C-B83D-2FBAF5B43417}"/>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55" name="Group 1354">
                <a:extLst>
                  <a:ext uri="{FF2B5EF4-FFF2-40B4-BE49-F238E27FC236}">
                    <a16:creationId xmlns:a16="http://schemas.microsoft.com/office/drawing/2014/main" id="{F77F3EB1-9570-485B-980E-D1FAB8DF7534}"/>
                  </a:ext>
                </a:extLst>
              </p:cNvPr>
              <p:cNvGrpSpPr/>
              <p:nvPr/>
            </p:nvGrpSpPr>
            <p:grpSpPr>
              <a:xfrm>
                <a:off x="4696684" y="4617609"/>
                <a:ext cx="219868" cy="1073789"/>
                <a:chOff x="3508238" y="3825568"/>
                <a:chExt cx="219868" cy="1073789"/>
              </a:xfrm>
            </p:grpSpPr>
            <p:grpSp>
              <p:nvGrpSpPr>
                <p:cNvPr id="1408" name="Group 1407">
                  <a:extLst>
                    <a:ext uri="{FF2B5EF4-FFF2-40B4-BE49-F238E27FC236}">
                      <a16:creationId xmlns:a16="http://schemas.microsoft.com/office/drawing/2014/main" id="{AB872D20-61D9-43E5-989A-E800D6727AB0}"/>
                    </a:ext>
                  </a:extLst>
                </p:cNvPr>
                <p:cNvGrpSpPr/>
                <p:nvPr/>
              </p:nvGrpSpPr>
              <p:grpSpPr>
                <a:xfrm>
                  <a:off x="3508238" y="3825568"/>
                  <a:ext cx="219868" cy="1073789"/>
                  <a:chOff x="2569505" y="3900803"/>
                  <a:chExt cx="219868" cy="1073789"/>
                </a:xfrm>
              </p:grpSpPr>
              <p:grpSp>
                <p:nvGrpSpPr>
                  <p:cNvPr id="1412" name="Group 1411">
                    <a:extLst>
                      <a:ext uri="{FF2B5EF4-FFF2-40B4-BE49-F238E27FC236}">
                        <a16:creationId xmlns:a16="http://schemas.microsoft.com/office/drawing/2014/main" id="{97FF8EE9-1A6C-4815-964F-63BC880FB018}"/>
                      </a:ext>
                    </a:extLst>
                  </p:cNvPr>
                  <p:cNvGrpSpPr/>
                  <p:nvPr/>
                </p:nvGrpSpPr>
                <p:grpSpPr>
                  <a:xfrm>
                    <a:off x="2569505" y="4754724"/>
                    <a:ext cx="219868" cy="219868"/>
                    <a:chOff x="1677883" y="4334258"/>
                    <a:chExt cx="219868" cy="219868"/>
                  </a:xfrm>
                </p:grpSpPr>
                <p:sp>
                  <p:nvSpPr>
                    <p:cNvPr id="1425" name="Oval 1424">
                      <a:extLst>
                        <a:ext uri="{FF2B5EF4-FFF2-40B4-BE49-F238E27FC236}">
                          <a16:creationId xmlns:a16="http://schemas.microsoft.com/office/drawing/2014/main" id="{45221228-7D97-4683-A3A8-04DA0DB4BF62}"/>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26" name="Freeform: Shape 1425">
                      <a:extLst>
                        <a:ext uri="{FF2B5EF4-FFF2-40B4-BE49-F238E27FC236}">
                          <a16:creationId xmlns:a16="http://schemas.microsoft.com/office/drawing/2014/main" id="{F2EF07F7-2477-421F-88E1-052A158547D7}"/>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413" name="Group 1412">
                    <a:extLst>
                      <a:ext uri="{FF2B5EF4-FFF2-40B4-BE49-F238E27FC236}">
                        <a16:creationId xmlns:a16="http://schemas.microsoft.com/office/drawing/2014/main" id="{8C0662B1-4092-4857-BBD9-3B78F90A83FC}"/>
                      </a:ext>
                    </a:extLst>
                  </p:cNvPr>
                  <p:cNvGrpSpPr/>
                  <p:nvPr/>
                </p:nvGrpSpPr>
                <p:grpSpPr>
                  <a:xfrm>
                    <a:off x="2569505" y="4541489"/>
                    <a:ext cx="219868" cy="219868"/>
                    <a:chOff x="1677883" y="4334258"/>
                    <a:chExt cx="219868" cy="219868"/>
                  </a:xfrm>
                </p:grpSpPr>
                <p:sp>
                  <p:nvSpPr>
                    <p:cNvPr id="1423" name="Oval 1422">
                      <a:extLst>
                        <a:ext uri="{FF2B5EF4-FFF2-40B4-BE49-F238E27FC236}">
                          <a16:creationId xmlns:a16="http://schemas.microsoft.com/office/drawing/2014/main" id="{4B3284FE-5E70-4050-B2DD-E739FAEADB8A}"/>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24" name="Freeform: Shape 1423">
                      <a:extLst>
                        <a:ext uri="{FF2B5EF4-FFF2-40B4-BE49-F238E27FC236}">
                          <a16:creationId xmlns:a16="http://schemas.microsoft.com/office/drawing/2014/main" id="{CB200E8F-6F7F-43AD-92A3-CB71723DA7FE}"/>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414" name="Group 1413">
                    <a:extLst>
                      <a:ext uri="{FF2B5EF4-FFF2-40B4-BE49-F238E27FC236}">
                        <a16:creationId xmlns:a16="http://schemas.microsoft.com/office/drawing/2014/main" id="{D7E61D71-3F36-4BBB-B7BA-317BFC02FD64}"/>
                      </a:ext>
                    </a:extLst>
                  </p:cNvPr>
                  <p:cNvGrpSpPr/>
                  <p:nvPr/>
                </p:nvGrpSpPr>
                <p:grpSpPr>
                  <a:xfrm>
                    <a:off x="2569505" y="3900803"/>
                    <a:ext cx="219868" cy="219868"/>
                    <a:chOff x="1677883" y="4334258"/>
                    <a:chExt cx="219868" cy="219868"/>
                  </a:xfrm>
                </p:grpSpPr>
                <p:sp>
                  <p:nvSpPr>
                    <p:cNvPr id="1421" name="Oval 1420">
                      <a:extLst>
                        <a:ext uri="{FF2B5EF4-FFF2-40B4-BE49-F238E27FC236}">
                          <a16:creationId xmlns:a16="http://schemas.microsoft.com/office/drawing/2014/main" id="{A4168CE6-765C-4F3A-A180-2F301BC74ED6}"/>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22" name="Freeform: Shape 1421">
                      <a:extLst>
                        <a:ext uri="{FF2B5EF4-FFF2-40B4-BE49-F238E27FC236}">
                          <a16:creationId xmlns:a16="http://schemas.microsoft.com/office/drawing/2014/main" id="{62289790-4D2C-4FFF-BB96-56F04ACEB472}"/>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415" name="Group 1414">
                    <a:extLst>
                      <a:ext uri="{FF2B5EF4-FFF2-40B4-BE49-F238E27FC236}">
                        <a16:creationId xmlns:a16="http://schemas.microsoft.com/office/drawing/2014/main" id="{ED8454D6-9512-4CAD-9275-B107981AF57A}"/>
                      </a:ext>
                    </a:extLst>
                  </p:cNvPr>
                  <p:cNvGrpSpPr/>
                  <p:nvPr/>
                </p:nvGrpSpPr>
                <p:grpSpPr>
                  <a:xfrm>
                    <a:off x="2569505" y="4335319"/>
                    <a:ext cx="219868" cy="219868"/>
                    <a:chOff x="1299278" y="4593318"/>
                    <a:chExt cx="219868" cy="219868"/>
                  </a:xfrm>
                </p:grpSpPr>
                <p:sp>
                  <p:nvSpPr>
                    <p:cNvPr id="1419" name="Oval 1418">
                      <a:extLst>
                        <a:ext uri="{FF2B5EF4-FFF2-40B4-BE49-F238E27FC236}">
                          <a16:creationId xmlns:a16="http://schemas.microsoft.com/office/drawing/2014/main" id="{D9F1B4F2-AD7E-4C4B-9352-F4FD3A89F206}"/>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20" name="Freeform: Shape 1419">
                      <a:extLst>
                        <a:ext uri="{FF2B5EF4-FFF2-40B4-BE49-F238E27FC236}">
                          <a16:creationId xmlns:a16="http://schemas.microsoft.com/office/drawing/2014/main" id="{033284BE-976E-4B05-BFD9-5CAEDB492058}"/>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416" name="Group 1415">
                    <a:extLst>
                      <a:ext uri="{FF2B5EF4-FFF2-40B4-BE49-F238E27FC236}">
                        <a16:creationId xmlns:a16="http://schemas.microsoft.com/office/drawing/2014/main" id="{0248A561-D73E-4E0D-A2F7-B825DAFF27C4}"/>
                      </a:ext>
                    </a:extLst>
                  </p:cNvPr>
                  <p:cNvGrpSpPr/>
                  <p:nvPr/>
                </p:nvGrpSpPr>
                <p:grpSpPr>
                  <a:xfrm>
                    <a:off x="2569505" y="4124939"/>
                    <a:ext cx="219868" cy="219868"/>
                    <a:chOff x="1218819" y="4058009"/>
                    <a:chExt cx="219868" cy="219868"/>
                  </a:xfrm>
                </p:grpSpPr>
                <p:sp>
                  <p:nvSpPr>
                    <p:cNvPr id="1417" name="Oval 1416">
                      <a:extLst>
                        <a:ext uri="{FF2B5EF4-FFF2-40B4-BE49-F238E27FC236}">
                          <a16:creationId xmlns:a16="http://schemas.microsoft.com/office/drawing/2014/main" id="{A5933972-3F68-4139-9055-684679BC0D06}"/>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18" name="Freeform: Shape 1417">
                      <a:extLst>
                        <a:ext uri="{FF2B5EF4-FFF2-40B4-BE49-F238E27FC236}">
                          <a16:creationId xmlns:a16="http://schemas.microsoft.com/office/drawing/2014/main" id="{376B80A1-F103-488F-B205-9351BBB17A1F}"/>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409" name="Group 1408">
                  <a:extLst>
                    <a:ext uri="{FF2B5EF4-FFF2-40B4-BE49-F238E27FC236}">
                      <a16:creationId xmlns:a16="http://schemas.microsoft.com/office/drawing/2014/main" id="{51B8E4AA-7E67-44E5-9B97-9D1783646CFA}"/>
                    </a:ext>
                  </a:extLst>
                </p:cNvPr>
                <p:cNvGrpSpPr/>
                <p:nvPr/>
              </p:nvGrpSpPr>
              <p:grpSpPr>
                <a:xfrm>
                  <a:off x="3508238" y="4049551"/>
                  <a:ext cx="219868" cy="219868"/>
                  <a:chOff x="3508238" y="4049551"/>
                  <a:chExt cx="219868" cy="219868"/>
                </a:xfrm>
              </p:grpSpPr>
              <p:sp>
                <p:nvSpPr>
                  <p:cNvPr id="1410" name="Oval 1409">
                    <a:extLst>
                      <a:ext uri="{FF2B5EF4-FFF2-40B4-BE49-F238E27FC236}">
                        <a16:creationId xmlns:a16="http://schemas.microsoft.com/office/drawing/2014/main" id="{38959645-4AE1-4412-A24F-DBD6B99D3961}"/>
                      </a:ext>
                    </a:extLst>
                  </p:cNvPr>
                  <p:cNvSpPr/>
                  <p:nvPr/>
                </p:nvSpPr>
                <p:spPr>
                  <a:xfrm>
                    <a:off x="3508238" y="4049551"/>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11" name="Freeform: Shape 1410">
                    <a:extLst>
                      <a:ext uri="{FF2B5EF4-FFF2-40B4-BE49-F238E27FC236}">
                        <a16:creationId xmlns:a16="http://schemas.microsoft.com/office/drawing/2014/main" id="{56A0EBFF-0D52-48A0-8BCD-65AA82916D22}"/>
                      </a:ext>
                    </a:extLst>
                  </p:cNvPr>
                  <p:cNvSpPr/>
                  <p:nvPr/>
                </p:nvSpPr>
                <p:spPr>
                  <a:xfrm flipH="1">
                    <a:off x="3552610" y="4066071"/>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56" name="Group 1355">
                <a:extLst>
                  <a:ext uri="{FF2B5EF4-FFF2-40B4-BE49-F238E27FC236}">
                    <a16:creationId xmlns:a16="http://schemas.microsoft.com/office/drawing/2014/main" id="{1614B498-D790-447F-8126-C75EC809C340}"/>
                  </a:ext>
                </a:extLst>
              </p:cNvPr>
              <p:cNvGrpSpPr/>
              <p:nvPr/>
            </p:nvGrpSpPr>
            <p:grpSpPr>
              <a:xfrm>
                <a:off x="4696684" y="4834571"/>
                <a:ext cx="219868" cy="219868"/>
                <a:chOff x="3265365" y="4405367"/>
                <a:chExt cx="219868" cy="219868"/>
              </a:xfrm>
            </p:grpSpPr>
            <p:sp>
              <p:nvSpPr>
                <p:cNvPr id="1405" name="Oval 1404">
                  <a:extLst>
                    <a:ext uri="{FF2B5EF4-FFF2-40B4-BE49-F238E27FC236}">
                      <a16:creationId xmlns:a16="http://schemas.microsoft.com/office/drawing/2014/main" id="{E4DD8648-04EC-4A34-BB24-FC298CB3B09A}"/>
                    </a:ext>
                  </a:extLst>
                </p:cNvPr>
                <p:cNvSpPr/>
                <p:nvPr/>
              </p:nvSpPr>
              <p:spPr>
                <a:xfrm>
                  <a:off x="3265365" y="4405367"/>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06" name="Freeform: Shape 1405">
                  <a:extLst>
                    <a:ext uri="{FF2B5EF4-FFF2-40B4-BE49-F238E27FC236}">
                      <a16:creationId xmlns:a16="http://schemas.microsoft.com/office/drawing/2014/main" id="{692D7DB3-2AC2-4E37-B029-A7A0EA449EAA}"/>
                    </a:ext>
                  </a:extLst>
                </p:cNvPr>
                <p:cNvSpPr/>
                <p:nvPr/>
              </p:nvSpPr>
              <p:spPr>
                <a:xfrm>
                  <a:off x="3272749" y="4417353"/>
                  <a:ext cx="205100" cy="186220"/>
                </a:xfrm>
                <a:custGeom>
                  <a:avLst/>
                  <a:gdLst>
                    <a:gd name="connsiteX0" fmla="*/ 424177 w 849392"/>
                    <a:gd name="connsiteY0" fmla="*/ 220130 h 771210"/>
                    <a:gd name="connsiteX1" fmla="*/ 226803 w 849392"/>
                    <a:gd name="connsiteY1" fmla="*/ 417504 h 771210"/>
                    <a:gd name="connsiteX2" fmla="*/ 424177 w 849392"/>
                    <a:gd name="connsiteY2" fmla="*/ 614878 h 771210"/>
                    <a:gd name="connsiteX3" fmla="*/ 621551 w 849392"/>
                    <a:gd name="connsiteY3" fmla="*/ 417504 h 771210"/>
                    <a:gd name="connsiteX4" fmla="*/ 424177 w 849392"/>
                    <a:gd name="connsiteY4" fmla="*/ 220130 h 771210"/>
                    <a:gd name="connsiteX5" fmla="*/ 340871 w 849392"/>
                    <a:gd name="connsiteY5" fmla="*/ 0 h 771210"/>
                    <a:gd name="connsiteX6" fmla="*/ 254908 w 849392"/>
                    <a:gd name="connsiteY6" fmla="*/ 141475 h 771210"/>
                    <a:gd name="connsiteX7" fmla="*/ 267425 w 849392"/>
                    <a:gd name="connsiteY7" fmla="*/ 203514 h 771210"/>
                    <a:gd name="connsiteX8" fmla="*/ 276577 w 849392"/>
                    <a:gd name="connsiteY8" fmla="*/ 217086 h 771210"/>
                    <a:gd name="connsiteX9" fmla="*/ 284587 w 849392"/>
                    <a:gd name="connsiteY9" fmla="*/ 210477 h 771210"/>
                    <a:gd name="connsiteX10" fmla="*/ 424177 w 849392"/>
                    <a:gd name="connsiteY10" fmla="*/ 167838 h 771210"/>
                    <a:gd name="connsiteX11" fmla="*/ 521359 w 849392"/>
                    <a:gd name="connsiteY11" fmla="*/ 187458 h 771210"/>
                    <a:gd name="connsiteX12" fmla="*/ 558481 w 849392"/>
                    <a:gd name="connsiteY12" fmla="*/ 207607 h 771210"/>
                    <a:gd name="connsiteX13" fmla="*/ 561240 w 849392"/>
                    <a:gd name="connsiteY13" fmla="*/ 203514 h 771210"/>
                    <a:gd name="connsiteX14" fmla="*/ 573757 w 849392"/>
                    <a:gd name="connsiteY14" fmla="*/ 141475 h 771210"/>
                    <a:gd name="connsiteX15" fmla="*/ 488270 w 849392"/>
                    <a:gd name="connsiteY15" fmla="*/ 162 h 771210"/>
                    <a:gd name="connsiteX16" fmla="*/ 641385 w 849392"/>
                    <a:gd name="connsiteY16" fmla="*/ 214836 h 771210"/>
                    <a:gd name="connsiteX17" fmla="*/ 635044 w 849392"/>
                    <a:gd name="connsiteY17" fmla="*/ 268317 h 771210"/>
                    <a:gd name="connsiteX18" fmla="*/ 631380 w 849392"/>
                    <a:gd name="connsiteY18" fmla="*/ 278236 h 771210"/>
                    <a:gd name="connsiteX19" fmla="*/ 654209 w 849392"/>
                    <a:gd name="connsiteY19" fmla="*/ 320296 h 771210"/>
                    <a:gd name="connsiteX20" fmla="*/ 668043 w 849392"/>
                    <a:gd name="connsiteY20" fmla="*/ 321689 h 771210"/>
                    <a:gd name="connsiteX21" fmla="*/ 849392 w 849392"/>
                    <a:gd name="connsiteY21" fmla="*/ 544230 h 771210"/>
                    <a:gd name="connsiteX22" fmla="*/ 848906 w 849392"/>
                    <a:gd name="connsiteY22" fmla="*/ 558279 h 771210"/>
                    <a:gd name="connsiteX23" fmla="*/ 689886 w 849392"/>
                    <a:gd name="connsiteY23" fmla="*/ 410413 h 771210"/>
                    <a:gd name="connsiteX24" fmla="*/ 673463 w 849392"/>
                    <a:gd name="connsiteY24" fmla="*/ 413729 h 771210"/>
                    <a:gd name="connsiteX25" fmla="*/ 673843 w 849392"/>
                    <a:gd name="connsiteY25" fmla="*/ 417504 h 771210"/>
                    <a:gd name="connsiteX26" fmla="*/ 563768 w 849392"/>
                    <a:gd name="connsiteY26" fmla="*/ 624531 h 771210"/>
                    <a:gd name="connsiteX27" fmla="*/ 544824 w 849392"/>
                    <a:gd name="connsiteY27" fmla="*/ 634814 h 771210"/>
                    <a:gd name="connsiteX28" fmla="*/ 577109 w 849392"/>
                    <a:gd name="connsiteY28" fmla="*/ 682684 h 771210"/>
                    <a:gd name="connsiteX29" fmla="*/ 689877 w 849392"/>
                    <a:gd name="connsiteY29" fmla="*/ 729415 h 771210"/>
                    <a:gd name="connsiteX30" fmla="*/ 801376 w 849392"/>
                    <a:gd name="connsiteY30" fmla="*/ 683790 h 771210"/>
                    <a:gd name="connsiteX31" fmla="*/ 622230 w 849392"/>
                    <a:gd name="connsiteY31" fmla="*/ 771210 h 771210"/>
                    <a:gd name="connsiteX32" fmla="*/ 459998 w 849392"/>
                    <a:gd name="connsiteY32" fmla="*/ 703039 h 771210"/>
                    <a:gd name="connsiteX33" fmla="*/ 432376 w 849392"/>
                    <a:gd name="connsiteY33" fmla="*/ 666344 h 771210"/>
                    <a:gd name="connsiteX34" fmla="*/ 424177 w 849392"/>
                    <a:gd name="connsiteY34" fmla="*/ 667170 h 771210"/>
                    <a:gd name="connsiteX35" fmla="*/ 416810 w 849392"/>
                    <a:gd name="connsiteY35" fmla="*/ 666427 h 771210"/>
                    <a:gd name="connsiteX36" fmla="*/ 389316 w 849392"/>
                    <a:gd name="connsiteY36" fmla="*/ 703039 h 771210"/>
                    <a:gd name="connsiteX37" fmla="*/ 226990 w 849392"/>
                    <a:gd name="connsiteY37" fmla="*/ 771210 h 771210"/>
                    <a:gd name="connsiteX38" fmla="*/ 47701 w 849392"/>
                    <a:gd name="connsiteY38" fmla="*/ 683638 h 771210"/>
                    <a:gd name="connsiteX39" fmla="*/ 159505 w 849392"/>
                    <a:gd name="connsiteY39" fmla="*/ 729424 h 771210"/>
                    <a:gd name="connsiteX40" fmla="*/ 272277 w 849392"/>
                    <a:gd name="connsiteY40" fmla="*/ 682693 h 771210"/>
                    <a:gd name="connsiteX41" fmla="*/ 304289 w 849392"/>
                    <a:gd name="connsiteY41" fmla="*/ 635225 h 771210"/>
                    <a:gd name="connsiteX42" fmla="*/ 284587 w 849392"/>
                    <a:gd name="connsiteY42" fmla="*/ 624531 h 771210"/>
                    <a:gd name="connsiteX43" fmla="*/ 174511 w 849392"/>
                    <a:gd name="connsiteY43" fmla="*/ 417504 h 771210"/>
                    <a:gd name="connsiteX44" fmla="*/ 174912 w 849392"/>
                    <a:gd name="connsiteY44" fmla="*/ 413526 h 771210"/>
                    <a:gd name="connsiteX45" fmla="*/ 159505 w 849392"/>
                    <a:gd name="connsiteY45" fmla="*/ 410413 h 771210"/>
                    <a:gd name="connsiteX46" fmla="*/ 486 w 849392"/>
                    <a:gd name="connsiteY46" fmla="*/ 558279 h 771210"/>
                    <a:gd name="connsiteX47" fmla="*/ 0 w 849392"/>
                    <a:gd name="connsiteY47" fmla="*/ 544230 h 771210"/>
                    <a:gd name="connsiteX48" fmla="*/ 168752 w 849392"/>
                    <a:gd name="connsiteY48" fmla="*/ 324737 h 771210"/>
                    <a:gd name="connsiteX49" fmla="*/ 194035 w 849392"/>
                    <a:gd name="connsiteY49" fmla="*/ 320633 h 771210"/>
                    <a:gd name="connsiteX50" fmla="*/ 194131 w 849392"/>
                    <a:gd name="connsiteY50" fmla="*/ 320323 h 771210"/>
                    <a:gd name="connsiteX51" fmla="*/ 205224 w 849392"/>
                    <a:gd name="connsiteY51" fmla="*/ 299886 h 771210"/>
                    <a:gd name="connsiteX52" fmla="*/ 193626 w 849392"/>
                    <a:gd name="connsiteY52" fmla="*/ 268562 h 771210"/>
                    <a:gd name="connsiteX53" fmla="*/ 187261 w 849392"/>
                    <a:gd name="connsiteY53" fmla="*/ 214836 h 771210"/>
                    <a:gd name="connsiteX54" fmla="*/ 340871 w 849392"/>
                    <a:gd name="connsiteY54" fmla="*/ 0 h 771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49392" h="771210">
                      <a:moveTo>
                        <a:pt x="424177" y="220130"/>
                      </a:moveTo>
                      <a:cubicBezTo>
                        <a:pt x="315170" y="220130"/>
                        <a:pt x="226803" y="308497"/>
                        <a:pt x="226803" y="417504"/>
                      </a:cubicBezTo>
                      <a:cubicBezTo>
                        <a:pt x="226803" y="526511"/>
                        <a:pt x="315170" y="614878"/>
                        <a:pt x="424177" y="614878"/>
                      </a:cubicBezTo>
                      <a:cubicBezTo>
                        <a:pt x="533184" y="614878"/>
                        <a:pt x="621551" y="526511"/>
                        <a:pt x="621551" y="417504"/>
                      </a:cubicBezTo>
                      <a:cubicBezTo>
                        <a:pt x="621551" y="308497"/>
                        <a:pt x="533184" y="220130"/>
                        <a:pt x="424177" y="220130"/>
                      </a:cubicBezTo>
                      <a:close/>
                      <a:moveTo>
                        <a:pt x="340871" y="0"/>
                      </a:moveTo>
                      <a:cubicBezTo>
                        <a:pt x="289674" y="26460"/>
                        <a:pt x="254908" y="79914"/>
                        <a:pt x="254908" y="141475"/>
                      </a:cubicBezTo>
                      <a:cubicBezTo>
                        <a:pt x="254908" y="163485"/>
                        <a:pt x="259364" y="184449"/>
                        <a:pt x="267425" y="203514"/>
                      </a:cubicBezTo>
                      <a:lnTo>
                        <a:pt x="276577" y="217086"/>
                      </a:lnTo>
                      <a:lnTo>
                        <a:pt x="284587" y="210477"/>
                      </a:lnTo>
                      <a:cubicBezTo>
                        <a:pt x="324433" y="183557"/>
                        <a:pt x="372470" y="167838"/>
                        <a:pt x="424177" y="167838"/>
                      </a:cubicBezTo>
                      <a:cubicBezTo>
                        <a:pt x="458649" y="167838"/>
                        <a:pt x="491489" y="174824"/>
                        <a:pt x="521359" y="187458"/>
                      </a:cubicBezTo>
                      <a:lnTo>
                        <a:pt x="558481" y="207607"/>
                      </a:lnTo>
                      <a:lnTo>
                        <a:pt x="561240" y="203514"/>
                      </a:lnTo>
                      <a:cubicBezTo>
                        <a:pt x="569301" y="184449"/>
                        <a:pt x="573757" y="163485"/>
                        <a:pt x="573757" y="141475"/>
                      </a:cubicBezTo>
                      <a:cubicBezTo>
                        <a:pt x="573757" y="80067"/>
                        <a:pt x="538991" y="26794"/>
                        <a:pt x="488270" y="162"/>
                      </a:cubicBezTo>
                      <a:cubicBezTo>
                        <a:pt x="577424" y="30937"/>
                        <a:pt x="641385" y="115319"/>
                        <a:pt x="641385" y="214836"/>
                      </a:cubicBezTo>
                      <a:cubicBezTo>
                        <a:pt x="641385" y="233262"/>
                        <a:pt x="639192" y="251169"/>
                        <a:pt x="635044" y="268317"/>
                      </a:cubicBezTo>
                      <a:lnTo>
                        <a:pt x="631380" y="278236"/>
                      </a:lnTo>
                      <a:lnTo>
                        <a:pt x="654209" y="320296"/>
                      </a:lnTo>
                      <a:lnTo>
                        <a:pt x="668043" y="321689"/>
                      </a:lnTo>
                      <a:cubicBezTo>
                        <a:pt x="771595" y="342856"/>
                        <a:pt x="849392" y="434391"/>
                        <a:pt x="849392" y="544230"/>
                      </a:cubicBezTo>
                      <a:cubicBezTo>
                        <a:pt x="849392" y="549021"/>
                        <a:pt x="849239" y="553631"/>
                        <a:pt x="848906" y="558279"/>
                      </a:cubicBezTo>
                      <a:cubicBezTo>
                        <a:pt x="843010" y="475640"/>
                        <a:pt x="774097" y="410413"/>
                        <a:pt x="689886" y="410413"/>
                      </a:cubicBezTo>
                      <a:lnTo>
                        <a:pt x="673463" y="413729"/>
                      </a:lnTo>
                      <a:lnTo>
                        <a:pt x="673843" y="417504"/>
                      </a:lnTo>
                      <a:cubicBezTo>
                        <a:pt x="673843" y="503683"/>
                        <a:pt x="630180" y="579664"/>
                        <a:pt x="563768" y="624531"/>
                      </a:cubicBezTo>
                      <a:lnTo>
                        <a:pt x="544824" y="634814"/>
                      </a:lnTo>
                      <a:lnTo>
                        <a:pt x="577109" y="682684"/>
                      </a:lnTo>
                      <a:cubicBezTo>
                        <a:pt x="605981" y="711553"/>
                        <a:pt x="645857" y="729415"/>
                        <a:pt x="689877" y="729415"/>
                      </a:cubicBezTo>
                      <a:cubicBezTo>
                        <a:pt x="733425" y="729415"/>
                        <a:pt x="772658" y="712022"/>
                        <a:pt x="801376" y="683790"/>
                      </a:cubicBezTo>
                      <a:cubicBezTo>
                        <a:pt x="759904" y="737063"/>
                        <a:pt x="694982" y="771210"/>
                        <a:pt x="622230" y="771210"/>
                      </a:cubicBezTo>
                      <a:cubicBezTo>
                        <a:pt x="558715" y="771210"/>
                        <a:pt x="501201" y="745102"/>
                        <a:pt x="459998" y="703039"/>
                      </a:cubicBezTo>
                      <a:lnTo>
                        <a:pt x="432376" y="666344"/>
                      </a:lnTo>
                      <a:lnTo>
                        <a:pt x="424177" y="667170"/>
                      </a:lnTo>
                      <a:lnTo>
                        <a:pt x="416810" y="666427"/>
                      </a:lnTo>
                      <a:lnTo>
                        <a:pt x="389316" y="703039"/>
                      </a:lnTo>
                      <a:cubicBezTo>
                        <a:pt x="348168" y="745102"/>
                        <a:pt x="290620" y="771210"/>
                        <a:pt x="226990" y="771210"/>
                      </a:cubicBezTo>
                      <a:cubicBezTo>
                        <a:pt x="154238" y="771210"/>
                        <a:pt x="89316" y="736911"/>
                        <a:pt x="47701" y="683638"/>
                      </a:cubicBezTo>
                      <a:cubicBezTo>
                        <a:pt x="76409" y="711870"/>
                        <a:pt x="115957" y="729424"/>
                        <a:pt x="159505" y="729424"/>
                      </a:cubicBezTo>
                      <a:cubicBezTo>
                        <a:pt x="203530" y="729424"/>
                        <a:pt x="243407" y="711562"/>
                        <a:pt x="272277" y="682693"/>
                      </a:cubicBezTo>
                      <a:lnTo>
                        <a:pt x="304289" y="635225"/>
                      </a:lnTo>
                      <a:lnTo>
                        <a:pt x="284587" y="624531"/>
                      </a:lnTo>
                      <a:cubicBezTo>
                        <a:pt x="218175" y="579664"/>
                        <a:pt x="174511" y="503683"/>
                        <a:pt x="174511" y="417504"/>
                      </a:cubicBezTo>
                      <a:lnTo>
                        <a:pt x="174912" y="413526"/>
                      </a:lnTo>
                      <a:lnTo>
                        <a:pt x="159505" y="410413"/>
                      </a:lnTo>
                      <a:cubicBezTo>
                        <a:pt x="75285" y="410413"/>
                        <a:pt x="6391" y="475650"/>
                        <a:pt x="486" y="558279"/>
                      </a:cubicBezTo>
                      <a:cubicBezTo>
                        <a:pt x="162" y="553640"/>
                        <a:pt x="0" y="549021"/>
                        <a:pt x="0" y="544230"/>
                      </a:cubicBezTo>
                      <a:cubicBezTo>
                        <a:pt x="0" y="439009"/>
                        <a:pt x="71569" y="350370"/>
                        <a:pt x="168752" y="324737"/>
                      </a:cubicBezTo>
                      <a:lnTo>
                        <a:pt x="194035" y="320633"/>
                      </a:lnTo>
                      <a:lnTo>
                        <a:pt x="194131" y="320323"/>
                      </a:lnTo>
                      <a:lnTo>
                        <a:pt x="205224" y="299886"/>
                      </a:lnTo>
                      <a:lnTo>
                        <a:pt x="193626" y="268562"/>
                      </a:lnTo>
                      <a:cubicBezTo>
                        <a:pt x="189457" y="251331"/>
                        <a:pt x="187261" y="233343"/>
                        <a:pt x="187261" y="214836"/>
                      </a:cubicBezTo>
                      <a:cubicBezTo>
                        <a:pt x="187261" y="115147"/>
                        <a:pt x="251536" y="30299"/>
                        <a:pt x="340871" y="0"/>
                      </a:cubicBezTo>
                      <a:close/>
                    </a:path>
                  </a:pathLst>
                </a:custGeom>
                <a:solidFill>
                  <a:schemeClr val="accent6"/>
                </a:solidFill>
                <a:ln w="9525" cap="flat">
                  <a:noFill/>
                  <a:prstDash val="solid"/>
                  <a:miter/>
                </a:ln>
              </p:spPr>
              <p:txBody>
                <a:bodyPr wrap="square">
                  <a:no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1407" name="Freeform: Shape 1406">
                  <a:extLst>
                    <a:ext uri="{FF2B5EF4-FFF2-40B4-BE49-F238E27FC236}">
                      <a16:creationId xmlns:a16="http://schemas.microsoft.com/office/drawing/2014/main" id="{E1D44290-CD5D-4742-84A7-E86733F5E943}"/>
                    </a:ext>
                  </a:extLst>
                </p:cNvPr>
                <p:cNvSpPr/>
                <p:nvPr/>
              </p:nvSpPr>
              <p:spPr>
                <a:xfrm>
                  <a:off x="3339752" y="4484836"/>
                  <a:ext cx="64248" cy="62556"/>
                </a:xfrm>
                <a:custGeom>
                  <a:avLst/>
                  <a:gdLst/>
                  <a:ahLst/>
                  <a:cxnLst/>
                  <a:rect l="0" t="0" r="0" b="0"/>
                  <a:pathLst>
                    <a:path w="723900" h="704850">
                      <a:moveTo>
                        <a:pt x="705326" y="7144"/>
                      </a:moveTo>
                      <a:lnTo>
                        <a:pt x="641509" y="7144"/>
                      </a:lnTo>
                      <a:cubicBezTo>
                        <a:pt x="501491" y="7144"/>
                        <a:pt x="387191" y="120491"/>
                        <a:pt x="387191" y="261461"/>
                      </a:cubicBezTo>
                      <a:lnTo>
                        <a:pt x="133826" y="261461"/>
                      </a:lnTo>
                      <a:cubicBezTo>
                        <a:pt x="63341" y="261461"/>
                        <a:pt x="7144" y="286226"/>
                        <a:pt x="7144" y="356711"/>
                      </a:cubicBezTo>
                      <a:lnTo>
                        <a:pt x="7144" y="451961"/>
                      </a:lnTo>
                      <a:lnTo>
                        <a:pt x="70009" y="451961"/>
                      </a:lnTo>
                      <a:lnTo>
                        <a:pt x="70009" y="356711"/>
                      </a:lnTo>
                      <a:cubicBezTo>
                        <a:pt x="70009" y="321469"/>
                        <a:pt x="98584" y="292894"/>
                        <a:pt x="133826" y="292894"/>
                      </a:cubicBezTo>
                      <a:lnTo>
                        <a:pt x="133826" y="547211"/>
                      </a:lnTo>
                      <a:cubicBezTo>
                        <a:pt x="90011" y="547211"/>
                        <a:pt x="54769" y="582454"/>
                        <a:pt x="54769" y="626269"/>
                      </a:cubicBezTo>
                      <a:cubicBezTo>
                        <a:pt x="54769" y="670084"/>
                        <a:pt x="90011" y="705326"/>
                        <a:pt x="133826" y="705326"/>
                      </a:cubicBezTo>
                      <a:cubicBezTo>
                        <a:pt x="177641" y="705326"/>
                        <a:pt x="212884" y="670084"/>
                        <a:pt x="212884" y="626269"/>
                      </a:cubicBezTo>
                      <a:cubicBezTo>
                        <a:pt x="212884" y="620554"/>
                        <a:pt x="211931" y="615791"/>
                        <a:pt x="210979" y="610076"/>
                      </a:cubicBezTo>
                      <a:lnTo>
                        <a:pt x="499586" y="610076"/>
                      </a:lnTo>
                      <a:cubicBezTo>
                        <a:pt x="498634" y="614839"/>
                        <a:pt x="497681" y="620554"/>
                        <a:pt x="497681" y="626269"/>
                      </a:cubicBezTo>
                      <a:cubicBezTo>
                        <a:pt x="497681" y="670084"/>
                        <a:pt x="532924" y="705326"/>
                        <a:pt x="576739" y="705326"/>
                      </a:cubicBezTo>
                      <a:cubicBezTo>
                        <a:pt x="620554" y="705326"/>
                        <a:pt x="655796" y="670084"/>
                        <a:pt x="655796" y="626269"/>
                      </a:cubicBezTo>
                      <a:cubicBezTo>
                        <a:pt x="655796" y="582454"/>
                        <a:pt x="620554" y="547211"/>
                        <a:pt x="576739" y="547211"/>
                      </a:cubicBezTo>
                      <a:lnTo>
                        <a:pt x="576739" y="134779"/>
                      </a:lnTo>
                      <a:lnTo>
                        <a:pt x="641509" y="261461"/>
                      </a:lnTo>
                      <a:lnTo>
                        <a:pt x="705326" y="261461"/>
                      </a:lnTo>
                      <a:lnTo>
                        <a:pt x="705326" y="39529"/>
                      </a:lnTo>
                      <a:cubicBezTo>
                        <a:pt x="713899" y="39529"/>
                        <a:pt x="721519" y="32861"/>
                        <a:pt x="721519" y="23336"/>
                      </a:cubicBezTo>
                      <a:cubicBezTo>
                        <a:pt x="721519" y="13811"/>
                        <a:pt x="713899" y="7144"/>
                        <a:pt x="705326" y="7144"/>
                      </a:cubicBezTo>
                      <a:close/>
                      <a:moveTo>
                        <a:pt x="133826" y="658654"/>
                      </a:moveTo>
                      <a:cubicBezTo>
                        <a:pt x="116681" y="658654"/>
                        <a:pt x="102394" y="644366"/>
                        <a:pt x="102394" y="627221"/>
                      </a:cubicBezTo>
                      <a:cubicBezTo>
                        <a:pt x="102394" y="610076"/>
                        <a:pt x="116681" y="595789"/>
                        <a:pt x="133826" y="595789"/>
                      </a:cubicBezTo>
                      <a:cubicBezTo>
                        <a:pt x="150971" y="595789"/>
                        <a:pt x="165259" y="610076"/>
                        <a:pt x="165259" y="627221"/>
                      </a:cubicBezTo>
                      <a:cubicBezTo>
                        <a:pt x="165259" y="644366"/>
                        <a:pt x="150971" y="658654"/>
                        <a:pt x="133826" y="658654"/>
                      </a:cubicBezTo>
                      <a:close/>
                      <a:moveTo>
                        <a:pt x="514826" y="578644"/>
                      </a:moveTo>
                      <a:lnTo>
                        <a:pt x="196691" y="578644"/>
                      </a:lnTo>
                      <a:cubicBezTo>
                        <a:pt x="196691" y="578644"/>
                        <a:pt x="196691" y="578644"/>
                        <a:pt x="196691" y="578644"/>
                      </a:cubicBezTo>
                      <a:lnTo>
                        <a:pt x="260509" y="451961"/>
                      </a:lnTo>
                      <a:lnTo>
                        <a:pt x="451009" y="451961"/>
                      </a:lnTo>
                      <a:lnTo>
                        <a:pt x="514826" y="578644"/>
                      </a:lnTo>
                      <a:cubicBezTo>
                        <a:pt x="514826" y="578644"/>
                        <a:pt x="514826" y="578644"/>
                        <a:pt x="514826" y="578644"/>
                      </a:cubicBezTo>
                      <a:close/>
                      <a:moveTo>
                        <a:pt x="610076" y="626269"/>
                      </a:moveTo>
                      <a:cubicBezTo>
                        <a:pt x="610076" y="643414"/>
                        <a:pt x="595789" y="657701"/>
                        <a:pt x="578644" y="657701"/>
                      </a:cubicBezTo>
                      <a:cubicBezTo>
                        <a:pt x="561499" y="657701"/>
                        <a:pt x="547211" y="643414"/>
                        <a:pt x="547211" y="626269"/>
                      </a:cubicBezTo>
                      <a:cubicBezTo>
                        <a:pt x="547211" y="609124"/>
                        <a:pt x="561499" y="594836"/>
                        <a:pt x="578644" y="594836"/>
                      </a:cubicBezTo>
                      <a:cubicBezTo>
                        <a:pt x="595789" y="594836"/>
                        <a:pt x="610076" y="609124"/>
                        <a:pt x="610076" y="626269"/>
                      </a:cubicBezTo>
                      <a:close/>
                      <a:moveTo>
                        <a:pt x="672941" y="134779"/>
                      </a:moveTo>
                      <a:cubicBezTo>
                        <a:pt x="664369" y="134779"/>
                        <a:pt x="656749" y="128111"/>
                        <a:pt x="656749" y="118586"/>
                      </a:cubicBezTo>
                      <a:cubicBezTo>
                        <a:pt x="656749" y="110014"/>
                        <a:pt x="663416" y="102394"/>
                        <a:pt x="672941" y="102394"/>
                      </a:cubicBezTo>
                      <a:cubicBezTo>
                        <a:pt x="681514" y="102394"/>
                        <a:pt x="689134" y="109061"/>
                        <a:pt x="689134" y="118586"/>
                      </a:cubicBezTo>
                      <a:cubicBezTo>
                        <a:pt x="689134" y="127159"/>
                        <a:pt x="682466" y="134779"/>
                        <a:pt x="672941" y="134779"/>
                      </a:cubicBezTo>
                      <a:close/>
                    </a:path>
                  </a:pathLst>
                </a:custGeom>
                <a:solidFill>
                  <a:schemeClr val="accent6"/>
                </a:solidFill>
                <a:ln w="9525" cap="flat">
                  <a:noFill/>
                  <a:prstDash val="solid"/>
                  <a:miter/>
                </a:ln>
              </p:spPr>
              <p:txBody>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1357" name="Group 1356">
                <a:extLst>
                  <a:ext uri="{FF2B5EF4-FFF2-40B4-BE49-F238E27FC236}">
                    <a16:creationId xmlns:a16="http://schemas.microsoft.com/office/drawing/2014/main" id="{6B824DD3-3031-4332-827D-08CEC77D5B0E}"/>
                  </a:ext>
                </a:extLst>
              </p:cNvPr>
              <p:cNvGrpSpPr/>
              <p:nvPr/>
            </p:nvGrpSpPr>
            <p:grpSpPr>
              <a:xfrm>
                <a:off x="4696107" y="4617609"/>
                <a:ext cx="221023" cy="1073789"/>
                <a:chOff x="3457800" y="3825568"/>
                <a:chExt cx="221023" cy="1073789"/>
              </a:xfrm>
            </p:grpSpPr>
            <p:grpSp>
              <p:nvGrpSpPr>
                <p:cNvPr id="1386" name="Group 1385">
                  <a:extLst>
                    <a:ext uri="{FF2B5EF4-FFF2-40B4-BE49-F238E27FC236}">
                      <a16:creationId xmlns:a16="http://schemas.microsoft.com/office/drawing/2014/main" id="{CC4C480A-F8B2-4353-9E7F-D945886186CD}"/>
                    </a:ext>
                  </a:extLst>
                </p:cNvPr>
                <p:cNvGrpSpPr/>
                <p:nvPr/>
              </p:nvGrpSpPr>
              <p:grpSpPr>
                <a:xfrm>
                  <a:off x="3458955" y="4679489"/>
                  <a:ext cx="219868" cy="219868"/>
                  <a:chOff x="1677883" y="4334258"/>
                  <a:chExt cx="219868" cy="219868"/>
                </a:xfrm>
              </p:grpSpPr>
              <p:sp>
                <p:nvSpPr>
                  <p:cNvPr id="1403" name="Oval 1402">
                    <a:extLst>
                      <a:ext uri="{FF2B5EF4-FFF2-40B4-BE49-F238E27FC236}">
                        <a16:creationId xmlns:a16="http://schemas.microsoft.com/office/drawing/2014/main" id="{3E24F156-0516-404A-BD39-754477FD584E}"/>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04" name="Freeform: Shape 1403">
                    <a:extLst>
                      <a:ext uri="{FF2B5EF4-FFF2-40B4-BE49-F238E27FC236}">
                        <a16:creationId xmlns:a16="http://schemas.microsoft.com/office/drawing/2014/main" id="{B64B3EB1-5A97-436E-9529-A863A390AD37}"/>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387" name="Group 1386">
                  <a:extLst>
                    <a:ext uri="{FF2B5EF4-FFF2-40B4-BE49-F238E27FC236}">
                      <a16:creationId xmlns:a16="http://schemas.microsoft.com/office/drawing/2014/main" id="{94A982FE-7ACC-4051-8EEC-62F7ADC1A378}"/>
                    </a:ext>
                  </a:extLst>
                </p:cNvPr>
                <p:cNvGrpSpPr/>
                <p:nvPr/>
              </p:nvGrpSpPr>
              <p:grpSpPr>
                <a:xfrm>
                  <a:off x="3458955" y="4466254"/>
                  <a:ext cx="219868" cy="219868"/>
                  <a:chOff x="1299278" y="4593318"/>
                  <a:chExt cx="219868" cy="219868"/>
                </a:xfrm>
              </p:grpSpPr>
              <p:sp>
                <p:nvSpPr>
                  <p:cNvPr id="1401" name="Oval 1400">
                    <a:extLst>
                      <a:ext uri="{FF2B5EF4-FFF2-40B4-BE49-F238E27FC236}">
                        <a16:creationId xmlns:a16="http://schemas.microsoft.com/office/drawing/2014/main" id="{DB019065-688D-41E8-9CA4-42E5E97FE18B}"/>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02" name="Freeform: Shape 1401">
                    <a:extLst>
                      <a:ext uri="{FF2B5EF4-FFF2-40B4-BE49-F238E27FC236}">
                        <a16:creationId xmlns:a16="http://schemas.microsoft.com/office/drawing/2014/main" id="{2D5C0081-2C47-401D-9696-2498EE532A94}"/>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388" name="Group 1387">
                  <a:extLst>
                    <a:ext uri="{FF2B5EF4-FFF2-40B4-BE49-F238E27FC236}">
                      <a16:creationId xmlns:a16="http://schemas.microsoft.com/office/drawing/2014/main" id="{FF8BE61F-FF27-41C8-BD38-C4A0C194C4CF}"/>
                    </a:ext>
                  </a:extLst>
                </p:cNvPr>
                <p:cNvGrpSpPr/>
                <p:nvPr/>
              </p:nvGrpSpPr>
              <p:grpSpPr>
                <a:xfrm>
                  <a:off x="3458955" y="4049704"/>
                  <a:ext cx="219868" cy="219868"/>
                  <a:chOff x="1677883" y="4334258"/>
                  <a:chExt cx="219868" cy="219868"/>
                </a:xfrm>
              </p:grpSpPr>
              <p:sp>
                <p:nvSpPr>
                  <p:cNvPr id="1399" name="Oval 1398">
                    <a:extLst>
                      <a:ext uri="{FF2B5EF4-FFF2-40B4-BE49-F238E27FC236}">
                        <a16:creationId xmlns:a16="http://schemas.microsoft.com/office/drawing/2014/main" id="{0653E269-2F96-42BB-ADB7-955C7231BAA5}"/>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00" name="Freeform: Shape 1399">
                    <a:extLst>
                      <a:ext uri="{FF2B5EF4-FFF2-40B4-BE49-F238E27FC236}">
                        <a16:creationId xmlns:a16="http://schemas.microsoft.com/office/drawing/2014/main" id="{B44A9EC3-F722-42B7-9C60-0ED39C3F7ACD}"/>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389" name="Group 1388">
                  <a:extLst>
                    <a:ext uri="{FF2B5EF4-FFF2-40B4-BE49-F238E27FC236}">
                      <a16:creationId xmlns:a16="http://schemas.microsoft.com/office/drawing/2014/main" id="{7CDCB30E-8B64-4194-9DE6-E6ECB7D1D13B}"/>
                    </a:ext>
                  </a:extLst>
                </p:cNvPr>
                <p:cNvGrpSpPr/>
                <p:nvPr/>
              </p:nvGrpSpPr>
              <p:grpSpPr>
                <a:xfrm>
                  <a:off x="3458955" y="4260084"/>
                  <a:ext cx="219868" cy="219868"/>
                  <a:chOff x="1218819" y="4058009"/>
                  <a:chExt cx="219868" cy="219868"/>
                </a:xfrm>
              </p:grpSpPr>
              <p:sp>
                <p:nvSpPr>
                  <p:cNvPr id="1397" name="Oval 1396">
                    <a:extLst>
                      <a:ext uri="{FF2B5EF4-FFF2-40B4-BE49-F238E27FC236}">
                        <a16:creationId xmlns:a16="http://schemas.microsoft.com/office/drawing/2014/main" id="{9025AFDD-E424-4A01-8EF0-2E8D66C1659F}"/>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98" name="Freeform: Shape 1397">
                    <a:extLst>
                      <a:ext uri="{FF2B5EF4-FFF2-40B4-BE49-F238E27FC236}">
                        <a16:creationId xmlns:a16="http://schemas.microsoft.com/office/drawing/2014/main" id="{FA375BBC-FA26-4B7E-A625-8D3215D1840E}"/>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390" name="Group 1389">
                  <a:extLst>
                    <a:ext uri="{FF2B5EF4-FFF2-40B4-BE49-F238E27FC236}">
                      <a16:creationId xmlns:a16="http://schemas.microsoft.com/office/drawing/2014/main" id="{30740CAF-66B8-4498-814F-75D70F7B4001}"/>
                    </a:ext>
                  </a:extLst>
                </p:cNvPr>
                <p:cNvGrpSpPr/>
                <p:nvPr/>
              </p:nvGrpSpPr>
              <p:grpSpPr>
                <a:xfrm>
                  <a:off x="3458955" y="3825568"/>
                  <a:ext cx="219868" cy="219868"/>
                  <a:chOff x="1218819" y="4058009"/>
                  <a:chExt cx="219868" cy="219868"/>
                </a:xfrm>
              </p:grpSpPr>
              <p:sp>
                <p:nvSpPr>
                  <p:cNvPr id="1395" name="Oval 1394">
                    <a:extLst>
                      <a:ext uri="{FF2B5EF4-FFF2-40B4-BE49-F238E27FC236}">
                        <a16:creationId xmlns:a16="http://schemas.microsoft.com/office/drawing/2014/main" id="{7A618B03-5E47-4406-A29A-876CB9D8948B}"/>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96" name="Freeform: Shape 1395">
                    <a:extLst>
                      <a:ext uri="{FF2B5EF4-FFF2-40B4-BE49-F238E27FC236}">
                        <a16:creationId xmlns:a16="http://schemas.microsoft.com/office/drawing/2014/main" id="{230BD099-5002-455B-BDA2-27E52C7B9F3C}"/>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391" name="Group 1390">
                  <a:extLst>
                    <a:ext uri="{FF2B5EF4-FFF2-40B4-BE49-F238E27FC236}">
                      <a16:creationId xmlns:a16="http://schemas.microsoft.com/office/drawing/2014/main" id="{F0F31C25-16F1-4003-8BDD-3AD17DB60F6B}"/>
                    </a:ext>
                  </a:extLst>
                </p:cNvPr>
                <p:cNvGrpSpPr/>
                <p:nvPr/>
              </p:nvGrpSpPr>
              <p:grpSpPr>
                <a:xfrm>
                  <a:off x="3457800" y="4257979"/>
                  <a:ext cx="219868" cy="219868"/>
                  <a:chOff x="3265365" y="4405367"/>
                  <a:chExt cx="219868" cy="219868"/>
                </a:xfrm>
              </p:grpSpPr>
              <p:sp>
                <p:nvSpPr>
                  <p:cNvPr id="1392" name="Oval 1391">
                    <a:extLst>
                      <a:ext uri="{FF2B5EF4-FFF2-40B4-BE49-F238E27FC236}">
                        <a16:creationId xmlns:a16="http://schemas.microsoft.com/office/drawing/2014/main" id="{5BA4CE45-B7BC-481B-A225-1025BB6291E2}"/>
                      </a:ext>
                    </a:extLst>
                  </p:cNvPr>
                  <p:cNvSpPr/>
                  <p:nvPr/>
                </p:nvSpPr>
                <p:spPr>
                  <a:xfrm>
                    <a:off x="3265365" y="4405367"/>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93" name="Freeform: Shape 1392">
                    <a:extLst>
                      <a:ext uri="{FF2B5EF4-FFF2-40B4-BE49-F238E27FC236}">
                        <a16:creationId xmlns:a16="http://schemas.microsoft.com/office/drawing/2014/main" id="{E061780E-F5F8-4B8E-B488-E685F6172A99}"/>
                      </a:ext>
                    </a:extLst>
                  </p:cNvPr>
                  <p:cNvSpPr/>
                  <p:nvPr/>
                </p:nvSpPr>
                <p:spPr>
                  <a:xfrm>
                    <a:off x="3272749" y="4417353"/>
                    <a:ext cx="205100" cy="186220"/>
                  </a:xfrm>
                  <a:custGeom>
                    <a:avLst/>
                    <a:gdLst>
                      <a:gd name="connsiteX0" fmla="*/ 424177 w 849392"/>
                      <a:gd name="connsiteY0" fmla="*/ 220130 h 771210"/>
                      <a:gd name="connsiteX1" fmla="*/ 226803 w 849392"/>
                      <a:gd name="connsiteY1" fmla="*/ 417504 h 771210"/>
                      <a:gd name="connsiteX2" fmla="*/ 424177 w 849392"/>
                      <a:gd name="connsiteY2" fmla="*/ 614878 h 771210"/>
                      <a:gd name="connsiteX3" fmla="*/ 621551 w 849392"/>
                      <a:gd name="connsiteY3" fmla="*/ 417504 h 771210"/>
                      <a:gd name="connsiteX4" fmla="*/ 424177 w 849392"/>
                      <a:gd name="connsiteY4" fmla="*/ 220130 h 771210"/>
                      <a:gd name="connsiteX5" fmla="*/ 340871 w 849392"/>
                      <a:gd name="connsiteY5" fmla="*/ 0 h 771210"/>
                      <a:gd name="connsiteX6" fmla="*/ 254908 w 849392"/>
                      <a:gd name="connsiteY6" fmla="*/ 141475 h 771210"/>
                      <a:gd name="connsiteX7" fmla="*/ 267425 w 849392"/>
                      <a:gd name="connsiteY7" fmla="*/ 203514 h 771210"/>
                      <a:gd name="connsiteX8" fmla="*/ 276577 w 849392"/>
                      <a:gd name="connsiteY8" fmla="*/ 217086 h 771210"/>
                      <a:gd name="connsiteX9" fmla="*/ 284587 w 849392"/>
                      <a:gd name="connsiteY9" fmla="*/ 210477 h 771210"/>
                      <a:gd name="connsiteX10" fmla="*/ 424177 w 849392"/>
                      <a:gd name="connsiteY10" fmla="*/ 167838 h 771210"/>
                      <a:gd name="connsiteX11" fmla="*/ 521359 w 849392"/>
                      <a:gd name="connsiteY11" fmla="*/ 187458 h 771210"/>
                      <a:gd name="connsiteX12" fmla="*/ 558481 w 849392"/>
                      <a:gd name="connsiteY12" fmla="*/ 207607 h 771210"/>
                      <a:gd name="connsiteX13" fmla="*/ 561240 w 849392"/>
                      <a:gd name="connsiteY13" fmla="*/ 203514 h 771210"/>
                      <a:gd name="connsiteX14" fmla="*/ 573757 w 849392"/>
                      <a:gd name="connsiteY14" fmla="*/ 141475 h 771210"/>
                      <a:gd name="connsiteX15" fmla="*/ 488270 w 849392"/>
                      <a:gd name="connsiteY15" fmla="*/ 162 h 771210"/>
                      <a:gd name="connsiteX16" fmla="*/ 641385 w 849392"/>
                      <a:gd name="connsiteY16" fmla="*/ 214836 h 771210"/>
                      <a:gd name="connsiteX17" fmla="*/ 635044 w 849392"/>
                      <a:gd name="connsiteY17" fmla="*/ 268317 h 771210"/>
                      <a:gd name="connsiteX18" fmla="*/ 631380 w 849392"/>
                      <a:gd name="connsiteY18" fmla="*/ 278236 h 771210"/>
                      <a:gd name="connsiteX19" fmla="*/ 654209 w 849392"/>
                      <a:gd name="connsiteY19" fmla="*/ 320296 h 771210"/>
                      <a:gd name="connsiteX20" fmla="*/ 668043 w 849392"/>
                      <a:gd name="connsiteY20" fmla="*/ 321689 h 771210"/>
                      <a:gd name="connsiteX21" fmla="*/ 849392 w 849392"/>
                      <a:gd name="connsiteY21" fmla="*/ 544230 h 771210"/>
                      <a:gd name="connsiteX22" fmla="*/ 848906 w 849392"/>
                      <a:gd name="connsiteY22" fmla="*/ 558279 h 771210"/>
                      <a:gd name="connsiteX23" fmla="*/ 689886 w 849392"/>
                      <a:gd name="connsiteY23" fmla="*/ 410413 h 771210"/>
                      <a:gd name="connsiteX24" fmla="*/ 673463 w 849392"/>
                      <a:gd name="connsiteY24" fmla="*/ 413729 h 771210"/>
                      <a:gd name="connsiteX25" fmla="*/ 673843 w 849392"/>
                      <a:gd name="connsiteY25" fmla="*/ 417504 h 771210"/>
                      <a:gd name="connsiteX26" fmla="*/ 563768 w 849392"/>
                      <a:gd name="connsiteY26" fmla="*/ 624531 h 771210"/>
                      <a:gd name="connsiteX27" fmla="*/ 544824 w 849392"/>
                      <a:gd name="connsiteY27" fmla="*/ 634814 h 771210"/>
                      <a:gd name="connsiteX28" fmla="*/ 577109 w 849392"/>
                      <a:gd name="connsiteY28" fmla="*/ 682684 h 771210"/>
                      <a:gd name="connsiteX29" fmla="*/ 689877 w 849392"/>
                      <a:gd name="connsiteY29" fmla="*/ 729415 h 771210"/>
                      <a:gd name="connsiteX30" fmla="*/ 801376 w 849392"/>
                      <a:gd name="connsiteY30" fmla="*/ 683790 h 771210"/>
                      <a:gd name="connsiteX31" fmla="*/ 622230 w 849392"/>
                      <a:gd name="connsiteY31" fmla="*/ 771210 h 771210"/>
                      <a:gd name="connsiteX32" fmla="*/ 459998 w 849392"/>
                      <a:gd name="connsiteY32" fmla="*/ 703039 h 771210"/>
                      <a:gd name="connsiteX33" fmla="*/ 432376 w 849392"/>
                      <a:gd name="connsiteY33" fmla="*/ 666344 h 771210"/>
                      <a:gd name="connsiteX34" fmla="*/ 424177 w 849392"/>
                      <a:gd name="connsiteY34" fmla="*/ 667170 h 771210"/>
                      <a:gd name="connsiteX35" fmla="*/ 416810 w 849392"/>
                      <a:gd name="connsiteY35" fmla="*/ 666427 h 771210"/>
                      <a:gd name="connsiteX36" fmla="*/ 389316 w 849392"/>
                      <a:gd name="connsiteY36" fmla="*/ 703039 h 771210"/>
                      <a:gd name="connsiteX37" fmla="*/ 226990 w 849392"/>
                      <a:gd name="connsiteY37" fmla="*/ 771210 h 771210"/>
                      <a:gd name="connsiteX38" fmla="*/ 47701 w 849392"/>
                      <a:gd name="connsiteY38" fmla="*/ 683638 h 771210"/>
                      <a:gd name="connsiteX39" fmla="*/ 159505 w 849392"/>
                      <a:gd name="connsiteY39" fmla="*/ 729424 h 771210"/>
                      <a:gd name="connsiteX40" fmla="*/ 272277 w 849392"/>
                      <a:gd name="connsiteY40" fmla="*/ 682693 h 771210"/>
                      <a:gd name="connsiteX41" fmla="*/ 304289 w 849392"/>
                      <a:gd name="connsiteY41" fmla="*/ 635225 h 771210"/>
                      <a:gd name="connsiteX42" fmla="*/ 284587 w 849392"/>
                      <a:gd name="connsiteY42" fmla="*/ 624531 h 771210"/>
                      <a:gd name="connsiteX43" fmla="*/ 174511 w 849392"/>
                      <a:gd name="connsiteY43" fmla="*/ 417504 h 771210"/>
                      <a:gd name="connsiteX44" fmla="*/ 174912 w 849392"/>
                      <a:gd name="connsiteY44" fmla="*/ 413526 h 771210"/>
                      <a:gd name="connsiteX45" fmla="*/ 159505 w 849392"/>
                      <a:gd name="connsiteY45" fmla="*/ 410413 h 771210"/>
                      <a:gd name="connsiteX46" fmla="*/ 486 w 849392"/>
                      <a:gd name="connsiteY46" fmla="*/ 558279 h 771210"/>
                      <a:gd name="connsiteX47" fmla="*/ 0 w 849392"/>
                      <a:gd name="connsiteY47" fmla="*/ 544230 h 771210"/>
                      <a:gd name="connsiteX48" fmla="*/ 168752 w 849392"/>
                      <a:gd name="connsiteY48" fmla="*/ 324737 h 771210"/>
                      <a:gd name="connsiteX49" fmla="*/ 194035 w 849392"/>
                      <a:gd name="connsiteY49" fmla="*/ 320633 h 771210"/>
                      <a:gd name="connsiteX50" fmla="*/ 194131 w 849392"/>
                      <a:gd name="connsiteY50" fmla="*/ 320323 h 771210"/>
                      <a:gd name="connsiteX51" fmla="*/ 205224 w 849392"/>
                      <a:gd name="connsiteY51" fmla="*/ 299886 h 771210"/>
                      <a:gd name="connsiteX52" fmla="*/ 193626 w 849392"/>
                      <a:gd name="connsiteY52" fmla="*/ 268562 h 771210"/>
                      <a:gd name="connsiteX53" fmla="*/ 187261 w 849392"/>
                      <a:gd name="connsiteY53" fmla="*/ 214836 h 771210"/>
                      <a:gd name="connsiteX54" fmla="*/ 340871 w 849392"/>
                      <a:gd name="connsiteY54" fmla="*/ 0 h 771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49392" h="771210">
                        <a:moveTo>
                          <a:pt x="424177" y="220130"/>
                        </a:moveTo>
                        <a:cubicBezTo>
                          <a:pt x="315170" y="220130"/>
                          <a:pt x="226803" y="308497"/>
                          <a:pt x="226803" y="417504"/>
                        </a:cubicBezTo>
                        <a:cubicBezTo>
                          <a:pt x="226803" y="526511"/>
                          <a:pt x="315170" y="614878"/>
                          <a:pt x="424177" y="614878"/>
                        </a:cubicBezTo>
                        <a:cubicBezTo>
                          <a:pt x="533184" y="614878"/>
                          <a:pt x="621551" y="526511"/>
                          <a:pt x="621551" y="417504"/>
                        </a:cubicBezTo>
                        <a:cubicBezTo>
                          <a:pt x="621551" y="308497"/>
                          <a:pt x="533184" y="220130"/>
                          <a:pt x="424177" y="220130"/>
                        </a:cubicBezTo>
                        <a:close/>
                        <a:moveTo>
                          <a:pt x="340871" y="0"/>
                        </a:moveTo>
                        <a:cubicBezTo>
                          <a:pt x="289674" y="26460"/>
                          <a:pt x="254908" y="79914"/>
                          <a:pt x="254908" y="141475"/>
                        </a:cubicBezTo>
                        <a:cubicBezTo>
                          <a:pt x="254908" y="163485"/>
                          <a:pt x="259364" y="184449"/>
                          <a:pt x="267425" y="203514"/>
                        </a:cubicBezTo>
                        <a:lnTo>
                          <a:pt x="276577" y="217086"/>
                        </a:lnTo>
                        <a:lnTo>
                          <a:pt x="284587" y="210477"/>
                        </a:lnTo>
                        <a:cubicBezTo>
                          <a:pt x="324433" y="183557"/>
                          <a:pt x="372470" y="167838"/>
                          <a:pt x="424177" y="167838"/>
                        </a:cubicBezTo>
                        <a:cubicBezTo>
                          <a:pt x="458649" y="167838"/>
                          <a:pt x="491489" y="174824"/>
                          <a:pt x="521359" y="187458"/>
                        </a:cubicBezTo>
                        <a:lnTo>
                          <a:pt x="558481" y="207607"/>
                        </a:lnTo>
                        <a:lnTo>
                          <a:pt x="561240" y="203514"/>
                        </a:lnTo>
                        <a:cubicBezTo>
                          <a:pt x="569301" y="184449"/>
                          <a:pt x="573757" y="163485"/>
                          <a:pt x="573757" y="141475"/>
                        </a:cubicBezTo>
                        <a:cubicBezTo>
                          <a:pt x="573757" y="80067"/>
                          <a:pt x="538991" y="26794"/>
                          <a:pt x="488270" y="162"/>
                        </a:cubicBezTo>
                        <a:cubicBezTo>
                          <a:pt x="577424" y="30937"/>
                          <a:pt x="641385" y="115319"/>
                          <a:pt x="641385" y="214836"/>
                        </a:cubicBezTo>
                        <a:cubicBezTo>
                          <a:pt x="641385" y="233262"/>
                          <a:pt x="639192" y="251169"/>
                          <a:pt x="635044" y="268317"/>
                        </a:cubicBezTo>
                        <a:lnTo>
                          <a:pt x="631380" y="278236"/>
                        </a:lnTo>
                        <a:lnTo>
                          <a:pt x="654209" y="320296"/>
                        </a:lnTo>
                        <a:lnTo>
                          <a:pt x="668043" y="321689"/>
                        </a:lnTo>
                        <a:cubicBezTo>
                          <a:pt x="771595" y="342856"/>
                          <a:pt x="849392" y="434391"/>
                          <a:pt x="849392" y="544230"/>
                        </a:cubicBezTo>
                        <a:cubicBezTo>
                          <a:pt x="849392" y="549021"/>
                          <a:pt x="849239" y="553631"/>
                          <a:pt x="848906" y="558279"/>
                        </a:cubicBezTo>
                        <a:cubicBezTo>
                          <a:pt x="843010" y="475640"/>
                          <a:pt x="774097" y="410413"/>
                          <a:pt x="689886" y="410413"/>
                        </a:cubicBezTo>
                        <a:lnTo>
                          <a:pt x="673463" y="413729"/>
                        </a:lnTo>
                        <a:lnTo>
                          <a:pt x="673843" y="417504"/>
                        </a:lnTo>
                        <a:cubicBezTo>
                          <a:pt x="673843" y="503683"/>
                          <a:pt x="630180" y="579664"/>
                          <a:pt x="563768" y="624531"/>
                        </a:cubicBezTo>
                        <a:lnTo>
                          <a:pt x="544824" y="634814"/>
                        </a:lnTo>
                        <a:lnTo>
                          <a:pt x="577109" y="682684"/>
                        </a:lnTo>
                        <a:cubicBezTo>
                          <a:pt x="605981" y="711553"/>
                          <a:pt x="645857" y="729415"/>
                          <a:pt x="689877" y="729415"/>
                        </a:cubicBezTo>
                        <a:cubicBezTo>
                          <a:pt x="733425" y="729415"/>
                          <a:pt x="772658" y="712022"/>
                          <a:pt x="801376" y="683790"/>
                        </a:cubicBezTo>
                        <a:cubicBezTo>
                          <a:pt x="759904" y="737063"/>
                          <a:pt x="694982" y="771210"/>
                          <a:pt x="622230" y="771210"/>
                        </a:cubicBezTo>
                        <a:cubicBezTo>
                          <a:pt x="558715" y="771210"/>
                          <a:pt x="501201" y="745102"/>
                          <a:pt x="459998" y="703039"/>
                        </a:cubicBezTo>
                        <a:lnTo>
                          <a:pt x="432376" y="666344"/>
                        </a:lnTo>
                        <a:lnTo>
                          <a:pt x="424177" y="667170"/>
                        </a:lnTo>
                        <a:lnTo>
                          <a:pt x="416810" y="666427"/>
                        </a:lnTo>
                        <a:lnTo>
                          <a:pt x="389316" y="703039"/>
                        </a:lnTo>
                        <a:cubicBezTo>
                          <a:pt x="348168" y="745102"/>
                          <a:pt x="290620" y="771210"/>
                          <a:pt x="226990" y="771210"/>
                        </a:cubicBezTo>
                        <a:cubicBezTo>
                          <a:pt x="154238" y="771210"/>
                          <a:pt x="89316" y="736911"/>
                          <a:pt x="47701" y="683638"/>
                        </a:cubicBezTo>
                        <a:cubicBezTo>
                          <a:pt x="76409" y="711870"/>
                          <a:pt x="115957" y="729424"/>
                          <a:pt x="159505" y="729424"/>
                        </a:cubicBezTo>
                        <a:cubicBezTo>
                          <a:pt x="203530" y="729424"/>
                          <a:pt x="243407" y="711562"/>
                          <a:pt x="272277" y="682693"/>
                        </a:cubicBezTo>
                        <a:lnTo>
                          <a:pt x="304289" y="635225"/>
                        </a:lnTo>
                        <a:lnTo>
                          <a:pt x="284587" y="624531"/>
                        </a:lnTo>
                        <a:cubicBezTo>
                          <a:pt x="218175" y="579664"/>
                          <a:pt x="174511" y="503683"/>
                          <a:pt x="174511" y="417504"/>
                        </a:cubicBezTo>
                        <a:lnTo>
                          <a:pt x="174912" y="413526"/>
                        </a:lnTo>
                        <a:lnTo>
                          <a:pt x="159505" y="410413"/>
                        </a:lnTo>
                        <a:cubicBezTo>
                          <a:pt x="75285" y="410413"/>
                          <a:pt x="6391" y="475650"/>
                          <a:pt x="486" y="558279"/>
                        </a:cubicBezTo>
                        <a:cubicBezTo>
                          <a:pt x="162" y="553640"/>
                          <a:pt x="0" y="549021"/>
                          <a:pt x="0" y="544230"/>
                        </a:cubicBezTo>
                        <a:cubicBezTo>
                          <a:pt x="0" y="439009"/>
                          <a:pt x="71569" y="350370"/>
                          <a:pt x="168752" y="324737"/>
                        </a:cubicBezTo>
                        <a:lnTo>
                          <a:pt x="194035" y="320633"/>
                        </a:lnTo>
                        <a:lnTo>
                          <a:pt x="194131" y="320323"/>
                        </a:lnTo>
                        <a:lnTo>
                          <a:pt x="205224" y="299886"/>
                        </a:lnTo>
                        <a:lnTo>
                          <a:pt x="193626" y="268562"/>
                        </a:lnTo>
                        <a:cubicBezTo>
                          <a:pt x="189457" y="251331"/>
                          <a:pt x="187261" y="233343"/>
                          <a:pt x="187261" y="214836"/>
                        </a:cubicBezTo>
                        <a:cubicBezTo>
                          <a:pt x="187261" y="115147"/>
                          <a:pt x="251536" y="30299"/>
                          <a:pt x="340871" y="0"/>
                        </a:cubicBezTo>
                        <a:close/>
                      </a:path>
                    </a:pathLst>
                  </a:custGeom>
                  <a:solidFill>
                    <a:schemeClr val="accent6"/>
                  </a:solidFill>
                  <a:ln w="9525" cap="flat">
                    <a:noFill/>
                    <a:prstDash val="solid"/>
                    <a:miter/>
                  </a:ln>
                </p:spPr>
                <p:txBody>
                  <a:bodyPr wrap="square">
                    <a:no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1394" name="Freeform: Shape 1393">
                    <a:extLst>
                      <a:ext uri="{FF2B5EF4-FFF2-40B4-BE49-F238E27FC236}">
                        <a16:creationId xmlns:a16="http://schemas.microsoft.com/office/drawing/2014/main" id="{7BB42AF1-E4F0-40B0-9F42-2856027FDDB8}"/>
                      </a:ext>
                    </a:extLst>
                  </p:cNvPr>
                  <p:cNvSpPr/>
                  <p:nvPr/>
                </p:nvSpPr>
                <p:spPr>
                  <a:xfrm>
                    <a:off x="3339752" y="4484836"/>
                    <a:ext cx="64248" cy="62556"/>
                  </a:xfrm>
                  <a:custGeom>
                    <a:avLst/>
                    <a:gdLst/>
                    <a:ahLst/>
                    <a:cxnLst/>
                    <a:rect l="0" t="0" r="0" b="0"/>
                    <a:pathLst>
                      <a:path w="723900" h="704850">
                        <a:moveTo>
                          <a:pt x="705326" y="7144"/>
                        </a:moveTo>
                        <a:lnTo>
                          <a:pt x="641509" y="7144"/>
                        </a:lnTo>
                        <a:cubicBezTo>
                          <a:pt x="501491" y="7144"/>
                          <a:pt x="387191" y="120491"/>
                          <a:pt x="387191" y="261461"/>
                        </a:cubicBezTo>
                        <a:lnTo>
                          <a:pt x="133826" y="261461"/>
                        </a:lnTo>
                        <a:cubicBezTo>
                          <a:pt x="63341" y="261461"/>
                          <a:pt x="7144" y="286226"/>
                          <a:pt x="7144" y="356711"/>
                        </a:cubicBezTo>
                        <a:lnTo>
                          <a:pt x="7144" y="451961"/>
                        </a:lnTo>
                        <a:lnTo>
                          <a:pt x="70009" y="451961"/>
                        </a:lnTo>
                        <a:lnTo>
                          <a:pt x="70009" y="356711"/>
                        </a:lnTo>
                        <a:cubicBezTo>
                          <a:pt x="70009" y="321469"/>
                          <a:pt x="98584" y="292894"/>
                          <a:pt x="133826" y="292894"/>
                        </a:cubicBezTo>
                        <a:lnTo>
                          <a:pt x="133826" y="547211"/>
                        </a:lnTo>
                        <a:cubicBezTo>
                          <a:pt x="90011" y="547211"/>
                          <a:pt x="54769" y="582454"/>
                          <a:pt x="54769" y="626269"/>
                        </a:cubicBezTo>
                        <a:cubicBezTo>
                          <a:pt x="54769" y="670084"/>
                          <a:pt x="90011" y="705326"/>
                          <a:pt x="133826" y="705326"/>
                        </a:cubicBezTo>
                        <a:cubicBezTo>
                          <a:pt x="177641" y="705326"/>
                          <a:pt x="212884" y="670084"/>
                          <a:pt x="212884" y="626269"/>
                        </a:cubicBezTo>
                        <a:cubicBezTo>
                          <a:pt x="212884" y="620554"/>
                          <a:pt x="211931" y="615791"/>
                          <a:pt x="210979" y="610076"/>
                        </a:cubicBezTo>
                        <a:lnTo>
                          <a:pt x="499586" y="610076"/>
                        </a:lnTo>
                        <a:cubicBezTo>
                          <a:pt x="498634" y="614839"/>
                          <a:pt x="497681" y="620554"/>
                          <a:pt x="497681" y="626269"/>
                        </a:cubicBezTo>
                        <a:cubicBezTo>
                          <a:pt x="497681" y="670084"/>
                          <a:pt x="532924" y="705326"/>
                          <a:pt x="576739" y="705326"/>
                        </a:cubicBezTo>
                        <a:cubicBezTo>
                          <a:pt x="620554" y="705326"/>
                          <a:pt x="655796" y="670084"/>
                          <a:pt x="655796" y="626269"/>
                        </a:cubicBezTo>
                        <a:cubicBezTo>
                          <a:pt x="655796" y="582454"/>
                          <a:pt x="620554" y="547211"/>
                          <a:pt x="576739" y="547211"/>
                        </a:cubicBezTo>
                        <a:lnTo>
                          <a:pt x="576739" y="134779"/>
                        </a:lnTo>
                        <a:lnTo>
                          <a:pt x="641509" y="261461"/>
                        </a:lnTo>
                        <a:lnTo>
                          <a:pt x="705326" y="261461"/>
                        </a:lnTo>
                        <a:lnTo>
                          <a:pt x="705326" y="39529"/>
                        </a:lnTo>
                        <a:cubicBezTo>
                          <a:pt x="713899" y="39529"/>
                          <a:pt x="721519" y="32861"/>
                          <a:pt x="721519" y="23336"/>
                        </a:cubicBezTo>
                        <a:cubicBezTo>
                          <a:pt x="721519" y="13811"/>
                          <a:pt x="713899" y="7144"/>
                          <a:pt x="705326" y="7144"/>
                        </a:cubicBezTo>
                        <a:close/>
                        <a:moveTo>
                          <a:pt x="133826" y="658654"/>
                        </a:moveTo>
                        <a:cubicBezTo>
                          <a:pt x="116681" y="658654"/>
                          <a:pt x="102394" y="644366"/>
                          <a:pt x="102394" y="627221"/>
                        </a:cubicBezTo>
                        <a:cubicBezTo>
                          <a:pt x="102394" y="610076"/>
                          <a:pt x="116681" y="595789"/>
                          <a:pt x="133826" y="595789"/>
                        </a:cubicBezTo>
                        <a:cubicBezTo>
                          <a:pt x="150971" y="595789"/>
                          <a:pt x="165259" y="610076"/>
                          <a:pt x="165259" y="627221"/>
                        </a:cubicBezTo>
                        <a:cubicBezTo>
                          <a:pt x="165259" y="644366"/>
                          <a:pt x="150971" y="658654"/>
                          <a:pt x="133826" y="658654"/>
                        </a:cubicBezTo>
                        <a:close/>
                        <a:moveTo>
                          <a:pt x="514826" y="578644"/>
                        </a:moveTo>
                        <a:lnTo>
                          <a:pt x="196691" y="578644"/>
                        </a:lnTo>
                        <a:cubicBezTo>
                          <a:pt x="196691" y="578644"/>
                          <a:pt x="196691" y="578644"/>
                          <a:pt x="196691" y="578644"/>
                        </a:cubicBezTo>
                        <a:lnTo>
                          <a:pt x="260509" y="451961"/>
                        </a:lnTo>
                        <a:lnTo>
                          <a:pt x="451009" y="451961"/>
                        </a:lnTo>
                        <a:lnTo>
                          <a:pt x="514826" y="578644"/>
                        </a:lnTo>
                        <a:cubicBezTo>
                          <a:pt x="514826" y="578644"/>
                          <a:pt x="514826" y="578644"/>
                          <a:pt x="514826" y="578644"/>
                        </a:cubicBezTo>
                        <a:close/>
                        <a:moveTo>
                          <a:pt x="610076" y="626269"/>
                        </a:moveTo>
                        <a:cubicBezTo>
                          <a:pt x="610076" y="643414"/>
                          <a:pt x="595789" y="657701"/>
                          <a:pt x="578644" y="657701"/>
                        </a:cubicBezTo>
                        <a:cubicBezTo>
                          <a:pt x="561499" y="657701"/>
                          <a:pt x="547211" y="643414"/>
                          <a:pt x="547211" y="626269"/>
                        </a:cubicBezTo>
                        <a:cubicBezTo>
                          <a:pt x="547211" y="609124"/>
                          <a:pt x="561499" y="594836"/>
                          <a:pt x="578644" y="594836"/>
                        </a:cubicBezTo>
                        <a:cubicBezTo>
                          <a:pt x="595789" y="594836"/>
                          <a:pt x="610076" y="609124"/>
                          <a:pt x="610076" y="626269"/>
                        </a:cubicBezTo>
                        <a:close/>
                        <a:moveTo>
                          <a:pt x="672941" y="134779"/>
                        </a:moveTo>
                        <a:cubicBezTo>
                          <a:pt x="664369" y="134779"/>
                          <a:pt x="656749" y="128111"/>
                          <a:pt x="656749" y="118586"/>
                        </a:cubicBezTo>
                        <a:cubicBezTo>
                          <a:pt x="656749" y="110014"/>
                          <a:pt x="663416" y="102394"/>
                          <a:pt x="672941" y="102394"/>
                        </a:cubicBezTo>
                        <a:cubicBezTo>
                          <a:pt x="681514" y="102394"/>
                          <a:pt x="689134" y="109061"/>
                          <a:pt x="689134" y="118586"/>
                        </a:cubicBezTo>
                        <a:cubicBezTo>
                          <a:pt x="689134" y="127159"/>
                          <a:pt x="682466" y="134779"/>
                          <a:pt x="672941" y="134779"/>
                        </a:cubicBezTo>
                        <a:close/>
                      </a:path>
                    </a:pathLst>
                  </a:custGeom>
                  <a:solidFill>
                    <a:schemeClr val="accent6"/>
                  </a:solidFill>
                  <a:ln w="9525" cap="flat">
                    <a:noFill/>
                    <a:prstDash val="solid"/>
                    <a:miter/>
                  </a:ln>
                </p:spPr>
                <p:txBody>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grpSp>
          <p:grpSp>
            <p:nvGrpSpPr>
              <p:cNvPr id="1358" name="Group 1357">
                <a:extLst>
                  <a:ext uri="{FF2B5EF4-FFF2-40B4-BE49-F238E27FC236}">
                    <a16:creationId xmlns:a16="http://schemas.microsoft.com/office/drawing/2014/main" id="{48DD5949-14C5-4E26-B2B5-F50FFF43BBB2}"/>
                  </a:ext>
                </a:extLst>
              </p:cNvPr>
              <p:cNvGrpSpPr/>
              <p:nvPr/>
            </p:nvGrpSpPr>
            <p:grpSpPr>
              <a:xfrm>
                <a:off x="4696684" y="4617609"/>
                <a:ext cx="219868" cy="1073789"/>
                <a:chOff x="815959" y="3900803"/>
                <a:chExt cx="219868" cy="1073789"/>
              </a:xfrm>
            </p:grpSpPr>
            <p:grpSp>
              <p:nvGrpSpPr>
                <p:cNvPr id="1365" name="Group 1364">
                  <a:extLst>
                    <a:ext uri="{FF2B5EF4-FFF2-40B4-BE49-F238E27FC236}">
                      <a16:creationId xmlns:a16="http://schemas.microsoft.com/office/drawing/2014/main" id="{5B10B790-604B-4CE8-BCC2-16870CF9D900}"/>
                    </a:ext>
                  </a:extLst>
                </p:cNvPr>
                <p:cNvGrpSpPr/>
                <p:nvPr/>
              </p:nvGrpSpPr>
              <p:grpSpPr>
                <a:xfrm>
                  <a:off x="815959" y="3900803"/>
                  <a:ext cx="219868" cy="1073789"/>
                  <a:chOff x="2814861" y="3900803"/>
                  <a:chExt cx="219868" cy="1073789"/>
                </a:xfrm>
              </p:grpSpPr>
              <p:grpSp>
                <p:nvGrpSpPr>
                  <p:cNvPr id="1371" name="Group 1370">
                    <a:extLst>
                      <a:ext uri="{FF2B5EF4-FFF2-40B4-BE49-F238E27FC236}">
                        <a16:creationId xmlns:a16="http://schemas.microsoft.com/office/drawing/2014/main" id="{94FAA649-3EF4-4B71-93F2-EFE7E08809DC}"/>
                      </a:ext>
                    </a:extLst>
                  </p:cNvPr>
                  <p:cNvGrpSpPr/>
                  <p:nvPr/>
                </p:nvGrpSpPr>
                <p:grpSpPr>
                  <a:xfrm>
                    <a:off x="2814861" y="4754724"/>
                    <a:ext cx="219868" cy="219868"/>
                    <a:chOff x="1677883" y="4334258"/>
                    <a:chExt cx="219868" cy="219868"/>
                  </a:xfrm>
                </p:grpSpPr>
                <p:sp>
                  <p:nvSpPr>
                    <p:cNvPr id="1384" name="Oval 1383">
                      <a:extLst>
                        <a:ext uri="{FF2B5EF4-FFF2-40B4-BE49-F238E27FC236}">
                          <a16:creationId xmlns:a16="http://schemas.microsoft.com/office/drawing/2014/main" id="{4F8C543A-DB23-4B4C-AE5F-4DACF1FCA22E}"/>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85" name="Freeform: Shape 1384">
                      <a:extLst>
                        <a:ext uri="{FF2B5EF4-FFF2-40B4-BE49-F238E27FC236}">
                          <a16:creationId xmlns:a16="http://schemas.microsoft.com/office/drawing/2014/main" id="{9B950A68-B484-433A-BB2E-9097B01A7294}"/>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372" name="Group 1371">
                    <a:extLst>
                      <a:ext uri="{FF2B5EF4-FFF2-40B4-BE49-F238E27FC236}">
                        <a16:creationId xmlns:a16="http://schemas.microsoft.com/office/drawing/2014/main" id="{05891948-ECB3-4B3E-9BCE-A10E6DD0C39E}"/>
                      </a:ext>
                    </a:extLst>
                  </p:cNvPr>
                  <p:cNvGrpSpPr/>
                  <p:nvPr/>
                </p:nvGrpSpPr>
                <p:grpSpPr>
                  <a:xfrm>
                    <a:off x="2814861" y="4541489"/>
                    <a:ext cx="219868" cy="219868"/>
                    <a:chOff x="1299278" y="4593318"/>
                    <a:chExt cx="219868" cy="219868"/>
                  </a:xfrm>
                </p:grpSpPr>
                <p:sp>
                  <p:nvSpPr>
                    <p:cNvPr id="1382" name="Oval 1381">
                      <a:extLst>
                        <a:ext uri="{FF2B5EF4-FFF2-40B4-BE49-F238E27FC236}">
                          <a16:creationId xmlns:a16="http://schemas.microsoft.com/office/drawing/2014/main" id="{1B8165E5-B543-4153-A094-F454B4AF7F4A}"/>
                        </a:ext>
                      </a:extLst>
                    </p:cNvPr>
                    <p:cNvSpPr/>
                    <p:nvPr/>
                  </p:nvSpPr>
                  <p:spPr>
                    <a:xfrm>
                      <a:off x="1299278" y="459331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83" name="Freeform: Shape 1382">
                      <a:extLst>
                        <a:ext uri="{FF2B5EF4-FFF2-40B4-BE49-F238E27FC236}">
                          <a16:creationId xmlns:a16="http://schemas.microsoft.com/office/drawing/2014/main" id="{C39F67FE-AD86-4040-A748-901274B48C11}"/>
                        </a:ext>
                      </a:extLst>
                    </p:cNvPr>
                    <p:cNvSpPr/>
                    <p:nvPr/>
                  </p:nvSpPr>
                  <p:spPr>
                    <a:xfrm>
                      <a:off x="1353327" y="4615011"/>
                      <a:ext cx="111771" cy="176483"/>
                    </a:xfrm>
                    <a:custGeom>
                      <a:avLst/>
                      <a:gdLst/>
                      <a:ahLst/>
                      <a:cxnLst/>
                      <a:rect l="0" t="0" r="0" b="0"/>
                      <a:pathLst>
                        <a:path w="180975" h="285750">
                          <a:moveTo>
                            <a:pt x="30956" y="282840"/>
                          </a:moveTo>
                          <a:cubicBezTo>
                            <a:pt x="30004" y="281887"/>
                            <a:pt x="29051" y="281887"/>
                            <a:pt x="28099" y="281887"/>
                          </a:cubicBezTo>
                          <a:cubicBezTo>
                            <a:pt x="23336" y="280935"/>
                            <a:pt x="19526" y="278077"/>
                            <a:pt x="15716" y="275220"/>
                          </a:cubicBezTo>
                          <a:cubicBezTo>
                            <a:pt x="10001" y="269505"/>
                            <a:pt x="7144" y="262837"/>
                            <a:pt x="7144" y="255217"/>
                          </a:cubicBezTo>
                          <a:cubicBezTo>
                            <a:pt x="7144" y="248550"/>
                            <a:pt x="9049" y="241882"/>
                            <a:pt x="14764" y="237120"/>
                          </a:cubicBezTo>
                          <a:cubicBezTo>
                            <a:pt x="20479" y="231405"/>
                            <a:pt x="27146" y="228547"/>
                            <a:pt x="34766" y="228547"/>
                          </a:cubicBezTo>
                          <a:cubicBezTo>
                            <a:pt x="44291" y="228547"/>
                            <a:pt x="53816" y="228547"/>
                            <a:pt x="62389" y="228547"/>
                          </a:cubicBezTo>
                          <a:cubicBezTo>
                            <a:pt x="63341" y="228547"/>
                            <a:pt x="64294" y="228547"/>
                            <a:pt x="64294" y="226642"/>
                          </a:cubicBezTo>
                          <a:cubicBezTo>
                            <a:pt x="64294" y="172350"/>
                            <a:pt x="64294" y="119010"/>
                            <a:pt x="64294" y="64717"/>
                          </a:cubicBezTo>
                          <a:cubicBezTo>
                            <a:pt x="64294" y="63765"/>
                            <a:pt x="64294" y="62812"/>
                            <a:pt x="62389" y="62812"/>
                          </a:cubicBezTo>
                          <a:cubicBezTo>
                            <a:pt x="55721" y="62812"/>
                            <a:pt x="48101" y="62812"/>
                            <a:pt x="41434" y="62812"/>
                          </a:cubicBezTo>
                          <a:cubicBezTo>
                            <a:pt x="30004" y="62812"/>
                            <a:pt x="21431" y="57097"/>
                            <a:pt x="15716" y="46620"/>
                          </a:cubicBezTo>
                          <a:cubicBezTo>
                            <a:pt x="12859" y="40905"/>
                            <a:pt x="12859" y="34237"/>
                            <a:pt x="14764" y="26617"/>
                          </a:cubicBezTo>
                          <a:cubicBezTo>
                            <a:pt x="18574" y="16140"/>
                            <a:pt x="29051" y="8520"/>
                            <a:pt x="40481" y="8520"/>
                          </a:cubicBezTo>
                          <a:cubicBezTo>
                            <a:pt x="54769" y="8520"/>
                            <a:pt x="69056" y="7567"/>
                            <a:pt x="83344" y="7567"/>
                          </a:cubicBezTo>
                          <a:cubicBezTo>
                            <a:pt x="88106" y="7567"/>
                            <a:pt x="92869" y="6615"/>
                            <a:pt x="97631" y="7567"/>
                          </a:cubicBezTo>
                          <a:cubicBezTo>
                            <a:pt x="104299" y="8520"/>
                            <a:pt x="110014" y="11377"/>
                            <a:pt x="113824" y="16140"/>
                          </a:cubicBezTo>
                          <a:cubicBezTo>
                            <a:pt x="119539" y="21855"/>
                            <a:pt x="122396" y="29475"/>
                            <a:pt x="121444" y="38047"/>
                          </a:cubicBezTo>
                          <a:cubicBezTo>
                            <a:pt x="121444" y="39000"/>
                            <a:pt x="121444" y="39000"/>
                            <a:pt x="121444" y="39952"/>
                          </a:cubicBezTo>
                          <a:cubicBezTo>
                            <a:pt x="121444" y="101865"/>
                            <a:pt x="121444" y="163777"/>
                            <a:pt x="121444" y="226642"/>
                          </a:cubicBezTo>
                          <a:cubicBezTo>
                            <a:pt x="121444" y="228547"/>
                            <a:pt x="121444" y="228547"/>
                            <a:pt x="123349" y="228547"/>
                          </a:cubicBezTo>
                          <a:cubicBezTo>
                            <a:pt x="131921" y="228547"/>
                            <a:pt x="140494" y="228547"/>
                            <a:pt x="149066" y="228547"/>
                          </a:cubicBezTo>
                          <a:cubicBezTo>
                            <a:pt x="153829" y="228547"/>
                            <a:pt x="158591" y="230452"/>
                            <a:pt x="163354" y="232357"/>
                          </a:cubicBezTo>
                          <a:cubicBezTo>
                            <a:pt x="171926" y="238072"/>
                            <a:pt x="176689" y="245692"/>
                            <a:pt x="176689" y="256170"/>
                          </a:cubicBezTo>
                          <a:cubicBezTo>
                            <a:pt x="176689" y="263790"/>
                            <a:pt x="173831" y="271410"/>
                            <a:pt x="167164" y="276172"/>
                          </a:cubicBezTo>
                          <a:cubicBezTo>
                            <a:pt x="163354" y="279030"/>
                            <a:pt x="158591" y="281887"/>
                            <a:pt x="152876" y="282840"/>
                          </a:cubicBezTo>
                          <a:cubicBezTo>
                            <a:pt x="152876" y="282840"/>
                            <a:pt x="151924" y="282840"/>
                            <a:pt x="151924" y="282840"/>
                          </a:cubicBezTo>
                          <a:cubicBezTo>
                            <a:pt x="151924" y="282840"/>
                            <a:pt x="150971" y="282840"/>
                            <a:pt x="150971" y="282840"/>
                          </a:cubicBezTo>
                          <a:cubicBezTo>
                            <a:pt x="150971" y="281887"/>
                            <a:pt x="150019" y="282840"/>
                            <a:pt x="149066" y="282840"/>
                          </a:cubicBezTo>
                          <a:cubicBezTo>
                            <a:pt x="110966" y="282840"/>
                            <a:pt x="72866" y="282840"/>
                            <a:pt x="35719" y="282840"/>
                          </a:cubicBezTo>
                          <a:cubicBezTo>
                            <a:pt x="34766" y="282840"/>
                            <a:pt x="34766" y="282840"/>
                            <a:pt x="33814" y="282840"/>
                          </a:cubicBezTo>
                          <a:cubicBezTo>
                            <a:pt x="32861" y="282840"/>
                            <a:pt x="31909" y="282840"/>
                            <a:pt x="30956" y="282840"/>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grpSp>
                <p:nvGrpSpPr>
                  <p:cNvPr id="1373" name="Group 1372">
                    <a:extLst>
                      <a:ext uri="{FF2B5EF4-FFF2-40B4-BE49-F238E27FC236}">
                        <a16:creationId xmlns:a16="http://schemas.microsoft.com/office/drawing/2014/main" id="{1AA550EF-2095-4644-A5C1-E5087FF10554}"/>
                      </a:ext>
                    </a:extLst>
                  </p:cNvPr>
                  <p:cNvGrpSpPr/>
                  <p:nvPr/>
                </p:nvGrpSpPr>
                <p:grpSpPr>
                  <a:xfrm>
                    <a:off x="2814861" y="4124939"/>
                    <a:ext cx="219868" cy="219868"/>
                    <a:chOff x="1677883" y="4334258"/>
                    <a:chExt cx="219868" cy="219868"/>
                  </a:xfrm>
                </p:grpSpPr>
                <p:sp>
                  <p:nvSpPr>
                    <p:cNvPr id="1380" name="Oval 1379">
                      <a:extLst>
                        <a:ext uri="{FF2B5EF4-FFF2-40B4-BE49-F238E27FC236}">
                          <a16:creationId xmlns:a16="http://schemas.microsoft.com/office/drawing/2014/main" id="{A6633B2A-62B6-41FD-BF81-498DAC488CE2}"/>
                        </a:ext>
                      </a:extLst>
                    </p:cNvPr>
                    <p:cNvSpPr/>
                    <p:nvPr/>
                  </p:nvSpPr>
                  <p:spPr>
                    <a:xfrm>
                      <a:off x="1677883" y="4334258"/>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81" name="Freeform: Shape 1380">
                      <a:extLst>
                        <a:ext uri="{FF2B5EF4-FFF2-40B4-BE49-F238E27FC236}">
                          <a16:creationId xmlns:a16="http://schemas.microsoft.com/office/drawing/2014/main" id="{DC868EB5-B272-4958-8903-1A8DF5A35EAD}"/>
                        </a:ext>
                      </a:extLst>
                    </p:cNvPr>
                    <p:cNvSpPr/>
                    <p:nvPr/>
                  </p:nvSpPr>
                  <p:spPr>
                    <a:xfrm>
                      <a:off x="1715619" y="4355951"/>
                      <a:ext cx="144396" cy="176483"/>
                    </a:xfrm>
                    <a:custGeom>
                      <a:avLst/>
                      <a:gdLst/>
                      <a:ahLst/>
                      <a:cxnLst/>
                      <a:rect l="0" t="0" r="0" b="0"/>
                      <a:pathLst>
                        <a:path w="257175" h="285750">
                          <a:moveTo>
                            <a:pt x="8096" y="154962"/>
                          </a:moveTo>
                          <a:cubicBezTo>
                            <a:pt x="8096" y="148294"/>
                            <a:pt x="8096" y="141627"/>
                            <a:pt x="8096" y="134959"/>
                          </a:cubicBezTo>
                          <a:cubicBezTo>
                            <a:pt x="8096" y="134959"/>
                            <a:pt x="8096" y="134959"/>
                            <a:pt x="8096" y="134007"/>
                          </a:cubicBezTo>
                          <a:cubicBezTo>
                            <a:pt x="8096" y="128292"/>
                            <a:pt x="9049" y="123529"/>
                            <a:pt x="10001" y="117814"/>
                          </a:cubicBezTo>
                          <a:cubicBezTo>
                            <a:pt x="11906" y="111147"/>
                            <a:pt x="11906" y="104479"/>
                            <a:pt x="14764" y="98764"/>
                          </a:cubicBezTo>
                          <a:cubicBezTo>
                            <a:pt x="16669" y="94954"/>
                            <a:pt x="17621" y="91144"/>
                            <a:pt x="18574" y="87334"/>
                          </a:cubicBezTo>
                          <a:cubicBezTo>
                            <a:pt x="21431" y="81619"/>
                            <a:pt x="24289" y="74952"/>
                            <a:pt x="27146" y="69237"/>
                          </a:cubicBezTo>
                          <a:cubicBezTo>
                            <a:pt x="30004" y="64474"/>
                            <a:pt x="32861" y="60664"/>
                            <a:pt x="35719" y="55902"/>
                          </a:cubicBezTo>
                          <a:cubicBezTo>
                            <a:pt x="38576" y="52092"/>
                            <a:pt x="41434" y="48282"/>
                            <a:pt x="44291" y="45424"/>
                          </a:cubicBezTo>
                          <a:cubicBezTo>
                            <a:pt x="47149" y="42567"/>
                            <a:pt x="50006" y="39709"/>
                            <a:pt x="52864" y="36852"/>
                          </a:cubicBezTo>
                          <a:cubicBezTo>
                            <a:pt x="58579" y="32089"/>
                            <a:pt x="64294" y="27327"/>
                            <a:pt x="70961" y="23517"/>
                          </a:cubicBezTo>
                          <a:cubicBezTo>
                            <a:pt x="75724" y="20659"/>
                            <a:pt x="81439" y="17802"/>
                            <a:pt x="86201" y="15897"/>
                          </a:cubicBezTo>
                          <a:cubicBezTo>
                            <a:pt x="97631" y="11134"/>
                            <a:pt x="110014" y="8277"/>
                            <a:pt x="123349" y="7324"/>
                          </a:cubicBezTo>
                          <a:cubicBezTo>
                            <a:pt x="139541" y="6372"/>
                            <a:pt x="155734" y="9229"/>
                            <a:pt x="170974" y="14944"/>
                          </a:cubicBezTo>
                          <a:cubicBezTo>
                            <a:pt x="181451" y="18754"/>
                            <a:pt x="190976" y="24469"/>
                            <a:pt x="199549" y="31137"/>
                          </a:cubicBezTo>
                          <a:cubicBezTo>
                            <a:pt x="204311" y="34947"/>
                            <a:pt x="208121" y="38757"/>
                            <a:pt x="212884" y="42567"/>
                          </a:cubicBezTo>
                          <a:cubicBezTo>
                            <a:pt x="217646" y="47329"/>
                            <a:pt x="222409" y="53044"/>
                            <a:pt x="226219" y="57807"/>
                          </a:cubicBezTo>
                          <a:cubicBezTo>
                            <a:pt x="229076" y="61617"/>
                            <a:pt x="231934" y="66379"/>
                            <a:pt x="233839" y="70189"/>
                          </a:cubicBezTo>
                          <a:cubicBezTo>
                            <a:pt x="237649" y="75904"/>
                            <a:pt x="240506" y="82572"/>
                            <a:pt x="242411" y="89239"/>
                          </a:cubicBezTo>
                          <a:cubicBezTo>
                            <a:pt x="244316" y="93049"/>
                            <a:pt x="245269" y="97812"/>
                            <a:pt x="246221" y="101622"/>
                          </a:cubicBezTo>
                          <a:cubicBezTo>
                            <a:pt x="248126" y="107337"/>
                            <a:pt x="249079" y="114004"/>
                            <a:pt x="250031" y="119719"/>
                          </a:cubicBezTo>
                          <a:cubicBezTo>
                            <a:pt x="252889" y="136864"/>
                            <a:pt x="252889" y="154009"/>
                            <a:pt x="249079" y="170202"/>
                          </a:cubicBezTo>
                          <a:cubicBezTo>
                            <a:pt x="248126" y="175917"/>
                            <a:pt x="247174" y="181632"/>
                            <a:pt x="245269" y="187347"/>
                          </a:cubicBezTo>
                          <a:cubicBezTo>
                            <a:pt x="243364" y="192109"/>
                            <a:pt x="242411" y="195919"/>
                            <a:pt x="240506" y="200682"/>
                          </a:cubicBezTo>
                          <a:cubicBezTo>
                            <a:pt x="238601" y="203539"/>
                            <a:pt x="237649" y="206397"/>
                            <a:pt x="236696" y="209254"/>
                          </a:cubicBezTo>
                          <a:cubicBezTo>
                            <a:pt x="233839" y="214969"/>
                            <a:pt x="230981" y="219732"/>
                            <a:pt x="228124" y="224494"/>
                          </a:cubicBezTo>
                          <a:cubicBezTo>
                            <a:pt x="225266" y="228304"/>
                            <a:pt x="222409" y="232114"/>
                            <a:pt x="219551" y="235924"/>
                          </a:cubicBezTo>
                          <a:cubicBezTo>
                            <a:pt x="215741" y="240687"/>
                            <a:pt x="210979" y="245449"/>
                            <a:pt x="206216" y="249259"/>
                          </a:cubicBezTo>
                          <a:cubicBezTo>
                            <a:pt x="202406" y="253069"/>
                            <a:pt x="197644" y="255927"/>
                            <a:pt x="193834" y="258784"/>
                          </a:cubicBezTo>
                          <a:cubicBezTo>
                            <a:pt x="187166" y="263547"/>
                            <a:pt x="179546" y="267357"/>
                            <a:pt x="171926" y="270214"/>
                          </a:cubicBezTo>
                          <a:cubicBezTo>
                            <a:pt x="162401" y="274024"/>
                            <a:pt x="151924" y="276882"/>
                            <a:pt x="141446" y="277834"/>
                          </a:cubicBezTo>
                          <a:cubicBezTo>
                            <a:pt x="139541" y="277834"/>
                            <a:pt x="138589" y="277834"/>
                            <a:pt x="136684" y="278787"/>
                          </a:cubicBezTo>
                          <a:cubicBezTo>
                            <a:pt x="130969" y="278787"/>
                            <a:pt x="126206" y="278787"/>
                            <a:pt x="120491" y="278787"/>
                          </a:cubicBezTo>
                          <a:cubicBezTo>
                            <a:pt x="120491" y="277834"/>
                            <a:pt x="119539" y="278787"/>
                            <a:pt x="119539" y="278787"/>
                          </a:cubicBezTo>
                          <a:cubicBezTo>
                            <a:pt x="101441" y="276882"/>
                            <a:pt x="84296" y="271167"/>
                            <a:pt x="69056" y="261642"/>
                          </a:cubicBezTo>
                          <a:cubicBezTo>
                            <a:pt x="62389" y="257832"/>
                            <a:pt x="56674" y="253069"/>
                            <a:pt x="50959" y="247354"/>
                          </a:cubicBezTo>
                          <a:cubicBezTo>
                            <a:pt x="46196" y="243544"/>
                            <a:pt x="42386" y="238782"/>
                            <a:pt x="38576" y="234019"/>
                          </a:cubicBezTo>
                          <a:cubicBezTo>
                            <a:pt x="35719" y="230209"/>
                            <a:pt x="32861" y="226399"/>
                            <a:pt x="30004" y="221637"/>
                          </a:cubicBezTo>
                          <a:cubicBezTo>
                            <a:pt x="27146" y="216874"/>
                            <a:pt x="24289" y="212112"/>
                            <a:pt x="21431" y="206397"/>
                          </a:cubicBezTo>
                          <a:cubicBezTo>
                            <a:pt x="19526" y="202587"/>
                            <a:pt x="18574" y="199729"/>
                            <a:pt x="16669" y="195919"/>
                          </a:cubicBezTo>
                          <a:cubicBezTo>
                            <a:pt x="14764" y="192109"/>
                            <a:pt x="13811" y="188299"/>
                            <a:pt x="12859" y="184489"/>
                          </a:cubicBezTo>
                          <a:cubicBezTo>
                            <a:pt x="10954" y="177822"/>
                            <a:pt x="10001" y="171154"/>
                            <a:pt x="8096" y="164487"/>
                          </a:cubicBezTo>
                          <a:cubicBezTo>
                            <a:pt x="7144" y="160677"/>
                            <a:pt x="7144" y="157819"/>
                            <a:pt x="7144" y="154009"/>
                          </a:cubicBezTo>
                          <a:cubicBezTo>
                            <a:pt x="8096" y="156867"/>
                            <a:pt x="9049" y="155914"/>
                            <a:pt x="8096" y="154962"/>
                          </a:cubicBezTo>
                          <a:close/>
                          <a:moveTo>
                            <a:pt x="67151" y="146389"/>
                          </a:moveTo>
                          <a:cubicBezTo>
                            <a:pt x="67151" y="154009"/>
                            <a:pt x="68104" y="162582"/>
                            <a:pt x="70961" y="172107"/>
                          </a:cubicBezTo>
                          <a:cubicBezTo>
                            <a:pt x="72866" y="176869"/>
                            <a:pt x="73819" y="180679"/>
                            <a:pt x="75724" y="185442"/>
                          </a:cubicBezTo>
                          <a:cubicBezTo>
                            <a:pt x="77629" y="191157"/>
                            <a:pt x="80486" y="195919"/>
                            <a:pt x="84296" y="200682"/>
                          </a:cubicBezTo>
                          <a:cubicBezTo>
                            <a:pt x="88106" y="206397"/>
                            <a:pt x="92869" y="211159"/>
                            <a:pt x="97631" y="215922"/>
                          </a:cubicBezTo>
                          <a:cubicBezTo>
                            <a:pt x="102394" y="219732"/>
                            <a:pt x="108109" y="223542"/>
                            <a:pt x="114776" y="225447"/>
                          </a:cubicBezTo>
                          <a:cubicBezTo>
                            <a:pt x="131921" y="231162"/>
                            <a:pt x="148114" y="228304"/>
                            <a:pt x="162401" y="216874"/>
                          </a:cubicBezTo>
                          <a:cubicBezTo>
                            <a:pt x="167164" y="213064"/>
                            <a:pt x="170974" y="209254"/>
                            <a:pt x="174784" y="204492"/>
                          </a:cubicBezTo>
                          <a:cubicBezTo>
                            <a:pt x="178594" y="199729"/>
                            <a:pt x="181451" y="194967"/>
                            <a:pt x="184309" y="189252"/>
                          </a:cubicBezTo>
                          <a:cubicBezTo>
                            <a:pt x="185261" y="186394"/>
                            <a:pt x="186214" y="183537"/>
                            <a:pt x="188119" y="181632"/>
                          </a:cubicBezTo>
                          <a:cubicBezTo>
                            <a:pt x="190024" y="176869"/>
                            <a:pt x="191929" y="172107"/>
                            <a:pt x="192881" y="166392"/>
                          </a:cubicBezTo>
                          <a:cubicBezTo>
                            <a:pt x="195739" y="150199"/>
                            <a:pt x="195739" y="134007"/>
                            <a:pt x="190976" y="117814"/>
                          </a:cubicBezTo>
                          <a:cubicBezTo>
                            <a:pt x="190024" y="114004"/>
                            <a:pt x="189071" y="110194"/>
                            <a:pt x="187166" y="107337"/>
                          </a:cubicBezTo>
                          <a:cubicBezTo>
                            <a:pt x="185261" y="103527"/>
                            <a:pt x="184309" y="99717"/>
                            <a:pt x="182404" y="96859"/>
                          </a:cubicBezTo>
                          <a:cubicBezTo>
                            <a:pt x="179546" y="93049"/>
                            <a:pt x="177641" y="88287"/>
                            <a:pt x="173831" y="84477"/>
                          </a:cubicBezTo>
                          <a:cubicBezTo>
                            <a:pt x="170021" y="79714"/>
                            <a:pt x="165259" y="74952"/>
                            <a:pt x="159544" y="71142"/>
                          </a:cubicBezTo>
                          <a:cubicBezTo>
                            <a:pt x="154781" y="68284"/>
                            <a:pt x="150019" y="65427"/>
                            <a:pt x="144304" y="63522"/>
                          </a:cubicBezTo>
                          <a:cubicBezTo>
                            <a:pt x="128111" y="58759"/>
                            <a:pt x="112871" y="62569"/>
                            <a:pt x="99536" y="72094"/>
                          </a:cubicBezTo>
                          <a:cubicBezTo>
                            <a:pt x="94774" y="75904"/>
                            <a:pt x="90964" y="79714"/>
                            <a:pt x="87154" y="84477"/>
                          </a:cubicBezTo>
                          <a:cubicBezTo>
                            <a:pt x="84296" y="88287"/>
                            <a:pt x="81439" y="93049"/>
                            <a:pt x="78581" y="97812"/>
                          </a:cubicBezTo>
                          <a:cubicBezTo>
                            <a:pt x="76676" y="100669"/>
                            <a:pt x="75724" y="104479"/>
                            <a:pt x="74771" y="107337"/>
                          </a:cubicBezTo>
                          <a:cubicBezTo>
                            <a:pt x="72866" y="112099"/>
                            <a:pt x="71914" y="116862"/>
                            <a:pt x="70961" y="121624"/>
                          </a:cubicBezTo>
                          <a:cubicBezTo>
                            <a:pt x="68104" y="129244"/>
                            <a:pt x="67151" y="136864"/>
                            <a:pt x="67151" y="146389"/>
                          </a:cubicBezTo>
                          <a:close/>
                        </a:path>
                      </a:pathLst>
                    </a:custGeom>
                    <a:solidFill>
                      <a:srgbClr val="BFBFBF"/>
                    </a:solidFill>
                    <a:ln w="9525" cap="flat">
                      <a:noFill/>
                      <a:prstDash val="solid"/>
                      <a:miter/>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374" name="Group 1373">
                    <a:extLst>
                      <a:ext uri="{FF2B5EF4-FFF2-40B4-BE49-F238E27FC236}">
                        <a16:creationId xmlns:a16="http://schemas.microsoft.com/office/drawing/2014/main" id="{0BD61A3A-881E-4F1B-94B1-32B96B7B11F3}"/>
                      </a:ext>
                    </a:extLst>
                  </p:cNvPr>
                  <p:cNvGrpSpPr/>
                  <p:nvPr/>
                </p:nvGrpSpPr>
                <p:grpSpPr>
                  <a:xfrm>
                    <a:off x="2814861" y="4335319"/>
                    <a:ext cx="219868" cy="219868"/>
                    <a:chOff x="1218819" y="4058009"/>
                    <a:chExt cx="219868" cy="219868"/>
                  </a:xfrm>
                </p:grpSpPr>
                <p:sp>
                  <p:nvSpPr>
                    <p:cNvPr id="1378" name="Oval 1377">
                      <a:extLst>
                        <a:ext uri="{FF2B5EF4-FFF2-40B4-BE49-F238E27FC236}">
                          <a16:creationId xmlns:a16="http://schemas.microsoft.com/office/drawing/2014/main" id="{EFD03982-DA0E-4B42-8807-2998FFE0D580}"/>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79" name="Freeform: Shape 1378">
                      <a:extLst>
                        <a:ext uri="{FF2B5EF4-FFF2-40B4-BE49-F238E27FC236}">
                          <a16:creationId xmlns:a16="http://schemas.microsoft.com/office/drawing/2014/main" id="{DAB3CAD5-F42C-498C-BA6E-53F6C972928C}"/>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1375" name="Group 1374">
                    <a:extLst>
                      <a:ext uri="{FF2B5EF4-FFF2-40B4-BE49-F238E27FC236}">
                        <a16:creationId xmlns:a16="http://schemas.microsoft.com/office/drawing/2014/main" id="{E518C867-F7D2-4860-917C-F2DEC318AAD5}"/>
                      </a:ext>
                    </a:extLst>
                  </p:cNvPr>
                  <p:cNvGrpSpPr/>
                  <p:nvPr/>
                </p:nvGrpSpPr>
                <p:grpSpPr>
                  <a:xfrm>
                    <a:off x="2814861" y="3900803"/>
                    <a:ext cx="219868" cy="219868"/>
                    <a:chOff x="1218819" y="4058009"/>
                    <a:chExt cx="219868" cy="219868"/>
                  </a:xfrm>
                </p:grpSpPr>
                <p:sp>
                  <p:nvSpPr>
                    <p:cNvPr id="1376" name="Oval 1375">
                      <a:extLst>
                        <a:ext uri="{FF2B5EF4-FFF2-40B4-BE49-F238E27FC236}">
                          <a16:creationId xmlns:a16="http://schemas.microsoft.com/office/drawing/2014/main" id="{64FDC30A-8824-4E24-A611-16768912C597}"/>
                        </a:ext>
                      </a:extLst>
                    </p:cNvPr>
                    <p:cNvSpPr/>
                    <p:nvPr/>
                  </p:nvSpPr>
                  <p:spPr>
                    <a:xfrm>
                      <a:off x="1218819" y="4058009"/>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77" name="Freeform: Shape 1376">
                      <a:extLst>
                        <a:ext uri="{FF2B5EF4-FFF2-40B4-BE49-F238E27FC236}">
                          <a16:creationId xmlns:a16="http://schemas.microsoft.com/office/drawing/2014/main" id="{B77375AC-319A-4363-AEB6-41D79F1DB907}"/>
                        </a:ext>
                      </a:extLst>
                    </p:cNvPr>
                    <p:cNvSpPr/>
                    <p:nvPr/>
                  </p:nvSpPr>
                  <p:spPr>
                    <a:xfrm flipH="1">
                      <a:off x="1263191" y="4081645"/>
                      <a:ext cx="131125" cy="172597"/>
                    </a:xfrm>
                    <a:custGeom>
                      <a:avLst/>
                      <a:gdLst>
                        <a:gd name="connsiteX0" fmla="*/ 306185 w 617255"/>
                        <a:gd name="connsiteY0" fmla="*/ 478310 h 812471"/>
                        <a:gd name="connsiteX1" fmla="*/ 218004 w 617255"/>
                        <a:gd name="connsiteY1" fmla="*/ 564665 h 812471"/>
                        <a:gd name="connsiteX2" fmla="*/ 264130 w 617255"/>
                        <a:gd name="connsiteY2" fmla="*/ 640614 h 812471"/>
                        <a:gd name="connsiteX3" fmla="*/ 264130 w 617255"/>
                        <a:gd name="connsiteY3" fmla="*/ 718776 h 812471"/>
                        <a:gd name="connsiteX4" fmla="*/ 306185 w 617255"/>
                        <a:gd name="connsiteY4" fmla="*/ 759961 h 812471"/>
                        <a:gd name="connsiteX5" fmla="*/ 348241 w 617255"/>
                        <a:gd name="connsiteY5" fmla="*/ 718776 h 812471"/>
                        <a:gd name="connsiteX6" fmla="*/ 348241 w 617255"/>
                        <a:gd name="connsiteY6" fmla="*/ 640614 h 812471"/>
                        <a:gd name="connsiteX7" fmla="*/ 394366 w 617255"/>
                        <a:gd name="connsiteY7" fmla="*/ 564665 h 812471"/>
                        <a:gd name="connsiteX8" fmla="*/ 306185 w 617255"/>
                        <a:gd name="connsiteY8" fmla="*/ 478310 h 812471"/>
                        <a:gd name="connsiteX9" fmla="*/ 308627 w 617255"/>
                        <a:gd name="connsiteY9" fmla="*/ 117827 h 812471"/>
                        <a:gd name="connsiteX10" fmla="*/ 200059 w 617255"/>
                        <a:gd name="connsiteY10" fmla="*/ 189791 h 812471"/>
                        <a:gd name="connsiteX11" fmla="*/ 191444 w 617255"/>
                        <a:gd name="connsiteY11" fmla="*/ 232461 h 812471"/>
                        <a:gd name="connsiteX12" fmla="*/ 224163 w 617255"/>
                        <a:gd name="connsiteY12" fmla="*/ 232461 h 812471"/>
                        <a:gd name="connsiteX13" fmla="*/ 395641 w 617255"/>
                        <a:gd name="connsiteY13" fmla="*/ 232461 h 812471"/>
                        <a:gd name="connsiteX14" fmla="*/ 425810 w 617255"/>
                        <a:gd name="connsiteY14" fmla="*/ 232461 h 812471"/>
                        <a:gd name="connsiteX15" fmla="*/ 417196 w 617255"/>
                        <a:gd name="connsiteY15" fmla="*/ 189791 h 812471"/>
                        <a:gd name="connsiteX16" fmla="*/ 308627 w 617255"/>
                        <a:gd name="connsiteY16" fmla="*/ 117827 h 812471"/>
                        <a:gd name="connsiteX17" fmla="*/ 308627 w 617255"/>
                        <a:gd name="connsiteY17" fmla="*/ 0 h 812471"/>
                        <a:gd name="connsiteX18" fmla="*/ 539494 w 617255"/>
                        <a:gd name="connsiteY18" fmla="*/ 188162 h 812471"/>
                        <a:gd name="connsiteX19" fmla="*/ 543960 w 617255"/>
                        <a:gd name="connsiteY19" fmla="*/ 232461 h 812471"/>
                        <a:gd name="connsiteX20" fmla="*/ 549401 w 617255"/>
                        <a:gd name="connsiteY20" fmla="*/ 232461 h 812471"/>
                        <a:gd name="connsiteX21" fmla="*/ 557168 w 617255"/>
                        <a:gd name="connsiteY21" fmla="*/ 232461 h 812471"/>
                        <a:gd name="connsiteX22" fmla="*/ 617255 w 617255"/>
                        <a:gd name="connsiteY22" fmla="*/ 290994 h 812471"/>
                        <a:gd name="connsiteX23" fmla="*/ 617255 w 617255"/>
                        <a:gd name="connsiteY23" fmla="*/ 753938 h 812471"/>
                        <a:gd name="connsiteX24" fmla="*/ 557168 w 617255"/>
                        <a:gd name="connsiteY24" fmla="*/ 812471 h 812471"/>
                        <a:gd name="connsiteX25" fmla="*/ 60087 w 617255"/>
                        <a:gd name="connsiteY25" fmla="*/ 812471 h 812471"/>
                        <a:gd name="connsiteX26" fmla="*/ 0 w 617255"/>
                        <a:gd name="connsiteY26" fmla="*/ 753938 h 812471"/>
                        <a:gd name="connsiteX27" fmla="*/ 0 w 617255"/>
                        <a:gd name="connsiteY27" fmla="*/ 290994 h 812471"/>
                        <a:gd name="connsiteX28" fmla="*/ 60087 w 617255"/>
                        <a:gd name="connsiteY28" fmla="*/ 232461 h 812471"/>
                        <a:gd name="connsiteX29" fmla="*/ 73294 w 617255"/>
                        <a:gd name="connsiteY29" fmla="*/ 232461 h 812471"/>
                        <a:gd name="connsiteX30" fmla="*/ 77760 w 617255"/>
                        <a:gd name="connsiteY30" fmla="*/ 188162 h 812471"/>
                        <a:gd name="connsiteX31" fmla="*/ 308627 w 617255"/>
                        <a:gd name="connsiteY31" fmla="*/ 0 h 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7255" h="812471">
                          <a:moveTo>
                            <a:pt x="306185" y="478310"/>
                          </a:moveTo>
                          <a:cubicBezTo>
                            <a:pt x="257573" y="478310"/>
                            <a:pt x="218004" y="517059"/>
                            <a:pt x="218004" y="564665"/>
                          </a:cubicBezTo>
                          <a:cubicBezTo>
                            <a:pt x="218004" y="597436"/>
                            <a:pt x="236771" y="626000"/>
                            <a:pt x="264130" y="640614"/>
                          </a:cubicBezTo>
                          <a:cubicBezTo>
                            <a:pt x="264130" y="718776"/>
                            <a:pt x="264130" y="718776"/>
                            <a:pt x="264130" y="718776"/>
                          </a:cubicBezTo>
                          <a:cubicBezTo>
                            <a:pt x="264130" y="741583"/>
                            <a:pt x="283122" y="759961"/>
                            <a:pt x="306185" y="759961"/>
                          </a:cubicBezTo>
                          <a:cubicBezTo>
                            <a:pt x="329474" y="759961"/>
                            <a:pt x="348241" y="741583"/>
                            <a:pt x="348241" y="718776"/>
                          </a:cubicBezTo>
                          <a:cubicBezTo>
                            <a:pt x="348241" y="640614"/>
                            <a:pt x="348241" y="640614"/>
                            <a:pt x="348241" y="640614"/>
                          </a:cubicBezTo>
                          <a:cubicBezTo>
                            <a:pt x="375826" y="626000"/>
                            <a:pt x="394366" y="597436"/>
                            <a:pt x="394366" y="564665"/>
                          </a:cubicBezTo>
                          <a:cubicBezTo>
                            <a:pt x="394366" y="517059"/>
                            <a:pt x="355024" y="478310"/>
                            <a:pt x="306185" y="478310"/>
                          </a:cubicBezTo>
                          <a:close/>
                          <a:moveTo>
                            <a:pt x="308627" y="117827"/>
                          </a:moveTo>
                          <a:cubicBezTo>
                            <a:pt x="259821" y="117827"/>
                            <a:pt x="217946" y="147501"/>
                            <a:pt x="200059" y="189791"/>
                          </a:cubicBezTo>
                          <a:lnTo>
                            <a:pt x="191444" y="232461"/>
                          </a:lnTo>
                          <a:lnTo>
                            <a:pt x="224163" y="232461"/>
                          </a:lnTo>
                          <a:cubicBezTo>
                            <a:pt x="295521" y="232461"/>
                            <a:pt x="351588" y="232461"/>
                            <a:pt x="395641" y="232461"/>
                          </a:cubicBezTo>
                          <a:lnTo>
                            <a:pt x="425810" y="232461"/>
                          </a:lnTo>
                          <a:lnTo>
                            <a:pt x="417196" y="189791"/>
                          </a:lnTo>
                          <a:cubicBezTo>
                            <a:pt x="399309" y="147501"/>
                            <a:pt x="357433" y="117827"/>
                            <a:pt x="308627" y="117827"/>
                          </a:cubicBezTo>
                          <a:close/>
                          <a:moveTo>
                            <a:pt x="308627" y="0"/>
                          </a:moveTo>
                          <a:cubicBezTo>
                            <a:pt x="422508" y="0"/>
                            <a:pt x="517521" y="80778"/>
                            <a:pt x="539494" y="188162"/>
                          </a:cubicBezTo>
                          <a:lnTo>
                            <a:pt x="543960" y="232461"/>
                          </a:lnTo>
                          <a:lnTo>
                            <a:pt x="549401" y="232461"/>
                          </a:lnTo>
                          <a:cubicBezTo>
                            <a:pt x="557168" y="232461"/>
                            <a:pt x="557168" y="232461"/>
                            <a:pt x="557168" y="232461"/>
                          </a:cubicBezTo>
                          <a:cubicBezTo>
                            <a:pt x="590398" y="232461"/>
                            <a:pt x="617255" y="258624"/>
                            <a:pt x="617255" y="290994"/>
                          </a:cubicBezTo>
                          <a:cubicBezTo>
                            <a:pt x="617255" y="753938"/>
                            <a:pt x="617255" y="753938"/>
                            <a:pt x="617255" y="753938"/>
                          </a:cubicBezTo>
                          <a:cubicBezTo>
                            <a:pt x="617255" y="786309"/>
                            <a:pt x="590398" y="812471"/>
                            <a:pt x="557168" y="812471"/>
                          </a:cubicBezTo>
                          <a:cubicBezTo>
                            <a:pt x="60087" y="812471"/>
                            <a:pt x="60087" y="812471"/>
                            <a:pt x="60087" y="812471"/>
                          </a:cubicBezTo>
                          <a:cubicBezTo>
                            <a:pt x="26857" y="812471"/>
                            <a:pt x="0" y="786309"/>
                            <a:pt x="0" y="753938"/>
                          </a:cubicBezTo>
                          <a:cubicBezTo>
                            <a:pt x="0" y="290994"/>
                            <a:pt x="0" y="290994"/>
                            <a:pt x="0" y="290994"/>
                          </a:cubicBezTo>
                          <a:cubicBezTo>
                            <a:pt x="0" y="258624"/>
                            <a:pt x="26857" y="232461"/>
                            <a:pt x="60087" y="232461"/>
                          </a:cubicBezTo>
                          <a:lnTo>
                            <a:pt x="73294" y="232461"/>
                          </a:lnTo>
                          <a:lnTo>
                            <a:pt x="77760" y="188162"/>
                          </a:lnTo>
                          <a:cubicBezTo>
                            <a:pt x="99734" y="80778"/>
                            <a:pt x="194747" y="0"/>
                            <a:pt x="308627" y="0"/>
                          </a:cubicBezTo>
                          <a:close/>
                        </a:path>
                      </a:pathLst>
                    </a:custGeom>
                    <a:solidFill>
                      <a:srgbClr val="BFBFB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1366" name="Group 1365">
                  <a:extLst>
                    <a:ext uri="{FF2B5EF4-FFF2-40B4-BE49-F238E27FC236}">
                      <a16:creationId xmlns:a16="http://schemas.microsoft.com/office/drawing/2014/main" id="{6510762C-5C49-4D58-ABD2-AC7CA674482D}"/>
                    </a:ext>
                  </a:extLst>
                </p:cNvPr>
                <p:cNvGrpSpPr/>
                <p:nvPr/>
              </p:nvGrpSpPr>
              <p:grpSpPr>
                <a:xfrm>
                  <a:off x="815959" y="4328202"/>
                  <a:ext cx="219868" cy="219868"/>
                  <a:chOff x="2053135" y="4347606"/>
                  <a:chExt cx="219868" cy="219868"/>
                </a:xfrm>
              </p:grpSpPr>
              <p:sp>
                <p:nvSpPr>
                  <p:cNvPr id="1367" name="Oval 1366">
                    <a:extLst>
                      <a:ext uri="{FF2B5EF4-FFF2-40B4-BE49-F238E27FC236}">
                        <a16:creationId xmlns:a16="http://schemas.microsoft.com/office/drawing/2014/main" id="{DD67E8C7-B816-4544-AAA5-364916EB0CA9}"/>
                      </a:ext>
                    </a:extLst>
                  </p:cNvPr>
                  <p:cNvSpPr/>
                  <p:nvPr/>
                </p:nvSpPr>
                <p:spPr>
                  <a:xfrm>
                    <a:off x="2053135" y="4347606"/>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368" name="Group 1367">
                    <a:extLst>
                      <a:ext uri="{FF2B5EF4-FFF2-40B4-BE49-F238E27FC236}">
                        <a16:creationId xmlns:a16="http://schemas.microsoft.com/office/drawing/2014/main" id="{32EF9A09-05DE-4FE9-B518-8FEA5A923C68}"/>
                      </a:ext>
                    </a:extLst>
                  </p:cNvPr>
                  <p:cNvGrpSpPr/>
                  <p:nvPr/>
                </p:nvGrpSpPr>
                <p:grpSpPr>
                  <a:xfrm>
                    <a:off x="2060519" y="4359592"/>
                    <a:ext cx="205100" cy="186220"/>
                    <a:chOff x="3893749" y="4407856"/>
                    <a:chExt cx="205100" cy="186220"/>
                  </a:xfrm>
                </p:grpSpPr>
                <p:sp>
                  <p:nvSpPr>
                    <p:cNvPr id="1369" name="Freeform: Shape 1368">
                      <a:extLst>
                        <a:ext uri="{FF2B5EF4-FFF2-40B4-BE49-F238E27FC236}">
                          <a16:creationId xmlns:a16="http://schemas.microsoft.com/office/drawing/2014/main" id="{EABDB296-E85A-4353-8436-E4C897095253}"/>
                        </a:ext>
                      </a:extLst>
                    </p:cNvPr>
                    <p:cNvSpPr/>
                    <p:nvPr/>
                  </p:nvSpPr>
                  <p:spPr>
                    <a:xfrm>
                      <a:off x="3893749" y="4407856"/>
                      <a:ext cx="205100" cy="186220"/>
                    </a:xfrm>
                    <a:custGeom>
                      <a:avLst/>
                      <a:gdLst>
                        <a:gd name="connsiteX0" fmla="*/ 424177 w 849392"/>
                        <a:gd name="connsiteY0" fmla="*/ 220130 h 771210"/>
                        <a:gd name="connsiteX1" fmla="*/ 226803 w 849392"/>
                        <a:gd name="connsiteY1" fmla="*/ 417504 h 771210"/>
                        <a:gd name="connsiteX2" fmla="*/ 424177 w 849392"/>
                        <a:gd name="connsiteY2" fmla="*/ 614878 h 771210"/>
                        <a:gd name="connsiteX3" fmla="*/ 621551 w 849392"/>
                        <a:gd name="connsiteY3" fmla="*/ 417504 h 771210"/>
                        <a:gd name="connsiteX4" fmla="*/ 424177 w 849392"/>
                        <a:gd name="connsiteY4" fmla="*/ 220130 h 771210"/>
                        <a:gd name="connsiteX5" fmla="*/ 340871 w 849392"/>
                        <a:gd name="connsiteY5" fmla="*/ 0 h 771210"/>
                        <a:gd name="connsiteX6" fmla="*/ 254908 w 849392"/>
                        <a:gd name="connsiteY6" fmla="*/ 141475 h 771210"/>
                        <a:gd name="connsiteX7" fmla="*/ 267425 w 849392"/>
                        <a:gd name="connsiteY7" fmla="*/ 203514 h 771210"/>
                        <a:gd name="connsiteX8" fmla="*/ 276577 w 849392"/>
                        <a:gd name="connsiteY8" fmla="*/ 217086 h 771210"/>
                        <a:gd name="connsiteX9" fmla="*/ 284587 w 849392"/>
                        <a:gd name="connsiteY9" fmla="*/ 210477 h 771210"/>
                        <a:gd name="connsiteX10" fmla="*/ 424177 w 849392"/>
                        <a:gd name="connsiteY10" fmla="*/ 167838 h 771210"/>
                        <a:gd name="connsiteX11" fmla="*/ 521359 w 849392"/>
                        <a:gd name="connsiteY11" fmla="*/ 187458 h 771210"/>
                        <a:gd name="connsiteX12" fmla="*/ 558481 w 849392"/>
                        <a:gd name="connsiteY12" fmla="*/ 207607 h 771210"/>
                        <a:gd name="connsiteX13" fmla="*/ 561240 w 849392"/>
                        <a:gd name="connsiteY13" fmla="*/ 203514 h 771210"/>
                        <a:gd name="connsiteX14" fmla="*/ 573757 w 849392"/>
                        <a:gd name="connsiteY14" fmla="*/ 141475 h 771210"/>
                        <a:gd name="connsiteX15" fmla="*/ 488270 w 849392"/>
                        <a:gd name="connsiteY15" fmla="*/ 162 h 771210"/>
                        <a:gd name="connsiteX16" fmla="*/ 641385 w 849392"/>
                        <a:gd name="connsiteY16" fmla="*/ 214836 h 771210"/>
                        <a:gd name="connsiteX17" fmla="*/ 635044 w 849392"/>
                        <a:gd name="connsiteY17" fmla="*/ 268317 h 771210"/>
                        <a:gd name="connsiteX18" fmla="*/ 631380 w 849392"/>
                        <a:gd name="connsiteY18" fmla="*/ 278236 h 771210"/>
                        <a:gd name="connsiteX19" fmla="*/ 654209 w 849392"/>
                        <a:gd name="connsiteY19" fmla="*/ 320296 h 771210"/>
                        <a:gd name="connsiteX20" fmla="*/ 668043 w 849392"/>
                        <a:gd name="connsiteY20" fmla="*/ 321689 h 771210"/>
                        <a:gd name="connsiteX21" fmla="*/ 849392 w 849392"/>
                        <a:gd name="connsiteY21" fmla="*/ 544230 h 771210"/>
                        <a:gd name="connsiteX22" fmla="*/ 848906 w 849392"/>
                        <a:gd name="connsiteY22" fmla="*/ 558279 h 771210"/>
                        <a:gd name="connsiteX23" fmla="*/ 689886 w 849392"/>
                        <a:gd name="connsiteY23" fmla="*/ 410413 h 771210"/>
                        <a:gd name="connsiteX24" fmla="*/ 673463 w 849392"/>
                        <a:gd name="connsiteY24" fmla="*/ 413729 h 771210"/>
                        <a:gd name="connsiteX25" fmla="*/ 673843 w 849392"/>
                        <a:gd name="connsiteY25" fmla="*/ 417504 h 771210"/>
                        <a:gd name="connsiteX26" fmla="*/ 563768 w 849392"/>
                        <a:gd name="connsiteY26" fmla="*/ 624531 h 771210"/>
                        <a:gd name="connsiteX27" fmla="*/ 544824 w 849392"/>
                        <a:gd name="connsiteY27" fmla="*/ 634814 h 771210"/>
                        <a:gd name="connsiteX28" fmla="*/ 577109 w 849392"/>
                        <a:gd name="connsiteY28" fmla="*/ 682684 h 771210"/>
                        <a:gd name="connsiteX29" fmla="*/ 689877 w 849392"/>
                        <a:gd name="connsiteY29" fmla="*/ 729415 h 771210"/>
                        <a:gd name="connsiteX30" fmla="*/ 801376 w 849392"/>
                        <a:gd name="connsiteY30" fmla="*/ 683790 h 771210"/>
                        <a:gd name="connsiteX31" fmla="*/ 622230 w 849392"/>
                        <a:gd name="connsiteY31" fmla="*/ 771210 h 771210"/>
                        <a:gd name="connsiteX32" fmla="*/ 459998 w 849392"/>
                        <a:gd name="connsiteY32" fmla="*/ 703039 h 771210"/>
                        <a:gd name="connsiteX33" fmla="*/ 432376 w 849392"/>
                        <a:gd name="connsiteY33" fmla="*/ 666344 h 771210"/>
                        <a:gd name="connsiteX34" fmla="*/ 424177 w 849392"/>
                        <a:gd name="connsiteY34" fmla="*/ 667170 h 771210"/>
                        <a:gd name="connsiteX35" fmla="*/ 416810 w 849392"/>
                        <a:gd name="connsiteY35" fmla="*/ 666427 h 771210"/>
                        <a:gd name="connsiteX36" fmla="*/ 389316 w 849392"/>
                        <a:gd name="connsiteY36" fmla="*/ 703039 h 771210"/>
                        <a:gd name="connsiteX37" fmla="*/ 226990 w 849392"/>
                        <a:gd name="connsiteY37" fmla="*/ 771210 h 771210"/>
                        <a:gd name="connsiteX38" fmla="*/ 47701 w 849392"/>
                        <a:gd name="connsiteY38" fmla="*/ 683638 h 771210"/>
                        <a:gd name="connsiteX39" fmla="*/ 159505 w 849392"/>
                        <a:gd name="connsiteY39" fmla="*/ 729424 h 771210"/>
                        <a:gd name="connsiteX40" fmla="*/ 272277 w 849392"/>
                        <a:gd name="connsiteY40" fmla="*/ 682693 h 771210"/>
                        <a:gd name="connsiteX41" fmla="*/ 304289 w 849392"/>
                        <a:gd name="connsiteY41" fmla="*/ 635225 h 771210"/>
                        <a:gd name="connsiteX42" fmla="*/ 284587 w 849392"/>
                        <a:gd name="connsiteY42" fmla="*/ 624531 h 771210"/>
                        <a:gd name="connsiteX43" fmla="*/ 174511 w 849392"/>
                        <a:gd name="connsiteY43" fmla="*/ 417504 h 771210"/>
                        <a:gd name="connsiteX44" fmla="*/ 174912 w 849392"/>
                        <a:gd name="connsiteY44" fmla="*/ 413526 h 771210"/>
                        <a:gd name="connsiteX45" fmla="*/ 159505 w 849392"/>
                        <a:gd name="connsiteY45" fmla="*/ 410413 h 771210"/>
                        <a:gd name="connsiteX46" fmla="*/ 486 w 849392"/>
                        <a:gd name="connsiteY46" fmla="*/ 558279 h 771210"/>
                        <a:gd name="connsiteX47" fmla="*/ 0 w 849392"/>
                        <a:gd name="connsiteY47" fmla="*/ 544230 h 771210"/>
                        <a:gd name="connsiteX48" fmla="*/ 168752 w 849392"/>
                        <a:gd name="connsiteY48" fmla="*/ 324737 h 771210"/>
                        <a:gd name="connsiteX49" fmla="*/ 194035 w 849392"/>
                        <a:gd name="connsiteY49" fmla="*/ 320633 h 771210"/>
                        <a:gd name="connsiteX50" fmla="*/ 194131 w 849392"/>
                        <a:gd name="connsiteY50" fmla="*/ 320323 h 771210"/>
                        <a:gd name="connsiteX51" fmla="*/ 205224 w 849392"/>
                        <a:gd name="connsiteY51" fmla="*/ 299886 h 771210"/>
                        <a:gd name="connsiteX52" fmla="*/ 193626 w 849392"/>
                        <a:gd name="connsiteY52" fmla="*/ 268562 h 771210"/>
                        <a:gd name="connsiteX53" fmla="*/ 187261 w 849392"/>
                        <a:gd name="connsiteY53" fmla="*/ 214836 h 771210"/>
                        <a:gd name="connsiteX54" fmla="*/ 340871 w 849392"/>
                        <a:gd name="connsiteY54" fmla="*/ 0 h 771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49392" h="771210">
                          <a:moveTo>
                            <a:pt x="424177" y="220130"/>
                          </a:moveTo>
                          <a:cubicBezTo>
                            <a:pt x="315170" y="220130"/>
                            <a:pt x="226803" y="308497"/>
                            <a:pt x="226803" y="417504"/>
                          </a:cubicBezTo>
                          <a:cubicBezTo>
                            <a:pt x="226803" y="526511"/>
                            <a:pt x="315170" y="614878"/>
                            <a:pt x="424177" y="614878"/>
                          </a:cubicBezTo>
                          <a:cubicBezTo>
                            <a:pt x="533184" y="614878"/>
                            <a:pt x="621551" y="526511"/>
                            <a:pt x="621551" y="417504"/>
                          </a:cubicBezTo>
                          <a:cubicBezTo>
                            <a:pt x="621551" y="308497"/>
                            <a:pt x="533184" y="220130"/>
                            <a:pt x="424177" y="220130"/>
                          </a:cubicBezTo>
                          <a:close/>
                          <a:moveTo>
                            <a:pt x="340871" y="0"/>
                          </a:moveTo>
                          <a:cubicBezTo>
                            <a:pt x="289674" y="26460"/>
                            <a:pt x="254908" y="79914"/>
                            <a:pt x="254908" y="141475"/>
                          </a:cubicBezTo>
                          <a:cubicBezTo>
                            <a:pt x="254908" y="163485"/>
                            <a:pt x="259364" y="184449"/>
                            <a:pt x="267425" y="203514"/>
                          </a:cubicBezTo>
                          <a:lnTo>
                            <a:pt x="276577" y="217086"/>
                          </a:lnTo>
                          <a:lnTo>
                            <a:pt x="284587" y="210477"/>
                          </a:lnTo>
                          <a:cubicBezTo>
                            <a:pt x="324433" y="183557"/>
                            <a:pt x="372470" y="167838"/>
                            <a:pt x="424177" y="167838"/>
                          </a:cubicBezTo>
                          <a:cubicBezTo>
                            <a:pt x="458649" y="167838"/>
                            <a:pt x="491489" y="174824"/>
                            <a:pt x="521359" y="187458"/>
                          </a:cubicBezTo>
                          <a:lnTo>
                            <a:pt x="558481" y="207607"/>
                          </a:lnTo>
                          <a:lnTo>
                            <a:pt x="561240" y="203514"/>
                          </a:lnTo>
                          <a:cubicBezTo>
                            <a:pt x="569301" y="184449"/>
                            <a:pt x="573757" y="163485"/>
                            <a:pt x="573757" y="141475"/>
                          </a:cubicBezTo>
                          <a:cubicBezTo>
                            <a:pt x="573757" y="80067"/>
                            <a:pt x="538991" y="26794"/>
                            <a:pt x="488270" y="162"/>
                          </a:cubicBezTo>
                          <a:cubicBezTo>
                            <a:pt x="577424" y="30937"/>
                            <a:pt x="641385" y="115319"/>
                            <a:pt x="641385" y="214836"/>
                          </a:cubicBezTo>
                          <a:cubicBezTo>
                            <a:pt x="641385" y="233262"/>
                            <a:pt x="639192" y="251169"/>
                            <a:pt x="635044" y="268317"/>
                          </a:cubicBezTo>
                          <a:lnTo>
                            <a:pt x="631380" y="278236"/>
                          </a:lnTo>
                          <a:lnTo>
                            <a:pt x="654209" y="320296"/>
                          </a:lnTo>
                          <a:lnTo>
                            <a:pt x="668043" y="321689"/>
                          </a:lnTo>
                          <a:cubicBezTo>
                            <a:pt x="771595" y="342856"/>
                            <a:pt x="849392" y="434391"/>
                            <a:pt x="849392" y="544230"/>
                          </a:cubicBezTo>
                          <a:cubicBezTo>
                            <a:pt x="849392" y="549021"/>
                            <a:pt x="849239" y="553631"/>
                            <a:pt x="848906" y="558279"/>
                          </a:cubicBezTo>
                          <a:cubicBezTo>
                            <a:pt x="843010" y="475640"/>
                            <a:pt x="774097" y="410413"/>
                            <a:pt x="689886" y="410413"/>
                          </a:cubicBezTo>
                          <a:lnTo>
                            <a:pt x="673463" y="413729"/>
                          </a:lnTo>
                          <a:lnTo>
                            <a:pt x="673843" y="417504"/>
                          </a:lnTo>
                          <a:cubicBezTo>
                            <a:pt x="673843" y="503683"/>
                            <a:pt x="630180" y="579664"/>
                            <a:pt x="563768" y="624531"/>
                          </a:cubicBezTo>
                          <a:lnTo>
                            <a:pt x="544824" y="634814"/>
                          </a:lnTo>
                          <a:lnTo>
                            <a:pt x="577109" y="682684"/>
                          </a:lnTo>
                          <a:cubicBezTo>
                            <a:pt x="605981" y="711553"/>
                            <a:pt x="645857" y="729415"/>
                            <a:pt x="689877" y="729415"/>
                          </a:cubicBezTo>
                          <a:cubicBezTo>
                            <a:pt x="733425" y="729415"/>
                            <a:pt x="772658" y="712022"/>
                            <a:pt x="801376" y="683790"/>
                          </a:cubicBezTo>
                          <a:cubicBezTo>
                            <a:pt x="759904" y="737063"/>
                            <a:pt x="694982" y="771210"/>
                            <a:pt x="622230" y="771210"/>
                          </a:cubicBezTo>
                          <a:cubicBezTo>
                            <a:pt x="558715" y="771210"/>
                            <a:pt x="501201" y="745102"/>
                            <a:pt x="459998" y="703039"/>
                          </a:cubicBezTo>
                          <a:lnTo>
                            <a:pt x="432376" y="666344"/>
                          </a:lnTo>
                          <a:lnTo>
                            <a:pt x="424177" y="667170"/>
                          </a:lnTo>
                          <a:lnTo>
                            <a:pt x="416810" y="666427"/>
                          </a:lnTo>
                          <a:lnTo>
                            <a:pt x="389316" y="703039"/>
                          </a:lnTo>
                          <a:cubicBezTo>
                            <a:pt x="348168" y="745102"/>
                            <a:pt x="290620" y="771210"/>
                            <a:pt x="226990" y="771210"/>
                          </a:cubicBezTo>
                          <a:cubicBezTo>
                            <a:pt x="154238" y="771210"/>
                            <a:pt x="89316" y="736911"/>
                            <a:pt x="47701" y="683638"/>
                          </a:cubicBezTo>
                          <a:cubicBezTo>
                            <a:pt x="76409" y="711870"/>
                            <a:pt x="115957" y="729424"/>
                            <a:pt x="159505" y="729424"/>
                          </a:cubicBezTo>
                          <a:cubicBezTo>
                            <a:pt x="203530" y="729424"/>
                            <a:pt x="243407" y="711562"/>
                            <a:pt x="272277" y="682693"/>
                          </a:cubicBezTo>
                          <a:lnTo>
                            <a:pt x="304289" y="635225"/>
                          </a:lnTo>
                          <a:lnTo>
                            <a:pt x="284587" y="624531"/>
                          </a:lnTo>
                          <a:cubicBezTo>
                            <a:pt x="218175" y="579664"/>
                            <a:pt x="174511" y="503683"/>
                            <a:pt x="174511" y="417504"/>
                          </a:cubicBezTo>
                          <a:lnTo>
                            <a:pt x="174912" y="413526"/>
                          </a:lnTo>
                          <a:lnTo>
                            <a:pt x="159505" y="410413"/>
                          </a:lnTo>
                          <a:cubicBezTo>
                            <a:pt x="75285" y="410413"/>
                            <a:pt x="6391" y="475650"/>
                            <a:pt x="486" y="558279"/>
                          </a:cubicBezTo>
                          <a:cubicBezTo>
                            <a:pt x="162" y="553640"/>
                            <a:pt x="0" y="549021"/>
                            <a:pt x="0" y="544230"/>
                          </a:cubicBezTo>
                          <a:cubicBezTo>
                            <a:pt x="0" y="439009"/>
                            <a:pt x="71569" y="350370"/>
                            <a:pt x="168752" y="324737"/>
                          </a:cubicBezTo>
                          <a:lnTo>
                            <a:pt x="194035" y="320633"/>
                          </a:lnTo>
                          <a:lnTo>
                            <a:pt x="194131" y="320323"/>
                          </a:lnTo>
                          <a:lnTo>
                            <a:pt x="205224" y="299886"/>
                          </a:lnTo>
                          <a:lnTo>
                            <a:pt x="193626" y="268562"/>
                          </a:lnTo>
                          <a:cubicBezTo>
                            <a:pt x="189457" y="251331"/>
                            <a:pt x="187261" y="233343"/>
                            <a:pt x="187261" y="214836"/>
                          </a:cubicBezTo>
                          <a:cubicBezTo>
                            <a:pt x="187261" y="115147"/>
                            <a:pt x="251536" y="30299"/>
                            <a:pt x="340871" y="0"/>
                          </a:cubicBezTo>
                          <a:close/>
                        </a:path>
                      </a:pathLst>
                    </a:custGeom>
                    <a:solidFill>
                      <a:schemeClr val="accent6"/>
                    </a:solidFill>
                    <a:ln w="9525" cap="flat">
                      <a:noFill/>
                      <a:prstDash val="solid"/>
                      <a:miter/>
                    </a:ln>
                  </p:spPr>
                  <p:txBody>
                    <a:bodyPr wrap="square">
                      <a:no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1370" name="Freeform: Shape 1369">
                      <a:extLst>
                        <a:ext uri="{FF2B5EF4-FFF2-40B4-BE49-F238E27FC236}">
                          <a16:creationId xmlns:a16="http://schemas.microsoft.com/office/drawing/2014/main" id="{94E091ED-0E34-4CFA-8329-540ACC984B0C}"/>
                        </a:ext>
                      </a:extLst>
                    </p:cNvPr>
                    <p:cNvSpPr/>
                    <p:nvPr/>
                  </p:nvSpPr>
                  <p:spPr>
                    <a:xfrm>
                      <a:off x="3960752" y="4475339"/>
                      <a:ext cx="64248" cy="62556"/>
                    </a:xfrm>
                    <a:custGeom>
                      <a:avLst/>
                      <a:gdLst/>
                      <a:ahLst/>
                      <a:cxnLst/>
                      <a:rect l="0" t="0" r="0" b="0"/>
                      <a:pathLst>
                        <a:path w="723900" h="704850">
                          <a:moveTo>
                            <a:pt x="705326" y="7144"/>
                          </a:moveTo>
                          <a:lnTo>
                            <a:pt x="641509" y="7144"/>
                          </a:lnTo>
                          <a:cubicBezTo>
                            <a:pt x="501491" y="7144"/>
                            <a:pt x="387191" y="120491"/>
                            <a:pt x="387191" y="261461"/>
                          </a:cubicBezTo>
                          <a:lnTo>
                            <a:pt x="133826" y="261461"/>
                          </a:lnTo>
                          <a:cubicBezTo>
                            <a:pt x="63341" y="261461"/>
                            <a:pt x="7144" y="286226"/>
                            <a:pt x="7144" y="356711"/>
                          </a:cubicBezTo>
                          <a:lnTo>
                            <a:pt x="7144" y="451961"/>
                          </a:lnTo>
                          <a:lnTo>
                            <a:pt x="70009" y="451961"/>
                          </a:lnTo>
                          <a:lnTo>
                            <a:pt x="70009" y="356711"/>
                          </a:lnTo>
                          <a:cubicBezTo>
                            <a:pt x="70009" y="321469"/>
                            <a:pt x="98584" y="292894"/>
                            <a:pt x="133826" y="292894"/>
                          </a:cubicBezTo>
                          <a:lnTo>
                            <a:pt x="133826" y="547211"/>
                          </a:lnTo>
                          <a:cubicBezTo>
                            <a:pt x="90011" y="547211"/>
                            <a:pt x="54769" y="582454"/>
                            <a:pt x="54769" y="626269"/>
                          </a:cubicBezTo>
                          <a:cubicBezTo>
                            <a:pt x="54769" y="670084"/>
                            <a:pt x="90011" y="705326"/>
                            <a:pt x="133826" y="705326"/>
                          </a:cubicBezTo>
                          <a:cubicBezTo>
                            <a:pt x="177641" y="705326"/>
                            <a:pt x="212884" y="670084"/>
                            <a:pt x="212884" y="626269"/>
                          </a:cubicBezTo>
                          <a:cubicBezTo>
                            <a:pt x="212884" y="620554"/>
                            <a:pt x="211931" y="615791"/>
                            <a:pt x="210979" y="610076"/>
                          </a:cubicBezTo>
                          <a:lnTo>
                            <a:pt x="499586" y="610076"/>
                          </a:lnTo>
                          <a:cubicBezTo>
                            <a:pt x="498634" y="614839"/>
                            <a:pt x="497681" y="620554"/>
                            <a:pt x="497681" y="626269"/>
                          </a:cubicBezTo>
                          <a:cubicBezTo>
                            <a:pt x="497681" y="670084"/>
                            <a:pt x="532924" y="705326"/>
                            <a:pt x="576739" y="705326"/>
                          </a:cubicBezTo>
                          <a:cubicBezTo>
                            <a:pt x="620554" y="705326"/>
                            <a:pt x="655796" y="670084"/>
                            <a:pt x="655796" y="626269"/>
                          </a:cubicBezTo>
                          <a:cubicBezTo>
                            <a:pt x="655796" y="582454"/>
                            <a:pt x="620554" y="547211"/>
                            <a:pt x="576739" y="547211"/>
                          </a:cubicBezTo>
                          <a:lnTo>
                            <a:pt x="576739" y="134779"/>
                          </a:lnTo>
                          <a:lnTo>
                            <a:pt x="641509" y="261461"/>
                          </a:lnTo>
                          <a:lnTo>
                            <a:pt x="705326" y="261461"/>
                          </a:lnTo>
                          <a:lnTo>
                            <a:pt x="705326" y="39529"/>
                          </a:lnTo>
                          <a:cubicBezTo>
                            <a:pt x="713899" y="39529"/>
                            <a:pt x="721519" y="32861"/>
                            <a:pt x="721519" y="23336"/>
                          </a:cubicBezTo>
                          <a:cubicBezTo>
                            <a:pt x="721519" y="13811"/>
                            <a:pt x="713899" y="7144"/>
                            <a:pt x="705326" y="7144"/>
                          </a:cubicBezTo>
                          <a:close/>
                          <a:moveTo>
                            <a:pt x="133826" y="658654"/>
                          </a:moveTo>
                          <a:cubicBezTo>
                            <a:pt x="116681" y="658654"/>
                            <a:pt x="102394" y="644366"/>
                            <a:pt x="102394" y="627221"/>
                          </a:cubicBezTo>
                          <a:cubicBezTo>
                            <a:pt x="102394" y="610076"/>
                            <a:pt x="116681" y="595789"/>
                            <a:pt x="133826" y="595789"/>
                          </a:cubicBezTo>
                          <a:cubicBezTo>
                            <a:pt x="150971" y="595789"/>
                            <a:pt x="165259" y="610076"/>
                            <a:pt x="165259" y="627221"/>
                          </a:cubicBezTo>
                          <a:cubicBezTo>
                            <a:pt x="165259" y="644366"/>
                            <a:pt x="150971" y="658654"/>
                            <a:pt x="133826" y="658654"/>
                          </a:cubicBezTo>
                          <a:close/>
                          <a:moveTo>
                            <a:pt x="514826" y="578644"/>
                          </a:moveTo>
                          <a:lnTo>
                            <a:pt x="196691" y="578644"/>
                          </a:lnTo>
                          <a:cubicBezTo>
                            <a:pt x="196691" y="578644"/>
                            <a:pt x="196691" y="578644"/>
                            <a:pt x="196691" y="578644"/>
                          </a:cubicBezTo>
                          <a:lnTo>
                            <a:pt x="260509" y="451961"/>
                          </a:lnTo>
                          <a:lnTo>
                            <a:pt x="451009" y="451961"/>
                          </a:lnTo>
                          <a:lnTo>
                            <a:pt x="514826" y="578644"/>
                          </a:lnTo>
                          <a:cubicBezTo>
                            <a:pt x="514826" y="578644"/>
                            <a:pt x="514826" y="578644"/>
                            <a:pt x="514826" y="578644"/>
                          </a:cubicBezTo>
                          <a:close/>
                          <a:moveTo>
                            <a:pt x="610076" y="626269"/>
                          </a:moveTo>
                          <a:cubicBezTo>
                            <a:pt x="610076" y="643414"/>
                            <a:pt x="595789" y="657701"/>
                            <a:pt x="578644" y="657701"/>
                          </a:cubicBezTo>
                          <a:cubicBezTo>
                            <a:pt x="561499" y="657701"/>
                            <a:pt x="547211" y="643414"/>
                            <a:pt x="547211" y="626269"/>
                          </a:cubicBezTo>
                          <a:cubicBezTo>
                            <a:pt x="547211" y="609124"/>
                            <a:pt x="561499" y="594836"/>
                            <a:pt x="578644" y="594836"/>
                          </a:cubicBezTo>
                          <a:cubicBezTo>
                            <a:pt x="595789" y="594836"/>
                            <a:pt x="610076" y="609124"/>
                            <a:pt x="610076" y="626269"/>
                          </a:cubicBezTo>
                          <a:close/>
                          <a:moveTo>
                            <a:pt x="672941" y="134779"/>
                          </a:moveTo>
                          <a:cubicBezTo>
                            <a:pt x="664369" y="134779"/>
                            <a:pt x="656749" y="128111"/>
                            <a:pt x="656749" y="118586"/>
                          </a:cubicBezTo>
                          <a:cubicBezTo>
                            <a:pt x="656749" y="110014"/>
                            <a:pt x="663416" y="102394"/>
                            <a:pt x="672941" y="102394"/>
                          </a:cubicBezTo>
                          <a:cubicBezTo>
                            <a:pt x="681514" y="102394"/>
                            <a:pt x="689134" y="109061"/>
                            <a:pt x="689134" y="118586"/>
                          </a:cubicBezTo>
                          <a:cubicBezTo>
                            <a:pt x="689134" y="127159"/>
                            <a:pt x="682466" y="134779"/>
                            <a:pt x="672941" y="134779"/>
                          </a:cubicBezTo>
                          <a:close/>
                        </a:path>
                      </a:pathLst>
                    </a:custGeom>
                    <a:solidFill>
                      <a:schemeClr val="accent6"/>
                    </a:solidFill>
                    <a:ln w="9525" cap="flat">
                      <a:noFill/>
                      <a:prstDash val="solid"/>
                      <a:miter/>
                    </a:ln>
                  </p:spPr>
                  <p:txBody>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grpSp>
          </p:grpSp>
          <p:grpSp>
            <p:nvGrpSpPr>
              <p:cNvPr id="1359" name="Group 1358">
                <a:extLst>
                  <a:ext uri="{FF2B5EF4-FFF2-40B4-BE49-F238E27FC236}">
                    <a16:creationId xmlns:a16="http://schemas.microsoft.com/office/drawing/2014/main" id="{524E87D0-5891-4DB8-AC4B-7DC455EF0B0A}"/>
                  </a:ext>
                </a:extLst>
              </p:cNvPr>
              <p:cNvGrpSpPr/>
              <p:nvPr/>
            </p:nvGrpSpPr>
            <p:grpSpPr>
              <a:xfrm>
                <a:off x="4696612" y="4617609"/>
                <a:ext cx="220012" cy="219868"/>
                <a:chOff x="1740432" y="3900803"/>
                <a:chExt cx="220012" cy="219868"/>
              </a:xfrm>
            </p:grpSpPr>
            <p:sp>
              <p:nvSpPr>
                <p:cNvPr id="1361" name="Oval 1360">
                  <a:extLst>
                    <a:ext uri="{FF2B5EF4-FFF2-40B4-BE49-F238E27FC236}">
                      <a16:creationId xmlns:a16="http://schemas.microsoft.com/office/drawing/2014/main" id="{87987C8A-EA3E-4F79-8118-1C5C1B67BB9D}"/>
                    </a:ext>
                  </a:extLst>
                </p:cNvPr>
                <p:cNvSpPr/>
                <p:nvPr/>
              </p:nvSpPr>
              <p:spPr>
                <a:xfrm>
                  <a:off x="1740504" y="3900803"/>
                  <a:ext cx="219868" cy="21986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362" name="Group 1361">
                  <a:extLst>
                    <a:ext uri="{FF2B5EF4-FFF2-40B4-BE49-F238E27FC236}">
                      <a16:creationId xmlns:a16="http://schemas.microsoft.com/office/drawing/2014/main" id="{A1E5C9A4-45FC-4294-B475-2DFAFCB9637E}"/>
                    </a:ext>
                  </a:extLst>
                </p:cNvPr>
                <p:cNvGrpSpPr/>
                <p:nvPr/>
              </p:nvGrpSpPr>
              <p:grpSpPr>
                <a:xfrm>
                  <a:off x="1740432" y="3928501"/>
                  <a:ext cx="220012" cy="164472"/>
                  <a:chOff x="3892221" y="3989254"/>
                  <a:chExt cx="220012" cy="164472"/>
                </a:xfrm>
              </p:grpSpPr>
              <p:sp>
                <p:nvSpPr>
                  <p:cNvPr id="1363" name="Freeform 16">
                    <a:extLst>
                      <a:ext uri="{FF2B5EF4-FFF2-40B4-BE49-F238E27FC236}">
                        <a16:creationId xmlns:a16="http://schemas.microsoft.com/office/drawing/2014/main" id="{31201A91-0F1A-4419-8FC2-01EE115D6960}"/>
                      </a:ext>
                    </a:extLst>
                  </p:cNvPr>
                  <p:cNvSpPr>
                    <a:spLocks/>
                  </p:cNvSpPr>
                  <p:nvPr/>
                </p:nvSpPr>
                <p:spPr bwMode="auto">
                  <a:xfrm>
                    <a:off x="3892221" y="3989254"/>
                    <a:ext cx="220012" cy="101885"/>
                  </a:xfrm>
                  <a:custGeom>
                    <a:avLst/>
                    <a:gdLst>
                      <a:gd name="T0" fmla="*/ 851 w 1571"/>
                      <a:gd name="T1" fmla="*/ 728 h 728"/>
                      <a:gd name="T2" fmla="*/ 230 w 1571"/>
                      <a:gd name="T3" fmla="*/ 687 h 728"/>
                      <a:gd name="T4" fmla="*/ 58 w 1571"/>
                      <a:gd name="T5" fmla="*/ 644 h 728"/>
                      <a:gd name="T6" fmla="*/ 20 w 1571"/>
                      <a:gd name="T7" fmla="*/ 622 h 728"/>
                      <a:gd name="T8" fmla="*/ 22 w 1571"/>
                      <a:gd name="T9" fmla="*/ 573 h 728"/>
                      <a:gd name="T10" fmla="*/ 77 w 1571"/>
                      <a:gd name="T11" fmla="*/ 545 h 728"/>
                      <a:gd name="T12" fmla="*/ 281 w 1571"/>
                      <a:gd name="T13" fmla="*/ 501 h 728"/>
                      <a:gd name="T14" fmla="*/ 304 w 1571"/>
                      <a:gd name="T15" fmla="*/ 481 h 728"/>
                      <a:gd name="T16" fmla="*/ 404 w 1571"/>
                      <a:gd name="T17" fmla="*/ 113 h 728"/>
                      <a:gd name="T18" fmla="*/ 505 w 1571"/>
                      <a:gd name="T19" fmla="*/ 19 h 728"/>
                      <a:gd name="T20" fmla="*/ 570 w 1571"/>
                      <a:gd name="T21" fmla="*/ 30 h 728"/>
                      <a:gd name="T22" fmla="*/ 713 w 1571"/>
                      <a:gd name="T23" fmla="*/ 80 h 728"/>
                      <a:gd name="T24" fmla="*/ 923 w 1571"/>
                      <a:gd name="T25" fmla="*/ 61 h 728"/>
                      <a:gd name="T26" fmla="*/ 1008 w 1571"/>
                      <a:gd name="T27" fmla="*/ 27 h 728"/>
                      <a:gd name="T28" fmla="*/ 1163 w 1571"/>
                      <a:gd name="T29" fmla="*/ 104 h 728"/>
                      <a:gd name="T30" fmla="*/ 1266 w 1571"/>
                      <a:gd name="T31" fmla="*/ 480 h 728"/>
                      <a:gd name="T32" fmla="*/ 1290 w 1571"/>
                      <a:gd name="T33" fmla="*/ 501 h 728"/>
                      <a:gd name="T34" fmla="*/ 1491 w 1571"/>
                      <a:gd name="T35" fmla="*/ 544 h 728"/>
                      <a:gd name="T36" fmla="*/ 1549 w 1571"/>
                      <a:gd name="T37" fmla="*/ 574 h 728"/>
                      <a:gd name="T38" fmla="*/ 1549 w 1571"/>
                      <a:gd name="T39" fmla="*/ 622 h 728"/>
                      <a:gd name="T40" fmla="*/ 1468 w 1571"/>
                      <a:gd name="T41" fmla="*/ 659 h 728"/>
                      <a:gd name="T42" fmla="*/ 1198 w 1571"/>
                      <a:gd name="T43" fmla="*/ 706 h 728"/>
                      <a:gd name="T44" fmla="*/ 851 w 1571"/>
                      <a:gd name="T45"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1" h="728">
                        <a:moveTo>
                          <a:pt x="851" y="728"/>
                        </a:moveTo>
                        <a:cubicBezTo>
                          <a:pt x="598" y="725"/>
                          <a:pt x="413" y="719"/>
                          <a:pt x="230" y="687"/>
                        </a:cubicBezTo>
                        <a:cubicBezTo>
                          <a:pt x="172" y="677"/>
                          <a:pt x="115" y="659"/>
                          <a:pt x="58" y="644"/>
                        </a:cubicBezTo>
                        <a:cubicBezTo>
                          <a:pt x="44" y="640"/>
                          <a:pt x="31" y="631"/>
                          <a:pt x="20" y="622"/>
                        </a:cubicBezTo>
                        <a:cubicBezTo>
                          <a:pt x="0" y="606"/>
                          <a:pt x="0" y="587"/>
                          <a:pt x="22" y="573"/>
                        </a:cubicBezTo>
                        <a:cubicBezTo>
                          <a:pt x="39" y="561"/>
                          <a:pt x="57" y="550"/>
                          <a:pt x="77" y="545"/>
                        </a:cubicBezTo>
                        <a:cubicBezTo>
                          <a:pt x="144" y="529"/>
                          <a:pt x="213" y="514"/>
                          <a:pt x="281" y="501"/>
                        </a:cubicBezTo>
                        <a:cubicBezTo>
                          <a:pt x="295" y="498"/>
                          <a:pt x="300" y="493"/>
                          <a:pt x="304" y="481"/>
                        </a:cubicBezTo>
                        <a:cubicBezTo>
                          <a:pt x="337" y="358"/>
                          <a:pt x="370" y="235"/>
                          <a:pt x="404" y="113"/>
                        </a:cubicBezTo>
                        <a:cubicBezTo>
                          <a:pt x="420" y="56"/>
                          <a:pt x="453" y="22"/>
                          <a:pt x="505" y="19"/>
                        </a:cubicBezTo>
                        <a:cubicBezTo>
                          <a:pt x="526" y="17"/>
                          <a:pt x="549" y="24"/>
                          <a:pt x="570" y="30"/>
                        </a:cubicBezTo>
                        <a:cubicBezTo>
                          <a:pt x="618" y="46"/>
                          <a:pt x="664" y="69"/>
                          <a:pt x="713" y="80"/>
                        </a:cubicBezTo>
                        <a:cubicBezTo>
                          <a:pt x="784" y="97"/>
                          <a:pt x="855" y="90"/>
                          <a:pt x="923" y="61"/>
                        </a:cubicBezTo>
                        <a:cubicBezTo>
                          <a:pt x="951" y="49"/>
                          <a:pt x="979" y="38"/>
                          <a:pt x="1008" y="27"/>
                        </a:cubicBezTo>
                        <a:cubicBezTo>
                          <a:pt x="1077" y="0"/>
                          <a:pt x="1143" y="32"/>
                          <a:pt x="1163" y="104"/>
                        </a:cubicBezTo>
                        <a:cubicBezTo>
                          <a:pt x="1198" y="229"/>
                          <a:pt x="1232" y="354"/>
                          <a:pt x="1266" y="480"/>
                        </a:cubicBezTo>
                        <a:cubicBezTo>
                          <a:pt x="1270" y="493"/>
                          <a:pt x="1276" y="498"/>
                          <a:pt x="1290" y="501"/>
                        </a:cubicBezTo>
                        <a:cubicBezTo>
                          <a:pt x="1357" y="514"/>
                          <a:pt x="1424" y="528"/>
                          <a:pt x="1491" y="544"/>
                        </a:cubicBezTo>
                        <a:cubicBezTo>
                          <a:pt x="1511" y="550"/>
                          <a:pt x="1531" y="561"/>
                          <a:pt x="1549" y="574"/>
                        </a:cubicBezTo>
                        <a:cubicBezTo>
                          <a:pt x="1570" y="588"/>
                          <a:pt x="1571" y="609"/>
                          <a:pt x="1549" y="622"/>
                        </a:cubicBezTo>
                        <a:cubicBezTo>
                          <a:pt x="1524" y="638"/>
                          <a:pt x="1496" y="653"/>
                          <a:pt x="1468" y="659"/>
                        </a:cubicBezTo>
                        <a:cubicBezTo>
                          <a:pt x="1379" y="677"/>
                          <a:pt x="1289" y="697"/>
                          <a:pt x="1198" y="706"/>
                        </a:cubicBezTo>
                        <a:cubicBezTo>
                          <a:pt x="1061" y="719"/>
                          <a:pt x="922" y="724"/>
                          <a:pt x="851" y="728"/>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1364" name="Freeform 17">
                    <a:extLst>
                      <a:ext uri="{FF2B5EF4-FFF2-40B4-BE49-F238E27FC236}">
                        <a16:creationId xmlns:a16="http://schemas.microsoft.com/office/drawing/2014/main" id="{8BF531BE-BDFF-4AFB-B687-1FD2169AC8E8}"/>
                      </a:ext>
                    </a:extLst>
                  </p:cNvPr>
                  <p:cNvSpPr>
                    <a:spLocks noEditPoints="1"/>
                  </p:cNvSpPr>
                  <p:nvPr/>
                </p:nvSpPr>
                <p:spPr bwMode="auto">
                  <a:xfrm>
                    <a:off x="3920718" y="4101251"/>
                    <a:ext cx="156965" cy="52475"/>
                  </a:xfrm>
                  <a:custGeom>
                    <a:avLst/>
                    <a:gdLst>
                      <a:gd name="T0" fmla="*/ 751 w 1121"/>
                      <a:gd name="T1" fmla="*/ 371 h 375"/>
                      <a:gd name="T2" fmla="*/ 657 w 1121"/>
                      <a:gd name="T3" fmla="*/ 344 h 375"/>
                      <a:gd name="T4" fmla="*/ 581 w 1121"/>
                      <a:gd name="T5" fmla="*/ 299 h 375"/>
                      <a:gd name="T6" fmla="*/ 511 w 1121"/>
                      <a:gd name="T7" fmla="*/ 315 h 375"/>
                      <a:gd name="T8" fmla="*/ 491 w 1121"/>
                      <a:gd name="T9" fmla="*/ 331 h 375"/>
                      <a:gd name="T10" fmla="*/ 360 w 1121"/>
                      <a:gd name="T11" fmla="*/ 369 h 375"/>
                      <a:gd name="T12" fmla="*/ 136 w 1121"/>
                      <a:gd name="T13" fmla="*/ 298 h 375"/>
                      <a:gd name="T14" fmla="*/ 69 w 1121"/>
                      <a:gd name="T15" fmla="*/ 230 h 375"/>
                      <a:gd name="T16" fmla="*/ 8 w 1121"/>
                      <a:gd name="T17" fmla="*/ 68 h 375"/>
                      <a:gd name="T18" fmla="*/ 69 w 1121"/>
                      <a:gd name="T19" fmla="*/ 5 h 375"/>
                      <a:gd name="T20" fmla="*/ 686 w 1121"/>
                      <a:gd name="T21" fmla="*/ 27 h 375"/>
                      <a:gd name="T22" fmla="*/ 1042 w 1121"/>
                      <a:gd name="T23" fmla="*/ 5 h 375"/>
                      <a:gd name="T24" fmla="*/ 1087 w 1121"/>
                      <a:gd name="T25" fmla="*/ 10 h 375"/>
                      <a:gd name="T26" fmla="*/ 1115 w 1121"/>
                      <a:gd name="T27" fmla="*/ 67 h 375"/>
                      <a:gd name="T28" fmla="*/ 1048 w 1121"/>
                      <a:gd name="T29" fmla="*/ 241 h 375"/>
                      <a:gd name="T30" fmla="*/ 991 w 1121"/>
                      <a:gd name="T31" fmla="*/ 298 h 375"/>
                      <a:gd name="T32" fmla="*/ 751 w 1121"/>
                      <a:gd name="T33" fmla="*/ 371 h 375"/>
                      <a:gd name="T34" fmla="*/ 302 w 1121"/>
                      <a:gd name="T35" fmla="*/ 119 h 375"/>
                      <a:gd name="T36" fmla="*/ 223 w 1121"/>
                      <a:gd name="T37" fmla="*/ 129 h 375"/>
                      <a:gd name="T38" fmla="*/ 199 w 1121"/>
                      <a:gd name="T39" fmla="*/ 172 h 375"/>
                      <a:gd name="T40" fmla="*/ 235 w 1121"/>
                      <a:gd name="T41" fmla="*/ 220 h 375"/>
                      <a:gd name="T42" fmla="*/ 384 w 1121"/>
                      <a:gd name="T43" fmla="*/ 242 h 375"/>
                      <a:gd name="T44" fmla="*/ 431 w 1121"/>
                      <a:gd name="T45" fmla="*/ 210 h 375"/>
                      <a:gd name="T46" fmla="*/ 406 w 1121"/>
                      <a:gd name="T47" fmla="*/ 136 h 375"/>
                      <a:gd name="T48" fmla="*/ 302 w 1121"/>
                      <a:gd name="T49" fmla="*/ 119 h 375"/>
                      <a:gd name="T50" fmla="*/ 819 w 1121"/>
                      <a:gd name="T51" fmla="*/ 119 h 375"/>
                      <a:gd name="T52" fmla="*/ 819 w 1121"/>
                      <a:gd name="T53" fmla="*/ 122 h 375"/>
                      <a:gd name="T54" fmla="*/ 795 w 1121"/>
                      <a:gd name="T55" fmla="*/ 124 h 375"/>
                      <a:gd name="T56" fmla="*/ 705 w 1121"/>
                      <a:gd name="T57" fmla="*/ 140 h 375"/>
                      <a:gd name="T58" fmla="*/ 683 w 1121"/>
                      <a:gd name="T59" fmla="*/ 195 h 375"/>
                      <a:gd name="T60" fmla="*/ 742 w 1121"/>
                      <a:gd name="T61" fmla="*/ 243 h 375"/>
                      <a:gd name="T62" fmla="*/ 895 w 1121"/>
                      <a:gd name="T63" fmla="*/ 210 h 375"/>
                      <a:gd name="T64" fmla="*/ 924 w 1121"/>
                      <a:gd name="T65" fmla="*/ 171 h 375"/>
                      <a:gd name="T66" fmla="*/ 904 w 1121"/>
                      <a:gd name="T67" fmla="*/ 130 h 375"/>
                      <a:gd name="T68" fmla="*/ 819 w 1121"/>
                      <a:gd name="T69" fmla="*/ 119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1" h="375">
                        <a:moveTo>
                          <a:pt x="751" y="371"/>
                        </a:moveTo>
                        <a:cubicBezTo>
                          <a:pt x="710" y="371"/>
                          <a:pt x="682" y="364"/>
                          <a:pt x="657" y="344"/>
                        </a:cubicBezTo>
                        <a:cubicBezTo>
                          <a:pt x="635" y="325"/>
                          <a:pt x="613" y="303"/>
                          <a:pt x="581" y="299"/>
                        </a:cubicBezTo>
                        <a:cubicBezTo>
                          <a:pt x="555" y="295"/>
                          <a:pt x="532" y="300"/>
                          <a:pt x="511" y="315"/>
                        </a:cubicBezTo>
                        <a:cubicBezTo>
                          <a:pt x="504" y="320"/>
                          <a:pt x="497" y="325"/>
                          <a:pt x="491" y="331"/>
                        </a:cubicBezTo>
                        <a:cubicBezTo>
                          <a:pt x="454" y="368"/>
                          <a:pt x="409" y="375"/>
                          <a:pt x="360" y="369"/>
                        </a:cubicBezTo>
                        <a:cubicBezTo>
                          <a:pt x="281" y="359"/>
                          <a:pt x="207" y="336"/>
                          <a:pt x="136" y="298"/>
                        </a:cubicBezTo>
                        <a:cubicBezTo>
                          <a:pt x="107" y="282"/>
                          <a:pt x="85" y="259"/>
                          <a:pt x="69" y="230"/>
                        </a:cubicBezTo>
                        <a:cubicBezTo>
                          <a:pt x="40" y="179"/>
                          <a:pt x="21" y="124"/>
                          <a:pt x="8" y="68"/>
                        </a:cubicBezTo>
                        <a:cubicBezTo>
                          <a:pt x="0" y="30"/>
                          <a:pt x="29" y="0"/>
                          <a:pt x="69" y="5"/>
                        </a:cubicBezTo>
                        <a:cubicBezTo>
                          <a:pt x="274" y="28"/>
                          <a:pt x="480" y="34"/>
                          <a:pt x="686" y="27"/>
                        </a:cubicBezTo>
                        <a:cubicBezTo>
                          <a:pt x="805" y="24"/>
                          <a:pt x="923" y="12"/>
                          <a:pt x="1042" y="5"/>
                        </a:cubicBezTo>
                        <a:cubicBezTo>
                          <a:pt x="1057" y="4"/>
                          <a:pt x="1074" y="4"/>
                          <a:pt x="1087" y="10"/>
                        </a:cubicBezTo>
                        <a:cubicBezTo>
                          <a:pt x="1111" y="20"/>
                          <a:pt x="1121" y="41"/>
                          <a:pt x="1115" y="67"/>
                        </a:cubicBezTo>
                        <a:cubicBezTo>
                          <a:pt x="1102" y="129"/>
                          <a:pt x="1083" y="188"/>
                          <a:pt x="1048" y="241"/>
                        </a:cubicBezTo>
                        <a:cubicBezTo>
                          <a:pt x="1034" y="263"/>
                          <a:pt x="1014" y="285"/>
                          <a:pt x="991" y="298"/>
                        </a:cubicBezTo>
                        <a:cubicBezTo>
                          <a:pt x="914" y="343"/>
                          <a:pt x="830" y="366"/>
                          <a:pt x="751" y="371"/>
                        </a:cubicBezTo>
                        <a:close/>
                        <a:moveTo>
                          <a:pt x="302" y="119"/>
                        </a:moveTo>
                        <a:cubicBezTo>
                          <a:pt x="275" y="122"/>
                          <a:pt x="249" y="124"/>
                          <a:pt x="223" y="129"/>
                        </a:cubicBezTo>
                        <a:cubicBezTo>
                          <a:pt x="196" y="134"/>
                          <a:pt x="188" y="148"/>
                          <a:pt x="199" y="172"/>
                        </a:cubicBezTo>
                        <a:cubicBezTo>
                          <a:pt x="206" y="190"/>
                          <a:pt x="219" y="209"/>
                          <a:pt x="235" y="220"/>
                        </a:cubicBezTo>
                        <a:cubicBezTo>
                          <a:pt x="280" y="249"/>
                          <a:pt x="332" y="256"/>
                          <a:pt x="384" y="242"/>
                        </a:cubicBezTo>
                        <a:cubicBezTo>
                          <a:pt x="402" y="237"/>
                          <a:pt x="419" y="224"/>
                          <a:pt x="431" y="210"/>
                        </a:cubicBezTo>
                        <a:cubicBezTo>
                          <a:pt x="459" y="176"/>
                          <a:pt x="449" y="146"/>
                          <a:pt x="406" y="136"/>
                        </a:cubicBezTo>
                        <a:cubicBezTo>
                          <a:pt x="372" y="127"/>
                          <a:pt x="337" y="124"/>
                          <a:pt x="302" y="119"/>
                        </a:cubicBezTo>
                        <a:close/>
                        <a:moveTo>
                          <a:pt x="819" y="119"/>
                        </a:moveTo>
                        <a:cubicBezTo>
                          <a:pt x="819" y="120"/>
                          <a:pt x="819" y="121"/>
                          <a:pt x="819" y="122"/>
                        </a:cubicBezTo>
                        <a:cubicBezTo>
                          <a:pt x="811" y="122"/>
                          <a:pt x="803" y="122"/>
                          <a:pt x="795" y="124"/>
                        </a:cubicBezTo>
                        <a:cubicBezTo>
                          <a:pt x="765" y="129"/>
                          <a:pt x="734" y="132"/>
                          <a:pt x="705" y="140"/>
                        </a:cubicBezTo>
                        <a:cubicBezTo>
                          <a:pt x="678" y="149"/>
                          <a:pt x="672" y="168"/>
                          <a:pt x="683" y="195"/>
                        </a:cubicBezTo>
                        <a:cubicBezTo>
                          <a:pt x="694" y="221"/>
                          <a:pt x="715" y="237"/>
                          <a:pt x="742" y="243"/>
                        </a:cubicBezTo>
                        <a:cubicBezTo>
                          <a:pt x="798" y="256"/>
                          <a:pt x="850" y="245"/>
                          <a:pt x="895" y="210"/>
                        </a:cubicBezTo>
                        <a:cubicBezTo>
                          <a:pt x="907" y="201"/>
                          <a:pt x="918" y="186"/>
                          <a:pt x="924" y="171"/>
                        </a:cubicBezTo>
                        <a:cubicBezTo>
                          <a:pt x="935" y="149"/>
                          <a:pt x="928" y="135"/>
                          <a:pt x="904" y="130"/>
                        </a:cubicBezTo>
                        <a:cubicBezTo>
                          <a:pt x="876" y="124"/>
                          <a:pt x="847" y="122"/>
                          <a:pt x="819" y="119"/>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grpSp>
          <p:sp>
            <p:nvSpPr>
              <p:cNvPr id="1360" name="Freeform 277">
                <a:extLst>
                  <a:ext uri="{FF2B5EF4-FFF2-40B4-BE49-F238E27FC236}">
                    <a16:creationId xmlns:a16="http://schemas.microsoft.com/office/drawing/2014/main" id="{A0130DB3-F0B5-4614-A339-EA4C870F9109}"/>
                  </a:ext>
                </a:extLst>
              </p:cNvPr>
              <p:cNvSpPr>
                <a:spLocks noEditPoints="1"/>
              </p:cNvSpPr>
              <p:nvPr/>
            </p:nvSpPr>
            <p:spPr bwMode="auto">
              <a:xfrm>
                <a:off x="4250028" y="4576861"/>
                <a:ext cx="1144620" cy="1147910"/>
              </a:xfrm>
              <a:prstGeom prst="donut">
                <a:avLst>
                  <a:gd name="adj" fmla="val 4686"/>
                </a:avLst>
              </a:prstGeom>
              <a:solidFill>
                <a:srgbClr val="005073"/>
              </a:solidFill>
              <a:ln>
                <a:noFill/>
              </a:ln>
              <a:extLst/>
            </p:spPr>
            <p:txBody>
              <a:bodyPr vert="horz" wrap="square" lIns="68580" tIns="34290" rIns="68580" bIns="34290" numCol="1" anchor="t" anchorCtr="0" compatLnSpc="1">
                <a:prstTxWarp prst="textNoShape">
                  <a:avLst/>
                </a:prstTxWarp>
              </a:bodyPr>
              <a:lstStyle/>
              <a:p>
                <a:pPr marL="0" marR="0" lvl="0" indent="0" algn="l" defTabSz="342900" rtl="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dirty="0">
                  <a:ln>
                    <a:noFill/>
                  </a:ln>
                  <a:solidFill>
                    <a:srgbClr val="282828"/>
                  </a:solidFill>
                  <a:effectLst/>
                  <a:uLnTx/>
                  <a:uFillTx/>
                  <a:latin typeface="CiscoSansTT ExtraLight"/>
                  <a:ea typeface="ＭＳ Ｐゴシック" charset="0"/>
                  <a:cs typeface="+mn-cs"/>
                </a:endParaRPr>
              </a:p>
            </p:txBody>
          </p:sp>
        </p:grpSp>
        <p:sp>
          <p:nvSpPr>
            <p:cNvPr id="220" name="Freeform: Shape 219">
              <a:extLst>
                <a:ext uri="{FF2B5EF4-FFF2-40B4-BE49-F238E27FC236}">
                  <a16:creationId xmlns:a16="http://schemas.microsoft.com/office/drawing/2014/main" id="{6DC7684F-DE70-454C-AF21-3EB99C89B16E}"/>
                </a:ext>
              </a:extLst>
            </p:cNvPr>
            <p:cNvSpPr/>
            <p:nvPr/>
          </p:nvSpPr>
          <p:spPr>
            <a:xfrm>
              <a:off x="1674743" y="4381127"/>
              <a:ext cx="2171177" cy="112318"/>
            </a:xfrm>
            <a:custGeom>
              <a:avLst/>
              <a:gdLst>
                <a:gd name="connsiteX0" fmla="*/ 2468880 w 2468880"/>
                <a:gd name="connsiteY0" fmla="*/ 0 h 225552"/>
                <a:gd name="connsiteX1" fmla="*/ 2243328 w 2468880"/>
                <a:gd name="connsiteY1" fmla="*/ 225552 h 225552"/>
                <a:gd name="connsiteX2" fmla="*/ 0 w 2468880"/>
                <a:gd name="connsiteY2" fmla="*/ 225552 h 225552"/>
              </a:gdLst>
              <a:ahLst/>
              <a:cxnLst>
                <a:cxn ang="0">
                  <a:pos x="connsiteX0" y="connsiteY0"/>
                </a:cxn>
                <a:cxn ang="0">
                  <a:pos x="connsiteX1" y="connsiteY1"/>
                </a:cxn>
                <a:cxn ang="0">
                  <a:pos x="connsiteX2" y="connsiteY2"/>
                </a:cxn>
              </a:cxnLst>
              <a:rect l="l" t="t" r="r" b="b"/>
              <a:pathLst>
                <a:path w="2468880" h="225552">
                  <a:moveTo>
                    <a:pt x="2468880" y="0"/>
                  </a:moveTo>
                  <a:lnTo>
                    <a:pt x="2243328" y="225552"/>
                  </a:lnTo>
                  <a:lnTo>
                    <a:pt x="0" y="225552"/>
                  </a:lnTo>
                </a:path>
              </a:pathLst>
            </a:custGeom>
            <a:noFill/>
            <a:ln w="12700" cap="rnd">
              <a:solidFill>
                <a:schemeClr val="bg1"/>
              </a:solidFill>
              <a:round/>
              <a:headEnd/>
              <a:tailEnd/>
            </a:ln>
            <a:effectLst/>
          </p:spPr>
          <p:txBody>
            <a:bodyPr rtlCol="0" anchor="ct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1240" name="Group 1239">
            <a:extLst>
              <a:ext uri="{FF2B5EF4-FFF2-40B4-BE49-F238E27FC236}">
                <a16:creationId xmlns:a16="http://schemas.microsoft.com/office/drawing/2014/main" id="{1EBF7BB3-EC40-426B-B421-1E19E5A67130}"/>
              </a:ext>
            </a:extLst>
          </p:cNvPr>
          <p:cNvGrpSpPr/>
          <p:nvPr/>
        </p:nvGrpSpPr>
        <p:grpSpPr>
          <a:xfrm>
            <a:off x="3898241" y="2769174"/>
            <a:ext cx="1079142" cy="831667"/>
            <a:chOff x="3246179" y="1880355"/>
            <a:chExt cx="1763996" cy="1359466"/>
          </a:xfrm>
        </p:grpSpPr>
        <p:sp>
          <p:nvSpPr>
            <p:cNvPr id="1241" name="Rectangle 1240">
              <a:extLst>
                <a:ext uri="{FF2B5EF4-FFF2-40B4-BE49-F238E27FC236}">
                  <a16:creationId xmlns:a16="http://schemas.microsoft.com/office/drawing/2014/main" id="{8D9E767F-0A46-4D0C-AB82-4B2DF80F34E3}"/>
                </a:ext>
              </a:extLst>
            </p:cNvPr>
            <p:cNvSpPr/>
            <p:nvPr/>
          </p:nvSpPr>
          <p:spPr>
            <a:xfrm>
              <a:off x="3246179" y="1880355"/>
              <a:ext cx="1763996" cy="452790"/>
            </a:xfrm>
            <a:prstGeom prst="rect">
              <a:avLst/>
            </a:prstGeom>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5073"/>
                  </a:solidFill>
                  <a:effectLst/>
                  <a:uLnTx/>
                  <a:uFillTx/>
                  <a:latin typeface="CiscoSansTT ExtraLight"/>
                  <a:ea typeface="ＭＳ Ｐゴシック" charset="0"/>
                  <a:cs typeface="+mn-cs"/>
                </a:rPr>
                <a:t>Stealthwatch</a:t>
              </a:r>
            </a:p>
          </p:txBody>
        </p:sp>
        <p:grpSp>
          <p:nvGrpSpPr>
            <p:cNvPr id="1242" name="Group 1241">
              <a:extLst>
                <a:ext uri="{FF2B5EF4-FFF2-40B4-BE49-F238E27FC236}">
                  <a16:creationId xmlns:a16="http://schemas.microsoft.com/office/drawing/2014/main" id="{B4ED9D51-72FE-46ED-AD92-AB6AC7191062}"/>
                </a:ext>
              </a:extLst>
            </p:cNvPr>
            <p:cNvGrpSpPr/>
            <p:nvPr/>
          </p:nvGrpSpPr>
          <p:grpSpPr>
            <a:xfrm>
              <a:off x="3383746" y="2255655"/>
              <a:ext cx="1454100" cy="984166"/>
              <a:chOff x="5698540" y="2165992"/>
              <a:chExt cx="1454100" cy="984166"/>
            </a:xfrm>
          </p:grpSpPr>
          <p:sp>
            <p:nvSpPr>
              <p:cNvPr id="1243" name="Freeform: Shape 1242">
                <a:extLst>
                  <a:ext uri="{FF2B5EF4-FFF2-40B4-BE49-F238E27FC236}">
                    <a16:creationId xmlns:a16="http://schemas.microsoft.com/office/drawing/2014/main" id="{3B36B3AB-6F5B-4065-8110-34D12CBAEB0C}"/>
                  </a:ext>
                </a:extLst>
              </p:cNvPr>
              <p:cNvSpPr/>
              <p:nvPr/>
            </p:nvSpPr>
            <p:spPr>
              <a:xfrm>
                <a:off x="5698540" y="2165992"/>
                <a:ext cx="1454100" cy="984166"/>
              </a:xfrm>
              <a:custGeom>
                <a:avLst/>
                <a:gdLst/>
                <a:ahLst/>
                <a:cxnLst/>
                <a:rect l="0" t="0" r="0" b="0"/>
                <a:pathLst>
                  <a:path w="2916640" h="1974044">
                    <a:moveTo>
                      <a:pt x="2699936" y="1974446"/>
                    </a:moveTo>
                    <a:lnTo>
                      <a:pt x="217122" y="1974446"/>
                    </a:lnTo>
                    <a:cubicBezTo>
                      <a:pt x="97752" y="1974446"/>
                      <a:pt x="1174" y="1877868"/>
                      <a:pt x="1174" y="1758498"/>
                    </a:cubicBezTo>
                    <a:lnTo>
                      <a:pt x="1174" y="217122"/>
                    </a:lnTo>
                    <a:cubicBezTo>
                      <a:pt x="1174" y="97752"/>
                      <a:pt x="97752" y="1174"/>
                      <a:pt x="217122" y="1174"/>
                    </a:cubicBezTo>
                    <a:lnTo>
                      <a:pt x="2699549" y="1174"/>
                    </a:lnTo>
                    <a:cubicBezTo>
                      <a:pt x="2818919" y="1174"/>
                      <a:pt x="2915497" y="97752"/>
                      <a:pt x="2915497" y="217122"/>
                    </a:cubicBezTo>
                    <a:lnTo>
                      <a:pt x="2915497" y="1758498"/>
                    </a:lnTo>
                    <a:cubicBezTo>
                      <a:pt x="2915883" y="1877868"/>
                      <a:pt x="2818919" y="1974446"/>
                      <a:pt x="2699936" y="1974446"/>
                    </a:cubicBezTo>
                    <a:close/>
                  </a:path>
                </a:pathLst>
              </a:custGeom>
              <a:solidFill>
                <a:schemeClr val="tx2"/>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1244" name="Freeform: Shape 1243">
                <a:extLst>
                  <a:ext uri="{FF2B5EF4-FFF2-40B4-BE49-F238E27FC236}">
                    <a16:creationId xmlns:a16="http://schemas.microsoft.com/office/drawing/2014/main" id="{0F8220CB-E550-4B77-B685-536F2FF03DFF}"/>
                  </a:ext>
                </a:extLst>
              </p:cNvPr>
              <p:cNvSpPr/>
              <p:nvPr/>
            </p:nvSpPr>
            <p:spPr>
              <a:xfrm>
                <a:off x="5773653" y="2249386"/>
                <a:ext cx="1303875" cy="816607"/>
              </a:xfrm>
              <a:custGeom>
                <a:avLst/>
                <a:gdLst/>
                <a:ahLst/>
                <a:cxnLst/>
                <a:rect l="0" t="0" r="0" b="0"/>
                <a:pathLst>
                  <a:path w="2615318" h="1637954">
                    <a:moveTo>
                      <a:pt x="1174" y="1174"/>
                    </a:moveTo>
                    <a:lnTo>
                      <a:pt x="2614561" y="1174"/>
                    </a:lnTo>
                    <a:lnTo>
                      <a:pt x="2614561" y="1639515"/>
                    </a:lnTo>
                    <a:lnTo>
                      <a:pt x="1174" y="1639515"/>
                    </a:lnTo>
                    <a:close/>
                  </a:path>
                </a:pathLst>
              </a:custGeom>
              <a:solidFill>
                <a:srgbClr val="FFFFFF"/>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45" name="Freeform: Shape 1244">
                <a:extLst>
                  <a:ext uri="{FF2B5EF4-FFF2-40B4-BE49-F238E27FC236}">
                    <a16:creationId xmlns:a16="http://schemas.microsoft.com/office/drawing/2014/main" id="{2F8A5E22-E4DD-4C53-822F-0680FB689562}"/>
                  </a:ext>
                </a:extLst>
              </p:cNvPr>
              <p:cNvSpPr/>
              <p:nvPr/>
            </p:nvSpPr>
            <p:spPr>
              <a:xfrm>
                <a:off x="6047050" y="2290320"/>
                <a:ext cx="200300" cy="308154"/>
              </a:xfrm>
              <a:custGeom>
                <a:avLst/>
                <a:gdLst/>
                <a:ahLst/>
                <a:cxnLst/>
                <a:rect l="0" t="0" r="0" b="0"/>
                <a:pathLst>
                  <a:path w="401762" h="618095">
                    <a:moveTo>
                      <a:pt x="2897" y="142355"/>
                    </a:moveTo>
                    <a:cubicBezTo>
                      <a:pt x="146991" y="157035"/>
                      <a:pt x="259793" y="278723"/>
                      <a:pt x="259793" y="426679"/>
                    </a:cubicBezTo>
                    <a:cubicBezTo>
                      <a:pt x="259793" y="469560"/>
                      <a:pt x="250136" y="510122"/>
                      <a:pt x="233138" y="546822"/>
                    </a:cubicBezTo>
                    <a:lnTo>
                      <a:pt x="352894" y="618289"/>
                    </a:lnTo>
                    <a:cubicBezTo>
                      <a:pt x="382254" y="560729"/>
                      <a:pt x="398865" y="495443"/>
                      <a:pt x="398865" y="426679"/>
                    </a:cubicBezTo>
                    <a:cubicBezTo>
                      <a:pt x="398865" y="202233"/>
                      <a:pt x="223867" y="17577"/>
                      <a:pt x="2897" y="2897"/>
                    </a:cubicBezTo>
                    <a:lnTo>
                      <a:pt x="2897" y="142355"/>
                    </a:lnTo>
                    <a:close/>
                  </a:path>
                </a:pathLst>
              </a:custGeom>
              <a:solidFill>
                <a:schemeClr val="accent1"/>
              </a:solidFill>
              <a:ln w="9525"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46" name="Freeform: Shape 1245">
                <a:extLst>
                  <a:ext uri="{FF2B5EF4-FFF2-40B4-BE49-F238E27FC236}">
                    <a16:creationId xmlns:a16="http://schemas.microsoft.com/office/drawing/2014/main" id="{F80DFB20-353B-447D-9BAA-7CBBAE0135F3}"/>
                  </a:ext>
                </a:extLst>
              </p:cNvPr>
              <p:cNvSpPr/>
              <p:nvPr/>
            </p:nvSpPr>
            <p:spPr>
              <a:xfrm>
                <a:off x="5824409" y="2290320"/>
                <a:ext cx="196448" cy="182966"/>
              </a:xfrm>
              <a:custGeom>
                <a:avLst/>
                <a:gdLst/>
                <a:ahLst/>
                <a:cxnLst/>
                <a:rect l="0" t="0" r="0" b="0"/>
                <a:pathLst>
                  <a:path w="394036" h="366994">
                    <a:moveTo>
                      <a:pt x="141196" y="365256"/>
                    </a:moveTo>
                    <a:cubicBezTo>
                      <a:pt x="167465" y="246273"/>
                      <a:pt x="267906" y="155103"/>
                      <a:pt x="391525" y="142355"/>
                    </a:cubicBezTo>
                    <a:lnTo>
                      <a:pt x="391525" y="2897"/>
                    </a:lnTo>
                    <a:cubicBezTo>
                      <a:pt x="196825" y="16032"/>
                      <a:pt x="37665" y="160898"/>
                      <a:pt x="2897" y="349031"/>
                    </a:cubicBezTo>
                    <a:lnTo>
                      <a:pt x="141196" y="365256"/>
                    </a:lnTo>
                    <a:close/>
                  </a:path>
                </a:pathLst>
              </a:custGeom>
              <a:solidFill>
                <a:schemeClr val="accent1"/>
              </a:solidFill>
              <a:ln w="9525"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47" name="Freeform: Shape 1246">
                <a:extLst>
                  <a:ext uri="{FF2B5EF4-FFF2-40B4-BE49-F238E27FC236}">
                    <a16:creationId xmlns:a16="http://schemas.microsoft.com/office/drawing/2014/main" id="{9CDFC4E3-90F7-43BC-8F45-1222DF25AA04}"/>
                  </a:ext>
                </a:extLst>
              </p:cNvPr>
              <p:cNvSpPr/>
              <p:nvPr/>
            </p:nvSpPr>
            <p:spPr>
              <a:xfrm>
                <a:off x="5985997" y="2586341"/>
                <a:ext cx="223412" cy="129040"/>
              </a:xfrm>
              <a:custGeom>
                <a:avLst/>
                <a:gdLst/>
                <a:ahLst/>
                <a:cxnLst/>
                <a:rect l="0" t="0" r="0" b="0"/>
                <a:pathLst>
                  <a:path w="448119" h="258827">
                    <a:moveTo>
                      <a:pt x="326239" y="2897"/>
                    </a:moveTo>
                    <a:cubicBezTo>
                      <a:pt x="274087" y="73206"/>
                      <a:pt x="190644" y="118790"/>
                      <a:pt x="96384" y="118790"/>
                    </a:cubicBezTo>
                    <a:cubicBezTo>
                      <a:pt x="78228" y="118790"/>
                      <a:pt x="60458" y="116859"/>
                      <a:pt x="43074" y="113768"/>
                    </a:cubicBezTo>
                    <a:lnTo>
                      <a:pt x="2897" y="247432"/>
                    </a:lnTo>
                    <a:cubicBezTo>
                      <a:pt x="33030" y="254385"/>
                      <a:pt x="64321" y="257862"/>
                      <a:pt x="96384" y="257862"/>
                    </a:cubicBezTo>
                    <a:cubicBezTo>
                      <a:pt x="240864" y="257862"/>
                      <a:pt x="369119" y="185236"/>
                      <a:pt x="445608" y="74365"/>
                    </a:cubicBezTo>
                    <a:lnTo>
                      <a:pt x="326239" y="2897"/>
                    </a:lnTo>
                    <a:close/>
                  </a:path>
                </a:pathLst>
              </a:custGeom>
              <a:solidFill>
                <a:schemeClr val="accent1"/>
              </a:solidFill>
              <a:ln w="9525"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48" name="Freeform: Shape 1247">
                <a:extLst>
                  <a:ext uri="{FF2B5EF4-FFF2-40B4-BE49-F238E27FC236}">
                    <a16:creationId xmlns:a16="http://schemas.microsoft.com/office/drawing/2014/main" id="{809753B2-EB69-4936-86E8-D1B24DFDD3AC}"/>
                  </a:ext>
                </a:extLst>
              </p:cNvPr>
              <p:cNvSpPr/>
              <p:nvPr/>
            </p:nvSpPr>
            <p:spPr>
              <a:xfrm>
                <a:off x="5820750" y="2491391"/>
                <a:ext cx="159855" cy="209930"/>
              </a:xfrm>
              <a:custGeom>
                <a:avLst/>
                <a:gdLst/>
                <a:ahLst/>
                <a:cxnLst/>
                <a:rect l="0" t="0" r="0" b="0"/>
                <a:pathLst>
                  <a:path w="320637" h="421077">
                    <a:moveTo>
                      <a:pt x="318899" y="287608"/>
                    </a:moveTo>
                    <a:cubicBezTo>
                      <a:pt x="214981" y="244727"/>
                      <a:pt x="141969" y="142355"/>
                      <a:pt x="141969" y="23372"/>
                    </a:cubicBezTo>
                    <a:cubicBezTo>
                      <a:pt x="141969" y="22213"/>
                      <a:pt x="141969" y="20668"/>
                      <a:pt x="141969" y="19509"/>
                    </a:cubicBezTo>
                    <a:lnTo>
                      <a:pt x="3284" y="2897"/>
                    </a:lnTo>
                    <a:cubicBezTo>
                      <a:pt x="2897" y="9851"/>
                      <a:pt x="2897" y="16418"/>
                      <a:pt x="2897" y="23372"/>
                    </a:cubicBezTo>
                    <a:cubicBezTo>
                      <a:pt x="2897" y="205324"/>
                      <a:pt x="117631" y="360620"/>
                      <a:pt x="278723" y="421271"/>
                    </a:cubicBezTo>
                    <a:lnTo>
                      <a:pt x="318899" y="287608"/>
                    </a:lnTo>
                    <a:close/>
                  </a:path>
                </a:pathLst>
              </a:custGeom>
              <a:solidFill>
                <a:schemeClr val="accent1"/>
              </a:solidFill>
              <a:ln w="9525"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49" name="Freeform: Shape 1248">
                <a:extLst>
                  <a:ext uri="{FF2B5EF4-FFF2-40B4-BE49-F238E27FC236}">
                    <a16:creationId xmlns:a16="http://schemas.microsoft.com/office/drawing/2014/main" id="{9DC2FE16-9F1A-4591-8EE7-4E9C1C0B1AE9}"/>
                  </a:ext>
                </a:extLst>
              </p:cNvPr>
              <p:cNvSpPr/>
              <p:nvPr/>
            </p:nvSpPr>
            <p:spPr>
              <a:xfrm>
                <a:off x="5921530" y="2462140"/>
                <a:ext cx="234967" cy="90520"/>
              </a:xfrm>
              <a:custGeom>
                <a:avLst/>
                <a:gdLst/>
                <a:ahLst/>
                <a:cxnLst/>
                <a:rect l="0" t="0" r="0" b="0"/>
                <a:pathLst>
                  <a:path w="471298" h="181565">
                    <a:moveTo>
                      <a:pt x="281707" y="182485"/>
                    </a:moveTo>
                    <a:cubicBezTo>
                      <a:pt x="277071" y="182485"/>
                      <a:pt x="272822" y="180939"/>
                      <a:pt x="268959" y="177849"/>
                    </a:cubicBezTo>
                    <a:lnTo>
                      <a:pt x="118298" y="47276"/>
                    </a:lnTo>
                    <a:lnTo>
                      <a:pt x="34855" y="137673"/>
                    </a:lnTo>
                    <a:cubicBezTo>
                      <a:pt x="27515" y="145399"/>
                      <a:pt x="15539" y="146171"/>
                      <a:pt x="7427" y="138831"/>
                    </a:cubicBezTo>
                    <a:cubicBezTo>
                      <a:pt x="-299" y="131492"/>
                      <a:pt x="-1072" y="119516"/>
                      <a:pt x="6268" y="111403"/>
                    </a:cubicBezTo>
                    <a:lnTo>
                      <a:pt x="102073" y="7486"/>
                    </a:lnTo>
                    <a:cubicBezTo>
                      <a:pt x="109026" y="-240"/>
                      <a:pt x="121002" y="-1013"/>
                      <a:pt x="128728" y="5941"/>
                    </a:cubicBezTo>
                    <a:lnTo>
                      <a:pt x="279389" y="136514"/>
                    </a:lnTo>
                    <a:lnTo>
                      <a:pt x="359355" y="48821"/>
                    </a:lnTo>
                    <a:cubicBezTo>
                      <a:pt x="365150" y="42254"/>
                      <a:pt x="374807" y="40709"/>
                      <a:pt x="382534" y="44958"/>
                    </a:cubicBezTo>
                    <a:lnTo>
                      <a:pt x="460955" y="86680"/>
                    </a:lnTo>
                    <a:cubicBezTo>
                      <a:pt x="470226" y="91702"/>
                      <a:pt x="474089" y="103291"/>
                      <a:pt x="469067" y="112949"/>
                    </a:cubicBezTo>
                    <a:cubicBezTo>
                      <a:pt x="464045" y="122220"/>
                      <a:pt x="452456" y="126083"/>
                      <a:pt x="442798" y="121061"/>
                    </a:cubicBezTo>
                    <a:lnTo>
                      <a:pt x="377898" y="86293"/>
                    </a:lnTo>
                    <a:lnTo>
                      <a:pt x="295228" y="176690"/>
                    </a:lnTo>
                    <a:cubicBezTo>
                      <a:pt x="292137" y="180553"/>
                      <a:pt x="287115" y="182485"/>
                      <a:pt x="281707" y="182485"/>
                    </a:cubicBezTo>
                    <a:close/>
                  </a:path>
                </a:pathLst>
              </a:custGeom>
              <a:solidFill>
                <a:schemeClr val="accent5"/>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50" name="Freeform: Shape 1249">
                <a:extLst>
                  <a:ext uri="{FF2B5EF4-FFF2-40B4-BE49-F238E27FC236}">
                    <a16:creationId xmlns:a16="http://schemas.microsoft.com/office/drawing/2014/main" id="{FB9DDE7F-4267-41E4-9158-1CB7DFCD054F}"/>
                  </a:ext>
                </a:extLst>
              </p:cNvPr>
              <p:cNvSpPr/>
              <p:nvPr/>
            </p:nvSpPr>
            <p:spPr>
              <a:xfrm>
                <a:off x="5960085" y="2454886"/>
                <a:ext cx="38519" cy="38519"/>
              </a:xfrm>
              <a:custGeom>
                <a:avLst/>
                <a:gdLst/>
                <a:ahLst/>
                <a:cxnLst/>
                <a:rect l="0" t="0" r="0" b="0"/>
                <a:pathLst>
                  <a:path w="77261" h="77261">
                    <a:moveTo>
                      <a:pt x="77664" y="39419"/>
                    </a:moveTo>
                    <a:cubicBezTo>
                      <a:pt x="77664" y="60541"/>
                      <a:pt x="60541" y="77664"/>
                      <a:pt x="39419" y="77664"/>
                    </a:cubicBezTo>
                    <a:cubicBezTo>
                      <a:pt x="18297" y="77664"/>
                      <a:pt x="1174" y="60541"/>
                      <a:pt x="1174" y="39419"/>
                    </a:cubicBezTo>
                    <a:cubicBezTo>
                      <a:pt x="1174" y="18297"/>
                      <a:pt x="18297" y="1174"/>
                      <a:pt x="39419" y="1174"/>
                    </a:cubicBezTo>
                    <a:cubicBezTo>
                      <a:pt x="60541" y="1174"/>
                      <a:pt x="77664" y="18297"/>
                      <a:pt x="77664" y="39419"/>
                    </a:cubicBezTo>
                    <a:close/>
                  </a:path>
                </a:pathLst>
              </a:custGeom>
              <a:solidFill>
                <a:schemeClr val="accent5"/>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51" name="Freeform: Shape 1250">
                <a:extLst>
                  <a:ext uri="{FF2B5EF4-FFF2-40B4-BE49-F238E27FC236}">
                    <a16:creationId xmlns:a16="http://schemas.microsoft.com/office/drawing/2014/main" id="{D1F8B33D-04A0-4E30-B27B-FE8DF343A511}"/>
                  </a:ext>
                </a:extLst>
              </p:cNvPr>
              <p:cNvSpPr/>
              <p:nvPr/>
            </p:nvSpPr>
            <p:spPr>
              <a:xfrm>
                <a:off x="5908662" y="2508620"/>
                <a:ext cx="38519" cy="38519"/>
              </a:xfrm>
              <a:custGeom>
                <a:avLst/>
                <a:gdLst/>
                <a:ahLst/>
                <a:cxnLst/>
                <a:rect l="0" t="0" r="0" b="0"/>
                <a:pathLst>
                  <a:path w="77261" h="77261">
                    <a:moveTo>
                      <a:pt x="77664" y="39419"/>
                    </a:moveTo>
                    <a:cubicBezTo>
                      <a:pt x="77664" y="60541"/>
                      <a:pt x="60541" y="77664"/>
                      <a:pt x="39419" y="77664"/>
                    </a:cubicBezTo>
                    <a:cubicBezTo>
                      <a:pt x="18297" y="77664"/>
                      <a:pt x="1174" y="60541"/>
                      <a:pt x="1174" y="39419"/>
                    </a:cubicBezTo>
                    <a:cubicBezTo>
                      <a:pt x="1174" y="18297"/>
                      <a:pt x="18297" y="1174"/>
                      <a:pt x="39419" y="1174"/>
                    </a:cubicBezTo>
                    <a:cubicBezTo>
                      <a:pt x="60541" y="1174"/>
                      <a:pt x="77664" y="18297"/>
                      <a:pt x="77664" y="39419"/>
                    </a:cubicBezTo>
                    <a:close/>
                  </a:path>
                </a:pathLst>
              </a:custGeom>
              <a:solidFill>
                <a:schemeClr val="accent5"/>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52" name="Freeform: Shape 1251">
                <a:extLst>
                  <a:ext uri="{FF2B5EF4-FFF2-40B4-BE49-F238E27FC236}">
                    <a16:creationId xmlns:a16="http://schemas.microsoft.com/office/drawing/2014/main" id="{BAAB5714-20D2-4B51-BE10-E049461572A3}"/>
                  </a:ext>
                </a:extLst>
              </p:cNvPr>
              <p:cNvSpPr/>
              <p:nvPr/>
            </p:nvSpPr>
            <p:spPr>
              <a:xfrm>
                <a:off x="6040398" y="2521910"/>
                <a:ext cx="38519" cy="38519"/>
              </a:xfrm>
              <a:custGeom>
                <a:avLst/>
                <a:gdLst/>
                <a:ahLst/>
                <a:cxnLst/>
                <a:rect l="0" t="0" r="0" b="0"/>
                <a:pathLst>
                  <a:path w="77261" h="77261">
                    <a:moveTo>
                      <a:pt x="77664" y="39419"/>
                    </a:moveTo>
                    <a:cubicBezTo>
                      <a:pt x="77664" y="60541"/>
                      <a:pt x="60541" y="77664"/>
                      <a:pt x="39419" y="77664"/>
                    </a:cubicBezTo>
                    <a:cubicBezTo>
                      <a:pt x="18297" y="77664"/>
                      <a:pt x="1174" y="60541"/>
                      <a:pt x="1174" y="39419"/>
                    </a:cubicBezTo>
                    <a:cubicBezTo>
                      <a:pt x="1174" y="18297"/>
                      <a:pt x="18297" y="1174"/>
                      <a:pt x="39419" y="1174"/>
                    </a:cubicBezTo>
                    <a:cubicBezTo>
                      <a:pt x="60541" y="1174"/>
                      <a:pt x="77664" y="18297"/>
                      <a:pt x="77664" y="39419"/>
                    </a:cubicBezTo>
                    <a:close/>
                  </a:path>
                </a:pathLst>
              </a:custGeom>
              <a:solidFill>
                <a:schemeClr val="accent5"/>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53" name="Freeform: Shape 1252">
                <a:extLst>
                  <a:ext uri="{FF2B5EF4-FFF2-40B4-BE49-F238E27FC236}">
                    <a16:creationId xmlns:a16="http://schemas.microsoft.com/office/drawing/2014/main" id="{2342ACA8-38E3-4247-9328-8A3B43BFE4E0}"/>
                  </a:ext>
                </a:extLst>
              </p:cNvPr>
              <p:cNvSpPr/>
              <p:nvPr/>
            </p:nvSpPr>
            <p:spPr>
              <a:xfrm>
                <a:off x="6085850" y="2477612"/>
                <a:ext cx="38519" cy="38519"/>
              </a:xfrm>
              <a:custGeom>
                <a:avLst/>
                <a:gdLst/>
                <a:ahLst/>
                <a:cxnLst/>
                <a:rect l="0" t="0" r="0" b="0"/>
                <a:pathLst>
                  <a:path w="77261" h="77261">
                    <a:moveTo>
                      <a:pt x="77664" y="39419"/>
                    </a:moveTo>
                    <a:cubicBezTo>
                      <a:pt x="77664" y="60541"/>
                      <a:pt x="60541" y="77664"/>
                      <a:pt x="39419" y="77664"/>
                    </a:cubicBezTo>
                    <a:cubicBezTo>
                      <a:pt x="18297" y="77664"/>
                      <a:pt x="1174" y="60541"/>
                      <a:pt x="1174" y="39419"/>
                    </a:cubicBezTo>
                    <a:cubicBezTo>
                      <a:pt x="1174" y="18297"/>
                      <a:pt x="18297" y="1174"/>
                      <a:pt x="39419" y="1174"/>
                    </a:cubicBezTo>
                    <a:cubicBezTo>
                      <a:pt x="60541" y="1174"/>
                      <a:pt x="77664" y="18297"/>
                      <a:pt x="77664" y="39419"/>
                    </a:cubicBezTo>
                    <a:close/>
                  </a:path>
                </a:pathLst>
              </a:custGeom>
              <a:solidFill>
                <a:schemeClr val="accent5"/>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54" name="Freeform: Shape 1253">
                <a:extLst>
                  <a:ext uri="{FF2B5EF4-FFF2-40B4-BE49-F238E27FC236}">
                    <a16:creationId xmlns:a16="http://schemas.microsoft.com/office/drawing/2014/main" id="{88F0DEF7-15C7-47D7-8D11-B04141052F66}"/>
                  </a:ext>
                </a:extLst>
              </p:cNvPr>
              <p:cNvSpPr/>
              <p:nvPr/>
            </p:nvSpPr>
            <p:spPr>
              <a:xfrm>
                <a:off x="6133807" y="2498798"/>
                <a:ext cx="38519" cy="38519"/>
              </a:xfrm>
              <a:custGeom>
                <a:avLst/>
                <a:gdLst/>
                <a:ahLst/>
                <a:cxnLst/>
                <a:rect l="0" t="0" r="0" b="0"/>
                <a:pathLst>
                  <a:path w="77261" h="77261">
                    <a:moveTo>
                      <a:pt x="77664" y="39419"/>
                    </a:moveTo>
                    <a:cubicBezTo>
                      <a:pt x="77664" y="60541"/>
                      <a:pt x="60541" y="77664"/>
                      <a:pt x="39419" y="77664"/>
                    </a:cubicBezTo>
                    <a:cubicBezTo>
                      <a:pt x="18297" y="77664"/>
                      <a:pt x="1174" y="60541"/>
                      <a:pt x="1174" y="39419"/>
                    </a:cubicBezTo>
                    <a:cubicBezTo>
                      <a:pt x="1174" y="18297"/>
                      <a:pt x="18297" y="1174"/>
                      <a:pt x="39419" y="1174"/>
                    </a:cubicBezTo>
                    <a:cubicBezTo>
                      <a:pt x="60541" y="1174"/>
                      <a:pt x="77664" y="18297"/>
                      <a:pt x="77664" y="39419"/>
                    </a:cubicBezTo>
                    <a:close/>
                  </a:path>
                </a:pathLst>
              </a:custGeom>
              <a:solidFill>
                <a:schemeClr val="accent5"/>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55" name="Rectangle: Rounded Corners 1254">
                <a:extLst>
                  <a:ext uri="{FF2B5EF4-FFF2-40B4-BE49-F238E27FC236}">
                    <a16:creationId xmlns:a16="http://schemas.microsoft.com/office/drawing/2014/main" id="{0A3835FC-DC6E-4EC8-BD01-1291845B6BB6}"/>
                  </a:ext>
                </a:extLst>
              </p:cNvPr>
              <p:cNvSpPr/>
              <p:nvPr/>
            </p:nvSpPr>
            <p:spPr>
              <a:xfrm>
                <a:off x="5870528" y="2818700"/>
                <a:ext cx="88594" cy="208004"/>
              </a:xfrm>
              <a:prstGeom prst="roundRect">
                <a:avLst>
                  <a:gd name="adj" fmla="val 50000"/>
                </a:avLst>
              </a:prstGeom>
              <a:solidFill>
                <a:schemeClr val="accent2"/>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56" name="Rectangle: Rounded Corners 1255">
                <a:extLst>
                  <a:ext uri="{FF2B5EF4-FFF2-40B4-BE49-F238E27FC236}">
                    <a16:creationId xmlns:a16="http://schemas.microsoft.com/office/drawing/2014/main" id="{EE2934F8-D933-46D2-AB4C-3F25A9D4A29E}"/>
                  </a:ext>
                </a:extLst>
              </p:cNvPr>
              <p:cNvSpPr/>
              <p:nvPr/>
            </p:nvSpPr>
            <p:spPr>
              <a:xfrm>
                <a:off x="5983967" y="2888420"/>
                <a:ext cx="88594" cy="136743"/>
              </a:xfrm>
              <a:prstGeom prst="roundRect">
                <a:avLst>
                  <a:gd name="adj" fmla="val 50000"/>
                </a:avLst>
              </a:prstGeom>
              <a:solidFill>
                <a:schemeClr val="accent6"/>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57" name="Rectangle: Rounded Corners 1256">
                <a:extLst>
                  <a:ext uri="{FF2B5EF4-FFF2-40B4-BE49-F238E27FC236}">
                    <a16:creationId xmlns:a16="http://schemas.microsoft.com/office/drawing/2014/main" id="{7FCC3240-CE5F-4780-BD0A-D82641A7495C}"/>
                  </a:ext>
                </a:extLst>
              </p:cNvPr>
              <p:cNvSpPr/>
              <p:nvPr/>
            </p:nvSpPr>
            <p:spPr>
              <a:xfrm>
                <a:off x="6097406" y="2754758"/>
                <a:ext cx="88594" cy="271560"/>
              </a:xfrm>
              <a:prstGeom prst="roundRect">
                <a:avLst>
                  <a:gd name="adj" fmla="val 50000"/>
                </a:avLst>
              </a:prstGeom>
              <a:solidFill>
                <a:schemeClr val="accent2"/>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58" name="Rectangle: Rounded Corners 1257">
                <a:extLst>
                  <a:ext uri="{FF2B5EF4-FFF2-40B4-BE49-F238E27FC236}">
                    <a16:creationId xmlns:a16="http://schemas.microsoft.com/office/drawing/2014/main" id="{6A10A4F4-A1B5-4E72-9473-A10621A6960A}"/>
                  </a:ext>
                </a:extLst>
              </p:cNvPr>
              <p:cNvSpPr/>
              <p:nvPr/>
            </p:nvSpPr>
            <p:spPr>
              <a:xfrm>
                <a:off x="6210845" y="2807529"/>
                <a:ext cx="88594" cy="217633"/>
              </a:xfrm>
              <a:prstGeom prst="roundRect">
                <a:avLst>
                  <a:gd name="adj" fmla="val 50000"/>
                </a:avLst>
              </a:prstGeom>
              <a:solidFill>
                <a:schemeClr val="accent2"/>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59" name="Rectangle: Rounded Corners 1258">
                <a:extLst>
                  <a:ext uri="{FF2B5EF4-FFF2-40B4-BE49-F238E27FC236}">
                    <a16:creationId xmlns:a16="http://schemas.microsoft.com/office/drawing/2014/main" id="{2881F01E-3924-4E93-9D9E-32EF9AD7A39A}"/>
                  </a:ext>
                </a:extLst>
              </p:cNvPr>
              <p:cNvSpPr/>
              <p:nvPr/>
            </p:nvSpPr>
            <p:spPr>
              <a:xfrm>
                <a:off x="6324285" y="2840849"/>
                <a:ext cx="88594" cy="184892"/>
              </a:xfrm>
              <a:prstGeom prst="roundRect">
                <a:avLst>
                  <a:gd name="adj" fmla="val 50000"/>
                </a:avLst>
              </a:prstGeom>
              <a:solidFill>
                <a:schemeClr val="accent2"/>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60" name="Rectangle: Rounded Corners 1259">
                <a:extLst>
                  <a:ext uri="{FF2B5EF4-FFF2-40B4-BE49-F238E27FC236}">
                    <a16:creationId xmlns:a16="http://schemas.microsoft.com/office/drawing/2014/main" id="{E238D784-7321-4986-9CC7-27C16BB4C077}"/>
                  </a:ext>
                </a:extLst>
              </p:cNvPr>
              <p:cNvSpPr/>
              <p:nvPr/>
            </p:nvSpPr>
            <p:spPr>
              <a:xfrm>
                <a:off x="6437723" y="2818700"/>
                <a:ext cx="88594" cy="208004"/>
              </a:xfrm>
              <a:prstGeom prst="roundRect">
                <a:avLst>
                  <a:gd name="adj" fmla="val 50000"/>
                </a:avLst>
              </a:prstGeom>
              <a:solidFill>
                <a:schemeClr val="accent5"/>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61" name="Rectangle: Rounded Corners 1260">
                <a:extLst>
                  <a:ext uri="{FF2B5EF4-FFF2-40B4-BE49-F238E27FC236}">
                    <a16:creationId xmlns:a16="http://schemas.microsoft.com/office/drawing/2014/main" id="{5960015C-9856-4ACB-BFEA-B0BB51B271D9}"/>
                  </a:ext>
                </a:extLst>
              </p:cNvPr>
              <p:cNvSpPr/>
              <p:nvPr/>
            </p:nvSpPr>
            <p:spPr>
              <a:xfrm>
                <a:off x="6551163" y="2888420"/>
                <a:ext cx="88594" cy="136743"/>
              </a:xfrm>
              <a:prstGeom prst="roundRect">
                <a:avLst>
                  <a:gd name="adj" fmla="val 50000"/>
                </a:avLst>
              </a:prstGeom>
              <a:solidFill>
                <a:schemeClr val="accent6"/>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62" name="Rectangle: Rounded Corners 1261">
                <a:extLst>
                  <a:ext uri="{FF2B5EF4-FFF2-40B4-BE49-F238E27FC236}">
                    <a16:creationId xmlns:a16="http://schemas.microsoft.com/office/drawing/2014/main" id="{B43144D6-BF56-4340-82C6-CDC5A432B8B3}"/>
                  </a:ext>
                </a:extLst>
              </p:cNvPr>
              <p:cNvSpPr/>
              <p:nvPr/>
            </p:nvSpPr>
            <p:spPr>
              <a:xfrm>
                <a:off x="6664601" y="2754758"/>
                <a:ext cx="88594" cy="271560"/>
              </a:xfrm>
              <a:prstGeom prst="roundRect">
                <a:avLst>
                  <a:gd name="adj" fmla="val 50000"/>
                </a:avLst>
              </a:prstGeom>
              <a:solidFill>
                <a:schemeClr val="accent2"/>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63" name="Rectangle: Rounded Corners 1262">
                <a:extLst>
                  <a:ext uri="{FF2B5EF4-FFF2-40B4-BE49-F238E27FC236}">
                    <a16:creationId xmlns:a16="http://schemas.microsoft.com/office/drawing/2014/main" id="{D7739FD9-C592-4CC5-9592-345CFD774B4A}"/>
                  </a:ext>
                </a:extLst>
              </p:cNvPr>
              <p:cNvSpPr/>
              <p:nvPr/>
            </p:nvSpPr>
            <p:spPr>
              <a:xfrm>
                <a:off x="6778041" y="2807529"/>
                <a:ext cx="88594" cy="217633"/>
              </a:xfrm>
              <a:prstGeom prst="roundRect">
                <a:avLst>
                  <a:gd name="adj" fmla="val 50000"/>
                </a:avLst>
              </a:prstGeom>
              <a:solidFill>
                <a:schemeClr val="accent2"/>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64" name="Rectangle: Rounded Corners 1263">
                <a:extLst>
                  <a:ext uri="{FF2B5EF4-FFF2-40B4-BE49-F238E27FC236}">
                    <a16:creationId xmlns:a16="http://schemas.microsoft.com/office/drawing/2014/main" id="{D304E7D5-F689-4B1C-8993-F53C3F9228E4}"/>
                  </a:ext>
                </a:extLst>
              </p:cNvPr>
              <p:cNvSpPr/>
              <p:nvPr/>
            </p:nvSpPr>
            <p:spPr>
              <a:xfrm>
                <a:off x="6891479" y="2840849"/>
                <a:ext cx="88594" cy="184892"/>
              </a:xfrm>
              <a:prstGeom prst="roundRect">
                <a:avLst>
                  <a:gd name="adj" fmla="val 50000"/>
                </a:avLst>
              </a:prstGeom>
              <a:solidFill>
                <a:schemeClr val="accent5"/>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nvGrpSpPr>
              <p:cNvPr id="1265" name="Group 1264">
                <a:extLst>
                  <a:ext uri="{FF2B5EF4-FFF2-40B4-BE49-F238E27FC236}">
                    <a16:creationId xmlns:a16="http://schemas.microsoft.com/office/drawing/2014/main" id="{CD661568-FD37-4B22-B38D-87661E226469}"/>
                  </a:ext>
                </a:extLst>
              </p:cNvPr>
              <p:cNvGrpSpPr/>
              <p:nvPr/>
            </p:nvGrpSpPr>
            <p:grpSpPr>
              <a:xfrm>
                <a:off x="6380330" y="2380041"/>
                <a:ext cx="636876" cy="208581"/>
                <a:chOff x="6380330" y="2334321"/>
                <a:chExt cx="636876" cy="208581"/>
              </a:xfrm>
            </p:grpSpPr>
            <p:sp>
              <p:nvSpPr>
                <p:cNvPr id="1267" name="Freeform: Shape 1266">
                  <a:extLst>
                    <a:ext uri="{FF2B5EF4-FFF2-40B4-BE49-F238E27FC236}">
                      <a16:creationId xmlns:a16="http://schemas.microsoft.com/office/drawing/2014/main" id="{B2E6D01F-EF0C-4D34-9503-0E2FF034A1D4}"/>
                    </a:ext>
                  </a:extLst>
                </p:cNvPr>
                <p:cNvSpPr/>
                <p:nvPr/>
              </p:nvSpPr>
              <p:spPr>
                <a:xfrm>
                  <a:off x="6380330" y="2411937"/>
                  <a:ext cx="48149" cy="48149"/>
                </a:xfrm>
                <a:custGeom>
                  <a:avLst/>
                  <a:gdLst/>
                  <a:ahLst/>
                  <a:cxnLst/>
                  <a:rect l="0" t="0" r="0" b="0"/>
                  <a:pathLst>
                    <a:path w="96577" h="96577">
                      <a:moveTo>
                        <a:pt x="98524" y="49849"/>
                      </a:moveTo>
                      <a:cubicBezTo>
                        <a:pt x="98524" y="76732"/>
                        <a:pt x="76732" y="98524"/>
                        <a:pt x="49849" y="98524"/>
                      </a:cubicBezTo>
                      <a:cubicBezTo>
                        <a:pt x="22967" y="98524"/>
                        <a:pt x="1174" y="76732"/>
                        <a:pt x="1174" y="49849"/>
                      </a:cubicBezTo>
                      <a:cubicBezTo>
                        <a:pt x="1174" y="22967"/>
                        <a:pt x="22967" y="1174"/>
                        <a:pt x="49849" y="1174"/>
                      </a:cubicBezTo>
                      <a:cubicBezTo>
                        <a:pt x="76732" y="1174"/>
                        <a:pt x="98524" y="22967"/>
                        <a:pt x="98524" y="49849"/>
                      </a:cubicBezTo>
                      <a:close/>
                    </a:path>
                  </a:pathLst>
                </a:custGeom>
                <a:solidFill>
                  <a:schemeClr val="accent5"/>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68" name="Freeform: Shape 1267">
                  <a:extLst>
                    <a:ext uri="{FF2B5EF4-FFF2-40B4-BE49-F238E27FC236}">
                      <a16:creationId xmlns:a16="http://schemas.microsoft.com/office/drawing/2014/main" id="{D3636134-0637-47CA-99B5-C02FBF6EAB0E}"/>
                    </a:ext>
                  </a:extLst>
                </p:cNvPr>
                <p:cNvSpPr/>
                <p:nvPr/>
              </p:nvSpPr>
              <p:spPr>
                <a:xfrm>
                  <a:off x="6491265" y="2494753"/>
                  <a:ext cx="48149" cy="48149"/>
                </a:xfrm>
                <a:custGeom>
                  <a:avLst/>
                  <a:gdLst/>
                  <a:ahLst/>
                  <a:cxnLst/>
                  <a:rect l="0" t="0" r="0" b="0"/>
                  <a:pathLst>
                    <a:path w="96577" h="96577">
                      <a:moveTo>
                        <a:pt x="98524" y="49849"/>
                      </a:moveTo>
                      <a:cubicBezTo>
                        <a:pt x="98524" y="76732"/>
                        <a:pt x="76732" y="98524"/>
                        <a:pt x="49849" y="98524"/>
                      </a:cubicBezTo>
                      <a:cubicBezTo>
                        <a:pt x="22967" y="98524"/>
                        <a:pt x="1174" y="76732"/>
                        <a:pt x="1174" y="49849"/>
                      </a:cubicBezTo>
                      <a:cubicBezTo>
                        <a:pt x="1174" y="22967"/>
                        <a:pt x="22967" y="1174"/>
                        <a:pt x="49849" y="1174"/>
                      </a:cubicBezTo>
                      <a:cubicBezTo>
                        <a:pt x="76732" y="1174"/>
                        <a:pt x="98524" y="22967"/>
                        <a:pt x="98524" y="49849"/>
                      </a:cubicBezTo>
                      <a:close/>
                    </a:path>
                  </a:pathLst>
                </a:custGeom>
                <a:solidFill>
                  <a:schemeClr val="accent5"/>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69" name="Freeform: Shape 1268">
                  <a:extLst>
                    <a:ext uri="{FF2B5EF4-FFF2-40B4-BE49-F238E27FC236}">
                      <a16:creationId xmlns:a16="http://schemas.microsoft.com/office/drawing/2014/main" id="{740EA332-6C42-4288-B4C1-06B98E4E337A}"/>
                    </a:ext>
                  </a:extLst>
                </p:cNvPr>
                <p:cNvSpPr/>
                <p:nvPr/>
              </p:nvSpPr>
              <p:spPr>
                <a:xfrm>
                  <a:off x="6613949" y="2387670"/>
                  <a:ext cx="48149" cy="48149"/>
                </a:xfrm>
                <a:custGeom>
                  <a:avLst/>
                  <a:gdLst/>
                  <a:ahLst/>
                  <a:cxnLst/>
                  <a:rect l="0" t="0" r="0" b="0"/>
                  <a:pathLst>
                    <a:path w="96577" h="96577">
                      <a:moveTo>
                        <a:pt x="98524" y="49849"/>
                      </a:moveTo>
                      <a:cubicBezTo>
                        <a:pt x="98524" y="76732"/>
                        <a:pt x="76732" y="98524"/>
                        <a:pt x="49849" y="98524"/>
                      </a:cubicBezTo>
                      <a:cubicBezTo>
                        <a:pt x="22967" y="98524"/>
                        <a:pt x="1174" y="76732"/>
                        <a:pt x="1174" y="49849"/>
                      </a:cubicBezTo>
                      <a:cubicBezTo>
                        <a:pt x="1174" y="22967"/>
                        <a:pt x="22967" y="1174"/>
                        <a:pt x="49849" y="1174"/>
                      </a:cubicBezTo>
                      <a:cubicBezTo>
                        <a:pt x="76732" y="1174"/>
                        <a:pt x="98524" y="22967"/>
                        <a:pt x="98524" y="49849"/>
                      </a:cubicBezTo>
                      <a:close/>
                    </a:path>
                  </a:pathLst>
                </a:custGeom>
                <a:solidFill>
                  <a:schemeClr val="accent5"/>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70" name="Freeform: Shape 1269">
                  <a:extLst>
                    <a:ext uri="{FF2B5EF4-FFF2-40B4-BE49-F238E27FC236}">
                      <a16:creationId xmlns:a16="http://schemas.microsoft.com/office/drawing/2014/main" id="{6A7F8598-FF26-41D6-B407-120E338C729C}"/>
                    </a:ext>
                  </a:extLst>
                </p:cNvPr>
                <p:cNvSpPr/>
                <p:nvPr/>
              </p:nvSpPr>
              <p:spPr>
                <a:xfrm>
                  <a:off x="6725655" y="2472412"/>
                  <a:ext cx="48149" cy="48149"/>
                </a:xfrm>
                <a:custGeom>
                  <a:avLst/>
                  <a:gdLst/>
                  <a:ahLst/>
                  <a:cxnLst/>
                  <a:rect l="0" t="0" r="0" b="0"/>
                  <a:pathLst>
                    <a:path w="96577" h="96577">
                      <a:moveTo>
                        <a:pt x="98524" y="49849"/>
                      </a:moveTo>
                      <a:cubicBezTo>
                        <a:pt x="98524" y="76732"/>
                        <a:pt x="76732" y="98524"/>
                        <a:pt x="49849" y="98524"/>
                      </a:cubicBezTo>
                      <a:cubicBezTo>
                        <a:pt x="22967" y="98524"/>
                        <a:pt x="1174" y="76732"/>
                        <a:pt x="1174" y="49849"/>
                      </a:cubicBezTo>
                      <a:cubicBezTo>
                        <a:pt x="1174" y="22967"/>
                        <a:pt x="22967" y="1174"/>
                        <a:pt x="49849" y="1174"/>
                      </a:cubicBezTo>
                      <a:cubicBezTo>
                        <a:pt x="76732" y="1174"/>
                        <a:pt x="98524" y="22967"/>
                        <a:pt x="98524" y="49849"/>
                      </a:cubicBezTo>
                      <a:close/>
                    </a:path>
                  </a:pathLst>
                </a:custGeom>
                <a:solidFill>
                  <a:schemeClr val="accent5"/>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71" name="Freeform: Shape 1270">
                  <a:extLst>
                    <a:ext uri="{FF2B5EF4-FFF2-40B4-BE49-F238E27FC236}">
                      <a16:creationId xmlns:a16="http://schemas.microsoft.com/office/drawing/2014/main" id="{3110E1BA-CC63-446D-812B-C1FBBE7A4930}"/>
                    </a:ext>
                  </a:extLst>
                </p:cNvPr>
                <p:cNvSpPr/>
                <p:nvPr/>
              </p:nvSpPr>
              <p:spPr>
                <a:xfrm>
                  <a:off x="6828308" y="2334321"/>
                  <a:ext cx="48149" cy="48149"/>
                </a:xfrm>
                <a:custGeom>
                  <a:avLst/>
                  <a:gdLst/>
                  <a:ahLst/>
                  <a:cxnLst/>
                  <a:rect l="0" t="0" r="0" b="0"/>
                  <a:pathLst>
                    <a:path w="96577" h="96577">
                      <a:moveTo>
                        <a:pt x="98524" y="49849"/>
                      </a:moveTo>
                      <a:cubicBezTo>
                        <a:pt x="98524" y="76732"/>
                        <a:pt x="76732" y="98524"/>
                        <a:pt x="49849" y="98524"/>
                      </a:cubicBezTo>
                      <a:cubicBezTo>
                        <a:pt x="22967" y="98524"/>
                        <a:pt x="1174" y="76732"/>
                        <a:pt x="1174" y="49849"/>
                      </a:cubicBezTo>
                      <a:cubicBezTo>
                        <a:pt x="1174" y="22967"/>
                        <a:pt x="22967" y="1174"/>
                        <a:pt x="49849" y="1174"/>
                      </a:cubicBezTo>
                      <a:cubicBezTo>
                        <a:pt x="76732" y="1174"/>
                        <a:pt x="98524" y="22967"/>
                        <a:pt x="98524" y="49849"/>
                      </a:cubicBezTo>
                      <a:close/>
                    </a:path>
                  </a:pathLst>
                </a:custGeom>
                <a:solidFill>
                  <a:schemeClr val="accent5"/>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72" name="Freeform: Shape 1271">
                  <a:extLst>
                    <a:ext uri="{FF2B5EF4-FFF2-40B4-BE49-F238E27FC236}">
                      <a16:creationId xmlns:a16="http://schemas.microsoft.com/office/drawing/2014/main" id="{ADEB5901-912D-40B5-9369-80562FE5088A}"/>
                    </a:ext>
                  </a:extLst>
                </p:cNvPr>
                <p:cNvSpPr/>
                <p:nvPr/>
              </p:nvSpPr>
              <p:spPr>
                <a:xfrm>
                  <a:off x="6900339" y="2393448"/>
                  <a:ext cx="48149" cy="48149"/>
                </a:xfrm>
                <a:custGeom>
                  <a:avLst/>
                  <a:gdLst/>
                  <a:ahLst/>
                  <a:cxnLst/>
                  <a:rect l="0" t="0" r="0" b="0"/>
                  <a:pathLst>
                    <a:path w="96577" h="96577">
                      <a:moveTo>
                        <a:pt x="98524" y="49849"/>
                      </a:moveTo>
                      <a:cubicBezTo>
                        <a:pt x="98524" y="76732"/>
                        <a:pt x="76732" y="98524"/>
                        <a:pt x="49849" y="98524"/>
                      </a:cubicBezTo>
                      <a:cubicBezTo>
                        <a:pt x="22967" y="98524"/>
                        <a:pt x="1175" y="76732"/>
                        <a:pt x="1175" y="49849"/>
                      </a:cubicBezTo>
                      <a:cubicBezTo>
                        <a:pt x="1175" y="22967"/>
                        <a:pt x="22967" y="1174"/>
                        <a:pt x="49849" y="1174"/>
                      </a:cubicBezTo>
                      <a:cubicBezTo>
                        <a:pt x="76732" y="1174"/>
                        <a:pt x="98524" y="22967"/>
                        <a:pt x="98524" y="49849"/>
                      </a:cubicBezTo>
                      <a:close/>
                    </a:path>
                  </a:pathLst>
                </a:custGeom>
                <a:solidFill>
                  <a:schemeClr val="accent5"/>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73" name="Freeform: Shape 1272">
                  <a:extLst>
                    <a:ext uri="{FF2B5EF4-FFF2-40B4-BE49-F238E27FC236}">
                      <a16:creationId xmlns:a16="http://schemas.microsoft.com/office/drawing/2014/main" id="{D802750D-BF61-481F-9E45-60A16CF419A2}"/>
                    </a:ext>
                  </a:extLst>
                </p:cNvPr>
                <p:cNvSpPr/>
                <p:nvPr/>
              </p:nvSpPr>
              <p:spPr>
                <a:xfrm>
                  <a:off x="6400899" y="2338870"/>
                  <a:ext cx="616307" cy="190670"/>
                </a:xfrm>
                <a:custGeom>
                  <a:avLst/>
                  <a:gdLst/>
                  <a:ahLst/>
                  <a:cxnLst/>
                  <a:rect l="0" t="0" r="0" b="0"/>
                  <a:pathLst>
                    <a:path w="1236191" h="382446">
                      <a:moveTo>
                        <a:pt x="240377" y="383381"/>
                      </a:moveTo>
                      <a:cubicBezTo>
                        <a:pt x="235355" y="383381"/>
                        <a:pt x="230719" y="381836"/>
                        <a:pt x="226470" y="378746"/>
                      </a:cubicBezTo>
                      <a:lnTo>
                        <a:pt x="10523" y="218041"/>
                      </a:lnTo>
                      <a:cubicBezTo>
                        <a:pt x="92" y="210314"/>
                        <a:pt x="-1839" y="196021"/>
                        <a:pt x="5887" y="185591"/>
                      </a:cubicBezTo>
                      <a:cubicBezTo>
                        <a:pt x="13613" y="175160"/>
                        <a:pt x="27907" y="173229"/>
                        <a:pt x="38337" y="180955"/>
                      </a:cubicBezTo>
                      <a:lnTo>
                        <a:pt x="238832" y="330457"/>
                      </a:lnTo>
                      <a:lnTo>
                        <a:pt x="461733" y="130735"/>
                      </a:lnTo>
                      <a:cubicBezTo>
                        <a:pt x="469845" y="123395"/>
                        <a:pt x="482207" y="123008"/>
                        <a:pt x="491092" y="129576"/>
                      </a:cubicBezTo>
                      <a:lnTo>
                        <a:pt x="701631" y="288735"/>
                      </a:lnTo>
                      <a:lnTo>
                        <a:pt x="890923" y="11365"/>
                      </a:lnTo>
                      <a:cubicBezTo>
                        <a:pt x="894786" y="5570"/>
                        <a:pt x="900967" y="2093"/>
                        <a:pt x="907534" y="1321"/>
                      </a:cubicBezTo>
                      <a:cubicBezTo>
                        <a:pt x="914102" y="548"/>
                        <a:pt x="921055" y="2866"/>
                        <a:pt x="926077" y="7502"/>
                      </a:cubicBezTo>
                      <a:lnTo>
                        <a:pt x="1058582" y="132666"/>
                      </a:lnTo>
                      <a:lnTo>
                        <a:pt x="1214265" y="132666"/>
                      </a:lnTo>
                      <a:cubicBezTo>
                        <a:pt x="1227013" y="132666"/>
                        <a:pt x="1237443" y="143096"/>
                        <a:pt x="1237443" y="155845"/>
                      </a:cubicBezTo>
                      <a:cubicBezTo>
                        <a:pt x="1237443" y="168593"/>
                        <a:pt x="1227013" y="179023"/>
                        <a:pt x="1214265" y="179023"/>
                      </a:cubicBezTo>
                      <a:lnTo>
                        <a:pt x="1049310" y="179023"/>
                      </a:lnTo>
                      <a:cubicBezTo>
                        <a:pt x="1043516" y="179023"/>
                        <a:pt x="1037721" y="176705"/>
                        <a:pt x="1033472" y="172842"/>
                      </a:cubicBezTo>
                      <a:lnTo>
                        <a:pt x="914102" y="60040"/>
                      </a:lnTo>
                      <a:lnTo>
                        <a:pt x="726355" y="335093"/>
                      </a:lnTo>
                      <a:cubicBezTo>
                        <a:pt x="722878" y="340501"/>
                        <a:pt x="717084" y="343978"/>
                        <a:pt x="710903" y="344750"/>
                      </a:cubicBezTo>
                      <a:cubicBezTo>
                        <a:pt x="704722" y="345909"/>
                        <a:pt x="698154" y="344364"/>
                        <a:pt x="693132" y="340501"/>
                      </a:cubicBezTo>
                      <a:lnTo>
                        <a:pt x="478730" y="178251"/>
                      </a:lnTo>
                      <a:lnTo>
                        <a:pt x="256216" y="377973"/>
                      </a:lnTo>
                      <a:cubicBezTo>
                        <a:pt x="251194" y="381063"/>
                        <a:pt x="245785" y="383381"/>
                        <a:pt x="240377" y="383381"/>
                      </a:cubicBezTo>
                      <a:close/>
                    </a:path>
                  </a:pathLst>
                </a:custGeom>
                <a:solidFill>
                  <a:schemeClr val="accent5"/>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sp>
            <p:nvSpPr>
              <p:cNvPr id="1266" name="Freeform: Shape 1265">
                <a:extLst>
                  <a:ext uri="{FF2B5EF4-FFF2-40B4-BE49-F238E27FC236}">
                    <a16:creationId xmlns:a16="http://schemas.microsoft.com/office/drawing/2014/main" id="{D767C44C-5EB3-4482-86DF-528B93EB9D72}"/>
                  </a:ext>
                </a:extLst>
              </p:cNvPr>
              <p:cNvSpPr/>
              <p:nvPr/>
            </p:nvSpPr>
            <p:spPr>
              <a:xfrm>
                <a:off x="6320432" y="2306009"/>
                <a:ext cx="710680" cy="387118"/>
              </a:xfrm>
              <a:custGeom>
                <a:avLst/>
                <a:gdLst/>
                <a:ahLst/>
                <a:cxnLst/>
                <a:rect l="0" t="0" r="0" b="0"/>
                <a:pathLst>
                  <a:path w="1425483" h="776483">
                    <a:moveTo>
                      <a:pt x="1406570" y="776498"/>
                    </a:moveTo>
                    <a:lnTo>
                      <a:pt x="20490" y="776498"/>
                    </a:lnTo>
                    <a:cubicBezTo>
                      <a:pt x="9673" y="776498"/>
                      <a:pt x="1174" y="768000"/>
                      <a:pt x="1174" y="757183"/>
                    </a:cubicBezTo>
                    <a:lnTo>
                      <a:pt x="1174" y="20490"/>
                    </a:lnTo>
                    <a:cubicBezTo>
                      <a:pt x="1174" y="9673"/>
                      <a:pt x="9673" y="1174"/>
                      <a:pt x="20490" y="1174"/>
                    </a:cubicBezTo>
                    <a:cubicBezTo>
                      <a:pt x="31307" y="1174"/>
                      <a:pt x="39805" y="9673"/>
                      <a:pt x="39805" y="20490"/>
                    </a:cubicBezTo>
                    <a:lnTo>
                      <a:pt x="39805" y="737867"/>
                    </a:lnTo>
                    <a:lnTo>
                      <a:pt x="1406570" y="737867"/>
                    </a:lnTo>
                    <a:cubicBezTo>
                      <a:pt x="1417387" y="737867"/>
                      <a:pt x="1425885" y="746366"/>
                      <a:pt x="1425885" y="757183"/>
                    </a:cubicBezTo>
                    <a:cubicBezTo>
                      <a:pt x="1425885" y="768000"/>
                      <a:pt x="1417000" y="776498"/>
                      <a:pt x="1406570" y="776498"/>
                    </a:cubicBezTo>
                    <a:close/>
                  </a:path>
                </a:pathLst>
              </a:custGeom>
              <a:solidFill>
                <a:schemeClr val="accent5"/>
              </a:solidFill>
              <a:ln w="3860" cap="flat">
                <a:noFill/>
                <a:prstDash val="solid"/>
                <a:miter/>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grpSp>
        <p:nvGrpSpPr>
          <p:cNvPr id="160" name="Group 159">
            <a:extLst>
              <a:ext uri="{FF2B5EF4-FFF2-40B4-BE49-F238E27FC236}">
                <a16:creationId xmlns:a16="http://schemas.microsoft.com/office/drawing/2014/main" id="{14F4F5C9-D8B2-4F76-AA60-78E80242BEF4}"/>
              </a:ext>
            </a:extLst>
          </p:cNvPr>
          <p:cNvGrpSpPr/>
          <p:nvPr/>
        </p:nvGrpSpPr>
        <p:grpSpPr>
          <a:xfrm>
            <a:off x="7225994" y="3960245"/>
            <a:ext cx="404006" cy="406595"/>
            <a:chOff x="4323588" y="1234613"/>
            <a:chExt cx="495300" cy="498475"/>
          </a:xfrm>
        </p:grpSpPr>
        <p:sp>
          <p:nvSpPr>
            <p:cNvPr id="161" name="Freeform 27">
              <a:extLst>
                <a:ext uri="{FF2B5EF4-FFF2-40B4-BE49-F238E27FC236}">
                  <a16:creationId xmlns:a16="http://schemas.microsoft.com/office/drawing/2014/main" id="{C3FE2D22-D115-4D3B-9B06-8F40EA57B43C}"/>
                </a:ext>
              </a:extLst>
            </p:cNvPr>
            <p:cNvSpPr>
              <a:spLocks/>
            </p:cNvSpPr>
            <p:nvPr/>
          </p:nvSpPr>
          <p:spPr bwMode="auto">
            <a:xfrm>
              <a:off x="4323588" y="1234613"/>
              <a:ext cx="495300" cy="498475"/>
            </a:xfrm>
            <a:custGeom>
              <a:avLst/>
              <a:gdLst>
                <a:gd name="T0" fmla="*/ 0 w 2839"/>
                <a:gd name="T1" fmla="*/ 1412 h 2825"/>
                <a:gd name="T2" fmla="*/ 0 w 2839"/>
                <a:gd name="T3" fmla="*/ 1412 h 2825"/>
                <a:gd name="T4" fmla="*/ 1419 w 2839"/>
                <a:gd name="T5" fmla="*/ 0 h 2825"/>
                <a:gd name="T6" fmla="*/ 2839 w 2839"/>
                <a:gd name="T7" fmla="*/ 1412 h 2825"/>
                <a:gd name="T8" fmla="*/ 1419 w 2839"/>
                <a:gd name="T9" fmla="*/ 2825 h 2825"/>
                <a:gd name="T10" fmla="*/ 0 w 2839"/>
                <a:gd name="T11" fmla="*/ 1412 h 2825"/>
                <a:gd name="T12" fmla="*/ 0 w 2839"/>
                <a:gd name="T13" fmla="*/ 1412 h 2825"/>
              </a:gdLst>
              <a:ahLst/>
              <a:cxnLst>
                <a:cxn ang="0">
                  <a:pos x="T0" y="T1"/>
                </a:cxn>
                <a:cxn ang="0">
                  <a:pos x="T2" y="T3"/>
                </a:cxn>
                <a:cxn ang="0">
                  <a:pos x="T4" y="T5"/>
                </a:cxn>
                <a:cxn ang="0">
                  <a:pos x="T6" y="T7"/>
                </a:cxn>
                <a:cxn ang="0">
                  <a:pos x="T8" y="T9"/>
                </a:cxn>
                <a:cxn ang="0">
                  <a:pos x="T10" y="T11"/>
                </a:cxn>
                <a:cxn ang="0">
                  <a:pos x="T12" y="T13"/>
                </a:cxn>
              </a:cxnLst>
              <a:rect l="0" t="0" r="r" b="b"/>
              <a:pathLst>
                <a:path w="2839" h="2825">
                  <a:moveTo>
                    <a:pt x="0" y="1412"/>
                  </a:moveTo>
                  <a:lnTo>
                    <a:pt x="0" y="1412"/>
                  </a:lnTo>
                  <a:cubicBezTo>
                    <a:pt x="0" y="631"/>
                    <a:pt x="635" y="0"/>
                    <a:pt x="1419" y="0"/>
                  </a:cubicBezTo>
                  <a:cubicBezTo>
                    <a:pt x="2204" y="0"/>
                    <a:pt x="2839" y="631"/>
                    <a:pt x="2839" y="1412"/>
                  </a:cubicBezTo>
                  <a:cubicBezTo>
                    <a:pt x="2839" y="2192"/>
                    <a:pt x="2204" y="2825"/>
                    <a:pt x="1419" y="2825"/>
                  </a:cubicBezTo>
                  <a:cubicBezTo>
                    <a:pt x="635" y="2825"/>
                    <a:pt x="0" y="2192"/>
                    <a:pt x="0" y="1412"/>
                  </a:cubicBezTo>
                  <a:lnTo>
                    <a:pt x="0" y="1412"/>
                  </a:lnTo>
                  <a:close/>
                </a:path>
              </a:pathLst>
            </a:custGeom>
            <a:solidFill>
              <a:schemeClr val="bg2"/>
            </a:solidFill>
            <a:ln w="12700" cap="flat" cmpd="sng" algn="ctr">
              <a:solidFill>
                <a:schemeClr val="accent5"/>
              </a:solidFill>
              <a:prstDash val="solid"/>
            </a:ln>
            <a:effectLst/>
          </p:spPr>
          <p:txBody>
            <a:bodyPr rtlCol="0" anchor="t"/>
            <a:lstStyle/>
            <a:p>
              <a:pPr marL="285736" marR="0" lvl="0" indent="-285736" algn="l" defTabSz="45717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grpSp>
          <p:nvGrpSpPr>
            <p:cNvPr id="162" name="Group 161">
              <a:extLst>
                <a:ext uri="{FF2B5EF4-FFF2-40B4-BE49-F238E27FC236}">
                  <a16:creationId xmlns:a16="http://schemas.microsoft.com/office/drawing/2014/main" id="{688B012A-21C5-4A42-B8A6-3C74C4486447}"/>
                </a:ext>
              </a:extLst>
            </p:cNvPr>
            <p:cNvGrpSpPr/>
            <p:nvPr/>
          </p:nvGrpSpPr>
          <p:grpSpPr>
            <a:xfrm>
              <a:off x="4382372" y="1342517"/>
              <a:ext cx="377732" cy="282666"/>
              <a:chOff x="4409845" y="907321"/>
              <a:chExt cx="377732" cy="282666"/>
            </a:xfrm>
          </p:grpSpPr>
          <p:sp>
            <p:nvSpPr>
              <p:cNvPr id="163" name="Freeform 213">
                <a:extLst>
                  <a:ext uri="{FF2B5EF4-FFF2-40B4-BE49-F238E27FC236}">
                    <a16:creationId xmlns:a16="http://schemas.microsoft.com/office/drawing/2014/main" id="{CCC7BB59-D52E-433D-8E27-EEEE73BB730B}"/>
                  </a:ext>
                </a:extLst>
              </p:cNvPr>
              <p:cNvSpPr>
                <a:spLocks/>
              </p:cNvSpPr>
              <p:nvPr/>
            </p:nvSpPr>
            <p:spPr bwMode="auto">
              <a:xfrm>
                <a:off x="4409845" y="949371"/>
                <a:ext cx="116025" cy="211026"/>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5073"/>
              </a:solid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64" name="Line 214">
                <a:extLst>
                  <a:ext uri="{FF2B5EF4-FFF2-40B4-BE49-F238E27FC236}">
                    <a16:creationId xmlns:a16="http://schemas.microsoft.com/office/drawing/2014/main" id="{E8050769-283D-4044-88A9-BA29BFE9D42A}"/>
                  </a:ext>
                </a:extLst>
              </p:cNvPr>
              <p:cNvSpPr>
                <a:spLocks noChangeShapeType="1"/>
              </p:cNvSpPr>
              <p:nvPr/>
            </p:nvSpPr>
            <p:spPr bwMode="auto">
              <a:xfrm>
                <a:off x="4438657" y="983634"/>
                <a:ext cx="57623" cy="0"/>
              </a:xfrm>
              <a:prstGeom prst="line">
                <a:avLst/>
              </a:prstGeom>
              <a:noFill/>
              <a:ln w="1270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65" name="Line 215">
                <a:extLst>
                  <a:ext uri="{FF2B5EF4-FFF2-40B4-BE49-F238E27FC236}">
                    <a16:creationId xmlns:a16="http://schemas.microsoft.com/office/drawing/2014/main" id="{B03DA8FA-DB4B-43D6-9343-E00134C8AF1C}"/>
                  </a:ext>
                </a:extLst>
              </p:cNvPr>
              <p:cNvSpPr>
                <a:spLocks noChangeShapeType="1"/>
              </p:cNvSpPr>
              <p:nvPr/>
            </p:nvSpPr>
            <p:spPr bwMode="auto">
              <a:xfrm>
                <a:off x="4438657" y="1017117"/>
                <a:ext cx="57623" cy="0"/>
              </a:xfrm>
              <a:prstGeom prst="line">
                <a:avLst/>
              </a:prstGeom>
              <a:noFill/>
              <a:ln w="1270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66" name="Line 216">
                <a:extLst>
                  <a:ext uri="{FF2B5EF4-FFF2-40B4-BE49-F238E27FC236}">
                    <a16:creationId xmlns:a16="http://schemas.microsoft.com/office/drawing/2014/main" id="{A0490D5B-2B84-46AD-B029-51DFAE010FA7}"/>
                  </a:ext>
                </a:extLst>
              </p:cNvPr>
              <p:cNvSpPr>
                <a:spLocks noChangeShapeType="1"/>
              </p:cNvSpPr>
              <p:nvPr/>
            </p:nvSpPr>
            <p:spPr bwMode="auto">
              <a:xfrm>
                <a:off x="4438657" y="1052159"/>
                <a:ext cx="57623" cy="0"/>
              </a:xfrm>
              <a:prstGeom prst="line">
                <a:avLst/>
              </a:prstGeom>
              <a:noFill/>
              <a:ln w="1270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67" name="Line 217">
                <a:extLst>
                  <a:ext uri="{FF2B5EF4-FFF2-40B4-BE49-F238E27FC236}">
                    <a16:creationId xmlns:a16="http://schemas.microsoft.com/office/drawing/2014/main" id="{8E006037-1A50-45C5-9AC9-E8BA444D3301}"/>
                  </a:ext>
                </a:extLst>
              </p:cNvPr>
              <p:cNvSpPr>
                <a:spLocks noChangeShapeType="1"/>
              </p:cNvSpPr>
              <p:nvPr/>
            </p:nvSpPr>
            <p:spPr bwMode="auto">
              <a:xfrm>
                <a:off x="4438657" y="1086421"/>
                <a:ext cx="57623" cy="0"/>
              </a:xfrm>
              <a:prstGeom prst="line">
                <a:avLst/>
              </a:prstGeom>
              <a:noFill/>
              <a:ln w="1270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68" name="Line 218">
                <a:extLst>
                  <a:ext uri="{FF2B5EF4-FFF2-40B4-BE49-F238E27FC236}">
                    <a16:creationId xmlns:a16="http://schemas.microsoft.com/office/drawing/2014/main" id="{F033D152-F7D9-4021-A0E0-9D659742C5BE}"/>
                  </a:ext>
                </a:extLst>
              </p:cNvPr>
              <p:cNvSpPr>
                <a:spLocks noChangeShapeType="1"/>
              </p:cNvSpPr>
              <p:nvPr/>
            </p:nvSpPr>
            <p:spPr bwMode="auto">
              <a:xfrm>
                <a:off x="4438657" y="1120684"/>
                <a:ext cx="57623" cy="0"/>
              </a:xfrm>
              <a:prstGeom prst="line">
                <a:avLst/>
              </a:prstGeom>
              <a:noFill/>
              <a:ln w="1270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69" name="Freeform 213">
                <a:extLst>
                  <a:ext uri="{FF2B5EF4-FFF2-40B4-BE49-F238E27FC236}">
                    <a16:creationId xmlns:a16="http://schemas.microsoft.com/office/drawing/2014/main" id="{F67BB224-1841-43DA-ACB9-1F52EDECB93B}"/>
                  </a:ext>
                </a:extLst>
              </p:cNvPr>
              <p:cNvSpPr>
                <a:spLocks/>
              </p:cNvSpPr>
              <p:nvPr/>
            </p:nvSpPr>
            <p:spPr bwMode="auto">
              <a:xfrm>
                <a:off x="4671552" y="949371"/>
                <a:ext cx="116025" cy="211026"/>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5073"/>
              </a:solid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70" name="Line 214">
                <a:extLst>
                  <a:ext uri="{FF2B5EF4-FFF2-40B4-BE49-F238E27FC236}">
                    <a16:creationId xmlns:a16="http://schemas.microsoft.com/office/drawing/2014/main" id="{9DF8CE61-DCDD-448B-9BE5-EE714AE417CC}"/>
                  </a:ext>
                </a:extLst>
              </p:cNvPr>
              <p:cNvSpPr>
                <a:spLocks noChangeShapeType="1"/>
              </p:cNvSpPr>
              <p:nvPr/>
            </p:nvSpPr>
            <p:spPr bwMode="auto">
              <a:xfrm>
                <a:off x="4700364" y="983634"/>
                <a:ext cx="57623" cy="0"/>
              </a:xfrm>
              <a:prstGeom prst="line">
                <a:avLst/>
              </a:prstGeom>
              <a:noFill/>
              <a:ln w="1270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71" name="Line 215">
                <a:extLst>
                  <a:ext uri="{FF2B5EF4-FFF2-40B4-BE49-F238E27FC236}">
                    <a16:creationId xmlns:a16="http://schemas.microsoft.com/office/drawing/2014/main" id="{85747004-5001-4635-883E-C72007B64635}"/>
                  </a:ext>
                </a:extLst>
              </p:cNvPr>
              <p:cNvSpPr>
                <a:spLocks noChangeShapeType="1"/>
              </p:cNvSpPr>
              <p:nvPr/>
            </p:nvSpPr>
            <p:spPr bwMode="auto">
              <a:xfrm>
                <a:off x="4700364" y="1017117"/>
                <a:ext cx="57623" cy="0"/>
              </a:xfrm>
              <a:prstGeom prst="line">
                <a:avLst/>
              </a:prstGeom>
              <a:noFill/>
              <a:ln w="1270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72" name="Line 216">
                <a:extLst>
                  <a:ext uri="{FF2B5EF4-FFF2-40B4-BE49-F238E27FC236}">
                    <a16:creationId xmlns:a16="http://schemas.microsoft.com/office/drawing/2014/main" id="{C31D9CC7-3840-49C9-914E-FC75E66C9C63}"/>
                  </a:ext>
                </a:extLst>
              </p:cNvPr>
              <p:cNvSpPr>
                <a:spLocks noChangeShapeType="1"/>
              </p:cNvSpPr>
              <p:nvPr/>
            </p:nvSpPr>
            <p:spPr bwMode="auto">
              <a:xfrm>
                <a:off x="4700364" y="1052159"/>
                <a:ext cx="57623" cy="0"/>
              </a:xfrm>
              <a:prstGeom prst="line">
                <a:avLst/>
              </a:prstGeom>
              <a:noFill/>
              <a:ln w="1270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73" name="Line 217">
                <a:extLst>
                  <a:ext uri="{FF2B5EF4-FFF2-40B4-BE49-F238E27FC236}">
                    <a16:creationId xmlns:a16="http://schemas.microsoft.com/office/drawing/2014/main" id="{C39588AF-2439-4677-8C65-06390A769A84}"/>
                  </a:ext>
                </a:extLst>
              </p:cNvPr>
              <p:cNvSpPr>
                <a:spLocks noChangeShapeType="1"/>
              </p:cNvSpPr>
              <p:nvPr/>
            </p:nvSpPr>
            <p:spPr bwMode="auto">
              <a:xfrm>
                <a:off x="4700364" y="1086421"/>
                <a:ext cx="57623" cy="0"/>
              </a:xfrm>
              <a:prstGeom prst="line">
                <a:avLst/>
              </a:prstGeom>
              <a:noFill/>
              <a:ln w="1270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74" name="Line 218">
                <a:extLst>
                  <a:ext uri="{FF2B5EF4-FFF2-40B4-BE49-F238E27FC236}">
                    <a16:creationId xmlns:a16="http://schemas.microsoft.com/office/drawing/2014/main" id="{6B876A4A-0176-4987-BF7F-8CBD8D77446F}"/>
                  </a:ext>
                </a:extLst>
              </p:cNvPr>
              <p:cNvSpPr>
                <a:spLocks noChangeShapeType="1"/>
              </p:cNvSpPr>
              <p:nvPr/>
            </p:nvSpPr>
            <p:spPr bwMode="auto">
              <a:xfrm>
                <a:off x="4700364" y="1120684"/>
                <a:ext cx="57623" cy="0"/>
              </a:xfrm>
              <a:prstGeom prst="line">
                <a:avLst/>
              </a:prstGeom>
              <a:noFill/>
              <a:ln w="1270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75" name="Freeform 201">
                <a:extLst>
                  <a:ext uri="{FF2B5EF4-FFF2-40B4-BE49-F238E27FC236}">
                    <a16:creationId xmlns:a16="http://schemas.microsoft.com/office/drawing/2014/main" id="{8820D375-61D3-40F5-B797-AFD66EB956BA}"/>
                  </a:ext>
                </a:extLst>
              </p:cNvPr>
              <p:cNvSpPr>
                <a:spLocks/>
              </p:cNvSpPr>
              <p:nvPr/>
            </p:nvSpPr>
            <p:spPr bwMode="auto">
              <a:xfrm>
                <a:off x="4540309" y="907321"/>
                <a:ext cx="116804" cy="282666"/>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76" name="Line 202">
                <a:extLst>
                  <a:ext uri="{FF2B5EF4-FFF2-40B4-BE49-F238E27FC236}">
                    <a16:creationId xmlns:a16="http://schemas.microsoft.com/office/drawing/2014/main" id="{9701E314-97FA-433F-85CE-C8813A97873C}"/>
                  </a:ext>
                </a:extLst>
              </p:cNvPr>
              <p:cNvSpPr>
                <a:spLocks noChangeShapeType="1"/>
              </p:cNvSpPr>
              <p:nvPr/>
            </p:nvSpPr>
            <p:spPr bwMode="auto">
              <a:xfrm>
                <a:off x="4569120" y="941584"/>
                <a:ext cx="59181" cy="0"/>
              </a:xfrm>
              <a:prstGeom prst="line">
                <a:avLst/>
              </a:prstGeom>
              <a:noFill/>
              <a:ln w="12700"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77" name="Line 203">
                <a:extLst>
                  <a:ext uri="{FF2B5EF4-FFF2-40B4-BE49-F238E27FC236}">
                    <a16:creationId xmlns:a16="http://schemas.microsoft.com/office/drawing/2014/main" id="{8A63D32E-CF60-447A-BCC6-E57D53E5BBE3}"/>
                  </a:ext>
                </a:extLst>
              </p:cNvPr>
              <p:cNvSpPr>
                <a:spLocks noChangeShapeType="1"/>
              </p:cNvSpPr>
              <p:nvPr/>
            </p:nvSpPr>
            <p:spPr bwMode="auto">
              <a:xfrm>
                <a:off x="4569120" y="976625"/>
                <a:ext cx="59181" cy="0"/>
              </a:xfrm>
              <a:prstGeom prst="line">
                <a:avLst/>
              </a:prstGeom>
              <a:noFill/>
              <a:ln w="12700"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78" name="Line 204">
                <a:extLst>
                  <a:ext uri="{FF2B5EF4-FFF2-40B4-BE49-F238E27FC236}">
                    <a16:creationId xmlns:a16="http://schemas.microsoft.com/office/drawing/2014/main" id="{DED9CC9B-C01C-4694-9AE7-1FEE2A8F02AB}"/>
                  </a:ext>
                </a:extLst>
              </p:cNvPr>
              <p:cNvSpPr>
                <a:spLocks noChangeShapeType="1"/>
              </p:cNvSpPr>
              <p:nvPr/>
            </p:nvSpPr>
            <p:spPr bwMode="auto">
              <a:xfrm>
                <a:off x="4569120" y="1010887"/>
                <a:ext cx="59181" cy="0"/>
              </a:xfrm>
              <a:prstGeom prst="line">
                <a:avLst/>
              </a:prstGeom>
              <a:noFill/>
              <a:ln w="12700"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79" name="Line 205">
                <a:extLst>
                  <a:ext uri="{FF2B5EF4-FFF2-40B4-BE49-F238E27FC236}">
                    <a16:creationId xmlns:a16="http://schemas.microsoft.com/office/drawing/2014/main" id="{0CE4E85E-7060-4024-AA2A-F90011510E49}"/>
                  </a:ext>
                </a:extLst>
              </p:cNvPr>
              <p:cNvSpPr>
                <a:spLocks noChangeShapeType="1"/>
              </p:cNvSpPr>
              <p:nvPr/>
            </p:nvSpPr>
            <p:spPr bwMode="auto">
              <a:xfrm>
                <a:off x="4569120" y="1045150"/>
                <a:ext cx="59181" cy="0"/>
              </a:xfrm>
              <a:prstGeom prst="line">
                <a:avLst/>
              </a:prstGeom>
              <a:noFill/>
              <a:ln w="12700"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80" name="Line 206">
                <a:extLst>
                  <a:ext uri="{FF2B5EF4-FFF2-40B4-BE49-F238E27FC236}">
                    <a16:creationId xmlns:a16="http://schemas.microsoft.com/office/drawing/2014/main" id="{0D377269-0085-4375-9881-6D5F18B1466B}"/>
                  </a:ext>
                </a:extLst>
              </p:cNvPr>
              <p:cNvSpPr>
                <a:spLocks noChangeShapeType="1"/>
              </p:cNvSpPr>
              <p:nvPr/>
            </p:nvSpPr>
            <p:spPr bwMode="auto">
              <a:xfrm>
                <a:off x="4569120" y="1080191"/>
                <a:ext cx="59181" cy="0"/>
              </a:xfrm>
              <a:prstGeom prst="line">
                <a:avLst/>
              </a:prstGeom>
              <a:noFill/>
              <a:ln w="12700"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grpSp>
      </p:grpSp>
      <p:grpSp>
        <p:nvGrpSpPr>
          <p:cNvPr id="183" name="Group 182">
            <a:extLst>
              <a:ext uri="{FF2B5EF4-FFF2-40B4-BE49-F238E27FC236}">
                <a16:creationId xmlns:a16="http://schemas.microsoft.com/office/drawing/2014/main" id="{6CFC5963-1B81-4FC9-A0A2-31AE9ADF38B3}"/>
              </a:ext>
            </a:extLst>
          </p:cNvPr>
          <p:cNvGrpSpPr/>
          <p:nvPr/>
        </p:nvGrpSpPr>
        <p:grpSpPr>
          <a:xfrm>
            <a:off x="5360476" y="3960245"/>
            <a:ext cx="406597" cy="406595"/>
            <a:chOff x="7918078" y="4811908"/>
            <a:chExt cx="664635" cy="664633"/>
          </a:xfrm>
        </p:grpSpPr>
        <p:sp>
          <p:nvSpPr>
            <p:cNvPr id="184" name="Freeform 27">
              <a:extLst>
                <a:ext uri="{FF2B5EF4-FFF2-40B4-BE49-F238E27FC236}">
                  <a16:creationId xmlns:a16="http://schemas.microsoft.com/office/drawing/2014/main" id="{0198DC9B-DED3-4095-951E-F7CFD8B92D28}"/>
                </a:ext>
              </a:extLst>
            </p:cNvPr>
            <p:cNvSpPr>
              <a:spLocks/>
            </p:cNvSpPr>
            <p:nvPr/>
          </p:nvSpPr>
          <p:spPr bwMode="auto">
            <a:xfrm>
              <a:off x="7918078" y="4811908"/>
              <a:ext cx="664635" cy="664633"/>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bg2"/>
            </a:solidFill>
            <a:ln w="12700">
              <a:solidFill>
                <a:schemeClr val="accent5"/>
              </a:solid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grpSp>
          <p:nvGrpSpPr>
            <p:cNvPr id="185" name="Group 184">
              <a:extLst>
                <a:ext uri="{FF2B5EF4-FFF2-40B4-BE49-F238E27FC236}">
                  <a16:creationId xmlns:a16="http://schemas.microsoft.com/office/drawing/2014/main" id="{FAFC57DF-B5D8-41CA-BBF9-37D7704133E5}"/>
                </a:ext>
              </a:extLst>
            </p:cNvPr>
            <p:cNvGrpSpPr/>
            <p:nvPr/>
          </p:nvGrpSpPr>
          <p:grpSpPr>
            <a:xfrm>
              <a:off x="7988183" y="4972715"/>
              <a:ext cx="524368" cy="343016"/>
              <a:chOff x="2916019" y="4368931"/>
              <a:chExt cx="393276" cy="257262"/>
            </a:xfrm>
          </p:grpSpPr>
          <p:grpSp>
            <p:nvGrpSpPr>
              <p:cNvPr id="186" name="Group 185">
                <a:extLst>
                  <a:ext uri="{FF2B5EF4-FFF2-40B4-BE49-F238E27FC236}">
                    <a16:creationId xmlns:a16="http://schemas.microsoft.com/office/drawing/2014/main" id="{9C43910F-6D3D-4CDB-B60A-00159856E892}"/>
                  </a:ext>
                </a:extLst>
              </p:cNvPr>
              <p:cNvGrpSpPr/>
              <p:nvPr/>
            </p:nvGrpSpPr>
            <p:grpSpPr>
              <a:xfrm>
                <a:off x="3105507" y="4368931"/>
                <a:ext cx="203788" cy="257262"/>
                <a:chOff x="3031986" y="4288013"/>
                <a:chExt cx="320676" cy="404813"/>
              </a:xfrm>
            </p:grpSpPr>
            <p:sp>
              <p:nvSpPr>
                <p:cNvPr id="201" name="Freeform 28">
                  <a:extLst>
                    <a:ext uri="{FF2B5EF4-FFF2-40B4-BE49-F238E27FC236}">
                      <a16:creationId xmlns:a16="http://schemas.microsoft.com/office/drawing/2014/main" id="{B40F39DB-56DC-41C3-BB1E-06E92292123F}"/>
                    </a:ext>
                  </a:extLst>
                </p:cNvPr>
                <p:cNvSpPr>
                  <a:spLocks/>
                </p:cNvSpPr>
                <p:nvPr/>
              </p:nvSpPr>
              <p:spPr bwMode="auto">
                <a:xfrm>
                  <a:off x="3305036" y="4375325"/>
                  <a:ext cx="46038" cy="120650"/>
                </a:xfrm>
                <a:custGeom>
                  <a:avLst/>
                  <a:gdLst>
                    <a:gd name="T0" fmla="*/ 5 w 268"/>
                    <a:gd name="T1" fmla="*/ 144 h 693"/>
                    <a:gd name="T2" fmla="*/ 5 w 268"/>
                    <a:gd name="T3" fmla="*/ 144 h 693"/>
                    <a:gd name="T4" fmla="*/ 268 w 268"/>
                    <a:gd name="T5" fmla="*/ 0 h 693"/>
                    <a:gd name="T6" fmla="*/ 268 w 268"/>
                    <a:gd name="T7" fmla="*/ 32 h 693"/>
                    <a:gd name="T8" fmla="*/ 176 w 268"/>
                    <a:gd name="T9" fmla="*/ 188 h 693"/>
                    <a:gd name="T10" fmla="*/ 256 w 268"/>
                    <a:gd name="T11" fmla="*/ 211 h 693"/>
                    <a:gd name="T12" fmla="*/ 199 w 268"/>
                    <a:gd name="T13" fmla="*/ 295 h 693"/>
                    <a:gd name="T14" fmla="*/ 179 w 268"/>
                    <a:gd name="T15" fmla="*/ 373 h 693"/>
                    <a:gd name="T16" fmla="*/ 259 w 268"/>
                    <a:gd name="T17" fmla="*/ 373 h 693"/>
                    <a:gd name="T18" fmla="*/ 205 w 268"/>
                    <a:gd name="T19" fmla="*/ 468 h 693"/>
                    <a:gd name="T20" fmla="*/ 205 w 268"/>
                    <a:gd name="T21" fmla="*/ 523 h 693"/>
                    <a:gd name="T22" fmla="*/ 259 w 268"/>
                    <a:gd name="T23" fmla="*/ 523 h 693"/>
                    <a:gd name="T24" fmla="*/ 140 w 268"/>
                    <a:gd name="T25" fmla="*/ 693 h 693"/>
                    <a:gd name="T26" fmla="*/ 29 w 268"/>
                    <a:gd name="T27" fmla="*/ 529 h 693"/>
                    <a:gd name="T28" fmla="*/ 2 w 268"/>
                    <a:gd name="T29" fmla="*/ 442 h 693"/>
                    <a:gd name="T30" fmla="*/ 5 w 268"/>
                    <a:gd name="T31" fmla="*/ 144 h 693"/>
                    <a:gd name="T32" fmla="*/ 5 w 268"/>
                    <a:gd name="T33" fmla="*/ 14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8" h="693">
                      <a:moveTo>
                        <a:pt x="5" y="144"/>
                      </a:moveTo>
                      <a:lnTo>
                        <a:pt x="5" y="144"/>
                      </a:lnTo>
                      <a:lnTo>
                        <a:pt x="268" y="0"/>
                      </a:lnTo>
                      <a:lnTo>
                        <a:pt x="268" y="32"/>
                      </a:lnTo>
                      <a:lnTo>
                        <a:pt x="176" y="188"/>
                      </a:lnTo>
                      <a:lnTo>
                        <a:pt x="256" y="211"/>
                      </a:lnTo>
                      <a:lnTo>
                        <a:pt x="199" y="295"/>
                      </a:lnTo>
                      <a:lnTo>
                        <a:pt x="179" y="373"/>
                      </a:lnTo>
                      <a:lnTo>
                        <a:pt x="259" y="373"/>
                      </a:lnTo>
                      <a:lnTo>
                        <a:pt x="205" y="468"/>
                      </a:lnTo>
                      <a:lnTo>
                        <a:pt x="205" y="523"/>
                      </a:lnTo>
                      <a:lnTo>
                        <a:pt x="259" y="523"/>
                      </a:lnTo>
                      <a:lnTo>
                        <a:pt x="140" y="693"/>
                      </a:lnTo>
                      <a:lnTo>
                        <a:pt x="29" y="529"/>
                      </a:lnTo>
                      <a:lnTo>
                        <a:pt x="2" y="442"/>
                      </a:lnTo>
                      <a:cubicBezTo>
                        <a:pt x="1" y="344"/>
                        <a:pt x="0" y="245"/>
                        <a:pt x="5" y="144"/>
                      </a:cubicBezTo>
                      <a:lnTo>
                        <a:pt x="5" y="144"/>
                      </a:lnTo>
                      <a:close/>
                    </a:path>
                  </a:pathLst>
                </a:custGeom>
                <a:solidFill>
                  <a:srgbClr val="CB850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02" name="Freeform 29">
                  <a:extLst>
                    <a:ext uri="{FF2B5EF4-FFF2-40B4-BE49-F238E27FC236}">
                      <a16:creationId xmlns:a16="http://schemas.microsoft.com/office/drawing/2014/main" id="{80E09813-A065-496E-8206-0BC4D8E568F2}"/>
                    </a:ext>
                  </a:extLst>
                </p:cNvPr>
                <p:cNvSpPr>
                  <a:spLocks/>
                </p:cNvSpPr>
                <p:nvPr/>
              </p:nvSpPr>
              <p:spPr bwMode="auto">
                <a:xfrm>
                  <a:off x="3212961" y="4467400"/>
                  <a:ext cx="112713" cy="87313"/>
                </a:xfrm>
                <a:custGeom>
                  <a:avLst/>
                  <a:gdLst>
                    <a:gd name="T0" fmla="*/ 613 w 657"/>
                    <a:gd name="T1" fmla="*/ 68 h 499"/>
                    <a:gd name="T2" fmla="*/ 613 w 657"/>
                    <a:gd name="T3" fmla="*/ 68 h 499"/>
                    <a:gd name="T4" fmla="*/ 407 w 657"/>
                    <a:gd name="T5" fmla="*/ 373 h 499"/>
                    <a:gd name="T6" fmla="*/ 44 w 657"/>
                    <a:gd name="T7" fmla="*/ 431 h 499"/>
                    <a:gd name="T8" fmla="*/ 250 w 657"/>
                    <a:gd name="T9" fmla="*/ 126 h 499"/>
                    <a:gd name="T10" fmla="*/ 613 w 657"/>
                    <a:gd name="T11" fmla="*/ 68 h 499"/>
                    <a:gd name="T12" fmla="*/ 613 w 657"/>
                    <a:gd name="T13" fmla="*/ 68 h 499"/>
                  </a:gdLst>
                  <a:ahLst/>
                  <a:cxnLst>
                    <a:cxn ang="0">
                      <a:pos x="T0" y="T1"/>
                    </a:cxn>
                    <a:cxn ang="0">
                      <a:pos x="T2" y="T3"/>
                    </a:cxn>
                    <a:cxn ang="0">
                      <a:pos x="T4" y="T5"/>
                    </a:cxn>
                    <a:cxn ang="0">
                      <a:pos x="T6" y="T7"/>
                    </a:cxn>
                    <a:cxn ang="0">
                      <a:pos x="T8" y="T9"/>
                    </a:cxn>
                    <a:cxn ang="0">
                      <a:pos x="T10" y="T11"/>
                    </a:cxn>
                    <a:cxn ang="0">
                      <a:pos x="T12" y="T13"/>
                    </a:cxn>
                  </a:cxnLst>
                  <a:rect l="0" t="0" r="r" b="b"/>
                  <a:pathLst>
                    <a:path w="657" h="499">
                      <a:moveTo>
                        <a:pt x="613" y="68"/>
                      </a:moveTo>
                      <a:lnTo>
                        <a:pt x="613" y="68"/>
                      </a:lnTo>
                      <a:cubicBezTo>
                        <a:pt x="657" y="136"/>
                        <a:pt x="564" y="272"/>
                        <a:pt x="407" y="373"/>
                      </a:cubicBezTo>
                      <a:cubicBezTo>
                        <a:pt x="250" y="473"/>
                        <a:pt x="87" y="499"/>
                        <a:pt x="44" y="431"/>
                      </a:cubicBezTo>
                      <a:cubicBezTo>
                        <a:pt x="0" y="363"/>
                        <a:pt x="93" y="227"/>
                        <a:pt x="250" y="126"/>
                      </a:cubicBezTo>
                      <a:cubicBezTo>
                        <a:pt x="407" y="26"/>
                        <a:pt x="570" y="0"/>
                        <a:pt x="613" y="68"/>
                      </a:cubicBezTo>
                      <a:lnTo>
                        <a:pt x="613" y="68"/>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03" name="Freeform 30">
                  <a:extLst>
                    <a:ext uri="{FF2B5EF4-FFF2-40B4-BE49-F238E27FC236}">
                      <a16:creationId xmlns:a16="http://schemas.microsoft.com/office/drawing/2014/main" id="{5007A58B-59B7-48F2-8046-FA7B10FBA4B7}"/>
                    </a:ext>
                  </a:extLst>
                </p:cNvPr>
                <p:cNvSpPr>
                  <a:spLocks/>
                </p:cNvSpPr>
                <p:nvPr/>
              </p:nvSpPr>
              <p:spPr bwMode="auto">
                <a:xfrm>
                  <a:off x="3206611" y="4288013"/>
                  <a:ext cx="128588" cy="230188"/>
                </a:xfrm>
                <a:custGeom>
                  <a:avLst/>
                  <a:gdLst>
                    <a:gd name="T0" fmla="*/ 652 w 747"/>
                    <a:gd name="T1" fmla="*/ 0 h 1334"/>
                    <a:gd name="T2" fmla="*/ 652 w 747"/>
                    <a:gd name="T3" fmla="*/ 0 h 1334"/>
                    <a:gd name="T4" fmla="*/ 95 w 747"/>
                    <a:gd name="T5" fmla="*/ 0 h 1334"/>
                    <a:gd name="T6" fmla="*/ 0 w 747"/>
                    <a:gd name="T7" fmla="*/ 95 h 1334"/>
                    <a:gd name="T8" fmla="*/ 0 w 747"/>
                    <a:gd name="T9" fmla="*/ 1238 h 1334"/>
                    <a:gd name="T10" fmla="*/ 95 w 747"/>
                    <a:gd name="T11" fmla="*/ 1334 h 1334"/>
                    <a:gd name="T12" fmla="*/ 652 w 747"/>
                    <a:gd name="T13" fmla="*/ 1334 h 1334"/>
                    <a:gd name="T14" fmla="*/ 747 w 747"/>
                    <a:gd name="T15" fmla="*/ 1238 h 1334"/>
                    <a:gd name="T16" fmla="*/ 747 w 747"/>
                    <a:gd name="T17" fmla="*/ 95 h 1334"/>
                    <a:gd name="T18" fmla="*/ 652 w 747"/>
                    <a:gd name="T19" fmla="*/ 0 h 1334"/>
                    <a:gd name="T20" fmla="*/ 652 w 747"/>
                    <a:gd name="T21" fmla="*/ 0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7" h="1334">
                      <a:moveTo>
                        <a:pt x="652" y="0"/>
                      </a:moveTo>
                      <a:lnTo>
                        <a:pt x="652" y="0"/>
                      </a:lnTo>
                      <a:cubicBezTo>
                        <a:pt x="95" y="0"/>
                        <a:pt x="95" y="0"/>
                        <a:pt x="95" y="0"/>
                      </a:cubicBezTo>
                      <a:cubicBezTo>
                        <a:pt x="42" y="0"/>
                        <a:pt x="0" y="42"/>
                        <a:pt x="0" y="95"/>
                      </a:cubicBezTo>
                      <a:cubicBezTo>
                        <a:pt x="0" y="1238"/>
                        <a:pt x="0" y="1238"/>
                        <a:pt x="0" y="1238"/>
                      </a:cubicBezTo>
                      <a:cubicBezTo>
                        <a:pt x="0" y="1291"/>
                        <a:pt x="42" y="1334"/>
                        <a:pt x="95" y="1334"/>
                      </a:cubicBezTo>
                      <a:cubicBezTo>
                        <a:pt x="652" y="1334"/>
                        <a:pt x="652" y="1334"/>
                        <a:pt x="652" y="1334"/>
                      </a:cubicBezTo>
                      <a:cubicBezTo>
                        <a:pt x="705" y="1334"/>
                        <a:pt x="747" y="1291"/>
                        <a:pt x="747" y="1238"/>
                      </a:cubicBezTo>
                      <a:cubicBezTo>
                        <a:pt x="747" y="95"/>
                        <a:pt x="747" y="95"/>
                        <a:pt x="747" y="95"/>
                      </a:cubicBezTo>
                      <a:cubicBezTo>
                        <a:pt x="747" y="42"/>
                        <a:pt x="705" y="0"/>
                        <a:pt x="652" y="0"/>
                      </a:cubicBezTo>
                      <a:lnTo>
                        <a:pt x="652" y="0"/>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04" name="Freeform 31">
                  <a:extLst>
                    <a:ext uri="{FF2B5EF4-FFF2-40B4-BE49-F238E27FC236}">
                      <a16:creationId xmlns:a16="http://schemas.microsoft.com/office/drawing/2014/main" id="{5CC0AADC-C4D0-4D45-9D89-10577455AF0D}"/>
                    </a:ext>
                  </a:extLst>
                </p:cNvPr>
                <p:cNvSpPr>
                  <a:spLocks/>
                </p:cNvSpPr>
                <p:nvPr/>
              </p:nvSpPr>
              <p:spPr bwMode="auto">
                <a:xfrm>
                  <a:off x="3263761" y="4492800"/>
                  <a:ext cx="15875" cy="15875"/>
                </a:xfrm>
                <a:custGeom>
                  <a:avLst/>
                  <a:gdLst>
                    <a:gd name="T0" fmla="*/ 0 w 94"/>
                    <a:gd name="T1" fmla="*/ 47 h 93"/>
                    <a:gd name="T2" fmla="*/ 0 w 94"/>
                    <a:gd name="T3" fmla="*/ 47 h 93"/>
                    <a:gd name="T4" fmla="*/ 47 w 94"/>
                    <a:gd name="T5" fmla="*/ 0 h 93"/>
                    <a:gd name="T6" fmla="*/ 94 w 94"/>
                    <a:gd name="T7" fmla="*/ 47 h 93"/>
                    <a:gd name="T8" fmla="*/ 47 w 94"/>
                    <a:gd name="T9" fmla="*/ 93 h 93"/>
                    <a:gd name="T10" fmla="*/ 0 w 94"/>
                    <a:gd name="T11" fmla="*/ 47 h 93"/>
                    <a:gd name="T12" fmla="*/ 0 w 94"/>
                    <a:gd name="T13" fmla="*/ 47 h 93"/>
                  </a:gdLst>
                  <a:ahLst/>
                  <a:cxnLst>
                    <a:cxn ang="0">
                      <a:pos x="T0" y="T1"/>
                    </a:cxn>
                    <a:cxn ang="0">
                      <a:pos x="T2" y="T3"/>
                    </a:cxn>
                    <a:cxn ang="0">
                      <a:pos x="T4" y="T5"/>
                    </a:cxn>
                    <a:cxn ang="0">
                      <a:pos x="T6" y="T7"/>
                    </a:cxn>
                    <a:cxn ang="0">
                      <a:pos x="T8" y="T9"/>
                    </a:cxn>
                    <a:cxn ang="0">
                      <a:pos x="T10" y="T11"/>
                    </a:cxn>
                    <a:cxn ang="0">
                      <a:pos x="T12" y="T13"/>
                    </a:cxn>
                  </a:cxnLst>
                  <a:rect l="0" t="0" r="r" b="b"/>
                  <a:pathLst>
                    <a:path w="94" h="93">
                      <a:moveTo>
                        <a:pt x="0" y="47"/>
                      </a:moveTo>
                      <a:lnTo>
                        <a:pt x="0" y="47"/>
                      </a:lnTo>
                      <a:cubicBezTo>
                        <a:pt x="0" y="21"/>
                        <a:pt x="21" y="0"/>
                        <a:pt x="47" y="0"/>
                      </a:cubicBezTo>
                      <a:cubicBezTo>
                        <a:pt x="73" y="0"/>
                        <a:pt x="94" y="21"/>
                        <a:pt x="94" y="47"/>
                      </a:cubicBezTo>
                      <a:cubicBezTo>
                        <a:pt x="94" y="72"/>
                        <a:pt x="73" y="93"/>
                        <a:pt x="47" y="93"/>
                      </a:cubicBezTo>
                      <a:cubicBezTo>
                        <a:pt x="21" y="93"/>
                        <a:pt x="0" y="72"/>
                        <a:pt x="0" y="47"/>
                      </a:cubicBezTo>
                      <a:lnTo>
                        <a:pt x="0" y="47"/>
                      </a:lnTo>
                      <a:close/>
                    </a:path>
                  </a:pathLst>
                </a:custGeom>
                <a:solidFill>
                  <a:srgbClr val="00507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05" name="Freeform 32">
                  <a:extLst>
                    <a:ext uri="{FF2B5EF4-FFF2-40B4-BE49-F238E27FC236}">
                      <a16:creationId xmlns:a16="http://schemas.microsoft.com/office/drawing/2014/main" id="{40EAC22F-58EE-4985-A9E7-B24DCEC2E4EF}"/>
                    </a:ext>
                  </a:extLst>
                </p:cNvPr>
                <p:cNvSpPr>
                  <a:spLocks/>
                </p:cNvSpPr>
                <p:nvPr/>
              </p:nvSpPr>
              <p:spPr bwMode="auto">
                <a:xfrm>
                  <a:off x="3219311" y="4319763"/>
                  <a:ext cx="104775" cy="158750"/>
                </a:xfrm>
                <a:custGeom>
                  <a:avLst/>
                  <a:gdLst>
                    <a:gd name="T0" fmla="*/ 0 w 600"/>
                    <a:gd name="T1" fmla="*/ 920 h 920"/>
                    <a:gd name="T2" fmla="*/ 0 w 600"/>
                    <a:gd name="T3" fmla="*/ 920 h 920"/>
                    <a:gd name="T4" fmla="*/ 600 w 600"/>
                    <a:gd name="T5" fmla="*/ 920 h 920"/>
                    <a:gd name="T6" fmla="*/ 600 w 600"/>
                    <a:gd name="T7" fmla="*/ 0 h 920"/>
                    <a:gd name="T8" fmla="*/ 0 w 600"/>
                    <a:gd name="T9" fmla="*/ 0 h 920"/>
                    <a:gd name="T10" fmla="*/ 0 w 600"/>
                    <a:gd name="T11" fmla="*/ 920 h 920"/>
                  </a:gdLst>
                  <a:ahLst/>
                  <a:cxnLst>
                    <a:cxn ang="0">
                      <a:pos x="T0" y="T1"/>
                    </a:cxn>
                    <a:cxn ang="0">
                      <a:pos x="T2" y="T3"/>
                    </a:cxn>
                    <a:cxn ang="0">
                      <a:pos x="T4" y="T5"/>
                    </a:cxn>
                    <a:cxn ang="0">
                      <a:pos x="T6" y="T7"/>
                    </a:cxn>
                    <a:cxn ang="0">
                      <a:pos x="T8" y="T9"/>
                    </a:cxn>
                    <a:cxn ang="0">
                      <a:pos x="T10" y="T11"/>
                    </a:cxn>
                  </a:cxnLst>
                  <a:rect l="0" t="0" r="r" b="b"/>
                  <a:pathLst>
                    <a:path w="600" h="920">
                      <a:moveTo>
                        <a:pt x="0" y="920"/>
                      </a:moveTo>
                      <a:lnTo>
                        <a:pt x="0" y="920"/>
                      </a:lnTo>
                      <a:lnTo>
                        <a:pt x="600" y="920"/>
                      </a:lnTo>
                      <a:lnTo>
                        <a:pt x="600" y="0"/>
                      </a:lnTo>
                      <a:lnTo>
                        <a:pt x="0" y="0"/>
                      </a:lnTo>
                      <a:lnTo>
                        <a:pt x="0" y="920"/>
                      </a:lnTo>
                      <a:close/>
                    </a:path>
                  </a:pathLst>
                </a:custGeom>
                <a:solidFill>
                  <a:srgbClr val="00507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06" name="Freeform 33">
                  <a:extLst>
                    <a:ext uri="{FF2B5EF4-FFF2-40B4-BE49-F238E27FC236}">
                      <a16:creationId xmlns:a16="http://schemas.microsoft.com/office/drawing/2014/main" id="{E302185C-1D51-413E-BDE3-09B5B2F56629}"/>
                    </a:ext>
                  </a:extLst>
                </p:cNvPr>
                <p:cNvSpPr>
                  <a:spLocks/>
                </p:cNvSpPr>
                <p:nvPr/>
              </p:nvSpPr>
              <p:spPr bwMode="auto">
                <a:xfrm>
                  <a:off x="3206611" y="4394375"/>
                  <a:ext cx="53975" cy="46038"/>
                </a:xfrm>
                <a:custGeom>
                  <a:avLst/>
                  <a:gdLst>
                    <a:gd name="T0" fmla="*/ 288 w 315"/>
                    <a:gd name="T1" fmla="*/ 228 h 264"/>
                    <a:gd name="T2" fmla="*/ 288 w 315"/>
                    <a:gd name="T3" fmla="*/ 228 h 264"/>
                    <a:gd name="T4" fmla="*/ 109 w 315"/>
                    <a:gd name="T5" fmla="*/ 199 h 264"/>
                    <a:gd name="T6" fmla="*/ 27 w 315"/>
                    <a:gd name="T7" fmla="*/ 37 h 264"/>
                    <a:gd name="T8" fmla="*/ 206 w 315"/>
                    <a:gd name="T9" fmla="*/ 66 h 264"/>
                    <a:gd name="T10" fmla="*/ 288 w 315"/>
                    <a:gd name="T11" fmla="*/ 228 h 264"/>
                    <a:gd name="T12" fmla="*/ 288 w 315"/>
                    <a:gd name="T13" fmla="*/ 228 h 264"/>
                  </a:gdLst>
                  <a:ahLst/>
                  <a:cxnLst>
                    <a:cxn ang="0">
                      <a:pos x="T0" y="T1"/>
                    </a:cxn>
                    <a:cxn ang="0">
                      <a:pos x="T2" y="T3"/>
                    </a:cxn>
                    <a:cxn ang="0">
                      <a:pos x="T4" y="T5"/>
                    </a:cxn>
                    <a:cxn ang="0">
                      <a:pos x="T6" y="T7"/>
                    </a:cxn>
                    <a:cxn ang="0">
                      <a:pos x="T8" y="T9"/>
                    </a:cxn>
                    <a:cxn ang="0">
                      <a:pos x="T10" y="T11"/>
                    </a:cxn>
                    <a:cxn ang="0">
                      <a:pos x="T12" y="T13"/>
                    </a:cxn>
                  </a:cxnLst>
                  <a:rect l="0" t="0" r="r" b="b"/>
                  <a:pathLst>
                    <a:path w="315" h="264">
                      <a:moveTo>
                        <a:pt x="288" y="228"/>
                      </a:moveTo>
                      <a:lnTo>
                        <a:pt x="288" y="228"/>
                      </a:lnTo>
                      <a:cubicBezTo>
                        <a:pt x="261" y="264"/>
                        <a:pt x="181" y="251"/>
                        <a:pt x="109" y="199"/>
                      </a:cubicBezTo>
                      <a:cubicBezTo>
                        <a:pt x="37" y="146"/>
                        <a:pt x="0" y="74"/>
                        <a:pt x="27" y="37"/>
                      </a:cubicBezTo>
                      <a:cubicBezTo>
                        <a:pt x="53" y="0"/>
                        <a:pt x="134" y="13"/>
                        <a:pt x="206" y="66"/>
                      </a:cubicBezTo>
                      <a:cubicBezTo>
                        <a:pt x="278" y="118"/>
                        <a:pt x="315" y="191"/>
                        <a:pt x="288" y="228"/>
                      </a:cubicBezTo>
                      <a:lnTo>
                        <a:pt x="288" y="228"/>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07" name="Freeform 34">
                  <a:extLst>
                    <a:ext uri="{FF2B5EF4-FFF2-40B4-BE49-F238E27FC236}">
                      <a16:creationId xmlns:a16="http://schemas.microsoft.com/office/drawing/2014/main" id="{2513A586-5C30-43BF-A03F-4ABDB5820AF5}"/>
                    </a:ext>
                  </a:extLst>
                </p:cNvPr>
                <p:cNvSpPr>
                  <a:spLocks/>
                </p:cNvSpPr>
                <p:nvPr/>
              </p:nvSpPr>
              <p:spPr bwMode="auto">
                <a:xfrm>
                  <a:off x="3165336" y="4392788"/>
                  <a:ext cx="68263" cy="77788"/>
                </a:xfrm>
                <a:custGeom>
                  <a:avLst/>
                  <a:gdLst>
                    <a:gd name="T0" fmla="*/ 353 w 397"/>
                    <a:gd name="T1" fmla="*/ 37 h 448"/>
                    <a:gd name="T2" fmla="*/ 353 w 397"/>
                    <a:gd name="T3" fmla="*/ 37 h 448"/>
                    <a:gd name="T4" fmla="*/ 279 w 397"/>
                    <a:gd name="T5" fmla="*/ 291 h 448"/>
                    <a:gd name="T6" fmla="*/ 45 w 397"/>
                    <a:gd name="T7" fmla="*/ 411 h 448"/>
                    <a:gd name="T8" fmla="*/ 118 w 397"/>
                    <a:gd name="T9" fmla="*/ 158 h 448"/>
                    <a:gd name="T10" fmla="*/ 353 w 397"/>
                    <a:gd name="T11" fmla="*/ 37 h 448"/>
                    <a:gd name="T12" fmla="*/ 353 w 397"/>
                    <a:gd name="T13" fmla="*/ 37 h 448"/>
                  </a:gdLst>
                  <a:ahLst/>
                  <a:cxnLst>
                    <a:cxn ang="0">
                      <a:pos x="T0" y="T1"/>
                    </a:cxn>
                    <a:cxn ang="0">
                      <a:pos x="T2" y="T3"/>
                    </a:cxn>
                    <a:cxn ang="0">
                      <a:pos x="T4" y="T5"/>
                    </a:cxn>
                    <a:cxn ang="0">
                      <a:pos x="T6" y="T7"/>
                    </a:cxn>
                    <a:cxn ang="0">
                      <a:pos x="T8" y="T9"/>
                    </a:cxn>
                    <a:cxn ang="0">
                      <a:pos x="T10" y="T11"/>
                    </a:cxn>
                    <a:cxn ang="0">
                      <a:pos x="T12" y="T13"/>
                    </a:cxn>
                  </a:cxnLst>
                  <a:rect l="0" t="0" r="r" b="b"/>
                  <a:pathLst>
                    <a:path w="397" h="448">
                      <a:moveTo>
                        <a:pt x="353" y="37"/>
                      </a:moveTo>
                      <a:lnTo>
                        <a:pt x="353" y="37"/>
                      </a:lnTo>
                      <a:cubicBezTo>
                        <a:pt x="397" y="74"/>
                        <a:pt x="364" y="187"/>
                        <a:pt x="279" y="291"/>
                      </a:cubicBezTo>
                      <a:cubicBezTo>
                        <a:pt x="194" y="394"/>
                        <a:pt x="89" y="448"/>
                        <a:pt x="45" y="411"/>
                      </a:cubicBezTo>
                      <a:cubicBezTo>
                        <a:pt x="0" y="375"/>
                        <a:pt x="33" y="261"/>
                        <a:pt x="118" y="158"/>
                      </a:cubicBezTo>
                      <a:cubicBezTo>
                        <a:pt x="203" y="55"/>
                        <a:pt x="308" y="0"/>
                        <a:pt x="353" y="37"/>
                      </a:cubicBezTo>
                      <a:lnTo>
                        <a:pt x="353" y="37"/>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08" name="Freeform 35">
                  <a:extLst>
                    <a:ext uri="{FF2B5EF4-FFF2-40B4-BE49-F238E27FC236}">
                      <a16:creationId xmlns:a16="http://schemas.microsoft.com/office/drawing/2014/main" id="{5423B98E-F054-4771-BBF4-24FB2D0B2AB2}"/>
                    </a:ext>
                  </a:extLst>
                </p:cNvPr>
                <p:cNvSpPr>
                  <a:spLocks/>
                </p:cNvSpPr>
                <p:nvPr/>
              </p:nvSpPr>
              <p:spPr bwMode="auto">
                <a:xfrm>
                  <a:off x="3163749" y="4434063"/>
                  <a:ext cx="61913" cy="68263"/>
                </a:xfrm>
                <a:custGeom>
                  <a:avLst/>
                  <a:gdLst>
                    <a:gd name="T0" fmla="*/ 262 w 352"/>
                    <a:gd name="T1" fmla="*/ 357 h 396"/>
                    <a:gd name="T2" fmla="*/ 262 w 352"/>
                    <a:gd name="T3" fmla="*/ 357 h 396"/>
                    <a:gd name="T4" fmla="*/ 48 w 352"/>
                    <a:gd name="T5" fmla="*/ 268 h 396"/>
                    <a:gd name="T6" fmla="*/ 90 w 352"/>
                    <a:gd name="T7" fmla="*/ 39 h 396"/>
                    <a:gd name="T8" fmla="*/ 305 w 352"/>
                    <a:gd name="T9" fmla="*/ 128 h 396"/>
                    <a:gd name="T10" fmla="*/ 262 w 352"/>
                    <a:gd name="T11" fmla="*/ 357 h 396"/>
                    <a:gd name="T12" fmla="*/ 262 w 352"/>
                    <a:gd name="T13" fmla="*/ 357 h 396"/>
                  </a:gdLst>
                  <a:ahLst/>
                  <a:cxnLst>
                    <a:cxn ang="0">
                      <a:pos x="T0" y="T1"/>
                    </a:cxn>
                    <a:cxn ang="0">
                      <a:pos x="T2" y="T3"/>
                    </a:cxn>
                    <a:cxn ang="0">
                      <a:pos x="T4" y="T5"/>
                    </a:cxn>
                    <a:cxn ang="0">
                      <a:pos x="T6" y="T7"/>
                    </a:cxn>
                    <a:cxn ang="0">
                      <a:pos x="T8" y="T9"/>
                    </a:cxn>
                    <a:cxn ang="0">
                      <a:pos x="T10" y="T11"/>
                    </a:cxn>
                    <a:cxn ang="0">
                      <a:pos x="T12" y="T13"/>
                    </a:cxn>
                  </a:cxnLst>
                  <a:rect l="0" t="0" r="r" b="b"/>
                  <a:pathLst>
                    <a:path w="352" h="396">
                      <a:moveTo>
                        <a:pt x="262" y="357"/>
                      </a:moveTo>
                      <a:lnTo>
                        <a:pt x="262" y="357"/>
                      </a:lnTo>
                      <a:cubicBezTo>
                        <a:pt x="191" y="396"/>
                        <a:pt x="95" y="355"/>
                        <a:pt x="48" y="268"/>
                      </a:cubicBezTo>
                      <a:cubicBezTo>
                        <a:pt x="0" y="180"/>
                        <a:pt x="19" y="77"/>
                        <a:pt x="90" y="39"/>
                      </a:cubicBezTo>
                      <a:cubicBezTo>
                        <a:pt x="161" y="0"/>
                        <a:pt x="257" y="40"/>
                        <a:pt x="305" y="128"/>
                      </a:cubicBezTo>
                      <a:cubicBezTo>
                        <a:pt x="352" y="216"/>
                        <a:pt x="333" y="319"/>
                        <a:pt x="262" y="357"/>
                      </a:cubicBezTo>
                      <a:lnTo>
                        <a:pt x="262" y="357"/>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09" name="Freeform 36">
                  <a:extLst>
                    <a:ext uri="{FF2B5EF4-FFF2-40B4-BE49-F238E27FC236}">
                      <a16:creationId xmlns:a16="http://schemas.microsoft.com/office/drawing/2014/main" id="{9B4B5868-BBA3-470B-8D58-D8EAD3921725}"/>
                    </a:ext>
                  </a:extLst>
                </p:cNvPr>
                <p:cNvSpPr>
                  <a:spLocks/>
                </p:cNvSpPr>
                <p:nvPr/>
              </p:nvSpPr>
              <p:spPr bwMode="auto">
                <a:xfrm>
                  <a:off x="3146286" y="4465813"/>
                  <a:ext cx="112713" cy="119063"/>
                </a:xfrm>
                <a:custGeom>
                  <a:avLst/>
                  <a:gdLst>
                    <a:gd name="T0" fmla="*/ 654 w 654"/>
                    <a:gd name="T1" fmla="*/ 448 h 693"/>
                    <a:gd name="T2" fmla="*/ 654 w 654"/>
                    <a:gd name="T3" fmla="*/ 448 h 693"/>
                    <a:gd name="T4" fmla="*/ 512 w 654"/>
                    <a:gd name="T5" fmla="*/ 514 h 693"/>
                    <a:gd name="T6" fmla="*/ 428 w 654"/>
                    <a:gd name="T7" fmla="*/ 595 h 693"/>
                    <a:gd name="T8" fmla="*/ 318 w 654"/>
                    <a:gd name="T9" fmla="*/ 693 h 693"/>
                    <a:gd name="T10" fmla="*/ 133 w 654"/>
                    <a:gd name="T11" fmla="*/ 508 h 693"/>
                    <a:gd name="T12" fmla="*/ 0 w 654"/>
                    <a:gd name="T13" fmla="*/ 370 h 693"/>
                    <a:gd name="T14" fmla="*/ 84 w 654"/>
                    <a:gd name="T15" fmla="*/ 292 h 693"/>
                    <a:gd name="T16" fmla="*/ 125 w 654"/>
                    <a:gd name="T17" fmla="*/ 153 h 693"/>
                    <a:gd name="T18" fmla="*/ 133 w 654"/>
                    <a:gd name="T19" fmla="*/ 0 h 693"/>
                    <a:gd name="T20" fmla="*/ 258 w 654"/>
                    <a:gd name="T21" fmla="*/ 72 h 693"/>
                    <a:gd name="T22" fmla="*/ 353 w 654"/>
                    <a:gd name="T23" fmla="*/ 110 h 693"/>
                    <a:gd name="T24" fmla="*/ 622 w 654"/>
                    <a:gd name="T25" fmla="*/ 352 h 693"/>
                    <a:gd name="T26" fmla="*/ 654 w 654"/>
                    <a:gd name="T27" fmla="*/ 448 h 693"/>
                    <a:gd name="T28" fmla="*/ 654 w 654"/>
                    <a:gd name="T29" fmla="*/ 448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4" h="693">
                      <a:moveTo>
                        <a:pt x="654" y="448"/>
                      </a:moveTo>
                      <a:lnTo>
                        <a:pt x="654" y="448"/>
                      </a:lnTo>
                      <a:lnTo>
                        <a:pt x="512" y="514"/>
                      </a:lnTo>
                      <a:lnTo>
                        <a:pt x="428" y="595"/>
                      </a:lnTo>
                      <a:lnTo>
                        <a:pt x="318" y="693"/>
                      </a:lnTo>
                      <a:lnTo>
                        <a:pt x="133" y="508"/>
                      </a:lnTo>
                      <a:lnTo>
                        <a:pt x="0" y="370"/>
                      </a:lnTo>
                      <a:lnTo>
                        <a:pt x="84" y="292"/>
                      </a:lnTo>
                      <a:lnTo>
                        <a:pt x="125" y="153"/>
                      </a:lnTo>
                      <a:lnTo>
                        <a:pt x="133" y="0"/>
                      </a:lnTo>
                      <a:lnTo>
                        <a:pt x="258" y="72"/>
                      </a:lnTo>
                      <a:lnTo>
                        <a:pt x="353" y="110"/>
                      </a:lnTo>
                      <a:lnTo>
                        <a:pt x="622" y="352"/>
                      </a:lnTo>
                      <a:lnTo>
                        <a:pt x="654" y="448"/>
                      </a:lnTo>
                      <a:lnTo>
                        <a:pt x="654" y="448"/>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10" name="Freeform 37">
                  <a:extLst>
                    <a:ext uri="{FF2B5EF4-FFF2-40B4-BE49-F238E27FC236}">
                      <a16:creationId xmlns:a16="http://schemas.microsoft.com/office/drawing/2014/main" id="{5B9D84EA-0E80-4D6A-B165-FBF89C07581A}"/>
                    </a:ext>
                  </a:extLst>
                </p:cNvPr>
                <p:cNvSpPr>
                  <a:spLocks/>
                </p:cNvSpPr>
                <p:nvPr/>
              </p:nvSpPr>
              <p:spPr bwMode="auto">
                <a:xfrm>
                  <a:off x="3316149" y="4364213"/>
                  <a:ext cx="36513" cy="30163"/>
                </a:xfrm>
                <a:custGeom>
                  <a:avLst/>
                  <a:gdLst>
                    <a:gd name="T0" fmla="*/ 14 w 211"/>
                    <a:gd name="T1" fmla="*/ 121 h 175"/>
                    <a:gd name="T2" fmla="*/ 14 w 211"/>
                    <a:gd name="T3" fmla="*/ 121 h 175"/>
                    <a:gd name="T4" fmla="*/ 80 w 211"/>
                    <a:gd name="T5" fmla="*/ 19 h 175"/>
                    <a:gd name="T6" fmla="*/ 197 w 211"/>
                    <a:gd name="T7" fmla="*/ 53 h 175"/>
                    <a:gd name="T8" fmla="*/ 131 w 211"/>
                    <a:gd name="T9" fmla="*/ 156 h 175"/>
                    <a:gd name="T10" fmla="*/ 14 w 211"/>
                    <a:gd name="T11" fmla="*/ 121 h 175"/>
                    <a:gd name="T12" fmla="*/ 14 w 211"/>
                    <a:gd name="T13" fmla="*/ 121 h 175"/>
                  </a:gdLst>
                  <a:ahLst/>
                  <a:cxnLst>
                    <a:cxn ang="0">
                      <a:pos x="T0" y="T1"/>
                    </a:cxn>
                    <a:cxn ang="0">
                      <a:pos x="T2" y="T3"/>
                    </a:cxn>
                    <a:cxn ang="0">
                      <a:pos x="T4" y="T5"/>
                    </a:cxn>
                    <a:cxn ang="0">
                      <a:pos x="T6" y="T7"/>
                    </a:cxn>
                    <a:cxn ang="0">
                      <a:pos x="T8" y="T9"/>
                    </a:cxn>
                    <a:cxn ang="0">
                      <a:pos x="T10" y="T11"/>
                    </a:cxn>
                    <a:cxn ang="0">
                      <a:pos x="T12" y="T13"/>
                    </a:cxn>
                  </a:cxnLst>
                  <a:rect l="0" t="0" r="r" b="b"/>
                  <a:pathLst>
                    <a:path w="211" h="175">
                      <a:moveTo>
                        <a:pt x="14" y="121"/>
                      </a:moveTo>
                      <a:lnTo>
                        <a:pt x="14" y="121"/>
                      </a:lnTo>
                      <a:cubicBezTo>
                        <a:pt x="0" y="83"/>
                        <a:pt x="29" y="38"/>
                        <a:pt x="80" y="19"/>
                      </a:cubicBezTo>
                      <a:cubicBezTo>
                        <a:pt x="131" y="0"/>
                        <a:pt x="183" y="16"/>
                        <a:pt x="197" y="53"/>
                      </a:cubicBezTo>
                      <a:cubicBezTo>
                        <a:pt x="211" y="91"/>
                        <a:pt x="182" y="137"/>
                        <a:pt x="131" y="156"/>
                      </a:cubicBezTo>
                      <a:cubicBezTo>
                        <a:pt x="80" y="175"/>
                        <a:pt x="28" y="159"/>
                        <a:pt x="14" y="121"/>
                      </a:cubicBezTo>
                      <a:lnTo>
                        <a:pt x="14" y="121"/>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11" name="Freeform 38">
                  <a:extLst>
                    <a:ext uri="{FF2B5EF4-FFF2-40B4-BE49-F238E27FC236}">
                      <a16:creationId xmlns:a16="http://schemas.microsoft.com/office/drawing/2014/main" id="{8C935394-76ED-4380-AACE-A23B9ACA3061}"/>
                    </a:ext>
                  </a:extLst>
                </p:cNvPr>
                <p:cNvSpPr>
                  <a:spLocks/>
                </p:cNvSpPr>
                <p:nvPr/>
              </p:nvSpPr>
              <p:spPr bwMode="auto">
                <a:xfrm>
                  <a:off x="3316149" y="4391200"/>
                  <a:ext cx="36513" cy="30163"/>
                </a:xfrm>
                <a:custGeom>
                  <a:avLst/>
                  <a:gdLst>
                    <a:gd name="T0" fmla="*/ 14 w 212"/>
                    <a:gd name="T1" fmla="*/ 122 h 175"/>
                    <a:gd name="T2" fmla="*/ 14 w 212"/>
                    <a:gd name="T3" fmla="*/ 122 h 175"/>
                    <a:gd name="T4" fmla="*/ 80 w 212"/>
                    <a:gd name="T5" fmla="*/ 19 h 175"/>
                    <a:gd name="T6" fmla="*/ 197 w 212"/>
                    <a:gd name="T7" fmla="*/ 54 h 175"/>
                    <a:gd name="T8" fmla="*/ 131 w 212"/>
                    <a:gd name="T9" fmla="*/ 156 h 175"/>
                    <a:gd name="T10" fmla="*/ 14 w 212"/>
                    <a:gd name="T11" fmla="*/ 122 h 175"/>
                    <a:gd name="T12" fmla="*/ 14 w 212"/>
                    <a:gd name="T13" fmla="*/ 122 h 175"/>
                  </a:gdLst>
                  <a:ahLst/>
                  <a:cxnLst>
                    <a:cxn ang="0">
                      <a:pos x="T0" y="T1"/>
                    </a:cxn>
                    <a:cxn ang="0">
                      <a:pos x="T2" y="T3"/>
                    </a:cxn>
                    <a:cxn ang="0">
                      <a:pos x="T4" y="T5"/>
                    </a:cxn>
                    <a:cxn ang="0">
                      <a:pos x="T6" y="T7"/>
                    </a:cxn>
                    <a:cxn ang="0">
                      <a:pos x="T8" y="T9"/>
                    </a:cxn>
                    <a:cxn ang="0">
                      <a:pos x="T10" y="T11"/>
                    </a:cxn>
                    <a:cxn ang="0">
                      <a:pos x="T12" y="T13"/>
                    </a:cxn>
                  </a:cxnLst>
                  <a:rect l="0" t="0" r="r" b="b"/>
                  <a:pathLst>
                    <a:path w="212" h="175">
                      <a:moveTo>
                        <a:pt x="14" y="122"/>
                      </a:moveTo>
                      <a:lnTo>
                        <a:pt x="14" y="122"/>
                      </a:lnTo>
                      <a:cubicBezTo>
                        <a:pt x="0" y="84"/>
                        <a:pt x="29" y="38"/>
                        <a:pt x="80" y="19"/>
                      </a:cubicBezTo>
                      <a:cubicBezTo>
                        <a:pt x="131" y="0"/>
                        <a:pt x="183" y="16"/>
                        <a:pt x="197" y="54"/>
                      </a:cubicBezTo>
                      <a:cubicBezTo>
                        <a:pt x="212" y="92"/>
                        <a:pt x="182" y="138"/>
                        <a:pt x="131" y="156"/>
                      </a:cubicBezTo>
                      <a:cubicBezTo>
                        <a:pt x="80" y="175"/>
                        <a:pt x="28" y="160"/>
                        <a:pt x="14" y="122"/>
                      </a:cubicBezTo>
                      <a:lnTo>
                        <a:pt x="14" y="122"/>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12" name="Freeform 39">
                  <a:extLst>
                    <a:ext uri="{FF2B5EF4-FFF2-40B4-BE49-F238E27FC236}">
                      <a16:creationId xmlns:a16="http://schemas.microsoft.com/office/drawing/2014/main" id="{112A83CF-5BD6-4842-AB6A-C2A7FEA092A7}"/>
                    </a:ext>
                  </a:extLst>
                </p:cNvPr>
                <p:cNvSpPr>
                  <a:spLocks/>
                </p:cNvSpPr>
                <p:nvPr/>
              </p:nvSpPr>
              <p:spPr bwMode="auto">
                <a:xfrm>
                  <a:off x="3316149" y="4419775"/>
                  <a:ext cx="36513" cy="30163"/>
                </a:xfrm>
                <a:custGeom>
                  <a:avLst/>
                  <a:gdLst>
                    <a:gd name="T0" fmla="*/ 14 w 211"/>
                    <a:gd name="T1" fmla="*/ 121 h 175"/>
                    <a:gd name="T2" fmla="*/ 14 w 211"/>
                    <a:gd name="T3" fmla="*/ 121 h 175"/>
                    <a:gd name="T4" fmla="*/ 80 w 211"/>
                    <a:gd name="T5" fmla="*/ 19 h 175"/>
                    <a:gd name="T6" fmla="*/ 197 w 211"/>
                    <a:gd name="T7" fmla="*/ 53 h 175"/>
                    <a:gd name="T8" fmla="*/ 131 w 211"/>
                    <a:gd name="T9" fmla="*/ 156 h 175"/>
                    <a:gd name="T10" fmla="*/ 14 w 211"/>
                    <a:gd name="T11" fmla="*/ 121 h 175"/>
                    <a:gd name="T12" fmla="*/ 14 w 211"/>
                    <a:gd name="T13" fmla="*/ 121 h 175"/>
                  </a:gdLst>
                  <a:ahLst/>
                  <a:cxnLst>
                    <a:cxn ang="0">
                      <a:pos x="T0" y="T1"/>
                    </a:cxn>
                    <a:cxn ang="0">
                      <a:pos x="T2" y="T3"/>
                    </a:cxn>
                    <a:cxn ang="0">
                      <a:pos x="T4" y="T5"/>
                    </a:cxn>
                    <a:cxn ang="0">
                      <a:pos x="T6" y="T7"/>
                    </a:cxn>
                    <a:cxn ang="0">
                      <a:pos x="T8" y="T9"/>
                    </a:cxn>
                    <a:cxn ang="0">
                      <a:pos x="T10" y="T11"/>
                    </a:cxn>
                    <a:cxn ang="0">
                      <a:pos x="T12" y="T13"/>
                    </a:cxn>
                  </a:cxnLst>
                  <a:rect l="0" t="0" r="r" b="b"/>
                  <a:pathLst>
                    <a:path w="211" h="175">
                      <a:moveTo>
                        <a:pt x="14" y="121"/>
                      </a:moveTo>
                      <a:lnTo>
                        <a:pt x="14" y="121"/>
                      </a:lnTo>
                      <a:cubicBezTo>
                        <a:pt x="0" y="83"/>
                        <a:pt x="29" y="38"/>
                        <a:pt x="80" y="19"/>
                      </a:cubicBezTo>
                      <a:cubicBezTo>
                        <a:pt x="131" y="0"/>
                        <a:pt x="183" y="16"/>
                        <a:pt x="197" y="53"/>
                      </a:cubicBezTo>
                      <a:cubicBezTo>
                        <a:pt x="211" y="91"/>
                        <a:pt x="182" y="137"/>
                        <a:pt x="131" y="156"/>
                      </a:cubicBezTo>
                      <a:cubicBezTo>
                        <a:pt x="80" y="175"/>
                        <a:pt x="28" y="159"/>
                        <a:pt x="14" y="121"/>
                      </a:cubicBezTo>
                      <a:lnTo>
                        <a:pt x="14" y="121"/>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13" name="Freeform 40">
                  <a:extLst>
                    <a:ext uri="{FF2B5EF4-FFF2-40B4-BE49-F238E27FC236}">
                      <a16:creationId xmlns:a16="http://schemas.microsoft.com/office/drawing/2014/main" id="{F92AE475-129B-41BB-AD52-DF6C343DAE2F}"/>
                    </a:ext>
                  </a:extLst>
                </p:cNvPr>
                <p:cNvSpPr>
                  <a:spLocks/>
                </p:cNvSpPr>
                <p:nvPr/>
              </p:nvSpPr>
              <p:spPr bwMode="auto">
                <a:xfrm>
                  <a:off x="3316149" y="4448350"/>
                  <a:ext cx="36513" cy="30163"/>
                </a:xfrm>
                <a:custGeom>
                  <a:avLst/>
                  <a:gdLst>
                    <a:gd name="T0" fmla="*/ 14 w 212"/>
                    <a:gd name="T1" fmla="*/ 122 h 175"/>
                    <a:gd name="T2" fmla="*/ 14 w 212"/>
                    <a:gd name="T3" fmla="*/ 122 h 175"/>
                    <a:gd name="T4" fmla="*/ 81 w 212"/>
                    <a:gd name="T5" fmla="*/ 19 h 175"/>
                    <a:gd name="T6" fmla="*/ 198 w 212"/>
                    <a:gd name="T7" fmla="*/ 54 h 175"/>
                    <a:gd name="T8" fmla="*/ 132 w 212"/>
                    <a:gd name="T9" fmla="*/ 156 h 175"/>
                    <a:gd name="T10" fmla="*/ 14 w 212"/>
                    <a:gd name="T11" fmla="*/ 122 h 175"/>
                    <a:gd name="T12" fmla="*/ 14 w 212"/>
                    <a:gd name="T13" fmla="*/ 122 h 175"/>
                  </a:gdLst>
                  <a:ahLst/>
                  <a:cxnLst>
                    <a:cxn ang="0">
                      <a:pos x="T0" y="T1"/>
                    </a:cxn>
                    <a:cxn ang="0">
                      <a:pos x="T2" y="T3"/>
                    </a:cxn>
                    <a:cxn ang="0">
                      <a:pos x="T4" y="T5"/>
                    </a:cxn>
                    <a:cxn ang="0">
                      <a:pos x="T6" y="T7"/>
                    </a:cxn>
                    <a:cxn ang="0">
                      <a:pos x="T8" y="T9"/>
                    </a:cxn>
                    <a:cxn ang="0">
                      <a:pos x="T10" y="T11"/>
                    </a:cxn>
                    <a:cxn ang="0">
                      <a:pos x="T12" y="T13"/>
                    </a:cxn>
                  </a:cxnLst>
                  <a:rect l="0" t="0" r="r" b="b"/>
                  <a:pathLst>
                    <a:path w="212" h="175">
                      <a:moveTo>
                        <a:pt x="14" y="122"/>
                      </a:moveTo>
                      <a:lnTo>
                        <a:pt x="14" y="122"/>
                      </a:lnTo>
                      <a:cubicBezTo>
                        <a:pt x="0" y="84"/>
                        <a:pt x="30" y="38"/>
                        <a:pt x="81" y="19"/>
                      </a:cubicBezTo>
                      <a:cubicBezTo>
                        <a:pt x="132" y="0"/>
                        <a:pt x="184" y="16"/>
                        <a:pt x="198" y="54"/>
                      </a:cubicBezTo>
                      <a:cubicBezTo>
                        <a:pt x="212" y="92"/>
                        <a:pt x="182" y="138"/>
                        <a:pt x="132" y="156"/>
                      </a:cubicBezTo>
                      <a:cubicBezTo>
                        <a:pt x="81" y="175"/>
                        <a:pt x="28" y="160"/>
                        <a:pt x="14" y="122"/>
                      </a:cubicBezTo>
                      <a:lnTo>
                        <a:pt x="14" y="122"/>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14" name="Freeform 41">
                  <a:extLst>
                    <a:ext uri="{FF2B5EF4-FFF2-40B4-BE49-F238E27FC236}">
                      <a16:creationId xmlns:a16="http://schemas.microsoft.com/office/drawing/2014/main" id="{9E05B0F6-DF3B-4DD7-BFA8-C25C370383DA}"/>
                    </a:ext>
                  </a:extLst>
                </p:cNvPr>
                <p:cNvSpPr>
                  <a:spLocks/>
                </p:cNvSpPr>
                <p:nvPr/>
              </p:nvSpPr>
              <p:spPr bwMode="auto">
                <a:xfrm>
                  <a:off x="3143111" y="4526138"/>
                  <a:ext cx="60325" cy="60325"/>
                </a:xfrm>
                <a:custGeom>
                  <a:avLst/>
                  <a:gdLst>
                    <a:gd name="T0" fmla="*/ 0 w 352"/>
                    <a:gd name="T1" fmla="*/ 29 h 348"/>
                    <a:gd name="T2" fmla="*/ 0 w 352"/>
                    <a:gd name="T3" fmla="*/ 29 h 348"/>
                    <a:gd name="T4" fmla="*/ 30 w 352"/>
                    <a:gd name="T5" fmla="*/ 0 h 348"/>
                    <a:gd name="T6" fmla="*/ 352 w 352"/>
                    <a:gd name="T7" fmla="*/ 319 h 348"/>
                    <a:gd name="T8" fmla="*/ 322 w 352"/>
                    <a:gd name="T9" fmla="*/ 348 h 348"/>
                    <a:gd name="T10" fmla="*/ 0 w 352"/>
                    <a:gd name="T11" fmla="*/ 29 h 348"/>
                  </a:gdLst>
                  <a:ahLst/>
                  <a:cxnLst>
                    <a:cxn ang="0">
                      <a:pos x="T0" y="T1"/>
                    </a:cxn>
                    <a:cxn ang="0">
                      <a:pos x="T2" y="T3"/>
                    </a:cxn>
                    <a:cxn ang="0">
                      <a:pos x="T4" y="T5"/>
                    </a:cxn>
                    <a:cxn ang="0">
                      <a:pos x="T6" y="T7"/>
                    </a:cxn>
                    <a:cxn ang="0">
                      <a:pos x="T8" y="T9"/>
                    </a:cxn>
                    <a:cxn ang="0">
                      <a:pos x="T10" y="T11"/>
                    </a:cxn>
                  </a:cxnLst>
                  <a:rect l="0" t="0" r="r" b="b"/>
                  <a:pathLst>
                    <a:path w="352" h="348">
                      <a:moveTo>
                        <a:pt x="0" y="29"/>
                      </a:moveTo>
                      <a:lnTo>
                        <a:pt x="0" y="29"/>
                      </a:lnTo>
                      <a:lnTo>
                        <a:pt x="30" y="0"/>
                      </a:lnTo>
                      <a:lnTo>
                        <a:pt x="352" y="319"/>
                      </a:lnTo>
                      <a:lnTo>
                        <a:pt x="322" y="348"/>
                      </a:lnTo>
                      <a:lnTo>
                        <a:pt x="0" y="29"/>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15" name="Freeform 42">
                  <a:extLst>
                    <a:ext uri="{FF2B5EF4-FFF2-40B4-BE49-F238E27FC236}">
                      <a16:creationId xmlns:a16="http://schemas.microsoft.com/office/drawing/2014/main" id="{CD89E520-401D-49E1-9473-C7B2C0A153BB}"/>
                    </a:ext>
                  </a:extLst>
                </p:cNvPr>
                <p:cNvSpPr>
                  <a:spLocks/>
                </p:cNvSpPr>
                <p:nvPr/>
              </p:nvSpPr>
              <p:spPr bwMode="auto">
                <a:xfrm>
                  <a:off x="3120886" y="4521375"/>
                  <a:ext cx="82550" cy="80963"/>
                </a:xfrm>
                <a:custGeom>
                  <a:avLst/>
                  <a:gdLst>
                    <a:gd name="T0" fmla="*/ 0 w 472"/>
                    <a:gd name="T1" fmla="*/ 79 h 469"/>
                    <a:gd name="T2" fmla="*/ 0 w 472"/>
                    <a:gd name="T3" fmla="*/ 79 h 469"/>
                    <a:gd name="T4" fmla="*/ 78 w 472"/>
                    <a:gd name="T5" fmla="*/ 0 h 469"/>
                    <a:gd name="T6" fmla="*/ 472 w 472"/>
                    <a:gd name="T7" fmla="*/ 390 h 469"/>
                    <a:gd name="T8" fmla="*/ 393 w 472"/>
                    <a:gd name="T9" fmla="*/ 469 h 469"/>
                    <a:gd name="T10" fmla="*/ 0 w 472"/>
                    <a:gd name="T11" fmla="*/ 79 h 469"/>
                  </a:gdLst>
                  <a:ahLst/>
                  <a:cxnLst>
                    <a:cxn ang="0">
                      <a:pos x="T0" y="T1"/>
                    </a:cxn>
                    <a:cxn ang="0">
                      <a:pos x="T2" y="T3"/>
                    </a:cxn>
                    <a:cxn ang="0">
                      <a:pos x="T4" y="T5"/>
                    </a:cxn>
                    <a:cxn ang="0">
                      <a:pos x="T6" y="T7"/>
                    </a:cxn>
                    <a:cxn ang="0">
                      <a:pos x="T8" y="T9"/>
                    </a:cxn>
                    <a:cxn ang="0">
                      <a:pos x="T10" y="T11"/>
                    </a:cxn>
                  </a:cxnLst>
                  <a:rect l="0" t="0" r="r" b="b"/>
                  <a:pathLst>
                    <a:path w="472" h="469">
                      <a:moveTo>
                        <a:pt x="0" y="79"/>
                      </a:moveTo>
                      <a:lnTo>
                        <a:pt x="0" y="79"/>
                      </a:lnTo>
                      <a:lnTo>
                        <a:pt x="78" y="0"/>
                      </a:lnTo>
                      <a:lnTo>
                        <a:pt x="472" y="390"/>
                      </a:lnTo>
                      <a:lnTo>
                        <a:pt x="393" y="469"/>
                      </a:lnTo>
                      <a:lnTo>
                        <a:pt x="0" y="79"/>
                      </a:lnTo>
                      <a:close/>
                    </a:path>
                  </a:pathLst>
                </a:custGeom>
                <a:solidFill>
                  <a:srgbClr val="0089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16" name="Freeform 43">
                  <a:extLst>
                    <a:ext uri="{FF2B5EF4-FFF2-40B4-BE49-F238E27FC236}">
                      <a16:creationId xmlns:a16="http://schemas.microsoft.com/office/drawing/2014/main" id="{F4666ECF-87DA-4B0E-A461-B145A94EC61B}"/>
                    </a:ext>
                  </a:extLst>
                </p:cNvPr>
                <p:cNvSpPr>
                  <a:spLocks/>
                </p:cNvSpPr>
                <p:nvPr/>
              </p:nvSpPr>
              <p:spPr bwMode="auto">
                <a:xfrm>
                  <a:off x="3120886" y="4521375"/>
                  <a:ext cx="82550" cy="80963"/>
                </a:xfrm>
                <a:custGeom>
                  <a:avLst/>
                  <a:gdLst>
                    <a:gd name="T0" fmla="*/ 0 w 472"/>
                    <a:gd name="T1" fmla="*/ 79 h 469"/>
                    <a:gd name="T2" fmla="*/ 0 w 472"/>
                    <a:gd name="T3" fmla="*/ 79 h 469"/>
                    <a:gd name="T4" fmla="*/ 78 w 472"/>
                    <a:gd name="T5" fmla="*/ 0 h 469"/>
                    <a:gd name="T6" fmla="*/ 472 w 472"/>
                    <a:gd name="T7" fmla="*/ 390 h 469"/>
                    <a:gd name="T8" fmla="*/ 393 w 472"/>
                    <a:gd name="T9" fmla="*/ 469 h 469"/>
                    <a:gd name="T10" fmla="*/ 0 w 472"/>
                    <a:gd name="T11" fmla="*/ 79 h 469"/>
                  </a:gdLst>
                  <a:ahLst/>
                  <a:cxnLst>
                    <a:cxn ang="0">
                      <a:pos x="T0" y="T1"/>
                    </a:cxn>
                    <a:cxn ang="0">
                      <a:pos x="T2" y="T3"/>
                    </a:cxn>
                    <a:cxn ang="0">
                      <a:pos x="T4" y="T5"/>
                    </a:cxn>
                    <a:cxn ang="0">
                      <a:pos x="T6" y="T7"/>
                    </a:cxn>
                    <a:cxn ang="0">
                      <a:pos x="T8" y="T9"/>
                    </a:cxn>
                    <a:cxn ang="0">
                      <a:pos x="T10" y="T11"/>
                    </a:cxn>
                  </a:cxnLst>
                  <a:rect l="0" t="0" r="r" b="b"/>
                  <a:pathLst>
                    <a:path w="472" h="469">
                      <a:moveTo>
                        <a:pt x="0" y="79"/>
                      </a:moveTo>
                      <a:lnTo>
                        <a:pt x="0" y="79"/>
                      </a:lnTo>
                      <a:lnTo>
                        <a:pt x="78" y="0"/>
                      </a:lnTo>
                      <a:lnTo>
                        <a:pt x="472" y="390"/>
                      </a:lnTo>
                      <a:lnTo>
                        <a:pt x="393" y="469"/>
                      </a:lnTo>
                      <a:lnTo>
                        <a:pt x="0" y="79"/>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17" name="Freeform 44">
                  <a:extLst>
                    <a:ext uri="{FF2B5EF4-FFF2-40B4-BE49-F238E27FC236}">
                      <a16:creationId xmlns:a16="http://schemas.microsoft.com/office/drawing/2014/main" id="{85F60A18-C658-4D2A-97B5-61678A6B50EB}"/>
                    </a:ext>
                  </a:extLst>
                </p:cNvPr>
                <p:cNvSpPr>
                  <a:spLocks/>
                </p:cNvSpPr>
                <p:nvPr/>
              </p:nvSpPr>
              <p:spPr bwMode="auto">
                <a:xfrm>
                  <a:off x="3070086" y="4567413"/>
                  <a:ext cx="131763" cy="125413"/>
                </a:xfrm>
                <a:custGeom>
                  <a:avLst/>
                  <a:gdLst>
                    <a:gd name="T0" fmla="*/ 494 w 764"/>
                    <a:gd name="T1" fmla="*/ 0 h 724"/>
                    <a:gd name="T2" fmla="*/ 494 w 764"/>
                    <a:gd name="T3" fmla="*/ 0 h 724"/>
                    <a:gd name="T4" fmla="*/ 764 w 764"/>
                    <a:gd name="T5" fmla="*/ 267 h 724"/>
                    <a:gd name="T6" fmla="*/ 310 w 764"/>
                    <a:gd name="T7" fmla="*/ 724 h 724"/>
                    <a:gd name="T8" fmla="*/ 306 w 764"/>
                    <a:gd name="T9" fmla="*/ 723 h 724"/>
                    <a:gd name="T10" fmla="*/ 73 w 764"/>
                    <a:gd name="T11" fmla="*/ 565 h 724"/>
                    <a:gd name="T12" fmla="*/ 0 w 764"/>
                    <a:gd name="T13" fmla="*/ 498 h 724"/>
                    <a:gd name="T14" fmla="*/ 494 w 764"/>
                    <a:gd name="T15" fmla="*/ 0 h 7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4" h="724">
                      <a:moveTo>
                        <a:pt x="494" y="0"/>
                      </a:moveTo>
                      <a:lnTo>
                        <a:pt x="494" y="0"/>
                      </a:lnTo>
                      <a:lnTo>
                        <a:pt x="764" y="267"/>
                      </a:lnTo>
                      <a:lnTo>
                        <a:pt x="310" y="724"/>
                      </a:lnTo>
                      <a:lnTo>
                        <a:pt x="306" y="723"/>
                      </a:lnTo>
                      <a:cubicBezTo>
                        <a:pt x="224" y="677"/>
                        <a:pt x="146" y="625"/>
                        <a:pt x="73" y="565"/>
                      </a:cubicBezTo>
                      <a:lnTo>
                        <a:pt x="0" y="498"/>
                      </a:lnTo>
                      <a:lnTo>
                        <a:pt x="494" y="0"/>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18" name="Freeform 45">
                  <a:extLst>
                    <a:ext uri="{FF2B5EF4-FFF2-40B4-BE49-F238E27FC236}">
                      <a16:creationId xmlns:a16="http://schemas.microsoft.com/office/drawing/2014/main" id="{B46E437C-0B38-4814-83E9-91C04AF001B0}"/>
                    </a:ext>
                  </a:extLst>
                </p:cNvPr>
                <p:cNvSpPr>
                  <a:spLocks/>
                </p:cNvSpPr>
                <p:nvPr/>
              </p:nvSpPr>
              <p:spPr bwMode="auto">
                <a:xfrm>
                  <a:off x="3031986" y="4524550"/>
                  <a:ext cx="123825" cy="130175"/>
                </a:xfrm>
                <a:custGeom>
                  <a:avLst/>
                  <a:gdLst>
                    <a:gd name="T0" fmla="*/ 462 w 716"/>
                    <a:gd name="T1" fmla="*/ 0 h 747"/>
                    <a:gd name="T2" fmla="*/ 462 w 716"/>
                    <a:gd name="T3" fmla="*/ 0 h 747"/>
                    <a:gd name="T4" fmla="*/ 716 w 716"/>
                    <a:gd name="T5" fmla="*/ 252 h 747"/>
                    <a:gd name="T6" fmla="*/ 225 w 716"/>
                    <a:gd name="T7" fmla="*/ 747 h 747"/>
                    <a:gd name="T8" fmla="*/ 209 w 716"/>
                    <a:gd name="T9" fmla="*/ 732 h 747"/>
                    <a:gd name="T10" fmla="*/ 31 w 716"/>
                    <a:gd name="T11" fmla="*/ 516 h 747"/>
                    <a:gd name="T12" fmla="*/ 0 w 716"/>
                    <a:gd name="T13" fmla="*/ 466 h 747"/>
                    <a:gd name="T14" fmla="*/ 462 w 716"/>
                    <a:gd name="T15" fmla="*/ 0 h 7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6" h="747">
                      <a:moveTo>
                        <a:pt x="462" y="0"/>
                      </a:moveTo>
                      <a:lnTo>
                        <a:pt x="462" y="0"/>
                      </a:lnTo>
                      <a:lnTo>
                        <a:pt x="716" y="252"/>
                      </a:lnTo>
                      <a:lnTo>
                        <a:pt x="225" y="747"/>
                      </a:lnTo>
                      <a:lnTo>
                        <a:pt x="209" y="732"/>
                      </a:lnTo>
                      <a:cubicBezTo>
                        <a:pt x="143" y="666"/>
                        <a:pt x="83" y="593"/>
                        <a:pt x="31" y="516"/>
                      </a:cubicBezTo>
                      <a:lnTo>
                        <a:pt x="0" y="466"/>
                      </a:lnTo>
                      <a:lnTo>
                        <a:pt x="462" y="0"/>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187" name="Group 186">
                <a:extLst>
                  <a:ext uri="{FF2B5EF4-FFF2-40B4-BE49-F238E27FC236}">
                    <a16:creationId xmlns:a16="http://schemas.microsoft.com/office/drawing/2014/main" id="{243CC40D-E58F-4B3C-8924-95380CBAA30C}"/>
                  </a:ext>
                </a:extLst>
              </p:cNvPr>
              <p:cNvGrpSpPr/>
              <p:nvPr/>
            </p:nvGrpSpPr>
            <p:grpSpPr>
              <a:xfrm>
                <a:off x="2916019" y="4378364"/>
                <a:ext cx="156464" cy="238422"/>
                <a:chOff x="3476407" y="4717840"/>
                <a:chExt cx="311151" cy="474134"/>
              </a:xfrm>
            </p:grpSpPr>
            <p:sp>
              <p:nvSpPr>
                <p:cNvPr id="188" name="Freeform 23">
                  <a:extLst>
                    <a:ext uri="{FF2B5EF4-FFF2-40B4-BE49-F238E27FC236}">
                      <a16:creationId xmlns:a16="http://schemas.microsoft.com/office/drawing/2014/main" id="{3ECDD39A-3379-4602-96B1-3EA4ED4FEE0B}"/>
                    </a:ext>
                  </a:extLst>
                </p:cNvPr>
                <p:cNvSpPr>
                  <a:spLocks/>
                </p:cNvSpPr>
                <p:nvPr/>
              </p:nvSpPr>
              <p:spPr bwMode="auto">
                <a:xfrm>
                  <a:off x="3556840" y="4935858"/>
                  <a:ext cx="150284" cy="69851"/>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89" name="Freeform 24">
                  <a:extLst>
                    <a:ext uri="{FF2B5EF4-FFF2-40B4-BE49-F238E27FC236}">
                      <a16:creationId xmlns:a16="http://schemas.microsoft.com/office/drawing/2014/main" id="{A879A6A5-9705-4A92-BA4F-B8A625C52805}"/>
                    </a:ext>
                  </a:extLst>
                </p:cNvPr>
                <p:cNvSpPr>
                  <a:spLocks/>
                </p:cNvSpPr>
                <p:nvPr/>
              </p:nvSpPr>
              <p:spPr bwMode="auto">
                <a:xfrm>
                  <a:off x="3556840" y="4935858"/>
                  <a:ext cx="150284" cy="69851"/>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90" name="Freeform 25">
                  <a:extLst>
                    <a:ext uri="{FF2B5EF4-FFF2-40B4-BE49-F238E27FC236}">
                      <a16:creationId xmlns:a16="http://schemas.microsoft.com/office/drawing/2014/main" id="{50088428-D472-458A-8179-2C0F26EA3F90}"/>
                    </a:ext>
                  </a:extLst>
                </p:cNvPr>
                <p:cNvSpPr>
                  <a:spLocks/>
                </p:cNvSpPr>
                <p:nvPr/>
              </p:nvSpPr>
              <p:spPr bwMode="auto">
                <a:xfrm>
                  <a:off x="3476407" y="4963373"/>
                  <a:ext cx="311151" cy="167217"/>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70"/>
                        <a:pt x="69" y="0"/>
                        <a:pt x="154" y="0"/>
                      </a:cubicBezTo>
                      <a:lnTo>
                        <a:pt x="1195" y="0"/>
                      </a:lnTo>
                      <a:cubicBezTo>
                        <a:pt x="1281" y="0"/>
                        <a:pt x="1350" y="70"/>
                        <a:pt x="1350" y="156"/>
                      </a:cubicBezTo>
                      <a:lnTo>
                        <a:pt x="1350" y="572"/>
                      </a:lnTo>
                      <a:cubicBezTo>
                        <a:pt x="1350" y="658"/>
                        <a:pt x="1281" y="728"/>
                        <a:pt x="1195" y="728"/>
                      </a:cubicBezTo>
                      <a:lnTo>
                        <a:pt x="154" y="728"/>
                      </a:lnTo>
                      <a:cubicBezTo>
                        <a:pt x="69" y="728"/>
                        <a:pt x="0" y="658"/>
                        <a:pt x="0" y="572"/>
                      </a:cubicBezTo>
                      <a:lnTo>
                        <a:pt x="0" y="156"/>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cs typeface="+mn-cs"/>
                  </a:endParaRPr>
                </a:p>
              </p:txBody>
            </p:sp>
            <p:sp>
              <p:nvSpPr>
                <p:cNvPr id="191" name="Freeform 26">
                  <a:extLst>
                    <a:ext uri="{FF2B5EF4-FFF2-40B4-BE49-F238E27FC236}">
                      <a16:creationId xmlns:a16="http://schemas.microsoft.com/office/drawing/2014/main" id="{EF35444C-BFA2-4A36-A9BD-8DC41042CA28}"/>
                    </a:ext>
                  </a:extLst>
                </p:cNvPr>
                <p:cNvSpPr>
                  <a:spLocks/>
                </p:cNvSpPr>
                <p:nvPr/>
              </p:nvSpPr>
              <p:spPr bwMode="auto">
                <a:xfrm>
                  <a:off x="3476407" y="4963373"/>
                  <a:ext cx="311151" cy="167217"/>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69"/>
                        <a:pt x="69" y="0"/>
                        <a:pt x="154" y="0"/>
                      </a:cubicBezTo>
                      <a:lnTo>
                        <a:pt x="1195" y="0"/>
                      </a:lnTo>
                      <a:cubicBezTo>
                        <a:pt x="1281" y="0"/>
                        <a:pt x="1350" y="69"/>
                        <a:pt x="1350" y="156"/>
                      </a:cubicBezTo>
                      <a:lnTo>
                        <a:pt x="1350" y="572"/>
                      </a:lnTo>
                      <a:cubicBezTo>
                        <a:pt x="1350" y="658"/>
                        <a:pt x="1281" y="728"/>
                        <a:pt x="1195" y="728"/>
                      </a:cubicBezTo>
                      <a:lnTo>
                        <a:pt x="154" y="728"/>
                      </a:lnTo>
                      <a:cubicBezTo>
                        <a:pt x="69" y="728"/>
                        <a:pt x="0" y="658"/>
                        <a:pt x="0" y="572"/>
                      </a:cubicBezTo>
                      <a:lnTo>
                        <a:pt x="0" y="156"/>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92" name="Freeform 27">
                  <a:extLst>
                    <a:ext uri="{FF2B5EF4-FFF2-40B4-BE49-F238E27FC236}">
                      <a16:creationId xmlns:a16="http://schemas.microsoft.com/office/drawing/2014/main" id="{FC1AFB5E-2B61-4AC1-9D7D-E59A5D82D2BD}"/>
                    </a:ext>
                  </a:extLst>
                </p:cNvPr>
                <p:cNvSpPr>
                  <a:spLocks/>
                </p:cNvSpPr>
                <p:nvPr/>
              </p:nvSpPr>
              <p:spPr bwMode="auto">
                <a:xfrm>
                  <a:off x="3512391" y="4997240"/>
                  <a:ext cx="241300" cy="162984"/>
                </a:xfrm>
                <a:custGeom>
                  <a:avLst/>
                  <a:gdLst>
                    <a:gd name="T0" fmla="*/ 0 w 1048"/>
                    <a:gd name="T1" fmla="*/ 82 h 705"/>
                    <a:gd name="T2" fmla="*/ 0 w 1048"/>
                    <a:gd name="T3" fmla="*/ 82 h 705"/>
                    <a:gd name="T4" fmla="*/ 81 w 1048"/>
                    <a:gd name="T5" fmla="*/ 0 h 705"/>
                    <a:gd name="T6" fmla="*/ 967 w 1048"/>
                    <a:gd name="T7" fmla="*/ 0 h 705"/>
                    <a:gd name="T8" fmla="*/ 1048 w 1048"/>
                    <a:gd name="T9" fmla="*/ 82 h 705"/>
                    <a:gd name="T10" fmla="*/ 1048 w 1048"/>
                    <a:gd name="T11" fmla="*/ 624 h 705"/>
                    <a:gd name="T12" fmla="*/ 967 w 1048"/>
                    <a:gd name="T13" fmla="*/ 705 h 705"/>
                    <a:gd name="T14" fmla="*/ 81 w 1048"/>
                    <a:gd name="T15" fmla="*/ 705 h 705"/>
                    <a:gd name="T16" fmla="*/ 0 w 1048"/>
                    <a:gd name="T17" fmla="*/ 624 h 705"/>
                    <a:gd name="T18" fmla="*/ 0 w 1048"/>
                    <a:gd name="T19"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705">
                      <a:moveTo>
                        <a:pt x="0" y="82"/>
                      </a:moveTo>
                      <a:lnTo>
                        <a:pt x="0" y="82"/>
                      </a:lnTo>
                      <a:cubicBezTo>
                        <a:pt x="0" y="37"/>
                        <a:pt x="36" y="0"/>
                        <a:pt x="81" y="0"/>
                      </a:cubicBezTo>
                      <a:lnTo>
                        <a:pt x="967" y="0"/>
                      </a:lnTo>
                      <a:cubicBezTo>
                        <a:pt x="1011" y="0"/>
                        <a:pt x="1048" y="37"/>
                        <a:pt x="1048" y="82"/>
                      </a:cubicBezTo>
                      <a:lnTo>
                        <a:pt x="1048" y="624"/>
                      </a:lnTo>
                      <a:cubicBezTo>
                        <a:pt x="1048" y="668"/>
                        <a:pt x="1011" y="705"/>
                        <a:pt x="967" y="705"/>
                      </a:cubicBezTo>
                      <a:lnTo>
                        <a:pt x="81" y="705"/>
                      </a:lnTo>
                      <a:cubicBezTo>
                        <a:pt x="36" y="705"/>
                        <a:pt x="0" y="668"/>
                        <a:pt x="0" y="624"/>
                      </a:cubicBezTo>
                      <a:lnTo>
                        <a:pt x="0" y="82"/>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93" name="Freeform 28">
                  <a:extLst>
                    <a:ext uri="{FF2B5EF4-FFF2-40B4-BE49-F238E27FC236}">
                      <a16:creationId xmlns:a16="http://schemas.microsoft.com/office/drawing/2014/main" id="{8B10B35C-9F58-4B2A-9611-9F3A4EC87E4D}"/>
                    </a:ext>
                  </a:extLst>
                </p:cNvPr>
                <p:cNvSpPr>
                  <a:spLocks/>
                </p:cNvSpPr>
                <p:nvPr/>
              </p:nvSpPr>
              <p:spPr bwMode="auto">
                <a:xfrm>
                  <a:off x="3607640" y="5056507"/>
                  <a:ext cx="44451" cy="44451"/>
                </a:xfrm>
                <a:custGeom>
                  <a:avLst/>
                  <a:gdLst>
                    <a:gd name="T0" fmla="*/ 0 w 186"/>
                    <a:gd name="T1" fmla="*/ 94 h 188"/>
                    <a:gd name="T2" fmla="*/ 0 w 186"/>
                    <a:gd name="T3" fmla="*/ 94 h 188"/>
                    <a:gd name="T4" fmla="*/ 93 w 186"/>
                    <a:gd name="T5" fmla="*/ 0 h 188"/>
                    <a:gd name="T6" fmla="*/ 186 w 186"/>
                    <a:gd name="T7" fmla="*/ 94 h 188"/>
                    <a:gd name="T8" fmla="*/ 93 w 186"/>
                    <a:gd name="T9" fmla="*/ 188 h 188"/>
                    <a:gd name="T10" fmla="*/ 0 w 186"/>
                    <a:gd name="T11" fmla="*/ 94 h 188"/>
                    <a:gd name="T12" fmla="*/ 0 w 186"/>
                    <a:gd name="T13" fmla="*/ 94 h 188"/>
                  </a:gdLst>
                  <a:ahLst/>
                  <a:cxnLst>
                    <a:cxn ang="0">
                      <a:pos x="T0" y="T1"/>
                    </a:cxn>
                    <a:cxn ang="0">
                      <a:pos x="T2" y="T3"/>
                    </a:cxn>
                    <a:cxn ang="0">
                      <a:pos x="T4" y="T5"/>
                    </a:cxn>
                    <a:cxn ang="0">
                      <a:pos x="T6" y="T7"/>
                    </a:cxn>
                    <a:cxn ang="0">
                      <a:pos x="T8" y="T9"/>
                    </a:cxn>
                    <a:cxn ang="0">
                      <a:pos x="T10" y="T11"/>
                    </a:cxn>
                    <a:cxn ang="0">
                      <a:pos x="T12" y="T13"/>
                    </a:cxn>
                  </a:cxnLst>
                  <a:rect l="0" t="0" r="r" b="b"/>
                  <a:pathLst>
                    <a:path w="186" h="188">
                      <a:moveTo>
                        <a:pt x="0" y="94"/>
                      </a:moveTo>
                      <a:lnTo>
                        <a:pt x="0" y="94"/>
                      </a:lnTo>
                      <a:cubicBezTo>
                        <a:pt x="0" y="42"/>
                        <a:pt x="42" y="0"/>
                        <a:pt x="93" y="0"/>
                      </a:cubicBezTo>
                      <a:cubicBezTo>
                        <a:pt x="145" y="0"/>
                        <a:pt x="186" y="42"/>
                        <a:pt x="186" y="94"/>
                      </a:cubicBezTo>
                      <a:cubicBezTo>
                        <a:pt x="186" y="146"/>
                        <a:pt x="145" y="188"/>
                        <a:pt x="93" y="188"/>
                      </a:cubicBezTo>
                      <a:cubicBezTo>
                        <a:pt x="42" y="188"/>
                        <a:pt x="0" y="146"/>
                        <a:pt x="0" y="94"/>
                      </a:cubicBezTo>
                      <a:lnTo>
                        <a:pt x="0" y="94"/>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94" name="Freeform 29">
                  <a:extLst>
                    <a:ext uri="{FF2B5EF4-FFF2-40B4-BE49-F238E27FC236}">
                      <a16:creationId xmlns:a16="http://schemas.microsoft.com/office/drawing/2014/main" id="{3BE87F7F-39F8-484C-9518-A4B6D8EF319B}"/>
                    </a:ext>
                  </a:extLst>
                </p:cNvPr>
                <p:cNvSpPr>
                  <a:spLocks/>
                </p:cNvSpPr>
                <p:nvPr/>
              </p:nvSpPr>
              <p:spPr bwMode="auto">
                <a:xfrm>
                  <a:off x="3512391" y="5170807"/>
                  <a:ext cx="241300" cy="21167"/>
                </a:xfrm>
                <a:custGeom>
                  <a:avLst/>
                  <a:gdLst>
                    <a:gd name="T0" fmla="*/ 0 w 1048"/>
                    <a:gd name="T1" fmla="*/ 47 h 94"/>
                    <a:gd name="T2" fmla="*/ 0 w 1048"/>
                    <a:gd name="T3" fmla="*/ 47 h 94"/>
                    <a:gd name="T4" fmla="*/ 47 w 1048"/>
                    <a:gd name="T5" fmla="*/ 0 h 94"/>
                    <a:gd name="T6" fmla="*/ 1001 w 1048"/>
                    <a:gd name="T7" fmla="*/ 0 h 94"/>
                    <a:gd name="T8" fmla="*/ 1048 w 1048"/>
                    <a:gd name="T9" fmla="*/ 47 h 94"/>
                    <a:gd name="T10" fmla="*/ 1048 w 1048"/>
                    <a:gd name="T11" fmla="*/ 47 h 94"/>
                    <a:gd name="T12" fmla="*/ 1001 w 1048"/>
                    <a:gd name="T13" fmla="*/ 94 h 94"/>
                    <a:gd name="T14" fmla="*/ 47 w 1048"/>
                    <a:gd name="T15" fmla="*/ 94 h 94"/>
                    <a:gd name="T16" fmla="*/ 0 w 1048"/>
                    <a:gd name="T17" fmla="*/ 47 h 94"/>
                    <a:gd name="T18" fmla="*/ 0 w 1048"/>
                    <a:gd name="T19"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94">
                      <a:moveTo>
                        <a:pt x="0" y="47"/>
                      </a:moveTo>
                      <a:lnTo>
                        <a:pt x="0" y="47"/>
                      </a:lnTo>
                      <a:cubicBezTo>
                        <a:pt x="0" y="21"/>
                        <a:pt x="21" y="0"/>
                        <a:pt x="47" y="0"/>
                      </a:cubicBezTo>
                      <a:lnTo>
                        <a:pt x="1001" y="0"/>
                      </a:lnTo>
                      <a:cubicBezTo>
                        <a:pt x="1027" y="0"/>
                        <a:pt x="1048" y="21"/>
                        <a:pt x="1048" y="47"/>
                      </a:cubicBezTo>
                      <a:lnTo>
                        <a:pt x="1048" y="47"/>
                      </a:lnTo>
                      <a:cubicBezTo>
                        <a:pt x="1048" y="73"/>
                        <a:pt x="1027" y="94"/>
                        <a:pt x="1001" y="94"/>
                      </a:cubicBezTo>
                      <a:lnTo>
                        <a:pt x="47" y="94"/>
                      </a:lnTo>
                      <a:cubicBezTo>
                        <a:pt x="21" y="94"/>
                        <a:pt x="0" y="73"/>
                        <a:pt x="0" y="47"/>
                      </a:cubicBezTo>
                      <a:lnTo>
                        <a:pt x="0" y="47"/>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95" name="Freeform 30">
                  <a:extLst>
                    <a:ext uri="{FF2B5EF4-FFF2-40B4-BE49-F238E27FC236}">
                      <a16:creationId xmlns:a16="http://schemas.microsoft.com/office/drawing/2014/main" id="{9BB38BAB-CDF9-4F1F-AF31-AB63B7389D98}"/>
                    </a:ext>
                  </a:extLst>
                </p:cNvPr>
                <p:cNvSpPr>
                  <a:spLocks/>
                </p:cNvSpPr>
                <p:nvPr/>
              </p:nvSpPr>
              <p:spPr bwMode="auto">
                <a:xfrm>
                  <a:off x="3535673" y="4717840"/>
                  <a:ext cx="192617" cy="196851"/>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96" name="Freeform 31">
                  <a:extLst>
                    <a:ext uri="{FF2B5EF4-FFF2-40B4-BE49-F238E27FC236}">
                      <a16:creationId xmlns:a16="http://schemas.microsoft.com/office/drawing/2014/main" id="{520C4AA4-136B-426F-8C2D-BD0268BE808C}"/>
                    </a:ext>
                  </a:extLst>
                </p:cNvPr>
                <p:cNvSpPr>
                  <a:spLocks/>
                </p:cNvSpPr>
                <p:nvPr/>
              </p:nvSpPr>
              <p:spPr bwMode="auto">
                <a:xfrm>
                  <a:off x="3535673" y="4717840"/>
                  <a:ext cx="192617" cy="196851"/>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97" name="Freeform 32">
                  <a:extLst>
                    <a:ext uri="{FF2B5EF4-FFF2-40B4-BE49-F238E27FC236}">
                      <a16:creationId xmlns:a16="http://schemas.microsoft.com/office/drawing/2014/main" id="{465BFA9D-EB4C-4EE7-8504-41088AD79F8D}"/>
                    </a:ext>
                  </a:extLst>
                </p:cNvPr>
                <p:cNvSpPr>
                  <a:spLocks/>
                </p:cNvSpPr>
                <p:nvPr/>
              </p:nvSpPr>
              <p:spPr bwMode="auto">
                <a:xfrm>
                  <a:off x="3556840" y="4766524"/>
                  <a:ext cx="150284" cy="152400"/>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cs typeface="+mn-cs"/>
                  </a:endParaRPr>
                </a:p>
              </p:txBody>
            </p:sp>
            <p:sp>
              <p:nvSpPr>
                <p:cNvPr id="198" name="Freeform 33">
                  <a:extLst>
                    <a:ext uri="{FF2B5EF4-FFF2-40B4-BE49-F238E27FC236}">
                      <a16:creationId xmlns:a16="http://schemas.microsoft.com/office/drawing/2014/main" id="{3EC77387-D0FC-4F78-AE10-3413C05889CE}"/>
                    </a:ext>
                  </a:extLst>
                </p:cNvPr>
                <p:cNvSpPr>
                  <a:spLocks/>
                </p:cNvSpPr>
                <p:nvPr/>
              </p:nvSpPr>
              <p:spPr bwMode="auto">
                <a:xfrm>
                  <a:off x="3556840" y="4766524"/>
                  <a:ext cx="150284" cy="152400"/>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199" name="Freeform 34">
                  <a:extLst>
                    <a:ext uri="{FF2B5EF4-FFF2-40B4-BE49-F238E27FC236}">
                      <a16:creationId xmlns:a16="http://schemas.microsoft.com/office/drawing/2014/main" id="{09282AEF-6654-49AD-ACC2-DD455BF98C21}"/>
                    </a:ext>
                  </a:extLst>
                </p:cNvPr>
                <p:cNvSpPr>
                  <a:spLocks/>
                </p:cNvSpPr>
                <p:nvPr/>
              </p:nvSpPr>
              <p:spPr bwMode="auto">
                <a:xfrm>
                  <a:off x="3550491" y="4749591"/>
                  <a:ext cx="110067" cy="114300"/>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00" name="Freeform 35">
                  <a:extLst>
                    <a:ext uri="{FF2B5EF4-FFF2-40B4-BE49-F238E27FC236}">
                      <a16:creationId xmlns:a16="http://schemas.microsoft.com/office/drawing/2014/main" id="{244B3938-BC42-45A9-8EFA-4FDF6D0BBC0E}"/>
                    </a:ext>
                  </a:extLst>
                </p:cNvPr>
                <p:cNvSpPr>
                  <a:spLocks/>
                </p:cNvSpPr>
                <p:nvPr/>
              </p:nvSpPr>
              <p:spPr bwMode="auto">
                <a:xfrm>
                  <a:off x="3550491" y="4749591"/>
                  <a:ext cx="110067" cy="114300"/>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grpSp>
        </p:grpSp>
      </p:grpSp>
      <p:grpSp>
        <p:nvGrpSpPr>
          <p:cNvPr id="250" name="Group 26">
            <a:extLst>
              <a:ext uri="{FF2B5EF4-FFF2-40B4-BE49-F238E27FC236}">
                <a16:creationId xmlns:a16="http://schemas.microsoft.com/office/drawing/2014/main" id="{82E28B23-FBE6-453A-A6DA-78D4F2144536}"/>
              </a:ext>
            </a:extLst>
          </p:cNvPr>
          <p:cNvGrpSpPr>
            <a:grpSpLocks noChangeAspect="1"/>
          </p:cNvGrpSpPr>
          <p:nvPr/>
        </p:nvGrpSpPr>
        <p:grpSpPr bwMode="auto">
          <a:xfrm>
            <a:off x="5363068" y="2582078"/>
            <a:ext cx="404006" cy="406595"/>
            <a:chOff x="1996" y="1235"/>
            <a:chExt cx="312" cy="314"/>
          </a:xfrm>
        </p:grpSpPr>
        <p:sp>
          <p:nvSpPr>
            <p:cNvPr id="251" name="Freeform 27">
              <a:extLst>
                <a:ext uri="{FF2B5EF4-FFF2-40B4-BE49-F238E27FC236}">
                  <a16:creationId xmlns:a16="http://schemas.microsoft.com/office/drawing/2014/main" id="{340E2715-9F71-4829-907E-F530757C9296}"/>
                </a:ext>
              </a:extLst>
            </p:cNvPr>
            <p:cNvSpPr>
              <a:spLocks/>
            </p:cNvSpPr>
            <p:nvPr/>
          </p:nvSpPr>
          <p:spPr bwMode="auto">
            <a:xfrm>
              <a:off x="1996" y="1235"/>
              <a:ext cx="312" cy="314"/>
            </a:xfrm>
            <a:custGeom>
              <a:avLst/>
              <a:gdLst>
                <a:gd name="T0" fmla="*/ 0 w 2839"/>
                <a:gd name="T1" fmla="*/ 1412 h 2825"/>
                <a:gd name="T2" fmla="*/ 0 w 2839"/>
                <a:gd name="T3" fmla="*/ 1412 h 2825"/>
                <a:gd name="T4" fmla="*/ 1419 w 2839"/>
                <a:gd name="T5" fmla="*/ 0 h 2825"/>
                <a:gd name="T6" fmla="*/ 2839 w 2839"/>
                <a:gd name="T7" fmla="*/ 1412 h 2825"/>
                <a:gd name="T8" fmla="*/ 1419 w 2839"/>
                <a:gd name="T9" fmla="*/ 2825 h 2825"/>
                <a:gd name="T10" fmla="*/ 0 w 2839"/>
                <a:gd name="T11" fmla="*/ 1412 h 2825"/>
                <a:gd name="T12" fmla="*/ 0 w 2839"/>
                <a:gd name="T13" fmla="*/ 1412 h 2825"/>
              </a:gdLst>
              <a:ahLst/>
              <a:cxnLst>
                <a:cxn ang="0">
                  <a:pos x="T0" y="T1"/>
                </a:cxn>
                <a:cxn ang="0">
                  <a:pos x="T2" y="T3"/>
                </a:cxn>
                <a:cxn ang="0">
                  <a:pos x="T4" y="T5"/>
                </a:cxn>
                <a:cxn ang="0">
                  <a:pos x="T6" y="T7"/>
                </a:cxn>
                <a:cxn ang="0">
                  <a:pos x="T8" y="T9"/>
                </a:cxn>
                <a:cxn ang="0">
                  <a:pos x="T10" y="T11"/>
                </a:cxn>
                <a:cxn ang="0">
                  <a:pos x="T12" y="T13"/>
                </a:cxn>
              </a:cxnLst>
              <a:rect l="0" t="0" r="r" b="b"/>
              <a:pathLst>
                <a:path w="2839" h="2825">
                  <a:moveTo>
                    <a:pt x="0" y="1412"/>
                  </a:moveTo>
                  <a:lnTo>
                    <a:pt x="0" y="1412"/>
                  </a:lnTo>
                  <a:cubicBezTo>
                    <a:pt x="0" y="631"/>
                    <a:pt x="635" y="0"/>
                    <a:pt x="1419" y="0"/>
                  </a:cubicBezTo>
                  <a:cubicBezTo>
                    <a:pt x="2204" y="0"/>
                    <a:pt x="2839" y="631"/>
                    <a:pt x="2839" y="1412"/>
                  </a:cubicBezTo>
                  <a:cubicBezTo>
                    <a:pt x="2839" y="2192"/>
                    <a:pt x="2204" y="2825"/>
                    <a:pt x="1419" y="2825"/>
                  </a:cubicBezTo>
                  <a:cubicBezTo>
                    <a:pt x="635" y="2825"/>
                    <a:pt x="0" y="2192"/>
                    <a:pt x="0" y="1412"/>
                  </a:cubicBezTo>
                  <a:lnTo>
                    <a:pt x="0" y="1412"/>
                  </a:lnTo>
                  <a:close/>
                </a:path>
              </a:pathLst>
            </a:custGeom>
            <a:solidFill>
              <a:schemeClr val="bg2"/>
            </a:solidFill>
            <a:ln w="12700" cap="flat" cmpd="sng" algn="ctr">
              <a:solidFill>
                <a:schemeClr val="accent5"/>
              </a:solidFill>
              <a:prstDash val="solid"/>
            </a:ln>
            <a:effectLst/>
          </p:spPr>
          <p:txBody>
            <a:bodyPr rtlCol="0" anchor="t"/>
            <a:lstStyle/>
            <a:p>
              <a:pPr marL="285736" marR="0" lvl="0" indent="-285736" algn="l" defTabSz="45717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252" name="Freeform 28">
              <a:extLst>
                <a:ext uri="{FF2B5EF4-FFF2-40B4-BE49-F238E27FC236}">
                  <a16:creationId xmlns:a16="http://schemas.microsoft.com/office/drawing/2014/main" id="{0882597C-988E-4514-AE6F-9E63CE81300B}"/>
                </a:ext>
              </a:extLst>
            </p:cNvPr>
            <p:cNvSpPr>
              <a:spLocks/>
            </p:cNvSpPr>
            <p:nvPr/>
          </p:nvSpPr>
          <p:spPr bwMode="auto">
            <a:xfrm>
              <a:off x="2119" y="1437"/>
              <a:ext cx="42" cy="42"/>
            </a:xfrm>
            <a:custGeom>
              <a:avLst/>
              <a:gdLst>
                <a:gd name="T0" fmla="*/ 0 w 376"/>
                <a:gd name="T1" fmla="*/ 191 h 382"/>
                <a:gd name="T2" fmla="*/ 0 w 376"/>
                <a:gd name="T3" fmla="*/ 191 h 382"/>
                <a:gd name="T4" fmla="*/ 188 w 376"/>
                <a:gd name="T5" fmla="*/ 0 h 382"/>
                <a:gd name="T6" fmla="*/ 376 w 376"/>
                <a:gd name="T7" fmla="*/ 191 h 382"/>
                <a:gd name="T8" fmla="*/ 188 w 376"/>
                <a:gd name="T9" fmla="*/ 382 h 382"/>
                <a:gd name="T10" fmla="*/ 0 w 376"/>
                <a:gd name="T11" fmla="*/ 191 h 382"/>
                <a:gd name="T12" fmla="*/ 0 w 376"/>
                <a:gd name="T13" fmla="*/ 191 h 382"/>
              </a:gdLst>
              <a:ahLst/>
              <a:cxnLst>
                <a:cxn ang="0">
                  <a:pos x="T0" y="T1"/>
                </a:cxn>
                <a:cxn ang="0">
                  <a:pos x="T2" y="T3"/>
                </a:cxn>
                <a:cxn ang="0">
                  <a:pos x="T4" y="T5"/>
                </a:cxn>
                <a:cxn ang="0">
                  <a:pos x="T6" y="T7"/>
                </a:cxn>
                <a:cxn ang="0">
                  <a:pos x="T8" y="T9"/>
                </a:cxn>
                <a:cxn ang="0">
                  <a:pos x="T10" y="T11"/>
                </a:cxn>
                <a:cxn ang="0">
                  <a:pos x="T12" y="T13"/>
                </a:cxn>
              </a:cxnLst>
              <a:rect l="0" t="0" r="r" b="b"/>
              <a:pathLst>
                <a:path w="376" h="382">
                  <a:moveTo>
                    <a:pt x="0" y="191"/>
                  </a:moveTo>
                  <a:lnTo>
                    <a:pt x="0" y="191"/>
                  </a:lnTo>
                  <a:cubicBezTo>
                    <a:pt x="0" y="86"/>
                    <a:pt x="84" y="0"/>
                    <a:pt x="188" y="0"/>
                  </a:cubicBezTo>
                  <a:cubicBezTo>
                    <a:pt x="291" y="0"/>
                    <a:pt x="376" y="86"/>
                    <a:pt x="376" y="191"/>
                  </a:cubicBezTo>
                  <a:cubicBezTo>
                    <a:pt x="376" y="297"/>
                    <a:pt x="291" y="382"/>
                    <a:pt x="188" y="382"/>
                  </a:cubicBezTo>
                  <a:cubicBezTo>
                    <a:pt x="84" y="382"/>
                    <a:pt x="0" y="297"/>
                    <a:pt x="0" y="191"/>
                  </a:cubicBezTo>
                  <a:lnTo>
                    <a:pt x="0" y="191"/>
                  </a:lnTo>
                  <a:close/>
                </a:path>
              </a:pathLst>
            </a:custGeom>
            <a:solidFill>
              <a:srgbClr val="282828">
                <a:lumMod val="50000"/>
                <a:lumOff val="50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53" name="Freeform 29">
              <a:extLst>
                <a:ext uri="{FF2B5EF4-FFF2-40B4-BE49-F238E27FC236}">
                  <a16:creationId xmlns:a16="http://schemas.microsoft.com/office/drawing/2014/main" id="{27D359FF-B77C-4F99-B1C8-F2BAF35CB32D}"/>
                </a:ext>
              </a:extLst>
            </p:cNvPr>
            <p:cNvSpPr>
              <a:spLocks/>
            </p:cNvSpPr>
            <p:nvPr/>
          </p:nvSpPr>
          <p:spPr bwMode="auto">
            <a:xfrm>
              <a:off x="2119" y="1437"/>
              <a:ext cx="42" cy="42"/>
            </a:xfrm>
            <a:custGeom>
              <a:avLst/>
              <a:gdLst>
                <a:gd name="T0" fmla="*/ 0 w 376"/>
                <a:gd name="T1" fmla="*/ 191 h 382"/>
                <a:gd name="T2" fmla="*/ 0 w 376"/>
                <a:gd name="T3" fmla="*/ 191 h 382"/>
                <a:gd name="T4" fmla="*/ 188 w 376"/>
                <a:gd name="T5" fmla="*/ 0 h 382"/>
                <a:gd name="T6" fmla="*/ 376 w 376"/>
                <a:gd name="T7" fmla="*/ 191 h 382"/>
                <a:gd name="T8" fmla="*/ 188 w 376"/>
                <a:gd name="T9" fmla="*/ 382 h 382"/>
                <a:gd name="T10" fmla="*/ 0 w 376"/>
                <a:gd name="T11" fmla="*/ 191 h 382"/>
                <a:gd name="T12" fmla="*/ 0 w 376"/>
                <a:gd name="T13" fmla="*/ 191 h 382"/>
              </a:gdLst>
              <a:ahLst/>
              <a:cxnLst>
                <a:cxn ang="0">
                  <a:pos x="T0" y="T1"/>
                </a:cxn>
                <a:cxn ang="0">
                  <a:pos x="T2" y="T3"/>
                </a:cxn>
                <a:cxn ang="0">
                  <a:pos x="T4" y="T5"/>
                </a:cxn>
                <a:cxn ang="0">
                  <a:pos x="T6" y="T7"/>
                </a:cxn>
                <a:cxn ang="0">
                  <a:pos x="T8" y="T9"/>
                </a:cxn>
                <a:cxn ang="0">
                  <a:pos x="T10" y="T11"/>
                </a:cxn>
                <a:cxn ang="0">
                  <a:pos x="T12" y="T13"/>
                </a:cxn>
              </a:cxnLst>
              <a:rect l="0" t="0" r="r" b="b"/>
              <a:pathLst>
                <a:path w="376" h="382">
                  <a:moveTo>
                    <a:pt x="0" y="191"/>
                  </a:moveTo>
                  <a:lnTo>
                    <a:pt x="0" y="191"/>
                  </a:lnTo>
                  <a:cubicBezTo>
                    <a:pt x="0" y="86"/>
                    <a:pt x="84" y="0"/>
                    <a:pt x="188" y="0"/>
                  </a:cubicBezTo>
                  <a:cubicBezTo>
                    <a:pt x="291" y="0"/>
                    <a:pt x="376" y="86"/>
                    <a:pt x="376" y="191"/>
                  </a:cubicBezTo>
                  <a:cubicBezTo>
                    <a:pt x="376" y="297"/>
                    <a:pt x="291" y="382"/>
                    <a:pt x="188" y="382"/>
                  </a:cubicBezTo>
                  <a:cubicBezTo>
                    <a:pt x="84" y="382"/>
                    <a:pt x="0" y="297"/>
                    <a:pt x="0" y="191"/>
                  </a:cubicBezTo>
                  <a:lnTo>
                    <a:pt x="0" y="191"/>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54" name="Freeform 30">
              <a:extLst>
                <a:ext uri="{FF2B5EF4-FFF2-40B4-BE49-F238E27FC236}">
                  <a16:creationId xmlns:a16="http://schemas.microsoft.com/office/drawing/2014/main" id="{B2AEE023-94FA-4E68-9B2E-C8EE591EA1F5}"/>
                </a:ext>
              </a:extLst>
            </p:cNvPr>
            <p:cNvSpPr>
              <a:spLocks/>
            </p:cNvSpPr>
            <p:nvPr/>
          </p:nvSpPr>
          <p:spPr bwMode="auto">
            <a:xfrm>
              <a:off x="2075" y="1449"/>
              <a:ext cx="74" cy="18"/>
            </a:xfrm>
            <a:custGeom>
              <a:avLst/>
              <a:gdLst>
                <a:gd name="T0" fmla="*/ 0 w 679"/>
                <a:gd name="T1" fmla="*/ 69 h 164"/>
                <a:gd name="T2" fmla="*/ 0 w 679"/>
                <a:gd name="T3" fmla="*/ 69 h 164"/>
                <a:gd name="T4" fmla="*/ 69 w 679"/>
                <a:gd name="T5" fmla="*/ 0 h 164"/>
                <a:gd name="T6" fmla="*/ 610 w 679"/>
                <a:gd name="T7" fmla="*/ 0 h 164"/>
                <a:gd name="T8" fmla="*/ 679 w 679"/>
                <a:gd name="T9" fmla="*/ 69 h 164"/>
                <a:gd name="T10" fmla="*/ 679 w 679"/>
                <a:gd name="T11" fmla="*/ 95 h 164"/>
                <a:gd name="T12" fmla="*/ 610 w 679"/>
                <a:gd name="T13" fmla="*/ 164 h 164"/>
                <a:gd name="T14" fmla="*/ 69 w 679"/>
                <a:gd name="T15" fmla="*/ 164 h 164"/>
                <a:gd name="T16" fmla="*/ 0 w 679"/>
                <a:gd name="T17" fmla="*/ 95 h 164"/>
                <a:gd name="T18" fmla="*/ 0 w 679"/>
                <a:gd name="T19" fmla="*/ 6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9" h="164">
                  <a:moveTo>
                    <a:pt x="0" y="69"/>
                  </a:moveTo>
                  <a:lnTo>
                    <a:pt x="0" y="69"/>
                  </a:lnTo>
                  <a:cubicBezTo>
                    <a:pt x="0" y="31"/>
                    <a:pt x="31" y="0"/>
                    <a:pt x="69" y="0"/>
                  </a:cubicBezTo>
                  <a:lnTo>
                    <a:pt x="610" y="0"/>
                  </a:lnTo>
                  <a:cubicBezTo>
                    <a:pt x="648" y="0"/>
                    <a:pt x="679" y="31"/>
                    <a:pt x="679" y="69"/>
                  </a:cubicBezTo>
                  <a:lnTo>
                    <a:pt x="679" y="95"/>
                  </a:lnTo>
                  <a:cubicBezTo>
                    <a:pt x="679" y="133"/>
                    <a:pt x="648" y="164"/>
                    <a:pt x="610" y="164"/>
                  </a:cubicBezTo>
                  <a:lnTo>
                    <a:pt x="69" y="164"/>
                  </a:lnTo>
                  <a:cubicBezTo>
                    <a:pt x="31" y="164"/>
                    <a:pt x="0" y="133"/>
                    <a:pt x="0" y="95"/>
                  </a:cubicBezTo>
                  <a:lnTo>
                    <a:pt x="0" y="69"/>
                  </a:lnTo>
                  <a:close/>
                </a:path>
              </a:pathLst>
            </a:custGeom>
            <a:solidFill>
              <a:srgbClr val="282828">
                <a:lumMod val="25000"/>
                <a:lumOff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55" name="Freeform 31">
              <a:extLst>
                <a:ext uri="{FF2B5EF4-FFF2-40B4-BE49-F238E27FC236}">
                  <a16:creationId xmlns:a16="http://schemas.microsoft.com/office/drawing/2014/main" id="{C9F5ACE3-C066-4669-A062-31E63800A0D8}"/>
                </a:ext>
              </a:extLst>
            </p:cNvPr>
            <p:cNvSpPr>
              <a:spLocks/>
            </p:cNvSpPr>
            <p:nvPr/>
          </p:nvSpPr>
          <p:spPr bwMode="auto">
            <a:xfrm>
              <a:off x="2075" y="1449"/>
              <a:ext cx="74" cy="18"/>
            </a:xfrm>
            <a:custGeom>
              <a:avLst/>
              <a:gdLst>
                <a:gd name="T0" fmla="*/ 0 w 679"/>
                <a:gd name="T1" fmla="*/ 69 h 164"/>
                <a:gd name="T2" fmla="*/ 0 w 679"/>
                <a:gd name="T3" fmla="*/ 69 h 164"/>
                <a:gd name="T4" fmla="*/ 69 w 679"/>
                <a:gd name="T5" fmla="*/ 0 h 164"/>
                <a:gd name="T6" fmla="*/ 610 w 679"/>
                <a:gd name="T7" fmla="*/ 0 h 164"/>
                <a:gd name="T8" fmla="*/ 679 w 679"/>
                <a:gd name="T9" fmla="*/ 69 h 164"/>
                <a:gd name="T10" fmla="*/ 679 w 679"/>
                <a:gd name="T11" fmla="*/ 95 h 164"/>
                <a:gd name="T12" fmla="*/ 610 w 679"/>
                <a:gd name="T13" fmla="*/ 164 h 164"/>
                <a:gd name="T14" fmla="*/ 69 w 679"/>
                <a:gd name="T15" fmla="*/ 164 h 164"/>
                <a:gd name="T16" fmla="*/ 0 w 679"/>
                <a:gd name="T17" fmla="*/ 95 h 164"/>
                <a:gd name="T18" fmla="*/ 0 w 679"/>
                <a:gd name="T19" fmla="*/ 6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9" h="164">
                  <a:moveTo>
                    <a:pt x="0" y="69"/>
                  </a:moveTo>
                  <a:lnTo>
                    <a:pt x="0" y="69"/>
                  </a:lnTo>
                  <a:cubicBezTo>
                    <a:pt x="0" y="31"/>
                    <a:pt x="31" y="0"/>
                    <a:pt x="69" y="0"/>
                  </a:cubicBezTo>
                  <a:lnTo>
                    <a:pt x="610" y="0"/>
                  </a:lnTo>
                  <a:cubicBezTo>
                    <a:pt x="648" y="0"/>
                    <a:pt x="679" y="31"/>
                    <a:pt x="679" y="69"/>
                  </a:cubicBezTo>
                  <a:lnTo>
                    <a:pt x="679" y="95"/>
                  </a:lnTo>
                  <a:cubicBezTo>
                    <a:pt x="679" y="133"/>
                    <a:pt x="648" y="164"/>
                    <a:pt x="610" y="164"/>
                  </a:cubicBezTo>
                  <a:lnTo>
                    <a:pt x="69" y="164"/>
                  </a:lnTo>
                  <a:cubicBezTo>
                    <a:pt x="31" y="164"/>
                    <a:pt x="0" y="133"/>
                    <a:pt x="0" y="95"/>
                  </a:cubicBezTo>
                  <a:lnTo>
                    <a:pt x="0" y="69"/>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56" name="Freeform 32">
              <a:extLst>
                <a:ext uri="{FF2B5EF4-FFF2-40B4-BE49-F238E27FC236}">
                  <a16:creationId xmlns:a16="http://schemas.microsoft.com/office/drawing/2014/main" id="{8A73BC81-D44D-4690-AA99-7D0FA87198AD}"/>
                </a:ext>
              </a:extLst>
            </p:cNvPr>
            <p:cNvSpPr>
              <a:spLocks/>
            </p:cNvSpPr>
            <p:nvPr/>
          </p:nvSpPr>
          <p:spPr bwMode="auto">
            <a:xfrm>
              <a:off x="2130" y="1401"/>
              <a:ext cx="19" cy="60"/>
            </a:xfrm>
            <a:custGeom>
              <a:avLst/>
              <a:gdLst>
                <a:gd name="T0" fmla="*/ 155 w 171"/>
                <a:gd name="T1" fmla="*/ 0 h 540"/>
                <a:gd name="T2" fmla="*/ 155 w 171"/>
                <a:gd name="T3" fmla="*/ 0 h 540"/>
                <a:gd name="T4" fmla="*/ 171 w 171"/>
                <a:gd name="T5" fmla="*/ 16 h 540"/>
                <a:gd name="T6" fmla="*/ 171 w 171"/>
                <a:gd name="T7" fmla="*/ 523 h 540"/>
                <a:gd name="T8" fmla="*/ 155 w 171"/>
                <a:gd name="T9" fmla="*/ 540 h 540"/>
                <a:gd name="T10" fmla="*/ 16 w 171"/>
                <a:gd name="T11" fmla="*/ 540 h 540"/>
                <a:gd name="T12" fmla="*/ 0 w 171"/>
                <a:gd name="T13" fmla="*/ 523 h 540"/>
                <a:gd name="T14" fmla="*/ 0 w 171"/>
                <a:gd name="T15" fmla="*/ 16 h 540"/>
                <a:gd name="T16" fmla="*/ 16 w 171"/>
                <a:gd name="T17" fmla="*/ 0 h 540"/>
                <a:gd name="T18" fmla="*/ 155 w 171"/>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540">
                  <a:moveTo>
                    <a:pt x="155" y="0"/>
                  </a:moveTo>
                  <a:lnTo>
                    <a:pt x="155" y="0"/>
                  </a:lnTo>
                  <a:cubicBezTo>
                    <a:pt x="164" y="0"/>
                    <a:pt x="171" y="7"/>
                    <a:pt x="171" y="16"/>
                  </a:cubicBezTo>
                  <a:lnTo>
                    <a:pt x="171" y="523"/>
                  </a:lnTo>
                  <a:cubicBezTo>
                    <a:pt x="171" y="532"/>
                    <a:pt x="164" y="540"/>
                    <a:pt x="155" y="540"/>
                  </a:cubicBezTo>
                  <a:lnTo>
                    <a:pt x="16" y="540"/>
                  </a:lnTo>
                  <a:cubicBezTo>
                    <a:pt x="7" y="540"/>
                    <a:pt x="0" y="532"/>
                    <a:pt x="0" y="523"/>
                  </a:cubicBezTo>
                  <a:lnTo>
                    <a:pt x="0" y="16"/>
                  </a:lnTo>
                  <a:cubicBezTo>
                    <a:pt x="0" y="7"/>
                    <a:pt x="7" y="0"/>
                    <a:pt x="16" y="0"/>
                  </a:cubicBezTo>
                  <a:lnTo>
                    <a:pt x="155" y="0"/>
                  </a:lnTo>
                  <a:close/>
                </a:path>
              </a:pathLst>
            </a:custGeom>
            <a:solidFill>
              <a:srgbClr val="282828">
                <a:lumMod val="25000"/>
                <a:lumOff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57" name="Freeform 33">
              <a:extLst>
                <a:ext uri="{FF2B5EF4-FFF2-40B4-BE49-F238E27FC236}">
                  <a16:creationId xmlns:a16="http://schemas.microsoft.com/office/drawing/2014/main" id="{0E6DC46F-8710-4481-8ABE-D8B2CEF8BBD9}"/>
                </a:ext>
              </a:extLst>
            </p:cNvPr>
            <p:cNvSpPr>
              <a:spLocks/>
            </p:cNvSpPr>
            <p:nvPr/>
          </p:nvSpPr>
          <p:spPr bwMode="auto">
            <a:xfrm>
              <a:off x="2130" y="1401"/>
              <a:ext cx="19" cy="60"/>
            </a:xfrm>
            <a:custGeom>
              <a:avLst/>
              <a:gdLst>
                <a:gd name="T0" fmla="*/ 155 w 171"/>
                <a:gd name="T1" fmla="*/ 0 h 540"/>
                <a:gd name="T2" fmla="*/ 155 w 171"/>
                <a:gd name="T3" fmla="*/ 0 h 540"/>
                <a:gd name="T4" fmla="*/ 171 w 171"/>
                <a:gd name="T5" fmla="*/ 16 h 540"/>
                <a:gd name="T6" fmla="*/ 171 w 171"/>
                <a:gd name="T7" fmla="*/ 523 h 540"/>
                <a:gd name="T8" fmla="*/ 155 w 171"/>
                <a:gd name="T9" fmla="*/ 540 h 540"/>
                <a:gd name="T10" fmla="*/ 16 w 171"/>
                <a:gd name="T11" fmla="*/ 540 h 540"/>
                <a:gd name="T12" fmla="*/ 0 w 171"/>
                <a:gd name="T13" fmla="*/ 523 h 540"/>
                <a:gd name="T14" fmla="*/ 0 w 171"/>
                <a:gd name="T15" fmla="*/ 16 h 540"/>
                <a:gd name="T16" fmla="*/ 16 w 171"/>
                <a:gd name="T17" fmla="*/ 0 h 540"/>
                <a:gd name="T18" fmla="*/ 155 w 171"/>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540">
                  <a:moveTo>
                    <a:pt x="155" y="0"/>
                  </a:moveTo>
                  <a:lnTo>
                    <a:pt x="155" y="0"/>
                  </a:lnTo>
                  <a:cubicBezTo>
                    <a:pt x="164" y="0"/>
                    <a:pt x="171" y="7"/>
                    <a:pt x="171" y="16"/>
                  </a:cubicBezTo>
                  <a:lnTo>
                    <a:pt x="171" y="523"/>
                  </a:lnTo>
                  <a:cubicBezTo>
                    <a:pt x="171" y="532"/>
                    <a:pt x="164" y="540"/>
                    <a:pt x="155" y="540"/>
                  </a:cubicBezTo>
                  <a:lnTo>
                    <a:pt x="16" y="540"/>
                  </a:lnTo>
                  <a:cubicBezTo>
                    <a:pt x="7" y="540"/>
                    <a:pt x="0" y="532"/>
                    <a:pt x="0" y="523"/>
                  </a:cubicBezTo>
                  <a:lnTo>
                    <a:pt x="0" y="16"/>
                  </a:lnTo>
                  <a:cubicBezTo>
                    <a:pt x="0" y="7"/>
                    <a:pt x="7" y="0"/>
                    <a:pt x="16" y="0"/>
                  </a:cubicBezTo>
                  <a:lnTo>
                    <a:pt x="155" y="0"/>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58" name="Freeform 34">
              <a:extLst>
                <a:ext uri="{FF2B5EF4-FFF2-40B4-BE49-F238E27FC236}">
                  <a16:creationId xmlns:a16="http://schemas.microsoft.com/office/drawing/2014/main" id="{0AFCEE71-BD02-4EB8-B6D9-5E4E74F8AA64}"/>
                </a:ext>
              </a:extLst>
            </p:cNvPr>
            <p:cNvSpPr>
              <a:spLocks/>
            </p:cNvSpPr>
            <p:nvPr/>
          </p:nvSpPr>
          <p:spPr bwMode="auto">
            <a:xfrm>
              <a:off x="2130" y="1448"/>
              <a:ext cx="20" cy="20"/>
            </a:xfrm>
            <a:custGeom>
              <a:avLst/>
              <a:gdLst>
                <a:gd name="T0" fmla="*/ 0 w 180"/>
                <a:gd name="T1" fmla="*/ 0 h 176"/>
                <a:gd name="T2" fmla="*/ 0 w 180"/>
                <a:gd name="T3" fmla="*/ 0 h 176"/>
                <a:gd name="T4" fmla="*/ 26 w 180"/>
                <a:gd name="T5" fmla="*/ 111 h 176"/>
                <a:gd name="T6" fmla="*/ 116 w 180"/>
                <a:gd name="T7" fmla="*/ 166 h 176"/>
                <a:gd name="T8" fmla="*/ 126 w 180"/>
                <a:gd name="T9" fmla="*/ 162 h 176"/>
                <a:gd name="T10" fmla="*/ 127 w 180"/>
                <a:gd name="T11" fmla="*/ 160 h 176"/>
                <a:gd name="T12" fmla="*/ 129 w 180"/>
                <a:gd name="T13" fmla="*/ 162 h 176"/>
                <a:gd name="T14" fmla="*/ 149 w 180"/>
                <a:gd name="T15" fmla="*/ 147 h 176"/>
                <a:gd name="T16" fmla="*/ 151 w 180"/>
                <a:gd name="T17" fmla="*/ 145 h 176"/>
                <a:gd name="T18" fmla="*/ 151 w 180"/>
                <a:gd name="T19" fmla="*/ 145 h 176"/>
                <a:gd name="T20" fmla="*/ 151 w 180"/>
                <a:gd name="T21" fmla="*/ 145 h 176"/>
                <a:gd name="T22" fmla="*/ 154 w 180"/>
                <a:gd name="T23" fmla="*/ 145 h 176"/>
                <a:gd name="T24" fmla="*/ 156 w 180"/>
                <a:gd name="T25" fmla="*/ 143 h 176"/>
                <a:gd name="T26" fmla="*/ 156 w 180"/>
                <a:gd name="T27" fmla="*/ 143 h 176"/>
                <a:gd name="T28" fmla="*/ 156 w 180"/>
                <a:gd name="T29" fmla="*/ 140 h 176"/>
                <a:gd name="T30" fmla="*/ 157 w 180"/>
                <a:gd name="T31" fmla="*/ 138 h 176"/>
                <a:gd name="T32" fmla="*/ 157 w 180"/>
                <a:gd name="T33" fmla="*/ 138 h 176"/>
                <a:gd name="T34" fmla="*/ 157 w 180"/>
                <a:gd name="T35" fmla="*/ 138 h 176"/>
                <a:gd name="T36" fmla="*/ 172 w 180"/>
                <a:gd name="T37" fmla="*/ 115 h 176"/>
                <a:gd name="T38" fmla="*/ 171 w 180"/>
                <a:gd name="T39" fmla="*/ 113 h 176"/>
                <a:gd name="T40" fmla="*/ 172 w 180"/>
                <a:gd name="T41" fmla="*/ 112 h 176"/>
                <a:gd name="T42" fmla="*/ 174 w 180"/>
                <a:gd name="T43" fmla="*/ 104 h 176"/>
                <a:gd name="T44" fmla="*/ 111 w 180"/>
                <a:gd name="T45" fmla="*/ 19 h 176"/>
                <a:gd name="T46" fmla="*/ 0 w 180"/>
                <a:gd name="T4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0" h="176">
                  <a:moveTo>
                    <a:pt x="0" y="0"/>
                  </a:moveTo>
                  <a:lnTo>
                    <a:pt x="0" y="0"/>
                  </a:lnTo>
                  <a:cubicBezTo>
                    <a:pt x="26" y="111"/>
                    <a:pt x="26" y="111"/>
                    <a:pt x="26" y="111"/>
                  </a:cubicBezTo>
                  <a:cubicBezTo>
                    <a:pt x="36" y="150"/>
                    <a:pt x="77" y="176"/>
                    <a:pt x="116" y="166"/>
                  </a:cubicBezTo>
                  <a:cubicBezTo>
                    <a:pt x="121" y="164"/>
                    <a:pt x="123" y="162"/>
                    <a:pt x="126" y="162"/>
                  </a:cubicBezTo>
                  <a:cubicBezTo>
                    <a:pt x="126" y="162"/>
                    <a:pt x="126" y="162"/>
                    <a:pt x="127" y="160"/>
                  </a:cubicBezTo>
                  <a:cubicBezTo>
                    <a:pt x="127" y="160"/>
                    <a:pt x="127" y="160"/>
                    <a:pt x="129" y="162"/>
                  </a:cubicBezTo>
                  <a:cubicBezTo>
                    <a:pt x="137" y="157"/>
                    <a:pt x="143" y="153"/>
                    <a:pt x="149" y="147"/>
                  </a:cubicBezTo>
                  <a:cubicBezTo>
                    <a:pt x="151" y="145"/>
                    <a:pt x="151" y="145"/>
                    <a:pt x="151" y="145"/>
                  </a:cubicBezTo>
                  <a:cubicBezTo>
                    <a:pt x="151" y="145"/>
                    <a:pt x="151" y="145"/>
                    <a:pt x="151" y="145"/>
                  </a:cubicBezTo>
                  <a:cubicBezTo>
                    <a:pt x="151" y="145"/>
                    <a:pt x="151" y="145"/>
                    <a:pt x="151" y="145"/>
                  </a:cubicBezTo>
                  <a:cubicBezTo>
                    <a:pt x="151" y="145"/>
                    <a:pt x="154" y="145"/>
                    <a:pt x="154" y="145"/>
                  </a:cubicBezTo>
                  <a:cubicBezTo>
                    <a:pt x="156" y="143"/>
                    <a:pt x="156" y="143"/>
                    <a:pt x="156" y="143"/>
                  </a:cubicBezTo>
                  <a:cubicBezTo>
                    <a:pt x="156" y="143"/>
                    <a:pt x="156" y="143"/>
                    <a:pt x="156" y="143"/>
                  </a:cubicBezTo>
                  <a:cubicBezTo>
                    <a:pt x="157" y="141"/>
                    <a:pt x="156" y="140"/>
                    <a:pt x="156" y="140"/>
                  </a:cubicBezTo>
                  <a:cubicBezTo>
                    <a:pt x="156" y="140"/>
                    <a:pt x="156" y="140"/>
                    <a:pt x="157" y="138"/>
                  </a:cubicBezTo>
                  <a:cubicBezTo>
                    <a:pt x="157" y="138"/>
                    <a:pt x="157" y="138"/>
                    <a:pt x="157" y="138"/>
                  </a:cubicBezTo>
                  <a:cubicBezTo>
                    <a:pt x="157" y="138"/>
                    <a:pt x="157" y="138"/>
                    <a:pt x="157" y="138"/>
                  </a:cubicBezTo>
                  <a:cubicBezTo>
                    <a:pt x="163" y="131"/>
                    <a:pt x="168" y="123"/>
                    <a:pt x="172" y="115"/>
                  </a:cubicBezTo>
                  <a:cubicBezTo>
                    <a:pt x="171" y="113"/>
                    <a:pt x="171" y="113"/>
                    <a:pt x="171" y="113"/>
                  </a:cubicBezTo>
                  <a:cubicBezTo>
                    <a:pt x="171" y="113"/>
                    <a:pt x="171" y="113"/>
                    <a:pt x="172" y="112"/>
                  </a:cubicBezTo>
                  <a:cubicBezTo>
                    <a:pt x="172" y="109"/>
                    <a:pt x="174" y="107"/>
                    <a:pt x="174" y="104"/>
                  </a:cubicBezTo>
                  <a:cubicBezTo>
                    <a:pt x="180" y="63"/>
                    <a:pt x="152" y="25"/>
                    <a:pt x="111" y="19"/>
                  </a:cubicBezTo>
                  <a:cubicBezTo>
                    <a:pt x="0" y="0"/>
                    <a:pt x="0" y="0"/>
                    <a:pt x="0" y="0"/>
                  </a:cubicBezTo>
                  <a:close/>
                </a:path>
              </a:pathLst>
            </a:custGeom>
            <a:solidFill>
              <a:srgbClr val="282828">
                <a:lumMod val="50000"/>
                <a:lumOff val="50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59" name="Freeform 35">
              <a:extLst>
                <a:ext uri="{FF2B5EF4-FFF2-40B4-BE49-F238E27FC236}">
                  <a16:creationId xmlns:a16="http://schemas.microsoft.com/office/drawing/2014/main" id="{012FEB7A-DED7-4AA2-9E49-7CAE8E0ABC3D}"/>
                </a:ext>
              </a:extLst>
            </p:cNvPr>
            <p:cNvSpPr>
              <a:spLocks/>
            </p:cNvSpPr>
            <p:nvPr/>
          </p:nvSpPr>
          <p:spPr bwMode="auto">
            <a:xfrm>
              <a:off x="2130" y="1448"/>
              <a:ext cx="20" cy="20"/>
            </a:xfrm>
            <a:custGeom>
              <a:avLst/>
              <a:gdLst>
                <a:gd name="T0" fmla="*/ 0 w 180"/>
                <a:gd name="T1" fmla="*/ 0 h 176"/>
                <a:gd name="T2" fmla="*/ 0 w 180"/>
                <a:gd name="T3" fmla="*/ 0 h 176"/>
                <a:gd name="T4" fmla="*/ 26 w 180"/>
                <a:gd name="T5" fmla="*/ 111 h 176"/>
                <a:gd name="T6" fmla="*/ 116 w 180"/>
                <a:gd name="T7" fmla="*/ 166 h 176"/>
                <a:gd name="T8" fmla="*/ 126 w 180"/>
                <a:gd name="T9" fmla="*/ 162 h 176"/>
                <a:gd name="T10" fmla="*/ 127 w 180"/>
                <a:gd name="T11" fmla="*/ 160 h 176"/>
                <a:gd name="T12" fmla="*/ 129 w 180"/>
                <a:gd name="T13" fmla="*/ 162 h 176"/>
                <a:gd name="T14" fmla="*/ 149 w 180"/>
                <a:gd name="T15" fmla="*/ 147 h 176"/>
                <a:gd name="T16" fmla="*/ 151 w 180"/>
                <a:gd name="T17" fmla="*/ 145 h 176"/>
                <a:gd name="T18" fmla="*/ 151 w 180"/>
                <a:gd name="T19" fmla="*/ 145 h 176"/>
                <a:gd name="T20" fmla="*/ 151 w 180"/>
                <a:gd name="T21" fmla="*/ 145 h 176"/>
                <a:gd name="T22" fmla="*/ 154 w 180"/>
                <a:gd name="T23" fmla="*/ 145 h 176"/>
                <a:gd name="T24" fmla="*/ 156 w 180"/>
                <a:gd name="T25" fmla="*/ 143 h 176"/>
                <a:gd name="T26" fmla="*/ 156 w 180"/>
                <a:gd name="T27" fmla="*/ 143 h 176"/>
                <a:gd name="T28" fmla="*/ 156 w 180"/>
                <a:gd name="T29" fmla="*/ 140 h 176"/>
                <a:gd name="T30" fmla="*/ 157 w 180"/>
                <a:gd name="T31" fmla="*/ 138 h 176"/>
                <a:gd name="T32" fmla="*/ 157 w 180"/>
                <a:gd name="T33" fmla="*/ 138 h 176"/>
                <a:gd name="T34" fmla="*/ 157 w 180"/>
                <a:gd name="T35" fmla="*/ 138 h 176"/>
                <a:gd name="T36" fmla="*/ 172 w 180"/>
                <a:gd name="T37" fmla="*/ 115 h 176"/>
                <a:gd name="T38" fmla="*/ 171 w 180"/>
                <a:gd name="T39" fmla="*/ 113 h 176"/>
                <a:gd name="T40" fmla="*/ 172 w 180"/>
                <a:gd name="T41" fmla="*/ 112 h 176"/>
                <a:gd name="T42" fmla="*/ 174 w 180"/>
                <a:gd name="T43" fmla="*/ 104 h 176"/>
                <a:gd name="T44" fmla="*/ 111 w 180"/>
                <a:gd name="T45" fmla="*/ 19 h 176"/>
                <a:gd name="T46" fmla="*/ 0 w 180"/>
                <a:gd name="T4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0" h="176">
                  <a:moveTo>
                    <a:pt x="0" y="0"/>
                  </a:moveTo>
                  <a:lnTo>
                    <a:pt x="0" y="0"/>
                  </a:lnTo>
                  <a:cubicBezTo>
                    <a:pt x="26" y="111"/>
                    <a:pt x="26" y="111"/>
                    <a:pt x="26" y="111"/>
                  </a:cubicBezTo>
                  <a:cubicBezTo>
                    <a:pt x="36" y="150"/>
                    <a:pt x="77" y="176"/>
                    <a:pt x="116" y="166"/>
                  </a:cubicBezTo>
                  <a:cubicBezTo>
                    <a:pt x="121" y="164"/>
                    <a:pt x="123" y="162"/>
                    <a:pt x="126" y="162"/>
                  </a:cubicBezTo>
                  <a:cubicBezTo>
                    <a:pt x="126" y="162"/>
                    <a:pt x="126" y="162"/>
                    <a:pt x="127" y="160"/>
                  </a:cubicBezTo>
                  <a:cubicBezTo>
                    <a:pt x="127" y="160"/>
                    <a:pt x="127" y="160"/>
                    <a:pt x="129" y="162"/>
                  </a:cubicBezTo>
                  <a:cubicBezTo>
                    <a:pt x="137" y="157"/>
                    <a:pt x="143" y="153"/>
                    <a:pt x="149" y="147"/>
                  </a:cubicBezTo>
                  <a:cubicBezTo>
                    <a:pt x="151" y="145"/>
                    <a:pt x="151" y="145"/>
                    <a:pt x="151" y="145"/>
                  </a:cubicBezTo>
                  <a:cubicBezTo>
                    <a:pt x="151" y="145"/>
                    <a:pt x="151" y="145"/>
                    <a:pt x="151" y="145"/>
                  </a:cubicBezTo>
                  <a:cubicBezTo>
                    <a:pt x="151" y="145"/>
                    <a:pt x="151" y="145"/>
                    <a:pt x="151" y="145"/>
                  </a:cubicBezTo>
                  <a:cubicBezTo>
                    <a:pt x="151" y="145"/>
                    <a:pt x="154" y="145"/>
                    <a:pt x="154" y="145"/>
                  </a:cubicBezTo>
                  <a:cubicBezTo>
                    <a:pt x="156" y="143"/>
                    <a:pt x="156" y="143"/>
                    <a:pt x="156" y="143"/>
                  </a:cubicBezTo>
                  <a:cubicBezTo>
                    <a:pt x="156" y="143"/>
                    <a:pt x="156" y="143"/>
                    <a:pt x="156" y="143"/>
                  </a:cubicBezTo>
                  <a:cubicBezTo>
                    <a:pt x="157" y="141"/>
                    <a:pt x="156" y="140"/>
                    <a:pt x="156" y="140"/>
                  </a:cubicBezTo>
                  <a:cubicBezTo>
                    <a:pt x="156" y="140"/>
                    <a:pt x="156" y="140"/>
                    <a:pt x="157" y="138"/>
                  </a:cubicBezTo>
                  <a:cubicBezTo>
                    <a:pt x="157" y="138"/>
                    <a:pt x="157" y="138"/>
                    <a:pt x="157" y="138"/>
                  </a:cubicBezTo>
                  <a:cubicBezTo>
                    <a:pt x="157" y="138"/>
                    <a:pt x="157" y="138"/>
                    <a:pt x="157" y="138"/>
                  </a:cubicBezTo>
                  <a:cubicBezTo>
                    <a:pt x="163" y="131"/>
                    <a:pt x="168" y="123"/>
                    <a:pt x="172" y="115"/>
                  </a:cubicBezTo>
                  <a:cubicBezTo>
                    <a:pt x="171" y="113"/>
                    <a:pt x="171" y="113"/>
                    <a:pt x="171" y="113"/>
                  </a:cubicBezTo>
                  <a:cubicBezTo>
                    <a:pt x="171" y="113"/>
                    <a:pt x="171" y="113"/>
                    <a:pt x="172" y="112"/>
                  </a:cubicBezTo>
                  <a:cubicBezTo>
                    <a:pt x="172" y="109"/>
                    <a:pt x="174" y="107"/>
                    <a:pt x="174" y="104"/>
                  </a:cubicBezTo>
                  <a:cubicBezTo>
                    <a:pt x="180" y="63"/>
                    <a:pt x="152" y="25"/>
                    <a:pt x="111" y="19"/>
                  </a:cubicBezTo>
                  <a:cubicBezTo>
                    <a:pt x="0" y="0"/>
                    <a:pt x="0" y="0"/>
                    <a:pt x="0" y="0"/>
                  </a:cubicBez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60" name="Freeform 36">
              <a:extLst>
                <a:ext uri="{FF2B5EF4-FFF2-40B4-BE49-F238E27FC236}">
                  <a16:creationId xmlns:a16="http://schemas.microsoft.com/office/drawing/2014/main" id="{787661E5-9659-4D31-B59A-DD2F269ED6CB}"/>
                </a:ext>
              </a:extLst>
            </p:cNvPr>
            <p:cNvSpPr>
              <a:spLocks/>
            </p:cNvSpPr>
            <p:nvPr/>
          </p:nvSpPr>
          <p:spPr bwMode="auto">
            <a:xfrm>
              <a:off x="2112" y="1363"/>
              <a:ext cx="66" cy="48"/>
            </a:xfrm>
            <a:custGeom>
              <a:avLst/>
              <a:gdLst>
                <a:gd name="T0" fmla="*/ 50 w 597"/>
                <a:gd name="T1" fmla="*/ 51 h 432"/>
                <a:gd name="T2" fmla="*/ 50 w 597"/>
                <a:gd name="T3" fmla="*/ 51 h 432"/>
                <a:gd name="T4" fmla="*/ 117 w 597"/>
                <a:gd name="T5" fmla="*/ 6 h 432"/>
                <a:gd name="T6" fmla="*/ 546 w 597"/>
                <a:gd name="T7" fmla="*/ 92 h 432"/>
                <a:gd name="T8" fmla="*/ 591 w 597"/>
                <a:gd name="T9" fmla="*/ 159 h 432"/>
                <a:gd name="T10" fmla="*/ 547 w 597"/>
                <a:gd name="T11" fmla="*/ 381 h 432"/>
                <a:gd name="T12" fmla="*/ 480 w 597"/>
                <a:gd name="T13" fmla="*/ 426 h 432"/>
                <a:gd name="T14" fmla="*/ 50 w 597"/>
                <a:gd name="T15" fmla="*/ 340 h 432"/>
                <a:gd name="T16" fmla="*/ 6 w 597"/>
                <a:gd name="T17" fmla="*/ 274 h 432"/>
                <a:gd name="T18" fmla="*/ 50 w 597"/>
                <a:gd name="T19" fmla="*/ 51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7" h="432">
                  <a:moveTo>
                    <a:pt x="50" y="51"/>
                  </a:moveTo>
                  <a:lnTo>
                    <a:pt x="50" y="51"/>
                  </a:lnTo>
                  <a:cubicBezTo>
                    <a:pt x="56" y="20"/>
                    <a:pt x="86" y="0"/>
                    <a:pt x="117" y="6"/>
                  </a:cubicBezTo>
                  <a:lnTo>
                    <a:pt x="546" y="92"/>
                  </a:lnTo>
                  <a:cubicBezTo>
                    <a:pt x="577" y="98"/>
                    <a:pt x="597" y="128"/>
                    <a:pt x="591" y="159"/>
                  </a:cubicBezTo>
                  <a:lnTo>
                    <a:pt x="547" y="381"/>
                  </a:lnTo>
                  <a:cubicBezTo>
                    <a:pt x="540" y="412"/>
                    <a:pt x="511" y="432"/>
                    <a:pt x="480" y="426"/>
                  </a:cubicBezTo>
                  <a:lnTo>
                    <a:pt x="50" y="340"/>
                  </a:lnTo>
                  <a:cubicBezTo>
                    <a:pt x="20" y="334"/>
                    <a:pt x="0" y="304"/>
                    <a:pt x="6" y="274"/>
                  </a:cubicBezTo>
                  <a:lnTo>
                    <a:pt x="50" y="51"/>
                  </a:lnTo>
                  <a:close/>
                </a:path>
              </a:pathLst>
            </a:custGeom>
            <a:solidFill>
              <a:srgbClr val="282828">
                <a:lumMod val="50000"/>
                <a:lumOff val="50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61" name="Freeform 37">
              <a:extLst>
                <a:ext uri="{FF2B5EF4-FFF2-40B4-BE49-F238E27FC236}">
                  <a16:creationId xmlns:a16="http://schemas.microsoft.com/office/drawing/2014/main" id="{6CDEA29D-2A36-4ACA-B57E-9C492D4115AC}"/>
                </a:ext>
              </a:extLst>
            </p:cNvPr>
            <p:cNvSpPr>
              <a:spLocks/>
            </p:cNvSpPr>
            <p:nvPr/>
          </p:nvSpPr>
          <p:spPr bwMode="auto">
            <a:xfrm>
              <a:off x="2112" y="1363"/>
              <a:ext cx="66" cy="48"/>
            </a:xfrm>
            <a:custGeom>
              <a:avLst/>
              <a:gdLst>
                <a:gd name="T0" fmla="*/ 50 w 597"/>
                <a:gd name="T1" fmla="*/ 51 h 432"/>
                <a:gd name="T2" fmla="*/ 50 w 597"/>
                <a:gd name="T3" fmla="*/ 51 h 432"/>
                <a:gd name="T4" fmla="*/ 117 w 597"/>
                <a:gd name="T5" fmla="*/ 6 h 432"/>
                <a:gd name="T6" fmla="*/ 546 w 597"/>
                <a:gd name="T7" fmla="*/ 92 h 432"/>
                <a:gd name="T8" fmla="*/ 591 w 597"/>
                <a:gd name="T9" fmla="*/ 159 h 432"/>
                <a:gd name="T10" fmla="*/ 547 w 597"/>
                <a:gd name="T11" fmla="*/ 381 h 432"/>
                <a:gd name="T12" fmla="*/ 480 w 597"/>
                <a:gd name="T13" fmla="*/ 426 h 432"/>
                <a:gd name="T14" fmla="*/ 50 w 597"/>
                <a:gd name="T15" fmla="*/ 340 h 432"/>
                <a:gd name="T16" fmla="*/ 6 w 597"/>
                <a:gd name="T17" fmla="*/ 274 h 432"/>
                <a:gd name="T18" fmla="*/ 50 w 597"/>
                <a:gd name="T19" fmla="*/ 51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7" h="432">
                  <a:moveTo>
                    <a:pt x="50" y="51"/>
                  </a:moveTo>
                  <a:lnTo>
                    <a:pt x="50" y="51"/>
                  </a:lnTo>
                  <a:cubicBezTo>
                    <a:pt x="56" y="20"/>
                    <a:pt x="86" y="0"/>
                    <a:pt x="117" y="6"/>
                  </a:cubicBezTo>
                  <a:lnTo>
                    <a:pt x="546" y="92"/>
                  </a:lnTo>
                  <a:cubicBezTo>
                    <a:pt x="577" y="98"/>
                    <a:pt x="597" y="128"/>
                    <a:pt x="591" y="159"/>
                  </a:cubicBezTo>
                  <a:lnTo>
                    <a:pt x="547" y="381"/>
                  </a:lnTo>
                  <a:cubicBezTo>
                    <a:pt x="540" y="412"/>
                    <a:pt x="511" y="432"/>
                    <a:pt x="480" y="426"/>
                  </a:cubicBezTo>
                  <a:lnTo>
                    <a:pt x="50" y="340"/>
                  </a:lnTo>
                  <a:cubicBezTo>
                    <a:pt x="20" y="334"/>
                    <a:pt x="0" y="304"/>
                    <a:pt x="6" y="274"/>
                  </a:cubicBezTo>
                  <a:lnTo>
                    <a:pt x="50" y="51"/>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62" name="Freeform 38">
              <a:extLst>
                <a:ext uri="{FF2B5EF4-FFF2-40B4-BE49-F238E27FC236}">
                  <a16:creationId xmlns:a16="http://schemas.microsoft.com/office/drawing/2014/main" id="{B048BA00-45EB-4BB9-8F7E-1B59D7DA6E4C}"/>
                </a:ext>
              </a:extLst>
            </p:cNvPr>
            <p:cNvSpPr>
              <a:spLocks/>
            </p:cNvSpPr>
            <p:nvPr/>
          </p:nvSpPr>
          <p:spPr bwMode="auto">
            <a:xfrm>
              <a:off x="2228" y="1366"/>
              <a:ext cx="27" cy="24"/>
            </a:xfrm>
            <a:custGeom>
              <a:avLst/>
              <a:gdLst>
                <a:gd name="T0" fmla="*/ 32 w 247"/>
                <a:gd name="T1" fmla="*/ 16 h 220"/>
                <a:gd name="T2" fmla="*/ 32 w 247"/>
                <a:gd name="T3" fmla="*/ 16 h 220"/>
                <a:gd name="T4" fmla="*/ 54 w 247"/>
                <a:gd name="T5" fmla="*/ 3 h 220"/>
                <a:gd name="T6" fmla="*/ 231 w 247"/>
                <a:gd name="T7" fmla="*/ 40 h 220"/>
                <a:gd name="T8" fmla="*/ 245 w 247"/>
                <a:gd name="T9" fmla="*/ 62 h 220"/>
                <a:gd name="T10" fmla="*/ 215 w 247"/>
                <a:gd name="T11" fmla="*/ 204 h 220"/>
                <a:gd name="T12" fmla="*/ 193 w 247"/>
                <a:gd name="T13" fmla="*/ 218 h 220"/>
                <a:gd name="T14" fmla="*/ 16 w 247"/>
                <a:gd name="T15" fmla="*/ 180 h 220"/>
                <a:gd name="T16" fmla="*/ 2 w 247"/>
                <a:gd name="T17" fmla="*/ 159 h 220"/>
                <a:gd name="T18" fmla="*/ 32 w 247"/>
                <a:gd name="T19" fmla="*/ 1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20">
                  <a:moveTo>
                    <a:pt x="32" y="16"/>
                  </a:moveTo>
                  <a:lnTo>
                    <a:pt x="32" y="16"/>
                  </a:lnTo>
                  <a:cubicBezTo>
                    <a:pt x="34" y="7"/>
                    <a:pt x="44" y="0"/>
                    <a:pt x="54" y="3"/>
                  </a:cubicBezTo>
                  <a:lnTo>
                    <a:pt x="231" y="40"/>
                  </a:lnTo>
                  <a:cubicBezTo>
                    <a:pt x="241" y="42"/>
                    <a:pt x="247" y="52"/>
                    <a:pt x="245" y="62"/>
                  </a:cubicBezTo>
                  <a:lnTo>
                    <a:pt x="215" y="204"/>
                  </a:lnTo>
                  <a:cubicBezTo>
                    <a:pt x="213" y="214"/>
                    <a:pt x="203" y="220"/>
                    <a:pt x="193" y="218"/>
                  </a:cubicBezTo>
                  <a:lnTo>
                    <a:pt x="16" y="180"/>
                  </a:lnTo>
                  <a:cubicBezTo>
                    <a:pt x="6" y="178"/>
                    <a:pt x="0" y="169"/>
                    <a:pt x="2" y="159"/>
                  </a:cubicBezTo>
                  <a:lnTo>
                    <a:pt x="32" y="16"/>
                  </a:lnTo>
                  <a:close/>
                </a:path>
              </a:pathLst>
            </a:custGeom>
            <a:solidFill>
              <a:srgbClr val="282828">
                <a:lumMod val="25000"/>
                <a:lumOff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63" name="Freeform 39">
              <a:extLst>
                <a:ext uri="{FF2B5EF4-FFF2-40B4-BE49-F238E27FC236}">
                  <a16:creationId xmlns:a16="http://schemas.microsoft.com/office/drawing/2014/main" id="{81A5E585-F717-45E4-B204-A13254520E22}"/>
                </a:ext>
              </a:extLst>
            </p:cNvPr>
            <p:cNvSpPr>
              <a:spLocks/>
            </p:cNvSpPr>
            <p:nvPr/>
          </p:nvSpPr>
          <p:spPr bwMode="auto">
            <a:xfrm>
              <a:off x="2228" y="1366"/>
              <a:ext cx="27" cy="24"/>
            </a:xfrm>
            <a:custGeom>
              <a:avLst/>
              <a:gdLst>
                <a:gd name="T0" fmla="*/ 32 w 247"/>
                <a:gd name="T1" fmla="*/ 16 h 220"/>
                <a:gd name="T2" fmla="*/ 32 w 247"/>
                <a:gd name="T3" fmla="*/ 16 h 220"/>
                <a:gd name="T4" fmla="*/ 54 w 247"/>
                <a:gd name="T5" fmla="*/ 3 h 220"/>
                <a:gd name="T6" fmla="*/ 231 w 247"/>
                <a:gd name="T7" fmla="*/ 40 h 220"/>
                <a:gd name="T8" fmla="*/ 245 w 247"/>
                <a:gd name="T9" fmla="*/ 62 h 220"/>
                <a:gd name="T10" fmla="*/ 215 w 247"/>
                <a:gd name="T11" fmla="*/ 204 h 220"/>
                <a:gd name="T12" fmla="*/ 193 w 247"/>
                <a:gd name="T13" fmla="*/ 218 h 220"/>
                <a:gd name="T14" fmla="*/ 16 w 247"/>
                <a:gd name="T15" fmla="*/ 180 h 220"/>
                <a:gd name="T16" fmla="*/ 2 w 247"/>
                <a:gd name="T17" fmla="*/ 159 h 220"/>
                <a:gd name="T18" fmla="*/ 32 w 247"/>
                <a:gd name="T19" fmla="*/ 1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20">
                  <a:moveTo>
                    <a:pt x="32" y="16"/>
                  </a:moveTo>
                  <a:lnTo>
                    <a:pt x="32" y="16"/>
                  </a:lnTo>
                  <a:cubicBezTo>
                    <a:pt x="34" y="7"/>
                    <a:pt x="44" y="0"/>
                    <a:pt x="54" y="3"/>
                  </a:cubicBezTo>
                  <a:lnTo>
                    <a:pt x="231" y="40"/>
                  </a:lnTo>
                  <a:cubicBezTo>
                    <a:pt x="241" y="42"/>
                    <a:pt x="247" y="52"/>
                    <a:pt x="245" y="62"/>
                  </a:cubicBezTo>
                  <a:lnTo>
                    <a:pt x="215" y="204"/>
                  </a:lnTo>
                  <a:cubicBezTo>
                    <a:pt x="213" y="214"/>
                    <a:pt x="203" y="220"/>
                    <a:pt x="193" y="218"/>
                  </a:cubicBezTo>
                  <a:lnTo>
                    <a:pt x="16" y="180"/>
                  </a:lnTo>
                  <a:cubicBezTo>
                    <a:pt x="6" y="178"/>
                    <a:pt x="0" y="169"/>
                    <a:pt x="2" y="159"/>
                  </a:cubicBezTo>
                  <a:lnTo>
                    <a:pt x="32" y="16"/>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64" name="Freeform 40">
              <a:extLst>
                <a:ext uri="{FF2B5EF4-FFF2-40B4-BE49-F238E27FC236}">
                  <a16:creationId xmlns:a16="http://schemas.microsoft.com/office/drawing/2014/main" id="{92ACF14B-C4A6-4412-AE5A-204E1396F2E1}"/>
                </a:ext>
              </a:extLst>
            </p:cNvPr>
            <p:cNvSpPr>
              <a:spLocks/>
            </p:cNvSpPr>
            <p:nvPr/>
          </p:nvSpPr>
          <p:spPr bwMode="auto">
            <a:xfrm>
              <a:off x="2218" y="1354"/>
              <a:ext cx="35" cy="42"/>
            </a:xfrm>
            <a:custGeom>
              <a:avLst/>
              <a:gdLst>
                <a:gd name="T0" fmla="*/ 62 w 311"/>
                <a:gd name="T1" fmla="*/ 22 h 375"/>
                <a:gd name="T2" fmla="*/ 62 w 311"/>
                <a:gd name="T3" fmla="*/ 22 h 375"/>
                <a:gd name="T4" fmla="*/ 92 w 311"/>
                <a:gd name="T5" fmla="*/ 3 h 375"/>
                <a:gd name="T6" fmla="*/ 289 w 311"/>
                <a:gd name="T7" fmla="*/ 45 h 375"/>
                <a:gd name="T8" fmla="*/ 308 w 311"/>
                <a:gd name="T9" fmla="*/ 74 h 375"/>
                <a:gd name="T10" fmla="*/ 249 w 311"/>
                <a:gd name="T11" fmla="*/ 353 h 375"/>
                <a:gd name="T12" fmla="*/ 219 w 311"/>
                <a:gd name="T13" fmla="*/ 372 h 375"/>
                <a:gd name="T14" fmla="*/ 22 w 311"/>
                <a:gd name="T15" fmla="*/ 330 h 375"/>
                <a:gd name="T16" fmla="*/ 3 w 311"/>
                <a:gd name="T17" fmla="*/ 301 h 375"/>
                <a:gd name="T18" fmla="*/ 62 w 311"/>
                <a:gd name="T19" fmla="*/ 22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 h="375">
                  <a:moveTo>
                    <a:pt x="62" y="22"/>
                  </a:moveTo>
                  <a:lnTo>
                    <a:pt x="62" y="22"/>
                  </a:lnTo>
                  <a:cubicBezTo>
                    <a:pt x="65" y="8"/>
                    <a:pt x="79" y="0"/>
                    <a:pt x="92" y="3"/>
                  </a:cubicBezTo>
                  <a:lnTo>
                    <a:pt x="289" y="45"/>
                  </a:lnTo>
                  <a:cubicBezTo>
                    <a:pt x="303" y="47"/>
                    <a:pt x="311" y="61"/>
                    <a:pt x="308" y="74"/>
                  </a:cubicBezTo>
                  <a:lnTo>
                    <a:pt x="249" y="353"/>
                  </a:lnTo>
                  <a:cubicBezTo>
                    <a:pt x="246" y="367"/>
                    <a:pt x="233" y="375"/>
                    <a:pt x="219" y="372"/>
                  </a:cubicBezTo>
                  <a:lnTo>
                    <a:pt x="22" y="330"/>
                  </a:lnTo>
                  <a:cubicBezTo>
                    <a:pt x="9" y="328"/>
                    <a:pt x="0" y="314"/>
                    <a:pt x="3" y="301"/>
                  </a:cubicBezTo>
                  <a:lnTo>
                    <a:pt x="62" y="22"/>
                  </a:lnTo>
                  <a:close/>
                </a:path>
              </a:pathLst>
            </a:custGeom>
            <a:solidFill>
              <a:srgbClr val="282828">
                <a:lumMod val="50000"/>
                <a:lumOff val="50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65" name="Freeform 41">
              <a:extLst>
                <a:ext uri="{FF2B5EF4-FFF2-40B4-BE49-F238E27FC236}">
                  <a16:creationId xmlns:a16="http://schemas.microsoft.com/office/drawing/2014/main" id="{F7386A2D-F2A5-404A-BED3-C72F6936328F}"/>
                </a:ext>
              </a:extLst>
            </p:cNvPr>
            <p:cNvSpPr>
              <a:spLocks/>
            </p:cNvSpPr>
            <p:nvPr/>
          </p:nvSpPr>
          <p:spPr bwMode="auto">
            <a:xfrm>
              <a:off x="2218" y="1354"/>
              <a:ext cx="35" cy="42"/>
            </a:xfrm>
            <a:custGeom>
              <a:avLst/>
              <a:gdLst>
                <a:gd name="T0" fmla="*/ 62 w 311"/>
                <a:gd name="T1" fmla="*/ 22 h 375"/>
                <a:gd name="T2" fmla="*/ 62 w 311"/>
                <a:gd name="T3" fmla="*/ 22 h 375"/>
                <a:gd name="T4" fmla="*/ 92 w 311"/>
                <a:gd name="T5" fmla="*/ 3 h 375"/>
                <a:gd name="T6" fmla="*/ 289 w 311"/>
                <a:gd name="T7" fmla="*/ 45 h 375"/>
                <a:gd name="T8" fmla="*/ 308 w 311"/>
                <a:gd name="T9" fmla="*/ 74 h 375"/>
                <a:gd name="T10" fmla="*/ 249 w 311"/>
                <a:gd name="T11" fmla="*/ 353 h 375"/>
                <a:gd name="T12" fmla="*/ 219 w 311"/>
                <a:gd name="T13" fmla="*/ 372 h 375"/>
                <a:gd name="T14" fmla="*/ 22 w 311"/>
                <a:gd name="T15" fmla="*/ 330 h 375"/>
                <a:gd name="T16" fmla="*/ 3 w 311"/>
                <a:gd name="T17" fmla="*/ 301 h 375"/>
                <a:gd name="T18" fmla="*/ 62 w 311"/>
                <a:gd name="T19" fmla="*/ 22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 h="375">
                  <a:moveTo>
                    <a:pt x="62" y="22"/>
                  </a:moveTo>
                  <a:lnTo>
                    <a:pt x="62" y="22"/>
                  </a:lnTo>
                  <a:cubicBezTo>
                    <a:pt x="65" y="8"/>
                    <a:pt x="79" y="0"/>
                    <a:pt x="92" y="3"/>
                  </a:cubicBezTo>
                  <a:lnTo>
                    <a:pt x="289" y="45"/>
                  </a:lnTo>
                  <a:cubicBezTo>
                    <a:pt x="303" y="47"/>
                    <a:pt x="311" y="61"/>
                    <a:pt x="308" y="74"/>
                  </a:cubicBezTo>
                  <a:lnTo>
                    <a:pt x="249" y="353"/>
                  </a:lnTo>
                  <a:cubicBezTo>
                    <a:pt x="246" y="367"/>
                    <a:pt x="233" y="375"/>
                    <a:pt x="219" y="372"/>
                  </a:cubicBezTo>
                  <a:lnTo>
                    <a:pt x="22" y="330"/>
                  </a:lnTo>
                  <a:cubicBezTo>
                    <a:pt x="9" y="328"/>
                    <a:pt x="0" y="314"/>
                    <a:pt x="3" y="301"/>
                  </a:cubicBezTo>
                  <a:lnTo>
                    <a:pt x="62" y="22"/>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66" name="Freeform 42">
              <a:extLst>
                <a:ext uri="{FF2B5EF4-FFF2-40B4-BE49-F238E27FC236}">
                  <a16:creationId xmlns:a16="http://schemas.microsoft.com/office/drawing/2014/main" id="{C0373980-D3A7-4646-9F5F-8E47427893BF}"/>
                </a:ext>
              </a:extLst>
            </p:cNvPr>
            <p:cNvSpPr>
              <a:spLocks/>
            </p:cNvSpPr>
            <p:nvPr/>
          </p:nvSpPr>
          <p:spPr bwMode="auto">
            <a:xfrm>
              <a:off x="2058" y="1308"/>
              <a:ext cx="205" cy="101"/>
            </a:xfrm>
            <a:custGeom>
              <a:avLst/>
              <a:gdLst>
                <a:gd name="T0" fmla="*/ 194 w 1866"/>
                <a:gd name="T1" fmla="*/ 0 h 911"/>
                <a:gd name="T2" fmla="*/ 194 w 1866"/>
                <a:gd name="T3" fmla="*/ 0 h 911"/>
                <a:gd name="T4" fmla="*/ 213 w 1866"/>
                <a:gd name="T5" fmla="*/ 2 h 911"/>
                <a:gd name="T6" fmla="*/ 1851 w 1866"/>
                <a:gd name="T7" fmla="*/ 344 h 911"/>
                <a:gd name="T8" fmla="*/ 1862 w 1866"/>
                <a:gd name="T9" fmla="*/ 350 h 911"/>
                <a:gd name="T10" fmla="*/ 1866 w 1866"/>
                <a:gd name="T11" fmla="*/ 356 h 911"/>
                <a:gd name="T12" fmla="*/ 1862 w 1866"/>
                <a:gd name="T13" fmla="*/ 366 h 911"/>
                <a:gd name="T14" fmla="*/ 1502 w 1866"/>
                <a:gd name="T15" fmla="*/ 896 h 911"/>
                <a:gd name="T16" fmla="*/ 1490 w 1866"/>
                <a:gd name="T17" fmla="*/ 907 h 911"/>
                <a:gd name="T18" fmla="*/ 1470 w 1866"/>
                <a:gd name="T19" fmla="*/ 911 h 911"/>
                <a:gd name="T20" fmla="*/ 1451 w 1866"/>
                <a:gd name="T21" fmla="*/ 909 h 911"/>
                <a:gd name="T22" fmla="*/ 83 w 1866"/>
                <a:gd name="T23" fmla="*/ 623 h 911"/>
                <a:gd name="T24" fmla="*/ 11 w 1866"/>
                <a:gd name="T25" fmla="*/ 514 h 911"/>
                <a:gd name="T26" fmla="*/ 103 w 1866"/>
                <a:gd name="T27" fmla="*/ 73 h 911"/>
                <a:gd name="T28" fmla="*/ 194 w 1866"/>
                <a:gd name="T29" fmla="*/ 0 h 911"/>
                <a:gd name="T30" fmla="*/ 194 w 1866"/>
                <a:gd name="T31" fmla="*/ 0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66" h="911">
                  <a:moveTo>
                    <a:pt x="194" y="0"/>
                  </a:moveTo>
                  <a:lnTo>
                    <a:pt x="194" y="0"/>
                  </a:lnTo>
                  <a:cubicBezTo>
                    <a:pt x="200" y="0"/>
                    <a:pt x="207" y="1"/>
                    <a:pt x="213" y="2"/>
                  </a:cubicBezTo>
                  <a:lnTo>
                    <a:pt x="1851" y="344"/>
                  </a:lnTo>
                  <a:lnTo>
                    <a:pt x="1862" y="350"/>
                  </a:lnTo>
                  <a:lnTo>
                    <a:pt x="1866" y="356"/>
                  </a:lnTo>
                  <a:lnTo>
                    <a:pt x="1862" y="366"/>
                  </a:lnTo>
                  <a:lnTo>
                    <a:pt x="1502" y="896"/>
                  </a:lnTo>
                  <a:lnTo>
                    <a:pt x="1490" y="907"/>
                  </a:lnTo>
                  <a:lnTo>
                    <a:pt x="1470" y="911"/>
                  </a:lnTo>
                  <a:lnTo>
                    <a:pt x="1451" y="909"/>
                  </a:lnTo>
                  <a:lnTo>
                    <a:pt x="83" y="623"/>
                  </a:lnTo>
                  <a:cubicBezTo>
                    <a:pt x="32" y="613"/>
                    <a:pt x="0" y="564"/>
                    <a:pt x="11" y="514"/>
                  </a:cubicBezTo>
                  <a:lnTo>
                    <a:pt x="103" y="73"/>
                  </a:lnTo>
                  <a:cubicBezTo>
                    <a:pt x="113" y="30"/>
                    <a:pt x="151" y="0"/>
                    <a:pt x="194" y="0"/>
                  </a:cubicBezTo>
                  <a:lnTo>
                    <a:pt x="194" y="0"/>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267" name="Freeform 43">
              <a:extLst>
                <a:ext uri="{FF2B5EF4-FFF2-40B4-BE49-F238E27FC236}">
                  <a16:creationId xmlns:a16="http://schemas.microsoft.com/office/drawing/2014/main" id="{200A1817-1BE0-45E6-B68D-48A3E4DFAB44}"/>
                </a:ext>
              </a:extLst>
            </p:cNvPr>
            <p:cNvSpPr>
              <a:spLocks/>
            </p:cNvSpPr>
            <p:nvPr/>
          </p:nvSpPr>
          <p:spPr bwMode="auto">
            <a:xfrm>
              <a:off x="2076" y="1317"/>
              <a:ext cx="158" cy="44"/>
            </a:xfrm>
            <a:custGeom>
              <a:avLst/>
              <a:gdLst>
                <a:gd name="T0" fmla="*/ 9 w 1436"/>
                <a:gd name="T1" fmla="*/ 34 h 392"/>
                <a:gd name="T2" fmla="*/ 9 w 1436"/>
                <a:gd name="T3" fmla="*/ 34 h 392"/>
                <a:gd name="T4" fmla="*/ 55 w 1436"/>
                <a:gd name="T5" fmla="*/ 4 h 392"/>
                <a:gd name="T6" fmla="*/ 1402 w 1436"/>
                <a:gd name="T7" fmla="*/ 289 h 392"/>
                <a:gd name="T8" fmla="*/ 1431 w 1436"/>
                <a:gd name="T9" fmla="*/ 334 h 392"/>
                <a:gd name="T10" fmla="*/ 1426 w 1436"/>
                <a:gd name="T11" fmla="*/ 358 h 392"/>
                <a:gd name="T12" fmla="*/ 1381 w 1436"/>
                <a:gd name="T13" fmla="*/ 388 h 392"/>
                <a:gd name="T14" fmla="*/ 34 w 1436"/>
                <a:gd name="T15" fmla="*/ 103 h 392"/>
                <a:gd name="T16" fmla="*/ 4 w 1436"/>
                <a:gd name="T17" fmla="*/ 57 h 392"/>
                <a:gd name="T18" fmla="*/ 9 w 1436"/>
                <a:gd name="T19" fmla="*/ 3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6" h="392">
                  <a:moveTo>
                    <a:pt x="9" y="34"/>
                  </a:moveTo>
                  <a:lnTo>
                    <a:pt x="9" y="34"/>
                  </a:lnTo>
                  <a:cubicBezTo>
                    <a:pt x="13" y="13"/>
                    <a:pt x="34" y="0"/>
                    <a:pt x="55" y="4"/>
                  </a:cubicBezTo>
                  <a:lnTo>
                    <a:pt x="1402" y="289"/>
                  </a:lnTo>
                  <a:cubicBezTo>
                    <a:pt x="1423" y="293"/>
                    <a:pt x="1436" y="314"/>
                    <a:pt x="1431" y="334"/>
                  </a:cubicBezTo>
                  <a:lnTo>
                    <a:pt x="1426" y="358"/>
                  </a:lnTo>
                  <a:cubicBezTo>
                    <a:pt x="1422" y="379"/>
                    <a:pt x="1402" y="392"/>
                    <a:pt x="1381" y="388"/>
                  </a:cubicBezTo>
                  <a:lnTo>
                    <a:pt x="34" y="103"/>
                  </a:lnTo>
                  <a:cubicBezTo>
                    <a:pt x="13" y="98"/>
                    <a:pt x="0" y="78"/>
                    <a:pt x="4" y="57"/>
                  </a:cubicBezTo>
                  <a:lnTo>
                    <a:pt x="9" y="34"/>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300" name="Group 299">
            <a:extLst>
              <a:ext uri="{FF2B5EF4-FFF2-40B4-BE49-F238E27FC236}">
                <a16:creationId xmlns:a16="http://schemas.microsoft.com/office/drawing/2014/main" id="{7165577F-A625-4F00-A91D-8739DAB64C42}"/>
              </a:ext>
            </a:extLst>
          </p:cNvPr>
          <p:cNvGrpSpPr/>
          <p:nvPr/>
        </p:nvGrpSpPr>
        <p:grpSpPr>
          <a:xfrm>
            <a:off x="7220651" y="2586397"/>
            <a:ext cx="406832" cy="406833"/>
            <a:chOff x="4202412" y="2133067"/>
            <a:chExt cx="498764" cy="498764"/>
          </a:xfrm>
        </p:grpSpPr>
        <p:sp>
          <p:nvSpPr>
            <p:cNvPr id="301" name="Oval 300">
              <a:extLst>
                <a:ext uri="{FF2B5EF4-FFF2-40B4-BE49-F238E27FC236}">
                  <a16:creationId xmlns:a16="http://schemas.microsoft.com/office/drawing/2014/main" id="{AADC538B-882F-4AA9-B503-355B6F99B7E9}"/>
                </a:ext>
              </a:extLst>
            </p:cNvPr>
            <p:cNvSpPr/>
            <p:nvPr/>
          </p:nvSpPr>
          <p:spPr>
            <a:xfrm>
              <a:off x="4202412" y="2133067"/>
              <a:ext cx="498764" cy="498764"/>
            </a:xfrm>
            <a:prstGeom prst="ellipse">
              <a:avLst/>
            </a:prstGeom>
            <a:solidFill>
              <a:schemeClr val="bg2"/>
            </a:solidFill>
            <a:ln w="12700" cap="flat" cmpd="sng" algn="ctr">
              <a:solidFill>
                <a:schemeClr val="accent5"/>
              </a:solidFill>
              <a:prstDash val="solid"/>
            </a:ln>
            <a:effectLst/>
          </p:spPr>
          <p:txBody>
            <a:bodyPr rtlCol="0" anchor="t"/>
            <a:lstStyle/>
            <a:p>
              <a:pPr marL="285736" marR="0" lvl="0" indent="-285736" algn="l" defTabSz="45717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grpSp>
          <p:nvGrpSpPr>
            <p:cNvPr id="302" name="Group 301">
              <a:extLst>
                <a:ext uri="{FF2B5EF4-FFF2-40B4-BE49-F238E27FC236}">
                  <a16:creationId xmlns:a16="http://schemas.microsoft.com/office/drawing/2014/main" id="{03613DF6-09F8-4CF3-8BB7-A56208A52529}"/>
                </a:ext>
              </a:extLst>
            </p:cNvPr>
            <p:cNvGrpSpPr/>
            <p:nvPr/>
          </p:nvGrpSpPr>
          <p:grpSpPr>
            <a:xfrm>
              <a:off x="4238607" y="2260303"/>
              <a:ext cx="426375" cy="208862"/>
              <a:chOff x="4003849" y="2762704"/>
              <a:chExt cx="601852" cy="294821"/>
            </a:xfrm>
            <a:solidFill>
              <a:srgbClr val="00BCEB"/>
            </a:solidFill>
          </p:grpSpPr>
          <p:sp>
            <p:nvSpPr>
              <p:cNvPr id="329" name="Freeform 225">
                <a:extLst>
                  <a:ext uri="{FF2B5EF4-FFF2-40B4-BE49-F238E27FC236}">
                    <a16:creationId xmlns:a16="http://schemas.microsoft.com/office/drawing/2014/main" id="{F56ED1CA-6965-4D1C-BB00-7EFFEC212782}"/>
                  </a:ext>
                </a:extLst>
              </p:cNvPr>
              <p:cNvSpPr>
                <a:spLocks/>
              </p:cNvSpPr>
              <p:nvPr/>
            </p:nvSpPr>
            <p:spPr bwMode="auto">
              <a:xfrm>
                <a:off x="4003849" y="2929013"/>
                <a:ext cx="601852" cy="128512"/>
              </a:xfrm>
              <a:custGeom>
                <a:avLst/>
                <a:gdLst>
                  <a:gd name="T0" fmla="*/ 389 w 436"/>
                  <a:gd name="T1" fmla="*/ 93 h 93"/>
                  <a:gd name="T2" fmla="*/ 47 w 436"/>
                  <a:gd name="T3" fmla="*/ 93 h 93"/>
                  <a:gd name="T4" fmla="*/ 0 w 436"/>
                  <a:gd name="T5" fmla="*/ 46 h 93"/>
                  <a:gd name="T6" fmla="*/ 0 w 436"/>
                  <a:gd name="T7" fmla="*/ 46 h 93"/>
                  <a:gd name="T8" fmla="*/ 47 w 436"/>
                  <a:gd name="T9" fmla="*/ 0 h 93"/>
                  <a:gd name="T10" fmla="*/ 389 w 436"/>
                  <a:gd name="T11" fmla="*/ 0 h 93"/>
                  <a:gd name="T12" fmla="*/ 436 w 436"/>
                  <a:gd name="T13" fmla="*/ 46 h 93"/>
                  <a:gd name="T14" fmla="*/ 436 w 436"/>
                  <a:gd name="T15" fmla="*/ 46 h 93"/>
                  <a:gd name="T16" fmla="*/ 389 w 436"/>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6" h="93">
                    <a:moveTo>
                      <a:pt x="389" y="93"/>
                    </a:moveTo>
                    <a:cubicBezTo>
                      <a:pt x="47" y="93"/>
                      <a:pt x="47" y="93"/>
                      <a:pt x="47" y="93"/>
                    </a:cubicBezTo>
                    <a:cubicBezTo>
                      <a:pt x="21" y="93"/>
                      <a:pt x="0" y="72"/>
                      <a:pt x="0" y="46"/>
                    </a:cubicBezTo>
                    <a:cubicBezTo>
                      <a:pt x="0" y="46"/>
                      <a:pt x="0" y="46"/>
                      <a:pt x="0" y="46"/>
                    </a:cubicBezTo>
                    <a:cubicBezTo>
                      <a:pt x="0" y="21"/>
                      <a:pt x="21" y="0"/>
                      <a:pt x="47" y="0"/>
                    </a:cubicBezTo>
                    <a:cubicBezTo>
                      <a:pt x="389" y="0"/>
                      <a:pt x="389" y="0"/>
                      <a:pt x="389" y="0"/>
                    </a:cubicBezTo>
                    <a:cubicBezTo>
                      <a:pt x="415" y="0"/>
                      <a:pt x="436" y="21"/>
                      <a:pt x="436" y="46"/>
                    </a:cubicBezTo>
                    <a:cubicBezTo>
                      <a:pt x="436" y="46"/>
                      <a:pt x="436" y="46"/>
                      <a:pt x="436" y="46"/>
                    </a:cubicBezTo>
                    <a:cubicBezTo>
                      <a:pt x="436" y="72"/>
                      <a:pt x="415" y="93"/>
                      <a:pt x="389"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30" name="Freeform 226">
                <a:extLst>
                  <a:ext uri="{FF2B5EF4-FFF2-40B4-BE49-F238E27FC236}">
                    <a16:creationId xmlns:a16="http://schemas.microsoft.com/office/drawing/2014/main" id="{23605A22-6668-491C-8886-EF23E14C892F}"/>
                  </a:ext>
                </a:extLst>
              </p:cNvPr>
              <p:cNvSpPr>
                <a:spLocks/>
              </p:cNvSpPr>
              <p:nvPr/>
            </p:nvSpPr>
            <p:spPr bwMode="auto">
              <a:xfrm>
                <a:off x="4136431" y="2845858"/>
                <a:ext cx="426239" cy="128512"/>
              </a:xfrm>
              <a:custGeom>
                <a:avLst/>
                <a:gdLst>
                  <a:gd name="T0" fmla="*/ 262 w 309"/>
                  <a:gd name="T1" fmla="*/ 93 h 93"/>
                  <a:gd name="T2" fmla="*/ 46 w 309"/>
                  <a:gd name="T3" fmla="*/ 93 h 93"/>
                  <a:gd name="T4" fmla="*/ 0 w 309"/>
                  <a:gd name="T5" fmla="*/ 47 h 93"/>
                  <a:gd name="T6" fmla="*/ 0 w 309"/>
                  <a:gd name="T7" fmla="*/ 47 h 93"/>
                  <a:gd name="T8" fmla="*/ 46 w 309"/>
                  <a:gd name="T9" fmla="*/ 0 h 93"/>
                  <a:gd name="T10" fmla="*/ 262 w 309"/>
                  <a:gd name="T11" fmla="*/ 0 h 93"/>
                  <a:gd name="T12" fmla="*/ 309 w 309"/>
                  <a:gd name="T13" fmla="*/ 47 h 93"/>
                  <a:gd name="T14" fmla="*/ 309 w 309"/>
                  <a:gd name="T15" fmla="*/ 47 h 93"/>
                  <a:gd name="T16" fmla="*/ 262 w 309"/>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93">
                    <a:moveTo>
                      <a:pt x="262" y="93"/>
                    </a:moveTo>
                    <a:cubicBezTo>
                      <a:pt x="46" y="93"/>
                      <a:pt x="46" y="93"/>
                      <a:pt x="46" y="93"/>
                    </a:cubicBezTo>
                    <a:cubicBezTo>
                      <a:pt x="21" y="93"/>
                      <a:pt x="0" y="72"/>
                      <a:pt x="0" y="47"/>
                    </a:cubicBezTo>
                    <a:cubicBezTo>
                      <a:pt x="0" y="47"/>
                      <a:pt x="0" y="47"/>
                      <a:pt x="0" y="47"/>
                    </a:cubicBezTo>
                    <a:cubicBezTo>
                      <a:pt x="0" y="21"/>
                      <a:pt x="21" y="0"/>
                      <a:pt x="46" y="0"/>
                    </a:cubicBezTo>
                    <a:cubicBezTo>
                      <a:pt x="262" y="0"/>
                      <a:pt x="262" y="0"/>
                      <a:pt x="262" y="0"/>
                    </a:cubicBezTo>
                    <a:cubicBezTo>
                      <a:pt x="288" y="0"/>
                      <a:pt x="309" y="21"/>
                      <a:pt x="309" y="47"/>
                    </a:cubicBezTo>
                    <a:cubicBezTo>
                      <a:pt x="309" y="47"/>
                      <a:pt x="309" y="47"/>
                      <a:pt x="309" y="47"/>
                    </a:cubicBezTo>
                    <a:cubicBezTo>
                      <a:pt x="309" y="72"/>
                      <a:pt x="288" y="93"/>
                      <a:pt x="262"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31" name="Freeform 227">
                <a:extLst>
                  <a:ext uri="{FF2B5EF4-FFF2-40B4-BE49-F238E27FC236}">
                    <a16:creationId xmlns:a16="http://schemas.microsoft.com/office/drawing/2014/main" id="{A195DBE5-CD0B-496C-95A1-741C6E7B6FB9}"/>
                  </a:ext>
                </a:extLst>
              </p:cNvPr>
              <p:cNvSpPr>
                <a:spLocks/>
              </p:cNvSpPr>
              <p:nvPr/>
            </p:nvSpPr>
            <p:spPr bwMode="auto">
              <a:xfrm>
                <a:off x="4304485" y="2762704"/>
                <a:ext cx="202944" cy="130256"/>
              </a:xfrm>
              <a:custGeom>
                <a:avLst/>
                <a:gdLst>
                  <a:gd name="T0" fmla="*/ 100 w 147"/>
                  <a:gd name="T1" fmla="*/ 94 h 94"/>
                  <a:gd name="T2" fmla="*/ 47 w 147"/>
                  <a:gd name="T3" fmla="*/ 94 h 94"/>
                  <a:gd name="T4" fmla="*/ 0 w 147"/>
                  <a:gd name="T5" fmla="*/ 47 h 94"/>
                  <a:gd name="T6" fmla="*/ 0 w 147"/>
                  <a:gd name="T7" fmla="*/ 47 h 94"/>
                  <a:gd name="T8" fmla="*/ 47 w 147"/>
                  <a:gd name="T9" fmla="*/ 0 h 94"/>
                  <a:gd name="T10" fmla="*/ 100 w 147"/>
                  <a:gd name="T11" fmla="*/ 0 h 94"/>
                  <a:gd name="T12" fmla="*/ 147 w 147"/>
                  <a:gd name="T13" fmla="*/ 47 h 94"/>
                  <a:gd name="T14" fmla="*/ 147 w 147"/>
                  <a:gd name="T15" fmla="*/ 47 h 94"/>
                  <a:gd name="T16" fmla="*/ 100 w 147"/>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94">
                    <a:moveTo>
                      <a:pt x="100" y="94"/>
                    </a:moveTo>
                    <a:cubicBezTo>
                      <a:pt x="47" y="94"/>
                      <a:pt x="47" y="94"/>
                      <a:pt x="47" y="94"/>
                    </a:cubicBezTo>
                    <a:cubicBezTo>
                      <a:pt x="21" y="94"/>
                      <a:pt x="0" y="73"/>
                      <a:pt x="0" y="47"/>
                    </a:cubicBezTo>
                    <a:cubicBezTo>
                      <a:pt x="0" y="47"/>
                      <a:pt x="0" y="47"/>
                      <a:pt x="0" y="47"/>
                    </a:cubicBezTo>
                    <a:cubicBezTo>
                      <a:pt x="0" y="21"/>
                      <a:pt x="21" y="0"/>
                      <a:pt x="47" y="0"/>
                    </a:cubicBezTo>
                    <a:cubicBezTo>
                      <a:pt x="100" y="0"/>
                      <a:pt x="100" y="0"/>
                      <a:pt x="100" y="0"/>
                    </a:cubicBezTo>
                    <a:cubicBezTo>
                      <a:pt x="126" y="0"/>
                      <a:pt x="147" y="21"/>
                      <a:pt x="147" y="47"/>
                    </a:cubicBezTo>
                    <a:cubicBezTo>
                      <a:pt x="147" y="47"/>
                      <a:pt x="147" y="47"/>
                      <a:pt x="147" y="47"/>
                    </a:cubicBezTo>
                    <a:cubicBezTo>
                      <a:pt x="147" y="73"/>
                      <a:pt x="126" y="94"/>
                      <a:pt x="10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303" name="Group 302">
              <a:extLst>
                <a:ext uri="{FF2B5EF4-FFF2-40B4-BE49-F238E27FC236}">
                  <a16:creationId xmlns:a16="http://schemas.microsoft.com/office/drawing/2014/main" id="{3DA23166-5973-4CA8-A532-823F262B8BD5}"/>
                </a:ext>
              </a:extLst>
            </p:cNvPr>
            <p:cNvGrpSpPr/>
            <p:nvPr/>
          </p:nvGrpSpPr>
          <p:grpSpPr>
            <a:xfrm>
              <a:off x="4355466" y="2317249"/>
              <a:ext cx="252999" cy="139573"/>
              <a:chOff x="4548966" y="2245520"/>
              <a:chExt cx="278299" cy="153530"/>
            </a:xfrm>
            <a:solidFill>
              <a:srgbClr val="9CE5F7"/>
            </a:solidFill>
          </p:grpSpPr>
          <p:sp>
            <p:nvSpPr>
              <p:cNvPr id="325" name="Freeform 195">
                <a:extLst>
                  <a:ext uri="{FF2B5EF4-FFF2-40B4-BE49-F238E27FC236}">
                    <a16:creationId xmlns:a16="http://schemas.microsoft.com/office/drawing/2014/main" id="{CC71A095-7D66-4671-A87B-6E6D0B6D0C3A}"/>
                  </a:ext>
                </a:extLst>
              </p:cNvPr>
              <p:cNvSpPr>
                <a:spLocks/>
              </p:cNvSpPr>
              <p:nvPr/>
            </p:nvSpPr>
            <p:spPr bwMode="auto">
              <a:xfrm>
                <a:off x="4620444" y="2268359"/>
                <a:ext cx="63865" cy="114619"/>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26" name="Freeform 201">
                <a:extLst>
                  <a:ext uri="{FF2B5EF4-FFF2-40B4-BE49-F238E27FC236}">
                    <a16:creationId xmlns:a16="http://schemas.microsoft.com/office/drawing/2014/main" id="{12AF52D2-E3BF-4FE3-844D-E15916E528A5}"/>
                  </a:ext>
                </a:extLst>
              </p:cNvPr>
              <p:cNvSpPr>
                <a:spLocks/>
              </p:cNvSpPr>
              <p:nvPr/>
            </p:nvSpPr>
            <p:spPr bwMode="auto">
              <a:xfrm>
                <a:off x="4692345" y="2245520"/>
                <a:ext cx="63442" cy="153530"/>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27" name="Freeform 207">
                <a:extLst>
                  <a:ext uri="{FF2B5EF4-FFF2-40B4-BE49-F238E27FC236}">
                    <a16:creationId xmlns:a16="http://schemas.microsoft.com/office/drawing/2014/main" id="{78F3E673-C6DD-4133-A1CA-02B827B38712}"/>
                  </a:ext>
                </a:extLst>
              </p:cNvPr>
              <p:cNvSpPr>
                <a:spLocks/>
              </p:cNvSpPr>
              <p:nvPr/>
            </p:nvSpPr>
            <p:spPr bwMode="auto">
              <a:xfrm>
                <a:off x="4764669" y="2268359"/>
                <a:ext cx="62596" cy="114619"/>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28" name="Freeform 213">
                <a:extLst>
                  <a:ext uri="{FF2B5EF4-FFF2-40B4-BE49-F238E27FC236}">
                    <a16:creationId xmlns:a16="http://schemas.microsoft.com/office/drawing/2014/main" id="{F74A25F8-6E9A-4E85-8C20-CCDE7D9A5D59}"/>
                  </a:ext>
                </a:extLst>
              </p:cNvPr>
              <p:cNvSpPr>
                <a:spLocks/>
              </p:cNvSpPr>
              <p:nvPr/>
            </p:nvSpPr>
            <p:spPr bwMode="auto">
              <a:xfrm>
                <a:off x="4548966" y="2268359"/>
                <a:ext cx="63019" cy="114619"/>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304" name="Group 303">
              <a:extLst>
                <a:ext uri="{FF2B5EF4-FFF2-40B4-BE49-F238E27FC236}">
                  <a16:creationId xmlns:a16="http://schemas.microsoft.com/office/drawing/2014/main" id="{F08913BF-6353-4DCB-BFD9-051590DB4F8B}"/>
                </a:ext>
              </a:extLst>
            </p:cNvPr>
            <p:cNvGrpSpPr/>
            <p:nvPr/>
          </p:nvGrpSpPr>
          <p:grpSpPr>
            <a:xfrm>
              <a:off x="4369692" y="2334167"/>
              <a:ext cx="224546" cy="88435"/>
              <a:chOff x="4136471" y="2091022"/>
              <a:chExt cx="247001" cy="97278"/>
            </a:xfrm>
          </p:grpSpPr>
          <p:sp>
            <p:nvSpPr>
              <p:cNvPr id="305" name="Line 196">
                <a:extLst>
                  <a:ext uri="{FF2B5EF4-FFF2-40B4-BE49-F238E27FC236}">
                    <a16:creationId xmlns:a16="http://schemas.microsoft.com/office/drawing/2014/main" id="{3109BD51-657F-4122-8BE5-A0480496F2D8}"/>
                  </a:ext>
                </a:extLst>
              </p:cNvPr>
              <p:cNvSpPr>
                <a:spLocks noChangeShapeType="1"/>
              </p:cNvSpPr>
              <p:nvPr/>
            </p:nvSpPr>
            <p:spPr bwMode="auto">
              <a:xfrm>
                <a:off x="4208372" y="2113861"/>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06" name="Line 197">
                <a:extLst>
                  <a:ext uri="{FF2B5EF4-FFF2-40B4-BE49-F238E27FC236}">
                    <a16:creationId xmlns:a16="http://schemas.microsoft.com/office/drawing/2014/main" id="{6015779B-98CF-4673-A6A8-F54FFBF98984}"/>
                  </a:ext>
                </a:extLst>
              </p:cNvPr>
              <p:cNvSpPr>
                <a:spLocks noChangeShapeType="1"/>
              </p:cNvSpPr>
              <p:nvPr/>
            </p:nvSpPr>
            <p:spPr bwMode="auto">
              <a:xfrm>
                <a:off x="4208372" y="2132048"/>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07" name="Line 198">
                <a:extLst>
                  <a:ext uri="{FF2B5EF4-FFF2-40B4-BE49-F238E27FC236}">
                    <a16:creationId xmlns:a16="http://schemas.microsoft.com/office/drawing/2014/main" id="{B53DF29F-1B18-4309-8822-36911E9700A6}"/>
                  </a:ext>
                </a:extLst>
              </p:cNvPr>
              <p:cNvSpPr>
                <a:spLocks noChangeShapeType="1"/>
              </p:cNvSpPr>
              <p:nvPr/>
            </p:nvSpPr>
            <p:spPr bwMode="auto">
              <a:xfrm>
                <a:off x="4208372" y="2151080"/>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08" name="Line 199">
                <a:extLst>
                  <a:ext uri="{FF2B5EF4-FFF2-40B4-BE49-F238E27FC236}">
                    <a16:creationId xmlns:a16="http://schemas.microsoft.com/office/drawing/2014/main" id="{889162AC-5135-4524-88A1-E19FFE4F1CDA}"/>
                  </a:ext>
                </a:extLst>
              </p:cNvPr>
              <p:cNvSpPr>
                <a:spLocks noChangeShapeType="1"/>
              </p:cNvSpPr>
              <p:nvPr/>
            </p:nvSpPr>
            <p:spPr bwMode="auto">
              <a:xfrm>
                <a:off x="4208372" y="2169690"/>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09" name="Line 200">
                <a:extLst>
                  <a:ext uri="{FF2B5EF4-FFF2-40B4-BE49-F238E27FC236}">
                    <a16:creationId xmlns:a16="http://schemas.microsoft.com/office/drawing/2014/main" id="{39AD50D0-A8CC-4361-9007-4BF886F3A13B}"/>
                  </a:ext>
                </a:extLst>
              </p:cNvPr>
              <p:cNvSpPr>
                <a:spLocks noChangeShapeType="1"/>
              </p:cNvSpPr>
              <p:nvPr/>
            </p:nvSpPr>
            <p:spPr bwMode="auto">
              <a:xfrm>
                <a:off x="4208372" y="2188300"/>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10" name="Line 202">
                <a:extLst>
                  <a:ext uri="{FF2B5EF4-FFF2-40B4-BE49-F238E27FC236}">
                    <a16:creationId xmlns:a16="http://schemas.microsoft.com/office/drawing/2014/main" id="{DA834D86-8434-4C11-AA5B-3BAD43470A35}"/>
                  </a:ext>
                </a:extLst>
              </p:cNvPr>
              <p:cNvSpPr>
                <a:spLocks noChangeShapeType="1"/>
              </p:cNvSpPr>
              <p:nvPr/>
            </p:nvSpPr>
            <p:spPr bwMode="auto">
              <a:xfrm>
                <a:off x="4279850" y="2091022"/>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11" name="Line 203">
                <a:extLst>
                  <a:ext uri="{FF2B5EF4-FFF2-40B4-BE49-F238E27FC236}">
                    <a16:creationId xmlns:a16="http://schemas.microsoft.com/office/drawing/2014/main" id="{9223C876-FC1E-41DE-9822-AC7C1087572E}"/>
                  </a:ext>
                </a:extLst>
              </p:cNvPr>
              <p:cNvSpPr>
                <a:spLocks noChangeShapeType="1"/>
              </p:cNvSpPr>
              <p:nvPr/>
            </p:nvSpPr>
            <p:spPr bwMode="auto">
              <a:xfrm>
                <a:off x="4279850" y="2110054"/>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12" name="Line 204">
                <a:extLst>
                  <a:ext uri="{FF2B5EF4-FFF2-40B4-BE49-F238E27FC236}">
                    <a16:creationId xmlns:a16="http://schemas.microsoft.com/office/drawing/2014/main" id="{73D3C398-32E0-42A8-B65A-BC33BB48DA06}"/>
                  </a:ext>
                </a:extLst>
              </p:cNvPr>
              <p:cNvSpPr>
                <a:spLocks noChangeShapeType="1"/>
              </p:cNvSpPr>
              <p:nvPr/>
            </p:nvSpPr>
            <p:spPr bwMode="auto">
              <a:xfrm>
                <a:off x="4279850" y="2128664"/>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13" name="Line 205">
                <a:extLst>
                  <a:ext uri="{FF2B5EF4-FFF2-40B4-BE49-F238E27FC236}">
                    <a16:creationId xmlns:a16="http://schemas.microsoft.com/office/drawing/2014/main" id="{ED35126C-66CA-4967-AA17-EF83F5BA424E}"/>
                  </a:ext>
                </a:extLst>
              </p:cNvPr>
              <p:cNvSpPr>
                <a:spLocks noChangeShapeType="1"/>
              </p:cNvSpPr>
              <p:nvPr/>
            </p:nvSpPr>
            <p:spPr bwMode="auto">
              <a:xfrm>
                <a:off x="4279850" y="2147274"/>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14" name="Line 206">
                <a:extLst>
                  <a:ext uri="{FF2B5EF4-FFF2-40B4-BE49-F238E27FC236}">
                    <a16:creationId xmlns:a16="http://schemas.microsoft.com/office/drawing/2014/main" id="{9F192D22-68DD-4F2D-9080-FB0F05169112}"/>
                  </a:ext>
                </a:extLst>
              </p:cNvPr>
              <p:cNvSpPr>
                <a:spLocks noChangeShapeType="1"/>
              </p:cNvSpPr>
              <p:nvPr/>
            </p:nvSpPr>
            <p:spPr bwMode="auto">
              <a:xfrm>
                <a:off x="4279850" y="2166306"/>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15" name="Line 208">
                <a:extLst>
                  <a:ext uri="{FF2B5EF4-FFF2-40B4-BE49-F238E27FC236}">
                    <a16:creationId xmlns:a16="http://schemas.microsoft.com/office/drawing/2014/main" id="{01258A15-7521-4C0C-A64F-CEC07487F4CD}"/>
                  </a:ext>
                </a:extLst>
              </p:cNvPr>
              <p:cNvSpPr>
                <a:spLocks noChangeShapeType="1"/>
              </p:cNvSpPr>
              <p:nvPr/>
            </p:nvSpPr>
            <p:spPr bwMode="auto">
              <a:xfrm>
                <a:off x="4352174" y="2113861"/>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16" name="Line 209">
                <a:extLst>
                  <a:ext uri="{FF2B5EF4-FFF2-40B4-BE49-F238E27FC236}">
                    <a16:creationId xmlns:a16="http://schemas.microsoft.com/office/drawing/2014/main" id="{6CB8AE77-5699-4E51-B978-F33424BB20A7}"/>
                  </a:ext>
                </a:extLst>
              </p:cNvPr>
              <p:cNvSpPr>
                <a:spLocks noChangeShapeType="1"/>
              </p:cNvSpPr>
              <p:nvPr/>
            </p:nvSpPr>
            <p:spPr bwMode="auto">
              <a:xfrm>
                <a:off x="4352174" y="2132048"/>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17" name="Line 210">
                <a:extLst>
                  <a:ext uri="{FF2B5EF4-FFF2-40B4-BE49-F238E27FC236}">
                    <a16:creationId xmlns:a16="http://schemas.microsoft.com/office/drawing/2014/main" id="{B92BDEF3-8B08-4702-B30B-273272D28317}"/>
                  </a:ext>
                </a:extLst>
              </p:cNvPr>
              <p:cNvSpPr>
                <a:spLocks noChangeShapeType="1"/>
              </p:cNvSpPr>
              <p:nvPr/>
            </p:nvSpPr>
            <p:spPr bwMode="auto">
              <a:xfrm>
                <a:off x="4352174" y="215108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18" name="Line 211">
                <a:extLst>
                  <a:ext uri="{FF2B5EF4-FFF2-40B4-BE49-F238E27FC236}">
                    <a16:creationId xmlns:a16="http://schemas.microsoft.com/office/drawing/2014/main" id="{D886C6DC-0CA2-4431-A93B-6F4995CCB8F4}"/>
                  </a:ext>
                </a:extLst>
              </p:cNvPr>
              <p:cNvSpPr>
                <a:spLocks noChangeShapeType="1"/>
              </p:cNvSpPr>
              <p:nvPr/>
            </p:nvSpPr>
            <p:spPr bwMode="auto">
              <a:xfrm>
                <a:off x="4352174" y="216969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19" name="Line 212">
                <a:extLst>
                  <a:ext uri="{FF2B5EF4-FFF2-40B4-BE49-F238E27FC236}">
                    <a16:creationId xmlns:a16="http://schemas.microsoft.com/office/drawing/2014/main" id="{998B5DEE-0A36-444B-9FA1-BFB63320ED44}"/>
                  </a:ext>
                </a:extLst>
              </p:cNvPr>
              <p:cNvSpPr>
                <a:spLocks noChangeShapeType="1"/>
              </p:cNvSpPr>
              <p:nvPr/>
            </p:nvSpPr>
            <p:spPr bwMode="auto">
              <a:xfrm>
                <a:off x="4352174" y="218830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20" name="Line 214">
                <a:extLst>
                  <a:ext uri="{FF2B5EF4-FFF2-40B4-BE49-F238E27FC236}">
                    <a16:creationId xmlns:a16="http://schemas.microsoft.com/office/drawing/2014/main" id="{2560DEA0-56A0-4C9D-9EB8-D4788087A70C}"/>
                  </a:ext>
                </a:extLst>
              </p:cNvPr>
              <p:cNvSpPr>
                <a:spLocks noChangeShapeType="1"/>
              </p:cNvSpPr>
              <p:nvPr/>
            </p:nvSpPr>
            <p:spPr bwMode="auto">
              <a:xfrm>
                <a:off x="4136471" y="2113861"/>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21" name="Line 215">
                <a:extLst>
                  <a:ext uri="{FF2B5EF4-FFF2-40B4-BE49-F238E27FC236}">
                    <a16:creationId xmlns:a16="http://schemas.microsoft.com/office/drawing/2014/main" id="{BA9C637A-4982-401F-AB9C-C0F6E0B8636E}"/>
                  </a:ext>
                </a:extLst>
              </p:cNvPr>
              <p:cNvSpPr>
                <a:spLocks noChangeShapeType="1"/>
              </p:cNvSpPr>
              <p:nvPr/>
            </p:nvSpPr>
            <p:spPr bwMode="auto">
              <a:xfrm>
                <a:off x="4136471" y="2132048"/>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22" name="Line 216">
                <a:extLst>
                  <a:ext uri="{FF2B5EF4-FFF2-40B4-BE49-F238E27FC236}">
                    <a16:creationId xmlns:a16="http://schemas.microsoft.com/office/drawing/2014/main" id="{7A46A7A6-591E-4623-B09C-F058E4707DEE}"/>
                  </a:ext>
                </a:extLst>
              </p:cNvPr>
              <p:cNvSpPr>
                <a:spLocks noChangeShapeType="1"/>
              </p:cNvSpPr>
              <p:nvPr/>
            </p:nvSpPr>
            <p:spPr bwMode="auto">
              <a:xfrm>
                <a:off x="4136471" y="215108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23" name="Line 217">
                <a:extLst>
                  <a:ext uri="{FF2B5EF4-FFF2-40B4-BE49-F238E27FC236}">
                    <a16:creationId xmlns:a16="http://schemas.microsoft.com/office/drawing/2014/main" id="{FE26DF9C-E683-4120-979C-214B6FE8C723}"/>
                  </a:ext>
                </a:extLst>
              </p:cNvPr>
              <p:cNvSpPr>
                <a:spLocks noChangeShapeType="1"/>
              </p:cNvSpPr>
              <p:nvPr/>
            </p:nvSpPr>
            <p:spPr bwMode="auto">
              <a:xfrm>
                <a:off x="4136471" y="216969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sp>
            <p:nvSpPr>
              <p:cNvPr id="324" name="Line 218">
                <a:extLst>
                  <a:ext uri="{FF2B5EF4-FFF2-40B4-BE49-F238E27FC236}">
                    <a16:creationId xmlns:a16="http://schemas.microsoft.com/office/drawing/2014/main" id="{596B0D22-D5AB-4801-93F9-E11438DFCD98}"/>
                  </a:ext>
                </a:extLst>
              </p:cNvPr>
              <p:cNvSpPr>
                <a:spLocks noChangeShapeType="1"/>
              </p:cNvSpPr>
              <p:nvPr/>
            </p:nvSpPr>
            <p:spPr bwMode="auto">
              <a:xfrm>
                <a:off x="4136471" y="218830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cs typeface="+mn-cs"/>
                </a:endParaRPr>
              </a:p>
            </p:txBody>
          </p:sp>
        </p:grpSp>
      </p:grpSp>
      <p:sp>
        <p:nvSpPr>
          <p:cNvPr id="1962" name="Oval 1961">
            <a:extLst>
              <a:ext uri="{FF2B5EF4-FFF2-40B4-BE49-F238E27FC236}">
                <a16:creationId xmlns:a16="http://schemas.microsoft.com/office/drawing/2014/main" id="{3EC8EF42-2E33-4AEA-BFDA-92D0F336B307}"/>
              </a:ext>
            </a:extLst>
          </p:cNvPr>
          <p:cNvSpPr/>
          <p:nvPr/>
        </p:nvSpPr>
        <p:spPr>
          <a:xfrm>
            <a:off x="7209297" y="3949147"/>
            <a:ext cx="443247" cy="443247"/>
          </a:xfrm>
          <a:prstGeom prst="ellipse">
            <a:avLst/>
          </a:prstGeom>
          <a:solidFill>
            <a:schemeClr val="bg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07" name="Oval 1206">
            <a:extLst>
              <a:ext uri="{FF2B5EF4-FFF2-40B4-BE49-F238E27FC236}">
                <a16:creationId xmlns:a16="http://schemas.microsoft.com/office/drawing/2014/main" id="{47CD7FB0-CEBE-48F7-9B51-3C02F6DDE6E0}"/>
              </a:ext>
            </a:extLst>
          </p:cNvPr>
          <p:cNvSpPr/>
          <p:nvPr/>
        </p:nvSpPr>
        <p:spPr>
          <a:xfrm>
            <a:off x="7209297" y="2564929"/>
            <a:ext cx="443247" cy="443247"/>
          </a:xfrm>
          <a:prstGeom prst="ellipse">
            <a:avLst/>
          </a:prstGeom>
          <a:solidFill>
            <a:schemeClr val="bg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08" name="Oval 1207">
            <a:extLst>
              <a:ext uri="{FF2B5EF4-FFF2-40B4-BE49-F238E27FC236}">
                <a16:creationId xmlns:a16="http://schemas.microsoft.com/office/drawing/2014/main" id="{4082F505-951C-4D49-8875-0EB3528421C6}"/>
              </a:ext>
            </a:extLst>
          </p:cNvPr>
          <p:cNvSpPr/>
          <p:nvPr/>
        </p:nvSpPr>
        <p:spPr>
          <a:xfrm>
            <a:off x="5341042" y="3949147"/>
            <a:ext cx="443247" cy="443247"/>
          </a:xfrm>
          <a:prstGeom prst="ellipse">
            <a:avLst/>
          </a:prstGeom>
          <a:solidFill>
            <a:schemeClr val="bg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09" name="Oval 1208">
            <a:extLst>
              <a:ext uri="{FF2B5EF4-FFF2-40B4-BE49-F238E27FC236}">
                <a16:creationId xmlns:a16="http://schemas.microsoft.com/office/drawing/2014/main" id="{A3FDD8D2-FE75-47C2-BA0C-6A790D830CB7}"/>
              </a:ext>
            </a:extLst>
          </p:cNvPr>
          <p:cNvSpPr/>
          <p:nvPr/>
        </p:nvSpPr>
        <p:spPr>
          <a:xfrm>
            <a:off x="5341042" y="2564929"/>
            <a:ext cx="443247" cy="443247"/>
          </a:xfrm>
          <a:prstGeom prst="ellipse">
            <a:avLst/>
          </a:prstGeom>
          <a:solidFill>
            <a:schemeClr val="bg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10242" name="Picture 8" descr="cid:image003.png@01D4EF94.7980F600">
            <a:extLst>
              <a:ext uri="{FF2B5EF4-FFF2-40B4-BE49-F238E27FC236}">
                <a16:creationId xmlns:a16="http://schemas.microsoft.com/office/drawing/2014/main" id="{4515A534-AFA5-46E7-A711-1BE6BEE2026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88832" y="294747"/>
            <a:ext cx="686594" cy="686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5037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341313"/>
            <a:ext cx="8345488" cy="731837"/>
          </a:xfrm>
        </p:spPr>
        <p:txBody>
          <a:bodyPr/>
          <a:lstStyle/>
          <a:p>
            <a:r>
              <a:rPr lang="pl-PL" dirty="0" err="1"/>
              <a:t>Enriched</a:t>
            </a:r>
            <a:r>
              <a:rPr lang="pl-PL" dirty="0"/>
              <a:t> with data from </a:t>
            </a:r>
            <a:r>
              <a:rPr lang="pl-PL" dirty="0" err="1"/>
              <a:t>other</a:t>
            </a:r>
            <a:r>
              <a:rPr lang="pl-PL" dirty="0"/>
              <a:t> </a:t>
            </a:r>
            <a:r>
              <a:rPr lang="pl-PL" dirty="0" err="1"/>
              <a:t>sources</a:t>
            </a:r>
            <a:endParaRPr lang="en-US" dirty="0"/>
          </a:p>
        </p:txBody>
      </p:sp>
      <p:grpSp>
        <p:nvGrpSpPr>
          <p:cNvPr id="24" name="Group 23"/>
          <p:cNvGrpSpPr/>
          <p:nvPr/>
        </p:nvGrpSpPr>
        <p:grpSpPr>
          <a:xfrm>
            <a:off x="535181" y="4168938"/>
            <a:ext cx="8117110" cy="331362"/>
            <a:chOff x="354328" y="3955754"/>
            <a:chExt cx="8469424" cy="422672"/>
          </a:xfrm>
        </p:grpSpPr>
        <p:sp>
          <p:nvSpPr>
            <p:cNvPr id="7" name="Rectangle 11"/>
            <p:cNvSpPr>
              <a:spLocks noChangeArrowheads="1"/>
            </p:cNvSpPr>
            <p:nvPr/>
          </p:nvSpPr>
          <p:spPr bwMode="auto">
            <a:xfrm>
              <a:off x="544375" y="3955754"/>
              <a:ext cx="8279377" cy="422672"/>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Stealthwatch Enterprise also enables telemetry ingestion from many third-party exporters</a:t>
              </a:r>
            </a:p>
          </p:txBody>
        </p:sp>
        <p:sp>
          <p:nvSpPr>
            <p:cNvPr id="8" name="Rectangle 12"/>
            <p:cNvSpPr>
              <a:spLocks noChangeArrowheads="1"/>
            </p:cNvSpPr>
            <p:nvPr/>
          </p:nvSpPr>
          <p:spPr bwMode="auto">
            <a:xfrm>
              <a:off x="354328" y="3955754"/>
              <a:ext cx="170690" cy="422672"/>
            </a:xfrm>
            <a:prstGeom prst="rect">
              <a:avLst/>
            </a:prstGeom>
            <a:solidFill>
              <a:schemeClr val="tx2"/>
            </a:solidFill>
            <a:ln>
              <a:noFill/>
            </a:ln>
            <a:effectLst/>
            <a:extLst/>
          </p:spPr>
          <p:txBody>
            <a:bodyPr lIns="61601" tIns="30800" rIns="61601" bIns="30800"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grpSp>
        <p:nvGrpSpPr>
          <p:cNvPr id="28" name="Group 27">
            <a:extLst>
              <a:ext uri="{FF2B5EF4-FFF2-40B4-BE49-F238E27FC236}">
                <a16:creationId xmlns:a16="http://schemas.microsoft.com/office/drawing/2014/main" id="{96DFA97D-BDC0-4DC3-A20A-1F5F90A17FAD}"/>
              </a:ext>
            </a:extLst>
          </p:cNvPr>
          <p:cNvGrpSpPr/>
          <p:nvPr/>
        </p:nvGrpSpPr>
        <p:grpSpPr>
          <a:xfrm>
            <a:off x="518425" y="2074985"/>
            <a:ext cx="8133866" cy="1992069"/>
            <a:chOff x="730580" y="2063848"/>
            <a:chExt cx="8033753" cy="1992069"/>
          </a:xfrm>
        </p:grpSpPr>
        <p:grpSp>
          <p:nvGrpSpPr>
            <p:cNvPr id="21" name="Group 20"/>
            <p:cNvGrpSpPr/>
            <p:nvPr/>
          </p:nvGrpSpPr>
          <p:grpSpPr>
            <a:xfrm>
              <a:off x="6844093" y="2082303"/>
              <a:ext cx="1920240" cy="941829"/>
              <a:chOff x="6844093" y="1912630"/>
              <a:chExt cx="1979659" cy="941829"/>
            </a:xfrm>
          </p:grpSpPr>
          <p:sp>
            <p:nvSpPr>
              <p:cNvPr id="4" name="Rectangle 3"/>
              <p:cNvSpPr>
                <a:spLocks noChangeArrowheads="1"/>
              </p:cNvSpPr>
              <p:nvPr/>
            </p:nvSpPr>
            <p:spPr bwMode="auto">
              <a:xfrm>
                <a:off x="6844093" y="2163853"/>
                <a:ext cx="1979659" cy="690606"/>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Nexus switch</a:t>
                </a:r>
              </a:p>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err="1">
                    <a:ln>
                      <a:noFill/>
                    </a:ln>
                    <a:solidFill>
                      <a:srgbClr val="282828"/>
                    </a:solidFill>
                    <a:effectLst/>
                    <a:uLnTx/>
                    <a:uFillTx/>
                    <a:latin typeface="CiscoSansTT ExtraLight"/>
                    <a:ea typeface="ＭＳ Ｐゴシック" charset="0"/>
                  </a:rPr>
                  <a:t>Tetration</a:t>
                </a:r>
                <a:endPar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 name="Rectangle 4"/>
              <p:cNvSpPr>
                <a:spLocks noChangeArrowheads="1"/>
              </p:cNvSpPr>
              <p:nvPr/>
            </p:nvSpPr>
            <p:spPr bwMode="auto">
              <a:xfrm>
                <a:off x="6844093" y="1912630"/>
                <a:ext cx="1979659" cy="238125"/>
              </a:xfrm>
              <a:prstGeom prst="rect">
                <a:avLst/>
              </a:prstGeom>
              <a:solidFill>
                <a:schemeClr val="accent5"/>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Data Center</a:t>
                </a:r>
              </a:p>
            </p:txBody>
          </p:sp>
        </p:grpSp>
        <p:grpSp>
          <p:nvGrpSpPr>
            <p:cNvPr id="3" name="Group 2"/>
            <p:cNvGrpSpPr/>
            <p:nvPr/>
          </p:nvGrpSpPr>
          <p:grpSpPr>
            <a:xfrm>
              <a:off x="2776741" y="2063848"/>
              <a:ext cx="1920240" cy="941829"/>
              <a:chOff x="354328" y="1912630"/>
              <a:chExt cx="1977900" cy="941829"/>
            </a:xfrm>
          </p:grpSpPr>
          <p:sp>
            <p:nvSpPr>
              <p:cNvPr id="10" name="Rectangle 14"/>
              <p:cNvSpPr>
                <a:spLocks noChangeArrowheads="1"/>
              </p:cNvSpPr>
              <p:nvPr/>
            </p:nvSpPr>
            <p:spPr bwMode="auto">
              <a:xfrm>
                <a:off x="354328" y="2163853"/>
                <a:ext cx="1977900" cy="690606"/>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Catalyst</a:t>
                </a:r>
              </a:p>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IE</a:t>
                </a:r>
              </a:p>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ETA enabled Catalyst</a:t>
                </a:r>
              </a:p>
            </p:txBody>
          </p:sp>
          <p:sp>
            <p:nvSpPr>
              <p:cNvPr id="11" name="Rectangle 15"/>
              <p:cNvSpPr>
                <a:spLocks noChangeArrowheads="1"/>
              </p:cNvSpPr>
              <p:nvPr/>
            </p:nvSpPr>
            <p:spPr bwMode="auto">
              <a:xfrm>
                <a:off x="354328" y="1912630"/>
                <a:ext cx="1977900" cy="238125"/>
              </a:xfrm>
              <a:prstGeom prst="rect">
                <a:avLst/>
              </a:prstGeom>
              <a:solidFill>
                <a:schemeClr val="accent1"/>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Switch</a:t>
                </a:r>
              </a:p>
            </p:txBody>
          </p:sp>
        </p:grpSp>
        <p:grpSp>
          <p:nvGrpSpPr>
            <p:cNvPr id="6" name="Group 5"/>
            <p:cNvGrpSpPr/>
            <p:nvPr/>
          </p:nvGrpSpPr>
          <p:grpSpPr>
            <a:xfrm>
              <a:off x="730580" y="3114089"/>
              <a:ext cx="1920240" cy="941828"/>
              <a:chOff x="354328" y="2944416"/>
              <a:chExt cx="1977900" cy="941828"/>
            </a:xfrm>
          </p:grpSpPr>
          <p:sp>
            <p:nvSpPr>
              <p:cNvPr id="13" name="Rectangle 17"/>
              <p:cNvSpPr>
                <a:spLocks noChangeArrowheads="1"/>
              </p:cNvSpPr>
              <p:nvPr/>
            </p:nvSpPr>
            <p:spPr bwMode="auto">
              <a:xfrm>
                <a:off x="354328" y="3195638"/>
                <a:ext cx="1977900" cy="690606"/>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Web Security Appliance (WSA)</a:t>
                </a:r>
              </a:p>
            </p:txBody>
          </p:sp>
          <p:sp>
            <p:nvSpPr>
              <p:cNvPr id="14" name="Rectangle 18"/>
              <p:cNvSpPr>
                <a:spLocks noChangeArrowheads="1"/>
              </p:cNvSpPr>
              <p:nvPr/>
            </p:nvSpPr>
            <p:spPr bwMode="auto">
              <a:xfrm>
                <a:off x="354328" y="2944416"/>
                <a:ext cx="1977900" cy="238125"/>
              </a:xfrm>
              <a:prstGeom prst="rect">
                <a:avLst/>
              </a:prstGeom>
              <a:solidFill>
                <a:schemeClr val="accent2"/>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Web</a:t>
                </a:r>
              </a:p>
            </p:txBody>
          </p:sp>
        </p:grpSp>
        <p:grpSp>
          <p:nvGrpSpPr>
            <p:cNvPr id="9" name="Group 8"/>
            <p:cNvGrpSpPr/>
            <p:nvPr/>
          </p:nvGrpSpPr>
          <p:grpSpPr>
            <a:xfrm>
              <a:off x="730580" y="2076946"/>
              <a:ext cx="1920240" cy="930627"/>
              <a:chOff x="2532834" y="1912630"/>
              <a:chExt cx="1955023" cy="930627"/>
            </a:xfrm>
          </p:grpSpPr>
          <p:sp>
            <p:nvSpPr>
              <p:cNvPr id="16" name="Rectangle 20"/>
              <p:cNvSpPr>
                <a:spLocks noChangeArrowheads="1"/>
              </p:cNvSpPr>
              <p:nvPr/>
            </p:nvSpPr>
            <p:spPr bwMode="auto">
              <a:xfrm>
                <a:off x="2532834" y="2160864"/>
                <a:ext cx="1955023" cy="682393"/>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numCol="2" anchor="ctr">
                <a:noAutofit/>
              </a:bodyPr>
              <a:lstStyle/>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ISR</a:t>
                </a:r>
              </a:p>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CSR</a:t>
                </a:r>
              </a:p>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ASR</a:t>
                </a:r>
              </a:p>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WLC</a:t>
                </a:r>
              </a:p>
            </p:txBody>
          </p:sp>
          <p:sp>
            <p:nvSpPr>
              <p:cNvPr id="17" name="Rectangle 21"/>
              <p:cNvSpPr>
                <a:spLocks noChangeArrowheads="1"/>
              </p:cNvSpPr>
              <p:nvPr/>
            </p:nvSpPr>
            <p:spPr bwMode="auto">
              <a:xfrm>
                <a:off x="2532834" y="1912630"/>
                <a:ext cx="1955023" cy="235293"/>
              </a:xfrm>
              <a:prstGeom prst="rect">
                <a:avLst/>
              </a:prstGeom>
              <a:solidFill>
                <a:schemeClr val="accent3"/>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ExtraLight"/>
                    <a:ea typeface="ＭＳ Ｐゴシック" charset="0"/>
                  </a:rPr>
                  <a:t>Router</a:t>
                </a:r>
              </a:p>
            </p:txBody>
          </p:sp>
        </p:grpSp>
        <p:grpSp>
          <p:nvGrpSpPr>
            <p:cNvPr id="12" name="Group 11"/>
            <p:cNvGrpSpPr/>
            <p:nvPr/>
          </p:nvGrpSpPr>
          <p:grpSpPr>
            <a:xfrm>
              <a:off x="2776741" y="3122423"/>
              <a:ext cx="1920240" cy="933494"/>
              <a:chOff x="2532834" y="2952750"/>
              <a:chExt cx="1955023" cy="933494"/>
            </a:xfrm>
          </p:grpSpPr>
          <p:sp>
            <p:nvSpPr>
              <p:cNvPr id="19" name="Rectangle 23"/>
              <p:cNvSpPr>
                <a:spLocks noChangeArrowheads="1"/>
              </p:cNvSpPr>
              <p:nvPr/>
            </p:nvSpPr>
            <p:spPr bwMode="auto">
              <a:xfrm>
                <a:off x="2532834" y="3203851"/>
                <a:ext cx="1955023" cy="682393"/>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rPr>
                  <a:t>AnyConnect</a:t>
                </a:r>
                <a:endPar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0" name="Rectangle 24"/>
              <p:cNvSpPr>
                <a:spLocks noChangeArrowheads="1"/>
              </p:cNvSpPr>
              <p:nvPr/>
            </p:nvSpPr>
            <p:spPr bwMode="auto">
              <a:xfrm>
                <a:off x="2532834" y="2952750"/>
                <a:ext cx="1955023" cy="235293"/>
              </a:xfrm>
              <a:prstGeom prst="rect">
                <a:avLst/>
              </a:prstGeom>
              <a:solidFill>
                <a:schemeClr val="accent6"/>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rPr>
                  <a:t>Endpoint</a:t>
                </a:r>
                <a:endPar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8" name="Group 17"/>
            <p:cNvGrpSpPr/>
            <p:nvPr/>
          </p:nvGrpSpPr>
          <p:grpSpPr>
            <a:xfrm>
              <a:off x="4805792" y="2082303"/>
              <a:ext cx="1920240" cy="930627"/>
              <a:chOff x="4688463" y="1912630"/>
              <a:chExt cx="1955025" cy="930627"/>
            </a:xfrm>
          </p:grpSpPr>
          <p:sp>
            <p:nvSpPr>
              <p:cNvPr id="22" name="Rectangle 26"/>
              <p:cNvSpPr>
                <a:spLocks noChangeArrowheads="1"/>
              </p:cNvSpPr>
              <p:nvPr/>
            </p:nvSpPr>
            <p:spPr bwMode="auto">
              <a:xfrm>
                <a:off x="4688463" y="2160864"/>
                <a:ext cx="1955025" cy="682393"/>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numCol="1" anchor="ctr">
                <a:noAutofit/>
              </a:bodyPr>
              <a:lstStyle/>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ASA</a:t>
                </a:r>
              </a:p>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FTD</a:t>
                </a:r>
              </a:p>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Meraki</a:t>
                </a:r>
              </a:p>
            </p:txBody>
          </p:sp>
          <p:sp>
            <p:nvSpPr>
              <p:cNvPr id="23" name="Rectangle 27"/>
              <p:cNvSpPr>
                <a:spLocks noChangeArrowheads="1"/>
              </p:cNvSpPr>
              <p:nvPr/>
            </p:nvSpPr>
            <p:spPr bwMode="auto">
              <a:xfrm>
                <a:off x="4688463" y="1912630"/>
                <a:ext cx="1955025" cy="235293"/>
              </a:xfrm>
              <a:prstGeom prst="rect">
                <a:avLst/>
              </a:prstGeom>
              <a:solidFill>
                <a:schemeClr val="accent2"/>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Firewall</a:t>
                </a:r>
              </a:p>
            </p:txBody>
          </p:sp>
        </p:grpSp>
        <p:grpSp>
          <p:nvGrpSpPr>
            <p:cNvPr id="15" name="Group 14"/>
            <p:cNvGrpSpPr/>
            <p:nvPr/>
          </p:nvGrpSpPr>
          <p:grpSpPr>
            <a:xfrm>
              <a:off x="4805792" y="3122423"/>
              <a:ext cx="1920240" cy="933494"/>
              <a:chOff x="4688463" y="2952750"/>
              <a:chExt cx="1955025" cy="933494"/>
            </a:xfrm>
          </p:grpSpPr>
          <p:sp>
            <p:nvSpPr>
              <p:cNvPr id="25" name="Rectangle 29"/>
              <p:cNvSpPr>
                <a:spLocks noChangeArrowheads="1"/>
              </p:cNvSpPr>
              <p:nvPr/>
            </p:nvSpPr>
            <p:spPr bwMode="auto">
              <a:xfrm>
                <a:off x="4688463" y="3203851"/>
                <a:ext cx="1955025" cy="682393"/>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Identity </a:t>
                </a: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rPr>
                  <a:t>Services Engine (ISE)</a:t>
                </a:r>
              </a:p>
            </p:txBody>
          </p:sp>
          <p:sp>
            <p:nvSpPr>
              <p:cNvPr id="26" name="Rectangle 30"/>
              <p:cNvSpPr>
                <a:spLocks noChangeArrowheads="1"/>
              </p:cNvSpPr>
              <p:nvPr/>
            </p:nvSpPr>
            <p:spPr bwMode="auto">
              <a:xfrm>
                <a:off x="4688463" y="2952750"/>
                <a:ext cx="1955025" cy="235293"/>
              </a:xfrm>
              <a:prstGeom prst="rect">
                <a:avLst/>
              </a:prstGeom>
              <a:solidFill>
                <a:schemeClr val="accent3"/>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ExtraLight"/>
                    <a:ea typeface="ＭＳ Ｐゴシック" charset="0"/>
                  </a:rPr>
                  <a:t>Policy and User Info</a:t>
                </a:r>
              </a:p>
            </p:txBody>
          </p:sp>
        </p:grpSp>
        <p:grpSp>
          <p:nvGrpSpPr>
            <p:cNvPr id="30" name="Group 29"/>
            <p:cNvGrpSpPr/>
            <p:nvPr/>
          </p:nvGrpSpPr>
          <p:grpSpPr>
            <a:xfrm>
              <a:off x="6844093" y="3122423"/>
              <a:ext cx="1920240" cy="933494"/>
              <a:chOff x="4688463" y="2952750"/>
              <a:chExt cx="1955025" cy="933494"/>
            </a:xfrm>
          </p:grpSpPr>
          <p:sp>
            <p:nvSpPr>
              <p:cNvPr id="31" name="Rectangle 29"/>
              <p:cNvSpPr>
                <a:spLocks noChangeArrowheads="1"/>
              </p:cNvSpPr>
              <p:nvPr/>
            </p:nvSpPr>
            <p:spPr bwMode="auto">
              <a:xfrm>
                <a:off x="4688463" y="3203851"/>
                <a:ext cx="1955025" cy="682393"/>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Stealthwatch Flow </a:t>
                </a:r>
                <a:b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b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Sensor</a:t>
                </a:r>
                <a:endParaRPr kumimoji="0" lang="en-US" sz="1200" b="0" i="0" u="none" strike="noStrike" kern="1200" cap="none" spc="0" normalizeH="0" baseline="0" noProof="0" dirty="0">
                  <a:ln>
                    <a:noFill/>
                  </a:ln>
                  <a:solidFill>
                    <a:srgbClr val="E3241B"/>
                  </a:solidFill>
                  <a:effectLst/>
                  <a:uLnTx/>
                  <a:uFillTx/>
                  <a:latin typeface="CiscoSansTT ExtraLight"/>
                  <a:ea typeface="ＭＳ Ｐゴシック" charset="0"/>
                </a:endParaRPr>
              </a:p>
            </p:txBody>
          </p:sp>
          <p:sp>
            <p:nvSpPr>
              <p:cNvPr id="32" name="Rectangle 30"/>
              <p:cNvSpPr>
                <a:spLocks noChangeArrowheads="1"/>
              </p:cNvSpPr>
              <p:nvPr/>
            </p:nvSpPr>
            <p:spPr bwMode="auto">
              <a:xfrm>
                <a:off x="4688463" y="2952750"/>
                <a:ext cx="1955025" cy="235293"/>
              </a:xfrm>
              <a:prstGeom prst="rect">
                <a:avLst/>
              </a:prstGeom>
              <a:solidFill>
                <a:schemeClr val="accent1"/>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457200" rtl="0" eaLnBrk="1" fontAlgn="base"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rPr>
                  <a:t>Other</a:t>
                </a:r>
                <a:endPar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cxnSp>
        <p:nvCxnSpPr>
          <p:cNvPr id="33" name="Straight Connector 32"/>
          <p:cNvCxnSpPr/>
          <p:nvPr/>
        </p:nvCxnSpPr>
        <p:spPr>
          <a:xfrm flipH="1" flipV="1">
            <a:off x="1459677" y="1502736"/>
            <a:ext cx="6217920" cy="14798"/>
          </a:xfrm>
          <a:prstGeom prst="line">
            <a:avLst/>
          </a:prstGeom>
          <a:noFill/>
          <a:ln w="3175" cap="flat" cmpd="sng" algn="ctr">
            <a:solidFill>
              <a:srgbClr val="00BCEB"/>
            </a:solidFill>
            <a:prstDash val="dash"/>
          </a:ln>
          <a:effectLst/>
        </p:spPr>
      </p:cxnSp>
      <p:sp>
        <p:nvSpPr>
          <p:cNvPr id="34" name="Rectangle 33"/>
          <p:cNvSpPr/>
          <p:nvPr/>
        </p:nvSpPr>
        <p:spPr>
          <a:xfrm>
            <a:off x="2750529" y="1794998"/>
            <a:ext cx="534089" cy="230818"/>
          </a:xfrm>
          <a:prstGeom prst="rect">
            <a:avLst/>
          </a:prstGeom>
        </p:spPr>
        <p:txBody>
          <a:bodyPr wrap="none" lIns="91424" tIns="45713" rIns="91424" bIns="45713">
            <a:spAutoFit/>
          </a:bodyPr>
          <a:lstStyle/>
          <a:p>
            <a:pPr marL="0" marR="0" lvl="0" indent="0" algn="ctr" defTabSz="91436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82828"/>
                </a:solidFill>
                <a:effectLst/>
                <a:uLnTx/>
                <a:uFillTx/>
                <a:latin typeface="CiscoSansTT ExtraLight" panose="020B0303020201020303" pitchFamily="34" charset="0"/>
                <a:ea typeface="ＭＳ Ｐゴシック" charset="0"/>
              </a:rPr>
              <a:t>Switch</a:t>
            </a:r>
          </a:p>
        </p:txBody>
      </p:sp>
      <p:sp>
        <p:nvSpPr>
          <p:cNvPr id="35" name="Rectangle 34"/>
          <p:cNvSpPr/>
          <p:nvPr/>
        </p:nvSpPr>
        <p:spPr>
          <a:xfrm>
            <a:off x="3526180" y="1794996"/>
            <a:ext cx="531059" cy="230822"/>
          </a:xfrm>
          <a:prstGeom prst="rect">
            <a:avLst/>
          </a:prstGeom>
        </p:spPr>
        <p:txBody>
          <a:bodyPr wrap="none" lIns="91424" tIns="45713" rIns="91424" bIns="45713">
            <a:spAutoFit/>
          </a:bodyPr>
          <a:lstStyle/>
          <a:p>
            <a:pPr marL="0" marR="0" lvl="0" indent="0" algn="ctr" defTabSz="91436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82828"/>
                </a:solidFill>
                <a:effectLst/>
                <a:uLnTx/>
                <a:uFillTx/>
                <a:latin typeface="CiscoSansTT ExtraLight" panose="020B0303020201020303" pitchFamily="34" charset="0"/>
                <a:ea typeface="ＭＳ Ｐゴシック" charset="0"/>
              </a:rPr>
              <a:t>Router</a:t>
            </a:r>
          </a:p>
        </p:txBody>
      </p:sp>
      <p:sp>
        <p:nvSpPr>
          <p:cNvPr id="36" name="Rectangle 35"/>
          <p:cNvSpPr/>
          <p:nvPr/>
        </p:nvSpPr>
        <p:spPr>
          <a:xfrm>
            <a:off x="5070964" y="1794996"/>
            <a:ext cx="531059" cy="230822"/>
          </a:xfrm>
          <a:prstGeom prst="rect">
            <a:avLst/>
          </a:prstGeom>
        </p:spPr>
        <p:txBody>
          <a:bodyPr wrap="none" lIns="91424" tIns="45713" rIns="91424" bIns="45713">
            <a:spAutoFit/>
          </a:bodyPr>
          <a:lstStyle/>
          <a:p>
            <a:pPr marL="0" marR="0" lvl="0" indent="0" algn="ctr" defTabSz="91436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82828"/>
                </a:solidFill>
                <a:effectLst/>
                <a:uLnTx/>
                <a:uFillTx/>
                <a:latin typeface="CiscoSansTT ExtraLight" panose="020B0303020201020303" pitchFamily="34" charset="0"/>
                <a:ea typeface="ＭＳ Ｐゴシック" charset="0"/>
              </a:rPr>
              <a:t>Router</a:t>
            </a:r>
          </a:p>
        </p:txBody>
      </p:sp>
      <p:sp>
        <p:nvSpPr>
          <p:cNvPr id="37" name="Rectangle 36"/>
          <p:cNvSpPr/>
          <p:nvPr/>
        </p:nvSpPr>
        <p:spPr>
          <a:xfrm>
            <a:off x="5810996" y="1794996"/>
            <a:ext cx="582230" cy="230822"/>
          </a:xfrm>
          <a:prstGeom prst="rect">
            <a:avLst/>
          </a:prstGeom>
        </p:spPr>
        <p:txBody>
          <a:bodyPr wrap="none" lIns="91424" tIns="45713" rIns="91424" bIns="45713">
            <a:spAutoFit/>
          </a:bodyPr>
          <a:lstStyle/>
          <a:p>
            <a:pPr marL="0" marR="0" lvl="0" indent="0" algn="ctr" defTabSz="91436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82828"/>
                </a:solidFill>
                <a:effectLst/>
                <a:uLnTx/>
                <a:uFillTx/>
                <a:latin typeface="CiscoSansTT ExtraLight" panose="020B0303020201020303" pitchFamily="34" charset="0"/>
                <a:ea typeface="ＭＳ Ｐゴシック" charset="0"/>
              </a:rPr>
              <a:t>Firewall</a:t>
            </a:r>
          </a:p>
        </p:txBody>
      </p:sp>
      <p:sp>
        <p:nvSpPr>
          <p:cNvPr id="38" name="Rectangle 37"/>
          <p:cNvSpPr/>
          <p:nvPr/>
        </p:nvSpPr>
        <p:spPr>
          <a:xfrm>
            <a:off x="7376513" y="1794996"/>
            <a:ext cx="530890" cy="230822"/>
          </a:xfrm>
          <a:prstGeom prst="rect">
            <a:avLst/>
          </a:prstGeom>
        </p:spPr>
        <p:txBody>
          <a:bodyPr wrap="none" lIns="91424" tIns="45713" rIns="91424" bIns="45713">
            <a:spAutoFit/>
          </a:bodyPr>
          <a:lstStyle/>
          <a:p>
            <a:pPr marL="0" marR="0" lvl="0" indent="0" algn="ctr" defTabSz="91436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82828"/>
                </a:solidFill>
                <a:effectLst/>
                <a:uLnTx/>
                <a:uFillTx/>
                <a:latin typeface="CiscoSansTT ExtraLight" panose="020B0303020201020303" pitchFamily="34" charset="0"/>
                <a:ea typeface="ＭＳ Ｐゴシック" charset="0"/>
              </a:rPr>
              <a:t>Server</a:t>
            </a:r>
          </a:p>
        </p:txBody>
      </p:sp>
      <p:sp>
        <p:nvSpPr>
          <p:cNvPr id="39" name="Rectangle 38"/>
          <p:cNvSpPr/>
          <p:nvPr/>
        </p:nvSpPr>
        <p:spPr>
          <a:xfrm>
            <a:off x="513365" y="1794996"/>
            <a:ext cx="428323" cy="230822"/>
          </a:xfrm>
          <a:prstGeom prst="rect">
            <a:avLst/>
          </a:prstGeom>
        </p:spPr>
        <p:txBody>
          <a:bodyPr wrap="none" lIns="91424" tIns="45713" rIns="91424" bIns="45713">
            <a:spAutoFit/>
          </a:bodyPr>
          <a:lstStyle/>
          <a:p>
            <a:pPr marL="0" marR="0" lvl="0" indent="0" algn="ctr" defTabSz="91436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82828"/>
                </a:solidFill>
                <a:effectLst/>
                <a:uLnTx/>
                <a:uFillTx/>
                <a:latin typeface="CiscoSansTT ExtraLight" panose="020B0303020201020303" pitchFamily="34" charset="0"/>
                <a:ea typeface="ＭＳ Ｐゴシック" charset="0"/>
              </a:rPr>
              <a:t>User</a:t>
            </a:r>
          </a:p>
        </p:txBody>
      </p:sp>
      <p:sp>
        <p:nvSpPr>
          <p:cNvPr id="40" name="Rectangle 39"/>
          <p:cNvSpPr/>
          <p:nvPr/>
        </p:nvSpPr>
        <p:spPr>
          <a:xfrm>
            <a:off x="7917947" y="1739598"/>
            <a:ext cx="1019799" cy="341618"/>
          </a:xfrm>
          <a:prstGeom prst="rect">
            <a:avLst/>
          </a:prstGeom>
        </p:spPr>
        <p:txBody>
          <a:bodyPr wrap="none" lIns="91424" tIns="45713" rIns="91424" bIns="45713">
            <a:spAutoFit/>
          </a:bodyPr>
          <a:lstStyle/>
          <a:p>
            <a:pPr marL="0" marR="0" lvl="0" indent="0" algn="ctr" defTabSz="914362"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82828"/>
                </a:solidFill>
                <a:effectLst/>
                <a:uLnTx/>
                <a:uFillTx/>
                <a:latin typeface="CiscoSansTT ExtraLight" panose="020B0303020201020303" pitchFamily="34" charset="0"/>
                <a:ea typeface="ＭＳ Ｐゴシック" charset="0"/>
              </a:rPr>
              <a:t>Cisco Identity</a:t>
            </a:r>
            <a:br>
              <a:rPr kumimoji="0" lang="en-US" sz="900" b="0" i="0" u="none" strike="noStrike" kern="0" cap="none" spc="0" normalizeH="0" baseline="0" noProof="0" dirty="0">
                <a:ln>
                  <a:noFill/>
                </a:ln>
                <a:solidFill>
                  <a:srgbClr val="282828"/>
                </a:solidFill>
                <a:effectLst/>
                <a:uLnTx/>
                <a:uFillTx/>
                <a:latin typeface="CiscoSansTT ExtraLight" panose="020B0303020201020303" pitchFamily="34" charset="0"/>
                <a:ea typeface="ＭＳ Ｐゴシック" charset="0"/>
              </a:rPr>
            </a:br>
            <a:r>
              <a:rPr kumimoji="0" lang="en-US" sz="900" b="0" i="0" u="none" strike="noStrike" kern="0" cap="none" spc="0" normalizeH="0" baseline="0" noProof="0" dirty="0">
                <a:ln>
                  <a:noFill/>
                </a:ln>
                <a:solidFill>
                  <a:srgbClr val="282828"/>
                </a:solidFill>
                <a:effectLst/>
                <a:uLnTx/>
                <a:uFillTx/>
                <a:latin typeface="CiscoSansTT ExtraLight" panose="020B0303020201020303" pitchFamily="34" charset="0"/>
                <a:ea typeface="ＭＳ Ｐゴシック" charset="0"/>
              </a:rPr>
              <a:t>Services Engine</a:t>
            </a:r>
          </a:p>
        </p:txBody>
      </p:sp>
      <p:sp>
        <p:nvSpPr>
          <p:cNvPr id="41" name="Rectangle 40"/>
          <p:cNvSpPr/>
          <p:nvPr/>
        </p:nvSpPr>
        <p:spPr>
          <a:xfrm>
            <a:off x="4284817" y="1794991"/>
            <a:ext cx="526004" cy="230832"/>
          </a:xfrm>
          <a:prstGeom prst="rect">
            <a:avLst/>
          </a:prstGeom>
        </p:spPr>
        <p:txBody>
          <a:bodyPr wrap="square">
            <a:spAutoFit/>
          </a:bodyPr>
          <a:lstStyle/>
          <a:p>
            <a:pPr marL="0" marR="0" lvl="0" indent="0" algn="ctr" defTabSz="91436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82828"/>
                </a:solidFill>
                <a:effectLst/>
                <a:uLnTx/>
                <a:uFillTx/>
                <a:latin typeface="CiscoSansTT ExtraLight" panose="020B0303020201020303" pitchFamily="34" charset="0"/>
                <a:ea typeface="ＭＳ Ｐゴシック" charset="0"/>
              </a:rPr>
              <a:t>WAN</a:t>
            </a:r>
          </a:p>
        </p:txBody>
      </p:sp>
      <p:sp>
        <p:nvSpPr>
          <p:cNvPr id="42" name="Rectangle 41"/>
          <p:cNvSpPr/>
          <p:nvPr/>
        </p:nvSpPr>
        <p:spPr>
          <a:xfrm>
            <a:off x="1988655" y="1794996"/>
            <a:ext cx="530890" cy="230822"/>
          </a:xfrm>
          <a:prstGeom prst="rect">
            <a:avLst/>
          </a:prstGeom>
        </p:spPr>
        <p:txBody>
          <a:bodyPr wrap="none" lIns="91424" tIns="45713" rIns="91424" bIns="45713">
            <a:spAutoFit/>
          </a:bodyPr>
          <a:lstStyle/>
          <a:p>
            <a:pPr marL="0" marR="0" lvl="0" indent="0" algn="ctr" defTabSz="91436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82828"/>
                </a:solidFill>
                <a:effectLst/>
                <a:uLnTx/>
                <a:uFillTx/>
                <a:latin typeface="CiscoSansTT ExtraLight" panose="020B0303020201020303" pitchFamily="34" charset="0"/>
                <a:ea typeface="ＭＳ Ｐゴシック" charset="0"/>
              </a:rPr>
              <a:t>Server</a:t>
            </a:r>
          </a:p>
        </p:txBody>
      </p:sp>
      <p:sp>
        <p:nvSpPr>
          <p:cNvPr id="43" name="Rectangle 42"/>
          <p:cNvSpPr/>
          <p:nvPr/>
        </p:nvSpPr>
        <p:spPr>
          <a:xfrm>
            <a:off x="1211794" y="1794998"/>
            <a:ext cx="537295" cy="230818"/>
          </a:xfrm>
          <a:prstGeom prst="rect">
            <a:avLst/>
          </a:prstGeom>
        </p:spPr>
        <p:txBody>
          <a:bodyPr wrap="none" lIns="91424" tIns="45713" rIns="91424" bIns="45713">
            <a:spAutoFit/>
          </a:bodyPr>
          <a:lstStyle/>
          <a:p>
            <a:pPr marL="0" marR="0" lvl="0" indent="0" algn="ctr" defTabSz="91436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282828"/>
                </a:solidFill>
                <a:effectLst/>
                <a:uLnTx/>
                <a:uFillTx/>
                <a:latin typeface="CiscoSansTT ExtraLight" panose="020B0303020201020303" pitchFamily="34" charset="0"/>
                <a:ea typeface="ＭＳ Ｐゴシック" charset="0"/>
              </a:rPr>
              <a:t>Device</a:t>
            </a:r>
          </a:p>
        </p:txBody>
      </p:sp>
      <p:grpSp>
        <p:nvGrpSpPr>
          <p:cNvPr id="44" name="Group 43"/>
          <p:cNvGrpSpPr>
            <a:grpSpLocks noChangeAspect="1"/>
          </p:cNvGrpSpPr>
          <p:nvPr/>
        </p:nvGrpSpPr>
        <p:grpSpPr>
          <a:xfrm>
            <a:off x="5107348" y="1293021"/>
            <a:ext cx="457200" cy="457200"/>
            <a:chOff x="8616848" y="2032276"/>
            <a:chExt cx="228600" cy="228600"/>
          </a:xfrm>
        </p:grpSpPr>
        <p:sp>
          <p:nvSpPr>
            <p:cNvPr id="45" name="Oval 44"/>
            <p:cNvSpPr>
              <a:spLocks noChangeAspect="1"/>
            </p:cNvSpPr>
            <p:nvPr/>
          </p:nvSpPr>
          <p:spPr>
            <a:xfrm>
              <a:off x="8616848" y="2032276"/>
              <a:ext cx="228600" cy="2286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6" name="Freeform 45"/>
            <p:cNvSpPr/>
            <p:nvPr/>
          </p:nvSpPr>
          <p:spPr>
            <a:xfrm rot="18900000">
              <a:off x="8642924" y="2117314"/>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7" name="Freeform 46"/>
            <p:cNvSpPr/>
            <p:nvPr/>
          </p:nvSpPr>
          <p:spPr>
            <a:xfrm rot="8100000">
              <a:off x="8759559" y="2117314"/>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8" name="Freeform 47"/>
            <p:cNvSpPr/>
            <p:nvPr/>
          </p:nvSpPr>
          <p:spPr>
            <a:xfrm rot="13500000">
              <a:off x="8701242" y="2056385"/>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9" name="Freeform 48"/>
            <p:cNvSpPr/>
            <p:nvPr/>
          </p:nvSpPr>
          <p:spPr>
            <a:xfrm rot="2700000">
              <a:off x="8701242" y="2176760"/>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50" name="Group 49"/>
          <p:cNvGrpSpPr>
            <a:grpSpLocks noChangeAspect="1"/>
          </p:cNvGrpSpPr>
          <p:nvPr/>
        </p:nvGrpSpPr>
        <p:grpSpPr>
          <a:xfrm>
            <a:off x="6642881" y="1293021"/>
            <a:ext cx="457200" cy="457200"/>
            <a:chOff x="8877358" y="2041000"/>
            <a:chExt cx="228600" cy="228600"/>
          </a:xfrm>
        </p:grpSpPr>
        <p:sp>
          <p:nvSpPr>
            <p:cNvPr id="51" name="Oval 50"/>
            <p:cNvSpPr>
              <a:spLocks noChangeAspect="1"/>
            </p:cNvSpPr>
            <p:nvPr/>
          </p:nvSpPr>
          <p:spPr>
            <a:xfrm>
              <a:off x="8877358" y="2041000"/>
              <a:ext cx="228600" cy="2286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 name="Freeform 51"/>
            <p:cNvSpPr/>
            <p:nvPr/>
          </p:nvSpPr>
          <p:spPr>
            <a:xfrm rot="18900000">
              <a:off x="8961752" y="2157566"/>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3" name="Freeform 52"/>
            <p:cNvSpPr/>
            <p:nvPr/>
          </p:nvSpPr>
          <p:spPr>
            <a:xfrm rot="8100000">
              <a:off x="8961752" y="2093026"/>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pic>
        <p:nvPicPr>
          <p:cNvPr id="54" name="Picture 5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99247" y="1293021"/>
            <a:ext cx="457200" cy="457200"/>
          </a:xfrm>
          <a:prstGeom prst="rect">
            <a:avLst/>
          </a:prstGeom>
        </p:spPr>
      </p:pic>
      <p:grpSp>
        <p:nvGrpSpPr>
          <p:cNvPr id="55" name="Group 54"/>
          <p:cNvGrpSpPr>
            <a:grpSpLocks noChangeAspect="1"/>
          </p:cNvGrpSpPr>
          <p:nvPr/>
        </p:nvGrpSpPr>
        <p:grpSpPr>
          <a:xfrm>
            <a:off x="3563048" y="1293021"/>
            <a:ext cx="457200" cy="457200"/>
            <a:chOff x="8616848" y="2032276"/>
            <a:chExt cx="228600" cy="228600"/>
          </a:xfrm>
        </p:grpSpPr>
        <p:sp>
          <p:nvSpPr>
            <p:cNvPr id="56" name="Oval 55"/>
            <p:cNvSpPr>
              <a:spLocks noChangeAspect="1"/>
            </p:cNvSpPr>
            <p:nvPr/>
          </p:nvSpPr>
          <p:spPr>
            <a:xfrm>
              <a:off x="8616848" y="2032276"/>
              <a:ext cx="228600" cy="2286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7" name="Freeform 56"/>
            <p:cNvSpPr/>
            <p:nvPr/>
          </p:nvSpPr>
          <p:spPr>
            <a:xfrm rot="18900000">
              <a:off x="8642924" y="2117314"/>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8" name="Freeform 57"/>
            <p:cNvSpPr/>
            <p:nvPr/>
          </p:nvSpPr>
          <p:spPr>
            <a:xfrm rot="8100000">
              <a:off x="8759559" y="2117314"/>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9" name="Freeform 58"/>
            <p:cNvSpPr/>
            <p:nvPr/>
          </p:nvSpPr>
          <p:spPr>
            <a:xfrm rot="13500000">
              <a:off x="8701242" y="2056385"/>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0" name="Freeform 59"/>
            <p:cNvSpPr/>
            <p:nvPr/>
          </p:nvSpPr>
          <p:spPr>
            <a:xfrm rot="2700000">
              <a:off x="8701242" y="2176760"/>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61" name="Group 60"/>
          <p:cNvGrpSpPr>
            <a:grpSpLocks noChangeAspect="1"/>
          </p:cNvGrpSpPr>
          <p:nvPr/>
        </p:nvGrpSpPr>
        <p:grpSpPr>
          <a:xfrm>
            <a:off x="2794388" y="1293021"/>
            <a:ext cx="457200" cy="457200"/>
            <a:chOff x="8877358" y="2041000"/>
            <a:chExt cx="228600" cy="228600"/>
          </a:xfrm>
        </p:grpSpPr>
        <p:sp>
          <p:nvSpPr>
            <p:cNvPr id="62" name="Oval 61"/>
            <p:cNvSpPr>
              <a:spLocks noChangeAspect="1"/>
            </p:cNvSpPr>
            <p:nvPr/>
          </p:nvSpPr>
          <p:spPr>
            <a:xfrm>
              <a:off x="8877358" y="2041000"/>
              <a:ext cx="228600" cy="2286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3" name="Freeform 62"/>
            <p:cNvSpPr/>
            <p:nvPr/>
          </p:nvSpPr>
          <p:spPr>
            <a:xfrm rot="18900000">
              <a:off x="8961752" y="2157566"/>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4" name="Freeform 63"/>
            <p:cNvSpPr/>
            <p:nvPr/>
          </p:nvSpPr>
          <p:spPr>
            <a:xfrm rot="8100000">
              <a:off x="8961752" y="2093026"/>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65" name="Group 64"/>
          <p:cNvGrpSpPr>
            <a:grpSpLocks noChangeAspect="1"/>
          </p:cNvGrpSpPr>
          <p:nvPr/>
        </p:nvGrpSpPr>
        <p:grpSpPr>
          <a:xfrm>
            <a:off x="1257143" y="1293021"/>
            <a:ext cx="457125" cy="457200"/>
            <a:chOff x="4802809" y="244489"/>
            <a:chExt cx="1188533" cy="1188720"/>
          </a:xfrm>
        </p:grpSpPr>
        <p:sp>
          <p:nvSpPr>
            <p:cNvPr id="66" name="Oval 65"/>
            <p:cNvSpPr/>
            <p:nvPr/>
          </p:nvSpPr>
          <p:spPr>
            <a:xfrm>
              <a:off x="4802809" y="244489"/>
              <a:ext cx="1188533" cy="1188720"/>
            </a:xfrm>
            <a:prstGeom prst="ellipse">
              <a:avLst/>
            </a:prstGeom>
            <a:solidFill>
              <a:schemeClr val="bg1"/>
            </a:solidFill>
            <a:ln w="25400" cap="flat" cmpd="sng" algn="ctr">
              <a:noFill/>
              <a:prstDash val="solid"/>
            </a:ln>
            <a:effectLst/>
          </p:spPr>
          <p:txBody>
            <a:bodyPr rot="0" spcFirstLastPara="0" vertOverflow="overflow" horzOverflow="overflow" vert="horz" wrap="square" lIns="457200" tIns="45720" rIns="457200" bIns="45720" numCol="1" spcCol="0" rtlCol="0" fromWordArt="0" anchor="ctr" anchorCtr="1" forceAA="0" compatLnSpc="1">
              <a:prstTxWarp prst="textNoShape">
                <a:avLst/>
              </a:prstTxWarp>
              <a:noAutofit/>
            </a:bodyPr>
            <a:lstStyle/>
            <a:p>
              <a:pPr marL="0" marR="0" lvl="0" indent="0" algn="ctr" defTabSz="685813" rtl="0" eaLnBrk="1" fontAlgn="auto" latinLnBrk="0" hangingPunct="1">
                <a:lnSpc>
                  <a:spcPct val="100000"/>
                </a:lnSpc>
                <a:spcBef>
                  <a:spcPts val="0"/>
                </a:spcBef>
                <a:spcAft>
                  <a:spcPts val="0"/>
                </a:spcAft>
                <a:buClrTx/>
                <a:buSzTx/>
                <a:buFontTx/>
                <a:buNone/>
                <a:tabLst/>
                <a:defRPr/>
              </a:pPr>
              <a:endParaRPr kumimoji="0" lang="en-US" sz="2100" b="1" i="0" u="none" strike="noStrike" kern="0" cap="none" spc="0" normalizeH="0" baseline="0" noProof="0" dirty="0">
                <a:ln>
                  <a:noFill/>
                </a:ln>
                <a:solidFill>
                  <a:srgbClr val="FFFFFF"/>
                </a:solidFill>
                <a:effectLst/>
                <a:uLnTx/>
                <a:uFillTx/>
                <a:latin typeface="Arial" charset="0"/>
                <a:ea typeface="ＭＳ Ｐゴシック" charset="0"/>
              </a:endParaRPr>
            </a:p>
          </p:txBody>
        </p:sp>
        <p:grpSp>
          <p:nvGrpSpPr>
            <p:cNvPr id="67" name="Group 221"/>
            <p:cNvGrpSpPr>
              <a:grpSpLocks noChangeAspect="1"/>
            </p:cNvGrpSpPr>
            <p:nvPr/>
          </p:nvGrpSpPr>
          <p:grpSpPr bwMode="auto">
            <a:xfrm>
              <a:off x="4937229" y="575210"/>
              <a:ext cx="919693" cy="527277"/>
              <a:chOff x="2049" y="1143"/>
              <a:chExt cx="1664" cy="954"/>
            </a:xfrm>
            <a:solidFill>
              <a:srgbClr val="005073"/>
            </a:solidFill>
          </p:grpSpPr>
          <p:sp>
            <p:nvSpPr>
              <p:cNvPr id="68" name="Freeform 222"/>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69" name="Freeform 223"/>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70" name="Freeform 224"/>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grpSp>
      </p:grpSp>
      <p:grpSp>
        <p:nvGrpSpPr>
          <p:cNvPr id="71" name="Group 70"/>
          <p:cNvGrpSpPr>
            <a:grpSpLocks noChangeAspect="1"/>
          </p:cNvGrpSpPr>
          <p:nvPr/>
        </p:nvGrpSpPr>
        <p:grpSpPr>
          <a:xfrm>
            <a:off x="7411541" y="1293021"/>
            <a:ext cx="457200" cy="457200"/>
            <a:chOff x="4247689" y="3669562"/>
            <a:chExt cx="548640" cy="548640"/>
          </a:xfrm>
        </p:grpSpPr>
        <p:sp>
          <p:nvSpPr>
            <p:cNvPr id="72" name="Oval 71"/>
            <p:cNvSpPr/>
            <p:nvPr/>
          </p:nvSpPr>
          <p:spPr>
            <a:xfrm>
              <a:off x="4247689" y="3669562"/>
              <a:ext cx="548640" cy="54864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73" name="Group 72"/>
            <p:cNvGrpSpPr/>
            <p:nvPr/>
          </p:nvGrpSpPr>
          <p:grpSpPr>
            <a:xfrm>
              <a:off x="4416801" y="3752252"/>
              <a:ext cx="209312" cy="383266"/>
              <a:chOff x="4457929" y="4607371"/>
              <a:chExt cx="234950" cy="430212"/>
            </a:xfrm>
          </p:grpSpPr>
          <p:sp>
            <p:nvSpPr>
              <p:cNvPr id="74" name="Freeform 207"/>
              <p:cNvSpPr>
                <a:spLocks/>
              </p:cNvSpPr>
              <p:nvPr/>
            </p:nvSpPr>
            <p:spPr bwMode="auto">
              <a:xfrm>
                <a:off x="4457929" y="4607371"/>
                <a:ext cx="234950"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5" name="Line 208"/>
              <p:cNvSpPr>
                <a:spLocks noChangeShapeType="1"/>
              </p:cNvSpPr>
              <p:nvPr/>
            </p:nvSpPr>
            <p:spPr bwMode="auto">
              <a:xfrm>
                <a:off x="4516667" y="46772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6" name="Line 209"/>
              <p:cNvSpPr>
                <a:spLocks noChangeShapeType="1"/>
              </p:cNvSpPr>
              <p:nvPr/>
            </p:nvSpPr>
            <p:spPr bwMode="auto">
              <a:xfrm>
                <a:off x="4516667" y="4745483"/>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7" name="Line 210"/>
              <p:cNvSpPr>
                <a:spLocks noChangeShapeType="1"/>
              </p:cNvSpPr>
              <p:nvPr/>
            </p:nvSpPr>
            <p:spPr bwMode="auto">
              <a:xfrm>
                <a:off x="4516667" y="48169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8" name="Line 211"/>
              <p:cNvSpPr>
                <a:spLocks noChangeShapeType="1"/>
              </p:cNvSpPr>
              <p:nvPr/>
            </p:nvSpPr>
            <p:spPr bwMode="auto">
              <a:xfrm>
                <a:off x="4516667" y="488677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79" name="Group 78"/>
          <p:cNvGrpSpPr>
            <a:grpSpLocks noChangeAspect="1"/>
          </p:cNvGrpSpPr>
          <p:nvPr/>
        </p:nvGrpSpPr>
        <p:grpSpPr>
          <a:xfrm>
            <a:off x="2025728" y="1293021"/>
            <a:ext cx="457200" cy="457200"/>
            <a:chOff x="4247689" y="3669562"/>
            <a:chExt cx="548640" cy="548640"/>
          </a:xfrm>
        </p:grpSpPr>
        <p:sp>
          <p:nvSpPr>
            <p:cNvPr id="80" name="Oval 79"/>
            <p:cNvSpPr/>
            <p:nvPr/>
          </p:nvSpPr>
          <p:spPr>
            <a:xfrm>
              <a:off x="4247689" y="3669562"/>
              <a:ext cx="548640" cy="54864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81" name="Group 80"/>
            <p:cNvGrpSpPr/>
            <p:nvPr/>
          </p:nvGrpSpPr>
          <p:grpSpPr>
            <a:xfrm>
              <a:off x="4416801" y="3752252"/>
              <a:ext cx="209312" cy="383266"/>
              <a:chOff x="4457929" y="4607371"/>
              <a:chExt cx="234950" cy="430212"/>
            </a:xfrm>
          </p:grpSpPr>
          <p:sp>
            <p:nvSpPr>
              <p:cNvPr id="82" name="Freeform 207"/>
              <p:cNvSpPr>
                <a:spLocks/>
              </p:cNvSpPr>
              <p:nvPr/>
            </p:nvSpPr>
            <p:spPr bwMode="auto">
              <a:xfrm>
                <a:off x="4457929" y="4607371"/>
                <a:ext cx="234950"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3" name="Line 208"/>
              <p:cNvSpPr>
                <a:spLocks noChangeShapeType="1"/>
              </p:cNvSpPr>
              <p:nvPr/>
            </p:nvSpPr>
            <p:spPr bwMode="auto">
              <a:xfrm>
                <a:off x="4516667" y="46772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4" name="Line 209"/>
              <p:cNvSpPr>
                <a:spLocks noChangeShapeType="1"/>
              </p:cNvSpPr>
              <p:nvPr/>
            </p:nvSpPr>
            <p:spPr bwMode="auto">
              <a:xfrm>
                <a:off x="4516667" y="4745483"/>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5" name="Line 210"/>
              <p:cNvSpPr>
                <a:spLocks noChangeShapeType="1"/>
              </p:cNvSpPr>
              <p:nvPr/>
            </p:nvSpPr>
            <p:spPr bwMode="auto">
              <a:xfrm>
                <a:off x="4516667" y="48169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6" name="Line 211"/>
              <p:cNvSpPr>
                <a:spLocks noChangeShapeType="1"/>
              </p:cNvSpPr>
              <p:nvPr/>
            </p:nvSpPr>
            <p:spPr bwMode="auto">
              <a:xfrm>
                <a:off x="4516667" y="488677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pic>
        <p:nvPicPr>
          <p:cNvPr id="87" name="Picture 8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8425" y="1293021"/>
            <a:ext cx="429552" cy="429552"/>
          </a:xfrm>
          <a:prstGeom prst="rect">
            <a:avLst/>
          </a:prstGeom>
        </p:spPr>
      </p:pic>
      <p:pic>
        <p:nvPicPr>
          <p:cNvPr id="88" name="Picture 8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31708" y="1293021"/>
            <a:ext cx="464180" cy="464180"/>
          </a:xfrm>
          <a:prstGeom prst="rect">
            <a:avLst/>
          </a:prstGeom>
        </p:spPr>
      </p:pic>
      <p:grpSp>
        <p:nvGrpSpPr>
          <p:cNvPr id="89" name="Group 88"/>
          <p:cNvGrpSpPr>
            <a:grpSpLocks noChangeAspect="1"/>
          </p:cNvGrpSpPr>
          <p:nvPr/>
        </p:nvGrpSpPr>
        <p:grpSpPr>
          <a:xfrm>
            <a:off x="5876008" y="1293021"/>
            <a:ext cx="455413" cy="457200"/>
            <a:chOff x="4214513" y="408427"/>
            <a:chExt cx="728663" cy="731520"/>
          </a:xfrm>
        </p:grpSpPr>
        <p:sp>
          <p:nvSpPr>
            <p:cNvPr id="90" name="Oval 263"/>
            <p:cNvSpPr>
              <a:spLocks/>
            </p:cNvSpPr>
            <p:nvPr/>
          </p:nvSpPr>
          <p:spPr bwMode="auto">
            <a:xfrm>
              <a:off x="4214513" y="408427"/>
              <a:ext cx="728663" cy="731520"/>
            </a:xfrm>
            <a:prstGeom prst="ellipse">
              <a:avLst/>
            </a:prstGeom>
            <a:solidFill>
              <a:schemeClr val="bg1"/>
            </a:solidFill>
            <a:ln w="25400" cap="flat">
              <a:noFill/>
              <a:round/>
              <a:headEnd type="none" w="med" len="med"/>
              <a:tailEnd type="none" w="med" len="med"/>
            </a:ln>
            <a:effectLst/>
          </p:spPr>
          <p:txBody>
            <a:bodyPr lIns="0" tIns="0" rIns="0" bIns="0"/>
            <a:lstStyle/>
            <a:p>
              <a:pPr marL="0" marR="0" lvl="0" indent="0" algn="l" defTabSz="914362" rtl="0" eaLnBrk="0" fontAlgn="auto" latinLnBrk="0" hangingPunct="0">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grpSp>
          <p:nvGrpSpPr>
            <p:cNvPr id="91" name="Group 157"/>
            <p:cNvGrpSpPr>
              <a:grpSpLocks noChangeAspect="1"/>
            </p:cNvGrpSpPr>
            <p:nvPr/>
          </p:nvGrpSpPr>
          <p:grpSpPr>
            <a:xfrm>
              <a:off x="4346773" y="635225"/>
              <a:ext cx="464142" cy="288013"/>
              <a:chOff x="13636625" y="1373188"/>
              <a:chExt cx="1330325" cy="825500"/>
            </a:xfrm>
            <a:solidFill>
              <a:srgbClr val="FFFFFF"/>
            </a:solidFill>
          </p:grpSpPr>
          <p:sp>
            <p:nvSpPr>
              <p:cNvPr id="92" name="Rectangle 91"/>
              <p:cNvSpPr>
                <a:spLocks noChangeArrowheads="1"/>
              </p:cNvSpPr>
              <p:nvPr/>
            </p:nvSpPr>
            <p:spPr bwMode="auto">
              <a:xfrm>
                <a:off x="13636625" y="1373188"/>
                <a:ext cx="406400" cy="88900"/>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93" name="Rectangle 92"/>
              <p:cNvSpPr>
                <a:spLocks noChangeArrowheads="1"/>
              </p:cNvSpPr>
              <p:nvPr/>
            </p:nvSpPr>
            <p:spPr bwMode="auto">
              <a:xfrm>
                <a:off x="14100175" y="1373188"/>
                <a:ext cx="406400" cy="88900"/>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94" name="Rectangle 93"/>
              <p:cNvSpPr>
                <a:spLocks noChangeArrowheads="1"/>
              </p:cNvSpPr>
              <p:nvPr/>
            </p:nvSpPr>
            <p:spPr bwMode="auto">
              <a:xfrm>
                <a:off x="14560550" y="1373188"/>
                <a:ext cx="406400" cy="88900"/>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95" name="Rectangle 94"/>
              <p:cNvSpPr>
                <a:spLocks noChangeArrowheads="1"/>
              </p:cNvSpPr>
              <p:nvPr/>
            </p:nvSpPr>
            <p:spPr bwMode="auto">
              <a:xfrm>
                <a:off x="13868400" y="1519238"/>
                <a:ext cx="406400" cy="92075"/>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96" name="Rectangle 95"/>
              <p:cNvSpPr>
                <a:spLocks noChangeArrowheads="1"/>
              </p:cNvSpPr>
              <p:nvPr/>
            </p:nvSpPr>
            <p:spPr bwMode="auto">
              <a:xfrm>
                <a:off x="14328775" y="1519238"/>
                <a:ext cx="406400" cy="92075"/>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97" name="Rectangle 96"/>
              <p:cNvSpPr>
                <a:spLocks noChangeArrowheads="1"/>
              </p:cNvSpPr>
              <p:nvPr/>
            </p:nvSpPr>
            <p:spPr bwMode="auto">
              <a:xfrm>
                <a:off x="13636625" y="1519238"/>
                <a:ext cx="174625" cy="92075"/>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98" name="Rectangle 97"/>
              <p:cNvSpPr>
                <a:spLocks noChangeArrowheads="1"/>
              </p:cNvSpPr>
              <p:nvPr/>
            </p:nvSpPr>
            <p:spPr bwMode="auto">
              <a:xfrm>
                <a:off x="14792325" y="1519238"/>
                <a:ext cx="174625" cy="92075"/>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99" name="Rectangle 98"/>
              <p:cNvSpPr>
                <a:spLocks noChangeArrowheads="1"/>
              </p:cNvSpPr>
              <p:nvPr/>
            </p:nvSpPr>
            <p:spPr bwMode="auto">
              <a:xfrm>
                <a:off x="13636625" y="1665288"/>
                <a:ext cx="406400" cy="92075"/>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100" name="Rectangle 99"/>
              <p:cNvSpPr>
                <a:spLocks noChangeArrowheads="1"/>
              </p:cNvSpPr>
              <p:nvPr/>
            </p:nvSpPr>
            <p:spPr bwMode="auto">
              <a:xfrm>
                <a:off x="14100175" y="1665288"/>
                <a:ext cx="406400" cy="92075"/>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101" name="Rectangle 100"/>
              <p:cNvSpPr>
                <a:spLocks noChangeArrowheads="1"/>
              </p:cNvSpPr>
              <p:nvPr/>
            </p:nvSpPr>
            <p:spPr bwMode="auto">
              <a:xfrm>
                <a:off x="14560550" y="1665288"/>
                <a:ext cx="406400" cy="92075"/>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102" name="Rectangle 101"/>
              <p:cNvSpPr>
                <a:spLocks noChangeArrowheads="1"/>
              </p:cNvSpPr>
              <p:nvPr/>
            </p:nvSpPr>
            <p:spPr bwMode="auto">
              <a:xfrm>
                <a:off x="13868400" y="1814513"/>
                <a:ext cx="406400" cy="88900"/>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103" name="Rectangle 102"/>
              <p:cNvSpPr>
                <a:spLocks noChangeArrowheads="1"/>
              </p:cNvSpPr>
              <p:nvPr/>
            </p:nvSpPr>
            <p:spPr bwMode="auto">
              <a:xfrm>
                <a:off x="14328775" y="1814513"/>
                <a:ext cx="406400" cy="88900"/>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104" name="Rectangle 103"/>
              <p:cNvSpPr>
                <a:spLocks noChangeArrowheads="1"/>
              </p:cNvSpPr>
              <p:nvPr/>
            </p:nvSpPr>
            <p:spPr bwMode="auto">
              <a:xfrm>
                <a:off x="13636625" y="1814513"/>
                <a:ext cx="174625" cy="88900"/>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105" name="Rectangle 104"/>
              <p:cNvSpPr>
                <a:spLocks noChangeArrowheads="1"/>
              </p:cNvSpPr>
              <p:nvPr/>
            </p:nvSpPr>
            <p:spPr bwMode="auto">
              <a:xfrm>
                <a:off x="14792325" y="1814513"/>
                <a:ext cx="174625" cy="88900"/>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106" name="Rectangle 105"/>
              <p:cNvSpPr>
                <a:spLocks noChangeArrowheads="1"/>
              </p:cNvSpPr>
              <p:nvPr/>
            </p:nvSpPr>
            <p:spPr bwMode="auto">
              <a:xfrm>
                <a:off x="13636625" y="1960563"/>
                <a:ext cx="406400" cy="88900"/>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107" name="Rectangle 106"/>
              <p:cNvSpPr>
                <a:spLocks noChangeArrowheads="1"/>
              </p:cNvSpPr>
              <p:nvPr/>
            </p:nvSpPr>
            <p:spPr bwMode="auto">
              <a:xfrm>
                <a:off x="14100175" y="1960563"/>
                <a:ext cx="406400" cy="88900"/>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108" name="Rectangle 107"/>
              <p:cNvSpPr>
                <a:spLocks noChangeArrowheads="1"/>
              </p:cNvSpPr>
              <p:nvPr/>
            </p:nvSpPr>
            <p:spPr bwMode="auto">
              <a:xfrm>
                <a:off x="14560550" y="1960563"/>
                <a:ext cx="406400" cy="88900"/>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109" name="Rectangle 108"/>
              <p:cNvSpPr>
                <a:spLocks noChangeArrowheads="1"/>
              </p:cNvSpPr>
              <p:nvPr/>
            </p:nvSpPr>
            <p:spPr bwMode="auto">
              <a:xfrm>
                <a:off x="13868400" y="2106613"/>
                <a:ext cx="406400" cy="92075"/>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110" name="Rectangle 109"/>
              <p:cNvSpPr>
                <a:spLocks noChangeArrowheads="1"/>
              </p:cNvSpPr>
              <p:nvPr/>
            </p:nvSpPr>
            <p:spPr bwMode="auto">
              <a:xfrm>
                <a:off x="14328775" y="2106613"/>
                <a:ext cx="406400" cy="92075"/>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111" name="Rectangle 110"/>
              <p:cNvSpPr>
                <a:spLocks noChangeArrowheads="1"/>
              </p:cNvSpPr>
              <p:nvPr/>
            </p:nvSpPr>
            <p:spPr bwMode="auto">
              <a:xfrm>
                <a:off x="13636625" y="2106613"/>
                <a:ext cx="174625" cy="92075"/>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sp>
            <p:nvSpPr>
              <p:cNvPr id="112" name="Rectangle 111"/>
              <p:cNvSpPr>
                <a:spLocks noChangeArrowheads="1"/>
              </p:cNvSpPr>
              <p:nvPr/>
            </p:nvSpPr>
            <p:spPr bwMode="auto">
              <a:xfrm>
                <a:off x="14792325" y="2106613"/>
                <a:ext cx="174625" cy="92075"/>
              </a:xfrm>
              <a:prstGeom prst="rect">
                <a:avLst/>
              </a:prstGeom>
              <a:solidFill>
                <a:srgbClr val="FFFFFF"/>
              </a:solidFill>
              <a:ln w="19050" cap="flat" cmpd="sng">
                <a:noFill/>
                <a:prstDash val="solid"/>
                <a:round/>
                <a:headEnd type="none" w="med" len="med"/>
                <a:tailEnd type="none" w="med" len="med"/>
              </a:ln>
              <a:effectLst/>
            </p:spPr>
            <p:txBody>
              <a:bodyPr/>
              <a:lstStyle/>
              <a:p>
                <a:pPr marL="0" marR="0" lvl="0" indent="0" algn="l" defTabSz="119003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26F"/>
                  </a:solidFill>
                  <a:effectLst/>
                  <a:uLnTx/>
                  <a:uFillTx/>
                  <a:latin typeface="CiscoSansTT ExtraLight" panose="020B0303020201020303" pitchFamily="34" charset="0"/>
                  <a:ea typeface="ＭＳ Ｐゴシック" charset="0"/>
                </a:endParaRPr>
              </a:p>
            </p:txBody>
          </p:sp>
        </p:grpSp>
      </p:grpSp>
      <p:grpSp>
        <p:nvGrpSpPr>
          <p:cNvPr id="113" name="Group 112"/>
          <p:cNvGrpSpPr>
            <a:grpSpLocks noChangeAspect="1"/>
          </p:cNvGrpSpPr>
          <p:nvPr/>
        </p:nvGrpSpPr>
        <p:grpSpPr>
          <a:xfrm>
            <a:off x="1566168" y="1601582"/>
            <a:ext cx="228600" cy="228600"/>
            <a:chOff x="5392201" y="130511"/>
            <a:chExt cx="308293" cy="308293"/>
          </a:xfrm>
        </p:grpSpPr>
        <p:sp>
          <p:nvSpPr>
            <p:cNvPr id="114" name="Oval 113"/>
            <p:cNvSpPr/>
            <p:nvPr/>
          </p:nvSpPr>
          <p:spPr>
            <a:xfrm>
              <a:off x="5392201" y="130511"/>
              <a:ext cx="308293" cy="30829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5" name="Freeform 114"/>
            <p:cNvSpPr/>
            <p:nvPr/>
          </p:nvSpPr>
          <p:spPr>
            <a:xfrm rot="10800000">
              <a:off x="5441556" y="188122"/>
              <a:ext cx="209581" cy="196176"/>
            </a:xfrm>
            <a:custGeom>
              <a:avLst/>
              <a:gdLst>
                <a:gd name="connsiteX0" fmla="*/ 303748 w 1132367"/>
                <a:gd name="connsiteY0" fmla="*/ 19220 h 1059940"/>
                <a:gd name="connsiteX1" fmla="*/ 303747 w 1132367"/>
                <a:gd name="connsiteY1" fmla="*/ 19219 h 1059940"/>
                <a:gd name="connsiteX2" fmla="*/ 303747 w 1132367"/>
                <a:gd name="connsiteY2" fmla="*/ 19219 h 1059940"/>
                <a:gd name="connsiteX3" fmla="*/ 303747 w 1132367"/>
                <a:gd name="connsiteY3" fmla="*/ 496157 h 1059940"/>
                <a:gd name="connsiteX4" fmla="*/ 303747 w 1132367"/>
                <a:gd name="connsiteY4" fmla="*/ 496156 h 1059940"/>
                <a:gd name="connsiteX5" fmla="*/ 303748 w 1132367"/>
                <a:gd name="connsiteY5" fmla="*/ 496156 h 1059940"/>
                <a:gd name="connsiteX6" fmla="*/ 303748 w 1132367"/>
                <a:gd name="connsiteY6" fmla="*/ 563783 h 1059940"/>
                <a:gd name="connsiteX7" fmla="*/ 303747 w 1132367"/>
                <a:gd name="connsiteY7" fmla="*/ 563782 h 1059940"/>
                <a:gd name="connsiteX8" fmla="*/ 303747 w 1132367"/>
                <a:gd name="connsiteY8" fmla="*/ 563782 h 1059940"/>
                <a:gd name="connsiteX9" fmla="*/ 303747 w 1132367"/>
                <a:gd name="connsiteY9" fmla="*/ 1040720 h 1059940"/>
                <a:gd name="connsiteX10" fmla="*/ 303748 w 1132367"/>
                <a:gd name="connsiteY10" fmla="*/ 1040719 h 1059940"/>
                <a:gd name="connsiteX11" fmla="*/ 303748 w 1132367"/>
                <a:gd name="connsiteY11" fmla="*/ 1040719 h 1059940"/>
                <a:gd name="connsiteX12" fmla="*/ 257345 w 1132367"/>
                <a:gd name="connsiteY12" fmla="*/ 1059940 h 1059940"/>
                <a:gd name="connsiteX13" fmla="*/ 210943 w 1132367"/>
                <a:gd name="connsiteY13" fmla="*/ 1040719 h 1059940"/>
                <a:gd name="connsiteX14" fmla="*/ 19221 w 1132367"/>
                <a:gd name="connsiteY14" fmla="*/ 848997 h 1059940"/>
                <a:gd name="connsiteX15" fmla="*/ 0 w 1132367"/>
                <a:gd name="connsiteY15" fmla="*/ 802595 h 1059940"/>
                <a:gd name="connsiteX16" fmla="*/ 91 w 1132367"/>
                <a:gd name="connsiteY16" fmla="*/ 802126 h 1059940"/>
                <a:gd name="connsiteX17" fmla="*/ 0 w 1132367"/>
                <a:gd name="connsiteY17" fmla="*/ 801906 h 1059940"/>
                <a:gd name="connsiteX18" fmla="*/ 253 w 1132367"/>
                <a:gd name="connsiteY18" fmla="*/ 801296 h 1059940"/>
                <a:gd name="connsiteX19" fmla="*/ 4805 w 1132367"/>
                <a:gd name="connsiteY19" fmla="*/ 777901 h 1059940"/>
                <a:gd name="connsiteX20" fmla="*/ 18462 w 1132367"/>
                <a:gd name="connsiteY20" fmla="*/ 757334 h 1059940"/>
                <a:gd name="connsiteX21" fmla="*/ 19221 w 1132367"/>
                <a:gd name="connsiteY21" fmla="*/ 755503 h 1059940"/>
                <a:gd name="connsiteX22" fmla="*/ 210943 w 1132367"/>
                <a:gd name="connsiteY22" fmla="*/ 563783 h 1059940"/>
                <a:gd name="connsiteX23" fmla="*/ 282039 w 1132367"/>
                <a:gd name="connsiteY23" fmla="*/ 549367 h 1059940"/>
                <a:gd name="connsiteX24" fmla="*/ 303747 w 1132367"/>
                <a:gd name="connsiteY24" fmla="*/ 563782 h 1059940"/>
                <a:gd name="connsiteX25" fmla="*/ 322968 w 1132367"/>
                <a:gd name="connsiteY25" fmla="*/ 610184 h 1059940"/>
                <a:gd name="connsiteX26" fmla="*/ 303747 w 1132367"/>
                <a:gd name="connsiteY26" fmla="*/ 656587 h 1059940"/>
                <a:gd name="connsiteX27" fmla="*/ 226527 w 1132367"/>
                <a:gd name="connsiteY27" fmla="*/ 733807 h 1059940"/>
                <a:gd name="connsiteX28" fmla="*/ 389692 w 1132367"/>
                <a:gd name="connsiteY28" fmla="*/ 733808 h 1059940"/>
                <a:gd name="connsiteX29" fmla="*/ 389759 w 1132367"/>
                <a:gd name="connsiteY29" fmla="*/ 731663 h 1059940"/>
                <a:gd name="connsiteX30" fmla="*/ 570704 w 1132367"/>
                <a:gd name="connsiteY30" fmla="*/ 633360 h 1059940"/>
                <a:gd name="connsiteX31" fmla="*/ 573908 w 1132367"/>
                <a:gd name="connsiteY31" fmla="*/ 427461 h 1059940"/>
                <a:gd name="connsiteX32" fmla="*/ 396109 w 1132367"/>
                <a:gd name="connsiteY32" fmla="*/ 323576 h 1059940"/>
                <a:gd name="connsiteX33" fmla="*/ 396109 w 1132367"/>
                <a:gd name="connsiteY33" fmla="*/ 320490 h 1059940"/>
                <a:gd name="connsiteX34" fmla="*/ 220886 w 1132367"/>
                <a:gd name="connsiteY34" fmla="*/ 320490 h 1059940"/>
                <a:gd name="connsiteX35" fmla="*/ 303747 w 1132367"/>
                <a:gd name="connsiteY35" fmla="*/ 403352 h 1059940"/>
                <a:gd name="connsiteX36" fmla="*/ 322968 w 1132367"/>
                <a:gd name="connsiteY36" fmla="*/ 449755 h 1059940"/>
                <a:gd name="connsiteX37" fmla="*/ 303747 w 1132367"/>
                <a:gd name="connsiteY37" fmla="*/ 496156 h 1059940"/>
                <a:gd name="connsiteX38" fmla="*/ 282039 w 1132367"/>
                <a:gd name="connsiteY38" fmla="*/ 510572 h 1059940"/>
                <a:gd name="connsiteX39" fmla="*/ 210943 w 1132367"/>
                <a:gd name="connsiteY39" fmla="*/ 496156 h 1059940"/>
                <a:gd name="connsiteX40" fmla="*/ 19221 w 1132367"/>
                <a:gd name="connsiteY40" fmla="*/ 304434 h 1059940"/>
                <a:gd name="connsiteX41" fmla="*/ 0 w 1132367"/>
                <a:gd name="connsiteY41" fmla="*/ 258032 h 1059940"/>
                <a:gd name="connsiteX42" fmla="*/ 143 w 1132367"/>
                <a:gd name="connsiteY42" fmla="*/ 257687 h 1059940"/>
                <a:gd name="connsiteX43" fmla="*/ 0 w 1132367"/>
                <a:gd name="connsiteY43" fmla="*/ 257343 h 1059940"/>
                <a:gd name="connsiteX44" fmla="*/ 19221 w 1132367"/>
                <a:gd name="connsiteY44" fmla="*/ 210940 h 1059940"/>
                <a:gd name="connsiteX45" fmla="*/ 210943 w 1132367"/>
                <a:gd name="connsiteY45" fmla="*/ 19220 h 1059940"/>
                <a:gd name="connsiteX46" fmla="*/ 282039 w 1132367"/>
                <a:gd name="connsiteY46" fmla="*/ 4804 h 1059940"/>
                <a:gd name="connsiteX47" fmla="*/ 303747 w 1132367"/>
                <a:gd name="connsiteY47" fmla="*/ 19219 h 1059940"/>
                <a:gd name="connsiteX48" fmla="*/ 322968 w 1132367"/>
                <a:gd name="connsiteY48" fmla="*/ 65621 h 1059940"/>
                <a:gd name="connsiteX49" fmla="*/ 303747 w 1132367"/>
                <a:gd name="connsiteY49" fmla="*/ 112024 h 1059940"/>
                <a:gd name="connsiteX50" fmla="*/ 226527 w 1132367"/>
                <a:gd name="connsiteY50" fmla="*/ 189244 h 1059940"/>
                <a:gd name="connsiteX51" fmla="*/ 416808 w 1132367"/>
                <a:gd name="connsiteY51" fmla="*/ 189245 h 1059940"/>
                <a:gd name="connsiteX52" fmla="*/ 440150 w 1132367"/>
                <a:gd name="connsiteY52" fmla="*/ 193957 h 1059940"/>
                <a:gd name="connsiteX53" fmla="*/ 463483 w 1132367"/>
                <a:gd name="connsiteY53" fmla="*/ 196303 h 1059940"/>
                <a:gd name="connsiteX54" fmla="*/ 636537 w 1132367"/>
                <a:gd name="connsiteY54" fmla="*/ 289894 h 1059940"/>
                <a:gd name="connsiteX55" fmla="*/ 668090 w 1132367"/>
                <a:gd name="connsiteY55" fmla="*/ 331708 h 1059940"/>
                <a:gd name="connsiteX56" fmla="*/ 693101 w 1132367"/>
                <a:gd name="connsiteY56" fmla="*/ 298430 h 1059940"/>
                <a:gd name="connsiteX57" fmla="*/ 862784 w 1132367"/>
                <a:gd name="connsiteY57" fmla="*/ 198855 h 1059940"/>
                <a:gd name="connsiteX58" fmla="*/ 895324 w 1132367"/>
                <a:gd name="connsiteY58" fmla="*/ 195521 h 1059940"/>
                <a:gd name="connsiteX59" fmla="*/ 895442 w 1132367"/>
                <a:gd name="connsiteY59" fmla="*/ 195442 h 1059940"/>
                <a:gd name="connsiteX60" fmla="*/ 920985 w 1132367"/>
                <a:gd name="connsiteY60" fmla="*/ 190285 h 1059940"/>
                <a:gd name="connsiteX61" fmla="*/ 946427 w 1132367"/>
                <a:gd name="connsiteY61" fmla="*/ 190285 h 1059940"/>
                <a:gd name="connsiteX62" fmla="*/ 952205 w 1132367"/>
                <a:gd name="connsiteY62" fmla="*/ 189693 h 1059940"/>
                <a:gd name="connsiteX63" fmla="*/ 952187 w 1132367"/>
                <a:gd name="connsiteY63" fmla="*/ 190285 h 1059940"/>
                <a:gd name="connsiteX64" fmla="*/ 1066744 w 1132367"/>
                <a:gd name="connsiteY64" fmla="*/ 190285 h 1059940"/>
                <a:gd name="connsiteX65" fmla="*/ 1132367 w 1132367"/>
                <a:gd name="connsiteY65" fmla="*/ 255908 h 1059940"/>
                <a:gd name="connsiteX66" fmla="*/ 1132366 w 1132367"/>
                <a:gd name="connsiteY66" fmla="*/ 255908 h 1059940"/>
                <a:gd name="connsiteX67" fmla="*/ 1066743 w 1132367"/>
                <a:gd name="connsiteY67" fmla="*/ 321531 h 1059940"/>
                <a:gd name="connsiteX68" fmla="*/ 948100 w 1132367"/>
                <a:gd name="connsiteY68" fmla="*/ 321530 h 1059940"/>
                <a:gd name="connsiteX69" fmla="*/ 948033 w 1132367"/>
                <a:gd name="connsiteY69" fmla="*/ 323674 h 1059940"/>
                <a:gd name="connsiteX70" fmla="*/ 767088 w 1132367"/>
                <a:gd name="connsiteY70" fmla="*/ 421977 h 1059940"/>
                <a:gd name="connsiteX71" fmla="*/ 763884 w 1132367"/>
                <a:gd name="connsiteY71" fmla="*/ 627876 h 1059940"/>
                <a:gd name="connsiteX72" fmla="*/ 941683 w 1132367"/>
                <a:gd name="connsiteY72" fmla="*/ 731761 h 1059940"/>
                <a:gd name="connsiteX73" fmla="*/ 941683 w 1132367"/>
                <a:gd name="connsiteY73" fmla="*/ 734848 h 1059940"/>
                <a:gd name="connsiteX74" fmla="*/ 1066744 w 1132367"/>
                <a:gd name="connsiteY74" fmla="*/ 734848 h 1059940"/>
                <a:gd name="connsiteX75" fmla="*/ 1132367 w 1132367"/>
                <a:gd name="connsiteY75" fmla="*/ 800471 h 1059940"/>
                <a:gd name="connsiteX76" fmla="*/ 1132366 w 1132367"/>
                <a:gd name="connsiteY76" fmla="*/ 800471 h 1059940"/>
                <a:gd name="connsiteX77" fmla="*/ 1066743 w 1132367"/>
                <a:gd name="connsiteY77" fmla="*/ 866094 h 1059940"/>
                <a:gd name="connsiteX78" fmla="*/ 920985 w 1132367"/>
                <a:gd name="connsiteY78" fmla="*/ 866093 h 1059940"/>
                <a:gd name="connsiteX79" fmla="*/ 895442 w 1132367"/>
                <a:gd name="connsiteY79" fmla="*/ 860936 h 1059940"/>
                <a:gd name="connsiteX80" fmla="*/ 892985 w 1132367"/>
                <a:gd name="connsiteY80" fmla="*/ 859280 h 1059940"/>
                <a:gd name="connsiteX81" fmla="*/ 852590 w 1132367"/>
                <a:gd name="connsiteY81" fmla="*/ 853866 h 1059940"/>
                <a:gd name="connsiteX82" fmla="*/ 686088 w 1132367"/>
                <a:gd name="connsiteY82" fmla="*/ 749060 h 1059940"/>
                <a:gd name="connsiteX83" fmla="*/ 668377 w 1132367"/>
                <a:gd name="connsiteY83" fmla="*/ 723901 h 1059940"/>
                <a:gd name="connsiteX84" fmla="*/ 629022 w 1132367"/>
                <a:gd name="connsiteY84" fmla="*/ 772810 h 1059940"/>
                <a:gd name="connsiteX85" fmla="*/ 453139 w 1132367"/>
                <a:gd name="connsiteY85" fmla="*/ 860972 h 1059940"/>
                <a:gd name="connsiteX86" fmla="*/ 428624 w 1132367"/>
                <a:gd name="connsiteY86" fmla="*/ 862667 h 1059940"/>
                <a:gd name="connsiteX87" fmla="*/ 416808 w 1132367"/>
                <a:gd name="connsiteY87" fmla="*/ 865053 h 1059940"/>
                <a:gd name="connsiteX88" fmla="*/ 394132 w 1132367"/>
                <a:gd name="connsiteY88" fmla="*/ 865053 h 1059940"/>
                <a:gd name="connsiteX89" fmla="*/ 385587 w 1132367"/>
                <a:gd name="connsiteY89" fmla="*/ 865644 h 1059940"/>
                <a:gd name="connsiteX90" fmla="*/ 385605 w 1132367"/>
                <a:gd name="connsiteY90" fmla="*/ 865053 h 1059940"/>
                <a:gd name="connsiteX91" fmla="*/ 220886 w 1132367"/>
                <a:gd name="connsiteY91" fmla="*/ 865053 h 1059940"/>
                <a:gd name="connsiteX92" fmla="*/ 303747 w 1132367"/>
                <a:gd name="connsiteY92" fmla="*/ 947915 h 1059940"/>
                <a:gd name="connsiteX93" fmla="*/ 318163 w 1132367"/>
                <a:gd name="connsiteY93" fmla="*/ 1019011 h 1059940"/>
                <a:gd name="connsiteX94" fmla="*/ 303748 w 1132367"/>
                <a:gd name="connsiteY94" fmla="*/ 1040719 h 1059940"/>
                <a:gd name="connsiteX95" fmla="*/ 282039 w 1132367"/>
                <a:gd name="connsiteY95" fmla="*/ 1055135 h 1059940"/>
                <a:gd name="connsiteX96" fmla="*/ 257345 w 1132367"/>
                <a:gd name="connsiteY96" fmla="*/ 1059940 h 105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132367" h="1059940">
                  <a:moveTo>
                    <a:pt x="303748" y="19220"/>
                  </a:moveTo>
                  <a:lnTo>
                    <a:pt x="303747" y="19219"/>
                  </a:lnTo>
                  <a:lnTo>
                    <a:pt x="303747" y="19219"/>
                  </a:lnTo>
                  <a:close/>
                  <a:moveTo>
                    <a:pt x="303747" y="496157"/>
                  </a:moveTo>
                  <a:lnTo>
                    <a:pt x="303747" y="496156"/>
                  </a:lnTo>
                  <a:lnTo>
                    <a:pt x="303748" y="496156"/>
                  </a:lnTo>
                  <a:close/>
                  <a:moveTo>
                    <a:pt x="303748" y="563783"/>
                  </a:moveTo>
                  <a:lnTo>
                    <a:pt x="303747" y="563782"/>
                  </a:lnTo>
                  <a:lnTo>
                    <a:pt x="303747" y="563782"/>
                  </a:lnTo>
                  <a:close/>
                  <a:moveTo>
                    <a:pt x="303747" y="1040720"/>
                  </a:moveTo>
                  <a:lnTo>
                    <a:pt x="303748" y="1040719"/>
                  </a:lnTo>
                  <a:lnTo>
                    <a:pt x="303748" y="1040719"/>
                  </a:lnTo>
                  <a:close/>
                  <a:moveTo>
                    <a:pt x="257345" y="1059940"/>
                  </a:moveTo>
                  <a:cubicBezTo>
                    <a:pt x="240551" y="1059940"/>
                    <a:pt x="223757" y="1053533"/>
                    <a:pt x="210943" y="1040719"/>
                  </a:cubicBezTo>
                  <a:lnTo>
                    <a:pt x="19221" y="848997"/>
                  </a:lnTo>
                  <a:cubicBezTo>
                    <a:pt x="6407" y="836183"/>
                    <a:pt x="0" y="819389"/>
                    <a:pt x="0" y="802595"/>
                  </a:cubicBezTo>
                  <a:lnTo>
                    <a:pt x="91" y="802126"/>
                  </a:lnTo>
                  <a:lnTo>
                    <a:pt x="0" y="801906"/>
                  </a:lnTo>
                  <a:lnTo>
                    <a:pt x="253" y="801296"/>
                  </a:lnTo>
                  <a:lnTo>
                    <a:pt x="4805" y="777901"/>
                  </a:lnTo>
                  <a:lnTo>
                    <a:pt x="18462" y="757334"/>
                  </a:lnTo>
                  <a:lnTo>
                    <a:pt x="19221" y="755503"/>
                  </a:lnTo>
                  <a:lnTo>
                    <a:pt x="210943" y="563783"/>
                  </a:lnTo>
                  <a:cubicBezTo>
                    <a:pt x="230164" y="544562"/>
                    <a:pt x="258341" y="539757"/>
                    <a:pt x="282039" y="549367"/>
                  </a:cubicBezTo>
                  <a:lnTo>
                    <a:pt x="303747" y="563782"/>
                  </a:lnTo>
                  <a:lnTo>
                    <a:pt x="322968" y="610184"/>
                  </a:lnTo>
                  <a:cubicBezTo>
                    <a:pt x="322968" y="626979"/>
                    <a:pt x="316561" y="643773"/>
                    <a:pt x="303747" y="656587"/>
                  </a:cubicBezTo>
                  <a:lnTo>
                    <a:pt x="226527" y="733807"/>
                  </a:lnTo>
                  <a:lnTo>
                    <a:pt x="389692" y="733808"/>
                  </a:lnTo>
                  <a:lnTo>
                    <a:pt x="389759" y="731663"/>
                  </a:lnTo>
                  <a:cubicBezTo>
                    <a:pt x="463396" y="733955"/>
                    <a:pt x="532552" y="696384"/>
                    <a:pt x="570704" y="633360"/>
                  </a:cubicBezTo>
                  <a:cubicBezTo>
                    <a:pt x="608856" y="570336"/>
                    <a:pt x="610080" y="491642"/>
                    <a:pt x="573908" y="427461"/>
                  </a:cubicBezTo>
                  <a:cubicBezTo>
                    <a:pt x="537736" y="363280"/>
                    <a:pt x="469782" y="323576"/>
                    <a:pt x="396109" y="323576"/>
                  </a:cubicBezTo>
                  <a:lnTo>
                    <a:pt x="396109" y="320490"/>
                  </a:lnTo>
                  <a:lnTo>
                    <a:pt x="220886" y="320490"/>
                  </a:lnTo>
                  <a:lnTo>
                    <a:pt x="303747" y="403352"/>
                  </a:lnTo>
                  <a:cubicBezTo>
                    <a:pt x="316561" y="416166"/>
                    <a:pt x="322968" y="432960"/>
                    <a:pt x="322968" y="449755"/>
                  </a:cubicBezTo>
                  <a:lnTo>
                    <a:pt x="303747" y="496156"/>
                  </a:lnTo>
                  <a:lnTo>
                    <a:pt x="282039" y="510572"/>
                  </a:lnTo>
                  <a:cubicBezTo>
                    <a:pt x="258341" y="520182"/>
                    <a:pt x="230164" y="515377"/>
                    <a:pt x="210943" y="496156"/>
                  </a:cubicBezTo>
                  <a:lnTo>
                    <a:pt x="19221" y="304434"/>
                  </a:lnTo>
                  <a:cubicBezTo>
                    <a:pt x="6407" y="291620"/>
                    <a:pt x="0" y="274826"/>
                    <a:pt x="0" y="258032"/>
                  </a:cubicBezTo>
                  <a:lnTo>
                    <a:pt x="143" y="257687"/>
                  </a:lnTo>
                  <a:lnTo>
                    <a:pt x="0" y="257343"/>
                  </a:lnTo>
                  <a:cubicBezTo>
                    <a:pt x="0" y="240548"/>
                    <a:pt x="6407" y="223754"/>
                    <a:pt x="19221" y="210940"/>
                  </a:cubicBezTo>
                  <a:lnTo>
                    <a:pt x="210943" y="19220"/>
                  </a:lnTo>
                  <a:cubicBezTo>
                    <a:pt x="230164" y="-1"/>
                    <a:pt x="258341" y="-4806"/>
                    <a:pt x="282039" y="4804"/>
                  </a:cubicBezTo>
                  <a:lnTo>
                    <a:pt x="303747" y="19219"/>
                  </a:lnTo>
                  <a:lnTo>
                    <a:pt x="322968" y="65621"/>
                  </a:lnTo>
                  <a:cubicBezTo>
                    <a:pt x="322968" y="82416"/>
                    <a:pt x="316561" y="99210"/>
                    <a:pt x="303747" y="112024"/>
                  </a:cubicBezTo>
                  <a:lnTo>
                    <a:pt x="226527" y="189244"/>
                  </a:lnTo>
                  <a:lnTo>
                    <a:pt x="416808" y="189245"/>
                  </a:lnTo>
                  <a:lnTo>
                    <a:pt x="440150" y="193957"/>
                  </a:lnTo>
                  <a:lnTo>
                    <a:pt x="463483" y="196303"/>
                  </a:lnTo>
                  <a:cubicBezTo>
                    <a:pt x="529289" y="209680"/>
                    <a:pt x="589535" y="242374"/>
                    <a:pt x="636537" y="289894"/>
                  </a:cubicBezTo>
                  <a:lnTo>
                    <a:pt x="668090" y="331708"/>
                  </a:lnTo>
                  <a:lnTo>
                    <a:pt x="693101" y="298430"/>
                  </a:lnTo>
                  <a:cubicBezTo>
                    <a:pt x="738623" y="249063"/>
                    <a:pt x="797790" y="214455"/>
                    <a:pt x="862784" y="198855"/>
                  </a:cubicBezTo>
                  <a:lnTo>
                    <a:pt x="895324" y="195521"/>
                  </a:lnTo>
                  <a:lnTo>
                    <a:pt x="895442" y="195442"/>
                  </a:lnTo>
                  <a:cubicBezTo>
                    <a:pt x="903293" y="192121"/>
                    <a:pt x="911924" y="190285"/>
                    <a:pt x="920985" y="190285"/>
                  </a:cubicBezTo>
                  <a:lnTo>
                    <a:pt x="946427" y="190285"/>
                  </a:lnTo>
                  <a:lnTo>
                    <a:pt x="952205" y="189693"/>
                  </a:lnTo>
                  <a:lnTo>
                    <a:pt x="952187" y="190285"/>
                  </a:lnTo>
                  <a:lnTo>
                    <a:pt x="1066744" y="190285"/>
                  </a:lnTo>
                  <a:cubicBezTo>
                    <a:pt x="1102987" y="190285"/>
                    <a:pt x="1132367" y="219665"/>
                    <a:pt x="1132367" y="255908"/>
                  </a:cubicBezTo>
                  <a:lnTo>
                    <a:pt x="1132366" y="255908"/>
                  </a:lnTo>
                  <a:cubicBezTo>
                    <a:pt x="1132366" y="292151"/>
                    <a:pt x="1102986" y="321531"/>
                    <a:pt x="1066743" y="321531"/>
                  </a:cubicBezTo>
                  <a:lnTo>
                    <a:pt x="948100" y="321530"/>
                  </a:lnTo>
                  <a:lnTo>
                    <a:pt x="948033" y="323674"/>
                  </a:lnTo>
                  <a:cubicBezTo>
                    <a:pt x="874396" y="321382"/>
                    <a:pt x="805240" y="358953"/>
                    <a:pt x="767088" y="421977"/>
                  </a:cubicBezTo>
                  <a:cubicBezTo>
                    <a:pt x="728936" y="485001"/>
                    <a:pt x="727712" y="563695"/>
                    <a:pt x="763884" y="627876"/>
                  </a:cubicBezTo>
                  <a:cubicBezTo>
                    <a:pt x="800056" y="692057"/>
                    <a:pt x="868010" y="731761"/>
                    <a:pt x="941683" y="731761"/>
                  </a:cubicBezTo>
                  <a:lnTo>
                    <a:pt x="941683" y="734848"/>
                  </a:lnTo>
                  <a:lnTo>
                    <a:pt x="1066744" y="734848"/>
                  </a:lnTo>
                  <a:cubicBezTo>
                    <a:pt x="1102987" y="734848"/>
                    <a:pt x="1132367" y="764228"/>
                    <a:pt x="1132367" y="800471"/>
                  </a:cubicBezTo>
                  <a:lnTo>
                    <a:pt x="1132366" y="800471"/>
                  </a:lnTo>
                  <a:cubicBezTo>
                    <a:pt x="1132366" y="836714"/>
                    <a:pt x="1102986" y="866094"/>
                    <a:pt x="1066743" y="866094"/>
                  </a:cubicBezTo>
                  <a:lnTo>
                    <a:pt x="920985" y="866093"/>
                  </a:lnTo>
                  <a:cubicBezTo>
                    <a:pt x="911924" y="866093"/>
                    <a:pt x="903293" y="864257"/>
                    <a:pt x="895442" y="860936"/>
                  </a:cubicBezTo>
                  <a:lnTo>
                    <a:pt x="892985" y="859280"/>
                  </a:lnTo>
                  <a:lnTo>
                    <a:pt x="852590" y="853866"/>
                  </a:lnTo>
                  <a:cubicBezTo>
                    <a:pt x="788114" y="836252"/>
                    <a:pt x="730052" y="799820"/>
                    <a:pt x="686088" y="749060"/>
                  </a:cubicBezTo>
                  <a:lnTo>
                    <a:pt x="668377" y="723901"/>
                  </a:lnTo>
                  <a:lnTo>
                    <a:pt x="629022" y="772810"/>
                  </a:lnTo>
                  <a:cubicBezTo>
                    <a:pt x="580564" y="818845"/>
                    <a:pt x="519330" y="849649"/>
                    <a:pt x="453139" y="860972"/>
                  </a:cubicBezTo>
                  <a:lnTo>
                    <a:pt x="428624" y="862667"/>
                  </a:lnTo>
                  <a:lnTo>
                    <a:pt x="416808" y="865053"/>
                  </a:lnTo>
                  <a:lnTo>
                    <a:pt x="394132" y="865053"/>
                  </a:lnTo>
                  <a:lnTo>
                    <a:pt x="385587" y="865644"/>
                  </a:lnTo>
                  <a:lnTo>
                    <a:pt x="385605" y="865053"/>
                  </a:lnTo>
                  <a:lnTo>
                    <a:pt x="220886" y="865053"/>
                  </a:lnTo>
                  <a:lnTo>
                    <a:pt x="303747" y="947915"/>
                  </a:lnTo>
                  <a:cubicBezTo>
                    <a:pt x="322968" y="967136"/>
                    <a:pt x="327773" y="995313"/>
                    <a:pt x="318163" y="1019011"/>
                  </a:cubicBezTo>
                  <a:lnTo>
                    <a:pt x="303748" y="1040719"/>
                  </a:lnTo>
                  <a:lnTo>
                    <a:pt x="282039" y="1055135"/>
                  </a:lnTo>
                  <a:cubicBezTo>
                    <a:pt x="274140" y="1058338"/>
                    <a:pt x="265743" y="1059940"/>
                    <a:pt x="257345" y="105994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16" name="Group 115"/>
          <p:cNvGrpSpPr>
            <a:grpSpLocks noChangeAspect="1"/>
          </p:cNvGrpSpPr>
          <p:nvPr/>
        </p:nvGrpSpPr>
        <p:grpSpPr>
          <a:xfrm>
            <a:off x="2335671" y="1601582"/>
            <a:ext cx="228600" cy="228600"/>
            <a:chOff x="5392201" y="130511"/>
            <a:chExt cx="308293" cy="308293"/>
          </a:xfrm>
        </p:grpSpPr>
        <p:sp>
          <p:nvSpPr>
            <p:cNvPr id="117" name="Oval 116"/>
            <p:cNvSpPr/>
            <p:nvPr/>
          </p:nvSpPr>
          <p:spPr>
            <a:xfrm>
              <a:off x="5392201" y="130511"/>
              <a:ext cx="308293" cy="30829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8" name="Freeform 117"/>
            <p:cNvSpPr/>
            <p:nvPr/>
          </p:nvSpPr>
          <p:spPr>
            <a:xfrm rot="10800000">
              <a:off x="5441556" y="188122"/>
              <a:ext cx="209581" cy="196176"/>
            </a:xfrm>
            <a:custGeom>
              <a:avLst/>
              <a:gdLst>
                <a:gd name="connsiteX0" fmla="*/ 303748 w 1132367"/>
                <a:gd name="connsiteY0" fmla="*/ 19220 h 1059940"/>
                <a:gd name="connsiteX1" fmla="*/ 303747 w 1132367"/>
                <a:gd name="connsiteY1" fmla="*/ 19219 h 1059940"/>
                <a:gd name="connsiteX2" fmla="*/ 303747 w 1132367"/>
                <a:gd name="connsiteY2" fmla="*/ 19219 h 1059940"/>
                <a:gd name="connsiteX3" fmla="*/ 303747 w 1132367"/>
                <a:gd name="connsiteY3" fmla="*/ 496157 h 1059940"/>
                <a:gd name="connsiteX4" fmla="*/ 303747 w 1132367"/>
                <a:gd name="connsiteY4" fmla="*/ 496156 h 1059940"/>
                <a:gd name="connsiteX5" fmla="*/ 303748 w 1132367"/>
                <a:gd name="connsiteY5" fmla="*/ 496156 h 1059940"/>
                <a:gd name="connsiteX6" fmla="*/ 303748 w 1132367"/>
                <a:gd name="connsiteY6" fmla="*/ 563783 h 1059940"/>
                <a:gd name="connsiteX7" fmla="*/ 303747 w 1132367"/>
                <a:gd name="connsiteY7" fmla="*/ 563782 h 1059940"/>
                <a:gd name="connsiteX8" fmla="*/ 303747 w 1132367"/>
                <a:gd name="connsiteY8" fmla="*/ 563782 h 1059940"/>
                <a:gd name="connsiteX9" fmla="*/ 303747 w 1132367"/>
                <a:gd name="connsiteY9" fmla="*/ 1040720 h 1059940"/>
                <a:gd name="connsiteX10" fmla="*/ 303748 w 1132367"/>
                <a:gd name="connsiteY10" fmla="*/ 1040719 h 1059940"/>
                <a:gd name="connsiteX11" fmla="*/ 303748 w 1132367"/>
                <a:gd name="connsiteY11" fmla="*/ 1040719 h 1059940"/>
                <a:gd name="connsiteX12" fmla="*/ 257345 w 1132367"/>
                <a:gd name="connsiteY12" fmla="*/ 1059940 h 1059940"/>
                <a:gd name="connsiteX13" fmla="*/ 210943 w 1132367"/>
                <a:gd name="connsiteY13" fmla="*/ 1040719 h 1059940"/>
                <a:gd name="connsiteX14" fmla="*/ 19221 w 1132367"/>
                <a:gd name="connsiteY14" fmla="*/ 848997 h 1059940"/>
                <a:gd name="connsiteX15" fmla="*/ 0 w 1132367"/>
                <a:gd name="connsiteY15" fmla="*/ 802595 h 1059940"/>
                <a:gd name="connsiteX16" fmla="*/ 91 w 1132367"/>
                <a:gd name="connsiteY16" fmla="*/ 802126 h 1059940"/>
                <a:gd name="connsiteX17" fmla="*/ 0 w 1132367"/>
                <a:gd name="connsiteY17" fmla="*/ 801906 h 1059940"/>
                <a:gd name="connsiteX18" fmla="*/ 253 w 1132367"/>
                <a:gd name="connsiteY18" fmla="*/ 801296 h 1059940"/>
                <a:gd name="connsiteX19" fmla="*/ 4805 w 1132367"/>
                <a:gd name="connsiteY19" fmla="*/ 777901 h 1059940"/>
                <a:gd name="connsiteX20" fmla="*/ 18462 w 1132367"/>
                <a:gd name="connsiteY20" fmla="*/ 757334 h 1059940"/>
                <a:gd name="connsiteX21" fmla="*/ 19221 w 1132367"/>
                <a:gd name="connsiteY21" fmla="*/ 755503 h 1059940"/>
                <a:gd name="connsiteX22" fmla="*/ 210943 w 1132367"/>
                <a:gd name="connsiteY22" fmla="*/ 563783 h 1059940"/>
                <a:gd name="connsiteX23" fmla="*/ 282039 w 1132367"/>
                <a:gd name="connsiteY23" fmla="*/ 549367 h 1059940"/>
                <a:gd name="connsiteX24" fmla="*/ 303747 w 1132367"/>
                <a:gd name="connsiteY24" fmla="*/ 563782 h 1059940"/>
                <a:gd name="connsiteX25" fmla="*/ 322968 w 1132367"/>
                <a:gd name="connsiteY25" fmla="*/ 610184 h 1059940"/>
                <a:gd name="connsiteX26" fmla="*/ 303747 w 1132367"/>
                <a:gd name="connsiteY26" fmla="*/ 656587 h 1059940"/>
                <a:gd name="connsiteX27" fmla="*/ 226527 w 1132367"/>
                <a:gd name="connsiteY27" fmla="*/ 733807 h 1059940"/>
                <a:gd name="connsiteX28" fmla="*/ 389692 w 1132367"/>
                <a:gd name="connsiteY28" fmla="*/ 733808 h 1059940"/>
                <a:gd name="connsiteX29" fmla="*/ 389759 w 1132367"/>
                <a:gd name="connsiteY29" fmla="*/ 731663 h 1059940"/>
                <a:gd name="connsiteX30" fmla="*/ 570704 w 1132367"/>
                <a:gd name="connsiteY30" fmla="*/ 633360 h 1059940"/>
                <a:gd name="connsiteX31" fmla="*/ 573908 w 1132367"/>
                <a:gd name="connsiteY31" fmla="*/ 427461 h 1059940"/>
                <a:gd name="connsiteX32" fmla="*/ 396109 w 1132367"/>
                <a:gd name="connsiteY32" fmla="*/ 323576 h 1059940"/>
                <a:gd name="connsiteX33" fmla="*/ 396109 w 1132367"/>
                <a:gd name="connsiteY33" fmla="*/ 320490 h 1059940"/>
                <a:gd name="connsiteX34" fmla="*/ 220886 w 1132367"/>
                <a:gd name="connsiteY34" fmla="*/ 320490 h 1059940"/>
                <a:gd name="connsiteX35" fmla="*/ 303747 w 1132367"/>
                <a:gd name="connsiteY35" fmla="*/ 403352 h 1059940"/>
                <a:gd name="connsiteX36" fmla="*/ 322968 w 1132367"/>
                <a:gd name="connsiteY36" fmla="*/ 449755 h 1059940"/>
                <a:gd name="connsiteX37" fmla="*/ 303747 w 1132367"/>
                <a:gd name="connsiteY37" fmla="*/ 496156 h 1059940"/>
                <a:gd name="connsiteX38" fmla="*/ 282039 w 1132367"/>
                <a:gd name="connsiteY38" fmla="*/ 510572 h 1059940"/>
                <a:gd name="connsiteX39" fmla="*/ 210943 w 1132367"/>
                <a:gd name="connsiteY39" fmla="*/ 496156 h 1059940"/>
                <a:gd name="connsiteX40" fmla="*/ 19221 w 1132367"/>
                <a:gd name="connsiteY40" fmla="*/ 304434 h 1059940"/>
                <a:gd name="connsiteX41" fmla="*/ 0 w 1132367"/>
                <a:gd name="connsiteY41" fmla="*/ 258032 h 1059940"/>
                <a:gd name="connsiteX42" fmla="*/ 143 w 1132367"/>
                <a:gd name="connsiteY42" fmla="*/ 257687 h 1059940"/>
                <a:gd name="connsiteX43" fmla="*/ 0 w 1132367"/>
                <a:gd name="connsiteY43" fmla="*/ 257343 h 1059940"/>
                <a:gd name="connsiteX44" fmla="*/ 19221 w 1132367"/>
                <a:gd name="connsiteY44" fmla="*/ 210940 h 1059940"/>
                <a:gd name="connsiteX45" fmla="*/ 210943 w 1132367"/>
                <a:gd name="connsiteY45" fmla="*/ 19220 h 1059940"/>
                <a:gd name="connsiteX46" fmla="*/ 282039 w 1132367"/>
                <a:gd name="connsiteY46" fmla="*/ 4804 h 1059940"/>
                <a:gd name="connsiteX47" fmla="*/ 303747 w 1132367"/>
                <a:gd name="connsiteY47" fmla="*/ 19219 h 1059940"/>
                <a:gd name="connsiteX48" fmla="*/ 322968 w 1132367"/>
                <a:gd name="connsiteY48" fmla="*/ 65621 h 1059940"/>
                <a:gd name="connsiteX49" fmla="*/ 303747 w 1132367"/>
                <a:gd name="connsiteY49" fmla="*/ 112024 h 1059940"/>
                <a:gd name="connsiteX50" fmla="*/ 226527 w 1132367"/>
                <a:gd name="connsiteY50" fmla="*/ 189244 h 1059940"/>
                <a:gd name="connsiteX51" fmla="*/ 416808 w 1132367"/>
                <a:gd name="connsiteY51" fmla="*/ 189245 h 1059940"/>
                <a:gd name="connsiteX52" fmla="*/ 440150 w 1132367"/>
                <a:gd name="connsiteY52" fmla="*/ 193957 h 1059940"/>
                <a:gd name="connsiteX53" fmla="*/ 463483 w 1132367"/>
                <a:gd name="connsiteY53" fmla="*/ 196303 h 1059940"/>
                <a:gd name="connsiteX54" fmla="*/ 636537 w 1132367"/>
                <a:gd name="connsiteY54" fmla="*/ 289894 h 1059940"/>
                <a:gd name="connsiteX55" fmla="*/ 668090 w 1132367"/>
                <a:gd name="connsiteY55" fmla="*/ 331708 h 1059940"/>
                <a:gd name="connsiteX56" fmla="*/ 693101 w 1132367"/>
                <a:gd name="connsiteY56" fmla="*/ 298430 h 1059940"/>
                <a:gd name="connsiteX57" fmla="*/ 862784 w 1132367"/>
                <a:gd name="connsiteY57" fmla="*/ 198855 h 1059940"/>
                <a:gd name="connsiteX58" fmla="*/ 895324 w 1132367"/>
                <a:gd name="connsiteY58" fmla="*/ 195521 h 1059940"/>
                <a:gd name="connsiteX59" fmla="*/ 895442 w 1132367"/>
                <a:gd name="connsiteY59" fmla="*/ 195442 h 1059940"/>
                <a:gd name="connsiteX60" fmla="*/ 920985 w 1132367"/>
                <a:gd name="connsiteY60" fmla="*/ 190285 h 1059940"/>
                <a:gd name="connsiteX61" fmla="*/ 946427 w 1132367"/>
                <a:gd name="connsiteY61" fmla="*/ 190285 h 1059940"/>
                <a:gd name="connsiteX62" fmla="*/ 952205 w 1132367"/>
                <a:gd name="connsiteY62" fmla="*/ 189693 h 1059940"/>
                <a:gd name="connsiteX63" fmla="*/ 952187 w 1132367"/>
                <a:gd name="connsiteY63" fmla="*/ 190285 h 1059940"/>
                <a:gd name="connsiteX64" fmla="*/ 1066744 w 1132367"/>
                <a:gd name="connsiteY64" fmla="*/ 190285 h 1059940"/>
                <a:gd name="connsiteX65" fmla="*/ 1132367 w 1132367"/>
                <a:gd name="connsiteY65" fmla="*/ 255908 h 1059940"/>
                <a:gd name="connsiteX66" fmla="*/ 1132366 w 1132367"/>
                <a:gd name="connsiteY66" fmla="*/ 255908 h 1059940"/>
                <a:gd name="connsiteX67" fmla="*/ 1066743 w 1132367"/>
                <a:gd name="connsiteY67" fmla="*/ 321531 h 1059940"/>
                <a:gd name="connsiteX68" fmla="*/ 948100 w 1132367"/>
                <a:gd name="connsiteY68" fmla="*/ 321530 h 1059940"/>
                <a:gd name="connsiteX69" fmla="*/ 948033 w 1132367"/>
                <a:gd name="connsiteY69" fmla="*/ 323674 h 1059940"/>
                <a:gd name="connsiteX70" fmla="*/ 767088 w 1132367"/>
                <a:gd name="connsiteY70" fmla="*/ 421977 h 1059940"/>
                <a:gd name="connsiteX71" fmla="*/ 763884 w 1132367"/>
                <a:gd name="connsiteY71" fmla="*/ 627876 h 1059940"/>
                <a:gd name="connsiteX72" fmla="*/ 941683 w 1132367"/>
                <a:gd name="connsiteY72" fmla="*/ 731761 h 1059940"/>
                <a:gd name="connsiteX73" fmla="*/ 941683 w 1132367"/>
                <a:gd name="connsiteY73" fmla="*/ 734848 h 1059940"/>
                <a:gd name="connsiteX74" fmla="*/ 1066744 w 1132367"/>
                <a:gd name="connsiteY74" fmla="*/ 734848 h 1059940"/>
                <a:gd name="connsiteX75" fmla="*/ 1132367 w 1132367"/>
                <a:gd name="connsiteY75" fmla="*/ 800471 h 1059940"/>
                <a:gd name="connsiteX76" fmla="*/ 1132366 w 1132367"/>
                <a:gd name="connsiteY76" fmla="*/ 800471 h 1059940"/>
                <a:gd name="connsiteX77" fmla="*/ 1066743 w 1132367"/>
                <a:gd name="connsiteY77" fmla="*/ 866094 h 1059940"/>
                <a:gd name="connsiteX78" fmla="*/ 920985 w 1132367"/>
                <a:gd name="connsiteY78" fmla="*/ 866093 h 1059940"/>
                <a:gd name="connsiteX79" fmla="*/ 895442 w 1132367"/>
                <a:gd name="connsiteY79" fmla="*/ 860936 h 1059940"/>
                <a:gd name="connsiteX80" fmla="*/ 892985 w 1132367"/>
                <a:gd name="connsiteY80" fmla="*/ 859280 h 1059940"/>
                <a:gd name="connsiteX81" fmla="*/ 852590 w 1132367"/>
                <a:gd name="connsiteY81" fmla="*/ 853866 h 1059940"/>
                <a:gd name="connsiteX82" fmla="*/ 686088 w 1132367"/>
                <a:gd name="connsiteY82" fmla="*/ 749060 h 1059940"/>
                <a:gd name="connsiteX83" fmla="*/ 668377 w 1132367"/>
                <a:gd name="connsiteY83" fmla="*/ 723901 h 1059940"/>
                <a:gd name="connsiteX84" fmla="*/ 629022 w 1132367"/>
                <a:gd name="connsiteY84" fmla="*/ 772810 h 1059940"/>
                <a:gd name="connsiteX85" fmla="*/ 453139 w 1132367"/>
                <a:gd name="connsiteY85" fmla="*/ 860972 h 1059940"/>
                <a:gd name="connsiteX86" fmla="*/ 428624 w 1132367"/>
                <a:gd name="connsiteY86" fmla="*/ 862667 h 1059940"/>
                <a:gd name="connsiteX87" fmla="*/ 416808 w 1132367"/>
                <a:gd name="connsiteY87" fmla="*/ 865053 h 1059940"/>
                <a:gd name="connsiteX88" fmla="*/ 394132 w 1132367"/>
                <a:gd name="connsiteY88" fmla="*/ 865053 h 1059940"/>
                <a:gd name="connsiteX89" fmla="*/ 385587 w 1132367"/>
                <a:gd name="connsiteY89" fmla="*/ 865644 h 1059940"/>
                <a:gd name="connsiteX90" fmla="*/ 385605 w 1132367"/>
                <a:gd name="connsiteY90" fmla="*/ 865053 h 1059940"/>
                <a:gd name="connsiteX91" fmla="*/ 220886 w 1132367"/>
                <a:gd name="connsiteY91" fmla="*/ 865053 h 1059940"/>
                <a:gd name="connsiteX92" fmla="*/ 303747 w 1132367"/>
                <a:gd name="connsiteY92" fmla="*/ 947915 h 1059940"/>
                <a:gd name="connsiteX93" fmla="*/ 318163 w 1132367"/>
                <a:gd name="connsiteY93" fmla="*/ 1019011 h 1059940"/>
                <a:gd name="connsiteX94" fmla="*/ 303748 w 1132367"/>
                <a:gd name="connsiteY94" fmla="*/ 1040719 h 1059940"/>
                <a:gd name="connsiteX95" fmla="*/ 282039 w 1132367"/>
                <a:gd name="connsiteY95" fmla="*/ 1055135 h 1059940"/>
                <a:gd name="connsiteX96" fmla="*/ 257345 w 1132367"/>
                <a:gd name="connsiteY96" fmla="*/ 1059940 h 105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132367" h="1059940">
                  <a:moveTo>
                    <a:pt x="303748" y="19220"/>
                  </a:moveTo>
                  <a:lnTo>
                    <a:pt x="303747" y="19219"/>
                  </a:lnTo>
                  <a:lnTo>
                    <a:pt x="303747" y="19219"/>
                  </a:lnTo>
                  <a:close/>
                  <a:moveTo>
                    <a:pt x="303747" y="496157"/>
                  </a:moveTo>
                  <a:lnTo>
                    <a:pt x="303747" y="496156"/>
                  </a:lnTo>
                  <a:lnTo>
                    <a:pt x="303748" y="496156"/>
                  </a:lnTo>
                  <a:close/>
                  <a:moveTo>
                    <a:pt x="303748" y="563783"/>
                  </a:moveTo>
                  <a:lnTo>
                    <a:pt x="303747" y="563782"/>
                  </a:lnTo>
                  <a:lnTo>
                    <a:pt x="303747" y="563782"/>
                  </a:lnTo>
                  <a:close/>
                  <a:moveTo>
                    <a:pt x="303747" y="1040720"/>
                  </a:moveTo>
                  <a:lnTo>
                    <a:pt x="303748" y="1040719"/>
                  </a:lnTo>
                  <a:lnTo>
                    <a:pt x="303748" y="1040719"/>
                  </a:lnTo>
                  <a:close/>
                  <a:moveTo>
                    <a:pt x="257345" y="1059940"/>
                  </a:moveTo>
                  <a:cubicBezTo>
                    <a:pt x="240551" y="1059940"/>
                    <a:pt x="223757" y="1053533"/>
                    <a:pt x="210943" y="1040719"/>
                  </a:cubicBezTo>
                  <a:lnTo>
                    <a:pt x="19221" y="848997"/>
                  </a:lnTo>
                  <a:cubicBezTo>
                    <a:pt x="6407" y="836183"/>
                    <a:pt x="0" y="819389"/>
                    <a:pt x="0" y="802595"/>
                  </a:cubicBezTo>
                  <a:lnTo>
                    <a:pt x="91" y="802126"/>
                  </a:lnTo>
                  <a:lnTo>
                    <a:pt x="0" y="801906"/>
                  </a:lnTo>
                  <a:lnTo>
                    <a:pt x="253" y="801296"/>
                  </a:lnTo>
                  <a:lnTo>
                    <a:pt x="4805" y="777901"/>
                  </a:lnTo>
                  <a:lnTo>
                    <a:pt x="18462" y="757334"/>
                  </a:lnTo>
                  <a:lnTo>
                    <a:pt x="19221" y="755503"/>
                  </a:lnTo>
                  <a:lnTo>
                    <a:pt x="210943" y="563783"/>
                  </a:lnTo>
                  <a:cubicBezTo>
                    <a:pt x="230164" y="544562"/>
                    <a:pt x="258341" y="539757"/>
                    <a:pt x="282039" y="549367"/>
                  </a:cubicBezTo>
                  <a:lnTo>
                    <a:pt x="303747" y="563782"/>
                  </a:lnTo>
                  <a:lnTo>
                    <a:pt x="322968" y="610184"/>
                  </a:lnTo>
                  <a:cubicBezTo>
                    <a:pt x="322968" y="626979"/>
                    <a:pt x="316561" y="643773"/>
                    <a:pt x="303747" y="656587"/>
                  </a:cubicBezTo>
                  <a:lnTo>
                    <a:pt x="226527" y="733807"/>
                  </a:lnTo>
                  <a:lnTo>
                    <a:pt x="389692" y="733808"/>
                  </a:lnTo>
                  <a:lnTo>
                    <a:pt x="389759" y="731663"/>
                  </a:lnTo>
                  <a:cubicBezTo>
                    <a:pt x="463396" y="733955"/>
                    <a:pt x="532552" y="696384"/>
                    <a:pt x="570704" y="633360"/>
                  </a:cubicBezTo>
                  <a:cubicBezTo>
                    <a:pt x="608856" y="570336"/>
                    <a:pt x="610080" y="491642"/>
                    <a:pt x="573908" y="427461"/>
                  </a:cubicBezTo>
                  <a:cubicBezTo>
                    <a:pt x="537736" y="363280"/>
                    <a:pt x="469782" y="323576"/>
                    <a:pt x="396109" y="323576"/>
                  </a:cubicBezTo>
                  <a:lnTo>
                    <a:pt x="396109" y="320490"/>
                  </a:lnTo>
                  <a:lnTo>
                    <a:pt x="220886" y="320490"/>
                  </a:lnTo>
                  <a:lnTo>
                    <a:pt x="303747" y="403352"/>
                  </a:lnTo>
                  <a:cubicBezTo>
                    <a:pt x="316561" y="416166"/>
                    <a:pt x="322968" y="432960"/>
                    <a:pt x="322968" y="449755"/>
                  </a:cubicBezTo>
                  <a:lnTo>
                    <a:pt x="303747" y="496156"/>
                  </a:lnTo>
                  <a:lnTo>
                    <a:pt x="282039" y="510572"/>
                  </a:lnTo>
                  <a:cubicBezTo>
                    <a:pt x="258341" y="520182"/>
                    <a:pt x="230164" y="515377"/>
                    <a:pt x="210943" y="496156"/>
                  </a:cubicBezTo>
                  <a:lnTo>
                    <a:pt x="19221" y="304434"/>
                  </a:lnTo>
                  <a:cubicBezTo>
                    <a:pt x="6407" y="291620"/>
                    <a:pt x="0" y="274826"/>
                    <a:pt x="0" y="258032"/>
                  </a:cubicBezTo>
                  <a:lnTo>
                    <a:pt x="143" y="257687"/>
                  </a:lnTo>
                  <a:lnTo>
                    <a:pt x="0" y="257343"/>
                  </a:lnTo>
                  <a:cubicBezTo>
                    <a:pt x="0" y="240548"/>
                    <a:pt x="6407" y="223754"/>
                    <a:pt x="19221" y="210940"/>
                  </a:cubicBezTo>
                  <a:lnTo>
                    <a:pt x="210943" y="19220"/>
                  </a:lnTo>
                  <a:cubicBezTo>
                    <a:pt x="230164" y="-1"/>
                    <a:pt x="258341" y="-4806"/>
                    <a:pt x="282039" y="4804"/>
                  </a:cubicBezTo>
                  <a:lnTo>
                    <a:pt x="303747" y="19219"/>
                  </a:lnTo>
                  <a:lnTo>
                    <a:pt x="322968" y="65621"/>
                  </a:lnTo>
                  <a:cubicBezTo>
                    <a:pt x="322968" y="82416"/>
                    <a:pt x="316561" y="99210"/>
                    <a:pt x="303747" y="112024"/>
                  </a:cubicBezTo>
                  <a:lnTo>
                    <a:pt x="226527" y="189244"/>
                  </a:lnTo>
                  <a:lnTo>
                    <a:pt x="416808" y="189245"/>
                  </a:lnTo>
                  <a:lnTo>
                    <a:pt x="440150" y="193957"/>
                  </a:lnTo>
                  <a:lnTo>
                    <a:pt x="463483" y="196303"/>
                  </a:lnTo>
                  <a:cubicBezTo>
                    <a:pt x="529289" y="209680"/>
                    <a:pt x="589535" y="242374"/>
                    <a:pt x="636537" y="289894"/>
                  </a:cubicBezTo>
                  <a:lnTo>
                    <a:pt x="668090" y="331708"/>
                  </a:lnTo>
                  <a:lnTo>
                    <a:pt x="693101" y="298430"/>
                  </a:lnTo>
                  <a:cubicBezTo>
                    <a:pt x="738623" y="249063"/>
                    <a:pt x="797790" y="214455"/>
                    <a:pt x="862784" y="198855"/>
                  </a:cubicBezTo>
                  <a:lnTo>
                    <a:pt x="895324" y="195521"/>
                  </a:lnTo>
                  <a:lnTo>
                    <a:pt x="895442" y="195442"/>
                  </a:lnTo>
                  <a:cubicBezTo>
                    <a:pt x="903293" y="192121"/>
                    <a:pt x="911924" y="190285"/>
                    <a:pt x="920985" y="190285"/>
                  </a:cubicBezTo>
                  <a:lnTo>
                    <a:pt x="946427" y="190285"/>
                  </a:lnTo>
                  <a:lnTo>
                    <a:pt x="952205" y="189693"/>
                  </a:lnTo>
                  <a:lnTo>
                    <a:pt x="952187" y="190285"/>
                  </a:lnTo>
                  <a:lnTo>
                    <a:pt x="1066744" y="190285"/>
                  </a:lnTo>
                  <a:cubicBezTo>
                    <a:pt x="1102987" y="190285"/>
                    <a:pt x="1132367" y="219665"/>
                    <a:pt x="1132367" y="255908"/>
                  </a:cubicBezTo>
                  <a:lnTo>
                    <a:pt x="1132366" y="255908"/>
                  </a:lnTo>
                  <a:cubicBezTo>
                    <a:pt x="1132366" y="292151"/>
                    <a:pt x="1102986" y="321531"/>
                    <a:pt x="1066743" y="321531"/>
                  </a:cubicBezTo>
                  <a:lnTo>
                    <a:pt x="948100" y="321530"/>
                  </a:lnTo>
                  <a:lnTo>
                    <a:pt x="948033" y="323674"/>
                  </a:lnTo>
                  <a:cubicBezTo>
                    <a:pt x="874396" y="321382"/>
                    <a:pt x="805240" y="358953"/>
                    <a:pt x="767088" y="421977"/>
                  </a:cubicBezTo>
                  <a:cubicBezTo>
                    <a:pt x="728936" y="485001"/>
                    <a:pt x="727712" y="563695"/>
                    <a:pt x="763884" y="627876"/>
                  </a:cubicBezTo>
                  <a:cubicBezTo>
                    <a:pt x="800056" y="692057"/>
                    <a:pt x="868010" y="731761"/>
                    <a:pt x="941683" y="731761"/>
                  </a:cubicBezTo>
                  <a:lnTo>
                    <a:pt x="941683" y="734848"/>
                  </a:lnTo>
                  <a:lnTo>
                    <a:pt x="1066744" y="734848"/>
                  </a:lnTo>
                  <a:cubicBezTo>
                    <a:pt x="1102987" y="734848"/>
                    <a:pt x="1132367" y="764228"/>
                    <a:pt x="1132367" y="800471"/>
                  </a:cubicBezTo>
                  <a:lnTo>
                    <a:pt x="1132366" y="800471"/>
                  </a:lnTo>
                  <a:cubicBezTo>
                    <a:pt x="1132366" y="836714"/>
                    <a:pt x="1102986" y="866094"/>
                    <a:pt x="1066743" y="866094"/>
                  </a:cubicBezTo>
                  <a:lnTo>
                    <a:pt x="920985" y="866093"/>
                  </a:lnTo>
                  <a:cubicBezTo>
                    <a:pt x="911924" y="866093"/>
                    <a:pt x="903293" y="864257"/>
                    <a:pt x="895442" y="860936"/>
                  </a:cubicBezTo>
                  <a:lnTo>
                    <a:pt x="892985" y="859280"/>
                  </a:lnTo>
                  <a:lnTo>
                    <a:pt x="852590" y="853866"/>
                  </a:lnTo>
                  <a:cubicBezTo>
                    <a:pt x="788114" y="836252"/>
                    <a:pt x="730052" y="799820"/>
                    <a:pt x="686088" y="749060"/>
                  </a:cubicBezTo>
                  <a:lnTo>
                    <a:pt x="668377" y="723901"/>
                  </a:lnTo>
                  <a:lnTo>
                    <a:pt x="629022" y="772810"/>
                  </a:lnTo>
                  <a:cubicBezTo>
                    <a:pt x="580564" y="818845"/>
                    <a:pt x="519330" y="849649"/>
                    <a:pt x="453139" y="860972"/>
                  </a:cubicBezTo>
                  <a:lnTo>
                    <a:pt x="428624" y="862667"/>
                  </a:lnTo>
                  <a:lnTo>
                    <a:pt x="416808" y="865053"/>
                  </a:lnTo>
                  <a:lnTo>
                    <a:pt x="394132" y="865053"/>
                  </a:lnTo>
                  <a:lnTo>
                    <a:pt x="385587" y="865644"/>
                  </a:lnTo>
                  <a:lnTo>
                    <a:pt x="385605" y="865053"/>
                  </a:lnTo>
                  <a:lnTo>
                    <a:pt x="220886" y="865053"/>
                  </a:lnTo>
                  <a:lnTo>
                    <a:pt x="303747" y="947915"/>
                  </a:lnTo>
                  <a:cubicBezTo>
                    <a:pt x="322968" y="967136"/>
                    <a:pt x="327773" y="995313"/>
                    <a:pt x="318163" y="1019011"/>
                  </a:cubicBezTo>
                  <a:lnTo>
                    <a:pt x="303748" y="1040719"/>
                  </a:lnTo>
                  <a:lnTo>
                    <a:pt x="282039" y="1055135"/>
                  </a:lnTo>
                  <a:cubicBezTo>
                    <a:pt x="274140" y="1058338"/>
                    <a:pt x="265743" y="1059940"/>
                    <a:pt x="257345" y="105994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19" name="Group 118"/>
          <p:cNvGrpSpPr>
            <a:grpSpLocks noChangeAspect="1"/>
          </p:cNvGrpSpPr>
          <p:nvPr/>
        </p:nvGrpSpPr>
        <p:grpSpPr>
          <a:xfrm>
            <a:off x="3105174" y="1601582"/>
            <a:ext cx="228600" cy="228600"/>
            <a:chOff x="5392201" y="130511"/>
            <a:chExt cx="308293" cy="308293"/>
          </a:xfrm>
        </p:grpSpPr>
        <p:sp>
          <p:nvSpPr>
            <p:cNvPr id="120" name="Oval 119"/>
            <p:cNvSpPr/>
            <p:nvPr/>
          </p:nvSpPr>
          <p:spPr>
            <a:xfrm>
              <a:off x="5392201" y="130511"/>
              <a:ext cx="308293" cy="30829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1" name="Freeform 120"/>
            <p:cNvSpPr/>
            <p:nvPr/>
          </p:nvSpPr>
          <p:spPr>
            <a:xfrm rot="10800000">
              <a:off x="5441556" y="188122"/>
              <a:ext cx="209581" cy="196176"/>
            </a:xfrm>
            <a:custGeom>
              <a:avLst/>
              <a:gdLst>
                <a:gd name="connsiteX0" fmla="*/ 303748 w 1132367"/>
                <a:gd name="connsiteY0" fmla="*/ 19220 h 1059940"/>
                <a:gd name="connsiteX1" fmla="*/ 303747 w 1132367"/>
                <a:gd name="connsiteY1" fmla="*/ 19219 h 1059940"/>
                <a:gd name="connsiteX2" fmla="*/ 303747 w 1132367"/>
                <a:gd name="connsiteY2" fmla="*/ 19219 h 1059940"/>
                <a:gd name="connsiteX3" fmla="*/ 303747 w 1132367"/>
                <a:gd name="connsiteY3" fmla="*/ 496157 h 1059940"/>
                <a:gd name="connsiteX4" fmla="*/ 303747 w 1132367"/>
                <a:gd name="connsiteY4" fmla="*/ 496156 h 1059940"/>
                <a:gd name="connsiteX5" fmla="*/ 303748 w 1132367"/>
                <a:gd name="connsiteY5" fmla="*/ 496156 h 1059940"/>
                <a:gd name="connsiteX6" fmla="*/ 303748 w 1132367"/>
                <a:gd name="connsiteY6" fmla="*/ 563783 h 1059940"/>
                <a:gd name="connsiteX7" fmla="*/ 303747 w 1132367"/>
                <a:gd name="connsiteY7" fmla="*/ 563782 h 1059940"/>
                <a:gd name="connsiteX8" fmla="*/ 303747 w 1132367"/>
                <a:gd name="connsiteY8" fmla="*/ 563782 h 1059940"/>
                <a:gd name="connsiteX9" fmla="*/ 303747 w 1132367"/>
                <a:gd name="connsiteY9" fmla="*/ 1040720 h 1059940"/>
                <a:gd name="connsiteX10" fmla="*/ 303748 w 1132367"/>
                <a:gd name="connsiteY10" fmla="*/ 1040719 h 1059940"/>
                <a:gd name="connsiteX11" fmla="*/ 303748 w 1132367"/>
                <a:gd name="connsiteY11" fmla="*/ 1040719 h 1059940"/>
                <a:gd name="connsiteX12" fmla="*/ 257345 w 1132367"/>
                <a:gd name="connsiteY12" fmla="*/ 1059940 h 1059940"/>
                <a:gd name="connsiteX13" fmla="*/ 210943 w 1132367"/>
                <a:gd name="connsiteY13" fmla="*/ 1040719 h 1059940"/>
                <a:gd name="connsiteX14" fmla="*/ 19221 w 1132367"/>
                <a:gd name="connsiteY14" fmla="*/ 848997 h 1059940"/>
                <a:gd name="connsiteX15" fmla="*/ 0 w 1132367"/>
                <a:gd name="connsiteY15" fmla="*/ 802595 h 1059940"/>
                <a:gd name="connsiteX16" fmla="*/ 91 w 1132367"/>
                <a:gd name="connsiteY16" fmla="*/ 802126 h 1059940"/>
                <a:gd name="connsiteX17" fmla="*/ 0 w 1132367"/>
                <a:gd name="connsiteY17" fmla="*/ 801906 h 1059940"/>
                <a:gd name="connsiteX18" fmla="*/ 253 w 1132367"/>
                <a:gd name="connsiteY18" fmla="*/ 801296 h 1059940"/>
                <a:gd name="connsiteX19" fmla="*/ 4805 w 1132367"/>
                <a:gd name="connsiteY19" fmla="*/ 777901 h 1059940"/>
                <a:gd name="connsiteX20" fmla="*/ 18462 w 1132367"/>
                <a:gd name="connsiteY20" fmla="*/ 757334 h 1059940"/>
                <a:gd name="connsiteX21" fmla="*/ 19221 w 1132367"/>
                <a:gd name="connsiteY21" fmla="*/ 755503 h 1059940"/>
                <a:gd name="connsiteX22" fmla="*/ 210943 w 1132367"/>
                <a:gd name="connsiteY22" fmla="*/ 563783 h 1059940"/>
                <a:gd name="connsiteX23" fmla="*/ 282039 w 1132367"/>
                <a:gd name="connsiteY23" fmla="*/ 549367 h 1059940"/>
                <a:gd name="connsiteX24" fmla="*/ 303747 w 1132367"/>
                <a:gd name="connsiteY24" fmla="*/ 563782 h 1059940"/>
                <a:gd name="connsiteX25" fmla="*/ 322968 w 1132367"/>
                <a:gd name="connsiteY25" fmla="*/ 610184 h 1059940"/>
                <a:gd name="connsiteX26" fmla="*/ 303747 w 1132367"/>
                <a:gd name="connsiteY26" fmla="*/ 656587 h 1059940"/>
                <a:gd name="connsiteX27" fmla="*/ 226527 w 1132367"/>
                <a:gd name="connsiteY27" fmla="*/ 733807 h 1059940"/>
                <a:gd name="connsiteX28" fmla="*/ 389692 w 1132367"/>
                <a:gd name="connsiteY28" fmla="*/ 733808 h 1059940"/>
                <a:gd name="connsiteX29" fmla="*/ 389759 w 1132367"/>
                <a:gd name="connsiteY29" fmla="*/ 731663 h 1059940"/>
                <a:gd name="connsiteX30" fmla="*/ 570704 w 1132367"/>
                <a:gd name="connsiteY30" fmla="*/ 633360 h 1059940"/>
                <a:gd name="connsiteX31" fmla="*/ 573908 w 1132367"/>
                <a:gd name="connsiteY31" fmla="*/ 427461 h 1059940"/>
                <a:gd name="connsiteX32" fmla="*/ 396109 w 1132367"/>
                <a:gd name="connsiteY32" fmla="*/ 323576 h 1059940"/>
                <a:gd name="connsiteX33" fmla="*/ 396109 w 1132367"/>
                <a:gd name="connsiteY33" fmla="*/ 320490 h 1059940"/>
                <a:gd name="connsiteX34" fmla="*/ 220886 w 1132367"/>
                <a:gd name="connsiteY34" fmla="*/ 320490 h 1059940"/>
                <a:gd name="connsiteX35" fmla="*/ 303747 w 1132367"/>
                <a:gd name="connsiteY35" fmla="*/ 403352 h 1059940"/>
                <a:gd name="connsiteX36" fmla="*/ 322968 w 1132367"/>
                <a:gd name="connsiteY36" fmla="*/ 449755 h 1059940"/>
                <a:gd name="connsiteX37" fmla="*/ 303747 w 1132367"/>
                <a:gd name="connsiteY37" fmla="*/ 496156 h 1059940"/>
                <a:gd name="connsiteX38" fmla="*/ 282039 w 1132367"/>
                <a:gd name="connsiteY38" fmla="*/ 510572 h 1059940"/>
                <a:gd name="connsiteX39" fmla="*/ 210943 w 1132367"/>
                <a:gd name="connsiteY39" fmla="*/ 496156 h 1059940"/>
                <a:gd name="connsiteX40" fmla="*/ 19221 w 1132367"/>
                <a:gd name="connsiteY40" fmla="*/ 304434 h 1059940"/>
                <a:gd name="connsiteX41" fmla="*/ 0 w 1132367"/>
                <a:gd name="connsiteY41" fmla="*/ 258032 h 1059940"/>
                <a:gd name="connsiteX42" fmla="*/ 143 w 1132367"/>
                <a:gd name="connsiteY42" fmla="*/ 257687 h 1059940"/>
                <a:gd name="connsiteX43" fmla="*/ 0 w 1132367"/>
                <a:gd name="connsiteY43" fmla="*/ 257343 h 1059940"/>
                <a:gd name="connsiteX44" fmla="*/ 19221 w 1132367"/>
                <a:gd name="connsiteY44" fmla="*/ 210940 h 1059940"/>
                <a:gd name="connsiteX45" fmla="*/ 210943 w 1132367"/>
                <a:gd name="connsiteY45" fmla="*/ 19220 h 1059940"/>
                <a:gd name="connsiteX46" fmla="*/ 282039 w 1132367"/>
                <a:gd name="connsiteY46" fmla="*/ 4804 h 1059940"/>
                <a:gd name="connsiteX47" fmla="*/ 303747 w 1132367"/>
                <a:gd name="connsiteY47" fmla="*/ 19219 h 1059940"/>
                <a:gd name="connsiteX48" fmla="*/ 322968 w 1132367"/>
                <a:gd name="connsiteY48" fmla="*/ 65621 h 1059940"/>
                <a:gd name="connsiteX49" fmla="*/ 303747 w 1132367"/>
                <a:gd name="connsiteY49" fmla="*/ 112024 h 1059940"/>
                <a:gd name="connsiteX50" fmla="*/ 226527 w 1132367"/>
                <a:gd name="connsiteY50" fmla="*/ 189244 h 1059940"/>
                <a:gd name="connsiteX51" fmla="*/ 416808 w 1132367"/>
                <a:gd name="connsiteY51" fmla="*/ 189245 h 1059940"/>
                <a:gd name="connsiteX52" fmla="*/ 440150 w 1132367"/>
                <a:gd name="connsiteY52" fmla="*/ 193957 h 1059940"/>
                <a:gd name="connsiteX53" fmla="*/ 463483 w 1132367"/>
                <a:gd name="connsiteY53" fmla="*/ 196303 h 1059940"/>
                <a:gd name="connsiteX54" fmla="*/ 636537 w 1132367"/>
                <a:gd name="connsiteY54" fmla="*/ 289894 h 1059940"/>
                <a:gd name="connsiteX55" fmla="*/ 668090 w 1132367"/>
                <a:gd name="connsiteY55" fmla="*/ 331708 h 1059940"/>
                <a:gd name="connsiteX56" fmla="*/ 693101 w 1132367"/>
                <a:gd name="connsiteY56" fmla="*/ 298430 h 1059940"/>
                <a:gd name="connsiteX57" fmla="*/ 862784 w 1132367"/>
                <a:gd name="connsiteY57" fmla="*/ 198855 h 1059940"/>
                <a:gd name="connsiteX58" fmla="*/ 895324 w 1132367"/>
                <a:gd name="connsiteY58" fmla="*/ 195521 h 1059940"/>
                <a:gd name="connsiteX59" fmla="*/ 895442 w 1132367"/>
                <a:gd name="connsiteY59" fmla="*/ 195442 h 1059940"/>
                <a:gd name="connsiteX60" fmla="*/ 920985 w 1132367"/>
                <a:gd name="connsiteY60" fmla="*/ 190285 h 1059940"/>
                <a:gd name="connsiteX61" fmla="*/ 946427 w 1132367"/>
                <a:gd name="connsiteY61" fmla="*/ 190285 h 1059940"/>
                <a:gd name="connsiteX62" fmla="*/ 952205 w 1132367"/>
                <a:gd name="connsiteY62" fmla="*/ 189693 h 1059940"/>
                <a:gd name="connsiteX63" fmla="*/ 952187 w 1132367"/>
                <a:gd name="connsiteY63" fmla="*/ 190285 h 1059940"/>
                <a:gd name="connsiteX64" fmla="*/ 1066744 w 1132367"/>
                <a:gd name="connsiteY64" fmla="*/ 190285 h 1059940"/>
                <a:gd name="connsiteX65" fmla="*/ 1132367 w 1132367"/>
                <a:gd name="connsiteY65" fmla="*/ 255908 h 1059940"/>
                <a:gd name="connsiteX66" fmla="*/ 1132366 w 1132367"/>
                <a:gd name="connsiteY66" fmla="*/ 255908 h 1059940"/>
                <a:gd name="connsiteX67" fmla="*/ 1066743 w 1132367"/>
                <a:gd name="connsiteY67" fmla="*/ 321531 h 1059940"/>
                <a:gd name="connsiteX68" fmla="*/ 948100 w 1132367"/>
                <a:gd name="connsiteY68" fmla="*/ 321530 h 1059940"/>
                <a:gd name="connsiteX69" fmla="*/ 948033 w 1132367"/>
                <a:gd name="connsiteY69" fmla="*/ 323674 h 1059940"/>
                <a:gd name="connsiteX70" fmla="*/ 767088 w 1132367"/>
                <a:gd name="connsiteY70" fmla="*/ 421977 h 1059940"/>
                <a:gd name="connsiteX71" fmla="*/ 763884 w 1132367"/>
                <a:gd name="connsiteY71" fmla="*/ 627876 h 1059940"/>
                <a:gd name="connsiteX72" fmla="*/ 941683 w 1132367"/>
                <a:gd name="connsiteY72" fmla="*/ 731761 h 1059940"/>
                <a:gd name="connsiteX73" fmla="*/ 941683 w 1132367"/>
                <a:gd name="connsiteY73" fmla="*/ 734848 h 1059940"/>
                <a:gd name="connsiteX74" fmla="*/ 1066744 w 1132367"/>
                <a:gd name="connsiteY74" fmla="*/ 734848 h 1059940"/>
                <a:gd name="connsiteX75" fmla="*/ 1132367 w 1132367"/>
                <a:gd name="connsiteY75" fmla="*/ 800471 h 1059940"/>
                <a:gd name="connsiteX76" fmla="*/ 1132366 w 1132367"/>
                <a:gd name="connsiteY76" fmla="*/ 800471 h 1059940"/>
                <a:gd name="connsiteX77" fmla="*/ 1066743 w 1132367"/>
                <a:gd name="connsiteY77" fmla="*/ 866094 h 1059940"/>
                <a:gd name="connsiteX78" fmla="*/ 920985 w 1132367"/>
                <a:gd name="connsiteY78" fmla="*/ 866093 h 1059940"/>
                <a:gd name="connsiteX79" fmla="*/ 895442 w 1132367"/>
                <a:gd name="connsiteY79" fmla="*/ 860936 h 1059940"/>
                <a:gd name="connsiteX80" fmla="*/ 892985 w 1132367"/>
                <a:gd name="connsiteY80" fmla="*/ 859280 h 1059940"/>
                <a:gd name="connsiteX81" fmla="*/ 852590 w 1132367"/>
                <a:gd name="connsiteY81" fmla="*/ 853866 h 1059940"/>
                <a:gd name="connsiteX82" fmla="*/ 686088 w 1132367"/>
                <a:gd name="connsiteY82" fmla="*/ 749060 h 1059940"/>
                <a:gd name="connsiteX83" fmla="*/ 668377 w 1132367"/>
                <a:gd name="connsiteY83" fmla="*/ 723901 h 1059940"/>
                <a:gd name="connsiteX84" fmla="*/ 629022 w 1132367"/>
                <a:gd name="connsiteY84" fmla="*/ 772810 h 1059940"/>
                <a:gd name="connsiteX85" fmla="*/ 453139 w 1132367"/>
                <a:gd name="connsiteY85" fmla="*/ 860972 h 1059940"/>
                <a:gd name="connsiteX86" fmla="*/ 428624 w 1132367"/>
                <a:gd name="connsiteY86" fmla="*/ 862667 h 1059940"/>
                <a:gd name="connsiteX87" fmla="*/ 416808 w 1132367"/>
                <a:gd name="connsiteY87" fmla="*/ 865053 h 1059940"/>
                <a:gd name="connsiteX88" fmla="*/ 394132 w 1132367"/>
                <a:gd name="connsiteY88" fmla="*/ 865053 h 1059940"/>
                <a:gd name="connsiteX89" fmla="*/ 385587 w 1132367"/>
                <a:gd name="connsiteY89" fmla="*/ 865644 h 1059940"/>
                <a:gd name="connsiteX90" fmla="*/ 385605 w 1132367"/>
                <a:gd name="connsiteY90" fmla="*/ 865053 h 1059940"/>
                <a:gd name="connsiteX91" fmla="*/ 220886 w 1132367"/>
                <a:gd name="connsiteY91" fmla="*/ 865053 h 1059940"/>
                <a:gd name="connsiteX92" fmla="*/ 303747 w 1132367"/>
                <a:gd name="connsiteY92" fmla="*/ 947915 h 1059940"/>
                <a:gd name="connsiteX93" fmla="*/ 318163 w 1132367"/>
                <a:gd name="connsiteY93" fmla="*/ 1019011 h 1059940"/>
                <a:gd name="connsiteX94" fmla="*/ 303748 w 1132367"/>
                <a:gd name="connsiteY94" fmla="*/ 1040719 h 1059940"/>
                <a:gd name="connsiteX95" fmla="*/ 282039 w 1132367"/>
                <a:gd name="connsiteY95" fmla="*/ 1055135 h 1059940"/>
                <a:gd name="connsiteX96" fmla="*/ 257345 w 1132367"/>
                <a:gd name="connsiteY96" fmla="*/ 1059940 h 105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132367" h="1059940">
                  <a:moveTo>
                    <a:pt x="303748" y="19220"/>
                  </a:moveTo>
                  <a:lnTo>
                    <a:pt x="303747" y="19219"/>
                  </a:lnTo>
                  <a:lnTo>
                    <a:pt x="303747" y="19219"/>
                  </a:lnTo>
                  <a:close/>
                  <a:moveTo>
                    <a:pt x="303747" y="496157"/>
                  </a:moveTo>
                  <a:lnTo>
                    <a:pt x="303747" y="496156"/>
                  </a:lnTo>
                  <a:lnTo>
                    <a:pt x="303748" y="496156"/>
                  </a:lnTo>
                  <a:close/>
                  <a:moveTo>
                    <a:pt x="303748" y="563783"/>
                  </a:moveTo>
                  <a:lnTo>
                    <a:pt x="303747" y="563782"/>
                  </a:lnTo>
                  <a:lnTo>
                    <a:pt x="303747" y="563782"/>
                  </a:lnTo>
                  <a:close/>
                  <a:moveTo>
                    <a:pt x="303747" y="1040720"/>
                  </a:moveTo>
                  <a:lnTo>
                    <a:pt x="303748" y="1040719"/>
                  </a:lnTo>
                  <a:lnTo>
                    <a:pt x="303748" y="1040719"/>
                  </a:lnTo>
                  <a:close/>
                  <a:moveTo>
                    <a:pt x="257345" y="1059940"/>
                  </a:moveTo>
                  <a:cubicBezTo>
                    <a:pt x="240551" y="1059940"/>
                    <a:pt x="223757" y="1053533"/>
                    <a:pt x="210943" y="1040719"/>
                  </a:cubicBezTo>
                  <a:lnTo>
                    <a:pt x="19221" y="848997"/>
                  </a:lnTo>
                  <a:cubicBezTo>
                    <a:pt x="6407" y="836183"/>
                    <a:pt x="0" y="819389"/>
                    <a:pt x="0" y="802595"/>
                  </a:cubicBezTo>
                  <a:lnTo>
                    <a:pt x="91" y="802126"/>
                  </a:lnTo>
                  <a:lnTo>
                    <a:pt x="0" y="801906"/>
                  </a:lnTo>
                  <a:lnTo>
                    <a:pt x="253" y="801296"/>
                  </a:lnTo>
                  <a:lnTo>
                    <a:pt x="4805" y="777901"/>
                  </a:lnTo>
                  <a:lnTo>
                    <a:pt x="18462" y="757334"/>
                  </a:lnTo>
                  <a:lnTo>
                    <a:pt x="19221" y="755503"/>
                  </a:lnTo>
                  <a:lnTo>
                    <a:pt x="210943" y="563783"/>
                  </a:lnTo>
                  <a:cubicBezTo>
                    <a:pt x="230164" y="544562"/>
                    <a:pt x="258341" y="539757"/>
                    <a:pt x="282039" y="549367"/>
                  </a:cubicBezTo>
                  <a:lnTo>
                    <a:pt x="303747" y="563782"/>
                  </a:lnTo>
                  <a:lnTo>
                    <a:pt x="322968" y="610184"/>
                  </a:lnTo>
                  <a:cubicBezTo>
                    <a:pt x="322968" y="626979"/>
                    <a:pt x="316561" y="643773"/>
                    <a:pt x="303747" y="656587"/>
                  </a:cubicBezTo>
                  <a:lnTo>
                    <a:pt x="226527" y="733807"/>
                  </a:lnTo>
                  <a:lnTo>
                    <a:pt x="389692" y="733808"/>
                  </a:lnTo>
                  <a:lnTo>
                    <a:pt x="389759" y="731663"/>
                  </a:lnTo>
                  <a:cubicBezTo>
                    <a:pt x="463396" y="733955"/>
                    <a:pt x="532552" y="696384"/>
                    <a:pt x="570704" y="633360"/>
                  </a:cubicBezTo>
                  <a:cubicBezTo>
                    <a:pt x="608856" y="570336"/>
                    <a:pt x="610080" y="491642"/>
                    <a:pt x="573908" y="427461"/>
                  </a:cubicBezTo>
                  <a:cubicBezTo>
                    <a:pt x="537736" y="363280"/>
                    <a:pt x="469782" y="323576"/>
                    <a:pt x="396109" y="323576"/>
                  </a:cubicBezTo>
                  <a:lnTo>
                    <a:pt x="396109" y="320490"/>
                  </a:lnTo>
                  <a:lnTo>
                    <a:pt x="220886" y="320490"/>
                  </a:lnTo>
                  <a:lnTo>
                    <a:pt x="303747" y="403352"/>
                  </a:lnTo>
                  <a:cubicBezTo>
                    <a:pt x="316561" y="416166"/>
                    <a:pt x="322968" y="432960"/>
                    <a:pt x="322968" y="449755"/>
                  </a:cubicBezTo>
                  <a:lnTo>
                    <a:pt x="303747" y="496156"/>
                  </a:lnTo>
                  <a:lnTo>
                    <a:pt x="282039" y="510572"/>
                  </a:lnTo>
                  <a:cubicBezTo>
                    <a:pt x="258341" y="520182"/>
                    <a:pt x="230164" y="515377"/>
                    <a:pt x="210943" y="496156"/>
                  </a:cubicBezTo>
                  <a:lnTo>
                    <a:pt x="19221" y="304434"/>
                  </a:lnTo>
                  <a:cubicBezTo>
                    <a:pt x="6407" y="291620"/>
                    <a:pt x="0" y="274826"/>
                    <a:pt x="0" y="258032"/>
                  </a:cubicBezTo>
                  <a:lnTo>
                    <a:pt x="143" y="257687"/>
                  </a:lnTo>
                  <a:lnTo>
                    <a:pt x="0" y="257343"/>
                  </a:lnTo>
                  <a:cubicBezTo>
                    <a:pt x="0" y="240548"/>
                    <a:pt x="6407" y="223754"/>
                    <a:pt x="19221" y="210940"/>
                  </a:cubicBezTo>
                  <a:lnTo>
                    <a:pt x="210943" y="19220"/>
                  </a:lnTo>
                  <a:cubicBezTo>
                    <a:pt x="230164" y="-1"/>
                    <a:pt x="258341" y="-4806"/>
                    <a:pt x="282039" y="4804"/>
                  </a:cubicBezTo>
                  <a:lnTo>
                    <a:pt x="303747" y="19219"/>
                  </a:lnTo>
                  <a:lnTo>
                    <a:pt x="322968" y="65621"/>
                  </a:lnTo>
                  <a:cubicBezTo>
                    <a:pt x="322968" y="82416"/>
                    <a:pt x="316561" y="99210"/>
                    <a:pt x="303747" y="112024"/>
                  </a:cubicBezTo>
                  <a:lnTo>
                    <a:pt x="226527" y="189244"/>
                  </a:lnTo>
                  <a:lnTo>
                    <a:pt x="416808" y="189245"/>
                  </a:lnTo>
                  <a:lnTo>
                    <a:pt x="440150" y="193957"/>
                  </a:lnTo>
                  <a:lnTo>
                    <a:pt x="463483" y="196303"/>
                  </a:lnTo>
                  <a:cubicBezTo>
                    <a:pt x="529289" y="209680"/>
                    <a:pt x="589535" y="242374"/>
                    <a:pt x="636537" y="289894"/>
                  </a:cubicBezTo>
                  <a:lnTo>
                    <a:pt x="668090" y="331708"/>
                  </a:lnTo>
                  <a:lnTo>
                    <a:pt x="693101" y="298430"/>
                  </a:lnTo>
                  <a:cubicBezTo>
                    <a:pt x="738623" y="249063"/>
                    <a:pt x="797790" y="214455"/>
                    <a:pt x="862784" y="198855"/>
                  </a:cubicBezTo>
                  <a:lnTo>
                    <a:pt x="895324" y="195521"/>
                  </a:lnTo>
                  <a:lnTo>
                    <a:pt x="895442" y="195442"/>
                  </a:lnTo>
                  <a:cubicBezTo>
                    <a:pt x="903293" y="192121"/>
                    <a:pt x="911924" y="190285"/>
                    <a:pt x="920985" y="190285"/>
                  </a:cubicBezTo>
                  <a:lnTo>
                    <a:pt x="946427" y="190285"/>
                  </a:lnTo>
                  <a:lnTo>
                    <a:pt x="952205" y="189693"/>
                  </a:lnTo>
                  <a:lnTo>
                    <a:pt x="952187" y="190285"/>
                  </a:lnTo>
                  <a:lnTo>
                    <a:pt x="1066744" y="190285"/>
                  </a:lnTo>
                  <a:cubicBezTo>
                    <a:pt x="1102987" y="190285"/>
                    <a:pt x="1132367" y="219665"/>
                    <a:pt x="1132367" y="255908"/>
                  </a:cubicBezTo>
                  <a:lnTo>
                    <a:pt x="1132366" y="255908"/>
                  </a:lnTo>
                  <a:cubicBezTo>
                    <a:pt x="1132366" y="292151"/>
                    <a:pt x="1102986" y="321531"/>
                    <a:pt x="1066743" y="321531"/>
                  </a:cubicBezTo>
                  <a:lnTo>
                    <a:pt x="948100" y="321530"/>
                  </a:lnTo>
                  <a:lnTo>
                    <a:pt x="948033" y="323674"/>
                  </a:lnTo>
                  <a:cubicBezTo>
                    <a:pt x="874396" y="321382"/>
                    <a:pt x="805240" y="358953"/>
                    <a:pt x="767088" y="421977"/>
                  </a:cubicBezTo>
                  <a:cubicBezTo>
                    <a:pt x="728936" y="485001"/>
                    <a:pt x="727712" y="563695"/>
                    <a:pt x="763884" y="627876"/>
                  </a:cubicBezTo>
                  <a:cubicBezTo>
                    <a:pt x="800056" y="692057"/>
                    <a:pt x="868010" y="731761"/>
                    <a:pt x="941683" y="731761"/>
                  </a:cubicBezTo>
                  <a:lnTo>
                    <a:pt x="941683" y="734848"/>
                  </a:lnTo>
                  <a:lnTo>
                    <a:pt x="1066744" y="734848"/>
                  </a:lnTo>
                  <a:cubicBezTo>
                    <a:pt x="1102987" y="734848"/>
                    <a:pt x="1132367" y="764228"/>
                    <a:pt x="1132367" y="800471"/>
                  </a:cubicBezTo>
                  <a:lnTo>
                    <a:pt x="1132366" y="800471"/>
                  </a:lnTo>
                  <a:cubicBezTo>
                    <a:pt x="1132366" y="836714"/>
                    <a:pt x="1102986" y="866094"/>
                    <a:pt x="1066743" y="866094"/>
                  </a:cubicBezTo>
                  <a:lnTo>
                    <a:pt x="920985" y="866093"/>
                  </a:lnTo>
                  <a:cubicBezTo>
                    <a:pt x="911924" y="866093"/>
                    <a:pt x="903293" y="864257"/>
                    <a:pt x="895442" y="860936"/>
                  </a:cubicBezTo>
                  <a:lnTo>
                    <a:pt x="892985" y="859280"/>
                  </a:lnTo>
                  <a:lnTo>
                    <a:pt x="852590" y="853866"/>
                  </a:lnTo>
                  <a:cubicBezTo>
                    <a:pt x="788114" y="836252"/>
                    <a:pt x="730052" y="799820"/>
                    <a:pt x="686088" y="749060"/>
                  </a:cubicBezTo>
                  <a:lnTo>
                    <a:pt x="668377" y="723901"/>
                  </a:lnTo>
                  <a:lnTo>
                    <a:pt x="629022" y="772810"/>
                  </a:lnTo>
                  <a:cubicBezTo>
                    <a:pt x="580564" y="818845"/>
                    <a:pt x="519330" y="849649"/>
                    <a:pt x="453139" y="860972"/>
                  </a:cubicBezTo>
                  <a:lnTo>
                    <a:pt x="428624" y="862667"/>
                  </a:lnTo>
                  <a:lnTo>
                    <a:pt x="416808" y="865053"/>
                  </a:lnTo>
                  <a:lnTo>
                    <a:pt x="394132" y="865053"/>
                  </a:lnTo>
                  <a:lnTo>
                    <a:pt x="385587" y="865644"/>
                  </a:lnTo>
                  <a:lnTo>
                    <a:pt x="385605" y="865053"/>
                  </a:lnTo>
                  <a:lnTo>
                    <a:pt x="220886" y="865053"/>
                  </a:lnTo>
                  <a:lnTo>
                    <a:pt x="303747" y="947915"/>
                  </a:lnTo>
                  <a:cubicBezTo>
                    <a:pt x="322968" y="967136"/>
                    <a:pt x="327773" y="995313"/>
                    <a:pt x="318163" y="1019011"/>
                  </a:cubicBezTo>
                  <a:lnTo>
                    <a:pt x="303748" y="1040719"/>
                  </a:lnTo>
                  <a:lnTo>
                    <a:pt x="282039" y="1055135"/>
                  </a:lnTo>
                  <a:cubicBezTo>
                    <a:pt x="274140" y="1058338"/>
                    <a:pt x="265743" y="1059940"/>
                    <a:pt x="257345" y="105994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22" name="Group 121"/>
          <p:cNvGrpSpPr>
            <a:grpSpLocks noChangeAspect="1"/>
          </p:cNvGrpSpPr>
          <p:nvPr/>
        </p:nvGrpSpPr>
        <p:grpSpPr>
          <a:xfrm>
            <a:off x="3874677" y="1601582"/>
            <a:ext cx="228600" cy="228600"/>
            <a:chOff x="5392201" y="130511"/>
            <a:chExt cx="308293" cy="308293"/>
          </a:xfrm>
        </p:grpSpPr>
        <p:sp>
          <p:nvSpPr>
            <p:cNvPr id="123" name="Oval 122"/>
            <p:cNvSpPr/>
            <p:nvPr/>
          </p:nvSpPr>
          <p:spPr>
            <a:xfrm>
              <a:off x="5392201" y="130511"/>
              <a:ext cx="308293" cy="30829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4" name="Freeform 123"/>
            <p:cNvSpPr/>
            <p:nvPr/>
          </p:nvSpPr>
          <p:spPr>
            <a:xfrm rot="10800000">
              <a:off x="5441556" y="188122"/>
              <a:ext cx="209581" cy="196176"/>
            </a:xfrm>
            <a:custGeom>
              <a:avLst/>
              <a:gdLst>
                <a:gd name="connsiteX0" fmla="*/ 303748 w 1132367"/>
                <a:gd name="connsiteY0" fmla="*/ 19220 h 1059940"/>
                <a:gd name="connsiteX1" fmla="*/ 303747 w 1132367"/>
                <a:gd name="connsiteY1" fmla="*/ 19219 h 1059940"/>
                <a:gd name="connsiteX2" fmla="*/ 303747 w 1132367"/>
                <a:gd name="connsiteY2" fmla="*/ 19219 h 1059940"/>
                <a:gd name="connsiteX3" fmla="*/ 303747 w 1132367"/>
                <a:gd name="connsiteY3" fmla="*/ 496157 h 1059940"/>
                <a:gd name="connsiteX4" fmla="*/ 303747 w 1132367"/>
                <a:gd name="connsiteY4" fmla="*/ 496156 h 1059940"/>
                <a:gd name="connsiteX5" fmla="*/ 303748 w 1132367"/>
                <a:gd name="connsiteY5" fmla="*/ 496156 h 1059940"/>
                <a:gd name="connsiteX6" fmla="*/ 303748 w 1132367"/>
                <a:gd name="connsiteY6" fmla="*/ 563783 h 1059940"/>
                <a:gd name="connsiteX7" fmla="*/ 303747 w 1132367"/>
                <a:gd name="connsiteY7" fmla="*/ 563782 h 1059940"/>
                <a:gd name="connsiteX8" fmla="*/ 303747 w 1132367"/>
                <a:gd name="connsiteY8" fmla="*/ 563782 h 1059940"/>
                <a:gd name="connsiteX9" fmla="*/ 303747 w 1132367"/>
                <a:gd name="connsiteY9" fmla="*/ 1040720 h 1059940"/>
                <a:gd name="connsiteX10" fmla="*/ 303748 w 1132367"/>
                <a:gd name="connsiteY10" fmla="*/ 1040719 h 1059940"/>
                <a:gd name="connsiteX11" fmla="*/ 303748 w 1132367"/>
                <a:gd name="connsiteY11" fmla="*/ 1040719 h 1059940"/>
                <a:gd name="connsiteX12" fmla="*/ 257345 w 1132367"/>
                <a:gd name="connsiteY12" fmla="*/ 1059940 h 1059940"/>
                <a:gd name="connsiteX13" fmla="*/ 210943 w 1132367"/>
                <a:gd name="connsiteY13" fmla="*/ 1040719 h 1059940"/>
                <a:gd name="connsiteX14" fmla="*/ 19221 w 1132367"/>
                <a:gd name="connsiteY14" fmla="*/ 848997 h 1059940"/>
                <a:gd name="connsiteX15" fmla="*/ 0 w 1132367"/>
                <a:gd name="connsiteY15" fmla="*/ 802595 h 1059940"/>
                <a:gd name="connsiteX16" fmla="*/ 91 w 1132367"/>
                <a:gd name="connsiteY16" fmla="*/ 802126 h 1059940"/>
                <a:gd name="connsiteX17" fmla="*/ 0 w 1132367"/>
                <a:gd name="connsiteY17" fmla="*/ 801906 h 1059940"/>
                <a:gd name="connsiteX18" fmla="*/ 253 w 1132367"/>
                <a:gd name="connsiteY18" fmla="*/ 801296 h 1059940"/>
                <a:gd name="connsiteX19" fmla="*/ 4805 w 1132367"/>
                <a:gd name="connsiteY19" fmla="*/ 777901 h 1059940"/>
                <a:gd name="connsiteX20" fmla="*/ 18462 w 1132367"/>
                <a:gd name="connsiteY20" fmla="*/ 757334 h 1059940"/>
                <a:gd name="connsiteX21" fmla="*/ 19221 w 1132367"/>
                <a:gd name="connsiteY21" fmla="*/ 755503 h 1059940"/>
                <a:gd name="connsiteX22" fmla="*/ 210943 w 1132367"/>
                <a:gd name="connsiteY22" fmla="*/ 563783 h 1059940"/>
                <a:gd name="connsiteX23" fmla="*/ 282039 w 1132367"/>
                <a:gd name="connsiteY23" fmla="*/ 549367 h 1059940"/>
                <a:gd name="connsiteX24" fmla="*/ 303747 w 1132367"/>
                <a:gd name="connsiteY24" fmla="*/ 563782 h 1059940"/>
                <a:gd name="connsiteX25" fmla="*/ 322968 w 1132367"/>
                <a:gd name="connsiteY25" fmla="*/ 610184 h 1059940"/>
                <a:gd name="connsiteX26" fmla="*/ 303747 w 1132367"/>
                <a:gd name="connsiteY26" fmla="*/ 656587 h 1059940"/>
                <a:gd name="connsiteX27" fmla="*/ 226527 w 1132367"/>
                <a:gd name="connsiteY27" fmla="*/ 733807 h 1059940"/>
                <a:gd name="connsiteX28" fmla="*/ 389692 w 1132367"/>
                <a:gd name="connsiteY28" fmla="*/ 733808 h 1059940"/>
                <a:gd name="connsiteX29" fmla="*/ 389759 w 1132367"/>
                <a:gd name="connsiteY29" fmla="*/ 731663 h 1059940"/>
                <a:gd name="connsiteX30" fmla="*/ 570704 w 1132367"/>
                <a:gd name="connsiteY30" fmla="*/ 633360 h 1059940"/>
                <a:gd name="connsiteX31" fmla="*/ 573908 w 1132367"/>
                <a:gd name="connsiteY31" fmla="*/ 427461 h 1059940"/>
                <a:gd name="connsiteX32" fmla="*/ 396109 w 1132367"/>
                <a:gd name="connsiteY32" fmla="*/ 323576 h 1059940"/>
                <a:gd name="connsiteX33" fmla="*/ 396109 w 1132367"/>
                <a:gd name="connsiteY33" fmla="*/ 320490 h 1059940"/>
                <a:gd name="connsiteX34" fmla="*/ 220886 w 1132367"/>
                <a:gd name="connsiteY34" fmla="*/ 320490 h 1059940"/>
                <a:gd name="connsiteX35" fmla="*/ 303747 w 1132367"/>
                <a:gd name="connsiteY35" fmla="*/ 403352 h 1059940"/>
                <a:gd name="connsiteX36" fmla="*/ 322968 w 1132367"/>
                <a:gd name="connsiteY36" fmla="*/ 449755 h 1059940"/>
                <a:gd name="connsiteX37" fmla="*/ 303747 w 1132367"/>
                <a:gd name="connsiteY37" fmla="*/ 496156 h 1059940"/>
                <a:gd name="connsiteX38" fmla="*/ 282039 w 1132367"/>
                <a:gd name="connsiteY38" fmla="*/ 510572 h 1059940"/>
                <a:gd name="connsiteX39" fmla="*/ 210943 w 1132367"/>
                <a:gd name="connsiteY39" fmla="*/ 496156 h 1059940"/>
                <a:gd name="connsiteX40" fmla="*/ 19221 w 1132367"/>
                <a:gd name="connsiteY40" fmla="*/ 304434 h 1059940"/>
                <a:gd name="connsiteX41" fmla="*/ 0 w 1132367"/>
                <a:gd name="connsiteY41" fmla="*/ 258032 h 1059940"/>
                <a:gd name="connsiteX42" fmla="*/ 143 w 1132367"/>
                <a:gd name="connsiteY42" fmla="*/ 257687 h 1059940"/>
                <a:gd name="connsiteX43" fmla="*/ 0 w 1132367"/>
                <a:gd name="connsiteY43" fmla="*/ 257343 h 1059940"/>
                <a:gd name="connsiteX44" fmla="*/ 19221 w 1132367"/>
                <a:gd name="connsiteY44" fmla="*/ 210940 h 1059940"/>
                <a:gd name="connsiteX45" fmla="*/ 210943 w 1132367"/>
                <a:gd name="connsiteY45" fmla="*/ 19220 h 1059940"/>
                <a:gd name="connsiteX46" fmla="*/ 282039 w 1132367"/>
                <a:gd name="connsiteY46" fmla="*/ 4804 h 1059940"/>
                <a:gd name="connsiteX47" fmla="*/ 303747 w 1132367"/>
                <a:gd name="connsiteY47" fmla="*/ 19219 h 1059940"/>
                <a:gd name="connsiteX48" fmla="*/ 322968 w 1132367"/>
                <a:gd name="connsiteY48" fmla="*/ 65621 h 1059940"/>
                <a:gd name="connsiteX49" fmla="*/ 303747 w 1132367"/>
                <a:gd name="connsiteY49" fmla="*/ 112024 h 1059940"/>
                <a:gd name="connsiteX50" fmla="*/ 226527 w 1132367"/>
                <a:gd name="connsiteY50" fmla="*/ 189244 h 1059940"/>
                <a:gd name="connsiteX51" fmla="*/ 416808 w 1132367"/>
                <a:gd name="connsiteY51" fmla="*/ 189245 h 1059940"/>
                <a:gd name="connsiteX52" fmla="*/ 440150 w 1132367"/>
                <a:gd name="connsiteY52" fmla="*/ 193957 h 1059940"/>
                <a:gd name="connsiteX53" fmla="*/ 463483 w 1132367"/>
                <a:gd name="connsiteY53" fmla="*/ 196303 h 1059940"/>
                <a:gd name="connsiteX54" fmla="*/ 636537 w 1132367"/>
                <a:gd name="connsiteY54" fmla="*/ 289894 h 1059940"/>
                <a:gd name="connsiteX55" fmla="*/ 668090 w 1132367"/>
                <a:gd name="connsiteY55" fmla="*/ 331708 h 1059940"/>
                <a:gd name="connsiteX56" fmla="*/ 693101 w 1132367"/>
                <a:gd name="connsiteY56" fmla="*/ 298430 h 1059940"/>
                <a:gd name="connsiteX57" fmla="*/ 862784 w 1132367"/>
                <a:gd name="connsiteY57" fmla="*/ 198855 h 1059940"/>
                <a:gd name="connsiteX58" fmla="*/ 895324 w 1132367"/>
                <a:gd name="connsiteY58" fmla="*/ 195521 h 1059940"/>
                <a:gd name="connsiteX59" fmla="*/ 895442 w 1132367"/>
                <a:gd name="connsiteY59" fmla="*/ 195442 h 1059940"/>
                <a:gd name="connsiteX60" fmla="*/ 920985 w 1132367"/>
                <a:gd name="connsiteY60" fmla="*/ 190285 h 1059940"/>
                <a:gd name="connsiteX61" fmla="*/ 946427 w 1132367"/>
                <a:gd name="connsiteY61" fmla="*/ 190285 h 1059940"/>
                <a:gd name="connsiteX62" fmla="*/ 952205 w 1132367"/>
                <a:gd name="connsiteY62" fmla="*/ 189693 h 1059940"/>
                <a:gd name="connsiteX63" fmla="*/ 952187 w 1132367"/>
                <a:gd name="connsiteY63" fmla="*/ 190285 h 1059940"/>
                <a:gd name="connsiteX64" fmla="*/ 1066744 w 1132367"/>
                <a:gd name="connsiteY64" fmla="*/ 190285 h 1059940"/>
                <a:gd name="connsiteX65" fmla="*/ 1132367 w 1132367"/>
                <a:gd name="connsiteY65" fmla="*/ 255908 h 1059940"/>
                <a:gd name="connsiteX66" fmla="*/ 1132366 w 1132367"/>
                <a:gd name="connsiteY66" fmla="*/ 255908 h 1059940"/>
                <a:gd name="connsiteX67" fmla="*/ 1066743 w 1132367"/>
                <a:gd name="connsiteY67" fmla="*/ 321531 h 1059940"/>
                <a:gd name="connsiteX68" fmla="*/ 948100 w 1132367"/>
                <a:gd name="connsiteY68" fmla="*/ 321530 h 1059940"/>
                <a:gd name="connsiteX69" fmla="*/ 948033 w 1132367"/>
                <a:gd name="connsiteY69" fmla="*/ 323674 h 1059940"/>
                <a:gd name="connsiteX70" fmla="*/ 767088 w 1132367"/>
                <a:gd name="connsiteY70" fmla="*/ 421977 h 1059940"/>
                <a:gd name="connsiteX71" fmla="*/ 763884 w 1132367"/>
                <a:gd name="connsiteY71" fmla="*/ 627876 h 1059940"/>
                <a:gd name="connsiteX72" fmla="*/ 941683 w 1132367"/>
                <a:gd name="connsiteY72" fmla="*/ 731761 h 1059940"/>
                <a:gd name="connsiteX73" fmla="*/ 941683 w 1132367"/>
                <a:gd name="connsiteY73" fmla="*/ 734848 h 1059940"/>
                <a:gd name="connsiteX74" fmla="*/ 1066744 w 1132367"/>
                <a:gd name="connsiteY74" fmla="*/ 734848 h 1059940"/>
                <a:gd name="connsiteX75" fmla="*/ 1132367 w 1132367"/>
                <a:gd name="connsiteY75" fmla="*/ 800471 h 1059940"/>
                <a:gd name="connsiteX76" fmla="*/ 1132366 w 1132367"/>
                <a:gd name="connsiteY76" fmla="*/ 800471 h 1059940"/>
                <a:gd name="connsiteX77" fmla="*/ 1066743 w 1132367"/>
                <a:gd name="connsiteY77" fmla="*/ 866094 h 1059940"/>
                <a:gd name="connsiteX78" fmla="*/ 920985 w 1132367"/>
                <a:gd name="connsiteY78" fmla="*/ 866093 h 1059940"/>
                <a:gd name="connsiteX79" fmla="*/ 895442 w 1132367"/>
                <a:gd name="connsiteY79" fmla="*/ 860936 h 1059940"/>
                <a:gd name="connsiteX80" fmla="*/ 892985 w 1132367"/>
                <a:gd name="connsiteY80" fmla="*/ 859280 h 1059940"/>
                <a:gd name="connsiteX81" fmla="*/ 852590 w 1132367"/>
                <a:gd name="connsiteY81" fmla="*/ 853866 h 1059940"/>
                <a:gd name="connsiteX82" fmla="*/ 686088 w 1132367"/>
                <a:gd name="connsiteY82" fmla="*/ 749060 h 1059940"/>
                <a:gd name="connsiteX83" fmla="*/ 668377 w 1132367"/>
                <a:gd name="connsiteY83" fmla="*/ 723901 h 1059940"/>
                <a:gd name="connsiteX84" fmla="*/ 629022 w 1132367"/>
                <a:gd name="connsiteY84" fmla="*/ 772810 h 1059940"/>
                <a:gd name="connsiteX85" fmla="*/ 453139 w 1132367"/>
                <a:gd name="connsiteY85" fmla="*/ 860972 h 1059940"/>
                <a:gd name="connsiteX86" fmla="*/ 428624 w 1132367"/>
                <a:gd name="connsiteY86" fmla="*/ 862667 h 1059940"/>
                <a:gd name="connsiteX87" fmla="*/ 416808 w 1132367"/>
                <a:gd name="connsiteY87" fmla="*/ 865053 h 1059940"/>
                <a:gd name="connsiteX88" fmla="*/ 394132 w 1132367"/>
                <a:gd name="connsiteY88" fmla="*/ 865053 h 1059940"/>
                <a:gd name="connsiteX89" fmla="*/ 385587 w 1132367"/>
                <a:gd name="connsiteY89" fmla="*/ 865644 h 1059940"/>
                <a:gd name="connsiteX90" fmla="*/ 385605 w 1132367"/>
                <a:gd name="connsiteY90" fmla="*/ 865053 h 1059940"/>
                <a:gd name="connsiteX91" fmla="*/ 220886 w 1132367"/>
                <a:gd name="connsiteY91" fmla="*/ 865053 h 1059940"/>
                <a:gd name="connsiteX92" fmla="*/ 303747 w 1132367"/>
                <a:gd name="connsiteY92" fmla="*/ 947915 h 1059940"/>
                <a:gd name="connsiteX93" fmla="*/ 318163 w 1132367"/>
                <a:gd name="connsiteY93" fmla="*/ 1019011 h 1059940"/>
                <a:gd name="connsiteX94" fmla="*/ 303748 w 1132367"/>
                <a:gd name="connsiteY94" fmla="*/ 1040719 h 1059940"/>
                <a:gd name="connsiteX95" fmla="*/ 282039 w 1132367"/>
                <a:gd name="connsiteY95" fmla="*/ 1055135 h 1059940"/>
                <a:gd name="connsiteX96" fmla="*/ 257345 w 1132367"/>
                <a:gd name="connsiteY96" fmla="*/ 1059940 h 105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132367" h="1059940">
                  <a:moveTo>
                    <a:pt x="303748" y="19220"/>
                  </a:moveTo>
                  <a:lnTo>
                    <a:pt x="303747" y="19219"/>
                  </a:lnTo>
                  <a:lnTo>
                    <a:pt x="303747" y="19219"/>
                  </a:lnTo>
                  <a:close/>
                  <a:moveTo>
                    <a:pt x="303747" y="496157"/>
                  </a:moveTo>
                  <a:lnTo>
                    <a:pt x="303747" y="496156"/>
                  </a:lnTo>
                  <a:lnTo>
                    <a:pt x="303748" y="496156"/>
                  </a:lnTo>
                  <a:close/>
                  <a:moveTo>
                    <a:pt x="303748" y="563783"/>
                  </a:moveTo>
                  <a:lnTo>
                    <a:pt x="303747" y="563782"/>
                  </a:lnTo>
                  <a:lnTo>
                    <a:pt x="303747" y="563782"/>
                  </a:lnTo>
                  <a:close/>
                  <a:moveTo>
                    <a:pt x="303747" y="1040720"/>
                  </a:moveTo>
                  <a:lnTo>
                    <a:pt x="303748" y="1040719"/>
                  </a:lnTo>
                  <a:lnTo>
                    <a:pt x="303748" y="1040719"/>
                  </a:lnTo>
                  <a:close/>
                  <a:moveTo>
                    <a:pt x="257345" y="1059940"/>
                  </a:moveTo>
                  <a:cubicBezTo>
                    <a:pt x="240551" y="1059940"/>
                    <a:pt x="223757" y="1053533"/>
                    <a:pt x="210943" y="1040719"/>
                  </a:cubicBezTo>
                  <a:lnTo>
                    <a:pt x="19221" y="848997"/>
                  </a:lnTo>
                  <a:cubicBezTo>
                    <a:pt x="6407" y="836183"/>
                    <a:pt x="0" y="819389"/>
                    <a:pt x="0" y="802595"/>
                  </a:cubicBezTo>
                  <a:lnTo>
                    <a:pt x="91" y="802126"/>
                  </a:lnTo>
                  <a:lnTo>
                    <a:pt x="0" y="801906"/>
                  </a:lnTo>
                  <a:lnTo>
                    <a:pt x="253" y="801296"/>
                  </a:lnTo>
                  <a:lnTo>
                    <a:pt x="4805" y="777901"/>
                  </a:lnTo>
                  <a:lnTo>
                    <a:pt x="18462" y="757334"/>
                  </a:lnTo>
                  <a:lnTo>
                    <a:pt x="19221" y="755503"/>
                  </a:lnTo>
                  <a:lnTo>
                    <a:pt x="210943" y="563783"/>
                  </a:lnTo>
                  <a:cubicBezTo>
                    <a:pt x="230164" y="544562"/>
                    <a:pt x="258341" y="539757"/>
                    <a:pt x="282039" y="549367"/>
                  </a:cubicBezTo>
                  <a:lnTo>
                    <a:pt x="303747" y="563782"/>
                  </a:lnTo>
                  <a:lnTo>
                    <a:pt x="322968" y="610184"/>
                  </a:lnTo>
                  <a:cubicBezTo>
                    <a:pt x="322968" y="626979"/>
                    <a:pt x="316561" y="643773"/>
                    <a:pt x="303747" y="656587"/>
                  </a:cubicBezTo>
                  <a:lnTo>
                    <a:pt x="226527" y="733807"/>
                  </a:lnTo>
                  <a:lnTo>
                    <a:pt x="389692" y="733808"/>
                  </a:lnTo>
                  <a:lnTo>
                    <a:pt x="389759" y="731663"/>
                  </a:lnTo>
                  <a:cubicBezTo>
                    <a:pt x="463396" y="733955"/>
                    <a:pt x="532552" y="696384"/>
                    <a:pt x="570704" y="633360"/>
                  </a:cubicBezTo>
                  <a:cubicBezTo>
                    <a:pt x="608856" y="570336"/>
                    <a:pt x="610080" y="491642"/>
                    <a:pt x="573908" y="427461"/>
                  </a:cubicBezTo>
                  <a:cubicBezTo>
                    <a:pt x="537736" y="363280"/>
                    <a:pt x="469782" y="323576"/>
                    <a:pt x="396109" y="323576"/>
                  </a:cubicBezTo>
                  <a:lnTo>
                    <a:pt x="396109" y="320490"/>
                  </a:lnTo>
                  <a:lnTo>
                    <a:pt x="220886" y="320490"/>
                  </a:lnTo>
                  <a:lnTo>
                    <a:pt x="303747" y="403352"/>
                  </a:lnTo>
                  <a:cubicBezTo>
                    <a:pt x="316561" y="416166"/>
                    <a:pt x="322968" y="432960"/>
                    <a:pt x="322968" y="449755"/>
                  </a:cubicBezTo>
                  <a:lnTo>
                    <a:pt x="303747" y="496156"/>
                  </a:lnTo>
                  <a:lnTo>
                    <a:pt x="282039" y="510572"/>
                  </a:lnTo>
                  <a:cubicBezTo>
                    <a:pt x="258341" y="520182"/>
                    <a:pt x="230164" y="515377"/>
                    <a:pt x="210943" y="496156"/>
                  </a:cubicBezTo>
                  <a:lnTo>
                    <a:pt x="19221" y="304434"/>
                  </a:lnTo>
                  <a:cubicBezTo>
                    <a:pt x="6407" y="291620"/>
                    <a:pt x="0" y="274826"/>
                    <a:pt x="0" y="258032"/>
                  </a:cubicBezTo>
                  <a:lnTo>
                    <a:pt x="143" y="257687"/>
                  </a:lnTo>
                  <a:lnTo>
                    <a:pt x="0" y="257343"/>
                  </a:lnTo>
                  <a:cubicBezTo>
                    <a:pt x="0" y="240548"/>
                    <a:pt x="6407" y="223754"/>
                    <a:pt x="19221" y="210940"/>
                  </a:cubicBezTo>
                  <a:lnTo>
                    <a:pt x="210943" y="19220"/>
                  </a:lnTo>
                  <a:cubicBezTo>
                    <a:pt x="230164" y="-1"/>
                    <a:pt x="258341" y="-4806"/>
                    <a:pt x="282039" y="4804"/>
                  </a:cubicBezTo>
                  <a:lnTo>
                    <a:pt x="303747" y="19219"/>
                  </a:lnTo>
                  <a:lnTo>
                    <a:pt x="322968" y="65621"/>
                  </a:lnTo>
                  <a:cubicBezTo>
                    <a:pt x="322968" y="82416"/>
                    <a:pt x="316561" y="99210"/>
                    <a:pt x="303747" y="112024"/>
                  </a:cubicBezTo>
                  <a:lnTo>
                    <a:pt x="226527" y="189244"/>
                  </a:lnTo>
                  <a:lnTo>
                    <a:pt x="416808" y="189245"/>
                  </a:lnTo>
                  <a:lnTo>
                    <a:pt x="440150" y="193957"/>
                  </a:lnTo>
                  <a:lnTo>
                    <a:pt x="463483" y="196303"/>
                  </a:lnTo>
                  <a:cubicBezTo>
                    <a:pt x="529289" y="209680"/>
                    <a:pt x="589535" y="242374"/>
                    <a:pt x="636537" y="289894"/>
                  </a:cubicBezTo>
                  <a:lnTo>
                    <a:pt x="668090" y="331708"/>
                  </a:lnTo>
                  <a:lnTo>
                    <a:pt x="693101" y="298430"/>
                  </a:lnTo>
                  <a:cubicBezTo>
                    <a:pt x="738623" y="249063"/>
                    <a:pt x="797790" y="214455"/>
                    <a:pt x="862784" y="198855"/>
                  </a:cubicBezTo>
                  <a:lnTo>
                    <a:pt x="895324" y="195521"/>
                  </a:lnTo>
                  <a:lnTo>
                    <a:pt x="895442" y="195442"/>
                  </a:lnTo>
                  <a:cubicBezTo>
                    <a:pt x="903293" y="192121"/>
                    <a:pt x="911924" y="190285"/>
                    <a:pt x="920985" y="190285"/>
                  </a:cubicBezTo>
                  <a:lnTo>
                    <a:pt x="946427" y="190285"/>
                  </a:lnTo>
                  <a:lnTo>
                    <a:pt x="952205" y="189693"/>
                  </a:lnTo>
                  <a:lnTo>
                    <a:pt x="952187" y="190285"/>
                  </a:lnTo>
                  <a:lnTo>
                    <a:pt x="1066744" y="190285"/>
                  </a:lnTo>
                  <a:cubicBezTo>
                    <a:pt x="1102987" y="190285"/>
                    <a:pt x="1132367" y="219665"/>
                    <a:pt x="1132367" y="255908"/>
                  </a:cubicBezTo>
                  <a:lnTo>
                    <a:pt x="1132366" y="255908"/>
                  </a:lnTo>
                  <a:cubicBezTo>
                    <a:pt x="1132366" y="292151"/>
                    <a:pt x="1102986" y="321531"/>
                    <a:pt x="1066743" y="321531"/>
                  </a:cubicBezTo>
                  <a:lnTo>
                    <a:pt x="948100" y="321530"/>
                  </a:lnTo>
                  <a:lnTo>
                    <a:pt x="948033" y="323674"/>
                  </a:lnTo>
                  <a:cubicBezTo>
                    <a:pt x="874396" y="321382"/>
                    <a:pt x="805240" y="358953"/>
                    <a:pt x="767088" y="421977"/>
                  </a:cubicBezTo>
                  <a:cubicBezTo>
                    <a:pt x="728936" y="485001"/>
                    <a:pt x="727712" y="563695"/>
                    <a:pt x="763884" y="627876"/>
                  </a:cubicBezTo>
                  <a:cubicBezTo>
                    <a:pt x="800056" y="692057"/>
                    <a:pt x="868010" y="731761"/>
                    <a:pt x="941683" y="731761"/>
                  </a:cubicBezTo>
                  <a:lnTo>
                    <a:pt x="941683" y="734848"/>
                  </a:lnTo>
                  <a:lnTo>
                    <a:pt x="1066744" y="734848"/>
                  </a:lnTo>
                  <a:cubicBezTo>
                    <a:pt x="1102987" y="734848"/>
                    <a:pt x="1132367" y="764228"/>
                    <a:pt x="1132367" y="800471"/>
                  </a:cubicBezTo>
                  <a:lnTo>
                    <a:pt x="1132366" y="800471"/>
                  </a:lnTo>
                  <a:cubicBezTo>
                    <a:pt x="1132366" y="836714"/>
                    <a:pt x="1102986" y="866094"/>
                    <a:pt x="1066743" y="866094"/>
                  </a:cubicBezTo>
                  <a:lnTo>
                    <a:pt x="920985" y="866093"/>
                  </a:lnTo>
                  <a:cubicBezTo>
                    <a:pt x="911924" y="866093"/>
                    <a:pt x="903293" y="864257"/>
                    <a:pt x="895442" y="860936"/>
                  </a:cubicBezTo>
                  <a:lnTo>
                    <a:pt x="892985" y="859280"/>
                  </a:lnTo>
                  <a:lnTo>
                    <a:pt x="852590" y="853866"/>
                  </a:lnTo>
                  <a:cubicBezTo>
                    <a:pt x="788114" y="836252"/>
                    <a:pt x="730052" y="799820"/>
                    <a:pt x="686088" y="749060"/>
                  </a:cubicBezTo>
                  <a:lnTo>
                    <a:pt x="668377" y="723901"/>
                  </a:lnTo>
                  <a:lnTo>
                    <a:pt x="629022" y="772810"/>
                  </a:lnTo>
                  <a:cubicBezTo>
                    <a:pt x="580564" y="818845"/>
                    <a:pt x="519330" y="849649"/>
                    <a:pt x="453139" y="860972"/>
                  </a:cubicBezTo>
                  <a:lnTo>
                    <a:pt x="428624" y="862667"/>
                  </a:lnTo>
                  <a:lnTo>
                    <a:pt x="416808" y="865053"/>
                  </a:lnTo>
                  <a:lnTo>
                    <a:pt x="394132" y="865053"/>
                  </a:lnTo>
                  <a:lnTo>
                    <a:pt x="385587" y="865644"/>
                  </a:lnTo>
                  <a:lnTo>
                    <a:pt x="385605" y="865053"/>
                  </a:lnTo>
                  <a:lnTo>
                    <a:pt x="220886" y="865053"/>
                  </a:lnTo>
                  <a:lnTo>
                    <a:pt x="303747" y="947915"/>
                  </a:lnTo>
                  <a:cubicBezTo>
                    <a:pt x="322968" y="967136"/>
                    <a:pt x="327773" y="995313"/>
                    <a:pt x="318163" y="1019011"/>
                  </a:cubicBezTo>
                  <a:lnTo>
                    <a:pt x="303748" y="1040719"/>
                  </a:lnTo>
                  <a:lnTo>
                    <a:pt x="282039" y="1055135"/>
                  </a:lnTo>
                  <a:cubicBezTo>
                    <a:pt x="274140" y="1058338"/>
                    <a:pt x="265743" y="1059940"/>
                    <a:pt x="257345" y="105994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25" name="Group 124"/>
          <p:cNvGrpSpPr>
            <a:grpSpLocks noChangeAspect="1"/>
          </p:cNvGrpSpPr>
          <p:nvPr/>
        </p:nvGrpSpPr>
        <p:grpSpPr>
          <a:xfrm>
            <a:off x="5413683" y="1601582"/>
            <a:ext cx="228600" cy="228600"/>
            <a:chOff x="5392201" y="130511"/>
            <a:chExt cx="308293" cy="308293"/>
          </a:xfrm>
        </p:grpSpPr>
        <p:sp>
          <p:nvSpPr>
            <p:cNvPr id="126" name="Oval 125"/>
            <p:cNvSpPr/>
            <p:nvPr/>
          </p:nvSpPr>
          <p:spPr>
            <a:xfrm>
              <a:off x="5392201" y="130511"/>
              <a:ext cx="308293" cy="30829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7" name="Freeform 126"/>
            <p:cNvSpPr/>
            <p:nvPr/>
          </p:nvSpPr>
          <p:spPr>
            <a:xfrm rot="10800000">
              <a:off x="5441556" y="188122"/>
              <a:ext cx="209581" cy="196176"/>
            </a:xfrm>
            <a:custGeom>
              <a:avLst/>
              <a:gdLst>
                <a:gd name="connsiteX0" fmla="*/ 303748 w 1132367"/>
                <a:gd name="connsiteY0" fmla="*/ 19220 h 1059940"/>
                <a:gd name="connsiteX1" fmla="*/ 303747 w 1132367"/>
                <a:gd name="connsiteY1" fmla="*/ 19219 h 1059940"/>
                <a:gd name="connsiteX2" fmla="*/ 303747 w 1132367"/>
                <a:gd name="connsiteY2" fmla="*/ 19219 h 1059940"/>
                <a:gd name="connsiteX3" fmla="*/ 303747 w 1132367"/>
                <a:gd name="connsiteY3" fmla="*/ 496157 h 1059940"/>
                <a:gd name="connsiteX4" fmla="*/ 303747 w 1132367"/>
                <a:gd name="connsiteY4" fmla="*/ 496156 h 1059940"/>
                <a:gd name="connsiteX5" fmla="*/ 303748 w 1132367"/>
                <a:gd name="connsiteY5" fmla="*/ 496156 h 1059940"/>
                <a:gd name="connsiteX6" fmla="*/ 303748 w 1132367"/>
                <a:gd name="connsiteY6" fmla="*/ 563783 h 1059940"/>
                <a:gd name="connsiteX7" fmla="*/ 303747 w 1132367"/>
                <a:gd name="connsiteY7" fmla="*/ 563782 h 1059940"/>
                <a:gd name="connsiteX8" fmla="*/ 303747 w 1132367"/>
                <a:gd name="connsiteY8" fmla="*/ 563782 h 1059940"/>
                <a:gd name="connsiteX9" fmla="*/ 303747 w 1132367"/>
                <a:gd name="connsiteY9" fmla="*/ 1040720 h 1059940"/>
                <a:gd name="connsiteX10" fmla="*/ 303748 w 1132367"/>
                <a:gd name="connsiteY10" fmla="*/ 1040719 h 1059940"/>
                <a:gd name="connsiteX11" fmla="*/ 303748 w 1132367"/>
                <a:gd name="connsiteY11" fmla="*/ 1040719 h 1059940"/>
                <a:gd name="connsiteX12" fmla="*/ 257345 w 1132367"/>
                <a:gd name="connsiteY12" fmla="*/ 1059940 h 1059940"/>
                <a:gd name="connsiteX13" fmla="*/ 210943 w 1132367"/>
                <a:gd name="connsiteY13" fmla="*/ 1040719 h 1059940"/>
                <a:gd name="connsiteX14" fmla="*/ 19221 w 1132367"/>
                <a:gd name="connsiteY14" fmla="*/ 848997 h 1059940"/>
                <a:gd name="connsiteX15" fmla="*/ 0 w 1132367"/>
                <a:gd name="connsiteY15" fmla="*/ 802595 h 1059940"/>
                <a:gd name="connsiteX16" fmla="*/ 91 w 1132367"/>
                <a:gd name="connsiteY16" fmla="*/ 802126 h 1059940"/>
                <a:gd name="connsiteX17" fmla="*/ 0 w 1132367"/>
                <a:gd name="connsiteY17" fmla="*/ 801906 h 1059940"/>
                <a:gd name="connsiteX18" fmla="*/ 253 w 1132367"/>
                <a:gd name="connsiteY18" fmla="*/ 801296 h 1059940"/>
                <a:gd name="connsiteX19" fmla="*/ 4805 w 1132367"/>
                <a:gd name="connsiteY19" fmla="*/ 777901 h 1059940"/>
                <a:gd name="connsiteX20" fmla="*/ 18462 w 1132367"/>
                <a:gd name="connsiteY20" fmla="*/ 757334 h 1059940"/>
                <a:gd name="connsiteX21" fmla="*/ 19221 w 1132367"/>
                <a:gd name="connsiteY21" fmla="*/ 755503 h 1059940"/>
                <a:gd name="connsiteX22" fmla="*/ 210943 w 1132367"/>
                <a:gd name="connsiteY22" fmla="*/ 563783 h 1059940"/>
                <a:gd name="connsiteX23" fmla="*/ 282039 w 1132367"/>
                <a:gd name="connsiteY23" fmla="*/ 549367 h 1059940"/>
                <a:gd name="connsiteX24" fmla="*/ 303747 w 1132367"/>
                <a:gd name="connsiteY24" fmla="*/ 563782 h 1059940"/>
                <a:gd name="connsiteX25" fmla="*/ 322968 w 1132367"/>
                <a:gd name="connsiteY25" fmla="*/ 610184 h 1059940"/>
                <a:gd name="connsiteX26" fmla="*/ 303747 w 1132367"/>
                <a:gd name="connsiteY26" fmla="*/ 656587 h 1059940"/>
                <a:gd name="connsiteX27" fmla="*/ 226527 w 1132367"/>
                <a:gd name="connsiteY27" fmla="*/ 733807 h 1059940"/>
                <a:gd name="connsiteX28" fmla="*/ 389692 w 1132367"/>
                <a:gd name="connsiteY28" fmla="*/ 733808 h 1059940"/>
                <a:gd name="connsiteX29" fmla="*/ 389759 w 1132367"/>
                <a:gd name="connsiteY29" fmla="*/ 731663 h 1059940"/>
                <a:gd name="connsiteX30" fmla="*/ 570704 w 1132367"/>
                <a:gd name="connsiteY30" fmla="*/ 633360 h 1059940"/>
                <a:gd name="connsiteX31" fmla="*/ 573908 w 1132367"/>
                <a:gd name="connsiteY31" fmla="*/ 427461 h 1059940"/>
                <a:gd name="connsiteX32" fmla="*/ 396109 w 1132367"/>
                <a:gd name="connsiteY32" fmla="*/ 323576 h 1059940"/>
                <a:gd name="connsiteX33" fmla="*/ 396109 w 1132367"/>
                <a:gd name="connsiteY33" fmla="*/ 320490 h 1059940"/>
                <a:gd name="connsiteX34" fmla="*/ 220886 w 1132367"/>
                <a:gd name="connsiteY34" fmla="*/ 320490 h 1059940"/>
                <a:gd name="connsiteX35" fmla="*/ 303747 w 1132367"/>
                <a:gd name="connsiteY35" fmla="*/ 403352 h 1059940"/>
                <a:gd name="connsiteX36" fmla="*/ 322968 w 1132367"/>
                <a:gd name="connsiteY36" fmla="*/ 449755 h 1059940"/>
                <a:gd name="connsiteX37" fmla="*/ 303747 w 1132367"/>
                <a:gd name="connsiteY37" fmla="*/ 496156 h 1059940"/>
                <a:gd name="connsiteX38" fmla="*/ 282039 w 1132367"/>
                <a:gd name="connsiteY38" fmla="*/ 510572 h 1059940"/>
                <a:gd name="connsiteX39" fmla="*/ 210943 w 1132367"/>
                <a:gd name="connsiteY39" fmla="*/ 496156 h 1059940"/>
                <a:gd name="connsiteX40" fmla="*/ 19221 w 1132367"/>
                <a:gd name="connsiteY40" fmla="*/ 304434 h 1059940"/>
                <a:gd name="connsiteX41" fmla="*/ 0 w 1132367"/>
                <a:gd name="connsiteY41" fmla="*/ 258032 h 1059940"/>
                <a:gd name="connsiteX42" fmla="*/ 143 w 1132367"/>
                <a:gd name="connsiteY42" fmla="*/ 257687 h 1059940"/>
                <a:gd name="connsiteX43" fmla="*/ 0 w 1132367"/>
                <a:gd name="connsiteY43" fmla="*/ 257343 h 1059940"/>
                <a:gd name="connsiteX44" fmla="*/ 19221 w 1132367"/>
                <a:gd name="connsiteY44" fmla="*/ 210940 h 1059940"/>
                <a:gd name="connsiteX45" fmla="*/ 210943 w 1132367"/>
                <a:gd name="connsiteY45" fmla="*/ 19220 h 1059940"/>
                <a:gd name="connsiteX46" fmla="*/ 282039 w 1132367"/>
                <a:gd name="connsiteY46" fmla="*/ 4804 h 1059940"/>
                <a:gd name="connsiteX47" fmla="*/ 303747 w 1132367"/>
                <a:gd name="connsiteY47" fmla="*/ 19219 h 1059940"/>
                <a:gd name="connsiteX48" fmla="*/ 322968 w 1132367"/>
                <a:gd name="connsiteY48" fmla="*/ 65621 h 1059940"/>
                <a:gd name="connsiteX49" fmla="*/ 303747 w 1132367"/>
                <a:gd name="connsiteY49" fmla="*/ 112024 h 1059940"/>
                <a:gd name="connsiteX50" fmla="*/ 226527 w 1132367"/>
                <a:gd name="connsiteY50" fmla="*/ 189244 h 1059940"/>
                <a:gd name="connsiteX51" fmla="*/ 416808 w 1132367"/>
                <a:gd name="connsiteY51" fmla="*/ 189245 h 1059940"/>
                <a:gd name="connsiteX52" fmla="*/ 440150 w 1132367"/>
                <a:gd name="connsiteY52" fmla="*/ 193957 h 1059940"/>
                <a:gd name="connsiteX53" fmla="*/ 463483 w 1132367"/>
                <a:gd name="connsiteY53" fmla="*/ 196303 h 1059940"/>
                <a:gd name="connsiteX54" fmla="*/ 636537 w 1132367"/>
                <a:gd name="connsiteY54" fmla="*/ 289894 h 1059940"/>
                <a:gd name="connsiteX55" fmla="*/ 668090 w 1132367"/>
                <a:gd name="connsiteY55" fmla="*/ 331708 h 1059940"/>
                <a:gd name="connsiteX56" fmla="*/ 693101 w 1132367"/>
                <a:gd name="connsiteY56" fmla="*/ 298430 h 1059940"/>
                <a:gd name="connsiteX57" fmla="*/ 862784 w 1132367"/>
                <a:gd name="connsiteY57" fmla="*/ 198855 h 1059940"/>
                <a:gd name="connsiteX58" fmla="*/ 895324 w 1132367"/>
                <a:gd name="connsiteY58" fmla="*/ 195521 h 1059940"/>
                <a:gd name="connsiteX59" fmla="*/ 895442 w 1132367"/>
                <a:gd name="connsiteY59" fmla="*/ 195442 h 1059940"/>
                <a:gd name="connsiteX60" fmla="*/ 920985 w 1132367"/>
                <a:gd name="connsiteY60" fmla="*/ 190285 h 1059940"/>
                <a:gd name="connsiteX61" fmla="*/ 946427 w 1132367"/>
                <a:gd name="connsiteY61" fmla="*/ 190285 h 1059940"/>
                <a:gd name="connsiteX62" fmla="*/ 952205 w 1132367"/>
                <a:gd name="connsiteY62" fmla="*/ 189693 h 1059940"/>
                <a:gd name="connsiteX63" fmla="*/ 952187 w 1132367"/>
                <a:gd name="connsiteY63" fmla="*/ 190285 h 1059940"/>
                <a:gd name="connsiteX64" fmla="*/ 1066744 w 1132367"/>
                <a:gd name="connsiteY64" fmla="*/ 190285 h 1059940"/>
                <a:gd name="connsiteX65" fmla="*/ 1132367 w 1132367"/>
                <a:gd name="connsiteY65" fmla="*/ 255908 h 1059940"/>
                <a:gd name="connsiteX66" fmla="*/ 1132366 w 1132367"/>
                <a:gd name="connsiteY66" fmla="*/ 255908 h 1059940"/>
                <a:gd name="connsiteX67" fmla="*/ 1066743 w 1132367"/>
                <a:gd name="connsiteY67" fmla="*/ 321531 h 1059940"/>
                <a:gd name="connsiteX68" fmla="*/ 948100 w 1132367"/>
                <a:gd name="connsiteY68" fmla="*/ 321530 h 1059940"/>
                <a:gd name="connsiteX69" fmla="*/ 948033 w 1132367"/>
                <a:gd name="connsiteY69" fmla="*/ 323674 h 1059940"/>
                <a:gd name="connsiteX70" fmla="*/ 767088 w 1132367"/>
                <a:gd name="connsiteY70" fmla="*/ 421977 h 1059940"/>
                <a:gd name="connsiteX71" fmla="*/ 763884 w 1132367"/>
                <a:gd name="connsiteY71" fmla="*/ 627876 h 1059940"/>
                <a:gd name="connsiteX72" fmla="*/ 941683 w 1132367"/>
                <a:gd name="connsiteY72" fmla="*/ 731761 h 1059940"/>
                <a:gd name="connsiteX73" fmla="*/ 941683 w 1132367"/>
                <a:gd name="connsiteY73" fmla="*/ 734848 h 1059940"/>
                <a:gd name="connsiteX74" fmla="*/ 1066744 w 1132367"/>
                <a:gd name="connsiteY74" fmla="*/ 734848 h 1059940"/>
                <a:gd name="connsiteX75" fmla="*/ 1132367 w 1132367"/>
                <a:gd name="connsiteY75" fmla="*/ 800471 h 1059940"/>
                <a:gd name="connsiteX76" fmla="*/ 1132366 w 1132367"/>
                <a:gd name="connsiteY76" fmla="*/ 800471 h 1059940"/>
                <a:gd name="connsiteX77" fmla="*/ 1066743 w 1132367"/>
                <a:gd name="connsiteY77" fmla="*/ 866094 h 1059940"/>
                <a:gd name="connsiteX78" fmla="*/ 920985 w 1132367"/>
                <a:gd name="connsiteY78" fmla="*/ 866093 h 1059940"/>
                <a:gd name="connsiteX79" fmla="*/ 895442 w 1132367"/>
                <a:gd name="connsiteY79" fmla="*/ 860936 h 1059940"/>
                <a:gd name="connsiteX80" fmla="*/ 892985 w 1132367"/>
                <a:gd name="connsiteY80" fmla="*/ 859280 h 1059940"/>
                <a:gd name="connsiteX81" fmla="*/ 852590 w 1132367"/>
                <a:gd name="connsiteY81" fmla="*/ 853866 h 1059940"/>
                <a:gd name="connsiteX82" fmla="*/ 686088 w 1132367"/>
                <a:gd name="connsiteY82" fmla="*/ 749060 h 1059940"/>
                <a:gd name="connsiteX83" fmla="*/ 668377 w 1132367"/>
                <a:gd name="connsiteY83" fmla="*/ 723901 h 1059940"/>
                <a:gd name="connsiteX84" fmla="*/ 629022 w 1132367"/>
                <a:gd name="connsiteY84" fmla="*/ 772810 h 1059940"/>
                <a:gd name="connsiteX85" fmla="*/ 453139 w 1132367"/>
                <a:gd name="connsiteY85" fmla="*/ 860972 h 1059940"/>
                <a:gd name="connsiteX86" fmla="*/ 428624 w 1132367"/>
                <a:gd name="connsiteY86" fmla="*/ 862667 h 1059940"/>
                <a:gd name="connsiteX87" fmla="*/ 416808 w 1132367"/>
                <a:gd name="connsiteY87" fmla="*/ 865053 h 1059940"/>
                <a:gd name="connsiteX88" fmla="*/ 394132 w 1132367"/>
                <a:gd name="connsiteY88" fmla="*/ 865053 h 1059940"/>
                <a:gd name="connsiteX89" fmla="*/ 385587 w 1132367"/>
                <a:gd name="connsiteY89" fmla="*/ 865644 h 1059940"/>
                <a:gd name="connsiteX90" fmla="*/ 385605 w 1132367"/>
                <a:gd name="connsiteY90" fmla="*/ 865053 h 1059940"/>
                <a:gd name="connsiteX91" fmla="*/ 220886 w 1132367"/>
                <a:gd name="connsiteY91" fmla="*/ 865053 h 1059940"/>
                <a:gd name="connsiteX92" fmla="*/ 303747 w 1132367"/>
                <a:gd name="connsiteY92" fmla="*/ 947915 h 1059940"/>
                <a:gd name="connsiteX93" fmla="*/ 318163 w 1132367"/>
                <a:gd name="connsiteY93" fmla="*/ 1019011 h 1059940"/>
                <a:gd name="connsiteX94" fmla="*/ 303748 w 1132367"/>
                <a:gd name="connsiteY94" fmla="*/ 1040719 h 1059940"/>
                <a:gd name="connsiteX95" fmla="*/ 282039 w 1132367"/>
                <a:gd name="connsiteY95" fmla="*/ 1055135 h 1059940"/>
                <a:gd name="connsiteX96" fmla="*/ 257345 w 1132367"/>
                <a:gd name="connsiteY96" fmla="*/ 1059940 h 105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132367" h="1059940">
                  <a:moveTo>
                    <a:pt x="303748" y="19220"/>
                  </a:moveTo>
                  <a:lnTo>
                    <a:pt x="303747" y="19219"/>
                  </a:lnTo>
                  <a:lnTo>
                    <a:pt x="303747" y="19219"/>
                  </a:lnTo>
                  <a:close/>
                  <a:moveTo>
                    <a:pt x="303747" y="496157"/>
                  </a:moveTo>
                  <a:lnTo>
                    <a:pt x="303747" y="496156"/>
                  </a:lnTo>
                  <a:lnTo>
                    <a:pt x="303748" y="496156"/>
                  </a:lnTo>
                  <a:close/>
                  <a:moveTo>
                    <a:pt x="303748" y="563783"/>
                  </a:moveTo>
                  <a:lnTo>
                    <a:pt x="303747" y="563782"/>
                  </a:lnTo>
                  <a:lnTo>
                    <a:pt x="303747" y="563782"/>
                  </a:lnTo>
                  <a:close/>
                  <a:moveTo>
                    <a:pt x="303747" y="1040720"/>
                  </a:moveTo>
                  <a:lnTo>
                    <a:pt x="303748" y="1040719"/>
                  </a:lnTo>
                  <a:lnTo>
                    <a:pt x="303748" y="1040719"/>
                  </a:lnTo>
                  <a:close/>
                  <a:moveTo>
                    <a:pt x="257345" y="1059940"/>
                  </a:moveTo>
                  <a:cubicBezTo>
                    <a:pt x="240551" y="1059940"/>
                    <a:pt x="223757" y="1053533"/>
                    <a:pt x="210943" y="1040719"/>
                  </a:cubicBezTo>
                  <a:lnTo>
                    <a:pt x="19221" y="848997"/>
                  </a:lnTo>
                  <a:cubicBezTo>
                    <a:pt x="6407" y="836183"/>
                    <a:pt x="0" y="819389"/>
                    <a:pt x="0" y="802595"/>
                  </a:cubicBezTo>
                  <a:lnTo>
                    <a:pt x="91" y="802126"/>
                  </a:lnTo>
                  <a:lnTo>
                    <a:pt x="0" y="801906"/>
                  </a:lnTo>
                  <a:lnTo>
                    <a:pt x="253" y="801296"/>
                  </a:lnTo>
                  <a:lnTo>
                    <a:pt x="4805" y="777901"/>
                  </a:lnTo>
                  <a:lnTo>
                    <a:pt x="18462" y="757334"/>
                  </a:lnTo>
                  <a:lnTo>
                    <a:pt x="19221" y="755503"/>
                  </a:lnTo>
                  <a:lnTo>
                    <a:pt x="210943" y="563783"/>
                  </a:lnTo>
                  <a:cubicBezTo>
                    <a:pt x="230164" y="544562"/>
                    <a:pt x="258341" y="539757"/>
                    <a:pt x="282039" y="549367"/>
                  </a:cubicBezTo>
                  <a:lnTo>
                    <a:pt x="303747" y="563782"/>
                  </a:lnTo>
                  <a:lnTo>
                    <a:pt x="322968" y="610184"/>
                  </a:lnTo>
                  <a:cubicBezTo>
                    <a:pt x="322968" y="626979"/>
                    <a:pt x="316561" y="643773"/>
                    <a:pt x="303747" y="656587"/>
                  </a:cubicBezTo>
                  <a:lnTo>
                    <a:pt x="226527" y="733807"/>
                  </a:lnTo>
                  <a:lnTo>
                    <a:pt x="389692" y="733808"/>
                  </a:lnTo>
                  <a:lnTo>
                    <a:pt x="389759" y="731663"/>
                  </a:lnTo>
                  <a:cubicBezTo>
                    <a:pt x="463396" y="733955"/>
                    <a:pt x="532552" y="696384"/>
                    <a:pt x="570704" y="633360"/>
                  </a:cubicBezTo>
                  <a:cubicBezTo>
                    <a:pt x="608856" y="570336"/>
                    <a:pt x="610080" y="491642"/>
                    <a:pt x="573908" y="427461"/>
                  </a:cubicBezTo>
                  <a:cubicBezTo>
                    <a:pt x="537736" y="363280"/>
                    <a:pt x="469782" y="323576"/>
                    <a:pt x="396109" y="323576"/>
                  </a:cubicBezTo>
                  <a:lnTo>
                    <a:pt x="396109" y="320490"/>
                  </a:lnTo>
                  <a:lnTo>
                    <a:pt x="220886" y="320490"/>
                  </a:lnTo>
                  <a:lnTo>
                    <a:pt x="303747" y="403352"/>
                  </a:lnTo>
                  <a:cubicBezTo>
                    <a:pt x="316561" y="416166"/>
                    <a:pt x="322968" y="432960"/>
                    <a:pt x="322968" y="449755"/>
                  </a:cubicBezTo>
                  <a:lnTo>
                    <a:pt x="303747" y="496156"/>
                  </a:lnTo>
                  <a:lnTo>
                    <a:pt x="282039" y="510572"/>
                  </a:lnTo>
                  <a:cubicBezTo>
                    <a:pt x="258341" y="520182"/>
                    <a:pt x="230164" y="515377"/>
                    <a:pt x="210943" y="496156"/>
                  </a:cubicBezTo>
                  <a:lnTo>
                    <a:pt x="19221" y="304434"/>
                  </a:lnTo>
                  <a:cubicBezTo>
                    <a:pt x="6407" y="291620"/>
                    <a:pt x="0" y="274826"/>
                    <a:pt x="0" y="258032"/>
                  </a:cubicBezTo>
                  <a:lnTo>
                    <a:pt x="143" y="257687"/>
                  </a:lnTo>
                  <a:lnTo>
                    <a:pt x="0" y="257343"/>
                  </a:lnTo>
                  <a:cubicBezTo>
                    <a:pt x="0" y="240548"/>
                    <a:pt x="6407" y="223754"/>
                    <a:pt x="19221" y="210940"/>
                  </a:cubicBezTo>
                  <a:lnTo>
                    <a:pt x="210943" y="19220"/>
                  </a:lnTo>
                  <a:cubicBezTo>
                    <a:pt x="230164" y="-1"/>
                    <a:pt x="258341" y="-4806"/>
                    <a:pt x="282039" y="4804"/>
                  </a:cubicBezTo>
                  <a:lnTo>
                    <a:pt x="303747" y="19219"/>
                  </a:lnTo>
                  <a:lnTo>
                    <a:pt x="322968" y="65621"/>
                  </a:lnTo>
                  <a:cubicBezTo>
                    <a:pt x="322968" y="82416"/>
                    <a:pt x="316561" y="99210"/>
                    <a:pt x="303747" y="112024"/>
                  </a:cubicBezTo>
                  <a:lnTo>
                    <a:pt x="226527" y="189244"/>
                  </a:lnTo>
                  <a:lnTo>
                    <a:pt x="416808" y="189245"/>
                  </a:lnTo>
                  <a:lnTo>
                    <a:pt x="440150" y="193957"/>
                  </a:lnTo>
                  <a:lnTo>
                    <a:pt x="463483" y="196303"/>
                  </a:lnTo>
                  <a:cubicBezTo>
                    <a:pt x="529289" y="209680"/>
                    <a:pt x="589535" y="242374"/>
                    <a:pt x="636537" y="289894"/>
                  </a:cubicBezTo>
                  <a:lnTo>
                    <a:pt x="668090" y="331708"/>
                  </a:lnTo>
                  <a:lnTo>
                    <a:pt x="693101" y="298430"/>
                  </a:lnTo>
                  <a:cubicBezTo>
                    <a:pt x="738623" y="249063"/>
                    <a:pt x="797790" y="214455"/>
                    <a:pt x="862784" y="198855"/>
                  </a:cubicBezTo>
                  <a:lnTo>
                    <a:pt x="895324" y="195521"/>
                  </a:lnTo>
                  <a:lnTo>
                    <a:pt x="895442" y="195442"/>
                  </a:lnTo>
                  <a:cubicBezTo>
                    <a:pt x="903293" y="192121"/>
                    <a:pt x="911924" y="190285"/>
                    <a:pt x="920985" y="190285"/>
                  </a:cubicBezTo>
                  <a:lnTo>
                    <a:pt x="946427" y="190285"/>
                  </a:lnTo>
                  <a:lnTo>
                    <a:pt x="952205" y="189693"/>
                  </a:lnTo>
                  <a:lnTo>
                    <a:pt x="952187" y="190285"/>
                  </a:lnTo>
                  <a:lnTo>
                    <a:pt x="1066744" y="190285"/>
                  </a:lnTo>
                  <a:cubicBezTo>
                    <a:pt x="1102987" y="190285"/>
                    <a:pt x="1132367" y="219665"/>
                    <a:pt x="1132367" y="255908"/>
                  </a:cubicBezTo>
                  <a:lnTo>
                    <a:pt x="1132366" y="255908"/>
                  </a:lnTo>
                  <a:cubicBezTo>
                    <a:pt x="1132366" y="292151"/>
                    <a:pt x="1102986" y="321531"/>
                    <a:pt x="1066743" y="321531"/>
                  </a:cubicBezTo>
                  <a:lnTo>
                    <a:pt x="948100" y="321530"/>
                  </a:lnTo>
                  <a:lnTo>
                    <a:pt x="948033" y="323674"/>
                  </a:lnTo>
                  <a:cubicBezTo>
                    <a:pt x="874396" y="321382"/>
                    <a:pt x="805240" y="358953"/>
                    <a:pt x="767088" y="421977"/>
                  </a:cubicBezTo>
                  <a:cubicBezTo>
                    <a:pt x="728936" y="485001"/>
                    <a:pt x="727712" y="563695"/>
                    <a:pt x="763884" y="627876"/>
                  </a:cubicBezTo>
                  <a:cubicBezTo>
                    <a:pt x="800056" y="692057"/>
                    <a:pt x="868010" y="731761"/>
                    <a:pt x="941683" y="731761"/>
                  </a:cubicBezTo>
                  <a:lnTo>
                    <a:pt x="941683" y="734848"/>
                  </a:lnTo>
                  <a:lnTo>
                    <a:pt x="1066744" y="734848"/>
                  </a:lnTo>
                  <a:cubicBezTo>
                    <a:pt x="1102987" y="734848"/>
                    <a:pt x="1132367" y="764228"/>
                    <a:pt x="1132367" y="800471"/>
                  </a:cubicBezTo>
                  <a:lnTo>
                    <a:pt x="1132366" y="800471"/>
                  </a:lnTo>
                  <a:cubicBezTo>
                    <a:pt x="1132366" y="836714"/>
                    <a:pt x="1102986" y="866094"/>
                    <a:pt x="1066743" y="866094"/>
                  </a:cubicBezTo>
                  <a:lnTo>
                    <a:pt x="920985" y="866093"/>
                  </a:lnTo>
                  <a:cubicBezTo>
                    <a:pt x="911924" y="866093"/>
                    <a:pt x="903293" y="864257"/>
                    <a:pt x="895442" y="860936"/>
                  </a:cubicBezTo>
                  <a:lnTo>
                    <a:pt x="892985" y="859280"/>
                  </a:lnTo>
                  <a:lnTo>
                    <a:pt x="852590" y="853866"/>
                  </a:lnTo>
                  <a:cubicBezTo>
                    <a:pt x="788114" y="836252"/>
                    <a:pt x="730052" y="799820"/>
                    <a:pt x="686088" y="749060"/>
                  </a:cubicBezTo>
                  <a:lnTo>
                    <a:pt x="668377" y="723901"/>
                  </a:lnTo>
                  <a:lnTo>
                    <a:pt x="629022" y="772810"/>
                  </a:lnTo>
                  <a:cubicBezTo>
                    <a:pt x="580564" y="818845"/>
                    <a:pt x="519330" y="849649"/>
                    <a:pt x="453139" y="860972"/>
                  </a:cubicBezTo>
                  <a:lnTo>
                    <a:pt x="428624" y="862667"/>
                  </a:lnTo>
                  <a:lnTo>
                    <a:pt x="416808" y="865053"/>
                  </a:lnTo>
                  <a:lnTo>
                    <a:pt x="394132" y="865053"/>
                  </a:lnTo>
                  <a:lnTo>
                    <a:pt x="385587" y="865644"/>
                  </a:lnTo>
                  <a:lnTo>
                    <a:pt x="385605" y="865053"/>
                  </a:lnTo>
                  <a:lnTo>
                    <a:pt x="220886" y="865053"/>
                  </a:lnTo>
                  <a:lnTo>
                    <a:pt x="303747" y="947915"/>
                  </a:lnTo>
                  <a:cubicBezTo>
                    <a:pt x="322968" y="967136"/>
                    <a:pt x="327773" y="995313"/>
                    <a:pt x="318163" y="1019011"/>
                  </a:cubicBezTo>
                  <a:lnTo>
                    <a:pt x="303748" y="1040719"/>
                  </a:lnTo>
                  <a:lnTo>
                    <a:pt x="282039" y="1055135"/>
                  </a:lnTo>
                  <a:cubicBezTo>
                    <a:pt x="274140" y="1058338"/>
                    <a:pt x="265743" y="1059940"/>
                    <a:pt x="257345" y="105994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28" name="Group 127"/>
          <p:cNvGrpSpPr>
            <a:grpSpLocks noChangeAspect="1"/>
          </p:cNvGrpSpPr>
          <p:nvPr/>
        </p:nvGrpSpPr>
        <p:grpSpPr>
          <a:xfrm>
            <a:off x="6183186" y="1601582"/>
            <a:ext cx="228600" cy="228600"/>
            <a:chOff x="5392201" y="130511"/>
            <a:chExt cx="308293" cy="308293"/>
          </a:xfrm>
        </p:grpSpPr>
        <p:sp>
          <p:nvSpPr>
            <p:cNvPr id="129" name="Oval 128"/>
            <p:cNvSpPr/>
            <p:nvPr/>
          </p:nvSpPr>
          <p:spPr>
            <a:xfrm>
              <a:off x="5392201" y="130511"/>
              <a:ext cx="308293" cy="30829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0" name="Freeform 129"/>
            <p:cNvSpPr/>
            <p:nvPr/>
          </p:nvSpPr>
          <p:spPr>
            <a:xfrm rot="10800000">
              <a:off x="5441556" y="188122"/>
              <a:ext cx="209581" cy="196176"/>
            </a:xfrm>
            <a:custGeom>
              <a:avLst/>
              <a:gdLst>
                <a:gd name="connsiteX0" fmla="*/ 303748 w 1132367"/>
                <a:gd name="connsiteY0" fmla="*/ 19220 h 1059940"/>
                <a:gd name="connsiteX1" fmla="*/ 303747 w 1132367"/>
                <a:gd name="connsiteY1" fmla="*/ 19219 h 1059940"/>
                <a:gd name="connsiteX2" fmla="*/ 303747 w 1132367"/>
                <a:gd name="connsiteY2" fmla="*/ 19219 h 1059940"/>
                <a:gd name="connsiteX3" fmla="*/ 303747 w 1132367"/>
                <a:gd name="connsiteY3" fmla="*/ 496157 h 1059940"/>
                <a:gd name="connsiteX4" fmla="*/ 303747 w 1132367"/>
                <a:gd name="connsiteY4" fmla="*/ 496156 h 1059940"/>
                <a:gd name="connsiteX5" fmla="*/ 303748 w 1132367"/>
                <a:gd name="connsiteY5" fmla="*/ 496156 h 1059940"/>
                <a:gd name="connsiteX6" fmla="*/ 303748 w 1132367"/>
                <a:gd name="connsiteY6" fmla="*/ 563783 h 1059940"/>
                <a:gd name="connsiteX7" fmla="*/ 303747 w 1132367"/>
                <a:gd name="connsiteY7" fmla="*/ 563782 h 1059940"/>
                <a:gd name="connsiteX8" fmla="*/ 303747 w 1132367"/>
                <a:gd name="connsiteY8" fmla="*/ 563782 h 1059940"/>
                <a:gd name="connsiteX9" fmla="*/ 303747 w 1132367"/>
                <a:gd name="connsiteY9" fmla="*/ 1040720 h 1059940"/>
                <a:gd name="connsiteX10" fmla="*/ 303748 w 1132367"/>
                <a:gd name="connsiteY10" fmla="*/ 1040719 h 1059940"/>
                <a:gd name="connsiteX11" fmla="*/ 303748 w 1132367"/>
                <a:gd name="connsiteY11" fmla="*/ 1040719 h 1059940"/>
                <a:gd name="connsiteX12" fmla="*/ 257345 w 1132367"/>
                <a:gd name="connsiteY12" fmla="*/ 1059940 h 1059940"/>
                <a:gd name="connsiteX13" fmla="*/ 210943 w 1132367"/>
                <a:gd name="connsiteY13" fmla="*/ 1040719 h 1059940"/>
                <a:gd name="connsiteX14" fmla="*/ 19221 w 1132367"/>
                <a:gd name="connsiteY14" fmla="*/ 848997 h 1059940"/>
                <a:gd name="connsiteX15" fmla="*/ 0 w 1132367"/>
                <a:gd name="connsiteY15" fmla="*/ 802595 h 1059940"/>
                <a:gd name="connsiteX16" fmla="*/ 91 w 1132367"/>
                <a:gd name="connsiteY16" fmla="*/ 802126 h 1059940"/>
                <a:gd name="connsiteX17" fmla="*/ 0 w 1132367"/>
                <a:gd name="connsiteY17" fmla="*/ 801906 h 1059940"/>
                <a:gd name="connsiteX18" fmla="*/ 253 w 1132367"/>
                <a:gd name="connsiteY18" fmla="*/ 801296 h 1059940"/>
                <a:gd name="connsiteX19" fmla="*/ 4805 w 1132367"/>
                <a:gd name="connsiteY19" fmla="*/ 777901 h 1059940"/>
                <a:gd name="connsiteX20" fmla="*/ 18462 w 1132367"/>
                <a:gd name="connsiteY20" fmla="*/ 757334 h 1059940"/>
                <a:gd name="connsiteX21" fmla="*/ 19221 w 1132367"/>
                <a:gd name="connsiteY21" fmla="*/ 755503 h 1059940"/>
                <a:gd name="connsiteX22" fmla="*/ 210943 w 1132367"/>
                <a:gd name="connsiteY22" fmla="*/ 563783 h 1059940"/>
                <a:gd name="connsiteX23" fmla="*/ 282039 w 1132367"/>
                <a:gd name="connsiteY23" fmla="*/ 549367 h 1059940"/>
                <a:gd name="connsiteX24" fmla="*/ 303747 w 1132367"/>
                <a:gd name="connsiteY24" fmla="*/ 563782 h 1059940"/>
                <a:gd name="connsiteX25" fmla="*/ 322968 w 1132367"/>
                <a:gd name="connsiteY25" fmla="*/ 610184 h 1059940"/>
                <a:gd name="connsiteX26" fmla="*/ 303747 w 1132367"/>
                <a:gd name="connsiteY26" fmla="*/ 656587 h 1059940"/>
                <a:gd name="connsiteX27" fmla="*/ 226527 w 1132367"/>
                <a:gd name="connsiteY27" fmla="*/ 733807 h 1059940"/>
                <a:gd name="connsiteX28" fmla="*/ 389692 w 1132367"/>
                <a:gd name="connsiteY28" fmla="*/ 733808 h 1059940"/>
                <a:gd name="connsiteX29" fmla="*/ 389759 w 1132367"/>
                <a:gd name="connsiteY29" fmla="*/ 731663 h 1059940"/>
                <a:gd name="connsiteX30" fmla="*/ 570704 w 1132367"/>
                <a:gd name="connsiteY30" fmla="*/ 633360 h 1059940"/>
                <a:gd name="connsiteX31" fmla="*/ 573908 w 1132367"/>
                <a:gd name="connsiteY31" fmla="*/ 427461 h 1059940"/>
                <a:gd name="connsiteX32" fmla="*/ 396109 w 1132367"/>
                <a:gd name="connsiteY32" fmla="*/ 323576 h 1059940"/>
                <a:gd name="connsiteX33" fmla="*/ 396109 w 1132367"/>
                <a:gd name="connsiteY33" fmla="*/ 320490 h 1059940"/>
                <a:gd name="connsiteX34" fmla="*/ 220886 w 1132367"/>
                <a:gd name="connsiteY34" fmla="*/ 320490 h 1059940"/>
                <a:gd name="connsiteX35" fmla="*/ 303747 w 1132367"/>
                <a:gd name="connsiteY35" fmla="*/ 403352 h 1059940"/>
                <a:gd name="connsiteX36" fmla="*/ 322968 w 1132367"/>
                <a:gd name="connsiteY36" fmla="*/ 449755 h 1059940"/>
                <a:gd name="connsiteX37" fmla="*/ 303747 w 1132367"/>
                <a:gd name="connsiteY37" fmla="*/ 496156 h 1059940"/>
                <a:gd name="connsiteX38" fmla="*/ 282039 w 1132367"/>
                <a:gd name="connsiteY38" fmla="*/ 510572 h 1059940"/>
                <a:gd name="connsiteX39" fmla="*/ 210943 w 1132367"/>
                <a:gd name="connsiteY39" fmla="*/ 496156 h 1059940"/>
                <a:gd name="connsiteX40" fmla="*/ 19221 w 1132367"/>
                <a:gd name="connsiteY40" fmla="*/ 304434 h 1059940"/>
                <a:gd name="connsiteX41" fmla="*/ 0 w 1132367"/>
                <a:gd name="connsiteY41" fmla="*/ 258032 h 1059940"/>
                <a:gd name="connsiteX42" fmla="*/ 143 w 1132367"/>
                <a:gd name="connsiteY42" fmla="*/ 257687 h 1059940"/>
                <a:gd name="connsiteX43" fmla="*/ 0 w 1132367"/>
                <a:gd name="connsiteY43" fmla="*/ 257343 h 1059940"/>
                <a:gd name="connsiteX44" fmla="*/ 19221 w 1132367"/>
                <a:gd name="connsiteY44" fmla="*/ 210940 h 1059940"/>
                <a:gd name="connsiteX45" fmla="*/ 210943 w 1132367"/>
                <a:gd name="connsiteY45" fmla="*/ 19220 h 1059940"/>
                <a:gd name="connsiteX46" fmla="*/ 282039 w 1132367"/>
                <a:gd name="connsiteY46" fmla="*/ 4804 h 1059940"/>
                <a:gd name="connsiteX47" fmla="*/ 303747 w 1132367"/>
                <a:gd name="connsiteY47" fmla="*/ 19219 h 1059940"/>
                <a:gd name="connsiteX48" fmla="*/ 322968 w 1132367"/>
                <a:gd name="connsiteY48" fmla="*/ 65621 h 1059940"/>
                <a:gd name="connsiteX49" fmla="*/ 303747 w 1132367"/>
                <a:gd name="connsiteY49" fmla="*/ 112024 h 1059940"/>
                <a:gd name="connsiteX50" fmla="*/ 226527 w 1132367"/>
                <a:gd name="connsiteY50" fmla="*/ 189244 h 1059940"/>
                <a:gd name="connsiteX51" fmla="*/ 416808 w 1132367"/>
                <a:gd name="connsiteY51" fmla="*/ 189245 h 1059940"/>
                <a:gd name="connsiteX52" fmla="*/ 440150 w 1132367"/>
                <a:gd name="connsiteY52" fmla="*/ 193957 h 1059940"/>
                <a:gd name="connsiteX53" fmla="*/ 463483 w 1132367"/>
                <a:gd name="connsiteY53" fmla="*/ 196303 h 1059940"/>
                <a:gd name="connsiteX54" fmla="*/ 636537 w 1132367"/>
                <a:gd name="connsiteY54" fmla="*/ 289894 h 1059940"/>
                <a:gd name="connsiteX55" fmla="*/ 668090 w 1132367"/>
                <a:gd name="connsiteY55" fmla="*/ 331708 h 1059940"/>
                <a:gd name="connsiteX56" fmla="*/ 693101 w 1132367"/>
                <a:gd name="connsiteY56" fmla="*/ 298430 h 1059940"/>
                <a:gd name="connsiteX57" fmla="*/ 862784 w 1132367"/>
                <a:gd name="connsiteY57" fmla="*/ 198855 h 1059940"/>
                <a:gd name="connsiteX58" fmla="*/ 895324 w 1132367"/>
                <a:gd name="connsiteY58" fmla="*/ 195521 h 1059940"/>
                <a:gd name="connsiteX59" fmla="*/ 895442 w 1132367"/>
                <a:gd name="connsiteY59" fmla="*/ 195442 h 1059940"/>
                <a:gd name="connsiteX60" fmla="*/ 920985 w 1132367"/>
                <a:gd name="connsiteY60" fmla="*/ 190285 h 1059940"/>
                <a:gd name="connsiteX61" fmla="*/ 946427 w 1132367"/>
                <a:gd name="connsiteY61" fmla="*/ 190285 h 1059940"/>
                <a:gd name="connsiteX62" fmla="*/ 952205 w 1132367"/>
                <a:gd name="connsiteY62" fmla="*/ 189693 h 1059940"/>
                <a:gd name="connsiteX63" fmla="*/ 952187 w 1132367"/>
                <a:gd name="connsiteY63" fmla="*/ 190285 h 1059940"/>
                <a:gd name="connsiteX64" fmla="*/ 1066744 w 1132367"/>
                <a:gd name="connsiteY64" fmla="*/ 190285 h 1059940"/>
                <a:gd name="connsiteX65" fmla="*/ 1132367 w 1132367"/>
                <a:gd name="connsiteY65" fmla="*/ 255908 h 1059940"/>
                <a:gd name="connsiteX66" fmla="*/ 1132366 w 1132367"/>
                <a:gd name="connsiteY66" fmla="*/ 255908 h 1059940"/>
                <a:gd name="connsiteX67" fmla="*/ 1066743 w 1132367"/>
                <a:gd name="connsiteY67" fmla="*/ 321531 h 1059940"/>
                <a:gd name="connsiteX68" fmla="*/ 948100 w 1132367"/>
                <a:gd name="connsiteY68" fmla="*/ 321530 h 1059940"/>
                <a:gd name="connsiteX69" fmla="*/ 948033 w 1132367"/>
                <a:gd name="connsiteY69" fmla="*/ 323674 h 1059940"/>
                <a:gd name="connsiteX70" fmla="*/ 767088 w 1132367"/>
                <a:gd name="connsiteY70" fmla="*/ 421977 h 1059940"/>
                <a:gd name="connsiteX71" fmla="*/ 763884 w 1132367"/>
                <a:gd name="connsiteY71" fmla="*/ 627876 h 1059940"/>
                <a:gd name="connsiteX72" fmla="*/ 941683 w 1132367"/>
                <a:gd name="connsiteY72" fmla="*/ 731761 h 1059940"/>
                <a:gd name="connsiteX73" fmla="*/ 941683 w 1132367"/>
                <a:gd name="connsiteY73" fmla="*/ 734848 h 1059940"/>
                <a:gd name="connsiteX74" fmla="*/ 1066744 w 1132367"/>
                <a:gd name="connsiteY74" fmla="*/ 734848 h 1059940"/>
                <a:gd name="connsiteX75" fmla="*/ 1132367 w 1132367"/>
                <a:gd name="connsiteY75" fmla="*/ 800471 h 1059940"/>
                <a:gd name="connsiteX76" fmla="*/ 1132366 w 1132367"/>
                <a:gd name="connsiteY76" fmla="*/ 800471 h 1059940"/>
                <a:gd name="connsiteX77" fmla="*/ 1066743 w 1132367"/>
                <a:gd name="connsiteY77" fmla="*/ 866094 h 1059940"/>
                <a:gd name="connsiteX78" fmla="*/ 920985 w 1132367"/>
                <a:gd name="connsiteY78" fmla="*/ 866093 h 1059940"/>
                <a:gd name="connsiteX79" fmla="*/ 895442 w 1132367"/>
                <a:gd name="connsiteY79" fmla="*/ 860936 h 1059940"/>
                <a:gd name="connsiteX80" fmla="*/ 892985 w 1132367"/>
                <a:gd name="connsiteY80" fmla="*/ 859280 h 1059940"/>
                <a:gd name="connsiteX81" fmla="*/ 852590 w 1132367"/>
                <a:gd name="connsiteY81" fmla="*/ 853866 h 1059940"/>
                <a:gd name="connsiteX82" fmla="*/ 686088 w 1132367"/>
                <a:gd name="connsiteY82" fmla="*/ 749060 h 1059940"/>
                <a:gd name="connsiteX83" fmla="*/ 668377 w 1132367"/>
                <a:gd name="connsiteY83" fmla="*/ 723901 h 1059940"/>
                <a:gd name="connsiteX84" fmla="*/ 629022 w 1132367"/>
                <a:gd name="connsiteY84" fmla="*/ 772810 h 1059940"/>
                <a:gd name="connsiteX85" fmla="*/ 453139 w 1132367"/>
                <a:gd name="connsiteY85" fmla="*/ 860972 h 1059940"/>
                <a:gd name="connsiteX86" fmla="*/ 428624 w 1132367"/>
                <a:gd name="connsiteY86" fmla="*/ 862667 h 1059940"/>
                <a:gd name="connsiteX87" fmla="*/ 416808 w 1132367"/>
                <a:gd name="connsiteY87" fmla="*/ 865053 h 1059940"/>
                <a:gd name="connsiteX88" fmla="*/ 394132 w 1132367"/>
                <a:gd name="connsiteY88" fmla="*/ 865053 h 1059940"/>
                <a:gd name="connsiteX89" fmla="*/ 385587 w 1132367"/>
                <a:gd name="connsiteY89" fmla="*/ 865644 h 1059940"/>
                <a:gd name="connsiteX90" fmla="*/ 385605 w 1132367"/>
                <a:gd name="connsiteY90" fmla="*/ 865053 h 1059940"/>
                <a:gd name="connsiteX91" fmla="*/ 220886 w 1132367"/>
                <a:gd name="connsiteY91" fmla="*/ 865053 h 1059940"/>
                <a:gd name="connsiteX92" fmla="*/ 303747 w 1132367"/>
                <a:gd name="connsiteY92" fmla="*/ 947915 h 1059940"/>
                <a:gd name="connsiteX93" fmla="*/ 318163 w 1132367"/>
                <a:gd name="connsiteY93" fmla="*/ 1019011 h 1059940"/>
                <a:gd name="connsiteX94" fmla="*/ 303748 w 1132367"/>
                <a:gd name="connsiteY94" fmla="*/ 1040719 h 1059940"/>
                <a:gd name="connsiteX95" fmla="*/ 282039 w 1132367"/>
                <a:gd name="connsiteY95" fmla="*/ 1055135 h 1059940"/>
                <a:gd name="connsiteX96" fmla="*/ 257345 w 1132367"/>
                <a:gd name="connsiteY96" fmla="*/ 1059940 h 105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132367" h="1059940">
                  <a:moveTo>
                    <a:pt x="303748" y="19220"/>
                  </a:moveTo>
                  <a:lnTo>
                    <a:pt x="303747" y="19219"/>
                  </a:lnTo>
                  <a:lnTo>
                    <a:pt x="303747" y="19219"/>
                  </a:lnTo>
                  <a:close/>
                  <a:moveTo>
                    <a:pt x="303747" y="496157"/>
                  </a:moveTo>
                  <a:lnTo>
                    <a:pt x="303747" y="496156"/>
                  </a:lnTo>
                  <a:lnTo>
                    <a:pt x="303748" y="496156"/>
                  </a:lnTo>
                  <a:close/>
                  <a:moveTo>
                    <a:pt x="303748" y="563783"/>
                  </a:moveTo>
                  <a:lnTo>
                    <a:pt x="303747" y="563782"/>
                  </a:lnTo>
                  <a:lnTo>
                    <a:pt x="303747" y="563782"/>
                  </a:lnTo>
                  <a:close/>
                  <a:moveTo>
                    <a:pt x="303747" y="1040720"/>
                  </a:moveTo>
                  <a:lnTo>
                    <a:pt x="303748" y="1040719"/>
                  </a:lnTo>
                  <a:lnTo>
                    <a:pt x="303748" y="1040719"/>
                  </a:lnTo>
                  <a:close/>
                  <a:moveTo>
                    <a:pt x="257345" y="1059940"/>
                  </a:moveTo>
                  <a:cubicBezTo>
                    <a:pt x="240551" y="1059940"/>
                    <a:pt x="223757" y="1053533"/>
                    <a:pt x="210943" y="1040719"/>
                  </a:cubicBezTo>
                  <a:lnTo>
                    <a:pt x="19221" y="848997"/>
                  </a:lnTo>
                  <a:cubicBezTo>
                    <a:pt x="6407" y="836183"/>
                    <a:pt x="0" y="819389"/>
                    <a:pt x="0" y="802595"/>
                  </a:cubicBezTo>
                  <a:lnTo>
                    <a:pt x="91" y="802126"/>
                  </a:lnTo>
                  <a:lnTo>
                    <a:pt x="0" y="801906"/>
                  </a:lnTo>
                  <a:lnTo>
                    <a:pt x="253" y="801296"/>
                  </a:lnTo>
                  <a:lnTo>
                    <a:pt x="4805" y="777901"/>
                  </a:lnTo>
                  <a:lnTo>
                    <a:pt x="18462" y="757334"/>
                  </a:lnTo>
                  <a:lnTo>
                    <a:pt x="19221" y="755503"/>
                  </a:lnTo>
                  <a:lnTo>
                    <a:pt x="210943" y="563783"/>
                  </a:lnTo>
                  <a:cubicBezTo>
                    <a:pt x="230164" y="544562"/>
                    <a:pt x="258341" y="539757"/>
                    <a:pt x="282039" y="549367"/>
                  </a:cubicBezTo>
                  <a:lnTo>
                    <a:pt x="303747" y="563782"/>
                  </a:lnTo>
                  <a:lnTo>
                    <a:pt x="322968" y="610184"/>
                  </a:lnTo>
                  <a:cubicBezTo>
                    <a:pt x="322968" y="626979"/>
                    <a:pt x="316561" y="643773"/>
                    <a:pt x="303747" y="656587"/>
                  </a:cubicBezTo>
                  <a:lnTo>
                    <a:pt x="226527" y="733807"/>
                  </a:lnTo>
                  <a:lnTo>
                    <a:pt x="389692" y="733808"/>
                  </a:lnTo>
                  <a:lnTo>
                    <a:pt x="389759" y="731663"/>
                  </a:lnTo>
                  <a:cubicBezTo>
                    <a:pt x="463396" y="733955"/>
                    <a:pt x="532552" y="696384"/>
                    <a:pt x="570704" y="633360"/>
                  </a:cubicBezTo>
                  <a:cubicBezTo>
                    <a:pt x="608856" y="570336"/>
                    <a:pt x="610080" y="491642"/>
                    <a:pt x="573908" y="427461"/>
                  </a:cubicBezTo>
                  <a:cubicBezTo>
                    <a:pt x="537736" y="363280"/>
                    <a:pt x="469782" y="323576"/>
                    <a:pt x="396109" y="323576"/>
                  </a:cubicBezTo>
                  <a:lnTo>
                    <a:pt x="396109" y="320490"/>
                  </a:lnTo>
                  <a:lnTo>
                    <a:pt x="220886" y="320490"/>
                  </a:lnTo>
                  <a:lnTo>
                    <a:pt x="303747" y="403352"/>
                  </a:lnTo>
                  <a:cubicBezTo>
                    <a:pt x="316561" y="416166"/>
                    <a:pt x="322968" y="432960"/>
                    <a:pt x="322968" y="449755"/>
                  </a:cubicBezTo>
                  <a:lnTo>
                    <a:pt x="303747" y="496156"/>
                  </a:lnTo>
                  <a:lnTo>
                    <a:pt x="282039" y="510572"/>
                  </a:lnTo>
                  <a:cubicBezTo>
                    <a:pt x="258341" y="520182"/>
                    <a:pt x="230164" y="515377"/>
                    <a:pt x="210943" y="496156"/>
                  </a:cubicBezTo>
                  <a:lnTo>
                    <a:pt x="19221" y="304434"/>
                  </a:lnTo>
                  <a:cubicBezTo>
                    <a:pt x="6407" y="291620"/>
                    <a:pt x="0" y="274826"/>
                    <a:pt x="0" y="258032"/>
                  </a:cubicBezTo>
                  <a:lnTo>
                    <a:pt x="143" y="257687"/>
                  </a:lnTo>
                  <a:lnTo>
                    <a:pt x="0" y="257343"/>
                  </a:lnTo>
                  <a:cubicBezTo>
                    <a:pt x="0" y="240548"/>
                    <a:pt x="6407" y="223754"/>
                    <a:pt x="19221" y="210940"/>
                  </a:cubicBezTo>
                  <a:lnTo>
                    <a:pt x="210943" y="19220"/>
                  </a:lnTo>
                  <a:cubicBezTo>
                    <a:pt x="230164" y="-1"/>
                    <a:pt x="258341" y="-4806"/>
                    <a:pt x="282039" y="4804"/>
                  </a:cubicBezTo>
                  <a:lnTo>
                    <a:pt x="303747" y="19219"/>
                  </a:lnTo>
                  <a:lnTo>
                    <a:pt x="322968" y="65621"/>
                  </a:lnTo>
                  <a:cubicBezTo>
                    <a:pt x="322968" y="82416"/>
                    <a:pt x="316561" y="99210"/>
                    <a:pt x="303747" y="112024"/>
                  </a:cubicBezTo>
                  <a:lnTo>
                    <a:pt x="226527" y="189244"/>
                  </a:lnTo>
                  <a:lnTo>
                    <a:pt x="416808" y="189245"/>
                  </a:lnTo>
                  <a:lnTo>
                    <a:pt x="440150" y="193957"/>
                  </a:lnTo>
                  <a:lnTo>
                    <a:pt x="463483" y="196303"/>
                  </a:lnTo>
                  <a:cubicBezTo>
                    <a:pt x="529289" y="209680"/>
                    <a:pt x="589535" y="242374"/>
                    <a:pt x="636537" y="289894"/>
                  </a:cubicBezTo>
                  <a:lnTo>
                    <a:pt x="668090" y="331708"/>
                  </a:lnTo>
                  <a:lnTo>
                    <a:pt x="693101" y="298430"/>
                  </a:lnTo>
                  <a:cubicBezTo>
                    <a:pt x="738623" y="249063"/>
                    <a:pt x="797790" y="214455"/>
                    <a:pt x="862784" y="198855"/>
                  </a:cubicBezTo>
                  <a:lnTo>
                    <a:pt x="895324" y="195521"/>
                  </a:lnTo>
                  <a:lnTo>
                    <a:pt x="895442" y="195442"/>
                  </a:lnTo>
                  <a:cubicBezTo>
                    <a:pt x="903293" y="192121"/>
                    <a:pt x="911924" y="190285"/>
                    <a:pt x="920985" y="190285"/>
                  </a:cubicBezTo>
                  <a:lnTo>
                    <a:pt x="946427" y="190285"/>
                  </a:lnTo>
                  <a:lnTo>
                    <a:pt x="952205" y="189693"/>
                  </a:lnTo>
                  <a:lnTo>
                    <a:pt x="952187" y="190285"/>
                  </a:lnTo>
                  <a:lnTo>
                    <a:pt x="1066744" y="190285"/>
                  </a:lnTo>
                  <a:cubicBezTo>
                    <a:pt x="1102987" y="190285"/>
                    <a:pt x="1132367" y="219665"/>
                    <a:pt x="1132367" y="255908"/>
                  </a:cubicBezTo>
                  <a:lnTo>
                    <a:pt x="1132366" y="255908"/>
                  </a:lnTo>
                  <a:cubicBezTo>
                    <a:pt x="1132366" y="292151"/>
                    <a:pt x="1102986" y="321531"/>
                    <a:pt x="1066743" y="321531"/>
                  </a:cubicBezTo>
                  <a:lnTo>
                    <a:pt x="948100" y="321530"/>
                  </a:lnTo>
                  <a:lnTo>
                    <a:pt x="948033" y="323674"/>
                  </a:lnTo>
                  <a:cubicBezTo>
                    <a:pt x="874396" y="321382"/>
                    <a:pt x="805240" y="358953"/>
                    <a:pt x="767088" y="421977"/>
                  </a:cubicBezTo>
                  <a:cubicBezTo>
                    <a:pt x="728936" y="485001"/>
                    <a:pt x="727712" y="563695"/>
                    <a:pt x="763884" y="627876"/>
                  </a:cubicBezTo>
                  <a:cubicBezTo>
                    <a:pt x="800056" y="692057"/>
                    <a:pt x="868010" y="731761"/>
                    <a:pt x="941683" y="731761"/>
                  </a:cubicBezTo>
                  <a:lnTo>
                    <a:pt x="941683" y="734848"/>
                  </a:lnTo>
                  <a:lnTo>
                    <a:pt x="1066744" y="734848"/>
                  </a:lnTo>
                  <a:cubicBezTo>
                    <a:pt x="1102987" y="734848"/>
                    <a:pt x="1132367" y="764228"/>
                    <a:pt x="1132367" y="800471"/>
                  </a:cubicBezTo>
                  <a:lnTo>
                    <a:pt x="1132366" y="800471"/>
                  </a:lnTo>
                  <a:cubicBezTo>
                    <a:pt x="1132366" y="836714"/>
                    <a:pt x="1102986" y="866094"/>
                    <a:pt x="1066743" y="866094"/>
                  </a:cubicBezTo>
                  <a:lnTo>
                    <a:pt x="920985" y="866093"/>
                  </a:lnTo>
                  <a:cubicBezTo>
                    <a:pt x="911924" y="866093"/>
                    <a:pt x="903293" y="864257"/>
                    <a:pt x="895442" y="860936"/>
                  </a:cubicBezTo>
                  <a:lnTo>
                    <a:pt x="892985" y="859280"/>
                  </a:lnTo>
                  <a:lnTo>
                    <a:pt x="852590" y="853866"/>
                  </a:lnTo>
                  <a:cubicBezTo>
                    <a:pt x="788114" y="836252"/>
                    <a:pt x="730052" y="799820"/>
                    <a:pt x="686088" y="749060"/>
                  </a:cubicBezTo>
                  <a:lnTo>
                    <a:pt x="668377" y="723901"/>
                  </a:lnTo>
                  <a:lnTo>
                    <a:pt x="629022" y="772810"/>
                  </a:lnTo>
                  <a:cubicBezTo>
                    <a:pt x="580564" y="818845"/>
                    <a:pt x="519330" y="849649"/>
                    <a:pt x="453139" y="860972"/>
                  </a:cubicBezTo>
                  <a:lnTo>
                    <a:pt x="428624" y="862667"/>
                  </a:lnTo>
                  <a:lnTo>
                    <a:pt x="416808" y="865053"/>
                  </a:lnTo>
                  <a:lnTo>
                    <a:pt x="394132" y="865053"/>
                  </a:lnTo>
                  <a:lnTo>
                    <a:pt x="385587" y="865644"/>
                  </a:lnTo>
                  <a:lnTo>
                    <a:pt x="385605" y="865053"/>
                  </a:lnTo>
                  <a:lnTo>
                    <a:pt x="220886" y="865053"/>
                  </a:lnTo>
                  <a:lnTo>
                    <a:pt x="303747" y="947915"/>
                  </a:lnTo>
                  <a:cubicBezTo>
                    <a:pt x="322968" y="967136"/>
                    <a:pt x="327773" y="995313"/>
                    <a:pt x="318163" y="1019011"/>
                  </a:cubicBezTo>
                  <a:lnTo>
                    <a:pt x="303748" y="1040719"/>
                  </a:lnTo>
                  <a:lnTo>
                    <a:pt x="282039" y="1055135"/>
                  </a:lnTo>
                  <a:cubicBezTo>
                    <a:pt x="274140" y="1058338"/>
                    <a:pt x="265743" y="1059940"/>
                    <a:pt x="257345" y="105994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31" name="Group 130"/>
          <p:cNvGrpSpPr>
            <a:grpSpLocks noChangeAspect="1"/>
          </p:cNvGrpSpPr>
          <p:nvPr/>
        </p:nvGrpSpPr>
        <p:grpSpPr>
          <a:xfrm>
            <a:off x="6952689" y="1601582"/>
            <a:ext cx="228600" cy="228600"/>
            <a:chOff x="5392201" y="130511"/>
            <a:chExt cx="308293" cy="308293"/>
          </a:xfrm>
        </p:grpSpPr>
        <p:sp>
          <p:nvSpPr>
            <p:cNvPr id="132" name="Oval 131"/>
            <p:cNvSpPr/>
            <p:nvPr/>
          </p:nvSpPr>
          <p:spPr>
            <a:xfrm>
              <a:off x="5392201" y="130511"/>
              <a:ext cx="308293" cy="30829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3" name="Freeform 132"/>
            <p:cNvSpPr/>
            <p:nvPr/>
          </p:nvSpPr>
          <p:spPr>
            <a:xfrm rot="10800000">
              <a:off x="5441556" y="188122"/>
              <a:ext cx="209581" cy="196176"/>
            </a:xfrm>
            <a:custGeom>
              <a:avLst/>
              <a:gdLst>
                <a:gd name="connsiteX0" fmla="*/ 303748 w 1132367"/>
                <a:gd name="connsiteY0" fmla="*/ 19220 h 1059940"/>
                <a:gd name="connsiteX1" fmla="*/ 303747 w 1132367"/>
                <a:gd name="connsiteY1" fmla="*/ 19219 h 1059940"/>
                <a:gd name="connsiteX2" fmla="*/ 303747 w 1132367"/>
                <a:gd name="connsiteY2" fmla="*/ 19219 h 1059940"/>
                <a:gd name="connsiteX3" fmla="*/ 303747 w 1132367"/>
                <a:gd name="connsiteY3" fmla="*/ 496157 h 1059940"/>
                <a:gd name="connsiteX4" fmla="*/ 303747 w 1132367"/>
                <a:gd name="connsiteY4" fmla="*/ 496156 h 1059940"/>
                <a:gd name="connsiteX5" fmla="*/ 303748 w 1132367"/>
                <a:gd name="connsiteY5" fmla="*/ 496156 h 1059940"/>
                <a:gd name="connsiteX6" fmla="*/ 303748 w 1132367"/>
                <a:gd name="connsiteY6" fmla="*/ 563783 h 1059940"/>
                <a:gd name="connsiteX7" fmla="*/ 303747 w 1132367"/>
                <a:gd name="connsiteY7" fmla="*/ 563782 h 1059940"/>
                <a:gd name="connsiteX8" fmla="*/ 303747 w 1132367"/>
                <a:gd name="connsiteY8" fmla="*/ 563782 h 1059940"/>
                <a:gd name="connsiteX9" fmla="*/ 303747 w 1132367"/>
                <a:gd name="connsiteY9" fmla="*/ 1040720 h 1059940"/>
                <a:gd name="connsiteX10" fmla="*/ 303748 w 1132367"/>
                <a:gd name="connsiteY10" fmla="*/ 1040719 h 1059940"/>
                <a:gd name="connsiteX11" fmla="*/ 303748 w 1132367"/>
                <a:gd name="connsiteY11" fmla="*/ 1040719 h 1059940"/>
                <a:gd name="connsiteX12" fmla="*/ 257345 w 1132367"/>
                <a:gd name="connsiteY12" fmla="*/ 1059940 h 1059940"/>
                <a:gd name="connsiteX13" fmla="*/ 210943 w 1132367"/>
                <a:gd name="connsiteY13" fmla="*/ 1040719 h 1059940"/>
                <a:gd name="connsiteX14" fmla="*/ 19221 w 1132367"/>
                <a:gd name="connsiteY14" fmla="*/ 848997 h 1059940"/>
                <a:gd name="connsiteX15" fmla="*/ 0 w 1132367"/>
                <a:gd name="connsiteY15" fmla="*/ 802595 h 1059940"/>
                <a:gd name="connsiteX16" fmla="*/ 91 w 1132367"/>
                <a:gd name="connsiteY16" fmla="*/ 802126 h 1059940"/>
                <a:gd name="connsiteX17" fmla="*/ 0 w 1132367"/>
                <a:gd name="connsiteY17" fmla="*/ 801906 h 1059940"/>
                <a:gd name="connsiteX18" fmla="*/ 253 w 1132367"/>
                <a:gd name="connsiteY18" fmla="*/ 801296 h 1059940"/>
                <a:gd name="connsiteX19" fmla="*/ 4805 w 1132367"/>
                <a:gd name="connsiteY19" fmla="*/ 777901 h 1059940"/>
                <a:gd name="connsiteX20" fmla="*/ 18462 w 1132367"/>
                <a:gd name="connsiteY20" fmla="*/ 757334 h 1059940"/>
                <a:gd name="connsiteX21" fmla="*/ 19221 w 1132367"/>
                <a:gd name="connsiteY21" fmla="*/ 755503 h 1059940"/>
                <a:gd name="connsiteX22" fmla="*/ 210943 w 1132367"/>
                <a:gd name="connsiteY22" fmla="*/ 563783 h 1059940"/>
                <a:gd name="connsiteX23" fmla="*/ 282039 w 1132367"/>
                <a:gd name="connsiteY23" fmla="*/ 549367 h 1059940"/>
                <a:gd name="connsiteX24" fmla="*/ 303747 w 1132367"/>
                <a:gd name="connsiteY24" fmla="*/ 563782 h 1059940"/>
                <a:gd name="connsiteX25" fmla="*/ 322968 w 1132367"/>
                <a:gd name="connsiteY25" fmla="*/ 610184 h 1059940"/>
                <a:gd name="connsiteX26" fmla="*/ 303747 w 1132367"/>
                <a:gd name="connsiteY26" fmla="*/ 656587 h 1059940"/>
                <a:gd name="connsiteX27" fmla="*/ 226527 w 1132367"/>
                <a:gd name="connsiteY27" fmla="*/ 733807 h 1059940"/>
                <a:gd name="connsiteX28" fmla="*/ 389692 w 1132367"/>
                <a:gd name="connsiteY28" fmla="*/ 733808 h 1059940"/>
                <a:gd name="connsiteX29" fmla="*/ 389759 w 1132367"/>
                <a:gd name="connsiteY29" fmla="*/ 731663 h 1059940"/>
                <a:gd name="connsiteX30" fmla="*/ 570704 w 1132367"/>
                <a:gd name="connsiteY30" fmla="*/ 633360 h 1059940"/>
                <a:gd name="connsiteX31" fmla="*/ 573908 w 1132367"/>
                <a:gd name="connsiteY31" fmla="*/ 427461 h 1059940"/>
                <a:gd name="connsiteX32" fmla="*/ 396109 w 1132367"/>
                <a:gd name="connsiteY32" fmla="*/ 323576 h 1059940"/>
                <a:gd name="connsiteX33" fmla="*/ 396109 w 1132367"/>
                <a:gd name="connsiteY33" fmla="*/ 320490 h 1059940"/>
                <a:gd name="connsiteX34" fmla="*/ 220886 w 1132367"/>
                <a:gd name="connsiteY34" fmla="*/ 320490 h 1059940"/>
                <a:gd name="connsiteX35" fmla="*/ 303747 w 1132367"/>
                <a:gd name="connsiteY35" fmla="*/ 403352 h 1059940"/>
                <a:gd name="connsiteX36" fmla="*/ 322968 w 1132367"/>
                <a:gd name="connsiteY36" fmla="*/ 449755 h 1059940"/>
                <a:gd name="connsiteX37" fmla="*/ 303747 w 1132367"/>
                <a:gd name="connsiteY37" fmla="*/ 496156 h 1059940"/>
                <a:gd name="connsiteX38" fmla="*/ 282039 w 1132367"/>
                <a:gd name="connsiteY38" fmla="*/ 510572 h 1059940"/>
                <a:gd name="connsiteX39" fmla="*/ 210943 w 1132367"/>
                <a:gd name="connsiteY39" fmla="*/ 496156 h 1059940"/>
                <a:gd name="connsiteX40" fmla="*/ 19221 w 1132367"/>
                <a:gd name="connsiteY40" fmla="*/ 304434 h 1059940"/>
                <a:gd name="connsiteX41" fmla="*/ 0 w 1132367"/>
                <a:gd name="connsiteY41" fmla="*/ 258032 h 1059940"/>
                <a:gd name="connsiteX42" fmla="*/ 143 w 1132367"/>
                <a:gd name="connsiteY42" fmla="*/ 257687 h 1059940"/>
                <a:gd name="connsiteX43" fmla="*/ 0 w 1132367"/>
                <a:gd name="connsiteY43" fmla="*/ 257343 h 1059940"/>
                <a:gd name="connsiteX44" fmla="*/ 19221 w 1132367"/>
                <a:gd name="connsiteY44" fmla="*/ 210940 h 1059940"/>
                <a:gd name="connsiteX45" fmla="*/ 210943 w 1132367"/>
                <a:gd name="connsiteY45" fmla="*/ 19220 h 1059940"/>
                <a:gd name="connsiteX46" fmla="*/ 282039 w 1132367"/>
                <a:gd name="connsiteY46" fmla="*/ 4804 h 1059940"/>
                <a:gd name="connsiteX47" fmla="*/ 303747 w 1132367"/>
                <a:gd name="connsiteY47" fmla="*/ 19219 h 1059940"/>
                <a:gd name="connsiteX48" fmla="*/ 322968 w 1132367"/>
                <a:gd name="connsiteY48" fmla="*/ 65621 h 1059940"/>
                <a:gd name="connsiteX49" fmla="*/ 303747 w 1132367"/>
                <a:gd name="connsiteY49" fmla="*/ 112024 h 1059940"/>
                <a:gd name="connsiteX50" fmla="*/ 226527 w 1132367"/>
                <a:gd name="connsiteY50" fmla="*/ 189244 h 1059940"/>
                <a:gd name="connsiteX51" fmla="*/ 416808 w 1132367"/>
                <a:gd name="connsiteY51" fmla="*/ 189245 h 1059940"/>
                <a:gd name="connsiteX52" fmla="*/ 440150 w 1132367"/>
                <a:gd name="connsiteY52" fmla="*/ 193957 h 1059940"/>
                <a:gd name="connsiteX53" fmla="*/ 463483 w 1132367"/>
                <a:gd name="connsiteY53" fmla="*/ 196303 h 1059940"/>
                <a:gd name="connsiteX54" fmla="*/ 636537 w 1132367"/>
                <a:gd name="connsiteY54" fmla="*/ 289894 h 1059940"/>
                <a:gd name="connsiteX55" fmla="*/ 668090 w 1132367"/>
                <a:gd name="connsiteY55" fmla="*/ 331708 h 1059940"/>
                <a:gd name="connsiteX56" fmla="*/ 693101 w 1132367"/>
                <a:gd name="connsiteY56" fmla="*/ 298430 h 1059940"/>
                <a:gd name="connsiteX57" fmla="*/ 862784 w 1132367"/>
                <a:gd name="connsiteY57" fmla="*/ 198855 h 1059940"/>
                <a:gd name="connsiteX58" fmla="*/ 895324 w 1132367"/>
                <a:gd name="connsiteY58" fmla="*/ 195521 h 1059940"/>
                <a:gd name="connsiteX59" fmla="*/ 895442 w 1132367"/>
                <a:gd name="connsiteY59" fmla="*/ 195442 h 1059940"/>
                <a:gd name="connsiteX60" fmla="*/ 920985 w 1132367"/>
                <a:gd name="connsiteY60" fmla="*/ 190285 h 1059940"/>
                <a:gd name="connsiteX61" fmla="*/ 946427 w 1132367"/>
                <a:gd name="connsiteY61" fmla="*/ 190285 h 1059940"/>
                <a:gd name="connsiteX62" fmla="*/ 952205 w 1132367"/>
                <a:gd name="connsiteY62" fmla="*/ 189693 h 1059940"/>
                <a:gd name="connsiteX63" fmla="*/ 952187 w 1132367"/>
                <a:gd name="connsiteY63" fmla="*/ 190285 h 1059940"/>
                <a:gd name="connsiteX64" fmla="*/ 1066744 w 1132367"/>
                <a:gd name="connsiteY64" fmla="*/ 190285 h 1059940"/>
                <a:gd name="connsiteX65" fmla="*/ 1132367 w 1132367"/>
                <a:gd name="connsiteY65" fmla="*/ 255908 h 1059940"/>
                <a:gd name="connsiteX66" fmla="*/ 1132366 w 1132367"/>
                <a:gd name="connsiteY66" fmla="*/ 255908 h 1059940"/>
                <a:gd name="connsiteX67" fmla="*/ 1066743 w 1132367"/>
                <a:gd name="connsiteY67" fmla="*/ 321531 h 1059940"/>
                <a:gd name="connsiteX68" fmla="*/ 948100 w 1132367"/>
                <a:gd name="connsiteY68" fmla="*/ 321530 h 1059940"/>
                <a:gd name="connsiteX69" fmla="*/ 948033 w 1132367"/>
                <a:gd name="connsiteY69" fmla="*/ 323674 h 1059940"/>
                <a:gd name="connsiteX70" fmla="*/ 767088 w 1132367"/>
                <a:gd name="connsiteY70" fmla="*/ 421977 h 1059940"/>
                <a:gd name="connsiteX71" fmla="*/ 763884 w 1132367"/>
                <a:gd name="connsiteY71" fmla="*/ 627876 h 1059940"/>
                <a:gd name="connsiteX72" fmla="*/ 941683 w 1132367"/>
                <a:gd name="connsiteY72" fmla="*/ 731761 h 1059940"/>
                <a:gd name="connsiteX73" fmla="*/ 941683 w 1132367"/>
                <a:gd name="connsiteY73" fmla="*/ 734848 h 1059940"/>
                <a:gd name="connsiteX74" fmla="*/ 1066744 w 1132367"/>
                <a:gd name="connsiteY74" fmla="*/ 734848 h 1059940"/>
                <a:gd name="connsiteX75" fmla="*/ 1132367 w 1132367"/>
                <a:gd name="connsiteY75" fmla="*/ 800471 h 1059940"/>
                <a:gd name="connsiteX76" fmla="*/ 1132366 w 1132367"/>
                <a:gd name="connsiteY76" fmla="*/ 800471 h 1059940"/>
                <a:gd name="connsiteX77" fmla="*/ 1066743 w 1132367"/>
                <a:gd name="connsiteY77" fmla="*/ 866094 h 1059940"/>
                <a:gd name="connsiteX78" fmla="*/ 920985 w 1132367"/>
                <a:gd name="connsiteY78" fmla="*/ 866093 h 1059940"/>
                <a:gd name="connsiteX79" fmla="*/ 895442 w 1132367"/>
                <a:gd name="connsiteY79" fmla="*/ 860936 h 1059940"/>
                <a:gd name="connsiteX80" fmla="*/ 892985 w 1132367"/>
                <a:gd name="connsiteY80" fmla="*/ 859280 h 1059940"/>
                <a:gd name="connsiteX81" fmla="*/ 852590 w 1132367"/>
                <a:gd name="connsiteY81" fmla="*/ 853866 h 1059940"/>
                <a:gd name="connsiteX82" fmla="*/ 686088 w 1132367"/>
                <a:gd name="connsiteY82" fmla="*/ 749060 h 1059940"/>
                <a:gd name="connsiteX83" fmla="*/ 668377 w 1132367"/>
                <a:gd name="connsiteY83" fmla="*/ 723901 h 1059940"/>
                <a:gd name="connsiteX84" fmla="*/ 629022 w 1132367"/>
                <a:gd name="connsiteY84" fmla="*/ 772810 h 1059940"/>
                <a:gd name="connsiteX85" fmla="*/ 453139 w 1132367"/>
                <a:gd name="connsiteY85" fmla="*/ 860972 h 1059940"/>
                <a:gd name="connsiteX86" fmla="*/ 428624 w 1132367"/>
                <a:gd name="connsiteY86" fmla="*/ 862667 h 1059940"/>
                <a:gd name="connsiteX87" fmla="*/ 416808 w 1132367"/>
                <a:gd name="connsiteY87" fmla="*/ 865053 h 1059940"/>
                <a:gd name="connsiteX88" fmla="*/ 394132 w 1132367"/>
                <a:gd name="connsiteY88" fmla="*/ 865053 h 1059940"/>
                <a:gd name="connsiteX89" fmla="*/ 385587 w 1132367"/>
                <a:gd name="connsiteY89" fmla="*/ 865644 h 1059940"/>
                <a:gd name="connsiteX90" fmla="*/ 385605 w 1132367"/>
                <a:gd name="connsiteY90" fmla="*/ 865053 h 1059940"/>
                <a:gd name="connsiteX91" fmla="*/ 220886 w 1132367"/>
                <a:gd name="connsiteY91" fmla="*/ 865053 h 1059940"/>
                <a:gd name="connsiteX92" fmla="*/ 303747 w 1132367"/>
                <a:gd name="connsiteY92" fmla="*/ 947915 h 1059940"/>
                <a:gd name="connsiteX93" fmla="*/ 318163 w 1132367"/>
                <a:gd name="connsiteY93" fmla="*/ 1019011 h 1059940"/>
                <a:gd name="connsiteX94" fmla="*/ 303748 w 1132367"/>
                <a:gd name="connsiteY94" fmla="*/ 1040719 h 1059940"/>
                <a:gd name="connsiteX95" fmla="*/ 282039 w 1132367"/>
                <a:gd name="connsiteY95" fmla="*/ 1055135 h 1059940"/>
                <a:gd name="connsiteX96" fmla="*/ 257345 w 1132367"/>
                <a:gd name="connsiteY96" fmla="*/ 1059940 h 105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132367" h="1059940">
                  <a:moveTo>
                    <a:pt x="303748" y="19220"/>
                  </a:moveTo>
                  <a:lnTo>
                    <a:pt x="303747" y="19219"/>
                  </a:lnTo>
                  <a:lnTo>
                    <a:pt x="303747" y="19219"/>
                  </a:lnTo>
                  <a:close/>
                  <a:moveTo>
                    <a:pt x="303747" y="496157"/>
                  </a:moveTo>
                  <a:lnTo>
                    <a:pt x="303747" y="496156"/>
                  </a:lnTo>
                  <a:lnTo>
                    <a:pt x="303748" y="496156"/>
                  </a:lnTo>
                  <a:close/>
                  <a:moveTo>
                    <a:pt x="303748" y="563783"/>
                  </a:moveTo>
                  <a:lnTo>
                    <a:pt x="303747" y="563782"/>
                  </a:lnTo>
                  <a:lnTo>
                    <a:pt x="303747" y="563782"/>
                  </a:lnTo>
                  <a:close/>
                  <a:moveTo>
                    <a:pt x="303747" y="1040720"/>
                  </a:moveTo>
                  <a:lnTo>
                    <a:pt x="303748" y="1040719"/>
                  </a:lnTo>
                  <a:lnTo>
                    <a:pt x="303748" y="1040719"/>
                  </a:lnTo>
                  <a:close/>
                  <a:moveTo>
                    <a:pt x="257345" y="1059940"/>
                  </a:moveTo>
                  <a:cubicBezTo>
                    <a:pt x="240551" y="1059940"/>
                    <a:pt x="223757" y="1053533"/>
                    <a:pt x="210943" y="1040719"/>
                  </a:cubicBezTo>
                  <a:lnTo>
                    <a:pt x="19221" y="848997"/>
                  </a:lnTo>
                  <a:cubicBezTo>
                    <a:pt x="6407" y="836183"/>
                    <a:pt x="0" y="819389"/>
                    <a:pt x="0" y="802595"/>
                  </a:cubicBezTo>
                  <a:lnTo>
                    <a:pt x="91" y="802126"/>
                  </a:lnTo>
                  <a:lnTo>
                    <a:pt x="0" y="801906"/>
                  </a:lnTo>
                  <a:lnTo>
                    <a:pt x="253" y="801296"/>
                  </a:lnTo>
                  <a:lnTo>
                    <a:pt x="4805" y="777901"/>
                  </a:lnTo>
                  <a:lnTo>
                    <a:pt x="18462" y="757334"/>
                  </a:lnTo>
                  <a:lnTo>
                    <a:pt x="19221" y="755503"/>
                  </a:lnTo>
                  <a:lnTo>
                    <a:pt x="210943" y="563783"/>
                  </a:lnTo>
                  <a:cubicBezTo>
                    <a:pt x="230164" y="544562"/>
                    <a:pt x="258341" y="539757"/>
                    <a:pt x="282039" y="549367"/>
                  </a:cubicBezTo>
                  <a:lnTo>
                    <a:pt x="303747" y="563782"/>
                  </a:lnTo>
                  <a:lnTo>
                    <a:pt x="322968" y="610184"/>
                  </a:lnTo>
                  <a:cubicBezTo>
                    <a:pt x="322968" y="626979"/>
                    <a:pt x="316561" y="643773"/>
                    <a:pt x="303747" y="656587"/>
                  </a:cubicBezTo>
                  <a:lnTo>
                    <a:pt x="226527" y="733807"/>
                  </a:lnTo>
                  <a:lnTo>
                    <a:pt x="389692" y="733808"/>
                  </a:lnTo>
                  <a:lnTo>
                    <a:pt x="389759" y="731663"/>
                  </a:lnTo>
                  <a:cubicBezTo>
                    <a:pt x="463396" y="733955"/>
                    <a:pt x="532552" y="696384"/>
                    <a:pt x="570704" y="633360"/>
                  </a:cubicBezTo>
                  <a:cubicBezTo>
                    <a:pt x="608856" y="570336"/>
                    <a:pt x="610080" y="491642"/>
                    <a:pt x="573908" y="427461"/>
                  </a:cubicBezTo>
                  <a:cubicBezTo>
                    <a:pt x="537736" y="363280"/>
                    <a:pt x="469782" y="323576"/>
                    <a:pt x="396109" y="323576"/>
                  </a:cubicBezTo>
                  <a:lnTo>
                    <a:pt x="396109" y="320490"/>
                  </a:lnTo>
                  <a:lnTo>
                    <a:pt x="220886" y="320490"/>
                  </a:lnTo>
                  <a:lnTo>
                    <a:pt x="303747" y="403352"/>
                  </a:lnTo>
                  <a:cubicBezTo>
                    <a:pt x="316561" y="416166"/>
                    <a:pt x="322968" y="432960"/>
                    <a:pt x="322968" y="449755"/>
                  </a:cubicBezTo>
                  <a:lnTo>
                    <a:pt x="303747" y="496156"/>
                  </a:lnTo>
                  <a:lnTo>
                    <a:pt x="282039" y="510572"/>
                  </a:lnTo>
                  <a:cubicBezTo>
                    <a:pt x="258341" y="520182"/>
                    <a:pt x="230164" y="515377"/>
                    <a:pt x="210943" y="496156"/>
                  </a:cubicBezTo>
                  <a:lnTo>
                    <a:pt x="19221" y="304434"/>
                  </a:lnTo>
                  <a:cubicBezTo>
                    <a:pt x="6407" y="291620"/>
                    <a:pt x="0" y="274826"/>
                    <a:pt x="0" y="258032"/>
                  </a:cubicBezTo>
                  <a:lnTo>
                    <a:pt x="143" y="257687"/>
                  </a:lnTo>
                  <a:lnTo>
                    <a:pt x="0" y="257343"/>
                  </a:lnTo>
                  <a:cubicBezTo>
                    <a:pt x="0" y="240548"/>
                    <a:pt x="6407" y="223754"/>
                    <a:pt x="19221" y="210940"/>
                  </a:cubicBezTo>
                  <a:lnTo>
                    <a:pt x="210943" y="19220"/>
                  </a:lnTo>
                  <a:cubicBezTo>
                    <a:pt x="230164" y="-1"/>
                    <a:pt x="258341" y="-4806"/>
                    <a:pt x="282039" y="4804"/>
                  </a:cubicBezTo>
                  <a:lnTo>
                    <a:pt x="303747" y="19219"/>
                  </a:lnTo>
                  <a:lnTo>
                    <a:pt x="322968" y="65621"/>
                  </a:lnTo>
                  <a:cubicBezTo>
                    <a:pt x="322968" y="82416"/>
                    <a:pt x="316561" y="99210"/>
                    <a:pt x="303747" y="112024"/>
                  </a:cubicBezTo>
                  <a:lnTo>
                    <a:pt x="226527" y="189244"/>
                  </a:lnTo>
                  <a:lnTo>
                    <a:pt x="416808" y="189245"/>
                  </a:lnTo>
                  <a:lnTo>
                    <a:pt x="440150" y="193957"/>
                  </a:lnTo>
                  <a:lnTo>
                    <a:pt x="463483" y="196303"/>
                  </a:lnTo>
                  <a:cubicBezTo>
                    <a:pt x="529289" y="209680"/>
                    <a:pt x="589535" y="242374"/>
                    <a:pt x="636537" y="289894"/>
                  </a:cubicBezTo>
                  <a:lnTo>
                    <a:pt x="668090" y="331708"/>
                  </a:lnTo>
                  <a:lnTo>
                    <a:pt x="693101" y="298430"/>
                  </a:lnTo>
                  <a:cubicBezTo>
                    <a:pt x="738623" y="249063"/>
                    <a:pt x="797790" y="214455"/>
                    <a:pt x="862784" y="198855"/>
                  </a:cubicBezTo>
                  <a:lnTo>
                    <a:pt x="895324" y="195521"/>
                  </a:lnTo>
                  <a:lnTo>
                    <a:pt x="895442" y="195442"/>
                  </a:lnTo>
                  <a:cubicBezTo>
                    <a:pt x="903293" y="192121"/>
                    <a:pt x="911924" y="190285"/>
                    <a:pt x="920985" y="190285"/>
                  </a:cubicBezTo>
                  <a:lnTo>
                    <a:pt x="946427" y="190285"/>
                  </a:lnTo>
                  <a:lnTo>
                    <a:pt x="952205" y="189693"/>
                  </a:lnTo>
                  <a:lnTo>
                    <a:pt x="952187" y="190285"/>
                  </a:lnTo>
                  <a:lnTo>
                    <a:pt x="1066744" y="190285"/>
                  </a:lnTo>
                  <a:cubicBezTo>
                    <a:pt x="1102987" y="190285"/>
                    <a:pt x="1132367" y="219665"/>
                    <a:pt x="1132367" y="255908"/>
                  </a:cubicBezTo>
                  <a:lnTo>
                    <a:pt x="1132366" y="255908"/>
                  </a:lnTo>
                  <a:cubicBezTo>
                    <a:pt x="1132366" y="292151"/>
                    <a:pt x="1102986" y="321531"/>
                    <a:pt x="1066743" y="321531"/>
                  </a:cubicBezTo>
                  <a:lnTo>
                    <a:pt x="948100" y="321530"/>
                  </a:lnTo>
                  <a:lnTo>
                    <a:pt x="948033" y="323674"/>
                  </a:lnTo>
                  <a:cubicBezTo>
                    <a:pt x="874396" y="321382"/>
                    <a:pt x="805240" y="358953"/>
                    <a:pt x="767088" y="421977"/>
                  </a:cubicBezTo>
                  <a:cubicBezTo>
                    <a:pt x="728936" y="485001"/>
                    <a:pt x="727712" y="563695"/>
                    <a:pt x="763884" y="627876"/>
                  </a:cubicBezTo>
                  <a:cubicBezTo>
                    <a:pt x="800056" y="692057"/>
                    <a:pt x="868010" y="731761"/>
                    <a:pt x="941683" y="731761"/>
                  </a:cubicBezTo>
                  <a:lnTo>
                    <a:pt x="941683" y="734848"/>
                  </a:lnTo>
                  <a:lnTo>
                    <a:pt x="1066744" y="734848"/>
                  </a:lnTo>
                  <a:cubicBezTo>
                    <a:pt x="1102987" y="734848"/>
                    <a:pt x="1132367" y="764228"/>
                    <a:pt x="1132367" y="800471"/>
                  </a:cubicBezTo>
                  <a:lnTo>
                    <a:pt x="1132366" y="800471"/>
                  </a:lnTo>
                  <a:cubicBezTo>
                    <a:pt x="1132366" y="836714"/>
                    <a:pt x="1102986" y="866094"/>
                    <a:pt x="1066743" y="866094"/>
                  </a:cubicBezTo>
                  <a:lnTo>
                    <a:pt x="920985" y="866093"/>
                  </a:lnTo>
                  <a:cubicBezTo>
                    <a:pt x="911924" y="866093"/>
                    <a:pt x="903293" y="864257"/>
                    <a:pt x="895442" y="860936"/>
                  </a:cubicBezTo>
                  <a:lnTo>
                    <a:pt x="892985" y="859280"/>
                  </a:lnTo>
                  <a:lnTo>
                    <a:pt x="852590" y="853866"/>
                  </a:lnTo>
                  <a:cubicBezTo>
                    <a:pt x="788114" y="836252"/>
                    <a:pt x="730052" y="799820"/>
                    <a:pt x="686088" y="749060"/>
                  </a:cubicBezTo>
                  <a:lnTo>
                    <a:pt x="668377" y="723901"/>
                  </a:lnTo>
                  <a:lnTo>
                    <a:pt x="629022" y="772810"/>
                  </a:lnTo>
                  <a:cubicBezTo>
                    <a:pt x="580564" y="818845"/>
                    <a:pt x="519330" y="849649"/>
                    <a:pt x="453139" y="860972"/>
                  </a:cubicBezTo>
                  <a:lnTo>
                    <a:pt x="428624" y="862667"/>
                  </a:lnTo>
                  <a:lnTo>
                    <a:pt x="416808" y="865053"/>
                  </a:lnTo>
                  <a:lnTo>
                    <a:pt x="394132" y="865053"/>
                  </a:lnTo>
                  <a:lnTo>
                    <a:pt x="385587" y="865644"/>
                  </a:lnTo>
                  <a:lnTo>
                    <a:pt x="385605" y="865053"/>
                  </a:lnTo>
                  <a:lnTo>
                    <a:pt x="220886" y="865053"/>
                  </a:lnTo>
                  <a:lnTo>
                    <a:pt x="303747" y="947915"/>
                  </a:lnTo>
                  <a:cubicBezTo>
                    <a:pt x="322968" y="967136"/>
                    <a:pt x="327773" y="995313"/>
                    <a:pt x="318163" y="1019011"/>
                  </a:cubicBezTo>
                  <a:lnTo>
                    <a:pt x="303748" y="1040719"/>
                  </a:lnTo>
                  <a:lnTo>
                    <a:pt x="282039" y="1055135"/>
                  </a:lnTo>
                  <a:cubicBezTo>
                    <a:pt x="274140" y="1058338"/>
                    <a:pt x="265743" y="1059940"/>
                    <a:pt x="257345" y="105994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34" name="Group 133"/>
          <p:cNvGrpSpPr>
            <a:grpSpLocks noChangeAspect="1"/>
          </p:cNvGrpSpPr>
          <p:nvPr/>
        </p:nvGrpSpPr>
        <p:grpSpPr>
          <a:xfrm>
            <a:off x="7722192" y="1601582"/>
            <a:ext cx="228600" cy="228600"/>
            <a:chOff x="5392201" y="130511"/>
            <a:chExt cx="308293" cy="308293"/>
          </a:xfrm>
        </p:grpSpPr>
        <p:sp>
          <p:nvSpPr>
            <p:cNvPr id="135" name="Oval 134"/>
            <p:cNvSpPr/>
            <p:nvPr/>
          </p:nvSpPr>
          <p:spPr>
            <a:xfrm>
              <a:off x="5392201" y="130511"/>
              <a:ext cx="308293" cy="30829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6" name="Freeform 135"/>
            <p:cNvSpPr/>
            <p:nvPr/>
          </p:nvSpPr>
          <p:spPr>
            <a:xfrm rot="10800000">
              <a:off x="5441556" y="188122"/>
              <a:ext cx="209581" cy="196176"/>
            </a:xfrm>
            <a:custGeom>
              <a:avLst/>
              <a:gdLst>
                <a:gd name="connsiteX0" fmla="*/ 303748 w 1132367"/>
                <a:gd name="connsiteY0" fmla="*/ 19220 h 1059940"/>
                <a:gd name="connsiteX1" fmla="*/ 303747 w 1132367"/>
                <a:gd name="connsiteY1" fmla="*/ 19219 h 1059940"/>
                <a:gd name="connsiteX2" fmla="*/ 303747 w 1132367"/>
                <a:gd name="connsiteY2" fmla="*/ 19219 h 1059940"/>
                <a:gd name="connsiteX3" fmla="*/ 303747 w 1132367"/>
                <a:gd name="connsiteY3" fmla="*/ 496157 h 1059940"/>
                <a:gd name="connsiteX4" fmla="*/ 303747 w 1132367"/>
                <a:gd name="connsiteY4" fmla="*/ 496156 h 1059940"/>
                <a:gd name="connsiteX5" fmla="*/ 303748 w 1132367"/>
                <a:gd name="connsiteY5" fmla="*/ 496156 h 1059940"/>
                <a:gd name="connsiteX6" fmla="*/ 303748 w 1132367"/>
                <a:gd name="connsiteY6" fmla="*/ 563783 h 1059940"/>
                <a:gd name="connsiteX7" fmla="*/ 303747 w 1132367"/>
                <a:gd name="connsiteY7" fmla="*/ 563782 h 1059940"/>
                <a:gd name="connsiteX8" fmla="*/ 303747 w 1132367"/>
                <a:gd name="connsiteY8" fmla="*/ 563782 h 1059940"/>
                <a:gd name="connsiteX9" fmla="*/ 303747 w 1132367"/>
                <a:gd name="connsiteY9" fmla="*/ 1040720 h 1059940"/>
                <a:gd name="connsiteX10" fmla="*/ 303748 w 1132367"/>
                <a:gd name="connsiteY10" fmla="*/ 1040719 h 1059940"/>
                <a:gd name="connsiteX11" fmla="*/ 303748 w 1132367"/>
                <a:gd name="connsiteY11" fmla="*/ 1040719 h 1059940"/>
                <a:gd name="connsiteX12" fmla="*/ 257345 w 1132367"/>
                <a:gd name="connsiteY12" fmla="*/ 1059940 h 1059940"/>
                <a:gd name="connsiteX13" fmla="*/ 210943 w 1132367"/>
                <a:gd name="connsiteY13" fmla="*/ 1040719 h 1059940"/>
                <a:gd name="connsiteX14" fmla="*/ 19221 w 1132367"/>
                <a:gd name="connsiteY14" fmla="*/ 848997 h 1059940"/>
                <a:gd name="connsiteX15" fmla="*/ 0 w 1132367"/>
                <a:gd name="connsiteY15" fmla="*/ 802595 h 1059940"/>
                <a:gd name="connsiteX16" fmla="*/ 91 w 1132367"/>
                <a:gd name="connsiteY16" fmla="*/ 802126 h 1059940"/>
                <a:gd name="connsiteX17" fmla="*/ 0 w 1132367"/>
                <a:gd name="connsiteY17" fmla="*/ 801906 h 1059940"/>
                <a:gd name="connsiteX18" fmla="*/ 253 w 1132367"/>
                <a:gd name="connsiteY18" fmla="*/ 801296 h 1059940"/>
                <a:gd name="connsiteX19" fmla="*/ 4805 w 1132367"/>
                <a:gd name="connsiteY19" fmla="*/ 777901 h 1059940"/>
                <a:gd name="connsiteX20" fmla="*/ 18462 w 1132367"/>
                <a:gd name="connsiteY20" fmla="*/ 757334 h 1059940"/>
                <a:gd name="connsiteX21" fmla="*/ 19221 w 1132367"/>
                <a:gd name="connsiteY21" fmla="*/ 755503 h 1059940"/>
                <a:gd name="connsiteX22" fmla="*/ 210943 w 1132367"/>
                <a:gd name="connsiteY22" fmla="*/ 563783 h 1059940"/>
                <a:gd name="connsiteX23" fmla="*/ 282039 w 1132367"/>
                <a:gd name="connsiteY23" fmla="*/ 549367 h 1059940"/>
                <a:gd name="connsiteX24" fmla="*/ 303747 w 1132367"/>
                <a:gd name="connsiteY24" fmla="*/ 563782 h 1059940"/>
                <a:gd name="connsiteX25" fmla="*/ 322968 w 1132367"/>
                <a:gd name="connsiteY25" fmla="*/ 610184 h 1059940"/>
                <a:gd name="connsiteX26" fmla="*/ 303747 w 1132367"/>
                <a:gd name="connsiteY26" fmla="*/ 656587 h 1059940"/>
                <a:gd name="connsiteX27" fmla="*/ 226527 w 1132367"/>
                <a:gd name="connsiteY27" fmla="*/ 733807 h 1059940"/>
                <a:gd name="connsiteX28" fmla="*/ 389692 w 1132367"/>
                <a:gd name="connsiteY28" fmla="*/ 733808 h 1059940"/>
                <a:gd name="connsiteX29" fmla="*/ 389759 w 1132367"/>
                <a:gd name="connsiteY29" fmla="*/ 731663 h 1059940"/>
                <a:gd name="connsiteX30" fmla="*/ 570704 w 1132367"/>
                <a:gd name="connsiteY30" fmla="*/ 633360 h 1059940"/>
                <a:gd name="connsiteX31" fmla="*/ 573908 w 1132367"/>
                <a:gd name="connsiteY31" fmla="*/ 427461 h 1059940"/>
                <a:gd name="connsiteX32" fmla="*/ 396109 w 1132367"/>
                <a:gd name="connsiteY32" fmla="*/ 323576 h 1059940"/>
                <a:gd name="connsiteX33" fmla="*/ 396109 w 1132367"/>
                <a:gd name="connsiteY33" fmla="*/ 320490 h 1059940"/>
                <a:gd name="connsiteX34" fmla="*/ 220886 w 1132367"/>
                <a:gd name="connsiteY34" fmla="*/ 320490 h 1059940"/>
                <a:gd name="connsiteX35" fmla="*/ 303747 w 1132367"/>
                <a:gd name="connsiteY35" fmla="*/ 403352 h 1059940"/>
                <a:gd name="connsiteX36" fmla="*/ 322968 w 1132367"/>
                <a:gd name="connsiteY36" fmla="*/ 449755 h 1059940"/>
                <a:gd name="connsiteX37" fmla="*/ 303747 w 1132367"/>
                <a:gd name="connsiteY37" fmla="*/ 496156 h 1059940"/>
                <a:gd name="connsiteX38" fmla="*/ 282039 w 1132367"/>
                <a:gd name="connsiteY38" fmla="*/ 510572 h 1059940"/>
                <a:gd name="connsiteX39" fmla="*/ 210943 w 1132367"/>
                <a:gd name="connsiteY39" fmla="*/ 496156 h 1059940"/>
                <a:gd name="connsiteX40" fmla="*/ 19221 w 1132367"/>
                <a:gd name="connsiteY40" fmla="*/ 304434 h 1059940"/>
                <a:gd name="connsiteX41" fmla="*/ 0 w 1132367"/>
                <a:gd name="connsiteY41" fmla="*/ 258032 h 1059940"/>
                <a:gd name="connsiteX42" fmla="*/ 143 w 1132367"/>
                <a:gd name="connsiteY42" fmla="*/ 257687 h 1059940"/>
                <a:gd name="connsiteX43" fmla="*/ 0 w 1132367"/>
                <a:gd name="connsiteY43" fmla="*/ 257343 h 1059940"/>
                <a:gd name="connsiteX44" fmla="*/ 19221 w 1132367"/>
                <a:gd name="connsiteY44" fmla="*/ 210940 h 1059940"/>
                <a:gd name="connsiteX45" fmla="*/ 210943 w 1132367"/>
                <a:gd name="connsiteY45" fmla="*/ 19220 h 1059940"/>
                <a:gd name="connsiteX46" fmla="*/ 282039 w 1132367"/>
                <a:gd name="connsiteY46" fmla="*/ 4804 h 1059940"/>
                <a:gd name="connsiteX47" fmla="*/ 303747 w 1132367"/>
                <a:gd name="connsiteY47" fmla="*/ 19219 h 1059940"/>
                <a:gd name="connsiteX48" fmla="*/ 322968 w 1132367"/>
                <a:gd name="connsiteY48" fmla="*/ 65621 h 1059940"/>
                <a:gd name="connsiteX49" fmla="*/ 303747 w 1132367"/>
                <a:gd name="connsiteY49" fmla="*/ 112024 h 1059940"/>
                <a:gd name="connsiteX50" fmla="*/ 226527 w 1132367"/>
                <a:gd name="connsiteY50" fmla="*/ 189244 h 1059940"/>
                <a:gd name="connsiteX51" fmla="*/ 416808 w 1132367"/>
                <a:gd name="connsiteY51" fmla="*/ 189245 h 1059940"/>
                <a:gd name="connsiteX52" fmla="*/ 440150 w 1132367"/>
                <a:gd name="connsiteY52" fmla="*/ 193957 h 1059940"/>
                <a:gd name="connsiteX53" fmla="*/ 463483 w 1132367"/>
                <a:gd name="connsiteY53" fmla="*/ 196303 h 1059940"/>
                <a:gd name="connsiteX54" fmla="*/ 636537 w 1132367"/>
                <a:gd name="connsiteY54" fmla="*/ 289894 h 1059940"/>
                <a:gd name="connsiteX55" fmla="*/ 668090 w 1132367"/>
                <a:gd name="connsiteY55" fmla="*/ 331708 h 1059940"/>
                <a:gd name="connsiteX56" fmla="*/ 693101 w 1132367"/>
                <a:gd name="connsiteY56" fmla="*/ 298430 h 1059940"/>
                <a:gd name="connsiteX57" fmla="*/ 862784 w 1132367"/>
                <a:gd name="connsiteY57" fmla="*/ 198855 h 1059940"/>
                <a:gd name="connsiteX58" fmla="*/ 895324 w 1132367"/>
                <a:gd name="connsiteY58" fmla="*/ 195521 h 1059940"/>
                <a:gd name="connsiteX59" fmla="*/ 895442 w 1132367"/>
                <a:gd name="connsiteY59" fmla="*/ 195442 h 1059940"/>
                <a:gd name="connsiteX60" fmla="*/ 920985 w 1132367"/>
                <a:gd name="connsiteY60" fmla="*/ 190285 h 1059940"/>
                <a:gd name="connsiteX61" fmla="*/ 946427 w 1132367"/>
                <a:gd name="connsiteY61" fmla="*/ 190285 h 1059940"/>
                <a:gd name="connsiteX62" fmla="*/ 952205 w 1132367"/>
                <a:gd name="connsiteY62" fmla="*/ 189693 h 1059940"/>
                <a:gd name="connsiteX63" fmla="*/ 952187 w 1132367"/>
                <a:gd name="connsiteY63" fmla="*/ 190285 h 1059940"/>
                <a:gd name="connsiteX64" fmla="*/ 1066744 w 1132367"/>
                <a:gd name="connsiteY64" fmla="*/ 190285 h 1059940"/>
                <a:gd name="connsiteX65" fmla="*/ 1132367 w 1132367"/>
                <a:gd name="connsiteY65" fmla="*/ 255908 h 1059940"/>
                <a:gd name="connsiteX66" fmla="*/ 1132366 w 1132367"/>
                <a:gd name="connsiteY66" fmla="*/ 255908 h 1059940"/>
                <a:gd name="connsiteX67" fmla="*/ 1066743 w 1132367"/>
                <a:gd name="connsiteY67" fmla="*/ 321531 h 1059940"/>
                <a:gd name="connsiteX68" fmla="*/ 948100 w 1132367"/>
                <a:gd name="connsiteY68" fmla="*/ 321530 h 1059940"/>
                <a:gd name="connsiteX69" fmla="*/ 948033 w 1132367"/>
                <a:gd name="connsiteY69" fmla="*/ 323674 h 1059940"/>
                <a:gd name="connsiteX70" fmla="*/ 767088 w 1132367"/>
                <a:gd name="connsiteY70" fmla="*/ 421977 h 1059940"/>
                <a:gd name="connsiteX71" fmla="*/ 763884 w 1132367"/>
                <a:gd name="connsiteY71" fmla="*/ 627876 h 1059940"/>
                <a:gd name="connsiteX72" fmla="*/ 941683 w 1132367"/>
                <a:gd name="connsiteY72" fmla="*/ 731761 h 1059940"/>
                <a:gd name="connsiteX73" fmla="*/ 941683 w 1132367"/>
                <a:gd name="connsiteY73" fmla="*/ 734848 h 1059940"/>
                <a:gd name="connsiteX74" fmla="*/ 1066744 w 1132367"/>
                <a:gd name="connsiteY74" fmla="*/ 734848 h 1059940"/>
                <a:gd name="connsiteX75" fmla="*/ 1132367 w 1132367"/>
                <a:gd name="connsiteY75" fmla="*/ 800471 h 1059940"/>
                <a:gd name="connsiteX76" fmla="*/ 1132366 w 1132367"/>
                <a:gd name="connsiteY76" fmla="*/ 800471 h 1059940"/>
                <a:gd name="connsiteX77" fmla="*/ 1066743 w 1132367"/>
                <a:gd name="connsiteY77" fmla="*/ 866094 h 1059940"/>
                <a:gd name="connsiteX78" fmla="*/ 920985 w 1132367"/>
                <a:gd name="connsiteY78" fmla="*/ 866093 h 1059940"/>
                <a:gd name="connsiteX79" fmla="*/ 895442 w 1132367"/>
                <a:gd name="connsiteY79" fmla="*/ 860936 h 1059940"/>
                <a:gd name="connsiteX80" fmla="*/ 892985 w 1132367"/>
                <a:gd name="connsiteY80" fmla="*/ 859280 h 1059940"/>
                <a:gd name="connsiteX81" fmla="*/ 852590 w 1132367"/>
                <a:gd name="connsiteY81" fmla="*/ 853866 h 1059940"/>
                <a:gd name="connsiteX82" fmla="*/ 686088 w 1132367"/>
                <a:gd name="connsiteY82" fmla="*/ 749060 h 1059940"/>
                <a:gd name="connsiteX83" fmla="*/ 668377 w 1132367"/>
                <a:gd name="connsiteY83" fmla="*/ 723901 h 1059940"/>
                <a:gd name="connsiteX84" fmla="*/ 629022 w 1132367"/>
                <a:gd name="connsiteY84" fmla="*/ 772810 h 1059940"/>
                <a:gd name="connsiteX85" fmla="*/ 453139 w 1132367"/>
                <a:gd name="connsiteY85" fmla="*/ 860972 h 1059940"/>
                <a:gd name="connsiteX86" fmla="*/ 428624 w 1132367"/>
                <a:gd name="connsiteY86" fmla="*/ 862667 h 1059940"/>
                <a:gd name="connsiteX87" fmla="*/ 416808 w 1132367"/>
                <a:gd name="connsiteY87" fmla="*/ 865053 h 1059940"/>
                <a:gd name="connsiteX88" fmla="*/ 394132 w 1132367"/>
                <a:gd name="connsiteY88" fmla="*/ 865053 h 1059940"/>
                <a:gd name="connsiteX89" fmla="*/ 385587 w 1132367"/>
                <a:gd name="connsiteY89" fmla="*/ 865644 h 1059940"/>
                <a:gd name="connsiteX90" fmla="*/ 385605 w 1132367"/>
                <a:gd name="connsiteY90" fmla="*/ 865053 h 1059940"/>
                <a:gd name="connsiteX91" fmla="*/ 220886 w 1132367"/>
                <a:gd name="connsiteY91" fmla="*/ 865053 h 1059940"/>
                <a:gd name="connsiteX92" fmla="*/ 303747 w 1132367"/>
                <a:gd name="connsiteY92" fmla="*/ 947915 h 1059940"/>
                <a:gd name="connsiteX93" fmla="*/ 318163 w 1132367"/>
                <a:gd name="connsiteY93" fmla="*/ 1019011 h 1059940"/>
                <a:gd name="connsiteX94" fmla="*/ 303748 w 1132367"/>
                <a:gd name="connsiteY94" fmla="*/ 1040719 h 1059940"/>
                <a:gd name="connsiteX95" fmla="*/ 282039 w 1132367"/>
                <a:gd name="connsiteY95" fmla="*/ 1055135 h 1059940"/>
                <a:gd name="connsiteX96" fmla="*/ 257345 w 1132367"/>
                <a:gd name="connsiteY96" fmla="*/ 1059940 h 105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132367" h="1059940">
                  <a:moveTo>
                    <a:pt x="303748" y="19220"/>
                  </a:moveTo>
                  <a:lnTo>
                    <a:pt x="303747" y="19219"/>
                  </a:lnTo>
                  <a:lnTo>
                    <a:pt x="303747" y="19219"/>
                  </a:lnTo>
                  <a:close/>
                  <a:moveTo>
                    <a:pt x="303747" y="496157"/>
                  </a:moveTo>
                  <a:lnTo>
                    <a:pt x="303747" y="496156"/>
                  </a:lnTo>
                  <a:lnTo>
                    <a:pt x="303748" y="496156"/>
                  </a:lnTo>
                  <a:close/>
                  <a:moveTo>
                    <a:pt x="303748" y="563783"/>
                  </a:moveTo>
                  <a:lnTo>
                    <a:pt x="303747" y="563782"/>
                  </a:lnTo>
                  <a:lnTo>
                    <a:pt x="303747" y="563782"/>
                  </a:lnTo>
                  <a:close/>
                  <a:moveTo>
                    <a:pt x="303747" y="1040720"/>
                  </a:moveTo>
                  <a:lnTo>
                    <a:pt x="303748" y="1040719"/>
                  </a:lnTo>
                  <a:lnTo>
                    <a:pt x="303748" y="1040719"/>
                  </a:lnTo>
                  <a:close/>
                  <a:moveTo>
                    <a:pt x="257345" y="1059940"/>
                  </a:moveTo>
                  <a:cubicBezTo>
                    <a:pt x="240551" y="1059940"/>
                    <a:pt x="223757" y="1053533"/>
                    <a:pt x="210943" y="1040719"/>
                  </a:cubicBezTo>
                  <a:lnTo>
                    <a:pt x="19221" y="848997"/>
                  </a:lnTo>
                  <a:cubicBezTo>
                    <a:pt x="6407" y="836183"/>
                    <a:pt x="0" y="819389"/>
                    <a:pt x="0" y="802595"/>
                  </a:cubicBezTo>
                  <a:lnTo>
                    <a:pt x="91" y="802126"/>
                  </a:lnTo>
                  <a:lnTo>
                    <a:pt x="0" y="801906"/>
                  </a:lnTo>
                  <a:lnTo>
                    <a:pt x="253" y="801296"/>
                  </a:lnTo>
                  <a:lnTo>
                    <a:pt x="4805" y="777901"/>
                  </a:lnTo>
                  <a:lnTo>
                    <a:pt x="18462" y="757334"/>
                  </a:lnTo>
                  <a:lnTo>
                    <a:pt x="19221" y="755503"/>
                  </a:lnTo>
                  <a:lnTo>
                    <a:pt x="210943" y="563783"/>
                  </a:lnTo>
                  <a:cubicBezTo>
                    <a:pt x="230164" y="544562"/>
                    <a:pt x="258341" y="539757"/>
                    <a:pt x="282039" y="549367"/>
                  </a:cubicBezTo>
                  <a:lnTo>
                    <a:pt x="303747" y="563782"/>
                  </a:lnTo>
                  <a:lnTo>
                    <a:pt x="322968" y="610184"/>
                  </a:lnTo>
                  <a:cubicBezTo>
                    <a:pt x="322968" y="626979"/>
                    <a:pt x="316561" y="643773"/>
                    <a:pt x="303747" y="656587"/>
                  </a:cubicBezTo>
                  <a:lnTo>
                    <a:pt x="226527" y="733807"/>
                  </a:lnTo>
                  <a:lnTo>
                    <a:pt x="389692" y="733808"/>
                  </a:lnTo>
                  <a:lnTo>
                    <a:pt x="389759" y="731663"/>
                  </a:lnTo>
                  <a:cubicBezTo>
                    <a:pt x="463396" y="733955"/>
                    <a:pt x="532552" y="696384"/>
                    <a:pt x="570704" y="633360"/>
                  </a:cubicBezTo>
                  <a:cubicBezTo>
                    <a:pt x="608856" y="570336"/>
                    <a:pt x="610080" y="491642"/>
                    <a:pt x="573908" y="427461"/>
                  </a:cubicBezTo>
                  <a:cubicBezTo>
                    <a:pt x="537736" y="363280"/>
                    <a:pt x="469782" y="323576"/>
                    <a:pt x="396109" y="323576"/>
                  </a:cubicBezTo>
                  <a:lnTo>
                    <a:pt x="396109" y="320490"/>
                  </a:lnTo>
                  <a:lnTo>
                    <a:pt x="220886" y="320490"/>
                  </a:lnTo>
                  <a:lnTo>
                    <a:pt x="303747" y="403352"/>
                  </a:lnTo>
                  <a:cubicBezTo>
                    <a:pt x="316561" y="416166"/>
                    <a:pt x="322968" y="432960"/>
                    <a:pt x="322968" y="449755"/>
                  </a:cubicBezTo>
                  <a:lnTo>
                    <a:pt x="303747" y="496156"/>
                  </a:lnTo>
                  <a:lnTo>
                    <a:pt x="282039" y="510572"/>
                  </a:lnTo>
                  <a:cubicBezTo>
                    <a:pt x="258341" y="520182"/>
                    <a:pt x="230164" y="515377"/>
                    <a:pt x="210943" y="496156"/>
                  </a:cubicBezTo>
                  <a:lnTo>
                    <a:pt x="19221" y="304434"/>
                  </a:lnTo>
                  <a:cubicBezTo>
                    <a:pt x="6407" y="291620"/>
                    <a:pt x="0" y="274826"/>
                    <a:pt x="0" y="258032"/>
                  </a:cubicBezTo>
                  <a:lnTo>
                    <a:pt x="143" y="257687"/>
                  </a:lnTo>
                  <a:lnTo>
                    <a:pt x="0" y="257343"/>
                  </a:lnTo>
                  <a:cubicBezTo>
                    <a:pt x="0" y="240548"/>
                    <a:pt x="6407" y="223754"/>
                    <a:pt x="19221" y="210940"/>
                  </a:cubicBezTo>
                  <a:lnTo>
                    <a:pt x="210943" y="19220"/>
                  </a:lnTo>
                  <a:cubicBezTo>
                    <a:pt x="230164" y="-1"/>
                    <a:pt x="258341" y="-4806"/>
                    <a:pt x="282039" y="4804"/>
                  </a:cubicBezTo>
                  <a:lnTo>
                    <a:pt x="303747" y="19219"/>
                  </a:lnTo>
                  <a:lnTo>
                    <a:pt x="322968" y="65621"/>
                  </a:lnTo>
                  <a:cubicBezTo>
                    <a:pt x="322968" y="82416"/>
                    <a:pt x="316561" y="99210"/>
                    <a:pt x="303747" y="112024"/>
                  </a:cubicBezTo>
                  <a:lnTo>
                    <a:pt x="226527" y="189244"/>
                  </a:lnTo>
                  <a:lnTo>
                    <a:pt x="416808" y="189245"/>
                  </a:lnTo>
                  <a:lnTo>
                    <a:pt x="440150" y="193957"/>
                  </a:lnTo>
                  <a:lnTo>
                    <a:pt x="463483" y="196303"/>
                  </a:lnTo>
                  <a:cubicBezTo>
                    <a:pt x="529289" y="209680"/>
                    <a:pt x="589535" y="242374"/>
                    <a:pt x="636537" y="289894"/>
                  </a:cubicBezTo>
                  <a:lnTo>
                    <a:pt x="668090" y="331708"/>
                  </a:lnTo>
                  <a:lnTo>
                    <a:pt x="693101" y="298430"/>
                  </a:lnTo>
                  <a:cubicBezTo>
                    <a:pt x="738623" y="249063"/>
                    <a:pt x="797790" y="214455"/>
                    <a:pt x="862784" y="198855"/>
                  </a:cubicBezTo>
                  <a:lnTo>
                    <a:pt x="895324" y="195521"/>
                  </a:lnTo>
                  <a:lnTo>
                    <a:pt x="895442" y="195442"/>
                  </a:lnTo>
                  <a:cubicBezTo>
                    <a:pt x="903293" y="192121"/>
                    <a:pt x="911924" y="190285"/>
                    <a:pt x="920985" y="190285"/>
                  </a:cubicBezTo>
                  <a:lnTo>
                    <a:pt x="946427" y="190285"/>
                  </a:lnTo>
                  <a:lnTo>
                    <a:pt x="952205" y="189693"/>
                  </a:lnTo>
                  <a:lnTo>
                    <a:pt x="952187" y="190285"/>
                  </a:lnTo>
                  <a:lnTo>
                    <a:pt x="1066744" y="190285"/>
                  </a:lnTo>
                  <a:cubicBezTo>
                    <a:pt x="1102987" y="190285"/>
                    <a:pt x="1132367" y="219665"/>
                    <a:pt x="1132367" y="255908"/>
                  </a:cubicBezTo>
                  <a:lnTo>
                    <a:pt x="1132366" y="255908"/>
                  </a:lnTo>
                  <a:cubicBezTo>
                    <a:pt x="1132366" y="292151"/>
                    <a:pt x="1102986" y="321531"/>
                    <a:pt x="1066743" y="321531"/>
                  </a:cubicBezTo>
                  <a:lnTo>
                    <a:pt x="948100" y="321530"/>
                  </a:lnTo>
                  <a:lnTo>
                    <a:pt x="948033" y="323674"/>
                  </a:lnTo>
                  <a:cubicBezTo>
                    <a:pt x="874396" y="321382"/>
                    <a:pt x="805240" y="358953"/>
                    <a:pt x="767088" y="421977"/>
                  </a:cubicBezTo>
                  <a:cubicBezTo>
                    <a:pt x="728936" y="485001"/>
                    <a:pt x="727712" y="563695"/>
                    <a:pt x="763884" y="627876"/>
                  </a:cubicBezTo>
                  <a:cubicBezTo>
                    <a:pt x="800056" y="692057"/>
                    <a:pt x="868010" y="731761"/>
                    <a:pt x="941683" y="731761"/>
                  </a:cubicBezTo>
                  <a:lnTo>
                    <a:pt x="941683" y="734848"/>
                  </a:lnTo>
                  <a:lnTo>
                    <a:pt x="1066744" y="734848"/>
                  </a:lnTo>
                  <a:cubicBezTo>
                    <a:pt x="1102987" y="734848"/>
                    <a:pt x="1132367" y="764228"/>
                    <a:pt x="1132367" y="800471"/>
                  </a:cubicBezTo>
                  <a:lnTo>
                    <a:pt x="1132366" y="800471"/>
                  </a:lnTo>
                  <a:cubicBezTo>
                    <a:pt x="1132366" y="836714"/>
                    <a:pt x="1102986" y="866094"/>
                    <a:pt x="1066743" y="866094"/>
                  </a:cubicBezTo>
                  <a:lnTo>
                    <a:pt x="920985" y="866093"/>
                  </a:lnTo>
                  <a:cubicBezTo>
                    <a:pt x="911924" y="866093"/>
                    <a:pt x="903293" y="864257"/>
                    <a:pt x="895442" y="860936"/>
                  </a:cubicBezTo>
                  <a:lnTo>
                    <a:pt x="892985" y="859280"/>
                  </a:lnTo>
                  <a:lnTo>
                    <a:pt x="852590" y="853866"/>
                  </a:lnTo>
                  <a:cubicBezTo>
                    <a:pt x="788114" y="836252"/>
                    <a:pt x="730052" y="799820"/>
                    <a:pt x="686088" y="749060"/>
                  </a:cubicBezTo>
                  <a:lnTo>
                    <a:pt x="668377" y="723901"/>
                  </a:lnTo>
                  <a:lnTo>
                    <a:pt x="629022" y="772810"/>
                  </a:lnTo>
                  <a:cubicBezTo>
                    <a:pt x="580564" y="818845"/>
                    <a:pt x="519330" y="849649"/>
                    <a:pt x="453139" y="860972"/>
                  </a:cubicBezTo>
                  <a:lnTo>
                    <a:pt x="428624" y="862667"/>
                  </a:lnTo>
                  <a:lnTo>
                    <a:pt x="416808" y="865053"/>
                  </a:lnTo>
                  <a:lnTo>
                    <a:pt x="394132" y="865053"/>
                  </a:lnTo>
                  <a:lnTo>
                    <a:pt x="385587" y="865644"/>
                  </a:lnTo>
                  <a:lnTo>
                    <a:pt x="385605" y="865053"/>
                  </a:lnTo>
                  <a:lnTo>
                    <a:pt x="220886" y="865053"/>
                  </a:lnTo>
                  <a:lnTo>
                    <a:pt x="303747" y="947915"/>
                  </a:lnTo>
                  <a:cubicBezTo>
                    <a:pt x="322968" y="967136"/>
                    <a:pt x="327773" y="995313"/>
                    <a:pt x="318163" y="1019011"/>
                  </a:cubicBezTo>
                  <a:lnTo>
                    <a:pt x="303748" y="1040719"/>
                  </a:lnTo>
                  <a:lnTo>
                    <a:pt x="282039" y="1055135"/>
                  </a:lnTo>
                  <a:cubicBezTo>
                    <a:pt x="274140" y="1058338"/>
                    <a:pt x="265743" y="1059940"/>
                    <a:pt x="257345" y="105994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spTree>
    <p:extLst>
      <p:ext uri="{BB962C8B-B14F-4D97-AF65-F5344CB8AC3E}">
        <p14:creationId xmlns:p14="http://schemas.microsoft.com/office/powerpoint/2010/main" val="152613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341313"/>
            <a:ext cx="8345488" cy="731837"/>
          </a:xfrm>
        </p:spPr>
        <p:txBody>
          <a:bodyPr/>
          <a:lstStyle/>
          <a:p>
            <a:r>
              <a:rPr lang="en-US" dirty="0"/>
              <a:t>Anomaly detection using behavioral modeling</a:t>
            </a:r>
            <a:endParaRPr lang="en-US" sz="1800" dirty="0"/>
          </a:p>
        </p:txBody>
      </p:sp>
      <p:grpSp>
        <p:nvGrpSpPr>
          <p:cNvPr id="7" name="Group 6">
            <a:extLst>
              <a:ext uri="{FF2B5EF4-FFF2-40B4-BE49-F238E27FC236}">
                <a16:creationId xmlns:a16="http://schemas.microsoft.com/office/drawing/2014/main" id="{06EF3D93-BD3B-45FD-8839-1A4D7001F75D}"/>
              </a:ext>
            </a:extLst>
          </p:cNvPr>
          <p:cNvGrpSpPr/>
          <p:nvPr/>
        </p:nvGrpSpPr>
        <p:grpSpPr>
          <a:xfrm>
            <a:off x="523350" y="1198262"/>
            <a:ext cx="8128941" cy="3476522"/>
            <a:chOff x="498173" y="1402557"/>
            <a:chExt cx="8121433" cy="3476522"/>
          </a:xfrm>
        </p:grpSpPr>
        <p:sp>
          <p:nvSpPr>
            <p:cNvPr id="91" name="Rectangle 3">
              <a:extLst>
                <a:ext uri="{FF2B5EF4-FFF2-40B4-BE49-F238E27FC236}">
                  <a16:creationId xmlns:a16="http://schemas.microsoft.com/office/drawing/2014/main" id="{84576F27-E752-4203-82E9-302280C4A57A}"/>
                </a:ext>
              </a:extLst>
            </p:cNvPr>
            <p:cNvSpPr>
              <a:spLocks noChangeArrowheads="1"/>
            </p:cNvSpPr>
            <p:nvPr/>
          </p:nvSpPr>
          <p:spPr bwMode="auto">
            <a:xfrm>
              <a:off x="3233009" y="1402557"/>
              <a:ext cx="2651760" cy="883444"/>
            </a:xfrm>
            <a:prstGeom prst="rect">
              <a:avLst/>
            </a:prstGeom>
            <a:solidFill>
              <a:schemeClr val="accent2"/>
            </a:solidFill>
            <a:ln w="9525">
              <a:noFill/>
              <a:miter lim="800000"/>
              <a:headEnd/>
              <a:tailEnd/>
            </a:ln>
            <a:effectLst/>
          </p:spPr>
          <p:txBody>
            <a:bodyPr lIns="68589" tIns="34295" rIns="68589" bIns="34295" anchor="ctr" anchorCtr="1"/>
            <a:lstStyle/>
            <a:p>
              <a:pPr marL="0" marR="0" lvl="0" indent="0" algn="ctr" defTabSz="6108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5073"/>
                  </a:solidFill>
                  <a:effectLst/>
                  <a:uLnTx/>
                  <a:uFillTx/>
                  <a:latin typeface="CiscoSansTT ExtraLight"/>
                  <a:ea typeface="ＭＳ Ｐゴシック" charset="0"/>
                </a:rPr>
                <a:t>Create a baseline </a:t>
              </a:r>
              <a:br>
                <a:rPr kumimoji="0" lang="en-US" sz="1800" b="0" i="0" u="none" strike="noStrike" kern="1200" cap="none" spc="0" normalizeH="0" baseline="0" noProof="0" dirty="0">
                  <a:ln>
                    <a:noFill/>
                  </a:ln>
                  <a:solidFill>
                    <a:srgbClr val="005073"/>
                  </a:solidFill>
                  <a:effectLst/>
                  <a:uLnTx/>
                  <a:uFillTx/>
                  <a:latin typeface="CiscoSansTT ExtraLight"/>
                  <a:ea typeface="ＭＳ Ｐゴシック" charset="0"/>
                </a:rPr>
              </a:br>
              <a:r>
                <a:rPr kumimoji="0" lang="en-US" sz="1800" b="0" i="0" u="none" strike="noStrike" kern="1200" cap="none" spc="0" normalizeH="0" baseline="0" noProof="0" dirty="0">
                  <a:ln>
                    <a:noFill/>
                  </a:ln>
                  <a:solidFill>
                    <a:srgbClr val="005073"/>
                  </a:solidFill>
                  <a:effectLst/>
                  <a:uLnTx/>
                  <a:uFillTx/>
                  <a:latin typeface="CiscoSansTT ExtraLight"/>
                  <a:ea typeface="ＭＳ Ｐゴシック" charset="0"/>
                </a:rPr>
                <a:t>of normal behavior </a:t>
              </a:r>
            </a:p>
          </p:txBody>
        </p:sp>
        <p:sp>
          <p:nvSpPr>
            <p:cNvPr id="92" name="Rectangle 3">
              <a:extLst>
                <a:ext uri="{FF2B5EF4-FFF2-40B4-BE49-F238E27FC236}">
                  <a16:creationId xmlns:a16="http://schemas.microsoft.com/office/drawing/2014/main" id="{062C8875-9BF7-482A-889E-C112C127DCD1}"/>
                </a:ext>
              </a:extLst>
            </p:cNvPr>
            <p:cNvSpPr>
              <a:spLocks noChangeArrowheads="1"/>
            </p:cNvSpPr>
            <p:nvPr/>
          </p:nvSpPr>
          <p:spPr bwMode="auto">
            <a:xfrm>
              <a:off x="3233009" y="2344341"/>
              <a:ext cx="2651760" cy="2534738"/>
            </a:xfrm>
            <a:prstGeom prst="rect">
              <a:avLst/>
            </a:prstGeom>
            <a:solidFill>
              <a:schemeClr val="tx1">
                <a:lumMod val="10000"/>
                <a:lumOff val="90000"/>
              </a:schemeClr>
            </a:solidFill>
            <a:ln w="9525" algn="ctr">
              <a:noFill/>
              <a:miter lim="800000"/>
              <a:headEnd/>
              <a:tailEnd/>
            </a:ln>
            <a:effectLst/>
          </p:spPr>
          <p:txBody>
            <a:bodyPr lIns="205767" tIns="274357" rIns="68589" bIns="34295"/>
            <a:lstStyle/>
            <a:p>
              <a:pPr marL="130986" marR="0" lvl="0" indent="-130986" algn="l" defTabSz="457200" rtl="0" eaLnBrk="1" fontAlgn="base" latinLnBrk="0" hangingPunct="1">
                <a:lnSpc>
                  <a:spcPct val="100000"/>
                </a:lnSpc>
                <a:spcBef>
                  <a:spcPct val="50000"/>
                </a:spcBef>
                <a:spcAft>
                  <a:spcPct val="0"/>
                </a:spcAft>
                <a:buClrTx/>
                <a:buSzPct val="80000"/>
                <a:buFont typeface="Arial" pitchFamily="34" charset="0"/>
                <a:buChar char="•"/>
                <a:tabLst/>
                <a:defRPr/>
              </a:pPr>
              <a:endPar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cs typeface="Arial" charset="0"/>
              </a:endParaRPr>
            </a:p>
          </p:txBody>
        </p:sp>
        <p:sp>
          <p:nvSpPr>
            <p:cNvPr id="93" name="Rectangle 4">
              <a:extLst>
                <a:ext uri="{FF2B5EF4-FFF2-40B4-BE49-F238E27FC236}">
                  <a16:creationId xmlns:a16="http://schemas.microsoft.com/office/drawing/2014/main" id="{2532E135-4E35-42C9-B2FF-D33A39CE4245}"/>
                </a:ext>
              </a:extLst>
            </p:cNvPr>
            <p:cNvSpPr>
              <a:spLocks noChangeArrowheads="1"/>
            </p:cNvSpPr>
            <p:nvPr/>
          </p:nvSpPr>
          <p:spPr bwMode="auto">
            <a:xfrm>
              <a:off x="5967846" y="1402557"/>
              <a:ext cx="2651760" cy="883444"/>
            </a:xfrm>
            <a:prstGeom prst="rect">
              <a:avLst/>
            </a:prstGeom>
            <a:solidFill>
              <a:schemeClr val="accent3"/>
            </a:solidFill>
            <a:ln w="9525">
              <a:noFill/>
              <a:miter lim="800000"/>
              <a:headEnd/>
              <a:tailEnd/>
            </a:ln>
            <a:effectLst/>
          </p:spPr>
          <p:txBody>
            <a:bodyPr lIns="68589" tIns="34295" rIns="68589" bIns="34295" anchor="ctr" anchorCtr="1"/>
            <a:lstStyle/>
            <a:p>
              <a:pPr marL="0" marR="0" lvl="0" indent="0" algn="ctr" defTabSz="6108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rPr>
                <a:t>Alarm on anomalies </a:t>
              </a:r>
              <a:b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rPr>
              </a:b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rPr>
                <a:t>and behavioral changes</a:t>
              </a:r>
            </a:p>
          </p:txBody>
        </p:sp>
        <p:sp>
          <p:nvSpPr>
            <p:cNvPr id="96" name="Rectangle 4">
              <a:extLst>
                <a:ext uri="{FF2B5EF4-FFF2-40B4-BE49-F238E27FC236}">
                  <a16:creationId xmlns:a16="http://schemas.microsoft.com/office/drawing/2014/main" id="{C22AB6EB-29E0-4192-BCD5-6BEBDDFAE34D}"/>
                </a:ext>
              </a:extLst>
            </p:cNvPr>
            <p:cNvSpPr>
              <a:spLocks noChangeArrowheads="1"/>
            </p:cNvSpPr>
            <p:nvPr/>
          </p:nvSpPr>
          <p:spPr bwMode="auto">
            <a:xfrm>
              <a:off x="5967846" y="2344341"/>
              <a:ext cx="2651760" cy="2534738"/>
            </a:xfrm>
            <a:prstGeom prst="rect">
              <a:avLst/>
            </a:prstGeom>
            <a:solidFill>
              <a:schemeClr val="tx1">
                <a:lumMod val="10000"/>
                <a:lumOff val="90000"/>
              </a:schemeClr>
            </a:solidFill>
            <a:ln w="9525" algn="ctr">
              <a:noFill/>
              <a:miter lim="800000"/>
              <a:headEnd/>
              <a:tailEnd/>
            </a:ln>
            <a:effectLst/>
          </p:spPr>
          <p:txBody>
            <a:bodyPr lIns="205767" tIns="274357" rIns="68589" bIns="34295"/>
            <a:lstStyle/>
            <a:p>
              <a:pPr marL="130986" marR="0" lvl="0" indent="-130986" algn="l" defTabSz="457200" rtl="0" eaLnBrk="1" fontAlgn="base" latinLnBrk="0" hangingPunct="1">
                <a:lnSpc>
                  <a:spcPct val="100000"/>
                </a:lnSpc>
                <a:spcBef>
                  <a:spcPct val="50000"/>
                </a:spcBef>
                <a:spcAft>
                  <a:spcPct val="0"/>
                </a:spcAft>
                <a:buClrTx/>
                <a:buSzPct val="80000"/>
                <a:buFont typeface="Arial" pitchFamily="34" charset="0"/>
                <a:buChar char="•"/>
                <a:tabLst/>
                <a:defRPr/>
              </a:pPr>
              <a:endPar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cs typeface="Arial" charset="0"/>
              </a:endParaRPr>
            </a:p>
          </p:txBody>
        </p:sp>
        <p:sp>
          <p:nvSpPr>
            <p:cNvPr id="97" name="Rectangle 5">
              <a:extLst>
                <a:ext uri="{FF2B5EF4-FFF2-40B4-BE49-F238E27FC236}">
                  <a16:creationId xmlns:a16="http://schemas.microsoft.com/office/drawing/2014/main" id="{1C14E1F0-2764-4BA8-9F80-74C2176A827E}"/>
                </a:ext>
              </a:extLst>
            </p:cNvPr>
            <p:cNvSpPr>
              <a:spLocks noChangeArrowheads="1"/>
            </p:cNvSpPr>
            <p:nvPr/>
          </p:nvSpPr>
          <p:spPr bwMode="auto">
            <a:xfrm>
              <a:off x="498173" y="1402557"/>
              <a:ext cx="2651760" cy="884635"/>
            </a:xfrm>
            <a:prstGeom prst="rect">
              <a:avLst/>
            </a:prstGeom>
            <a:solidFill>
              <a:schemeClr val="accent1"/>
            </a:solidFill>
            <a:ln w="9525">
              <a:noFill/>
              <a:miter lim="800000"/>
              <a:headEnd/>
              <a:tailEnd/>
            </a:ln>
            <a:effectLst/>
          </p:spPr>
          <p:txBody>
            <a:bodyPr lIns="68589" tIns="34295" rIns="68589" bIns="34295" anchor="ctr" anchorCtr="1"/>
            <a:lstStyle/>
            <a:p>
              <a:pPr marL="0" marR="0" lvl="0" indent="0" algn="ctr" defTabSz="6108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5073"/>
                  </a:solidFill>
                  <a:effectLst/>
                  <a:uLnTx/>
                  <a:uFillTx/>
                  <a:latin typeface="CiscoSansTT ExtraLight"/>
                  <a:ea typeface="ＭＳ Ｐゴシック" charset="0"/>
                </a:rPr>
                <a:t>Collect and</a:t>
              </a:r>
              <a:br>
                <a:rPr kumimoji="0" lang="en-US" sz="1800" b="0" i="0" u="none" strike="noStrike" kern="1200" cap="none" spc="0" normalizeH="0" baseline="0" noProof="0" dirty="0">
                  <a:ln>
                    <a:noFill/>
                  </a:ln>
                  <a:solidFill>
                    <a:srgbClr val="005073"/>
                  </a:solidFill>
                  <a:effectLst/>
                  <a:uLnTx/>
                  <a:uFillTx/>
                  <a:latin typeface="CiscoSansTT ExtraLight"/>
                  <a:ea typeface="ＭＳ Ｐゴシック" charset="0"/>
                </a:rPr>
              </a:br>
              <a:r>
                <a:rPr kumimoji="0" lang="en-US" sz="1800" b="0" i="0" u="none" strike="noStrike" kern="1200" cap="none" spc="0" normalizeH="0" baseline="0" noProof="0" dirty="0">
                  <a:ln>
                    <a:noFill/>
                  </a:ln>
                  <a:solidFill>
                    <a:srgbClr val="005073"/>
                  </a:solidFill>
                  <a:effectLst/>
                  <a:uLnTx/>
                  <a:uFillTx/>
                  <a:latin typeface="CiscoSansTT ExtraLight"/>
                  <a:ea typeface="ＭＳ Ｐゴシック" charset="0"/>
                </a:rPr>
                <a:t>analyze telemetry</a:t>
              </a:r>
            </a:p>
          </p:txBody>
        </p:sp>
        <p:sp>
          <p:nvSpPr>
            <p:cNvPr id="102" name="Rectangle 5">
              <a:extLst>
                <a:ext uri="{FF2B5EF4-FFF2-40B4-BE49-F238E27FC236}">
                  <a16:creationId xmlns:a16="http://schemas.microsoft.com/office/drawing/2014/main" id="{1967A22E-94A1-4DB3-803C-7FAC45B247AF}"/>
                </a:ext>
              </a:extLst>
            </p:cNvPr>
            <p:cNvSpPr>
              <a:spLocks noChangeArrowheads="1"/>
            </p:cNvSpPr>
            <p:nvPr/>
          </p:nvSpPr>
          <p:spPr bwMode="auto">
            <a:xfrm>
              <a:off x="498173" y="2343151"/>
              <a:ext cx="2651760" cy="2535928"/>
            </a:xfrm>
            <a:prstGeom prst="rect">
              <a:avLst/>
            </a:prstGeom>
            <a:solidFill>
              <a:schemeClr val="tx1">
                <a:lumMod val="10000"/>
                <a:lumOff val="90000"/>
              </a:schemeClr>
            </a:solidFill>
            <a:ln w="9525" algn="ctr">
              <a:noFill/>
              <a:miter lim="800000"/>
              <a:headEnd/>
              <a:tailEnd/>
            </a:ln>
            <a:effectLst/>
          </p:spPr>
          <p:txBody>
            <a:bodyPr lIns="205767" tIns="274357" rIns="68589" bIns="34295"/>
            <a:lstStyle/>
            <a:p>
              <a:pPr marL="130986" marR="0" lvl="0" indent="-130986" algn="l" defTabSz="457200" rtl="0" eaLnBrk="1" fontAlgn="base" latinLnBrk="0" hangingPunct="1">
                <a:lnSpc>
                  <a:spcPct val="100000"/>
                </a:lnSpc>
                <a:spcBef>
                  <a:spcPct val="50000"/>
                </a:spcBef>
                <a:spcAft>
                  <a:spcPct val="0"/>
                </a:spcAft>
                <a:buClrTx/>
                <a:buSzPct val="80000"/>
                <a:buFont typeface="Arial" pitchFamily="34" charset="0"/>
                <a:buChar char="•"/>
                <a:tabLst/>
                <a:defRPr/>
              </a:pPr>
              <a:endPar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cs typeface="Arial" charset="0"/>
              </a:endParaRPr>
            </a:p>
          </p:txBody>
        </p:sp>
      </p:grpSp>
      <p:grpSp>
        <p:nvGrpSpPr>
          <p:cNvPr id="21" name="Group 20">
            <a:extLst>
              <a:ext uri="{FF2B5EF4-FFF2-40B4-BE49-F238E27FC236}">
                <a16:creationId xmlns:a16="http://schemas.microsoft.com/office/drawing/2014/main" id="{E6BD31AD-6193-4F77-8D36-2D6E8D2F714D}"/>
              </a:ext>
            </a:extLst>
          </p:cNvPr>
          <p:cNvGrpSpPr/>
          <p:nvPr/>
        </p:nvGrpSpPr>
        <p:grpSpPr>
          <a:xfrm>
            <a:off x="760277" y="2728265"/>
            <a:ext cx="2180357" cy="1831210"/>
            <a:chOff x="859384" y="2519140"/>
            <a:chExt cx="1982143" cy="1664736"/>
          </a:xfrm>
        </p:grpSpPr>
        <p:grpSp>
          <p:nvGrpSpPr>
            <p:cNvPr id="205" name="Group 204"/>
            <p:cNvGrpSpPr>
              <a:grpSpLocks noChangeAspect="1"/>
            </p:cNvGrpSpPr>
            <p:nvPr/>
          </p:nvGrpSpPr>
          <p:grpSpPr>
            <a:xfrm>
              <a:off x="859384" y="2527658"/>
              <a:ext cx="442813" cy="441847"/>
              <a:chOff x="4247689" y="3669562"/>
              <a:chExt cx="548640" cy="548640"/>
            </a:xfrm>
          </p:grpSpPr>
          <p:sp>
            <p:nvSpPr>
              <p:cNvPr id="206" name="Oval 205"/>
              <p:cNvSpPr/>
              <p:nvPr/>
            </p:nvSpPr>
            <p:spPr>
              <a:xfrm>
                <a:off x="4247689" y="3669562"/>
                <a:ext cx="548640" cy="54864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207" name="Group 206"/>
              <p:cNvGrpSpPr/>
              <p:nvPr/>
            </p:nvGrpSpPr>
            <p:grpSpPr>
              <a:xfrm>
                <a:off x="4416801" y="3752252"/>
                <a:ext cx="209312" cy="383266"/>
                <a:chOff x="4457929" y="4607371"/>
                <a:chExt cx="234950" cy="430212"/>
              </a:xfrm>
            </p:grpSpPr>
            <p:sp>
              <p:nvSpPr>
                <p:cNvPr id="208" name="Freeform 207"/>
                <p:cNvSpPr>
                  <a:spLocks/>
                </p:cNvSpPr>
                <p:nvPr/>
              </p:nvSpPr>
              <p:spPr bwMode="auto">
                <a:xfrm>
                  <a:off x="4457929" y="4607371"/>
                  <a:ext cx="234950"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09" name="Line 208"/>
                <p:cNvSpPr>
                  <a:spLocks noChangeShapeType="1"/>
                </p:cNvSpPr>
                <p:nvPr/>
              </p:nvSpPr>
              <p:spPr bwMode="auto">
                <a:xfrm>
                  <a:off x="4516667" y="46772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0" name="Line 209"/>
                <p:cNvSpPr>
                  <a:spLocks noChangeShapeType="1"/>
                </p:cNvSpPr>
                <p:nvPr/>
              </p:nvSpPr>
              <p:spPr bwMode="auto">
                <a:xfrm>
                  <a:off x="4516667" y="4745483"/>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1" name="Line 210"/>
                <p:cNvSpPr>
                  <a:spLocks noChangeShapeType="1"/>
                </p:cNvSpPr>
                <p:nvPr/>
              </p:nvSpPr>
              <p:spPr bwMode="auto">
                <a:xfrm>
                  <a:off x="4516667" y="48169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2" name="Line 211"/>
                <p:cNvSpPr>
                  <a:spLocks noChangeShapeType="1"/>
                </p:cNvSpPr>
                <p:nvPr/>
              </p:nvSpPr>
              <p:spPr bwMode="auto">
                <a:xfrm>
                  <a:off x="4516667" y="488677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213" name="Group 212"/>
            <p:cNvGrpSpPr>
              <a:grpSpLocks noChangeAspect="1"/>
            </p:cNvGrpSpPr>
            <p:nvPr/>
          </p:nvGrpSpPr>
          <p:grpSpPr>
            <a:xfrm>
              <a:off x="859384" y="3590798"/>
              <a:ext cx="442813" cy="441847"/>
              <a:chOff x="4247689" y="3669562"/>
              <a:chExt cx="548640" cy="548640"/>
            </a:xfrm>
          </p:grpSpPr>
          <p:sp>
            <p:nvSpPr>
              <p:cNvPr id="214" name="Oval 213"/>
              <p:cNvSpPr/>
              <p:nvPr/>
            </p:nvSpPr>
            <p:spPr>
              <a:xfrm>
                <a:off x="4247689" y="3669562"/>
                <a:ext cx="548640" cy="54864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215" name="Group 214"/>
              <p:cNvGrpSpPr/>
              <p:nvPr/>
            </p:nvGrpSpPr>
            <p:grpSpPr>
              <a:xfrm>
                <a:off x="4416801" y="3752252"/>
                <a:ext cx="209312" cy="383266"/>
                <a:chOff x="4457929" y="4607371"/>
                <a:chExt cx="234950" cy="430212"/>
              </a:xfrm>
            </p:grpSpPr>
            <p:sp>
              <p:nvSpPr>
                <p:cNvPr id="216" name="Freeform 215"/>
                <p:cNvSpPr>
                  <a:spLocks/>
                </p:cNvSpPr>
                <p:nvPr/>
              </p:nvSpPr>
              <p:spPr bwMode="auto">
                <a:xfrm>
                  <a:off x="4457929" y="4607371"/>
                  <a:ext cx="234950"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7" name="Line 208"/>
                <p:cNvSpPr>
                  <a:spLocks noChangeShapeType="1"/>
                </p:cNvSpPr>
                <p:nvPr/>
              </p:nvSpPr>
              <p:spPr bwMode="auto">
                <a:xfrm>
                  <a:off x="4516667" y="46772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8" name="Line 209"/>
                <p:cNvSpPr>
                  <a:spLocks noChangeShapeType="1"/>
                </p:cNvSpPr>
                <p:nvPr/>
              </p:nvSpPr>
              <p:spPr bwMode="auto">
                <a:xfrm>
                  <a:off x="4516667" y="4745483"/>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9" name="Line 210"/>
                <p:cNvSpPr>
                  <a:spLocks noChangeShapeType="1"/>
                </p:cNvSpPr>
                <p:nvPr/>
              </p:nvSpPr>
              <p:spPr bwMode="auto">
                <a:xfrm>
                  <a:off x="4516667" y="48169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20" name="Line 211"/>
                <p:cNvSpPr>
                  <a:spLocks noChangeShapeType="1"/>
                </p:cNvSpPr>
                <p:nvPr/>
              </p:nvSpPr>
              <p:spPr bwMode="auto">
                <a:xfrm>
                  <a:off x="4516667" y="488677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cxnSp>
          <p:nvCxnSpPr>
            <p:cNvPr id="16" name="Straight Connector 15"/>
            <p:cNvCxnSpPr/>
            <p:nvPr/>
          </p:nvCxnSpPr>
          <p:spPr>
            <a:xfrm>
              <a:off x="1489109" y="2871398"/>
              <a:ext cx="762460" cy="1"/>
            </a:xfrm>
            <a:prstGeom prst="line">
              <a:avLst/>
            </a:prstGeom>
            <a:ln w="19050">
              <a:solidFill>
                <a:schemeClr val="accent2">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1362320" y="3245876"/>
              <a:ext cx="762460" cy="1"/>
            </a:xfrm>
            <a:prstGeom prst="line">
              <a:avLst/>
            </a:prstGeom>
            <a:ln w="1905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a:off x="1531456" y="3399012"/>
              <a:ext cx="762460" cy="1"/>
            </a:xfrm>
            <a:prstGeom prst="line">
              <a:avLst/>
            </a:prstGeom>
            <a:ln w="9525">
              <a:solidFill>
                <a:schemeClr val="accent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a:off x="1603678" y="3703897"/>
              <a:ext cx="762460" cy="1"/>
            </a:xfrm>
            <a:prstGeom prst="line">
              <a:avLst/>
            </a:prstGeom>
            <a:ln w="19050">
              <a:solidFill>
                <a:schemeClr val="accent2">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a:off x="1430785" y="3868436"/>
              <a:ext cx="762460" cy="1"/>
            </a:xfrm>
            <a:prstGeom prst="line">
              <a:avLst/>
            </a:prstGeom>
            <a:ln w="9525">
              <a:solidFill>
                <a:schemeClr val="tx1">
                  <a:lumMod val="60000"/>
                  <a:lumOff val="4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a:off x="1392364" y="2745516"/>
              <a:ext cx="762460" cy="1"/>
            </a:xfrm>
            <a:prstGeom prst="line">
              <a:avLst/>
            </a:prstGeom>
            <a:ln w="9525">
              <a:solidFill>
                <a:schemeClr val="tx1">
                  <a:lumMod val="60000"/>
                  <a:lumOff val="4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a:off x="1489109" y="3127035"/>
              <a:ext cx="762460" cy="1"/>
            </a:xfrm>
            <a:prstGeom prst="line">
              <a:avLst/>
            </a:prstGeom>
            <a:ln w="15875">
              <a:solidFill>
                <a:schemeClr val="accent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1388438" y="3596460"/>
              <a:ext cx="762460" cy="1"/>
            </a:xfrm>
            <a:prstGeom prst="line">
              <a:avLst/>
            </a:prstGeom>
            <a:ln w="15875">
              <a:solidFill>
                <a:schemeClr val="accent2"/>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1531456" y="2646847"/>
              <a:ext cx="762460" cy="1"/>
            </a:xfrm>
            <a:prstGeom prst="line">
              <a:avLst/>
            </a:prstGeom>
            <a:ln w="15875">
              <a:solidFill>
                <a:schemeClr val="accent2"/>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1353138" y="2550277"/>
              <a:ext cx="1129122" cy="156925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37" name="Rectangle 236"/>
            <p:cNvSpPr/>
            <p:nvPr/>
          </p:nvSpPr>
          <p:spPr>
            <a:xfrm>
              <a:off x="1353139" y="3983821"/>
              <a:ext cx="995560" cy="200055"/>
            </a:xfrm>
            <a:prstGeom prst="rect">
              <a:avLst/>
            </a:prstGeom>
          </p:spPr>
          <p:txBody>
            <a:bodyPr wrap="square">
              <a:spAutoFit/>
            </a:bodyPr>
            <a:lstStyle/>
            <a:p>
              <a:pPr marL="0" marR="0" lvl="0" indent="0" algn="ctr" defTabSz="45677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82828"/>
                  </a:solidFill>
                  <a:effectLst/>
                  <a:uLnTx/>
                  <a:uFillTx/>
                  <a:latin typeface="CiscoSansTT ExtraLight"/>
                  <a:ea typeface="ＭＳ Ｐゴシック" charset="0"/>
                </a:rPr>
                <a:t>Flows</a:t>
              </a:r>
            </a:p>
          </p:txBody>
        </p:sp>
        <p:grpSp>
          <p:nvGrpSpPr>
            <p:cNvPr id="13" name="Group 12"/>
            <p:cNvGrpSpPr/>
            <p:nvPr/>
          </p:nvGrpSpPr>
          <p:grpSpPr>
            <a:xfrm>
              <a:off x="860313" y="3057334"/>
              <a:ext cx="442138" cy="441173"/>
              <a:chOff x="326059" y="3119945"/>
              <a:chExt cx="313754" cy="313754"/>
            </a:xfrm>
          </p:grpSpPr>
          <p:sp>
            <p:nvSpPr>
              <p:cNvPr id="103" name="Oval 102"/>
              <p:cNvSpPr/>
              <p:nvPr/>
            </p:nvSpPr>
            <p:spPr>
              <a:xfrm>
                <a:off x="326059" y="3119945"/>
                <a:ext cx="313754" cy="31375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22" name="Freeform 15"/>
              <p:cNvSpPr>
                <a:spLocks noEditPoints="1"/>
              </p:cNvSpPr>
              <p:nvPr/>
            </p:nvSpPr>
            <p:spPr bwMode="auto">
              <a:xfrm>
                <a:off x="386280" y="3211678"/>
                <a:ext cx="191649" cy="123203"/>
              </a:xfrm>
              <a:custGeom>
                <a:avLst/>
                <a:gdLst/>
                <a:ahLst/>
                <a:cxnLst>
                  <a:cxn ang="0">
                    <a:pos x="149" y="0"/>
                  </a:cxn>
                  <a:cxn ang="0">
                    <a:pos x="116" y="0"/>
                  </a:cxn>
                  <a:cxn ang="0">
                    <a:pos x="110" y="6"/>
                  </a:cxn>
                  <a:cxn ang="0">
                    <a:pos x="110" y="93"/>
                  </a:cxn>
                  <a:cxn ang="0">
                    <a:pos x="116" y="99"/>
                  </a:cxn>
                  <a:cxn ang="0">
                    <a:pos x="149" y="99"/>
                  </a:cxn>
                  <a:cxn ang="0">
                    <a:pos x="154" y="93"/>
                  </a:cxn>
                  <a:cxn ang="0">
                    <a:pos x="154" y="6"/>
                  </a:cxn>
                  <a:cxn ang="0">
                    <a:pos x="149" y="0"/>
                  </a:cxn>
                  <a:cxn ang="0">
                    <a:pos x="115" y="41"/>
                  </a:cxn>
                  <a:cxn ang="0">
                    <a:pos x="121" y="41"/>
                  </a:cxn>
                  <a:cxn ang="0">
                    <a:pos x="121" y="45"/>
                  </a:cxn>
                  <a:cxn ang="0">
                    <a:pos x="115" y="45"/>
                  </a:cxn>
                  <a:cxn ang="0">
                    <a:pos x="115" y="41"/>
                  </a:cxn>
                  <a:cxn ang="0">
                    <a:pos x="150" y="90"/>
                  </a:cxn>
                  <a:cxn ang="0">
                    <a:pos x="115" y="90"/>
                  </a:cxn>
                  <a:cxn ang="0">
                    <a:pos x="115" y="85"/>
                  </a:cxn>
                  <a:cxn ang="0">
                    <a:pos x="150" y="85"/>
                  </a:cxn>
                  <a:cxn ang="0">
                    <a:pos x="150" y="90"/>
                  </a:cxn>
                  <a:cxn ang="0">
                    <a:pos x="125" y="45"/>
                  </a:cxn>
                  <a:cxn ang="0">
                    <a:pos x="125" y="41"/>
                  </a:cxn>
                  <a:cxn ang="0">
                    <a:pos x="130" y="41"/>
                  </a:cxn>
                  <a:cxn ang="0">
                    <a:pos x="130" y="45"/>
                  </a:cxn>
                  <a:cxn ang="0">
                    <a:pos x="125" y="45"/>
                  </a:cxn>
                  <a:cxn ang="0">
                    <a:pos x="150" y="32"/>
                  </a:cxn>
                  <a:cxn ang="0">
                    <a:pos x="115" y="32"/>
                  </a:cxn>
                  <a:cxn ang="0">
                    <a:pos x="115" y="28"/>
                  </a:cxn>
                  <a:cxn ang="0">
                    <a:pos x="150" y="28"/>
                  </a:cxn>
                  <a:cxn ang="0">
                    <a:pos x="150" y="32"/>
                  </a:cxn>
                  <a:cxn ang="0">
                    <a:pos x="150" y="23"/>
                  </a:cxn>
                  <a:cxn ang="0">
                    <a:pos x="115" y="23"/>
                  </a:cxn>
                  <a:cxn ang="0">
                    <a:pos x="115" y="18"/>
                  </a:cxn>
                  <a:cxn ang="0">
                    <a:pos x="150" y="18"/>
                  </a:cxn>
                  <a:cxn ang="0">
                    <a:pos x="150" y="23"/>
                  </a:cxn>
                  <a:cxn ang="0">
                    <a:pos x="150" y="14"/>
                  </a:cxn>
                  <a:cxn ang="0">
                    <a:pos x="115" y="14"/>
                  </a:cxn>
                  <a:cxn ang="0">
                    <a:pos x="115" y="9"/>
                  </a:cxn>
                  <a:cxn ang="0">
                    <a:pos x="150" y="9"/>
                  </a:cxn>
                  <a:cxn ang="0">
                    <a:pos x="150" y="14"/>
                  </a:cxn>
                  <a:cxn ang="0">
                    <a:pos x="96" y="0"/>
                  </a:cxn>
                  <a:cxn ang="0">
                    <a:pos x="5" y="0"/>
                  </a:cxn>
                  <a:cxn ang="0">
                    <a:pos x="0" y="6"/>
                  </a:cxn>
                  <a:cxn ang="0">
                    <a:pos x="0" y="77"/>
                  </a:cxn>
                  <a:cxn ang="0">
                    <a:pos x="5" y="83"/>
                  </a:cxn>
                  <a:cxn ang="0">
                    <a:pos x="40" y="83"/>
                  </a:cxn>
                  <a:cxn ang="0">
                    <a:pos x="40" y="92"/>
                  </a:cxn>
                  <a:cxn ang="0">
                    <a:pos x="15" y="99"/>
                  </a:cxn>
                  <a:cxn ang="0">
                    <a:pos x="86" y="99"/>
                  </a:cxn>
                  <a:cxn ang="0">
                    <a:pos x="61" y="92"/>
                  </a:cxn>
                  <a:cxn ang="0">
                    <a:pos x="61" y="83"/>
                  </a:cxn>
                  <a:cxn ang="0">
                    <a:pos x="96" y="83"/>
                  </a:cxn>
                  <a:cxn ang="0">
                    <a:pos x="101" y="77"/>
                  </a:cxn>
                  <a:cxn ang="0">
                    <a:pos x="101" y="6"/>
                  </a:cxn>
                  <a:cxn ang="0">
                    <a:pos x="96" y="0"/>
                  </a:cxn>
                  <a:cxn ang="0">
                    <a:pos x="93" y="74"/>
                  </a:cxn>
                  <a:cxn ang="0">
                    <a:pos x="8" y="74"/>
                  </a:cxn>
                  <a:cxn ang="0">
                    <a:pos x="8" y="9"/>
                  </a:cxn>
                  <a:cxn ang="0">
                    <a:pos x="93" y="9"/>
                  </a:cxn>
                  <a:cxn ang="0">
                    <a:pos x="93" y="74"/>
                  </a:cxn>
                </a:cxnLst>
                <a:rect l="0" t="0" r="r" b="b"/>
                <a:pathLst>
                  <a:path w="154" h="99">
                    <a:moveTo>
                      <a:pt x="149" y="0"/>
                    </a:moveTo>
                    <a:cubicBezTo>
                      <a:pt x="116" y="0"/>
                      <a:pt x="116" y="0"/>
                      <a:pt x="116" y="0"/>
                    </a:cubicBezTo>
                    <a:cubicBezTo>
                      <a:pt x="113" y="0"/>
                      <a:pt x="110" y="3"/>
                      <a:pt x="110" y="6"/>
                    </a:cubicBezTo>
                    <a:cubicBezTo>
                      <a:pt x="110" y="93"/>
                      <a:pt x="110" y="93"/>
                      <a:pt x="110" y="93"/>
                    </a:cubicBezTo>
                    <a:cubicBezTo>
                      <a:pt x="110" y="96"/>
                      <a:pt x="113" y="99"/>
                      <a:pt x="116" y="99"/>
                    </a:cubicBezTo>
                    <a:cubicBezTo>
                      <a:pt x="149" y="99"/>
                      <a:pt x="149" y="99"/>
                      <a:pt x="149" y="99"/>
                    </a:cubicBezTo>
                    <a:cubicBezTo>
                      <a:pt x="152" y="99"/>
                      <a:pt x="154" y="96"/>
                      <a:pt x="154" y="93"/>
                    </a:cubicBezTo>
                    <a:cubicBezTo>
                      <a:pt x="154" y="6"/>
                      <a:pt x="154" y="6"/>
                      <a:pt x="154" y="6"/>
                    </a:cubicBezTo>
                    <a:cubicBezTo>
                      <a:pt x="154" y="3"/>
                      <a:pt x="152" y="0"/>
                      <a:pt x="149" y="0"/>
                    </a:cubicBezTo>
                    <a:close/>
                    <a:moveTo>
                      <a:pt x="115" y="41"/>
                    </a:moveTo>
                    <a:cubicBezTo>
                      <a:pt x="121" y="41"/>
                      <a:pt x="121" y="41"/>
                      <a:pt x="121" y="41"/>
                    </a:cubicBezTo>
                    <a:cubicBezTo>
                      <a:pt x="121" y="45"/>
                      <a:pt x="121" y="45"/>
                      <a:pt x="121" y="45"/>
                    </a:cubicBezTo>
                    <a:cubicBezTo>
                      <a:pt x="115" y="45"/>
                      <a:pt x="115" y="45"/>
                      <a:pt x="115" y="45"/>
                    </a:cubicBezTo>
                    <a:lnTo>
                      <a:pt x="115" y="41"/>
                    </a:lnTo>
                    <a:close/>
                    <a:moveTo>
                      <a:pt x="150" y="90"/>
                    </a:moveTo>
                    <a:cubicBezTo>
                      <a:pt x="115" y="90"/>
                      <a:pt x="115" y="90"/>
                      <a:pt x="115" y="90"/>
                    </a:cubicBezTo>
                    <a:cubicBezTo>
                      <a:pt x="115" y="85"/>
                      <a:pt x="115" y="85"/>
                      <a:pt x="115" y="85"/>
                    </a:cubicBezTo>
                    <a:cubicBezTo>
                      <a:pt x="150" y="85"/>
                      <a:pt x="150" y="85"/>
                      <a:pt x="150" y="85"/>
                    </a:cubicBezTo>
                    <a:lnTo>
                      <a:pt x="150" y="90"/>
                    </a:lnTo>
                    <a:close/>
                    <a:moveTo>
                      <a:pt x="125" y="45"/>
                    </a:moveTo>
                    <a:cubicBezTo>
                      <a:pt x="125" y="41"/>
                      <a:pt x="125" y="41"/>
                      <a:pt x="125" y="41"/>
                    </a:cubicBezTo>
                    <a:cubicBezTo>
                      <a:pt x="130" y="41"/>
                      <a:pt x="130" y="41"/>
                      <a:pt x="130" y="41"/>
                    </a:cubicBezTo>
                    <a:cubicBezTo>
                      <a:pt x="130" y="45"/>
                      <a:pt x="130" y="45"/>
                      <a:pt x="130" y="45"/>
                    </a:cubicBezTo>
                    <a:lnTo>
                      <a:pt x="125" y="45"/>
                    </a:lnTo>
                    <a:close/>
                    <a:moveTo>
                      <a:pt x="150" y="32"/>
                    </a:moveTo>
                    <a:cubicBezTo>
                      <a:pt x="115" y="32"/>
                      <a:pt x="115" y="32"/>
                      <a:pt x="115" y="32"/>
                    </a:cubicBezTo>
                    <a:cubicBezTo>
                      <a:pt x="115" y="28"/>
                      <a:pt x="115" y="28"/>
                      <a:pt x="115" y="28"/>
                    </a:cubicBezTo>
                    <a:cubicBezTo>
                      <a:pt x="150" y="28"/>
                      <a:pt x="150" y="28"/>
                      <a:pt x="150" y="28"/>
                    </a:cubicBezTo>
                    <a:lnTo>
                      <a:pt x="150" y="32"/>
                    </a:lnTo>
                    <a:close/>
                    <a:moveTo>
                      <a:pt x="150" y="23"/>
                    </a:moveTo>
                    <a:cubicBezTo>
                      <a:pt x="115" y="23"/>
                      <a:pt x="115" y="23"/>
                      <a:pt x="115" y="23"/>
                    </a:cubicBezTo>
                    <a:cubicBezTo>
                      <a:pt x="115" y="18"/>
                      <a:pt x="115" y="18"/>
                      <a:pt x="115" y="18"/>
                    </a:cubicBezTo>
                    <a:cubicBezTo>
                      <a:pt x="150" y="18"/>
                      <a:pt x="150" y="18"/>
                      <a:pt x="150" y="18"/>
                    </a:cubicBezTo>
                    <a:lnTo>
                      <a:pt x="150" y="23"/>
                    </a:lnTo>
                    <a:close/>
                    <a:moveTo>
                      <a:pt x="150" y="14"/>
                    </a:moveTo>
                    <a:cubicBezTo>
                      <a:pt x="115" y="14"/>
                      <a:pt x="115" y="14"/>
                      <a:pt x="115" y="14"/>
                    </a:cubicBezTo>
                    <a:cubicBezTo>
                      <a:pt x="115" y="9"/>
                      <a:pt x="115" y="9"/>
                      <a:pt x="115" y="9"/>
                    </a:cubicBezTo>
                    <a:cubicBezTo>
                      <a:pt x="150" y="9"/>
                      <a:pt x="150" y="9"/>
                      <a:pt x="150" y="9"/>
                    </a:cubicBezTo>
                    <a:lnTo>
                      <a:pt x="150" y="14"/>
                    </a:lnTo>
                    <a:close/>
                    <a:moveTo>
                      <a:pt x="96" y="0"/>
                    </a:moveTo>
                    <a:cubicBezTo>
                      <a:pt x="5" y="0"/>
                      <a:pt x="5" y="0"/>
                      <a:pt x="5" y="0"/>
                    </a:cubicBezTo>
                    <a:cubicBezTo>
                      <a:pt x="2" y="0"/>
                      <a:pt x="0" y="3"/>
                      <a:pt x="0" y="6"/>
                    </a:cubicBezTo>
                    <a:cubicBezTo>
                      <a:pt x="0" y="77"/>
                      <a:pt x="0" y="77"/>
                      <a:pt x="0" y="77"/>
                    </a:cubicBezTo>
                    <a:cubicBezTo>
                      <a:pt x="0" y="80"/>
                      <a:pt x="2" y="83"/>
                      <a:pt x="5" y="83"/>
                    </a:cubicBezTo>
                    <a:cubicBezTo>
                      <a:pt x="40" y="83"/>
                      <a:pt x="40" y="83"/>
                      <a:pt x="40" y="83"/>
                    </a:cubicBezTo>
                    <a:cubicBezTo>
                      <a:pt x="40" y="92"/>
                      <a:pt x="40" y="92"/>
                      <a:pt x="40" y="92"/>
                    </a:cubicBezTo>
                    <a:cubicBezTo>
                      <a:pt x="26" y="93"/>
                      <a:pt x="15" y="96"/>
                      <a:pt x="15" y="99"/>
                    </a:cubicBezTo>
                    <a:cubicBezTo>
                      <a:pt x="86" y="99"/>
                      <a:pt x="86" y="99"/>
                      <a:pt x="86" y="99"/>
                    </a:cubicBezTo>
                    <a:cubicBezTo>
                      <a:pt x="86" y="96"/>
                      <a:pt x="75" y="93"/>
                      <a:pt x="61" y="92"/>
                    </a:cubicBezTo>
                    <a:cubicBezTo>
                      <a:pt x="61" y="83"/>
                      <a:pt x="61" y="83"/>
                      <a:pt x="61" y="83"/>
                    </a:cubicBezTo>
                    <a:cubicBezTo>
                      <a:pt x="96" y="83"/>
                      <a:pt x="96" y="83"/>
                      <a:pt x="96" y="83"/>
                    </a:cubicBezTo>
                    <a:cubicBezTo>
                      <a:pt x="99" y="83"/>
                      <a:pt x="101" y="80"/>
                      <a:pt x="101" y="77"/>
                    </a:cubicBezTo>
                    <a:cubicBezTo>
                      <a:pt x="101" y="6"/>
                      <a:pt x="101" y="6"/>
                      <a:pt x="101" y="6"/>
                    </a:cubicBezTo>
                    <a:cubicBezTo>
                      <a:pt x="101" y="3"/>
                      <a:pt x="99" y="0"/>
                      <a:pt x="96" y="0"/>
                    </a:cubicBezTo>
                    <a:close/>
                    <a:moveTo>
                      <a:pt x="93" y="74"/>
                    </a:moveTo>
                    <a:cubicBezTo>
                      <a:pt x="8" y="74"/>
                      <a:pt x="8" y="74"/>
                      <a:pt x="8" y="74"/>
                    </a:cubicBezTo>
                    <a:cubicBezTo>
                      <a:pt x="8" y="9"/>
                      <a:pt x="8" y="9"/>
                      <a:pt x="8" y="9"/>
                    </a:cubicBezTo>
                    <a:cubicBezTo>
                      <a:pt x="93" y="9"/>
                      <a:pt x="93" y="9"/>
                      <a:pt x="93" y="9"/>
                    </a:cubicBezTo>
                    <a:lnTo>
                      <a:pt x="93" y="74"/>
                    </a:lnTo>
                    <a:close/>
                  </a:path>
                </a:pathLst>
              </a:custGeom>
              <a:solidFill>
                <a:schemeClr val="accent1"/>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panose="020B0303020201020303" pitchFamily="34" charset="0"/>
                  <a:ea typeface="ＭＳ Ｐゴシック" charset="0"/>
                </a:endParaRPr>
              </a:p>
            </p:txBody>
          </p:sp>
        </p:grpSp>
        <p:grpSp>
          <p:nvGrpSpPr>
            <p:cNvPr id="223" name="Group 222"/>
            <p:cNvGrpSpPr/>
            <p:nvPr/>
          </p:nvGrpSpPr>
          <p:grpSpPr>
            <a:xfrm>
              <a:off x="2386746" y="3590435"/>
              <a:ext cx="454781" cy="453789"/>
              <a:chOff x="326059" y="3119945"/>
              <a:chExt cx="313754" cy="313754"/>
            </a:xfrm>
          </p:grpSpPr>
          <p:sp>
            <p:nvSpPr>
              <p:cNvPr id="224" name="Oval 223"/>
              <p:cNvSpPr/>
              <p:nvPr/>
            </p:nvSpPr>
            <p:spPr>
              <a:xfrm>
                <a:off x="326059" y="3119945"/>
                <a:ext cx="313754" cy="31375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25" name="Freeform 15"/>
              <p:cNvSpPr>
                <a:spLocks noEditPoints="1"/>
              </p:cNvSpPr>
              <p:nvPr/>
            </p:nvSpPr>
            <p:spPr bwMode="auto">
              <a:xfrm>
                <a:off x="386280" y="3211678"/>
                <a:ext cx="191649" cy="123203"/>
              </a:xfrm>
              <a:custGeom>
                <a:avLst/>
                <a:gdLst/>
                <a:ahLst/>
                <a:cxnLst>
                  <a:cxn ang="0">
                    <a:pos x="149" y="0"/>
                  </a:cxn>
                  <a:cxn ang="0">
                    <a:pos x="116" y="0"/>
                  </a:cxn>
                  <a:cxn ang="0">
                    <a:pos x="110" y="6"/>
                  </a:cxn>
                  <a:cxn ang="0">
                    <a:pos x="110" y="93"/>
                  </a:cxn>
                  <a:cxn ang="0">
                    <a:pos x="116" y="99"/>
                  </a:cxn>
                  <a:cxn ang="0">
                    <a:pos x="149" y="99"/>
                  </a:cxn>
                  <a:cxn ang="0">
                    <a:pos x="154" y="93"/>
                  </a:cxn>
                  <a:cxn ang="0">
                    <a:pos x="154" y="6"/>
                  </a:cxn>
                  <a:cxn ang="0">
                    <a:pos x="149" y="0"/>
                  </a:cxn>
                  <a:cxn ang="0">
                    <a:pos x="115" y="41"/>
                  </a:cxn>
                  <a:cxn ang="0">
                    <a:pos x="121" y="41"/>
                  </a:cxn>
                  <a:cxn ang="0">
                    <a:pos x="121" y="45"/>
                  </a:cxn>
                  <a:cxn ang="0">
                    <a:pos x="115" y="45"/>
                  </a:cxn>
                  <a:cxn ang="0">
                    <a:pos x="115" y="41"/>
                  </a:cxn>
                  <a:cxn ang="0">
                    <a:pos x="150" y="90"/>
                  </a:cxn>
                  <a:cxn ang="0">
                    <a:pos x="115" y="90"/>
                  </a:cxn>
                  <a:cxn ang="0">
                    <a:pos x="115" y="85"/>
                  </a:cxn>
                  <a:cxn ang="0">
                    <a:pos x="150" y="85"/>
                  </a:cxn>
                  <a:cxn ang="0">
                    <a:pos x="150" y="90"/>
                  </a:cxn>
                  <a:cxn ang="0">
                    <a:pos x="125" y="45"/>
                  </a:cxn>
                  <a:cxn ang="0">
                    <a:pos x="125" y="41"/>
                  </a:cxn>
                  <a:cxn ang="0">
                    <a:pos x="130" y="41"/>
                  </a:cxn>
                  <a:cxn ang="0">
                    <a:pos x="130" y="45"/>
                  </a:cxn>
                  <a:cxn ang="0">
                    <a:pos x="125" y="45"/>
                  </a:cxn>
                  <a:cxn ang="0">
                    <a:pos x="150" y="32"/>
                  </a:cxn>
                  <a:cxn ang="0">
                    <a:pos x="115" y="32"/>
                  </a:cxn>
                  <a:cxn ang="0">
                    <a:pos x="115" y="28"/>
                  </a:cxn>
                  <a:cxn ang="0">
                    <a:pos x="150" y="28"/>
                  </a:cxn>
                  <a:cxn ang="0">
                    <a:pos x="150" y="32"/>
                  </a:cxn>
                  <a:cxn ang="0">
                    <a:pos x="150" y="23"/>
                  </a:cxn>
                  <a:cxn ang="0">
                    <a:pos x="115" y="23"/>
                  </a:cxn>
                  <a:cxn ang="0">
                    <a:pos x="115" y="18"/>
                  </a:cxn>
                  <a:cxn ang="0">
                    <a:pos x="150" y="18"/>
                  </a:cxn>
                  <a:cxn ang="0">
                    <a:pos x="150" y="23"/>
                  </a:cxn>
                  <a:cxn ang="0">
                    <a:pos x="150" y="14"/>
                  </a:cxn>
                  <a:cxn ang="0">
                    <a:pos x="115" y="14"/>
                  </a:cxn>
                  <a:cxn ang="0">
                    <a:pos x="115" y="9"/>
                  </a:cxn>
                  <a:cxn ang="0">
                    <a:pos x="150" y="9"/>
                  </a:cxn>
                  <a:cxn ang="0">
                    <a:pos x="150" y="14"/>
                  </a:cxn>
                  <a:cxn ang="0">
                    <a:pos x="96" y="0"/>
                  </a:cxn>
                  <a:cxn ang="0">
                    <a:pos x="5" y="0"/>
                  </a:cxn>
                  <a:cxn ang="0">
                    <a:pos x="0" y="6"/>
                  </a:cxn>
                  <a:cxn ang="0">
                    <a:pos x="0" y="77"/>
                  </a:cxn>
                  <a:cxn ang="0">
                    <a:pos x="5" y="83"/>
                  </a:cxn>
                  <a:cxn ang="0">
                    <a:pos x="40" y="83"/>
                  </a:cxn>
                  <a:cxn ang="0">
                    <a:pos x="40" y="92"/>
                  </a:cxn>
                  <a:cxn ang="0">
                    <a:pos x="15" y="99"/>
                  </a:cxn>
                  <a:cxn ang="0">
                    <a:pos x="86" y="99"/>
                  </a:cxn>
                  <a:cxn ang="0">
                    <a:pos x="61" y="92"/>
                  </a:cxn>
                  <a:cxn ang="0">
                    <a:pos x="61" y="83"/>
                  </a:cxn>
                  <a:cxn ang="0">
                    <a:pos x="96" y="83"/>
                  </a:cxn>
                  <a:cxn ang="0">
                    <a:pos x="101" y="77"/>
                  </a:cxn>
                  <a:cxn ang="0">
                    <a:pos x="101" y="6"/>
                  </a:cxn>
                  <a:cxn ang="0">
                    <a:pos x="96" y="0"/>
                  </a:cxn>
                  <a:cxn ang="0">
                    <a:pos x="93" y="74"/>
                  </a:cxn>
                  <a:cxn ang="0">
                    <a:pos x="8" y="74"/>
                  </a:cxn>
                  <a:cxn ang="0">
                    <a:pos x="8" y="9"/>
                  </a:cxn>
                  <a:cxn ang="0">
                    <a:pos x="93" y="9"/>
                  </a:cxn>
                  <a:cxn ang="0">
                    <a:pos x="93" y="74"/>
                  </a:cxn>
                </a:cxnLst>
                <a:rect l="0" t="0" r="r" b="b"/>
                <a:pathLst>
                  <a:path w="154" h="99">
                    <a:moveTo>
                      <a:pt x="149" y="0"/>
                    </a:moveTo>
                    <a:cubicBezTo>
                      <a:pt x="116" y="0"/>
                      <a:pt x="116" y="0"/>
                      <a:pt x="116" y="0"/>
                    </a:cubicBezTo>
                    <a:cubicBezTo>
                      <a:pt x="113" y="0"/>
                      <a:pt x="110" y="3"/>
                      <a:pt x="110" y="6"/>
                    </a:cubicBezTo>
                    <a:cubicBezTo>
                      <a:pt x="110" y="93"/>
                      <a:pt x="110" y="93"/>
                      <a:pt x="110" y="93"/>
                    </a:cubicBezTo>
                    <a:cubicBezTo>
                      <a:pt x="110" y="96"/>
                      <a:pt x="113" y="99"/>
                      <a:pt x="116" y="99"/>
                    </a:cubicBezTo>
                    <a:cubicBezTo>
                      <a:pt x="149" y="99"/>
                      <a:pt x="149" y="99"/>
                      <a:pt x="149" y="99"/>
                    </a:cubicBezTo>
                    <a:cubicBezTo>
                      <a:pt x="152" y="99"/>
                      <a:pt x="154" y="96"/>
                      <a:pt x="154" y="93"/>
                    </a:cubicBezTo>
                    <a:cubicBezTo>
                      <a:pt x="154" y="6"/>
                      <a:pt x="154" y="6"/>
                      <a:pt x="154" y="6"/>
                    </a:cubicBezTo>
                    <a:cubicBezTo>
                      <a:pt x="154" y="3"/>
                      <a:pt x="152" y="0"/>
                      <a:pt x="149" y="0"/>
                    </a:cubicBezTo>
                    <a:close/>
                    <a:moveTo>
                      <a:pt x="115" y="41"/>
                    </a:moveTo>
                    <a:cubicBezTo>
                      <a:pt x="121" y="41"/>
                      <a:pt x="121" y="41"/>
                      <a:pt x="121" y="41"/>
                    </a:cubicBezTo>
                    <a:cubicBezTo>
                      <a:pt x="121" y="45"/>
                      <a:pt x="121" y="45"/>
                      <a:pt x="121" y="45"/>
                    </a:cubicBezTo>
                    <a:cubicBezTo>
                      <a:pt x="115" y="45"/>
                      <a:pt x="115" y="45"/>
                      <a:pt x="115" y="45"/>
                    </a:cubicBezTo>
                    <a:lnTo>
                      <a:pt x="115" y="41"/>
                    </a:lnTo>
                    <a:close/>
                    <a:moveTo>
                      <a:pt x="150" y="90"/>
                    </a:moveTo>
                    <a:cubicBezTo>
                      <a:pt x="115" y="90"/>
                      <a:pt x="115" y="90"/>
                      <a:pt x="115" y="90"/>
                    </a:cubicBezTo>
                    <a:cubicBezTo>
                      <a:pt x="115" y="85"/>
                      <a:pt x="115" y="85"/>
                      <a:pt x="115" y="85"/>
                    </a:cubicBezTo>
                    <a:cubicBezTo>
                      <a:pt x="150" y="85"/>
                      <a:pt x="150" y="85"/>
                      <a:pt x="150" y="85"/>
                    </a:cubicBezTo>
                    <a:lnTo>
                      <a:pt x="150" y="90"/>
                    </a:lnTo>
                    <a:close/>
                    <a:moveTo>
                      <a:pt x="125" y="45"/>
                    </a:moveTo>
                    <a:cubicBezTo>
                      <a:pt x="125" y="41"/>
                      <a:pt x="125" y="41"/>
                      <a:pt x="125" y="41"/>
                    </a:cubicBezTo>
                    <a:cubicBezTo>
                      <a:pt x="130" y="41"/>
                      <a:pt x="130" y="41"/>
                      <a:pt x="130" y="41"/>
                    </a:cubicBezTo>
                    <a:cubicBezTo>
                      <a:pt x="130" y="45"/>
                      <a:pt x="130" y="45"/>
                      <a:pt x="130" y="45"/>
                    </a:cubicBezTo>
                    <a:lnTo>
                      <a:pt x="125" y="45"/>
                    </a:lnTo>
                    <a:close/>
                    <a:moveTo>
                      <a:pt x="150" y="32"/>
                    </a:moveTo>
                    <a:cubicBezTo>
                      <a:pt x="115" y="32"/>
                      <a:pt x="115" y="32"/>
                      <a:pt x="115" y="32"/>
                    </a:cubicBezTo>
                    <a:cubicBezTo>
                      <a:pt x="115" y="28"/>
                      <a:pt x="115" y="28"/>
                      <a:pt x="115" y="28"/>
                    </a:cubicBezTo>
                    <a:cubicBezTo>
                      <a:pt x="150" y="28"/>
                      <a:pt x="150" y="28"/>
                      <a:pt x="150" y="28"/>
                    </a:cubicBezTo>
                    <a:lnTo>
                      <a:pt x="150" y="32"/>
                    </a:lnTo>
                    <a:close/>
                    <a:moveTo>
                      <a:pt x="150" y="23"/>
                    </a:moveTo>
                    <a:cubicBezTo>
                      <a:pt x="115" y="23"/>
                      <a:pt x="115" y="23"/>
                      <a:pt x="115" y="23"/>
                    </a:cubicBezTo>
                    <a:cubicBezTo>
                      <a:pt x="115" y="18"/>
                      <a:pt x="115" y="18"/>
                      <a:pt x="115" y="18"/>
                    </a:cubicBezTo>
                    <a:cubicBezTo>
                      <a:pt x="150" y="18"/>
                      <a:pt x="150" y="18"/>
                      <a:pt x="150" y="18"/>
                    </a:cubicBezTo>
                    <a:lnTo>
                      <a:pt x="150" y="23"/>
                    </a:lnTo>
                    <a:close/>
                    <a:moveTo>
                      <a:pt x="150" y="14"/>
                    </a:moveTo>
                    <a:cubicBezTo>
                      <a:pt x="115" y="14"/>
                      <a:pt x="115" y="14"/>
                      <a:pt x="115" y="14"/>
                    </a:cubicBezTo>
                    <a:cubicBezTo>
                      <a:pt x="115" y="9"/>
                      <a:pt x="115" y="9"/>
                      <a:pt x="115" y="9"/>
                    </a:cubicBezTo>
                    <a:cubicBezTo>
                      <a:pt x="150" y="9"/>
                      <a:pt x="150" y="9"/>
                      <a:pt x="150" y="9"/>
                    </a:cubicBezTo>
                    <a:lnTo>
                      <a:pt x="150" y="14"/>
                    </a:lnTo>
                    <a:close/>
                    <a:moveTo>
                      <a:pt x="96" y="0"/>
                    </a:moveTo>
                    <a:cubicBezTo>
                      <a:pt x="5" y="0"/>
                      <a:pt x="5" y="0"/>
                      <a:pt x="5" y="0"/>
                    </a:cubicBezTo>
                    <a:cubicBezTo>
                      <a:pt x="2" y="0"/>
                      <a:pt x="0" y="3"/>
                      <a:pt x="0" y="6"/>
                    </a:cubicBezTo>
                    <a:cubicBezTo>
                      <a:pt x="0" y="77"/>
                      <a:pt x="0" y="77"/>
                      <a:pt x="0" y="77"/>
                    </a:cubicBezTo>
                    <a:cubicBezTo>
                      <a:pt x="0" y="80"/>
                      <a:pt x="2" y="83"/>
                      <a:pt x="5" y="83"/>
                    </a:cubicBezTo>
                    <a:cubicBezTo>
                      <a:pt x="40" y="83"/>
                      <a:pt x="40" y="83"/>
                      <a:pt x="40" y="83"/>
                    </a:cubicBezTo>
                    <a:cubicBezTo>
                      <a:pt x="40" y="92"/>
                      <a:pt x="40" y="92"/>
                      <a:pt x="40" y="92"/>
                    </a:cubicBezTo>
                    <a:cubicBezTo>
                      <a:pt x="26" y="93"/>
                      <a:pt x="15" y="96"/>
                      <a:pt x="15" y="99"/>
                    </a:cubicBezTo>
                    <a:cubicBezTo>
                      <a:pt x="86" y="99"/>
                      <a:pt x="86" y="99"/>
                      <a:pt x="86" y="99"/>
                    </a:cubicBezTo>
                    <a:cubicBezTo>
                      <a:pt x="86" y="96"/>
                      <a:pt x="75" y="93"/>
                      <a:pt x="61" y="92"/>
                    </a:cubicBezTo>
                    <a:cubicBezTo>
                      <a:pt x="61" y="83"/>
                      <a:pt x="61" y="83"/>
                      <a:pt x="61" y="83"/>
                    </a:cubicBezTo>
                    <a:cubicBezTo>
                      <a:pt x="96" y="83"/>
                      <a:pt x="96" y="83"/>
                      <a:pt x="96" y="83"/>
                    </a:cubicBezTo>
                    <a:cubicBezTo>
                      <a:pt x="99" y="83"/>
                      <a:pt x="101" y="80"/>
                      <a:pt x="101" y="77"/>
                    </a:cubicBezTo>
                    <a:cubicBezTo>
                      <a:pt x="101" y="6"/>
                      <a:pt x="101" y="6"/>
                      <a:pt x="101" y="6"/>
                    </a:cubicBezTo>
                    <a:cubicBezTo>
                      <a:pt x="101" y="3"/>
                      <a:pt x="99" y="0"/>
                      <a:pt x="96" y="0"/>
                    </a:cubicBezTo>
                    <a:close/>
                    <a:moveTo>
                      <a:pt x="93" y="74"/>
                    </a:moveTo>
                    <a:cubicBezTo>
                      <a:pt x="8" y="74"/>
                      <a:pt x="8" y="74"/>
                      <a:pt x="8" y="74"/>
                    </a:cubicBezTo>
                    <a:cubicBezTo>
                      <a:pt x="8" y="9"/>
                      <a:pt x="8" y="9"/>
                      <a:pt x="8" y="9"/>
                    </a:cubicBezTo>
                    <a:cubicBezTo>
                      <a:pt x="93" y="9"/>
                      <a:pt x="93" y="9"/>
                      <a:pt x="93" y="9"/>
                    </a:cubicBezTo>
                    <a:lnTo>
                      <a:pt x="93" y="74"/>
                    </a:lnTo>
                    <a:close/>
                  </a:path>
                </a:pathLst>
              </a:custGeom>
              <a:solidFill>
                <a:schemeClr val="accent1"/>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panose="020B0303020201020303" pitchFamily="34" charset="0"/>
                  <a:ea typeface="ＭＳ Ｐゴシック" charset="0"/>
                </a:endParaRPr>
              </a:p>
            </p:txBody>
          </p:sp>
        </p:grpSp>
        <p:grpSp>
          <p:nvGrpSpPr>
            <p:cNvPr id="226" name="Group 225"/>
            <p:cNvGrpSpPr/>
            <p:nvPr/>
          </p:nvGrpSpPr>
          <p:grpSpPr>
            <a:xfrm>
              <a:off x="2386746" y="2519140"/>
              <a:ext cx="454781" cy="453789"/>
              <a:chOff x="326059" y="3119945"/>
              <a:chExt cx="313754" cy="313754"/>
            </a:xfrm>
          </p:grpSpPr>
          <p:sp>
            <p:nvSpPr>
              <p:cNvPr id="227" name="Oval 226"/>
              <p:cNvSpPr/>
              <p:nvPr/>
            </p:nvSpPr>
            <p:spPr>
              <a:xfrm>
                <a:off x="326059" y="3119945"/>
                <a:ext cx="313754" cy="31375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28" name="Freeform 15"/>
              <p:cNvSpPr>
                <a:spLocks noEditPoints="1"/>
              </p:cNvSpPr>
              <p:nvPr/>
            </p:nvSpPr>
            <p:spPr bwMode="auto">
              <a:xfrm>
                <a:off x="386280" y="3211678"/>
                <a:ext cx="191649" cy="123203"/>
              </a:xfrm>
              <a:custGeom>
                <a:avLst/>
                <a:gdLst/>
                <a:ahLst/>
                <a:cxnLst>
                  <a:cxn ang="0">
                    <a:pos x="149" y="0"/>
                  </a:cxn>
                  <a:cxn ang="0">
                    <a:pos x="116" y="0"/>
                  </a:cxn>
                  <a:cxn ang="0">
                    <a:pos x="110" y="6"/>
                  </a:cxn>
                  <a:cxn ang="0">
                    <a:pos x="110" y="93"/>
                  </a:cxn>
                  <a:cxn ang="0">
                    <a:pos x="116" y="99"/>
                  </a:cxn>
                  <a:cxn ang="0">
                    <a:pos x="149" y="99"/>
                  </a:cxn>
                  <a:cxn ang="0">
                    <a:pos x="154" y="93"/>
                  </a:cxn>
                  <a:cxn ang="0">
                    <a:pos x="154" y="6"/>
                  </a:cxn>
                  <a:cxn ang="0">
                    <a:pos x="149" y="0"/>
                  </a:cxn>
                  <a:cxn ang="0">
                    <a:pos x="115" y="41"/>
                  </a:cxn>
                  <a:cxn ang="0">
                    <a:pos x="121" y="41"/>
                  </a:cxn>
                  <a:cxn ang="0">
                    <a:pos x="121" y="45"/>
                  </a:cxn>
                  <a:cxn ang="0">
                    <a:pos x="115" y="45"/>
                  </a:cxn>
                  <a:cxn ang="0">
                    <a:pos x="115" y="41"/>
                  </a:cxn>
                  <a:cxn ang="0">
                    <a:pos x="150" y="90"/>
                  </a:cxn>
                  <a:cxn ang="0">
                    <a:pos x="115" y="90"/>
                  </a:cxn>
                  <a:cxn ang="0">
                    <a:pos x="115" y="85"/>
                  </a:cxn>
                  <a:cxn ang="0">
                    <a:pos x="150" y="85"/>
                  </a:cxn>
                  <a:cxn ang="0">
                    <a:pos x="150" y="90"/>
                  </a:cxn>
                  <a:cxn ang="0">
                    <a:pos x="125" y="45"/>
                  </a:cxn>
                  <a:cxn ang="0">
                    <a:pos x="125" y="41"/>
                  </a:cxn>
                  <a:cxn ang="0">
                    <a:pos x="130" y="41"/>
                  </a:cxn>
                  <a:cxn ang="0">
                    <a:pos x="130" y="45"/>
                  </a:cxn>
                  <a:cxn ang="0">
                    <a:pos x="125" y="45"/>
                  </a:cxn>
                  <a:cxn ang="0">
                    <a:pos x="150" y="32"/>
                  </a:cxn>
                  <a:cxn ang="0">
                    <a:pos x="115" y="32"/>
                  </a:cxn>
                  <a:cxn ang="0">
                    <a:pos x="115" y="28"/>
                  </a:cxn>
                  <a:cxn ang="0">
                    <a:pos x="150" y="28"/>
                  </a:cxn>
                  <a:cxn ang="0">
                    <a:pos x="150" y="32"/>
                  </a:cxn>
                  <a:cxn ang="0">
                    <a:pos x="150" y="23"/>
                  </a:cxn>
                  <a:cxn ang="0">
                    <a:pos x="115" y="23"/>
                  </a:cxn>
                  <a:cxn ang="0">
                    <a:pos x="115" y="18"/>
                  </a:cxn>
                  <a:cxn ang="0">
                    <a:pos x="150" y="18"/>
                  </a:cxn>
                  <a:cxn ang="0">
                    <a:pos x="150" y="23"/>
                  </a:cxn>
                  <a:cxn ang="0">
                    <a:pos x="150" y="14"/>
                  </a:cxn>
                  <a:cxn ang="0">
                    <a:pos x="115" y="14"/>
                  </a:cxn>
                  <a:cxn ang="0">
                    <a:pos x="115" y="9"/>
                  </a:cxn>
                  <a:cxn ang="0">
                    <a:pos x="150" y="9"/>
                  </a:cxn>
                  <a:cxn ang="0">
                    <a:pos x="150" y="14"/>
                  </a:cxn>
                  <a:cxn ang="0">
                    <a:pos x="96" y="0"/>
                  </a:cxn>
                  <a:cxn ang="0">
                    <a:pos x="5" y="0"/>
                  </a:cxn>
                  <a:cxn ang="0">
                    <a:pos x="0" y="6"/>
                  </a:cxn>
                  <a:cxn ang="0">
                    <a:pos x="0" y="77"/>
                  </a:cxn>
                  <a:cxn ang="0">
                    <a:pos x="5" y="83"/>
                  </a:cxn>
                  <a:cxn ang="0">
                    <a:pos x="40" y="83"/>
                  </a:cxn>
                  <a:cxn ang="0">
                    <a:pos x="40" y="92"/>
                  </a:cxn>
                  <a:cxn ang="0">
                    <a:pos x="15" y="99"/>
                  </a:cxn>
                  <a:cxn ang="0">
                    <a:pos x="86" y="99"/>
                  </a:cxn>
                  <a:cxn ang="0">
                    <a:pos x="61" y="92"/>
                  </a:cxn>
                  <a:cxn ang="0">
                    <a:pos x="61" y="83"/>
                  </a:cxn>
                  <a:cxn ang="0">
                    <a:pos x="96" y="83"/>
                  </a:cxn>
                  <a:cxn ang="0">
                    <a:pos x="101" y="77"/>
                  </a:cxn>
                  <a:cxn ang="0">
                    <a:pos x="101" y="6"/>
                  </a:cxn>
                  <a:cxn ang="0">
                    <a:pos x="96" y="0"/>
                  </a:cxn>
                  <a:cxn ang="0">
                    <a:pos x="93" y="74"/>
                  </a:cxn>
                  <a:cxn ang="0">
                    <a:pos x="8" y="74"/>
                  </a:cxn>
                  <a:cxn ang="0">
                    <a:pos x="8" y="9"/>
                  </a:cxn>
                  <a:cxn ang="0">
                    <a:pos x="93" y="9"/>
                  </a:cxn>
                  <a:cxn ang="0">
                    <a:pos x="93" y="74"/>
                  </a:cxn>
                </a:cxnLst>
                <a:rect l="0" t="0" r="r" b="b"/>
                <a:pathLst>
                  <a:path w="154" h="99">
                    <a:moveTo>
                      <a:pt x="149" y="0"/>
                    </a:moveTo>
                    <a:cubicBezTo>
                      <a:pt x="116" y="0"/>
                      <a:pt x="116" y="0"/>
                      <a:pt x="116" y="0"/>
                    </a:cubicBezTo>
                    <a:cubicBezTo>
                      <a:pt x="113" y="0"/>
                      <a:pt x="110" y="3"/>
                      <a:pt x="110" y="6"/>
                    </a:cubicBezTo>
                    <a:cubicBezTo>
                      <a:pt x="110" y="93"/>
                      <a:pt x="110" y="93"/>
                      <a:pt x="110" y="93"/>
                    </a:cubicBezTo>
                    <a:cubicBezTo>
                      <a:pt x="110" y="96"/>
                      <a:pt x="113" y="99"/>
                      <a:pt x="116" y="99"/>
                    </a:cubicBezTo>
                    <a:cubicBezTo>
                      <a:pt x="149" y="99"/>
                      <a:pt x="149" y="99"/>
                      <a:pt x="149" y="99"/>
                    </a:cubicBezTo>
                    <a:cubicBezTo>
                      <a:pt x="152" y="99"/>
                      <a:pt x="154" y="96"/>
                      <a:pt x="154" y="93"/>
                    </a:cubicBezTo>
                    <a:cubicBezTo>
                      <a:pt x="154" y="6"/>
                      <a:pt x="154" y="6"/>
                      <a:pt x="154" y="6"/>
                    </a:cubicBezTo>
                    <a:cubicBezTo>
                      <a:pt x="154" y="3"/>
                      <a:pt x="152" y="0"/>
                      <a:pt x="149" y="0"/>
                    </a:cubicBezTo>
                    <a:close/>
                    <a:moveTo>
                      <a:pt x="115" y="41"/>
                    </a:moveTo>
                    <a:cubicBezTo>
                      <a:pt x="121" y="41"/>
                      <a:pt x="121" y="41"/>
                      <a:pt x="121" y="41"/>
                    </a:cubicBezTo>
                    <a:cubicBezTo>
                      <a:pt x="121" y="45"/>
                      <a:pt x="121" y="45"/>
                      <a:pt x="121" y="45"/>
                    </a:cubicBezTo>
                    <a:cubicBezTo>
                      <a:pt x="115" y="45"/>
                      <a:pt x="115" y="45"/>
                      <a:pt x="115" y="45"/>
                    </a:cubicBezTo>
                    <a:lnTo>
                      <a:pt x="115" y="41"/>
                    </a:lnTo>
                    <a:close/>
                    <a:moveTo>
                      <a:pt x="150" y="90"/>
                    </a:moveTo>
                    <a:cubicBezTo>
                      <a:pt x="115" y="90"/>
                      <a:pt x="115" y="90"/>
                      <a:pt x="115" y="90"/>
                    </a:cubicBezTo>
                    <a:cubicBezTo>
                      <a:pt x="115" y="85"/>
                      <a:pt x="115" y="85"/>
                      <a:pt x="115" y="85"/>
                    </a:cubicBezTo>
                    <a:cubicBezTo>
                      <a:pt x="150" y="85"/>
                      <a:pt x="150" y="85"/>
                      <a:pt x="150" y="85"/>
                    </a:cubicBezTo>
                    <a:lnTo>
                      <a:pt x="150" y="90"/>
                    </a:lnTo>
                    <a:close/>
                    <a:moveTo>
                      <a:pt x="125" y="45"/>
                    </a:moveTo>
                    <a:cubicBezTo>
                      <a:pt x="125" y="41"/>
                      <a:pt x="125" y="41"/>
                      <a:pt x="125" y="41"/>
                    </a:cubicBezTo>
                    <a:cubicBezTo>
                      <a:pt x="130" y="41"/>
                      <a:pt x="130" y="41"/>
                      <a:pt x="130" y="41"/>
                    </a:cubicBezTo>
                    <a:cubicBezTo>
                      <a:pt x="130" y="45"/>
                      <a:pt x="130" y="45"/>
                      <a:pt x="130" y="45"/>
                    </a:cubicBezTo>
                    <a:lnTo>
                      <a:pt x="125" y="45"/>
                    </a:lnTo>
                    <a:close/>
                    <a:moveTo>
                      <a:pt x="150" y="32"/>
                    </a:moveTo>
                    <a:cubicBezTo>
                      <a:pt x="115" y="32"/>
                      <a:pt x="115" y="32"/>
                      <a:pt x="115" y="32"/>
                    </a:cubicBezTo>
                    <a:cubicBezTo>
                      <a:pt x="115" y="28"/>
                      <a:pt x="115" y="28"/>
                      <a:pt x="115" y="28"/>
                    </a:cubicBezTo>
                    <a:cubicBezTo>
                      <a:pt x="150" y="28"/>
                      <a:pt x="150" y="28"/>
                      <a:pt x="150" y="28"/>
                    </a:cubicBezTo>
                    <a:lnTo>
                      <a:pt x="150" y="32"/>
                    </a:lnTo>
                    <a:close/>
                    <a:moveTo>
                      <a:pt x="150" y="23"/>
                    </a:moveTo>
                    <a:cubicBezTo>
                      <a:pt x="115" y="23"/>
                      <a:pt x="115" y="23"/>
                      <a:pt x="115" y="23"/>
                    </a:cubicBezTo>
                    <a:cubicBezTo>
                      <a:pt x="115" y="18"/>
                      <a:pt x="115" y="18"/>
                      <a:pt x="115" y="18"/>
                    </a:cubicBezTo>
                    <a:cubicBezTo>
                      <a:pt x="150" y="18"/>
                      <a:pt x="150" y="18"/>
                      <a:pt x="150" y="18"/>
                    </a:cubicBezTo>
                    <a:lnTo>
                      <a:pt x="150" y="23"/>
                    </a:lnTo>
                    <a:close/>
                    <a:moveTo>
                      <a:pt x="150" y="14"/>
                    </a:moveTo>
                    <a:cubicBezTo>
                      <a:pt x="115" y="14"/>
                      <a:pt x="115" y="14"/>
                      <a:pt x="115" y="14"/>
                    </a:cubicBezTo>
                    <a:cubicBezTo>
                      <a:pt x="115" y="9"/>
                      <a:pt x="115" y="9"/>
                      <a:pt x="115" y="9"/>
                    </a:cubicBezTo>
                    <a:cubicBezTo>
                      <a:pt x="150" y="9"/>
                      <a:pt x="150" y="9"/>
                      <a:pt x="150" y="9"/>
                    </a:cubicBezTo>
                    <a:lnTo>
                      <a:pt x="150" y="14"/>
                    </a:lnTo>
                    <a:close/>
                    <a:moveTo>
                      <a:pt x="96" y="0"/>
                    </a:moveTo>
                    <a:cubicBezTo>
                      <a:pt x="5" y="0"/>
                      <a:pt x="5" y="0"/>
                      <a:pt x="5" y="0"/>
                    </a:cubicBezTo>
                    <a:cubicBezTo>
                      <a:pt x="2" y="0"/>
                      <a:pt x="0" y="3"/>
                      <a:pt x="0" y="6"/>
                    </a:cubicBezTo>
                    <a:cubicBezTo>
                      <a:pt x="0" y="77"/>
                      <a:pt x="0" y="77"/>
                      <a:pt x="0" y="77"/>
                    </a:cubicBezTo>
                    <a:cubicBezTo>
                      <a:pt x="0" y="80"/>
                      <a:pt x="2" y="83"/>
                      <a:pt x="5" y="83"/>
                    </a:cubicBezTo>
                    <a:cubicBezTo>
                      <a:pt x="40" y="83"/>
                      <a:pt x="40" y="83"/>
                      <a:pt x="40" y="83"/>
                    </a:cubicBezTo>
                    <a:cubicBezTo>
                      <a:pt x="40" y="92"/>
                      <a:pt x="40" y="92"/>
                      <a:pt x="40" y="92"/>
                    </a:cubicBezTo>
                    <a:cubicBezTo>
                      <a:pt x="26" y="93"/>
                      <a:pt x="15" y="96"/>
                      <a:pt x="15" y="99"/>
                    </a:cubicBezTo>
                    <a:cubicBezTo>
                      <a:pt x="86" y="99"/>
                      <a:pt x="86" y="99"/>
                      <a:pt x="86" y="99"/>
                    </a:cubicBezTo>
                    <a:cubicBezTo>
                      <a:pt x="86" y="96"/>
                      <a:pt x="75" y="93"/>
                      <a:pt x="61" y="92"/>
                    </a:cubicBezTo>
                    <a:cubicBezTo>
                      <a:pt x="61" y="83"/>
                      <a:pt x="61" y="83"/>
                      <a:pt x="61" y="83"/>
                    </a:cubicBezTo>
                    <a:cubicBezTo>
                      <a:pt x="96" y="83"/>
                      <a:pt x="96" y="83"/>
                      <a:pt x="96" y="83"/>
                    </a:cubicBezTo>
                    <a:cubicBezTo>
                      <a:pt x="99" y="83"/>
                      <a:pt x="101" y="80"/>
                      <a:pt x="101" y="77"/>
                    </a:cubicBezTo>
                    <a:cubicBezTo>
                      <a:pt x="101" y="6"/>
                      <a:pt x="101" y="6"/>
                      <a:pt x="101" y="6"/>
                    </a:cubicBezTo>
                    <a:cubicBezTo>
                      <a:pt x="101" y="3"/>
                      <a:pt x="99" y="0"/>
                      <a:pt x="96" y="0"/>
                    </a:cubicBezTo>
                    <a:close/>
                    <a:moveTo>
                      <a:pt x="93" y="74"/>
                    </a:moveTo>
                    <a:cubicBezTo>
                      <a:pt x="8" y="74"/>
                      <a:pt x="8" y="74"/>
                      <a:pt x="8" y="74"/>
                    </a:cubicBezTo>
                    <a:cubicBezTo>
                      <a:pt x="8" y="9"/>
                      <a:pt x="8" y="9"/>
                      <a:pt x="8" y="9"/>
                    </a:cubicBezTo>
                    <a:cubicBezTo>
                      <a:pt x="93" y="9"/>
                      <a:pt x="93" y="9"/>
                      <a:pt x="93" y="9"/>
                    </a:cubicBezTo>
                    <a:lnTo>
                      <a:pt x="93" y="74"/>
                    </a:lnTo>
                    <a:close/>
                  </a:path>
                </a:pathLst>
              </a:custGeom>
              <a:solidFill>
                <a:schemeClr val="accent1"/>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panose="020B0303020201020303" pitchFamily="34" charset="0"/>
                  <a:ea typeface="ＭＳ Ｐゴシック" charset="0"/>
                </a:endParaRPr>
              </a:p>
            </p:txBody>
          </p:sp>
        </p:grpSp>
        <p:grpSp>
          <p:nvGrpSpPr>
            <p:cNvPr id="221" name="Group 220"/>
            <p:cNvGrpSpPr>
              <a:grpSpLocks noChangeAspect="1"/>
            </p:cNvGrpSpPr>
            <p:nvPr/>
          </p:nvGrpSpPr>
          <p:grpSpPr>
            <a:xfrm>
              <a:off x="2390186" y="3067329"/>
              <a:ext cx="442813" cy="441847"/>
              <a:chOff x="4247689" y="3669562"/>
              <a:chExt cx="548640" cy="548640"/>
            </a:xfrm>
          </p:grpSpPr>
          <p:sp>
            <p:nvSpPr>
              <p:cNvPr id="238" name="Oval 237"/>
              <p:cNvSpPr/>
              <p:nvPr/>
            </p:nvSpPr>
            <p:spPr>
              <a:xfrm>
                <a:off x="4247689" y="3669562"/>
                <a:ext cx="548640" cy="54864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239" name="Group 238"/>
              <p:cNvGrpSpPr/>
              <p:nvPr/>
            </p:nvGrpSpPr>
            <p:grpSpPr>
              <a:xfrm>
                <a:off x="4416801" y="3752252"/>
                <a:ext cx="209312" cy="383266"/>
                <a:chOff x="4457929" y="4607371"/>
                <a:chExt cx="234950" cy="430212"/>
              </a:xfrm>
            </p:grpSpPr>
            <p:sp>
              <p:nvSpPr>
                <p:cNvPr id="240" name="Freeform 239"/>
                <p:cNvSpPr>
                  <a:spLocks/>
                </p:cNvSpPr>
                <p:nvPr/>
              </p:nvSpPr>
              <p:spPr bwMode="auto">
                <a:xfrm>
                  <a:off x="4457929" y="4607371"/>
                  <a:ext cx="234950"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41" name="Line 208"/>
                <p:cNvSpPr>
                  <a:spLocks noChangeShapeType="1"/>
                </p:cNvSpPr>
                <p:nvPr/>
              </p:nvSpPr>
              <p:spPr bwMode="auto">
                <a:xfrm>
                  <a:off x="4516667" y="46772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42" name="Line 209"/>
                <p:cNvSpPr>
                  <a:spLocks noChangeShapeType="1"/>
                </p:cNvSpPr>
                <p:nvPr/>
              </p:nvSpPr>
              <p:spPr bwMode="auto">
                <a:xfrm>
                  <a:off x="4516667" y="4745483"/>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43" name="Line 210"/>
                <p:cNvSpPr>
                  <a:spLocks noChangeShapeType="1"/>
                </p:cNvSpPr>
                <p:nvPr/>
              </p:nvSpPr>
              <p:spPr bwMode="auto">
                <a:xfrm>
                  <a:off x="4516667" y="48169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44" name="Line 211"/>
                <p:cNvSpPr>
                  <a:spLocks noChangeShapeType="1"/>
                </p:cNvSpPr>
                <p:nvPr/>
              </p:nvSpPr>
              <p:spPr bwMode="auto">
                <a:xfrm>
                  <a:off x="4516667" y="488677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12" name="Group 11">
            <a:extLst>
              <a:ext uri="{FF2B5EF4-FFF2-40B4-BE49-F238E27FC236}">
                <a16:creationId xmlns:a16="http://schemas.microsoft.com/office/drawing/2014/main" id="{9728BED6-5067-4DC8-B0A4-7D2E6A427BB4}"/>
              </a:ext>
            </a:extLst>
          </p:cNvPr>
          <p:cNvGrpSpPr/>
          <p:nvPr/>
        </p:nvGrpSpPr>
        <p:grpSpPr>
          <a:xfrm>
            <a:off x="3366010" y="2959440"/>
            <a:ext cx="2435999" cy="1296520"/>
            <a:chOff x="3439502" y="2384559"/>
            <a:chExt cx="4294390" cy="1276497"/>
          </a:xfrm>
          <a:solidFill>
            <a:schemeClr val="bg2"/>
          </a:solidFill>
        </p:grpSpPr>
        <p:sp>
          <p:nvSpPr>
            <p:cNvPr id="53" name="Rectangle 52"/>
            <p:cNvSpPr/>
            <p:nvPr/>
          </p:nvSpPr>
          <p:spPr>
            <a:xfrm>
              <a:off x="3439502" y="2711986"/>
              <a:ext cx="1384477" cy="289324"/>
            </a:xfrm>
            <a:prstGeom prst="rect">
              <a:avLst/>
            </a:prstGeom>
            <a:grp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t>Number of concurrent flows</a:t>
              </a:r>
            </a:p>
          </p:txBody>
        </p:sp>
        <p:sp>
          <p:nvSpPr>
            <p:cNvPr id="54" name="Rectangle 53"/>
            <p:cNvSpPr/>
            <p:nvPr/>
          </p:nvSpPr>
          <p:spPr>
            <a:xfrm>
              <a:off x="4896935" y="3371732"/>
              <a:ext cx="1384477" cy="289324"/>
            </a:xfrm>
            <a:prstGeom prst="rect">
              <a:avLst/>
            </a:prstGeom>
            <a:grp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6EBE4A"/>
                  </a:solidFill>
                  <a:effectLst/>
                  <a:uLnTx/>
                  <a:uFillTx/>
                  <a:latin typeface="CiscoSansTT ExtraLight"/>
                  <a:ea typeface="+mn-ea"/>
                  <a:cs typeface="+mn-cs"/>
                </a:rPr>
                <a:t>Time of day</a:t>
              </a:r>
              <a:endParaRPr kumimoji="0" lang="en-US" sz="700" b="0" i="0" u="none" strike="noStrike" kern="1200" cap="none" spc="0" normalizeH="0" baseline="0" noProof="0" dirty="0">
                <a:ln>
                  <a:noFill/>
                </a:ln>
                <a:solidFill>
                  <a:srgbClr val="6EBE4A"/>
                </a:solidFill>
                <a:effectLst/>
                <a:uLnTx/>
                <a:uFillTx/>
                <a:latin typeface="CiscoSansTT ExtraLight"/>
                <a:ea typeface="+mn-ea"/>
                <a:cs typeface="+mn-cs"/>
              </a:endParaRPr>
            </a:p>
          </p:txBody>
        </p:sp>
        <p:sp>
          <p:nvSpPr>
            <p:cNvPr id="55" name="Rectangle 54"/>
            <p:cNvSpPr/>
            <p:nvPr/>
          </p:nvSpPr>
          <p:spPr>
            <a:xfrm>
              <a:off x="3439502" y="3371732"/>
              <a:ext cx="1384477" cy="289324"/>
            </a:xfrm>
            <a:prstGeom prst="rect">
              <a:avLst/>
            </a:prstGeom>
            <a:grp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t>Bits per second</a:t>
              </a:r>
            </a:p>
          </p:txBody>
        </p:sp>
        <p:sp>
          <p:nvSpPr>
            <p:cNvPr id="56" name="Rectangle 55"/>
            <p:cNvSpPr/>
            <p:nvPr/>
          </p:nvSpPr>
          <p:spPr>
            <a:xfrm>
              <a:off x="3439502" y="3041236"/>
              <a:ext cx="1384477" cy="289324"/>
            </a:xfrm>
            <a:prstGeom prst="rect">
              <a:avLst/>
            </a:prstGeom>
            <a:grp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t>Packet </a:t>
              </a:r>
              <a:b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br>
              <a: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t>per second</a:t>
              </a:r>
            </a:p>
          </p:txBody>
        </p:sp>
        <p:sp>
          <p:nvSpPr>
            <p:cNvPr id="57" name="Rectangle 56"/>
            <p:cNvSpPr/>
            <p:nvPr/>
          </p:nvSpPr>
          <p:spPr>
            <a:xfrm>
              <a:off x="4896935" y="3041236"/>
              <a:ext cx="1384477" cy="289324"/>
            </a:xfrm>
            <a:prstGeom prst="rect">
              <a:avLst/>
            </a:prstGeom>
            <a:grp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t>Number of </a:t>
              </a:r>
              <a:b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br>
              <a: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t>SYNs sent</a:t>
              </a:r>
            </a:p>
          </p:txBody>
        </p:sp>
        <p:sp>
          <p:nvSpPr>
            <p:cNvPr id="58" name="Rectangle 57"/>
            <p:cNvSpPr/>
            <p:nvPr/>
          </p:nvSpPr>
          <p:spPr>
            <a:xfrm>
              <a:off x="4896935" y="2711984"/>
              <a:ext cx="1384477" cy="289324"/>
            </a:xfrm>
            <a:prstGeom prst="rect">
              <a:avLst/>
            </a:prstGeom>
            <a:grp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t>New flows </a:t>
              </a:r>
              <a:b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br>
              <a: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t>created</a:t>
              </a:r>
            </a:p>
          </p:txBody>
        </p:sp>
        <p:sp>
          <p:nvSpPr>
            <p:cNvPr id="59" name="Rectangle 58"/>
            <p:cNvSpPr/>
            <p:nvPr/>
          </p:nvSpPr>
          <p:spPr>
            <a:xfrm>
              <a:off x="6349414" y="2711984"/>
              <a:ext cx="1384477" cy="289324"/>
            </a:xfrm>
            <a:prstGeom prst="rect">
              <a:avLst/>
            </a:prstGeom>
            <a:grp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t>Number of </a:t>
              </a:r>
              <a:b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br>
              <a: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t>SYNs received</a:t>
              </a:r>
            </a:p>
          </p:txBody>
        </p:sp>
        <p:sp>
          <p:nvSpPr>
            <p:cNvPr id="94" name="Rectangle 93"/>
            <p:cNvSpPr/>
            <p:nvPr/>
          </p:nvSpPr>
          <p:spPr>
            <a:xfrm>
              <a:off x="6349414" y="3041236"/>
              <a:ext cx="1384477" cy="289324"/>
            </a:xfrm>
            <a:prstGeom prst="rect">
              <a:avLst/>
            </a:prstGeom>
            <a:grp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t>Rate of </a:t>
              </a:r>
              <a:b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br>
              <a: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t>connection resets</a:t>
              </a:r>
            </a:p>
          </p:txBody>
        </p:sp>
        <p:sp>
          <p:nvSpPr>
            <p:cNvPr id="95" name="Rectangle 94"/>
            <p:cNvSpPr/>
            <p:nvPr/>
          </p:nvSpPr>
          <p:spPr>
            <a:xfrm>
              <a:off x="6349414" y="3371732"/>
              <a:ext cx="1384477" cy="289324"/>
            </a:xfrm>
            <a:prstGeom prst="rect">
              <a:avLst/>
            </a:prstGeom>
            <a:grpFill/>
            <a:ln>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t>Duration </a:t>
              </a:r>
              <a:b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br>
              <a:r>
                <a:rPr kumimoji="0" lang="en-US" sz="700" b="0" i="0" u="none" strike="noStrike" kern="1200" cap="none" spc="0" normalizeH="0" baseline="0" noProof="0" dirty="0">
                  <a:ln>
                    <a:noFill/>
                  </a:ln>
                  <a:solidFill>
                    <a:srgbClr val="6EBE4A"/>
                  </a:solidFill>
                  <a:effectLst/>
                  <a:uLnTx/>
                  <a:uFillTx/>
                  <a:latin typeface="CiscoSansTT ExtraLight"/>
                  <a:ea typeface="+mn-ea"/>
                  <a:cs typeface="+mn-cs"/>
                </a:rPr>
                <a:t>of the flow</a:t>
              </a:r>
            </a:p>
          </p:txBody>
        </p:sp>
        <p:sp>
          <p:nvSpPr>
            <p:cNvPr id="124" name="Rectangle 123">
              <a:extLst>
                <a:ext uri="{FF2B5EF4-FFF2-40B4-BE49-F238E27FC236}">
                  <a16:creationId xmlns:a16="http://schemas.microsoft.com/office/drawing/2014/main" id="{733DD038-E1C9-4BE3-B226-D2B130558C6D}"/>
                </a:ext>
              </a:extLst>
            </p:cNvPr>
            <p:cNvSpPr/>
            <p:nvPr/>
          </p:nvSpPr>
          <p:spPr>
            <a:xfrm>
              <a:off x="3439502" y="2384559"/>
              <a:ext cx="4294390" cy="289324"/>
            </a:xfrm>
            <a:prstGeom prst="rect">
              <a:avLst/>
            </a:prstGeom>
            <a:solidFill>
              <a:schemeClr val="accent2">
                <a:lumMod val="75000"/>
              </a:schemeClr>
            </a:solidFill>
            <a:ln>
              <a:solidFill>
                <a:schemeClr val="accent2">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CiscoSansTT ExtraLight"/>
                  <a:ea typeface="+mn-ea"/>
                  <a:cs typeface="+mn-cs"/>
                </a:rPr>
                <a:t>~100 Security Events</a:t>
              </a:r>
            </a:p>
          </p:txBody>
        </p:sp>
      </p:grpSp>
      <p:grpSp>
        <p:nvGrpSpPr>
          <p:cNvPr id="15" name="Group 14">
            <a:extLst>
              <a:ext uri="{FF2B5EF4-FFF2-40B4-BE49-F238E27FC236}">
                <a16:creationId xmlns:a16="http://schemas.microsoft.com/office/drawing/2014/main" id="{77A75EA0-ABBD-4DCE-A340-FE5923229079}"/>
              </a:ext>
            </a:extLst>
          </p:cNvPr>
          <p:cNvGrpSpPr/>
          <p:nvPr/>
        </p:nvGrpSpPr>
        <p:grpSpPr>
          <a:xfrm>
            <a:off x="6285005" y="2674386"/>
            <a:ext cx="2087930" cy="1698559"/>
            <a:chOff x="6583309" y="2273537"/>
            <a:chExt cx="1721796" cy="1865911"/>
          </a:xfrm>
        </p:grpSpPr>
        <p:sp>
          <p:nvSpPr>
            <p:cNvPr id="129" name="Rounded Rectangle 36">
              <a:extLst>
                <a:ext uri="{FF2B5EF4-FFF2-40B4-BE49-F238E27FC236}">
                  <a16:creationId xmlns:a16="http://schemas.microsoft.com/office/drawing/2014/main" id="{607A5FCB-5815-49CC-8B12-25A1B2934441}"/>
                </a:ext>
              </a:extLst>
            </p:cNvPr>
            <p:cNvSpPr/>
            <p:nvPr/>
          </p:nvSpPr>
          <p:spPr>
            <a:xfrm rot="10800000">
              <a:off x="6583309" y="3147126"/>
              <a:ext cx="74984" cy="992322"/>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68589" tIns="34295" rIns="68589" bIns="34295" rtlCol="0" anchor="ctr"/>
            <a:lstStyle/>
            <a:p>
              <a:pPr marL="0" marR="0" lvl="0" indent="0" algn="ctr" defTabSz="457200" rtl="0" eaLnBrk="0" fontAlgn="base" latinLnBrk="0" hangingPunct="0">
                <a:lnSpc>
                  <a:spcPct val="85000"/>
                </a:lnSpc>
                <a:spcBef>
                  <a:spcPct val="50000"/>
                </a:spcBef>
                <a:spcAft>
                  <a:spcPct val="0"/>
                </a:spcAft>
                <a:buClrTx/>
                <a:buSzTx/>
                <a:buFontTx/>
                <a:buNone/>
                <a:tabLst/>
                <a:defRPr/>
              </a:pPr>
              <a:endParaRPr kumimoji="0" lang="en-US" sz="17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0" name="Rounded Rectangle 36">
              <a:extLst>
                <a:ext uri="{FF2B5EF4-FFF2-40B4-BE49-F238E27FC236}">
                  <a16:creationId xmlns:a16="http://schemas.microsoft.com/office/drawing/2014/main" id="{68C585D7-3B89-483C-9739-BB3DEAAF087F}"/>
                </a:ext>
              </a:extLst>
            </p:cNvPr>
            <p:cNvSpPr/>
            <p:nvPr/>
          </p:nvSpPr>
          <p:spPr>
            <a:xfrm rot="10800000">
              <a:off x="6733019" y="3313469"/>
              <a:ext cx="74984" cy="825979"/>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68589" tIns="34295" rIns="68589" bIns="34295" rtlCol="0" anchor="ctr"/>
            <a:lstStyle/>
            <a:p>
              <a:pPr marL="0" marR="0" lvl="0" indent="0" algn="ctr" defTabSz="457200" rtl="0" eaLnBrk="0" fontAlgn="base" latinLnBrk="0" hangingPunct="0">
                <a:lnSpc>
                  <a:spcPct val="85000"/>
                </a:lnSpc>
                <a:spcBef>
                  <a:spcPct val="50000"/>
                </a:spcBef>
                <a:spcAft>
                  <a:spcPct val="0"/>
                </a:spcAft>
                <a:buClrTx/>
                <a:buSzTx/>
                <a:buFontTx/>
                <a:buNone/>
                <a:tabLst/>
                <a:defRPr/>
              </a:pPr>
              <a:endParaRPr kumimoji="0" lang="en-US" sz="17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1" name="Rounded Rectangle 36">
              <a:extLst>
                <a:ext uri="{FF2B5EF4-FFF2-40B4-BE49-F238E27FC236}">
                  <a16:creationId xmlns:a16="http://schemas.microsoft.com/office/drawing/2014/main" id="{B381E508-7B8B-4D8D-AF65-2942396B6EFE}"/>
                </a:ext>
              </a:extLst>
            </p:cNvPr>
            <p:cNvSpPr/>
            <p:nvPr/>
          </p:nvSpPr>
          <p:spPr>
            <a:xfrm rot="10800000">
              <a:off x="6882729" y="3286941"/>
              <a:ext cx="74984" cy="852507"/>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68589" tIns="34295" rIns="68589" bIns="34295" rtlCol="0" anchor="ctr"/>
            <a:lstStyle/>
            <a:p>
              <a:pPr marL="0" marR="0" lvl="0" indent="0" algn="ctr" defTabSz="457200" rtl="0" eaLnBrk="0" fontAlgn="base" latinLnBrk="0" hangingPunct="0">
                <a:lnSpc>
                  <a:spcPct val="85000"/>
                </a:lnSpc>
                <a:spcBef>
                  <a:spcPct val="50000"/>
                </a:spcBef>
                <a:spcAft>
                  <a:spcPct val="0"/>
                </a:spcAft>
                <a:buClrTx/>
                <a:buSzTx/>
                <a:buFontTx/>
                <a:buNone/>
                <a:tabLst/>
                <a:defRPr/>
              </a:pPr>
              <a:endParaRPr kumimoji="0" lang="en-US" sz="17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2" name="Rounded Rectangle 36">
              <a:extLst>
                <a:ext uri="{FF2B5EF4-FFF2-40B4-BE49-F238E27FC236}">
                  <a16:creationId xmlns:a16="http://schemas.microsoft.com/office/drawing/2014/main" id="{434CC5C7-DCCA-4037-BF4C-B7AC397C011B}"/>
                </a:ext>
              </a:extLst>
            </p:cNvPr>
            <p:cNvSpPr/>
            <p:nvPr/>
          </p:nvSpPr>
          <p:spPr>
            <a:xfrm rot="10800000">
              <a:off x="7032439" y="3313467"/>
              <a:ext cx="74984" cy="825979"/>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68589" tIns="34295" rIns="68589" bIns="34295" rtlCol="0" anchor="ctr"/>
            <a:lstStyle/>
            <a:p>
              <a:pPr marL="0" marR="0" lvl="0" indent="0" algn="ctr" defTabSz="457200" rtl="0" eaLnBrk="0" fontAlgn="base" latinLnBrk="0" hangingPunct="0">
                <a:lnSpc>
                  <a:spcPct val="85000"/>
                </a:lnSpc>
                <a:spcBef>
                  <a:spcPct val="50000"/>
                </a:spcBef>
                <a:spcAft>
                  <a:spcPct val="0"/>
                </a:spcAft>
                <a:buClrTx/>
                <a:buSzTx/>
                <a:buFontTx/>
                <a:buNone/>
                <a:tabLst/>
                <a:defRPr/>
              </a:pPr>
              <a:endParaRPr kumimoji="0" lang="en-US" sz="17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3" name="Rounded Rectangle 36">
              <a:extLst>
                <a:ext uri="{FF2B5EF4-FFF2-40B4-BE49-F238E27FC236}">
                  <a16:creationId xmlns:a16="http://schemas.microsoft.com/office/drawing/2014/main" id="{2F2B3F12-35D7-472A-A0A2-C528699C62D5}"/>
                </a:ext>
              </a:extLst>
            </p:cNvPr>
            <p:cNvSpPr/>
            <p:nvPr/>
          </p:nvSpPr>
          <p:spPr>
            <a:xfrm rot="10800000">
              <a:off x="7182149" y="3286941"/>
              <a:ext cx="74984" cy="852507"/>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68589" tIns="34295" rIns="68589" bIns="34295" rtlCol="0" anchor="ctr"/>
            <a:lstStyle/>
            <a:p>
              <a:pPr marL="0" marR="0" lvl="0" indent="0" algn="ctr" defTabSz="457200" rtl="0" eaLnBrk="0" fontAlgn="base" latinLnBrk="0" hangingPunct="0">
                <a:lnSpc>
                  <a:spcPct val="85000"/>
                </a:lnSpc>
                <a:spcBef>
                  <a:spcPct val="50000"/>
                </a:spcBef>
                <a:spcAft>
                  <a:spcPct val="0"/>
                </a:spcAft>
                <a:buClrTx/>
                <a:buSzTx/>
                <a:buFontTx/>
                <a:buNone/>
                <a:tabLst/>
                <a:defRPr/>
              </a:pPr>
              <a:endParaRPr kumimoji="0" lang="en-US" sz="17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4" name="Rounded Rectangle 36">
              <a:extLst>
                <a:ext uri="{FF2B5EF4-FFF2-40B4-BE49-F238E27FC236}">
                  <a16:creationId xmlns:a16="http://schemas.microsoft.com/office/drawing/2014/main" id="{08CE2948-2CB1-4524-AA5D-A05C90482086}"/>
                </a:ext>
              </a:extLst>
            </p:cNvPr>
            <p:cNvSpPr/>
            <p:nvPr/>
          </p:nvSpPr>
          <p:spPr>
            <a:xfrm rot="10800000">
              <a:off x="7331859" y="3338540"/>
              <a:ext cx="74984" cy="800908"/>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68589" tIns="34295" rIns="68589" bIns="34295" rtlCol="0" anchor="ctr"/>
            <a:lstStyle/>
            <a:p>
              <a:pPr marL="0" marR="0" lvl="0" indent="0" algn="ctr" defTabSz="457200" rtl="0" eaLnBrk="0" fontAlgn="base" latinLnBrk="0" hangingPunct="0">
                <a:lnSpc>
                  <a:spcPct val="85000"/>
                </a:lnSpc>
                <a:spcBef>
                  <a:spcPct val="50000"/>
                </a:spcBef>
                <a:spcAft>
                  <a:spcPct val="0"/>
                </a:spcAft>
                <a:buClrTx/>
                <a:buSzTx/>
                <a:buFontTx/>
                <a:buNone/>
                <a:tabLst/>
                <a:defRPr/>
              </a:pPr>
              <a:endParaRPr kumimoji="0" lang="en-US" sz="17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5" name="Rounded Rectangle 36">
              <a:extLst>
                <a:ext uri="{FF2B5EF4-FFF2-40B4-BE49-F238E27FC236}">
                  <a16:creationId xmlns:a16="http://schemas.microsoft.com/office/drawing/2014/main" id="{D8A84F06-CCC8-41B6-B7CE-F31ECA011AA8}"/>
                </a:ext>
              </a:extLst>
            </p:cNvPr>
            <p:cNvSpPr/>
            <p:nvPr/>
          </p:nvSpPr>
          <p:spPr>
            <a:xfrm rot="10800000">
              <a:off x="7481569" y="3313467"/>
              <a:ext cx="74984" cy="825979"/>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68589" tIns="34295" rIns="68589" bIns="34295" rtlCol="0" anchor="ctr"/>
            <a:lstStyle/>
            <a:p>
              <a:pPr marL="0" marR="0" lvl="0" indent="0" algn="ctr" defTabSz="457200" rtl="0" eaLnBrk="0" fontAlgn="base" latinLnBrk="0" hangingPunct="0">
                <a:lnSpc>
                  <a:spcPct val="85000"/>
                </a:lnSpc>
                <a:spcBef>
                  <a:spcPct val="50000"/>
                </a:spcBef>
                <a:spcAft>
                  <a:spcPct val="0"/>
                </a:spcAft>
                <a:buClrTx/>
                <a:buSzTx/>
                <a:buFontTx/>
                <a:buNone/>
                <a:tabLst/>
                <a:defRPr/>
              </a:pPr>
              <a:endParaRPr kumimoji="0" lang="en-US" sz="17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6" name="Rounded Rectangle 36">
              <a:extLst>
                <a:ext uri="{FF2B5EF4-FFF2-40B4-BE49-F238E27FC236}">
                  <a16:creationId xmlns:a16="http://schemas.microsoft.com/office/drawing/2014/main" id="{3F8A7967-AD0D-40E4-A7C8-9146699D4FEF}"/>
                </a:ext>
              </a:extLst>
            </p:cNvPr>
            <p:cNvSpPr/>
            <p:nvPr/>
          </p:nvSpPr>
          <p:spPr>
            <a:xfrm rot="10800000">
              <a:off x="7631279" y="3512360"/>
              <a:ext cx="74984" cy="627086"/>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68589" tIns="34295" rIns="68589" bIns="34295" rtlCol="0" anchor="ctr"/>
            <a:lstStyle/>
            <a:p>
              <a:pPr marL="0" marR="0" lvl="0" indent="0" algn="ctr" defTabSz="457200" rtl="0" eaLnBrk="0" fontAlgn="base" latinLnBrk="0" hangingPunct="0">
                <a:lnSpc>
                  <a:spcPct val="85000"/>
                </a:lnSpc>
                <a:spcBef>
                  <a:spcPct val="50000"/>
                </a:spcBef>
                <a:spcAft>
                  <a:spcPct val="0"/>
                </a:spcAft>
                <a:buClrTx/>
                <a:buSzTx/>
                <a:buFontTx/>
                <a:buNone/>
                <a:tabLst/>
                <a:defRPr/>
              </a:pPr>
              <a:endParaRPr kumimoji="0" lang="en-US" sz="17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7" name="Rounded Rectangle 36">
              <a:extLst>
                <a:ext uri="{FF2B5EF4-FFF2-40B4-BE49-F238E27FC236}">
                  <a16:creationId xmlns:a16="http://schemas.microsoft.com/office/drawing/2014/main" id="{B185E9BA-75BB-4B9C-953F-26FEF1DFA094}"/>
                </a:ext>
              </a:extLst>
            </p:cNvPr>
            <p:cNvSpPr/>
            <p:nvPr/>
          </p:nvSpPr>
          <p:spPr>
            <a:xfrm rot="10800000">
              <a:off x="7780989" y="3512360"/>
              <a:ext cx="74984" cy="627086"/>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68589" tIns="34295" rIns="68589" bIns="34295" rtlCol="0" anchor="ctr"/>
            <a:lstStyle/>
            <a:p>
              <a:pPr marL="0" marR="0" lvl="0" indent="0" algn="ctr" defTabSz="457200" rtl="0" eaLnBrk="0" fontAlgn="base" latinLnBrk="0" hangingPunct="0">
                <a:lnSpc>
                  <a:spcPct val="85000"/>
                </a:lnSpc>
                <a:spcBef>
                  <a:spcPct val="50000"/>
                </a:spcBef>
                <a:spcAft>
                  <a:spcPct val="0"/>
                </a:spcAft>
                <a:buClrTx/>
                <a:buSzTx/>
                <a:buFontTx/>
                <a:buNone/>
                <a:tabLst/>
                <a:defRPr/>
              </a:pPr>
              <a:endParaRPr kumimoji="0" lang="en-US" sz="17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8" name="Rounded Rectangle 36">
              <a:extLst>
                <a:ext uri="{FF2B5EF4-FFF2-40B4-BE49-F238E27FC236}">
                  <a16:creationId xmlns:a16="http://schemas.microsoft.com/office/drawing/2014/main" id="{392DB610-F662-4B55-BFCF-233C70A44D01}"/>
                </a:ext>
              </a:extLst>
            </p:cNvPr>
            <p:cNvSpPr/>
            <p:nvPr/>
          </p:nvSpPr>
          <p:spPr>
            <a:xfrm rot="10800000">
              <a:off x="7930699" y="2273537"/>
              <a:ext cx="74984" cy="1865911"/>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68589" tIns="34295" rIns="68589" bIns="34295" rtlCol="0" anchor="ctr"/>
            <a:lstStyle/>
            <a:p>
              <a:pPr marL="0" marR="0" lvl="0" indent="0" algn="ctr" defTabSz="457200" rtl="0" eaLnBrk="0" fontAlgn="base" latinLnBrk="0" hangingPunct="0">
                <a:lnSpc>
                  <a:spcPct val="85000"/>
                </a:lnSpc>
                <a:spcBef>
                  <a:spcPct val="50000"/>
                </a:spcBef>
                <a:spcAft>
                  <a:spcPct val="0"/>
                </a:spcAft>
                <a:buClrTx/>
                <a:buSzTx/>
                <a:buFontTx/>
                <a:buNone/>
                <a:tabLst/>
                <a:defRPr/>
              </a:pPr>
              <a:endParaRPr kumimoji="0" lang="en-US" sz="17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9" name="Rounded Rectangle 36">
              <a:extLst>
                <a:ext uri="{FF2B5EF4-FFF2-40B4-BE49-F238E27FC236}">
                  <a16:creationId xmlns:a16="http://schemas.microsoft.com/office/drawing/2014/main" id="{645628F2-6BCB-4966-BCEC-7AB96ABF1224}"/>
                </a:ext>
              </a:extLst>
            </p:cNvPr>
            <p:cNvSpPr/>
            <p:nvPr/>
          </p:nvSpPr>
          <p:spPr>
            <a:xfrm rot="10800000">
              <a:off x="8080409" y="3313467"/>
              <a:ext cx="74984" cy="825981"/>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68589" tIns="34295" rIns="68589" bIns="34295" rtlCol="0" anchor="ctr"/>
            <a:lstStyle/>
            <a:p>
              <a:pPr marL="0" marR="0" lvl="0" indent="0" algn="ctr" defTabSz="457200" rtl="0" eaLnBrk="0" fontAlgn="base" latinLnBrk="0" hangingPunct="0">
                <a:lnSpc>
                  <a:spcPct val="85000"/>
                </a:lnSpc>
                <a:spcBef>
                  <a:spcPct val="50000"/>
                </a:spcBef>
                <a:spcAft>
                  <a:spcPct val="0"/>
                </a:spcAft>
                <a:buClrTx/>
                <a:buSzTx/>
                <a:buFontTx/>
                <a:buNone/>
                <a:tabLst/>
                <a:defRPr/>
              </a:pPr>
              <a:endParaRPr kumimoji="0" lang="en-US" sz="17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0" name="Rounded Rectangle 36">
              <a:extLst>
                <a:ext uri="{FF2B5EF4-FFF2-40B4-BE49-F238E27FC236}">
                  <a16:creationId xmlns:a16="http://schemas.microsoft.com/office/drawing/2014/main" id="{F300ACE9-01C1-4A37-98B9-ECC98FC484D7}"/>
                </a:ext>
              </a:extLst>
            </p:cNvPr>
            <p:cNvSpPr/>
            <p:nvPr/>
          </p:nvSpPr>
          <p:spPr>
            <a:xfrm rot="10800000">
              <a:off x="8230121" y="3286941"/>
              <a:ext cx="74984" cy="852507"/>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68589" tIns="34295" rIns="68589" bIns="34295" rtlCol="0" anchor="ctr"/>
            <a:lstStyle/>
            <a:p>
              <a:pPr marL="0" marR="0" lvl="0" indent="0" algn="ctr" defTabSz="457200" rtl="0" eaLnBrk="0" fontAlgn="base" latinLnBrk="0" hangingPunct="0">
                <a:lnSpc>
                  <a:spcPct val="85000"/>
                </a:lnSpc>
                <a:spcBef>
                  <a:spcPct val="50000"/>
                </a:spcBef>
                <a:spcAft>
                  <a:spcPct val="0"/>
                </a:spcAft>
                <a:buClrTx/>
                <a:buSzTx/>
                <a:buFontTx/>
                <a:buNone/>
                <a:tabLst/>
                <a:defRPr/>
              </a:pPr>
              <a:endParaRPr kumimoji="0" lang="en-US" sz="17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sp>
        <p:nvSpPr>
          <p:cNvPr id="141" name="Rectangle 140">
            <a:extLst>
              <a:ext uri="{FF2B5EF4-FFF2-40B4-BE49-F238E27FC236}">
                <a16:creationId xmlns:a16="http://schemas.microsoft.com/office/drawing/2014/main" id="{0B75EEB5-8851-4914-B48B-A5EF97FC7CF5}"/>
              </a:ext>
            </a:extLst>
          </p:cNvPr>
          <p:cNvSpPr/>
          <p:nvPr/>
        </p:nvSpPr>
        <p:spPr>
          <a:xfrm>
            <a:off x="6589600" y="4408304"/>
            <a:ext cx="1457601" cy="200055"/>
          </a:xfrm>
          <a:prstGeom prst="rect">
            <a:avLst/>
          </a:prstGeom>
        </p:spPr>
        <p:txBody>
          <a:bodyPr wrap="square">
            <a:spAutoFit/>
          </a:bodyPr>
          <a:lstStyle/>
          <a:p>
            <a:pPr marL="0" marR="0" lvl="0" indent="0" algn="ctr" defTabSz="45677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82828"/>
                </a:solidFill>
                <a:effectLst/>
                <a:uLnTx/>
                <a:uFillTx/>
                <a:latin typeface="CiscoSansTT ExtraLight"/>
                <a:ea typeface="ＭＳ Ｐゴシック" charset="0"/>
              </a:rPr>
              <a:t>Exchange Servers</a:t>
            </a:r>
          </a:p>
        </p:txBody>
      </p:sp>
      <p:cxnSp>
        <p:nvCxnSpPr>
          <p:cNvPr id="142" name="Curved Connector 163">
            <a:extLst>
              <a:ext uri="{FF2B5EF4-FFF2-40B4-BE49-F238E27FC236}">
                <a16:creationId xmlns:a16="http://schemas.microsoft.com/office/drawing/2014/main" id="{E7690913-685F-4C28-849D-F4FC634578A3}"/>
              </a:ext>
            </a:extLst>
          </p:cNvPr>
          <p:cNvCxnSpPr>
            <a:cxnSpLocks/>
          </p:cNvCxnSpPr>
          <p:nvPr/>
        </p:nvCxnSpPr>
        <p:spPr>
          <a:xfrm>
            <a:off x="6228404" y="3413847"/>
            <a:ext cx="2193564" cy="0"/>
          </a:xfrm>
          <a:prstGeom prst="straightConnector1">
            <a:avLst/>
          </a:prstGeom>
          <a:noFill/>
          <a:ln w="6350" cap="flat" cmpd="sng" algn="ctr">
            <a:solidFill>
              <a:schemeClr val="accent1"/>
            </a:solidFill>
            <a:prstDash val="dash"/>
          </a:ln>
          <a:effectLst/>
        </p:spPr>
      </p:cxnSp>
      <p:sp>
        <p:nvSpPr>
          <p:cNvPr id="144" name="Rectangle 143">
            <a:extLst>
              <a:ext uri="{FF2B5EF4-FFF2-40B4-BE49-F238E27FC236}">
                <a16:creationId xmlns:a16="http://schemas.microsoft.com/office/drawing/2014/main" id="{E4038C3A-8E31-414C-A4EF-0BF32548E296}"/>
              </a:ext>
            </a:extLst>
          </p:cNvPr>
          <p:cNvSpPr/>
          <p:nvPr/>
        </p:nvSpPr>
        <p:spPr>
          <a:xfrm>
            <a:off x="6589600" y="3174508"/>
            <a:ext cx="1457601" cy="200055"/>
          </a:xfrm>
          <a:prstGeom prst="rect">
            <a:avLst/>
          </a:prstGeom>
        </p:spPr>
        <p:txBody>
          <a:bodyPr wrap="square">
            <a:spAutoFit/>
          </a:bodyPr>
          <a:lstStyle/>
          <a:p>
            <a:pPr marL="0" marR="0" lvl="0" indent="0" algn="ctr" defTabSz="456771"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82828"/>
                </a:solidFill>
                <a:effectLst/>
                <a:uLnTx/>
                <a:uFillTx/>
                <a:latin typeface="CiscoSansTT ExtraLight"/>
                <a:ea typeface="ＭＳ Ｐゴシック" charset="0"/>
              </a:rPr>
              <a:t>Threshold</a:t>
            </a:r>
          </a:p>
        </p:txBody>
      </p:sp>
      <p:sp>
        <p:nvSpPr>
          <p:cNvPr id="157" name="Rectangle 156">
            <a:extLst>
              <a:ext uri="{FF2B5EF4-FFF2-40B4-BE49-F238E27FC236}">
                <a16:creationId xmlns:a16="http://schemas.microsoft.com/office/drawing/2014/main" id="{498F96EB-4E42-47A8-B5EB-63EC9BD114C4}"/>
              </a:ext>
            </a:extLst>
          </p:cNvPr>
          <p:cNvSpPr/>
          <p:nvPr/>
        </p:nvSpPr>
        <p:spPr>
          <a:xfrm>
            <a:off x="6616253" y="2703955"/>
            <a:ext cx="1322931" cy="400110"/>
          </a:xfrm>
          <a:prstGeom prst="rect">
            <a:avLst/>
          </a:prstGeom>
        </p:spPr>
        <p:txBody>
          <a:bodyPr wrap="square">
            <a:spAutoFit/>
          </a:bodyPr>
          <a:lstStyle/>
          <a:p>
            <a:pPr marL="0" marR="0" lvl="0" indent="0" algn="r" defTabSz="45677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BAB18"/>
                </a:solidFill>
                <a:effectLst/>
                <a:uLnTx/>
                <a:uFillTx/>
                <a:latin typeface="CiscoSansTT ExtraLight"/>
                <a:ea typeface="ＭＳ Ｐゴシック" charset="0"/>
              </a:rPr>
              <a:t>Anomaly detected in host behavior</a:t>
            </a:r>
          </a:p>
        </p:txBody>
      </p:sp>
      <p:sp>
        <p:nvSpPr>
          <p:cNvPr id="100" name="object 40">
            <a:extLst>
              <a:ext uri="{FF2B5EF4-FFF2-40B4-BE49-F238E27FC236}">
                <a16:creationId xmlns:a16="http://schemas.microsoft.com/office/drawing/2014/main" id="{46FFFC01-D994-431F-8665-0C3C416DCBA9}"/>
              </a:ext>
            </a:extLst>
          </p:cNvPr>
          <p:cNvSpPr txBox="1"/>
          <p:nvPr/>
        </p:nvSpPr>
        <p:spPr>
          <a:xfrm>
            <a:off x="523350" y="2175428"/>
            <a:ext cx="2654209" cy="453915"/>
          </a:xfrm>
          <a:prstGeom prst="rect">
            <a:avLst/>
          </a:prstGeom>
        </p:spPr>
        <p:txBody>
          <a:bodyPr vert="horz" wrap="square" lIns="0" tIns="91440" rIns="0" bIns="91440" rtlCol="0" anchor="ctr">
            <a:noAutofit/>
          </a:bodyPr>
          <a:lstStyle/>
          <a:p>
            <a:pPr marL="11206" marR="11206" lvl="0" indent="0" algn="ctr" defTabSz="457200" rtl="0" eaLnBrk="1" fontAlgn="base" latinLnBrk="0" hangingPunct="1">
              <a:lnSpc>
                <a:spcPct val="98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Comprehensive data set optimized to remove redundancies</a:t>
            </a:r>
          </a:p>
        </p:txBody>
      </p:sp>
      <p:sp>
        <p:nvSpPr>
          <p:cNvPr id="305" name="object 40">
            <a:extLst>
              <a:ext uri="{FF2B5EF4-FFF2-40B4-BE49-F238E27FC236}">
                <a16:creationId xmlns:a16="http://schemas.microsoft.com/office/drawing/2014/main" id="{46FFFC01-D994-431F-8665-0C3C416DCBA9}"/>
              </a:ext>
            </a:extLst>
          </p:cNvPr>
          <p:cNvSpPr txBox="1"/>
          <p:nvPr/>
        </p:nvSpPr>
        <p:spPr>
          <a:xfrm>
            <a:off x="3260712" y="2175427"/>
            <a:ext cx="2654213" cy="453915"/>
          </a:xfrm>
          <a:prstGeom prst="rect">
            <a:avLst/>
          </a:prstGeom>
        </p:spPr>
        <p:txBody>
          <a:bodyPr vert="horz" wrap="square" lIns="0" tIns="91440" rIns="0" bIns="91440" rtlCol="0" anchor="ctr">
            <a:noAutofit/>
          </a:bodyPr>
          <a:lstStyle/>
          <a:p>
            <a:pPr marL="11206" marR="11206" lvl="0" indent="0" algn="ctr" defTabSz="457200" rtl="0" eaLnBrk="1" fontAlgn="base" latinLnBrk="0" hangingPunct="1">
              <a:lnSpc>
                <a:spcPct val="98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Security events to detect anomalies and known bad behavior </a:t>
            </a:r>
          </a:p>
        </p:txBody>
      </p:sp>
      <p:sp>
        <p:nvSpPr>
          <p:cNvPr id="306" name="object 40">
            <a:extLst>
              <a:ext uri="{FF2B5EF4-FFF2-40B4-BE49-F238E27FC236}">
                <a16:creationId xmlns:a16="http://schemas.microsoft.com/office/drawing/2014/main" id="{46FFFC01-D994-431F-8665-0C3C416DCBA9}"/>
              </a:ext>
            </a:extLst>
          </p:cNvPr>
          <p:cNvSpPr txBox="1"/>
          <p:nvPr/>
        </p:nvSpPr>
        <p:spPr>
          <a:xfrm>
            <a:off x="5998076" y="2175427"/>
            <a:ext cx="2654215" cy="453915"/>
          </a:xfrm>
          <a:prstGeom prst="rect">
            <a:avLst/>
          </a:prstGeom>
        </p:spPr>
        <p:txBody>
          <a:bodyPr vert="horz" wrap="square" lIns="0" tIns="91440" rIns="0" bIns="91440" rtlCol="0" anchor="ctr">
            <a:noAutofit/>
          </a:bodyPr>
          <a:lstStyle/>
          <a:p>
            <a:pPr marL="11206" marR="11206" lvl="0" indent="0" algn="ctr" defTabSz="457200" rtl="0" eaLnBrk="1" fontAlgn="base" latinLnBrk="0" hangingPunct="1">
              <a:lnSpc>
                <a:spcPct val="98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Alarm categories for high-risk, </a:t>
            </a:r>
          </a:p>
          <a:p>
            <a:pPr marL="11206" marR="11206" lvl="0" indent="0" algn="ctr" defTabSz="457200" rtl="0" eaLnBrk="1" fontAlgn="base" latinLnBrk="0" hangingPunct="1">
              <a:lnSpc>
                <a:spcPct val="98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low-noise alerts for faster response </a:t>
            </a:r>
          </a:p>
        </p:txBody>
      </p:sp>
    </p:spTree>
    <p:extLst>
      <p:ext uri="{BB962C8B-B14F-4D97-AF65-F5344CB8AC3E}">
        <p14:creationId xmlns:p14="http://schemas.microsoft.com/office/powerpoint/2010/main" val="202047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812800" y="2921356"/>
            <a:ext cx="4604453"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itle 1"/>
          <p:cNvSpPr>
            <a:spLocks noGrp="1"/>
          </p:cNvSpPr>
          <p:nvPr>
            <p:ph type="title"/>
          </p:nvPr>
        </p:nvSpPr>
        <p:spPr>
          <a:xfrm>
            <a:off x="711200" y="2028422"/>
            <a:ext cx="4706052" cy="812357"/>
          </a:xfrm>
        </p:spPr>
        <p:txBody>
          <a:bodyPr>
            <a:normAutofit/>
          </a:bodyPr>
          <a:lstStyle/>
          <a:p>
            <a:pPr algn="l"/>
            <a:r>
              <a:rPr lang="en-US" sz="3200" b="1" dirty="0"/>
              <a:t>Data Center Redefined</a:t>
            </a:r>
            <a:endParaRPr lang="en-US" sz="3200" b="1" i="1" dirty="0"/>
          </a:p>
        </p:txBody>
      </p:sp>
      <p:pic>
        <p:nvPicPr>
          <p:cNvPr id="3" name="Picture 2"/>
          <p:cNvPicPr>
            <a:picLocks noChangeAspect="1"/>
          </p:cNvPicPr>
          <p:nvPr/>
        </p:nvPicPr>
        <p:blipFill>
          <a:blip r:embed="rId2"/>
          <a:stretch>
            <a:fillRect/>
          </a:stretch>
        </p:blipFill>
        <p:spPr>
          <a:xfrm>
            <a:off x="5935995" y="1351142"/>
            <a:ext cx="2153906" cy="1570215"/>
          </a:xfrm>
          <a:prstGeom prst="rect">
            <a:avLst/>
          </a:prstGeom>
        </p:spPr>
      </p:pic>
      <p:pic>
        <p:nvPicPr>
          <p:cNvPr id="7" name="Picture 2" descr="C:\Users\spius\Pictures\cisco logo blue gradient.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5132480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3"/>
          <p:cNvSpPr>
            <a:spLocks noGrp="1"/>
          </p:cNvSpPr>
          <p:nvPr>
            <p:ph type="title"/>
          </p:nvPr>
        </p:nvSpPr>
        <p:spPr/>
        <p:txBody>
          <a:bodyPr/>
          <a:lstStyle/>
          <a:p>
            <a:r>
              <a:rPr lang="en-US" dirty="0"/>
              <a:t>Power of multilayered machine learning</a:t>
            </a:r>
          </a:p>
        </p:txBody>
      </p:sp>
      <p:sp>
        <p:nvSpPr>
          <p:cNvPr id="129" name="Rectangle 5">
            <a:extLst>
              <a:ext uri="{FF2B5EF4-FFF2-40B4-BE49-F238E27FC236}">
                <a16:creationId xmlns:a16="http://schemas.microsoft.com/office/drawing/2014/main" id="{CC6859B3-2531-439F-AB8E-C669256C4AE6}"/>
              </a:ext>
            </a:extLst>
          </p:cNvPr>
          <p:cNvSpPr>
            <a:spLocks noChangeArrowheads="1"/>
          </p:cNvSpPr>
          <p:nvPr/>
        </p:nvSpPr>
        <p:spPr bwMode="auto">
          <a:xfrm>
            <a:off x="526181" y="1275579"/>
            <a:ext cx="8126109" cy="473602"/>
          </a:xfrm>
          <a:prstGeom prst="roundRect">
            <a:avLst>
              <a:gd name="adj" fmla="val 50000"/>
            </a:avLst>
          </a:prstGeom>
          <a:solidFill>
            <a:schemeClr val="tx1">
              <a:lumMod val="10000"/>
              <a:lumOff val="90000"/>
            </a:schemeClr>
          </a:solidFill>
          <a:ln w="9525" algn="ctr">
            <a:noFill/>
            <a:miter lim="800000"/>
            <a:headEnd/>
            <a:tailEnd/>
          </a:ln>
          <a:effectLst/>
        </p:spPr>
        <p:txBody>
          <a:bodyPr lIns="205767" tIns="274357" rIns="68589" bIns="34295" anchor="ctr">
            <a:noAutofit/>
          </a:bodyPr>
          <a:lstStyle/>
          <a:p>
            <a:pPr marL="0" marR="0" lvl="0" indent="0" algn="l" defTabSz="457200" rtl="0" eaLnBrk="1" fontAlgn="base" latinLnBrk="0" hangingPunct="1">
              <a:lnSpc>
                <a:spcPct val="100000"/>
              </a:lnSpc>
              <a:spcBef>
                <a:spcPct val="50000"/>
              </a:spcBef>
              <a:spcAft>
                <a:spcPct val="0"/>
              </a:spcAft>
              <a:buClrTx/>
              <a:buSzPct val="80000"/>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cs typeface="Arial" charset="0"/>
            </a:endParaRPr>
          </a:p>
        </p:txBody>
      </p:sp>
      <p:sp>
        <p:nvSpPr>
          <p:cNvPr id="130" name="TextBox 129">
            <a:extLst>
              <a:ext uri="{FF2B5EF4-FFF2-40B4-BE49-F238E27FC236}">
                <a16:creationId xmlns:a16="http://schemas.microsoft.com/office/drawing/2014/main" id="{50CD0E44-6C07-41CC-9ED9-C7A4DCF02D7E}"/>
              </a:ext>
            </a:extLst>
          </p:cNvPr>
          <p:cNvSpPr txBox="1"/>
          <p:nvPr/>
        </p:nvSpPr>
        <p:spPr>
          <a:xfrm>
            <a:off x="694064" y="1327714"/>
            <a:ext cx="7807358" cy="369332"/>
          </a:xfrm>
          <a:prstGeom prst="rect">
            <a:avLst/>
          </a:prstGeom>
          <a:noFill/>
        </p:spPr>
        <p:txBody>
          <a:bodyPr wrap="square" rtlCol="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5073"/>
                </a:solidFill>
                <a:effectLst/>
                <a:uLnTx/>
                <a:uFillTx/>
                <a:latin typeface="CiscoSansTT ExtraLight"/>
                <a:ea typeface="ＭＳ Ｐゴシック" charset="0"/>
              </a:rPr>
              <a:t>Increase fidelity of detection </a:t>
            </a:r>
            <a:r>
              <a:rPr kumimoji="0" lang="en-US" sz="1800" b="0" i="0" u="none" strike="noStrike" kern="1200" cap="none" spc="0" normalizeH="0" baseline="0" noProof="0">
                <a:ln>
                  <a:noFill/>
                </a:ln>
                <a:solidFill>
                  <a:srgbClr val="005073"/>
                </a:solidFill>
                <a:effectLst/>
                <a:uLnTx/>
                <a:uFillTx/>
                <a:latin typeface="CiscoSansTT ExtraLight"/>
                <a:ea typeface="ＭＳ Ｐゴシック" charset="0"/>
              </a:rPr>
              <a:t>using best-in-class security </a:t>
            </a:r>
            <a:r>
              <a:rPr kumimoji="0" lang="en-US" sz="1800" b="0" i="0" u="none" strike="noStrike" kern="1200" cap="none" spc="0" normalizeH="0" baseline="0" noProof="0" dirty="0">
                <a:ln>
                  <a:noFill/>
                </a:ln>
                <a:solidFill>
                  <a:srgbClr val="005073"/>
                </a:solidFill>
                <a:effectLst/>
                <a:uLnTx/>
                <a:uFillTx/>
                <a:latin typeface="CiscoSansTT ExtraLight"/>
                <a:ea typeface="ＭＳ Ｐゴシック" charset="0"/>
              </a:rPr>
              <a:t>analytics</a:t>
            </a:r>
          </a:p>
        </p:txBody>
      </p:sp>
      <p:grpSp>
        <p:nvGrpSpPr>
          <p:cNvPr id="330" name="Group 329">
            <a:extLst>
              <a:ext uri="{FF2B5EF4-FFF2-40B4-BE49-F238E27FC236}">
                <a16:creationId xmlns:a16="http://schemas.microsoft.com/office/drawing/2014/main" id="{2B1F48EC-1CA4-498F-BC9D-40191A78A27B}"/>
              </a:ext>
            </a:extLst>
          </p:cNvPr>
          <p:cNvGrpSpPr/>
          <p:nvPr/>
        </p:nvGrpSpPr>
        <p:grpSpPr>
          <a:xfrm>
            <a:off x="526181" y="2940020"/>
            <a:ext cx="2078650" cy="507831"/>
            <a:chOff x="346067" y="3069831"/>
            <a:chExt cx="2078650" cy="507831"/>
          </a:xfrm>
        </p:grpSpPr>
        <p:sp>
          <p:nvSpPr>
            <p:cNvPr id="7" name="TextBox 6"/>
            <p:cNvSpPr txBox="1"/>
            <p:nvPr/>
          </p:nvSpPr>
          <p:spPr>
            <a:xfrm>
              <a:off x="346067" y="3069831"/>
              <a:ext cx="2078650" cy="507831"/>
            </a:xfrm>
            <a:prstGeom prst="rect">
              <a:avLst/>
            </a:prstGeom>
            <a:solidFill>
              <a:schemeClr val="accent1"/>
            </a:solidFill>
          </p:spPr>
          <p:txBody>
            <a:bodyPr wrap="square" rtlCol="0" anchor="ctr">
              <a:no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rPr>
                <a:t>Global Risk Map</a:t>
              </a:r>
            </a:p>
          </p:txBody>
        </p:sp>
        <p:sp>
          <p:nvSpPr>
            <p:cNvPr id="36" name="Freeform 594"/>
            <p:cNvSpPr>
              <a:spLocks noChangeAspect="1" noEditPoints="1"/>
            </p:cNvSpPr>
            <p:nvPr/>
          </p:nvSpPr>
          <p:spPr bwMode="auto">
            <a:xfrm>
              <a:off x="397532" y="3136679"/>
              <a:ext cx="379889" cy="378550"/>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bg2"/>
            </a:solidFill>
            <a:ln>
              <a:noFill/>
            </a:ln>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sp>
        <p:nvSpPr>
          <p:cNvPr id="74" name="Rectangle 73">
            <a:extLst>
              <a:ext uri="{FF2B5EF4-FFF2-40B4-BE49-F238E27FC236}">
                <a16:creationId xmlns:a16="http://schemas.microsoft.com/office/drawing/2014/main" id="{E85C94FA-4417-40AC-A3CE-853ECD359018}"/>
              </a:ext>
            </a:extLst>
          </p:cNvPr>
          <p:cNvSpPr>
            <a:spLocks noChangeArrowheads="1"/>
          </p:cNvSpPr>
          <p:nvPr/>
        </p:nvSpPr>
        <p:spPr bwMode="auto">
          <a:xfrm>
            <a:off x="345194" y="4048968"/>
            <a:ext cx="2063139" cy="559304"/>
          </a:xfrm>
          <a:prstGeom prst="rect">
            <a:avLst/>
          </a:prstGeom>
          <a:noFill/>
          <a:ln w="19050" algn="ctr">
            <a:noFill/>
            <a:miter lim="800000"/>
            <a:headEnd/>
            <a:tailEnd/>
          </a:ln>
        </p:spPr>
        <p:txBody>
          <a:bodyPr lIns="182880" tIns="68589" rIns="68589" bIns="68589" anchor="ctr"/>
          <a:lstStyle/>
          <a:p>
            <a:pPr marL="0" marR="0" lvl="0" indent="0" algn="ctr" defTabSz="457200" rtl="0" eaLnBrk="1" fontAlgn="base" latinLnBrk="0" hangingPunct="1">
              <a:lnSpc>
                <a:spcPct val="100000"/>
              </a:lnSpc>
              <a:spcBef>
                <a:spcPct val="35000"/>
              </a:spcBef>
              <a:spcAft>
                <a:spcPct val="0"/>
              </a:spcAft>
              <a:buClrTx/>
              <a:buSzPct val="80000"/>
              <a:buFontTx/>
              <a:buNone/>
              <a:tabLst/>
              <a:defRPr/>
            </a:pPr>
            <a:r>
              <a:rPr kumimoji="1" lang="en-US" sz="1200" b="0" i="0" u="none" strike="noStrike" kern="1200" cap="none" spc="0" normalizeH="0" baseline="0" noProof="0" dirty="0">
                <a:ln>
                  <a:noFill/>
                </a:ln>
                <a:solidFill>
                  <a:srgbClr val="282828"/>
                </a:solidFill>
                <a:effectLst/>
                <a:uLnTx/>
                <a:uFillTx/>
                <a:latin typeface="CiscoSansTT ExtraLight"/>
                <a:ea typeface="ＭＳ Ｐゴシック" charset="0"/>
              </a:rPr>
              <a:t>Network telemetry</a:t>
            </a:r>
          </a:p>
        </p:txBody>
      </p:sp>
      <p:sp>
        <p:nvSpPr>
          <p:cNvPr id="108" name="Rectangle 107">
            <a:extLst>
              <a:ext uri="{FF2B5EF4-FFF2-40B4-BE49-F238E27FC236}">
                <a16:creationId xmlns:a16="http://schemas.microsoft.com/office/drawing/2014/main" id="{E64F4A87-8060-49F2-956B-65A6E37D5865}"/>
              </a:ext>
            </a:extLst>
          </p:cNvPr>
          <p:cNvSpPr>
            <a:spLocks noChangeArrowheads="1"/>
          </p:cNvSpPr>
          <p:nvPr/>
        </p:nvSpPr>
        <p:spPr bwMode="auto">
          <a:xfrm>
            <a:off x="1431491" y="2014501"/>
            <a:ext cx="1769754" cy="559304"/>
          </a:xfrm>
          <a:prstGeom prst="rect">
            <a:avLst/>
          </a:prstGeom>
          <a:noFill/>
          <a:ln w="19050" algn="ctr">
            <a:noFill/>
            <a:miter lim="800000"/>
            <a:headEnd/>
            <a:tailEnd/>
          </a:ln>
        </p:spPr>
        <p:txBody>
          <a:bodyPr lIns="182880" tIns="68589" rIns="68589" bIns="68589" anchor="ctr"/>
          <a:lstStyle/>
          <a:p>
            <a:pPr marL="0" marR="0" lvl="0" indent="0" algn="ctr" defTabSz="457200" rtl="0" eaLnBrk="1" fontAlgn="base" latinLnBrk="0" hangingPunct="1">
              <a:lnSpc>
                <a:spcPct val="100000"/>
              </a:lnSpc>
              <a:spcBef>
                <a:spcPct val="35000"/>
              </a:spcBef>
              <a:spcAft>
                <a:spcPct val="0"/>
              </a:spcAft>
              <a:buClrTx/>
              <a:buSzPct val="80000"/>
              <a:buFontTx/>
              <a:buNone/>
              <a:tabLst/>
              <a:defRPr/>
            </a:pPr>
            <a:r>
              <a:rPr kumimoji="1" lang="en-US" sz="1200" b="0" i="0" u="none" strike="noStrike" kern="1200" cap="none" spc="0" normalizeH="0" baseline="0" noProof="0" dirty="0">
                <a:ln>
                  <a:noFill/>
                </a:ln>
                <a:solidFill>
                  <a:srgbClr val="282828"/>
                </a:solidFill>
                <a:effectLst/>
                <a:uLnTx/>
                <a:uFillTx/>
                <a:latin typeface="CiscoSansTT ExtraLight"/>
                <a:ea typeface="ＭＳ Ｐゴシック" charset="0"/>
              </a:rPr>
              <a:t>Prioritized high fidelity incidents</a:t>
            </a:r>
          </a:p>
        </p:txBody>
      </p:sp>
      <p:sp>
        <p:nvSpPr>
          <p:cNvPr id="76" name="Freeform 6">
            <a:extLst>
              <a:ext uri="{FF2B5EF4-FFF2-40B4-BE49-F238E27FC236}">
                <a16:creationId xmlns:a16="http://schemas.microsoft.com/office/drawing/2014/main" id="{E8B5117F-1944-479B-99F4-9280EEC570CA}"/>
              </a:ext>
            </a:extLst>
          </p:cNvPr>
          <p:cNvSpPr>
            <a:spLocks/>
          </p:cNvSpPr>
          <p:nvPr/>
        </p:nvSpPr>
        <p:spPr bwMode="auto">
          <a:xfrm>
            <a:off x="2579462" y="4101134"/>
            <a:ext cx="3985077" cy="454973"/>
          </a:xfrm>
          <a:prstGeom prst="roundRect">
            <a:avLst>
              <a:gd name="adj" fmla="val 50000"/>
            </a:avLst>
          </a:prstGeom>
          <a:solidFill>
            <a:schemeClr val="accent1"/>
          </a:solidFill>
          <a:ln>
            <a:noFill/>
          </a:ln>
        </p:spPr>
        <p:txBody>
          <a:bodyPr vert="horz" wrap="square" lIns="457200" tIns="45720" rIns="91440" bIns="45720" numCol="1" anchor="ctr" anchorCtr="0" compatLnSpc="1">
            <a:prstTxWarp prst="textNoShape">
              <a:avLst/>
            </a:prstTxWarp>
          </a:bodyPr>
          <a:lstStyle/>
          <a:p>
            <a:pPr marL="0" marR="0" lvl="0" indent="0" algn="l" defTabSz="6857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5073"/>
                </a:solidFill>
                <a:effectLst/>
                <a:uLnTx/>
                <a:uFillTx/>
                <a:latin typeface="CiscoSansTT ExtraLight"/>
                <a:ea typeface="ＭＳ Ｐゴシック" charset="0"/>
              </a:rPr>
              <a:t>Anomaly detection</a:t>
            </a:r>
          </a:p>
        </p:txBody>
      </p:sp>
      <p:sp>
        <p:nvSpPr>
          <p:cNvPr id="75" name="Freeform 5">
            <a:extLst>
              <a:ext uri="{FF2B5EF4-FFF2-40B4-BE49-F238E27FC236}">
                <a16:creationId xmlns:a16="http://schemas.microsoft.com/office/drawing/2014/main" id="{88FD222D-A678-4B73-BAE9-91E7DBD04F26}"/>
              </a:ext>
            </a:extLst>
          </p:cNvPr>
          <p:cNvSpPr>
            <a:spLocks/>
          </p:cNvSpPr>
          <p:nvPr/>
        </p:nvSpPr>
        <p:spPr bwMode="auto">
          <a:xfrm>
            <a:off x="2841845" y="3575071"/>
            <a:ext cx="3349602" cy="454973"/>
          </a:xfrm>
          <a:prstGeom prst="roundRect">
            <a:avLst>
              <a:gd name="adj" fmla="val 50000"/>
            </a:avLst>
          </a:prstGeom>
          <a:solidFill>
            <a:schemeClr val="accent1"/>
          </a:solidFill>
          <a:ln>
            <a:noFill/>
          </a:ln>
        </p:spPr>
        <p:txBody>
          <a:bodyPr vert="horz" wrap="square" lIns="457200" tIns="45720" rIns="91440" bIns="45720" numCol="1" anchor="ctr" anchorCtr="0" compatLnSpc="1">
            <a:prstTxWarp prst="textNoShape">
              <a:avLst/>
            </a:prstTxWarp>
          </a:bodyPr>
          <a:lstStyle/>
          <a:p>
            <a:pPr marL="0" marR="0" lvl="0" indent="0" algn="l" defTabSz="6857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5073"/>
                </a:solidFill>
                <a:effectLst/>
                <a:uLnTx/>
                <a:uFillTx/>
                <a:latin typeface="CiscoSansTT ExtraLight"/>
                <a:ea typeface="ＭＳ Ｐゴシック" charset="0"/>
              </a:rPr>
              <a:t>Trust modeling</a:t>
            </a:r>
          </a:p>
        </p:txBody>
      </p:sp>
      <p:sp>
        <p:nvSpPr>
          <p:cNvPr id="77" name="Freeform 7">
            <a:extLst>
              <a:ext uri="{FF2B5EF4-FFF2-40B4-BE49-F238E27FC236}">
                <a16:creationId xmlns:a16="http://schemas.microsoft.com/office/drawing/2014/main" id="{C482C37B-1647-4D28-8CF4-7C4719C644D9}"/>
              </a:ext>
            </a:extLst>
          </p:cNvPr>
          <p:cNvSpPr>
            <a:spLocks/>
          </p:cNvSpPr>
          <p:nvPr/>
        </p:nvSpPr>
        <p:spPr bwMode="auto">
          <a:xfrm>
            <a:off x="3078437" y="3063211"/>
            <a:ext cx="2714124" cy="454973"/>
          </a:xfrm>
          <a:prstGeom prst="roundRect">
            <a:avLst>
              <a:gd name="adj" fmla="val 50000"/>
            </a:avLst>
          </a:prstGeom>
          <a:solidFill>
            <a:schemeClr val="accent1"/>
          </a:solidFill>
          <a:ln>
            <a:noFill/>
          </a:ln>
        </p:spPr>
        <p:txBody>
          <a:bodyPr vert="horz" wrap="square" lIns="457200" tIns="45720" rIns="91440" bIns="45720" numCol="1" anchor="ctr" anchorCtr="0" compatLnSpc="1">
            <a:prstTxWarp prst="textNoShape">
              <a:avLst/>
            </a:prstTxWarp>
          </a:bodyPr>
          <a:lstStyle/>
          <a:p>
            <a:pPr marL="0" marR="0" lvl="0" indent="0" algn="l" defTabSz="6857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5073"/>
                </a:solidFill>
                <a:effectLst/>
                <a:uLnTx/>
                <a:uFillTx/>
                <a:latin typeface="CiscoSansTT ExtraLight"/>
                <a:ea typeface="ＭＳ Ｐゴシック" charset="0"/>
              </a:rPr>
              <a:t>Event classification</a:t>
            </a:r>
          </a:p>
        </p:txBody>
      </p:sp>
      <p:sp>
        <p:nvSpPr>
          <p:cNvPr id="78" name="Freeform 8">
            <a:extLst>
              <a:ext uri="{FF2B5EF4-FFF2-40B4-BE49-F238E27FC236}">
                <a16:creationId xmlns:a16="http://schemas.microsoft.com/office/drawing/2014/main" id="{2C0A390C-DA23-482A-8EB8-7FFEF9FEFAF5}"/>
              </a:ext>
            </a:extLst>
          </p:cNvPr>
          <p:cNvSpPr>
            <a:spLocks/>
          </p:cNvSpPr>
          <p:nvPr/>
        </p:nvSpPr>
        <p:spPr bwMode="auto">
          <a:xfrm>
            <a:off x="3361514" y="2560462"/>
            <a:ext cx="2078650" cy="454973"/>
          </a:xfrm>
          <a:prstGeom prst="roundRect">
            <a:avLst>
              <a:gd name="adj" fmla="val 50000"/>
            </a:avLst>
          </a:prstGeom>
          <a:solidFill>
            <a:schemeClr val="accent1"/>
          </a:solidFill>
          <a:ln>
            <a:noFill/>
          </a:ln>
        </p:spPr>
        <p:txBody>
          <a:bodyPr vert="horz" wrap="square" lIns="457200" tIns="45720" rIns="91440" bIns="45720" numCol="1" anchor="ctr" anchorCtr="0" compatLnSpc="1">
            <a:prstTxWarp prst="textNoShape">
              <a:avLst/>
            </a:prstTxWarp>
          </a:bodyPr>
          <a:lstStyle/>
          <a:p>
            <a:pPr marL="0" marR="0" lvl="0" indent="0" algn="l" defTabSz="6857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5073"/>
                </a:solidFill>
                <a:effectLst/>
                <a:uLnTx/>
                <a:uFillTx/>
                <a:latin typeface="CiscoSansTT ExtraLight"/>
                <a:ea typeface="ＭＳ Ｐゴシック" charset="0"/>
              </a:rPr>
              <a:t>Entity Modeling</a:t>
            </a:r>
          </a:p>
        </p:txBody>
      </p:sp>
      <p:sp>
        <p:nvSpPr>
          <p:cNvPr id="79" name="Freeform 8">
            <a:extLst>
              <a:ext uri="{FF2B5EF4-FFF2-40B4-BE49-F238E27FC236}">
                <a16:creationId xmlns:a16="http://schemas.microsoft.com/office/drawing/2014/main" id="{0FA86C43-D46E-4AAA-BD76-85D714A88E5F}"/>
              </a:ext>
            </a:extLst>
          </p:cNvPr>
          <p:cNvSpPr>
            <a:spLocks/>
          </p:cNvSpPr>
          <p:nvPr/>
        </p:nvSpPr>
        <p:spPr bwMode="auto">
          <a:xfrm>
            <a:off x="3645863" y="2055793"/>
            <a:ext cx="1443238" cy="454973"/>
          </a:xfrm>
          <a:prstGeom prst="roundRect">
            <a:avLst>
              <a:gd name="adj" fmla="val 50000"/>
            </a:avLst>
          </a:prstGeom>
          <a:solidFill>
            <a:schemeClr val="accent1"/>
          </a:solidFill>
          <a:ln>
            <a:noFill/>
          </a:ln>
        </p:spPr>
        <p:txBody>
          <a:bodyPr vert="horz" wrap="square" lIns="457200" tIns="45720" rIns="0" bIns="45720" numCol="1" anchor="ctr" anchorCtr="0" compatLnSpc="1">
            <a:prstTxWarp prst="textNoShape">
              <a:avLst/>
            </a:prstTxWarp>
          </a:bodyPr>
          <a:lstStyle/>
          <a:p>
            <a:pPr marL="0" marR="0" lvl="0" indent="0" algn="l" defTabSz="6857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5073"/>
                </a:solidFill>
                <a:effectLst/>
                <a:uLnTx/>
                <a:uFillTx/>
                <a:latin typeface="CiscoSansTT ExtraLight"/>
                <a:ea typeface="ＭＳ Ｐゴシック" charset="0"/>
              </a:rPr>
              <a:t>Relationship</a:t>
            </a:r>
            <a:br>
              <a:rPr kumimoji="0" lang="en-US" sz="1200" b="0" i="0" u="none" strike="noStrike" kern="1200" cap="none" spc="0" normalizeH="0" baseline="0" noProof="0" dirty="0">
                <a:ln>
                  <a:noFill/>
                </a:ln>
                <a:solidFill>
                  <a:srgbClr val="005073"/>
                </a:solidFill>
                <a:effectLst/>
                <a:uLnTx/>
                <a:uFillTx/>
                <a:latin typeface="CiscoSansTT ExtraLight"/>
                <a:ea typeface="ＭＳ Ｐゴシック" charset="0"/>
              </a:rPr>
            </a:br>
            <a:r>
              <a:rPr kumimoji="0" lang="en-US" sz="1200" b="0" i="0" u="none" strike="noStrike" kern="1200" cap="none" spc="0" normalizeH="0" baseline="0" noProof="0" dirty="0">
                <a:ln>
                  <a:noFill/>
                </a:ln>
                <a:solidFill>
                  <a:srgbClr val="005073"/>
                </a:solidFill>
                <a:effectLst/>
                <a:uLnTx/>
                <a:uFillTx/>
                <a:latin typeface="CiscoSansTT ExtraLight"/>
                <a:ea typeface="ＭＳ Ｐゴシック" charset="0"/>
              </a:rPr>
              <a:t>modeling</a:t>
            </a:r>
          </a:p>
        </p:txBody>
      </p:sp>
      <p:sp>
        <p:nvSpPr>
          <p:cNvPr id="111" name="Oval 110">
            <a:extLst>
              <a:ext uri="{FF2B5EF4-FFF2-40B4-BE49-F238E27FC236}">
                <a16:creationId xmlns:a16="http://schemas.microsoft.com/office/drawing/2014/main" id="{C3201FEC-17FC-44AC-BA72-7D6A8337EE55}"/>
              </a:ext>
            </a:extLst>
          </p:cNvPr>
          <p:cNvSpPr/>
          <p:nvPr/>
        </p:nvSpPr>
        <p:spPr>
          <a:xfrm rot="3685780">
            <a:off x="3080512" y="3062439"/>
            <a:ext cx="457200" cy="4572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3" name="Oval 142">
            <a:extLst>
              <a:ext uri="{FF2B5EF4-FFF2-40B4-BE49-F238E27FC236}">
                <a16:creationId xmlns:a16="http://schemas.microsoft.com/office/drawing/2014/main" id="{574D270C-877D-4144-8023-6D54BCEA9A0C}"/>
              </a:ext>
            </a:extLst>
          </p:cNvPr>
          <p:cNvSpPr/>
          <p:nvPr/>
        </p:nvSpPr>
        <p:spPr>
          <a:xfrm rot="3685780">
            <a:off x="3365776" y="2559533"/>
            <a:ext cx="457200" cy="4572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2" name="Oval 151">
            <a:extLst>
              <a:ext uri="{FF2B5EF4-FFF2-40B4-BE49-F238E27FC236}">
                <a16:creationId xmlns:a16="http://schemas.microsoft.com/office/drawing/2014/main" id="{E9375BFE-883B-49A5-BA04-7B33B2DFC2C8}"/>
              </a:ext>
            </a:extLst>
          </p:cNvPr>
          <p:cNvSpPr/>
          <p:nvPr/>
        </p:nvSpPr>
        <p:spPr>
          <a:xfrm rot="3685780">
            <a:off x="3646486" y="2054679"/>
            <a:ext cx="457200" cy="4572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0" name="Oval 169">
            <a:extLst>
              <a:ext uri="{FF2B5EF4-FFF2-40B4-BE49-F238E27FC236}">
                <a16:creationId xmlns:a16="http://schemas.microsoft.com/office/drawing/2014/main" id="{EDA886C7-6B13-4171-AEE6-CF168BB01F02}"/>
              </a:ext>
            </a:extLst>
          </p:cNvPr>
          <p:cNvSpPr/>
          <p:nvPr/>
        </p:nvSpPr>
        <p:spPr>
          <a:xfrm rot="3685780">
            <a:off x="2840067" y="3575641"/>
            <a:ext cx="457200" cy="45720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0" name="Oval 179">
            <a:extLst>
              <a:ext uri="{FF2B5EF4-FFF2-40B4-BE49-F238E27FC236}">
                <a16:creationId xmlns:a16="http://schemas.microsoft.com/office/drawing/2014/main" id="{DE7BADE8-803C-4F9E-8C3C-64D3DDCBC9A0}"/>
              </a:ext>
            </a:extLst>
          </p:cNvPr>
          <p:cNvSpPr/>
          <p:nvPr/>
        </p:nvSpPr>
        <p:spPr>
          <a:xfrm rot="3685780">
            <a:off x="2573829" y="4102389"/>
            <a:ext cx="457200" cy="45720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43" name="Group 42">
            <a:extLst>
              <a:ext uri="{FF2B5EF4-FFF2-40B4-BE49-F238E27FC236}">
                <a16:creationId xmlns:a16="http://schemas.microsoft.com/office/drawing/2014/main" id="{4B8CBCD1-F652-400B-B59B-80C79EB446CA}"/>
              </a:ext>
            </a:extLst>
          </p:cNvPr>
          <p:cNvGrpSpPr>
            <a:grpSpLocks noChangeAspect="1"/>
          </p:cNvGrpSpPr>
          <p:nvPr/>
        </p:nvGrpSpPr>
        <p:grpSpPr>
          <a:xfrm rot="17902345">
            <a:off x="1570645" y="3190372"/>
            <a:ext cx="2534482" cy="305543"/>
            <a:chOff x="4437063" y="2500312"/>
            <a:chExt cx="4144459" cy="495300"/>
          </a:xfrm>
        </p:grpSpPr>
        <p:sp>
          <p:nvSpPr>
            <p:cNvPr id="44" name="Freeform 5">
              <a:extLst>
                <a:ext uri="{FF2B5EF4-FFF2-40B4-BE49-F238E27FC236}">
                  <a16:creationId xmlns:a16="http://schemas.microsoft.com/office/drawing/2014/main" id="{D5233574-719E-4732-95AF-CCE70DC9576C}"/>
                </a:ext>
              </a:extLst>
            </p:cNvPr>
            <p:cNvSpPr>
              <a:spLocks noEditPoints="1"/>
            </p:cNvSpPr>
            <p:nvPr/>
          </p:nvSpPr>
          <p:spPr bwMode="auto">
            <a:xfrm>
              <a:off x="4437063" y="2686050"/>
              <a:ext cx="4137025" cy="123825"/>
            </a:xfrm>
            <a:custGeom>
              <a:avLst/>
              <a:gdLst>
                <a:gd name="T0" fmla="*/ 2356 w 2366"/>
                <a:gd name="T1" fmla="*/ 60 h 71"/>
                <a:gd name="T2" fmla="*/ 2355 w 2366"/>
                <a:gd name="T3" fmla="*/ 60 h 71"/>
                <a:gd name="T4" fmla="*/ 2355 w 2366"/>
                <a:gd name="T5" fmla="*/ 60 h 71"/>
                <a:gd name="T6" fmla="*/ 2356 w 2366"/>
                <a:gd name="T7" fmla="*/ 60 h 71"/>
                <a:gd name="T8" fmla="*/ 2356 w 2366"/>
                <a:gd name="T9" fmla="*/ 60 h 71"/>
                <a:gd name="T10" fmla="*/ 2356 w 2366"/>
                <a:gd name="T11" fmla="*/ 60 h 71"/>
                <a:gd name="T12" fmla="*/ 2356 w 2366"/>
                <a:gd name="T13" fmla="*/ 60 h 71"/>
                <a:gd name="T14" fmla="*/ 2356 w 2366"/>
                <a:gd name="T15" fmla="*/ 60 h 71"/>
                <a:gd name="T16" fmla="*/ 2356 w 2366"/>
                <a:gd name="T17" fmla="*/ 60 h 71"/>
                <a:gd name="T18" fmla="*/ 2356 w 2366"/>
                <a:gd name="T19" fmla="*/ 60 h 71"/>
                <a:gd name="T20" fmla="*/ 2356 w 2366"/>
                <a:gd name="T21" fmla="*/ 60 h 71"/>
                <a:gd name="T22" fmla="*/ 2356 w 2366"/>
                <a:gd name="T23" fmla="*/ 60 h 71"/>
                <a:gd name="T24" fmla="*/ 2356 w 2366"/>
                <a:gd name="T25" fmla="*/ 60 h 71"/>
                <a:gd name="T26" fmla="*/ 2356 w 2366"/>
                <a:gd name="T27" fmla="*/ 60 h 71"/>
                <a:gd name="T28" fmla="*/ 2356 w 2366"/>
                <a:gd name="T29" fmla="*/ 60 h 71"/>
                <a:gd name="T30" fmla="*/ 2356 w 2366"/>
                <a:gd name="T31" fmla="*/ 60 h 71"/>
                <a:gd name="T32" fmla="*/ 2356 w 2366"/>
                <a:gd name="T33" fmla="*/ 59 h 71"/>
                <a:gd name="T34" fmla="*/ 2356 w 2366"/>
                <a:gd name="T35" fmla="*/ 59 h 71"/>
                <a:gd name="T36" fmla="*/ 2356 w 2366"/>
                <a:gd name="T37" fmla="*/ 59 h 71"/>
                <a:gd name="T38" fmla="*/ 2363 w 2366"/>
                <a:gd name="T39" fmla="*/ 50 h 71"/>
                <a:gd name="T40" fmla="*/ 2362 w 2366"/>
                <a:gd name="T41" fmla="*/ 50 h 71"/>
                <a:gd name="T42" fmla="*/ 2363 w 2366"/>
                <a:gd name="T43" fmla="*/ 50 h 71"/>
                <a:gd name="T44" fmla="*/ 2363 w 2366"/>
                <a:gd name="T45" fmla="*/ 21 h 71"/>
                <a:gd name="T46" fmla="*/ 2366 w 2366"/>
                <a:gd name="T47" fmla="*/ 35 h 71"/>
                <a:gd name="T48" fmla="*/ 2363 w 2366"/>
                <a:gd name="T49" fmla="*/ 50 h 71"/>
                <a:gd name="T50" fmla="*/ 2366 w 2366"/>
                <a:gd name="T51" fmla="*/ 35 h 71"/>
                <a:gd name="T52" fmla="*/ 2363 w 2366"/>
                <a:gd name="T53" fmla="*/ 21 h 71"/>
                <a:gd name="T54" fmla="*/ 2362 w 2366"/>
                <a:gd name="T55" fmla="*/ 21 h 71"/>
                <a:gd name="T56" fmla="*/ 2363 w 2366"/>
                <a:gd name="T57" fmla="*/ 21 h 71"/>
                <a:gd name="T58" fmla="*/ 2362 w 2366"/>
                <a:gd name="T59" fmla="*/ 21 h 71"/>
                <a:gd name="T60" fmla="*/ 2356 w 2366"/>
                <a:gd name="T61" fmla="*/ 11 h 71"/>
                <a:gd name="T62" fmla="*/ 2356 w 2366"/>
                <a:gd name="T63" fmla="*/ 11 h 71"/>
                <a:gd name="T64" fmla="*/ 2356 w 2366"/>
                <a:gd name="T65" fmla="*/ 11 h 71"/>
                <a:gd name="T66" fmla="*/ 2356 w 2366"/>
                <a:gd name="T67" fmla="*/ 11 h 71"/>
                <a:gd name="T68" fmla="*/ 2356 w 2366"/>
                <a:gd name="T69" fmla="*/ 11 h 71"/>
                <a:gd name="T70" fmla="*/ 2356 w 2366"/>
                <a:gd name="T71" fmla="*/ 11 h 71"/>
                <a:gd name="T72" fmla="*/ 2356 w 2366"/>
                <a:gd name="T73" fmla="*/ 11 h 71"/>
                <a:gd name="T74" fmla="*/ 2356 w 2366"/>
                <a:gd name="T75" fmla="*/ 11 h 71"/>
                <a:gd name="T76" fmla="*/ 2356 w 2366"/>
                <a:gd name="T77" fmla="*/ 11 h 71"/>
                <a:gd name="T78" fmla="*/ 2356 w 2366"/>
                <a:gd name="T79" fmla="*/ 11 h 71"/>
                <a:gd name="T80" fmla="*/ 2356 w 2366"/>
                <a:gd name="T81" fmla="*/ 11 h 71"/>
                <a:gd name="T82" fmla="*/ 2356 w 2366"/>
                <a:gd name="T83" fmla="*/ 11 h 71"/>
                <a:gd name="T84" fmla="*/ 2356 w 2366"/>
                <a:gd name="T85" fmla="*/ 11 h 71"/>
                <a:gd name="T86" fmla="*/ 2356 w 2366"/>
                <a:gd name="T87" fmla="*/ 11 h 71"/>
                <a:gd name="T88" fmla="*/ 2356 w 2366"/>
                <a:gd name="T89" fmla="*/ 11 h 71"/>
                <a:gd name="T90" fmla="*/ 2355 w 2366"/>
                <a:gd name="T91" fmla="*/ 10 h 71"/>
                <a:gd name="T92" fmla="*/ 2356 w 2366"/>
                <a:gd name="T93" fmla="*/ 11 h 71"/>
                <a:gd name="T94" fmla="*/ 2355 w 2366"/>
                <a:gd name="T95" fmla="*/ 10 h 71"/>
                <a:gd name="T96" fmla="*/ 2245 w 2366"/>
                <a:gd name="T97" fmla="*/ 0 h 71"/>
                <a:gd name="T98" fmla="*/ 36 w 2366"/>
                <a:gd name="T99" fmla="*/ 0 h 71"/>
                <a:gd name="T100" fmla="*/ 0 w 2366"/>
                <a:gd name="T101" fmla="*/ 35 h 71"/>
                <a:gd name="T102" fmla="*/ 36 w 2366"/>
                <a:gd name="T103" fmla="*/ 71 h 71"/>
                <a:gd name="T104" fmla="*/ 2245 w 2366"/>
                <a:gd name="T105" fmla="*/ 71 h 71"/>
                <a:gd name="T106" fmla="*/ 2280 w 2366"/>
                <a:gd name="T107" fmla="*/ 35 h 71"/>
                <a:gd name="T108" fmla="*/ 2245 w 2366"/>
                <a:gd name="T10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6" h="71">
                  <a:moveTo>
                    <a:pt x="2356" y="60"/>
                  </a:moveTo>
                  <a:cubicBezTo>
                    <a:pt x="2355" y="60"/>
                    <a:pt x="2355" y="60"/>
                    <a:pt x="2355" y="60"/>
                  </a:cubicBezTo>
                  <a:cubicBezTo>
                    <a:pt x="2355" y="60"/>
                    <a:pt x="2355" y="60"/>
                    <a:pt x="2355" y="60"/>
                  </a:cubicBezTo>
                  <a:cubicBezTo>
                    <a:pt x="2355" y="60"/>
                    <a:pt x="2355" y="60"/>
                    <a:pt x="2356" y="60"/>
                  </a:cubicBezTo>
                  <a:moveTo>
                    <a:pt x="2356" y="60"/>
                  </a:moveTo>
                  <a:cubicBezTo>
                    <a:pt x="2356" y="60"/>
                    <a:pt x="2356" y="60"/>
                    <a:pt x="2356" y="60"/>
                  </a:cubicBezTo>
                  <a:cubicBezTo>
                    <a:pt x="2356" y="60"/>
                    <a:pt x="2356" y="60"/>
                    <a:pt x="2356" y="60"/>
                  </a:cubicBezTo>
                  <a:moveTo>
                    <a:pt x="2356" y="60"/>
                  </a:moveTo>
                  <a:cubicBezTo>
                    <a:pt x="2356" y="60"/>
                    <a:pt x="2356" y="60"/>
                    <a:pt x="2356" y="60"/>
                  </a:cubicBezTo>
                  <a:cubicBezTo>
                    <a:pt x="2356" y="60"/>
                    <a:pt x="2356" y="60"/>
                    <a:pt x="2356" y="60"/>
                  </a:cubicBezTo>
                  <a:moveTo>
                    <a:pt x="2356" y="60"/>
                  </a:moveTo>
                  <a:cubicBezTo>
                    <a:pt x="2356" y="60"/>
                    <a:pt x="2356" y="60"/>
                    <a:pt x="2356" y="60"/>
                  </a:cubicBezTo>
                  <a:cubicBezTo>
                    <a:pt x="2356" y="60"/>
                    <a:pt x="2356" y="60"/>
                    <a:pt x="2356" y="60"/>
                  </a:cubicBezTo>
                  <a:moveTo>
                    <a:pt x="2356" y="60"/>
                  </a:moveTo>
                  <a:cubicBezTo>
                    <a:pt x="2356" y="60"/>
                    <a:pt x="2356" y="60"/>
                    <a:pt x="2356" y="60"/>
                  </a:cubicBezTo>
                  <a:cubicBezTo>
                    <a:pt x="2356" y="60"/>
                    <a:pt x="2356" y="60"/>
                    <a:pt x="2356" y="60"/>
                  </a:cubicBezTo>
                  <a:moveTo>
                    <a:pt x="2356" y="59"/>
                  </a:moveTo>
                  <a:cubicBezTo>
                    <a:pt x="2356" y="59"/>
                    <a:pt x="2356" y="59"/>
                    <a:pt x="2356" y="59"/>
                  </a:cubicBezTo>
                  <a:cubicBezTo>
                    <a:pt x="2356" y="59"/>
                    <a:pt x="2356" y="59"/>
                    <a:pt x="2356" y="59"/>
                  </a:cubicBezTo>
                  <a:moveTo>
                    <a:pt x="2363" y="50"/>
                  </a:moveTo>
                  <a:cubicBezTo>
                    <a:pt x="2362" y="50"/>
                    <a:pt x="2362" y="50"/>
                    <a:pt x="2362" y="50"/>
                  </a:cubicBezTo>
                  <a:cubicBezTo>
                    <a:pt x="2362" y="50"/>
                    <a:pt x="2362" y="50"/>
                    <a:pt x="2363" y="50"/>
                  </a:cubicBezTo>
                  <a:moveTo>
                    <a:pt x="2363" y="21"/>
                  </a:moveTo>
                  <a:cubicBezTo>
                    <a:pt x="2365" y="25"/>
                    <a:pt x="2366" y="30"/>
                    <a:pt x="2366" y="35"/>
                  </a:cubicBezTo>
                  <a:cubicBezTo>
                    <a:pt x="2366" y="40"/>
                    <a:pt x="2365" y="45"/>
                    <a:pt x="2363" y="50"/>
                  </a:cubicBezTo>
                  <a:cubicBezTo>
                    <a:pt x="2365" y="46"/>
                    <a:pt x="2366" y="41"/>
                    <a:pt x="2366" y="35"/>
                  </a:cubicBezTo>
                  <a:cubicBezTo>
                    <a:pt x="2366" y="30"/>
                    <a:pt x="2365" y="25"/>
                    <a:pt x="2363" y="21"/>
                  </a:cubicBezTo>
                  <a:moveTo>
                    <a:pt x="2362" y="21"/>
                  </a:moveTo>
                  <a:cubicBezTo>
                    <a:pt x="2362" y="21"/>
                    <a:pt x="2362" y="21"/>
                    <a:pt x="2363" y="21"/>
                  </a:cubicBezTo>
                  <a:cubicBezTo>
                    <a:pt x="2362" y="21"/>
                    <a:pt x="2362" y="21"/>
                    <a:pt x="2362" y="21"/>
                  </a:cubicBezTo>
                  <a:moveTo>
                    <a:pt x="2356" y="11"/>
                  </a:moveTo>
                  <a:cubicBezTo>
                    <a:pt x="2356" y="11"/>
                    <a:pt x="2356" y="11"/>
                    <a:pt x="2356" y="11"/>
                  </a:cubicBezTo>
                  <a:cubicBezTo>
                    <a:pt x="2356" y="11"/>
                    <a:pt x="2356" y="11"/>
                    <a:pt x="2356" y="11"/>
                  </a:cubicBezTo>
                  <a:moveTo>
                    <a:pt x="2356" y="11"/>
                  </a:moveTo>
                  <a:cubicBezTo>
                    <a:pt x="2356" y="11"/>
                    <a:pt x="2356" y="11"/>
                    <a:pt x="2356" y="11"/>
                  </a:cubicBezTo>
                  <a:cubicBezTo>
                    <a:pt x="2356" y="11"/>
                    <a:pt x="2356" y="11"/>
                    <a:pt x="2356" y="11"/>
                  </a:cubicBezTo>
                  <a:moveTo>
                    <a:pt x="2356" y="11"/>
                  </a:moveTo>
                  <a:cubicBezTo>
                    <a:pt x="2356" y="11"/>
                    <a:pt x="2356" y="11"/>
                    <a:pt x="2356" y="11"/>
                  </a:cubicBezTo>
                  <a:cubicBezTo>
                    <a:pt x="2356" y="11"/>
                    <a:pt x="2356" y="11"/>
                    <a:pt x="2356" y="11"/>
                  </a:cubicBezTo>
                  <a:moveTo>
                    <a:pt x="2356" y="11"/>
                  </a:moveTo>
                  <a:cubicBezTo>
                    <a:pt x="2356" y="11"/>
                    <a:pt x="2356" y="11"/>
                    <a:pt x="2356" y="11"/>
                  </a:cubicBezTo>
                  <a:cubicBezTo>
                    <a:pt x="2356" y="11"/>
                    <a:pt x="2356" y="11"/>
                    <a:pt x="2356" y="11"/>
                  </a:cubicBezTo>
                  <a:moveTo>
                    <a:pt x="2356" y="11"/>
                  </a:moveTo>
                  <a:cubicBezTo>
                    <a:pt x="2356" y="11"/>
                    <a:pt x="2356" y="11"/>
                    <a:pt x="2356" y="11"/>
                  </a:cubicBezTo>
                  <a:cubicBezTo>
                    <a:pt x="2356" y="11"/>
                    <a:pt x="2356" y="11"/>
                    <a:pt x="2356" y="11"/>
                  </a:cubicBezTo>
                  <a:moveTo>
                    <a:pt x="2355" y="10"/>
                  </a:moveTo>
                  <a:cubicBezTo>
                    <a:pt x="2355" y="10"/>
                    <a:pt x="2355" y="11"/>
                    <a:pt x="2356" y="11"/>
                  </a:cubicBezTo>
                  <a:cubicBezTo>
                    <a:pt x="2355" y="11"/>
                    <a:pt x="2355" y="10"/>
                    <a:pt x="2355" y="10"/>
                  </a:cubicBezTo>
                  <a:moveTo>
                    <a:pt x="2245" y="0"/>
                  </a:moveTo>
                  <a:cubicBezTo>
                    <a:pt x="36" y="0"/>
                    <a:pt x="36" y="0"/>
                    <a:pt x="36" y="0"/>
                  </a:cubicBezTo>
                  <a:cubicBezTo>
                    <a:pt x="16" y="0"/>
                    <a:pt x="0" y="16"/>
                    <a:pt x="0" y="35"/>
                  </a:cubicBezTo>
                  <a:cubicBezTo>
                    <a:pt x="0" y="55"/>
                    <a:pt x="16" y="71"/>
                    <a:pt x="36" y="71"/>
                  </a:cubicBezTo>
                  <a:cubicBezTo>
                    <a:pt x="2245" y="71"/>
                    <a:pt x="2245" y="71"/>
                    <a:pt x="2245" y="71"/>
                  </a:cubicBezTo>
                  <a:cubicBezTo>
                    <a:pt x="2280" y="35"/>
                    <a:pt x="2280" y="35"/>
                    <a:pt x="2280" y="35"/>
                  </a:cubicBezTo>
                  <a:cubicBezTo>
                    <a:pt x="2245" y="0"/>
                    <a:pt x="2245" y="0"/>
                    <a:pt x="2245"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5" name="Freeform 6">
              <a:extLst>
                <a:ext uri="{FF2B5EF4-FFF2-40B4-BE49-F238E27FC236}">
                  <a16:creationId xmlns:a16="http://schemas.microsoft.com/office/drawing/2014/main" id="{A7E28A49-C603-4535-96D5-62E4E7B400B5}"/>
                </a:ext>
              </a:extLst>
            </p:cNvPr>
            <p:cNvSpPr>
              <a:spLocks/>
            </p:cNvSpPr>
            <p:nvPr/>
          </p:nvSpPr>
          <p:spPr bwMode="auto">
            <a:xfrm>
              <a:off x="8259763" y="2500312"/>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59 w 169"/>
                <a:gd name="T11" fmla="*/ 109 h 116"/>
                <a:gd name="T12" fmla="*/ 159 w 169"/>
                <a:gd name="T13" fmla="*/ 109 h 116"/>
                <a:gd name="T14" fmla="*/ 159 w 169"/>
                <a:gd name="T15" fmla="*/ 109 h 116"/>
                <a:gd name="T16" fmla="*/ 168 w 169"/>
                <a:gd name="T17" fmla="*/ 116 h 116"/>
                <a:gd name="T18" fmla="*/ 168 w 169"/>
                <a:gd name="T19" fmla="*/ 116 h 116"/>
                <a:gd name="T20" fmla="*/ 169 w 169"/>
                <a:gd name="T21" fmla="*/ 116 h 116"/>
                <a:gd name="T22" fmla="*/ 169 w 169"/>
                <a:gd name="T23" fmla="*/ 116 h 116"/>
                <a:gd name="T24" fmla="*/ 169 w 169"/>
                <a:gd name="T25" fmla="*/ 116 h 116"/>
                <a:gd name="T26" fmla="*/ 169 w 169"/>
                <a:gd name="T27" fmla="*/ 116 h 116"/>
                <a:gd name="T28" fmla="*/ 169 w 169"/>
                <a:gd name="T29" fmla="*/ 116 h 116"/>
                <a:gd name="T30" fmla="*/ 169 w 169"/>
                <a:gd name="T31" fmla="*/ 116 h 116"/>
                <a:gd name="T32" fmla="*/ 169 w 169"/>
                <a:gd name="T33" fmla="*/ 116 h 116"/>
                <a:gd name="T34" fmla="*/ 169 w 169"/>
                <a:gd name="T35" fmla="*/ 116 h 116"/>
                <a:gd name="T36" fmla="*/ 169 w 169"/>
                <a:gd name="T37" fmla="*/ 116 h 116"/>
                <a:gd name="T38" fmla="*/ 169 w 169"/>
                <a:gd name="T39" fmla="*/ 116 h 116"/>
                <a:gd name="T40" fmla="*/ 169 w 169"/>
                <a:gd name="T41" fmla="*/ 116 h 116"/>
                <a:gd name="T42" fmla="*/ 63 w 169"/>
                <a:gd name="T43" fmla="*/ 10 h 116"/>
                <a:gd name="T44" fmla="*/ 38 w 169"/>
                <a:gd name="T4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116">
                  <a:moveTo>
                    <a:pt x="38" y="0"/>
                  </a:moveTo>
                  <a:cubicBezTo>
                    <a:pt x="29" y="0"/>
                    <a:pt x="20" y="4"/>
                    <a:pt x="13" y="10"/>
                  </a:cubicBezTo>
                  <a:cubicBezTo>
                    <a:pt x="0" y="24"/>
                    <a:pt x="0" y="47"/>
                    <a:pt x="13" y="60"/>
                  </a:cubicBezTo>
                  <a:cubicBezTo>
                    <a:pt x="59" y="106"/>
                    <a:pt x="59" y="106"/>
                    <a:pt x="59" y="106"/>
                  </a:cubicBezTo>
                  <a:cubicBezTo>
                    <a:pt x="144" y="106"/>
                    <a:pt x="144" y="106"/>
                    <a:pt x="144" y="106"/>
                  </a:cubicBezTo>
                  <a:cubicBezTo>
                    <a:pt x="150" y="106"/>
                    <a:pt x="155" y="107"/>
                    <a:pt x="159" y="109"/>
                  </a:cubicBezTo>
                  <a:cubicBezTo>
                    <a:pt x="159" y="109"/>
                    <a:pt x="159" y="109"/>
                    <a:pt x="159" y="109"/>
                  </a:cubicBezTo>
                  <a:cubicBezTo>
                    <a:pt x="159" y="109"/>
                    <a:pt x="159" y="109"/>
                    <a:pt x="159" y="109"/>
                  </a:cubicBezTo>
                  <a:cubicBezTo>
                    <a:pt x="162" y="111"/>
                    <a:pt x="166" y="113"/>
                    <a:pt x="168" y="116"/>
                  </a:cubicBezTo>
                  <a:cubicBezTo>
                    <a:pt x="168" y="116"/>
                    <a:pt x="168" y="116"/>
                    <a:pt x="168" y="116"/>
                  </a:cubicBezTo>
                  <a:cubicBezTo>
                    <a:pt x="168" y="116"/>
                    <a:pt x="169" y="116"/>
                    <a:pt x="169" y="116"/>
                  </a:cubicBezTo>
                  <a:cubicBezTo>
                    <a:pt x="169" y="116"/>
                    <a:pt x="169" y="116"/>
                    <a:pt x="169" y="116"/>
                  </a:cubicBezTo>
                  <a:cubicBezTo>
                    <a:pt x="169" y="116"/>
                    <a:pt x="169" y="116"/>
                    <a:pt x="169" y="116"/>
                  </a:cubicBezTo>
                  <a:cubicBezTo>
                    <a:pt x="169" y="116"/>
                    <a:pt x="169" y="116"/>
                    <a:pt x="169" y="116"/>
                  </a:cubicBezTo>
                  <a:cubicBezTo>
                    <a:pt x="169" y="116"/>
                    <a:pt x="169" y="116"/>
                    <a:pt x="169" y="116"/>
                  </a:cubicBezTo>
                  <a:cubicBezTo>
                    <a:pt x="169" y="116"/>
                    <a:pt x="169" y="116"/>
                    <a:pt x="169" y="116"/>
                  </a:cubicBezTo>
                  <a:cubicBezTo>
                    <a:pt x="169" y="116"/>
                    <a:pt x="169" y="116"/>
                    <a:pt x="169" y="116"/>
                  </a:cubicBezTo>
                  <a:cubicBezTo>
                    <a:pt x="169" y="116"/>
                    <a:pt x="169" y="116"/>
                    <a:pt x="169" y="116"/>
                  </a:cubicBezTo>
                  <a:cubicBezTo>
                    <a:pt x="169" y="116"/>
                    <a:pt x="169" y="116"/>
                    <a:pt x="169" y="116"/>
                  </a:cubicBezTo>
                  <a:cubicBezTo>
                    <a:pt x="169" y="116"/>
                    <a:pt x="169" y="116"/>
                    <a:pt x="169" y="116"/>
                  </a:cubicBezTo>
                  <a:cubicBezTo>
                    <a:pt x="169" y="116"/>
                    <a:pt x="169" y="116"/>
                    <a:pt x="169" y="116"/>
                  </a:cubicBezTo>
                  <a:cubicBezTo>
                    <a:pt x="63" y="10"/>
                    <a:pt x="63" y="10"/>
                    <a:pt x="63" y="10"/>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6" name="Freeform 7">
              <a:extLst>
                <a:ext uri="{FF2B5EF4-FFF2-40B4-BE49-F238E27FC236}">
                  <a16:creationId xmlns:a16="http://schemas.microsoft.com/office/drawing/2014/main" id="{95217C71-C887-4FAE-8F58-A3E37F9E2443}"/>
                </a:ext>
              </a:extLst>
            </p:cNvPr>
            <p:cNvSpPr>
              <a:spLocks noEditPoints="1"/>
            </p:cNvSpPr>
            <p:nvPr/>
          </p:nvSpPr>
          <p:spPr bwMode="auto">
            <a:xfrm>
              <a:off x="8362950" y="2686050"/>
              <a:ext cx="192088" cy="60325"/>
            </a:xfrm>
            <a:custGeom>
              <a:avLst/>
              <a:gdLst>
                <a:gd name="T0" fmla="*/ 110 w 110"/>
                <a:gd name="T1" fmla="*/ 10 h 35"/>
                <a:gd name="T2" fmla="*/ 110 w 110"/>
                <a:gd name="T3" fmla="*/ 10 h 35"/>
                <a:gd name="T4" fmla="*/ 110 w 110"/>
                <a:gd name="T5" fmla="*/ 10 h 35"/>
                <a:gd name="T6" fmla="*/ 110 w 110"/>
                <a:gd name="T7" fmla="*/ 10 h 35"/>
                <a:gd name="T8" fmla="*/ 110 w 110"/>
                <a:gd name="T9" fmla="*/ 10 h 35"/>
                <a:gd name="T10" fmla="*/ 110 w 110"/>
                <a:gd name="T11" fmla="*/ 10 h 35"/>
                <a:gd name="T12" fmla="*/ 110 w 110"/>
                <a:gd name="T13" fmla="*/ 10 h 35"/>
                <a:gd name="T14" fmla="*/ 110 w 110"/>
                <a:gd name="T15" fmla="*/ 10 h 35"/>
                <a:gd name="T16" fmla="*/ 110 w 110"/>
                <a:gd name="T17" fmla="*/ 10 h 35"/>
                <a:gd name="T18" fmla="*/ 110 w 110"/>
                <a:gd name="T19" fmla="*/ 10 h 35"/>
                <a:gd name="T20" fmla="*/ 110 w 110"/>
                <a:gd name="T21" fmla="*/ 10 h 35"/>
                <a:gd name="T22" fmla="*/ 110 w 110"/>
                <a:gd name="T23" fmla="*/ 10 h 35"/>
                <a:gd name="T24" fmla="*/ 110 w 110"/>
                <a:gd name="T25" fmla="*/ 10 h 35"/>
                <a:gd name="T26" fmla="*/ 110 w 110"/>
                <a:gd name="T27" fmla="*/ 10 h 35"/>
                <a:gd name="T28" fmla="*/ 110 w 110"/>
                <a:gd name="T29" fmla="*/ 10 h 35"/>
                <a:gd name="T30" fmla="*/ 109 w 110"/>
                <a:gd name="T31" fmla="*/ 10 h 35"/>
                <a:gd name="T32" fmla="*/ 109 w 110"/>
                <a:gd name="T33" fmla="*/ 10 h 35"/>
                <a:gd name="T34" fmla="*/ 109 w 110"/>
                <a:gd name="T35" fmla="*/ 10 h 35"/>
                <a:gd name="T36" fmla="*/ 100 w 110"/>
                <a:gd name="T37" fmla="*/ 3 h 35"/>
                <a:gd name="T38" fmla="*/ 100 w 110"/>
                <a:gd name="T39" fmla="*/ 3 h 35"/>
                <a:gd name="T40" fmla="*/ 100 w 110"/>
                <a:gd name="T41" fmla="*/ 3 h 35"/>
                <a:gd name="T42" fmla="*/ 85 w 110"/>
                <a:gd name="T43" fmla="*/ 0 h 35"/>
                <a:gd name="T44" fmla="*/ 0 w 110"/>
                <a:gd name="T45" fmla="*/ 0 h 35"/>
                <a:gd name="T46" fmla="*/ 35 w 110"/>
                <a:gd name="T47" fmla="*/ 35 h 35"/>
                <a:gd name="T48" fmla="*/ 60 w 110"/>
                <a:gd name="T49" fmla="*/ 10 h 35"/>
                <a:gd name="T50" fmla="*/ 85 w 110"/>
                <a:gd name="T51" fmla="*/ 0 h 35"/>
                <a:gd name="T52" fmla="*/ 100 w 110"/>
                <a:gd name="T53" fmla="*/ 3 h 35"/>
                <a:gd name="T54" fmla="*/ 85 w 110"/>
                <a:gd name="T5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0" h="35">
                  <a:moveTo>
                    <a:pt x="110" y="10"/>
                  </a:moveTo>
                  <a:cubicBezTo>
                    <a:pt x="110" y="10"/>
                    <a:pt x="110" y="10"/>
                    <a:pt x="110" y="10"/>
                  </a:cubicBezTo>
                  <a:cubicBezTo>
                    <a:pt x="110" y="10"/>
                    <a:pt x="110" y="10"/>
                    <a:pt x="110" y="10"/>
                  </a:cubicBezTo>
                  <a:moveTo>
                    <a:pt x="110" y="10"/>
                  </a:moveTo>
                  <a:cubicBezTo>
                    <a:pt x="110" y="10"/>
                    <a:pt x="110" y="10"/>
                    <a:pt x="110" y="10"/>
                  </a:cubicBezTo>
                  <a:cubicBezTo>
                    <a:pt x="110" y="10"/>
                    <a:pt x="110" y="10"/>
                    <a:pt x="110" y="10"/>
                  </a:cubicBezTo>
                  <a:moveTo>
                    <a:pt x="110" y="10"/>
                  </a:moveTo>
                  <a:cubicBezTo>
                    <a:pt x="110" y="10"/>
                    <a:pt x="110" y="10"/>
                    <a:pt x="110" y="10"/>
                  </a:cubicBezTo>
                  <a:cubicBezTo>
                    <a:pt x="110" y="10"/>
                    <a:pt x="110" y="10"/>
                    <a:pt x="110" y="10"/>
                  </a:cubicBezTo>
                  <a:moveTo>
                    <a:pt x="110" y="10"/>
                  </a:moveTo>
                  <a:cubicBezTo>
                    <a:pt x="110" y="10"/>
                    <a:pt x="110" y="10"/>
                    <a:pt x="110" y="10"/>
                  </a:cubicBezTo>
                  <a:cubicBezTo>
                    <a:pt x="110" y="10"/>
                    <a:pt x="110" y="10"/>
                    <a:pt x="110" y="10"/>
                  </a:cubicBezTo>
                  <a:moveTo>
                    <a:pt x="110" y="10"/>
                  </a:moveTo>
                  <a:cubicBezTo>
                    <a:pt x="110" y="10"/>
                    <a:pt x="110" y="10"/>
                    <a:pt x="110" y="10"/>
                  </a:cubicBezTo>
                  <a:cubicBezTo>
                    <a:pt x="110" y="10"/>
                    <a:pt x="110" y="10"/>
                    <a:pt x="110" y="10"/>
                  </a:cubicBezTo>
                  <a:moveTo>
                    <a:pt x="109" y="10"/>
                  </a:moveTo>
                  <a:cubicBezTo>
                    <a:pt x="109" y="10"/>
                    <a:pt x="109" y="10"/>
                    <a:pt x="109" y="10"/>
                  </a:cubicBezTo>
                  <a:cubicBezTo>
                    <a:pt x="109" y="10"/>
                    <a:pt x="109" y="10"/>
                    <a:pt x="109" y="10"/>
                  </a:cubicBezTo>
                  <a:moveTo>
                    <a:pt x="100" y="3"/>
                  </a:moveTo>
                  <a:cubicBezTo>
                    <a:pt x="100" y="3"/>
                    <a:pt x="100" y="3"/>
                    <a:pt x="100" y="3"/>
                  </a:cubicBezTo>
                  <a:cubicBezTo>
                    <a:pt x="100" y="3"/>
                    <a:pt x="100" y="3"/>
                    <a:pt x="100" y="3"/>
                  </a:cubicBezTo>
                  <a:moveTo>
                    <a:pt x="85" y="0"/>
                  </a:moveTo>
                  <a:cubicBezTo>
                    <a:pt x="0" y="0"/>
                    <a:pt x="0" y="0"/>
                    <a:pt x="0" y="0"/>
                  </a:cubicBezTo>
                  <a:cubicBezTo>
                    <a:pt x="35" y="35"/>
                    <a:pt x="35" y="35"/>
                    <a:pt x="35" y="35"/>
                  </a:cubicBezTo>
                  <a:cubicBezTo>
                    <a:pt x="60" y="10"/>
                    <a:pt x="60" y="10"/>
                    <a:pt x="60" y="10"/>
                  </a:cubicBezTo>
                  <a:cubicBezTo>
                    <a:pt x="67" y="3"/>
                    <a:pt x="76" y="0"/>
                    <a:pt x="85" y="0"/>
                  </a:cubicBezTo>
                  <a:cubicBezTo>
                    <a:pt x="90" y="0"/>
                    <a:pt x="95" y="1"/>
                    <a:pt x="100" y="3"/>
                  </a:cubicBezTo>
                  <a:cubicBezTo>
                    <a:pt x="96" y="1"/>
                    <a:pt x="91"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7" name="Freeform 8">
              <a:extLst>
                <a:ext uri="{FF2B5EF4-FFF2-40B4-BE49-F238E27FC236}">
                  <a16:creationId xmlns:a16="http://schemas.microsoft.com/office/drawing/2014/main" id="{A075FBBF-8BC5-4841-A77D-1D115D74E277}"/>
                </a:ext>
              </a:extLst>
            </p:cNvPr>
            <p:cNvSpPr>
              <a:spLocks/>
            </p:cNvSpPr>
            <p:nvPr/>
          </p:nvSpPr>
          <p:spPr bwMode="auto">
            <a:xfrm>
              <a:off x="8259763" y="2790825"/>
              <a:ext cx="295275" cy="204787"/>
            </a:xfrm>
            <a:custGeom>
              <a:avLst/>
              <a:gdLst>
                <a:gd name="T0" fmla="*/ 169 w 169"/>
                <a:gd name="T1" fmla="*/ 0 h 117"/>
                <a:gd name="T2" fmla="*/ 169 w 169"/>
                <a:gd name="T3" fmla="*/ 1 h 117"/>
                <a:gd name="T4" fmla="*/ 169 w 169"/>
                <a:gd name="T5" fmla="*/ 1 h 117"/>
                <a:gd name="T6" fmla="*/ 169 w 169"/>
                <a:gd name="T7" fmla="*/ 1 h 117"/>
                <a:gd name="T8" fmla="*/ 169 w 169"/>
                <a:gd name="T9" fmla="*/ 1 h 117"/>
                <a:gd name="T10" fmla="*/ 169 w 169"/>
                <a:gd name="T11" fmla="*/ 1 h 117"/>
                <a:gd name="T12" fmla="*/ 169 w 169"/>
                <a:gd name="T13" fmla="*/ 1 h 117"/>
                <a:gd name="T14" fmla="*/ 169 w 169"/>
                <a:gd name="T15" fmla="*/ 1 h 117"/>
                <a:gd name="T16" fmla="*/ 169 w 169"/>
                <a:gd name="T17" fmla="*/ 1 h 117"/>
                <a:gd name="T18" fmla="*/ 169 w 169"/>
                <a:gd name="T19" fmla="*/ 1 h 117"/>
                <a:gd name="T20" fmla="*/ 168 w 169"/>
                <a:gd name="T21" fmla="*/ 1 h 117"/>
                <a:gd name="T22" fmla="*/ 168 w 169"/>
                <a:gd name="T23" fmla="*/ 1 h 117"/>
                <a:gd name="T24" fmla="*/ 159 w 169"/>
                <a:gd name="T25" fmla="*/ 7 h 117"/>
                <a:gd name="T26" fmla="*/ 159 w 169"/>
                <a:gd name="T27" fmla="*/ 8 h 117"/>
                <a:gd name="T28" fmla="*/ 159 w 169"/>
                <a:gd name="T29" fmla="*/ 8 h 117"/>
                <a:gd name="T30" fmla="*/ 144 w 169"/>
                <a:gd name="T31" fmla="*/ 11 h 117"/>
                <a:gd name="T32" fmla="*/ 59 w 169"/>
                <a:gd name="T33" fmla="*/ 11 h 117"/>
                <a:gd name="T34" fmla="*/ 13 w 169"/>
                <a:gd name="T35" fmla="*/ 56 h 117"/>
                <a:gd name="T36" fmla="*/ 13 w 169"/>
                <a:gd name="T37" fmla="*/ 106 h 117"/>
                <a:gd name="T38" fmla="*/ 38 w 169"/>
                <a:gd name="T39" fmla="*/ 117 h 117"/>
                <a:gd name="T40" fmla="*/ 63 w 169"/>
                <a:gd name="T41" fmla="*/ 106 h 117"/>
                <a:gd name="T42" fmla="*/ 169 w 169"/>
                <a:gd name="T4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7">
                  <a:moveTo>
                    <a:pt x="169" y="0"/>
                  </a:moveTo>
                  <a:cubicBezTo>
                    <a:pt x="169" y="0"/>
                    <a:pt x="169" y="0"/>
                    <a:pt x="169" y="1"/>
                  </a:cubicBezTo>
                  <a:cubicBezTo>
                    <a:pt x="169" y="1"/>
                    <a:pt x="169" y="1"/>
                    <a:pt x="169" y="1"/>
                  </a:cubicBezTo>
                  <a:cubicBezTo>
                    <a:pt x="169" y="1"/>
                    <a:pt x="169" y="1"/>
                    <a:pt x="169" y="1"/>
                  </a:cubicBezTo>
                  <a:cubicBezTo>
                    <a:pt x="169" y="1"/>
                    <a:pt x="169" y="1"/>
                    <a:pt x="169" y="1"/>
                  </a:cubicBezTo>
                  <a:cubicBezTo>
                    <a:pt x="169" y="1"/>
                    <a:pt x="169" y="1"/>
                    <a:pt x="169" y="1"/>
                  </a:cubicBezTo>
                  <a:cubicBezTo>
                    <a:pt x="169" y="1"/>
                    <a:pt x="169" y="1"/>
                    <a:pt x="169" y="1"/>
                  </a:cubicBezTo>
                  <a:cubicBezTo>
                    <a:pt x="169" y="1"/>
                    <a:pt x="169" y="1"/>
                    <a:pt x="169" y="1"/>
                  </a:cubicBezTo>
                  <a:cubicBezTo>
                    <a:pt x="169" y="1"/>
                    <a:pt x="169" y="1"/>
                    <a:pt x="169" y="1"/>
                  </a:cubicBezTo>
                  <a:cubicBezTo>
                    <a:pt x="169" y="1"/>
                    <a:pt x="169" y="1"/>
                    <a:pt x="169" y="1"/>
                  </a:cubicBezTo>
                  <a:cubicBezTo>
                    <a:pt x="169" y="1"/>
                    <a:pt x="168" y="1"/>
                    <a:pt x="168" y="1"/>
                  </a:cubicBezTo>
                  <a:cubicBezTo>
                    <a:pt x="168" y="1"/>
                    <a:pt x="168" y="1"/>
                    <a:pt x="168" y="1"/>
                  </a:cubicBezTo>
                  <a:cubicBezTo>
                    <a:pt x="166" y="4"/>
                    <a:pt x="162" y="6"/>
                    <a:pt x="159" y="7"/>
                  </a:cubicBezTo>
                  <a:cubicBezTo>
                    <a:pt x="159" y="7"/>
                    <a:pt x="159" y="7"/>
                    <a:pt x="159" y="8"/>
                  </a:cubicBezTo>
                  <a:cubicBezTo>
                    <a:pt x="159" y="8"/>
                    <a:pt x="159" y="8"/>
                    <a:pt x="159" y="8"/>
                  </a:cubicBezTo>
                  <a:cubicBezTo>
                    <a:pt x="155" y="10"/>
                    <a:pt x="150" y="11"/>
                    <a:pt x="144" y="11"/>
                  </a:cubicBezTo>
                  <a:cubicBezTo>
                    <a:pt x="59" y="11"/>
                    <a:pt x="59" y="11"/>
                    <a:pt x="59" y="11"/>
                  </a:cubicBezTo>
                  <a:cubicBezTo>
                    <a:pt x="13" y="56"/>
                    <a:pt x="13" y="56"/>
                    <a:pt x="13" y="56"/>
                  </a:cubicBezTo>
                  <a:cubicBezTo>
                    <a:pt x="0" y="70"/>
                    <a:pt x="0" y="92"/>
                    <a:pt x="13" y="106"/>
                  </a:cubicBezTo>
                  <a:cubicBezTo>
                    <a:pt x="20" y="113"/>
                    <a:pt x="29" y="117"/>
                    <a:pt x="38" y="117"/>
                  </a:cubicBezTo>
                  <a:cubicBezTo>
                    <a:pt x="48" y="117"/>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8" name="Freeform 9">
              <a:extLst>
                <a:ext uri="{FF2B5EF4-FFF2-40B4-BE49-F238E27FC236}">
                  <a16:creationId xmlns:a16="http://schemas.microsoft.com/office/drawing/2014/main" id="{322A7EA7-B51E-466D-A87C-9228B0D3A2AF}"/>
                </a:ext>
              </a:extLst>
            </p:cNvPr>
            <p:cNvSpPr>
              <a:spLocks noEditPoints="1"/>
            </p:cNvSpPr>
            <p:nvPr/>
          </p:nvSpPr>
          <p:spPr bwMode="auto">
            <a:xfrm>
              <a:off x="8362950" y="2746375"/>
              <a:ext cx="192088" cy="63500"/>
            </a:xfrm>
            <a:custGeom>
              <a:avLst/>
              <a:gdLst>
                <a:gd name="T0" fmla="*/ 100 w 110"/>
                <a:gd name="T1" fmla="*/ 32 h 36"/>
                <a:gd name="T2" fmla="*/ 100 w 110"/>
                <a:gd name="T3" fmla="*/ 33 h 36"/>
                <a:gd name="T4" fmla="*/ 100 w 110"/>
                <a:gd name="T5" fmla="*/ 32 h 36"/>
                <a:gd name="T6" fmla="*/ 109 w 110"/>
                <a:gd name="T7" fmla="*/ 26 h 36"/>
                <a:gd name="T8" fmla="*/ 109 w 110"/>
                <a:gd name="T9" fmla="*/ 26 h 36"/>
                <a:gd name="T10" fmla="*/ 109 w 110"/>
                <a:gd name="T11" fmla="*/ 26 h 36"/>
                <a:gd name="T12" fmla="*/ 110 w 110"/>
                <a:gd name="T13" fmla="*/ 26 h 36"/>
                <a:gd name="T14" fmla="*/ 110 w 110"/>
                <a:gd name="T15" fmla="*/ 26 h 36"/>
                <a:gd name="T16" fmla="*/ 110 w 110"/>
                <a:gd name="T17" fmla="*/ 26 h 36"/>
                <a:gd name="T18" fmla="*/ 110 w 110"/>
                <a:gd name="T19" fmla="*/ 26 h 36"/>
                <a:gd name="T20" fmla="*/ 110 w 110"/>
                <a:gd name="T21" fmla="*/ 26 h 36"/>
                <a:gd name="T22" fmla="*/ 110 w 110"/>
                <a:gd name="T23" fmla="*/ 26 h 36"/>
                <a:gd name="T24" fmla="*/ 110 w 110"/>
                <a:gd name="T25" fmla="*/ 26 h 36"/>
                <a:gd name="T26" fmla="*/ 110 w 110"/>
                <a:gd name="T27" fmla="*/ 26 h 36"/>
                <a:gd name="T28" fmla="*/ 110 w 110"/>
                <a:gd name="T29" fmla="*/ 26 h 36"/>
                <a:gd name="T30" fmla="*/ 110 w 110"/>
                <a:gd name="T31" fmla="*/ 26 h 36"/>
                <a:gd name="T32" fmla="*/ 110 w 110"/>
                <a:gd name="T33" fmla="*/ 26 h 36"/>
                <a:gd name="T34" fmla="*/ 110 w 110"/>
                <a:gd name="T35" fmla="*/ 26 h 36"/>
                <a:gd name="T36" fmla="*/ 110 w 110"/>
                <a:gd name="T37" fmla="*/ 25 h 36"/>
                <a:gd name="T38" fmla="*/ 110 w 110"/>
                <a:gd name="T39" fmla="*/ 26 h 36"/>
                <a:gd name="T40" fmla="*/ 110 w 110"/>
                <a:gd name="T41" fmla="*/ 25 h 36"/>
                <a:gd name="T42" fmla="*/ 110 w 110"/>
                <a:gd name="T43" fmla="*/ 25 h 36"/>
                <a:gd name="T44" fmla="*/ 35 w 110"/>
                <a:gd name="T45" fmla="*/ 0 h 36"/>
                <a:gd name="T46" fmla="*/ 0 w 110"/>
                <a:gd name="T47" fmla="*/ 36 h 36"/>
                <a:gd name="T48" fmla="*/ 85 w 110"/>
                <a:gd name="T49" fmla="*/ 36 h 36"/>
                <a:gd name="T50" fmla="*/ 100 w 110"/>
                <a:gd name="T51" fmla="*/ 33 h 36"/>
                <a:gd name="T52" fmla="*/ 85 w 110"/>
                <a:gd name="T53" fmla="*/ 36 h 36"/>
                <a:gd name="T54" fmla="*/ 60 w 110"/>
                <a:gd name="T55" fmla="*/ 25 h 36"/>
                <a:gd name="T56" fmla="*/ 35 w 110"/>
                <a:gd name="T5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6">
                  <a:moveTo>
                    <a:pt x="100" y="32"/>
                  </a:moveTo>
                  <a:cubicBezTo>
                    <a:pt x="100" y="32"/>
                    <a:pt x="100" y="32"/>
                    <a:pt x="100" y="33"/>
                  </a:cubicBezTo>
                  <a:cubicBezTo>
                    <a:pt x="100" y="32"/>
                    <a:pt x="100" y="32"/>
                    <a:pt x="100" y="32"/>
                  </a:cubicBezTo>
                  <a:moveTo>
                    <a:pt x="109" y="26"/>
                  </a:moveTo>
                  <a:cubicBezTo>
                    <a:pt x="109" y="26"/>
                    <a:pt x="109" y="26"/>
                    <a:pt x="109" y="26"/>
                  </a:cubicBezTo>
                  <a:cubicBezTo>
                    <a:pt x="109" y="26"/>
                    <a:pt x="109" y="26"/>
                    <a:pt x="109" y="26"/>
                  </a:cubicBezTo>
                  <a:moveTo>
                    <a:pt x="110" y="26"/>
                  </a:moveTo>
                  <a:cubicBezTo>
                    <a:pt x="110" y="26"/>
                    <a:pt x="110" y="26"/>
                    <a:pt x="110" y="26"/>
                  </a:cubicBezTo>
                  <a:cubicBezTo>
                    <a:pt x="110" y="26"/>
                    <a:pt x="110" y="26"/>
                    <a:pt x="110" y="26"/>
                  </a:cubicBezTo>
                  <a:moveTo>
                    <a:pt x="110" y="26"/>
                  </a:moveTo>
                  <a:cubicBezTo>
                    <a:pt x="110" y="26"/>
                    <a:pt x="110" y="26"/>
                    <a:pt x="110" y="26"/>
                  </a:cubicBezTo>
                  <a:cubicBezTo>
                    <a:pt x="110" y="26"/>
                    <a:pt x="110" y="26"/>
                    <a:pt x="110" y="26"/>
                  </a:cubicBezTo>
                  <a:moveTo>
                    <a:pt x="110" y="26"/>
                  </a:moveTo>
                  <a:cubicBezTo>
                    <a:pt x="110" y="26"/>
                    <a:pt x="110" y="26"/>
                    <a:pt x="110" y="26"/>
                  </a:cubicBezTo>
                  <a:cubicBezTo>
                    <a:pt x="110" y="26"/>
                    <a:pt x="110" y="26"/>
                    <a:pt x="110" y="26"/>
                  </a:cubicBezTo>
                  <a:moveTo>
                    <a:pt x="110" y="26"/>
                  </a:moveTo>
                  <a:cubicBezTo>
                    <a:pt x="110" y="26"/>
                    <a:pt x="110" y="26"/>
                    <a:pt x="110" y="26"/>
                  </a:cubicBezTo>
                  <a:cubicBezTo>
                    <a:pt x="110" y="26"/>
                    <a:pt x="110" y="26"/>
                    <a:pt x="110" y="26"/>
                  </a:cubicBezTo>
                  <a:moveTo>
                    <a:pt x="110" y="25"/>
                  </a:moveTo>
                  <a:cubicBezTo>
                    <a:pt x="110" y="25"/>
                    <a:pt x="110" y="25"/>
                    <a:pt x="110" y="26"/>
                  </a:cubicBezTo>
                  <a:cubicBezTo>
                    <a:pt x="110" y="25"/>
                    <a:pt x="110" y="25"/>
                    <a:pt x="110" y="25"/>
                  </a:cubicBezTo>
                  <a:cubicBezTo>
                    <a:pt x="110" y="25"/>
                    <a:pt x="110" y="25"/>
                    <a:pt x="110" y="25"/>
                  </a:cubicBezTo>
                  <a:moveTo>
                    <a:pt x="35" y="0"/>
                  </a:moveTo>
                  <a:cubicBezTo>
                    <a:pt x="0" y="36"/>
                    <a:pt x="0" y="36"/>
                    <a:pt x="0" y="36"/>
                  </a:cubicBezTo>
                  <a:cubicBezTo>
                    <a:pt x="85" y="36"/>
                    <a:pt x="85" y="36"/>
                    <a:pt x="85" y="36"/>
                  </a:cubicBezTo>
                  <a:cubicBezTo>
                    <a:pt x="91" y="36"/>
                    <a:pt x="96" y="35"/>
                    <a:pt x="100" y="33"/>
                  </a:cubicBezTo>
                  <a:cubicBezTo>
                    <a:pt x="95" y="35"/>
                    <a:pt x="90" y="36"/>
                    <a:pt x="85" y="36"/>
                  </a:cubicBezTo>
                  <a:cubicBezTo>
                    <a:pt x="76" y="36"/>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9" name="Freeform 10">
              <a:extLst>
                <a:ext uri="{FF2B5EF4-FFF2-40B4-BE49-F238E27FC236}">
                  <a16:creationId xmlns:a16="http://schemas.microsoft.com/office/drawing/2014/main" id="{DFE4DE3E-6250-4117-A3BD-09B5197E087A}"/>
                </a:ext>
              </a:extLst>
            </p:cNvPr>
            <p:cNvSpPr>
              <a:spLocks noEditPoints="1"/>
            </p:cNvSpPr>
            <p:nvPr/>
          </p:nvSpPr>
          <p:spPr bwMode="auto">
            <a:xfrm>
              <a:off x="8537575" y="2690812"/>
              <a:ext cx="31750" cy="114300"/>
            </a:xfrm>
            <a:custGeom>
              <a:avLst/>
              <a:gdLst>
                <a:gd name="T0" fmla="*/ 0 w 18"/>
                <a:gd name="T1" fmla="*/ 65 h 65"/>
                <a:gd name="T2" fmla="*/ 9 w 18"/>
                <a:gd name="T3" fmla="*/ 58 h 65"/>
                <a:gd name="T4" fmla="*/ 9 w 18"/>
                <a:gd name="T5" fmla="*/ 58 h 65"/>
                <a:gd name="T6" fmla="*/ 9 w 18"/>
                <a:gd name="T7" fmla="*/ 58 h 65"/>
                <a:gd name="T8" fmla="*/ 10 w 18"/>
                <a:gd name="T9" fmla="*/ 58 h 65"/>
                <a:gd name="T10" fmla="*/ 10 w 18"/>
                <a:gd name="T11" fmla="*/ 58 h 65"/>
                <a:gd name="T12" fmla="*/ 10 w 18"/>
                <a:gd name="T13" fmla="*/ 58 h 65"/>
                <a:gd name="T14" fmla="*/ 10 w 18"/>
                <a:gd name="T15" fmla="*/ 58 h 65"/>
                <a:gd name="T16" fmla="*/ 10 w 18"/>
                <a:gd name="T17" fmla="*/ 58 h 65"/>
                <a:gd name="T18" fmla="*/ 10 w 18"/>
                <a:gd name="T19" fmla="*/ 58 h 65"/>
                <a:gd name="T20" fmla="*/ 11 w 18"/>
                <a:gd name="T21" fmla="*/ 57 h 65"/>
                <a:gd name="T22" fmla="*/ 11 w 18"/>
                <a:gd name="T23" fmla="*/ 57 h 65"/>
                <a:gd name="T24" fmla="*/ 11 w 18"/>
                <a:gd name="T25" fmla="*/ 57 h 65"/>
                <a:gd name="T26" fmla="*/ 11 w 18"/>
                <a:gd name="T27" fmla="*/ 57 h 65"/>
                <a:gd name="T28" fmla="*/ 11 w 18"/>
                <a:gd name="T29" fmla="*/ 57 h 65"/>
                <a:gd name="T30" fmla="*/ 11 w 18"/>
                <a:gd name="T31" fmla="*/ 57 h 65"/>
                <a:gd name="T32" fmla="*/ 11 w 18"/>
                <a:gd name="T33" fmla="*/ 56 h 65"/>
                <a:gd name="T34" fmla="*/ 11 w 18"/>
                <a:gd name="T35" fmla="*/ 56 h 65"/>
                <a:gd name="T36" fmla="*/ 11 w 18"/>
                <a:gd name="T37" fmla="*/ 56 h 65"/>
                <a:gd name="T38" fmla="*/ 18 w 18"/>
                <a:gd name="T39" fmla="*/ 47 h 65"/>
                <a:gd name="T40" fmla="*/ 18 w 18"/>
                <a:gd name="T41" fmla="*/ 47 h 65"/>
                <a:gd name="T42" fmla="*/ 18 w 18"/>
                <a:gd name="T43" fmla="*/ 18 h 65"/>
                <a:gd name="T44" fmla="*/ 11 w 18"/>
                <a:gd name="T45" fmla="*/ 8 h 65"/>
                <a:gd name="T46" fmla="*/ 11 w 18"/>
                <a:gd name="T47" fmla="*/ 8 h 65"/>
                <a:gd name="T48" fmla="*/ 11 w 18"/>
                <a:gd name="T49" fmla="*/ 8 h 65"/>
                <a:gd name="T50" fmla="*/ 11 w 18"/>
                <a:gd name="T51" fmla="*/ 8 h 65"/>
                <a:gd name="T52" fmla="*/ 11 w 18"/>
                <a:gd name="T53" fmla="*/ 8 h 65"/>
                <a:gd name="T54" fmla="*/ 11 w 18"/>
                <a:gd name="T55" fmla="*/ 8 h 65"/>
                <a:gd name="T56" fmla="*/ 11 w 18"/>
                <a:gd name="T57" fmla="*/ 8 h 65"/>
                <a:gd name="T58" fmla="*/ 11 w 18"/>
                <a:gd name="T59" fmla="*/ 8 h 65"/>
                <a:gd name="T60" fmla="*/ 11 w 18"/>
                <a:gd name="T61" fmla="*/ 8 h 65"/>
                <a:gd name="T62" fmla="*/ 10 w 18"/>
                <a:gd name="T63" fmla="*/ 7 h 65"/>
                <a:gd name="T64" fmla="*/ 10 w 18"/>
                <a:gd name="T65" fmla="*/ 7 h 65"/>
                <a:gd name="T66" fmla="*/ 10 w 18"/>
                <a:gd name="T67" fmla="*/ 7 h 65"/>
                <a:gd name="T68" fmla="*/ 10 w 18"/>
                <a:gd name="T69" fmla="*/ 7 h 65"/>
                <a:gd name="T70" fmla="*/ 10 w 18"/>
                <a:gd name="T71" fmla="*/ 7 h 65"/>
                <a:gd name="T72" fmla="*/ 10 w 18"/>
                <a:gd name="T73" fmla="*/ 7 h 65"/>
                <a:gd name="T74" fmla="*/ 9 w 18"/>
                <a:gd name="T75" fmla="*/ 7 h 65"/>
                <a:gd name="T76" fmla="*/ 9 w 18"/>
                <a:gd name="T77" fmla="*/ 7 h 65"/>
                <a:gd name="T78" fmla="*/ 9 w 18"/>
                <a:gd name="T79" fmla="*/ 7 h 65"/>
                <a:gd name="T80" fmla="*/ 0 w 18"/>
                <a:gd name="T81" fmla="*/ 0 h 65"/>
                <a:gd name="T82" fmla="*/ 0 w 18"/>
                <a:gd name="T8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65">
                  <a:moveTo>
                    <a:pt x="0" y="65"/>
                  </a:moveTo>
                  <a:cubicBezTo>
                    <a:pt x="0" y="65"/>
                    <a:pt x="0" y="65"/>
                    <a:pt x="0" y="65"/>
                  </a:cubicBezTo>
                  <a:cubicBezTo>
                    <a:pt x="0" y="65"/>
                    <a:pt x="0" y="65"/>
                    <a:pt x="0" y="65"/>
                  </a:cubicBezTo>
                  <a:moveTo>
                    <a:pt x="9" y="58"/>
                  </a:moveTo>
                  <a:cubicBezTo>
                    <a:pt x="7" y="61"/>
                    <a:pt x="4" y="63"/>
                    <a:pt x="0" y="64"/>
                  </a:cubicBezTo>
                  <a:cubicBezTo>
                    <a:pt x="3" y="63"/>
                    <a:pt x="7" y="61"/>
                    <a:pt x="9" y="58"/>
                  </a:cubicBezTo>
                  <a:moveTo>
                    <a:pt x="10" y="58"/>
                  </a:moveTo>
                  <a:cubicBezTo>
                    <a:pt x="10" y="58"/>
                    <a:pt x="9" y="58"/>
                    <a:pt x="9" y="58"/>
                  </a:cubicBezTo>
                  <a:cubicBezTo>
                    <a:pt x="9" y="58"/>
                    <a:pt x="10" y="58"/>
                    <a:pt x="10" y="58"/>
                  </a:cubicBezTo>
                  <a:moveTo>
                    <a:pt x="10" y="58"/>
                  </a:moveTo>
                  <a:cubicBezTo>
                    <a:pt x="10" y="58"/>
                    <a:pt x="10" y="58"/>
                    <a:pt x="10" y="58"/>
                  </a:cubicBezTo>
                  <a:cubicBezTo>
                    <a:pt x="10" y="58"/>
                    <a:pt x="10" y="58"/>
                    <a:pt x="10" y="58"/>
                  </a:cubicBezTo>
                  <a:moveTo>
                    <a:pt x="10" y="58"/>
                  </a:moveTo>
                  <a:cubicBezTo>
                    <a:pt x="10" y="58"/>
                    <a:pt x="10" y="58"/>
                    <a:pt x="10" y="58"/>
                  </a:cubicBezTo>
                  <a:cubicBezTo>
                    <a:pt x="10" y="58"/>
                    <a:pt x="10" y="58"/>
                    <a:pt x="10" y="58"/>
                  </a:cubicBezTo>
                  <a:moveTo>
                    <a:pt x="10" y="58"/>
                  </a:moveTo>
                  <a:cubicBezTo>
                    <a:pt x="10" y="58"/>
                    <a:pt x="10" y="58"/>
                    <a:pt x="10" y="58"/>
                  </a:cubicBezTo>
                  <a:cubicBezTo>
                    <a:pt x="10" y="58"/>
                    <a:pt x="10" y="58"/>
                    <a:pt x="10" y="58"/>
                  </a:cubicBezTo>
                  <a:moveTo>
                    <a:pt x="10" y="58"/>
                  </a:moveTo>
                  <a:cubicBezTo>
                    <a:pt x="10" y="58"/>
                    <a:pt x="10" y="58"/>
                    <a:pt x="10" y="58"/>
                  </a:cubicBezTo>
                  <a:cubicBezTo>
                    <a:pt x="10" y="58"/>
                    <a:pt x="10" y="58"/>
                    <a:pt x="10" y="58"/>
                  </a:cubicBezTo>
                  <a:moveTo>
                    <a:pt x="11" y="57"/>
                  </a:moveTo>
                  <a:cubicBezTo>
                    <a:pt x="11" y="57"/>
                    <a:pt x="11" y="57"/>
                    <a:pt x="11" y="57"/>
                  </a:cubicBezTo>
                  <a:cubicBezTo>
                    <a:pt x="11" y="57"/>
                    <a:pt x="11" y="57"/>
                    <a:pt x="11" y="57"/>
                  </a:cubicBezTo>
                  <a:moveTo>
                    <a:pt x="11" y="57"/>
                  </a:moveTo>
                  <a:cubicBezTo>
                    <a:pt x="11" y="57"/>
                    <a:pt x="11" y="57"/>
                    <a:pt x="11" y="57"/>
                  </a:cubicBezTo>
                  <a:cubicBezTo>
                    <a:pt x="11" y="57"/>
                    <a:pt x="11" y="57"/>
                    <a:pt x="11" y="57"/>
                  </a:cubicBezTo>
                  <a:moveTo>
                    <a:pt x="11" y="57"/>
                  </a:moveTo>
                  <a:cubicBezTo>
                    <a:pt x="11" y="57"/>
                    <a:pt x="11" y="57"/>
                    <a:pt x="11" y="57"/>
                  </a:cubicBezTo>
                  <a:cubicBezTo>
                    <a:pt x="11" y="57"/>
                    <a:pt x="11" y="57"/>
                    <a:pt x="11" y="57"/>
                  </a:cubicBezTo>
                  <a:moveTo>
                    <a:pt x="11" y="57"/>
                  </a:moveTo>
                  <a:cubicBezTo>
                    <a:pt x="11" y="57"/>
                    <a:pt x="11" y="57"/>
                    <a:pt x="11" y="57"/>
                  </a:cubicBezTo>
                  <a:cubicBezTo>
                    <a:pt x="11" y="57"/>
                    <a:pt x="11" y="57"/>
                    <a:pt x="11" y="57"/>
                  </a:cubicBezTo>
                  <a:moveTo>
                    <a:pt x="11" y="56"/>
                  </a:moveTo>
                  <a:cubicBezTo>
                    <a:pt x="11" y="56"/>
                    <a:pt x="11" y="57"/>
                    <a:pt x="11" y="57"/>
                  </a:cubicBezTo>
                  <a:cubicBezTo>
                    <a:pt x="11" y="57"/>
                    <a:pt x="11" y="56"/>
                    <a:pt x="11" y="56"/>
                  </a:cubicBezTo>
                  <a:moveTo>
                    <a:pt x="17" y="47"/>
                  </a:moveTo>
                  <a:cubicBezTo>
                    <a:pt x="16" y="51"/>
                    <a:pt x="14" y="54"/>
                    <a:pt x="11" y="56"/>
                  </a:cubicBezTo>
                  <a:cubicBezTo>
                    <a:pt x="14" y="54"/>
                    <a:pt x="16" y="50"/>
                    <a:pt x="17" y="47"/>
                  </a:cubicBezTo>
                  <a:moveTo>
                    <a:pt x="18" y="47"/>
                  </a:moveTo>
                  <a:cubicBezTo>
                    <a:pt x="18" y="47"/>
                    <a:pt x="18" y="47"/>
                    <a:pt x="18" y="47"/>
                  </a:cubicBezTo>
                  <a:cubicBezTo>
                    <a:pt x="18" y="47"/>
                    <a:pt x="18" y="47"/>
                    <a:pt x="18" y="47"/>
                  </a:cubicBezTo>
                  <a:moveTo>
                    <a:pt x="18" y="18"/>
                  </a:moveTo>
                  <a:cubicBezTo>
                    <a:pt x="18" y="18"/>
                    <a:pt x="18" y="18"/>
                    <a:pt x="18" y="18"/>
                  </a:cubicBezTo>
                  <a:cubicBezTo>
                    <a:pt x="18" y="18"/>
                    <a:pt x="18" y="18"/>
                    <a:pt x="18" y="18"/>
                  </a:cubicBezTo>
                  <a:moveTo>
                    <a:pt x="11" y="8"/>
                  </a:moveTo>
                  <a:cubicBezTo>
                    <a:pt x="14" y="11"/>
                    <a:pt x="16" y="14"/>
                    <a:pt x="17" y="18"/>
                  </a:cubicBezTo>
                  <a:cubicBezTo>
                    <a:pt x="16" y="14"/>
                    <a:pt x="14" y="11"/>
                    <a:pt x="11" y="8"/>
                  </a:cubicBezTo>
                  <a:moveTo>
                    <a:pt x="11" y="8"/>
                  </a:moveTo>
                  <a:cubicBezTo>
                    <a:pt x="11" y="8"/>
                    <a:pt x="11" y="8"/>
                    <a:pt x="11" y="8"/>
                  </a:cubicBezTo>
                  <a:cubicBezTo>
                    <a:pt x="11" y="8"/>
                    <a:pt x="11" y="8"/>
                    <a:pt x="11" y="8"/>
                  </a:cubicBezTo>
                  <a:moveTo>
                    <a:pt x="11" y="8"/>
                  </a:moveTo>
                  <a:cubicBezTo>
                    <a:pt x="11" y="8"/>
                    <a:pt x="11" y="8"/>
                    <a:pt x="11" y="8"/>
                  </a:cubicBezTo>
                  <a:cubicBezTo>
                    <a:pt x="11" y="8"/>
                    <a:pt x="11" y="8"/>
                    <a:pt x="11" y="8"/>
                  </a:cubicBezTo>
                  <a:moveTo>
                    <a:pt x="11" y="8"/>
                  </a:moveTo>
                  <a:cubicBezTo>
                    <a:pt x="11" y="8"/>
                    <a:pt x="11" y="8"/>
                    <a:pt x="11" y="8"/>
                  </a:cubicBezTo>
                  <a:cubicBezTo>
                    <a:pt x="11" y="8"/>
                    <a:pt x="11" y="8"/>
                    <a:pt x="11" y="8"/>
                  </a:cubicBezTo>
                  <a:moveTo>
                    <a:pt x="11" y="8"/>
                  </a:moveTo>
                  <a:cubicBezTo>
                    <a:pt x="11" y="8"/>
                    <a:pt x="11" y="8"/>
                    <a:pt x="11" y="8"/>
                  </a:cubicBezTo>
                  <a:cubicBezTo>
                    <a:pt x="11" y="8"/>
                    <a:pt x="11" y="8"/>
                    <a:pt x="11" y="8"/>
                  </a:cubicBezTo>
                  <a:moveTo>
                    <a:pt x="11" y="8"/>
                  </a:moveTo>
                  <a:cubicBezTo>
                    <a:pt x="11" y="8"/>
                    <a:pt x="11" y="8"/>
                    <a:pt x="11" y="8"/>
                  </a:cubicBezTo>
                  <a:cubicBezTo>
                    <a:pt x="11" y="8"/>
                    <a:pt x="11" y="8"/>
                    <a:pt x="11" y="8"/>
                  </a:cubicBezTo>
                  <a:moveTo>
                    <a:pt x="10" y="7"/>
                  </a:moveTo>
                  <a:cubicBezTo>
                    <a:pt x="10" y="7"/>
                    <a:pt x="10" y="7"/>
                    <a:pt x="10" y="7"/>
                  </a:cubicBezTo>
                  <a:cubicBezTo>
                    <a:pt x="10" y="7"/>
                    <a:pt x="10" y="7"/>
                    <a:pt x="10" y="7"/>
                  </a:cubicBezTo>
                  <a:moveTo>
                    <a:pt x="10" y="7"/>
                  </a:moveTo>
                  <a:cubicBezTo>
                    <a:pt x="10" y="7"/>
                    <a:pt x="10" y="7"/>
                    <a:pt x="10" y="7"/>
                  </a:cubicBezTo>
                  <a:cubicBezTo>
                    <a:pt x="10" y="7"/>
                    <a:pt x="10" y="7"/>
                    <a:pt x="10" y="7"/>
                  </a:cubicBezTo>
                  <a:moveTo>
                    <a:pt x="10" y="7"/>
                  </a:moveTo>
                  <a:cubicBezTo>
                    <a:pt x="10" y="7"/>
                    <a:pt x="10" y="7"/>
                    <a:pt x="10" y="7"/>
                  </a:cubicBezTo>
                  <a:cubicBezTo>
                    <a:pt x="10" y="7"/>
                    <a:pt x="10" y="7"/>
                    <a:pt x="10" y="7"/>
                  </a:cubicBezTo>
                  <a:moveTo>
                    <a:pt x="10" y="7"/>
                  </a:moveTo>
                  <a:cubicBezTo>
                    <a:pt x="10" y="7"/>
                    <a:pt x="10" y="7"/>
                    <a:pt x="10" y="7"/>
                  </a:cubicBezTo>
                  <a:cubicBezTo>
                    <a:pt x="10" y="7"/>
                    <a:pt x="10" y="7"/>
                    <a:pt x="10" y="7"/>
                  </a:cubicBezTo>
                  <a:moveTo>
                    <a:pt x="9" y="7"/>
                  </a:moveTo>
                  <a:cubicBezTo>
                    <a:pt x="9" y="7"/>
                    <a:pt x="10" y="7"/>
                    <a:pt x="10" y="7"/>
                  </a:cubicBezTo>
                  <a:cubicBezTo>
                    <a:pt x="10" y="7"/>
                    <a:pt x="9" y="7"/>
                    <a:pt x="9" y="7"/>
                  </a:cubicBezTo>
                  <a:moveTo>
                    <a:pt x="0" y="0"/>
                  </a:moveTo>
                  <a:cubicBezTo>
                    <a:pt x="4" y="2"/>
                    <a:pt x="7" y="4"/>
                    <a:pt x="9" y="7"/>
                  </a:cubicBezTo>
                  <a:cubicBezTo>
                    <a:pt x="7" y="4"/>
                    <a:pt x="3" y="2"/>
                    <a:pt x="0" y="0"/>
                  </a:cubicBezTo>
                  <a:moveTo>
                    <a:pt x="0" y="0"/>
                  </a:moveTo>
                  <a:cubicBezTo>
                    <a:pt x="0" y="0"/>
                    <a:pt x="0" y="0"/>
                    <a:pt x="0" y="0"/>
                  </a:cubicBezTo>
                  <a:cubicBezTo>
                    <a:pt x="0" y="0"/>
                    <a:pt x="0"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0" name="Freeform 11">
              <a:extLst>
                <a:ext uri="{FF2B5EF4-FFF2-40B4-BE49-F238E27FC236}">
                  <a16:creationId xmlns:a16="http://schemas.microsoft.com/office/drawing/2014/main" id="{23D4D71C-15AE-4B4C-9822-0B49AA48C01E}"/>
                </a:ext>
              </a:extLst>
            </p:cNvPr>
            <p:cNvSpPr>
              <a:spLocks/>
            </p:cNvSpPr>
            <p:nvPr/>
          </p:nvSpPr>
          <p:spPr bwMode="auto">
            <a:xfrm>
              <a:off x="8430709" y="2686050"/>
              <a:ext cx="150813" cy="123825"/>
            </a:xfrm>
            <a:custGeom>
              <a:avLst/>
              <a:gdLst>
                <a:gd name="T0" fmla="*/ 25 w 86"/>
                <a:gd name="T1" fmla="*/ 10 h 71"/>
                <a:gd name="T2" fmla="*/ 25 w 86"/>
                <a:gd name="T3" fmla="*/ 60 h 71"/>
                <a:gd name="T4" fmla="*/ 65 w 86"/>
                <a:gd name="T5" fmla="*/ 68 h 71"/>
                <a:gd name="T6" fmla="*/ 65 w 86"/>
                <a:gd name="T7" fmla="*/ 67 h 71"/>
                <a:gd name="T8" fmla="*/ 74 w 86"/>
                <a:gd name="T9" fmla="*/ 61 h 71"/>
                <a:gd name="T10" fmla="*/ 75 w 86"/>
                <a:gd name="T11" fmla="*/ 61 h 71"/>
                <a:gd name="T12" fmla="*/ 75 w 86"/>
                <a:gd name="T13" fmla="*/ 61 h 71"/>
                <a:gd name="T14" fmla="*/ 75 w 86"/>
                <a:gd name="T15" fmla="*/ 61 h 71"/>
                <a:gd name="T16" fmla="*/ 75 w 86"/>
                <a:gd name="T17" fmla="*/ 61 h 71"/>
                <a:gd name="T18" fmla="*/ 75 w 86"/>
                <a:gd name="T19" fmla="*/ 60 h 71"/>
                <a:gd name="T20" fmla="*/ 76 w 86"/>
                <a:gd name="T21" fmla="*/ 60 h 71"/>
                <a:gd name="T22" fmla="*/ 76 w 86"/>
                <a:gd name="T23" fmla="*/ 60 h 71"/>
                <a:gd name="T24" fmla="*/ 76 w 86"/>
                <a:gd name="T25" fmla="*/ 60 h 71"/>
                <a:gd name="T26" fmla="*/ 76 w 86"/>
                <a:gd name="T27" fmla="*/ 60 h 71"/>
                <a:gd name="T28" fmla="*/ 76 w 86"/>
                <a:gd name="T29" fmla="*/ 60 h 71"/>
                <a:gd name="T30" fmla="*/ 76 w 86"/>
                <a:gd name="T31" fmla="*/ 59 h 71"/>
                <a:gd name="T32" fmla="*/ 83 w 86"/>
                <a:gd name="T33" fmla="*/ 50 h 71"/>
                <a:gd name="T34" fmla="*/ 86 w 86"/>
                <a:gd name="T35" fmla="*/ 35 h 71"/>
                <a:gd name="T36" fmla="*/ 83 w 86"/>
                <a:gd name="T37" fmla="*/ 21 h 71"/>
                <a:gd name="T38" fmla="*/ 76 w 86"/>
                <a:gd name="T39" fmla="*/ 11 h 71"/>
                <a:gd name="T40" fmla="*/ 76 w 86"/>
                <a:gd name="T41" fmla="*/ 11 h 71"/>
                <a:gd name="T42" fmla="*/ 76 w 86"/>
                <a:gd name="T43" fmla="*/ 11 h 71"/>
                <a:gd name="T44" fmla="*/ 76 w 86"/>
                <a:gd name="T45" fmla="*/ 11 h 71"/>
                <a:gd name="T46" fmla="*/ 76 w 86"/>
                <a:gd name="T47" fmla="*/ 11 h 71"/>
                <a:gd name="T48" fmla="*/ 76 w 86"/>
                <a:gd name="T49" fmla="*/ 11 h 71"/>
                <a:gd name="T50" fmla="*/ 75 w 86"/>
                <a:gd name="T51" fmla="*/ 10 h 71"/>
                <a:gd name="T52" fmla="*/ 75 w 86"/>
                <a:gd name="T53" fmla="*/ 10 h 71"/>
                <a:gd name="T54" fmla="*/ 75 w 86"/>
                <a:gd name="T55" fmla="*/ 10 h 71"/>
                <a:gd name="T56" fmla="*/ 75 w 86"/>
                <a:gd name="T57" fmla="*/ 10 h 71"/>
                <a:gd name="T58" fmla="*/ 75 w 86"/>
                <a:gd name="T59" fmla="*/ 10 h 71"/>
                <a:gd name="T60" fmla="*/ 74 w 86"/>
                <a:gd name="T61" fmla="*/ 10 h 71"/>
                <a:gd name="T62" fmla="*/ 65 w 86"/>
                <a:gd name="T63" fmla="*/ 3 h 71"/>
                <a:gd name="T64" fmla="*/ 65 w 86"/>
                <a:gd name="T65" fmla="*/ 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 h="71">
                  <a:moveTo>
                    <a:pt x="50" y="0"/>
                  </a:moveTo>
                  <a:cubicBezTo>
                    <a:pt x="41" y="0"/>
                    <a:pt x="32" y="3"/>
                    <a:pt x="25" y="10"/>
                  </a:cubicBezTo>
                  <a:cubicBezTo>
                    <a:pt x="0" y="35"/>
                    <a:pt x="0" y="35"/>
                    <a:pt x="0" y="35"/>
                  </a:cubicBezTo>
                  <a:cubicBezTo>
                    <a:pt x="25" y="60"/>
                    <a:pt x="25" y="60"/>
                    <a:pt x="25" y="60"/>
                  </a:cubicBezTo>
                  <a:cubicBezTo>
                    <a:pt x="32" y="67"/>
                    <a:pt x="41" y="71"/>
                    <a:pt x="50" y="71"/>
                  </a:cubicBezTo>
                  <a:cubicBezTo>
                    <a:pt x="55" y="71"/>
                    <a:pt x="60" y="70"/>
                    <a:pt x="65" y="68"/>
                  </a:cubicBezTo>
                  <a:cubicBezTo>
                    <a:pt x="65" y="68"/>
                    <a:pt x="65" y="68"/>
                    <a:pt x="65" y="68"/>
                  </a:cubicBezTo>
                  <a:cubicBezTo>
                    <a:pt x="65" y="67"/>
                    <a:pt x="65" y="67"/>
                    <a:pt x="65" y="67"/>
                  </a:cubicBezTo>
                  <a:cubicBezTo>
                    <a:pt x="69" y="66"/>
                    <a:pt x="72" y="64"/>
                    <a:pt x="74" y="61"/>
                  </a:cubicBezTo>
                  <a:cubicBezTo>
                    <a:pt x="74" y="61"/>
                    <a:pt x="74" y="61"/>
                    <a:pt x="74" y="61"/>
                  </a:cubicBezTo>
                  <a:cubicBezTo>
                    <a:pt x="74"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59"/>
                    <a:pt x="76" y="59"/>
                  </a:cubicBezTo>
                  <a:cubicBezTo>
                    <a:pt x="76" y="59"/>
                    <a:pt x="76" y="59"/>
                    <a:pt x="76" y="59"/>
                  </a:cubicBezTo>
                  <a:cubicBezTo>
                    <a:pt x="79" y="57"/>
                    <a:pt x="81" y="54"/>
                    <a:pt x="82" y="50"/>
                  </a:cubicBezTo>
                  <a:cubicBezTo>
                    <a:pt x="82" y="50"/>
                    <a:pt x="82" y="50"/>
                    <a:pt x="83" y="50"/>
                  </a:cubicBezTo>
                  <a:cubicBezTo>
                    <a:pt x="83" y="50"/>
                    <a:pt x="83" y="50"/>
                    <a:pt x="83" y="50"/>
                  </a:cubicBezTo>
                  <a:cubicBezTo>
                    <a:pt x="85" y="45"/>
                    <a:pt x="86" y="40"/>
                    <a:pt x="86" y="35"/>
                  </a:cubicBezTo>
                  <a:cubicBezTo>
                    <a:pt x="86" y="30"/>
                    <a:pt x="85" y="25"/>
                    <a:pt x="83" y="21"/>
                  </a:cubicBezTo>
                  <a:cubicBezTo>
                    <a:pt x="83" y="21"/>
                    <a:pt x="83" y="21"/>
                    <a:pt x="83" y="21"/>
                  </a:cubicBezTo>
                  <a:cubicBezTo>
                    <a:pt x="82" y="21"/>
                    <a:pt x="82" y="21"/>
                    <a:pt x="82" y="21"/>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5" y="11"/>
                    <a:pt x="75" y="10"/>
                    <a:pt x="75" y="10"/>
                  </a:cubicBezTo>
                  <a:cubicBezTo>
                    <a:pt x="75" y="10"/>
                    <a:pt x="75" y="10"/>
                    <a:pt x="75" y="10"/>
                  </a:cubicBezTo>
                  <a:cubicBezTo>
                    <a:pt x="75" y="10"/>
                    <a:pt x="75" y="10"/>
                    <a:pt x="75" y="10"/>
                  </a:cubicBezTo>
                  <a:cubicBezTo>
                    <a:pt x="75" y="10"/>
                    <a:pt x="75" y="10"/>
                    <a:pt x="75" y="10"/>
                  </a:cubicBezTo>
                  <a:cubicBezTo>
                    <a:pt x="75" y="10"/>
                    <a:pt x="75" y="10"/>
                    <a:pt x="75" y="10"/>
                  </a:cubicBezTo>
                  <a:cubicBezTo>
                    <a:pt x="75" y="10"/>
                    <a:pt x="75" y="10"/>
                    <a:pt x="75" y="10"/>
                  </a:cubicBezTo>
                  <a:cubicBezTo>
                    <a:pt x="75" y="10"/>
                    <a:pt x="75" y="10"/>
                    <a:pt x="75" y="10"/>
                  </a:cubicBezTo>
                  <a:cubicBezTo>
                    <a:pt x="75" y="10"/>
                    <a:pt x="75" y="10"/>
                    <a:pt x="75" y="10"/>
                  </a:cubicBezTo>
                  <a:cubicBezTo>
                    <a:pt x="75" y="10"/>
                    <a:pt x="75" y="10"/>
                    <a:pt x="75" y="10"/>
                  </a:cubicBezTo>
                  <a:cubicBezTo>
                    <a:pt x="75" y="10"/>
                    <a:pt x="75" y="10"/>
                    <a:pt x="75" y="10"/>
                  </a:cubicBezTo>
                  <a:cubicBezTo>
                    <a:pt x="75" y="10"/>
                    <a:pt x="75" y="10"/>
                    <a:pt x="75" y="10"/>
                  </a:cubicBezTo>
                  <a:cubicBezTo>
                    <a:pt x="75" y="10"/>
                    <a:pt x="74" y="10"/>
                    <a:pt x="74" y="10"/>
                  </a:cubicBezTo>
                  <a:cubicBezTo>
                    <a:pt x="74" y="10"/>
                    <a:pt x="74" y="10"/>
                    <a:pt x="74" y="10"/>
                  </a:cubicBezTo>
                  <a:cubicBezTo>
                    <a:pt x="72" y="7"/>
                    <a:pt x="69" y="5"/>
                    <a:pt x="65" y="3"/>
                  </a:cubicBezTo>
                  <a:cubicBezTo>
                    <a:pt x="65" y="3"/>
                    <a:pt x="65" y="3"/>
                    <a:pt x="65" y="3"/>
                  </a:cubicBezTo>
                  <a:cubicBezTo>
                    <a:pt x="65" y="3"/>
                    <a:pt x="65" y="3"/>
                    <a:pt x="65" y="3"/>
                  </a:cubicBezTo>
                  <a:cubicBezTo>
                    <a:pt x="60" y="1"/>
                    <a:pt x="55"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3" name="Group 2">
            <a:extLst>
              <a:ext uri="{FF2B5EF4-FFF2-40B4-BE49-F238E27FC236}">
                <a16:creationId xmlns:a16="http://schemas.microsoft.com/office/drawing/2014/main" id="{3A52ED49-7186-4718-94D0-23A4621FE273}"/>
              </a:ext>
            </a:extLst>
          </p:cNvPr>
          <p:cNvGrpSpPr/>
          <p:nvPr/>
        </p:nvGrpSpPr>
        <p:grpSpPr>
          <a:xfrm rot="2727916">
            <a:off x="2653919" y="4181126"/>
            <a:ext cx="297203" cy="299726"/>
            <a:chOff x="2639059" y="1950043"/>
            <a:chExt cx="326923" cy="329699"/>
          </a:xfrm>
          <a:solidFill>
            <a:schemeClr val="bg2"/>
          </a:solidFill>
        </p:grpSpPr>
        <p:sp>
          <p:nvSpPr>
            <p:cNvPr id="58" name="Freeform 36">
              <a:extLst>
                <a:ext uri="{FF2B5EF4-FFF2-40B4-BE49-F238E27FC236}">
                  <a16:creationId xmlns:a16="http://schemas.microsoft.com/office/drawing/2014/main" id="{17946606-26AB-4477-B08E-75DE5FFBF6C5}"/>
                </a:ext>
              </a:extLst>
            </p:cNvPr>
            <p:cNvSpPr>
              <a:spLocks noChangeAspect="1"/>
            </p:cNvSpPr>
            <p:nvPr/>
          </p:nvSpPr>
          <p:spPr bwMode="auto">
            <a:xfrm>
              <a:off x="2772647" y="2018255"/>
              <a:ext cx="59685" cy="65370"/>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 name="Freeform 37">
              <a:extLst>
                <a:ext uri="{FF2B5EF4-FFF2-40B4-BE49-F238E27FC236}">
                  <a16:creationId xmlns:a16="http://schemas.microsoft.com/office/drawing/2014/main" id="{AD7F1B9B-BC29-4829-AECF-993CDC24E810}"/>
                </a:ext>
              </a:extLst>
            </p:cNvPr>
            <p:cNvSpPr>
              <a:spLocks noChangeAspect="1"/>
            </p:cNvSpPr>
            <p:nvPr/>
          </p:nvSpPr>
          <p:spPr bwMode="auto">
            <a:xfrm>
              <a:off x="2772647" y="1950043"/>
              <a:ext cx="59685" cy="68212"/>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0" name="Freeform 38">
              <a:extLst>
                <a:ext uri="{FF2B5EF4-FFF2-40B4-BE49-F238E27FC236}">
                  <a16:creationId xmlns:a16="http://schemas.microsoft.com/office/drawing/2014/main" id="{7AD6B28C-B6D5-45DB-A147-867E0A4AFB51}"/>
                </a:ext>
              </a:extLst>
            </p:cNvPr>
            <p:cNvSpPr>
              <a:spLocks noChangeAspect="1"/>
            </p:cNvSpPr>
            <p:nvPr/>
          </p:nvSpPr>
          <p:spPr bwMode="auto">
            <a:xfrm>
              <a:off x="2772647" y="2166051"/>
              <a:ext cx="59685" cy="113688"/>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1" name="Rectangle 39">
              <a:extLst>
                <a:ext uri="{FF2B5EF4-FFF2-40B4-BE49-F238E27FC236}">
                  <a16:creationId xmlns:a16="http://schemas.microsoft.com/office/drawing/2014/main" id="{1783ACDB-EA20-40B3-9D7E-40DD295D40AE}"/>
                </a:ext>
              </a:extLst>
            </p:cNvPr>
            <p:cNvSpPr>
              <a:spLocks noChangeAspect="1" noChangeArrowheads="1"/>
            </p:cNvSpPr>
            <p:nvPr/>
          </p:nvSpPr>
          <p:spPr bwMode="auto">
            <a:xfrm>
              <a:off x="2772647" y="2146155"/>
              <a:ext cx="59685" cy="198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2" name="Rectangle 40">
              <a:extLst>
                <a:ext uri="{FF2B5EF4-FFF2-40B4-BE49-F238E27FC236}">
                  <a16:creationId xmlns:a16="http://schemas.microsoft.com/office/drawing/2014/main" id="{6BA0A35E-18DB-415F-885E-A9A4D1782DF3}"/>
                </a:ext>
              </a:extLst>
            </p:cNvPr>
            <p:cNvSpPr>
              <a:spLocks noChangeAspect="1" noChangeArrowheads="1"/>
            </p:cNvSpPr>
            <p:nvPr/>
          </p:nvSpPr>
          <p:spPr bwMode="auto">
            <a:xfrm>
              <a:off x="2772647" y="2146155"/>
              <a:ext cx="59685" cy="198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3" name="Freeform 41">
              <a:extLst>
                <a:ext uri="{FF2B5EF4-FFF2-40B4-BE49-F238E27FC236}">
                  <a16:creationId xmlns:a16="http://schemas.microsoft.com/office/drawing/2014/main" id="{DD80538C-94CE-4240-83F0-B576A91F5FB9}"/>
                </a:ext>
              </a:extLst>
            </p:cNvPr>
            <p:cNvSpPr>
              <a:spLocks noChangeAspect="1" noEditPoints="1"/>
            </p:cNvSpPr>
            <p:nvPr/>
          </p:nvSpPr>
          <p:spPr bwMode="auto">
            <a:xfrm>
              <a:off x="2639059" y="2083627"/>
              <a:ext cx="326852" cy="62527"/>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4" name="Rectangle 42">
              <a:extLst>
                <a:ext uri="{FF2B5EF4-FFF2-40B4-BE49-F238E27FC236}">
                  <a16:creationId xmlns:a16="http://schemas.microsoft.com/office/drawing/2014/main" id="{719F3402-FDD4-4831-ABF8-8A60FAD22A5F}"/>
                </a:ext>
              </a:extLst>
            </p:cNvPr>
            <p:cNvSpPr>
              <a:spLocks noChangeAspect="1" noChangeArrowheads="1"/>
            </p:cNvSpPr>
            <p:nvPr/>
          </p:nvSpPr>
          <p:spPr bwMode="auto">
            <a:xfrm>
              <a:off x="2772644" y="2083627"/>
              <a:ext cx="59685" cy="625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5" name="Rectangle 43">
              <a:extLst>
                <a:ext uri="{FF2B5EF4-FFF2-40B4-BE49-F238E27FC236}">
                  <a16:creationId xmlns:a16="http://schemas.microsoft.com/office/drawing/2014/main" id="{D0489FED-E4D3-41B9-98B9-BC99E71AD575}"/>
                </a:ext>
              </a:extLst>
            </p:cNvPr>
            <p:cNvSpPr>
              <a:spLocks noChangeAspect="1" noChangeArrowheads="1"/>
            </p:cNvSpPr>
            <p:nvPr/>
          </p:nvSpPr>
          <p:spPr bwMode="auto">
            <a:xfrm>
              <a:off x="2772644" y="2083627"/>
              <a:ext cx="59685" cy="625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6" name="Freeform 44">
              <a:extLst>
                <a:ext uri="{FF2B5EF4-FFF2-40B4-BE49-F238E27FC236}">
                  <a16:creationId xmlns:a16="http://schemas.microsoft.com/office/drawing/2014/main" id="{D67F533C-51D1-44CF-B600-335DDDDF2D3F}"/>
                </a:ext>
              </a:extLst>
            </p:cNvPr>
            <p:cNvSpPr>
              <a:spLocks noChangeAspect="1"/>
            </p:cNvSpPr>
            <p:nvPr/>
          </p:nvSpPr>
          <p:spPr bwMode="auto">
            <a:xfrm>
              <a:off x="2772644" y="1950049"/>
              <a:ext cx="59685" cy="329693"/>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7" name="Freeform 45">
              <a:extLst>
                <a:ext uri="{FF2B5EF4-FFF2-40B4-BE49-F238E27FC236}">
                  <a16:creationId xmlns:a16="http://schemas.microsoft.com/office/drawing/2014/main" id="{0F43AB2E-5570-4AE4-A24D-5204CC236A3F}"/>
                </a:ext>
              </a:extLst>
            </p:cNvPr>
            <p:cNvSpPr>
              <a:spLocks noChangeAspect="1"/>
            </p:cNvSpPr>
            <p:nvPr/>
          </p:nvSpPr>
          <p:spPr bwMode="auto">
            <a:xfrm>
              <a:off x="2639130" y="2083633"/>
              <a:ext cx="326852" cy="62527"/>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8" name="Freeform 46">
              <a:extLst>
                <a:ext uri="{FF2B5EF4-FFF2-40B4-BE49-F238E27FC236}">
                  <a16:creationId xmlns:a16="http://schemas.microsoft.com/office/drawing/2014/main" id="{8EE91414-7C2F-4C89-A7C0-FF2DDF08C565}"/>
                </a:ext>
              </a:extLst>
            </p:cNvPr>
            <p:cNvSpPr>
              <a:spLocks noChangeAspect="1"/>
            </p:cNvSpPr>
            <p:nvPr/>
          </p:nvSpPr>
          <p:spPr bwMode="auto">
            <a:xfrm>
              <a:off x="2670418" y="1984156"/>
              <a:ext cx="264324" cy="261481"/>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9" name="Freeform 47">
              <a:extLst>
                <a:ext uri="{FF2B5EF4-FFF2-40B4-BE49-F238E27FC236}">
                  <a16:creationId xmlns:a16="http://schemas.microsoft.com/office/drawing/2014/main" id="{8D42F5D5-6684-437A-AE09-5B558441DC6E}"/>
                </a:ext>
              </a:extLst>
            </p:cNvPr>
            <p:cNvSpPr>
              <a:spLocks noChangeAspect="1"/>
            </p:cNvSpPr>
            <p:nvPr/>
          </p:nvSpPr>
          <p:spPr bwMode="auto">
            <a:xfrm>
              <a:off x="2670395" y="1984156"/>
              <a:ext cx="264324" cy="261481"/>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0" name="Oval 48">
              <a:extLst>
                <a:ext uri="{FF2B5EF4-FFF2-40B4-BE49-F238E27FC236}">
                  <a16:creationId xmlns:a16="http://schemas.microsoft.com/office/drawing/2014/main" id="{4500A3A3-D7FC-48CA-87C2-53D1F53B0FEE}"/>
                </a:ext>
              </a:extLst>
            </p:cNvPr>
            <p:cNvSpPr>
              <a:spLocks noChangeAspect="1" noChangeArrowheads="1"/>
            </p:cNvSpPr>
            <p:nvPr/>
          </p:nvSpPr>
          <p:spPr bwMode="auto">
            <a:xfrm>
              <a:off x="2752819" y="2063737"/>
              <a:ext cx="99477" cy="10231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1" name="Freeform 49">
              <a:extLst>
                <a:ext uri="{FF2B5EF4-FFF2-40B4-BE49-F238E27FC236}">
                  <a16:creationId xmlns:a16="http://schemas.microsoft.com/office/drawing/2014/main" id="{6D8CA3A5-CAFA-4D83-B0AB-94C8D320F6E6}"/>
                </a:ext>
              </a:extLst>
            </p:cNvPr>
            <p:cNvSpPr>
              <a:spLocks noChangeAspect="1" noEditPoints="1"/>
            </p:cNvSpPr>
            <p:nvPr/>
          </p:nvSpPr>
          <p:spPr bwMode="auto">
            <a:xfrm>
              <a:off x="2698818" y="2018266"/>
              <a:ext cx="201797" cy="201796"/>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0" name="Freeform: Shape 79">
              <a:extLst>
                <a:ext uri="{FF2B5EF4-FFF2-40B4-BE49-F238E27FC236}">
                  <a16:creationId xmlns:a16="http://schemas.microsoft.com/office/drawing/2014/main" id="{E1229856-A32E-4715-B787-B737DE323A21}"/>
                </a:ext>
              </a:extLst>
            </p:cNvPr>
            <p:cNvSpPr>
              <a:spLocks noChangeAspect="1"/>
            </p:cNvSpPr>
            <p:nvPr/>
          </p:nvSpPr>
          <p:spPr bwMode="auto">
            <a:xfrm>
              <a:off x="2772644" y="2175087"/>
              <a:ext cx="59685" cy="104655"/>
            </a:xfrm>
            <a:custGeom>
              <a:avLst/>
              <a:gdLst>
                <a:gd name="connsiteX0" fmla="*/ 0 w 59685"/>
                <a:gd name="connsiteY0" fmla="*/ 0 h 104655"/>
                <a:gd name="connsiteX1" fmla="*/ 59685 w 59685"/>
                <a:gd name="connsiteY1" fmla="*/ 0 h 104655"/>
                <a:gd name="connsiteX2" fmla="*/ 59685 w 59685"/>
                <a:gd name="connsiteY2" fmla="*/ 12034 h 104655"/>
                <a:gd name="connsiteX3" fmla="*/ 59685 w 59685"/>
                <a:gd name="connsiteY3" fmla="*/ 77741 h 104655"/>
                <a:gd name="connsiteX4" fmla="*/ 26527 w 59685"/>
                <a:gd name="connsiteY4" fmla="*/ 104655 h 104655"/>
                <a:gd name="connsiteX5" fmla="*/ 0 w 59685"/>
                <a:gd name="connsiteY5" fmla="*/ 77741 h 104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685" h="104655">
                  <a:moveTo>
                    <a:pt x="0" y="0"/>
                  </a:moveTo>
                  <a:lnTo>
                    <a:pt x="59685" y="0"/>
                  </a:lnTo>
                  <a:lnTo>
                    <a:pt x="59685" y="12034"/>
                  </a:lnTo>
                  <a:cubicBezTo>
                    <a:pt x="59685" y="77741"/>
                    <a:pt x="59685" y="77741"/>
                    <a:pt x="59685" y="77741"/>
                  </a:cubicBezTo>
                  <a:cubicBezTo>
                    <a:pt x="59685" y="91198"/>
                    <a:pt x="46422" y="104655"/>
                    <a:pt x="26527" y="104655"/>
                  </a:cubicBezTo>
                  <a:cubicBezTo>
                    <a:pt x="13263" y="104655"/>
                    <a:pt x="0" y="91198"/>
                    <a:pt x="0" y="77741"/>
                  </a:cubicBezTo>
                  <a:close/>
                </a:path>
              </a:pathLst>
            </a:custGeom>
            <a:grpFill/>
            <a:ln>
              <a:noFill/>
            </a:ln>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6" name="Group 5">
            <a:extLst>
              <a:ext uri="{FF2B5EF4-FFF2-40B4-BE49-F238E27FC236}">
                <a16:creationId xmlns:a16="http://schemas.microsoft.com/office/drawing/2014/main" id="{65D15947-87A0-4150-BF80-1941F1393FBB}"/>
              </a:ext>
            </a:extLst>
          </p:cNvPr>
          <p:cNvGrpSpPr/>
          <p:nvPr/>
        </p:nvGrpSpPr>
        <p:grpSpPr>
          <a:xfrm>
            <a:off x="2958844" y="3642019"/>
            <a:ext cx="219645" cy="298498"/>
            <a:chOff x="3030469" y="2492363"/>
            <a:chExt cx="219645" cy="298498"/>
          </a:xfrm>
        </p:grpSpPr>
        <p:sp>
          <p:nvSpPr>
            <p:cNvPr id="4" name="Rectangle: Rounded Corners 3">
              <a:extLst>
                <a:ext uri="{FF2B5EF4-FFF2-40B4-BE49-F238E27FC236}">
                  <a16:creationId xmlns:a16="http://schemas.microsoft.com/office/drawing/2014/main" id="{63F3E363-8D10-40F5-B2B4-554B0D36D623}"/>
                </a:ext>
              </a:extLst>
            </p:cNvPr>
            <p:cNvSpPr/>
            <p:nvPr/>
          </p:nvSpPr>
          <p:spPr>
            <a:xfrm>
              <a:off x="3030469" y="2492363"/>
              <a:ext cx="27432" cy="29234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2" name="Rectangle: Rounded Corners 81">
              <a:extLst>
                <a:ext uri="{FF2B5EF4-FFF2-40B4-BE49-F238E27FC236}">
                  <a16:creationId xmlns:a16="http://schemas.microsoft.com/office/drawing/2014/main" id="{3C0B7854-EE02-4D67-A79A-204714FD6BE3}"/>
                </a:ext>
              </a:extLst>
            </p:cNvPr>
            <p:cNvSpPr/>
            <p:nvPr/>
          </p:nvSpPr>
          <p:spPr>
            <a:xfrm rot="5400000">
              <a:off x="3126576" y="2667322"/>
              <a:ext cx="27432" cy="219645"/>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2" name="Group 1">
              <a:extLst>
                <a:ext uri="{FF2B5EF4-FFF2-40B4-BE49-F238E27FC236}">
                  <a16:creationId xmlns:a16="http://schemas.microsoft.com/office/drawing/2014/main" id="{0F75B5C2-D7AD-4C29-8CB4-05BF7C770EFC}"/>
                </a:ext>
              </a:extLst>
            </p:cNvPr>
            <p:cNvGrpSpPr/>
            <p:nvPr/>
          </p:nvGrpSpPr>
          <p:grpSpPr>
            <a:xfrm>
              <a:off x="3081556" y="2519058"/>
              <a:ext cx="138144" cy="214588"/>
              <a:chOff x="3076794" y="2519058"/>
              <a:chExt cx="123985" cy="214588"/>
            </a:xfrm>
          </p:grpSpPr>
          <p:sp>
            <p:nvSpPr>
              <p:cNvPr id="83" name="Rectangle: Rounded Corners 82">
                <a:extLst>
                  <a:ext uri="{FF2B5EF4-FFF2-40B4-BE49-F238E27FC236}">
                    <a16:creationId xmlns:a16="http://schemas.microsoft.com/office/drawing/2014/main" id="{8FACE341-D8CD-4B06-9416-06A096254A81}"/>
                  </a:ext>
                </a:extLst>
              </p:cNvPr>
              <p:cNvSpPr/>
              <p:nvPr/>
            </p:nvSpPr>
            <p:spPr>
              <a:xfrm rot="5400000">
                <a:off x="3127056" y="2659923"/>
                <a:ext cx="23461" cy="123985"/>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4" name="Rectangle: Rounded Corners 83">
                <a:extLst>
                  <a:ext uri="{FF2B5EF4-FFF2-40B4-BE49-F238E27FC236}">
                    <a16:creationId xmlns:a16="http://schemas.microsoft.com/office/drawing/2014/main" id="{39A4A2F1-39C5-425E-9370-B982276E38FF}"/>
                  </a:ext>
                </a:extLst>
              </p:cNvPr>
              <p:cNvSpPr/>
              <p:nvPr/>
            </p:nvSpPr>
            <p:spPr>
              <a:xfrm rot="5400000">
                <a:off x="3127056" y="2612142"/>
                <a:ext cx="23461" cy="123985"/>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5" name="Rectangle: Rounded Corners 84">
                <a:extLst>
                  <a:ext uri="{FF2B5EF4-FFF2-40B4-BE49-F238E27FC236}">
                    <a16:creationId xmlns:a16="http://schemas.microsoft.com/office/drawing/2014/main" id="{A7B286B6-03D0-4E2F-81FE-6399ADE7593F}"/>
                  </a:ext>
                </a:extLst>
              </p:cNvPr>
              <p:cNvSpPr/>
              <p:nvPr/>
            </p:nvSpPr>
            <p:spPr>
              <a:xfrm rot="5400000">
                <a:off x="3127056" y="2564360"/>
                <a:ext cx="23461" cy="123985"/>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6" name="Rectangle: Rounded Corners 85">
                <a:extLst>
                  <a:ext uri="{FF2B5EF4-FFF2-40B4-BE49-F238E27FC236}">
                    <a16:creationId xmlns:a16="http://schemas.microsoft.com/office/drawing/2014/main" id="{AD95DCD3-EADD-4FDD-982A-50001528E1D6}"/>
                  </a:ext>
                </a:extLst>
              </p:cNvPr>
              <p:cNvSpPr/>
              <p:nvPr/>
            </p:nvSpPr>
            <p:spPr>
              <a:xfrm rot="5400000">
                <a:off x="3127056" y="2516578"/>
                <a:ext cx="23461" cy="123985"/>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7" name="Rectangle: Rounded Corners 86">
                <a:extLst>
                  <a:ext uri="{FF2B5EF4-FFF2-40B4-BE49-F238E27FC236}">
                    <a16:creationId xmlns:a16="http://schemas.microsoft.com/office/drawing/2014/main" id="{F75A1E10-65FD-4098-95B0-34431A66CF55}"/>
                  </a:ext>
                </a:extLst>
              </p:cNvPr>
              <p:cNvSpPr/>
              <p:nvPr/>
            </p:nvSpPr>
            <p:spPr>
              <a:xfrm rot="5400000">
                <a:off x="3127056" y="2468796"/>
                <a:ext cx="23461" cy="123985"/>
              </a:xfrm>
              <a:prstGeom prst="roundRect">
                <a:avLst>
                  <a:gd name="adj" fmla="val 5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grpSp>
        <p:nvGrpSpPr>
          <p:cNvPr id="10" name="Group 9">
            <a:extLst>
              <a:ext uri="{FF2B5EF4-FFF2-40B4-BE49-F238E27FC236}">
                <a16:creationId xmlns:a16="http://schemas.microsoft.com/office/drawing/2014/main" id="{F6B60D90-8AAA-4FD7-8B8C-532543EA012C}"/>
              </a:ext>
            </a:extLst>
          </p:cNvPr>
          <p:cNvGrpSpPr/>
          <p:nvPr/>
        </p:nvGrpSpPr>
        <p:grpSpPr>
          <a:xfrm>
            <a:off x="3153781" y="3139919"/>
            <a:ext cx="310662" cy="302241"/>
            <a:chOff x="-1026020" y="3392251"/>
            <a:chExt cx="422438" cy="410987"/>
          </a:xfrm>
        </p:grpSpPr>
        <p:sp>
          <p:nvSpPr>
            <p:cNvPr id="8" name="Rectangle: Rounded Corners 7">
              <a:extLst>
                <a:ext uri="{FF2B5EF4-FFF2-40B4-BE49-F238E27FC236}">
                  <a16:creationId xmlns:a16="http://schemas.microsoft.com/office/drawing/2014/main" id="{6C397689-8303-4AD4-A4B0-DC7CC772C77E}"/>
                </a:ext>
              </a:extLst>
            </p:cNvPr>
            <p:cNvSpPr/>
            <p:nvPr/>
          </p:nvSpPr>
          <p:spPr>
            <a:xfrm>
              <a:off x="-1026020" y="3555492"/>
              <a:ext cx="84504" cy="8450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2" name="Rectangle: Rounded Corners 71">
              <a:extLst>
                <a:ext uri="{FF2B5EF4-FFF2-40B4-BE49-F238E27FC236}">
                  <a16:creationId xmlns:a16="http://schemas.microsoft.com/office/drawing/2014/main" id="{1E626804-FB5E-4A14-9B8B-DA81E0F02A56}"/>
                </a:ext>
              </a:extLst>
            </p:cNvPr>
            <p:cNvSpPr/>
            <p:nvPr/>
          </p:nvSpPr>
          <p:spPr>
            <a:xfrm>
              <a:off x="-688086" y="3553865"/>
              <a:ext cx="84504" cy="84504"/>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3" name="Rectangle: Rounded Corners 72">
              <a:extLst>
                <a:ext uri="{FF2B5EF4-FFF2-40B4-BE49-F238E27FC236}">
                  <a16:creationId xmlns:a16="http://schemas.microsoft.com/office/drawing/2014/main" id="{2E8B4F2C-FAFA-46F9-9A00-C026E800D3D9}"/>
                </a:ext>
              </a:extLst>
            </p:cNvPr>
            <p:cNvSpPr/>
            <p:nvPr/>
          </p:nvSpPr>
          <p:spPr>
            <a:xfrm>
              <a:off x="-857930" y="3392251"/>
              <a:ext cx="84504" cy="84504"/>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8" name="Rectangle: Rounded Corners 87">
              <a:extLst>
                <a:ext uri="{FF2B5EF4-FFF2-40B4-BE49-F238E27FC236}">
                  <a16:creationId xmlns:a16="http://schemas.microsoft.com/office/drawing/2014/main" id="{D4F47812-D595-406A-928A-2A8A9E03EBA5}"/>
                </a:ext>
              </a:extLst>
            </p:cNvPr>
            <p:cNvSpPr/>
            <p:nvPr/>
          </p:nvSpPr>
          <p:spPr>
            <a:xfrm>
              <a:off x="-857930" y="3718734"/>
              <a:ext cx="84504" cy="84504"/>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03" name="Group 102">
              <a:extLst>
                <a:ext uri="{FF2B5EF4-FFF2-40B4-BE49-F238E27FC236}">
                  <a16:creationId xmlns:a16="http://schemas.microsoft.com/office/drawing/2014/main" id="{B58EB3D4-23CD-4B86-B9C2-843C9B91AB30}"/>
                </a:ext>
              </a:extLst>
            </p:cNvPr>
            <p:cNvGrpSpPr/>
            <p:nvPr/>
          </p:nvGrpSpPr>
          <p:grpSpPr>
            <a:xfrm rot="18905179">
              <a:off x="-896905" y="3515694"/>
              <a:ext cx="163693" cy="165695"/>
              <a:chOff x="5482116" y="3063735"/>
              <a:chExt cx="991781" cy="1003914"/>
            </a:xfrm>
            <a:solidFill>
              <a:schemeClr val="bg2"/>
            </a:solidFill>
          </p:grpSpPr>
          <p:sp>
            <p:nvSpPr>
              <p:cNvPr id="104" name="Freeform 167">
                <a:extLst>
                  <a:ext uri="{FF2B5EF4-FFF2-40B4-BE49-F238E27FC236}">
                    <a16:creationId xmlns:a16="http://schemas.microsoft.com/office/drawing/2014/main" id="{145CA58B-5446-41A2-8AAB-47D8E42DE4C5}"/>
                  </a:ext>
                </a:extLst>
              </p:cNvPr>
              <p:cNvSpPr>
                <a:spLocks/>
              </p:cNvSpPr>
              <p:nvPr/>
            </p:nvSpPr>
            <p:spPr bwMode="auto">
              <a:xfrm rot="18900000">
                <a:off x="5982238" y="3103216"/>
                <a:ext cx="491659" cy="412696"/>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5" name="Freeform 168">
                <a:extLst>
                  <a:ext uri="{FF2B5EF4-FFF2-40B4-BE49-F238E27FC236}">
                    <a16:creationId xmlns:a16="http://schemas.microsoft.com/office/drawing/2014/main" id="{BF1C3C78-18A8-4536-924C-D4295A34BBE8}"/>
                  </a:ext>
                </a:extLst>
              </p:cNvPr>
              <p:cNvSpPr>
                <a:spLocks/>
              </p:cNvSpPr>
              <p:nvPr/>
            </p:nvSpPr>
            <p:spPr bwMode="auto">
              <a:xfrm rot="2700000" flipH="1">
                <a:off x="5482116" y="3103217"/>
                <a:ext cx="491659" cy="412696"/>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6" name="Freeform 169">
                <a:extLst>
                  <a:ext uri="{FF2B5EF4-FFF2-40B4-BE49-F238E27FC236}">
                    <a16:creationId xmlns:a16="http://schemas.microsoft.com/office/drawing/2014/main" id="{EB6ADC87-9A41-4370-84C4-597A9ED49312}"/>
                  </a:ext>
                </a:extLst>
              </p:cNvPr>
              <p:cNvSpPr>
                <a:spLocks/>
              </p:cNvSpPr>
              <p:nvPr/>
            </p:nvSpPr>
            <p:spPr bwMode="auto">
              <a:xfrm rot="2700000" flipV="1">
                <a:off x="5982238" y="3615472"/>
                <a:ext cx="491659" cy="412696"/>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7" name="Freeform 170">
                <a:extLst>
                  <a:ext uri="{FF2B5EF4-FFF2-40B4-BE49-F238E27FC236}">
                    <a16:creationId xmlns:a16="http://schemas.microsoft.com/office/drawing/2014/main" id="{262142AC-C58B-4138-AE8C-8C1BCA6AE7EC}"/>
                  </a:ext>
                </a:extLst>
              </p:cNvPr>
              <p:cNvSpPr>
                <a:spLocks/>
              </p:cNvSpPr>
              <p:nvPr/>
            </p:nvSpPr>
            <p:spPr bwMode="auto">
              <a:xfrm rot="18900000" flipH="1" flipV="1">
                <a:off x="5482116" y="3615471"/>
                <a:ext cx="491659" cy="412696"/>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sp>
        <p:nvSpPr>
          <p:cNvPr id="116" name="Freeform 7">
            <a:extLst>
              <a:ext uri="{FF2B5EF4-FFF2-40B4-BE49-F238E27FC236}">
                <a16:creationId xmlns:a16="http://schemas.microsoft.com/office/drawing/2014/main" id="{AF7D3FEE-811F-4211-BBC1-D41423E24561}"/>
              </a:ext>
            </a:extLst>
          </p:cNvPr>
          <p:cNvSpPr>
            <a:spLocks noEditPoints="1"/>
          </p:cNvSpPr>
          <p:nvPr/>
        </p:nvSpPr>
        <p:spPr bwMode="auto">
          <a:xfrm>
            <a:off x="3878827" y="2138244"/>
            <a:ext cx="123649" cy="133480"/>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bg2"/>
          </a:solidFill>
          <a:ln w="19050" cap="flat" cmpd="sng">
            <a:noFill/>
            <a:prstDash val="solid"/>
            <a:round/>
            <a:headEnd type="none" w="med" len="med"/>
            <a:tailEnd type="none" w="med" len="med"/>
          </a:ln>
          <a:effectLst/>
        </p:spPr>
        <p:txBody>
          <a:bodyPr lIns="91432" tIns="45716" rIns="91432" bIns="45716"/>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nvGrpSpPr>
          <p:cNvPr id="118" name="Group 117">
            <a:extLst>
              <a:ext uri="{FF2B5EF4-FFF2-40B4-BE49-F238E27FC236}">
                <a16:creationId xmlns:a16="http://schemas.microsoft.com/office/drawing/2014/main" id="{CCBA7924-CADA-4990-8E9F-ED57ED35CD80}"/>
              </a:ext>
            </a:extLst>
          </p:cNvPr>
          <p:cNvGrpSpPr/>
          <p:nvPr/>
        </p:nvGrpSpPr>
        <p:grpSpPr>
          <a:xfrm>
            <a:off x="3769631" y="2255474"/>
            <a:ext cx="201167" cy="173726"/>
            <a:chOff x="3859466" y="1735167"/>
            <a:chExt cx="1421332" cy="1227452"/>
          </a:xfrm>
        </p:grpSpPr>
        <p:sp>
          <p:nvSpPr>
            <p:cNvPr id="119" name="Freeform 45">
              <a:extLst>
                <a:ext uri="{FF2B5EF4-FFF2-40B4-BE49-F238E27FC236}">
                  <a16:creationId xmlns:a16="http://schemas.microsoft.com/office/drawing/2014/main" id="{2A4610E5-0C01-4462-8F50-4DBFBC5BAAE5}"/>
                </a:ext>
              </a:extLst>
            </p:cNvPr>
            <p:cNvSpPr>
              <a:spLocks/>
            </p:cNvSpPr>
            <p:nvPr/>
          </p:nvSpPr>
          <p:spPr bwMode="auto">
            <a:xfrm>
              <a:off x="3859466" y="1735167"/>
              <a:ext cx="1421332" cy="1227452"/>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AAC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0" name="Oval 47">
              <a:extLst>
                <a:ext uri="{FF2B5EF4-FFF2-40B4-BE49-F238E27FC236}">
                  <a16:creationId xmlns:a16="http://schemas.microsoft.com/office/drawing/2014/main" id="{F2BB5C22-BADF-4E28-A306-89F4FAFED71D}"/>
                </a:ext>
              </a:extLst>
            </p:cNvPr>
            <p:cNvSpPr>
              <a:spLocks noChangeArrowheads="1"/>
            </p:cNvSpPr>
            <p:nvPr/>
          </p:nvSpPr>
          <p:spPr bwMode="auto">
            <a:xfrm>
              <a:off x="4270691" y="2210574"/>
              <a:ext cx="608240" cy="6082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1" name="Freeform 46">
              <a:extLst>
                <a:ext uri="{FF2B5EF4-FFF2-40B4-BE49-F238E27FC236}">
                  <a16:creationId xmlns:a16="http://schemas.microsoft.com/office/drawing/2014/main" id="{33B4A6B0-8C4A-46C9-A35F-BF7F5C80E80E}"/>
                </a:ext>
              </a:extLst>
            </p:cNvPr>
            <p:cNvSpPr>
              <a:spLocks noEditPoints="1"/>
            </p:cNvSpPr>
            <p:nvPr/>
          </p:nvSpPr>
          <p:spPr bwMode="auto">
            <a:xfrm>
              <a:off x="4239201" y="2181756"/>
              <a:ext cx="671221" cy="665873"/>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2" name="Freeform 48">
              <a:extLst>
                <a:ext uri="{FF2B5EF4-FFF2-40B4-BE49-F238E27FC236}">
                  <a16:creationId xmlns:a16="http://schemas.microsoft.com/office/drawing/2014/main" id="{51645B8D-7A19-4CCE-82FF-29BC14773B98}"/>
                </a:ext>
              </a:extLst>
            </p:cNvPr>
            <p:cNvSpPr>
              <a:spLocks/>
            </p:cNvSpPr>
            <p:nvPr/>
          </p:nvSpPr>
          <p:spPr bwMode="auto">
            <a:xfrm>
              <a:off x="4538211" y="2309778"/>
              <a:ext cx="63845" cy="276602"/>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3" name="Oval 49">
              <a:extLst>
                <a:ext uri="{FF2B5EF4-FFF2-40B4-BE49-F238E27FC236}">
                  <a16:creationId xmlns:a16="http://schemas.microsoft.com/office/drawing/2014/main" id="{D807EA08-ABBD-4DFD-A69C-1AD0394EEE0B}"/>
                </a:ext>
              </a:extLst>
            </p:cNvPr>
            <p:cNvSpPr>
              <a:spLocks noChangeArrowheads="1"/>
            </p:cNvSpPr>
            <p:nvPr/>
          </p:nvSpPr>
          <p:spPr bwMode="auto">
            <a:xfrm>
              <a:off x="4535199" y="2633285"/>
              <a:ext cx="66855" cy="65518"/>
            </a:xfrm>
            <a:prstGeom prst="ellipse">
              <a:avLst/>
            </a:pr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24" name="Group 123">
            <a:extLst>
              <a:ext uri="{FF2B5EF4-FFF2-40B4-BE49-F238E27FC236}">
                <a16:creationId xmlns:a16="http://schemas.microsoft.com/office/drawing/2014/main" id="{E2EDDCAC-0C00-4E3B-852D-420814517B27}"/>
              </a:ext>
            </a:extLst>
          </p:cNvPr>
          <p:cNvGrpSpPr>
            <a:grpSpLocks noChangeAspect="1"/>
          </p:cNvGrpSpPr>
          <p:nvPr/>
        </p:nvGrpSpPr>
        <p:grpSpPr>
          <a:xfrm rot="1720296" flipH="1">
            <a:off x="3723531" y="2091304"/>
            <a:ext cx="113486" cy="252852"/>
            <a:chOff x="3397754" y="2632075"/>
            <a:chExt cx="693234" cy="1544637"/>
          </a:xfrm>
        </p:grpSpPr>
        <p:sp>
          <p:nvSpPr>
            <p:cNvPr id="125" name="Freeform 110">
              <a:extLst>
                <a:ext uri="{FF2B5EF4-FFF2-40B4-BE49-F238E27FC236}">
                  <a16:creationId xmlns:a16="http://schemas.microsoft.com/office/drawing/2014/main" id="{580440B4-FA4B-4447-8D8C-B15EBBB2C125}"/>
                </a:ext>
              </a:extLst>
            </p:cNvPr>
            <p:cNvSpPr>
              <a:spLocks/>
            </p:cNvSpPr>
            <p:nvPr/>
          </p:nvSpPr>
          <p:spPr bwMode="auto">
            <a:xfrm>
              <a:off x="3422650" y="2881312"/>
              <a:ext cx="258763" cy="236537"/>
            </a:xfrm>
            <a:custGeom>
              <a:avLst/>
              <a:gdLst>
                <a:gd name="T0" fmla="*/ 0 w 148"/>
                <a:gd name="T1" fmla="*/ 0 h 135"/>
                <a:gd name="T2" fmla="*/ 79 w 148"/>
                <a:gd name="T3" fmla="*/ 119 h 135"/>
                <a:gd name="T4" fmla="*/ 108 w 148"/>
                <a:gd name="T5" fmla="*/ 135 h 135"/>
                <a:gd name="T6" fmla="*/ 128 w 148"/>
                <a:gd name="T7" fmla="*/ 129 h 135"/>
                <a:gd name="T8" fmla="*/ 137 w 148"/>
                <a:gd name="T9" fmla="*/ 80 h 135"/>
                <a:gd name="T10" fmla="*/ 98 w 148"/>
                <a:gd name="T11" fmla="*/ 20 h 135"/>
                <a:gd name="T12" fmla="*/ 25 w 148"/>
                <a:gd name="T13" fmla="*/ 11 h 135"/>
                <a:gd name="T14" fmla="*/ 0 w 148"/>
                <a:gd name="T15" fmla="*/ 0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35">
                  <a:moveTo>
                    <a:pt x="0" y="0"/>
                  </a:moveTo>
                  <a:cubicBezTo>
                    <a:pt x="79" y="119"/>
                    <a:pt x="79" y="119"/>
                    <a:pt x="79" y="119"/>
                  </a:cubicBezTo>
                  <a:cubicBezTo>
                    <a:pt x="85" y="129"/>
                    <a:pt x="97" y="135"/>
                    <a:pt x="108" y="135"/>
                  </a:cubicBezTo>
                  <a:cubicBezTo>
                    <a:pt x="115" y="135"/>
                    <a:pt x="122" y="133"/>
                    <a:pt x="128" y="129"/>
                  </a:cubicBezTo>
                  <a:cubicBezTo>
                    <a:pt x="144" y="118"/>
                    <a:pt x="148" y="96"/>
                    <a:pt x="137" y="80"/>
                  </a:cubicBezTo>
                  <a:cubicBezTo>
                    <a:pt x="98" y="20"/>
                    <a:pt x="98" y="20"/>
                    <a:pt x="98" y="20"/>
                  </a:cubicBezTo>
                  <a:cubicBezTo>
                    <a:pt x="74" y="14"/>
                    <a:pt x="50" y="11"/>
                    <a:pt x="25" y="11"/>
                  </a:cubicBezTo>
                  <a:cubicBezTo>
                    <a:pt x="15" y="11"/>
                    <a:pt x="6" y="7"/>
                    <a:pt x="0" y="0"/>
                  </a:cubicBezTo>
                </a:path>
              </a:pathLst>
            </a:custGeom>
            <a:solidFill>
              <a:schemeClr val="accent5"/>
            </a:solidFill>
            <a:ln w="12700">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1" name="Freeform 111">
              <a:extLst>
                <a:ext uri="{FF2B5EF4-FFF2-40B4-BE49-F238E27FC236}">
                  <a16:creationId xmlns:a16="http://schemas.microsoft.com/office/drawing/2014/main" id="{FC81709C-DDC0-4D84-88BE-4BE737FBDCDC}"/>
                </a:ext>
              </a:extLst>
            </p:cNvPr>
            <p:cNvSpPr>
              <a:spLocks/>
            </p:cNvSpPr>
            <p:nvPr/>
          </p:nvSpPr>
          <p:spPr bwMode="auto">
            <a:xfrm>
              <a:off x="3409950" y="2632075"/>
              <a:ext cx="344488" cy="177800"/>
            </a:xfrm>
            <a:custGeom>
              <a:avLst/>
              <a:gdLst>
                <a:gd name="T0" fmla="*/ 157 w 197"/>
                <a:gd name="T1" fmla="*/ 0 h 102"/>
                <a:gd name="T2" fmla="*/ 137 w 197"/>
                <a:gd name="T3" fmla="*/ 5 h 102"/>
                <a:gd name="T4" fmla="*/ 12 w 197"/>
                <a:gd name="T5" fmla="*/ 88 h 102"/>
                <a:gd name="T6" fmla="*/ 0 w 197"/>
                <a:gd name="T7" fmla="*/ 102 h 102"/>
                <a:gd name="T8" fmla="*/ 0 w 197"/>
                <a:gd name="T9" fmla="*/ 102 h 102"/>
                <a:gd name="T10" fmla="*/ 12 w 197"/>
                <a:gd name="T11" fmla="*/ 88 h 102"/>
                <a:gd name="T12" fmla="*/ 32 w 197"/>
                <a:gd name="T13" fmla="*/ 82 h 102"/>
                <a:gd name="T14" fmla="*/ 39 w 197"/>
                <a:gd name="T15" fmla="*/ 83 h 102"/>
                <a:gd name="T16" fmla="*/ 128 w 197"/>
                <a:gd name="T17" fmla="*/ 96 h 102"/>
                <a:gd name="T18" fmla="*/ 176 w 197"/>
                <a:gd name="T19" fmla="*/ 64 h 102"/>
                <a:gd name="T20" fmla="*/ 186 w 197"/>
                <a:gd name="T21" fmla="*/ 15 h 102"/>
                <a:gd name="T22" fmla="*/ 157 w 197"/>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102">
                  <a:moveTo>
                    <a:pt x="157" y="0"/>
                  </a:moveTo>
                  <a:cubicBezTo>
                    <a:pt x="150" y="0"/>
                    <a:pt x="143" y="1"/>
                    <a:pt x="137" y="5"/>
                  </a:cubicBezTo>
                  <a:cubicBezTo>
                    <a:pt x="12" y="88"/>
                    <a:pt x="12" y="88"/>
                    <a:pt x="12" y="88"/>
                  </a:cubicBezTo>
                  <a:cubicBezTo>
                    <a:pt x="7" y="92"/>
                    <a:pt x="3" y="97"/>
                    <a:pt x="0" y="102"/>
                  </a:cubicBezTo>
                  <a:cubicBezTo>
                    <a:pt x="0" y="102"/>
                    <a:pt x="0" y="102"/>
                    <a:pt x="0" y="102"/>
                  </a:cubicBezTo>
                  <a:cubicBezTo>
                    <a:pt x="3" y="97"/>
                    <a:pt x="7" y="92"/>
                    <a:pt x="12" y="88"/>
                  </a:cubicBezTo>
                  <a:cubicBezTo>
                    <a:pt x="18" y="84"/>
                    <a:pt x="25" y="82"/>
                    <a:pt x="32" y="82"/>
                  </a:cubicBezTo>
                  <a:cubicBezTo>
                    <a:pt x="34" y="82"/>
                    <a:pt x="37" y="83"/>
                    <a:pt x="39" y="83"/>
                  </a:cubicBezTo>
                  <a:cubicBezTo>
                    <a:pt x="70" y="84"/>
                    <a:pt x="100" y="88"/>
                    <a:pt x="128" y="96"/>
                  </a:cubicBezTo>
                  <a:cubicBezTo>
                    <a:pt x="176" y="64"/>
                    <a:pt x="176" y="64"/>
                    <a:pt x="176" y="64"/>
                  </a:cubicBezTo>
                  <a:cubicBezTo>
                    <a:pt x="193" y="53"/>
                    <a:pt x="197" y="32"/>
                    <a:pt x="186" y="15"/>
                  </a:cubicBezTo>
                  <a:cubicBezTo>
                    <a:pt x="179" y="5"/>
                    <a:pt x="168" y="0"/>
                    <a:pt x="157" y="0"/>
                  </a:cubicBezTo>
                </a:path>
              </a:pathLst>
            </a:custGeom>
            <a:solidFill>
              <a:schemeClr val="accent5"/>
            </a:solidFill>
            <a:ln w="12700">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2" name="Freeform 112">
              <a:extLst>
                <a:ext uri="{FF2B5EF4-FFF2-40B4-BE49-F238E27FC236}">
                  <a16:creationId xmlns:a16="http://schemas.microsoft.com/office/drawing/2014/main" id="{7FAEB481-C409-4B2E-813E-60E3DB3ED96F}"/>
                </a:ext>
              </a:extLst>
            </p:cNvPr>
            <p:cNvSpPr>
              <a:spLocks/>
            </p:cNvSpPr>
            <p:nvPr/>
          </p:nvSpPr>
          <p:spPr bwMode="auto">
            <a:xfrm>
              <a:off x="3409950" y="2774950"/>
              <a:ext cx="68263" cy="34925"/>
            </a:xfrm>
            <a:custGeom>
              <a:avLst/>
              <a:gdLst>
                <a:gd name="T0" fmla="*/ 32 w 39"/>
                <a:gd name="T1" fmla="*/ 0 h 20"/>
                <a:gd name="T2" fmla="*/ 12 w 39"/>
                <a:gd name="T3" fmla="*/ 6 h 20"/>
                <a:gd name="T4" fmla="*/ 0 w 39"/>
                <a:gd name="T5" fmla="*/ 20 h 20"/>
                <a:gd name="T6" fmla="*/ 32 w 39"/>
                <a:gd name="T7" fmla="*/ 1 h 20"/>
                <a:gd name="T8" fmla="*/ 32 w 39"/>
                <a:gd name="T9" fmla="*/ 1 h 20"/>
                <a:gd name="T10" fmla="*/ 39 w 39"/>
                <a:gd name="T11" fmla="*/ 1 h 20"/>
                <a:gd name="T12" fmla="*/ 32 w 3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9" h="20">
                  <a:moveTo>
                    <a:pt x="32" y="0"/>
                  </a:moveTo>
                  <a:cubicBezTo>
                    <a:pt x="25" y="0"/>
                    <a:pt x="18" y="2"/>
                    <a:pt x="12" y="6"/>
                  </a:cubicBezTo>
                  <a:cubicBezTo>
                    <a:pt x="7" y="10"/>
                    <a:pt x="3" y="15"/>
                    <a:pt x="0" y="20"/>
                  </a:cubicBezTo>
                  <a:cubicBezTo>
                    <a:pt x="6" y="9"/>
                    <a:pt x="18" y="1"/>
                    <a:pt x="32" y="1"/>
                  </a:cubicBezTo>
                  <a:cubicBezTo>
                    <a:pt x="32" y="1"/>
                    <a:pt x="32" y="1"/>
                    <a:pt x="32" y="1"/>
                  </a:cubicBezTo>
                  <a:cubicBezTo>
                    <a:pt x="34" y="1"/>
                    <a:pt x="37" y="1"/>
                    <a:pt x="39" y="1"/>
                  </a:cubicBezTo>
                  <a:cubicBezTo>
                    <a:pt x="37" y="1"/>
                    <a:pt x="34" y="0"/>
                    <a:pt x="32" y="0"/>
                  </a:cubicBezTo>
                </a:path>
              </a:pathLst>
            </a:custGeom>
            <a:solidFill>
              <a:srgbClr val="F77303"/>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3" name="Freeform 113">
              <a:extLst>
                <a:ext uri="{FF2B5EF4-FFF2-40B4-BE49-F238E27FC236}">
                  <a16:creationId xmlns:a16="http://schemas.microsoft.com/office/drawing/2014/main" id="{D5A24A44-F175-4115-9988-3A662D66F096}"/>
                </a:ext>
              </a:extLst>
            </p:cNvPr>
            <p:cNvSpPr>
              <a:spLocks/>
            </p:cNvSpPr>
            <p:nvPr/>
          </p:nvSpPr>
          <p:spPr bwMode="auto">
            <a:xfrm>
              <a:off x="3425825" y="3689349"/>
              <a:ext cx="255588" cy="230187"/>
            </a:xfrm>
            <a:custGeom>
              <a:avLst/>
              <a:gdLst>
                <a:gd name="T0" fmla="*/ 106 w 146"/>
                <a:gd name="T1" fmla="*/ 0 h 132"/>
                <a:gd name="T2" fmla="*/ 77 w 146"/>
                <a:gd name="T3" fmla="*/ 16 h 132"/>
                <a:gd name="T4" fmla="*/ 0 w 146"/>
                <a:gd name="T5" fmla="*/ 132 h 132"/>
                <a:gd name="T6" fmla="*/ 23 w 146"/>
                <a:gd name="T7" fmla="*/ 123 h 132"/>
                <a:gd name="T8" fmla="*/ 97 w 146"/>
                <a:gd name="T9" fmla="*/ 114 h 132"/>
                <a:gd name="T10" fmla="*/ 135 w 146"/>
                <a:gd name="T11" fmla="*/ 55 h 132"/>
                <a:gd name="T12" fmla="*/ 126 w 146"/>
                <a:gd name="T13" fmla="*/ 6 h 132"/>
                <a:gd name="T14" fmla="*/ 106 w 146"/>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132">
                  <a:moveTo>
                    <a:pt x="106" y="0"/>
                  </a:moveTo>
                  <a:cubicBezTo>
                    <a:pt x="95" y="0"/>
                    <a:pt x="83" y="6"/>
                    <a:pt x="77" y="16"/>
                  </a:cubicBezTo>
                  <a:cubicBezTo>
                    <a:pt x="0" y="132"/>
                    <a:pt x="0" y="132"/>
                    <a:pt x="0" y="132"/>
                  </a:cubicBezTo>
                  <a:cubicBezTo>
                    <a:pt x="6" y="126"/>
                    <a:pt x="14" y="123"/>
                    <a:pt x="23" y="123"/>
                  </a:cubicBezTo>
                  <a:cubicBezTo>
                    <a:pt x="48" y="123"/>
                    <a:pt x="73" y="120"/>
                    <a:pt x="97" y="114"/>
                  </a:cubicBezTo>
                  <a:cubicBezTo>
                    <a:pt x="135" y="55"/>
                    <a:pt x="135" y="55"/>
                    <a:pt x="135" y="55"/>
                  </a:cubicBezTo>
                  <a:cubicBezTo>
                    <a:pt x="146" y="39"/>
                    <a:pt x="142" y="17"/>
                    <a:pt x="126" y="6"/>
                  </a:cubicBezTo>
                  <a:cubicBezTo>
                    <a:pt x="120" y="2"/>
                    <a:pt x="113" y="0"/>
                    <a:pt x="106" y="0"/>
                  </a:cubicBezTo>
                </a:path>
              </a:pathLst>
            </a:custGeom>
            <a:solidFill>
              <a:schemeClr val="accent5"/>
            </a:solidFill>
            <a:ln w="12700">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4" name="Freeform 114">
              <a:extLst>
                <a:ext uri="{FF2B5EF4-FFF2-40B4-BE49-F238E27FC236}">
                  <a16:creationId xmlns:a16="http://schemas.microsoft.com/office/drawing/2014/main" id="{7AE28E54-689A-4DBB-915F-F6973E0298A4}"/>
                </a:ext>
              </a:extLst>
            </p:cNvPr>
            <p:cNvSpPr>
              <a:spLocks/>
            </p:cNvSpPr>
            <p:nvPr/>
          </p:nvSpPr>
          <p:spPr bwMode="auto">
            <a:xfrm>
              <a:off x="3430588" y="4005262"/>
              <a:ext cx="323850" cy="171450"/>
            </a:xfrm>
            <a:custGeom>
              <a:avLst/>
              <a:gdLst>
                <a:gd name="T0" fmla="*/ 115 w 185"/>
                <a:gd name="T1" fmla="*/ 0 h 98"/>
                <a:gd name="T2" fmla="*/ 32 w 185"/>
                <a:gd name="T3" fmla="*/ 13 h 98"/>
                <a:gd name="T4" fmla="*/ 20 w 185"/>
                <a:gd name="T5" fmla="*/ 15 h 98"/>
                <a:gd name="T6" fmla="*/ 0 w 185"/>
                <a:gd name="T7" fmla="*/ 9 h 98"/>
                <a:gd name="T8" fmla="*/ 125 w 185"/>
                <a:gd name="T9" fmla="*/ 92 h 98"/>
                <a:gd name="T10" fmla="*/ 145 w 185"/>
                <a:gd name="T11" fmla="*/ 98 h 98"/>
                <a:gd name="T12" fmla="*/ 174 w 185"/>
                <a:gd name="T13" fmla="*/ 82 h 98"/>
                <a:gd name="T14" fmla="*/ 164 w 185"/>
                <a:gd name="T15" fmla="*/ 33 h 98"/>
                <a:gd name="T16" fmla="*/ 115 w 185"/>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98">
                  <a:moveTo>
                    <a:pt x="115" y="0"/>
                  </a:moveTo>
                  <a:cubicBezTo>
                    <a:pt x="88" y="7"/>
                    <a:pt x="60" y="12"/>
                    <a:pt x="32" y="13"/>
                  </a:cubicBezTo>
                  <a:cubicBezTo>
                    <a:pt x="28" y="14"/>
                    <a:pt x="24" y="15"/>
                    <a:pt x="20" y="15"/>
                  </a:cubicBezTo>
                  <a:cubicBezTo>
                    <a:pt x="13" y="15"/>
                    <a:pt x="6" y="13"/>
                    <a:pt x="0" y="9"/>
                  </a:cubicBezTo>
                  <a:cubicBezTo>
                    <a:pt x="125" y="92"/>
                    <a:pt x="125" y="92"/>
                    <a:pt x="125" y="92"/>
                  </a:cubicBezTo>
                  <a:cubicBezTo>
                    <a:pt x="131" y="96"/>
                    <a:pt x="138" y="98"/>
                    <a:pt x="145" y="98"/>
                  </a:cubicBezTo>
                  <a:cubicBezTo>
                    <a:pt x="156" y="98"/>
                    <a:pt x="167" y="92"/>
                    <a:pt x="174" y="82"/>
                  </a:cubicBezTo>
                  <a:cubicBezTo>
                    <a:pt x="185" y="66"/>
                    <a:pt x="181" y="44"/>
                    <a:pt x="164" y="33"/>
                  </a:cubicBezTo>
                  <a:cubicBezTo>
                    <a:pt x="115" y="0"/>
                    <a:pt x="115" y="0"/>
                    <a:pt x="115" y="0"/>
                  </a:cubicBezTo>
                </a:path>
              </a:pathLst>
            </a:custGeom>
            <a:solidFill>
              <a:schemeClr val="accent5"/>
            </a:solidFill>
            <a:ln w="12700">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5" name="Freeform 115">
              <a:extLst>
                <a:ext uri="{FF2B5EF4-FFF2-40B4-BE49-F238E27FC236}">
                  <a16:creationId xmlns:a16="http://schemas.microsoft.com/office/drawing/2014/main" id="{D8AB2DF9-79F3-4F56-BCE5-8D7428C8D601}"/>
                </a:ext>
              </a:extLst>
            </p:cNvPr>
            <p:cNvSpPr>
              <a:spLocks/>
            </p:cNvSpPr>
            <p:nvPr/>
          </p:nvSpPr>
          <p:spPr bwMode="auto">
            <a:xfrm>
              <a:off x="3405188" y="3979862"/>
              <a:ext cx="82550" cy="52387"/>
            </a:xfrm>
            <a:custGeom>
              <a:avLst/>
              <a:gdLst>
                <a:gd name="T0" fmla="*/ 0 w 47"/>
                <a:gd name="T1" fmla="*/ 0 h 30"/>
                <a:gd name="T2" fmla="*/ 15 w 47"/>
                <a:gd name="T3" fmla="*/ 24 h 30"/>
                <a:gd name="T4" fmla="*/ 15 w 47"/>
                <a:gd name="T5" fmla="*/ 24 h 30"/>
                <a:gd name="T6" fmla="*/ 35 w 47"/>
                <a:gd name="T7" fmla="*/ 30 h 30"/>
                <a:gd name="T8" fmla="*/ 47 w 47"/>
                <a:gd name="T9" fmla="*/ 28 h 30"/>
                <a:gd name="T10" fmla="*/ 35 w 47"/>
                <a:gd name="T11" fmla="*/ 28 h 30"/>
                <a:gd name="T12" fmla="*/ 0 w 4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47" h="30">
                  <a:moveTo>
                    <a:pt x="0" y="0"/>
                  </a:moveTo>
                  <a:cubicBezTo>
                    <a:pt x="2" y="9"/>
                    <a:pt x="7" y="18"/>
                    <a:pt x="15" y="24"/>
                  </a:cubicBezTo>
                  <a:cubicBezTo>
                    <a:pt x="15" y="24"/>
                    <a:pt x="15" y="24"/>
                    <a:pt x="15" y="24"/>
                  </a:cubicBezTo>
                  <a:cubicBezTo>
                    <a:pt x="21" y="28"/>
                    <a:pt x="28" y="30"/>
                    <a:pt x="35" y="30"/>
                  </a:cubicBezTo>
                  <a:cubicBezTo>
                    <a:pt x="39" y="30"/>
                    <a:pt x="43" y="29"/>
                    <a:pt x="47" y="28"/>
                  </a:cubicBezTo>
                  <a:cubicBezTo>
                    <a:pt x="43" y="28"/>
                    <a:pt x="39" y="28"/>
                    <a:pt x="35" y="28"/>
                  </a:cubicBezTo>
                  <a:cubicBezTo>
                    <a:pt x="18" y="28"/>
                    <a:pt x="4" y="16"/>
                    <a:pt x="0" y="0"/>
                  </a:cubicBezTo>
                </a:path>
              </a:pathLst>
            </a:custGeom>
            <a:solidFill>
              <a:srgbClr val="F77303"/>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6" name="Freeform 116">
              <a:extLst>
                <a:ext uri="{FF2B5EF4-FFF2-40B4-BE49-F238E27FC236}">
                  <a16:creationId xmlns:a16="http://schemas.microsoft.com/office/drawing/2014/main" id="{E160605F-C623-42DB-A352-71196B0452AB}"/>
                </a:ext>
              </a:extLst>
            </p:cNvPr>
            <p:cNvSpPr>
              <a:spLocks noEditPoints="1"/>
            </p:cNvSpPr>
            <p:nvPr/>
          </p:nvSpPr>
          <p:spPr bwMode="auto">
            <a:xfrm>
              <a:off x="3403600" y="2800350"/>
              <a:ext cx="687388" cy="1204912"/>
            </a:xfrm>
            <a:custGeom>
              <a:avLst/>
              <a:gdLst>
                <a:gd name="T0" fmla="*/ 13 w 393"/>
                <a:gd name="T1" fmla="*/ 640 h 689"/>
                <a:gd name="T2" fmla="*/ 0 w 393"/>
                <a:gd name="T3" fmla="*/ 666 h 689"/>
                <a:gd name="T4" fmla="*/ 1 w 393"/>
                <a:gd name="T5" fmla="*/ 674 h 689"/>
                <a:gd name="T6" fmla="*/ 1 w 393"/>
                <a:gd name="T7" fmla="*/ 668 h 689"/>
                <a:gd name="T8" fmla="*/ 7 w 393"/>
                <a:gd name="T9" fmla="*/ 649 h 689"/>
                <a:gd name="T10" fmla="*/ 7 w 393"/>
                <a:gd name="T11" fmla="*/ 649 h 689"/>
                <a:gd name="T12" fmla="*/ 13 w 393"/>
                <a:gd name="T13" fmla="*/ 640 h 689"/>
                <a:gd name="T14" fmla="*/ 4 w 393"/>
                <a:gd name="T15" fmla="*/ 6 h 689"/>
                <a:gd name="T16" fmla="*/ 0 w 393"/>
                <a:gd name="T17" fmla="*/ 22 h 689"/>
                <a:gd name="T18" fmla="*/ 11 w 393"/>
                <a:gd name="T19" fmla="*/ 47 h 689"/>
                <a:gd name="T20" fmla="*/ 7 w 393"/>
                <a:gd name="T21" fmla="*/ 41 h 689"/>
                <a:gd name="T22" fmla="*/ 1 w 393"/>
                <a:gd name="T23" fmla="*/ 22 h 689"/>
                <a:gd name="T24" fmla="*/ 4 w 393"/>
                <a:gd name="T25" fmla="*/ 6 h 689"/>
                <a:gd name="T26" fmla="*/ 132 w 393"/>
                <a:gd name="T27" fmla="*/ 0 h 689"/>
                <a:gd name="T28" fmla="*/ 85 w 393"/>
                <a:gd name="T29" fmla="*/ 32 h 689"/>
                <a:gd name="T30" fmla="*/ 109 w 393"/>
                <a:gd name="T31" fmla="*/ 67 h 689"/>
                <a:gd name="T32" fmla="*/ 147 w 393"/>
                <a:gd name="T33" fmla="*/ 80 h 689"/>
                <a:gd name="T34" fmla="*/ 273 w 393"/>
                <a:gd name="T35" fmla="*/ 184 h 689"/>
                <a:gd name="T36" fmla="*/ 322 w 393"/>
                <a:gd name="T37" fmla="*/ 344 h 689"/>
                <a:gd name="T38" fmla="*/ 300 w 393"/>
                <a:gd name="T39" fmla="*/ 456 h 689"/>
                <a:gd name="T40" fmla="*/ 196 w 393"/>
                <a:gd name="T41" fmla="*/ 582 h 689"/>
                <a:gd name="T42" fmla="*/ 110 w 393"/>
                <a:gd name="T43" fmla="*/ 622 h 689"/>
                <a:gd name="T44" fmla="*/ 85 w 393"/>
                <a:gd name="T45" fmla="*/ 658 h 689"/>
                <a:gd name="T46" fmla="*/ 131 w 393"/>
                <a:gd name="T47" fmla="*/ 689 h 689"/>
                <a:gd name="T48" fmla="*/ 175 w 393"/>
                <a:gd name="T49" fmla="*/ 674 h 689"/>
                <a:gd name="T50" fmla="*/ 332 w 393"/>
                <a:gd name="T51" fmla="*/ 544 h 689"/>
                <a:gd name="T52" fmla="*/ 393 w 393"/>
                <a:gd name="T53" fmla="*/ 344 h 689"/>
                <a:gd name="T54" fmla="*/ 365 w 393"/>
                <a:gd name="T55" fmla="*/ 205 h 689"/>
                <a:gd name="T56" fmla="*/ 235 w 393"/>
                <a:gd name="T57" fmla="*/ 48 h 689"/>
                <a:gd name="T58" fmla="*/ 132 w 393"/>
                <a:gd name="T59" fmla="*/ 0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93" h="689">
                  <a:moveTo>
                    <a:pt x="13" y="640"/>
                  </a:moveTo>
                  <a:cubicBezTo>
                    <a:pt x="5" y="646"/>
                    <a:pt x="0" y="656"/>
                    <a:pt x="0" y="666"/>
                  </a:cubicBezTo>
                  <a:cubicBezTo>
                    <a:pt x="0" y="669"/>
                    <a:pt x="1" y="672"/>
                    <a:pt x="1" y="674"/>
                  </a:cubicBezTo>
                  <a:cubicBezTo>
                    <a:pt x="1" y="672"/>
                    <a:pt x="1" y="670"/>
                    <a:pt x="1" y="668"/>
                  </a:cubicBezTo>
                  <a:cubicBezTo>
                    <a:pt x="1" y="662"/>
                    <a:pt x="3" y="655"/>
                    <a:pt x="7" y="649"/>
                  </a:cubicBezTo>
                  <a:cubicBezTo>
                    <a:pt x="7" y="649"/>
                    <a:pt x="7" y="649"/>
                    <a:pt x="7" y="649"/>
                  </a:cubicBezTo>
                  <a:cubicBezTo>
                    <a:pt x="13" y="640"/>
                    <a:pt x="13" y="640"/>
                    <a:pt x="13" y="640"/>
                  </a:cubicBezTo>
                  <a:moveTo>
                    <a:pt x="4" y="6"/>
                  </a:moveTo>
                  <a:cubicBezTo>
                    <a:pt x="2" y="11"/>
                    <a:pt x="0" y="17"/>
                    <a:pt x="0" y="22"/>
                  </a:cubicBezTo>
                  <a:cubicBezTo>
                    <a:pt x="0" y="32"/>
                    <a:pt x="4" y="41"/>
                    <a:pt x="11" y="47"/>
                  </a:cubicBezTo>
                  <a:cubicBezTo>
                    <a:pt x="7" y="41"/>
                    <a:pt x="7" y="41"/>
                    <a:pt x="7" y="41"/>
                  </a:cubicBezTo>
                  <a:cubicBezTo>
                    <a:pt x="3" y="35"/>
                    <a:pt x="1" y="29"/>
                    <a:pt x="1" y="22"/>
                  </a:cubicBezTo>
                  <a:cubicBezTo>
                    <a:pt x="1" y="16"/>
                    <a:pt x="2" y="11"/>
                    <a:pt x="4" y="6"/>
                  </a:cubicBezTo>
                  <a:moveTo>
                    <a:pt x="132" y="0"/>
                  </a:moveTo>
                  <a:cubicBezTo>
                    <a:pt x="85" y="32"/>
                    <a:pt x="85" y="32"/>
                    <a:pt x="85" y="32"/>
                  </a:cubicBezTo>
                  <a:cubicBezTo>
                    <a:pt x="109" y="67"/>
                    <a:pt x="109" y="67"/>
                    <a:pt x="109" y="67"/>
                  </a:cubicBezTo>
                  <a:cubicBezTo>
                    <a:pt x="122" y="71"/>
                    <a:pt x="135" y="75"/>
                    <a:pt x="147" y="80"/>
                  </a:cubicBezTo>
                  <a:cubicBezTo>
                    <a:pt x="199" y="102"/>
                    <a:pt x="242" y="138"/>
                    <a:pt x="273" y="184"/>
                  </a:cubicBezTo>
                  <a:cubicBezTo>
                    <a:pt x="304" y="230"/>
                    <a:pt x="322" y="285"/>
                    <a:pt x="322" y="344"/>
                  </a:cubicBezTo>
                  <a:cubicBezTo>
                    <a:pt x="322" y="384"/>
                    <a:pt x="314" y="422"/>
                    <a:pt x="300" y="456"/>
                  </a:cubicBezTo>
                  <a:cubicBezTo>
                    <a:pt x="278" y="507"/>
                    <a:pt x="242" y="551"/>
                    <a:pt x="196" y="582"/>
                  </a:cubicBezTo>
                  <a:cubicBezTo>
                    <a:pt x="170" y="600"/>
                    <a:pt x="141" y="613"/>
                    <a:pt x="110" y="622"/>
                  </a:cubicBezTo>
                  <a:cubicBezTo>
                    <a:pt x="85" y="658"/>
                    <a:pt x="85" y="658"/>
                    <a:pt x="85" y="658"/>
                  </a:cubicBezTo>
                  <a:cubicBezTo>
                    <a:pt x="131" y="689"/>
                    <a:pt x="131" y="689"/>
                    <a:pt x="131" y="689"/>
                  </a:cubicBezTo>
                  <a:cubicBezTo>
                    <a:pt x="146" y="685"/>
                    <a:pt x="161" y="680"/>
                    <a:pt x="175" y="674"/>
                  </a:cubicBezTo>
                  <a:cubicBezTo>
                    <a:pt x="239" y="647"/>
                    <a:pt x="293" y="601"/>
                    <a:pt x="332" y="544"/>
                  </a:cubicBezTo>
                  <a:cubicBezTo>
                    <a:pt x="370" y="487"/>
                    <a:pt x="393" y="418"/>
                    <a:pt x="393" y="344"/>
                  </a:cubicBezTo>
                  <a:cubicBezTo>
                    <a:pt x="393" y="295"/>
                    <a:pt x="383" y="248"/>
                    <a:pt x="365" y="205"/>
                  </a:cubicBezTo>
                  <a:cubicBezTo>
                    <a:pt x="338" y="141"/>
                    <a:pt x="292" y="87"/>
                    <a:pt x="235" y="48"/>
                  </a:cubicBezTo>
                  <a:cubicBezTo>
                    <a:pt x="204" y="27"/>
                    <a:pt x="169" y="11"/>
                    <a:pt x="132" y="0"/>
                  </a:cubicBezTo>
                </a:path>
              </a:pathLst>
            </a:custGeom>
            <a:solidFill>
              <a:schemeClr val="accent5"/>
            </a:solidFill>
            <a:ln w="12700">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7" name="Freeform 117">
              <a:extLst>
                <a:ext uri="{FF2B5EF4-FFF2-40B4-BE49-F238E27FC236}">
                  <a16:creationId xmlns:a16="http://schemas.microsoft.com/office/drawing/2014/main" id="{CB8D3C34-DDC7-4EAC-AD7E-DB6A2E73BD70}"/>
                </a:ext>
              </a:extLst>
            </p:cNvPr>
            <p:cNvSpPr>
              <a:spLocks/>
            </p:cNvSpPr>
            <p:nvPr/>
          </p:nvSpPr>
          <p:spPr bwMode="auto">
            <a:xfrm>
              <a:off x="3405188" y="2838450"/>
              <a:ext cx="188913" cy="77787"/>
            </a:xfrm>
            <a:custGeom>
              <a:avLst/>
              <a:gdLst>
                <a:gd name="T0" fmla="*/ 0 w 108"/>
                <a:gd name="T1" fmla="*/ 0 h 45"/>
                <a:gd name="T2" fmla="*/ 6 w 108"/>
                <a:gd name="T3" fmla="*/ 19 h 45"/>
                <a:gd name="T4" fmla="*/ 10 w 108"/>
                <a:gd name="T5" fmla="*/ 25 h 45"/>
                <a:gd name="T6" fmla="*/ 35 w 108"/>
                <a:gd name="T7" fmla="*/ 36 h 45"/>
                <a:gd name="T8" fmla="*/ 108 w 108"/>
                <a:gd name="T9" fmla="*/ 45 h 45"/>
                <a:gd name="T10" fmla="*/ 84 w 108"/>
                <a:gd name="T11" fmla="*/ 10 h 45"/>
                <a:gd name="T12" fmla="*/ 55 w 108"/>
                <a:gd name="T13" fmla="*/ 29 h 45"/>
                <a:gd name="T14" fmla="*/ 35 w 108"/>
                <a:gd name="T15" fmla="*/ 35 h 45"/>
                <a:gd name="T16" fmla="*/ 6 w 108"/>
                <a:gd name="T17" fmla="*/ 19 h 45"/>
                <a:gd name="T18" fmla="*/ 0 w 108"/>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45">
                  <a:moveTo>
                    <a:pt x="0" y="0"/>
                  </a:moveTo>
                  <a:cubicBezTo>
                    <a:pt x="0" y="7"/>
                    <a:pt x="2" y="13"/>
                    <a:pt x="6" y="19"/>
                  </a:cubicBezTo>
                  <a:cubicBezTo>
                    <a:pt x="10" y="25"/>
                    <a:pt x="10" y="25"/>
                    <a:pt x="10" y="25"/>
                  </a:cubicBezTo>
                  <a:cubicBezTo>
                    <a:pt x="16" y="32"/>
                    <a:pt x="25" y="36"/>
                    <a:pt x="35" y="36"/>
                  </a:cubicBezTo>
                  <a:cubicBezTo>
                    <a:pt x="60" y="36"/>
                    <a:pt x="84" y="39"/>
                    <a:pt x="108" y="45"/>
                  </a:cubicBezTo>
                  <a:cubicBezTo>
                    <a:pt x="84" y="10"/>
                    <a:pt x="84" y="10"/>
                    <a:pt x="84" y="10"/>
                  </a:cubicBezTo>
                  <a:cubicBezTo>
                    <a:pt x="55" y="29"/>
                    <a:pt x="55" y="29"/>
                    <a:pt x="55" y="29"/>
                  </a:cubicBezTo>
                  <a:cubicBezTo>
                    <a:pt x="49" y="33"/>
                    <a:pt x="42" y="35"/>
                    <a:pt x="35" y="35"/>
                  </a:cubicBezTo>
                  <a:cubicBezTo>
                    <a:pt x="24" y="35"/>
                    <a:pt x="12" y="30"/>
                    <a:pt x="6" y="19"/>
                  </a:cubicBezTo>
                  <a:cubicBezTo>
                    <a:pt x="2" y="13"/>
                    <a:pt x="0" y="7"/>
                    <a:pt x="0" y="0"/>
                  </a:cubicBezTo>
                </a:path>
              </a:pathLst>
            </a:custGeom>
            <a:solidFill>
              <a:srgbClr val="F77303"/>
            </a:solidFill>
            <a:ln w="12700">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8" name="Freeform 118">
              <a:extLst>
                <a:ext uri="{FF2B5EF4-FFF2-40B4-BE49-F238E27FC236}">
                  <a16:creationId xmlns:a16="http://schemas.microsoft.com/office/drawing/2014/main" id="{19C5FEB0-7735-4C56-BE80-92006A22C72D}"/>
                </a:ext>
              </a:extLst>
            </p:cNvPr>
            <p:cNvSpPr>
              <a:spLocks/>
            </p:cNvSpPr>
            <p:nvPr/>
          </p:nvSpPr>
          <p:spPr bwMode="auto">
            <a:xfrm>
              <a:off x="3478213" y="2776537"/>
              <a:ext cx="155575" cy="79375"/>
            </a:xfrm>
            <a:custGeom>
              <a:avLst/>
              <a:gdLst>
                <a:gd name="T0" fmla="*/ 0 w 89"/>
                <a:gd name="T1" fmla="*/ 0 h 45"/>
                <a:gd name="T2" fmla="*/ 22 w 89"/>
                <a:gd name="T3" fmla="*/ 15 h 45"/>
                <a:gd name="T4" fmla="*/ 42 w 89"/>
                <a:gd name="T5" fmla="*/ 45 h 45"/>
                <a:gd name="T6" fmla="*/ 89 w 89"/>
                <a:gd name="T7" fmla="*/ 13 h 45"/>
                <a:gd name="T8" fmla="*/ 0 w 89"/>
                <a:gd name="T9" fmla="*/ 0 h 45"/>
              </a:gdLst>
              <a:ahLst/>
              <a:cxnLst>
                <a:cxn ang="0">
                  <a:pos x="T0" y="T1"/>
                </a:cxn>
                <a:cxn ang="0">
                  <a:pos x="T2" y="T3"/>
                </a:cxn>
                <a:cxn ang="0">
                  <a:pos x="T4" y="T5"/>
                </a:cxn>
                <a:cxn ang="0">
                  <a:pos x="T6" y="T7"/>
                </a:cxn>
                <a:cxn ang="0">
                  <a:pos x="T8" y="T9"/>
                </a:cxn>
              </a:cxnLst>
              <a:rect l="0" t="0" r="r" b="b"/>
              <a:pathLst>
                <a:path w="89" h="45">
                  <a:moveTo>
                    <a:pt x="0" y="0"/>
                  </a:moveTo>
                  <a:cubicBezTo>
                    <a:pt x="9" y="2"/>
                    <a:pt x="17" y="7"/>
                    <a:pt x="22" y="15"/>
                  </a:cubicBezTo>
                  <a:cubicBezTo>
                    <a:pt x="42" y="45"/>
                    <a:pt x="42" y="45"/>
                    <a:pt x="42" y="45"/>
                  </a:cubicBezTo>
                  <a:cubicBezTo>
                    <a:pt x="89" y="13"/>
                    <a:pt x="89" y="13"/>
                    <a:pt x="89" y="13"/>
                  </a:cubicBezTo>
                  <a:cubicBezTo>
                    <a:pt x="61" y="5"/>
                    <a:pt x="31" y="1"/>
                    <a:pt x="0" y="0"/>
                  </a:cubicBezTo>
                </a:path>
              </a:pathLst>
            </a:custGeom>
            <a:solidFill>
              <a:srgbClr val="F77303"/>
            </a:solidFill>
            <a:ln w="12700">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39" name="Freeform 119">
              <a:extLst>
                <a:ext uri="{FF2B5EF4-FFF2-40B4-BE49-F238E27FC236}">
                  <a16:creationId xmlns:a16="http://schemas.microsoft.com/office/drawing/2014/main" id="{83D65CF4-89BE-42A6-99A9-DC7DDAF92433}"/>
                </a:ext>
              </a:extLst>
            </p:cNvPr>
            <p:cNvSpPr>
              <a:spLocks/>
            </p:cNvSpPr>
            <p:nvPr/>
          </p:nvSpPr>
          <p:spPr bwMode="auto">
            <a:xfrm>
              <a:off x="3397754" y="2776537"/>
              <a:ext cx="146050" cy="122237"/>
            </a:xfrm>
            <a:custGeom>
              <a:avLst/>
              <a:gdLst>
                <a:gd name="T0" fmla="*/ 35 w 84"/>
                <a:gd name="T1" fmla="*/ 0 h 70"/>
                <a:gd name="T2" fmla="*/ 35 w 84"/>
                <a:gd name="T3" fmla="*/ 0 h 70"/>
                <a:gd name="T4" fmla="*/ 3 w 84"/>
                <a:gd name="T5" fmla="*/ 19 h 70"/>
                <a:gd name="T6" fmla="*/ 0 w 84"/>
                <a:gd name="T7" fmla="*/ 35 h 70"/>
                <a:gd name="T8" fmla="*/ 6 w 84"/>
                <a:gd name="T9" fmla="*/ 54 h 70"/>
                <a:gd name="T10" fmla="*/ 35 w 84"/>
                <a:gd name="T11" fmla="*/ 70 h 70"/>
                <a:gd name="T12" fmla="*/ 55 w 84"/>
                <a:gd name="T13" fmla="*/ 64 h 70"/>
                <a:gd name="T14" fmla="*/ 84 w 84"/>
                <a:gd name="T15" fmla="*/ 45 h 70"/>
                <a:gd name="T16" fmla="*/ 64 w 84"/>
                <a:gd name="T17" fmla="*/ 15 h 70"/>
                <a:gd name="T18" fmla="*/ 42 w 84"/>
                <a:gd name="T19" fmla="*/ 0 h 70"/>
                <a:gd name="T20" fmla="*/ 35 w 84"/>
                <a:gd name="T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70">
                  <a:moveTo>
                    <a:pt x="35" y="0"/>
                  </a:moveTo>
                  <a:cubicBezTo>
                    <a:pt x="35" y="0"/>
                    <a:pt x="35" y="0"/>
                    <a:pt x="35" y="0"/>
                  </a:cubicBezTo>
                  <a:cubicBezTo>
                    <a:pt x="21" y="0"/>
                    <a:pt x="9" y="8"/>
                    <a:pt x="3" y="19"/>
                  </a:cubicBezTo>
                  <a:cubicBezTo>
                    <a:pt x="1" y="24"/>
                    <a:pt x="0" y="29"/>
                    <a:pt x="0" y="35"/>
                  </a:cubicBezTo>
                  <a:cubicBezTo>
                    <a:pt x="0" y="42"/>
                    <a:pt x="2" y="48"/>
                    <a:pt x="6" y="54"/>
                  </a:cubicBezTo>
                  <a:cubicBezTo>
                    <a:pt x="12" y="65"/>
                    <a:pt x="24" y="70"/>
                    <a:pt x="35" y="70"/>
                  </a:cubicBezTo>
                  <a:cubicBezTo>
                    <a:pt x="42" y="70"/>
                    <a:pt x="49" y="68"/>
                    <a:pt x="55" y="64"/>
                  </a:cubicBezTo>
                  <a:cubicBezTo>
                    <a:pt x="84" y="45"/>
                    <a:pt x="84" y="45"/>
                    <a:pt x="84" y="45"/>
                  </a:cubicBezTo>
                  <a:cubicBezTo>
                    <a:pt x="64" y="15"/>
                    <a:pt x="64" y="15"/>
                    <a:pt x="64" y="15"/>
                  </a:cubicBezTo>
                  <a:cubicBezTo>
                    <a:pt x="59" y="7"/>
                    <a:pt x="51" y="2"/>
                    <a:pt x="42" y="0"/>
                  </a:cubicBezTo>
                  <a:cubicBezTo>
                    <a:pt x="40" y="0"/>
                    <a:pt x="37" y="0"/>
                    <a:pt x="35" y="0"/>
                  </a:cubicBezTo>
                </a:path>
              </a:pathLst>
            </a:custGeom>
            <a:solidFill>
              <a:srgbClr val="F34D00"/>
            </a:solidFill>
            <a:ln w="12700">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0" name="Freeform 120">
              <a:extLst>
                <a:ext uri="{FF2B5EF4-FFF2-40B4-BE49-F238E27FC236}">
                  <a16:creationId xmlns:a16="http://schemas.microsoft.com/office/drawing/2014/main" id="{29C4CC3F-9D83-439A-90E4-015A6B0087EE}"/>
                </a:ext>
              </a:extLst>
            </p:cNvPr>
            <p:cNvSpPr>
              <a:spLocks/>
            </p:cNvSpPr>
            <p:nvPr/>
          </p:nvSpPr>
          <p:spPr bwMode="auto">
            <a:xfrm>
              <a:off x="3414713" y="3887787"/>
              <a:ext cx="180975" cy="63500"/>
            </a:xfrm>
            <a:custGeom>
              <a:avLst/>
              <a:gdLst>
                <a:gd name="T0" fmla="*/ 103 w 103"/>
                <a:gd name="T1" fmla="*/ 0 h 36"/>
                <a:gd name="T2" fmla="*/ 29 w 103"/>
                <a:gd name="T3" fmla="*/ 9 h 36"/>
                <a:gd name="T4" fmla="*/ 6 w 103"/>
                <a:gd name="T5" fmla="*/ 18 h 36"/>
                <a:gd name="T6" fmla="*/ 0 w 103"/>
                <a:gd name="T7" fmla="*/ 27 h 36"/>
                <a:gd name="T8" fmla="*/ 29 w 103"/>
                <a:gd name="T9" fmla="*/ 11 h 36"/>
                <a:gd name="T10" fmla="*/ 49 w 103"/>
                <a:gd name="T11" fmla="*/ 17 h 36"/>
                <a:gd name="T12" fmla="*/ 78 w 103"/>
                <a:gd name="T13" fmla="*/ 36 h 36"/>
                <a:gd name="T14" fmla="*/ 103 w 103"/>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36">
                  <a:moveTo>
                    <a:pt x="103" y="0"/>
                  </a:moveTo>
                  <a:cubicBezTo>
                    <a:pt x="79" y="6"/>
                    <a:pt x="54" y="9"/>
                    <a:pt x="29" y="9"/>
                  </a:cubicBezTo>
                  <a:cubicBezTo>
                    <a:pt x="20" y="9"/>
                    <a:pt x="12" y="12"/>
                    <a:pt x="6" y="18"/>
                  </a:cubicBezTo>
                  <a:cubicBezTo>
                    <a:pt x="0" y="27"/>
                    <a:pt x="0" y="27"/>
                    <a:pt x="0" y="27"/>
                  </a:cubicBezTo>
                  <a:cubicBezTo>
                    <a:pt x="6" y="17"/>
                    <a:pt x="18" y="11"/>
                    <a:pt x="29" y="11"/>
                  </a:cubicBezTo>
                  <a:cubicBezTo>
                    <a:pt x="36" y="11"/>
                    <a:pt x="43" y="13"/>
                    <a:pt x="49" y="17"/>
                  </a:cubicBezTo>
                  <a:cubicBezTo>
                    <a:pt x="78" y="36"/>
                    <a:pt x="78" y="36"/>
                    <a:pt x="78" y="36"/>
                  </a:cubicBezTo>
                  <a:cubicBezTo>
                    <a:pt x="103" y="0"/>
                    <a:pt x="103" y="0"/>
                    <a:pt x="103" y="0"/>
                  </a:cubicBezTo>
                </a:path>
              </a:pathLst>
            </a:custGeom>
            <a:solidFill>
              <a:srgbClr val="F77303"/>
            </a:solidFill>
            <a:ln w="12700">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1" name="Freeform 121">
              <a:extLst>
                <a:ext uri="{FF2B5EF4-FFF2-40B4-BE49-F238E27FC236}">
                  <a16:creationId xmlns:a16="http://schemas.microsoft.com/office/drawing/2014/main" id="{4545EB0C-D788-4A71-B54D-B1B22BB2068F}"/>
                </a:ext>
              </a:extLst>
            </p:cNvPr>
            <p:cNvSpPr>
              <a:spLocks/>
            </p:cNvSpPr>
            <p:nvPr/>
          </p:nvSpPr>
          <p:spPr bwMode="auto">
            <a:xfrm>
              <a:off x="3487738" y="3951287"/>
              <a:ext cx="144463" cy="76200"/>
            </a:xfrm>
            <a:custGeom>
              <a:avLst/>
              <a:gdLst>
                <a:gd name="T0" fmla="*/ 37 w 83"/>
                <a:gd name="T1" fmla="*/ 0 h 44"/>
                <a:gd name="T2" fmla="*/ 17 w 83"/>
                <a:gd name="T3" fmla="*/ 30 h 44"/>
                <a:gd name="T4" fmla="*/ 0 w 83"/>
                <a:gd name="T5" fmla="*/ 44 h 44"/>
                <a:gd name="T6" fmla="*/ 83 w 83"/>
                <a:gd name="T7" fmla="*/ 31 h 44"/>
                <a:gd name="T8" fmla="*/ 37 w 83"/>
                <a:gd name="T9" fmla="*/ 0 h 44"/>
              </a:gdLst>
              <a:ahLst/>
              <a:cxnLst>
                <a:cxn ang="0">
                  <a:pos x="T0" y="T1"/>
                </a:cxn>
                <a:cxn ang="0">
                  <a:pos x="T2" y="T3"/>
                </a:cxn>
                <a:cxn ang="0">
                  <a:pos x="T4" y="T5"/>
                </a:cxn>
                <a:cxn ang="0">
                  <a:pos x="T6" y="T7"/>
                </a:cxn>
                <a:cxn ang="0">
                  <a:pos x="T8" y="T9"/>
                </a:cxn>
              </a:cxnLst>
              <a:rect l="0" t="0" r="r" b="b"/>
              <a:pathLst>
                <a:path w="83" h="44">
                  <a:moveTo>
                    <a:pt x="37" y="0"/>
                  </a:moveTo>
                  <a:cubicBezTo>
                    <a:pt x="17" y="30"/>
                    <a:pt x="17" y="30"/>
                    <a:pt x="17" y="30"/>
                  </a:cubicBezTo>
                  <a:cubicBezTo>
                    <a:pt x="13" y="36"/>
                    <a:pt x="7" y="41"/>
                    <a:pt x="0" y="44"/>
                  </a:cubicBezTo>
                  <a:cubicBezTo>
                    <a:pt x="28" y="43"/>
                    <a:pt x="56" y="38"/>
                    <a:pt x="83" y="31"/>
                  </a:cubicBezTo>
                  <a:cubicBezTo>
                    <a:pt x="37" y="0"/>
                    <a:pt x="37" y="0"/>
                    <a:pt x="37" y="0"/>
                  </a:cubicBezTo>
                </a:path>
              </a:pathLst>
            </a:custGeom>
            <a:solidFill>
              <a:srgbClr val="F77303"/>
            </a:solidFill>
            <a:ln w="12700">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2" name="Freeform 122">
              <a:extLst>
                <a:ext uri="{FF2B5EF4-FFF2-40B4-BE49-F238E27FC236}">
                  <a16:creationId xmlns:a16="http://schemas.microsoft.com/office/drawing/2014/main" id="{A826AEF5-6E41-49DC-AF28-6FC4EBA12C83}"/>
                </a:ext>
              </a:extLst>
            </p:cNvPr>
            <p:cNvSpPr>
              <a:spLocks/>
            </p:cNvSpPr>
            <p:nvPr/>
          </p:nvSpPr>
          <p:spPr bwMode="auto">
            <a:xfrm>
              <a:off x="3397754" y="3906837"/>
              <a:ext cx="146050" cy="120650"/>
            </a:xfrm>
            <a:custGeom>
              <a:avLst/>
              <a:gdLst>
                <a:gd name="T0" fmla="*/ 35 w 84"/>
                <a:gd name="T1" fmla="*/ 0 h 69"/>
                <a:gd name="T2" fmla="*/ 6 w 84"/>
                <a:gd name="T3" fmla="*/ 16 h 69"/>
                <a:gd name="T4" fmla="*/ 6 w 84"/>
                <a:gd name="T5" fmla="*/ 16 h 69"/>
                <a:gd name="T6" fmla="*/ 0 w 84"/>
                <a:gd name="T7" fmla="*/ 35 h 69"/>
                <a:gd name="T8" fmla="*/ 0 w 84"/>
                <a:gd name="T9" fmla="*/ 41 h 69"/>
                <a:gd name="T10" fmla="*/ 35 w 84"/>
                <a:gd name="T11" fmla="*/ 69 h 69"/>
                <a:gd name="T12" fmla="*/ 47 w 84"/>
                <a:gd name="T13" fmla="*/ 69 h 69"/>
                <a:gd name="T14" fmla="*/ 64 w 84"/>
                <a:gd name="T15" fmla="*/ 55 h 69"/>
                <a:gd name="T16" fmla="*/ 84 w 84"/>
                <a:gd name="T17" fmla="*/ 25 h 69"/>
                <a:gd name="T18" fmla="*/ 55 w 84"/>
                <a:gd name="T19" fmla="*/ 6 h 69"/>
                <a:gd name="T20" fmla="*/ 35 w 84"/>
                <a:gd name="T21"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69">
                  <a:moveTo>
                    <a:pt x="35" y="0"/>
                  </a:moveTo>
                  <a:cubicBezTo>
                    <a:pt x="24" y="0"/>
                    <a:pt x="12" y="6"/>
                    <a:pt x="6" y="16"/>
                  </a:cubicBezTo>
                  <a:cubicBezTo>
                    <a:pt x="6" y="16"/>
                    <a:pt x="6" y="16"/>
                    <a:pt x="6" y="16"/>
                  </a:cubicBezTo>
                  <a:cubicBezTo>
                    <a:pt x="2" y="22"/>
                    <a:pt x="0" y="29"/>
                    <a:pt x="0" y="35"/>
                  </a:cubicBezTo>
                  <a:cubicBezTo>
                    <a:pt x="0" y="37"/>
                    <a:pt x="0" y="39"/>
                    <a:pt x="0" y="41"/>
                  </a:cubicBezTo>
                  <a:cubicBezTo>
                    <a:pt x="4" y="57"/>
                    <a:pt x="18" y="69"/>
                    <a:pt x="35" y="69"/>
                  </a:cubicBezTo>
                  <a:cubicBezTo>
                    <a:pt x="39" y="69"/>
                    <a:pt x="43" y="69"/>
                    <a:pt x="47" y="69"/>
                  </a:cubicBezTo>
                  <a:cubicBezTo>
                    <a:pt x="54" y="66"/>
                    <a:pt x="60" y="61"/>
                    <a:pt x="64" y="55"/>
                  </a:cubicBezTo>
                  <a:cubicBezTo>
                    <a:pt x="84" y="25"/>
                    <a:pt x="84" y="25"/>
                    <a:pt x="84" y="25"/>
                  </a:cubicBezTo>
                  <a:cubicBezTo>
                    <a:pt x="55" y="6"/>
                    <a:pt x="55" y="6"/>
                    <a:pt x="55" y="6"/>
                  </a:cubicBezTo>
                  <a:cubicBezTo>
                    <a:pt x="49" y="2"/>
                    <a:pt x="42" y="0"/>
                    <a:pt x="35" y="0"/>
                  </a:cubicBezTo>
                </a:path>
              </a:pathLst>
            </a:custGeom>
            <a:solidFill>
              <a:srgbClr val="F34D00"/>
            </a:solidFill>
            <a:ln w="12700">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9" name="Group 8">
            <a:extLst>
              <a:ext uri="{FF2B5EF4-FFF2-40B4-BE49-F238E27FC236}">
                <a16:creationId xmlns:a16="http://schemas.microsoft.com/office/drawing/2014/main" id="{BD6A6CA4-CEC6-44EF-8E6A-6532FC7089C1}"/>
              </a:ext>
            </a:extLst>
          </p:cNvPr>
          <p:cNvGrpSpPr/>
          <p:nvPr/>
        </p:nvGrpSpPr>
        <p:grpSpPr>
          <a:xfrm>
            <a:off x="3406524" y="2669690"/>
            <a:ext cx="375704" cy="195808"/>
            <a:chOff x="3090599" y="3339656"/>
            <a:chExt cx="1208477" cy="629830"/>
          </a:xfrm>
        </p:grpSpPr>
        <p:grpSp>
          <p:nvGrpSpPr>
            <p:cNvPr id="144" name="Group 143">
              <a:extLst>
                <a:ext uri="{FF2B5EF4-FFF2-40B4-BE49-F238E27FC236}">
                  <a16:creationId xmlns:a16="http://schemas.microsoft.com/office/drawing/2014/main" id="{30736D54-99B8-4AED-B86C-9A023AA43962}"/>
                </a:ext>
              </a:extLst>
            </p:cNvPr>
            <p:cNvGrpSpPr/>
            <p:nvPr/>
          </p:nvGrpSpPr>
          <p:grpSpPr>
            <a:xfrm>
              <a:off x="3090599" y="3407340"/>
              <a:ext cx="572563" cy="494461"/>
              <a:chOff x="3859462" y="1735162"/>
              <a:chExt cx="1421330" cy="1227449"/>
            </a:xfrm>
          </p:grpSpPr>
          <p:sp>
            <p:nvSpPr>
              <p:cNvPr id="158" name="Freeform 45">
                <a:extLst>
                  <a:ext uri="{FF2B5EF4-FFF2-40B4-BE49-F238E27FC236}">
                    <a16:creationId xmlns:a16="http://schemas.microsoft.com/office/drawing/2014/main" id="{AD1BEEE3-F7C5-4B03-9712-06BC5CD9034C}"/>
                  </a:ext>
                </a:extLst>
              </p:cNvPr>
              <p:cNvSpPr>
                <a:spLocks/>
              </p:cNvSpPr>
              <p:nvPr/>
            </p:nvSpPr>
            <p:spPr bwMode="auto">
              <a:xfrm>
                <a:off x="3859462" y="1735162"/>
                <a:ext cx="1421330" cy="1227449"/>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59" name="Oval 47">
                <a:extLst>
                  <a:ext uri="{FF2B5EF4-FFF2-40B4-BE49-F238E27FC236}">
                    <a16:creationId xmlns:a16="http://schemas.microsoft.com/office/drawing/2014/main" id="{AE2ECB4D-F58C-4635-8774-11DD73FABE4F}"/>
                  </a:ext>
                </a:extLst>
              </p:cNvPr>
              <p:cNvSpPr>
                <a:spLocks noChangeArrowheads="1"/>
              </p:cNvSpPr>
              <p:nvPr/>
            </p:nvSpPr>
            <p:spPr bwMode="auto">
              <a:xfrm>
                <a:off x="4270686" y="2210568"/>
                <a:ext cx="608240" cy="6082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60" name="Freeform 46">
                <a:extLst>
                  <a:ext uri="{FF2B5EF4-FFF2-40B4-BE49-F238E27FC236}">
                    <a16:creationId xmlns:a16="http://schemas.microsoft.com/office/drawing/2014/main" id="{C7A86090-4373-449B-A2D1-7D57E3ECF6B7}"/>
                  </a:ext>
                </a:extLst>
              </p:cNvPr>
              <p:cNvSpPr>
                <a:spLocks noEditPoints="1"/>
              </p:cNvSpPr>
              <p:nvPr/>
            </p:nvSpPr>
            <p:spPr bwMode="auto">
              <a:xfrm>
                <a:off x="4239197" y="2181750"/>
                <a:ext cx="671221" cy="665871"/>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61" name="Freeform 48">
                <a:extLst>
                  <a:ext uri="{FF2B5EF4-FFF2-40B4-BE49-F238E27FC236}">
                    <a16:creationId xmlns:a16="http://schemas.microsoft.com/office/drawing/2014/main" id="{CF47D636-97A8-45B9-8313-05D5F7C3093F}"/>
                  </a:ext>
                </a:extLst>
              </p:cNvPr>
              <p:cNvSpPr>
                <a:spLocks/>
              </p:cNvSpPr>
              <p:nvPr/>
            </p:nvSpPr>
            <p:spPr bwMode="auto">
              <a:xfrm>
                <a:off x="4538204" y="2306399"/>
                <a:ext cx="63845" cy="276594"/>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62" name="Oval 49">
                <a:extLst>
                  <a:ext uri="{FF2B5EF4-FFF2-40B4-BE49-F238E27FC236}">
                    <a16:creationId xmlns:a16="http://schemas.microsoft.com/office/drawing/2014/main" id="{45F68AB9-0855-41EA-92B3-753CFA9FA9EC}"/>
                  </a:ext>
                </a:extLst>
              </p:cNvPr>
              <p:cNvSpPr>
                <a:spLocks noChangeArrowheads="1"/>
              </p:cNvSpPr>
              <p:nvPr/>
            </p:nvSpPr>
            <p:spPr bwMode="auto">
              <a:xfrm>
                <a:off x="4535198" y="2633286"/>
                <a:ext cx="66856" cy="65518"/>
              </a:xfrm>
              <a:prstGeom prst="ellipse">
                <a:avLst/>
              </a:pr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45" name="Group 144">
              <a:extLst>
                <a:ext uri="{FF2B5EF4-FFF2-40B4-BE49-F238E27FC236}">
                  <a16:creationId xmlns:a16="http://schemas.microsoft.com/office/drawing/2014/main" id="{5B95B25C-F86F-4BF8-997C-816A6E7F612A}"/>
                </a:ext>
              </a:extLst>
            </p:cNvPr>
            <p:cNvGrpSpPr/>
            <p:nvPr/>
          </p:nvGrpSpPr>
          <p:grpSpPr>
            <a:xfrm>
              <a:off x="3726513" y="3407340"/>
              <a:ext cx="572563" cy="494461"/>
              <a:chOff x="3859462" y="1735162"/>
              <a:chExt cx="1421330" cy="1227449"/>
            </a:xfrm>
          </p:grpSpPr>
          <p:sp>
            <p:nvSpPr>
              <p:cNvPr id="153" name="Freeform 45">
                <a:extLst>
                  <a:ext uri="{FF2B5EF4-FFF2-40B4-BE49-F238E27FC236}">
                    <a16:creationId xmlns:a16="http://schemas.microsoft.com/office/drawing/2014/main" id="{74E986D9-50D9-4001-9434-4680F65F8658}"/>
                  </a:ext>
                </a:extLst>
              </p:cNvPr>
              <p:cNvSpPr>
                <a:spLocks/>
              </p:cNvSpPr>
              <p:nvPr/>
            </p:nvSpPr>
            <p:spPr bwMode="auto">
              <a:xfrm>
                <a:off x="3859462" y="1735162"/>
                <a:ext cx="1421330" cy="1227449"/>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54" name="Oval 47">
                <a:extLst>
                  <a:ext uri="{FF2B5EF4-FFF2-40B4-BE49-F238E27FC236}">
                    <a16:creationId xmlns:a16="http://schemas.microsoft.com/office/drawing/2014/main" id="{564F6C2A-B455-4F5B-A00D-1167F5230915}"/>
                  </a:ext>
                </a:extLst>
              </p:cNvPr>
              <p:cNvSpPr>
                <a:spLocks noChangeArrowheads="1"/>
              </p:cNvSpPr>
              <p:nvPr/>
            </p:nvSpPr>
            <p:spPr bwMode="auto">
              <a:xfrm>
                <a:off x="4270686" y="2210568"/>
                <a:ext cx="608240" cy="60823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55" name="Freeform 46">
                <a:extLst>
                  <a:ext uri="{FF2B5EF4-FFF2-40B4-BE49-F238E27FC236}">
                    <a16:creationId xmlns:a16="http://schemas.microsoft.com/office/drawing/2014/main" id="{16F99418-BE5E-453C-A1D1-C348FBF3FA19}"/>
                  </a:ext>
                </a:extLst>
              </p:cNvPr>
              <p:cNvSpPr>
                <a:spLocks noEditPoints="1"/>
              </p:cNvSpPr>
              <p:nvPr/>
            </p:nvSpPr>
            <p:spPr bwMode="auto">
              <a:xfrm>
                <a:off x="4239197" y="2181750"/>
                <a:ext cx="671221" cy="665871"/>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56" name="Freeform 48">
                <a:extLst>
                  <a:ext uri="{FF2B5EF4-FFF2-40B4-BE49-F238E27FC236}">
                    <a16:creationId xmlns:a16="http://schemas.microsoft.com/office/drawing/2014/main" id="{F4177826-AEF3-41CA-9F7B-9F7528ADC544}"/>
                  </a:ext>
                </a:extLst>
              </p:cNvPr>
              <p:cNvSpPr>
                <a:spLocks/>
              </p:cNvSpPr>
              <p:nvPr/>
            </p:nvSpPr>
            <p:spPr bwMode="auto">
              <a:xfrm>
                <a:off x="4538204" y="2306399"/>
                <a:ext cx="63845" cy="276594"/>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57" name="Oval 49">
                <a:extLst>
                  <a:ext uri="{FF2B5EF4-FFF2-40B4-BE49-F238E27FC236}">
                    <a16:creationId xmlns:a16="http://schemas.microsoft.com/office/drawing/2014/main" id="{E892C7B5-5274-49BC-B39E-DF9B70C5EF6D}"/>
                  </a:ext>
                </a:extLst>
              </p:cNvPr>
              <p:cNvSpPr>
                <a:spLocks noChangeArrowheads="1"/>
              </p:cNvSpPr>
              <p:nvPr/>
            </p:nvSpPr>
            <p:spPr bwMode="auto">
              <a:xfrm>
                <a:off x="4535198" y="2633286"/>
                <a:ext cx="66856" cy="65518"/>
              </a:xfrm>
              <a:prstGeom prst="ellipse">
                <a:avLst/>
              </a:pr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46" name="Group 145">
              <a:extLst>
                <a:ext uri="{FF2B5EF4-FFF2-40B4-BE49-F238E27FC236}">
                  <a16:creationId xmlns:a16="http://schemas.microsoft.com/office/drawing/2014/main" id="{D3BE90B3-68DE-4F30-BFF2-B2415A916C2A}"/>
                </a:ext>
              </a:extLst>
            </p:cNvPr>
            <p:cNvGrpSpPr/>
            <p:nvPr/>
          </p:nvGrpSpPr>
          <p:grpSpPr>
            <a:xfrm>
              <a:off x="3330180" y="3339656"/>
              <a:ext cx="729314" cy="629830"/>
              <a:chOff x="3859466" y="1735167"/>
              <a:chExt cx="1421332" cy="1227452"/>
            </a:xfrm>
          </p:grpSpPr>
          <p:sp>
            <p:nvSpPr>
              <p:cNvPr id="147" name="Freeform 45">
                <a:extLst>
                  <a:ext uri="{FF2B5EF4-FFF2-40B4-BE49-F238E27FC236}">
                    <a16:creationId xmlns:a16="http://schemas.microsoft.com/office/drawing/2014/main" id="{14E02E51-E9C9-44E4-877B-D69E7A954FBB}"/>
                  </a:ext>
                </a:extLst>
              </p:cNvPr>
              <p:cNvSpPr>
                <a:spLocks/>
              </p:cNvSpPr>
              <p:nvPr/>
            </p:nvSpPr>
            <p:spPr bwMode="auto">
              <a:xfrm>
                <a:off x="3859466" y="1735167"/>
                <a:ext cx="1421332" cy="1227452"/>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AAC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48" name="Oval 47">
                <a:extLst>
                  <a:ext uri="{FF2B5EF4-FFF2-40B4-BE49-F238E27FC236}">
                    <a16:creationId xmlns:a16="http://schemas.microsoft.com/office/drawing/2014/main" id="{ADFCF3D2-427F-47EC-B85C-C6F03E29226D}"/>
                  </a:ext>
                </a:extLst>
              </p:cNvPr>
              <p:cNvSpPr>
                <a:spLocks noChangeArrowheads="1"/>
              </p:cNvSpPr>
              <p:nvPr/>
            </p:nvSpPr>
            <p:spPr bwMode="auto">
              <a:xfrm>
                <a:off x="4270691" y="2210574"/>
                <a:ext cx="608240" cy="6082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49" name="Freeform 46">
                <a:extLst>
                  <a:ext uri="{FF2B5EF4-FFF2-40B4-BE49-F238E27FC236}">
                    <a16:creationId xmlns:a16="http://schemas.microsoft.com/office/drawing/2014/main" id="{FC4B30CE-B1E5-4389-8948-079FDACD8983}"/>
                  </a:ext>
                </a:extLst>
              </p:cNvPr>
              <p:cNvSpPr>
                <a:spLocks noEditPoints="1"/>
              </p:cNvSpPr>
              <p:nvPr/>
            </p:nvSpPr>
            <p:spPr bwMode="auto">
              <a:xfrm>
                <a:off x="4239201" y="2181756"/>
                <a:ext cx="671221" cy="665873"/>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50" name="Freeform 48">
                <a:extLst>
                  <a:ext uri="{FF2B5EF4-FFF2-40B4-BE49-F238E27FC236}">
                    <a16:creationId xmlns:a16="http://schemas.microsoft.com/office/drawing/2014/main" id="{6F741725-A04F-4C21-990B-6812666DCDA9}"/>
                  </a:ext>
                </a:extLst>
              </p:cNvPr>
              <p:cNvSpPr>
                <a:spLocks/>
              </p:cNvSpPr>
              <p:nvPr/>
            </p:nvSpPr>
            <p:spPr bwMode="auto">
              <a:xfrm>
                <a:off x="4538211" y="2309778"/>
                <a:ext cx="63845" cy="276602"/>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51" name="Oval 49">
                <a:extLst>
                  <a:ext uri="{FF2B5EF4-FFF2-40B4-BE49-F238E27FC236}">
                    <a16:creationId xmlns:a16="http://schemas.microsoft.com/office/drawing/2014/main" id="{11495782-F8D1-410C-94AE-245F7FAE9D39}"/>
                  </a:ext>
                </a:extLst>
              </p:cNvPr>
              <p:cNvSpPr>
                <a:spLocks noChangeArrowheads="1"/>
              </p:cNvSpPr>
              <p:nvPr/>
            </p:nvSpPr>
            <p:spPr bwMode="auto">
              <a:xfrm>
                <a:off x="4535199" y="2633285"/>
                <a:ext cx="66855" cy="65518"/>
              </a:xfrm>
              <a:prstGeom prst="ellipse">
                <a:avLst/>
              </a:prstGeom>
              <a:solidFill>
                <a:srgbClr val="E3241B"/>
              </a:solidFill>
              <a:ln>
                <a:noFill/>
              </a:ln>
              <a:extLst/>
            </p:spPr>
            <p:txBody>
              <a:bodyPr vert="horz" wrap="square" lIns="91440" tIns="45720" rIns="91440" bIns="45720" numCol="1" anchor="t" anchorCtr="0" compatLnSpc="1">
                <a:prstTxWarp prst="textNoShape">
                  <a:avLst/>
                </a:prstTxWarp>
              </a:bodyP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sp>
        <p:nvSpPr>
          <p:cNvPr id="117" name="TextBox 116">
            <a:extLst>
              <a:ext uri="{FF2B5EF4-FFF2-40B4-BE49-F238E27FC236}">
                <a16:creationId xmlns:a16="http://schemas.microsoft.com/office/drawing/2014/main" id="{A5D9EB33-4627-4E7E-8C46-399C2A9F3F5A}"/>
              </a:ext>
            </a:extLst>
          </p:cNvPr>
          <p:cNvSpPr txBox="1"/>
          <p:nvPr/>
        </p:nvSpPr>
        <p:spPr>
          <a:xfrm>
            <a:off x="6998734" y="3930528"/>
            <a:ext cx="1532302" cy="276999"/>
          </a:xfrm>
          <a:prstGeom prst="rect">
            <a:avLst/>
          </a:prstGeom>
          <a:noFill/>
        </p:spPr>
        <p:txBody>
          <a:bodyPr wrap="square" lIns="182880" rtlCol="0">
            <a:spAutoFit/>
          </a:bodyPr>
          <a:lstStyle/>
          <a:p>
            <a:pPr marL="0" marR="0" lvl="0" indent="0" algn="l" defTabSz="428625" rtl="0" eaLnBrk="1" fontAlgn="base" latinLnBrk="0" hangingPunct="1">
              <a:lnSpc>
                <a:spcPct val="100000"/>
              </a:lnSpc>
              <a:spcBef>
                <a:spcPct val="0"/>
              </a:spcBef>
              <a:spcAft>
                <a:spcPct val="0"/>
              </a:spcAft>
              <a:buClrTx/>
              <a:buSzTx/>
              <a:buFontTx/>
              <a:buNone/>
              <a:tabLst/>
              <a:defRPr/>
            </a:pPr>
            <a:r>
              <a:rPr kumimoji="1" lang="en-US" sz="1200" b="0" i="0" u="none" strike="noStrike" kern="1200" cap="none" spc="0" normalizeH="0" baseline="0" noProof="0" dirty="0">
                <a:ln>
                  <a:noFill/>
                </a:ln>
                <a:solidFill>
                  <a:srgbClr val="282828"/>
                </a:solidFill>
                <a:effectLst/>
                <a:uLnTx/>
                <a:uFillTx/>
                <a:latin typeface="CiscoSansTT ExtraLight"/>
                <a:ea typeface="ＭＳ Ｐゴシック" charset="0"/>
              </a:rPr>
              <a:t>Anomalous Traffic</a:t>
            </a:r>
          </a:p>
        </p:txBody>
      </p:sp>
      <p:sp>
        <p:nvSpPr>
          <p:cNvPr id="163" name="TextBox 162">
            <a:extLst>
              <a:ext uri="{FF2B5EF4-FFF2-40B4-BE49-F238E27FC236}">
                <a16:creationId xmlns:a16="http://schemas.microsoft.com/office/drawing/2014/main" id="{2D9DD533-A6D9-42AE-9BC1-C06AB3E9F62B}"/>
              </a:ext>
            </a:extLst>
          </p:cNvPr>
          <p:cNvSpPr txBox="1"/>
          <p:nvPr/>
        </p:nvSpPr>
        <p:spPr>
          <a:xfrm>
            <a:off x="6988626" y="3153712"/>
            <a:ext cx="1509160" cy="276999"/>
          </a:xfrm>
          <a:prstGeom prst="rect">
            <a:avLst/>
          </a:prstGeom>
          <a:noFill/>
        </p:spPr>
        <p:txBody>
          <a:bodyPr wrap="square" lIns="182880"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sz="1200" b="0" i="0" u="none" strike="noStrike" kern="1200" cap="none" spc="0" normalizeH="0" baseline="0" noProof="0" dirty="0">
                <a:ln>
                  <a:noFill/>
                </a:ln>
                <a:solidFill>
                  <a:srgbClr val="282828"/>
                </a:solidFill>
                <a:effectLst/>
                <a:uLnTx/>
                <a:uFillTx/>
                <a:latin typeface="CiscoSansTT ExtraLight"/>
                <a:ea typeface="ＭＳ Ｐゴシック" charset="0"/>
              </a:rPr>
              <a:t>Malicious Events</a:t>
            </a:r>
          </a:p>
        </p:txBody>
      </p:sp>
      <p:sp>
        <p:nvSpPr>
          <p:cNvPr id="164" name="TextBox 163">
            <a:extLst>
              <a:ext uri="{FF2B5EF4-FFF2-40B4-BE49-F238E27FC236}">
                <a16:creationId xmlns:a16="http://schemas.microsoft.com/office/drawing/2014/main" id="{295F0308-A428-4958-AD16-EA311C9990DE}"/>
              </a:ext>
            </a:extLst>
          </p:cNvPr>
          <p:cNvSpPr txBox="1"/>
          <p:nvPr/>
        </p:nvSpPr>
        <p:spPr>
          <a:xfrm>
            <a:off x="6988626" y="2116974"/>
            <a:ext cx="1663664" cy="276999"/>
          </a:xfrm>
          <a:prstGeom prst="rect">
            <a:avLst/>
          </a:prstGeom>
          <a:noFill/>
        </p:spPr>
        <p:txBody>
          <a:bodyPr wrap="square" lIns="182880"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sz="1200" b="0" i="0" u="none" strike="noStrike" kern="1200" cap="none" spc="0" normalizeH="0" baseline="0" noProof="0" dirty="0">
                <a:ln>
                  <a:noFill/>
                </a:ln>
                <a:solidFill>
                  <a:srgbClr val="282828"/>
                </a:solidFill>
                <a:effectLst/>
                <a:uLnTx/>
                <a:uFillTx/>
                <a:latin typeface="CiscoSansTT ExtraLight"/>
                <a:ea typeface="ＭＳ Ｐゴシック" charset="0"/>
              </a:rPr>
              <a:t>Confirmed Incidents</a:t>
            </a:r>
          </a:p>
        </p:txBody>
      </p:sp>
      <p:grpSp>
        <p:nvGrpSpPr>
          <p:cNvPr id="165" name="Group 164">
            <a:extLst>
              <a:ext uri="{FF2B5EF4-FFF2-40B4-BE49-F238E27FC236}">
                <a16:creationId xmlns:a16="http://schemas.microsoft.com/office/drawing/2014/main" id="{332122EE-E784-47B2-AA79-710E6ACEF920}"/>
              </a:ext>
            </a:extLst>
          </p:cNvPr>
          <p:cNvGrpSpPr/>
          <p:nvPr/>
        </p:nvGrpSpPr>
        <p:grpSpPr>
          <a:xfrm flipV="1">
            <a:off x="6107162" y="3787740"/>
            <a:ext cx="616995" cy="570381"/>
            <a:chOff x="6257277" y="1910374"/>
            <a:chExt cx="1092649" cy="970020"/>
          </a:xfrm>
        </p:grpSpPr>
        <p:cxnSp>
          <p:nvCxnSpPr>
            <p:cNvPr id="166" name="Straight Connector 165">
              <a:extLst>
                <a:ext uri="{FF2B5EF4-FFF2-40B4-BE49-F238E27FC236}">
                  <a16:creationId xmlns:a16="http://schemas.microsoft.com/office/drawing/2014/main" id="{BBA76643-0D1D-48CC-8B36-F4116990466D}"/>
                </a:ext>
              </a:extLst>
            </p:cNvPr>
            <p:cNvCxnSpPr>
              <a:cxnSpLocks/>
            </p:cNvCxnSpPr>
            <p:nvPr/>
          </p:nvCxnSpPr>
          <p:spPr>
            <a:xfrm flipV="1">
              <a:off x="6257277" y="2880392"/>
              <a:ext cx="1092649" cy="2"/>
            </a:xfrm>
            <a:prstGeom prst="line">
              <a:avLst/>
            </a:prstGeom>
            <a:noFill/>
            <a:ln w="3175" cap="flat" cmpd="sng" algn="ctr">
              <a:solidFill>
                <a:srgbClr val="00BCEB"/>
              </a:solidFill>
              <a:prstDash val="dash"/>
            </a:ln>
            <a:effectLst/>
          </p:spPr>
        </p:cxnSp>
        <p:cxnSp>
          <p:nvCxnSpPr>
            <p:cNvPr id="167" name="Straight Connector 166">
              <a:extLst>
                <a:ext uri="{FF2B5EF4-FFF2-40B4-BE49-F238E27FC236}">
                  <a16:creationId xmlns:a16="http://schemas.microsoft.com/office/drawing/2014/main" id="{4DB6FBCD-A684-48A5-B51D-9B3A824B7BF9}"/>
                </a:ext>
              </a:extLst>
            </p:cNvPr>
            <p:cNvCxnSpPr>
              <a:cxnSpLocks/>
            </p:cNvCxnSpPr>
            <p:nvPr/>
          </p:nvCxnSpPr>
          <p:spPr>
            <a:xfrm>
              <a:off x="6868566" y="1910376"/>
              <a:ext cx="481358" cy="0"/>
            </a:xfrm>
            <a:prstGeom prst="line">
              <a:avLst/>
            </a:prstGeom>
            <a:noFill/>
            <a:ln w="3175" cap="flat" cmpd="sng" algn="ctr">
              <a:solidFill>
                <a:srgbClr val="00BCEB"/>
              </a:solidFill>
              <a:prstDash val="dash"/>
            </a:ln>
            <a:effectLst/>
          </p:spPr>
        </p:cxnSp>
        <p:cxnSp>
          <p:nvCxnSpPr>
            <p:cNvPr id="168" name="Straight Connector 167">
              <a:extLst>
                <a:ext uri="{FF2B5EF4-FFF2-40B4-BE49-F238E27FC236}">
                  <a16:creationId xmlns:a16="http://schemas.microsoft.com/office/drawing/2014/main" id="{EE2A7307-446E-4DA4-A2AF-BF913561EA37}"/>
                </a:ext>
              </a:extLst>
            </p:cNvPr>
            <p:cNvCxnSpPr>
              <a:cxnSpLocks/>
            </p:cNvCxnSpPr>
            <p:nvPr/>
          </p:nvCxnSpPr>
          <p:spPr>
            <a:xfrm flipV="1">
              <a:off x="7349924" y="1910374"/>
              <a:ext cx="0" cy="970015"/>
            </a:xfrm>
            <a:prstGeom prst="line">
              <a:avLst/>
            </a:prstGeom>
            <a:noFill/>
            <a:ln w="3175" cap="flat" cmpd="sng" algn="ctr">
              <a:solidFill>
                <a:srgbClr val="00BCEB"/>
              </a:solidFill>
              <a:prstDash val="dash"/>
            </a:ln>
            <a:effectLst/>
          </p:spPr>
        </p:cxnSp>
      </p:grpSp>
      <p:cxnSp>
        <p:nvCxnSpPr>
          <p:cNvPr id="182" name="Straight Connector 181">
            <a:extLst>
              <a:ext uri="{FF2B5EF4-FFF2-40B4-BE49-F238E27FC236}">
                <a16:creationId xmlns:a16="http://schemas.microsoft.com/office/drawing/2014/main" id="{98026BB1-8098-4B40-A941-319408C917BC}"/>
              </a:ext>
            </a:extLst>
          </p:cNvPr>
          <p:cNvCxnSpPr>
            <a:cxnSpLocks/>
          </p:cNvCxnSpPr>
          <p:nvPr/>
        </p:nvCxnSpPr>
        <p:spPr>
          <a:xfrm flipV="1">
            <a:off x="5071654" y="2276924"/>
            <a:ext cx="1916972" cy="0"/>
          </a:xfrm>
          <a:prstGeom prst="line">
            <a:avLst/>
          </a:prstGeom>
          <a:noFill/>
          <a:ln w="3175" cap="flat" cmpd="sng" algn="ctr">
            <a:solidFill>
              <a:srgbClr val="00BCEB"/>
            </a:solidFill>
            <a:prstDash val="dash"/>
            <a:tailEnd type="oval"/>
          </a:ln>
          <a:effectLst/>
        </p:spPr>
      </p:cxnSp>
      <p:cxnSp>
        <p:nvCxnSpPr>
          <p:cNvPr id="183" name="Straight Connector 182">
            <a:extLst>
              <a:ext uri="{FF2B5EF4-FFF2-40B4-BE49-F238E27FC236}">
                <a16:creationId xmlns:a16="http://schemas.microsoft.com/office/drawing/2014/main" id="{630E4388-B6F5-49F1-B2F6-21203F376486}"/>
              </a:ext>
            </a:extLst>
          </p:cNvPr>
          <p:cNvCxnSpPr>
            <a:cxnSpLocks/>
          </p:cNvCxnSpPr>
          <p:nvPr/>
        </p:nvCxnSpPr>
        <p:spPr>
          <a:xfrm>
            <a:off x="5792561" y="3290698"/>
            <a:ext cx="1196065" cy="0"/>
          </a:xfrm>
          <a:prstGeom prst="line">
            <a:avLst/>
          </a:prstGeom>
          <a:noFill/>
          <a:ln w="3175" cap="flat" cmpd="sng" algn="ctr">
            <a:solidFill>
              <a:srgbClr val="00BCEB"/>
            </a:solidFill>
            <a:prstDash val="dash"/>
            <a:tailEnd type="oval"/>
          </a:ln>
          <a:effectLst/>
        </p:spPr>
      </p:cxnSp>
      <p:cxnSp>
        <p:nvCxnSpPr>
          <p:cNvPr id="184" name="Straight Connector 183">
            <a:extLst>
              <a:ext uri="{FF2B5EF4-FFF2-40B4-BE49-F238E27FC236}">
                <a16:creationId xmlns:a16="http://schemas.microsoft.com/office/drawing/2014/main" id="{165E057A-771C-4E66-ADDD-251644B8D9A2}"/>
              </a:ext>
            </a:extLst>
          </p:cNvPr>
          <p:cNvCxnSpPr>
            <a:cxnSpLocks/>
          </p:cNvCxnSpPr>
          <p:nvPr/>
        </p:nvCxnSpPr>
        <p:spPr>
          <a:xfrm flipV="1">
            <a:off x="6724157" y="4070914"/>
            <a:ext cx="264469" cy="1344"/>
          </a:xfrm>
          <a:prstGeom prst="line">
            <a:avLst/>
          </a:prstGeom>
          <a:noFill/>
          <a:ln w="3175" cap="flat" cmpd="sng" algn="ctr">
            <a:solidFill>
              <a:srgbClr val="00BCEB"/>
            </a:solidFill>
            <a:prstDash val="dash"/>
            <a:tailEnd type="oval"/>
          </a:ln>
          <a:effectLst/>
        </p:spPr>
      </p:cxnSp>
      <p:cxnSp>
        <p:nvCxnSpPr>
          <p:cNvPr id="185" name="Straight Connector 184">
            <a:extLst>
              <a:ext uri="{FF2B5EF4-FFF2-40B4-BE49-F238E27FC236}">
                <a16:creationId xmlns:a16="http://schemas.microsoft.com/office/drawing/2014/main" id="{4CE6DA4B-80AB-BE45-9E3D-95BF2BCB0F70}"/>
              </a:ext>
            </a:extLst>
          </p:cNvPr>
          <p:cNvCxnSpPr>
            <a:cxnSpLocks/>
          </p:cNvCxnSpPr>
          <p:nvPr/>
        </p:nvCxnSpPr>
        <p:spPr>
          <a:xfrm flipV="1">
            <a:off x="5440164" y="2783416"/>
            <a:ext cx="1548462" cy="4533"/>
          </a:xfrm>
          <a:prstGeom prst="line">
            <a:avLst/>
          </a:prstGeom>
          <a:noFill/>
          <a:ln w="3175" cap="flat" cmpd="sng" algn="ctr">
            <a:solidFill>
              <a:srgbClr val="00BCEB"/>
            </a:solidFill>
            <a:prstDash val="dash"/>
            <a:tailEnd type="oval"/>
          </a:ln>
          <a:effectLst/>
        </p:spPr>
      </p:cxnSp>
      <p:sp>
        <p:nvSpPr>
          <p:cNvPr id="186" name="TextBox 185">
            <a:extLst>
              <a:ext uri="{FF2B5EF4-FFF2-40B4-BE49-F238E27FC236}">
                <a16:creationId xmlns:a16="http://schemas.microsoft.com/office/drawing/2014/main" id="{42FAA5DE-E272-5947-AD3D-8D3E775B9DC7}"/>
              </a:ext>
            </a:extLst>
          </p:cNvPr>
          <p:cNvSpPr txBox="1"/>
          <p:nvPr/>
        </p:nvSpPr>
        <p:spPr>
          <a:xfrm>
            <a:off x="6998734" y="2642688"/>
            <a:ext cx="1509160" cy="276999"/>
          </a:xfrm>
          <a:prstGeom prst="rect">
            <a:avLst/>
          </a:prstGeom>
          <a:noFill/>
        </p:spPr>
        <p:txBody>
          <a:bodyPr wrap="square" lIns="182880"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sz="1200" b="0" i="0" u="none" strike="noStrike" kern="1200" cap="none" spc="0" normalizeH="0" baseline="0" noProof="0" dirty="0">
                <a:ln>
                  <a:noFill/>
                </a:ln>
                <a:solidFill>
                  <a:srgbClr val="282828"/>
                </a:solidFill>
                <a:effectLst/>
                <a:uLnTx/>
                <a:uFillTx/>
                <a:latin typeface="CiscoSansTT ExtraLight"/>
                <a:ea typeface="ＭＳ Ｐゴシック" charset="0"/>
              </a:rPr>
              <a:t>Incidents</a:t>
            </a:r>
          </a:p>
        </p:txBody>
      </p:sp>
    </p:spTree>
    <p:extLst>
      <p:ext uri="{BB962C8B-B14F-4D97-AF65-F5344CB8AC3E}">
        <p14:creationId xmlns:p14="http://schemas.microsoft.com/office/powerpoint/2010/main" val="9782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ncrypted Traffic Analytics</a:t>
            </a:r>
          </a:p>
        </p:txBody>
      </p:sp>
      <p:sp>
        <p:nvSpPr>
          <p:cNvPr id="83" name="Rounded Rectangle 12">
            <a:extLst>
              <a:ext uri="{FF2B5EF4-FFF2-40B4-BE49-F238E27FC236}">
                <a16:creationId xmlns:a16="http://schemas.microsoft.com/office/drawing/2014/main" id="{A0EB8445-7870-4CE7-8E14-9EFCD86DF7C7}"/>
              </a:ext>
            </a:extLst>
          </p:cNvPr>
          <p:cNvSpPr/>
          <p:nvPr/>
        </p:nvSpPr>
        <p:spPr>
          <a:xfrm>
            <a:off x="5269802" y="2965122"/>
            <a:ext cx="3382488" cy="1111798"/>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cs typeface="+mn-cs"/>
              </a:rPr>
              <a:t>Ensure cryptographic compliance</a:t>
            </a:r>
          </a:p>
        </p:txBody>
      </p:sp>
      <p:sp>
        <p:nvSpPr>
          <p:cNvPr id="84" name="Rounded Rectangle 12">
            <a:extLst>
              <a:ext uri="{FF2B5EF4-FFF2-40B4-BE49-F238E27FC236}">
                <a16:creationId xmlns:a16="http://schemas.microsoft.com/office/drawing/2014/main" id="{293ED4AD-A024-4DCE-A2AC-D3367052DA2B}"/>
              </a:ext>
            </a:extLst>
          </p:cNvPr>
          <p:cNvSpPr/>
          <p:nvPr/>
        </p:nvSpPr>
        <p:spPr>
          <a:xfrm>
            <a:off x="526183" y="2965122"/>
            <a:ext cx="3382488" cy="1111798"/>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cs typeface="+mn-cs"/>
              </a:rPr>
              <a:t>Detect malware </a:t>
            </a:r>
            <a:br>
              <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cs typeface="+mn-cs"/>
              </a:rPr>
            </a:br>
            <a:r>
              <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cs typeface="+mn-cs"/>
              </a:rPr>
              <a:t>in encrypted traffic</a:t>
            </a:r>
          </a:p>
        </p:txBody>
      </p:sp>
      <p:sp>
        <p:nvSpPr>
          <p:cNvPr id="85" name="Rectangle 84">
            <a:extLst>
              <a:ext uri="{FF2B5EF4-FFF2-40B4-BE49-F238E27FC236}">
                <a16:creationId xmlns:a16="http://schemas.microsoft.com/office/drawing/2014/main" id="{44AA3BC2-472E-488D-86D6-A998D00E95A3}"/>
              </a:ext>
            </a:extLst>
          </p:cNvPr>
          <p:cNvSpPr/>
          <p:nvPr/>
        </p:nvSpPr>
        <p:spPr>
          <a:xfrm>
            <a:off x="6627961" y="3660066"/>
            <a:ext cx="184731" cy="369332"/>
          </a:xfrm>
          <a:prstGeom prst="rect">
            <a:avLst/>
          </a:prstGeom>
        </p:spPr>
        <p:txBody>
          <a:bodyPr wrap="none">
            <a:spAutoFit/>
          </a:bodyPr>
          <a:lstStyle/>
          <a:p>
            <a:pPr marL="0" marR="0" lvl="0" indent="0" algn="ctr" defTabSz="457189" rtl="0" eaLnBrk="1" fontAlgn="base" latinLnBrk="0" hangingPunct="1">
              <a:lnSpc>
                <a:spcPct val="100000"/>
              </a:lnSpc>
              <a:spcBef>
                <a:spcPct val="0"/>
              </a:spcBef>
              <a:spcAft>
                <a:spcPts val="600"/>
              </a:spcAft>
              <a:buClrTx/>
              <a:buSzTx/>
              <a:buFontTx/>
              <a:buNone/>
              <a:tabLst/>
              <a:defRPr/>
            </a:pPr>
            <a:endParaRPr kumimoji="0" lang="en-US" sz="1800" b="0" i="0" u="none" strike="noStrike" kern="1200" cap="none" spc="0" normalizeH="0" baseline="0" noProof="0" dirty="0">
              <a:ln>
                <a:noFill/>
              </a:ln>
              <a:solidFill>
                <a:srgbClr val="00BCEB"/>
              </a:solidFill>
              <a:effectLst/>
              <a:uLnTx/>
              <a:uFillTx/>
              <a:latin typeface="CiscoSansTT ExtraLight"/>
              <a:ea typeface="ＭＳ Ｐゴシック" charset="0"/>
            </a:endParaRPr>
          </a:p>
        </p:txBody>
      </p:sp>
      <p:sp>
        <p:nvSpPr>
          <p:cNvPr id="86" name="TextBox 85">
            <a:extLst>
              <a:ext uri="{FF2B5EF4-FFF2-40B4-BE49-F238E27FC236}">
                <a16:creationId xmlns:a16="http://schemas.microsoft.com/office/drawing/2014/main" id="{29954D14-D758-4EC9-AF28-EA3391BDC2A8}"/>
              </a:ext>
            </a:extLst>
          </p:cNvPr>
          <p:cNvSpPr txBox="1"/>
          <p:nvPr/>
        </p:nvSpPr>
        <p:spPr>
          <a:xfrm>
            <a:off x="1325242" y="1319667"/>
            <a:ext cx="6570535" cy="646331"/>
          </a:xfrm>
          <a:prstGeom prst="rect">
            <a:avLst/>
          </a:prstGeom>
          <a:noFill/>
        </p:spPr>
        <p:txBody>
          <a:bodyPr wrap="square" rtlCol="0"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5073"/>
                </a:solidFill>
                <a:effectLst/>
                <a:uLnTx/>
                <a:uFillTx/>
                <a:latin typeface="CiscoSansTT ExtraLight"/>
                <a:ea typeface="ＭＳ Ｐゴシック" charset="0"/>
              </a:rPr>
              <a:t>Cisco Stealthwatch Enterprise is the only solution providing visibility and malware detection </a:t>
            </a:r>
            <a:r>
              <a:rPr kumimoji="0" lang="en-US" sz="1800" b="0" i="0" u="none" strike="noStrike" kern="1200" cap="none" spc="0" normalizeH="0" baseline="0" noProof="0" dirty="0">
                <a:ln>
                  <a:noFill/>
                </a:ln>
                <a:solidFill>
                  <a:srgbClr val="00BCEB"/>
                </a:solidFill>
                <a:effectLst/>
                <a:uLnTx/>
                <a:uFillTx/>
                <a:latin typeface="CiscoSansTT ExtraLight"/>
                <a:ea typeface="ＭＳ Ｐゴシック" charset="0"/>
              </a:rPr>
              <a:t>without decryption</a:t>
            </a:r>
          </a:p>
        </p:txBody>
      </p:sp>
      <p:grpSp>
        <p:nvGrpSpPr>
          <p:cNvPr id="90" name="Group 89">
            <a:extLst>
              <a:ext uri="{FF2B5EF4-FFF2-40B4-BE49-F238E27FC236}">
                <a16:creationId xmlns:a16="http://schemas.microsoft.com/office/drawing/2014/main" id="{0920FFA0-1D60-4E7D-92D2-0674870A538D}"/>
              </a:ext>
            </a:extLst>
          </p:cNvPr>
          <p:cNvGrpSpPr/>
          <p:nvPr/>
        </p:nvGrpSpPr>
        <p:grpSpPr>
          <a:xfrm>
            <a:off x="3693942" y="2642963"/>
            <a:ext cx="1756116" cy="1756116"/>
            <a:chOff x="3693942" y="2337102"/>
            <a:chExt cx="1756116" cy="1756116"/>
          </a:xfrm>
        </p:grpSpPr>
        <p:sp>
          <p:nvSpPr>
            <p:cNvPr id="91" name="Oval 43">
              <a:extLst>
                <a:ext uri="{FF2B5EF4-FFF2-40B4-BE49-F238E27FC236}">
                  <a16:creationId xmlns:a16="http://schemas.microsoft.com/office/drawing/2014/main" id="{88960856-A52B-462D-8BC8-B5DB9E13840E}"/>
                </a:ext>
              </a:extLst>
            </p:cNvPr>
            <p:cNvSpPr>
              <a:spLocks noChangeArrowheads="1"/>
            </p:cNvSpPr>
            <p:nvPr/>
          </p:nvSpPr>
          <p:spPr bwMode="auto">
            <a:xfrm>
              <a:off x="3693942" y="2337102"/>
              <a:ext cx="1756116" cy="1756116"/>
            </a:xfrm>
            <a:prstGeom prst="ellipse">
              <a:avLst/>
            </a:pr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92" name="Freeform 19">
              <a:extLst>
                <a:ext uri="{FF2B5EF4-FFF2-40B4-BE49-F238E27FC236}">
                  <a16:creationId xmlns:a16="http://schemas.microsoft.com/office/drawing/2014/main" id="{19205DBB-01EF-4293-9BDA-22671D784FA7}"/>
                </a:ext>
              </a:extLst>
            </p:cNvPr>
            <p:cNvSpPr>
              <a:spLocks noEditPoints="1"/>
            </p:cNvSpPr>
            <p:nvPr/>
          </p:nvSpPr>
          <p:spPr bwMode="auto">
            <a:xfrm>
              <a:off x="4042987" y="2571750"/>
              <a:ext cx="786544" cy="1010726"/>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3" name="Oval 47">
              <a:extLst>
                <a:ext uri="{FF2B5EF4-FFF2-40B4-BE49-F238E27FC236}">
                  <a16:creationId xmlns:a16="http://schemas.microsoft.com/office/drawing/2014/main" id="{C2F10F6E-CB65-4A31-B3BF-D380BF54C530}"/>
                </a:ext>
              </a:extLst>
            </p:cNvPr>
            <p:cNvSpPr>
              <a:spLocks noChangeArrowheads="1"/>
            </p:cNvSpPr>
            <p:nvPr/>
          </p:nvSpPr>
          <p:spPr bwMode="auto">
            <a:xfrm>
              <a:off x="4635851" y="3039962"/>
              <a:ext cx="564405" cy="566026"/>
            </a:xfrm>
            <a:prstGeom prst="ellipse">
              <a:avLst/>
            </a:prstGeom>
            <a:solidFill>
              <a:schemeClr val="bg2">
                <a:lumMod val="95000"/>
              </a:schemeClr>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nvGrpSpPr>
            <p:cNvPr id="94" name="Group 93">
              <a:extLst>
                <a:ext uri="{FF2B5EF4-FFF2-40B4-BE49-F238E27FC236}">
                  <a16:creationId xmlns:a16="http://schemas.microsoft.com/office/drawing/2014/main" id="{A4AD6A38-68D5-4C85-9B01-CEA05663AA5D}"/>
                </a:ext>
              </a:extLst>
            </p:cNvPr>
            <p:cNvGrpSpPr/>
            <p:nvPr/>
          </p:nvGrpSpPr>
          <p:grpSpPr>
            <a:xfrm>
              <a:off x="4260847" y="2989191"/>
              <a:ext cx="987975" cy="725685"/>
              <a:chOff x="-3406597" y="2475489"/>
              <a:chExt cx="1130209" cy="827778"/>
            </a:xfrm>
          </p:grpSpPr>
          <p:sp>
            <p:nvSpPr>
              <p:cNvPr id="99" name="Freeform 103">
                <a:extLst>
                  <a:ext uri="{FF2B5EF4-FFF2-40B4-BE49-F238E27FC236}">
                    <a16:creationId xmlns:a16="http://schemas.microsoft.com/office/drawing/2014/main" id="{C4D55D90-2071-40C3-A3E5-C412B1B2098B}"/>
                  </a:ext>
                </a:extLst>
              </p:cNvPr>
              <p:cNvSpPr>
                <a:spLocks/>
              </p:cNvSpPr>
              <p:nvPr/>
            </p:nvSpPr>
            <p:spPr bwMode="auto">
              <a:xfrm rot="19203019" flipH="1">
                <a:off x="-3406597" y="3209775"/>
                <a:ext cx="602446" cy="93492"/>
              </a:xfrm>
              <a:prstGeom prst="roundRect">
                <a:avLst>
                  <a:gd name="adj" fmla="val 50000"/>
                </a:avLst>
              </a:prstGeom>
              <a:solidFill>
                <a:srgbClr val="34B2DE"/>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00" name="Freeform 277">
                <a:extLst>
                  <a:ext uri="{FF2B5EF4-FFF2-40B4-BE49-F238E27FC236}">
                    <a16:creationId xmlns:a16="http://schemas.microsoft.com/office/drawing/2014/main" id="{C1D02B58-56CD-4C40-991E-C854937B7A9A}"/>
                  </a:ext>
                </a:extLst>
              </p:cNvPr>
              <p:cNvSpPr>
                <a:spLocks noEditPoints="1"/>
              </p:cNvSpPr>
              <p:nvPr/>
            </p:nvSpPr>
            <p:spPr bwMode="auto">
              <a:xfrm>
                <a:off x="-3036926" y="2475489"/>
                <a:ext cx="760538" cy="760538"/>
              </a:xfrm>
              <a:prstGeom prst="donut">
                <a:avLst>
                  <a:gd name="adj" fmla="val 11461"/>
                </a:avLst>
              </a:prstGeom>
              <a:solidFill>
                <a:srgbClr val="34B2DE"/>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95" name="Group 94">
              <a:extLst>
                <a:ext uri="{FF2B5EF4-FFF2-40B4-BE49-F238E27FC236}">
                  <a16:creationId xmlns:a16="http://schemas.microsoft.com/office/drawing/2014/main" id="{A12685C7-C823-4364-AE26-0A8A9F82C777}"/>
                </a:ext>
              </a:extLst>
            </p:cNvPr>
            <p:cNvGrpSpPr>
              <a:grpSpLocks noChangeAspect="1"/>
            </p:cNvGrpSpPr>
            <p:nvPr/>
          </p:nvGrpSpPr>
          <p:grpSpPr>
            <a:xfrm>
              <a:off x="4737474" y="3174540"/>
              <a:ext cx="328465" cy="323050"/>
              <a:chOff x="6333580" y="2334557"/>
              <a:chExt cx="545984" cy="536983"/>
            </a:xfrm>
          </p:grpSpPr>
          <p:sp>
            <p:nvSpPr>
              <p:cNvPr id="96" name="Freeform 251">
                <a:extLst>
                  <a:ext uri="{FF2B5EF4-FFF2-40B4-BE49-F238E27FC236}">
                    <a16:creationId xmlns:a16="http://schemas.microsoft.com/office/drawing/2014/main" id="{ED9F0097-4AF9-4360-974D-A61EBB7F55C8}"/>
                  </a:ext>
                </a:extLst>
              </p:cNvPr>
              <p:cNvSpPr>
                <a:spLocks/>
              </p:cNvSpPr>
              <p:nvPr/>
            </p:nvSpPr>
            <p:spPr bwMode="auto">
              <a:xfrm>
                <a:off x="6551574" y="2334557"/>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7" name="Freeform 256">
                <a:extLst>
                  <a:ext uri="{FF2B5EF4-FFF2-40B4-BE49-F238E27FC236}">
                    <a16:creationId xmlns:a16="http://schemas.microsoft.com/office/drawing/2014/main" id="{EF9F4603-3EE6-47DC-A1B7-1B52C0B1CBA6}"/>
                  </a:ext>
                </a:extLst>
              </p:cNvPr>
              <p:cNvSpPr>
                <a:spLocks/>
              </p:cNvSpPr>
              <p:nvPr/>
            </p:nvSpPr>
            <p:spPr bwMode="auto">
              <a:xfrm>
                <a:off x="6333580" y="2502552"/>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8" name="Freeform 260">
                <a:extLst>
                  <a:ext uri="{FF2B5EF4-FFF2-40B4-BE49-F238E27FC236}">
                    <a16:creationId xmlns:a16="http://schemas.microsoft.com/office/drawing/2014/main" id="{8506A73A-E585-41F4-88A8-A7C151AB846E}"/>
                  </a:ext>
                </a:extLst>
              </p:cNvPr>
              <p:cNvSpPr>
                <a:spLocks/>
              </p:cNvSpPr>
              <p:nvPr/>
            </p:nvSpPr>
            <p:spPr bwMode="auto">
              <a:xfrm>
                <a:off x="6461576" y="2648547"/>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103" name="Group 102">
            <a:extLst>
              <a:ext uri="{FF2B5EF4-FFF2-40B4-BE49-F238E27FC236}">
                <a16:creationId xmlns:a16="http://schemas.microsoft.com/office/drawing/2014/main" id="{643F4D5C-180A-4B6C-AB9D-75CF333F01CB}"/>
              </a:ext>
            </a:extLst>
          </p:cNvPr>
          <p:cNvGrpSpPr>
            <a:grpSpLocks noChangeAspect="1"/>
          </p:cNvGrpSpPr>
          <p:nvPr/>
        </p:nvGrpSpPr>
        <p:grpSpPr>
          <a:xfrm>
            <a:off x="528362" y="1280882"/>
            <a:ext cx="723900" cy="723900"/>
            <a:chOff x="3086100" y="1073150"/>
            <a:chExt cx="3251200" cy="3251200"/>
          </a:xfrm>
        </p:grpSpPr>
        <p:sp>
          <p:nvSpPr>
            <p:cNvPr id="104" name="Oval 5">
              <a:extLst>
                <a:ext uri="{FF2B5EF4-FFF2-40B4-BE49-F238E27FC236}">
                  <a16:creationId xmlns:a16="http://schemas.microsoft.com/office/drawing/2014/main" id="{9A7BF8F0-C9E3-4FBD-A1EC-653647E638D6}"/>
                </a:ext>
              </a:extLst>
            </p:cNvPr>
            <p:cNvSpPr>
              <a:spLocks noChangeArrowheads="1"/>
            </p:cNvSpPr>
            <p:nvPr/>
          </p:nvSpPr>
          <p:spPr bwMode="auto">
            <a:xfrm>
              <a:off x="3086100" y="1073150"/>
              <a:ext cx="3251200" cy="325120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5" name="Freeform 15">
              <a:extLst>
                <a:ext uri="{FF2B5EF4-FFF2-40B4-BE49-F238E27FC236}">
                  <a16:creationId xmlns:a16="http://schemas.microsoft.com/office/drawing/2014/main" id="{1207EDB7-8F61-4218-9AAA-B07A6C89CC1D}"/>
                </a:ext>
              </a:extLst>
            </p:cNvPr>
            <p:cNvSpPr>
              <a:spLocks/>
            </p:cNvSpPr>
            <p:nvPr/>
          </p:nvSpPr>
          <p:spPr bwMode="auto">
            <a:xfrm>
              <a:off x="3690937" y="1443038"/>
              <a:ext cx="2020888" cy="2005013"/>
            </a:xfrm>
            <a:custGeom>
              <a:avLst/>
              <a:gdLst>
                <a:gd name="connsiteX0" fmla="*/ 1399705 w 2020888"/>
                <a:gd name="connsiteY0" fmla="*/ 1944688 h 2005013"/>
                <a:gd name="connsiteX1" fmla="*/ 1399945 w 2020888"/>
                <a:gd name="connsiteY1" fmla="*/ 1944825 h 2005013"/>
                <a:gd name="connsiteX2" fmla="*/ 1399945 w 2020888"/>
                <a:gd name="connsiteY2" fmla="*/ 1944688 h 2005013"/>
                <a:gd name="connsiteX3" fmla="*/ 620943 w 2020888"/>
                <a:gd name="connsiteY3" fmla="*/ 1943298 h 2005013"/>
                <a:gd name="connsiteX4" fmla="*/ 620943 w 2020888"/>
                <a:gd name="connsiteY4" fmla="*/ 1943826 h 2005013"/>
                <a:gd name="connsiteX5" fmla="*/ 620943 w 2020888"/>
                <a:gd name="connsiteY5" fmla="*/ 1944825 h 2005013"/>
                <a:gd name="connsiteX6" fmla="*/ 621584 w 2020888"/>
                <a:gd name="connsiteY6" fmla="*/ 1944483 h 2005013"/>
                <a:gd name="connsiteX7" fmla="*/ 621584 w 2020888"/>
                <a:gd name="connsiteY7" fmla="*/ 1944483 h 2005013"/>
                <a:gd name="connsiteX8" fmla="*/ 1012326 w 2020888"/>
                <a:gd name="connsiteY8" fmla="*/ 0 h 2005013"/>
                <a:gd name="connsiteX9" fmla="*/ 1727351 w 2020888"/>
                <a:gd name="connsiteY9" fmla="*/ 293417 h 2005013"/>
                <a:gd name="connsiteX10" fmla="*/ 2020888 w 2020888"/>
                <a:gd name="connsiteY10" fmla="*/ 1008149 h 2005013"/>
                <a:gd name="connsiteX11" fmla="*/ 1960676 w 2020888"/>
                <a:gd name="connsiteY11" fmla="*/ 1309089 h 2005013"/>
                <a:gd name="connsiteX12" fmla="*/ 1825197 w 2020888"/>
                <a:gd name="connsiteY12" fmla="*/ 1546080 h 2005013"/>
                <a:gd name="connsiteX13" fmla="*/ 1614453 w 2020888"/>
                <a:gd name="connsiteY13" fmla="*/ 1768023 h 2005013"/>
                <a:gd name="connsiteX14" fmla="*/ 1505317 w 2020888"/>
                <a:gd name="connsiteY14" fmla="*/ 1895922 h 2005013"/>
                <a:gd name="connsiteX15" fmla="*/ 1456394 w 2020888"/>
                <a:gd name="connsiteY15" fmla="*/ 1971157 h 2005013"/>
                <a:gd name="connsiteX16" fmla="*/ 1399945 w 2020888"/>
                <a:gd name="connsiteY16" fmla="*/ 2005013 h 2005013"/>
                <a:gd name="connsiteX17" fmla="*/ 620943 w 2020888"/>
                <a:gd name="connsiteY17" fmla="*/ 2005013 h 2005013"/>
                <a:gd name="connsiteX18" fmla="*/ 568257 w 2020888"/>
                <a:gd name="connsiteY18" fmla="*/ 1974919 h 2005013"/>
                <a:gd name="connsiteX19" fmla="*/ 568257 w 2020888"/>
                <a:gd name="connsiteY19" fmla="*/ 1971157 h 2005013"/>
                <a:gd name="connsiteX20" fmla="*/ 564494 w 2020888"/>
                <a:gd name="connsiteY20" fmla="*/ 1971157 h 2005013"/>
                <a:gd name="connsiteX21" fmla="*/ 560731 w 2020888"/>
                <a:gd name="connsiteY21" fmla="*/ 1959872 h 2005013"/>
                <a:gd name="connsiteX22" fmla="*/ 538151 w 2020888"/>
                <a:gd name="connsiteY22" fmla="*/ 1926016 h 2005013"/>
                <a:gd name="connsiteX23" fmla="*/ 466648 w 2020888"/>
                <a:gd name="connsiteY23" fmla="*/ 1828211 h 2005013"/>
                <a:gd name="connsiteX24" fmla="*/ 406436 w 2020888"/>
                <a:gd name="connsiteY24" fmla="*/ 1768023 h 2005013"/>
                <a:gd name="connsiteX25" fmla="*/ 270957 w 2020888"/>
                <a:gd name="connsiteY25" fmla="*/ 1636362 h 2005013"/>
                <a:gd name="connsiteX26" fmla="*/ 63976 w 2020888"/>
                <a:gd name="connsiteY26" fmla="*/ 1309089 h 2005013"/>
                <a:gd name="connsiteX27" fmla="*/ 0 w 2020888"/>
                <a:gd name="connsiteY27" fmla="*/ 1008149 h 2005013"/>
                <a:gd name="connsiteX28" fmla="*/ 297300 w 2020888"/>
                <a:gd name="connsiteY28" fmla="*/ 293417 h 2005013"/>
                <a:gd name="connsiteX29" fmla="*/ 1012326 w 2020888"/>
                <a:gd name="connsiteY29" fmla="*/ 0 h 200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020888" h="2005013">
                  <a:moveTo>
                    <a:pt x="1399705" y="1944688"/>
                  </a:moveTo>
                  <a:lnTo>
                    <a:pt x="1399945" y="1944825"/>
                  </a:lnTo>
                  <a:lnTo>
                    <a:pt x="1399945" y="1944688"/>
                  </a:lnTo>
                  <a:close/>
                  <a:moveTo>
                    <a:pt x="620943" y="1943298"/>
                  </a:moveTo>
                  <a:lnTo>
                    <a:pt x="620943" y="1943826"/>
                  </a:lnTo>
                  <a:cubicBezTo>
                    <a:pt x="620943" y="1944825"/>
                    <a:pt x="620943" y="1944825"/>
                    <a:pt x="620943" y="1944825"/>
                  </a:cubicBezTo>
                  <a:lnTo>
                    <a:pt x="621584" y="1944483"/>
                  </a:lnTo>
                  <a:lnTo>
                    <a:pt x="621584" y="1944483"/>
                  </a:lnTo>
                  <a:close/>
                  <a:moveTo>
                    <a:pt x="1012326" y="0"/>
                  </a:moveTo>
                  <a:cubicBezTo>
                    <a:pt x="1290809" y="0"/>
                    <a:pt x="1542950" y="112853"/>
                    <a:pt x="1727351" y="293417"/>
                  </a:cubicBezTo>
                  <a:cubicBezTo>
                    <a:pt x="1907989" y="477742"/>
                    <a:pt x="2020888" y="729780"/>
                    <a:pt x="2020888" y="1008149"/>
                  </a:cubicBezTo>
                  <a:cubicBezTo>
                    <a:pt x="2020888" y="1117240"/>
                    <a:pt x="1998308" y="1218807"/>
                    <a:pt x="1960676" y="1309089"/>
                  </a:cubicBezTo>
                  <a:cubicBezTo>
                    <a:pt x="1923043" y="1399371"/>
                    <a:pt x="1874120" y="1482130"/>
                    <a:pt x="1825197" y="1546080"/>
                  </a:cubicBezTo>
                  <a:cubicBezTo>
                    <a:pt x="1727351" y="1677741"/>
                    <a:pt x="1625742" y="1760499"/>
                    <a:pt x="1614453" y="1768023"/>
                  </a:cubicBezTo>
                  <a:cubicBezTo>
                    <a:pt x="1573056" y="1801879"/>
                    <a:pt x="1531660" y="1850781"/>
                    <a:pt x="1505317" y="1895922"/>
                  </a:cubicBezTo>
                  <a:cubicBezTo>
                    <a:pt x="1475211" y="1937302"/>
                    <a:pt x="1456394" y="1971157"/>
                    <a:pt x="1456394" y="1971157"/>
                  </a:cubicBezTo>
                  <a:cubicBezTo>
                    <a:pt x="1445104" y="1993728"/>
                    <a:pt x="1426288" y="2005013"/>
                    <a:pt x="1399945" y="2005013"/>
                  </a:cubicBezTo>
                  <a:cubicBezTo>
                    <a:pt x="1399945" y="2005013"/>
                    <a:pt x="1399945" y="2005013"/>
                    <a:pt x="620943" y="2005013"/>
                  </a:cubicBezTo>
                  <a:cubicBezTo>
                    <a:pt x="598364" y="2005013"/>
                    <a:pt x="579547" y="1993728"/>
                    <a:pt x="568257" y="1974919"/>
                  </a:cubicBezTo>
                  <a:cubicBezTo>
                    <a:pt x="568257" y="1974919"/>
                    <a:pt x="568257" y="1974919"/>
                    <a:pt x="568257" y="1971157"/>
                  </a:cubicBezTo>
                  <a:cubicBezTo>
                    <a:pt x="568257" y="1971157"/>
                    <a:pt x="568257" y="1971157"/>
                    <a:pt x="564494" y="1971157"/>
                  </a:cubicBezTo>
                  <a:cubicBezTo>
                    <a:pt x="564494" y="1967396"/>
                    <a:pt x="560731" y="1963634"/>
                    <a:pt x="560731" y="1959872"/>
                  </a:cubicBezTo>
                  <a:cubicBezTo>
                    <a:pt x="553204" y="1952349"/>
                    <a:pt x="549441" y="1941063"/>
                    <a:pt x="538151" y="1926016"/>
                  </a:cubicBezTo>
                  <a:cubicBezTo>
                    <a:pt x="519335" y="1895922"/>
                    <a:pt x="496755" y="1862067"/>
                    <a:pt x="466648" y="1828211"/>
                  </a:cubicBezTo>
                  <a:cubicBezTo>
                    <a:pt x="447832" y="1805640"/>
                    <a:pt x="425252" y="1783070"/>
                    <a:pt x="406436" y="1768023"/>
                  </a:cubicBezTo>
                  <a:cubicBezTo>
                    <a:pt x="398909" y="1760499"/>
                    <a:pt x="342460" y="1715358"/>
                    <a:pt x="270957" y="1636362"/>
                  </a:cubicBezTo>
                  <a:cubicBezTo>
                    <a:pt x="203218" y="1557365"/>
                    <a:pt x="120425" y="1444512"/>
                    <a:pt x="63976" y="1309089"/>
                  </a:cubicBezTo>
                  <a:cubicBezTo>
                    <a:pt x="26343" y="1218807"/>
                    <a:pt x="0" y="1117240"/>
                    <a:pt x="0" y="1008149"/>
                  </a:cubicBezTo>
                  <a:cubicBezTo>
                    <a:pt x="0" y="729780"/>
                    <a:pt x="116662" y="477742"/>
                    <a:pt x="297300" y="293417"/>
                  </a:cubicBezTo>
                  <a:cubicBezTo>
                    <a:pt x="481702" y="112853"/>
                    <a:pt x="733842" y="0"/>
                    <a:pt x="1012326"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6" name="Freeform 8">
              <a:extLst>
                <a:ext uri="{FF2B5EF4-FFF2-40B4-BE49-F238E27FC236}">
                  <a16:creationId xmlns:a16="http://schemas.microsoft.com/office/drawing/2014/main" id="{C225954D-8F34-4AFE-B8DB-A2CA243E9D78}"/>
                </a:ext>
              </a:extLst>
            </p:cNvPr>
            <p:cNvSpPr>
              <a:spLocks/>
            </p:cNvSpPr>
            <p:nvPr/>
          </p:nvSpPr>
          <p:spPr bwMode="auto">
            <a:xfrm>
              <a:off x="4264025" y="3602038"/>
              <a:ext cx="879475" cy="117475"/>
            </a:xfrm>
            <a:custGeom>
              <a:avLst/>
              <a:gdLst>
                <a:gd name="T0" fmla="*/ 15 w 234"/>
                <a:gd name="T1" fmla="*/ 31 h 31"/>
                <a:gd name="T2" fmla="*/ 218 w 234"/>
                <a:gd name="T3" fmla="*/ 31 h 31"/>
                <a:gd name="T4" fmla="*/ 234 w 234"/>
                <a:gd name="T5" fmla="*/ 15 h 31"/>
                <a:gd name="T6" fmla="*/ 218 w 234"/>
                <a:gd name="T7" fmla="*/ 0 h 31"/>
                <a:gd name="T8" fmla="*/ 15 w 234"/>
                <a:gd name="T9" fmla="*/ 0 h 31"/>
                <a:gd name="T10" fmla="*/ 0 w 234"/>
                <a:gd name="T11" fmla="*/ 15 h 31"/>
                <a:gd name="T12" fmla="*/ 15 w 23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34" h="31">
                  <a:moveTo>
                    <a:pt x="15" y="31"/>
                  </a:moveTo>
                  <a:cubicBezTo>
                    <a:pt x="218" y="31"/>
                    <a:pt x="218" y="31"/>
                    <a:pt x="218" y="31"/>
                  </a:cubicBezTo>
                  <a:cubicBezTo>
                    <a:pt x="227" y="31"/>
                    <a:pt x="234" y="24"/>
                    <a:pt x="234" y="15"/>
                  </a:cubicBezTo>
                  <a:cubicBezTo>
                    <a:pt x="234" y="7"/>
                    <a:pt x="227" y="0"/>
                    <a:pt x="218" y="0"/>
                  </a:cubicBezTo>
                  <a:cubicBezTo>
                    <a:pt x="15" y="0"/>
                    <a:pt x="15" y="0"/>
                    <a:pt x="15" y="0"/>
                  </a:cubicBezTo>
                  <a:cubicBezTo>
                    <a:pt x="7" y="0"/>
                    <a:pt x="0" y="7"/>
                    <a:pt x="0" y="15"/>
                  </a:cubicBezTo>
                  <a:cubicBezTo>
                    <a:pt x="0" y="24"/>
                    <a:pt x="7" y="31"/>
                    <a:pt x="15" y="31"/>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7" name="Freeform 9">
              <a:extLst>
                <a:ext uri="{FF2B5EF4-FFF2-40B4-BE49-F238E27FC236}">
                  <a16:creationId xmlns:a16="http://schemas.microsoft.com/office/drawing/2014/main" id="{9B27394E-5D88-4806-9D2D-8B52B73BBBC4}"/>
                </a:ext>
              </a:extLst>
            </p:cNvPr>
            <p:cNvSpPr>
              <a:spLocks/>
            </p:cNvSpPr>
            <p:nvPr/>
          </p:nvSpPr>
          <p:spPr bwMode="auto">
            <a:xfrm>
              <a:off x="4395788" y="3854450"/>
              <a:ext cx="615950" cy="117475"/>
            </a:xfrm>
            <a:custGeom>
              <a:avLst/>
              <a:gdLst>
                <a:gd name="T0" fmla="*/ 15 w 164"/>
                <a:gd name="T1" fmla="*/ 31 h 31"/>
                <a:gd name="T2" fmla="*/ 149 w 164"/>
                <a:gd name="T3" fmla="*/ 31 h 31"/>
                <a:gd name="T4" fmla="*/ 164 w 164"/>
                <a:gd name="T5" fmla="*/ 15 h 31"/>
                <a:gd name="T6" fmla="*/ 149 w 164"/>
                <a:gd name="T7" fmla="*/ 0 h 31"/>
                <a:gd name="T8" fmla="*/ 15 w 164"/>
                <a:gd name="T9" fmla="*/ 0 h 31"/>
                <a:gd name="T10" fmla="*/ 0 w 164"/>
                <a:gd name="T11" fmla="*/ 15 h 31"/>
                <a:gd name="T12" fmla="*/ 15 w 16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64" h="31">
                  <a:moveTo>
                    <a:pt x="15" y="31"/>
                  </a:moveTo>
                  <a:cubicBezTo>
                    <a:pt x="149" y="31"/>
                    <a:pt x="149" y="31"/>
                    <a:pt x="149" y="31"/>
                  </a:cubicBezTo>
                  <a:cubicBezTo>
                    <a:pt x="157" y="31"/>
                    <a:pt x="164" y="24"/>
                    <a:pt x="164" y="15"/>
                  </a:cubicBezTo>
                  <a:cubicBezTo>
                    <a:pt x="164" y="7"/>
                    <a:pt x="157" y="0"/>
                    <a:pt x="149" y="0"/>
                  </a:cubicBezTo>
                  <a:cubicBezTo>
                    <a:pt x="15" y="0"/>
                    <a:pt x="15" y="0"/>
                    <a:pt x="15" y="0"/>
                  </a:cubicBezTo>
                  <a:cubicBezTo>
                    <a:pt x="7" y="0"/>
                    <a:pt x="0" y="7"/>
                    <a:pt x="0" y="15"/>
                  </a:cubicBezTo>
                  <a:cubicBezTo>
                    <a:pt x="0" y="24"/>
                    <a:pt x="7" y="31"/>
                    <a:pt x="15" y="31"/>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2" name="Group 1">
            <a:extLst>
              <a:ext uri="{FF2B5EF4-FFF2-40B4-BE49-F238E27FC236}">
                <a16:creationId xmlns:a16="http://schemas.microsoft.com/office/drawing/2014/main" id="{DC127790-C6AD-4569-9182-7D60A1C037B7}"/>
              </a:ext>
            </a:extLst>
          </p:cNvPr>
          <p:cNvGrpSpPr/>
          <p:nvPr/>
        </p:nvGrpSpPr>
        <p:grpSpPr>
          <a:xfrm>
            <a:off x="1759691" y="2175483"/>
            <a:ext cx="980790" cy="1012003"/>
            <a:chOff x="1856993" y="2175239"/>
            <a:chExt cx="810570" cy="836366"/>
          </a:xfrm>
        </p:grpSpPr>
        <p:sp>
          <p:nvSpPr>
            <p:cNvPr id="27" name="Freeform 7"/>
            <p:cNvSpPr>
              <a:spLocks noEditPoints="1"/>
            </p:cNvSpPr>
            <p:nvPr/>
          </p:nvSpPr>
          <p:spPr bwMode="auto">
            <a:xfrm>
              <a:off x="2128189" y="2435775"/>
              <a:ext cx="268173" cy="289495"/>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1"/>
            </a:solidFill>
            <a:ln w="19050" cap="flat" cmpd="sng">
              <a:noFill/>
              <a:prstDash val="solid"/>
              <a:round/>
              <a:headEnd type="none" w="med" len="med"/>
              <a:tailEnd type="none" w="med" len="med"/>
            </a:ln>
            <a:effectLst/>
          </p:spPr>
          <p:txBody>
            <a:bodyPr lIns="91432" tIns="45716" rIns="91432" bIns="45716"/>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8" name="Oval 27"/>
            <p:cNvSpPr/>
            <p:nvPr/>
          </p:nvSpPr>
          <p:spPr>
            <a:xfrm>
              <a:off x="1856993" y="2175239"/>
              <a:ext cx="810570" cy="810568"/>
            </a:xfrm>
            <a:prstGeom prst="ellipse">
              <a:avLst/>
            </a:prstGeom>
            <a:noFill/>
            <a:ln w="3175" cap="flat" cmpd="sng" algn="ctr">
              <a:solidFill>
                <a:srgbClr val="00BCEB"/>
              </a:solidFill>
              <a:prstDash val="dash"/>
              <a:tailEnd type="none"/>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Arial" charset="0"/>
                <a:ea typeface="ＭＳ Ｐゴシック" charset="0"/>
              </a:endParaRPr>
            </a:p>
          </p:txBody>
        </p:sp>
        <p:sp>
          <p:nvSpPr>
            <p:cNvPr id="29" name="Oval 28"/>
            <p:cNvSpPr/>
            <p:nvPr/>
          </p:nvSpPr>
          <p:spPr>
            <a:xfrm>
              <a:off x="1931044" y="2249290"/>
              <a:ext cx="662467" cy="662466"/>
            </a:xfrm>
            <a:prstGeom prst="ellipse">
              <a:avLst/>
            </a:prstGeom>
            <a:noFill/>
            <a:ln w="3175" cap="flat" cmpd="sng" algn="ctr">
              <a:solidFill>
                <a:srgbClr val="00BCEB"/>
              </a:solidFill>
              <a:prstDash val="dash"/>
              <a:tailEnd type="none"/>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Arial" charset="0"/>
                <a:ea typeface="ＭＳ Ｐゴシック" charset="0"/>
              </a:endParaRPr>
            </a:p>
          </p:txBody>
        </p:sp>
        <p:sp>
          <p:nvSpPr>
            <p:cNvPr id="30" name="Oval 29"/>
            <p:cNvSpPr/>
            <p:nvPr/>
          </p:nvSpPr>
          <p:spPr>
            <a:xfrm>
              <a:off x="2015409" y="2333655"/>
              <a:ext cx="493736" cy="493734"/>
            </a:xfrm>
            <a:prstGeom prst="ellipse">
              <a:avLst/>
            </a:prstGeom>
            <a:noFill/>
            <a:ln w="3175" cap="flat" cmpd="sng" algn="ctr">
              <a:solidFill>
                <a:srgbClr val="00BCEB"/>
              </a:solidFill>
              <a:prstDash val="dash"/>
              <a:tailEnd type="none"/>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Arial" charset="0"/>
                <a:ea typeface="ＭＳ Ｐゴシック" charset="0"/>
              </a:endParaRPr>
            </a:p>
          </p:txBody>
        </p:sp>
        <p:sp>
          <p:nvSpPr>
            <p:cNvPr id="44" name="Oval 43"/>
            <p:cNvSpPr/>
            <p:nvPr/>
          </p:nvSpPr>
          <p:spPr>
            <a:xfrm>
              <a:off x="1969052" y="2201069"/>
              <a:ext cx="105064" cy="105064"/>
            </a:xfrm>
            <a:prstGeom prst="ellipse">
              <a:avLst/>
            </a:prstGeom>
            <a:solidFill>
              <a:schemeClr val="bg2"/>
            </a:solidFill>
            <a:ln w="3175" cap="flat" cmpd="sng" algn="ctr">
              <a:solidFill>
                <a:srgbClr val="00BCEB"/>
              </a:solidFill>
              <a:prstDash val="dash"/>
              <a:tailEnd type="none"/>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Arial" charset="0"/>
                <a:ea typeface="ＭＳ Ｐゴシック" charset="0"/>
              </a:endParaRPr>
            </a:p>
          </p:txBody>
        </p:sp>
        <p:sp>
          <p:nvSpPr>
            <p:cNvPr id="45" name="Freeform 7"/>
            <p:cNvSpPr>
              <a:spLocks noEditPoints="1"/>
            </p:cNvSpPr>
            <p:nvPr/>
          </p:nvSpPr>
          <p:spPr bwMode="auto">
            <a:xfrm>
              <a:off x="1986630" y="2215869"/>
              <a:ext cx="69908" cy="75465"/>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91432" tIns="45716" rIns="91432" bIns="45716"/>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2" name="Oval 41"/>
            <p:cNvSpPr/>
            <p:nvPr/>
          </p:nvSpPr>
          <p:spPr>
            <a:xfrm>
              <a:off x="2374182" y="2253601"/>
              <a:ext cx="105064" cy="105064"/>
            </a:xfrm>
            <a:prstGeom prst="ellipse">
              <a:avLst/>
            </a:prstGeom>
            <a:solidFill>
              <a:schemeClr val="bg2"/>
            </a:solidFill>
            <a:ln w="3175" cap="flat" cmpd="sng" algn="ctr">
              <a:solidFill>
                <a:srgbClr val="00BCEB"/>
              </a:solidFill>
              <a:prstDash val="dash"/>
              <a:tailEnd type="none"/>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Arial" charset="0"/>
                <a:ea typeface="ＭＳ Ｐゴシック" charset="0"/>
              </a:endParaRPr>
            </a:p>
          </p:txBody>
        </p:sp>
        <p:sp>
          <p:nvSpPr>
            <p:cNvPr id="43" name="Freeform 7"/>
            <p:cNvSpPr>
              <a:spLocks noEditPoints="1"/>
            </p:cNvSpPr>
            <p:nvPr/>
          </p:nvSpPr>
          <p:spPr bwMode="auto">
            <a:xfrm>
              <a:off x="2391760" y="2268401"/>
              <a:ext cx="69908" cy="75465"/>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91432" tIns="45716" rIns="91432" bIns="45716"/>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0" name="Oval 39"/>
            <p:cNvSpPr/>
            <p:nvPr/>
          </p:nvSpPr>
          <p:spPr>
            <a:xfrm>
              <a:off x="1881566" y="2461780"/>
              <a:ext cx="105064" cy="105064"/>
            </a:xfrm>
            <a:prstGeom prst="ellipse">
              <a:avLst/>
            </a:prstGeom>
            <a:solidFill>
              <a:schemeClr val="bg2"/>
            </a:solidFill>
            <a:ln w="3175" cap="flat" cmpd="sng" algn="ctr">
              <a:solidFill>
                <a:srgbClr val="00BCEB"/>
              </a:solidFill>
              <a:prstDash val="dash"/>
              <a:tailEnd type="none"/>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Arial" charset="0"/>
                <a:ea typeface="ＭＳ Ｐゴシック" charset="0"/>
              </a:endParaRPr>
            </a:p>
          </p:txBody>
        </p:sp>
        <p:sp>
          <p:nvSpPr>
            <p:cNvPr id="41" name="Freeform 7"/>
            <p:cNvSpPr>
              <a:spLocks noEditPoints="1"/>
            </p:cNvSpPr>
            <p:nvPr/>
          </p:nvSpPr>
          <p:spPr bwMode="auto">
            <a:xfrm>
              <a:off x="1899144" y="2476580"/>
              <a:ext cx="69908" cy="75465"/>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91432" tIns="45716" rIns="91432" bIns="45716"/>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8" name="Oval 37"/>
            <p:cNvSpPr/>
            <p:nvPr/>
          </p:nvSpPr>
          <p:spPr>
            <a:xfrm>
              <a:off x="2426713" y="2628930"/>
              <a:ext cx="105064" cy="105064"/>
            </a:xfrm>
            <a:prstGeom prst="ellipse">
              <a:avLst/>
            </a:prstGeom>
            <a:solidFill>
              <a:schemeClr val="bg2"/>
            </a:solidFill>
            <a:ln w="3175" cap="flat" cmpd="sng" algn="ctr">
              <a:solidFill>
                <a:srgbClr val="00BCEB"/>
              </a:solidFill>
              <a:prstDash val="dash"/>
              <a:tailEnd type="none"/>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Arial" charset="0"/>
                <a:ea typeface="ＭＳ Ｐゴシック" charset="0"/>
              </a:endParaRPr>
            </a:p>
          </p:txBody>
        </p:sp>
        <p:sp>
          <p:nvSpPr>
            <p:cNvPr id="39" name="Freeform 7"/>
            <p:cNvSpPr>
              <a:spLocks noEditPoints="1"/>
            </p:cNvSpPr>
            <p:nvPr/>
          </p:nvSpPr>
          <p:spPr bwMode="auto">
            <a:xfrm>
              <a:off x="2444291" y="2643730"/>
              <a:ext cx="69908" cy="75465"/>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91432" tIns="45716" rIns="91432" bIns="45716"/>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6" name="Oval 35"/>
            <p:cNvSpPr/>
            <p:nvPr/>
          </p:nvSpPr>
          <p:spPr>
            <a:xfrm>
              <a:off x="2075658" y="2906541"/>
              <a:ext cx="105064" cy="105064"/>
            </a:xfrm>
            <a:prstGeom prst="ellipse">
              <a:avLst/>
            </a:prstGeom>
            <a:solidFill>
              <a:schemeClr val="tx1">
                <a:lumMod val="10000"/>
                <a:lumOff val="90000"/>
              </a:schemeClr>
            </a:solidFill>
            <a:ln w="3175" cap="flat" cmpd="sng" algn="ctr">
              <a:solidFill>
                <a:srgbClr val="00BCEB"/>
              </a:solidFill>
              <a:prstDash val="dash"/>
              <a:tailEnd type="none"/>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Arial" charset="0"/>
                <a:ea typeface="ＭＳ Ｐゴシック" charset="0"/>
              </a:endParaRPr>
            </a:p>
          </p:txBody>
        </p:sp>
        <p:sp>
          <p:nvSpPr>
            <p:cNvPr id="37" name="Freeform 7"/>
            <p:cNvSpPr>
              <a:spLocks noEditPoints="1"/>
            </p:cNvSpPr>
            <p:nvPr/>
          </p:nvSpPr>
          <p:spPr bwMode="auto">
            <a:xfrm>
              <a:off x="2093236" y="2921341"/>
              <a:ext cx="69908" cy="75465"/>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91432" tIns="45716" rIns="91432" bIns="45716"/>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46" name="Group 45"/>
          <p:cNvGrpSpPr/>
          <p:nvPr/>
        </p:nvGrpSpPr>
        <p:grpSpPr>
          <a:xfrm>
            <a:off x="6276050" y="2240719"/>
            <a:ext cx="1248645" cy="939285"/>
            <a:chOff x="6084094" y="1268279"/>
            <a:chExt cx="1106831" cy="832606"/>
          </a:xfrm>
        </p:grpSpPr>
        <p:grpSp>
          <p:nvGrpSpPr>
            <p:cNvPr id="47" name="Group 46"/>
            <p:cNvGrpSpPr/>
            <p:nvPr/>
          </p:nvGrpSpPr>
          <p:grpSpPr>
            <a:xfrm>
              <a:off x="6084094" y="1268279"/>
              <a:ext cx="394846" cy="484324"/>
              <a:chOff x="6392862" y="1522412"/>
              <a:chExt cx="441326" cy="541338"/>
            </a:xfrm>
          </p:grpSpPr>
          <p:sp>
            <p:nvSpPr>
              <p:cNvPr id="118" name="Freeform 5"/>
              <p:cNvSpPr>
                <a:spLocks/>
              </p:cNvSpPr>
              <p:nvPr/>
            </p:nvSpPr>
            <p:spPr bwMode="auto">
              <a:xfrm>
                <a:off x="6392862" y="1522412"/>
                <a:ext cx="441326" cy="541338"/>
              </a:xfrm>
              <a:custGeom>
                <a:avLst/>
                <a:gdLst>
                  <a:gd name="T0" fmla="*/ 8 w 94"/>
                  <a:gd name="T1" fmla="*/ 0 h 116"/>
                  <a:gd name="T2" fmla="*/ 0 w 94"/>
                  <a:gd name="T3" fmla="*/ 7 h 116"/>
                  <a:gd name="T4" fmla="*/ 0 w 94"/>
                  <a:gd name="T5" fmla="*/ 108 h 116"/>
                  <a:gd name="T6" fmla="*/ 8 w 94"/>
                  <a:gd name="T7" fmla="*/ 116 h 116"/>
                  <a:gd name="T8" fmla="*/ 86 w 94"/>
                  <a:gd name="T9" fmla="*/ 116 h 116"/>
                  <a:gd name="T10" fmla="*/ 94 w 94"/>
                  <a:gd name="T11" fmla="*/ 108 h 116"/>
                  <a:gd name="T12" fmla="*/ 94 w 94"/>
                  <a:gd name="T13" fmla="*/ 29 h 116"/>
                  <a:gd name="T14" fmla="*/ 65 w 94"/>
                  <a:gd name="T15" fmla="*/ 0 h 116"/>
                  <a:gd name="T16" fmla="*/ 8 w 94"/>
                  <a:gd name="T1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16">
                    <a:moveTo>
                      <a:pt x="8" y="0"/>
                    </a:moveTo>
                    <a:cubicBezTo>
                      <a:pt x="3" y="0"/>
                      <a:pt x="0" y="3"/>
                      <a:pt x="0" y="7"/>
                    </a:cubicBezTo>
                    <a:cubicBezTo>
                      <a:pt x="0" y="108"/>
                      <a:pt x="0" y="108"/>
                      <a:pt x="0" y="108"/>
                    </a:cubicBezTo>
                    <a:cubicBezTo>
                      <a:pt x="0" y="112"/>
                      <a:pt x="3" y="116"/>
                      <a:pt x="8" y="116"/>
                    </a:cubicBezTo>
                    <a:cubicBezTo>
                      <a:pt x="86" y="116"/>
                      <a:pt x="86" y="116"/>
                      <a:pt x="86" y="116"/>
                    </a:cubicBezTo>
                    <a:cubicBezTo>
                      <a:pt x="90" y="116"/>
                      <a:pt x="94" y="112"/>
                      <a:pt x="94" y="108"/>
                    </a:cubicBezTo>
                    <a:cubicBezTo>
                      <a:pt x="94" y="29"/>
                      <a:pt x="94" y="29"/>
                      <a:pt x="94" y="29"/>
                    </a:cubicBezTo>
                    <a:cubicBezTo>
                      <a:pt x="65" y="0"/>
                      <a:pt x="65" y="0"/>
                      <a:pt x="65" y="0"/>
                    </a:cubicBezTo>
                    <a:lnTo>
                      <a:pt x="8" y="0"/>
                    </a:ln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9" name="Freeform 6"/>
              <p:cNvSpPr>
                <a:spLocks/>
              </p:cNvSpPr>
              <p:nvPr/>
            </p:nvSpPr>
            <p:spPr bwMode="auto">
              <a:xfrm>
                <a:off x="6453188" y="1620838"/>
                <a:ext cx="198438" cy="41275"/>
              </a:xfrm>
              <a:custGeom>
                <a:avLst/>
                <a:gdLst>
                  <a:gd name="T0" fmla="*/ 37 w 42"/>
                  <a:gd name="T1" fmla="*/ 9 h 9"/>
                  <a:gd name="T2" fmla="*/ 4 w 42"/>
                  <a:gd name="T3" fmla="*/ 9 h 9"/>
                  <a:gd name="T4" fmla="*/ 0 w 42"/>
                  <a:gd name="T5" fmla="*/ 5 h 9"/>
                  <a:gd name="T6" fmla="*/ 4 w 42"/>
                  <a:gd name="T7" fmla="*/ 0 h 9"/>
                  <a:gd name="T8" fmla="*/ 37 w 42"/>
                  <a:gd name="T9" fmla="*/ 0 h 9"/>
                  <a:gd name="T10" fmla="*/ 42 w 42"/>
                  <a:gd name="T11" fmla="*/ 5 h 9"/>
                  <a:gd name="T12" fmla="*/ 37 w 4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42" h="9">
                    <a:moveTo>
                      <a:pt x="37" y="9"/>
                    </a:moveTo>
                    <a:cubicBezTo>
                      <a:pt x="4" y="9"/>
                      <a:pt x="4" y="9"/>
                      <a:pt x="4" y="9"/>
                    </a:cubicBezTo>
                    <a:cubicBezTo>
                      <a:pt x="2" y="9"/>
                      <a:pt x="0" y="7"/>
                      <a:pt x="0" y="5"/>
                    </a:cubicBezTo>
                    <a:cubicBezTo>
                      <a:pt x="0" y="2"/>
                      <a:pt x="2" y="0"/>
                      <a:pt x="4" y="0"/>
                    </a:cubicBezTo>
                    <a:cubicBezTo>
                      <a:pt x="37" y="0"/>
                      <a:pt x="37" y="0"/>
                      <a:pt x="37" y="0"/>
                    </a:cubicBezTo>
                    <a:cubicBezTo>
                      <a:pt x="40" y="0"/>
                      <a:pt x="42" y="2"/>
                      <a:pt x="42" y="5"/>
                    </a:cubicBezTo>
                    <a:cubicBezTo>
                      <a:pt x="42" y="7"/>
                      <a:pt x="40" y="9"/>
                      <a:pt x="37" y="9"/>
                    </a:cubicBezTo>
                    <a:close/>
                  </a:path>
                </a:pathLst>
              </a:custGeom>
              <a:solidFill>
                <a:srgbClr val="00C7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0" name="Freeform 7"/>
              <p:cNvSpPr>
                <a:spLocks/>
              </p:cNvSpPr>
              <p:nvPr/>
            </p:nvSpPr>
            <p:spPr bwMode="auto">
              <a:xfrm>
                <a:off x="6453188" y="1722438"/>
                <a:ext cx="315913" cy="38100"/>
              </a:xfrm>
              <a:custGeom>
                <a:avLst/>
                <a:gdLst>
                  <a:gd name="T0" fmla="*/ 62 w 67"/>
                  <a:gd name="T1" fmla="*/ 8 h 8"/>
                  <a:gd name="T2" fmla="*/ 4 w 67"/>
                  <a:gd name="T3" fmla="*/ 8 h 8"/>
                  <a:gd name="T4" fmla="*/ 0 w 67"/>
                  <a:gd name="T5" fmla="*/ 4 h 8"/>
                  <a:gd name="T6" fmla="*/ 4 w 67"/>
                  <a:gd name="T7" fmla="*/ 0 h 8"/>
                  <a:gd name="T8" fmla="*/ 62 w 67"/>
                  <a:gd name="T9" fmla="*/ 0 h 8"/>
                  <a:gd name="T10" fmla="*/ 67 w 67"/>
                  <a:gd name="T11" fmla="*/ 4 h 8"/>
                  <a:gd name="T12" fmla="*/ 62 w 6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67" h="8">
                    <a:moveTo>
                      <a:pt x="62" y="8"/>
                    </a:moveTo>
                    <a:cubicBezTo>
                      <a:pt x="4" y="8"/>
                      <a:pt x="4" y="8"/>
                      <a:pt x="4" y="8"/>
                    </a:cubicBezTo>
                    <a:cubicBezTo>
                      <a:pt x="2" y="8"/>
                      <a:pt x="0" y="6"/>
                      <a:pt x="0" y="4"/>
                    </a:cubicBezTo>
                    <a:cubicBezTo>
                      <a:pt x="0" y="2"/>
                      <a:pt x="2" y="0"/>
                      <a:pt x="4" y="0"/>
                    </a:cubicBezTo>
                    <a:cubicBezTo>
                      <a:pt x="62" y="0"/>
                      <a:pt x="62" y="0"/>
                      <a:pt x="62" y="0"/>
                    </a:cubicBezTo>
                    <a:cubicBezTo>
                      <a:pt x="65" y="0"/>
                      <a:pt x="67" y="2"/>
                      <a:pt x="67" y="4"/>
                    </a:cubicBezTo>
                    <a:cubicBezTo>
                      <a:pt x="67" y="6"/>
                      <a:pt x="65" y="8"/>
                      <a:pt x="62" y="8"/>
                    </a:cubicBezTo>
                    <a:close/>
                  </a:path>
                </a:pathLst>
              </a:custGeom>
              <a:solidFill>
                <a:srgbClr val="00C7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1" name="Freeform 8"/>
              <p:cNvSpPr>
                <a:spLocks/>
              </p:cNvSpPr>
              <p:nvPr/>
            </p:nvSpPr>
            <p:spPr bwMode="auto">
              <a:xfrm>
                <a:off x="6453188" y="1820863"/>
                <a:ext cx="315913" cy="42863"/>
              </a:xfrm>
              <a:custGeom>
                <a:avLst/>
                <a:gdLst>
                  <a:gd name="T0" fmla="*/ 62 w 67"/>
                  <a:gd name="T1" fmla="*/ 9 h 9"/>
                  <a:gd name="T2" fmla="*/ 4 w 67"/>
                  <a:gd name="T3" fmla="*/ 9 h 9"/>
                  <a:gd name="T4" fmla="*/ 0 w 67"/>
                  <a:gd name="T5" fmla="*/ 4 h 9"/>
                  <a:gd name="T6" fmla="*/ 4 w 67"/>
                  <a:gd name="T7" fmla="*/ 0 h 9"/>
                  <a:gd name="T8" fmla="*/ 62 w 67"/>
                  <a:gd name="T9" fmla="*/ 0 h 9"/>
                  <a:gd name="T10" fmla="*/ 67 w 67"/>
                  <a:gd name="T11" fmla="*/ 4 h 9"/>
                  <a:gd name="T12" fmla="*/ 62 w 6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67" h="9">
                    <a:moveTo>
                      <a:pt x="62" y="9"/>
                    </a:moveTo>
                    <a:cubicBezTo>
                      <a:pt x="4" y="9"/>
                      <a:pt x="4" y="9"/>
                      <a:pt x="4" y="9"/>
                    </a:cubicBezTo>
                    <a:cubicBezTo>
                      <a:pt x="2" y="9"/>
                      <a:pt x="0" y="7"/>
                      <a:pt x="0" y="4"/>
                    </a:cubicBezTo>
                    <a:cubicBezTo>
                      <a:pt x="0" y="2"/>
                      <a:pt x="2" y="0"/>
                      <a:pt x="4" y="0"/>
                    </a:cubicBezTo>
                    <a:cubicBezTo>
                      <a:pt x="62" y="0"/>
                      <a:pt x="62" y="0"/>
                      <a:pt x="62" y="0"/>
                    </a:cubicBezTo>
                    <a:cubicBezTo>
                      <a:pt x="65" y="0"/>
                      <a:pt x="67" y="2"/>
                      <a:pt x="67" y="4"/>
                    </a:cubicBezTo>
                    <a:cubicBezTo>
                      <a:pt x="67" y="7"/>
                      <a:pt x="65" y="9"/>
                      <a:pt x="62" y="9"/>
                    </a:cubicBezTo>
                    <a:close/>
                  </a:path>
                </a:pathLst>
              </a:custGeom>
              <a:solidFill>
                <a:srgbClr val="00C7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2" name="Freeform 9"/>
              <p:cNvSpPr>
                <a:spLocks/>
              </p:cNvSpPr>
              <p:nvPr/>
            </p:nvSpPr>
            <p:spPr bwMode="auto">
              <a:xfrm>
                <a:off x="6453188" y="1919288"/>
                <a:ext cx="315913" cy="41275"/>
              </a:xfrm>
              <a:custGeom>
                <a:avLst/>
                <a:gdLst>
                  <a:gd name="T0" fmla="*/ 62 w 67"/>
                  <a:gd name="T1" fmla="*/ 9 h 9"/>
                  <a:gd name="T2" fmla="*/ 4 w 67"/>
                  <a:gd name="T3" fmla="*/ 9 h 9"/>
                  <a:gd name="T4" fmla="*/ 0 w 67"/>
                  <a:gd name="T5" fmla="*/ 5 h 9"/>
                  <a:gd name="T6" fmla="*/ 4 w 67"/>
                  <a:gd name="T7" fmla="*/ 0 h 9"/>
                  <a:gd name="T8" fmla="*/ 62 w 67"/>
                  <a:gd name="T9" fmla="*/ 0 h 9"/>
                  <a:gd name="T10" fmla="*/ 67 w 67"/>
                  <a:gd name="T11" fmla="*/ 5 h 9"/>
                  <a:gd name="T12" fmla="*/ 62 w 6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67" h="9">
                    <a:moveTo>
                      <a:pt x="62" y="9"/>
                    </a:moveTo>
                    <a:cubicBezTo>
                      <a:pt x="4" y="9"/>
                      <a:pt x="4" y="9"/>
                      <a:pt x="4" y="9"/>
                    </a:cubicBezTo>
                    <a:cubicBezTo>
                      <a:pt x="2" y="9"/>
                      <a:pt x="0" y="7"/>
                      <a:pt x="0" y="5"/>
                    </a:cubicBezTo>
                    <a:cubicBezTo>
                      <a:pt x="0" y="2"/>
                      <a:pt x="2" y="0"/>
                      <a:pt x="4" y="0"/>
                    </a:cubicBezTo>
                    <a:cubicBezTo>
                      <a:pt x="62" y="0"/>
                      <a:pt x="62" y="0"/>
                      <a:pt x="62" y="0"/>
                    </a:cubicBezTo>
                    <a:cubicBezTo>
                      <a:pt x="65" y="0"/>
                      <a:pt x="67" y="2"/>
                      <a:pt x="67" y="5"/>
                    </a:cubicBezTo>
                    <a:cubicBezTo>
                      <a:pt x="67" y="7"/>
                      <a:pt x="65" y="9"/>
                      <a:pt x="62" y="9"/>
                    </a:cubicBezTo>
                    <a:close/>
                  </a:path>
                </a:pathLst>
              </a:custGeom>
              <a:solidFill>
                <a:srgbClr val="00C7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3" name="Freeform 10"/>
              <p:cNvSpPr>
                <a:spLocks/>
              </p:cNvSpPr>
              <p:nvPr/>
            </p:nvSpPr>
            <p:spPr bwMode="auto">
              <a:xfrm>
                <a:off x="6697663" y="1522412"/>
                <a:ext cx="136525" cy="134938"/>
              </a:xfrm>
              <a:custGeom>
                <a:avLst/>
                <a:gdLst>
                  <a:gd name="T0" fmla="*/ 29 w 29"/>
                  <a:gd name="T1" fmla="*/ 29 h 29"/>
                  <a:gd name="T2" fmla="*/ 0 w 29"/>
                  <a:gd name="T3" fmla="*/ 0 h 29"/>
                  <a:gd name="T4" fmla="*/ 0 w 29"/>
                  <a:gd name="T5" fmla="*/ 0 h 29"/>
                  <a:gd name="T6" fmla="*/ 0 w 29"/>
                  <a:gd name="T7" fmla="*/ 21 h 29"/>
                  <a:gd name="T8" fmla="*/ 8 w 29"/>
                  <a:gd name="T9" fmla="*/ 29 h 29"/>
                  <a:gd name="T10" fmla="*/ 29 w 29"/>
                  <a:gd name="T11" fmla="*/ 29 h 29"/>
                </a:gdLst>
                <a:ahLst/>
                <a:cxnLst>
                  <a:cxn ang="0">
                    <a:pos x="T0" y="T1"/>
                  </a:cxn>
                  <a:cxn ang="0">
                    <a:pos x="T2" y="T3"/>
                  </a:cxn>
                  <a:cxn ang="0">
                    <a:pos x="T4" y="T5"/>
                  </a:cxn>
                  <a:cxn ang="0">
                    <a:pos x="T6" y="T7"/>
                  </a:cxn>
                  <a:cxn ang="0">
                    <a:pos x="T8" y="T9"/>
                  </a:cxn>
                  <a:cxn ang="0">
                    <a:pos x="T10" y="T11"/>
                  </a:cxn>
                </a:cxnLst>
                <a:rect l="0" t="0" r="r" b="b"/>
                <a:pathLst>
                  <a:path w="29" h="29">
                    <a:moveTo>
                      <a:pt x="29" y="29"/>
                    </a:moveTo>
                    <a:cubicBezTo>
                      <a:pt x="0" y="0"/>
                      <a:pt x="0" y="0"/>
                      <a:pt x="0" y="0"/>
                    </a:cubicBezTo>
                    <a:cubicBezTo>
                      <a:pt x="0" y="0"/>
                      <a:pt x="0" y="0"/>
                      <a:pt x="0" y="0"/>
                    </a:cubicBezTo>
                    <a:cubicBezTo>
                      <a:pt x="0" y="21"/>
                      <a:pt x="0" y="21"/>
                      <a:pt x="0" y="21"/>
                    </a:cubicBezTo>
                    <a:cubicBezTo>
                      <a:pt x="0" y="25"/>
                      <a:pt x="3" y="29"/>
                      <a:pt x="8" y="29"/>
                    </a:cubicBezTo>
                    <a:cubicBezTo>
                      <a:pt x="29" y="29"/>
                      <a:pt x="29" y="29"/>
                      <a:pt x="29" y="29"/>
                    </a:cubicBezTo>
                    <a:close/>
                  </a:path>
                </a:pathLst>
              </a:custGeom>
              <a:solidFill>
                <a:srgbClr val="7EC5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48" name="Group 47"/>
            <p:cNvGrpSpPr/>
            <p:nvPr/>
          </p:nvGrpSpPr>
          <p:grpSpPr>
            <a:xfrm>
              <a:off x="6249731" y="1491631"/>
              <a:ext cx="941194" cy="609254"/>
              <a:chOff x="6249731" y="1491631"/>
              <a:chExt cx="941194" cy="609254"/>
            </a:xfrm>
          </p:grpSpPr>
          <p:sp>
            <p:nvSpPr>
              <p:cNvPr id="49" name="Rectangle 48"/>
              <p:cNvSpPr/>
              <p:nvPr/>
            </p:nvSpPr>
            <p:spPr>
              <a:xfrm>
                <a:off x="6364952" y="1521895"/>
                <a:ext cx="335885" cy="55692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0" name="Rectangle 49"/>
              <p:cNvSpPr/>
              <p:nvPr/>
            </p:nvSpPr>
            <p:spPr>
              <a:xfrm>
                <a:off x="6528703" y="2030157"/>
                <a:ext cx="335885" cy="4571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51" name="Group 50"/>
              <p:cNvGrpSpPr/>
              <p:nvPr/>
            </p:nvGrpSpPr>
            <p:grpSpPr>
              <a:xfrm>
                <a:off x="6249731" y="1491631"/>
                <a:ext cx="941194" cy="609254"/>
                <a:chOff x="5326062" y="1450976"/>
                <a:chExt cx="1066801" cy="690563"/>
              </a:xfrm>
            </p:grpSpPr>
            <p:grpSp>
              <p:nvGrpSpPr>
                <p:cNvPr id="52" name="Group 51"/>
                <p:cNvGrpSpPr/>
                <p:nvPr/>
              </p:nvGrpSpPr>
              <p:grpSpPr>
                <a:xfrm>
                  <a:off x="5326062" y="1452563"/>
                  <a:ext cx="1066801" cy="688976"/>
                  <a:chOff x="5326062" y="1452563"/>
                  <a:chExt cx="1066801" cy="688976"/>
                </a:xfrm>
              </p:grpSpPr>
              <p:sp>
                <p:nvSpPr>
                  <p:cNvPr id="116" name="AutoShape 14"/>
                  <p:cNvSpPr>
                    <a:spLocks noChangeAspect="1" noChangeArrowheads="1" noTextEdit="1"/>
                  </p:cNvSpPr>
                  <p:nvPr/>
                </p:nvSpPr>
                <p:spPr bwMode="auto">
                  <a:xfrm>
                    <a:off x="5327650" y="1452563"/>
                    <a:ext cx="1065213"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7" name="Freeform 51"/>
                  <p:cNvSpPr>
                    <a:spLocks noEditPoints="1"/>
                  </p:cNvSpPr>
                  <p:nvPr/>
                </p:nvSpPr>
                <p:spPr bwMode="auto">
                  <a:xfrm>
                    <a:off x="5326062" y="1454151"/>
                    <a:ext cx="1047750" cy="687388"/>
                  </a:xfrm>
                  <a:custGeom>
                    <a:avLst/>
                    <a:gdLst>
                      <a:gd name="T0" fmla="*/ 1086 w 1145"/>
                      <a:gd name="T1" fmla="*/ 634 h 751"/>
                      <a:gd name="T2" fmla="*/ 147 w 1145"/>
                      <a:gd name="T3" fmla="*/ 634 h 751"/>
                      <a:gd name="T4" fmla="*/ 147 w 1145"/>
                      <a:gd name="T5" fmla="*/ 64 h 751"/>
                      <a:gd name="T6" fmla="*/ 559 w 1145"/>
                      <a:gd name="T7" fmla="*/ 64 h 751"/>
                      <a:gd name="T8" fmla="*/ 559 w 1145"/>
                      <a:gd name="T9" fmla="*/ 0 h 751"/>
                      <a:gd name="T10" fmla="*/ 116 w 1145"/>
                      <a:gd name="T11" fmla="*/ 0 h 751"/>
                      <a:gd name="T12" fmla="*/ 83 w 1145"/>
                      <a:gd name="T13" fmla="*/ 33 h 751"/>
                      <a:gd name="T14" fmla="*/ 83 w 1145"/>
                      <a:gd name="T15" fmla="*/ 634 h 751"/>
                      <a:gd name="T16" fmla="*/ 59 w 1145"/>
                      <a:gd name="T17" fmla="*/ 634 h 751"/>
                      <a:gd name="T18" fmla="*/ 0 w 1145"/>
                      <a:gd name="T19" fmla="*/ 693 h 751"/>
                      <a:gd name="T20" fmla="*/ 59 w 1145"/>
                      <a:gd name="T21" fmla="*/ 751 h 751"/>
                      <a:gd name="T22" fmla="*/ 1086 w 1145"/>
                      <a:gd name="T23" fmla="*/ 751 h 751"/>
                      <a:gd name="T24" fmla="*/ 1145 w 1145"/>
                      <a:gd name="T25" fmla="*/ 693 h 751"/>
                      <a:gd name="T26" fmla="*/ 1086 w 1145"/>
                      <a:gd name="T27" fmla="*/ 634 h 751"/>
                      <a:gd name="T28" fmla="*/ 603 w 1145"/>
                      <a:gd name="T29" fmla="*/ 710 h 751"/>
                      <a:gd name="T30" fmla="*/ 541 w 1145"/>
                      <a:gd name="T31" fmla="*/ 710 h 751"/>
                      <a:gd name="T32" fmla="*/ 524 w 1145"/>
                      <a:gd name="T33" fmla="*/ 693 h 751"/>
                      <a:gd name="T34" fmla="*/ 541 w 1145"/>
                      <a:gd name="T35" fmla="*/ 676 h 751"/>
                      <a:gd name="T36" fmla="*/ 603 w 1145"/>
                      <a:gd name="T37" fmla="*/ 676 h 751"/>
                      <a:gd name="T38" fmla="*/ 620 w 1145"/>
                      <a:gd name="T39" fmla="*/ 693 h 751"/>
                      <a:gd name="T40" fmla="*/ 603 w 1145"/>
                      <a:gd name="T41" fmla="*/ 710 h 751"/>
                      <a:gd name="T42" fmla="*/ 603 w 1145"/>
                      <a:gd name="T43" fmla="*/ 710 h 751"/>
                      <a:gd name="T44" fmla="*/ 603 w 1145"/>
                      <a:gd name="T45" fmla="*/ 71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5" h="751">
                        <a:moveTo>
                          <a:pt x="1086" y="634"/>
                        </a:moveTo>
                        <a:cubicBezTo>
                          <a:pt x="147" y="634"/>
                          <a:pt x="147" y="634"/>
                          <a:pt x="147" y="634"/>
                        </a:cubicBezTo>
                        <a:cubicBezTo>
                          <a:pt x="147" y="64"/>
                          <a:pt x="147" y="64"/>
                          <a:pt x="147" y="64"/>
                        </a:cubicBezTo>
                        <a:cubicBezTo>
                          <a:pt x="559" y="64"/>
                          <a:pt x="559" y="64"/>
                          <a:pt x="559" y="64"/>
                        </a:cubicBezTo>
                        <a:cubicBezTo>
                          <a:pt x="559" y="0"/>
                          <a:pt x="559" y="0"/>
                          <a:pt x="559" y="0"/>
                        </a:cubicBezTo>
                        <a:cubicBezTo>
                          <a:pt x="116" y="0"/>
                          <a:pt x="116" y="0"/>
                          <a:pt x="116" y="0"/>
                        </a:cubicBezTo>
                        <a:cubicBezTo>
                          <a:pt x="97" y="0"/>
                          <a:pt x="83" y="15"/>
                          <a:pt x="83" y="33"/>
                        </a:cubicBezTo>
                        <a:cubicBezTo>
                          <a:pt x="83" y="634"/>
                          <a:pt x="83" y="634"/>
                          <a:pt x="83" y="634"/>
                        </a:cubicBezTo>
                        <a:cubicBezTo>
                          <a:pt x="59" y="634"/>
                          <a:pt x="59" y="634"/>
                          <a:pt x="59" y="634"/>
                        </a:cubicBezTo>
                        <a:cubicBezTo>
                          <a:pt x="26" y="634"/>
                          <a:pt x="0" y="660"/>
                          <a:pt x="0" y="693"/>
                        </a:cubicBezTo>
                        <a:cubicBezTo>
                          <a:pt x="0" y="725"/>
                          <a:pt x="26" y="751"/>
                          <a:pt x="59" y="751"/>
                        </a:cubicBezTo>
                        <a:cubicBezTo>
                          <a:pt x="1086" y="751"/>
                          <a:pt x="1086" y="751"/>
                          <a:pt x="1086" y="751"/>
                        </a:cubicBezTo>
                        <a:cubicBezTo>
                          <a:pt x="1118" y="751"/>
                          <a:pt x="1145" y="725"/>
                          <a:pt x="1145" y="693"/>
                        </a:cubicBezTo>
                        <a:cubicBezTo>
                          <a:pt x="1145" y="660"/>
                          <a:pt x="1118" y="634"/>
                          <a:pt x="1086" y="634"/>
                        </a:cubicBezTo>
                        <a:close/>
                        <a:moveTo>
                          <a:pt x="603" y="710"/>
                        </a:moveTo>
                        <a:cubicBezTo>
                          <a:pt x="541" y="710"/>
                          <a:pt x="541" y="710"/>
                          <a:pt x="541" y="710"/>
                        </a:cubicBezTo>
                        <a:cubicBezTo>
                          <a:pt x="532" y="710"/>
                          <a:pt x="524" y="702"/>
                          <a:pt x="524" y="693"/>
                        </a:cubicBezTo>
                        <a:cubicBezTo>
                          <a:pt x="524" y="683"/>
                          <a:pt x="532" y="676"/>
                          <a:pt x="541" y="676"/>
                        </a:cubicBezTo>
                        <a:cubicBezTo>
                          <a:pt x="603" y="676"/>
                          <a:pt x="603" y="676"/>
                          <a:pt x="603" y="676"/>
                        </a:cubicBezTo>
                        <a:cubicBezTo>
                          <a:pt x="613" y="676"/>
                          <a:pt x="620" y="683"/>
                          <a:pt x="620" y="693"/>
                        </a:cubicBezTo>
                        <a:cubicBezTo>
                          <a:pt x="620" y="702"/>
                          <a:pt x="613" y="710"/>
                          <a:pt x="603" y="710"/>
                        </a:cubicBezTo>
                        <a:close/>
                        <a:moveTo>
                          <a:pt x="603" y="710"/>
                        </a:moveTo>
                        <a:cubicBezTo>
                          <a:pt x="603" y="710"/>
                          <a:pt x="603" y="710"/>
                          <a:pt x="603" y="71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53" name="Group 52"/>
                <p:cNvGrpSpPr/>
                <p:nvPr/>
              </p:nvGrpSpPr>
              <p:grpSpPr>
                <a:xfrm>
                  <a:off x="5864225" y="1450976"/>
                  <a:ext cx="527051" cy="566737"/>
                  <a:chOff x="5864225" y="1450976"/>
                  <a:chExt cx="527051" cy="566737"/>
                </a:xfrm>
                <a:solidFill>
                  <a:schemeClr val="accent1"/>
                </a:solidFill>
              </p:grpSpPr>
              <p:sp>
                <p:nvSpPr>
                  <p:cNvPr id="54" name="Freeform 16"/>
                  <p:cNvSpPr>
                    <a:spLocks noEditPoints="1"/>
                  </p:cNvSpPr>
                  <p:nvPr/>
                </p:nvSpPr>
                <p:spPr bwMode="auto">
                  <a:xfrm>
                    <a:off x="5864225" y="1450976"/>
                    <a:ext cx="50800" cy="74613"/>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5" name="Freeform 17"/>
                  <p:cNvSpPr>
                    <a:spLocks noEditPoints="1"/>
                  </p:cNvSpPr>
                  <p:nvPr/>
                </p:nvSpPr>
                <p:spPr bwMode="auto">
                  <a:xfrm>
                    <a:off x="5924550" y="1452563"/>
                    <a:ext cx="26988" cy="71438"/>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6" name="Freeform 18"/>
                  <p:cNvSpPr>
                    <a:spLocks noEditPoints="1"/>
                  </p:cNvSpPr>
                  <p:nvPr/>
                </p:nvSpPr>
                <p:spPr bwMode="auto">
                  <a:xfrm>
                    <a:off x="5967413" y="1450976"/>
                    <a:ext cx="49213" cy="74613"/>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7" name="Freeform 19"/>
                  <p:cNvSpPr>
                    <a:spLocks noEditPoints="1"/>
                  </p:cNvSpPr>
                  <p:nvPr/>
                </p:nvSpPr>
                <p:spPr bwMode="auto">
                  <a:xfrm>
                    <a:off x="6026150" y="1450976"/>
                    <a:ext cx="49213" cy="74613"/>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8" name="Freeform 20"/>
                  <p:cNvSpPr>
                    <a:spLocks noEditPoints="1"/>
                  </p:cNvSpPr>
                  <p:nvPr/>
                </p:nvSpPr>
                <p:spPr bwMode="auto">
                  <a:xfrm>
                    <a:off x="6084888" y="1452563"/>
                    <a:ext cx="26988" cy="71438"/>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9" name="Freeform 21"/>
                  <p:cNvSpPr>
                    <a:spLocks noEditPoints="1"/>
                  </p:cNvSpPr>
                  <p:nvPr/>
                </p:nvSpPr>
                <p:spPr bwMode="auto">
                  <a:xfrm>
                    <a:off x="6130925" y="1450976"/>
                    <a:ext cx="49213" cy="74613"/>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4"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0" name="Freeform 22"/>
                  <p:cNvSpPr>
                    <a:spLocks noEditPoints="1"/>
                  </p:cNvSpPr>
                  <p:nvPr/>
                </p:nvSpPr>
                <p:spPr bwMode="auto">
                  <a:xfrm>
                    <a:off x="6191250" y="1452563"/>
                    <a:ext cx="25400" cy="71438"/>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2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2" y="9"/>
                          <a:pt x="2" y="9"/>
                          <a:pt x="2" y="9"/>
                        </a:cubicBezTo>
                        <a:cubicBezTo>
                          <a:pt x="1" y="10"/>
                          <a:pt x="0" y="11"/>
                          <a:pt x="0" y="12"/>
                        </a:cubicBezTo>
                        <a:lnTo>
                          <a:pt x="2" y="19"/>
                        </a:lnTo>
                        <a:close/>
                        <a:moveTo>
                          <a:pt x="2" y="19"/>
                        </a:moveTo>
                        <a:cubicBezTo>
                          <a:pt x="2" y="19"/>
                          <a:pt x="2" y="19"/>
                          <a:pt x="2"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1" name="Freeform 23"/>
                  <p:cNvSpPr>
                    <a:spLocks noEditPoints="1"/>
                  </p:cNvSpPr>
                  <p:nvPr/>
                </p:nvSpPr>
                <p:spPr bwMode="auto">
                  <a:xfrm>
                    <a:off x="6235700" y="1450976"/>
                    <a:ext cx="50800" cy="74613"/>
                  </a:xfrm>
                  <a:custGeom>
                    <a:avLst/>
                    <a:gdLst>
                      <a:gd name="T0" fmla="*/ 27 w 54"/>
                      <a:gd name="T1" fmla="*/ 80 h 80"/>
                      <a:gd name="T2" fmla="*/ 54 w 54"/>
                      <a:gd name="T3" fmla="*/ 39 h 80"/>
                      <a:gd name="T4" fmla="*/ 28 w 54"/>
                      <a:gd name="T5" fmla="*/ 0 h 80"/>
                      <a:gd name="T6" fmla="*/ 0 w 54"/>
                      <a:gd name="T7" fmla="*/ 40 h 80"/>
                      <a:gd name="T8" fmla="*/ 27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7" y="80"/>
                        </a:moveTo>
                        <a:cubicBezTo>
                          <a:pt x="44" y="80"/>
                          <a:pt x="54" y="65"/>
                          <a:pt x="54" y="39"/>
                        </a:cubicBezTo>
                        <a:cubicBezTo>
                          <a:pt x="54" y="15"/>
                          <a:pt x="45" y="0"/>
                          <a:pt x="28" y="0"/>
                        </a:cubicBezTo>
                        <a:cubicBezTo>
                          <a:pt x="11" y="0"/>
                          <a:pt x="0" y="15"/>
                          <a:pt x="0" y="40"/>
                        </a:cubicBezTo>
                        <a:cubicBezTo>
                          <a:pt x="0" y="65"/>
                          <a:pt x="11" y="80"/>
                          <a:pt x="27" y="80"/>
                        </a:cubicBezTo>
                        <a:close/>
                        <a:moveTo>
                          <a:pt x="27" y="12"/>
                        </a:moveTo>
                        <a:cubicBezTo>
                          <a:pt x="38" y="12"/>
                          <a:pt x="40" y="30"/>
                          <a:pt x="40" y="40"/>
                        </a:cubicBezTo>
                        <a:cubicBezTo>
                          <a:pt x="40" y="50"/>
                          <a:pt x="38" y="68"/>
                          <a:pt x="27" y="68"/>
                        </a:cubicBezTo>
                        <a:cubicBezTo>
                          <a:pt x="20" y="68"/>
                          <a:pt x="15" y="57"/>
                          <a:pt x="15" y="40"/>
                        </a:cubicBezTo>
                        <a:cubicBezTo>
                          <a:pt x="15" y="23"/>
                          <a:pt x="20" y="12"/>
                          <a:pt x="27" y="12"/>
                        </a:cubicBezTo>
                        <a:close/>
                        <a:moveTo>
                          <a:pt x="27" y="12"/>
                        </a:moveTo>
                        <a:cubicBezTo>
                          <a:pt x="27" y="12"/>
                          <a:pt x="27" y="12"/>
                          <a:pt x="27"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2" name="Freeform 24"/>
                  <p:cNvSpPr>
                    <a:spLocks noEditPoints="1"/>
                  </p:cNvSpPr>
                  <p:nvPr/>
                </p:nvSpPr>
                <p:spPr bwMode="auto">
                  <a:xfrm>
                    <a:off x="6296025" y="1452563"/>
                    <a:ext cx="26988" cy="71438"/>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3" name="Freeform 25"/>
                  <p:cNvSpPr>
                    <a:spLocks noEditPoints="1"/>
                  </p:cNvSpPr>
                  <p:nvPr/>
                </p:nvSpPr>
                <p:spPr bwMode="auto">
                  <a:xfrm>
                    <a:off x="6342063" y="1450976"/>
                    <a:ext cx="49213" cy="74613"/>
                  </a:xfrm>
                  <a:custGeom>
                    <a:avLst/>
                    <a:gdLst>
                      <a:gd name="T0" fmla="*/ 28 w 55"/>
                      <a:gd name="T1" fmla="*/ 0 h 80"/>
                      <a:gd name="T2" fmla="*/ 0 w 55"/>
                      <a:gd name="T3" fmla="*/ 40 h 80"/>
                      <a:gd name="T4" fmla="*/ 27 w 55"/>
                      <a:gd name="T5" fmla="*/ 80 h 80"/>
                      <a:gd name="T6" fmla="*/ 55 w 55"/>
                      <a:gd name="T7" fmla="*/ 39 h 80"/>
                      <a:gd name="T8" fmla="*/ 28 w 55"/>
                      <a:gd name="T9" fmla="*/ 0 h 80"/>
                      <a:gd name="T10" fmla="*/ 27 w 55"/>
                      <a:gd name="T11" fmla="*/ 68 h 80"/>
                      <a:gd name="T12" fmla="*/ 15 w 55"/>
                      <a:gd name="T13" fmla="*/ 40 h 80"/>
                      <a:gd name="T14" fmla="*/ 27 w 55"/>
                      <a:gd name="T15" fmla="*/ 12 h 80"/>
                      <a:gd name="T16" fmla="*/ 40 w 55"/>
                      <a:gd name="T17" fmla="*/ 40 h 80"/>
                      <a:gd name="T18" fmla="*/ 27 w 55"/>
                      <a:gd name="T19" fmla="*/ 68 h 80"/>
                      <a:gd name="T20" fmla="*/ 27 w 55"/>
                      <a:gd name="T21" fmla="*/ 68 h 80"/>
                      <a:gd name="T22" fmla="*/ 27 w 55"/>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80">
                        <a:moveTo>
                          <a:pt x="28" y="0"/>
                        </a:moveTo>
                        <a:cubicBezTo>
                          <a:pt x="11" y="0"/>
                          <a:pt x="0" y="15"/>
                          <a:pt x="0" y="40"/>
                        </a:cubicBezTo>
                        <a:cubicBezTo>
                          <a:pt x="1" y="65"/>
                          <a:pt x="11" y="80"/>
                          <a:pt x="27" y="80"/>
                        </a:cubicBezTo>
                        <a:cubicBezTo>
                          <a:pt x="44" y="80"/>
                          <a:pt x="55" y="65"/>
                          <a:pt x="55" y="39"/>
                        </a:cubicBezTo>
                        <a:cubicBezTo>
                          <a:pt x="55"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4" name="Freeform 26"/>
                  <p:cNvSpPr>
                    <a:spLocks noEditPoints="1"/>
                  </p:cNvSpPr>
                  <p:nvPr/>
                </p:nvSpPr>
                <p:spPr bwMode="auto">
                  <a:xfrm>
                    <a:off x="5872163" y="1576388"/>
                    <a:ext cx="26988" cy="71438"/>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5" name="Freeform 27"/>
                  <p:cNvSpPr>
                    <a:spLocks noEditPoints="1"/>
                  </p:cNvSpPr>
                  <p:nvPr/>
                </p:nvSpPr>
                <p:spPr bwMode="auto">
                  <a:xfrm>
                    <a:off x="5918200" y="1574801"/>
                    <a:ext cx="49213" cy="7302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6" name="Freeform 28"/>
                  <p:cNvSpPr>
                    <a:spLocks noEditPoints="1"/>
                  </p:cNvSpPr>
                  <p:nvPr/>
                </p:nvSpPr>
                <p:spPr bwMode="auto">
                  <a:xfrm>
                    <a:off x="5976938" y="1576388"/>
                    <a:ext cx="26988" cy="71438"/>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7" name="Freeform 29"/>
                  <p:cNvSpPr>
                    <a:spLocks noEditPoints="1"/>
                  </p:cNvSpPr>
                  <p:nvPr/>
                </p:nvSpPr>
                <p:spPr bwMode="auto">
                  <a:xfrm>
                    <a:off x="6022975" y="1574801"/>
                    <a:ext cx="49213" cy="7302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8" name="Freeform 30"/>
                  <p:cNvSpPr>
                    <a:spLocks noEditPoints="1"/>
                  </p:cNvSpPr>
                  <p:nvPr/>
                </p:nvSpPr>
                <p:spPr bwMode="auto">
                  <a:xfrm>
                    <a:off x="6083300" y="1576388"/>
                    <a:ext cx="25400" cy="71438"/>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9" name="Freeform 31"/>
                  <p:cNvSpPr>
                    <a:spLocks noEditPoints="1"/>
                  </p:cNvSpPr>
                  <p:nvPr/>
                </p:nvSpPr>
                <p:spPr bwMode="auto">
                  <a:xfrm>
                    <a:off x="6127750" y="1574801"/>
                    <a:ext cx="50800" cy="73025"/>
                  </a:xfrm>
                  <a:custGeom>
                    <a:avLst/>
                    <a:gdLst>
                      <a:gd name="T0" fmla="*/ 28 w 54"/>
                      <a:gd name="T1" fmla="*/ 0 h 80"/>
                      <a:gd name="T2" fmla="*/ 0 w 54"/>
                      <a:gd name="T3" fmla="*/ 40 h 80"/>
                      <a:gd name="T4" fmla="*/ 26 w 54"/>
                      <a:gd name="T5" fmla="*/ 80 h 80"/>
                      <a:gd name="T6" fmla="*/ 54 w 54"/>
                      <a:gd name="T7" fmla="*/ 39 h 80"/>
                      <a:gd name="T8" fmla="*/ 28 w 54"/>
                      <a:gd name="T9" fmla="*/ 0 h 80"/>
                      <a:gd name="T10" fmla="*/ 27 w 54"/>
                      <a:gd name="T11" fmla="*/ 67 h 80"/>
                      <a:gd name="T12" fmla="*/ 15 w 54"/>
                      <a:gd name="T13" fmla="*/ 40 h 80"/>
                      <a:gd name="T14" fmla="*/ 27 w 54"/>
                      <a:gd name="T15" fmla="*/ 12 h 80"/>
                      <a:gd name="T16" fmla="*/ 40 w 54"/>
                      <a:gd name="T17" fmla="*/ 39 h 80"/>
                      <a:gd name="T18" fmla="*/ 27 w 54"/>
                      <a:gd name="T19" fmla="*/ 67 h 80"/>
                      <a:gd name="T20" fmla="*/ 27 w 54"/>
                      <a:gd name="T21" fmla="*/ 67 h 80"/>
                      <a:gd name="T22" fmla="*/ 27 w 54"/>
                      <a:gd name="T23" fmla="*/ 6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4"/>
                          <a:pt x="10" y="80"/>
                          <a:pt x="26" y="80"/>
                        </a:cubicBezTo>
                        <a:cubicBezTo>
                          <a:pt x="44" y="80"/>
                          <a:pt x="54" y="65"/>
                          <a:pt x="54" y="39"/>
                        </a:cubicBezTo>
                        <a:cubicBezTo>
                          <a:pt x="54" y="14"/>
                          <a:pt x="44" y="0"/>
                          <a:pt x="28" y="0"/>
                        </a:cubicBezTo>
                        <a:close/>
                        <a:moveTo>
                          <a:pt x="27" y="67"/>
                        </a:moveTo>
                        <a:cubicBezTo>
                          <a:pt x="19" y="67"/>
                          <a:pt x="15" y="57"/>
                          <a:pt x="15" y="40"/>
                        </a:cubicBezTo>
                        <a:cubicBezTo>
                          <a:pt x="15" y="23"/>
                          <a:pt x="20" y="12"/>
                          <a:pt x="27" y="12"/>
                        </a:cubicBezTo>
                        <a:cubicBezTo>
                          <a:pt x="38" y="12"/>
                          <a:pt x="40" y="29"/>
                          <a:pt x="40" y="39"/>
                        </a:cubicBezTo>
                        <a:cubicBezTo>
                          <a:pt x="40" y="50"/>
                          <a:pt x="38" y="67"/>
                          <a:pt x="27" y="67"/>
                        </a:cubicBezTo>
                        <a:close/>
                        <a:moveTo>
                          <a:pt x="27" y="67"/>
                        </a:moveTo>
                        <a:cubicBezTo>
                          <a:pt x="27" y="67"/>
                          <a:pt x="27" y="67"/>
                          <a:pt x="27" y="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0" name="Freeform 32"/>
                  <p:cNvSpPr>
                    <a:spLocks noEditPoints="1"/>
                  </p:cNvSpPr>
                  <p:nvPr/>
                </p:nvSpPr>
                <p:spPr bwMode="auto">
                  <a:xfrm>
                    <a:off x="6184900" y="1574801"/>
                    <a:ext cx="49213" cy="73025"/>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1" name="Freeform 33"/>
                  <p:cNvSpPr>
                    <a:spLocks noEditPoints="1"/>
                  </p:cNvSpPr>
                  <p:nvPr/>
                </p:nvSpPr>
                <p:spPr bwMode="auto">
                  <a:xfrm>
                    <a:off x="6243638" y="1576388"/>
                    <a:ext cx="26988" cy="71438"/>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2"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2" name="Freeform 34"/>
                  <p:cNvSpPr>
                    <a:spLocks noEditPoints="1"/>
                  </p:cNvSpPr>
                  <p:nvPr/>
                </p:nvSpPr>
                <p:spPr bwMode="auto">
                  <a:xfrm>
                    <a:off x="6289675" y="1574801"/>
                    <a:ext cx="49213" cy="73025"/>
                  </a:xfrm>
                  <a:custGeom>
                    <a:avLst/>
                    <a:gdLst>
                      <a:gd name="T0" fmla="*/ 27 w 54"/>
                      <a:gd name="T1" fmla="*/ 0 h 80"/>
                      <a:gd name="T2" fmla="*/ 0 w 54"/>
                      <a:gd name="T3" fmla="*/ 40 h 80"/>
                      <a:gd name="T4" fmla="*/ 26 w 54"/>
                      <a:gd name="T5" fmla="*/ 80 h 80"/>
                      <a:gd name="T6" fmla="*/ 54 w 54"/>
                      <a:gd name="T7" fmla="*/ 39 h 80"/>
                      <a:gd name="T8" fmla="*/ 27 w 54"/>
                      <a:gd name="T9" fmla="*/ 0 h 80"/>
                      <a:gd name="T10" fmla="*/ 27 w 54"/>
                      <a:gd name="T11" fmla="*/ 67 h 80"/>
                      <a:gd name="T12" fmla="*/ 14 w 54"/>
                      <a:gd name="T13" fmla="*/ 40 h 80"/>
                      <a:gd name="T14" fmla="*/ 27 w 54"/>
                      <a:gd name="T15" fmla="*/ 12 h 80"/>
                      <a:gd name="T16" fmla="*/ 39 w 54"/>
                      <a:gd name="T17" fmla="*/ 39 h 80"/>
                      <a:gd name="T18" fmla="*/ 27 w 54"/>
                      <a:gd name="T19" fmla="*/ 67 h 80"/>
                      <a:gd name="T20" fmla="*/ 27 w 54"/>
                      <a:gd name="T21" fmla="*/ 67 h 80"/>
                      <a:gd name="T22" fmla="*/ 27 w 54"/>
                      <a:gd name="T23" fmla="*/ 6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7" y="0"/>
                        </a:moveTo>
                        <a:cubicBezTo>
                          <a:pt x="10" y="0"/>
                          <a:pt x="0" y="15"/>
                          <a:pt x="0" y="40"/>
                        </a:cubicBezTo>
                        <a:cubicBezTo>
                          <a:pt x="0" y="64"/>
                          <a:pt x="10" y="80"/>
                          <a:pt x="26" y="80"/>
                        </a:cubicBezTo>
                        <a:cubicBezTo>
                          <a:pt x="44" y="80"/>
                          <a:pt x="54" y="65"/>
                          <a:pt x="54" y="39"/>
                        </a:cubicBezTo>
                        <a:cubicBezTo>
                          <a:pt x="54" y="14"/>
                          <a:pt x="44" y="0"/>
                          <a:pt x="27" y="0"/>
                        </a:cubicBezTo>
                        <a:close/>
                        <a:moveTo>
                          <a:pt x="27" y="67"/>
                        </a:moveTo>
                        <a:cubicBezTo>
                          <a:pt x="19" y="67"/>
                          <a:pt x="14" y="57"/>
                          <a:pt x="14" y="40"/>
                        </a:cubicBezTo>
                        <a:cubicBezTo>
                          <a:pt x="14" y="23"/>
                          <a:pt x="19" y="12"/>
                          <a:pt x="27" y="12"/>
                        </a:cubicBezTo>
                        <a:cubicBezTo>
                          <a:pt x="38" y="12"/>
                          <a:pt x="39" y="29"/>
                          <a:pt x="39" y="39"/>
                        </a:cubicBezTo>
                        <a:cubicBezTo>
                          <a:pt x="39" y="50"/>
                          <a:pt x="38" y="67"/>
                          <a:pt x="27" y="67"/>
                        </a:cubicBezTo>
                        <a:close/>
                        <a:moveTo>
                          <a:pt x="27" y="67"/>
                        </a:moveTo>
                        <a:cubicBezTo>
                          <a:pt x="27" y="67"/>
                          <a:pt x="27" y="67"/>
                          <a:pt x="27" y="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3" name="Freeform 35"/>
                  <p:cNvSpPr>
                    <a:spLocks noEditPoints="1"/>
                  </p:cNvSpPr>
                  <p:nvPr/>
                </p:nvSpPr>
                <p:spPr bwMode="auto">
                  <a:xfrm>
                    <a:off x="5864225" y="1697038"/>
                    <a:ext cx="50800" cy="74613"/>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4" name="Freeform 36"/>
                  <p:cNvSpPr>
                    <a:spLocks noEditPoints="1"/>
                  </p:cNvSpPr>
                  <p:nvPr/>
                </p:nvSpPr>
                <p:spPr bwMode="auto">
                  <a:xfrm>
                    <a:off x="5921375" y="1697038"/>
                    <a:ext cx="49213" cy="74613"/>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5" name="Freeform 37"/>
                  <p:cNvSpPr>
                    <a:spLocks noEditPoints="1"/>
                  </p:cNvSpPr>
                  <p:nvPr/>
                </p:nvSpPr>
                <p:spPr bwMode="auto">
                  <a:xfrm>
                    <a:off x="5980113" y="1698626"/>
                    <a:ext cx="26988" cy="71438"/>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6" name="Freeform 38"/>
                  <p:cNvSpPr>
                    <a:spLocks noEditPoints="1"/>
                  </p:cNvSpPr>
                  <p:nvPr/>
                </p:nvSpPr>
                <p:spPr bwMode="auto">
                  <a:xfrm>
                    <a:off x="6026150" y="1697038"/>
                    <a:ext cx="49213" cy="74613"/>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7" name="Freeform 39"/>
                  <p:cNvSpPr>
                    <a:spLocks noEditPoints="1"/>
                  </p:cNvSpPr>
                  <p:nvPr/>
                </p:nvSpPr>
                <p:spPr bwMode="auto">
                  <a:xfrm>
                    <a:off x="6081713" y="1697038"/>
                    <a:ext cx="49213" cy="74613"/>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8" name="Freeform 40"/>
                  <p:cNvSpPr>
                    <a:spLocks noEditPoints="1"/>
                  </p:cNvSpPr>
                  <p:nvPr/>
                </p:nvSpPr>
                <p:spPr bwMode="auto">
                  <a:xfrm>
                    <a:off x="6140450" y="1698626"/>
                    <a:ext cx="26988" cy="71438"/>
                  </a:xfrm>
                  <a:custGeom>
                    <a:avLst/>
                    <a:gdLst>
                      <a:gd name="T0" fmla="*/ 27 w 29"/>
                      <a:gd name="T1" fmla="*/ 0 h 78"/>
                      <a:gd name="T2" fmla="*/ 18 w 29"/>
                      <a:gd name="T3" fmla="*/ 0 h 78"/>
                      <a:gd name="T4" fmla="*/ 17 w 29"/>
                      <a:gd name="T5" fmla="*/ 1 h 78"/>
                      <a:gd name="T6" fmla="*/ 1 w 29"/>
                      <a:gd name="T7" fmla="*/ 9 h 78"/>
                      <a:gd name="T8" fmla="*/ 0 w 29"/>
                      <a:gd name="T9" fmla="*/ 12 h 78"/>
                      <a:gd name="T10" fmla="*/ 2 w 29"/>
                      <a:gd name="T11" fmla="*/ 19 h 78"/>
                      <a:gd name="T12" fmla="*/ 3 w 29"/>
                      <a:gd name="T13" fmla="*/ 21 h 78"/>
                      <a:gd name="T14" fmla="*/ 5 w 29"/>
                      <a:gd name="T15" fmla="*/ 21 h 78"/>
                      <a:gd name="T16" fmla="*/ 15 w 29"/>
                      <a:gd name="T17" fmla="*/ 16 h 78"/>
                      <a:gd name="T18" fmla="*/ 15 w 29"/>
                      <a:gd name="T19" fmla="*/ 76 h 78"/>
                      <a:gd name="T20" fmla="*/ 17 w 29"/>
                      <a:gd name="T21" fmla="*/ 78 h 78"/>
                      <a:gd name="T22" fmla="*/ 27 w 29"/>
                      <a:gd name="T23" fmla="*/ 78 h 78"/>
                      <a:gd name="T24" fmla="*/ 29 w 29"/>
                      <a:gd name="T25" fmla="*/ 76 h 78"/>
                      <a:gd name="T26" fmla="*/ 29 w 29"/>
                      <a:gd name="T27" fmla="*/ 3 h 78"/>
                      <a:gd name="T28" fmla="*/ 27 w 29"/>
                      <a:gd name="T29" fmla="*/ 0 h 78"/>
                      <a:gd name="T30" fmla="*/ 27 w 29"/>
                      <a:gd name="T31" fmla="*/ 0 h 78"/>
                      <a:gd name="T32" fmla="*/ 27 w 29"/>
                      <a:gd name="T3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7" y="0"/>
                        </a:moveTo>
                        <a:cubicBezTo>
                          <a:pt x="18" y="0"/>
                          <a:pt x="18" y="0"/>
                          <a:pt x="18" y="0"/>
                        </a:cubicBezTo>
                        <a:cubicBezTo>
                          <a:pt x="18" y="0"/>
                          <a:pt x="17"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5"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2"/>
                          <a:pt x="28" y="0"/>
                          <a:pt x="27" y="0"/>
                        </a:cubicBezTo>
                        <a:close/>
                        <a:moveTo>
                          <a:pt x="27" y="0"/>
                        </a:moveTo>
                        <a:cubicBezTo>
                          <a:pt x="27"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9" name="Freeform 41"/>
                  <p:cNvSpPr>
                    <a:spLocks noEditPoints="1"/>
                  </p:cNvSpPr>
                  <p:nvPr/>
                </p:nvSpPr>
                <p:spPr bwMode="auto">
                  <a:xfrm>
                    <a:off x="6186488" y="1697038"/>
                    <a:ext cx="49213" cy="74613"/>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39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0"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19" y="13"/>
                          <a:pt x="27" y="13"/>
                        </a:cubicBezTo>
                        <a:cubicBezTo>
                          <a:pt x="38" y="13"/>
                          <a:pt x="39" y="30"/>
                          <a:pt x="39" y="40"/>
                        </a:cubicBezTo>
                        <a:cubicBezTo>
                          <a:pt x="39" y="50"/>
                          <a:pt x="38" y="68"/>
                          <a:pt x="27" y="68"/>
                        </a:cubicBezTo>
                        <a:close/>
                        <a:moveTo>
                          <a:pt x="27" y="68"/>
                        </a:moveTo>
                        <a:cubicBezTo>
                          <a:pt x="27" y="68"/>
                          <a:pt x="27" y="68"/>
                          <a:pt x="2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0" name="Freeform 42"/>
                  <p:cNvSpPr>
                    <a:spLocks noEditPoints="1"/>
                  </p:cNvSpPr>
                  <p:nvPr/>
                </p:nvSpPr>
                <p:spPr bwMode="auto">
                  <a:xfrm>
                    <a:off x="5864225" y="1820863"/>
                    <a:ext cx="50800" cy="7302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1" name="Freeform 43"/>
                  <p:cNvSpPr>
                    <a:spLocks noEditPoints="1"/>
                  </p:cNvSpPr>
                  <p:nvPr/>
                </p:nvSpPr>
                <p:spPr bwMode="auto">
                  <a:xfrm>
                    <a:off x="5921375" y="1820863"/>
                    <a:ext cx="49213" cy="7302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2" name="Freeform 44"/>
                  <p:cNvSpPr>
                    <a:spLocks noEditPoints="1"/>
                  </p:cNvSpPr>
                  <p:nvPr/>
                </p:nvSpPr>
                <p:spPr bwMode="auto">
                  <a:xfrm>
                    <a:off x="5980113" y="1822451"/>
                    <a:ext cx="26988" cy="71438"/>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7" name="Freeform 45"/>
                  <p:cNvSpPr>
                    <a:spLocks noEditPoints="1"/>
                  </p:cNvSpPr>
                  <p:nvPr/>
                </p:nvSpPr>
                <p:spPr bwMode="auto">
                  <a:xfrm>
                    <a:off x="6032500" y="1822451"/>
                    <a:ext cx="26988" cy="71438"/>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8" name="Freeform 46"/>
                  <p:cNvSpPr>
                    <a:spLocks noEditPoints="1"/>
                  </p:cNvSpPr>
                  <p:nvPr/>
                </p:nvSpPr>
                <p:spPr bwMode="auto">
                  <a:xfrm>
                    <a:off x="6078538" y="1820863"/>
                    <a:ext cx="49213" cy="73025"/>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9" name="Freeform 47"/>
                  <p:cNvSpPr>
                    <a:spLocks noEditPoints="1"/>
                  </p:cNvSpPr>
                  <p:nvPr/>
                </p:nvSpPr>
                <p:spPr bwMode="auto">
                  <a:xfrm>
                    <a:off x="6138863" y="1822451"/>
                    <a:ext cx="25400" cy="71438"/>
                  </a:xfrm>
                  <a:custGeom>
                    <a:avLst/>
                    <a:gdLst>
                      <a:gd name="T0" fmla="*/ 26 w 29"/>
                      <a:gd name="T1" fmla="*/ 0 h 78"/>
                      <a:gd name="T2" fmla="*/ 18 w 29"/>
                      <a:gd name="T3" fmla="*/ 0 h 78"/>
                      <a:gd name="T4" fmla="*/ 17 w 29"/>
                      <a:gd name="T5" fmla="*/ 0 h 78"/>
                      <a:gd name="T6" fmla="*/ 1 w 29"/>
                      <a:gd name="T7" fmla="*/ 9 h 78"/>
                      <a:gd name="T8" fmla="*/ 0 w 29"/>
                      <a:gd name="T9" fmla="*/ 12 h 78"/>
                      <a:gd name="T10" fmla="*/ 2 w 29"/>
                      <a:gd name="T11" fmla="*/ 19 h 78"/>
                      <a:gd name="T12" fmla="*/ 3 w 29"/>
                      <a:gd name="T13" fmla="*/ 21 h 78"/>
                      <a:gd name="T14" fmla="*/ 5 w 29"/>
                      <a:gd name="T15" fmla="*/ 21 h 78"/>
                      <a:gd name="T16" fmla="*/ 15 w 29"/>
                      <a:gd name="T17" fmla="*/ 16 h 78"/>
                      <a:gd name="T18" fmla="*/ 15 w 29"/>
                      <a:gd name="T19" fmla="*/ 75 h 78"/>
                      <a:gd name="T20" fmla="*/ 17 w 29"/>
                      <a:gd name="T21" fmla="*/ 78 h 78"/>
                      <a:gd name="T22" fmla="*/ 26 w 29"/>
                      <a:gd name="T23" fmla="*/ 78 h 78"/>
                      <a:gd name="T24" fmla="*/ 29 w 29"/>
                      <a:gd name="T25" fmla="*/ 75 h 78"/>
                      <a:gd name="T26" fmla="*/ 29 w 29"/>
                      <a:gd name="T27" fmla="*/ 2 h 78"/>
                      <a:gd name="T28" fmla="*/ 26 w 29"/>
                      <a:gd name="T29" fmla="*/ 0 h 78"/>
                      <a:gd name="T30" fmla="*/ 26 w 29"/>
                      <a:gd name="T31" fmla="*/ 0 h 78"/>
                      <a:gd name="T32" fmla="*/ 26 w 29"/>
                      <a:gd name="T3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6" y="0"/>
                        </a:moveTo>
                        <a:cubicBezTo>
                          <a:pt x="18" y="0"/>
                          <a:pt x="18" y="0"/>
                          <a:pt x="18" y="0"/>
                        </a:cubicBezTo>
                        <a:cubicBezTo>
                          <a:pt x="18" y="0"/>
                          <a:pt x="17" y="0"/>
                          <a:pt x="17" y="0"/>
                        </a:cubicBezTo>
                        <a:cubicBezTo>
                          <a:pt x="1" y="9"/>
                          <a:pt x="1" y="9"/>
                          <a:pt x="1" y="9"/>
                        </a:cubicBezTo>
                        <a:cubicBezTo>
                          <a:pt x="0" y="9"/>
                          <a:pt x="0" y="10"/>
                          <a:pt x="0" y="12"/>
                        </a:cubicBezTo>
                        <a:cubicBezTo>
                          <a:pt x="2" y="19"/>
                          <a:pt x="2" y="19"/>
                          <a:pt x="2" y="19"/>
                        </a:cubicBezTo>
                        <a:cubicBezTo>
                          <a:pt x="2" y="20"/>
                          <a:pt x="2" y="20"/>
                          <a:pt x="3" y="21"/>
                        </a:cubicBezTo>
                        <a:cubicBezTo>
                          <a:pt x="4" y="21"/>
                          <a:pt x="5" y="21"/>
                          <a:pt x="5" y="21"/>
                        </a:cubicBezTo>
                        <a:cubicBezTo>
                          <a:pt x="15" y="16"/>
                          <a:pt x="15" y="16"/>
                          <a:pt x="15" y="16"/>
                        </a:cubicBezTo>
                        <a:cubicBezTo>
                          <a:pt x="15" y="75"/>
                          <a:pt x="15" y="75"/>
                          <a:pt x="15" y="75"/>
                        </a:cubicBezTo>
                        <a:cubicBezTo>
                          <a:pt x="15" y="77"/>
                          <a:pt x="16" y="78"/>
                          <a:pt x="17" y="78"/>
                        </a:cubicBezTo>
                        <a:cubicBezTo>
                          <a:pt x="26" y="78"/>
                          <a:pt x="26" y="78"/>
                          <a:pt x="26" y="78"/>
                        </a:cubicBezTo>
                        <a:cubicBezTo>
                          <a:pt x="28" y="78"/>
                          <a:pt x="29" y="77"/>
                          <a:pt x="29" y="75"/>
                        </a:cubicBezTo>
                        <a:cubicBezTo>
                          <a:pt x="29" y="2"/>
                          <a:pt x="29" y="2"/>
                          <a:pt x="29" y="2"/>
                        </a:cubicBezTo>
                        <a:cubicBezTo>
                          <a:pt x="29" y="1"/>
                          <a:pt x="28" y="0"/>
                          <a:pt x="26" y="0"/>
                        </a:cubicBezTo>
                        <a:close/>
                        <a:moveTo>
                          <a:pt x="26" y="0"/>
                        </a:moveTo>
                        <a:cubicBezTo>
                          <a:pt x="26" y="0"/>
                          <a:pt x="26" y="0"/>
                          <a:pt x="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08" name="Freeform 48"/>
                  <p:cNvSpPr>
                    <a:spLocks noEditPoints="1"/>
                  </p:cNvSpPr>
                  <p:nvPr/>
                </p:nvSpPr>
                <p:spPr bwMode="auto">
                  <a:xfrm>
                    <a:off x="6184900" y="1820863"/>
                    <a:ext cx="49213" cy="73025"/>
                  </a:xfrm>
                  <a:custGeom>
                    <a:avLst/>
                    <a:gdLst>
                      <a:gd name="T0" fmla="*/ 27 w 54"/>
                      <a:gd name="T1" fmla="*/ 0 h 80"/>
                      <a:gd name="T2" fmla="*/ 0 w 54"/>
                      <a:gd name="T3" fmla="*/ 40 h 80"/>
                      <a:gd name="T4" fmla="*/ 26 w 54"/>
                      <a:gd name="T5" fmla="*/ 80 h 80"/>
                      <a:gd name="T6" fmla="*/ 54 w 54"/>
                      <a:gd name="T7" fmla="*/ 39 h 80"/>
                      <a:gd name="T8" fmla="*/ 27 w 54"/>
                      <a:gd name="T9" fmla="*/ 0 h 80"/>
                      <a:gd name="T10" fmla="*/ 27 w 54"/>
                      <a:gd name="T11" fmla="*/ 68 h 80"/>
                      <a:gd name="T12" fmla="*/ 14 w 54"/>
                      <a:gd name="T13" fmla="*/ 40 h 80"/>
                      <a:gd name="T14" fmla="*/ 27 w 54"/>
                      <a:gd name="T15" fmla="*/ 12 h 80"/>
                      <a:gd name="T16" fmla="*/ 39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7" y="0"/>
                        </a:moveTo>
                        <a:cubicBezTo>
                          <a:pt x="10" y="0"/>
                          <a:pt x="0" y="15"/>
                          <a:pt x="0" y="40"/>
                        </a:cubicBezTo>
                        <a:cubicBezTo>
                          <a:pt x="0" y="65"/>
                          <a:pt x="10" y="80"/>
                          <a:pt x="26" y="80"/>
                        </a:cubicBezTo>
                        <a:cubicBezTo>
                          <a:pt x="44" y="80"/>
                          <a:pt x="54" y="65"/>
                          <a:pt x="54" y="39"/>
                        </a:cubicBezTo>
                        <a:cubicBezTo>
                          <a:pt x="54" y="14"/>
                          <a:pt x="44" y="0"/>
                          <a:pt x="27" y="0"/>
                        </a:cubicBezTo>
                        <a:close/>
                        <a:moveTo>
                          <a:pt x="27" y="68"/>
                        </a:moveTo>
                        <a:cubicBezTo>
                          <a:pt x="19" y="68"/>
                          <a:pt x="14" y="57"/>
                          <a:pt x="14" y="40"/>
                        </a:cubicBezTo>
                        <a:cubicBezTo>
                          <a:pt x="14" y="23"/>
                          <a:pt x="19" y="12"/>
                          <a:pt x="27" y="12"/>
                        </a:cubicBezTo>
                        <a:cubicBezTo>
                          <a:pt x="38" y="12"/>
                          <a:pt x="39" y="29"/>
                          <a:pt x="39" y="40"/>
                        </a:cubicBezTo>
                        <a:cubicBezTo>
                          <a:pt x="39" y="50"/>
                          <a:pt x="38" y="68"/>
                          <a:pt x="27" y="68"/>
                        </a:cubicBezTo>
                        <a:close/>
                        <a:moveTo>
                          <a:pt x="27" y="68"/>
                        </a:moveTo>
                        <a:cubicBezTo>
                          <a:pt x="27" y="68"/>
                          <a:pt x="27" y="68"/>
                          <a:pt x="2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09" name="Freeform 49"/>
                  <p:cNvSpPr>
                    <a:spLocks noEditPoints="1"/>
                  </p:cNvSpPr>
                  <p:nvPr/>
                </p:nvSpPr>
                <p:spPr bwMode="auto">
                  <a:xfrm>
                    <a:off x="6238875" y="1820863"/>
                    <a:ext cx="50800" cy="73025"/>
                  </a:xfrm>
                  <a:custGeom>
                    <a:avLst/>
                    <a:gdLst>
                      <a:gd name="T0" fmla="*/ 28 w 55"/>
                      <a:gd name="T1" fmla="*/ 0 h 80"/>
                      <a:gd name="T2" fmla="*/ 0 w 55"/>
                      <a:gd name="T3" fmla="*/ 40 h 80"/>
                      <a:gd name="T4" fmla="*/ 27 w 55"/>
                      <a:gd name="T5" fmla="*/ 80 h 80"/>
                      <a:gd name="T6" fmla="*/ 55 w 55"/>
                      <a:gd name="T7" fmla="*/ 39 h 80"/>
                      <a:gd name="T8" fmla="*/ 28 w 55"/>
                      <a:gd name="T9" fmla="*/ 0 h 80"/>
                      <a:gd name="T10" fmla="*/ 27 w 55"/>
                      <a:gd name="T11" fmla="*/ 68 h 80"/>
                      <a:gd name="T12" fmla="*/ 15 w 55"/>
                      <a:gd name="T13" fmla="*/ 40 h 80"/>
                      <a:gd name="T14" fmla="*/ 28 w 55"/>
                      <a:gd name="T15" fmla="*/ 12 h 80"/>
                      <a:gd name="T16" fmla="*/ 40 w 55"/>
                      <a:gd name="T17" fmla="*/ 40 h 80"/>
                      <a:gd name="T18" fmla="*/ 27 w 55"/>
                      <a:gd name="T19" fmla="*/ 68 h 80"/>
                      <a:gd name="T20" fmla="*/ 27 w 55"/>
                      <a:gd name="T21" fmla="*/ 68 h 80"/>
                      <a:gd name="T22" fmla="*/ 27 w 55"/>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80">
                        <a:moveTo>
                          <a:pt x="28" y="0"/>
                        </a:moveTo>
                        <a:cubicBezTo>
                          <a:pt x="11" y="0"/>
                          <a:pt x="0" y="15"/>
                          <a:pt x="0" y="40"/>
                        </a:cubicBezTo>
                        <a:cubicBezTo>
                          <a:pt x="1" y="65"/>
                          <a:pt x="11" y="80"/>
                          <a:pt x="27" y="80"/>
                        </a:cubicBezTo>
                        <a:cubicBezTo>
                          <a:pt x="45" y="80"/>
                          <a:pt x="55" y="65"/>
                          <a:pt x="55" y="39"/>
                        </a:cubicBezTo>
                        <a:cubicBezTo>
                          <a:pt x="55" y="14"/>
                          <a:pt x="45" y="0"/>
                          <a:pt x="28" y="0"/>
                        </a:cubicBezTo>
                        <a:close/>
                        <a:moveTo>
                          <a:pt x="27" y="68"/>
                        </a:moveTo>
                        <a:cubicBezTo>
                          <a:pt x="20" y="68"/>
                          <a:pt x="15" y="57"/>
                          <a:pt x="15" y="40"/>
                        </a:cubicBezTo>
                        <a:cubicBezTo>
                          <a:pt x="15" y="23"/>
                          <a:pt x="20" y="12"/>
                          <a:pt x="28" y="12"/>
                        </a:cubicBezTo>
                        <a:cubicBezTo>
                          <a:pt x="38" y="12"/>
                          <a:pt x="40" y="29"/>
                          <a:pt x="40" y="40"/>
                        </a:cubicBezTo>
                        <a:cubicBezTo>
                          <a:pt x="40" y="50"/>
                          <a:pt x="38" y="68"/>
                          <a:pt x="27" y="68"/>
                        </a:cubicBezTo>
                        <a:close/>
                        <a:moveTo>
                          <a:pt x="27" y="68"/>
                        </a:moveTo>
                        <a:cubicBezTo>
                          <a:pt x="27" y="68"/>
                          <a:pt x="27" y="68"/>
                          <a:pt x="2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0" name="Freeform 50"/>
                  <p:cNvSpPr>
                    <a:spLocks noEditPoints="1"/>
                  </p:cNvSpPr>
                  <p:nvPr/>
                </p:nvSpPr>
                <p:spPr bwMode="auto">
                  <a:xfrm>
                    <a:off x="6299200" y="1822451"/>
                    <a:ext cx="26988" cy="71438"/>
                  </a:xfrm>
                  <a:custGeom>
                    <a:avLst/>
                    <a:gdLst>
                      <a:gd name="T0" fmla="*/ 27 w 30"/>
                      <a:gd name="T1" fmla="*/ 0 h 78"/>
                      <a:gd name="T2" fmla="*/ 19 w 30"/>
                      <a:gd name="T3" fmla="*/ 0 h 78"/>
                      <a:gd name="T4" fmla="*/ 18 w 30"/>
                      <a:gd name="T5" fmla="*/ 0 h 78"/>
                      <a:gd name="T6" fmla="*/ 2 w 30"/>
                      <a:gd name="T7" fmla="*/ 9 h 78"/>
                      <a:gd name="T8" fmla="*/ 1 w 30"/>
                      <a:gd name="T9" fmla="*/ 12 h 78"/>
                      <a:gd name="T10" fmla="*/ 3 w 30"/>
                      <a:gd name="T11" fmla="*/ 19 h 78"/>
                      <a:gd name="T12" fmla="*/ 4 w 30"/>
                      <a:gd name="T13" fmla="*/ 21 h 78"/>
                      <a:gd name="T14" fmla="*/ 6 w 30"/>
                      <a:gd name="T15" fmla="*/ 21 h 78"/>
                      <a:gd name="T16" fmla="*/ 15 w 30"/>
                      <a:gd name="T17" fmla="*/ 16 h 78"/>
                      <a:gd name="T18" fmla="*/ 15 w 30"/>
                      <a:gd name="T19" fmla="*/ 75 h 78"/>
                      <a:gd name="T20" fmla="*/ 18 w 30"/>
                      <a:gd name="T21" fmla="*/ 78 h 78"/>
                      <a:gd name="T22" fmla="*/ 27 w 30"/>
                      <a:gd name="T23" fmla="*/ 78 h 78"/>
                      <a:gd name="T24" fmla="*/ 30 w 30"/>
                      <a:gd name="T25" fmla="*/ 75 h 78"/>
                      <a:gd name="T26" fmla="*/ 30 w 30"/>
                      <a:gd name="T27" fmla="*/ 2 h 78"/>
                      <a:gd name="T28" fmla="*/ 27 w 30"/>
                      <a:gd name="T29" fmla="*/ 0 h 78"/>
                      <a:gd name="T30" fmla="*/ 27 w 30"/>
                      <a:gd name="T31" fmla="*/ 0 h 78"/>
                      <a:gd name="T32" fmla="*/ 27 w 30"/>
                      <a:gd name="T3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7" y="0"/>
                        </a:move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cubicBezTo>
                          <a:pt x="15" y="75"/>
                          <a:pt x="15" y="75"/>
                          <a:pt x="15" y="75"/>
                        </a:cubicBezTo>
                        <a:cubicBezTo>
                          <a:pt x="15" y="77"/>
                          <a:pt x="16" y="78"/>
                          <a:pt x="18" y="78"/>
                        </a:cubicBezTo>
                        <a:cubicBezTo>
                          <a:pt x="27" y="78"/>
                          <a:pt x="27" y="78"/>
                          <a:pt x="27" y="78"/>
                        </a:cubicBezTo>
                        <a:cubicBezTo>
                          <a:pt x="29" y="78"/>
                          <a:pt x="30" y="77"/>
                          <a:pt x="30" y="75"/>
                        </a:cubicBezTo>
                        <a:cubicBezTo>
                          <a:pt x="30" y="2"/>
                          <a:pt x="30" y="2"/>
                          <a:pt x="30" y="2"/>
                        </a:cubicBezTo>
                        <a:cubicBezTo>
                          <a:pt x="30" y="1"/>
                          <a:pt x="29" y="0"/>
                          <a:pt x="27" y="0"/>
                        </a:cubicBezTo>
                        <a:close/>
                        <a:moveTo>
                          <a:pt x="27" y="0"/>
                        </a:moveTo>
                        <a:cubicBezTo>
                          <a:pt x="27"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1" name="Freeform 52"/>
                  <p:cNvSpPr>
                    <a:spLocks noEditPoints="1"/>
                  </p:cNvSpPr>
                  <p:nvPr/>
                </p:nvSpPr>
                <p:spPr bwMode="auto">
                  <a:xfrm>
                    <a:off x="5864225" y="1944688"/>
                    <a:ext cx="50800" cy="73025"/>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2" name="Freeform 53"/>
                  <p:cNvSpPr>
                    <a:spLocks noEditPoints="1"/>
                  </p:cNvSpPr>
                  <p:nvPr/>
                </p:nvSpPr>
                <p:spPr bwMode="auto">
                  <a:xfrm>
                    <a:off x="5922963" y="1944688"/>
                    <a:ext cx="49213" cy="73025"/>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3" name="Freeform 54"/>
                  <p:cNvSpPr>
                    <a:spLocks noEditPoints="1"/>
                  </p:cNvSpPr>
                  <p:nvPr/>
                </p:nvSpPr>
                <p:spPr bwMode="auto">
                  <a:xfrm>
                    <a:off x="5981700" y="1944688"/>
                    <a:ext cx="49213" cy="73025"/>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4" name="Freeform 55"/>
                  <p:cNvSpPr>
                    <a:spLocks noEditPoints="1"/>
                  </p:cNvSpPr>
                  <p:nvPr/>
                </p:nvSpPr>
                <p:spPr bwMode="auto">
                  <a:xfrm>
                    <a:off x="6042025" y="1946276"/>
                    <a:ext cx="25400" cy="69850"/>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5" name="Freeform 56"/>
                  <p:cNvSpPr>
                    <a:spLocks noEditPoints="1"/>
                  </p:cNvSpPr>
                  <p:nvPr/>
                </p:nvSpPr>
                <p:spPr bwMode="auto">
                  <a:xfrm>
                    <a:off x="6086475" y="1944688"/>
                    <a:ext cx="50800" cy="73025"/>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grpSp>
      </p:grpSp>
    </p:spTree>
    <p:extLst>
      <p:ext uri="{BB962C8B-B14F-4D97-AF65-F5344CB8AC3E}">
        <p14:creationId xmlns:p14="http://schemas.microsoft.com/office/powerpoint/2010/main" val="1776648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ChangeArrowheads="1"/>
          </p:cNvSpPr>
          <p:nvPr>
            <p:ph type="title"/>
          </p:nvPr>
        </p:nvSpPr>
        <p:spPr/>
        <p:txBody>
          <a:bodyPr/>
          <a:lstStyle/>
          <a:p>
            <a:r>
              <a:rPr lang="en-US"/>
              <a:t>Logical alarms based on suspicious events</a:t>
            </a:r>
            <a:endParaRPr lang="en-US" dirty="0"/>
          </a:p>
        </p:txBody>
      </p:sp>
      <p:pic>
        <p:nvPicPr>
          <p:cNvPr id="31" name="Picture 30">
            <a:extLst>
              <a:ext uri="{FF2B5EF4-FFF2-40B4-BE49-F238E27FC236}">
                <a16:creationId xmlns:a16="http://schemas.microsoft.com/office/drawing/2014/main" id="{F2DA750F-3B84-4EBD-B4D4-50F1023325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6183" y="3756066"/>
            <a:ext cx="8126108" cy="758102"/>
          </a:xfrm>
          <a:prstGeom prst="rect">
            <a:avLst/>
          </a:prstGeom>
          <a:ln w="12700">
            <a:solidFill>
              <a:schemeClr val="tx1">
                <a:lumMod val="10000"/>
                <a:lumOff val="90000"/>
              </a:schemeClr>
            </a:solidFill>
          </a:ln>
        </p:spPr>
      </p:pic>
      <p:sp>
        <p:nvSpPr>
          <p:cNvPr id="61" name="Rectangle 60">
            <a:extLst>
              <a:ext uri="{FF2B5EF4-FFF2-40B4-BE49-F238E27FC236}">
                <a16:creationId xmlns:a16="http://schemas.microsoft.com/office/drawing/2014/main" id="{58B77BC6-DA6C-44FE-9FA9-52F9CA6F98CF}"/>
              </a:ext>
            </a:extLst>
          </p:cNvPr>
          <p:cNvSpPr>
            <a:spLocks noChangeArrowheads="1"/>
          </p:cNvSpPr>
          <p:nvPr/>
        </p:nvSpPr>
        <p:spPr bwMode="auto">
          <a:xfrm>
            <a:off x="5441472" y="2038030"/>
            <a:ext cx="1578466" cy="1554480"/>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91440" tIns="91440" rIns="91440" bIns="9144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Sending or receiving SYN flood and other types of data floods</a:t>
            </a:r>
          </a:p>
        </p:txBody>
      </p:sp>
      <p:sp>
        <p:nvSpPr>
          <p:cNvPr id="62" name="Rectangle 61">
            <a:extLst>
              <a:ext uri="{FF2B5EF4-FFF2-40B4-BE49-F238E27FC236}">
                <a16:creationId xmlns:a16="http://schemas.microsoft.com/office/drawing/2014/main" id="{1B23E6AF-FCE1-4C1D-9F84-724CA0E76672}"/>
              </a:ext>
            </a:extLst>
          </p:cNvPr>
          <p:cNvSpPr>
            <a:spLocks noChangeArrowheads="1"/>
          </p:cNvSpPr>
          <p:nvPr/>
        </p:nvSpPr>
        <p:spPr bwMode="auto">
          <a:xfrm>
            <a:off x="5441472" y="1282426"/>
            <a:ext cx="1578466" cy="731520"/>
          </a:xfrm>
          <a:prstGeom prst="rect">
            <a:avLst/>
          </a:prstGeom>
          <a:solidFill>
            <a:schemeClr val="accent5"/>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6108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t>DDoS </a:t>
            </a:r>
            <a:b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b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t>Activity</a:t>
            </a:r>
          </a:p>
        </p:txBody>
      </p:sp>
      <p:sp>
        <p:nvSpPr>
          <p:cNvPr id="59" name="Rectangle 14">
            <a:extLst>
              <a:ext uri="{FF2B5EF4-FFF2-40B4-BE49-F238E27FC236}">
                <a16:creationId xmlns:a16="http://schemas.microsoft.com/office/drawing/2014/main" id="{AD868D88-C0FD-48FC-A9F3-A4ADDFD4CD5A}"/>
              </a:ext>
            </a:extLst>
          </p:cNvPr>
          <p:cNvSpPr>
            <a:spLocks noChangeArrowheads="1"/>
          </p:cNvSpPr>
          <p:nvPr/>
        </p:nvSpPr>
        <p:spPr bwMode="auto">
          <a:xfrm>
            <a:off x="526181" y="2038030"/>
            <a:ext cx="1577063" cy="1554480"/>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91440" tIns="91440" rIns="91440" bIns="9144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Scanning, excessive network activity such as file copying or transfer, policy violation, etc.</a:t>
            </a:r>
          </a:p>
        </p:txBody>
      </p:sp>
      <p:sp>
        <p:nvSpPr>
          <p:cNvPr id="60" name="Rectangle 15">
            <a:extLst>
              <a:ext uri="{FF2B5EF4-FFF2-40B4-BE49-F238E27FC236}">
                <a16:creationId xmlns:a16="http://schemas.microsoft.com/office/drawing/2014/main" id="{405CC1E3-6BE3-4FAB-B7FF-4AAF6A9A7B54}"/>
              </a:ext>
            </a:extLst>
          </p:cNvPr>
          <p:cNvSpPr>
            <a:spLocks noChangeArrowheads="1"/>
          </p:cNvSpPr>
          <p:nvPr/>
        </p:nvSpPr>
        <p:spPr bwMode="auto">
          <a:xfrm>
            <a:off x="526181" y="1282426"/>
            <a:ext cx="1577063" cy="731520"/>
          </a:xfrm>
          <a:prstGeom prst="rect">
            <a:avLst/>
          </a:prstGeom>
          <a:solidFill>
            <a:schemeClr val="accent1"/>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6108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t>Source or target of malicious behavior </a:t>
            </a:r>
          </a:p>
        </p:txBody>
      </p:sp>
      <p:sp>
        <p:nvSpPr>
          <p:cNvPr id="57" name="Rectangle 20">
            <a:extLst>
              <a:ext uri="{FF2B5EF4-FFF2-40B4-BE49-F238E27FC236}">
                <a16:creationId xmlns:a16="http://schemas.microsoft.com/office/drawing/2014/main" id="{72A22743-53CF-49C7-8924-6902A3EADE85}"/>
              </a:ext>
            </a:extLst>
          </p:cNvPr>
          <p:cNvSpPr>
            <a:spLocks noChangeArrowheads="1"/>
          </p:cNvSpPr>
          <p:nvPr/>
        </p:nvSpPr>
        <p:spPr bwMode="auto">
          <a:xfrm>
            <a:off x="2176772" y="2038030"/>
            <a:ext cx="1558822" cy="1554480"/>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91440" tIns="91440" rIns="91440" bIns="9144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Port scanning for vulnerabilities or running services</a:t>
            </a:r>
          </a:p>
        </p:txBody>
      </p:sp>
      <p:sp>
        <p:nvSpPr>
          <p:cNvPr id="58" name="Rectangle 21">
            <a:extLst>
              <a:ext uri="{FF2B5EF4-FFF2-40B4-BE49-F238E27FC236}">
                <a16:creationId xmlns:a16="http://schemas.microsoft.com/office/drawing/2014/main" id="{64CBD758-E755-4956-B700-DCF21CD9FD84}"/>
              </a:ext>
            </a:extLst>
          </p:cNvPr>
          <p:cNvSpPr>
            <a:spLocks noChangeArrowheads="1"/>
          </p:cNvSpPr>
          <p:nvPr/>
        </p:nvSpPr>
        <p:spPr bwMode="auto">
          <a:xfrm>
            <a:off x="2176772" y="1282426"/>
            <a:ext cx="1558822" cy="731520"/>
          </a:xfrm>
          <a:prstGeom prst="rect">
            <a:avLst/>
          </a:prstGeom>
          <a:solidFill>
            <a:schemeClr val="accent3"/>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ＭＳ Ｐゴシック" charset="0"/>
              </a:rPr>
              <a:t>Reconnaissance</a:t>
            </a:r>
          </a:p>
        </p:txBody>
      </p:sp>
      <p:sp>
        <p:nvSpPr>
          <p:cNvPr id="55" name="Rectangle 23">
            <a:extLst>
              <a:ext uri="{FF2B5EF4-FFF2-40B4-BE49-F238E27FC236}">
                <a16:creationId xmlns:a16="http://schemas.microsoft.com/office/drawing/2014/main" id="{7019D048-3070-4CA1-8767-0C1ADA4B21A9}"/>
              </a:ext>
            </a:extLst>
          </p:cNvPr>
          <p:cNvSpPr>
            <a:spLocks noChangeArrowheads="1"/>
          </p:cNvSpPr>
          <p:nvPr/>
        </p:nvSpPr>
        <p:spPr bwMode="auto">
          <a:xfrm>
            <a:off x="7093466" y="2038030"/>
            <a:ext cx="1558822" cy="1554480"/>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91440" tIns="91440" rIns="91440" bIns="9144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Data hoarding and data exfiltration</a:t>
            </a:r>
          </a:p>
        </p:txBody>
      </p:sp>
      <p:sp>
        <p:nvSpPr>
          <p:cNvPr id="56" name="Rectangle 24">
            <a:extLst>
              <a:ext uri="{FF2B5EF4-FFF2-40B4-BE49-F238E27FC236}">
                <a16:creationId xmlns:a16="http://schemas.microsoft.com/office/drawing/2014/main" id="{FF510751-BFDE-4590-B0B8-CA617307CA0E}"/>
              </a:ext>
            </a:extLst>
          </p:cNvPr>
          <p:cNvSpPr>
            <a:spLocks noChangeArrowheads="1"/>
          </p:cNvSpPr>
          <p:nvPr/>
        </p:nvSpPr>
        <p:spPr bwMode="auto">
          <a:xfrm>
            <a:off x="7093466" y="1282426"/>
            <a:ext cx="1558822" cy="731520"/>
          </a:xfrm>
          <a:prstGeom prst="rect">
            <a:avLst/>
          </a:prstGeom>
          <a:solidFill>
            <a:schemeClr val="accent6"/>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6108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t>Insider </a:t>
            </a:r>
            <a:b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b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t>threats</a:t>
            </a:r>
          </a:p>
        </p:txBody>
      </p:sp>
      <p:sp>
        <p:nvSpPr>
          <p:cNvPr id="53" name="Rectangle 26">
            <a:extLst>
              <a:ext uri="{FF2B5EF4-FFF2-40B4-BE49-F238E27FC236}">
                <a16:creationId xmlns:a16="http://schemas.microsoft.com/office/drawing/2014/main" id="{4AA476C6-F23B-405D-A95B-304E06A9BB56}"/>
              </a:ext>
            </a:extLst>
          </p:cNvPr>
          <p:cNvSpPr>
            <a:spLocks noChangeArrowheads="1"/>
          </p:cNvSpPr>
          <p:nvPr/>
        </p:nvSpPr>
        <p:spPr bwMode="auto">
          <a:xfrm>
            <a:off x="3809121" y="2038030"/>
            <a:ext cx="1558824" cy="1554480"/>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91440" tIns="91440" rIns="91440" bIns="9144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Communication back to an external remote controlling server through malware</a:t>
            </a:r>
          </a:p>
        </p:txBody>
      </p:sp>
      <p:sp>
        <p:nvSpPr>
          <p:cNvPr id="54" name="Rectangle 27">
            <a:extLst>
              <a:ext uri="{FF2B5EF4-FFF2-40B4-BE49-F238E27FC236}">
                <a16:creationId xmlns:a16="http://schemas.microsoft.com/office/drawing/2014/main" id="{9F2E28FA-0FB2-45EC-8CBF-BCA8C4969E23}"/>
              </a:ext>
            </a:extLst>
          </p:cNvPr>
          <p:cNvSpPr>
            <a:spLocks noChangeArrowheads="1"/>
          </p:cNvSpPr>
          <p:nvPr/>
        </p:nvSpPr>
        <p:spPr bwMode="auto">
          <a:xfrm>
            <a:off x="3809121" y="1282426"/>
            <a:ext cx="1558824" cy="731520"/>
          </a:xfrm>
          <a:prstGeom prst="rect">
            <a:avLst/>
          </a:prstGeom>
          <a:solidFill>
            <a:schemeClr val="accent2"/>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ctr" defTabSz="6108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t>Command </a:t>
            </a:r>
            <a:b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b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rPr>
              <a:t>and Control</a:t>
            </a:r>
          </a:p>
        </p:txBody>
      </p:sp>
    </p:spTree>
    <p:extLst>
      <p:ext uri="{BB962C8B-B14F-4D97-AF65-F5344CB8AC3E}">
        <p14:creationId xmlns:p14="http://schemas.microsoft.com/office/powerpoint/2010/main" val="220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2" name="Oval 361">
            <a:extLst>
              <a:ext uri="{FF2B5EF4-FFF2-40B4-BE49-F238E27FC236}">
                <a16:creationId xmlns:a16="http://schemas.microsoft.com/office/drawing/2014/main" id="{69432BDC-ECB3-4F24-9E2A-427615710C5C}"/>
              </a:ext>
            </a:extLst>
          </p:cNvPr>
          <p:cNvSpPr/>
          <p:nvPr/>
        </p:nvSpPr>
        <p:spPr>
          <a:xfrm>
            <a:off x="5971025" y="3086662"/>
            <a:ext cx="639975" cy="640080"/>
          </a:xfrm>
          <a:prstGeom prst="ellipse">
            <a:avLst/>
          </a:prstGeom>
          <a:solidFill>
            <a:schemeClr val="bg1"/>
          </a:solidFill>
          <a:ln w="25400" cap="flat" cmpd="sng" algn="ctr">
            <a:noFill/>
            <a:prstDash val="solid"/>
          </a:ln>
          <a:effectLst/>
        </p:spPr>
        <p:txBody>
          <a:bodyPr rot="0" spcFirstLastPara="0" vertOverflow="overflow" horzOverflow="overflow" vert="horz" wrap="square" lIns="457200" tIns="45720" rIns="457200" bIns="45720" numCol="1" spcCol="0" rtlCol="0" fromWordArt="0" anchor="ctr" anchorCtr="1" forceAA="0" compatLnSpc="1">
            <a:prstTxWarp prst="textNoShape">
              <a:avLst/>
            </a:prstTxWarp>
            <a:noAutofit/>
          </a:bodyPr>
          <a:lstStyle/>
          <a:p>
            <a:pPr marL="0" marR="0" lvl="0" indent="0" algn="ctr" defTabSz="685813" rtl="0" eaLnBrk="1" fontAlgn="auto" latinLnBrk="0" hangingPunct="1">
              <a:lnSpc>
                <a:spcPct val="100000"/>
              </a:lnSpc>
              <a:spcBef>
                <a:spcPts val="0"/>
              </a:spcBef>
              <a:spcAft>
                <a:spcPts val="0"/>
              </a:spcAft>
              <a:buClrTx/>
              <a:buSzTx/>
              <a:buFontTx/>
              <a:buNone/>
              <a:tabLst/>
              <a:defRPr/>
            </a:pPr>
            <a:endParaRPr kumimoji="0" lang="en-US" sz="2100" b="1"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grpSp>
        <p:nvGrpSpPr>
          <p:cNvPr id="363" name="Group 362">
            <a:extLst>
              <a:ext uri="{FF2B5EF4-FFF2-40B4-BE49-F238E27FC236}">
                <a16:creationId xmlns:a16="http://schemas.microsoft.com/office/drawing/2014/main" id="{73F2185D-3C03-4849-BF8D-BAB9BD1B13E7}"/>
              </a:ext>
            </a:extLst>
          </p:cNvPr>
          <p:cNvGrpSpPr/>
          <p:nvPr/>
        </p:nvGrpSpPr>
        <p:grpSpPr>
          <a:xfrm>
            <a:off x="6054672" y="3118123"/>
            <a:ext cx="441282" cy="75985"/>
            <a:chOff x="3846446" y="1801265"/>
            <a:chExt cx="441282" cy="75985"/>
          </a:xfrm>
        </p:grpSpPr>
        <p:sp>
          <p:nvSpPr>
            <p:cNvPr id="364" name="Freeform 17">
              <a:extLst>
                <a:ext uri="{FF2B5EF4-FFF2-40B4-BE49-F238E27FC236}">
                  <a16:creationId xmlns:a16="http://schemas.microsoft.com/office/drawing/2014/main" id="{6EF0097D-2175-4E1D-BBED-183CC9DD2A49}"/>
                </a:ext>
              </a:extLst>
            </p:cNvPr>
            <p:cNvSpPr>
              <a:spLocks noEditPoints="1"/>
            </p:cNvSpPr>
            <p:nvPr/>
          </p:nvSpPr>
          <p:spPr bwMode="auto">
            <a:xfrm>
              <a:off x="3846446" y="1802882"/>
              <a:ext cx="27484" cy="7275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65" name="Freeform 18">
              <a:extLst>
                <a:ext uri="{FF2B5EF4-FFF2-40B4-BE49-F238E27FC236}">
                  <a16:creationId xmlns:a16="http://schemas.microsoft.com/office/drawing/2014/main" id="{78CE21F6-C89E-4340-9464-7528C2A4D49E}"/>
                </a:ext>
              </a:extLst>
            </p:cNvPr>
            <p:cNvSpPr>
              <a:spLocks noEditPoints="1"/>
            </p:cNvSpPr>
            <p:nvPr/>
          </p:nvSpPr>
          <p:spPr bwMode="auto">
            <a:xfrm>
              <a:off x="3889162" y="1801265"/>
              <a:ext cx="50119" cy="7598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66" name="Freeform 19">
              <a:extLst>
                <a:ext uri="{FF2B5EF4-FFF2-40B4-BE49-F238E27FC236}">
                  <a16:creationId xmlns:a16="http://schemas.microsoft.com/office/drawing/2014/main" id="{AB4D9D98-94A7-455E-99EF-C3F1B871F08B}"/>
                </a:ext>
              </a:extLst>
            </p:cNvPr>
            <p:cNvSpPr>
              <a:spLocks noEditPoints="1"/>
            </p:cNvSpPr>
            <p:nvPr/>
          </p:nvSpPr>
          <p:spPr bwMode="auto">
            <a:xfrm>
              <a:off x="3954512" y="1801265"/>
              <a:ext cx="50119"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67" name="Freeform 20">
              <a:extLst>
                <a:ext uri="{FF2B5EF4-FFF2-40B4-BE49-F238E27FC236}">
                  <a16:creationId xmlns:a16="http://schemas.microsoft.com/office/drawing/2014/main" id="{0AF42AB5-9367-4E48-B81F-A212843FBFBE}"/>
                </a:ext>
              </a:extLst>
            </p:cNvPr>
            <p:cNvSpPr>
              <a:spLocks noEditPoints="1"/>
            </p:cNvSpPr>
            <p:nvPr/>
          </p:nvSpPr>
          <p:spPr bwMode="auto">
            <a:xfrm>
              <a:off x="4019862" y="1802882"/>
              <a:ext cx="27484" cy="72752"/>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68" name="Freeform 16">
              <a:extLst>
                <a:ext uri="{FF2B5EF4-FFF2-40B4-BE49-F238E27FC236}">
                  <a16:creationId xmlns:a16="http://schemas.microsoft.com/office/drawing/2014/main" id="{BD98F2D2-7D78-43C2-B577-B630DEDE1BB6}"/>
                </a:ext>
              </a:extLst>
            </p:cNvPr>
            <p:cNvSpPr>
              <a:spLocks noEditPoints="1"/>
            </p:cNvSpPr>
            <p:nvPr/>
          </p:nvSpPr>
          <p:spPr bwMode="auto">
            <a:xfrm>
              <a:off x="4062578" y="1801265"/>
              <a:ext cx="51734"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69" name="Freeform 17">
              <a:extLst>
                <a:ext uri="{FF2B5EF4-FFF2-40B4-BE49-F238E27FC236}">
                  <a16:creationId xmlns:a16="http://schemas.microsoft.com/office/drawing/2014/main" id="{6AA30CAE-8952-4BE7-9D9B-0F80D2DD7F33}"/>
                </a:ext>
              </a:extLst>
            </p:cNvPr>
            <p:cNvSpPr>
              <a:spLocks noEditPoints="1"/>
            </p:cNvSpPr>
            <p:nvPr/>
          </p:nvSpPr>
          <p:spPr bwMode="auto">
            <a:xfrm>
              <a:off x="4129544" y="1802882"/>
              <a:ext cx="27484" cy="7275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70" name="Freeform 18">
              <a:extLst>
                <a:ext uri="{FF2B5EF4-FFF2-40B4-BE49-F238E27FC236}">
                  <a16:creationId xmlns:a16="http://schemas.microsoft.com/office/drawing/2014/main" id="{507E0D13-C994-4FC9-8E18-ACB8B28081D7}"/>
                </a:ext>
              </a:extLst>
            </p:cNvPr>
            <p:cNvSpPr>
              <a:spLocks noEditPoints="1"/>
            </p:cNvSpPr>
            <p:nvPr/>
          </p:nvSpPr>
          <p:spPr bwMode="auto">
            <a:xfrm>
              <a:off x="4172259" y="1801265"/>
              <a:ext cx="50119" cy="7598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71" name="Freeform 19">
              <a:extLst>
                <a:ext uri="{FF2B5EF4-FFF2-40B4-BE49-F238E27FC236}">
                  <a16:creationId xmlns:a16="http://schemas.microsoft.com/office/drawing/2014/main" id="{12A694BC-6410-4C32-9B18-3DFFDA3A4D06}"/>
                </a:ext>
              </a:extLst>
            </p:cNvPr>
            <p:cNvSpPr>
              <a:spLocks noEditPoints="1"/>
            </p:cNvSpPr>
            <p:nvPr/>
          </p:nvSpPr>
          <p:spPr bwMode="auto">
            <a:xfrm>
              <a:off x="4237609" y="1801265"/>
              <a:ext cx="50119"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372" name="Group 371">
            <a:extLst>
              <a:ext uri="{FF2B5EF4-FFF2-40B4-BE49-F238E27FC236}">
                <a16:creationId xmlns:a16="http://schemas.microsoft.com/office/drawing/2014/main" id="{5808432E-2BEC-4C8A-949A-C24CC2BA9C5C}"/>
              </a:ext>
            </a:extLst>
          </p:cNvPr>
          <p:cNvGrpSpPr/>
          <p:nvPr/>
        </p:nvGrpSpPr>
        <p:grpSpPr>
          <a:xfrm>
            <a:off x="6051268" y="3620916"/>
            <a:ext cx="502030" cy="74369"/>
            <a:chOff x="3843042" y="2304058"/>
            <a:chExt cx="502030" cy="74369"/>
          </a:xfrm>
        </p:grpSpPr>
        <p:sp>
          <p:nvSpPr>
            <p:cNvPr id="373" name="Freeform 53">
              <a:extLst>
                <a:ext uri="{FF2B5EF4-FFF2-40B4-BE49-F238E27FC236}">
                  <a16:creationId xmlns:a16="http://schemas.microsoft.com/office/drawing/2014/main" id="{D2FBBC8C-F503-479E-A3C9-806A0010AB03}"/>
                </a:ext>
              </a:extLst>
            </p:cNvPr>
            <p:cNvSpPr>
              <a:spLocks noEditPoints="1"/>
            </p:cNvSpPr>
            <p:nvPr/>
          </p:nvSpPr>
          <p:spPr bwMode="auto">
            <a:xfrm>
              <a:off x="3843042"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74" name="Freeform 54">
              <a:extLst>
                <a:ext uri="{FF2B5EF4-FFF2-40B4-BE49-F238E27FC236}">
                  <a16:creationId xmlns:a16="http://schemas.microsoft.com/office/drawing/2014/main" id="{E6310D37-EC7C-4595-B92C-D183103ADBEA}"/>
                </a:ext>
              </a:extLst>
            </p:cNvPr>
            <p:cNvSpPr>
              <a:spLocks noEditPoints="1"/>
            </p:cNvSpPr>
            <p:nvPr/>
          </p:nvSpPr>
          <p:spPr bwMode="auto">
            <a:xfrm>
              <a:off x="3904988"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75" name="Freeform 55">
              <a:extLst>
                <a:ext uri="{FF2B5EF4-FFF2-40B4-BE49-F238E27FC236}">
                  <a16:creationId xmlns:a16="http://schemas.microsoft.com/office/drawing/2014/main" id="{D252F7C5-3683-4B9D-AE29-7876FE7D8642}"/>
                </a:ext>
              </a:extLst>
            </p:cNvPr>
            <p:cNvSpPr>
              <a:spLocks noEditPoints="1"/>
            </p:cNvSpPr>
            <p:nvPr/>
          </p:nvSpPr>
          <p:spPr bwMode="auto">
            <a:xfrm>
              <a:off x="3966933" y="2305675"/>
              <a:ext cx="25868" cy="7113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76" name="Freeform 56">
              <a:extLst>
                <a:ext uri="{FF2B5EF4-FFF2-40B4-BE49-F238E27FC236}">
                  <a16:creationId xmlns:a16="http://schemas.microsoft.com/office/drawing/2014/main" id="{F19CEA5A-064A-428D-82B0-F0307398E8E8}"/>
                </a:ext>
              </a:extLst>
            </p:cNvPr>
            <p:cNvSpPr>
              <a:spLocks noEditPoints="1"/>
            </p:cNvSpPr>
            <p:nvPr/>
          </p:nvSpPr>
          <p:spPr bwMode="auto">
            <a:xfrm>
              <a:off x="4004628" y="2304058"/>
              <a:ext cx="51734"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77" name="Freeform 52">
              <a:extLst>
                <a:ext uri="{FF2B5EF4-FFF2-40B4-BE49-F238E27FC236}">
                  <a16:creationId xmlns:a16="http://schemas.microsoft.com/office/drawing/2014/main" id="{97AA319C-0641-4541-A039-87CCD59AA923}"/>
                </a:ext>
              </a:extLst>
            </p:cNvPr>
            <p:cNvSpPr>
              <a:spLocks noEditPoints="1"/>
            </p:cNvSpPr>
            <p:nvPr/>
          </p:nvSpPr>
          <p:spPr bwMode="auto">
            <a:xfrm>
              <a:off x="4068190" y="2304058"/>
              <a:ext cx="51734" cy="74369"/>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78" name="Freeform 53">
              <a:extLst>
                <a:ext uri="{FF2B5EF4-FFF2-40B4-BE49-F238E27FC236}">
                  <a16:creationId xmlns:a16="http://schemas.microsoft.com/office/drawing/2014/main" id="{79AA4FD1-1086-4C78-ADD9-C96B21964F8E}"/>
                </a:ext>
              </a:extLst>
            </p:cNvPr>
            <p:cNvSpPr>
              <a:spLocks noEditPoints="1"/>
            </p:cNvSpPr>
            <p:nvPr/>
          </p:nvSpPr>
          <p:spPr bwMode="auto">
            <a:xfrm>
              <a:off x="4131752"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79" name="Freeform 54">
              <a:extLst>
                <a:ext uri="{FF2B5EF4-FFF2-40B4-BE49-F238E27FC236}">
                  <a16:creationId xmlns:a16="http://schemas.microsoft.com/office/drawing/2014/main" id="{9EDF6AB8-A2D4-43EC-A367-01DEAF398537}"/>
                </a:ext>
              </a:extLst>
            </p:cNvPr>
            <p:cNvSpPr>
              <a:spLocks noEditPoints="1"/>
            </p:cNvSpPr>
            <p:nvPr/>
          </p:nvSpPr>
          <p:spPr bwMode="auto">
            <a:xfrm>
              <a:off x="4193698"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80" name="Freeform 55">
              <a:extLst>
                <a:ext uri="{FF2B5EF4-FFF2-40B4-BE49-F238E27FC236}">
                  <a16:creationId xmlns:a16="http://schemas.microsoft.com/office/drawing/2014/main" id="{DA5B720A-D9BD-42D0-BA25-42F8B4A2EDB1}"/>
                </a:ext>
              </a:extLst>
            </p:cNvPr>
            <p:cNvSpPr>
              <a:spLocks noEditPoints="1"/>
            </p:cNvSpPr>
            <p:nvPr/>
          </p:nvSpPr>
          <p:spPr bwMode="auto">
            <a:xfrm>
              <a:off x="4255644" y="2305675"/>
              <a:ext cx="25868" cy="7113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81" name="Freeform 56">
              <a:extLst>
                <a:ext uri="{FF2B5EF4-FFF2-40B4-BE49-F238E27FC236}">
                  <a16:creationId xmlns:a16="http://schemas.microsoft.com/office/drawing/2014/main" id="{6B390CFE-36E8-45C9-984D-C9119B44C5D6}"/>
                </a:ext>
              </a:extLst>
            </p:cNvPr>
            <p:cNvSpPr>
              <a:spLocks noEditPoints="1"/>
            </p:cNvSpPr>
            <p:nvPr/>
          </p:nvSpPr>
          <p:spPr bwMode="auto">
            <a:xfrm>
              <a:off x="4293338" y="2304058"/>
              <a:ext cx="51734"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382" name="Group 381">
            <a:extLst>
              <a:ext uri="{FF2B5EF4-FFF2-40B4-BE49-F238E27FC236}">
                <a16:creationId xmlns:a16="http://schemas.microsoft.com/office/drawing/2014/main" id="{F3829ED0-4C07-49DE-8B79-6719BEF42322}"/>
              </a:ext>
            </a:extLst>
          </p:cNvPr>
          <p:cNvGrpSpPr/>
          <p:nvPr/>
        </p:nvGrpSpPr>
        <p:grpSpPr>
          <a:xfrm>
            <a:off x="5995790" y="3244226"/>
            <a:ext cx="590446" cy="74369"/>
            <a:chOff x="3787564" y="1927368"/>
            <a:chExt cx="590446" cy="74369"/>
          </a:xfrm>
        </p:grpSpPr>
        <p:sp>
          <p:nvSpPr>
            <p:cNvPr id="383" name="Freeform 26">
              <a:extLst>
                <a:ext uri="{FF2B5EF4-FFF2-40B4-BE49-F238E27FC236}">
                  <a16:creationId xmlns:a16="http://schemas.microsoft.com/office/drawing/2014/main" id="{C0C8EBB7-0F3C-4469-9D0C-8B4C8830F78C}"/>
                </a:ext>
              </a:extLst>
            </p:cNvPr>
            <p:cNvSpPr>
              <a:spLocks noEditPoints="1"/>
            </p:cNvSpPr>
            <p:nvPr/>
          </p:nvSpPr>
          <p:spPr bwMode="auto">
            <a:xfrm>
              <a:off x="3787564"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84" name="Freeform 27">
              <a:extLst>
                <a:ext uri="{FF2B5EF4-FFF2-40B4-BE49-F238E27FC236}">
                  <a16:creationId xmlns:a16="http://schemas.microsoft.com/office/drawing/2014/main" id="{845DA588-660B-47FD-9EEB-C11A8867E04D}"/>
                </a:ext>
              </a:extLst>
            </p:cNvPr>
            <p:cNvSpPr>
              <a:spLocks noEditPoints="1"/>
            </p:cNvSpPr>
            <p:nvPr/>
          </p:nvSpPr>
          <p:spPr bwMode="auto">
            <a:xfrm>
              <a:off x="3835130"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85" name="Freeform 28">
              <a:extLst>
                <a:ext uri="{FF2B5EF4-FFF2-40B4-BE49-F238E27FC236}">
                  <a16:creationId xmlns:a16="http://schemas.microsoft.com/office/drawing/2014/main" id="{F312C13A-B68D-4B7B-AA51-EABAF20CB6E6}"/>
                </a:ext>
              </a:extLst>
            </p:cNvPr>
            <p:cNvSpPr>
              <a:spLocks noEditPoints="1"/>
            </p:cNvSpPr>
            <p:nvPr/>
          </p:nvSpPr>
          <p:spPr bwMode="auto">
            <a:xfrm>
              <a:off x="3905330" y="1928176"/>
              <a:ext cx="27484" cy="7275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86" name="Freeform 29">
              <a:extLst>
                <a:ext uri="{FF2B5EF4-FFF2-40B4-BE49-F238E27FC236}">
                  <a16:creationId xmlns:a16="http://schemas.microsoft.com/office/drawing/2014/main" id="{8CCD1E64-630A-4B15-BFFA-3CEE95C90216}"/>
                </a:ext>
              </a:extLst>
            </p:cNvPr>
            <p:cNvSpPr>
              <a:spLocks noEditPoints="1"/>
            </p:cNvSpPr>
            <p:nvPr/>
          </p:nvSpPr>
          <p:spPr bwMode="auto">
            <a:xfrm>
              <a:off x="3952896"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87" name="Freeform 30">
              <a:extLst>
                <a:ext uri="{FF2B5EF4-FFF2-40B4-BE49-F238E27FC236}">
                  <a16:creationId xmlns:a16="http://schemas.microsoft.com/office/drawing/2014/main" id="{7342B285-13E6-4F01-9D79-A19CB6A356BE}"/>
                </a:ext>
              </a:extLst>
            </p:cNvPr>
            <p:cNvSpPr>
              <a:spLocks noEditPoints="1"/>
            </p:cNvSpPr>
            <p:nvPr/>
          </p:nvSpPr>
          <p:spPr bwMode="auto">
            <a:xfrm>
              <a:off x="4023096" y="1928176"/>
              <a:ext cx="25868" cy="7275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88" name="Freeform 26">
              <a:extLst>
                <a:ext uri="{FF2B5EF4-FFF2-40B4-BE49-F238E27FC236}">
                  <a16:creationId xmlns:a16="http://schemas.microsoft.com/office/drawing/2014/main" id="{5F6A10C2-ADA4-45DA-9DAC-75B15B3BFE61}"/>
                </a:ext>
              </a:extLst>
            </p:cNvPr>
            <p:cNvSpPr>
              <a:spLocks noEditPoints="1"/>
            </p:cNvSpPr>
            <p:nvPr/>
          </p:nvSpPr>
          <p:spPr bwMode="auto">
            <a:xfrm>
              <a:off x="4069045"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89" name="Freeform 27">
              <a:extLst>
                <a:ext uri="{FF2B5EF4-FFF2-40B4-BE49-F238E27FC236}">
                  <a16:creationId xmlns:a16="http://schemas.microsoft.com/office/drawing/2014/main" id="{0D018BB3-47CE-4E3A-BD14-1A85274350FE}"/>
                </a:ext>
              </a:extLst>
            </p:cNvPr>
            <p:cNvSpPr>
              <a:spLocks noEditPoints="1"/>
            </p:cNvSpPr>
            <p:nvPr/>
          </p:nvSpPr>
          <p:spPr bwMode="auto">
            <a:xfrm>
              <a:off x="4116611"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90" name="Freeform 28">
              <a:extLst>
                <a:ext uri="{FF2B5EF4-FFF2-40B4-BE49-F238E27FC236}">
                  <a16:creationId xmlns:a16="http://schemas.microsoft.com/office/drawing/2014/main" id="{2B792302-0AD7-405F-8868-DAD6DB86856F}"/>
                </a:ext>
              </a:extLst>
            </p:cNvPr>
            <p:cNvSpPr>
              <a:spLocks noEditPoints="1"/>
            </p:cNvSpPr>
            <p:nvPr/>
          </p:nvSpPr>
          <p:spPr bwMode="auto">
            <a:xfrm>
              <a:off x="4186811" y="1928176"/>
              <a:ext cx="27484" cy="7275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91" name="Freeform 29">
              <a:extLst>
                <a:ext uri="{FF2B5EF4-FFF2-40B4-BE49-F238E27FC236}">
                  <a16:creationId xmlns:a16="http://schemas.microsoft.com/office/drawing/2014/main" id="{8F763717-A3F7-4A2E-BC22-A2B29CC518D7}"/>
                </a:ext>
              </a:extLst>
            </p:cNvPr>
            <p:cNvSpPr>
              <a:spLocks noEditPoints="1"/>
            </p:cNvSpPr>
            <p:nvPr/>
          </p:nvSpPr>
          <p:spPr bwMode="auto">
            <a:xfrm>
              <a:off x="4234377"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92" name="Freeform 30">
              <a:extLst>
                <a:ext uri="{FF2B5EF4-FFF2-40B4-BE49-F238E27FC236}">
                  <a16:creationId xmlns:a16="http://schemas.microsoft.com/office/drawing/2014/main" id="{59B05FFF-6574-4D8B-ACD9-EB6C2E04F352}"/>
                </a:ext>
              </a:extLst>
            </p:cNvPr>
            <p:cNvSpPr>
              <a:spLocks noEditPoints="1"/>
            </p:cNvSpPr>
            <p:nvPr/>
          </p:nvSpPr>
          <p:spPr bwMode="auto">
            <a:xfrm>
              <a:off x="4304577" y="1928176"/>
              <a:ext cx="25868" cy="7275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93" name="Freeform 26">
              <a:extLst>
                <a:ext uri="{FF2B5EF4-FFF2-40B4-BE49-F238E27FC236}">
                  <a16:creationId xmlns:a16="http://schemas.microsoft.com/office/drawing/2014/main" id="{FC514340-AB9E-43A1-B3C9-086278A24F15}"/>
                </a:ext>
              </a:extLst>
            </p:cNvPr>
            <p:cNvSpPr>
              <a:spLocks noEditPoints="1"/>
            </p:cNvSpPr>
            <p:nvPr/>
          </p:nvSpPr>
          <p:spPr bwMode="auto">
            <a:xfrm>
              <a:off x="4350526"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394" name="Group 393">
            <a:extLst>
              <a:ext uri="{FF2B5EF4-FFF2-40B4-BE49-F238E27FC236}">
                <a16:creationId xmlns:a16="http://schemas.microsoft.com/office/drawing/2014/main" id="{0D80DE0D-D749-4293-85AA-C5AFDF263DB8}"/>
              </a:ext>
            </a:extLst>
          </p:cNvPr>
          <p:cNvGrpSpPr/>
          <p:nvPr/>
        </p:nvGrpSpPr>
        <p:grpSpPr>
          <a:xfrm>
            <a:off x="5987706" y="3368711"/>
            <a:ext cx="625759" cy="75985"/>
            <a:chOff x="3779480" y="2051853"/>
            <a:chExt cx="625759" cy="75985"/>
          </a:xfrm>
        </p:grpSpPr>
        <p:sp>
          <p:nvSpPr>
            <p:cNvPr id="395" name="Freeform 35">
              <a:extLst>
                <a:ext uri="{FF2B5EF4-FFF2-40B4-BE49-F238E27FC236}">
                  <a16:creationId xmlns:a16="http://schemas.microsoft.com/office/drawing/2014/main" id="{1E7FC1BB-E213-46F9-9184-3F4D2F552BF3}"/>
                </a:ext>
              </a:extLst>
            </p:cNvPr>
            <p:cNvSpPr>
              <a:spLocks noEditPoints="1"/>
            </p:cNvSpPr>
            <p:nvPr/>
          </p:nvSpPr>
          <p:spPr bwMode="auto">
            <a:xfrm>
              <a:off x="3779480"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96" name="Freeform 36">
              <a:extLst>
                <a:ext uri="{FF2B5EF4-FFF2-40B4-BE49-F238E27FC236}">
                  <a16:creationId xmlns:a16="http://schemas.microsoft.com/office/drawing/2014/main" id="{BEBFB34C-3947-4456-A338-C0EE528002AB}"/>
                </a:ext>
              </a:extLst>
            </p:cNvPr>
            <p:cNvSpPr>
              <a:spLocks noEditPoints="1"/>
            </p:cNvSpPr>
            <p:nvPr/>
          </p:nvSpPr>
          <p:spPr bwMode="auto">
            <a:xfrm>
              <a:off x="3842702" y="2051853"/>
              <a:ext cx="50119" cy="75985"/>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97" name="Freeform 37">
              <a:extLst>
                <a:ext uri="{FF2B5EF4-FFF2-40B4-BE49-F238E27FC236}">
                  <a16:creationId xmlns:a16="http://schemas.microsoft.com/office/drawing/2014/main" id="{ED775EC0-2E80-4CC0-AEB6-47142846F833}"/>
                </a:ext>
              </a:extLst>
            </p:cNvPr>
            <p:cNvSpPr>
              <a:spLocks noEditPoints="1"/>
            </p:cNvSpPr>
            <p:nvPr/>
          </p:nvSpPr>
          <p:spPr bwMode="auto">
            <a:xfrm>
              <a:off x="3904308" y="2053470"/>
              <a:ext cx="27484" cy="7275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98" name="Freeform 38">
              <a:extLst>
                <a:ext uri="{FF2B5EF4-FFF2-40B4-BE49-F238E27FC236}">
                  <a16:creationId xmlns:a16="http://schemas.microsoft.com/office/drawing/2014/main" id="{3F589324-4CD1-4076-93C9-6584322EC345}"/>
                </a:ext>
              </a:extLst>
            </p:cNvPr>
            <p:cNvSpPr>
              <a:spLocks noEditPoints="1"/>
            </p:cNvSpPr>
            <p:nvPr/>
          </p:nvSpPr>
          <p:spPr bwMode="auto">
            <a:xfrm>
              <a:off x="3943280" y="2051853"/>
              <a:ext cx="50119"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99" name="Freeform 39">
              <a:extLst>
                <a:ext uri="{FF2B5EF4-FFF2-40B4-BE49-F238E27FC236}">
                  <a16:creationId xmlns:a16="http://schemas.microsoft.com/office/drawing/2014/main" id="{03BD59E9-59FB-44E1-B047-C47CAC8F52AC}"/>
                </a:ext>
              </a:extLst>
            </p:cNvPr>
            <p:cNvSpPr>
              <a:spLocks noEditPoints="1"/>
            </p:cNvSpPr>
            <p:nvPr/>
          </p:nvSpPr>
          <p:spPr bwMode="auto">
            <a:xfrm>
              <a:off x="4004886" y="2051853"/>
              <a:ext cx="50119" cy="75985"/>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00" name="Freeform 35">
              <a:extLst>
                <a:ext uri="{FF2B5EF4-FFF2-40B4-BE49-F238E27FC236}">
                  <a16:creationId xmlns:a16="http://schemas.microsoft.com/office/drawing/2014/main" id="{82D93A82-5467-4DB9-9F9B-73A25325A9BE}"/>
                </a:ext>
              </a:extLst>
            </p:cNvPr>
            <p:cNvSpPr>
              <a:spLocks noEditPoints="1"/>
            </p:cNvSpPr>
            <p:nvPr/>
          </p:nvSpPr>
          <p:spPr bwMode="auto">
            <a:xfrm>
              <a:off x="4066493"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01" name="Freeform 36">
              <a:extLst>
                <a:ext uri="{FF2B5EF4-FFF2-40B4-BE49-F238E27FC236}">
                  <a16:creationId xmlns:a16="http://schemas.microsoft.com/office/drawing/2014/main" id="{130396EF-4618-4D16-8D11-2260A6D359A1}"/>
                </a:ext>
              </a:extLst>
            </p:cNvPr>
            <p:cNvSpPr>
              <a:spLocks noEditPoints="1"/>
            </p:cNvSpPr>
            <p:nvPr/>
          </p:nvSpPr>
          <p:spPr bwMode="auto">
            <a:xfrm>
              <a:off x="4129714" y="2051853"/>
              <a:ext cx="50119" cy="75985"/>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02" name="Freeform 37">
              <a:extLst>
                <a:ext uri="{FF2B5EF4-FFF2-40B4-BE49-F238E27FC236}">
                  <a16:creationId xmlns:a16="http://schemas.microsoft.com/office/drawing/2014/main" id="{089EF23E-7F5E-4A67-8C5D-63ACC34A3C57}"/>
                </a:ext>
              </a:extLst>
            </p:cNvPr>
            <p:cNvSpPr>
              <a:spLocks noEditPoints="1"/>
            </p:cNvSpPr>
            <p:nvPr/>
          </p:nvSpPr>
          <p:spPr bwMode="auto">
            <a:xfrm>
              <a:off x="4191321" y="2053470"/>
              <a:ext cx="27484" cy="7275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03" name="Freeform 38">
              <a:extLst>
                <a:ext uri="{FF2B5EF4-FFF2-40B4-BE49-F238E27FC236}">
                  <a16:creationId xmlns:a16="http://schemas.microsoft.com/office/drawing/2014/main" id="{EBB7A630-40B0-4827-8A5B-748603F3B8BF}"/>
                </a:ext>
              </a:extLst>
            </p:cNvPr>
            <p:cNvSpPr>
              <a:spLocks noEditPoints="1"/>
            </p:cNvSpPr>
            <p:nvPr/>
          </p:nvSpPr>
          <p:spPr bwMode="auto">
            <a:xfrm>
              <a:off x="4230293" y="2051853"/>
              <a:ext cx="50119"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04" name="Freeform 39">
              <a:extLst>
                <a:ext uri="{FF2B5EF4-FFF2-40B4-BE49-F238E27FC236}">
                  <a16:creationId xmlns:a16="http://schemas.microsoft.com/office/drawing/2014/main" id="{53724C17-5E3C-4E4A-B816-2666C013B83C}"/>
                </a:ext>
              </a:extLst>
            </p:cNvPr>
            <p:cNvSpPr>
              <a:spLocks noEditPoints="1"/>
            </p:cNvSpPr>
            <p:nvPr/>
          </p:nvSpPr>
          <p:spPr bwMode="auto">
            <a:xfrm>
              <a:off x="4291899" y="2051853"/>
              <a:ext cx="50119" cy="75985"/>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05" name="Freeform 35">
              <a:extLst>
                <a:ext uri="{FF2B5EF4-FFF2-40B4-BE49-F238E27FC236}">
                  <a16:creationId xmlns:a16="http://schemas.microsoft.com/office/drawing/2014/main" id="{A44C2061-706A-4D72-94CF-5CC5F403FA63}"/>
                </a:ext>
              </a:extLst>
            </p:cNvPr>
            <p:cNvSpPr>
              <a:spLocks noEditPoints="1"/>
            </p:cNvSpPr>
            <p:nvPr/>
          </p:nvSpPr>
          <p:spPr bwMode="auto">
            <a:xfrm>
              <a:off x="4353505"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406" name="Group 405">
            <a:extLst>
              <a:ext uri="{FF2B5EF4-FFF2-40B4-BE49-F238E27FC236}">
                <a16:creationId xmlns:a16="http://schemas.microsoft.com/office/drawing/2014/main" id="{537FBF1B-DDD9-4508-8C93-756BA6D7CA20}"/>
              </a:ext>
            </a:extLst>
          </p:cNvPr>
          <p:cNvGrpSpPr/>
          <p:nvPr/>
        </p:nvGrpSpPr>
        <p:grpSpPr>
          <a:xfrm>
            <a:off x="5987706" y="3494814"/>
            <a:ext cx="626432" cy="74369"/>
            <a:chOff x="3779480" y="2177956"/>
            <a:chExt cx="626432" cy="74369"/>
          </a:xfrm>
        </p:grpSpPr>
        <p:sp>
          <p:nvSpPr>
            <p:cNvPr id="407" name="Freeform 42">
              <a:extLst>
                <a:ext uri="{FF2B5EF4-FFF2-40B4-BE49-F238E27FC236}">
                  <a16:creationId xmlns:a16="http://schemas.microsoft.com/office/drawing/2014/main" id="{953B7908-4020-4F4B-B763-56E4C8D95B59}"/>
                </a:ext>
              </a:extLst>
            </p:cNvPr>
            <p:cNvSpPr>
              <a:spLocks noEditPoints="1"/>
            </p:cNvSpPr>
            <p:nvPr/>
          </p:nvSpPr>
          <p:spPr bwMode="auto">
            <a:xfrm>
              <a:off x="3779480"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08" name="Freeform 43">
              <a:extLst>
                <a:ext uri="{FF2B5EF4-FFF2-40B4-BE49-F238E27FC236}">
                  <a16:creationId xmlns:a16="http://schemas.microsoft.com/office/drawing/2014/main" id="{FF57B0B5-0CA2-422D-8869-62F365843CF8}"/>
                </a:ext>
              </a:extLst>
            </p:cNvPr>
            <p:cNvSpPr>
              <a:spLocks noEditPoints="1"/>
            </p:cNvSpPr>
            <p:nvPr/>
          </p:nvSpPr>
          <p:spPr bwMode="auto">
            <a:xfrm>
              <a:off x="3847296" y="2177956"/>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09" name="Freeform 44">
              <a:extLst>
                <a:ext uri="{FF2B5EF4-FFF2-40B4-BE49-F238E27FC236}">
                  <a16:creationId xmlns:a16="http://schemas.microsoft.com/office/drawing/2014/main" id="{4D7EA00A-6C0A-4593-848F-C9355F55A454}"/>
                </a:ext>
              </a:extLst>
            </p:cNvPr>
            <p:cNvSpPr>
              <a:spLocks noEditPoints="1"/>
            </p:cNvSpPr>
            <p:nvPr/>
          </p:nvSpPr>
          <p:spPr bwMode="auto">
            <a:xfrm>
              <a:off x="3913497" y="2178765"/>
              <a:ext cx="27484" cy="7275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10" name="Freeform 45">
              <a:extLst>
                <a:ext uri="{FF2B5EF4-FFF2-40B4-BE49-F238E27FC236}">
                  <a16:creationId xmlns:a16="http://schemas.microsoft.com/office/drawing/2014/main" id="{BE09DB34-E9D2-444B-B3C7-B19F9A0ABF42}"/>
                </a:ext>
              </a:extLst>
            </p:cNvPr>
            <p:cNvSpPr>
              <a:spLocks noEditPoints="1"/>
            </p:cNvSpPr>
            <p:nvPr/>
          </p:nvSpPr>
          <p:spPr bwMode="auto">
            <a:xfrm>
              <a:off x="3957063" y="2178765"/>
              <a:ext cx="27484" cy="7275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11" name="Freeform 46">
              <a:extLst>
                <a:ext uri="{FF2B5EF4-FFF2-40B4-BE49-F238E27FC236}">
                  <a16:creationId xmlns:a16="http://schemas.microsoft.com/office/drawing/2014/main" id="{FF29A70F-5928-4B2B-ACE9-A7A0D03FBC4D}"/>
                </a:ext>
              </a:extLst>
            </p:cNvPr>
            <p:cNvSpPr>
              <a:spLocks noEditPoints="1"/>
            </p:cNvSpPr>
            <p:nvPr/>
          </p:nvSpPr>
          <p:spPr bwMode="auto">
            <a:xfrm>
              <a:off x="4000629" y="2177956"/>
              <a:ext cx="50119" cy="74369"/>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12" name="Freeform 42">
              <a:extLst>
                <a:ext uri="{FF2B5EF4-FFF2-40B4-BE49-F238E27FC236}">
                  <a16:creationId xmlns:a16="http://schemas.microsoft.com/office/drawing/2014/main" id="{C17E07E9-D607-4A2C-8AE7-1B96B6AB4C41}"/>
                </a:ext>
              </a:extLst>
            </p:cNvPr>
            <p:cNvSpPr>
              <a:spLocks noEditPoints="1"/>
            </p:cNvSpPr>
            <p:nvPr/>
          </p:nvSpPr>
          <p:spPr bwMode="auto">
            <a:xfrm>
              <a:off x="4066829"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13" name="Freeform 43">
              <a:extLst>
                <a:ext uri="{FF2B5EF4-FFF2-40B4-BE49-F238E27FC236}">
                  <a16:creationId xmlns:a16="http://schemas.microsoft.com/office/drawing/2014/main" id="{6827FBEC-87CF-4BED-946E-D2A83BEA107E}"/>
                </a:ext>
              </a:extLst>
            </p:cNvPr>
            <p:cNvSpPr>
              <a:spLocks noEditPoints="1"/>
            </p:cNvSpPr>
            <p:nvPr/>
          </p:nvSpPr>
          <p:spPr bwMode="auto">
            <a:xfrm>
              <a:off x="4134645" y="2177956"/>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14" name="Freeform 44">
              <a:extLst>
                <a:ext uri="{FF2B5EF4-FFF2-40B4-BE49-F238E27FC236}">
                  <a16:creationId xmlns:a16="http://schemas.microsoft.com/office/drawing/2014/main" id="{78C7AC6E-5C11-485A-9BA0-25F1092BA7CE}"/>
                </a:ext>
              </a:extLst>
            </p:cNvPr>
            <p:cNvSpPr>
              <a:spLocks noEditPoints="1"/>
            </p:cNvSpPr>
            <p:nvPr/>
          </p:nvSpPr>
          <p:spPr bwMode="auto">
            <a:xfrm>
              <a:off x="4200846" y="2178765"/>
              <a:ext cx="27484" cy="7275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15" name="Freeform 45">
              <a:extLst>
                <a:ext uri="{FF2B5EF4-FFF2-40B4-BE49-F238E27FC236}">
                  <a16:creationId xmlns:a16="http://schemas.microsoft.com/office/drawing/2014/main" id="{E37E75CC-2EB5-445C-A9EF-89FBCDF1724E}"/>
                </a:ext>
              </a:extLst>
            </p:cNvPr>
            <p:cNvSpPr>
              <a:spLocks noEditPoints="1"/>
            </p:cNvSpPr>
            <p:nvPr/>
          </p:nvSpPr>
          <p:spPr bwMode="auto">
            <a:xfrm>
              <a:off x="4244412" y="2178765"/>
              <a:ext cx="27484" cy="7275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16" name="Freeform 46">
              <a:extLst>
                <a:ext uri="{FF2B5EF4-FFF2-40B4-BE49-F238E27FC236}">
                  <a16:creationId xmlns:a16="http://schemas.microsoft.com/office/drawing/2014/main" id="{2A594AE3-B216-4079-8B77-B52DA78E2752}"/>
                </a:ext>
              </a:extLst>
            </p:cNvPr>
            <p:cNvSpPr>
              <a:spLocks noEditPoints="1"/>
            </p:cNvSpPr>
            <p:nvPr/>
          </p:nvSpPr>
          <p:spPr bwMode="auto">
            <a:xfrm>
              <a:off x="4287978" y="2177956"/>
              <a:ext cx="50119" cy="74369"/>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17" name="Freeform 42">
              <a:extLst>
                <a:ext uri="{FF2B5EF4-FFF2-40B4-BE49-F238E27FC236}">
                  <a16:creationId xmlns:a16="http://schemas.microsoft.com/office/drawing/2014/main" id="{4157821B-82D9-4218-97F5-19E5332FC82D}"/>
                </a:ext>
              </a:extLst>
            </p:cNvPr>
            <p:cNvSpPr>
              <a:spLocks noEditPoints="1"/>
            </p:cNvSpPr>
            <p:nvPr/>
          </p:nvSpPr>
          <p:spPr bwMode="auto">
            <a:xfrm>
              <a:off x="4354178"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sp>
        <p:nvSpPr>
          <p:cNvPr id="418" name="Circle: Hollow 417">
            <a:extLst>
              <a:ext uri="{FF2B5EF4-FFF2-40B4-BE49-F238E27FC236}">
                <a16:creationId xmlns:a16="http://schemas.microsoft.com/office/drawing/2014/main" id="{7BA3602A-E499-475F-A498-7F4C7235165E}"/>
              </a:ext>
            </a:extLst>
          </p:cNvPr>
          <p:cNvSpPr/>
          <p:nvPr/>
        </p:nvSpPr>
        <p:spPr>
          <a:xfrm>
            <a:off x="5910187" y="3036894"/>
            <a:ext cx="761650" cy="761650"/>
          </a:xfrm>
          <a:prstGeom prst="donut">
            <a:avLst>
              <a:gd name="adj" fmla="val 827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295" name="Group 294">
            <a:extLst>
              <a:ext uri="{FF2B5EF4-FFF2-40B4-BE49-F238E27FC236}">
                <a16:creationId xmlns:a16="http://schemas.microsoft.com/office/drawing/2014/main" id="{45B3029E-7DAF-4556-AAED-1CB89E83CB6C}"/>
              </a:ext>
            </a:extLst>
          </p:cNvPr>
          <p:cNvGrpSpPr/>
          <p:nvPr/>
        </p:nvGrpSpPr>
        <p:grpSpPr>
          <a:xfrm>
            <a:off x="6168914" y="3183130"/>
            <a:ext cx="244197" cy="447144"/>
            <a:chOff x="4457929" y="4607371"/>
            <a:chExt cx="234950" cy="430212"/>
          </a:xfrm>
        </p:grpSpPr>
        <p:sp>
          <p:nvSpPr>
            <p:cNvPr id="296" name="Freeform 53">
              <a:extLst>
                <a:ext uri="{FF2B5EF4-FFF2-40B4-BE49-F238E27FC236}">
                  <a16:creationId xmlns:a16="http://schemas.microsoft.com/office/drawing/2014/main" id="{3867DCAC-BA2B-4F07-9C9F-AAF33C9DB570}"/>
                </a:ext>
              </a:extLst>
            </p:cNvPr>
            <p:cNvSpPr>
              <a:spLocks/>
            </p:cNvSpPr>
            <p:nvPr/>
          </p:nvSpPr>
          <p:spPr bwMode="auto">
            <a:xfrm>
              <a:off x="4457929" y="4607371"/>
              <a:ext cx="234950"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a typeface="Apple LiGothic Medium"/>
                <a:cs typeface="Apple LiGothic Medium"/>
              </a:endParaRPr>
            </a:p>
          </p:txBody>
        </p:sp>
        <p:sp>
          <p:nvSpPr>
            <p:cNvPr id="297" name="Line 208">
              <a:extLst>
                <a:ext uri="{FF2B5EF4-FFF2-40B4-BE49-F238E27FC236}">
                  <a16:creationId xmlns:a16="http://schemas.microsoft.com/office/drawing/2014/main" id="{0E228557-A933-48A3-AF2E-85CEDFFA77FF}"/>
                </a:ext>
              </a:extLst>
            </p:cNvPr>
            <p:cNvSpPr>
              <a:spLocks noChangeShapeType="1"/>
            </p:cNvSpPr>
            <p:nvPr/>
          </p:nvSpPr>
          <p:spPr bwMode="auto">
            <a:xfrm>
              <a:off x="4516667" y="46772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a typeface="Apple LiGothic Medium"/>
                <a:cs typeface="Apple LiGothic Medium"/>
              </a:endParaRPr>
            </a:p>
          </p:txBody>
        </p:sp>
        <p:sp>
          <p:nvSpPr>
            <p:cNvPr id="298" name="Line 209">
              <a:extLst>
                <a:ext uri="{FF2B5EF4-FFF2-40B4-BE49-F238E27FC236}">
                  <a16:creationId xmlns:a16="http://schemas.microsoft.com/office/drawing/2014/main" id="{1BCDCD37-E329-4812-9977-29362594A813}"/>
                </a:ext>
              </a:extLst>
            </p:cNvPr>
            <p:cNvSpPr>
              <a:spLocks noChangeShapeType="1"/>
            </p:cNvSpPr>
            <p:nvPr/>
          </p:nvSpPr>
          <p:spPr bwMode="auto">
            <a:xfrm>
              <a:off x="4516667" y="4745483"/>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a typeface="Apple LiGothic Medium"/>
                <a:cs typeface="Apple LiGothic Medium"/>
              </a:endParaRPr>
            </a:p>
          </p:txBody>
        </p:sp>
        <p:sp>
          <p:nvSpPr>
            <p:cNvPr id="299" name="Line 210">
              <a:extLst>
                <a:ext uri="{FF2B5EF4-FFF2-40B4-BE49-F238E27FC236}">
                  <a16:creationId xmlns:a16="http://schemas.microsoft.com/office/drawing/2014/main" id="{38F46ED3-BA74-4385-99CF-56A04474C0F3}"/>
                </a:ext>
              </a:extLst>
            </p:cNvPr>
            <p:cNvSpPr>
              <a:spLocks noChangeShapeType="1"/>
            </p:cNvSpPr>
            <p:nvPr/>
          </p:nvSpPr>
          <p:spPr bwMode="auto">
            <a:xfrm>
              <a:off x="4516667" y="48169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a typeface="Apple LiGothic Medium"/>
                <a:cs typeface="Apple LiGothic Medium"/>
              </a:endParaRPr>
            </a:p>
          </p:txBody>
        </p:sp>
        <p:sp>
          <p:nvSpPr>
            <p:cNvPr id="300" name="Line 211">
              <a:extLst>
                <a:ext uri="{FF2B5EF4-FFF2-40B4-BE49-F238E27FC236}">
                  <a16:creationId xmlns:a16="http://schemas.microsoft.com/office/drawing/2014/main" id="{F00CDE64-EEB4-4C16-96AB-1B37FAC3769C}"/>
                </a:ext>
              </a:extLst>
            </p:cNvPr>
            <p:cNvSpPr>
              <a:spLocks noChangeShapeType="1"/>
            </p:cNvSpPr>
            <p:nvPr/>
          </p:nvSpPr>
          <p:spPr bwMode="auto">
            <a:xfrm>
              <a:off x="4516667" y="488677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a typeface="Apple LiGothic Medium"/>
                <a:cs typeface="Apple LiGothic Medium"/>
              </a:endParaRPr>
            </a:p>
          </p:txBody>
        </p:sp>
      </p:grpSp>
      <p:sp>
        <p:nvSpPr>
          <p:cNvPr id="25" name="Rectangle 24"/>
          <p:cNvSpPr/>
          <p:nvPr/>
        </p:nvSpPr>
        <p:spPr>
          <a:xfrm>
            <a:off x="798233" y="1542861"/>
            <a:ext cx="3066541" cy="876776"/>
          </a:xfrm>
          <a:prstGeom prst="rect">
            <a:avLst/>
          </a:prstGeom>
          <a:noFill/>
          <a:ln w="25400" cap="flat" cmpd="sng" algn="ctr">
            <a:noFill/>
            <a:prstDash val="solid"/>
          </a:ln>
          <a:effectLst/>
        </p:spPr>
        <p:txBody>
          <a:bodyPr rtlCol="0" anchor="t"/>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BCEB"/>
                </a:solidFill>
                <a:effectLst/>
                <a:uLnTx/>
                <a:uFillTx/>
                <a:latin typeface="CiscoSansTT ExtraLight"/>
                <a:ea typeface="ＭＳ Ｐゴシック" charset="0"/>
              </a:rPr>
              <a:t>Suspect Data Hoarding</a:t>
            </a:r>
          </a:p>
          <a:p>
            <a:pPr marL="0" marR="0" lvl="0" indent="0" algn="r" defTabSz="685800" rtl="0" eaLnBrk="1" fontAlgn="auto" latinLnBrk="0" hangingPunct="1">
              <a:lnSpc>
                <a:spcPct val="100000"/>
              </a:lnSpc>
              <a:spcBef>
                <a:spcPts val="600"/>
              </a:spcBef>
              <a:spcAft>
                <a:spcPts val="0"/>
              </a:spcAft>
              <a:buClr>
                <a:srgbClr val="9E9EA2"/>
              </a:buClr>
              <a:buSzTx/>
              <a:buFontTx/>
              <a:buNone/>
              <a:tabLst/>
              <a:defRPr/>
            </a:pPr>
            <a:r>
              <a:rPr kumimoji="0" lang="en-US" sz="1400" b="0" i="0" u="none" strike="noStrike" kern="0" cap="none" spc="0" normalizeH="0" baseline="0" noProof="0" dirty="0">
                <a:ln>
                  <a:noFill/>
                </a:ln>
                <a:solidFill>
                  <a:srgbClr val="282828"/>
                </a:solidFill>
                <a:effectLst/>
                <a:uLnTx/>
                <a:uFillTx/>
                <a:latin typeface="CiscoSansTT ExtraLight"/>
                <a:ea typeface="ＭＳ Ｐゴシック" charset="0"/>
              </a:rPr>
              <a:t>Unusually large amount of data </a:t>
            </a:r>
            <a:br>
              <a:rPr kumimoji="0" lang="en-US" sz="1400" b="0" i="0" u="none" strike="noStrike" kern="0" cap="none" spc="0" normalizeH="0" baseline="0" noProof="0" dirty="0">
                <a:ln>
                  <a:noFill/>
                </a:ln>
                <a:solidFill>
                  <a:srgbClr val="282828"/>
                </a:solidFill>
                <a:effectLst/>
                <a:uLnTx/>
                <a:uFillTx/>
                <a:latin typeface="CiscoSansTT ExtraLight"/>
                <a:ea typeface="ＭＳ Ｐゴシック" charset="0"/>
              </a:rPr>
            </a:br>
            <a:r>
              <a:rPr kumimoji="0" lang="en-US" sz="1400" b="0" i="0" u="none" strike="noStrike" kern="0" cap="none" spc="0" normalizeH="0" baseline="0" noProof="0" dirty="0">
                <a:ln>
                  <a:noFill/>
                </a:ln>
                <a:solidFill>
                  <a:srgbClr val="FBAB18"/>
                </a:solidFill>
                <a:effectLst/>
                <a:uLnTx/>
                <a:uFillTx/>
                <a:latin typeface="CiscoSansTT ExtraLight"/>
                <a:ea typeface="ＭＳ Ｐゴシック" charset="0"/>
              </a:rPr>
              <a:t>inbound</a:t>
            </a:r>
            <a:r>
              <a:rPr kumimoji="0" lang="en-US" sz="1400" b="0" i="0" u="none" strike="noStrike" kern="0" cap="none" spc="0" normalizeH="0" baseline="0" noProof="0" dirty="0">
                <a:ln>
                  <a:noFill/>
                </a:ln>
                <a:solidFill>
                  <a:srgbClr val="282828"/>
                </a:solidFill>
                <a:effectLst/>
                <a:uLnTx/>
                <a:uFillTx/>
                <a:latin typeface="CiscoSansTT ExtraLight"/>
                <a:ea typeface="ＭＳ Ｐゴシック" charset="0"/>
              </a:rPr>
              <a:t> from other hosts</a:t>
            </a:r>
          </a:p>
        </p:txBody>
      </p:sp>
      <p:cxnSp>
        <p:nvCxnSpPr>
          <p:cNvPr id="27" name="Straight Connector 26"/>
          <p:cNvCxnSpPr>
            <a:cxnSpLocks/>
          </p:cNvCxnSpPr>
          <p:nvPr/>
        </p:nvCxnSpPr>
        <p:spPr>
          <a:xfrm flipH="1">
            <a:off x="524781" y="2892545"/>
            <a:ext cx="8127510" cy="0"/>
          </a:xfrm>
          <a:prstGeom prst="line">
            <a:avLst/>
          </a:prstGeom>
          <a:ln w="28575">
            <a:solidFill>
              <a:schemeClr val="tx1">
                <a:lumMod val="10000"/>
                <a:lumOff val="90000"/>
              </a:schemeClr>
            </a:solidFill>
          </a:ln>
          <a:effectLst/>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518001" y="3322922"/>
            <a:ext cx="3346773" cy="876776"/>
          </a:xfrm>
          <a:prstGeom prst="rect">
            <a:avLst/>
          </a:prstGeom>
          <a:noFill/>
          <a:ln w="25400" cap="flat" cmpd="sng" algn="ctr">
            <a:noFill/>
            <a:prstDash val="solid"/>
          </a:ln>
          <a:effectLst/>
        </p:spPr>
        <p:txBody>
          <a:bodyPr rtlCol="0" anchor="t"/>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BCEB"/>
                </a:solidFill>
                <a:effectLst/>
                <a:uLnTx/>
                <a:uFillTx/>
                <a:latin typeface="CiscoSansTT ExtraLight"/>
                <a:ea typeface="ＭＳ Ｐゴシック" charset="0"/>
              </a:rPr>
              <a:t>Target Data Hoarding</a:t>
            </a:r>
          </a:p>
          <a:p>
            <a:pPr marL="0" marR="0" lvl="0" indent="0" algn="r" defTabSz="685800" rtl="0" eaLnBrk="1" fontAlgn="auto" latinLnBrk="0" hangingPunct="1">
              <a:lnSpc>
                <a:spcPct val="100000"/>
              </a:lnSpc>
              <a:spcBef>
                <a:spcPts val="600"/>
              </a:spcBef>
              <a:spcAft>
                <a:spcPts val="0"/>
              </a:spcAft>
              <a:buClr>
                <a:srgbClr val="9E9EA2"/>
              </a:buClr>
              <a:buSzTx/>
              <a:buFontTx/>
              <a:buNone/>
              <a:tabLst/>
              <a:defRPr/>
            </a:pPr>
            <a:r>
              <a:rPr kumimoji="0" lang="en-US" sz="1400" b="0" i="0" u="none" strike="noStrike" kern="0" cap="none" spc="0" normalizeH="0" baseline="0" noProof="0" dirty="0">
                <a:ln>
                  <a:noFill/>
                </a:ln>
                <a:solidFill>
                  <a:srgbClr val="282828"/>
                </a:solidFill>
                <a:effectLst/>
                <a:uLnTx/>
                <a:uFillTx/>
                <a:latin typeface="CiscoSansTT ExtraLight"/>
                <a:ea typeface="ＭＳ Ｐゴシック" charset="0"/>
              </a:rPr>
              <a:t>Unusually large amount of data</a:t>
            </a:r>
            <a:br>
              <a:rPr kumimoji="0" lang="en-US" sz="1400" b="0" i="0" u="none" strike="noStrike" kern="0" cap="none" spc="0" normalizeH="0" baseline="0" noProof="0" dirty="0">
                <a:ln>
                  <a:noFill/>
                </a:ln>
                <a:solidFill>
                  <a:srgbClr val="282828"/>
                </a:solidFill>
                <a:effectLst/>
                <a:uLnTx/>
                <a:uFillTx/>
                <a:latin typeface="CiscoSansTT ExtraLight"/>
                <a:ea typeface="ＭＳ Ｐゴシック" charset="0"/>
              </a:rPr>
            </a:br>
            <a:r>
              <a:rPr kumimoji="0" lang="en-US" sz="1400" b="0" i="0" u="none" strike="noStrike" kern="0" cap="none" spc="0" normalizeH="0" baseline="0" noProof="0" dirty="0">
                <a:ln>
                  <a:noFill/>
                </a:ln>
                <a:solidFill>
                  <a:srgbClr val="FBAB18"/>
                </a:solidFill>
                <a:effectLst/>
                <a:uLnTx/>
                <a:uFillTx/>
                <a:latin typeface="CiscoSansTT ExtraLight"/>
                <a:ea typeface="ＭＳ Ｐゴシック" charset="0"/>
              </a:rPr>
              <a:t>outbound</a:t>
            </a:r>
            <a:r>
              <a:rPr kumimoji="0" lang="en-US" sz="1400" b="0" i="0" u="none" strike="noStrike" kern="0" cap="none" spc="0" normalizeH="0" baseline="0" noProof="0" dirty="0">
                <a:ln>
                  <a:noFill/>
                </a:ln>
                <a:solidFill>
                  <a:srgbClr val="282828"/>
                </a:solidFill>
                <a:effectLst/>
                <a:uLnTx/>
                <a:uFillTx/>
                <a:latin typeface="CiscoSansTT ExtraLight"/>
                <a:ea typeface="ＭＳ Ｐゴシック" charset="0"/>
              </a:rPr>
              <a:t> from a host to multiple hosts</a:t>
            </a:r>
          </a:p>
        </p:txBody>
      </p:sp>
      <p:sp>
        <p:nvSpPr>
          <p:cNvPr id="30" name="Oval 29"/>
          <p:cNvSpPr/>
          <p:nvPr/>
        </p:nvSpPr>
        <p:spPr>
          <a:xfrm>
            <a:off x="4074356" y="1692685"/>
            <a:ext cx="639975" cy="640080"/>
          </a:xfrm>
          <a:prstGeom prst="ellipse">
            <a:avLst/>
          </a:prstGeom>
          <a:solidFill>
            <a:schemeClr val="bg1"/>
          </a:solidFill>
          <a:ln w="25400" cap="flat" cmpd="sng" algn="ctr">
            <a:noFill/>
            <a:prstDash val="solid"/>
          </a:ln>
          <a:effectLst/>
        </p:spPr>
        <p:txBody>
          <a:bodyPr rot="0" spcFirstLastPara="0" vertOverflow="overflow" horzOverflow="overflow" vert="horz" wrap="square" lIns="457200" tIns="45720" rIns="457200" bIns="45720" numCol="1" spcCol="0" rtlCol="0" fromWordArt="0" anchor="ctr" anchorCtr="1" forceAA="0" compatLnSpc="1">
            <a:prstTxWarp prst="textNoShape">
              <a:avLst/>
            </a:prstTxWarp>
            <a:noAutofit/>
          </a:bodyPr>
          <a:lstStyle/>
          <a:p>
            <a:pPr marL="0" marR="0" lvl="0" indent="0" algn="ctr" defTabSz="685813" rtl="0" eaLnBrk="1" fontAlgn="auto" latinLnBrk="0" hangingPunct="1">
              <a:lnSpc>
                <a:spcPct val="100000"/>
              </a:lnSpc>
              <a:spcBef>
                <a:spcPts val="0"/>
              </a:spcBef>
              <a:spcAft>
                <a:spcPts val="0"/>
              </a:spcAft>
              <a:buClrTx/>
              <a:buSzTx/>
              <a:buFontTx/>
              <a:buNone/>
              <a:tabLst/>
              <a:defRPr/>
            </a:pPr>
            <a:endParaRPr kumimoji="0" lang="en-US" sz="2100" b="1"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sp>
        <p:nvSpPr>
          <p:cNvPr id="180" name="Title 179">
            <a:extLst>
              <a:ext uri="{FF2B5EF4-FFF2-40B4-BE49-F238E27FC236}">
                <a16:creationId xmlns:a16="http://schemas.microsoft.com/office/drawing/2014/main" id="{F31FB66F-C2E6-4190-AFC5-23BF0DE618A9}"/>
              </a:ext>
            </a:extLst>
          </p:cNvPr>
          <p:cNvSpPr>
            <a:spLocks noGrp="1"/>
          </p:cNvSpPr>
          <p:nvPr>
            <p:ph type="title"/>
          </p:nvPr>
        </p:nvSpPr>
        <p:spPr/>
        <p:txBody>
          <a:bodyPr/>
          <a:lstStyle/>
          <a:p>
            <a:r>
              <a:rPr lang="en-US" dirty="0"/>
              <a:t>Insider threat example: data hoarding</a:t>
            </a:r>
          </a:p>
        </p:txBody>
      </p:sp>
      <p:cxnSp>
        <p:nvCxnSpPr>
          <p:cNvPr id="189" name="Straight Arrow Connector 188">
            <a:extLst>
              <a:ext uri="{FF2B5EF4-FFF2-40B4-BE49-F238E27FC236}">
                <a16:creationId xmlns:a16="http://schemas.microsoft.com/office/drawing/2014/main" id="{8125C0CE-C5D1-4140-9815-7A41A1D1DCEB}"/>
              </a:ext>
            </a:extLst>
          </p:cNvPr>
          <p:cNvCxnSpPr>
            <a:cxnSpLocks/>
            <a:stCxn id="46" idx="2"/>
          </p:cNvCxnSpPr>
          <p:nvPr/>
        </p:nvCxnSpPr>
        <p:spPr>
          <a:xfrm flipH="1">
            <a:off x="4823064" y="2012727"/>
            <a:ext cx="2475800" cy="0"/>
          </a:xfrm>
          <a:prstGeom prst="straightConnector1">
            <a:avLst/>
          </a:prstGeom>
          <a:ln w="9525">
            <a:solidFill>
              <a:schemeClr val="accent5"/>
            </a:solidFill>
            <a:prstDash val="dash"/>
            <a:tailEnd type="arrow"/>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7298864" y="1692687"/>
            <a:ext cx="639975" cy="640080"/>
            <a:chOff x="3624053" y="1741238"/>
            <a:chExt cx="639975" cy="640080"/>
          </a:xfrm>
        </p:grpSpPr>
        <p:grpSp>
          <p:nvGrpSpPr>
            <p:cNvPr id="44" name="Group 43"/>
            <p:cNvGrpSpPr>
              <a:grpSpLocks noChangeAspect="1"/>
            </p:cNvGrpSpPr>
            <p:nvPr/>
          </p:nvGrpSpPr>
          <p:grpSpPr>
            <a:xfrm>
              <a:off x="3624053" y="1741238"/>
              <a:ext cx="639975" cy="640080"/>
              <a:chOff x="4802809" y="207155"/>
              <a:chExt cx="1188533" cy="1188720"/>
            </a:xfrm>
          </p:grpSpPr>
          <p:sp>
            <p:nvSpPr>
              <p:cNvPr id="46" name="Oval 45"/>
              <p:cNvSpPr/>
              <p:nvPr/>
            </p:nvSpPr>
            <p:spPr>
              <a:xfrm>
                <a:off x="4802809" y="207155"/>
                <a:ext cx="1188533" cy="1188720"/>
              </a:xfrm>
              <a:prstGeom prst="ellipse">
                <a:avLst/>
              </a:prstGeom>
              <a:solidFill>
                <a:schemeClr val="bg1"/>
              </a:solidFill>
              <a:ln w="25400" cap="flat" cmpd="sng" algn="ctr">
                <a:noFill/>
                <a:prstDash val="solid"/>
              </a:ln>
              <a:effectLst/>
            </p:spPr>
            <p:txBody>
              <a:bodyPr rot="0" spcFirstLastPara="0" vertOverflow="overflow" horzOverflow="overflow" vert="horz" wrap="square" lIns="457200" tIns="45720" rIns="457200" bIns="45720" numCol="1" spcCol="0" rtlCol="0" fromWordArt="0" anchor="ctr" anchorCtr="1" forceAA="0" compatLnSpc="1">
                <a:prstTxWarp prst="textNoShape">
                  <a:avLst/>
                </a:prstTxWarp>
                <a:noAutofit/>
              </a:bodyPr>
              <a:lstStyle/>
              <a:p>
                <a:pPr marL="0" marR="0" lvl="0" indent="0" algn="ctr" defTabSz="685813" rtl="0" eaLnBrk="1" fontAlgn="auto" latinLnBrk="0" hangingPunct="1">
                  <a:lnSpc>
                    <a:spcPct val="100000"/>
                  </a:lnSpc>
                  <a:spcBef>
                    <a:spcPts val="0"/>
                  </a:spcBef>
                  <a:spcAft>
                    <a:spcPts val="0"/>
                  </a:spcAft>
                  <a:buClrTx/>
                  <a:buSzTx/>
                  <a:buFontTx/>
                  <a:buNone/>
                  <a:tabLst/>
                  <a:defRPr/>
                </a:pPr>
                <a:endParaRPr kumimoji="0" lang="en-US" sz="2100" b="1"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grpSp>
            <p:nvGrpSpPr>
              <p:cNvPr id="47" name="Group 221"/>
              <p:cNvGrpSpPr>
                <a:grpSpLocks noChangeAspect="1"/>
              </p:cNvGrpSpPr>
              <p:nvPr/>
            </p:nvGrpSpPr>
            <p:grpSpPr bwMode="auto">
              <a:xfrm>
                <a:off x="4963205" y="508335"/>
                <a:ext cx="869397" cy="691431"/>
                <a:chOff x="2096" y="1022"/>
                <a:chExt cx="1573" cy="1251"/>
              </a:xfrm>
              <a:solidFill>
                <a:srgbClr val="005073"/>
              </a:solidFill>
            </p:grpSpPr>
            <p:sp>
              <p:nvSpPr>
                <p:cNvPr id="48" name="Freeform 222"/>
                <p:cNvSpPr>
                  <a:spLocks/>
                </p:cNvSpPr>
                <p:nvPr/>
              </p:nvSpPr>
              <p:spPr bwMode="auto">
                <a:xfrm>
                  <a:off x="2568" y="2204"/>
                  <a:ext cx="615"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sp>
              <p:nvSpPr>
                <p:cNvPr id="49" name="Freeform 223"/>
                <p:cNvSpPr>
                  <a:spLocks/>
                </p:cNvSpPr>
                <p:nvPr/>
              </p:nvSpPr>
              <p:spPr bwMode="auto">
                <a:xfrm>
                  <a:off x="2142" y="1078"/>
                  <a:ext cx="1480"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sp>
              <p:nvSpPr>
                <p:cNvPr id="50" name="Freeform 224"/>
                <p:cNvSpPr>
                  <a:spLocks noEditPoints="1"/>
                </p:cNvSpPr>
                <p:nvPr/>
              </p:nvSpPr>
              <p:spPr bwMode="auto">
                <a:xfrm>
                  <a:off x="2096" y="1022"/>
                  <a:ext cx="1573" cy="947"/>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grpSp>
        </p:grpSp>
        <p:sp>
          <p:nvSpPr>
            <p:cNvPr id="45" name="Rectangle 44"/>
            <p:cNvSpPr/>
            <p:nvPr/>
          </p:nvSpPr>
          <p:spPr>
            <a:xfrm>
              <a:off x="3883715" y="2185248"/>
              <a:ext cx="120650" cy="69938"/>
            </a:xfrm>
            <a:prstGeom prst="rect">
              <a:avLst/>
            </a:prstGeom>
            <a:solidFill>
              <a:schemeClr val="accent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grpSp>
      <p:cxnSp>
        <p:nvCxnSpPr>
          <p:cNvPr id="190" name="Straight Arrow Connector 189">
            <a:extLst>
              <a:ext uri="{FF2B5EF4-FFF2-40B4-BE49-F238E27FC236}">
                <a16:creationId xmlns:a16="http://schemas.microsoft.com/office/drawing/2014/main" id="{B4F2912F-49EF-490A-97C6-F419759BC220}"/>
              </a:ext>
            </a:extLst>
          </p:cNvPr>
          <p:cNvCxnSpPr>
            <a:cxnSpLocks/>
            <a:stCxn id="52" idx="3"/>
          </p:cNvCxnSpPr>
          <p:nvPr/>
        </p:nvCxnSpPr>
        <p:spPr>
          <a:xfrm flipH="1">
            <a:off x="4795454" y="1856533"/>
            <a:ext cx="1268400" cy="0"/>
          </a:xfrm>
          <a:prstGeom prst="straightConnector1">
            <a:avLst/>
          </a:prstGeom>
          <a:ln w="9525">
            <a:solidFill>
              <a:schemeClr val="accent5"/>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94" name="Straight Arrow Connector 193">
            <a:extLst>
              <a:ext uri="{FF2B5EF4-FFF2-40B4-BE49-F238E27FC236}">
                <a16:creationId xmlns:a16="http://schemas.microsoft.com/office/drawing/2014/main" id="{AB161F2A-F739-4227-A4D6-04495D4E6672}"/>
              </a:ext>
            </a:extLst>
          </p:cNvPr>
          <p:cNvCxnSpPr>
            <a:cxnSpLocks/>
            <a:stCxn id="36" idx="1"/>
          </p:cNvCxnSpPr>
          <p:nvPr/>
        </p:nvCxnSpPr>
        <p:spPr>
          <a:xfrm flipH="1">
            <a:off x="4795453" y="2164122"/>
            <a:ext cx="1769198" cy="0"/>
          </a:xfrm>
          <a:prstGeom prst="straightConnector1">
            <a:avLst/>
          </a:prstGeom>
          <a:ln w="9525">
            <a:solidFill>
              <a:schemeClr val="accent5"/>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470913" y="2070384"/>
            <a:ext cx="640080" cy="640080"/>
          </a:xfrm>
          <a:prstGeom prst="ellipse">
            <a:avLst/>
          </a:prstGeom>
          <a:solidFill>
            <a:schemeClr val="bg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grpSp>
        <p:nvGrpSpPr>
          <p:cNvPr id="211" name="Group 210">
            <a:extLst>
              <a:ext uri="{FF2B5EF4-FFF2-40B4-BE49-F238E27FC236}">
                <a16:creationId xmlns:a16="http://schemas.microsoft.com/office/drawing/2014/main" id="{F09514C2-CFA1-466F-AADA-B55FCEC1A57A}"/>
              </a:ext>
            </a:extLst>
          </p:cNvPr>
          <p:cNvGrpSpPr/>
          <p:nvPr/>
        </p:nvGrpSpPr>
        <p:grpSpPr>
          <a:xfrm>
            <a:off x="4158003" y="1724146"/>
            <a:ext cx="441282" cy="75985"/>
            <a:chOff x="3846446" y="1801265"/>
            <a:chExt cx="441282" cy="75985"/>
          </a:xfrm>
        </p:grpSpPr>
        <p:sp>
          <p:nvSpPr>
            <p:cNvPr id="77" name="Freeform 17">
              <a:extLst>
                <a:ext uri="{FF2B5EF4-FFF2-40B4-BE49-F238E27FC236}">
                  <a16:creationId xmlns:a16="http://schemas.microsoft.com/office/drawing/2014/main" id="{E264E71D-42FD-457E-AD5A-8110637A61E0}"/>
                </a:ext>
              </a:extLst>
            </p:cNvPr>
            <p:cNvSpPr>
              <a:spLocks noEditPoints="1"/>
            </p:cNvSpPr>
            <p:nvPr/>
          </p:nvSpPr>
          <p:spPr bwMode="auto">
            <a:xfrm>
              <a:off x="3846446" y="1802882"/>
              <a:ext cx="27484" cy="7275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8" name="Freeform 18">
              <a:extLst>
                <a:ext uri="{FF2B5EF4-FFF2-40B4-BE49-F238E27FC236}">
                  <a16:creationId xmlns:a16="http://schemas.microsoft.com/office/drawing/2014/main" id="{BE038457-4A53-47A9-83E4-6C7FA1582B79}"/>
                </a:ext>
              </a:extLst>
            </p:cNvPr>
            <p:cNvSpPr>
              <a:spLocks noEditPoints="1"/>
            </p:cNvSpPr>
            <p:nvPr/>
          </p:nvSpPr>
          <p:spPr bwMode="auto">
            <a:xfrm>
              <a:off x="3889162" y="1801265"/>
              <a:ext cx="50119" cy="7598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9" name="Freeform 19">
              <a:extLst>
                <a:ext uri="{FF2B5EF4-FFF2-40B4-BE49-F238E27FC236}">
                  <a16:creationId xmlns:a16="http://schemas.microsoft.com/office/drawing/2014/main" id="{4F96CA1A-15A4-421F-9FD4-514D8CFDEF7B}"/>
                </a:ext>
              </a:extLst>
            </p:cNvPr>
            <p:cNvSpPr>
              <a:spLocks noEditPoints="1"/>
            </p:cNvSpPr>
            <p:nvPr/>
          </p:nvSpPr>
          <p:spPr bwMode="auto">
            <a:xfrm>
              <a:off x="3954512" y="1801265"/>
              <a:ext cx="50119"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0" name="Freeform 20">
              <a:extLst>
                <a:ext uri="{FF2B5EF4-FFF2-40B4-BE49-F238E27FC236}">
                  <a16:creationId xmlns:a16="http://schemas.microsoft.com/office/drawing/2014/main" id="{EB199A3C-4852-4D35-B6D5-386C1DBE6855}"/>
                </a:ext>
              </a:extLst>
            </p:cNvPr>
            <p:cNvSpPr>
              <a:spLocks noEditPoints="1"/>
            </p:cNvSpPr>
            <p:nvPr/>
          </p:nvSpPr>
          <p:spPr bwMode="auto">
            <a:xfrm>
              <a:off x="4019862" y="1802882"/>
              <a:ext cx="27484" cy="72752"/>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01" name="Freeform 16">
              <a:extLst>
                <a:ext uri="{FF2B5EF4-FFF2-40B4-BE49-F238E27FC236}">
                  <a16:creationId xmlns:a16="http://schemas.microsoft.com/office/drawing/2014/main" id="{39608C88-5015-4385-AEA3-3F1021C89DF5}"/>
                </a:ext>
              </a:extLst>
            </p:cNvPr>
            <p:cNvSpPr>
              <a:spLocks noEditPoints="1"/>
            </p:cNvSpPr>
            <p:nvPr/>
          </p:nvSpPr>
          <p:spPr bwMode="auto">
            <a:xfrm>
              <a:off x="4062578" y="1801265"/>
              <a:ext cx="51734"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02" name="Freeform 17">
              <a:extLst>
                <a:ext uri="{FF2B5EF4-FFF2-40B4-BE49-F238E27FC236}">
                  <a16:creationId xmlns:a16="http://schemas.microsoft.com/office/drawing/2014/main" id="{77B224E9-F15D-4232-80A0-CF8C7D7ABDE5}"/>
                </a:ext>
              </a:extLst>
            </p:cNvPr>
            <p:cNvSpPr>
              <a:spLocks noEditPoints="1"/>
            </p:cNvSpPr>
            <p:nvPr/>
          </p:nvSpPr>
          <p:spPr bwMode="auto">
            <a:xfrm>
              <a:off x="4129544" y="1802882"/>
              <a:ext cx="27484" cy="7275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03" name="Freeform 18">
              <a:extLst>
                <a:ext uri="{FF2B5EF4-FFF2-40B4-BE49-F238E27FC236}">
                  <a16:creationId xmlns:a16="http://schemas.microsoft.com/office/drawing/2014/main" id="{03CEB874-04C9-4636-8749-952C7308FBC8}"/>
                </a:ext>
              </a:extLst>
            </p:cNvPr>
            <p:cNvSpPr>
              <a:spLocks noEditPoints="1"/>
            </p:cNvSpPr>
            <p:nvPr/>
          </p:nvSpPr>
          <p:spPr bwMode="auto">
            <a:xfrm>
              <a:off x="4172259" y="1801265"/>
              <a:ext cx="50119" cy="7598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04" name="Freeform 19">
              <a:extLst>
                <a:ext uri="{FF2B5EF4-FFF2-40B4-BE49-F238E27FC236}">
                  <a16:creationId xmlns:a16="http://schemas.microsoft.com/office/drawing/2014/main" id="{179BB827-71B8-4BC7-ABD9-713BB8257C92}"/>
                </a:ext>
              </a:extLst>
            </p:cNvPr>
            <p:cNvSpPr>
              <a:spLocks noEditPoints="1"/>
            </p:cNvSpPr>
            <p:nvPr/>
          </p:nvSpPr>
          <p:spPr bwMode="auto">
            <a:xfrm>
              <a:off x="4237609" y="1801265"/>
              <a:ext cx="50119"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207" name="Group 206">
            <a:extLst>
              <a:ext uri="{FF2B5EF4-FFF2-40B4-BE49-F238E27FC236}">
                <a16:creationId xmlns:a16="http://schemas.microsoft.com/office/drawing/2014/main" id="{83D76E5B-7DE6-4346-B469-62F4913751FB}"/>
              </a:ext>
            </a:extLst>
          </p:cNvPr>
          <p:cNvGrpSpPr/>
          <p:nvPr/>
        </p:nvGrpSpPr>
        <p:grpSpPr>
          <a:xfrm>
            <a:off x="4154599" y="2226939"/>
            <a:ext cx="502030" cy="74369"/>
            <a:chOff x="3843042" y="2304058"/>
            <a:chExt cx="502030" cy="74369"/>
          </a:xfrm>
        </p:grpSpPr>
        <p:sp>
          <p:nvSpPr>
            <p:cNvPr id="97" name="Freeform 53">
              <a:extLst>
                <a:ext uri="{FF2B5EF4-FFF2-40B4-BE49-F238E27FC236}">
                  <a16:creationId xmlns:a16="http://schemas.microsoft.com/office/drawing/2014/main" id="{6E30311D-266C-4680-9D69-B229BE712FB0}"/>
                </a:ext>
              </a:extLst>
            </p:cNvPr>
            <p:cNvSpPr>
              <a:spLocks noEditPoints="1"/>
            </p:cNvSpPr>
            <p:nvPr/>
          </p:nvSpPr>
          <p:spPr bwMode="auto">
            <a:xfrm>
              <a:off x="3843042"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98" name="Freeform 54">
              <a:extLst>
                <a:ext uri="{FF2B5EF4-FFF2-40B4-BE49-F238E27FC236}">
                  <a16:creationId xmlns:a16="http://schemas.microsoft.com/office/drawing/2014/main" id="{3B61AD76-791A-4A05-9455-6E7A39D7F0AB}"/>
                </a:ext>
              </a:extLst>
            </p:cNvPr>
            <p:cNvSpPr>
              <a:spLocks noEditPoints="1"/>
            </p:cNvSpPr>
            <p:nvPr/>
          </p:nvSpPr>
          <p:spPr bwMode="auto">
            <a:xfrm>
              <a:off x="3904988"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99" name="Freeform 55">
              <a:extLst>
                <a:ext uri="{FF2B5EF4-FFF2-40B4-BE49-F238E27FC236}">
                  <a16:creationId xmlns:a16="http://schemas.microsoft.com/office/drawing/2014/main" id="{64EBA03F-A324-4283-A5B2-85374F00ADCE}"/>
                </a:ext>
              </a:extLst>
            </p:cNvPr>
            <p:cNvSpPr>
              <a:spLocks noEditPoints="1"/>
            </p:cNvSpPr>
            <p:nvPr/>
          </p:nvSpPr>
          <p:spPr bwMode="auto">
            <a:xfrm>
              <a:off x="3966933" y="2305675"/>
              <a:ext cx="25868" cy="7113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00" name="Freeform 56">
              <a:extLst>
                <a:ext uri="{FF2B5EF4-FFF2-40B4-BE49-F238E27FC236}">
                  <a16:creationId xmlns:a16="http://schemas.microsoft.com/office/drawing/2014/main" id="{F453885F-9DF0-4867-8248-403FE692C96F}"/>
                </a:ext>
              </a:extLst>
            </p:cNvPr>
            <p:cNvSpPr>
              <a:spLocks noEditPoints="1"/>
            </p:cNvSpPr>
            <p:nvPr/>
          </p:nvSpPr>
          <p:spPr bwMode="auto">
            <a:xfrm>
              <a:off x="4004628" y="2304058"/>
              <a:ext cx="51734"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1" name="Freeform 52">
              <a:extLst>
                <a:ext uri="{FF2B5EF4-FFF2-40B4-BE49-F238E27FC236}">
                  <a16:creationId xmlns:a16="http://schemas.microsoft.com/office/drawing/2014/main" id="{0E7F25B1-5894-43A7-B1E7-AAE7FDA6E6AF}"/>
                </a:ext>
              </a:extLst>
            </p:cNvPr>
            <p:cNvSpPr>
              <a:spLocks noEditPoints="1"/>
            </p:cNvSpPr>
            <p:nvPr/>
          </p:nvSpPr>
          <p:spPr bwMode="auto">
            <a:xfrm>
              <a:off x="4068190" y="2304058"/>
              <a:ext cx="51734" cy="74369"/>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2" name="Freeform 53">
              <a:extLst>
                <a:ext uri="{FF2B5EF4-FFF2-40B4-BE49-F238E27FC236}">
                  <a16:creationId xmlns:a16="http://schemas.microsoft.com/office/drawing/2014/main" id="{A57B850E-E501-44AB-A41B-56F03E2E7C26}"/>
                </a:ext>
              </a:extLst>
            </p:cNvPr>
            <p:cNvSpPr>
              <a:spLocks noEditPoints="1"/>
            </p:cNvSpPr>
            <p:nvPr/>
          </p:nvSpPr>
          <p:spPr bwMode="auto">
            <a:xfrm>
              <a:off x="4131752"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3" name="Freeform 54">
              <a:extLst>
                <a:ext uri="{FF2B5EF4-FFF2-40B4-BE49-F238E27FC236}">
                  <a16:creationId xmlns:a16="http://schemas.microsoft.com/office/drawing/2014/main" id="{99442E9E-4071-41D8-B6D4-E020F7C73122}"/>
                </a:ext>
              </a:extLst>
            </p:cNvPr>
            <p:cNvSpPr>
              <a:spLocks noEditPoints="1"/>
            </p:cNvSpPr>
            <p:nvPr/>
          </p:nvSpPr>
          <p:spPr bwMode="auto">
            <a:xfrm>
              <a:off x="4193698"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4" name="Freeform 55">
              <a:extLst>
                <a:ext uri="{FF2B5EF4-FFF2-40B4-BE49-F238E27FC236}">
                  <a16:creationId xmlns:a16="http://schemas.microsoft.com/office/drawing/2014/main" id="{46198DEE-0B5A-49F4-8C4B-776E2BDE2357}"/>
                </a:ext>
              </a:extLst>
            </p:cNvPr>
            <p:cNvSpPr>
              <a:spLocks noEditPoints="1"/>
            </p:cNvSpPr>
            <p:nvPr/>
          </p:nvSpPr>
          <p:spPr bwMode="auto">
            <a:xfrm>
              <a:off x="4255644" y="2305675"/>
              <a:ext cx="25868" cy="7113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5" name="Freeform 56">
              <a:extLst>
                <a:ext uri="{FF2B5EF4-FFF2-40B4-BE49-F238E27FC236}">
                  <a16:creationId xmlns:a16="http://schemas.microsoft.com/office/drawing/2014/main" id="{ECE5E096-D976-4658-8DEC-1A9DFC43A2B3}"/>
                </a:ext>
              </a:extLst>
            </p:cNvPr>
            <p:cNvSpPr>
              <a:spLocks noEditPoints="1"/>
            </p:cNvSpPr>
            <p:nvPr/>
          </p:nvSpPr>
          <p:spPr bwMode="auto">
            <a:xfrm>
              <a:off x="4293338" y="2304058"/>
              <a:ext cx="51734"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210" name="Group 209">
            <a:extLst>
              <a:ext uri="{FF2B5EF4-FFF2-40B4-BE49-F238E27FC236}">
                <a16:creationId xmlns:a16="http://schemas.microsoft.com/office/drawing/2014/main" id="{AD3101E0-9686-46A8-B699-B42AA34996A0}"/>
              </a:ext>
            </a:extLst>
          </p:cNvPr>
          <p:cNvGrpSpPr/>
          <p:nvPr/>
        </p:nvGrpSpPr>
        <p:grpSpPr>
          <a:xfrm>
            <a:off x="4099121" y="1850249"/>
            <a:ext cx="590446" cy="74369"/>
            <a:chOff x="3787564" y="1927368"/>
            <a:chExt cx="590446" cy="74369"/>
          </a:xfrm>
        </p:grpSpPr>
        <p:sp>
          <p:nvSpPr>
            <p:cNvPr id="81" name="Freeform 26">
              <a:extLst>
                <a:ext uri="{FF2B5EF4-FFF2-40B4-BE49-F238E27FC236}">
                  <a16:creationId xmlns:a16="http://schemas.microsoft.com/office/drawing/2014/main" id="{7E288766-D2D2-4855-ABC5-4C483A9CA223}"/>
                </a:ext>
              </a:extLst>
            </p:cNvPr>
            <p:cNvSpPr>
              <a:spLocks noEditPoints="1"/>
            </p:cNvSpPr>
            <p:nvPr/>
          </p:nvSpPr>
          <p:spPr bwMode="auto">
            <a:xfrm>
              <a:off x="3787564"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2" name="Freeform 27">
              <a:extLst>
                <a:ext uri="{FF2B5EF4-FFF2-40B4-BE49-F238E27FC236}">
                  <a16:creationId xmlns:a16="http://schemas.microsoft.com/office/drawing/2014/main" id="{984942D9-4D10-4A23-8437-9E95044DD62B}"/>
                </a:ext>
              </a:extLst>
            </p:cNvPr>
            <p:cNvSpPr>
              <a:spLocks noEditPoints="1"/>
            </p:cNvSpPr>
            <p:nvPr/>
          </p:nvSpPr>
          <p:spPr bwMode="auto">
            <a:xfrm>
              <a:off x="3835130"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3" name="Freeform 28">
              <a:extLst>
                <a:ext uri="{FF2B5EF4-FFF2-40B4-BE49-F238E27FC236}">
                  <a16:creationId xmlns:a16="http://schemas.microsoft.com/office/drawing/2014/main" id="{885BCCB1-8353-4E5D-A3DF-8F09A0A62CFA}"/>
                </a:ext>
              </a:extLst>
            </p:cNvPr>
            <p:cNvSpPr>
              <a:spLocks noEditPoints="1"/>
            </p:cNvSpPr>
            <p:nvPr/>
          </p:nvSpPr>
          <p:spPr bwMode="auto">
            <a:xfrm>
              <a:off x="3905330" y="1928176"/>
              <a:ext cx="27484" cy="7275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4" name="Freeform 29">
              <a:extLst>
                <a:ext uri="{FF2B5EF4-FFF2-40B4-BE49-F238E27FC236}">
                  <a16:creationId xmlns:a16="http://schemas.microsoft.com/office/drawing/2014/main" id="{3F7568DA-5EE9-4EED-9049-5D16B49447C3}"/>
                </a:ext>
              </a:extLst>
            </p:cNvPr>
            <p:cNvSpPr>
              <a:spLocks noEditPoints="1"/>
            </p:cNvSpPr>
            <p:nvPr/>
          </p:nvSpPr>
          <p:spPr bwMode="auto">
            <a:xfrm>
              <a:off x="3952896"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5" name="Freeform 30">
              <a:extLst>
                <a:ext uri="{FF2B5EF4-FFF2-40B4-BE49-F238E27FC236}">
                  <a16:creationId xmlns:a16="http://schemas.microsoft.com/office/drawing/2014/main" id="{8483D15D-0DF3-4710-8498-FEE59198E057}"/>
                </a:ext>
              </a:extLst>
            </p:cNvPr>
            <p:cNvSpPr>
              <a:spLocks noEditPoints="1"/>
            </p:cNvSpPr>
            <p:nvPr/>
          </p:nvSpPr>
          <p:spPr bwMode="auto">
            <a:xfrm>
              <a:off x="4023096" y="1928176"/>
              <a:ext cx="25868" cy="7275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06" name="Freeform 26">
              <a:extLst>
                <a:ext uri="{FF2B5EF4-FFF2-40B4-BE49-F238E27FC236}">
                  <a16:creationId xmlns:a16="http://schemas.microsoft.com/office/drawing/2014/main" id="{34665697-E534-41A8-90B5-2819846D55DA}"/>
                </a:ext>
              </a:extLst>
            </p:cNvPr>
            <p:cNvSpPr>
              <a:spLocks noEditPoints="1"/>
            </p:cNvSpPr>
            <p:nvPr/>
          </p:nvSpPr>
          <p:spPr bwMode="auto">
            <a:xfrm>
              <a:off x="4069045"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07" name="Freeform 27">
              <a:extLst>
                <a:ext uri="{FF2B5EF4-FFF2-40B4-BE49-F238E27FC236}">
                  <a16:creationId xmlns:a16="http://schemas.microsoft.com/office/drawing/2014/main" id="{DD8293A3-6418-43D3-8CB4-0373B6E2E702}"/>
                </a:ext>
              </a:extLst>
            </p:cNvPr>
            <p:cNvSpPr>
              <a:spLocks noEditPoints="1"/>
            </p:cNvSpPr>
            <p:nvPr/>
          </p:nvSpPr>
          <p:spPr bwMode="auto">
            <a:xfrm>
              <a:off x="4116611"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08" name="Freeform 28">
              <a:extLst>
                <a:ext uri="{FF2B5EF4-FFF2-40B4-BE49-F238E27FC236}">
                  <a16:creationId xmlns:a16="http://schemas.microsoft.com/office/drawing/2014/main" id="{C1D62818-4110-4050-8A7C-9BE30981E10F}"/>
                </a:ext>
              </a:extLst>
            </p:cNvPr>
            <p:cNvSpPr>
              <a:spLocks noEditPoints="1"/>
            </p:cNvSpPr>
            <p:nvPr/>
          </p:nvSpPr>
          <p:spPr bwMode="auto">
            <a:xfrm>
              <a:off x="4186811" y="1928176"/>
              <a:ext cx="27484" cy="7275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09" name="Freeform 29">
              <a:extLst>
                <a:ext uri="{FF2B5EF4-FFF2-40B4-BE49-F238E27FC236}">
                  <a16:creationId xmlns:a16="http://schemas.microsoft.com/office/drawing/2014/main" id="{13435497-3B0B-4903-ADEB-4F92333F2D5F}"/>
                </a:ext>
              </a:extLst>
            </p:cNvPr>
            <p:cNvSpPr>
              <a:spLocks noEditPoints="1"/>
            </p:cNvSpPr>
            <p:nvPr/>
          </p:nvSpPr>
          <p:spPr bwMode="auto">
            <a:xfrm>
              <a:off x="4234377"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0" name="Freeform 30">
              <a:extLst>
                <a:ext uri="{FF2B5EF4-FFF2-40B4-BE49-F238E27FC236}">
                  <a16:creationId xmlns:a16="http://schemas.microsoft.com/office/drawing/2014/main" id="{E3DBC63D-8962-4A94-965E-F5A07741E5AA}"/>
                </a:ext>
              </a:extLst>
            </p:cNvPr>
            <p:cNvSpPr>
              <a:spLocks noEditPoints="1"/>
            </p:cNvSpPr>
            <p:nvPr/>
          </p:nvSpPr>
          <p:spPr bwMode="auto">
            <a:xfrm>
              <a:off x="4304577" y="1928176"/>
              <a:ext cx="25868" cy="7275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31" name="Freeform 26">
              <a:extLst>
                <a:ext uri="{FF2B5EF4-FFF2-40B4-BE49-F238E27FC236}">
                  <a16:creationId xmlns:a16="http://schemas.microsoft.com/office/drawing/2014/main" id="{A641ECDD-FCED-4D06-B4A0-B5A08F36F472}"/>
                </a:ext>
              </a:extLst>
            </p:cNvPr>
            <p:cNvSpPr>
              <a:spLocks noEditPoints="1"/>
            </p:cNvSpPr>
            <p:nvPr/>
          </p:nvSpPr>
          <p:spPr bwMode="auto">
            <a:xfrm>
              <a:off x="4350526"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209" name="Group 208">
            <a:extLst>
              <a:ext uri="{FF2B5EF4-FFF2-40B4-BE49-F238E27FC236}">
                <a16:creationId xmlns:a16="http://schemas.microsoft.com/office/drawing/2014/main" id="{B5D8920C-90D2-4737-B85D-36E55AE3C520}"/>
              </a:ext>
            </a:extLst>
          </p:cNvPr>
          <p:cNvGrpSpPr/>
          <p:nvPr/>
        </p:nvGrpSpPr>
        <p:grpSpPr>
          <a:xfrm>
            <a:off x="4091037" y="1974734"/>
            <a:ext cx="625759" cy="75985"/>
            <a:chOff x="3779480" y="2051853"/>
            <a:chExt cx="625759" cy="75985"/>
          </a:xfrm>
        </p:grpSpPr>
        <p:sp>
          <p:nvSpPr>
            <p:cNvPr id="86" name="Freeform 35">
              <a:extLst>
                <a:ext uri="{FF2B5EF4-FFF2-40B4-BE49-F238E27FC236}">
                  <a16:creationId xmlns:a16="http://schemas.microsoft.com/office/drawing/2014/main" id="{31B20C60-3EAA-496E-837F-7096AA116E81}"/>
                </a:ext>
              </a:extLst>
            </p:cNvPr>
            <p:cNvSpPr>
              <a:spLocks noEditPoints="1"/>
            </p:cNvSpPr>
            <p:nvPr/>
          </p:nvSpPr>
          <p:spPr bwMode="auto">
            <a:xfrm>
              <a:off x="3779480"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7" name="Freeform 36">
              <a:extLst>
                <a:ext uri="{FF2B5EF4-FFF2-40B4-BE49-F238E27FC236}">
                  <a16:creationId xmlns:a16="http://schemas.microsoft.com/office/drawing/2014/main" id="{1DD3A567-E726-4F97-A4A4-22233A29E249}"/>
                </a:ext>
              </a:extLst>
            </p:cNvPr>
            <p:cNvSpPr>
              <a:spLocks noEditPoints="1"/>
            </p:cNvSpPr>
            <p:nvPr/>
          </p:nvSpPr>
          <p:spPr bwMode="auto">
            <a:xfrm>
              <a:off x="3842702" y="2051853"/>
              <a:ext cx="50119" cy="75985"/>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8" name="Freeform 37">
              <a:extLst>
                <a:ext uri="{FF2B5EF4-FFF2-40B4-BE49-F238E27FC236}">
                  <a16:creationId xmlns:a16="http://schemas.microsoft.com/office/drawing/2014/main" id="{C90248B6-D703-420F-9E6A-967A0967E6A0}"/>
                </a:ext>
              </a:extLst>
            </p:cNvPr>
            <p:cNvSpPr>
              <a:spLocks noEditPoints="1"/>
            </p:cNvSpPr>
            <p:nvPr/>
          </p:nvSpPr>
          <p:spPr bwMode="auto">
            <a:xfrm>
              <a:off x="3904308" y="2053470"/>
              <a:ext cx="27484" cy="7275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9" name="Freeform 38">
              <a:extLst>
                <a:ext uri="{FF2B5EF4-FFF2-40B4-BE49-F238E27FC236}">
                  <a16:creationId xmlns:a16="http://schemas.microsoft.com/office/drawing/2014/main" id="{617A1BC2-F7EA-4DD0-8EA9-530DD74CEE87}"/>
                </a:ext>
              </a:extLst>
            </p:cNvPr>
            <p:cNvSpPr>
              <a:spLocks noEditPoints="1"/>
            </p:cNvSpPr>
            <p:nvPr/>
          </p:nvSpPr>
          <p:spPr bwMode="auto">
            <a:xfrm>
              <a:off x="3943280" y="2051853"/>
              <a:ext cx="50119"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90" name="Freeform 39">
              <a:extLst>
                <a:ext uri="{FF2B5EF4-FFF2-40B4-BE49-F238E27FC236}">
                  <a16:creationId xmlns:a16="http://schemas.microsoft.com/office/drawing/2014/main" id="{A85050FC-8BC4-4403-A469-CA0F5A4B231A}"/>
                </a:ext>
              </a:extLst>
            </p:cNvPr>
            <p:cNvSpPr>
              <a:spLocks noEditPoints="1"/>
            </p:cNvSpPr>
            <p:nvPr/>
          </p:nvSpPr>
          <p:spPr bwMode="auto">
            <a:xfrm>
              <a:off x="4004886" y="2051853"/>
              <a:ext cx="50119" cy="75985"/>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1" name="Freeform 35">
              <a:extLst>
                <a:ext uri="{FF2B5EF4-FFF2-40B4-BE49-F238E27FC236}">
                  <a16:creationId xmlns:a16="http://schemas.microsoft.com/office/drawing/2014/main" id="{A2E694C5-EA98-43E8-AD71-6A0A9B2558C9}"/>
                </a:ext>
              </a:extLst>
            </p:cNvPr>
            <p:cNvSpPr>
              <a:spLocks noEditPoints="1"/>
            </p:cNvSpPr>
            <p:nvPr/>
          </p:nvSpPr>
          <p:spPr bwMode="auto">
            <a:xfrm>
              <a:off x="4066493"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2" name="Freeform 36">
              <a:extLst>
                <a:ext uri="{FF2B5EF4-FFF2-40B4-BE49-F238E27FC236}">
                  <a16:creationId xmlns:a16="http://schemas.microsoft.com/office/drawing/2014/main" id="{BDED544F-477E-481B-B152-FFF886EAAFB7}"/>
                </a:ext>
              </a:extLst>
            </p:cNvPr>
            <p:cNvSpPr>
              <a:spLocks noEditPoints="1"/>
            </p:cNvSpPr>
            <p:nvPr/>
          </p:nvSpPr>
          <p:spPr bwMode="auto">
            <a:xfrm>
              <a:off x="4129714" y="2051853"/>
              <a:ext cx="50119" cy="75985"/>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3" name="Freeform 37">
              <a:extLst>
                <a:ext uri="{FF2B5EF4-FFF2-40B4-BE49-F238E27FC236}">
                  <a16:creationId xmlns:a16="http://schemas.microsoft.com/office/drawing/2014/main" id="{A6C24D8D-7685-479F-92F9-FDB20E3C12D5}"/>
                </a:ext>
              </a:extLst>
            </p:cNvPr>
            <p:cNvSpPr>
              <a:spLocks noEditPoints="1"/>
            </p:cNvSpPr>
            <p:nvPr/>
          </p:nvSpPr>
          <p:spPr bwMode="auto">
            <a:xfrm>
              <a:off x="4191321" y="2053470"/>
              <a:ext cx="27484" cy="7275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4" name="Freeform 38">
              <a:extLst>
                <a:ext uri="{FF2B5EF4-FFF2-40B4-BE49-F238E27FC236}">
                  <a16:creationId xmlns:a16="http://schemas.microsoft.com/office/drawing/2014/main" id="{B0AF0AB1-0FCC-4E11-A081-01C7EF99EB06}"/>
                </a:ext>
              </a:extLst>
            </p:cNvPr>
            <p:cNvSpPr>
              <a:spLocks noEditPoints="1"/>
            </p:cNvSpPr>
            <p:nvPr/>
          </p:nvSpPr>
          <p:spPr bwMode="auto">
            <a:xfrm>
              <a:off x="4230293" y="2051853"/>
              <a:ext cx="50119"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5" name="Freeform 39">
              <a:extLst>
                <a:ext uri="{FF2B5EF4-FFF2-40B4-BE49-F238E27FC236}">
                  <a16:creationId xmlns:a16="http://schemas.microsoft.com/office/drawing/2014/main" id="{E853237C-6361-4007-B944-08B09F2B7395}"/>
                </a:ext>
              </a:extLst>
            </p:cNvPr>
            <p:cNvSpPr>
              <a:spLocks noEditPoints="1"/>
            </p:cNvSpPr>
            <p:nvPr/>
          </p:nvSpPr>
          <p:spPr bwMode="auto">
            <a:xfrm>
              <a:off x="4291899" y="2051853"/>
              <a:ext cx="50119" cy="75985"/>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36" name="Freeform 35">
              <a:extLst>
                <a:ext uri="{FF2B5EF4-FFF2-40B4-BE49-F238E27FC236}">
                  <a16:creationId xmlns:a16="http://schemas.microsoft.com/office/drawing/2014/main" id="{BDF03227-F047-4234-A0EA-9C90CAF680BD}"/>
                </a:ext>
              </a:extLst>
            </p:cNvPr>
            <p:cNvSpPr>
              <a:spLocks noEditPoints="1"/>
            </p:cNvSpPr>
            <p:nvPr/>
          </p:nvSpPr>
          <p:spPr bwMode="auto">
            <a:xfrm>
              <a:off x="4353505"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208" name="Group 207">
            <a:extLst>
              <a:ext uri="{FF2B5EF4-FFF2-40B4-BE49-F238E27FC236}">
                <a16:creationId xmlns:a16="http://schemas.microsoft.com/office/drawing/2014/main" id="{5AC4891F-0FD7-4367-AF96-9FB28120FC37}"/>
              </a:ext>
            </a:extLst>
          </p:cNvPr>
          <p:cNvGrpSpPr/>
          <p:nvPr/>
        </p:nvGrpSpPr>
        <p:grpSpPr>
          <a:xfrm>
            <a:off x="4091037" y="2100837"/>
            <a:ext cx="626432" cy="74369"/>
            <a:chOff x="3779480" y="2177956"/>
            <a:chExt cx="626432" cy="74369"/>
          </a:xfrm>
        </p:grpSpPr>
        <p:sp>
          <p:nvSpPr>
            <p:cNvPr id="91" name="Freeform 42">
              <a:extLst>
                <a:ext uri="{FF2B5EF4-FFF2-40B4-BE49-F238E27FC236}">
                  <a16:creationId xmlns:a16="http://schemas.microsoft.com/office/drawing/2014/main" id="{08F30C0D-9C5F-4F39-9E25-520721854EEA}"/>
                </a:ext>
              </a:extLst>
            </p:cNvPr>
            <p:cNvSpPr>
              <a:spLocks noEditPoints="1"/>
            </p:cNvSpPr>
            <p:nvPr/>
          </p:nvSpPr>
          <p:spPr bwMode="auto">
            <a:xfrm>
              <a:off x="3779480"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92" name="Freeform 43">
              <a:extLst>
                <a:ext uri="{FF2B5EF4-FFF2-40B4-BE49-F238E27FC236}">
                  <a16:creationId xmlns:a16="http://schemas.microsoft.com/office/drawing/2014/main" id="{DB695416-F7DC-4506-AF71-82048426006F}"/>
                </a:ext>
              </a:extLst>
            </p:cNvPr>
            <p:cNvSpPr>
              <a:spLocks noEditPoints="1"/>
            </p:cNvSpPr>
            <p:nvPr/>
          </p:nvSpPr>
          <p:spPr bwMode="auto">
            <a:xfrm>
              <a:off x="3847296" y="2177956"/>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93" name="Freeform 44">
              <a:extLst>
                <a:ext uri="{FF2B5EF4-FFF2-40B4-BE49-F238E27FC236}">
                  <a16:creationId xmlns:a16="http://schemas.microsoft.com/office/drawing/2014/main" id="{32A6210C-F6EF-4F3E-A7B4-324B8A6C1AC3}"/>
                </a:ext>
              </a:extLst>
            </p:cNvPr>
            <p:cNvSpPr>
              <a:spLocks noEditPoints="1"/>
            </p:cNvSpPr>
            <p:nvPr/>
          </p:nvSpPr>
          <p:spPr bwMode="auto">
            <a:xfrm>
              <a:off x="3913497" y="2178765"/>
              <a:ext cx="27484" cy="7275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94" name="Freeform 45">
              <a:extLst>
                <a:ext uri="{FF2B5EF4-FFF2-40B4-BE49-F238E27FC236}">
                  <a16:creationId xmlns:a16="http://schemas.microsoft.com/office/drawing/2014/main" id="{933547D4-088A-4C5D-879A-9EE6004988F6}"/>
                </a:ext>
              </a:extLst>
            </p:cNvPr>
            <p:cNvSpPr>
              <a:spLocks noEditPoints="1"/>
            </p:cNvSpPr>
            <p:nvPr/>
          </p:nvSpPr>
          <p:spPr bwMode="auto">
            <a:xfrm>
              <a:off x="3957063" y="2178765"/>
              <a:ext cx="27484" cy="7275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95" name="Freeform 46">
              <a:extLst>
                <a:ext uri="{FF2B5EF4-FFF2-40B4-BE49-F238E27FC236}">
                  <a16:creationId xmlns:a16="http://schemas.microsoft.com/office/drawing/2014/main" id="{0E3515A9-6AAF-4E05-9224-560EE16A5A36}"/>
                </a:ext>
              </a:extLst>
            </p:cNvPr>
            <p:cNvSpPr>
              <a:spLocks noEditPoints="1"/>
            </p:cNvSpPr>
            <p:nvPr/>
          </p:nvSpPr>
          <p:spPr bwMode="auto">
            <a:xfrm>
              <a:off x="4000629" y="2177956"/>
              <a:ext cx="50119" cy="74369"/>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6" name="Freeform 42">
              <a:extLst>
                <a:ext uri="{FF2B5EF4-FFF2-40B4-BE49-F238E27FC236}">
                  <a16:creationId xmlns:a16="http://schemas.microsoft.com/office/drawing/2014/main" id="{8C7A50E9-9204-4834-ADAB-800EEE9D30EA}"/>
                </a:ext>
              </a:extLst>
            </p:cNvPr>
            <p:cNvSpPr>
              <a:spLocks noEditPoints="1"/>
            </p:cNvSpPr>
            <p:nvPr/>
          </p:nvSpPr>
          <p:spPr bwMode="auto">
            <a:xfrm>
              <a:off x="4066829"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7" name="Freeform 43">
              <a:extLst>
                <a:ext uri="{FF2B5EF4-FFF2-40B4-BE49-F238E27FC236}">
                  <a16:creationId xmlns:a16="http://schemas.microsoft.com/office/drawing/2014/main" id="{972DD7E6-7187-4349-AC7B-1819412E49F1}"/>
                </a:ext>
              </a:extLst>
            </p:cNvPr>
            <p:cNvSpPr>
              <a:spLocks noEditPoints="1"/>
            </p:cNvSpPr>
            <p:nvPr/>
          </p:nvSpPr>
          <p:spPr bwMode="auto">
            <a:xfrm>
              <a:off x="4134645" y="2177956"/>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8" name="Freeform 44">
              <a:extLst>
                <a:ext uri="{FF2B5EF4-FFF2-40B4-BE49-F238E27FC236}">
                  <a16:creationId xmlns:a16="http://schemas.microsoft.com/office/drawing/2014/main" id="{8BFDDDE0-4145-4E1D-B956-99F512A04353}"/>
                </a:ext>
              </a:extLst>
            </p:cNvPr>
            <p:cNvSpPr>
              <a:spLocks noEditPoints="1"/>
            </p:cNvSpPr>
            <p:nvPr/>
          </p:nvSpPr>
          <p:spPr bwMode="auto">
            <a:xfrm>
              <a:off x="4200846" y="2178765"/>
              <a:ext cx="27484" cy="7275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9" name="Freeform 45">
              <a:extLst>
                <a:ext uri="{FF2B5EF4-FFF2-40B4-BE49-F238E27FC236}">
                  <a16:creationId xmlns:a16="http://schemas.microsoft.com/office/drawing/2014/main" id="{FA1CF4B5-D504-4BC0-A8D6-42FEB4930D64}"/>
                </a:ext>
              </a:extLst>
            </p:cNvPr>
            <p:cNvSpPr>
              <a:spLocks noEditPoints="1"/>
            </p:cNvSpPr>
            <p:nvPr/>
          </p:nvSpPr>
          <p:spPr bwMode="auto">
            <a:xfrm>
              <a:off x="4244412" y="2178765"/>
              <a:ext cx="27484" cy="7275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0" name="Freeform 46">
              <a:extLst>
                <a:ext uri="{FF2B5EF4-FFF2-40B4-BE49-F238E27FC236}">
                  <a16:creationId xmlns:a16="http://schemas.microsoft.com/office/drawing/2014/main" id="{2663D8F3-C367-489B-8A2D-B8947F4D6552}"/>
                </a:ext>
              </a:extLst>
            </p:cNvPr>
            <p:cNvSpPr>
              <a:spLocks noEditPoints="1"/>
            </p:cNvSpPr>
            <p:nvPr/>
          </p:nvSpPr>
          <p:spPr bwMode="auto">
            <a:xfrm>
              <a:off x="4287978" y="2177956"/>
              <a:ext cx="50119" cy="74369"/>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41" name="Freeform 42">
              <a:extLst>
                <a:ext uri="{FF2B5EF4-FFF2-40B4-BE49-F238E27FC236}">
                  <a16:creationId xmlns:a16="http://schemas.microsoft.com/office/drawing/2014/main" id="{0BD5BC4B-2192-4D17-8110-085F26CB07A4}"/>
                </a:ext>
              </a:extLst>
            </p:cNvPr>
            <p:cNvSpPr>
              <a:spLocks noEditPoints="1"/>
            </p:cNvSpPr>
            <p:nvPr/>
          </p:nvSpPr>
          <p:spPr bwMode="auto">
            <a:xfrm>
              <a:off x="4354178"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31" name="Group 221"/>
          <p:cNvGrpSpPr>
            <a:grpSpLocks noChangeAspect="1"/>
          </p:cNvGrpSpPr>
          <p:nvPr/>
        </p:nvGrpSpPr>
        <p:grpSpPr bwMode="auto">
          <a:xfrm>
            <a:off x="4150262" y="1870768"/>
            <a:ext cx="495216" cy="283918"/>
            <a:chOff x="2049" y="1143"/>
            <a:chExt cx="1664" cy="954"/>
          </a:xfrm>
          <a:solidFill>
            <a:srgbClr val="005073"/>
          </a:solidFill>
        </p:grpSpPr>
        <p:sp>
          <p:nvSpPr>
            <p:cNvPr id="32" name="Freeform 222"/>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sp>
          <p:nvSpPr>
            <p:cNvPr id="33" name="Freeform 223"/>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sp>
          <p:nvSpPr>
            <p:cNvPr id="34" name="Freeform 224"/>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grpSp>
      <p:sp>
        <p:nvSpPr>
          <p:cNvPr id="212" name="Circle: Hollow 211">
            <a:extLst>
              <a:ext uri="{FF2B5EF4-FFF2-40B4-BE49-F238E27FC236}">
                <a16:creationId xmlns:a16="http://schemas.microsoft.com/office/drawing/2014/main" id="{5891F5FA-312B-4DC9-AB2E-3E6EC7399D83}"/>
              </a:ext>
            </a:extLst>
          </p:cNvPr>
          <p:cNvSpPr/>
          <p:nvPr/>
        </p:nvSpPr>
        <p:spPr>
          <a:xfrm>
            <a:off x="4013518" y="1631900"/>
            <a:ext cx="761650" cy="761650"/>
          </a:xfrm>
          <a:prstGeom prst="donut">
            <a:avLst>
              <a:gd name="adj" fmla="val 827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51" name="Group 50"/>
          <p:cNvGrpSpPr>
            <a:grpSpLocks noChangeAspect="1"/>
          </p:cNvGrpSpPr>
          <p:nvPr/>
        </p:nvGrpSpPr>
        <p:grpSpPr>
          <a:xfrm>
            <a:off x="5970116" y="1310191"/>
            <a:ext cx="640080" cy="640080"/>
            <a:chOff x="4247689" y="3669562"/>
            <a:chExt cx="548640" cy="548640"/>
          </a:xfrm>
        </p:grpSpPr>
        <p:sp>
          <p:nvSpPr>
            <p:cNvPr id="52" name="Oval 51"/>
            <p:cNvSpPr/>
            <p:nvPr/>
          </p:nvSpPr>
          <p:spPr>
            <a:xfrm>
              <a:off x="4247689" y="3669562"/>
              <a:ext cx="548640" cy="548640"/>
            </a:xfrm>
            <a:prstGeom prst="ellipse">
              <a:avLst/>
            </a:prstGeom>
            <a:solidFill>
              <a:schemeClr val="bg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grpSp>
          <p:nvGrpSpPr>
            <p:cNvPr id="53" name="Group 52"/>
            <p:cNvGrpSpPr/>
            <p:nvPr/>
          </p:nvGrpSpPr>
          <p:grpSpPr>
            <a:xfrm>
              <a:off x="4416801" y="3752252"/>
              <a:ext cx="209312" cy="383266"/>
              <a:chOff x="4457929" y="4607371"/>
              <a:chExt cx="234950" cy="430212"/>
            </a:xfrm>
          </p:grpSpPr>
          <p:sp>
            <p:nvSpPr>
              <p:cNvPr id="54" name="Freeform 53"/>
              <p:cNvSpPr>
                <a:spLocks/>
              </p:cNvSpPr>
              <p:nvPr/>
            </p:nvSpPr>
            <p:spPr bwMode="auto">
              <a:xfrm>
                <a:off x="4457929" y="4607371"/>
                <a:ext cx="234950"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a typeface="Apple LiGothic Medium"/>
                  <a:cs typeface="Apple LiGothic Medium"/>
                </a:endParaRPr>
              </a:p>
            </p:txBody>
          </p:sp>
          <p:sp>
            <p:nvSpPr>
              <p:cNvPr id="55" name="Line 208"/>
              <p:cNvSpPr>
                <a:spLocks noChangeShapeType="1"/>
              </p:cNvSpPr>
              <p:nvPr/>
            </p:nvSpPr>
            <p:spPr bwMode="auto">
              <a:xfrm>
                <a:off x="4516667" y="46772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a typeface="Apple LiGothic Medium"/>
                  <a:cs typeface="Apple LiGothic Medium"/>
                </a:endParaRPr>
              </a:p>
            </p:txBody>
          </p:sp>
          <p:sp>
            <p:nvSpPr>
              <p:cNvPr id="56" name="Line 209"/>
              <p:cNvSpPr>
                <a:spLocks noChangeShapeType="1"/>
              </p:cNvSpPr>
              <p:nvPr/>
            </p:nvSpPr>
            <p:spPr bwMode="auto">
              <a:xfrm>
                <a:off x="4516667" y="4745483"/>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a typeface="Apple LiGothic Medium"/>
                  <a:cs typeface="Apple LiGothic Medium"/>
                </a:endParaRPr>
              </a:p>
            </p:txBody>
          </p:sp>
          <p:sp>
            <p:nvSpPr>
              <p:cNvPr id="57" name="Line 210"/>
              <p:cNvSpPr>
                <a:spLocks noChangeShapeType="1"/>
              </p:cNvSpPr>
              <p:nvPr/>
            </p:nvSpPr>
            <p:spPr bwMode="auto">
              <a:xfrm>
                <a:off x="4516667" y="48169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a typeface="Apple LiGothic Medium"/>
                  <a:cs typeface="Apple LiGothic Medium"/>
                </a:endParaRPr>
              </a:p>
            </p:txBody>
          </p:sp>
          <p:sp>
            <p:nvSpPr>
              <p:cNvPr id="58" name="Line 211"/>
              <p:cNvSpPr>
                <a:spLocks noChangeShapeType="1"/>
              </p:cNvSpPr>
              <p:nvPr/>
            </p:nvSpPr>
            <p:spPr bwMode="auto">
              <a:xfrm>
                <a:off x="4516667" y="488677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a typeface="Apple LiGothic Medium"/>
                  <a:cs typeface="Apple LiGothic Medium"/>
                </a:endParaRPr>
              </a:p>
            </p:txBody>
          </p:sp>
        </p:grpSp>
      </p:grpSp>
      <p:cxnSp>
        <p:nvCxnSpPr>
          <p:cNvPr id="223" name="Straight Arrow Connector 222">
            <a:extLst>
              <a:ext uri="{FF2B5EF4-FFF2-40B4-BE49-F238E27FC236}">
                <a16:creationId xmlns:a16="http://schemas.microsoft.com/office/drawing/2014/main" id="{ECACE3B4-1936-4004-A93E-924AF6141E6C}"/>
              </a:ext>
            </a:extLst>
          </p:cNvPr>
          <p:cNvCxnSpPr>
            <a:cxnSpLocks/>
          </p:cNvCxnSpPr>
          <p:nvPr/>
        </p:nvCxnSpPr>
        <p:spPr>
          <a:xfrm>
            <a:off x="4331419" y="3638481"/>
            <a:ext cx="1638697" cy="0"/>
          </a:xfrm>
          <a:prstGeom prst="straightConnector1">
            <a:avLst/>
          </a:prstGeom>
          <a:ln w="9525">
            <a:solidFill>
              <a:schemeClr val="accent5"/>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224" name="Straight Arrow Connector 223">
            <a:extLst>
              <a:ext uri="{FF2B5EF4-FFF2-40B4-BE49-F238E27FC236}">
                <a16:creationId xmlns:a16="http://schemas.microsoft.com/office/drawing/2014/main" id="{F97C6A3A-24F6-46CD-8A19-01A07E34BCBF}"/>
              </a:ext>
            </a:extLst>
          </p:cNvPr>
          <p:cNvCxnSpPr>
            <a:cxnSpLocks/>
          </p:cNvCxnSpPr>
          <p:nvPr/>
        </p:nvCxnSpPr>
        <p:spPr>
          <a:xfrm>
            <a:off x="4358903" y="3937496"/>
            <a:ext cx="2089976" cy="0"/>
          </a:xfrm>
          <a:prstGeom prst="straightConnector1">
            <a:avLst/>
          </a:prstGeom>
          <a:ln w="9525">
            <a:solidFill>
              <a:schemeClr val="accent5"/>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301" name="Oval 300">
            <a:extLst>
              <a:ext uri="{FF2B5EF4-FFF2-40B4-BE49-F238E27FC236}">
                <a16:creationId xmlns:a16="http://schemas.microsoft.com/office/drawing/2014/main" id="{8613E141-0651-40C2-B5F2-D6CFFA3EF35D}"/>
              </a:ext>
            </a:extLst>
          </p:cNvPr>
          <p:cNvSpPr/>
          <p:nvPr/>
        </p:nvSpPr>
        <p:spPr>
          <a:xfrm>
            <a:off x="6468221" y="3846603"/>
            <a:ext cx="639975" cy="640080"/>
          </a:xfrm>
          <a:prstGeom prst="ellipse">
            <a:avLst/>
          </a:prstGeom>
          <a:solidFill>
            <a:schemeClr val="bg1"/>
          </a:solidFill>
          <a:ln w="25400" cap="flat" cmpd="sng" algn="ctr">
            <a:noFill/>
            <a:prstDash val="solid"/>
          </a:ln>
          <a:effectLst/>
        </p:spPr>
        <p:txBody>
          <a:bodyPr rot="0" spcFirstLastPara="0" vertOverflow="overflow" horzOverflow="overflow" vert="horz" wrap="square" lIns="457200" tIns="45720" rIns="457200" bIns="45720" numCol="1" spcCol="0" rtlCol="0" fromWordArt="0" anchor="ctr" anchorCtr="1" forceAA="0" compatLnSpc="1">
            <a:prstTxWarp prst="textNoShape">
              <a:avLst/>
            </a:prstTxWarp>
            <a:noAutofit/>
          </a:bodyPr>
          <a:lstStyle/>
          <a:p>
            <a:pPr marL="0" marR="0" lvl="0" indent="0" algn="ctr" defTabSz="685813" rtl="0" eaLnBrk="1" fontAlgn="auto" latinLnBrk="0" hangingPunct="1">
              <a:lnSpc>
                <a:spcPct val="100000"/>
              </a:lnSpc>
              <a:spcBef>
                <a:spcPts val="0"/>
              </a:spcBef>
              <a:spcAft>
                <a:spcPts val="0"/>
              </a:spcAft>
              <a:buClrTx/>
              <a:buSzTx/>
              <a:buFontTx/>
              <a:buNone/>
              <a:tabLst/>
              <a:defRPr/>
            </a:pPr>
            <a:endParaRPr kumimoji="0" lang="en-US" sz="2100" b="1"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grpSp>
        <p:nvGrpSpPr>
          <p:cNvPr id="302" name="Group 301">
            <a:extLst>
              <a:ext uri="{FF2B5EF4-FFF2-40B4-BE49-F238E27FC236}">
                <a16:creationId xmlns:a16="http://schemas.microsoft.com/office/drawing/2014/main" id="{BECB64AF-BFCF-410B-9C3E-F040C8C8FDC8}"/>
              </a:ext>
            </a:extLst>
          </p:cNvPr>
          <p:cNvGrpSpPr/>
          <p:nvPr/>
        </p:nvGrpSpPr>
        <p:grpSpPr>
          <a:xfrm>
            <a:off x="6551868" y="3878064"/>
            <a:ext cx="441282" cy="75985"/>
            <a:chOff x="3846446" y="1801265"/>
            <a:chExt cx="441282" cy="75985"/>
          </a:xfrm>
        </p:grpSpPr>
        <p:sp>
          <p:nvSpPr>
            <p:cNvPr id="303" name="Freeform 17">
              <a:extLst>
                <a:ext uri="{FF2B5EF4-FFF2-40B4-BE49-F238E27FC236}">
                  <a16:creationId xmlns:a16="http://schemas.microsoft.com/office/drawing/2014/main" id="{8EE01A64-1AEC-41D9-98E9-FB846740802C}"/>
                </a:ext>
              </a:extLst>
            </p:cNvPr>
            <p:cNvSpPr>
              <a:spLocks noEditPoints="1"/>
            </p:cNvSpPr>
            <p:nvPr/>
          </p:nvSpPr>
          <p:spPr bwMode="auto">
            <a:xfrm>
              <a:off x="3846446" y="1802882"/>
              <a:ext cx="27484" cy="7275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04" name="Freeform 18">
              <a:extLst>
                <a:ext uri="{FF2B5EF4-FFF2-40B4-BE49-F238E27FC236}">
                  <a16:creationId xmlns:a16="http://schemas.microsoft.com/office/drawing/2014/main" id="{C1C1F905-4689-436D-9F8A-DCD0AB18BAFB}"/>
                </a:ext>
              </a:extLst>
            </p:cNvPr>
            <p:cNvSpPr>
              <a:spLocks noEditPoints="1"/>
            </p:cNvSpPr>
            <p:nvPr/>
          </p:nvSpPr>
          <p:spPr bwMode="auto">
            <a:xfrm>
              <a:off x="3889162" y="1801265"/>
              <a:ext cx="50119" cy="7598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05" name="Freeform 19">
              <a:extLst>
                <a:ext uri="{FF2B5EF4-FFF2-40B4-BE49-F238E27FC236}">
                  <a16:creationId xmlns:a16="http://schemas.microsoft.com/office/drawing/2014/main" id="{A2528974-75E4-4C3C-B5ED-B21E7E3ADF1D}"/>
                </a:ext>
              </a:extLst>
            </p:cNvPr>
            <p:cNvSpPr>
              <a:spLocks noEditPoints="1"/>
            </p:cNvSpPr>
            <p:nvPr/>
          </p:nvSpPr>
          <p:spPr bwMode="auto">
            <a:xfrm>
              <a:off x="3954512" y="1801265"/>
              <a:ext cx="50119"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06" name="Freeform 20">
              <a:extLst>
                <a:ext uri="{FF2B5EF4-FFF2-40B4-BE49-F238E27FC236}">
                  <a16:creationId xmlns:a16="http://schemas.microsoft.com/office/drawing/2014/main" id="{D3580E49-07BD-4517-8918-D59677F9AF66}"/>
                </a:ext>
              </a:extLst>
            </p:cNvPr>
            <p:cNvSpPr>
              <a:spLocks noEditPoints="1"/>
            </p:cNvSpPr>
            <p:nvPr/>
          </p:nvSpPr>
          <p:spPr bwMode="auto">
            <a:xfrm>
              <a:off x="4019862" y="1802882"/>
              <a:ext cx="27484" cy="72752"/>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07" name="Freeform 16">
              <a:extLst>
                <a:ext uri="{FF2B5EF4-FFF2-40B4-BE49-F238E27FC236}">
                  <a16:creationId xmlns:a16="http://schemas.microsoft.com/office/drawing/2014/main" id="{58AA717A-17CB-4FA1-B03E-8C2DE33E1B0A}"/>
                </a:ext>
              </a:extLst>
            </p:cNvPr>
            <p:cNvSpPr>
              <a:spLocks noEditPoints="1"/>
            </p:cNvSpPr>
            <p:nvPr/>
          </p:nvSpPr>
          <p:spPr bwMode="auto">
            <a:xfrm>
              <a:off x="4062578" y="1801265"/>
              <a:ext cx="51734"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08" name="Freeform 17">
              <a:extLst>
                <a:ext uri="{FF2B5EF4-FFF2-40B4-BE49-F238E27FC236}">
                  <a16:creationId xmlns:a16="http://schemas.microsoft.com/office/drawing/2014/main" id="{54AE5C3F-FE8B-4AA1-A1E9-6EA4E4235CAB}"/>
                </a:ext>
              </a:extLst>
            </p:cNvPr>
            <p:cNvSpPr>
              <a:spLocks noEditPoints="1"/>
            </p:cNvSpPr>
            <p:nvPr/>
          </p:nvSpPr>
          <p:spPr bwMode="auto">
            <a:xfrm>
              <a:off x="4129544" y="1802882"/>
              <a:ext cx="27484" cy="7275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09" name="Freeform 18">
              <a:extLst>
                <a:ext uri="{FF2B5EF4-FFF2-40B4-BE49-F238E27FC236}">
                  <a16:creationId xmlns:a16="http://schemas.microsoft.com/office/drawing/2014/main" id="{91822E1B-99D9-40A3-936C-4921F7D4523D}"/>
                </a:ext>
              </a:extLst>
            </p:cNvPr>
            <p:cNvSpPr>
              <a:spLocks noEditPoints="1"/>
            </p:cNvSpPr>
            <p:nvPr/>
          </p:nvSpPr>
          <p:spPr bwMode="auto">
            <a:xfrm>
              <a:off x="4172259" y="1801265"/>
              <a:ext cx="50119" cy="7598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10" name="Freeform 19">
              <a:extLst>
                <a:ext uri="{FF2B5EF4-FFF2-40B4-BE49-F238E27FC236}">
                  <a16:creationId xmlns:a16="http://schemas.microsoft.com/office/drawing/2014/main" id="{9903257B-F8BA-49E4-AB18-4D976897A797}"/>
                </a:ext>
              </a:extLst>
            </p:cNvPr>
            <p:cNvSpPr>
              <a:spLocks noEditPoints="1"/>
            </p:cNvSpPr>
            <p:nvPr/>
          </p:nvSpPr>
          <p:spPr bwMode="auto">
            <a:xfrm>
              <a:off x="4237609" y="1801265"/>
              <a:ext cx="50119"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311" name="Group 310">
            <a:extLst>
              <a:ext uri="{FF2B5EF4-FFF2-40B4-BE49-F238E27FC236}">
                <a16:creationId xmlns:a16="http://schemas.microsoft.com/office/drawing/2014/main" id="{B806FF74-631F-4899-8E16-1D46254DD032}"/>
              </a:ext>
            </a:extLst>
          </p:cNvPr>
          <p:cNvGrpSpPr/>
          <p:nvPr/>
        </p:nvGrpSpPr>
        <p:grpSpPr>
          <a:xfrm>
            <a:off x="6548464" y="4380857"/>
            <a:ext cx="502030" cy="74369"/>
            <a:chOff x="3843042" y="2304058"/>
            <a:chExt cx="502030" cy="74369"/>
          </a:xfrm>
        </p:grpSpPr>
        <p:sp>
          <p:nvSpPr>
            <p:cNvPr id="312" name="Freeform 53">
              <a:extLst>
                <a:ext uri="{FF2B5EF4-FFF2-40B4-BE49-F238E27FC236}">
                  <a16:creationId xmlns:a16="http://schemas.microsoft.com/office/drawing/2014/main" id="{79739981-2273-451C-9E26-5927A72CCACF}"/>
                </a:ext>
              </a:extLst>
            </p:cNvPr>
            <p:cNvSpPr>
              <a:spLocks noEditPoints="1"/>
            </p:cNvSpPr>
            <p:nvPr/>
          </p:nvSpPr>
          <p:spPr bwMode="auto">
            <a:xfrm>
              <a:off x="3843042"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13" name="Freeform 54">
              <a:extLst>
                <a:ext uri="{FF2B5EF4-FFF2-40B4-BE49-F238E27FC236}">
                  <a16:creationId xmlns:a16="http://schemas.microsoft.com/office/drawing/2014/main" id="{70A2B8DB-9D38-428D-A7AD-178266CEC536}"/>
                </a:ext>
              </a:extLst>
            </p:cNvPr>
            <p:cNvSpPr>
              <a:spLocks noEditPoints="1"/>
            </p:cNvSpPr>
            <p:nvPr/>
          </p:nvSpPr>
          <p:spPr bwMode="auto">
            <a:xfrm>
              <a:off x="3904988"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14" name="Freeform 55">
              <a:extLst>
                <a:ext uri="{FF2B5EF4-FFF2-40B4-BE49-F238E27FC236}">
                  <a16:creationId xmlns:a16="http://schemas.microsoft.com/office/drawing/2014/main" id="{D834FC51-610D-41A1-AC1C-E51F9A80DCA8}"/>
                </a:ext>
              </a:extLst>
            </p:cNvPr>
            <p:cNvSpPr>
              <a:spLocks noEditPoints="1"/>
            </p:cNvSpPr>
            <p:nvPr/>
          </p:nvSpPr>
          <p:spPr bwMode="auto">
            <a:xfrm>
              <a:off x="3966933" y="2305675"/>
              <a:ext cx="25868" cy="7113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15" name="Freeform 56">
              <a:extLst>
                <a:ext uri="{FF2B5EF4-FFF2-40B4-BE49-F238E27FC236}">
                  <a16:creationId xmlns:a16="http://schemas.microsoft.com/office/drawing/2014/main" id="{A1A1524A-BF3F-4B9D-9566-6B02254CDD48}"/>
                </a:ext>
              </a:extLst>
            </p:cNvPr>
            <p:cNvSpPr>
              <a:spLocks noEditPoints="1"/>
            </p:cNvSpPr>
            <p:nvPr/>
          </p:nvSpPr>
          <p:spPr bwMode="auto">
            <a:xfrm>
              <a:off x="4004628" y="2304058"/>
              <a:ext cx="51734"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16" name="Freeform 52">
              <a:extLst>
                <a:ext uri="{FF2B5EF4-FFF2-40B4-BE49-F238E27FC236}">
                  <a16:creationId xmlns:a16="http://schemas.microsoft.com/office/drawing/2014/main" id="{D121CE1C-D056-4EB8-AF69-DEF955B7649A}"/>
                </a:ext>
              </a:extLst>
            </p:cNvPr>
            <p:cNvSpPr>
              <a:spLocks noEditPoints="1"/>
            </p:cNvSpPr>
            <p:nvPr/>
          </p:nvSpPr>
          <p:spPr bwMode="auto">
            <a:xfrm>
              <a:off x="4068190" y="2304058"/>
              <a:ext cx="51734" cy="74369"/>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17" name="Freeform 53">
              <a:extLst>
                <a:ext uri="{FF2B5EF4-FFF2-40B4-BE49-F238E27FC236}">
                  <a16:creationId xmlns:a16="http://schemas.microsoft.com/office/drawing/2014/main" id="{4E32242F-BC52-4BE9-AB0B-7E7310560AB7}"/>
                </a:ext>
              </a:extLst>
            </p:cNvPr>
            <p:cNvSpPr>
              <a:spLocks noEditPoints="1"/>
            </p:cNvSpPr>
            <p:nvPr/>
          </p:nvSpPr>
          <p:spPr bwMode="auto">
            <a:xfrm>
              <a:off x="4131752"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18" name="Freeform 54">
              <a:extLst>
                <a:ext uri="{FF2B5EF4-FFF2-40B4-BE49-F238E27FC236}">
                  <a16:creationId xmlns:a16="http://schemas.microsoft.com/office/drawing/2014/main" id="{51646710-9133-4FF9-8048-1DF51F3669AC}"/>
                </a:ext>
              </a:extLst>
            </p:cNvPr>
            <p:cNvSpPr>
              <a:spLocks noEditPoints="1"/>
            </p:cNvSpPr>
            <p:nvPr/>
          </p:nvSpPr>
          <p:spPr bwMode="auto">
            <a:xfrm>
              <a:off x="4193698"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19" name="Freeform 55">
              <a:extLst>
                <a:ext uri="{FF2B5EF4-FFF2-40B4-BE49-F238E27FC236}">
                  <a16:creationId xmlns:a16="http://schemas.microsoft.com/office/drawing/2014/main" id="{BE9354D3-538E-42A2-B5C0-E0A3AD8A3E8D}"/>
                </a:ext>
              </a:extLst>
            </p:cNvPr>
            <p:cNvSpPr>
              <a:spLocks noEditPoints="1"/>
            </p:cNvSpPr>
            <p:nvPr/>
          </p:nvSpPr>
          <p:spPr bwMode="auto">
            <a:xfrm>
              <a:off x="4255644" y="2305675"/>
              <a:ext cx="25868" cy="7113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20" name="Freeform 56">
              <a:extLst>
                <a:ext uri="{FF2B5EF4-FFF2-40B4-BE49-F238E27FC236}">
                  <a16:creationId xmlns:a16="http://schemas.microsoft.com/office/drawing/2014/main" id="{9907D364-2B51-45D2-9BFF-BFD4839B3F4A}"/>
                </a:ext>
              </a:extLst>
            </p:cNvPr>
            <p:cNvSpPr>
              <a:spLocks noEditPoints="1"/>
            </p:cNvSpPr>
            <p:nvPr/>
          </p:nvSpPr>
          <p:spPr bwMode="auto">
            <a:xfrm>
              <a:off x="4293338" y="2304058"/>
              <a:ext cx="51734"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321" name="Group 320">
            <a:extLst>
              <a:ext uri="{FF2B5EF4-FFF2-40B4-BE49-F238E27FC236}">
                <a16:creationId xmlns:a16="http://schemas.microsoft.com/office/drawing/2014/main" id="{5188B6C9-1DE6-468E-A799-EDD0450BAD35}"/>
              </a:ext>
            </a:extLst>
          </p:cNvPr>
          <p:cNvGrpSpPr/>
          <p:nvPr/>
        </p:nvGrpSpPr>
        <p:grpSpPr>
          <a:xfrm>
            <a:off x="6492986" y="4004167"/>
            <a:ext cx="590446" cy="74369"/>
            <a:chOff x="3787564" y="1927368"/>
            <a:chExt cx="590446" cy="74369"/>
          </a:xfrm>
        </p:grpSpPr>
        <p:sp>
          <p:nvSpPr>
            <p:cNvPr id="322" name="Freeform 26">
              <a:extLst>
                <a:ext uri="{FF2B5EF4-FFF2-40B4-BE49-F238E27FC236}">
                  <a16:creationId xmlns:a16="http://schemas.microsoft.com/office/drawing/2014/main" id="{1A3054C9-2EEA-463B-A674-B3FC532CF1ED}"/>
                </a:ext>
              </a:extLst>
            </p:cNvPr>
            <p:cNvSpPr>
              <a:spLocks noEditPoints="1"/>
            </p:cNvSpPr>
            <p:nvPr/>
          </p:nvSpPr>
          <p:spPr bwMode="auto">
            <a:xfrm>
              <a:off x="3787564"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23" name="Freeform 27">
              <a:extLst>
                <a:ext uri="{FF2B5EF4-FFF2-40B4-BE49-F238E27FC236}">
                  <a16:creationId xmlns:a16="http://schemas.microsoft.com/office/drawing/2014/main" id="{20ED9F1F-AF71-41A9-9826-A5F135E2AA5F}"/>
                </a:ext>
              </a:extLst>
            </p:cNvPr>
            <p:cNvSpPr>
              <a:spLocks noEditPoints="1"/>
            </p:cNvSpPr>
            <p:nvPr/>
          </p:nvSpPr>
          <p:spPr bwMode="auto">
            <a:xfrm>
              <a:off x="3835130"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24" name="Freeform 28">
              <a:extLst>
                <a:ext uri="{FF2B5EF4-FFF2-40B4-BE49-F238E27FC236}">
                  <a16:creationId xmlns:a16="http://schemas.microsoft.com/office/drawing/2014/main" id="{5C1361CC-DA0D-4151-8E96-B09714662E5F}"/>
                </a:ext>
              </a:extLst>
            </p:cNvPr>
            <p:cNvSpPr>
              <a:spLocks noEditPoints="1"/>
            </p:cNvSpPr>
            <p:nvPr/>
          </p:nvSpPr>
          <p:spPr bwMode="auto">
            <a:xfrm>
              <a:off x="3905330" y="1928176"/>
              <a:ext cx="27484" cy="7275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25" name="Freeform 29">
              <a:extLst>
                <a:ext uri="{FF2B5EF4-FFF2-40B4-BE49-F238E27FC236}">
                  <a16:creationId xmlns:a16="http://schemas.microsoft.com/office/drawing/2014/main" id="{639FE3DE-9F38-47CD-9951-020B8AACA5BA}"/>
                </a:ext>
              </a:extLst>
            </p:cNvPr>
            <p:cNvSpPr>
              <a:spLocks noEditPoints="1"/>
            </p:cNvSpPr>
            <p:nvPr/>
          </p:nvSpPr>
          <p:spPr bwMode="auto">
            <a:xfrm>
              <a:off x="3952896"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26" name="Freeform 30">
              <a:extLst>
                <a:ext uri="{FF2B5EF4-FFF2-40B4-BE49-F238E27FC236}">
                  <a16:creationId xmlns:a16="http://schemas.microsoft.com/office/drawing/2014/main" id="{D91ACD69-FD03-4ECE-84E7-0A30EC262DF3}"/>
                </a:ext>
              </a:extLst>
            </p:cNvPr>
            <p:cNvSpPr>
              <a:spLocks noEditPoints="1"/>
            </p:cNvSpPr>
            <p:nvPr/>
          </p:nvSpPr>
          <p:spPr bwMode="auto">
            <a:xfrm>
              <a:off x="4023096" y="1928176"/>
              <a:ext cx="25868" cy="7275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27" name="Freeform 26">
              <a:extLst>
                <a:ext uri="{FF2B5EF4-FFF2-40B4-BE49-F238E27FC236}">
                  <a16:creationId xmlns:a16="http://schemas.microsoft.com/office/drawing/2014/main" id="{A03D88A8-9D45-44EC-94FA-04457F22041A}"/>
                </a:ext>
              </a:extLst>
            </p:cNvPr>
            <p:cNvSpPr>
              <a:spLocks noEditPoints="1"/>
            </p:cNvSpPr>
            <p:nvPr/>
          </p:nvSpPr>
          <p:spPr bwMode="auto">
            <a:xfrm>
              <a:off x="4069045"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28" name="Freeform 27">
              <a:extLst>
                <a:ext uri="{FF2B5EF4-FFF2-40B4-BE49-F238E27FC236}">
                  <a16:creationId xmlns:a16="http://schemas.microsoft.com/office/drawing/2014/main" id="{5397ED21-0005-4F23-961C-4D24F9950B1B}"/>
                </a:ext>
              </a:extLst>
            </p:cNvPr>
            <p:cNvSpPr>
              <a:spLocks noEditPoints="1"/>
            </p:cNvSpPr>
            <p:nvPr/>
          </p:nvSpPr>
          <p:spPr bwMode="auto">
            <a:xfrm>
              <a:off x="4116611"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29" name="Freeform 28">
              <a:extLst>
                <a:ext uri="{FF2B5EF4-FFF2-40B4-BE49-F238E27FC236}">
                  <a16:creationId xmlns:a16="http://schemas.microsoft.com/office/drawing/2014/main" id="{65B4CF6F-4067-41A3-B307-9F782031BE97}"/>
                </a:ext>
              </a:extLst>
            </p:cNvPr>
            <p:cNvSpPr>
              <a:spLocks noEditPoints="1"/>
            </p:cNvSpPr>
            <p:nvPr/>
          </p:nvSpPr>
          <p:spPr bwMode="auto">
            <a:xfrm>
              <a:off x="4186811" y="1928176"/>
              <a:ext cx="27484" cy="7275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30" name="Freeform 29">
              <a:extLst>
                <a:ext uri="{FF2B5EF4-FFF2-40B4-BE49-F238E27FC236}">
                  <a16:creationId xmlns:a16="http://schemas.microsoft.com/office/drawing/2014/main" id="{FD563FB4-FDA1-4AA7-AE25-37925A9576B5}"/>
                </a:ext>
              </a:extLst>
            </p:cNvPr>
            <p:cNvSpPr>
              <a:spLocks noEditPoints="1"/>
            </p:cNvSpPr>
            <p:nvPr/>
          </p:nvSpPr>
          <p:spPr bwMode="auto">
            <a:xfrm>
              <a:off x="4234377"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31" name="Freeform 30">
              <a:extLst>
                <a:ext uri="{FF2B5EF4-FFF2-40B4-BE49-F238E27FC236}">
                  <a16:creationId xmlns:a16="http://schemas.microsoft.com/office/drawing/2014/main" id="{C05225A4-279F-400C-95CD-1E758E304DD3}"/>
                </a:ext>
              </a:extLst>
            </p:cNvPr>
            <p:cNvSpPr>
              <a:spLocks noEditPoints="1"/>
            </p:cNvSpPr>
            <p:nvPr/>
          </p:nvSpPr>
          <p:spPr bwMode="auto">
            <a:xfrm>
              <a:off x="4304577" y="1928176"/>
              <a:ext cx="25868" cy="7275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32" name="Freeform 26">
              <a:extLst>
                <a:ext uri="{FF2B5EF4-FFF2-40B4-BE49-F238E27FC236}">
                  <a16:creationId xmlns:a16="http://schemas.microsoft.com/office/drawing/2014/main" id="{872E896D-56C4-459C-99EF-8DEA72D58971}"/>
                </a:ext>
              </a:extLst>
            </p:cNvPr>
            <p:cNvSpPr>
              <a:spLocks noEditPoints="1"/>
            </p:cNvSpPr>
            <p:nvPr/>
          </p:nvSpPr>
          <p:spPr bwMode="auto">
            <a:xfrm>
              <a:off x="4350526"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333" name="Group 332">
            <a:extLst>
              <a:ext uri="{FF2B5EF4-FFF2-40B4-BE49-F238E27FC236}">
                <a16:creationId xmlns:a16="http://schemas.microsoft.com/office/drawing/2014/main" id="{71502530-3604-4448-BDC5-35DFB985867F}"/>
              </a:ext>
            </a:extLst>
          </p:cNvPr>
          <p:cNvGrpSpPr/>
          <p:nvPr/>
        </p:nvGrpSpPr>
        <p:grpSpPr>
          <a:xfrm>
            <a:off x="6484902" y="4128652"/>
            <a:ext cx="625759" cy="75985"/>
            <a:chOff x="3779480" y="2051853"/>
            <a:chExt cx="625759" cy="75985"/>
          </a:xfrm>
        </p:grpSpPr>
        <p:sp>
          <p:nvSpPr>
            <p:cNvPr id="334" name="Freeform 35">
              <a:extLst>
                <a:ext uri="{FF2B5EF4-FFF2-40B4-BE49-F238E27FC236}">
                  <a16:creationId xmlns:a16="http://schemas.microsoft.com/office/drawing/2014/main" id="{F1BC68E5-2A43-434B-B96B-007CAEEA7621}"/>
                </a:ext>
              </a:extLst>
            </p:cNvPr>
            <p:cNvSpPr>
              <a:spLocks noEditPoints="1"/>
            </p:cNvSpPr>
            <p:nvPr/>
          </p:nvSpPr>
          <p:spPr bwMode="auto">
            <a:xfrm>
              <a:off x="3779480"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35" name="Freeform 36">
              <a:extLst>
                <a:ext uri="{FF2B5EF4-FFF2-40B4-BE49-F238E27FC236}">
                  <a16:creationId xmlns:a16="http://schemas.microsoft.com/office/drawing/2014/main" id="{ED916D7D-C733-45C3-B8BE-4CD4AED1F39B}"/>
                </a:ext>
              </a:extLst>
            </p:cNvPr>
            <p:cNvSpPr>
              <a:spLocks noEditPoints="1"/>
            </p:cNvSpPr>
            <p:nvPr/>
          </p:nvSpPr>
          <p:spPr bwMode="auto">
            <a:xfrm>
              <a:off x="3842702" y="2051853"/>
              <a:ext cx="50119" cy="75985"/>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36" name="Freeform 37">
              <a:extLst>
                <a:ext uri="{FF2B5EF4-FFF2-40B4-BE49-F238E27FC236}">
                  <a16:creationId xmlns:a16="http://schemas.microsoft.com/office/drawing/2014/main" id="{FA94805E-B42D-4E54-BDC7-1A867272090B}"/>
                </a:ext>
              </a:extLst>
            </p:cNvPr>
            <p:cNvSpPr>
              <a:spLocks noEditPoints="1"/>
            </p:cNvSpPr>
            <p:nvPr/>
          </p:nvSpPr>
          <p:spPr bwMode="auto">
            <a:xfrm>
              <a:off x="3904308" y="2053470"/>
              <a:ext cx="27484" cy="7275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37" name="Freeform 38">
              <a:extLst>
                <a:ext uri="{FF2B5EF4-FFF2-40B4-BE49-F238E27FC236}">
                  <a16:creationId xmlns:a16="http://schemas.microsoft.com/office/drawing/2014/main" id="{631B09A7-C7E7-4540-9873-53A434749A09}"/>
                </a:ext>
              </a:extLst>
            </p:cNvPr>
            <p:cNvSpPr>
              <a:spLocks noEditPoints="1"/>
            </p:cNvSpPr>
            <p:nvPr/>
          </p:nvSpPr>
          <p:spPr bwMode="auto">
            <a:xfrm>
              <a:off x="3943280" y="2051853"/>
              <a:ext cx="50119"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38" name="Freeform 39">
              <a:extLst>
                <a:ext uri="{FF2B5EF4-FFF2-40B4-BE49-F238E27FC236}">
                  <a16:creationId xmlns:a16="http://schemas.microsoft.com/office/drawing/2014/main" id="{31090D33-641B-473C-8B10-BB82B628D42D}"/>
                </a:ext>
              </a:extLst>
            </p:cNvPr>
            <p:cNvSpPr>
              <a:spLocks noEditPoints="1"/>
            </p:cNvSpPr>
            <p:nvPr/>
          </p:nvSpPr>
          <p:spPr bwMode="auto">
            <a:xfrm>
              <a:off x="4004886" y="2051853"/>
              <a:ext cx="50119" cy="75985"/>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39" name="Freeform 35">
              <a:extLst>
                <a:ext uri="{FF2B5EF4-FFF2-40B4-BE49-F238E27FC236}">
                  <a16:creationId xmlns:a16="http://schemas.microsoft.com/office/drawing/2014/main" id="{53BD73FC-F844-49AA-9F6E-ED47E62D3751}"/>
                </a:ext>
              </a:extLst>
            </p:cNvPr>
            <p:cNvSpPr>
              <a:spLocks noEditPoints="1"/>
            </p:cNvSpPr>
            <p:nvPr/>
          </p:nvSpPr>
          <p:spPr bwMode="auto">
            <a:xfrm>
              <a:off x="4066493"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40" name="Freeform 36">
              <a:extLst>
                <a:ext uri="{FF2B5EF4-FFF2-40B4-BE49-F238E27FC236}">
                  <a16:creationId xmlns:a16="http://schemas.microsoft.com/office/drawing/2014/main" id="{610F5384-A997-4B0C-AEC9-CB26AC754571}"/>
                </a:ext>
              </a:extLst>
            </p:cNvPr>
            <p:cNvSpPr>
              <a:spLocks noEditPoints="1"/>
            </p:cNvSpPr>
            <p:nvPr/>
          </p:nvSpPr>
          <p:spPr bwMode="auto">
            <a:xfrm>
              <a:off x="4129714" y="2051853"/>
              <a:ext cx="50119" cy="75985"/>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41" name="Freeform 37">
              <a:extLst>
                <a:ext uri="{FF2B5EF4-FFF2-40B4-BE49-F238E27FC236}">
                  <a16:creationId xmlns:a16="http://schemas.microsoft.com/office/drawing/2014/main" id="{1B08CDBC-0EBA-4EFA-B3BE-FADE738774A0}"/>
                </a:ext>
              </a:extLst>
            </p:cNvPr>
            <p:cNvSpPr>
              <a:spLocks noEditPoints="1"/>
            </p:cNvSpPr>
            <p:nvPr/>
          </p:nvSpPr>
          <p:spPr bwMode="auto">
            <a:xfrm>
              <a:off x="4191321" y="2053470"/>
              <a:ext cx="27484" cy="7275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42" name="Freeform 38">
              <a:extLst>
                <a:ext uri="{FF2B5EF4-FFF2-40B4-BE49-F238E27FC236}">
                  <a16:creationId xmlns:a16="http://schemas.microsoft.com/office/drawing/2014/main" id="{A2879EC1-F81A-4F13-8D98-BDB29D7B086A}"/>
                </a:ext>
              </a:extLst>
            </p:cNvPr>
            <p:cNvSpPr>
              <a:spLocks noEditPoints="1"/>
            </p:cNvSpPr>
            <p:nvPr/>
          </p:nvSpPr>
          <p:spPr bwMode="auto">
            <a:xfrm>
              <a:off x="4230293" y="2051853"/>
              <a:ext cx="50119"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43" name="Freeform 39">
              <a:extLst>
                <a:ext uri="{FF2B5EF4-FFF2-40B4-BE49-F238E27FC236}">
                  <a16:creationId xmlns:a16="http://schemas.microsoft.com/office/drawing/2014/main" id="{7EEEC6B4-B9C2-4672-8D66-5C65377295EC}"/>
                </a:ext>
              </a:extLst>
            </p:cNvPr>
            <p:cNvSpPr>
              <a:spLocks noEditPoints="1"/>
            </p:cNvSpPr>
            <p:nvPr/>
          </p:nvSpPr>
          <p:spPr bwMode="auto">
            <a:xfrm>
              <a:off x="4291899" y="2051853"/>
              <a:ext cx="50119" cy="75985"/>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44" name="Freeform 35">
              <a:extLst>
                <a:ext uri="{FF2B5EF4-FFF2-40B4-BE49-F238E27FC236}">
                  <a16:creationId xmlns:a16="http://schemas.microsoft.com/office/drawing/2014/main" id="{34A8659B-4049-4792-86DE-F6CBE8F3F50C}"/>
                </a:ext>
              </a:extLst>
            </p:cNvPr>
            <p:cNvSpPr>
              <a:spLocks noEditPoints="1"/>
            </p:cNvSpPr>
            <p:nvPr/>
          </p:nvSpPr>
          <p:spPr bwMode="auto">
            <a:xfrm>
              <a:off x="4353505"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345" name="Group 344">
            <a:extLst>
              <a:ext uri="{FF2B5EF4-FFF2-40B4-BE49-F238E27FC236}">
                <a16:creationId xmlns:a16="http://schemas.microsoft.com/office/drawing/2014/main" id="{FC5090CA-6CD2-4520-936F-2D2238C86725}"/>
              </a:ext>
            </a:extLst>
          </p:cNvPr>
          <p:cNvGrpSpPr/>
          <p:nvPr/>
        </p:nvGrpSpPr>
        <p:grpSpPr>
          <a:xfrm>
            <a:off x="6484902" y="4254755"/>
            <a:ext cx="626432" cy="74369"/>
            <a:chOff x="3779480" y="2177956"/>
            <a:chExt cx="626432" cy="74369"/>
          </a:xfrm>
        </p:grpSpPr>
        <p:sp>
          <p:nvSpPr>
            <p:cNvPr id="346" name="Freeform 42">
              <a:extLst>
                <a:ext uri="{FF2B5EF4-FFF2-40B4-BE49-F238E27FC236}">
                  <a16:creationId xmlns:a16="http://schemas.microsoft.com/office/drawing/2014/main" id="{19E74C86-E88F-4F5D-9FAB-FB5F7A2AD1FD}"/>
                </a:ext>
              </a:extLst>
            </p:cNvPr>
            <p:cNvSpPr>
              <a:spLocks noEditPoints="1"/>
            </p:cNvSpPr>
            <p:nvPr/>
          </p:nvSpPr>
          <p:spPr bwMode="auto">
            <a:xfrm>
              <a:off x="3779480"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47" name="Freeform 43">
              <a:extLst>
                <a:ext uri="{FF2B5EF4-FFF2-40B4-BE49-F238E27FC236}">
                  <a16:creationId xmlns:a16="http://schemas.microsoft.com/office/drawing/2014/main" id="{001F3B21-2967-418C-858A-A1137DA33CFD}"/>
                </a:ext>
              </a:extLst>
            </p:cNvPr>
            <p:cNvSpPr>
              <a:spLocks noEditPoints="1"/>
            </p:cNvSpPr>
            <p:nvPr/>
          </p:nvSpPr>
          <p:spPr bwMode="auto">
            <a:xfrm>
              <a:off x="3847296" y="2177956"/>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48" name="Freeform 44">
              <a:extLst>
                <a:ext uri="{FF2B5EF4-FFF2-40B4-BE49-F238E27FC236}">
                  <a16:creationId xmlns:a16="http://schemas.microsoft.com/office/drawing/2014/main" id="{D1E2CC2E-F71B-4ECC-9E6A-E00DB3C53976}"/>
                </a:ext>
              </a:extLst>
            </p:cNvPr>
            <p:cNvSpPr>
              <a:spLocks noEditPoints="1"/>
            </p:cNvSpPr>
            <p:nvPr/>
          </p:nvSpPr>
          <p:spPr bwMode="auto">
            <a:xfrm>
              <a:off x="3913497" y="2178765"/>
              <a:ext cx="27484" cy="7275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49" name="Freeform 45">
              <a:extLst>
                <a:ext uri="{FF2B5EF4-FFF2-40B4-BE49-F238E27FC236}">
                  <a16:creationId xmlns:a16="http://schemas.microsoft.com/office/drawing/2014/main" id="{333EB63F-6A56-459E-B90F-D9A8A8EBF16A}"/>
                </a:ext>
              </a:extLst>
            </p:cNvPr>
            <p:cNvSpPr>
              <a:spLocks noEditPoints="1"/>
            </p:cNvSpPr>
            <p:nvPr/>
          </p:nvSpPr>
          <p:spPr bwMode="auto">
            <a:xfrm>
              <a:off x="3957063" y="2178765"/>
              <a:ext cx="27484" cy="7275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50" name="Freeform 46">
              <a:extLst>
                <a:ext uri="{FF2B5EF4-FFF2-40B4-BE49-F238E27FC236}">
                  <a16:creationId xmlns:a16="http://schemas.microsoft.com/office/drawing/2014/main" id="{D1F22A61-6AE0-4C08-B47E-352F6CEF44AB}"/>
                </a:ext>
              </a:extLst>
            </p:cNvPr>
            <p:cNvSpPr>
              <a:spLocks noEditPoints="1"/>
            </p:cNvSpPr>
            <p:nvPr/>
          </p:nvSpPr>
          <p:spPr bwMode="auto">
            <a:xfrm>
              <a:off x="4000629" y="2177956"/>
              <a:ext cx="50119" cy="74369"/>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51" name="Freeform 42">
              <a:extLst>
                <a:ext uri="{FF2B5EF4-FFF2-40B4-BE49-F238E27FC236}">
                  <a16:creationId xmlns:a16="http://schemas.microsoft.com/office/drawing/2014/main" id="{49F2DE9F-82B7-4624-93DA-939C6E2666AC}"/>
                </a:ext>
              </a:extLst>
            </p:cNvPr>
            <p:cNvSpPr>
              <a:spLocks noEditPoints="1"/>
            </p:cNvSpPr>
            <p:nvPr/>
          </p:nvSpPr>
          <p:spPr bwMode="auto">
            <a:xfrm>
              <a:off x="4066829"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52" name="Freeform 43">
              <a:extLst>
                <a:ext uri="{FF2B5EF4-FFF2-40B4-BE49-F238E27FC236}">
                  <a16:creationId xmlns:a16="http://schemas.microsoft.com/office/drawing/2014/main" id="{7BF5F9FB-950B-4655-A536-E2BD43A9FE28}"/>
                </a:ext>
              </a:extLst>
            </p:cNvPr>
            <p:cNvSpPr>
              <a:spLocks noEditPoints="1"/>
            </p:cNvSpPr>
            <p:nvPr/>
          </p:nvSpPr>
          <p:spPr bwMode="auto">
            <a:xfrm>
              <a:off x="4134645" y="2177956"/>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53" name="Freeform 44">
              <a:extLst>
                <a:ext uri="{FF2B5EF4-FFF2-40B4-BE49-F238E27FC236}">
                  <a16:creationId xmlns:a16="http://schemas.microsoft.com/office/drawing/2014/main" id="{4EBC3D95-27EA-44D8-B904-E847B1CE2C44}"/>
                </a:ext>
              </a:extLst>
            </p:cNvPr>
            <p:cNvSpPr>
              <a:spLocks noEditPoints="1"/>
            </p:cNvSpPr>
            <p:nvPr/>
          </p:nvSpPr>
          <p:spPr bwMode="auto">
            <a:xfrm>
              <a:off x="4200846" y="2178765"/>
              <a:ext cx="27484" cy="7275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54" name="Freeform 45">
              <a:extLst>
                <a:ext uri="{FF2B5EF4-FFF2-40B4-BE49-F238E27FC236}">
                  <a16:creationId xmlns:a16="http://schemas.microsoft.com/office/drawing/2014/main" id="{A8E06538-BE97-4F84-A308-EF6B6139B1E8}"/>
                </a:ext>
              </a:extLst>
            </p:cNvPr>
            <p:cNvSpPr>
              <a:spLocks noEditPoints="1"/>
            </p:cNvSpPr>
            <p:nvPr/>
          </p:nvSpPr>
          <p:spPr bwMode="auto">
            <a:xfrm>
              <a:off x="4244412" y="2178765"/>
              <a:ext cx="27484" cy="7275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55" name="Freeform 46">
              <a:extLst>
                <a:ext uri="{FF2B5EF4-FFF2-40B4-BE49-F238E27FC236}">
                  <a16:creationId xmlns:a16="http://schemas.microsoft.com/office/drawing/2014/main" id="{8E768502-11AE-44AD-BF74-D9EFAAEDF317}"/>
                </a:ext>
              </a:extLst>
            </p:cNvPr>
            <p:cNvSpPr>
              <a:spLocks noEditPoints="1"/>
            </p:cNvSpPr>
            <p:nvPr/>
          </p:nvSpPr>
          <p:spPr bwMode="auto">
            <a:xfrm>
              <a:off x="4287978" y="2177956"/>
              <a:ext cx="50119" cy="74369"/>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56" name="Freeform 42">
              <a:extLst>
                <a:ext uri="{FF2B5EF4-FFF2-40B4-BE49-F238E27FC236}">
                  <a16:creationId xmlns:a16="http://schemas.microsoft.com/office/drawing/2014/main" id="{7291F8C4-4856-409A-A9C3-841B2EE7608D}"/>
                </a:ext>
              </a:extLst>
            </p:cNvPr>
            <p:cNvSpPr>
              <a:spLocks noEditPoints="1"/>
            </p:cNvSpPr>
            <p:nvPr/>
          </p:nvSpPr>
          <p:spPr bwMode="auto">
            <a:xfrm>
              <a:off x="4354178"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sp>
        <p:nvSpPr>
          <p:cNvPr id="361" name="Circle: Hollow 360">
            <a:extLst>
              <a:ext uri="{FF2B5EF4-FFF2-40B4-BE49-F238E27FC236}">
                <a16:creationId xmlns:a16="http://schemas.microsoft.com/office/drawing/2014/main" id="{EBD9E70E-49E9-4F7A-B91A-06E406BBFD08}"/>
              </a:ext>
            </a:extLst>
          </p:cNvPr>
          <p:cNvSpPr/>
          <p:nvPr/>
        </p:nvSpPr>
        <p:spPr>
          <a:xfrm>
            <a:off x="6407383" y="3785818"/>
            <a:ext cx="761650" cy="761650"/>
          </a:xfrm>
          <a:prstGeom prst="donut">
            <a:avLst>
              <a:gd name="adj" fmla="val 827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419" name="Oval 418">
            <a:extLst>
              <a:ext uri="{FF2B5EF4-FFF2-40B4-BE49-F238E27FC236}">
                <a16:creationId xmlns:a16="http://schemas.microsoft.com/office/drawing/2014/main" id="{833F1DC6-96D2-4E8B-BBDA-A9E91FD63F52}"/>
              </a:ext>
            </a:extLst>
          </p:cNvPr>
          <p:cNvSpPr/>
          <p:nvPr/>
        </p:nvSpPr>
        <p:spPr>
          <a:xfrm>
            <a:off x="7299892" y="3465778"/>
            <a:ext cx="639975" cy="640080"/>
          </a:xfrm>
          <a:prstGeom prst="ellipse">
            <a:avLst/>
          </a:prstGeom>
          <a:solidFill>
            <a:schemeClr val="bg1"/>
          </a:solidFill>
          <a:ln w="25400" cap="flat" cmpd="sng" algn="ctr">
            <a:noFill/>
            <a:prstDash val="solid"/>
          </a:ln>
          <a:effectLst/>
        </p:spPr>
        <p:txBody>
          <a:bodyPr rot="0" spcFirstLastPara="0" vertOverflow="overflow" horzOverflow="overflow" vert="horz" wrap="square" lIns="457200" tIns="45720" rIns="457200" bIns="45720" numCol="1" spcCol="0" rtlCol="0" fromWordArt="0" anchor="ctr" anchorCtr="1" forceAA="0" compatLnSpc="1">
            <a:prstTxWarp prst="textNoShape">
              <a:avLst/>
            </a:prstTxWarp>
            <a:noAutofit/>
          </a:bodyPr>
          <a:lstStyle/>
          <a:p>
            <a:pPr marL="0" marR="0" lvl="0" indent="0" algn="ctr" defTabSz="685813" rtl="0" eaLnBrk="1" fontAlgn="auto" latinLnBrk="0" hangingPunct="1">
              <a:lnSpc>
                <a:spcPct val="100000"/>
              </a:lnSpc>
              <a:spcBef>
                <a:spcPts val="0"/>
              </a:spcBef>
              <a:spcAft>
                <a:spcPts val="0"/>
              </a:spcAft>
              <a:buClrTx/>
              <a:buSzTx/>
              <a:buFontTx/>
              <a:buNone/>
              <a:tabLst/>
              <a:defRPr/>
            </a:pPr>
            <a:endParaRPr kumimoji="0" lang="en-US" sz="2100" b="1"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grpSp>
        <p:nvGrpSpPr>
          <p:cNvPr id="420" name="Group 419">
            <a:extLst>
              <a:ext uri="{FF2B5EF4-FFF2-40B4-BE49-F238E27FC236}">
                <a16:creationId xmlns:a16="http://schemas.microsoft.com/office/drawing/2014/main" id="{7ADA63F2-376B-46E8-8E63-3D26216D63AA}"/>
              </a:ext>
            </a:extLst>
          </p:cNvPr>
          <p:cNvGrpSpPr/>
          <p:nvPr/>
        </p:nvGrpSpPr>
        <p:grpSpPr>
          <a:xfrm>
            <a:off x="7383539" y="3497239"/>
            <a:ext cx="441282" cy="75985"/>
            <a:chOff x="3846446" y="1801265"/>
            <a:chExt cx="441282" cy="75985"/>
          </a:xfrm>
        </p:grpSpPr>
        <p:sp>
          <p:nvSpPr>
            <p:cNvPr id="421" name="Freeform 17">
              <a:extLst>
                <a:ext uri="{FF2B5EF4-FFF2-40B4-BE49-F238E27FC236}">
                  <a16:creationId xmlns:a16="http://schemas.microsoft.com/office/drawing/2014/main" id="{A43CECBD-19F8-4693-85F2-5D5FE18E4609}"/>
                </a:ext>
              </a:extLst>
            </p:cNvPr>
            <p:cNvSpPr>
              <a:spLocks noEditPoints="1"/>
            </p:cNvSpPr>
            <p:nvPr/>
          </p:nvSpPr>
          <p:spPr bwMode="auto">
            <a:xfrm>
              <a:off x="3846446" y="1802882"/>
              <a:ext cx="27484" cy="7275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22" name="Freeform 18">
              <a:extLst>
                <a:ext uri="{FF2B5EF4-FFF2-40B4-BE49-F238E27FC236}">
                  <a16:creationId xmlns:a16="http://schemas.microsoft.com/office/drawing/2014/main" id="{76F7B61F-C2CA-4AE5-BAB6-11E06E9B580A}"/>
                </a:ext>
              </a:extLst>
            </p:cNvPr>
            <p:cNvSpPr>
              <a:spLocks noEditPoints="1"/>
            </p:cNvSpPr>
            <p:nvPr/>
          </p:nvSpPr>
          <p:spPr bwMode="auto">
            <a:xfrm>
              <a:off x="3889162" y="1801265"/>
              <a:ext cx="50119" cy="7598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23" name="Freeform 19">
              <a:extLst>
                <a:ext uri="{FF2B5EF4-FFF2-40B4-BE49-F238E27FC236}">
                  <a16:creationId xmlns:a16="http://schemas.microsoft.com/office/drawing/2014/main" id="{4D8063BC-33D6-4484-BC64-A9627E6FC69F}"/>
                </a:ext>
              </a:extLst>
            </p:cNvPr>
            <p:cNvSpPr>
              <a:spLocks noEditPoints="1"/>
            </p:cNvSpPr>
            <p:nvPr/>
          </p:nvSpPr>
          <p:spPr bwMode="auto">
            <a:xfrm>
              <a:off x="3954512" y="1801265"/>
              <a:ext cx="50119"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24" name="Freeform 20">
              <a:extLst>
                <a:ext uri="{FF2B5EF4-FFF2-40B4-BE49-F238E27FC236}">
                  <a16:creationId xmlns:a16="http://schemas.microsoft.com/office/drawing/2014/main" id="{FA906F6C-F969-473C-BDD3-E678F78B515E}"/>
                </a:ext>
              </a:extLst>
            </p:cNvPr>
            <p:cNvSpPr>
              <a:spLocks noEditPoints="1"/>
            </p:cNvSpPr>
            <p:nvPr/>
          </p:nvSpPr>
          <p:spPr bwMode="auto">
            <a:xfrm>
              <a:off x="4019862" y="1802882"/>
              <a:ext cx="27484" cy="72752"/>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25" name="Freeform 16">
              <a:extLst>
                <a:ext uri="{FF2B5EF4-FFF2-40B4-BE49-F238E27FC236}">
                  <a16:creationId xmlns:a16="http://schemas.microsoft.com/office/drawing/2014/main" id="{D9692223-B385-45AB-B2F7-1E57AA43BC44}"/>
                </a:ext>
              </a:extLst>
            </p:cNvPr>
            <p:cNvSpPr>
              <a:spLocks noEditPoints="1"/>
            </p:cNvSpPr>
            <p:nvPr/>
          </p:nvSpPr>
          <p:spPr bwMode="auto">
            <a:xfrm>
              <a:off x="4062578" y="1801265"/>
              <a:ext cx="51734"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26" name="Freeform 17">
              <a:extLst>
                <a:ext uri="{FF2B5EF4-FFF2-40B4-BE49-F238E27FC236}">
                  <a16:creationId xmlns:a16="http://schemas.microsoft.com/office/drawing/2014/main" id="{3AFB944F-39EF-42BC-ADC1-A9D3474A245C}"/>
                </a:ext>
              </a:extLst>
            </p:cNvPr>
            <p:cNvSpPr>
              <a:spLocks noEditPoints="1"/>
            </p:cNvSpPr>
            <p:nvPr/>
          </p:nvSpPr>
          <p:spPr bwMode="auto">
            <a:xfrm>
              <a:off x="4129544" y="1802882"/>
              <a:ext cx="27484" cy="7275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27" name="Freeform 18">
              <a:extLst>
                <a:ext uri="{FF2B5EF4-FFF2-40B4-BE49-F238E27FC236}">
                  <a16:creationId xmlns:a16="http://schemas.microsoft.com/office/drawing/2014/main" id="{1D1BEF42-F425-4AB8-A933-48856A66EFDF}"/>
                </a:ext>
              </a:extLst>
            </p:cNvPr>
            <p:cNvSpPr>
              <a:spLocks noEditPoints="1"/>
            </p:cNvSpPr>
            <p:nvPr/>
          </p:nvSpPr>
          <p:spPr bwMode="auto">
            <a:xfrm>
              <a:off x="4172259" y="1801265"/>
              <a:ext cx="50119" cy="7598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28" name="Freeform 19">
              <a:extLst>
                <a:ext uri="{FF2B5EF4-FFF2-40B4-BE49-F238E27FC236}">
                  <a16:creationId xmlns:a16="http://schemas.microsoft.com/office/drawing/2014/main" id="{6D4A98DB-F2EB-4864-AB67-11672BC16DA2}"/>
                </a:ext>
              </a:extLst>
            </p:cNvPr>
            <p:cNvSpPr>
              <a:spLocks noEditPoints="1"/>
            </p:cNvSpPr>
            <p:nvPr/>
          </p:nvSpPr>
          <p:spPr bwMode="auto">
            <a:xfrm>
              <a:off x="4237609" y="1801265"/>
              <a:ext cx="50119"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429" name="Group 428">
            <a:extLst>
              <a:ext uri="{FF2B5EF4-FFF2-40B4-BE49-F238E27FC236}">
                <a16:creationId xmlns:a16="http://schemas.microsoft.com/office/drawing/2014/main" id="{6FB066FA-BF11-4784-B116-B2EE615FBDA3}"/>
              </a:ext>
            </a:extLst>
          </p:cNvPr>
          <p:cNvGrpSpPr/>
          <p:nvPr/>
        </p:nvGrpSpPr>
        <p:grpSpPr>
          <a:xfrm>
            <a:off x="7380135" y="4000032"/>
            <a:ext cx="502030" cy="74369"/>
            <a:chOff x="3843042" y="2304058"/>
            <a:chExt cx="502030" cy="74369"/>
          </a:xfrm>
        </p:grpSpPr>
        <p:sp>
          <p:nvSpPr>
            <p:cNvPr id="430" name="Freeform 53">
              <a:extLst>
                <a:ext uri="{FF2B5EF4-FFF2-40B4-BE49-F238E27FC236}">
                  <a16:creationId xmlns:a16="http://schemas.microsoft.com/office/drawing/2014/main" id="{2DF8C4BC-5940-441C-BBD8-93640E3C2008}"/>
                </a:ext>
              </a:extLst>
            </p:cNvPr>
            <p:cNvSpPr>
              <a:spLocks noEditPoints="1"/>
            </p:cNvSpPr>
            <p:nvPr/>
          </p:nvSpPr>
          <p:spPr bwMode="auto">
            <a:xfrm>
              <a:off x="3843042"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31" name="Freeform 54">
              <a:extLst>
                <a:ext uri="{FF2B5EF4-FFF2-40B4-BE49-F238E27FC236}">
                  <a16:creationId xmlns:a16="http://schemas.microsoft.com/office/drawing/2014/main" id="{27747904-9CF9-4B1A-8578-667126F5550A}"/>
                </a:ext>
              </a:extLst>
            </p:cNvPr>
            <p:cNvSpPr>
              <a:spLocks noEditPoints="1"/>
            </p:cNvSpPr>
            <p:nvPr/>
          </p:nvSpPr>
          <p:spPr bwMode="auto">
            <a:xfrm>
              <a:off x="3904988"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32" name="Freeform 55">
              <a:extLst>
                <a:ext uri="{FF2B5EF4-FFF2-40B4-BE49-F238E27FC236}">
                  <a16:creationId xmlns:a16="http://schemas.microsoft.com/office/drawing/2014/main" id="{0346DFDB-E569-4A91-AC4E-E75368CB41FC}"/>
                </a:ext>
              </a:extLst>
            </p:cNvPr>
            <p:cNvSpPr>
              <a:spLocks noEditPoints="1"/>
            </p:cNvSpPr>
            <p:nvPr/>
          </p:nvSpPr>
          <p:spPr bwMode="auto">
            <a:xfrm>
              <a:off x="3966933" y="2305675"/>
              <a:ext cx="25868" cy="7113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33" name="Freeform 56">
              <a:extLst>
                <a:ext uri="{FF2B5EF4-FFF2-40B4-BE49-F238E27FC236}">
                  <a16:creationId xmlns:a16="http://schemas.microsoft.com/office/drawing/2014/main" id="{00C60B99-F0AF-49C8-AC19-D526199FBD38}"/>
                </a:ext>
              </a:extLst>
            </p:cNvPr>
            <p:cNvSpPr>
              <a:spLocks noEditPoints="1"/>
            </p:cNvSpPr>
            <p:nvPr/>
          </p:nvSpPr>
          <p:spPr bwMode="auto">
            <a:xfrm>
              <a:off x="4004628" y="2304058"/>
              <a:ext cx="51734"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34" name="Freeform 52">
              <a:extLst>
                <a:ext uri="{FF2B5EF4-FFF2-40B4-BE49-F238E27FC236}">
                  <a16:creationId xmlns:a16="http://schemas.microsoft.com/office/drawing/2014/main" id="{F2D36CE9-228B-47BF-8788-DB7B7BD3CFDB}"/>
                </a:ext>
              </a:extLst>
            </p:cNvPr>
            <p:cNvSpPr>
              <a:spLocks noEditPoints="1"/>
            </p:cNvSpPr>
            <p:nvPr/>
          </p:nvSpPr>
          <p:spPr bwMode="auto">
            <a:xfrm>
              <a:off x="4068190" y="2304058"/>
              <a:ext cx="51734" cy="74369"/>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35" name="Freeform 53">
              <a:extLst>
                <a:ext uri="{FF2B5EF4-FFF2-40B4-BE49-F238E27FC236}">
                  <a16:creationId xmlns:a16="http://schemas.microsoft.com/office/drawing/2014/main" id="{550D0213-A112-4D7A-933B-B5673B3D3A9D}"/>
                </a:ext>
              </a:extLst>
            </p:cNvPr>
            <p:cNvSpPr>
              <a:spLocks noEditPoints="1"/>
            </p:cNvSpPr>
            <p:nvPr/>
          </p:nvSpPr>
          <p:spPr bwMode="auto">
            <a:xfrm>
              <a:off x="4131752"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36" name="Freeform 54">
              <a:extLst>
                <a:ext uri="{FF2B5EF4-FFF2-40B4-BE49-F238E27FC236}">
                  <a16:creationId xmlns:a16="http://schemas.microsoft.com/office/drawing/2014/main" id="{03EBAE2B-7631-434F-8697-FD79C134BAC0}"/>
                </a:ext>
              </a:extLst>
            </p:cNvPr>
            <p:cNvSpPr>
              <a:spLocks noEditPoints="1"/>
            </p:cNvSpPr>
            <p:nvPr/>
          </p:nvSpPr>
          <p:spPr bwMode="auto">
            <a:xfrm>
              <a:off x="4193698"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37" name="Freeform 55">
              <a:extLst>
                <a:ext uri="{FF2B5EF4-FFF2-40B4-BE49-F238E27FC236}">
                  <a16:creationId xmlns:a16="http://schemas.microsoft.com/office/drawing/2014/main" id="{17C608C7-A29C-4D38-B693-880F7DEDA375}"/>
                </a:ext>
              </a:extLst>
            </p:cNvPr>
            <p:cNvSpPr>
              <a:spLocks noEditPoints="1"/>
            </p:cNvSpPr>
            <p:nvPr/>
          </p:nvSpPr>
          <p:spPr bwMode="auto">
            <a:xfrm>
              <a:off x="4255644" y="2305675"/>
              <a:ext cx="25868" cy="7113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38" name="Freeform 56">
              <a:extLst>
                <a:ext uri="{FF2B5EF4-FFF2-40B4-BE49-F238E27FC236}">
                  <a16:creationId xmlns:a16="http://schemas.microsoft.com/office/drawing/2014/main" id="{1B4C7554-DAD7-45E6-B824-3711227CEE78}"/>
                </a:ext>
              </a:extLst>
            </p:cNvPr>
            <p:cNvSpPr>
              <a:spLocks noEditPoints="1"/>
            </p:cNvSpPr>
            <p:nvPr/>
          </p:nvSpPr>
          <p:spPr bwMode="auto">
            <a:xfrm>
              <a:off x="4293338" y="2304058"/>
              <a:ext cx="51734"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439" name="Group 438">
            <a:extLst>
              <a:ext uri="{FF2B5EF4-FFF2-40B4-BE49-F238E27FC236}">
                <a16:creationId xmlns:a16="http://schemas.microsoft.com/office/drawing/2014/main" id="{CDBDB273-0E26-4F8C-8AD4-0CB2AE39160B}"/>
              </a:ext>
            </a:extLst>
          </p:cNvPr>
          <p:cNvGrpSpPr/>
          <p:nvPr/>
        </p:nvGrpSpPr>
        <p:grpSpPr>
          <a:xfrm>
            <a:off x="7324657" y="3623342"/>
            <a:ext cx="590446" cy="74369"/>
            <a:chOff x="3787564" y="1927368"/>
            <a:chExt cx="590446" cy="74369"/>
          </a:xfrm>
        </p:grpSpPr>
        <p:sp>
          <p:nvSpPr>
            <p:cNvPr id="440" name="Freeform 26">
              <a:extLst>
                <a:ext uri="{FF2B5EF4-FFF2-40B4-BE49-F238E27FC236}">
                  <a16:creationId xmlns:a16="http://schemas.microsoft.com/office/drawing/2014/main" id="{8608E243-7CA5-4ED0-937A-62DDE947FCCB}"/>
                </a:ext>
              </a:extLst>
            </p:cNvPr>
            <p:cNvSpPr>
              <a:spLocks noEditPoints="1"/>
            </p:cNvSpPr>
            <p:nvPr/>
          </p:nvSpPr>
          <p:spPr bwMode="auto">
            <a:xfrm>
              <a:off x="3787564"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41" name="Freeform 27">
              <a:extLst>
                <a:ext uri="{FF2B5EF4-FFF2-40B4-BE49-F238E27FC236}">
                  <a16:creationId xmlns:a16="http://schemas.microsoft.com/office/drawing/2014/main" id="{4329E0E7-F723-4C92-9E6B-418DE03EF4A4}"/>
                </a:ext>
              </a:extLst>
            </p:cNvPr>
            <p:cNvSpPr>
              <a:spLocks noEditPoints="1"/>
            </p:cNvSpPr>
            <p:nvPr/>
          </p:nvSpPr>
          <p:spPr bwMode="auto">
            <a:xfrm>
              <a:off x="3835130"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42" name="Freeform 28">
              <a:extLst>
                <a:ext uri="{FF2B5EF4-FFF2-40B4-BE49-F238E27FC236}">
                  <a16:creationId xmlns:a16="http://schemas.microsoft.com/office/drawing/2014/main" id="{F46816A9-D58A-413B-A601-AB714876FA56}"/>
                </a:ext>
              </a:extLst>
            </p:cNvPr>
            <p:cNvSpPr>
              <a:spLocks noEditPoints="1"/>
            </p:cNvSpPr>
            <p:nvPr/>
          </p:nvSpPr>
          <p:spPr bwMode="auto">
            <a:xfrm>
              <a:off x="3905330" y="1928176"/>
              <a:ext cx="27484" cy="7275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43" name="Freeform 29">
              <a:extLst>
                <a:ext uri="{FF2B5EF4-FFF2-40B4-BE49-F238E27FC236}">
                  <a16:creationId xmlns:a16="http://schemas.microsoft.com/office/drawing/2014/main" id="{9EE9BF64-3972-4351-8E08-41C380DD5939}"/>
                </a:ext>
              </a:extLst>
            </p:cNvPr>
            <p:cNvSpPr>
              <a:spLocks noEditPoints="1"/>
            </p:cNvSpPr>
            <p:nvPr/>
          </p:nvSpPr>
          <p:spPr bwMode="auto">
            <a:xfrm>
              <a:off x="3952896"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44" name="Freeform 30">
              <a:extLst>
                <a:ext uri="{FF2B5EF4-FFF2-40B4-BE49-F238E27FC236}">
                  <a16:creationId xmlns:a16="http://schemas.microsoft.com/office/drawing/2014/main" id="{59AE7A0F-6C7F-40ED-960B-DBEA7D40FC1B}"/>
                </a:ext>
              </a:extLst>
            </p:cNvPr>
            <p:cNvSpPr>
              <a:spLocks noEditPoints="1"/>
            </p:cNvSpPr>
            <p:nvPr/>
          </p:nvSpPr>
          <p:spPr bwMode="auto">
            <a:xfrm>
              <a:off x="4023096" y="1928176"/>
              <a:ext cx="25868" cy="7275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45" name="Freeform 26">
              <a:extLst>
                <a:ext uri="{FF2B5EF4-FFF2-40B4-BE49-F238E27FC236}">
                  <a16:creationId xmlns:a16="http://schemas.microsoft.com/office/drawing/2014/main" id="{090D736E-B8B1-49B7-B42E-CE5A9B7F451E}"/>
                </a:ext>
              </a:extLst>
            </p:cNvPr>
            <p:cNvSpPr>
              <a:spLocks noEditPoints="1"/>
            </p:cNvSpPr>
            <p:nvPr/>
          </p:nvSpPr>
          <p:spPr bwMode="auto">
            <a:xfrm>
              <a:off x="4069045"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46" name="Freeform 27">
              <a:extLst>
                <a:ext uri="{FF2B5EF4-FFF2-40B4-BE49-F238E27FC236}">
                  <a16:creationId xmlns:a16="http://schemas.microsoft.com/office/drawing/2014/main" id="{7EA6994D-A701-4B0F-83A2-294B95C670C2}"/>
                </a:ext>
              </a:extLst>
            </p:cNvPr>
            <p:cNvSpPr>
              <a:spLocks noEditPoints="1"/>
            </p:cNvSpPr>
            <p:nvPr/>
          </p:nvSpPr>
          <p:spPr bwMode="auto">
            <a:xfrm>
              <a:off x="4116611"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47" name="Freeform 28">
              <a:extLst>
                <a:ext uri="{FF2B5EF4-FFF2-40B4-BE49-F238E27FC236}">
                  <a16:creationId xmlns:a16="http://schemas.microsoft.com/office/drawing/2014/main" id="{3B28D8F7-F41B-4CF3-91B7-692154B64557}"/>
                </a:ext>
              </a:extLst>
            </p:cNvPr>
            <p:cNvSpPr>
              <a:spLocks noEditPoints="1"/>
            </p:cNvSpPr>
            <p:nvPr/>
          </p:nvSpPr>
          <p:spPr bwMode="auto">
            <a:xfrm>
              <a:off x="4186811" y="1928176"/>
              <a:ext cx="27484" cy="7275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48" name="Freeform 29">
              <a:extLst>
                <a:ext uri="{FF2B5EF4-FFF2-40B4-BE49-F238E27FC236}">
                  <a16:creationId xmlns:a16="http://schemas.microsoft.com/office/drawing/2014/main" id="{ABA0DAAC-2BC5-40D1-81CD-47D78AE85A8E}"/>
                </a:ext>
              </a:extLst>
            </p:cNvPr>
            <p:cNvSpPr>
              <a:spLocks noEditPoints="1"/>
            </p:cNvSpPr>
            <p:nvPr/>
          </p:nvSpPr>
          <p:spPr bwMode="auto">
            <a:xfrm>
              <a:off x="4234377"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49" name="Freeform 30">
              <a:extLst>
                <a:ext uri="{FF2B5EF4-FFF2-40B4-BE49-F238E27FC236}">
                  <a16:creationId xmlns:a16="http://schemas.microsoft.com/office/drawing/2014/main" id="{90DDBFCC-80F9-416A-8CA6-F33BD3DB6C56}"/>
                </a:ext>
              </a:extLst>
            </p:cNvPr>
            <p:cNvSpPr>
              <a:spLocks noEditPoints="1"/>
            </p:cNvSpPr>
            <p:nvPr/>
          </p:nvSpPr>
          <p:spPr bwMode="auto">
            <a:xfrm>
              <a:off x="4304577" y="1928176"/>
              <a:ext cx="25868" cy="7275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50" name="Freeform 26">
              <a:extLst>
                <a:ext uri="{FF2B5EF4-FFF2-40B4-BE49-F238E27FC236}">
                  <a16:creationId xmlns:a16="http://schemas.microsoft.com/office/drawing/2014/main" id="{B862043A-C566-487B-93D8-3267E20CBEC6}"/>
                </a:ext>
              </a:extLst>
            </p:cNvPr>
            <p:cNvSpPr>
              <a:spLocks noEditPoints="1"/>
            </p:cNvSpPr>
            <p:nvPr/>
          </p:nvSpPr>
          <p:spPr bwMode="auto">
            <a:xfrm>
              <a:off x="4350526"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451" name="Group 450">
            <a:extLst>
              <a:ext uri="{FF2B5EF4-FFF2-40B4-BE49-F238E27FC236}">
                <a16:creationId xmlns:a16="http://schemas.microsoft.com/office/drawing/2014/main" id="{1E1C424C-2A68-48DE-83A4-D4F64BABE73F}"/>
              </a:ext>
            </a:extLst>
          </p:cNvPr>
          <p:cNvGrpSpPr/>
          <p:nvPr/>
        </p:nvGrpSpPr>
        <p:grpSpPr>
          <a:xfrm>
            <a:off x="7316573" y="3747827"/>
            <a:ext cx="625759" cy="75985"/>
            <a:chOff x="3779480" y="2051853"/>
            <a:chExt cx="625759" cy="75985"/>
          </a:xfrm>
        </p:grpSpPr>
        <p:sp>
          <p:nvSpPr>
            <p:cNvPr id="452" name="Freeform 35">
              <a:extLst>
                <a:ext uri="{FF2B5EF4-FFF2-40B4-BE49-F238E27FC236}">
                  <a16:creationId xmlns:a16="http://schemas.microsoft.com/office/drawing/2014/main" id="{F157B020-0554-4ADC-A6F5-4BFFF9082ABC}"/>
                </a:ext>
              </a:extLst>
            </p:cNvPr>
            <p:cNvSpPr>
              <a:spLocks noEditPoints="1"/>
            </p:cNvSpPr>
            <p:nvPr/>
          </p:nvSpPr>
          <p:spPr bwMode="auto">
            <a:xfrm>
              <a:off x="3779480"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53" name="Freeform 36">
              <a:extLst>
                <a:ext uri="{FF2B5EF4-FFF2-40B4-BE49-F238E27FC236}">
                  <a16:creationId xmlns:a16="http://schemas.microsoft.com/office/drawing/2014/main" id="{FF47CCE1-0A64-4D7A-8836-2D187D101FE2}"/>
                </a:ext>
              </a:extLst>
            </p:cNvPr>
            <p:cNvSpPr>
              <a:spLocks noEditPoints="1"/>
            </p:cNvSpPr>
            <p:nvPr/>
          </p:nvSpPr>
          <p:spPr bwMode="auto">
            <a:xfrm>
              <a:off x="3842702" y="2051853"/>
              <a:ext cx="50119" cy="75985"/>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54" name="Freeform 37">
              <a:extLst>
                <a:ext uri="{FF2B5EF4-FFF2-40B4-BE49-F238E27FC236}">
                  <a16:creationId xmlns:a16="http://schemas.microsoft.com/office/drawing/2014/main" id="{F7EEC1E9-0AC6-4A6D-B81C-C92B165AE6F6}"/>
                </a:ext>
              </a:extLst>
            </p:cNvPr>
            <p:cNvSpPr>
              <a:spLocks noEditPoints="1"/>
            </p:cNvSpPr>
            <p:nvPr/>
          </p:nvSpPr>
          <p:spPr bwMode="auto">
            <a:xfrm>
              <a:off x="3904308" y="2053470"/>
              <a:ext cx="27484" cy="7275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55" name="Freeform 38">
              <a:extLst>
                <a:ext uri="{FF2B5EF4-FFF2-40B4-BE49-F238E27FC236}">
                  <a16:creationId xmlns:a16="http://schemas.microsoft.com/office/drawing/2014/main" id="{89FEEB6C-D2AE-4934-A9F5-A46C833A1102}"/>
                </a:ext>
              </a:extLst>
            </p:cNvPr>
            <p:cNvSpPr>
              <a:spLocks noEditPoints="1"/>
            </p:cNvSpPr>
            <p:nvPr/>
          </p:nvSpPr>
          <p:spPr bwMode="auto">
            <a:xfrm>
              <a:off x="3943280" y="2051853"/>
              <a:ext cx="50119"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56" name="Freeform 39">
              <a:extLst>
                <a:ext uri="{FF2B5EF4-FFF2-40B4-BE49-F238E27FC236}">
                  <a16:creationId xmlns:a16="http://schemas.microsoft.com/office/drawing/2014/main" id="{D87DE5F6-F2FC-40F3-9F11-29A8C811AAAD}"/>
                </a:ext>
              </a:extLst>
            </p:cNvPr>
            <p:cNvSpPr>
              <a:spLocks noEditPoints="1"/>
            </p:cNvSpPr>
            <p:nvPr/>
          </p:nvSpPr>
          <p:spPr bwMode="auto">
            <a:xfrm>
              <a:off x="4004886" y="2051853"/>
              <a:ext cx="50119" cy="75985"/>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57" name="Freeform 35">
              <a:extLst>
                <a:ext uri="{FF2B5EF4-FFF2-40B4-BE49-F238E27FC236}">
                  <a16:creationId xmlns:a16="http://schemas.microsoft.com/office/drawing/2014/main" id="{AB33BAF2-3712-4935-9B9B-810CDFE3B528}"/>
                </a:ext>
              </a:extLst>
            </p:cNvPr>
            <p:cNvSpPr>
              <a:spLocks noEditPoints="1"/>
            </p:cNvSpPr>
            <p:nvPr/>
          </p:nvSpPr>
          <p:spPr bwMode="auto">
            <a:xfrm>
              <a:off x="4066493"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58" name="Freeform 36">
              <a:extLst>
                <a:ext uri="{FF2B5EF4-FFF2-40B4-BE49-F238E27FC236}">
                  <a16:creationId xmlns:a16="http://schemas.microsoft.com/office/drawing/2014/main" id="{562BE500-308F-41D9-BEDB-051117A5B001}"/>
                </a:ext>
              </a:extLst>
            </p:cNvPr>
            <p:cNvSpPr>
              <a:spLocks noEditPoints="1"/>
            </p:cNvSpPr>
            <p:nvPr/>
          </p:nvSpPr>
          <p:spPr bwMode="auto">
            <a:xfrm>
              <a:off x="4129714" y="2051853"/>
              <a:ext cx="50119" cy="75985"/>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59" name="Freeform 37">
              <a:extLst>
                <a:ext uri="{FF2B5EF4-FFF2-40B4-BE49-F238E27FC236}">
                  <a16:creationId xmlns:a16="http://schemas.microsoft.com/office/drawing/2014/main" id="{3FE02262-16A4-4CD7-96ED-25FC2CBB32AD}"/>
                </a:ext>
              </a:extLst>
            </p:cNvPr>
            <p:cNvSpPr>
              <a:spLocks noEditPoints="1"/>
            </p:cNvSpPr>
            <p:nvPr/>
          </p:nvSpPr>
          <p:spPr bwMode="auto">
            <a:xfrm>
              <a:off x="4191321" y="2053470"/>
              <a:ext cx="27484" cy="7275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60" name="Freeform 38">
              <a:extLst>
                <a:ext uri="{FF2B5EF4-FFF2-40B4-BE49-F238E27FC236}">
                  <a16:creationId xmlns:a16="http://schemas.microsoft.com/office/drawing/2014/main" id="{00E4DF55-F1CB-441F-8A15-B645FFE5D133}"/>
                </a:ext>
              </a:extLst>
            </p:cNvPr>
            <p:cNvSpPr>
              <a:spLocks noEditPoints="1"/>
            </p:cNvSpPr>
            <p:nvPr/>
          </p:nvSpPr>
          <p:spPr bwMode="auto">
            <a:xfrm>
              <a:off x="4230293" y="2051853"/>
              <a:ext cx="50119"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61" name="Freeform 39">
              <a:extLst>
                <a:ext uri="{FF2B5EF4-FFF2-40B4-BE49-F238E27FC236}">
                  <a16:creationId xmlns:a16="http://schemas.microsoft.com/office/drawing/2014/main" id="{4C86AE79-0DEF-4D2B-9045-B11A20B95095}"/>
                </a:ext>
              </a:extLst>
            </p:cNvPr>
            <p:cNvSpPr>
              <a:spLocks noEditPoints="1"/>
            </p:cNvSpPr>
            <p:nvPr/>
          </p:nvSpPr>
          <p:spPr bwMode="auto">
            <a:xfrm>
              <a:off x="4291899" y="2051853"/>
              <a:ext cx="50119" cy="75985"/>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62" name="Freeform 35">
              <a:extLst>
                <a:ext uri="{FF2B5EF4-FFF2-40B4-BE49-F238E27FC236}">
                  <a16:creationId xmlns:a16="http://schemas.microsoft.com/office/drawing/2014/main" id="{9FB0EA4A-03F7-4CBE-808D-5CE97B51F5E0}"/>
                </a:ext>
              </a:extLst>
            </p:cNvPr>
            <p:cNvSpPr>
              <a:spLocks noEditPoints="1"/>
            </p:cNvSpPr>
            <p:nvPr/>
          </p:nvSpPr>
          <p:spPr bwMode="auto">
            <a:xfrm>
              <a:off x="4353505"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463" name="Group 462">
            <a:extLst>
              <a:ext uri="{FF2B5EF4-FFF2-40B4-BE49-F238E27FC236}">
                <a16:creationId xmlns:a16="http://schemas.microsoft.com/office/drawing/2014/main" id="{DD620CF0-F3E4-4EC2-96F5-87383870A3DA}"/>
              </a:ext>
            </a:extLst>
          </p:cNvPr>
          <p:cNvGrpSpPr/>
          <p:nvPr/>
        </p:nvGrpSpPr>
        <p:grpSpPr>
          <a:xfrm>
            <a:off x="7316573" y="3873930"/>
            <a:ext cx="626432" cy="74369"/>
            <a:chOff x="3779480" y="2177956"/>
            <a:chExt cx="626432" cy="74369"/>
          </a:xfrm>
        </p:grpSpPr>
        <p:sp>
          <p:nvSpPr>
            <p:cNvPr id="464" name="Freeform 42">
              <a:extLst>
                <a:ext uri="{FF2B5EF4-FFF2-40B4-BE49-F238E27FC236}">
                  <a16:creationId xmlns:a16="http://schemas.microsoft.com/office/drawing/2014/main" id="{3059A0C3-C71E-4BFF-98D2-AFFD6795C26A}"/>
                </a:ext>
              </a:extLst>
            </p:cNvPr>
            <p:cNvSpPr>
              <a:spLocks noEditPoints="1"/>
            </p:cNvSpPr>
            <p:nvPr/>
          </p:nvSpPr>
          <p:spPr bwMode="auto">
            <a:xfrm>
              <a:off x="3779480"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65" name="Freeform 43">
              <a:extLst>
                <a:ext uri="{FF2B5EF4-FFF2-40B4-BE49-F238E27FC236}">
                  <a16:creationId xmlns:a16="http://schemas.microsoft.com/office/drawing/2014/main" id="{A03BA94F-E7E9-4F5C-9673-A7829E4E02F1}"/>
                </a:ext>
              </a:extLst>
            </p:cNvPr>
            <p:cNvSpPr>
              <a:spLocks noEditPoints="1"/>
            </p:cNvSpPr>
            <p:nvPr/>
          </p:nvSpPr>
          <p:spPr bwMode="auto">
            <a:xfrm>
              <a:off x="3847296" y="2177956"/>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66" name="Freeform 44">
              <a:extLst>
                <a:ext uri="{FF2B5EF4-FFF2-40B4-BE49-F238E27FC236}">
                  <a16:creationId xmlns:a16="http://schemas.microsoft.com/office/drawing/2014/main" id="{4576C6BD-57B6-4F3D-9FC5-1FC92C9BD0DA}"/>
                </a:ext>
              </a:extLst>
            </p:cNvPr>
            <p:cNvSpPr>
              <a:spLocks noEditPoints="1"/>
            </p:cNvSpPr>
            <p:nvPr/>
          </p:nvSpPr>
          <p:spPr bwMode="auto">
            <a:xfrm>
              <a:off x="3913497" y="2178765"/>
              <a:ext cx="27484" cy="7275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67" name="Freeform 45">
              <a:extLst>
                <a:ext uri="{FF2B5EF4-FFF2-40B4-BE49-F238E27FC236}">
                  <a16:creationId xmlns:a16="http://schemas.microsoft.com/office/drawing/2014/main" id="{C31FAD95-A120-494A-9DA1-A4EBF51E462A}"/>
                </a:ext>
              </a:extLst>
            </p:cNvPr>
            <p:cNvSpPr>
              <a:spLocks noEditPoints="1"/>
            </p:cNvSpPr>
            <p:nvPr/>
          </p:nvSpPr>
          <p:spPr bwMode="auto">
            <a:xfrm>
              <a:off x="3957063" y="2178765"/>
              <a:ext cx="27484" cy="7275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68" name="Freeform 46">
              <a:extLst>
                <a:ext uri="{FF2B5EF4-FFF2-40B4-BE49-F238E27FC236}">
                  <a16:creationId xmlns:a16="http://schemas.microsoft.com/office/drawing/2014/main" id="{C5AAAD13-321B-40D3-9DA1-463E7D706371}"/>
                </a:ext>
              </a:extLst>
            </p:cNvPr>
            <p:cNvSpPr>
              <a:spLocks noEditPoints="1"/>
            </p:cNvSpPr>
            <p:nvPr/>
          </p:nvSpPr>
          <p:spPr bwMode="auto">
            <a:xfrm>
              <a:off x="4000629" y="2177956"/>
              <a:ext cx="50119" cy="74369"/>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69" name="Freeform 42">
              <a:extLst>
                <a:ext uri="{FF2B5EF4-FFF2-40B4-BE49-F238E27FC236}">
                  <a16:creationId xmlns:a16="http://schemas.microsoft.com/office/drawing/2014/main" id="{81F4F59C-0A5B-4493-8BF5-FC2FC06C6E5F}"/>
                </a:ext>
              </a:extLst>
            </p:cNvPr>
            <p:cNvSpPr>
              <a:spLocks noEditPoints="1"/>
            </p:cNvSpPr>
            <p:nvPr/>
          </p:nvSpPr>
          <p:spPr bwMode="auto">
            <a:xfrm>
              <a:off x="4066829"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70" name="Freeform 43">
              <a:extLst>
                <a:ext uri="{FF2B5EF4-FFF2-40B4-BE49-F238E27FC236}">
                  <a16:creationId xmlns:a16="http://schemas.microsoft.com/office/drawing/2014/main" id="{DFE9DE57-FFEF-458C-8E8C-0D24DC859E87}"/>
                </a:ext>
              </a:extLst>
            </p:cNvPr>
            <p:cNvSpPr>
              <a:spLocks noEditPoints="1"/>
            </p:cNvSpPr>
            <p:nvPr/>
          </p:nvSpPr>
          <p:spPr bwMode="auto">
            <a:xfrm>
              <a:off x="4134645" y="2177956"/>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71" name="Freeform 44">
              <a:extLst>
                <a:ext uri="{FF2B5EF4-FFF2-40B4-BE49-F238E27FC236}">
                  <a16:creationId xmlns:a16="http://schemas.microsoft.com/office/drawing/2014/main" id="{9263ECC5-575C-4455-A69E-706F70065693}"/>
                </a:ext>
              </a:extLst>
            </p:cNvPr>
            <p:cNvSpPr>
              <a:spLocks noEditPoints="1"/>
            </p:cNvSpPr>
            <p:nvPr/>
          </p:nvSpPr>
          <p:spPr bwMode="auto">
            <a:xfrm>
              <a:off x="4200846" y="2178765"/>
              <a:ext cx="27484" cy="7275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72" name="Freeform 45">
              <a:extLst>
                <a:ext uri="{FF2B5EF4-FFF2-40B4-BE49-F238E27FC236}">
                  <a16:creationId xmlns:a16="http://schemas.microsoft.com/office/drawing/2014/main" id="{4A9C1B91-4F41-481B-9ED1-C7EC153671C7}"/>
                </a:ext>
              </a:extLst>
            </p:cNvPr>
            <p:cNvSpPr>
              <a:spLocks noEditPoints="1"/>
            </p:cNvSpPr>
            <p:nvPr/>
          </p:nvSpPr>
          <p:spPr bwMode="auto">
            <a:xfrm>
              <a:off x="4244412" y="2178765"/>
              <a:ext cx="27484" cy="7275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73" name="Freeform 46">
              <a:extLst>
                <a:ext uri="{FF2B5EF4-FFF2-40B4-BE49-F238E27FC236}">
                  <a16:creationId xmlns:a16="http://schemas.microsoft.com/office/drawing/2014/main" id="{63DAE883-70D2-40C1-B475-83517E4D287F}"/>
                </a:ext>
              </a:extLst>
            </p:cNvPr>
            <p:cNvSpPr>
              <a:spLocks noEditPoints="1"/>
            </p:cNvSpPr>
            <p:nvPr/>
          </p:nvSpPr>
          <p:spPr bwMode="auto">
            <a:xfrm>
              <a:off x="4287978" y="2177956"/>
              <a:ext cx="50119" cy="74369"/>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74" name="Freeform 42">
              <a:extLst>
                <a:ext uri="{FF2B5EF4-FFF2-40B4-BE49-F238E27FC236}">
                  <a16:creationId xmlns:a16="http://schemas.microsoft.com/office/drawing/2014/main" id="{1D3A8658-BE31-4F47-9822-932D0D15B472}"/>
                </a:ext>
              </a:extLst>
            </p:cNvPr>
            <p:cNvSpPr>
              <a:spLocks noEditPoints="1"/>
            </p:cNvSpPr>
            <p:nvPr/>
          </p:nvSpPr>
          <p:spPr bwMode="auto">
            <a:xfrm>
              <a:off x="4354178"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sp>
        <p:nvSpPr>
          <p:cNvPr id="475" name="Circle: Hollow 474">
            <a:extLst>
              <a:ext uri="{FF2B5EF4-FFF2-40B4-BE49-F238E27FC236}">
                <a16:creationId xmlns:a16="http://schemas.microsoft.com/office/drawing/2014/main" id="{1F9B300F-DC0D-4841-AFE7-9C5FFBE0FEE0}"/>
              </a:ext>
            </a:extLst>
          </p:cNvPr>
          <p:cNvSpPr/>
          <p:nvPr/>
        </p:nvSpPr>
        <p:spPr>
          <a:xfrm>
            <a:off x="7239054" y="3404993"/>
            <a:ext cx="761650" cy="761650"/>
          </a:xfrm>
          <a:prstGeom prst="donut">
            <a:avLst>
              <a:gd name="adj" fmla="val 827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476" name="Group 475">
            <a:extLst>
              <a:ext uri="{FF2B5EF4-FFF2-40B4-BE49-F238E27FC236}">
                <a16:creationId xmlns:a16="http://schemas.microsoft.com/office/drawing/2014/main" id="{F4998489-50AC-480D-9022-091CD074DBCC}"/>
              </a:ext>
            </a:extLst>
          </p:cNvPr>
          <p:cNvGrpSpPr/>
          <p:nvPr/>
        </p:nvGrpSpPr>
        <p:grpSpPr>
          <a:xfrm>
            <a:off x="7391471" y="3627723"/>
            <a:ext cx="468134" cy="372309"/>
            <a:chOff x="7656563" y="4257775"/>
            <a:chExt cx="468134" cy="372309"/>
          </a:xfrm>
        </p:grpSpPr>
        <p:grpSp>
          <p:nvGrpSpPr>
            <p:cNvPr id="219" name="Group 221">
              <a:extLst>
                <a:ext uri="{FF2B5EF4-FFF2-40B4-BE49-F238E27FC236}">
                  <a16:creationId xmlns:a16="http://schemas.microsoft.com/office/drawing/2014/main" id="{160F2997-574A-4BBA-A425-AC567E81D501}"/>
                </a:ext>
              </a:extLst>
            </p:cNvPr>
            <p:cNvGrpSpPr>
              <a:grpSpLocks noChangeAspect="1"/>
            </p:cNvGrpSpPr>
            <p:nvPr/>
          </p:nvGrpSpPr>
          <p:grpSpPr bwMode="auto">
            <a:xfrm>
              <a:off x="7656563" y="4257775"/>
              <a:ext cx="468134" cy="372309"/>
              <a:chOff x="2096" y="1022"/>
              <a:chExt cx="1573" cy="1251"/>
            </a:xfrm>
            <a:solidFill>
              <a:srgbClr val="005073"/>
            </a:solidFill>
          </p:grpSpPr>
          <p:sp>
            <p:nvSpPr>
              <p:cNvPr id="220" name="Freeform 222">
                <a:extLst>
                  <a:ext uri="{FF2B5EF4-FFF2-40B4-BE49-F238E27FC236}">
                    <a16:creationId xmlns:a16="http://schemas.microsoft.com/office/drawing/2014/main" id="{220A9A15-F17A-415A-965B-7491A2EF989F}"/>
                  </a:ext>
                </a:extLst>
              </p:cNvPr>
              <p:cNvSpPr>
                <a:spLocks/>
              </p:cNvSpPr>
              <p:nvPr/>
            </p:nvSpPr>
            <p:spPr bwMode="auto">
              <a:xfrm>
                <a:off x="2568" y="2204"/>
                <a:ext cx="615"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sp>
            <p:nvSpPr>
              <p:cNvPr id="221" name="Freeform 223">
                <a:extLst>
                  <a:ext uri="{FF2B5EF4-FFF2-40B4-BE49-F238E27FC236}">
                    <a16:creationId xmlns:a16="http://schemas.microsoft.com/office/drawing/2014/main" id="{26B30A88-D752-4E63-8165-E00DDFA65A30}"/>
                  </a:ext>
                </a:extLst>
              </p:cNvPr>
              <p:cNvSpPr>
                <a:spLocks/>
              </p:cNvSpPr>
              <p:nvPr/>
            </p:nvSpPr>
            <p:spPr bwMode="auto">
              <a:xfrm>
                <a:off x="2142" y="1078"/>
                <a:ext cx="1480"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sp>
            <p:nvSpPr>
              <p:cNvPr id="222" name="Freeform 224">
                <a:extLst>
                  <a:ext uri="{FF2B5EF4-FFF2-40B4-BE49-F238E27FC236}">
                    <a16:creationId xmlns:a16="http://schemas.microsoft.com/office/drawing/2014/main" id="{A20E5FA2-24C2-4B1C-9343-4224D959DF22}"/>
                  </a:ext>
                </a:extLst>
              </p:cNvPr>
              <p:cNvSpPr>
                <a:spLocks noEditPoints="1"/>
              </p:cNvSpPr>
              <p:nvPr/>
            </p:nvSpPr>
            <p:spPr bwMode="auto">
              <a:xfrm>
                <a:off x="2096" y="1022"/>
                <a:ext cx="1573" cy="947"/>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grpSp>
        <p:sp>
          <p:nvSpPr>
            <p:cNvPr id="217" name="Rectangle 216">
              <a:extLst>
                <a:ext uri="{FF2B5EF4-FFF2-40B4-BE49-F238E27FC236}">
                  <a16:creationId xmlns:a16="http://schemas.microsoft.com/office/drawing/2014/main" id="{E1C83454-F7B6-4B6A-B6EA-15C6EAD22C0E}"/>
                </a:ext>
              </a:extLst>
            </p:cNvPr>
            <p:cNvSpPr/>
            <p:nvPr/>
          </p:nvSpPr>
          <p:spPr>
            <a:xfrm>
              <a:off x="7829859" y="4539611"/>
              <a:ext cx="120650" cy="69938"/>
            </a:xfrm>
            <a:prstGeom prst="rect">
              <a:avLst/>
            </a:prstGeom>
            <a:solidFill>
              <a:schemeClr val="accent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grpSp>
      <p:grpSp>
        <p:nvGrpSpPr>
          <p:cNvPr id="477" name="Group 221">
            <a:extLst>
              <a:ext uri="{FF2B5EF4-FFF2-40B4-BE49-F238E27FC236}">
                <a16:creationId xmlns:a16="http://schemas.microsoft.com/office/drawing/2014/main" id="{7FB6F564-FF8F-4635-95F4-74D2B0021DED}"/>
              </a:ext>
            </a:extLst>
          </p:cNvPr>
          <p:cNvGrpSpPr>
            <a:grpSpLocks noChangeAspect="1"/>
          </p:cNvGrpSpPr>
          <p:nvPr/>
        </p:nvGrpSpPr>
        <p:grpSpPr bwMode="auto">
          <a:xfrm>
            <a:off x="6540600" y="4018345"/>
            <a:ext cx="495216" cy="283918"/>
            <a:chOff x="2049" y="1143"/>
            <a:chExt cx="1664" cy="954"/>
          </a:xfrm>
          <a:solidFill>
            <a:srgbClr val="005073"/>
          </a:solidFill>
        </p:grpSpPr>
        <p:sp>
          <p:nvSpPr>
            <p:cNvPr id="478" name="Freeform 222">
              <a:extLst>
                <a:ext uri="{FF2B5EF4-FFF2-40B4-BE49-F238E27FC236}">
                  <a16:creationId xmlns:a16="http://schemas.microsoft.com/office/drawing/2014/main" id="{E91F6993-ABAB-4469-B52C-B3509C5FB659}"/>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sp>
          <p:nvSpPr>
            <p:cNvPr id="479" name="Freeform 223">
              <a:extLst>
                <a:ext uri="{FF2B5EF4-FFF2-40B4-BE49-F238E27FC236}">
                  <a16:creationId xmlns:a16="http://schemas.microsoft.com/office/drawing/2014/main" id="{7ED6BD92-66B9-4B33-B39C-E901DCF24033}"/>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sp>
          <p:nvSpPr>
            <p:cNvPr id="480" name="Freeform 224">
              <a:extLst>
                <a:ext uri="{FF2B5EF4-FFF2-40B4-BE49-F238E27FC236}">
                  <a16:creationId xmlns:a16="http://schemas.microsoft.com/office/drawing/2014/main" id="{805529C5-4AC6-4FE6-9C94-ECFEE2B1E44A}"/>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grpSp>
      <p:cxnSp>
        <p:nvCxnSpPr>
          <p:cNvPr id="214" name="Straight Arrow Connector 213">
            <a:extLst>
              <a:ext uri="{FF2B5EF4-FFF2-40B4-BE49-F238E27FC236}">
                <a16:creationId xmlns:a16="http://schemas.microsoft.com/office/drawing/2014/main" id="{35AC3EC5-FE0F-412E-9639-9E3D4A968F6E}"/>
              </a:ext>
            </a:extLst>
          </p:cNvPr>
          <p:cNvCxnSpPr>
            <a:cxnSpLocks/>
          </p:cNvCxnSpPr>
          <p:nvPr/>
        </p:nvCxnSpPr>
        <p:spPr>
          <a:xfrm>
            <a:off x="4069585" y="3786101"/>
            <a:ext cx="3141117" cy="0"/>
          </a:xfrm>
          <a:prstGeom prst="straightConnector1">
            <a:avLst/>
          </a:prstGeom>
          <a:ln w="9525">
            <a:solidFill>
              <a:schemeClr val="accent5"/>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213" name="Oval 212">
            <a:extLst>
              <a:ext uri="{FF2B5EF4-FFF2-40B4-BE49-F238E27FC236}">
                <a16:creationId xmlns:a16="http://schemas.microsoft.com/office/drawing/2014/main" id="{31C6608E-DE38-44D0-B44D-F400BD6769EB}"/>
              </a:ext>
            </a:extLst>
          </p:cNvPr>
          <p:cNvSpPr/>
          <p:nvPr/>
        </p:nvSpPr>
        <p:spPr>
          <a:xfrm>
            <a:off x="4074356" y="3466059"/>
            <a:ext cx="639975" cy="640080"/>
          </a:xfrm>
          <a:prstGeom prst="ellipse">
            <a:avLst/>
          </a:prstGeom>
          <a:solidFill>
            <a:schemeClr val="bg1"/>
          </a:solidFill>
          <a:ln w="25400" cap="flat" cmpd="sng" algn="ctr">
            <a:noFill/>
            <a:prstDash val="solid"/>
          </a:ln>
          <a:effectLst/>
        </p:spPr>
        <p:txBody>
          <a:bodyPr rot="0" spcFirstLastPara="0" vertOverflow="overflow" horzOverflow="overflow" vert="horz" wrap="square" lIns="457200" tIns="45720" rIns="457200" bIns="45720" numCol="1" spcCol="0" rtlCol="0" fromWordArt="0" anchor="ctr" anchorCtr="1" forceAA="0" compatLnSpc="1">
            <a:prstTxWarp prst="textNoShape">
              <a:avLst/>
            </a:prstTxWarp>
            <a:noAutofit/>
          </a:bodyPr>
          <a:lstStyle/>
          <a:p>
            <a:pPr marL="0" marR="0" lvl="0" indent="0" algn="ctr" defTabSz="685813" rtl="0" eaLnBrk="1" fontAlgn="auto" latinLnBrk="0" hangingPunct="1">
              <a:lnSpc>
                <a:spcPct val="100000"/>
              </a:lnSpc>
              <a:spcBef>
                <a:spcPts val="0"/>
              </a:spcBef>
              <a:spcAft>
                <a:spcPts val="0"/>
              </a:spcAft>
              <a:buClrTx/>
              <a:buSzTx/>
              <a:buFontTx/>
              <a:buNone/>
              <a:tabLst/>
              <a:defRPr/>
            </a:pPr>
            <a:endParaRPr kumimoji="0" lang="en-US" sz="2100" b="1"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grpSp>
        <p:nvGrpSpPr>
          <p:cNvPr id="288" name="Group 221">
            <a:extLst>
              <a:ext uri="{FF2B5EF4-FFF2-40B4-BE49-F238E27FC236}">
                <a16:creationId xmlns:a16="http://schemas.microsoft.com/office/drawing/2014/main" id="{5ADDA9A2-F680-4A2D-A528-C59A7C453329}"/>
              </a:ext>
            </a:extLst>
          </p:cNvPr>
          <p:cNvGrpSpPr>
            <a:grpSpLocks noChangeAspect="1"/>
          </p:cNvGrpSpPr>
          <p:nvPr/>
        </p:nvGrpSpPr>
        <p:grpSpPr bwMode="auto">
          <a:xfrm>
            <a:off x="4150262" y="3644142"/>
            <a:ext cx="495216" cy="283918"/>
            <a:chOff x="2049" y="1143"/>
            <a:chExt cx="1664" cy="954"/>
          </a:xfrm>
          <a:solidFill>
            <a:srgbClr val="005073"/>
          </a:solidFill>
        </p:grpSpPr>
        <p:sp>
          <p:nvSpPr>
            <p:cNvPr id="289" name="Freeform 222">
              <a:extLst>
                <a:ext uri="{FF2B5EF4-FFF2-40B4-BE49-F238E27FC236}">
                  <a16:creationId xmlns:a16="http://schemas.microsoft.com/office/drawing/2014/main" id="{1124FDF9-9F3E-4202-893C-F06576EC648E}"/>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sp>
          <p:nvSpPr>
            <p:cNvPr id="290" name="Freeform 223">
              <a:extLst>
                <a:ext uri="{FF2B5EF4-FFF2-40B4-BE49-F238E27FC236}">
                  <a16:creationId xmlns:a16="http://schemas.microsoft.com/office/drawing/2014/main" id="{52BA9143-26B7-4CB3-83B7-DE98916BB044}"/>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sp>
          <p:nvSpPr>
            <p:cNvPr id="291" name="Freeform 224">
              <a:extLst>
                <a:ext uri="{FF2B5EF4-FFF2-40B4-BE49-F238E27FC236}">
                  <a16:creationId xmlns:a16="http://schemas.microsoft.com/office/drawing/2014/main" id="{30A17420-BB58-458B-9BF7-ABCFF11D5442}"/>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grpSp>
      <p:grpSp>
        <p:nvGrpSpPr>
          <p:cNvPr id="487" name="Group 221">
            <a:extLst>
              <a:ext uri="{FF2B5EF4-FFF2-40B4-BE49-F238E27FC236}">
                <a16:creationId xmlns:a16="http://schemas.microsoft.com/office/drawing/2014/main" id="{4B570DBF-78E0-4A16-89F6-799C74C4458B}"/>
              </a:ext>
            </a:extLst>
          </p:cNvPr>
          <p:cNvGrpSpPr>
            <a:grpSpLocks noChangeAspect="1"/>
          </p:cNvGrpSpPr>
          <p:nvPr/>
        </p:nvGrpSpPr>
        <p:grpSpPr bwMode="auto">
          <a:xfrm>
            <a:off x="6540600" y="2238357"/>
            <a:ext cx="495216" cy="283918"/>
            <a:chOff x="2049" y="1143"/>
            <a:chExt cx="1664" cy="954"/>
          </a:xfrm>
          <a:solidFill>
            <a:srgbClr val="005073"/>
          </a:solidFill>
        </p:grpSpPr>
        <p:sp>
          <p:nvSpPr>
            <p:cNvPr id="488" name="Freeform 222">
              <a:extLst>
                <a:ext uri="{FF2B5EF4-FFF2-40B4-BE49-F238E27FC236}">
                  <a16:creationId xmlns:a16="http://schemas.microsoft.com/office/drawing/2014/main" id="{04A0BF45-4A89-4B5B-BCE4-433ED886112F}"/>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sp>
          <p:nvSpPr>
            <p:cNvPr id="489" name="Freeform 223">
              <a:extLst>
                <a:ext uri="{FF2B5EF4-FFF2-40B4-BE49-F238E27FC236}">
                  <a16:creationId xmlns:a16="http://schemas.microsoft.com/office/drawing/2014/main" id="{483193F0-46B5-497D-A8F3-3DEAAF7B6299}"/>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sp>
          <p:nvSpPr>
            <p:cNvPr id="490" name="Freeform 224">
              <a:extLst>
                <a:ext uri="{FF2B5EF4-FFF2-40B4-BE49-F238E27FC236}">
                  <a16:creationId xmlns:a16="http://schemas.microsoft.com/office/drawing/2014/main" id="{0EC0E947-1FC6-4CA0-A811-B576E0D9EC3A}"/>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grpSp>
    </p:spTree>
    <p:extLst>
      <p:ext uri="{BB962C8B-B14F-4D97-AF65-F5344CB8AC3E}">
        <p14:creationId xmlns:p14="http://schemas.microsoft.com/office/powerpoint/2010/main" val="2012205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89"/>
                                        </p:tgtEl>
                                        <p:attrNameLst>
                                          <p:attrName>style.visibility</p:attrName>
                                        </p:attrNameLst>
                                      </p:cBhvr>
                                      <p:to>
                                        <p:strVal val="visible"/>
                                      </p:to>
                                    </p:set>
                                    <p:animEffect transition="in" filter="wipe(right)">
                                      <p:cBhvr>
                                        <p:cTn id="7" dur="1000"/>
                                        <p:tgtEl>
                                          <p:spTgt spid="189"/>
                                        </p:tgtEl>
                                      </p:cBhvr>
                                    </p:animEffect>
                                  </p:childTnLst>
                                </p:cTn>
                              </p:par>
                              <p:par>
                                <p:cTn id="8" presetID="10" presetClass="entr" presetSubtype="0" fill="hold" nodeType="withEffect">
                                  <p:stCondLst>
                                    <p:cond delay="500"/>
                                  </p:stCondLst>
                                  <p:childTnLst>
                                    <p:set>
                                      <p:cBhvr>
                                        <p:cTn id="9" dur="1" fill="hold">
                                          <p:stCondLst>
                                            <p:cond delay="0"/>
                                          </p:stCondLst>
                                        </p:cTn>
                                        <p:tgtEl>
                                          <p:spTgt spid="207"/>
                                        </p:tgtEl>
                                        <p:attrNameLst>
                                          <p:attrName>style.visibility</p:attrName>
                                        </p:attrNameLst>
                                      </p:cBhvr>
                                      <p:to>
                                        <p:strVal val="visible"/>
                                      </p:to>
                                    </p:set>
                                    <p:animEffect transition="in" filter="fade">
                                      <p:cBhvr>
                                        <p:cTn id="10" dur="500"/>
                                        <p:tgtEl>
                                          <p:spTgt spid="207"/>
                                        </p:tgtEl>
                                      </p:cBhvr>
                                    </p:animEffect>
                                  </p:childTnLst>
                                </p:cTn>
                              </p:par>
                              <p:par>
                                <p:cTn id="11" presetID="22" presetClass="entr" presetSubtype="2" fill="hold" nodeType="withEffect">
                                  <p:stCondLst>
                                    <p:cond delay="250"/>
                                  </p:stCondLst>
                                  <p:childTnLst>
                                    <p:set>
                                      <p:cBhvr>
                                        <p:cTn id="12" dur="1" fill="hold">
                                          <p:stCondLst>
                                            <p:cond delay="0"/>
                                          </p:stCondLst>
                                        </p:cTn>
                                        <p:tgtEl>
                                          <p:spTgt spid="190"/>
                                        </p:tgtEl>
                                        <p:attrNameLst>
                                          <p:attrName>style.visibility</p:attrName>
                                        </p:attrNameLst>
                                      </p:cBhvr>
                                      <p:to>
                                        <p:strVal val="visible"/>
                                      </p:to>
                                    </p:set>
                                    <p:animEffect transition="in" filter="wipe(right)">
                                      <p:cBhvr>
                                        <p:cTn id="13" dur="1000"/>
                                        <p:tgtEl>
                                          <p:spTgt spid="190"/>
                                        </p:tgtEl>
                                      </p:cBhvr>
                                    </p:animEffect>
                                  </p:childTnLst>
                                </p:cTn>
                              </p:par>
                              <p:par>
                                <p:cTn id="14" presetID="10" presetClass="entr" presetSubtype="0" fill="hold" nodeType="withEffect">
                                  <p:stCondLst>
                                    <p:cond delay="750"/>
                                  </p:stCondLst>
                                  <p:childTnLst>
                                    <p:set>
                                      <p:cBhvr>
                                        <p:cTn id="15" dur="1" fill="hold">
                                          <p:stCondLst>
                                            <p:cond delay="0"/>
                                          </p:stCondLst>
                                        </p:cTn>
                                        <p:tgtEl>
                                          <p:spTgt spid="208"/>
                                        </p:tgtEl>
                                        <p:attrNameLst>
                                          <p:attrName>style.visibility</p:attrName>
                                        </p:attrNameLst>
                                      </p:cBhvr>
                                      <p:to>
                                        <p:strVal val="visible"/>
                                      </p:to>
                                    </p:set>
                                    <p:animEffect transition="in" filter="fade">
                                      <p:cBhvr>
                                        <p:cTn id="16" dur="500"/>
                                        <p:tgtEl>
                                          <p:spTgt spid="208"/>
                                        </p:tgtEl>
                                      </p:cBhvr>
                                    </p:animEffect>
                                  </p:childTnLst>
                                </p:cTn>
                              </p:par>
                              <p:par>
                                <p:cTn id="17" presetID="22" presetClass="entr" presetSubtype="2" fill="hold" nodeType="withEffect">
                                  <p:stCondLst>
                                    <p:cond delay="500"/>
                                  </p:stCondLst>
                                  <p:childTnLst>
                                    <p:set>
                                      <p:cBhvr>
                                        <p:cTn id="18" dur="1" fill="hold">
                                          <p:stCondLst>
                                            <p:cond delay="0"/>
                                          </p:stCondLst>
                                        </p:cTn>
                                        <p:tgtEl>
                                          <p:spTgt spid="194"/>
                                        </p:tgtEl>
                                        <p:attrNameLst>
                                          <p:attrName>style.visibility</p:attrName>
                                        </p:attrNameLst>
                                      </p:cBhvr>
                                      <p:to>
                                        <p:strVal val="visible"/>
                                      </p:to>
                                    </p:set>
                                    <p:animEffect transition="in" filter="wipe(right)">
                                      <p:cBhvr>
                                        <p:cTn id="19" dur="1000"/>
                                        <p:tgtEl>
                                          <p:spTgt spid="194"/>
                                        </p:tgtEl>
                                      </p:cBhvr>
                                    </p:animEffect>
                                  </p:childTnLst>
                                </p:cTn>
                              </p:par>
                              <p:par>
                                <p:cTn id="20" presetID="10" presetClass="entr" presetSubtype="0" fill="hold" nodeType="withEffect">
                                  <p:stCondLst>
                                    <p:cond delay="1000"/>
                                  </p:stCondLst>
                                  <p:childTnLst>
                                    <p:set>
                                      <p:cBhvr>
                                        <p:cTn id="21" dur="1" fill="hold">
                                          <p:stCondLst>
                                            <p:cond delay="0"/>
                                          </p:stCondLst>
                                        </p:cTn>
                                        <p:tgtEl>
                                          <p:spTgt spid="209"/>
                                        </p:tgtEl>
                                        <p:attrNameLst>
                                          <p:attrName>style.visibility</p:attrName>
                                        </p:attrNameLst>
                                      </p:cBhvr>
                                      <p:to>
                                        <p:strVal val="visible"/>
                                      </p:to>
                                    </p:set>
                                    <p:animEffect transition="in" filter="fade">
                                      <p:cBhvr>
                                        <p:cTn id="22" dur="500"/>
                                        <p:tgtEl>
                                          <p:spTgt spid="209"/>
                                        </p:tgtEl>
                                      </p:cBhvr>
                                    </p:animEffect>
                                  </p:childTnLst>
                                </p:cTn>
                              </p:par>
                              <p:par>
                                <p:cTn id="23" presetID="10" presetClass="entr" presetSubtype="0" fill="hold" nodeType="withEffect">
                                  <p:stCondLst>
                                    <p:cond delay="1250"/>
                                  </p:stCondLst>
                                  <p:childTnLst>
                                    <p:set>
                                      <p:cBhvr>
                                        <p:cTn id="24" dur="1" fill="hold">
                                          <p:stCondLst>
                                            <p:cond delay="0"/>
                                          </p:stCondLst>
                                        </p:cTn>
                                        <p:tgtEl>
                                          <p:spTgt spid="210"/>
                                        </p:tgtEl>
                                        <p:attrNameLst>
                                          <p:attrName>style.visibility</p:attrName>
                                        </p:attrNameLst>
                                      </p:cBhvr>
                                      <p:to>
                                        <p:strVal val="visible"/>
                                      </p:to>
                                    </p:set>
                                    <p:animEffect transition="in" filter="fade">
                                      <p:cBhvr>
                                        <p:cTn id="25" dur="500"/>
                                        <p:tgtEl>
                                          <p:spTgt spid="210"/>
                                        </p:tgtEl>
                                      </p:cBhvr>
                                    </p:animEffect>
                                  </p:childTnLst>
                                </p:cTn>
                              </p:par>
                              <p:par>
                                <p:cTn id="26" presetID="10" presetClass="entr" presetSubtype="0" fill="hold" nodeType="withEffect">
                                  <p:stCondLst>
                                    <p:cond delay="1500"/>
                                  </p:stCondLst>
                                  <p:childTnLst>
                                    <p:set>
                                      <p:cBhvr>
                                        <p:cTn id="27" dur="1" fill="hold">
                                          <p:stCondLst>
                                            <p:cond delay="0"/>
                                          </p:stCondLst>
                                        </p:cTn>
                                        <p:tgtEl>
                                          <p:spTgt spid="211"/>
                                        </p:tgtEl>
                                        <p:attrNameLst>
                                          <p:attrName>style.visibility</p:attrName>
                                        </p:attrNameLst>
                                      </p:cBhvr>
                                      <p:to>
                                        <p:strVal val="visible"/>
                                      </p:to>
                                    </p:set>
                                    <p:animEffect transition="in" filter="fade">
                                      <p:cBhvr>
                                        <p:cTn id="28" dur="500"/>
                                        <p:tgtEl>
                                          <p:spTgt spid="21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62"/>
                                        </p:tgtEl>
                                        <p:attrNameLst>
                                          <p:attrName>style.visibility</p:attrName>
                                        </p:attrNameLst>
                                      </p:cBhvr>
                                      <p:to>
                                        <p:strVal val="visible"/>
                                      </p:to>
                                    </p:set>
                                    <p:animEffect transition="in" filter="fade">
                                      <p:cBhvr>
                                        <p:cTn id="33" dur="500"/>
                                        <p:tgtEl>
                                          <p:spTgt spid="362"/>
                                        </p:tgtEl>
                                      </p:cBhvr>
                                    </p:animEffect>
                                  </p:childTnLst>
                                </p:cTn>
                              </p:par>
                              <p:par>
                                <p:cTn id="34" presetID="10" presetClass="entr" presetSubtype="0" fill="hold" nodeType="withEffect">
                                  <p:stCondLst>
                                    <p:cond delay="0"/>
                                  </p:stCondLst>
                                  <p:childTnLst>
                                    <p:set>
                                      <p:cBhvr>
                                        <p:cTn id="35" dur="1" fill="hold">
                                          <p:stCondLst>
                                            <p:cond delay="0"/>
                                          </p:stCondLst>
                                        </p:cTn>
                                        <p:tgtEl>
                                          <p:spTgt spid="295"/>
                                        </p:tgtEl>
                                        <p:attrNameLst>
                                          <p:attrName>style.visibility</p:attrName>
                                        </p:attrNameLst>
                                      </p:cBhvr>
                                      <p:to>
                                        <p:strVal val="visible"/>
                                      </p:to>
                                    </p:set>
                                    <p:animEffect transition="in" filter="fade">
                                      <p:cBhvr>
                                        <p:cTn id="36" dur="500"/>
                                        <p:tgtEl>
                                          <p:spTgt spid="29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13"/>
                                        </p:tgtEl>
                                        <p:attrNameLst>
                                          <p:attrName>style.visibility</p:attrName>
                                        </p:attrNameLst>
                                      </p:cBhvr>
                                      <p:to>
                                        <p:strVal val="visible"/>
                                      </p:to>
                                    </p:set>
                                    <p:animEffect transition="in" filter="fade">
                                      <p:cBhvr>
                                        <p:cTn id="42" dur="500"/>
                                        <p:tgtEl>
                                          <p:spTgt spid="213"/>
                                        </p:tgtEl>
                                      </p:cBhvr>
                                    </p:animEffect>
                                  </p:childTnLst>
                                </p:cTn>
                              </p:par>
                              <p:par>
                                <p:cTn id="43" presetID="10" presetClass="entr" presetSubtype="0" fill="hold" nodeType="withEffect">
                                  <p:stCondLst>
                                    <p:cond delay="0"/>
                                  </p:stCondLst>
                                  <p:childTnLst>
                                    <p:set>
                                      <p:cBhvr>
                                        <p:cTn id="44" dur="1" fill="hold">
                                          <p:stCondLst>
                                            <p:cond delay="0"/>
                                          </p:stCondLst>
                                        </p:cTn>
                                        <p:tgtEl>
                                          <p:spTgt spid="288"/>
                                        </p:tgtEl>
                                        <p:attrNameLst>
                                          <p:attrName>style.visibility</p:attrName>
                                        </p:attrNameLst>
                                      </p:cBhvr>
                                      <p:to>
                                        <p:strVal val="visible"/>
                                      </p:to>
                                    </p:set>
                                    <p:animEffect transition="in" filter="fade">
                                      <p:cBhvr>
                                        <p:cTn id="45" dur="500"/>
                                        <p:tgtEl>
                                          <p:spTgt spid="288"/>
                                        </p:tgtEl>
                                      </p:cBhvr>
                                    </p:animEffect>
                                  </p:childTnLst>
                                </p:cTn>
                              </p:par>
                              <p:par>
                                <p:cTn id="46" presetID="10" presetClass="entr" presetSubtype="0" fill="hold" nodeType="withEffect">
                                  <p:stCondLst>
                                    <p:cond delay="0"/>
                                  </p:stCondLst>
                                  <p:childTnLst>
                                    <p:set>
                                      <p:cBhvr>
                                        <p:cTn id="47" dur="1" fill="hold">
                                          <p:stCondLst>
                                            <p:cond delay="0"/>
                                          </p:stCondLst>
                                        </p:cTn>
                                        <p:tgtEl>
                                          <p:spTgt spid="477"/>
                                        </p:tgtEl>
                                        <p:attrNameLst>
                                          <p:attrName>style.visibility</p:attrName>
                                        </p:attrNameLst>
                                      </p:cBhvr>
                                      <p:to>
                                        <p:strVal val="visible"/>
                                      </p:to>
                                    </p:set>
                                    <p:animEffect transition="in" filter="fade">
                                      <p:cBhvr>
                                        <p:cTn id="48" dur="500"/>
                                        <p:tgtEl>
                                          <p:spTgt spid="477"/>
                                        </p:tgtEl>
                                      </p:cBhvr>
                                    </p:animEffect>
                                  </p:childTnLst>
                                </p:cTn>
                              </p:par>
                              <p:par>
                                <p:cTn id="49" presetID="10" presetClass="entr" presetSubtype="0" fill="hold" nodeType="withEffect">
                                  <p:stCondLst>
                                    <p:cond delay="0"/>
                                  </p:stCondLst>
                                  <p:childTnLst>
                                    <p:set>
                                      <p:cBhvr>
                                        <p:cTn id="50" dur="1" fill="hold">
                                          <p:stCondLst>
                                            <p:cond delay="0"/>
                                          </p:stCondLst>
                                        </p:cTn>
                                        <p:tgtEl>
                                          <p:spTgt spid="476"/>
                                        </p:tgtEl>
                                        <p:attrNameLst>
                                          <p:attrName>style.visibility</p:attrName>
                                        </p:attrNameLst>
                                      </p:cBhvr>
                                      <p:to>
                                        <p:strVal val="visible"/>
                                      </p:to>
                                    </p:set>
                                    <p:animEffect transition="in" filter="fade">
                                      <p:cBhvr>
                                        <p:cTn id="51" dur="500"/>
                                        <p:tgtEl>
                                          <p:spTgt spid="47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01"/>
                                        </p:tgtEl>
                                        <p:attrNameLst>
                                          <p:attrName>style.visibility</p:attrName>
                                        </p:attrNameLst>
                                      </p:cBhvr>
                                      <p:to>
                                        <p:strVal val="visible"/>
                                      </p:to>
                                    </p:set>
                                    <p:animEffect transition="in" filter="fade">
                                      <p:cBhvr>
                                        <p:cTn id="54" dur="500"/>
                                        <p:tgtEl>
                                          <p:spTgt spid="30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19"/>
                                        </p:tgtEl>
                                        <p:attrNameLst>
                                          <p:attrName>style.visibility</p:attrName>
                                        </p:attrNameLst>
                                      </p:cBhvr>
                                      <p:to>
                                        <p:strVal val="visible"/>
                                      </p:to>
                                    </p:set>
                                    <p:animEffect transition="in" filter="fade">
                                      <p:cBhvr>
                                        <p:cTn id="57" dur="500"/>
                                        <p:tgtEl>
                                          <p:spTgt spid="419"/>
                                        </p:tgtEl>
                                      </p:cBhvr>
                                    </p:animEffect>
                                  </p:childTnLst>
                                </p:cTn>
                              </p:par>
                            </p:childTnLst>
                          </p:cTn>
                        </p:par>
                        <p:par>
                          <p:cTn id="58" fill="hold">
                            <p:stCondLst>
                              <p:cond delay="500"/>
                            </p:stCondLst>
                            <p:childTnLst>
                              <p:par>
                                <p:cTn id="59" presetID="22" presetClass="entr" presetSubtype="8" fill="hold" nodeType="afterEffect">
                                  <p:stCondLst>
                                    <p:cond delay="0"/>
                                  </p:stCondLst>
                                  <p:childTnLst>
                                    <p:set>
                                      <p:cBhvr>
                                        <p:cTn id="60" dur="1" fill="hold">
                                          <p:stCondLst>
                                            <p:cond delay="0"/>
                                          </p:stCondLst>
                                        </p:cTn>
                                        <p:tgtEl>
                                          <p:spTgt spid="214"/>
                                        </p:tgtEl>
                                        <p:attrNameLst>
                                          <p:attrName>style.visibility</p:attrName>
                                        </p:attrNameLst>
                                      </p:cBhvr>
                                      <p:to>
                                        <p:strVal val="visible"/>
                                      </p:to>
                                    </p:set>
                                    <p:animEffect transition="in" filter="wipe(left)">
                                      <p:cBhvr>
                                        <p:cTn id="61" dur="1000"/>
                                        <p:tgtEl>
                                          <p:spTgt spid="214"/>
                                        </p:tgtEl>
                                      </p:cBhvr>
                                    </p:animEffect>
                                  </p:childTnLst>
                                </p:cTn>
                              </p:par>
                              <p:par>
                                <p:cTn id="62" presetID="22" presetClass="entr" presetSubtype="8" fill="hold" nodeType="withEffect">
                                  <p:stCondLst>
                                    <p:cond delay="250"/>
                                  </p:stCondLst>
                                  <p:childTnLst>
                                    <p:set>
                                      <p:cBhvr>
                                        <p:cTn id="63" dur="1" fill="hold">
                                          <p:stCondLst>
                                            <p:cond delay="0"/>
                                          </p:stCondLst>
                                        </p:cTn>
                                        <p:tgtEl>
                                          <p:spTgt spid="223"/>
                                        </p:tgtEl>
                                        <p:attrNameLst>
                                          <p:attrName>style.visibility</p:attrName>
                                        </p:attrNameLst>
                                      </p:cBhvr>
                                      <p:to>
                                        <p:strVal val="visible"/>
                                      </p:to>
                                    </p:set>
                                    <p:animEffect transition="in" filter="wipe(left)">
                                      <p:cBhvr>
                                        <p:cTn id="64" dur="1000"/>
                                        <p:tgtEl>
                                          <p:spTgt spid="223"/>
                                        </p:tgtEl>
                                      </p:cBhvr>
                                    </p:animEffect>
                                  </p:childTnLst>
                                </p:cTn>
                              </p:par>
                              <p:par>
                                <p:cTn id="65" presetID="22" presetClass="entr" presetSubtype="8" fill="hold" nodeType="withEffect">
                                  <p:stCondLst>
                                    <p:cond delay="500"/>
                                  </p:stCondLst>
                                  <p:childTnLst>
                                    <p:set>
                                      <p:cBhvr>
                                        <p:cTn id="66" dur="1" fill="hold">
                                          <p:stCondLst>
                                            <p:cond delay="0"/>
                                          </p:stCondLst>
                                        </p:cTn>
                                        <p:tgtEl>
                                          <p:spTgt spid="224"/>
                                        </p:tgtEl>
                                        <p:attrNameLst>
                                          <p:attrName>style.visibility</p:attrName>
                                        </p:attrNameLst>
                                      </p:cBhvr>
                                      <p:to>
                                        <p:strVal val="visible"/>
                                      </p:to>
                                    </p:set>
                                    <p:animEffect transition="in" filter="wipe(left)">
                                      <p:cBhvr>
                                        <p:cTn id="67" dur="1000"/>
                                        <p:tgtEl>
                                          <p:spTgt spid="224"/>
                                        </p:tgtEl>
                                      </p:cBhvr>
                                    </p:animEffect>
                                  </p:childTnLst>
                                </p:cTn>
                              </p:par>
                              <p:par>
                                <p:cTn id="68" presetID="10" presetClass="entr" presetSubtype="0" fill="hold" nodeType="withEffect">
                                  <p:stCondLst>
                                    <p:cond delay="500"/>
                                  </p:stCondLst>
                                  <p:childTnLst>
                                    <p:set>
                                      <p:cBhvr>
                                        <p:cTn id="69" dur="1" fill="hold">
                                          <p:stCondLst>
                                            <p:cond delay="0"/>
                                          </p:stCondLst>
                                        </p:cTn>
                                        <p:tgtEl>
                                          <p:spTgt spid="311"/>
                                        </p:tgtEl>
                                        <p:attrNameLst>
                                          <p:attrName>style.visibility</p:attrName>
                                        </p:attrNameLst>
                                      </p:cBhvr>
                                      <p:to>
                                        <p:strVal val="visible"/>
                                      </p:to>
                                    </p:set>
                                    <p:animEffect transition="in" filter="fade">
                                      <p:cBhvr>
                                        <p:cTn id="70" dur="500"/>
                                        <p:tgtEl>
                                          <p:spTgt spid="311"/>
                                        </p:tgtEl>
                                      </p:cBhvr>
                                    </p:animEffect>
                                  </p:childTnLst>
                                </p:cTn>
                              </p:par>
                              <p:par>
                                <p:cTn id="71" presetID="10" presetClass="entr" presetSubtype="0" fill="hold" nodeType="withEffect">
                                  <p:stCondLst>
                                    <p:cond delay="750"/>
                                  </p:stCondLst>
                                  <p:childTnLst>
                                    <p:set>
                                      <p:cBhvr>
                                        <p:cTn id="72" dur="1" fill="hold">
                                          <p:stCondLst>
                                            <p:cond delay="0"/>
                                          </p:stCondLst>
                                        </p:cTn>
                                        <p:tgtEl>
                                          <p:spTgt spid="345"/>
                                        </p:tgtEl>
                                        <p:attrNameLst>
                                          <p:attrName>style.visibility</p:attrName>
                                        </p:attrNameLst>
                                      </p:cBhvr>
                                      <p:to>
                                        <p:strVal val="visible"/>
                                      </p:to>
                                    </p:set>
                                    <p:animEffect transition="in" filter="fade">
                                      <p:cBhvr>
                                        <p:cTn id="73" dur="500"/>
                                        <p:tgtEl>
                                          <p:spTgt spid="345"/>
                                        </p:tgtEl>
                                      </p:cBhvr>
                                    </p:animEffect>
                                  </p:childTnLst>
                                </p:cTn>
                              </p:par>
                              <p:par>
                                <p:cTn id="74" presetID="10" presetClass="entr" presetSubtype="0" fill="hold" nodeType="withEffect">
                                  <p:stCondLst>
                                    <p:cond delay="1000"/>
                                  </p:stCondLst>
                                  <p:childTnLst>
                                    <p:set>
                                      <p:cBhvr>
                                        <p:cTn id="75" dur="1" fill="hold">
                                          <p:stCondLst>
                                            <p:cond delay="0"/>
                                          </p:stCondLst>
                                        </p:cTn>
                                        <p:tgtEl>
                                          <p:spTgt spid="333"/>
                                        </p:tgtEl>
                                        <p:attrNameLst>
                                          <p:attrName>style.visibility</p:attrName>
                                        </p:attrNameLst>
                                      </p:cBhvr>
                                      <p:to>
                                        <p:strVal val="visible"/>
                                      </p:to>
                                    </p:set>
                                    <p:animEffect transition="in" filter="fade">
                                      <p:cBhvr>
                                        <p:cTn id="76" dur="500"/>
                                        <p:tgtEl>
                                          <p:spTgt spid="333"/>
                                        </p:tgtEl>
                                      </p:cBhvr>
                                    </p:animEffect>
                                  </p:childTnLst>
                                </p:cTn>
                              </p:par>
                              <p:par>
                                <p:cTn id="77" presetID="10" presetClass="entr" presetSubtype="0" fill="hold" nodeType="withEffect">
                                  <p:stCondLst>
                                    <p:cond delay="1250"/>
                                  </p:stCondLst>
                                  <p:childTnLst>
                                    <p:set>
                                      <p:cBhvr>
                                        <p:cTn id="78" dur="1" fill="hold">
                                          <p:stCondLst>
                                            <p:cond delay="0"/>
                                          </p:stCondLst>
                                        </p:cTn>
                                        <p:tgtEl>
                                          <p:spTgt spid="321"/>
                                        </p:tgtEl>
                                        <p:attrNameLst>
                                          <p:attrName>style.visibility</p:attrName>
                                        </p:attrNameLst>
                                      </p:cBhvr>
                                      <p:to>
                                        <p:strVal val="visible"/>
                                      </p:to>
                                    </p:set>
                                    <p:animEffect transition="in" filter="fade">
                                      <p:cBhvr>
                                        <p:cTn id="79" dur="500"/>
                                        <p:tgtEl>
                                          <p:spTgt spid="321"/>
                                        </p:tgtEl>
                                      </p:cBhvr>
                                    </p:animEffect>
                                  </p:childTnLst>
                                </p:cTn>
                              </p:par>
                              <p:par>
                                <p:cTn id="80" presetID="10" presetClass="entr" presetSubtype="0" fill="hold" nodeType="withEffect">
                                  <p:stCondLst>
                                    <p:cond delay="1500"/>
                                  </p:stCondLst>
                                  <p:childTnLst>
                                    <p:set>
                                      <p:cBhvr>
                                        <p:cTn id="81" dur="1" fill="hold">
                                          <p:stCondLst>
                                            <p:cond delay="0"/>
                                          </p:stCondLst>
                                        </p:cTn>
                                        <p:tgtEl>
                                          <p:spTgt spid="302"/>
                                        </p:tgtEl>
                                        <p:attrNameLst>
                                          <p:attrName>style.visibility</p:attrName>
                                        </p:attrNameLst>
                                      </p:cBhvr>
                                      <p:to>
                                        <p:strVal val="visible"/>
                                      </p:to>
                                    </p:set>
                                    <p:animEffect transition="in" filter="fade">
                                      <p:cBhvr>
                                        <p:cTn id="82" dur="500"/>
                                        <p:tgtEl>
                                          <p:spTgt spid="302"/>
                                        </p:tgtEl>
                                      </p:cBhvr>
                                    </p:animEffect>
                                  </p:childTnLst>
                                </p:cTn>
                              </p:par>
                              <p:par>
                                <p:cTn id="83" presetID="10" presetClass="entr" presetSubtype="0" fill="hold" nodeType="withEffect">
                                  <p:stCondLst>
                                    <p:cond delay="500"/>
                                  </p:stCondLst>
                                  <p:childTnLst>
                                    <p:set>
                                      <p:cBhvr>
                                        <p:cTn id="84" dur="1" fill="hold">
                                          <p:stCondLst>
                                            <p:cond delay="0"/>
                                          </p:stCondLst>
                                        </p:cTn>
                                        <p:tgtEl>
                                          <p:spTgt spid="372"/>
                                        </p:tgtEl>
                                        <p:attrNameLst>
                                          <p:attrName>style.visibility</p:attrName>
                                        </p:attrNameLst>
                                      </p:cBhvr>
                                      <p:to>
                                        <p:strVal val="visible"/>
                                      </p:to>
                                    </p:set>
                                    <p:animEffect transition="in" filter="fade">
                                      <p:cBhvr>
                                        <p:cTn id="85" dur="500"/>
                                        <p:tgtEl>
                                          <p:spTgt spid="372"/>
                                        </p:tgtEl>
                                      </p:cBhvr>
                                    </p:animEffect>
                                  </p:childTnLst>
                                </p:cTn>
                              </p:par>
                              <p:par>
                                <p:cTn id="86" presetID="10" presetClass="entr" presetSubtype="0" fill="hold" nodeType="withEffect">
                                  <p:stCondLst>
                                    <p:cond delay="750"/>
                                  </p:stCondLst>
                                  <p:childTnLst>
                                    <p:set>
                                      <p:cBhvr>
                                        <p:cTn id="87" dur="1" fill="hold">
                                          <p:stCondLst>
                                            <p:cond delay="0"/>
                                          </p:stCondLst>
                                        </p:cTn>
                                        <p:tgtEl>
                                          <p:spTgt spid="406"/>
                                        </p:tgtEl>
                                        <p:attrNameLst>
                                          <p:attrName>style.visibility</p:attrName>
                                        </p:attrNameLst>
                                      </p:cBhvr>
                                      <p:to>
                                        <p:strVal val="visible"/>
                                      </p:to>
                                    </p:set>
                                    <p:animEffect transition="in" filter="fade">
                                      <p:cBhvr>
                                        <p:cTn id="88" dur="500"/>
                                        <p:tgtEl>
                                          <p:spTgt spid="406"/>
                                        </p:tgtEl>
                                      </p:cBhvr>
                                    </p:animEffect>
                                  </p:childTnLst>
                                </p:cTn>
                              </p:par>
                              <p:par>
                                <p:cTn id="89" presetID="10" presetClass="entr" presetSubtype="0" fill="hold" nodeType="withEffect">
                                  <p:stCondLst>
                                    <p:cond delay="1000"/>
                                  </p:stCondLst>
                                  <p:childTnLst>
                                    <p:set>
                                      <p:cBhvr>
                                        <p:cTn id="90" dur="1" fill="hold">
                                          <p:stCondLst>
                                            <p:cond delay="0"/>
                                          </p:stCondLst>
                                        </p:cTn>
                                        <p:tgtEl>
                                          <p:spTgt spid="394"/>
                                        </p:tgtEl>
                                        <p:attrNameLst>
                                          <p:attrName>style.visibility</p:attrName>
                                        </p:attrNameLst>
                                      </p:cBhvr>
                                      <p:to>
                                        <p:strVal val="visible"/>
                                      </p:to>
                                    </p:set>
                                    <p:animEffect transition="in" filter="fade">
                                      <p:cBhvr>
                                        <p:cTn id="91" dur="500"/>
                                        <p:tgtEl>
                                          <p:spTgt spid="394"/>
                                        </p:tgtEl>
                                      </p:cBhvr>
                                    </p:animEffect>
                                  </p:childTnLst>
                                </p:cTn>
                              </p:par>
                              <p:par>
                                <p:cTn id="92" presetID="10" presetClass="entr" presetSubtype="0" fill="hold" nodeType="withEffect">
                                  <p:stCondLst>
                                    <p:cond delay="1250"/>
                                  </p:stCondLst>
                                  <p:childTnLst>
                                    <p:set>
                                      <p:cBhvr>
                                        <p:cTn id="93" dur="1" fill="hold">
                                          <p:stCondLst>
                                            <p:cond delay="0"/>
                                          </p:stCondLst>
                                        </p:cTn>
                                        <p:tgtEl>
                                          <p:spTgt spid="382"/>
                                        </p:tgtEl>
                                        <p:attrNameLst>
                                          <p:attrName>style.visibility</p:attrName>
                                        </p:attrNameLst>
                                      </p:cBhvr>
                                      <p:to>
                                        <p:strVal val="visible"/>
                                      </p:to>
                                    </p:set>
                                    <p:animEffect transition="in" filter="fade">
                                      <p:cBhvr>
                                        <p:cTn id="94" dur="500"/>
                                        <p:tgtEl>
                                          <p:spTgt spid="382"/>
                                        </p:tgtEl>
                                      </p:cBhvr>
                                    </p:animEffect>
                                  </p:childTnLst>
                                </p:cTn>
                              </p:par>
                              <p:par>
                                <p:cTn id="95" presetID="10" presetClass="entr" presetSubtype="0" fill="hold" nodeType="withEffect">
                                  <p:stCondLst>
                                    <p:cond delay="1500"/>
                                  </p:stCondLst>
                                  <p:childTnLst>
                                    <p:set>
                                      <p:cBhvr>
                                        <p:cTn id="96" dur="1" fill="hold">
                                          <p:stCondLst>
                                            <p:cond delay="0"/>
                                          </p:stCondLst>
                                        </p:cTn>
                                        <p:tgtEl>
                                          <p:spTgt spid="363"/>
                                        </p:tgtEl>
                                        <p:attrNameLst>
                                          <p:attrName>style.visibility</p:attrName>
                                        </p:attrNameLst>
                                      </p:cBhvr>
                                      <p:to>
                                        <p:strVal val="visible"/>
                                      </p:to>
                                    </p:set>
                                    <p:animEffect transition="in" filter="fade">
                                      <p:cBhvr>
                                        <p:cTn id="97" dur="500"/>
                                        <p:tgtEl>
                                          <p:spTgt spid="363"/>
                                        </p:tgtEl>
                                      </p:cBhvr>
                                    </p:animEffect>
                                  </p:childTnLst>
                                </p:cTn>
                              </p:par>
                              <p:par>
                                <p:cTn id="98" presetID="10" presetClass="entr" presetSubtype="0" fill="hold" nodeType="withEffect">
                                  <p:stCondLst>
                                    <p:cond delay="500"/>
                                  </p:stCondLst>
                                  <p:childTnLst>
                                    <p:set>
                                      <p:cBhvr>
                                        <p:cTn id="99" dur="1" fill="hold">
                                          <p:stCondLst>
                                            <p:cond delay="0"/>
                                          </p:stCondLst>
                                        </p:cTn>
                                        <p:tgtEl>
                                          <p:spTgt spid="429"/>
                                        </p:tgtEl>
                                        <p:attrNameLst>
                                          <p:attrName>style.visibility</p:attrName>
                                        </p:attrNameLst>
                                      </p:cBhvr>
                                      <p:to>
                                        <p:strVal val="visible"/>
                                      </p:to>
                                    </p:set>
                                    <p:animEffect transition="in" filter="fade">
                                      <p:cBhvr>
                                        <p:cTn id="100" dur="500"/>
                                        <p:tgtEl>
                                          <p:spTgt spid="429"/>
                                        </p:tgtEl>
                                      </p:cBhvr>
                                    </p:animEffect>
                                  </p:childTnLst>
                                </p:cTn>
                              </p:par>
                              <p:par>
                                <p:cTn id="101" presetID="10" presetClass="entr" presetSubtype="0" fill="hold" nodeType="withEffect">
                                  <p:stCondLst>
                                    <p:cond delay="750"/>
                                  </p:stCondLst>
                                  <p:childTnLst>
                                    <p:set>
                                      <p:cBhvr>
                                        <p:cTn id="102" dur="1" fill="hold">
                                          <p:stCondLst>
                                            <p:cond delay="0"/>
                                          </p:stCondLst>
                                        </p:cTn>
                                        <p:tgtEl>
                                          <p:spTgt spid="463"/>
                                        </p:tgtEl>
                                        <p:attrNameLst>
                                          <p:attrName>style.visibility</p:attrName>
                                        </p:attrNameLst>
                                      </p:cBhvr>
                                      <p:to>
                                        <p:strVal val="visible"/>
                                      </p:to>
                                    </p:set>
                                    <p:animEffect transition="in" filter="fade">
                                      <p:cBhvr>
                                        <p:cTn id="103" dur="500"/>
                                        <p:tgtEl>
                                          <p:spTgt spid="463"/>
                                        </p:tgtEl>
                                      </p:cBhvr>
                                    </p:animEffect>
                                  </p:childTnLst>
                                </p:cTn>
                              </p:par>
                              <p:par>
                                <p:cTn id="104" presetID="10" presetClass="entr" presetSubtype="0" fill="hold" nodeType="withEffect">
                                  <p:stCondLst>
                                    <p:cond delay="1000"/>
                                  </p:stCondLst>
                                  <p:childTnLst>
                                    <p:set>
                                      <p:cBhvr>
                                        <p:cTn id="105" dur="1" fill="hold">
                                          <p:stCondLst>
                                            <p:cond delay="0"/>
                                          </p:stCondLst>
                                        </p:cTn>
                                        <p:tgtEl>
                                          <p:spTgt spid="451"/>
                                        </p:tgtEl>
                                        <p:attrNameLst>
                                          <p:attrName>style.visibility</p:attrName>
                                        </p:attrNameLst>
                                      </p:cBhvr>
                                      <p:to>
                                        <p:strVal val="visible"/>
                                      </p:to>
                                    </p:set>
                                    <p:animEffect transition="in" filter="fade">
                                      <p:cBhvr>
                                        <p:cTn id="106" dur="500"/>
                                        <p:tgtEl>
                                          <p:spTgt spid="451"/>
                                        </p:tgtEl>
                                      </p:cBhvr>
                                    </p:animEffect>
                                  </p:childTnLst>
                                </p:cTn>
                              </p:par>
                              <p:par>
                                <p:cTn id="107" presetID="10" presetClass="entr" presetSubtype="0" fill="hold" nodeType="withEffect">
                                  <p:stCondLst>
                                    <p:cond delay="1250"/>
                                  </p:stCondLst>
                                  <p:childTnLst>
                                    <p:set>
                                      <p:cBhvr>
                                        <p:cTn id="108" dur="1" fill="hold">
                                          <p:stCondLst>
                                            <p:cond delay="0"/>
                                          </p:stCondLst>
                                        </p:cTn>
                                        <p:tgtEl>
                                          <p:spTgt spid="439"/>
                                        </p:tgtEl>
                                        <p:attrNameLst>
                                          <p:attrName>style.visibility</p:attrName>
                                        </p:attrNameLst>
                                      </p:cBhvr>
                                      <p:to>
                                        <p:strVal val="visible"/>
                                      </p:to>
                                    </p:set>
                                    <p:animEffect transition="in" filter="fade">
                                      <p:cBhvr>
                                        <p:cTn id="109" dur="500"/>
                                        <p:tgtEl>
                                          <p:spTgt spid="439"/>
                                        </p:tgtEl>
                                      </p:cBhvr>
                                    </p:animEffect>
                                  </p:childTnLst>
                                </p:cTn>
                              </p:par>
                              <p:par>
                                <p:cTn id="110" presetID="10" presetClass="entr" presetSubtype="0" fill="hold" nodeType="withEffect">
                                  <p:stCondLst>
                                    <p:cond delay="1500"/>
                                  </p:stCondLst>
                                  <p:childTnLst>
                                    <p:set>
                                      <p:cBhvr>
                                        <p:cTn id="111" dur="1" fill="hold">
                                          <p:stCondLst>
                                            <p:cond delay="0"/>
                                          </p:stCondLst>
                                        </p:cTn>
                                        <p:tgtEl>
                                          <p:spTgt spid="420"/>
                                        </p:tgtEl>
                                        <p:attrNameLst>
                                          <p:attrName>style.visibility</p:attrName>
                                        </p:attrNameLst>
                                      </p:cBhvr>
                                      <p:to>
                                        <p:strVal val="visible"/>
                                      </p:to>
                                    </p:set>
                                    <p:animEffect transition="in" filter="fade">
                                      <p:cBhvr>
                                        <p:cTn id="112" dur="500"/>
                                        <p:tgtEl>
                                          <p:spTgt spid="4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2" grpId="0" animBg="1"/>
      <p:bldP spid="28" grpId="0"/>
      <p:bldP spid="301" grpId="0" animBg="1"/>
      <p:bldP spid="419" grpId="0" animBg="1"/>
      <p:bldP spid="21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4288414" y="1584765"/>
            <a:ext cx="1677062" cy="286232"/>
          </a:xfrm>
          <a:prstGeom prst="rect">
            <a:avLst/>
          </a:prstGeom>
          <a:noFill/>
        </p:spPr>
        <p:txBody>
          <a:bodyPr wrap="none" rtlCol="0">
            <a:spAutoFit/>
          </a:bodyPr>
          <a:lstStyle/>
          <a:p>
            <a:pPr marL="0" marR="0" lvl="0" indent="0" algn="ctr" defTabSz="68580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solidFill>
                  <a:srgbClr val="FBAB18"/>
                </a:solidFill>
                <a:effectLst/>
                <a:uLnTx/>
                <a:uFillTx/>
                <a:latin typeface="CiscoSansTT ExtraLight"/>
                <a:ea typeface="ＭＳ Ｐゴシック" charset="0"/>
              </a:rPr>
              <a:t>Network Boundary</a:t>
            </a:r>
          </a:p>
        </p:txBody>
      </p:sp>
      <p:sp>
        <p:nvSpPr>
          <p:cNvPr id="38" name="TextBox 37"/>
          <p:cNvSpPr txBox="1"/>
          <p:nvPr/>
        </p:nvSpPr>
        <p:spPr>
          <a:xfrm>
            <a:off x="4389394" y="3902979"/>
            <a:ext cx="657552" cy="286232"/>
          </a:xfrm>
          <a:prstGeom prst="rect">
            <a:avLst/>
          </a:prstGeom>
          <a:noFill/>
        </p:spPr>
        <p:txBody>
          <a:bodyPr wrap="none" rtlCol="0">
            <a:spAutoFit/>
          </a:bodyPr>
          <a:lstStyle/>
          <a:p>
            <a:pPr marL="0" marR="0" lvl="0" indent="0" algn="r" defTabSz="68580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solidFill>
                  <a:srgbClr val="282828"/>
                </a:solidFill>
                <a:effectLst/>
                <a:uLnTx/>
                <a:uFillTx/>
                <a:latin typeface="CiscoSansTT ExtraLight"/>
                <a:ea typeface="ＭＳ Ｐゴシック" charset="0"/>
              </a:rPr>
              <a:t>Inside</a:t>
            </a:r>
          </a:p>
        </p:txBody>
      </p:sp>
      <p:sp>
        <p:nvSpPr>
          <p:cNvPr id="39" name="TextBox 38"/>
          <p:cNvSpPr txBox="1"/>
          <p:nvPr/>
        </p:nvSpPr>
        <p:spPr>
          <a:xfrm>
            <a:off x="5191065" y="3902979"/>
            <a:ext cx="805029" cy="286232"/>
          </a:xfrm>
          <a:prstGeom prst="rect">
            <a:avLst/>
          </a:prstGeom>
          <a:noFill/>
        </p:spPr>
        <p:txBody>
          <a:bodyPr wrap="none" rtlCol="0">
            <a:spAutoFit/>
          </a:bodyPr>
          <a:lstStyle/>
          <a:p>
            <a:pPr marL="0" marR="0" lvl="0" indent="0" algn="l" defTabSz="68580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dirty="0">
                <a:ln>
                  <a:noFill/>
                </a:ln>
                <a:solidFill>
                  <a:srgbClr val="282828"/>
                </a:solidFill>
                <a:effectLst/>
                <a:uLnTx/>
                <a:uFillTx/>
                <a:latin typeface="CiscoSansTT ExtraLight"/>
                <a:ea typeface="ＭＳ Ｐゴシック" charset="0"/>
              </a:rPr>
              <a:t>Outside</a:t>
            </a:r>
          </a:p>
        </p:txBody>
      </p:sp>
      <p:sp>
        <p:nvSpPr>
          <p:cNvPr id="2" name="Title 1">
            <a:extLst>
              <a:ext uri="{FF2B5EF4-FFF2-40B4-BE49-F238E27FC236}">
                <a16:creationId xmlns:a16="http://schemas.microsoft.com/office/drawing/2014/main" id="{3C087B19-7700-4124-88DF-3F334768E22C}"/>
              </a:ext>
            </a:extLst>
          </p:cNvPr>
          <p:cNvSpPr>
            <a:spLocks noGrp="1"/>
          </p:cNvSpPr>
          <p:nvPr>
            <p:ph type="title"/>
          </p:nvPr>
        </p:nvSpPr>
        <p:spPr/>
        <p:txBody>
          <a:bodyPr/>
          <a:lstStyle/>
          <a:p>
            <a:r>
              <a:rPr lang="en-US" dirty="0"/>
              <a:t>Insider threat example: data exfiltration</a:t>
            </a:r>
          </a:p>
        </p:txBody>
      </p:sp>
      <p:sp>
        <p:nvSpPr>
          <p:cNvPr id="42" name="Oval 41">
            <a:extLst>
              <a:ext uri="{FF2B5EF4-FFF2-40B4-BE49-F238E27FC236}">
                <a16:creationId xmlns:a16="http://schemas.microsoft.com/office/drawing/2014/main" id="{3F494255-CE72-435B-A28A-51D6AF85D13E}"/>
              </a:ext>
            </a:extLst>
          </p:cNvPr>
          <p:cNvSpPr/>
          <p:nvPr/>
        </p:nvSpPr>
        <p:spPr>
          <a:xfrm>
            <a:off x="5803903" y="2331683"/>
            <a:ext cx="639975" cy="640080"/>
          </a:xfrm>
          <a:prstGeom prst="ellipse">
            <a:avLst/>
          </a:prstGeom>
          <a:solidFill>
            <a:schemeClr val="bg1"/>
          </a:solidFill>
          <a:ln w="25400" cap="flat" cmpd="sng" algn="ctr">
            <a:noFill/>
            <a:prstDash val="solid"/>
          </a:ln>
          <a:effectLst/>
        </p:spPr>
        <p:txBody>
          <a:bodyPr rot="0" spcFirstLastPara="0" vertOverflow="overflow" horzOverflow="overflow" vert="horz" wrap="square" lIns="457200" tIns="45720" rIns="457200" bIns="45720" numCol="1" spcCol="0" rtlCol="0" fromWordArt="0" anchor="ctr" anchorCtr="1" forceAA="0" compatLnSpc="1">
            <a:prstTxWarp prst="textNoShape">
              <a:avLst/>
            </a:prstTxWarp>
            <a:noAutofit/>
          </a:bodyPr>
          <a:lstStyle/>
          <a:p>
            <a:pPr marL="0" marR="0" lvl="0" indent="0" algn="ctr" defTabSz="685813" rtl="0" eaLnBrk="1" fontAlgn="auto" latinLnBrk="0" hangingPunct="1">
              <a:lnSpc>
                <a:spcPct val="100000"/>
              </a:lnSpc>
              <a:spcBef>
                <a:spcPts val="0"/>
              </a:spcBef>
              <a:spcAft>
                <a:spcPts val="0"/>
              </a:spcAft>
              <a:buClrTx/>
              <a:buSzTx/>
              <a:buFontTx/>
              <a:buNone/>
              <a:tabLst/>
              <a:defRPr/>
            </a:pPr>
            <a:endParaRPr kumimoji="0" lang="en-US" sz="2100" b="1"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grpSp>
        <p:nvGrpSpPr>
          <p:cNvPr id="43" name="Group 42">
            <a:extLst>
              <a:ext uri="{FF2B5EF4-FFF2-40B4-BE49-F238E27FC236}">
                <a16:creationId xmlns:a16="http://schemas.microsoft.com/office/drawing/2014/main" id="{83A1EC4B-97C3-4780-A166-CB46778C34E7}"/>
              </a:ext>
            </a:extLst>
          </p:cNvPr>
          <p:cNvGrpSpPr/>
          <p:nvPr/>
        </p:nvGrpSpPr>
        <p:grpSpPr>
          <a:xfrm>
            <a:off x="5887550" y="2363144"/>
            <a:ext cx="441282" cy="75985"/>
            <a:chOff x="3846446" y="1801265"/>
            <a:chExt cx="441282" cy="75985"/>
          </a:xfrm>
        </p:grpSpPr>
        <p:sp>
          <p:nvSpPr>
            <p:cNvPr id="44" name="Freeform 17">
              <a:extLst>
                <a:ext uri="{FF2B5EF4-FFF2-40B4-BE49-F238E27FC236}">
                  <a16:creationId xmlns:a16="http://schemas.microsoft.com/office/drawing/2014/main" id="{AB8907A5-F98A-492C-B239-2BF2B2B5824F}"/>
                </a:ext>
              </a:extLst>
            </p:cNvPr>
            <p:cNvSpPr>
              <a:spLocks noEditPoints="1"/>
            </p:cNvSpPr>
            <p:nvPr/>
          </p:nvSpPr>
          <p:spPr bwMode="auto">
            <a:xfrm>
              <a:off x="3846446" y="1802882"/>
              <a:ext cx="27484" cy="7275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5" name="Freeform 18">
              <a:extLst>
                <a:ext uri="{FF2B5EF4-FFF2-40B4-BE49-F238E27FC236}">
                  <a16:creationId xmlns:a16="http://schemas.microsoft.com/office/drawing/2014/main" id="{E4AA8603-1DEE-4C95-B408-787B29B037FB}"/>
                </a:ext>
              </a:extLst>
            </p:cNvPr>
            <p:cNvSpPr>
              <a:spLocks noEditPoints="1"/>
            </p:cNvSpPr>
            <p:nvPr/>
          </p:nvSpPr>
          <p:spPr bwMode="auto">
            <a:xfrm>
              <a:off x="3889162" y="1801265"/>
              <a:ext cx="50119" cy="7598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6" name="Freeform 19">
              <a:extLst>
                <a:ext uri="{FF2B5EF4-FFF2-40B4-BE49-F238E27FC236}">
                  <a16:creationId xmlns:a16="http://schemas.microsoft.com/office/drawing/2014/main" id="{32452752-0632-4835-A003-80A44605AD12}"/>
                </a:ext>
              </a:extLst>
            </p:cNvPr>
            <p:cNvSpPr>
              <a:spLocks noEditPoints="1"/>
            </p:cNvSpPr>
            <p:nvPr/>
          </p:nvSpPr>
          <p:spPr bwMode="auto">
            <a:xfrm>
              <a:off x="3954512" y="1801265"/>
              <a:ext cx="50119"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7" name="Freeform 20">
              <a:extLst>
                <a:ext uri="{FF2B5EF4-FFF2-40B4-BE49-F238E27FC236}">
                  <a16:creationId xmlns:a16="http://schemas.microsoft.com/office/drawing/2014/main" id="{9A3B3F52-B7A9-4B63-84BE-B0C683DC8728}"/>
                </a:ext>
              </a:extLst>
            </p:cNvPr>
            <p:cNvSpPr>
              <a:spLocks noEditPoints="1"/>
            </p:cNvSpPr>
            <p:nvPr/>
          </p:nvSpPr>
          <p:spPr bwMode="auto">
            <a:xfrm>
              <a:off x="4019862" y="1802882"/>
              <a:ext cx="27484" cy="72752"/>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8" name="Freeform 16">
              <a:extLst>
                <a:ext uri="{FF2B5EF4-FFF2-40B4-BE49-F238E27FC236}">
                  <a16:creationId xmlns:a16="http://schemas.microsoft.com/office/drawing/2014/main" id="{E946FF20-576E-4779-B331-2F801FABA72E}"/>
                </a:ext>
              </a:extLst>
            </p:cNvPr>
            <p:cNvSpPr>
              <a:spLocks noEditPoints="1"/>
            </p:cNvSpPr>
            <p:nvPr/>
          </p:nvSpPr>
          <p:spPr bwMode="auto">
            <a:xfrm>
              <a:off x="4062578" y="1801265"/>
              <a:ext cx="51734"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9" name="Freeform 17">
              <a:extLst>
                <a:ext uri="{FF2B5EF4-FFF2-40B4-BE49-F238E27FC236}">
                  <a16:creationId xmlns:a16="http://schemas.microsoft.com/office/drawing/2014/main" id="{DD658CA5-37BC-4F20-AABA-16B006372797}"/>
                </a:ext>
              </a:extLst>
            </p:cNvPr>
            <p:cNvSpPr>
              <a:spLocks noEditPoints="1"/>
            </p:cNvSpPr>
            <p:nvPr/>
          </p:nvSpPr>
          <p:spPr bwMode="auto">
            <a:xfrm>
              <a:off x="4129544" y="1802882"/>
              <a:ext cx="27484" cy="7275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0" name="Freeform 18">
              <a:extLst>
                <a:ext uri="{FF2B5EF4-FFF2-40B4-BE49-F238E27FC236}">
                  <a16:creationId xmlns:a16="http://schemas.microsoft.com/office/drawing/2014/main" id="{D591607E-4718-4ECA-A72C-CF29B236D4DC}"/>
                </a:ext>
              </a:extLst>
            </p:cNvPr>
            <p:cNvSpPr>
              <a:spLocks noEditPoints="1"/>
            </p:cNvSpPr>
            <p:nvPr/>
          </p:nvSpPr>
          <p:spPr bwMode="auto">
            <a:xfrm>
              <a:off x="4172259" y="1801265"/>
              <a:ext cx="50119" cy="7598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1" name="Freeform 19">
              <a:extLst>
                <a:ext uri="{FF2B5EF4-FFF2-40B4-BE49-F238E27FC236}">
                  <a16:creationId xmlns:a16="http://schemas.microsoft.com/office/drawing/2014/main" id="{EB4FB89C-1269-4C03-B205-68C42316460C}"/>
                </a:ext>
              </a:extLst>
            </p:cNvPr>
            <p:cNvSpPr>
              <a:spLocks noEditPoints="1"/>
            </p:cNvSpPr>
            <p:nvPr/>
          </p:nvSpPr>
          <p:spPr bwMode="auto">
            <a:xfrm>
              <a:off x="4237609" y="1801265"/>
              <a:ext cx="50119"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52" name="Group 51">
            <a:extLst>
              <a:ext uri="{FF2B5EF4-FFF2-40B4-BE49-F238E27FC236}">
                <a16:creationId xmlns:a16="http://schemas.microsoft.com/office/drawing/2014/main" id="{9DE8DC0A-ABBD-4C08-98E1-F15048F37C9E}"/>
              </a:ext>
            </a:extLst>
          </p:cNvPr>
          <p:cNvGrpSpPr/>
          <p:nvPr/>
        </p:nvGrpSpPr>
        <p:grpSpPr>
          <a:xfrm>
            <a:off x="5884146" y="2865937"/>
            <a:ext cx="502030" cy="74369"/>
            <a:chOff x="3843042" y="2304058"/>
            <a:chExt cx="502030" cy="74369"/>
          </a:xfrm>
        </p:grpSpPr>
        <p:sp>
          <p:nvSpPr>
            <p:cNvPr id="53" name="Freeform 53">
              <a:extLst>
                <a:ext uri="{FF2B5EF4-FFF2-40B4-BE49-F238E27FC236}">
                  <a16:creationId xmlns:a16="http://schemas.microsoft.com/office/drawing/2014/main" id="{A6593D41-9B51-4BFD-B82F-CAFBC6F09C12}"/>
                </a:ext>
              </a:extLst>
            </p:cNvPr>
            <p:cNvSpPr>
              <a:spLocks noEditPoints="1"/>
            </p:cNvSpPr>
            <p:nvPr/>
          </p:nvSpPr>
          <p:spPr bwMode="auto">
            <a:xfrm>
              <a:off x="3843042"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4" name="Freeform 54">
              <a:extLst>
                <a:ext uri="{FF2B5EF4-FFF2-40B4-BE49-F238E27FC236}">
                  <a16:creationId xmlns:a16="http://schemas.microsoft.com/office/drawing/2014/main" id="{AADD2BEB-CB31-4488-BE46-7AFAA69B62AD}"/>
                </a:ext>
              </a:extLst>
            </p:cNvPr>
            <p:cNvSpPr>
              <a:spLocks noEditPoints="1"/>
            </p:cNvSpPr>
            <p:nvPr/>
          </p:nvSpPr>
          <p:spPr bwMode="auto">
            <a:xfrm>
              <a:off x="3904988"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5" name="Freeform 55">
              <a:extLst>
                <a:ext uri="{FF2B5EF4-FFF2-40B4-BE49-F238E27FC236}">
                  <a16:creationId xmlns:a16="http://schemas.microsoft.com/office/drawing/2014/main" id="{0B0EE874-095B-4761-9924-8310C500E83D}"/>
                </a:ext>
              </a:extLst>
            </p:cNvPr>
            <p:cNvSpPr>
              <a:spLocks noEditPoints="1"/>
            </p:cNvSpPr>
            <p:nvPr/>
          </p:nvSpPr>
          <p:spPr bwMode="auto">
            <a:xfrm>
              <a:off x="3966933" y="2305675"/>
              <a:ext cx="25868" cy="7113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6" name="Freeform 56">
              <a:extLst>
                <a:ext uri="{FF2B5EF4-FFF2-40B4-BE49-F238E27FC236}">
                  <a16:creationId xmlns:a16="http://schemas.microsoft.com/office/drawing/2014/main" id="{76D59506-5770-44E7-B21E-42803415BCD1}"/>
                </a:ext>
              </a:extLst>
            </p:cNvPr>
            <p:cNvSpPr>
              <a:spLocks noEditPoints="1"/>
            </p:cNvSpPr>
            <p:nvPr/>
          </p:nvSpPr>
          <p:spPr bwMode="auto">
            <a:xfrm>
              <a:off x="4004628" y="2304058"/>
              <a:ext cx="51734"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7" name="Freeform 52">
              <a:extLst>
                <a:ext uri="{FF2B5EF4-FFF2-40B4-BE49-F238E27FC236}">
                  <a16:creationId xmlns:a16="http://schemas.microsoft.com/office/drawing/2014/main" id="{7E3ED2C7-24F2-4A43-98F5-0F5452B59680}"/>
                </a:ext>
              </a:extLst>
            </p:cNvPr>
            <p:cNvSpPr>
              <a:spLocks noEditPoints="1"/>
            </p:cNvSpPr>
            <p:nvPr/>
          </p:nvSpPr>
          <p:spPr bwMode="auto">
            <a:xfrm>
              <a:off x="4068190" y="2304058"/>
              <a:ext cx="51734" cy="74369"/>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8" name="Freeform 53">
              <a:extLst>
                <a:ext uri="{FF2B5EF4-FFF2-40B4-BE49-F238E27FC236}">
                  <a16:creationId xmlns:a16="http://schemas.microsoft.com/office/drawing/2014/main" id="{D8274A13-3137-483F-A816-60CF987D6829}"/>
                </a:ext>
              </a:extLst>
            </p:cNvPr>
            <p:cNvSpPr>
              <a:spLocks noEditPoints="1"/>
            </p:cNvSpPr>
            <p:nvPr/>
          </p:nvSpPr>
          <p:spPr bwMode="auto">
            <a:xfrm>
              <a:off x="4131752"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9" name="Freeform 54">
              <a:extLst>
                <a:ext uri="{FF2B5EF4-FFF2-40B4-BE49-F238E27FC236}">
                  <a16:creationId xmlns:a16="http://schemas.microsoft.com/office/drawing/2014/main" id="{6B30F0CA-A608-4587-8B7F-DCCC389D49C6}"/>
                </a:ext>
              </a:extLst>
            </p:cNvPr>
            <p:cNvSpPr>
              <a:spLocks noEditPoints="1"/>
            </p:cNvSpPr>
            <p:nvPr/>
          </p:nvSpPr>
          <p:spPr bwMode="auto">
            <a:xfrm>
              <a:off x="4193698"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0" name="Freeform 55">
              <a:extLst>
                <a:ext uri="{FF2B5EF4-FFF2-40B4-BE49-F238E27FC236}">
                  <a16:creationId xmlns:a16="http://schemas.microsoft.com/office/drawing/2014/main" id="{A299E3FE-04D9-4B1C-A713-9E2B92F0EE50}"/>
                </a:ext>
              </a:extLst>
            </p:cNvPr>
            <p:cNvSpPr>
              <a:spLocks noEditPoints="1"/>
            </p:cNvSpPr>
            <p:nvPr/>
          </p:nvSpPr>
          <p:spPr bwMode="auto">
            <a:xfrm>
              <a:off x="4255644" y="2305675"/>
              <a:ext cx="25868" cy="7113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1" name="Freeform 56">
              <a:extLst>
                <a:ext uri="{FF2B5EF4-FFF2-40B4-BE49-F238E27FC236}">
                  <a16:creationId xmlns:a16="http://schemas.microsoft.com/office/drawing/2014/main" id="{C9A0D00B-72AD-46C6-8147-AB56DCAE7121}"/>
                </a:ext>
              </a:extLst>
            </p:cNvPr>
            <p:cNvSpPr>
              <a:spLocks noEditPoints="1"/>
            </p:cNvSpPr>
            <p:nvPr/>
          </p:nvSpPr>
          <p:spPr bwMode="auto">
            <a:xfrm>
              <a:off x="4293338" y="2304058"/>
              <a:ext cx="51734"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62" name="Group 61">
            <a:extLst>
              <a:ext uri="{FF2B5EF4-FFF2-40B4-BE49-F238E27FC236}">
                <a16:creationId xmlns:a16="http://schemas.microsoft.com/office/drawing/2014/main" id="{ADD4454C-8AED-4798-B8DC-3DB430E23CE3}"/>
              </a:ext>
            </a:extLst>
          </p:cNvPr>
          <p:cNvGrpSpPr/>
          <p:nvPr/>
        </p:nvGrpSpPr>
        <p:grpSpPr>
          <a:xfrm>
            <a:off x="5828668" y="2489247"/>
            <a:ext cx="590446" cy="74369"/>
            <a:chOff x="3787564" y="1927368"/>
            <a:chExt cx="590446" cy="74369"/>
          </a:xfrm>
        </p:grpSpPr>
        <p:sp>
          <p:nvSpPr>
            <p:cNvPr id="63" name="Freeform 26">
              <a:extLst>
                <a:ext uri="{FF2B5EF4-FFF2-40B4-BE49-F238E27FC236}">
                  <a16:creationId xmlns:a16="http://schemas.microsoft.com/office/drawing/2014/main" id="{C25BBB73-80C8-4620-BC95-AA84BFB60630}"/>
                </a:ext>
              </a:extLst>
            </p:cNvPr>
            <p:cNvSpPr>
              <a:spLocks noEditPoints="1"/>
            </p:cNvSpPr>
            <p:nvPr/>
          </p:nvSpPr>
          <p:spPr bwMode="auto">
            <a:xfrm>
              <a:off x="3787564"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4" name="Freeform 27">
              <a:extLst>
                <a:ext uri="{FF2B5EF4-FFF2-40B4-BE49-F238E27FC236}">
                  <a16:creationId xmlns:a16="http://schemas.microsoft.com/office/drawing/2014/main" id="{58200053-A681-4347-8DA8-D94496E84F50}"/>
                </a:ext>
              </a:extLst>
            </p:cNvPr>
            <p:cNvSpPr>
              <a:spLocks noEditPoints="1"/>
            </p:cNvSpPr>
            <p:nvPr/>
          </p:nvSpPr>
          <p:spPr bwMode="auto">
            <a:xfrm>
              <a:off x="3835130"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5" name="Freeform 28">
              <a:extLst>
                <a:ext uri="{FF2B5EF4-FFF2-40B4-BE49-F238E27FC236}">
                  <a16:creationId xmlns:a16="http://schemas.microsoft.com/office/drawing/2014/main" id="{B497EC36-D941-40FF-A546-40C2C18DB4DF}"/>
                </a:ext>
              </a:extLst>
            </p:cNvPr>
            <p:cNvSpPr>
              <a:spLocks noEditPoints="1"/>
            </p:cNvSpPr>
            <p:nvPr/>
          </p:nvSpPr>
          <p:spPr bwMode="auto">
            <a:xfrm>
              <a:off x="3905330" y="1928176"/>
              <a:ext cx="27484" cy="7275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6" name="Freeform 29">
              <a:extLst>
                <a:ext uri="{FF2B5EF4-FFF2-40B4-BE49-F238E27FC236}">
                  <a16:creationId xmlns:a16="http://schemas.microsoft.com/office/drawing/2014/main" id="{989EB166-B69F-4765-9158-4FDC528071D3}"/>
                </a:ext>
              </a:extLst>
            </p:cNvPr>
            <p:cNvSpPr>
              <a:spLocks noEditPoints="1"/>
            </p:cNvSpPr>
            <p:nvPr/>
          </p:nvSpPr>
          <p:spPr bwMode="auto">
            <a:xfrm>
              <a:off x="3952896"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7" name="Freeform 30">
              <a:extLst>
                <a:ext uri="{FF2B5EF4-FFF2-40B4-BE49-F238E27FC236}">
                  <a16:creationId xmlns:a16="http://schemas.microsoft.com/office/drawing/2014/main" id="{A8383F35-891F-48E9-A7A8-281167E5B517}"/>
                </a:ext>
              </a:extLst>
            </p:cNvPr>
            <p:cNvSpPr>
              <a:spLocks noEditPoints="1"/>
            </p:cNvSpPr>
            <p:nvPr/>
          </p:nvSpPr>
          <p:spPr bwMode="auto">
            <a:xfrm>
              <a:off x="4023096" y="1928176"/>
              <a:ext cx="25868" cy="7275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8" name="Freeform 26">
              <a:extLst>
                <a:ext uri="{FF2B5EF4-FFF2-40B4-BE49-F238E27FC236}">
                  <a16:creationId xmlns:a16="http://schemas.microsoft.com/office/drawing/2014/main" id="{5C9A3368-B481-4CE0-B068-BC8DD7A3AEF1}"/>
                </a:ext>
              </a:extLst>
            </p:cNvPr>
            <p:cNvSpPr>
              <a:spLocks noEditPoints="1"/>
            </p:cNvSpPr>
            <p:nvPr/>
          </p:nvSpPr>
          <p:spPr bwMode="auto">
            <a:xfrm>
              <a:off x="4069045"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9" name="Freeform 27">
              <a:extLst>
                <a:ext uri="{FF2B5EF4-FFF2-40B4-BE49-F238E27FC236}">
                  <a16:creationId xmlns:a16="http://schemas.microsoft.com/office/drawing/2014/main" id="{3C0EA97D-E52F-44B8-8036-92694E6D5217}"/>
                </a:ext>
              </a:extLst>
            </p:cNvPr>
            <p:cNvSpPr>
              <a:spLocks noEditPoints="1"/>
            </p:cNvSpPr>
            <p:nvPr/>
          </p:nvSpPr>
          <p:spPr bwMode="auto">
            <a:xfrm>
              <a:off x="4116611"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0" name="Freeform 28">
              <a:extLst>
                <a:ext uri="{FF2B5EF4-FFF2-40B4-BE49-F238E27FC236}">
                  <a16:creationId xmlns:a16="http://schemas.microsoft.com/office/drawing/2014/main" id="{2EFF2F87-93BD-4397-9574-C7F654AF0B9B}"/>
                </a:ext>
              </a:extLst>
            </p:cNvPr>
            <p:cNvSpPr>
              <a:spLocks noEditPoints="1"/>
            </p:cNvSpPr>
            <p:nvPr/>
          </p:nvSpPr>
          <p:spPr bwMode="auto">
            <a:xfrm>
              <a:off x="4186811" y="1928176"/>
              <a:ext cx="27484" cy="7275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1" name="Freeform 29">
              <a:extLst>
                <a:ext uri="{FF2B5EF4-FFF2-40B4-BE49-F238E27FC236}">
                  <a16:creationId xmlns:a16="http://schemas.microsoft.com/office/drawing/2014/main" id="{84BABACA-08D8-4215-840F-910AF87D8CB5}"/>
                </a:ext>
              </a:extLst>
            </p:cNvPr>
            <p:cNvSpPr>
              <a:spLocks noEditPoints="1"/>
            </p:cNvSpPr>
            <p:nvPr/>
          </p:nvSpPr>
          <p:spPr bwMode="auto">
            <a:xfrm>
              <a:off x="4234377"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2" name="Freeform 30">
              <a:extLst>
                <a:ext uri="{FF2B5EF4-FFF2-40B4-BE49-F238E27FC236}">
                  <a16:creationId xmlns:a16="http://schemas.microsoft.com/office/drawing/2014/main" id="{7DDB5071-F2B1-46B7-BDC5-2496F42B2837}"/>
                </a:ext>
              </a:extLst>
            </p:cNvPr>
            <p:cNvSpPr>
              <a:spLocks noEditPoints="1"/>
            </p:cNvSpPr>
            <p:nvPr/>
          </p:nvSpPr>
          <p:spPr bwMode="auto">
            <a:xfrm>
              <a:off x="4304577" y="1928176"/>
              <a:ext cx="25868" cy="7275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3" name="Freeform 26">
              <a:extLst>
                <a:ext uri="{FF2B5EF4-FFF2-40B4-BE49-F238E27FC236}">
                  <a16:creationId xmlns:a16="http://schemas.microsoft.com/office/drawing/2014/main" id="{16C428FC-E352-487F-B6EF-1C2ECE053722}"/>
                </a:ext>
              </a:extLst>
            </p:cNvPr>
            <p:cNvSpPr>
              <a:spLocks noEditPoints="1"/>
            </p:cNvSpPr>
            <p:nvPr/>
          </p:nvSpPr>
          <p:spPr bwMode="auto">
            <a:xfrm>
              <a:off x="4350526"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74" name="Group 73">
            <a:extLst>
              <a:ext uri="{FF2B5EF4-FFF2-40B4-BE49-F238E27FC236}">
                <a16:creationId xmlns:a16="http://schemas.microsoft.com/office/drawing/2014/main" id="{65F00100-F764-475C-95C1-47096FF956DA}"/>
              </a:ext>
            </a:extLst>
          </p:cNvPr>
          <p:cNvGrpSpPr/>
          <p:nvPr/>
        </p:nvGrpSpPr>
        <p:grpSpPr>
          <a:xfrm>
            <a:off x="5820584" y="2613732"/>
            <a:ext cx="625759" cy="75985"/>
            <a:chOff x="3779480" y="2051853"/>
            <a:chExt cx="625759" cy="75985"/>
          </a:xfrm>
        </p:grpSpPr>
        <p:sp>
          <p:nvSpPr>
            <p:cNvPr id="75" name="Freeform 35">
              <a:extLst>
                <a:ext uri="{FF2B5EF4-FFF2-40B4-BE49-F238E27FC236}">
                  <a16:creationId xmlns:a16="http://schemas.microsoft.com/office/drawing/2014/main" id="{85C9C719-D875-40EA-AC0D-0BD458A89F09}"/>
                </a:ext>
              </a:extLst>
            </p:cNvPr>
            <p:cNvSpPr>
              <a:spLocks noEditPoints="1"/>
            </p:cNvSpPr>
            <p:nvPr/>
          </p:nvSpPr>
          <p:spPr bwMode="auto">
            <a:xfrm>
              <a:off x="3779480"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6" name="Freeform 36">
              <a:extLst>
                <a:ext uri="{FF2B5EF4-FFF2-40B4-BE49-F238E27FC236}">
                  <a16:creationId xmlns:a16="http://schemas.microsoft.com/office/drawing/2014/main" id="{7FEE6CC3-8BF7-43A3-9270-B19AC8A86497}"/>
                </a:ext>
              </a:extLst>
            </p:cNvPr>
            <p:cNvSpPr>
              <a:spLocks noEditPoints="1"/>
            </p:cNvSpPr>
            <p:nvPr/>
          </p:nvSpPr>
          <p:spPr bwMode="auto">
            <a:xfrm>
              <a:off x="3842702" y="2051853"/>
              <a:ext cx="50119" cy="75985"/>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7" name="Freeform 37">
              <a:extLst>
                <a:ext uri="{FF2B5EF4-FFF2-40B4-BE49-F238E27FC236}">
                  <a16:creationId xmlns:a16="http://schemas.microsoft.com/office/drawing/2014/main" id="{946610B8-E34F-46A5-A0C4-78512288B67D}"/>
                </a:ext>
              </a:extLst>
            </p:cNvPr>
            <p:cNvSpPr>
              <a:spLocks noEditPoints="1"/>
            </p:cNvSpPr>
            <p:nvPr/>
          </p:nvSpPr>
          <p:spPr bwMode="auto">
            <a:xfrm>
              <a:off x="3904308" y="2053470"/>
              <a:ext cx="27484" cy="7275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8" name="Freeform 38">
              <a:extLst>
                <a:ext uri="{FF2B5EF4-FFF2-40B4-BE49-F238E27FC236}">
                  <a16:creationId xmlns:a16="http://schemas.microsoft.com/office/drawing/2014/main" id="{D69E1A33-904D-4B3E-88B8-5BD0B5D68FCB}"/>
                </a:ext>
              </a:extLst>
            </p:cNvPr>
            <p:cNvSpPr>
              <a:spLocks noEditPoints="1"/>
            </p:cNvSpPr>
            <p:nvPr/>
          </p:nvSpPr>
          <p:spPr bwMode="auto">
            <a:xfrm>
              <a:off x="3943280" y="2051853"/>
              <a:ext cx="50119"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9" name="Freeform 39">
              <a:extLst>
                <a:ext uri="{FF2B5EF4-FFF2-40B4-BE49-F238E27FC236}">
                  <a16:creationId xmlns:a16="http://schemas.microsoft.com/office/drawing/2014/main" id="{C77F203A-1202-4C3F-8008-A28DECC6A9F1}"/>
                </a:ext>
              </a:extLst>
            </p:cNvPr>
            <p:cNvSpPr>
              <a:spLocks noEditPoints="1"/>
            </p:cNvSpPr>
            <p:nvPr/>
          </p:nvSpPr>
          <p:spPr bwMode="auto">
            <a:xfrm>
              <a:off x="4004886" y="2051853"/>
              <a:ext cx="50119" cy="75985"/>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0" name="Freeform 35">
              <a:extLst>
                <a:ext uri="{FF2B5EF4-FFF2-40B4-BE49-F238E27FC236}">
                  <a16:creationId xmlns:a16="http://schemas.microsoft.com/office/drawing/2014/main" id="{3385519F-A57D-49C8-AE51-D118BD9B1EC5}"/>
                </a:ext>
              </a:extLst>
            </p:cNvPr>
            <p:cNvSpPr>
              <a:spLocks noEditPoints="1"/>
            </p:cNvSpPr>
            <p:nvPr/>
          </p:nvSpPr>
          <p:spPr bwMode="auto">
            <a:xfrm>
              <a:off x="4066493"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1" name="Freeform 36">
              <a:extLst>
                <a:ext uri="{FF2B5EF4-FFF2-40B4-BE49-F238E27FC236}">
                  <a16:creationId xmlns:a16="http://schemas.microsoft.com/office/drawing/2014/main" id="{A76F7903-A735-483D-9E1B-95C04671CE90}"/>
                </a:ext>
              </a:extLst>
            </p:cNvPr>
            <p:cNvSpPr>
              <a:spLocks noEditPoints="1"/>
            </p:cNvSpPr>
            <p:nvPr/>
          </p:nvSpPr>
          <p:spPr bwMode="auto">
            <a:xfrm>
              <a:off x="4129714" y="2051853"/>
              <a:ext cx="50119" cy="75985"/>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2" name="Freeform 37">
              <a:extLst>
                <a:ext uri="{FF2B5EF4-FFF2-40B4-BE49-F238E27FC236}">
                  <a16:creationId xmlns:a16="http://schemas.microsoft.com/office/drawing/2014/main" id="{59D8A96B-0932-40EF-8CF9-963AB899E8A4}"/>
                </a:ext>
              </a:extLst>
            </p:cNvPr>
            <p:cNvSpPr>
              <a:spLocks noEditPoints="1"/>
            </p:cNvSpPr>
            <p:nvPr/>
          </p:nvSpPr>
          <p:spPr bwMode="auto">
            <a:xfrm>
              <a:off x="4191321" y="2053470"/>
              <a:ext cx="27484" cy="7275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3" name="Freeform 38">
              <a:extLst>
                <a:ext uri="{FF2B5EF4-FFF2-40B4-BE49-F238E27FC236}">
                  <a16:creationId xmlns:a16="http://schemas.microsoft.com/office/drawing/2014/main" id="{14A6A291-47D2-4EEF-B084-78D44138FB52}"/>
                </a:ext>
              </a:extLst>
            </p:cNvPr>
            <p:cNvSpPr>
              <a:spLocks noEditPoints="1"/>
            </p:cNvSpPr>
            <p:nvPr/>
          </p:nvSpPr>
          <p:spPr bwMode="auto">
            <a:xfrm>
              <a:off x="4230293" y="2051853"/>
              <a:ext cx="50119"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4" name="Freeform 39">
              <a:extLst>
                <a:ext uri="{FF2B5EF4-FFF2-40B4-BE49-F238E27FC236}">
                  <a16:creationId xmlns:a16="http://schemas.microsoft.com/office/drawing/2014/main" id="{6388863A-07DC-492C-AC5C-5E0346AA3973}"/>
                </a:ext>
              </a:extLst>
            </p:cNvPr>
            <p:cNvSpPr>
              <a:spLocks noEditPoints="1"/>
            </p:cNvSpPr>
            <p:nvPr/>
          </p:nvSpPr>
          <p:spPr bwMode="auto">
            <a:xfrm>
              <a:off x="4291899" y="2051853"/>
              <a:ext cx="50119" cy="75985"/>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5" name="Freeform 35">
              <a:extLst>
                <a:ext uri="{FF2B5EF4-FFF2-40B4-BE49-F238E27FC236}">
                  <a16:creationId xmlns:a16="http://schemas.microsoft.com/office/drawing/2014/main" id="{7E4B0567-94A8-47EB-A789-11204E83D7C0}"/>
                </a:ext>
              </a:extLst>
            </p:cNvPr>
            <p:cNvSpPr>
              <a:spLocks noEditPoints="1"/>
            </p:cNvSpPr>
            <p:nvPr/>
          </p:nvSpPr>
          <p:spPr bwMode="auto">
            <a:xfrm>
              <a:off x="4353505"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86" name="Group 85">
            <a:extLst>
              <a:ext uri="{FF2B5EF4-FFF2-40B4-BE49-F238E27FC236}">
                <a16:creationId xmlns:a16="http://schemas.microsoft.com/office/drawing/2014/main" id="{658A673F-2E11-46EC-B013-F9839039FED3}"/>
              </a:ext>
            </a:extLst>
          </p:cNvPr>
          <p:cNvGrpSpPr/>
          <p:nvPr/>
        </p:nvGrpSpPr>
        <p:grpSpPr>
          <a:xfrm>
            <a:off x="5820584" y="2739835"/>
            <a:ext cx="626432" cy="74369"/>
            <a:chOff x="3779480" y="2177956"/>
            <a:chExt cx="626432" cy="74369"/>
          </a:xfrm>
        </p:grpSpPr>
        <p:sp>
          <p:nvSpPr>
            <p:cNvPr id="87" name="Freeform 42">
              <a:extLst>
                <a:ext uri="{FF2B5EF4-FFF2-40B4-BE49-F238E27FC236}">
                  <a16:creationId xmlns:a16="http://schemas.microsoft.com/office/drawing/2014/main" id="{B4A2CE0A-2545-4106-B93E-843FE616D7C3}"/>
                </a:ext>
              </a:extLst>
            </p:cNvPr>
            <p:cNvSpPr>
              <a:spLocks noEditPoints="1"/>
            </p:cNvSpPr>
            <p:nvPr/>
          </p:nvSpPr>
          <p:spPr bwMode="auto">
            <a:xfrm>
              <a:off x="3779480"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8" name="Freeform 43">
              <a:extLst>
                <a:ext uri="{FF2B5EF4-FFF2-40B4-BE49-F238E27FC236}">
                  <a16:creationId xmlns:a16="http://schemas.microsoft.com/office/drawing/2014/main" id="{D558E697-2AD7-484E-BDE3-1933C99526EF}"/>
                </a:ext>
              </a:extLst>
            </p:cNvPr>
            <p:cNvSpPr>
              <a:spLocks noEditPoints="1"/>
            </p:cNvSpPr>
            <p:nvPr/>
          </p:nvSpPr>
          <p:spPr bwMode="auto">
            <a:xfrm>
              <a:off x="3847296" y="2177956"/>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89" name="Freeform 44">
              <a:extLst>
                <a:ext uri="{FF2B5EF4-FFF2-40B4-BE49-F238E27FC236}">
                  <a16:creationId xmlns:a16="http://schemas.microsoft.com/office/drawing/2014/main" id="{C9EB8ADA-D2FC-49CF-979A-8F1334563815}"/>
                </a:ext>
              </a:extLst>
            </p:cNvPr>
            <p:cNvSpPr>
              <a:spLocks noEditPoints="1"/>
            </p:cNvSpPr>
            <p:nvPr/>
          </p:nvSpPr>
          <p:spPr bwMode="auto">
            <a:xfrm>
              <a:off x="3913497" y="2178765"/>
              <a:ext cx="27484" cy="7275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90" name="Freeform 45">
              <a:extLst>
                <a:ext uri="{FF2B5EF4-FFF2-40B4-BE49-F238E27FC236}">
                  <a16:creationId xmlns:a16="http://schemas.microsoft.com/office/drawing/2014/main" id="{196CA2C8-1A7A-40FB-8FC6-6E091618BEB9}"/>
                </a:ext>
              </a:extLst>
            </p:cNvPr>
            <p:cNvSpPr>
              <a:spLocks noEditPoints="1"/>
            </p:cNvSpPr>
            <p:nvPr/>
          </p:nvSpPr>
          <p:spPr bwMode="auto">
            <a:xfrm>
              <a:off x="3957063" y="2178765"/>
              <a:ext cx="27484" cy="7275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91" name="Freeform 46">
              <a:extLst>
                <a:ext uri="{FF2B5EF4-FFF2-40B4-BE49-F238E27FC236}">
                  <a16:creationId xmlns:a16="http://schemas.microsoft.com/office/drawing/2014/main" id="{B45E0318-05E5-459E-858E-0DBDE93EA945}"/>
                </a:ext>
              </a:extLst>
            </p:cNvPr>
            <p:cNvSpPr>
              <a:spLocks noEditPoints="1"/>
            </p:cNvSpPr>
            <p:nvPr/>
          </p:nvSpPr>
          <p:spPr bwMode="auto">
            <a:xfrm>
              <a:off x="4000629" y="2177956"/>
              <a:ext cx="50119" cy="74369"/>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92" name="Freeform 42">
              <a:extLst>
                <a:ext uri="{FF2B5EF4-FFF2-40B4-BE49-F238E27FC236}">
                  <a16:creationId xmlns:a16="http://schemas.microsoft.com/office/drawing/2014/main" id="{B652FE9E-AD38-403F-9A3C-961B5CC77EA7}"/>
                </a:ext>
              </a:extLst>
            </p:cNvPr>
            <p:cNvSpPr>
              <a:spLocks noEditPoints="1"/>
            </p:cNvSpPr>
            <p:nvPr/>
          </p:nvSpPr>
          <p:spPr bwMode="auto">
            <a:xfrm>
              <a:off x="4066829"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93" name="Freeform 43">
              <a:extLst>
                <a:ext uri="{FF2B5EF4-FFF2-40B4-BE49-F238E27FC236}">
                  <a16:creationId xmlns:a16="http://schemas.microsoft.com/office/drawing/2014/main" id="{768D168E-6017-43F0-8885-29EF61061A42}"/>
                </a:ext>
              </a:extLst>
            </p:cNvPr>
            <p:cNvSpPr>
              <a:spLocks noEditPoints="1"/>
            </p:cNvSpPr>
            <p:nvPr/>
          </p:nvSpPr>
          <p:spPr bwMode="auto">
            <a:xfrm>
              <a:off x="4134645" y="2177956"/>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94" name="Freeform 44">
              <a:extLst>
                <a:ext uri="{FF2B5EF4-FFF2-40B4-BE49-F238E27FC236}">
                  <a16:creationId xmlns:a16="http://schemas.microsoft.com/office/drawing/2014/main" id="{1574B2D7-0279-495E-A267-EC872A7C2CA4}"/>
                </a:ext>
              </a:extLst>
            </p:cNvPr>
            <p:cNvSpPr>
              <a:spLocks noEditPoints="1"/>
            </p:cNvSpPr>
            <p:nvPr/>
          </p:nvSpPr>
          <p:spPr bwMode="auto">
            <a:xfrm>
              <a:off x="4200846" y="2178765"/>
              <a:ext cx="27484" cy="7275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95" name="Freeform 45">
              <a:extLst>
                <a:ext uri="{FF2B5EF4-FFF2-40B4-BE49-F238E27FC236}">
                  <a16:creationId xmlns:a16="http://schemas.microsoft.com/office/drawing/2014/main" id="{7D2E680B-EADE-476F-A54B-05E93C23D5CC}"/>
                </a:ext>
              </a:extLst>
            </p:cNvPr>
            <p:cNvSpPr>
              <a:spLocks noEditPoints="1"/>
            </p:cNvSpPr>
            <p:nvPr/>
          </p:nvSpPr>
          <p:spPr bwMode="auto">
            <a:xfrm>
              <a:off x="4244412" y="2178765"/>
              <a:ext cx="27484" cy="7275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96" name="Freeform 46">
              <a:extLst>
                <a:ext uri="{FF2B5EF4-FFF2-40B4-BE49-F238E27FC236}">
                  <a16:creationId xmlns:a16="http://schemas.microsoft.com/office/drawing/2014/main" id="{34030C59-157F-4532-B0C5-78689176AAD2}"/>
                </a:ext>
              </a:extLst>
            </p:cNvPr>
            <p:cNvSpPr>
              <a:spLocks noEditPoints="1"/>
            </p:cNvSpPr>
            <p:nvPr/>
          </p:nvSpPr>
          <p:spPr bwMode="auto">
            <a:xfrm>
              <a:off x="4287978" y="2177956"/>
              <a:ext cx="50119" cy="74369"/>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97" name="Freeform 42">
              <a:extLst>
                <a:ext uri="{FF2B5EF4-FFF2-40B4-BE49-F238E27FC236}">
                  <a16:creationId xmlns:a16="http://schemas.microsoft.com/office/drawing/2014/main" id="{B9A441CB-70AD-47D5-9E3F-4F6C64BE309F}"/>
                </a:ext>
              </a:extLst>
            </p:cNvPr>
            <p:cNvSpPr>
              <a:spLocks noEditPoints="1"/>
            </p:cNvSpPr>
            <p:nvPr/>
          </p:nvSpPr>
          <p:spPr bwMode="auto">
            <a:xfrm>
              <a:off x="4354178"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sp>
        <p:nvSpPr>
          <p:cNvPr id="98" name="Circle: Hollow 97">
            <a:extLst>
              <a:ext uri="{FF2B5EF4-FFF2-40B4-BE49-F238E27FC236}">
                <a16:creationId xmlns:a16="http://schemas.microsoft.com/office/drawing/2014/main" id="{D528797A-AF30-4ABB-AE20-5D7191DEBEF7}"/>
              </a:ext>
            </a:extLst>
          </p:cNvPr>
          <p:cNvSpPr/>
          <p:nvPr/>
        </p:nvSpPr>
        <p:spPr>
          <a:xfrm>
            <a:off x="5743065" y="2281915"/>
            <a:ext cx="761650" cy="761650"/>
          </a:xfrm>
          <a:prstGeom prst="donut">
            <a:avLst>
              <a:gd name="adj" fmla="val 827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99" name="Group 98">
            <a:extLst>
              <a:ext uri="{FF2B5EF4-FFF2-40B4-BE49-F238E27FC236}">
                <a16:creationId xmlns:a16="http://schemas.microsoft.com/office/drawing/2014/main" id="{A1E4723D-E85E-4EA7-A86C-638955D3E180}"/>
              </a:ext>
            </a:extLst>
          </p:cNvPr>
          <p:cNvGrpSpPr/>
          <p:nvPr/>
        </p:nvGrpSpPr>
        <p:grpSpPr>
          <a:xfrm>
            <a:off x="6001792" y="2428151"/>
            <a:ext cx="244197" cy="447144"/>
            <a:chOff x="4457929" y="4607371"/>
            <a:chExt cx="234950" cy="430212"/>
          </a:xfrm>
        </p:grpSpPr>
        <p:sp>
          <p:nvSpPr>
            <p:cNvPr id="100" name="Freeform 53">
              <a:extLst>
                <a:ext uri="{FF2B5EF4-FFF2-40B4-BE49-F238E27FC236}">
                  <a16:creationId xmlns:a16="http://schemas.microsoft.com/office/drawing/2014/main" id="{78165BC0-7557-4FC1-BD89-9FE63780D71E}"/>
                </a:ext>
              </a:extLst>
            </p:cNvPr>
            <p:cNvSpPr>
              <a:spLocks/>
            </p:cNvSpPr>
            <p:nvPr/>
          </p:nvSpPr>
          <p:spPr bwMode="auto">
            <a:xfrm>
              <a:off x="4457929" y="4607371"/>
              <a:ext cx="234950"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a typeface="Apple LiGothic Medium"/>
                <a:cs typeface="Apple LiGothic Medium"/>
              </a:endParaRPr>
            </a:p>
          </p:txBody>
        </p:sp>
        <p:sp>
          <p:nvSpPr>
            <p:cNvPr id="101" name="Line 208">
              <a:extLst>
                <a:ext uri="{FF2B5EF4-FFF2-40B4-BE49-F238E27FC236}">
                  <a16:creationId xmlns:a16="http://schemas.microsoft.com/office/drawing/2014/main" id="{4A72EDD9-7C04-41C5-B6EE-9ACCF9C350E8}"/>
                </a:ext>
              </a:extLst>
            </p:cNvPr>
            <p:cNvSpPr>
              <a:spLocks noChangeShapeType="1"/>
            </p:cNvSpPr>
            <p:nvPr/>
          </p:nvSpPr>
          <p:spPr bwMode="auto">
            <a:xfrm>
              <a:off x="4516667" y="46772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a typeface="Apple LiGothic Medium"/>
                <a:cs typeface="Apple LiGothic Medium"/>
              </a:endParaRPr>
            </a:p>
          </p:txBody>
        </p:sp>
        <p:sp>
          <p:nvSpPr>
            <p:cNvPr id="102" name="Line 209">
              <a:extLst>
                <a:ext uri="{FF2B5EF4-FFF2-40B4-BE49-F238E27FC236}">
                  <a16:creationId xmlns:a16="http://schemas.microsoft.com/office/drawing/2014/main" id="{FD46172E-9F8E-49B2-944E-19A0140FB857}"/>
                </a:ext>
              </a:extLst>
            </p:cNvPr>
            <p:cNvSpPr>
              <a:spLocks noChangeShapeType="1"/>
            </p:cNvSpPr>
            <p:nvPr/>
          </p:nvSpPr>
          <p:spPr bwMode="auto">
            <a:xfrm>
              <a:off x="4516667" y="4745483"/>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a typeface="Apple LiGothic Medium"/>
                <a:cs typeface="Apple LiGothic Medium"/>
              </a:endParaRPr>
            </a:p>
          </p:txBody>
        </p:sp>
        <p:sp>
          <p:nvSpPr>
            <p:cNvPr id="103" name="Line 210">
              <a:extLst>
                <a:ext uri="{FF2B5EF4-FFF2-40B4-BE49-F238E27FC236}">
                  <a16:creationId xmlns:a16="http://schemas.microsoft.com/office/drawing/2014/main" id="{DBD172E8-D534-42B7-825A-B9B2869C4EFF}"/>
                </a:ext>
              </a:extLst>
            </p:cNvPr>
            <p:cNvSpPr>
              <a:spLocks noChangeShapeType="1"/>
            </p:cNvSpPr>
            <p:nvPr/>
          </p:nvSpPr>
          <p:spPr bwMode="auto">
            <a:xfrm>
              <a:off x="4516667" y="481692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a typeface="Apple LiGothic Medium"/>
                <a:cs typeface="Apple LiGothic Medium"/>
              </a:endParaRPr>
            </a:p>
          </p:txBody>
        </p:sp>
        <p:sp>
          <p:nvSpPr>
            <p:cNvPr id="104" name="Line 211">
              <a:extLst>
                <a:ext uri="{FF2B5EF4-FFF2-40B4-BE49-F238E27FC236}">
                  <a16:creationId xmlns:a16="http://schemas.microsoft.com/office/drawing/2014/main" id="{74FEBE96-63D0-4CC9-AA58-35022FC63489}"/>
                </a:ext>
              </a:extLst>
            </p:cNvPr>
            <p:cNvSpPr>
              <a:spLocks noChangeShapeType="1"/>
            </p:cNvSpPr>
            <p:nvPr/>
          </p:nvSpPr>
          <p:spPr bwMode="auto">
            <a:xfrm>
              <a:off x="4516667" y="488677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a typeface="Apple LiGothic Medium"/>
                <a:cs typeface="Apple LiGothic Medium"/>
              </a:endParaRPr>
            </a:p>
          </p:txBody>
        </p:sp>
      </p:grpSp>
      <p:sp>
        <p:nvSpPr>
          <p:cNvPr id="106" name="Rectangle 105">
            <a:extLst>
              <a:ext uri="{FF2B5EF4-FFF2-40B4-BE49-F238E27FC236}">
                <a16:creationId xmlns:a16="http://schemas.microsoft.com/office/drawing/2014/main" id="{5474EB27-EED8-4F9E-B623-A476BFC70C2F}"/>
              </a:ext>
            </a:extLst>
          </p:cNvPr>
          <p:cNvSpPr/>
          <p:nvPr/>
        </p:nvSpPr>
        <p:spPr>
          <a:xfrm>
            <a:off x="1" y="2567943"/>
            <a:ext cx="3591322" cy="876776"/>
          </a:xfrm>
          <a:prstGeom prst="rect">
            <a:avLst/>
          </a:prstGeom>
          <a:noFill/>
          <a:ln w="25400" cap="flat" cmpd="sng" algn="ctr">
            <a:noFill/>
            <a:prstDash val="solid"/>
          </a:ln>
          <a:effectLst/>
        </p:spPr>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BCEB"/>
                </a:solidFill>
                <a:effectLst/>
                <a:uLnTx/>
                <a:uFillTx/>
                <a:latin typeface="CiscoSansTT ExtraLight"/>
                <a:ea typeface="ＭＳ Ｐゴシック" charset="0"/>
              </a:rPr>
              <a:t>Data Exfiltration</a:t>
            </a:r>
          </a:p>
          <a:p>
            <a:pPr marL="0" marR="0" lvl="0" indent="0" algn="r" defTabSz="685800" rtl="0" eaLnBrk="1" fontAlgn="auto" latinLnBrk="0" hangingPunct="1">
              <a:lnSpc>
                <a:spcPct val="100000"/>
              </a:lnSpc>
              <a:spcBef>
                <a:spcPts val="600"/>
              </a:spcBef>
              <a:spcAft>
                <a:spcPts val="0"/>
              </a:spcAft>
              <a:buClr>
                <a:srgbClr val="9E9EA2"/>
              </a:buClr>
              <a:buSzTx/>
              <a:buFontTx/>
              <a:buNone/>
              <a:tabLst/>
              <a:defRPr/>
            </a:pPr>
            <a:r>
              <a:rPr kumimoji="0" lang="en-US" sz="1400" b="0" i="0" u="none" strike="noStrike" kern="0" cap="none" spc="0" normalizeH="0" baseline="0" noProof="0" dirty="0">
                <a:ln>
                  <a:noFill/>
                </a:ln>
                <a:solidFill>
                  <a:srgbClr val="282828"/>
                </a:solidFill>
                <a:effectLst/>
                <a:uLnTx/>
                <a:uFillTx/>
                <a:latin typeface="CiscoSansTT ExtraLight"/>
                <a:ea typeface="ＭＳ Ｐゴシック" charset="0"/>
              </a:rPr>
              <a:t>Unusually large amount of data</a:t>
            </a:r>
            <a:br>
              <a:rPr kumimoji="0" lang="en-US" sz="1400" b="0" i="0" u="none" strike="noStrike" kern="0" cap="none" spc="0" normalizeH="0" baseline="0" noProof="0" dirty="0">
                <a:ln>
                  <a:noFill/>
                </a:ln>
                <a:solidFill>
                  <a:srgbClr val="282828"/>
                </a:solidFill>
                <a:effectLst/>
                <a:uLnTx/>
                <a:uFillTx/>
                <a:latin typeface="CiscoSansTT ExtraLight"/>
                <a:ea typeface="ＭＳ Ｐゴシック" charset="0"/>
              </a:rPr>
            </a:br>
            <a:r>
              <a:rPr kumimoji="0" lang="en-US" sz="1400" b="0" i="0" u="none" strike="noStrike" kern="0" cap="none" spc="0" normalizeH="0" baseline="0" noProof="0" dirty="0">
                <a:ln>
                  <a:noFill/>
                </a:ln>
                <a:solidFill>
                  <a:srgbClr val="FBAB18"/>
                </a:solidFill>
                <a:effectLst/>
                <a:uLnTx/>
                <a:uFillTx/>
                <a:latin typeface="CiscoSansTT ExtraLight"/>
                <a:ea typeface="ＭＳ Ｐゴシック" charset="0"/>
              </a:rPr>
              <a:t>outbound</a:t>
            </a:r>
            <a:r>
              <a:rPr kumimoji="0" lang="en-US" sz="1400" b="0" i="0" u="none" strike="noStrike" kern="0" cap="none" spc="0" normalizeH="0" baseline="0" noProof="0" dirty="0">
                <a:ln>
                  <a:noFill/>
                </a:ln>
                <a:solidFill>
                  <a:srgbClr val="282828"/>
                </a:solidFill>
                <a:effectLst/>
                <a:uLnTx/>
                <a:uFillTx/>
                <a:latin typeface="CiscoSansTT ExtraLight"/>
                <a:ea typeface="ＭＳ Ｐゴシック" charset="0"/>
              </a:rPr>
              <a:t> from a host to </a:t>
            </a:r>
            <a:br>
              <a:rPr kumimoji="0" lang="en-US" sz="1400" b="0" i="0" u="none" strike="noStrike" kern="0" cap="none" spc="0" normalizeH="0" baseline="0" noProof="0" dirty="0">
                <a:ln>
                  <a:noFill/>
                </a:ln>
                <a:solidFill>
                  <a:srgbClr val="282828"/>
                </a:solidFill>
                <a:effectLst/>
                <a:uLnTx/>
                <a:uFillTx/>
                <a:latin typeface="CiscoSansTT ExtraLight"/>
                <a:ea typeface="ＭＳ Ｐゴシック" charset="0"/>
              </a:rPr>
            </a:br>
            <a:r>
              <a:rPr kumimoji="0" lang="en-US" sz="1400" b="0" i="0" u="none" strike="noStrike" kern="0" cap="none" spc="0" normalizeH="0" baseline="0" noProof="0" dirty="0">
                <a:ln>
                  <a:noFill/>
                </a:ln>
                <a:solidFill>
                  <a:srgbClr val="282828"/>
                </a:solidFill>
                <a:effectLst/>
                <a:uLnTx/>
                <a:uFillTx/>
                <a:latin typeface="CiscoSansTT ExtraLight"/>
                <a:ea typeface="ＭＳ Ｐゴシック" charset="0"/>
              </a:rPr>
              <a:t>one or more </a:t>
            </a:r>
            <a:r>
              <a:rPr kumimoji="0" lang="en-US" sz="1400" b="0" i="0" u="none" strike="noStrike" kern="0" cap="none" spc="0" normalizeH="0" baseline="0" noProof="0" dirty="0">
                <a:ln>
                  <a:noFill/>
                </a:ln>
                <a:solidFill>
                  <a:srgbClr val="FBAB18"/>
                </a:solidFill>
                <a:effectLst/>
                <a:uLnTx/>
                <a:uFillTx/>
                <a:latin typeface="CiscoSansTT ExtraLight"/>
                <a:ea typeface="ＭＳ Ｐゴシック" charset="0"/>
              </a:rPr>
              <a:t>external</a:t>
            </a:r>
            <a:r>
              <a:rPr kumimoji="0" lang="en-US" sz="1400" b="0" i="0" u="none" strike="noStrike" kern="0" cap="none" spc="0" normalizeH="0" baseline="0" noProof="0" dirty="0">
                <a:ln>
                  <a:noFill/>
                </a:ln>
                <a:solidFill>
                  <a:srgbClr val="282828"/>
                </a:solidFill>
                <a:effectLst/>
                <a:uLnTx/>
                <a:uFillTx/>
                <a:latin typeface="CiscoSansTT ExtraLight"/>
                <a:ea typeface="ＭＳ Ｐゴシック" charset="0"/>
              </a:rPr>
              <a:t> hosts</a:t>
            </a:r>
          </a:p>
        </p:txBody>
      </p:sp>
      <p:cxnSp>
        <p:nvCxnSpPr>
          <p:cNvPr id="107" name="Straight Arrow Connector 106">
            <a:extLst>
              <a:ext uri="{FF2B5EF4-FFF2-40B4-BE49-F238E27FC236}">
                <a16:creationId xmlns:a16="http://schemas.microsoft.com/office/drawing/2014/main" id="{C29EB856-14BB-46FD-9E95-2C24F96423E5}"/>
              </a:ext>
            </a:extLst>
          </p:cNvPr>
          <p:cNvCxnSpPr>
            <a:cxnSpLocks/>
          </p:cNvCxnSpPr>
          <p:nvPr/>
        </p:nvCxnSpPr>
        <p:spPr>
          <a:xfrm>
            <a:off x="4164297" y="2883502"/>
            <a:ext cx="1638697" cy="0"/>
          </a:xfrm>
          <a:prstGeom prst="straightConnector1">
            <a:avLst/>
          </a:prstGeom>
          <a:ln w="12700">
            <a:solidFill>
              <a:schemeClr val="accent5"/>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94CE132B-BB91-4709-BE8D-AC8D24D0A32A}"/>
              </a:ext>
            </a:extLst>
          </p:cNvPr>
          <p:cNvCxnSpPr>
            <a:cxnSpLocks/>
          </p:cNvCxnSpPr>
          <p:nvPr/>
        </p:nvCxnSpPr>
        <p:spPr>
          <a:xfrm>
            <a:off x="4191781" y="3182517"/>
            <a:ext cx="2089976" cy="0"/>
          </a:xfrm>
          <a:prstGeom prst="straightConnector1">
            <a:avLst/>
          </a:prstGeom>
          <a:ln w="12700">
            <a:solidFill>
              <a:schemeClr val="accent5"/>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4FCC6112-A8EA-4C33-AC90-014E402F5635}"/>
              </a:ext>
            </a:extLst>
          </p:cNvPr>
          <p:cNvSpPr/>
          <p:nvPr/>
        </p:nvSpPr>
        <p:spPr>
          <a:xfrm>
            <a:off x="6301099" y="3091624"/>
            <a:ext cx="639975" cy="640080"/>
          </a:xfrm>
          <a:prstGeom prst="ellipse">
            <a:avLst/>
          </a:prstGeom>
          <a:solidFill>
            <a:schemeClr val="bg1"/>
          </a:solidFill>
          <a:ln w="25400" cap="flat" cmpd="sng" algn="ctr">
            <a:noFill/>
            <a:prstDash val="solid"/>
          </a:ln>
          <a:effectLst/>
        </p:spPr>
        <p:txBody>
          <a:bodyPr rot="0" spcFirstLastPara="0" vertOverflow="overflow" horzOverflow="overflow" vert="horz" wrap="square" lIns="457200" tIns="45720" rIns="457200" bIns="45720" numCol="1" spcCol="0" rtlCol="0" fromWordArt="0" anchor="ctr" anchorCtr="1" forceAA="0" compatLnSpc="1">
            <a:prstTxWarp prst="textNoShape">
              <a:avLst/>
            </a:prstTxWarp>
            <a:noAutofit/>
          </a:bodyPr>
          <a:lstStyle/>
          <a:p>
            <a:pPr marL="0" marR="0" lvl="0" indent="0" algn="ctr" defTabSz="685813" rtl="0" eaLnBrk="1" fontAlgn="auto" latinLnBrk="0" hangingPunct="1">
              <a:lnSpc>
                <a:spcPct val="100000"/>
              </a:lnSpc>
              <a:spcBef>
                <a:spcPts val="0"/>
              </a:spcBef>
              <a:spcAft>
                <a:spcPts val="0"/>
              </a:spcAft>
              <a:buClrTx/>
              <a:buSzTx/>
              <a:buFontTx/>
              <a:buNone/>
              <a:tabLst/>
              <a:defRPr/>
            </a:pPr>
            <a:endParaRPr kumimoji="0" lang="en-US" sz="2100" b="1"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grpSp>
        <p:nvGrpSpPr>
          <p:cNvPr id="110" name="Group 109">
            <a:extLst>
              <a:ext uri="{FF2B5EF4-FFF2-40B4-BE49-F238E27FC236}">
                <a16:creationId xmlns:a16="http://schemas.microsoft.com/office/drawing/2014/main" id="{4A66BE97-7660-4817-960C-BC5E78DD5E52}"/>
              </a:ext>
            </a:extLst>
          </p:cNvPr>
          <p:cNvGrpSpPr/>
          <p:nvPr/>
        </p:nvGrpSpPr>
        <p:grpSpPr>
          <a:xfrm>
            <a:off x="6384746" y="3123085"/>
            <a:ext cx="441282" cy="75985"/>
            <a:chOff x="3846446" y="1801265"/>
            <a:chExt cx="441282" cy="75985"/>
          </a:xfrm>
        </p:grpSpPr>
        <p:sp>
          <p:nvSpPr>
            <p:cNvPr id="111" name="Freeform 17">
              <a:extLst>
                <a:ext uri="{FF2B5EF4-FFF2-40B4-BE49-F238E27FC236}">
                  <a16:creationId xmlns:a16="http://schemas.microsoft.com/office/drawing/2014/main" id="{E4BB4940-A4A9-4FF2-8D2F-D0443316E4F3}"/>
                </a:ext>
              </a:extLst>
            </p:cNvPr>
            <p:cNvSpPr>
              <a:spLocks noEditPoints="1"/>
            </p:cNvSpPr>
            <p:nvPr/>
          </p:nvSpPr>
          <p:spPr bwMode="auto">
            <a:xfrm>
              <a:off x="3846446" y="1802882"/>
              <a:ext cx="27484" cy="7275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2" name="Freeform 18">
              <a:extLst>
                <a:ext uri="{FF2B5EF4-FFF2-40B4-BE49-F238E27FC236}">
                  <a16:creationId xmlns:a16="http://schemas.microsoft.com/office/drawing/2014/main" id="{95BA01DB-D4E2-4963-8BB7-B9394A7E0FF0}"/>
                </a:ext>
              </a:extLst>
            </p:cNvPr>
            <p:cNvSpPr>
              <a:spLocks noEditPoints="1"/>
            </p:cNvSpPr>
            <p:nvPr/>
          </p:nvSpPr>
          <p:spPr bwMode="auto">
            <a:xfrm>
              <a:off x="3889162" y="1801265"/>
              <a:ext cx="50119" cy="7598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3" name="Freeform 19">
              <a:extLst>
                <a:ext uri="{FF2B5EF4-FFF2-40B4-BE49-F238E27FC236}">
                  <a16:creationId xmlns:a16="http://schemas.microsoft.com/office/drawing/2014/main" id="{59F7E1FB-94D7-4F7E-A3B9-C4818331F1BD}"/>
                </a:ext>
              </a:extLst>
            </p:cNvPr>
            <p:cNvSpPr>
              <a:spLocks noEditPoints="1"/>
            </p:cNvSpPr>
            <p:nvPr/>
          </p:nvSpPr>
          <p:spPr bwMode="auto">
            <a:xfrm>
              <a:off x="3954512" y="1801265"/>
              <a:ext cx="50119"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4" name="Freeform 20">
              <a:extLst>
                <a:ext uri="{FF2B5EF4-FFF2-40B4-BE49-F238E27FC236}">
                  <a16:creationId xmlns:a16="http://schemas.microsoft.com/office/drawing/2014/main" id="{C990096B-9317-421C-9A2B-11F512A226AD}"/>
                </a:ext>
              </a:extLst>
            </p:cNvPr>
            <p:cNvSpPr>
              <a:spLocks noEditPoints="1"/>
            </p:cNvSpPr>
            <p:nvPr/>
          </p:nvSpPr>
          <p:spPr bwMode="auto">
            <a:xfrm>
              <a:off x="4019862" y="1802882"/>
              <a:ext cx="27484" cy="72752"/>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5" name="Freeform 16">
              <a:extLst>
                <a:ext uri="{FF2B5EF4-FFF2-40B4-BE49-F238E27FC236}">
                  <a16:creationId xmlns:a16="http://schemas.microsoft.com/office/drawing/2014/main" id="{2F3EA998-BD9B-46EB-A11A-DE7FA2CC2A12}"/>
                </a:ext>
              </a:extLst>
            </p:cNvPr>
            <p:cNvSpPr>
              <a:spLocks noEditPoints="1"/>
            </p:cNvSpPr>
            <p:nvPr/>
          </p:nvSpPr>
          <p:spPr bwMode="auto">
            <a:xfrm>
              <a:off x="4062578" y="1801265"/>
              <a:ext cx="51734"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6" name="Freeform 17">
              <a:extLst>
                <a:ext uri="{FF2B5EF4-FFF2-40B4-BE49-F238E27FC236}">
                  <a16:creationId xmlns:a16="http://schemas.microsoft.com/office/drawing/2014/main" id="{4A05F920-F91B-47FE-B6F6-D50DFD6A5FEF}"/>
                </a:ext>
              </a:extLst>
            </p:cNvPr>
            <p:cNvSpPr>
              <a:spLocks noEditPoints="1"/>
            </p:cNvSpPr>
            <p:nvPr/>
          </p:nvSpPr>
          <p:spPr bwMode="auto">
            <a:xfrm>
              <a:off x="4129544" y="1802882"/>
              <a:ext cx="27484" cy="7275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7" name="Freeform 18">
              <a:extLst>
                <a:ext uri="{FF2B5EF4-FFF2-40B4-BE49-F238E27FC236}">
                  <a16:creationId xmlns:a16="http://schemas.microsoft.com/office/drawing/2014/main" id="{AF42C16D-2846-40EA-9B53-776A88349355}"/>
                </a:ext>
              </a:extLst>
            </p:cNvPr>
            <p:cNvSpPr>
              <a:spLocks noEditPoints="1"/>
            </p:cNvSpPr>
            <p:nvPr/>
          </p:nvSpPr>
          <p:spPr bwMode="auto">
            <a:xfrm>
              <a:off x="4172259" y="1801265"/>
              <a:ext cx="50119" cy="7598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8" name="Freeform 19">
              <a:extLst>
                <a:ext uri="{FF2B5EF4-FFF2-40B4-BE49-F238E27FC236}">
                  <a16:creationId xmlns:a16="http://schemas.microsoft.com/office/drawing/2014/main" id="{B5AB0964-2486-4359-9D3E-359BBD6A0A48}"/>
                </a:ext>
              </a:extLst>
            </p:cNvPr>
            <p:cNvSpPr>
              <a:spLocks noEditPoints="1"/>
            </p:cNvSpPr>
            <p:nvPr/>
          </p:nvSpPr>
          <p:spPr bwMode="auto">
            <a:xfrm>
              <a:off x="4237609" y="1801265"/>
              <a:ext cx="50119"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19" name="Group 118">
            <a:extLst>
              <a:ext uri="{FF2B5EF4-FFF2-40B4-BE49-F238E27FC236}">
                <a16:creationId xmlns:a16="http://schemas.microsoft.com/office/drawing/2014/main" id="{7A35E1CB-0109-44F0-B753-F93CF9D4ECB4}"/>
              </a:ext>
            </a:extLst>
          </p:cNvPr>
          <p:cNvGrpSpPr/>
          <p:nvPr/>
        </p:nvGrpSpPr>
        <p:grpSpPr>
          <a:xfrm>
            <a:off x="6381342" y="3625878"/>
            <a:ext cx="502030" cy="74369"/>
            <a:chOff x="3843042" y="2304058"/>
            <a:chExt cx="502030" cy="74369"/>
          </a:xfrm>
        </p:grpSpPr>
        <p:sp>
          <p:nvSpPr>
            <p:cNvPr id="120" name="Freeform 53">
              <a:extLst>
                <a:ext uri="{FF2B5EF4-FFF2-40B4-BE49-F238E27FC236}">
                  <a16:creationId xmlns:a16="http://schemas.microsoft.com/office/drawing/2014/main" id="{F3CDF4C6-CB99-46F9-A5BE-B57D277A1989}"/>
                </a:ext>
              </a:extLst>
            </p:cNvPr>
            <p:cNvSpPr>
              <a:spLocks noEditPoints="1"/>
            </p:cNvSpPr>
            <p:nvPr/>
          </p:nvSpPr>
          <p:spPr bwMode="auto">
            <a:xfrm>
              <a:off x="3843042"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1" name="Freeform 54">
              <a:extLst>
                <a:ext uri="{FF2B5EF4-FFF2-40B4-BE49-F238E27FC236}">
                  <a16:creationId xmlns:a16="http://schemas.microsoft.com/office/drawing/2014/main" id="{6A323483-E848-4BD2-AD60-5CD6A149EC09}"/>
                </a:ext>
              </a:extLst>
            </p:cNvPr>
            <p:cNvSpPr>
              <a:spLocks noEditPoints="1"/>
            </p:cNvSpPr>
            <p:nvPr/>
          </p:nvSpPr>
          <p:spPr bwMode="auto">
            <a:xfrm>
              <a:off x="3904988"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2" name="Freeform 55">
              <a:extLst>
                <a:ext uri="{FF2B5EF4-FFF2-40B4-BE49-F238E27FC236}">
                  <a16:creationId xmlns:a16="http://schemas.microsoft.com/office/drawing/2014/main" id="{1302E8D2-374B-464C-8E1D-5EA48C9871C5}"/>
                </a:ext>
              </a:extLst>
            </p:cNvPr>
            <p:cNvSpPr>
              <a:spLocks noEditPoints="1"/>
            </p:cNvSpPr>
            <p:nvPr/>
          </p:nvSpPr>
          <p:spPr bwMode="auto">
            <a:xfrm>
              <a:off x="3966933" y="2305675"/>
              <a:ext cx="25868" cy="7113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3" name="Freeform 56">
              <a:extLst>
                <a:ext uri="{FF2B5EF4-FFF2-40B4-BE49-F238E27FC236}">
                  <a16:creationId xmlns:a16="http://schemas.microsoft.com/office/drawing/2014/main" id="{85C280EC-0C7A-4973-8CA8-E3D1B92367A2}"/>
                </a:ext>
              </a:extLst>
            </p:cNvPr>
            <p:cNvSpPr>
              <a:spLocks noEditPoints="1"/>
            </p:cNvSpPr>
            <p:nvPr/>
          </p:nvSpPr>
          <p:spPr bwMode="auto">
            <a:xfrm>
              <a:off x="4004628" y="2304058"/>
              <a:ext cx="51734"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4" name="Freeform 52">
              <a:extLst>
                <a:ext uri="{FF2B5EF4-FFF2-40B4-BE49-F238E27FC236}">
                  <a16:creationId xmlns:a16="http://schemas.microsoft.com/office/drawing/2014/main" id="{FA27C313-3F5A-4993-83F5-D91F3835C848}"/>
                </a:ext>
              </a:extLst>
            </p:cNvPr>
            <p:cNvSpPr>
              <a:spLocks noEditPoints="1"/>
            </p:cNvSpPr>
            <p:nvPr/>
          </p:nvSpPr>
          <p:spPr bwMode="auto">
            <a:xfrm>
              <a:off x="4068190" y="2304058"/>
              <a:ext cx="51734" cy="74369"/>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5" name="Freeform 53">
              <a:extLst>
                <a:ext uri="{FF2B5EF4-FFF2-40B4-BE49-F238E27FC236}">
                  <a16:creationId xmlns:a16="http://schemas.microsoft.com/office/drawing/2014/main" id="{C7B0F1FE-A211-48E4-9C38-2D6C6C16C00F}"/>
                </a:ext>
              </a:extLst>
            </p:cNvPr>
            <p:cNvSpPr>
              <a:spLocks noEditPoints="1"/>
            </p:cNvSpPr>
            <p:nvPr/>
          </p:nvSpPr>
          <p:spPr bwMode="auto">
            <a:xfrm>
              <a:off x="4131752"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6" name="Freeform 54">
              <a:extLst>
                <a:ext uri="{FF2B5EF4-FFF2-40B4-BE49-F238E27FC236}">
                  <a16:creationId xmlns:a16="http://schemas.microsoft.com/office/drawing/2014/main" id="{7D960CB5-B6E8-43CB-98D5-F19949DDCB2A}"/>
                </a:ext>
              </a:extLst>
            </p:cNvPr>
            <p:cNvSpPr>
              <a:spLocks noEditPoints="1"/>
            </p:cNvSpPr>
            <p:nvPr/>
          </p:nvSpPr>
          <p:spPr bwMode="auto">
            <a:xfrm>
              <a:off x="4193698"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7" name="Freeform 55">
              <a:extLst>
                <a:ext uri="{FF2B5EF4-FFF2-40B4-BE49-F238E27FC236}">
                  <a16:creationId xmlns:a16="http://schemas.microsoft.com/office/drawing/2014/main" id="{4CABB715-3CDA-4172-8C9A-7F320862BDCF}"/>
                </a:ext>
              </a:extLst>
            </p:cNvPr>
            <p:cNvSpPr>
              <a:spLocks noEditPoints="1"/>
            </p:cNvSpPr>
            <p:nvPr/>
          </p:nvSpPr>
          <p:spPr bwMode="auto">
            <a:xfrm>
              <a:off x="4255644" y="2305675"/>
              <a:ext cx="25868" cy="7113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8" name="Freeform 56">
              <a:extLst>
                <a:ext uri="{FF2B5EF4-FFF2-40B4-BE49-F238E27FC236}">
                  <a16:creationId xmlns:a16="http://schemas.microsoft.com/office/drawing/2014/main" id="{2D0F0880-EDC3-4771-BF7F-CB4C229C47FD}"/>
                </a:ext>
              </a:extLst>
            </p:cNvPr>
            <p:cNvSpPr>
              <a:spLocks noEditPoints="1"/>
            </p:cNvSpPr>
            <p:nvPr/>
          </p:nvSpPr>
          <p:spPr bwMode="auto">
            <a:xfrm>
              <a:off x="4293338" y="2304058"/>
              <a:ext cx="51734"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29" name="Group 128">
            <a:extLst>
              <a:ext uri="{FF2B5EF4-FFF2-40B4-BE49-F238E27FC236}">
                <a16:creationId xmlns:a16="http://schemas.microsoft.com/office/drawing/2014/main" id="{DAB0E4BC-318E-459D-AA1C-3F1695D10CE7}"/>
              </a:ext>
            </a:extLst>
          </p:cNvPr>
          <p:cNvGrpSpPr/>
          <p:nvPr/>
        </p:nvGrpSpPr>
        <p:grpSpPr>
          <a:xfrm>
            <a:off x="6325864" y="3249188"/>
            <a:ext cx="590446" cy="74369"/>
            <a:chOff x="3787564" y="1927368"/>
            <a:chExt cx="590446" cy="74369"/>
          </a:xfrm>
        </p:grpSpPr>
        <p:sp>
          <p:nvSpPr>
            <p:cNvPr id="130" name="Freeform 26">
              <a:extLst>
                <a:ext uri="{FF2B5EF4-FFF2-40B4-BE49-F238E27FC236}">
                  <a16:creationId xmlns:a16="http://schemas.microsoft.com/office/drawing/2014/main" id="{3C08F931-DA93-47C2-B956-CFE7BCB973B0}"/>
                </a:ext>
              </a:extLst>
            </p:cNvPr>
            <p:cNvSpPr>
              <a:spLocks noEditPoints="1"/>
            </p:cNvSpPr>
            <p:nvPr/>
          </p:nvSpPr>
          <p:spPr bwMode="auto">
            <a:xfrm>
              <a:off x="3787564"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31" name="Freeform 27">
              <a:extLst>
                <a:ext uri="{FF2B5EF4-FFF2-40B4-BE49-F238E27FC236}">
                  <a16:creationId xmlns:a16="http://schemas.microsoft.com/office/drawing/2014/main" id="{819C4ACC-4F28-486D-AB06-05FEFDF4F316}"/>
                </a:ext>
              </a:extLst>
            </p:cNvPr>
            <p:cNvSpPr>
              <a:spLocks noEditPoints="1"/>
            </p:cNvSpPr>
            <p:nvPr/>
          </p:nvSpPr>
          <p:spPr bwMode="auto">
            <a:xfrm>
              <a:off x="3835130"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32" name="Freeform 28">
              <a:extLst>
                <a:ext uri="{FF2B5EF4-FFF2-40B4-BE49-F238E27FC236}">
                  <a16:creationId xmlns:a16="http://schemas.microsoft.com/office/drawing/2014/main" id="{8421D7A6-1410-41F4-9532-E95A1B9BCAD6}"/>
                </a:ext>
              </a:extLst>
            </p:cNvPr>
            <p:cNvSpPr>
              <a:spLocks noEditPoints="1"/>
            </p:cNvSpPr>
            <p:nvPr/>
          </p:nvSpPr>
          <p:spPr bwMode="auto">
            <a:xfrm>
              <a:off x="3905330" y="1928176"/>
              <a:ext cx="27484" cy="7275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33" name="Freeform 29">
              <a:extLst>
                <a:ext uri="{FF2B5EF4-FFF2-40B4-BE49-F238E27FC236}">
                  <a16:creationId xmlns:a16="http://schemas.microsoft.com/office/drawing/2014/main" id="{0EB802BB-0293-41C1-85B2-E98A405F38AF}"/>
                </a:ext>
              </a:extLst>
            </p:cNvPr>
            <p:cNvSpPr>
              <a:spLocks noEditPoints="1"/>
            </p:cNvSpPr>
            <p:nvPr/>
          </p:nvSpPr>
          <p:spPr bwMode="auto">
            <a:xfrm>
              <a:off x="3952896"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34" name="Freeform 30">
              <a:extLst>
                <a:ext uri="{FF2B5EF4-FFF2-40B4-BE49-F238E27FC236}">
                  <a16:creationId xmlns:a16="http://schemas.microsoft.com/office/drawing/2014/main" id="{FE7DAAC9-FC1F-4A57-9C9D-AB382D21B55A}"/>
                </a:ext>
              </a:extLst>
            </p:cNvPr>
            <p:cNvSpPr>
              <a:spLocks noEditPoints="1"/>
            </p:cNvSpPr>
            <p:nvPr/>
          </p:nvSpPr>
          <p:spPr bwMode="auto">
            <a:xfrm>
              <a:off x="4023096" y="1928176"/>
              <a:ext cx="25868" cy="7275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35" name="Freeform 26">
              <a:extLst>
                <a:ext uri="{FF2B5EF4-FFF2-40B4-BE49-F238E27FC236}">
                  <a16:creationId xmlns:a16="http://schemas.microsoft.com/office/drawing/2014/main" id="{0894461A-BD84-468A-8CC8-F8B20A5ED582}"/>
                </a:ext>
              </a:extLst>
            </p:cNvPr>
            <p:cNvSpPr>
              <a:spLocks noEditPoints="1"/>
            </p:cNvSpPr>
            <p:nvPr/>
          </p:nvSpPr>
          <p:spPr bwMode="auto">
            <a:xfrm>
              <a:off x="4069045"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36" name="Freeform 27">
              <a:extLst>
                <a:ext uri="{FF2B5EF4-FFF2-40B4-BE49-F238E27FC236}">
                  <a16:creationId xmlns:a16="http://schemas.microsoft.com/office/drawing/2014/main" id="{1B74E596-4BFC-4218-8462-5AAAD0207961}"/>
                </a:ext>
              </a:extLst>
            </p:cNvPr>
            <p:cNvSpPr>
              <a:spLocks noEditPoints="1"/>
            </p:cNvSpPr>
            <p:nvPr/>
          </p:nvSpPr>
          <p:spPr bwMode="auto">
            <a:xfrm>
              <a:off x="4116611"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37" name="Freeform 28">
              <a:extLst>
                <a:ext uri="{FF2B5EF4-FFF2-40B4-BE49-F238E27FC236}">
                  <a16:creationId xmlns:a16="http://schemas.microsoft.com/office/drawing/2014/main" id="{114D26AF-DF36-43D0-AD74-087571426779}"/>
                </a:ext>
              </a:extLst>
            </p:cNvPr>
            <p:cNvSpPr>
              <a:spLocks noEditPoints="1"/>
            </p:cNvSpPr>
            <p:nvPr/>
          </p:nvSpPr>
          <p:spPr bwMode="auto">
            <a:xfrm>
              <a:off x="4186811" y="1928176"/>
              <a:ext cx="27484" cy="7275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38" name="Freeform 29">
              <a:extLst>
                <a:ext uri="{FF2B5EF4-FFF2-40B4-BE49-F238E27FC236}">
                  <a16:creationId xmlns:a16="http://schemas.microsoft.com/office/drawing/2014/main" id="{BE9A720B-F193-4E48-B774-EB62DE44A27A}"/>
                </a:ext>
              </a:extLst>
            </p:cNvPr>
            <p:cNvSpPr>
              <a:spLocks noEditPoints="1"/>
            </p:cNvSpPr>
            <p:nvPr/>
          </p:nvSpPr>
          <p:spPr bwMode="auto">
            <a:xfrm>
              <a:off x="4234377"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39" name="Freeform 30">
              <a:extLst>
                <a:ext uri="{FF2B5EF4-FFF2-40B4-BE49-F238E27FC236}">
                  <a16:creationId xmlns:a16="http://schemas.microsoft.com/office/drawing/2014/main" id="{ECF2A5FE-C503-44D6-9B6A-E257F1BE939B}"/>
                </a:ext>
              </a:extLst>
            </p:cNvPr>
            <p:cNvSpPr>
              <a:spLocks noEditPoints="1"/>
            </p:cNvSpPr>
            <p:nvPr/>
          </p:nvSpPr>
          <p:spPr bwMode="auto">
            <a:xfrm>
              <a:off x="4304577" y="1928176"/>
              <a:ext cx="25868" cy="7275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40" name="Freeform 26">
              <a:extLst>
                <a:ext uri="{FF2B5EF4-FFF2-40B4-BE49-F238E27FC236}">
                  <a16:creationId xmlns:a16="http://schemas.microsoft.com/office/drawing/2014/main" id="{88F33278-CB79-4A5E-AEC0-E050BA645CC5}"/>
                </a:ext>
              </a:extLst>
            </p:cNvPr>
            <p:cNvSpPr>
              <a:spLocks noEditPoints="1"/>
            </p:cNvSpPr>
            <p:nvPr/>
          </p:nvSpPr>
          <p:spPr bwMode="auto">
            <a:xfrm>
              <a:off x="4350526"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41" name="Group 140">
            <a:extLst>
              <a:ext uri="{FF2B5EF4-FFF2-40B4-BE49-F238E27FC236}">
                <a16:creationId xmlns:a16="http://schemas.microsoft.com/office/drawing/2014/main" id="{030BA586-9349-40FB-BA75-1DC39005AE39}"/>
              </a:ext>
            </a:extLst>
          </p:cNvPr>
          <p:cNvGrpSpPr/>
          <p:nvPr/>
        </p:nvGrpSpPr>
        <p:grpSpPr>
          <a:xfrm>
            <a:off x="6317780" y="3373673"/>
            <a:ext cx="625759" cy="75985"/>
            <a:chOff x="3779480" y="2051853"/>
            <a:chExt cx="625759" cy="75985"/>
          </a:xfrm>
        </p:grpSpPr>
        <p:sp>
          <p:nvSpPr>
            <p:cNvPr id="142" name="Freeform 35">
              <a:extLst>
                <a:ext uri="{FF2B5EF4-FFF2-40B4-BE49-F238E27FC236}">
                  <a16:creationId xmlns:a16="http://schemas.microsoft.com/office/drawing/2014/main" id="{9BBEA77B-F929-402D-8CE8-C178B3DAD316}"/>
                </a:ext>
              </a:extLst>
            </p:cNvPr>
            <p:cNvSpPr>
              <a:spLocks noEditPoints="1"/>
            </p:cNvSpPr>
            <p:nvPr/>
          </p:nvSpPr>
          <p:spPr bwMode="auto">
            <a:xfrm>
              <a:off x="3779480"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43" name="Freeform 36">
              <a:extLst>
                <a:ext uri="{FF2B5EF4-FFF2-40B4-BE49-F238E27FC236}">
                  <a16:creationId xmlns:a16="http://schemas.microsoft.com/office/drawing/2014/main" id="{3D61B614-ACDA-42B7-8498-5AF915EBAF0B}"/>
                </a:ext>
              </a:extLst>
            </p:cNvPr>
            <p:cNvSpPr>
              <a:spLocks noEditPoints="1"/>
            </p:cNvSpPr>
            <p:nvPr/>
          </p:nvSpPr>
          <p:spPr bwMode="auto">
            <a:xfrm>
              <a:off x="3842702" y="2051853"/>
              <a:ext cx="50119" cy="75985"/>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44" name="Freeform 37">
              <a:extLst>
                <a:ext uri="{FF2B5EF4-FFF2-40B4-BE49-F238E27FC236}">
                  <a16:creationId xmlns:a16="http://schemas.microsoft.com/office/drawing/2014/main" id="{843DA711-93F0-4C90-8DC6-2CAA68797190}"/>
                </a:ext>
              </a:extLst>
            </p:cNvPr>
            <p:cNvSpPr>
              <a:spLocks noEditPoints="1"/>
            </p:cNvSpPr>
            <p:nvPr/>
          </p:nvSpPr>
          <p:spPr bwMode="auto">
            <a:xfrm>
              <a:off x="3904308" y="2053470"/>
              <a:ext cx="27484" cy="7275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45" name="Freeform 38">
              <a:extLst>
                <a:ext uri="{FF2B5EF4-FFF2-40B4-BE49-F238E27FC236}">
                  <a16:creationId xmlns:a16="http://schemas.microsoft.com/office/drawing/2014/main" id="{9EA19CE4-8A6D-4F92-8425-BBA9782368F7}"/>
                </a:ext>
              </a:extLst>
            </p:cNvPr>
            <p:cNvSpPr>
              <a:spLocks noEditPoints="1"/>
            </p:cNvSpPr>
            <p:nvPr/>
          </p:nvSpPr>
          <p:spPr bwMode="auto">
            <a:xfrm>
              <a:off x="3943280" y="2051853"/>
              <a:ext cx="50119"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46" name="Freeform 39">
              <a:extLst>
                <a:ext uri="{FF2B5EF4-FFF2-40B4-BE49-F238E27FC236}">
                  <a16:creationId xmlns:a16="http://schemas.microsoft.com/office/drawing/2014/main" id="{30A10256-4618-4AF9-9F5A-CB5A32F562A0}"/>
                </a:ext>
              </a:extLst>
            </p:cNvPr>
            <p:cNvSpPr>
              <a:spLocks noEditPoints="1"/>
            </p:cNvSpPr>
            <p:nvPr/>
          </p:nvSpPr>
          <p:spPr bwMode="auto">
            <a:xfrm>
              <a:off x="4004886" y="2051853"/>
              <a:ext cx="50119" cy="75985"/>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47" name="Freeform 35">
              <a:extLst>
                <a:ext uri="{FF2B5EF4-FFF2-40B4-BE49-F238E27FC236}">
                  <a16:creationId xmlns:a16="http://schemas.microsoft.com/office/drawing/2014/main" id="{F99A801A-7F3C-4823-BA3A-CAA4C610C112}"/>
                </a:ext>
              </a:extLst>
            </p:cNvPr>
            <p:cNvSpPr>
              <a:spLocks noEditPoints="1"/>
            </p:cNvSpPr>
            <p:nvPr/>
          </p:nvSpPr>
          <p:spPr bwMode="auto">
            <a:xfrm>
              <a:off x="4066493"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48" name="Freeform 36">
              <a:extLst>
                <a:ext uri="{FF2B5EF4-FFF2-40B4-BE49-F238E27FC236}">
                  <a16:creationId xmlns:a16="http://schemas.microsoft.com/office/drawing/2014/main" id="{EA4B533F-2A2D-476C-A961-768140C65782}"/>
                </a:ext>
              </a:extLst>
            </p:cNvPr>
            <p:cNvSpPr>
              <a:spLocks noEditPoints="1"/>
            </p:cNvSpPr>
            <p:nvPr/>
          </p:nvSpPr>
          <p:spPr bwMode="auto">
            <a:xfrm>
              <a:off x="4129714" y="2051853"/>
              <a:ext cx="50119" cy="75985"/>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49" name="Freeform 37">
              <a:extLst>
                <a:ext uri="{FF2B5EF4-FFF2-40B4-BE49-F238E27FC236}">
                  <a16:creationId xmlns:a16="http://schemas.microsoft.com/office/drawing/2014/main" id="{CB1DD159-2F71-4AC9-83A1-0432BD70E982}"/>
                </a:ext>
              </a:extLst>
            </p:cNvPr>
            <p:cNvSpPr>
              <a:spLocks noEditPoints="1"/>
            </p:cNvSpPr>
            <p:nvPr/>
          </p:nvSpPr>
          <p:spPr bwMode="auto">
            <a:xfrm>
              <a:off x="4191321" y="2053470"/>
              <a:ext cx="27484" cy="7275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50" name="Freeform 38">
              <a:extLst>
                <a:ext uri="{FF2B5EF4-FFF2-40B4-BE49-F238E27FC236}">
                  <a16:creationId xmlns:a16="http://schemas.microsoft.com/office/drawing/2014/main" id="{EEE8850A-DA76-4C59-91EE-9AC2AD5974BA}"/>
                </a:ext>
              </a:extLst>
            </p:cNvPr>
            <p:cNvSpPr>
              <a:spLocks noEditPoints="1"/>
            </p:cNvSpPr>
            <p:nvPr/>
          </p:nvSpPr>
          <p:spPr bwMode="auto">
            <a:xfrm>
              <a:off x="4230293" y="2051853"/>
              <a:ext cx="50119"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51" name="Freeform 39">
              <a:extLst>
                <a:ext uri="{FF2B5EF4-FFF2-40B4-BE49-F238E27FC236}">
                  <a16:creationId xmlns:a16="http://schemas.microsoft.com/office/drawing/2014/main" id="{DB3327B1-F803-466D-968B-C2293632B0C6}"/>
                </a:ext>
              </a:extLst>
            </p:cNvPr>
            <p:cNvSpPr>
              <a:spLocks noEditPoints="1"/>
            </p:cNvSpPr>
            <p:nvPr/>
          </p:nvSpPr>
          <p:spPr bwMode="auto">
            <a:xfrm>
              <a:off x="4291899" y="2051853"/>
              <a:ext cx="50119" cy="75985"/>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52" name="Freeform 35">
              <a:extLst>
                <a:ext uri="{FF2B5EF4-FFF2-40B4-BE49-F238E27FC236}">
                  <a16:creationId xmlns:a16="http://schemas.microsoft.com/office/drawing/2014/main" id="{17FE2AD1-3E1F-44E3-8079-23B1D0067E93}"/>
                </a:ext>
              </a:extLst>
            </p:cNvPr>
            <p:cNvSpPr>
              <a:spLocks noEditPoints="1"/>
            </p:cNvSpPr>
            <p:nvPr/>
          </p:nvSpPr>
          <p:spPr bwMode="auto">
            <a:xfrm>
              <a:off x="4353505"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53" name="Group 152">
            <a:extLst>
              <a:ext uri="{FF2B5EF4-FFF2-40B4-BE49-F238E27FC236}">
                <a16:creationId xmlns:a16="http://schemas.microsoft.com/office/drawing/2014/main" id="{FB3A0699-CD2B-4CD7-B2B4-54F8ED722421}"/>
              </a:ext>
            </a:extLst>
          </p:cNvPr>
          <p:cNvGrpSpPr/>
          <p:nvPr/>
        </p:nvGrpSpPr>
        <p:grpSpPr>
          <a:xfrm>
            <a:off x="6317780" y="3499776"/>
            <a:ext cx="626432" cy="74369"/>
            <a:chOff x="3779480" y="2177956"/>
            <a:chExt cx="626432" cy="74369"/>
          </a:xfrm>
        </p:grpSpPr>
        <p:sp>
          <p:nvSpPr>
            <p:cNvPr id="154" name="Freeform 42">
              <a:extLst>
                <a:ext uri="{FF2B5EF4-FFF2-40B4-BE49-F238E27FC236}">
                  <a16:creationId xmlns:a16="http://schemas.microsoft.com/office/drawing/2014/main" id="{3B4E5308-0FED-4099-92F8-56A751165C26}"/>
                </a:ext>
              </a:extLst>
            </p:cNvPr>
            <p:cNvSpPr>
              <a:spLocks noEditPoints="1"/>
            </p:cNvSpPr>
            <p:nvPr/>
          </p:nvSpPr>
          <p:spPr bwMode="auto">
            <a:xfrm>
              <a:off x="3779480"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55" name="Freeform 43">
              <a:extLst>
                <a:ext uri="{FF2B5EF4-FFF2-40B4-BE49-F238E27FC236}">
                  <a16:creationId xmlns:a16="http://schemas.microsoft.com/office/drawing/2014/main" id="{EAF55555-4DCF-46E4-972B-12F43BA665AC}"/>
                </a:ext>
              </a:extLst>
            </p:cNvPr>
            <p:cNvSpPr>
              <a:spLocks noEditPoints="1"/>
            </p:cNvSpPr>
            <p:nvPr/>
          </p:nvSpPr>
          <p:spPr bwMode="auto">
            <a:xfrm>
              <a:off x="3847296" y="2177956"/>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56" name="Freeform 44">
              <a:extLst>
                <a:ext uri="{FF2B5EF4-FFF2-40B4-BE49-F238E27FC236}">
                  <a16:creationId xmlns:a16="http://schemas.microsoft.com/office/drawing/2014/main" id="{85099682-B254-4105-8B05-3E71F362158D}"/>
                </a:ext>
              </a:extLst>
            </p:cNvPr>
            <p:cNvSpPr>
              <a:spLocks noEditPoints="1"/>
            </p:cNvSpPr>
            <p:nvPr/>
          </p:nvSpPr>
          <p:spPr bwMode="auto">
            <a:xfrm>
              <a:off x="3913497" y="2178765"/>
              <a:ext cx="27484" cy="7275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57" name="Freeform 45">
              <a:extLst>
                <a:ext uri="{FF2B5EF4-FFF2-40B4-BE49-F238E27FC236}">
                  <a16:creationId xmlns:a16="http://schemas.microsoft.com/office/drawing/2014/main" id="{35C9A9EA-785C-4DD0-BEBA-6A59C39A57F7}"/>
                </a:ext>
              </a:extLst>
            </p:cNvPr>
            <p:cNvSpPr>
              <a:spLocks noEditPoints="1"/>
            </p:cNvSpPr>
            <p:nvPr/>
          </p:nvSpPr>
          <p:spPr bwMode="auto">
            <a:xfrm>
              <a:off x="3957063" y="2178765"/>
              <a:ext cx="27484" cy="7275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58" name="Freeform 46">
              <a:extLst>
                <a:ext uri="{FF2B5EF4-FFF2-40B4-BE49-F238E27FC236}">
                  <a16:creationId xmlns:a16="http://schemas.microsoft.com/office/drawing/2014/main" id="{D6B88C17-A04D-45BB-A174-7CDBFD9697DD}"/>
                </a:ext>
              </a:extLst>
            </p:cNvPr>
            <p:cNvSpPr>
              <a:spLocks noEditPoints="1"/>
            </p:cNvSpPr>
            <p:nvPr/>
          </p:nvSpPr>
          <p:spPr bwMode="auto">
            <a:xfrm>
              <a:off x="4000629" y="2177956"/>
              <a:ext cx="50119" cy="74369"/>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59" name="Freeform 42">
              <a:extLst>
                <a:ext uri="{FF2B5EF4-FFF2-40B4-BE49-F238E27FC236}">
                  <a16:creationId xmlns:a16="http://schemas.microsoft.com/office/drawing/2014/main" id="{A1E47BE8-3339-4ADC-A996-B8CE3781EB25}"/>
                </a:ext>
              </a:extLst>
            </p:cNvPr>
            <p:cNvSpPr>
              <a:spLocks noEditPoints="1"/>
            </p:cNvSpPr>
            <p:nvPr/>
          </p:nvSpPr>
          <p:spPr bwMode="auto">
            <a:xfrm>
              <a:off x="4066829"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60" name="Freeform 43">
              <a:extLst>
                <a:ext uri="{FF2B5EF4-FFF2-40B4-BE49-F238E27FC236}">
                  <a16:creationId xmlns:a16="http://schemas.microsoft.com/office/drawing/2014/main" id="{CD510653-2681-4A5D-8A89-1DF736C10941}"/>
                </a:ext>
              </a:extLst>
            </p:cNvPr>
            <p:cNvSpPr>
              <a:spLocks noEditPoints="1"/>
            </p:cNvSpPr>
            <p:nvPr/>
          </p:nvSpPr>
          <p:spPr bwMode="auto">
            <a:xfrm>
              <a:off x="4134645" y="2177956"/>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61" name="Freeform 44">
              <a:extLst>
                <a:ext uri="{FF2B5EF4-FFF2-40B4-BE49-F238E27FC236}">
                  <a16:creationId xmlns:a16="http://schemas.microsoft.com/office/drawing/2014/main" id="{8D31F7D3-A2E2-4531-8F99-C16D0BEECE6C}"/>
                </a:ext>
              </a:extLst>
            </p:cNvPr>
            <p:cNvSpPr>
              <a:spLocks noEditPoints="1"/>
            </p:cNvSpPr>
            <p:nvPr/>
          </p:nvSpPr>
          <p:spPr bwMode="auto">
            <a:xfrm>
              <a:off x="4200846" y="2178765"/>
              <a:ext cx="27484" cy="7275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62" name="Freeform 45">
              <a:extLst>
                <a:ext uri="{FF2B5EF4-FFF2-40B4-BE49-F238E27FC236}">
                  <a16:creationId xmlns:a16="http://schemas.microsoft.com/office/drawing/2014/main" id="{A13BC010-2BE9-430B-99C6-39CE8FEDBC41}"/>
                </a:ext>
              </a:extLst>
            </p:cNvPr>
            <p:cNvSpPr>
              <a:spLocks noEditPoints="1"/>
            </p:cNvSpPr>
            <p:nvPr/>
          </p:nvSpPr>
          <p:spPr bwMode="auto">
            <a:xfrm>
              <a:off x="4244412" y="2178765"/>
              <a:ext cx="27484" cy="7275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63" name="Freeform 46">
              <a:extLst>
                <a:ext uri="{FF2B5EF4-FFF2-40B4-BE49-F238E27FC236}">
                  <a16:creationId xmlns:a16="http://schemas.microsoft.com/office/drawing/2014/main" id="{F544A3BD-4646-495D-A6F9-BAD6EB60A24D}"/>
                </a:ext>
              </a:extLst>
            </p:cNvPr>
            <p:cNvSpPr>
              <a:spLocks noEditPoints="1"/>
            </p:cNvSpPr>
            <p:nvPr/>
          </p:nvSpPr>
          <p:spPr bwMode="auto">
            <a:xfrm>
              <a:off x="4287978" y="2177956"/>
              <a:ext cx="50119" cy="74369"/>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64" name="Freeform 42">
              <a:extLst>
                <a:ext uri="{FF2B5EF4-FFF2-40B4-BE49-F238E27FC236}">
                  <a16:creationId xmlns:a16="http://schemas.microsoft.com/office/drawing/2014/main" id="{CD192109-303D-40E1-B8BB-3A71B2F2F1F0}"/>
                </a:ext>
              </a:extLst>
            </p:cNvPr>
            <p:cNvSpPr>
              <a:spLocks noEditPoints="1"/>
            </p:cNvSpPr>
            <p:nvPr/>
          </p:nvSpPr>
          <p:spPr bwMode="auto">
            <a:xfrm>
              <a:off x="4354178"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sp>
        <p:nvSpPr>
          <p:cNvPr id="165" name="Circle: Hollow 164">
            <a:extLst>
              <a:ext uri="{FF2B5EF4-FFF2-40B4-BE49-F238E27FC236}">
                <a16:creationId xmlns:a16="http://schemas.microsoft.com/office/drawing/2014/main" id="{6DA056BB-9178-4D9F-9704-849BBA0AFE29}"/>
              </a:ext>
            </a:extLst>
          </p:cNvPr>
          <p:cNvSpPr/>
          <p:nvPr/>
        </p:nvSpPr>
        <p:spPr>
          <a:xfrm>
            <a:off x="6240261" y="3030839"/>
            <a:ext cx="761650" cy="761650"/>
          </a:xfrm>
          <a:prstGeom prst="donut">
            <a:avLst>
              <a:gd name="adj" fmla="val 827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166" name="Oval 165">
            <a:extLst>
              <a:ext uri="{FF2B5EF4-FFF2-40B4-BE49-F238E27FC236}">
                <a16:creationId xmlns:a16="http://schemas.microsoft.com/office/drawing/2014/main" id="{B4C4BDAC-6DF7-4057-8373-568DD9DF4F75}"/>
              </a:ext>
            </a:extLst>
          </p:cNvPr>
          <p:cNvSpPr/>
          <p:nvPr/>
        </p:nvSpPr>
        <p:spPr>
          <a:xfrm>
            <a:off x="7132770" y="2710799"/>
            <a:ext cx="639975" cy="640080"/>
          </a:xfrm>
          <a:prstGeom prst="ellipse">
            <a:avLst/>
          </a:prstGeom>
          <a:solidFill>
            <a:schemeClr val="bg1"/>
          </a:solidFill>
          <a:ln w="25400" cap="flat" cmpd="sng" algn="ctr">
            <a:noFill/>
            <a:prstDash val="solid"/>
          </a:ln>
          <a:effectLst/>
        </p:spPr>
        <p:txBody>
          <a:bodyPr rot="0" spcFirstLastPara="0" vertOverflow="overflow" horzOverflow="overflow" vert="horz" wrap="square" lIns="457200" tIns="45720" rIns="457200" bIns="45720" numCol="1" spcCol="0" rtlCol="0" fromWordArt="0" anchor="ctr" anchorCtr="1" forceAA="0" compatLnSpc="1">
            <a:prstTxWarp prst="textNoShape">
              <a:avLst/>
            </a:prstTxWarp>
            <a:noAutofit/>
          </a:bodyPr>
          <a:lstStyle/>
          <a:p>
            <a:pPr marL="0" marR="0" lvl="0" indent="0" algn="ctr" defTabSz="685813" rtl="0" eaLnBrk="1" fontAlgn="auto" latinLnBrk="0" hangingPunct="1">
              <a:lnSpc>
                <a:spcPct val="100000"/>
              </a:lnSpc>
              <a:spcBef>
                <a:spcPts val="0"/>
              </a:spcBef>
              <a:spcAft>
                <a:spcPts val="0"/>
              </a:spcAft>
              <a:buClrTx/>
              <a:buSzTx/>
              <a:buFontTx/>
              <a:buNone/>
              <a:tabLst/>
              <a:defRPr/>
            </a:pPr>
            <a:endParaRPr kumimoji="0" lang="en-US" sz="2100" b="1"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grpSp>
        <p:nvGrpSpPr>
          <p:cNvPr id="167" name="Group 166">
            <a:extLst>
              <a:ext uri="{FF2B5EF4-FFF2-40B4-BE49-F238E27FC236}">
                <a16:creationId xmlns:a16="http://schemas.microsoft.com/office/drawing/2014/main" id="{F46D5180-EEE1-4511-8D37-EF9EFFC72C4E}"/>
              </a:ext>
            </a:extLst>
          </p:cNvPr>
          <p:cNvGrpSpPr/>
          <p:nvPr/>
        </p:nvGrpSpPr>
        <p:grpSpPr>
          <a:xfrm>
            <a:off x="7216417" y="2742260"/>
            <a:ext cx="441282" cy="75985"/>
            <a:chOff x="3846446" y="1801265"/>
            <a:chExt cx="441282" cy="75985"/>
          </a:xfrm>
        </p:grpSpPr>
        <p:sp>
          <p:nvSpPr>
            <p:cNvPr id="168" name="Freeform 17">
              <a:extLst>
                <a:ext uri="{FF2B5EF4-FFF2-40B4-BE49-F238E27FC236}">
                  <a16:creationId xmlns:a16="http://schemas.microsoft.com/office/drawing/2014/main" id="{B8EE7887-8F32-424B-845C-B1A013CA6ECD}"/>
                </a:ext>
              </a:extLst>
            </p:cNvPr>
            <p:cNvSpPr>
              <a:spLocks noEditPoints="1"/>
            </p:cNvSpPr>
            <p:nvPr/>
          </p:nvSpPr>
          <p:spPr bwMode="auto">
            <a:xfrm>
              <a:off x="3846446" y="1802882"/>
              <a:ext cx="27484" cy="7275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69" name="Freeform 18">
              <a:extLst>
                <a:ext uri="{FF2B5EF4-FFF2-40B4-BE49-F238E27FC236}">
                  <a16:creationId xmlns:a16="http://schemas.microsoft.com/office/drawing/2014/main" id="{21CF52D6-3A2B-44B3-9907-B361387EC4B9}"/>
                </a:ext>
              </a:extLst>
            </p:cNvPr>
            <p:cNvSpPr>
              <a:spLocks noEditPoints="1"/>
            </p:cNvSpPr>
            <p:nvPr/>
          </p:nvSpPr>
          <p:spPr bwMode="auto">
            <a:xfrm>
              <a:off x="3889162" y="1801265"/>
              <a:ext cx="50119" cy="7598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70" name="Freeform 19">
              <a:extLst>
                <a:ext uri="{FF2B5EF4-FFF2-40B4-BE49-F238E27FC236}">
                  <a16:creationId xmlns:a16="http://schemas.microsoft.com/office/drawing/2014/main" id="{1A751FD8-387D-4005-BBB6-1AE71DE67957}"/>
                </a:ext>
              </a:extLst>
            </p:cNvPr>
            <p:cNvSpPr>
              <a:spLocks noEditPoints="1"/>
            </p:cNvSpPr>
            <p:nvPr/>
          </p:nvSpPr>
          <p:spPr bwMode="auto">
            <a:xfrm>
              <a:off x="3954512" y="1801265"/>
              <a:ext cx="50119"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71" name="Freeform 20">
              <a:extLst>
                <a:ext uri="{FF2B5EF4-FFF2-40B4-BE49-F238E27FC236}">
                  <a16:creationId xmlns:a16="http://schemas.microsoft.com/office/drawing/2014/main" id="{C5AEED80-8A38-47D8-AF3F-1EE5A14C4053}"/>
                </a:ext>
              </a:extLst>
            </p:cNvPr>
            <p:cNvSpPr>
              <a:spLocks noEditPoints="1"/>
            </p:cNvSpPr>
            <p:nvPr/>
          </p:nvSpPr>
          <p:spPr bwMode="auto">
            <a:xfrm>
              <a:off x="4019862" y="1802882"/>
              <a:ext cx="27484" cy="72752"/>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72" name="Freeform 16">
              <a:extLst>
                <a:ext uri="{FF2B5EF4-FFF2-40B4-BE49-F238E27FC236}">
                  <a16:creationId xmlns:a16="http://schemas.microsoft.com/office/drawing/2014/main" id="{5977E006-F2F3-4B97-B8FF-037E616516B7}"/>
                </a:ext>
              </a:extLst>
            </p:cNvPr>
            <p:cNvSpPr>
              <a:spLocks noEditPoints="1"/>
            </p:cNvSpPr>
            <p:nvPr/>
          </p:nvSpPr>
          <p:spPr bwMode="auto">
            <a:xfrm>
              <a:off x="4062578" y="1801265"/>
              <a:ext cx="51734"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73" name="Freeform 17">
              <a:extLst>
                <a:ext uri="{FF2B5EF4-FFF2-40B4-BE49-F238E27FC236}">
                  <a16:creationId xmlns:a16="http://schemas.microsoft.com/office/drawing/2014/main" id="{0E8CB2D2-FD77-4596-B581-42CFA68555CD}"/>
                </a:ext>
              </a:extLst>
            </p:cNvPr>
            <p:cNvSpPr>
              <a:spLocks noEditPoints="1"/>
            </p:cNvSpPr>
            <p:nvPr/>
          </p:nvSpPr>
          <p:spPr bwMode="auto">
            <a:xfrm>
              <a:off x="4129544" y="1802882"/>
              <a:ext cx="27484" cy="72752"/>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74" name="Freeform 18">
              <a:extLst>
                <a:ext uri="{FF2B5EF4-FFF2-40B4-BE49-F238E27FC236}">
                  <a16:creationId xmlns:a16="http://schemas.microsoft.com/office/drawing/2014/main" id="{CB73C013-A982-40E2-9234-17B14E4E2F66}"/>
                </a:ext>
              </a:extLst>
            </p:cNvPr>
            <p:cNvSpPr>
              <a:spLocks noEditPoints="1"/>
            </p:cNvSpPr>
            <p:nvPr/>
          </p:nvSpPr>
          <p:spPr bwMode="auto">
            <a:xfrm>
              <a:off x="4172259" y="1801265"/>
              <a:ext cx="50119" cy="75985"/>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75" name="Freeform 19">
              <a:extLst>
                <a:ext uri="{FF2B5EF4-FFF2-40B4-BE49-F238E27FC236}">
                  <a16:creationId xmlns:a16="http://schemas.microsoft.com/office/drawing/2014/main" id="{B1099570-06C3-48BB-A385-2700600FB20C}"/>
                </a:ext>
              </a:extLst>
            </p:cNvPr>
            <p:cNvSpPr>
              <a:spLocks noEditPoints="1"/>
            </p:cNvSpPr>
            <p:nvPr/>
          </p:nvSpPr>
          <p:spPr bwMode="auto">
            <a:xfrm>
              <a:off x="4237609" y="1801265"/>
              <a:ext cx="50119" cy="75985"/>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76" name="Group 175">
            <a:extLst>
              <a:ext uri="{FF2B5EF4-FFF2-40B4-BE49-F238E27FC236}">
                <a16:creationId xmlns:a16="http://schemas.microsoft.com/office/drawing/2014/main" id="{4F261F8D-9A6F-45FE-9A48-65E648970FA6}"/>
              </a:ext>
            </a:extLst>
          </p:cNvPr>
          <p:cNvGrpSpPr/>
          <p:nvPr/>
        </p:nvGrpSpPr>
        <p:grpSpPr>
          <a:xfrm>
            <a:off x="7213013" y="3245053"/>
            <a:ext cx="502030" cy="74369"/>
            <a:chOff x="3843042" y="2304058"/>
            <a:chExt cx="502030" cy="74369"/>
          </a:xfrm>
        </p:grpSpPr>
        <p:sp>
          <p:nvSpPr>
            <p:cNvPr id="177" name="Freeform 53">
              <a:extLst>
                <a:ext uri="{FF2B5EF4-FFF2-40B4-BE49-F238E27FC236}">
                  <a16:creationId xmlns:a16="http://schemas.microsoft.com/office/drawing/2014/main" id="{F5170097-D932-4852-8DDE-A7F5360B8325}"/>
                </a:ext>
              </a:extLst>
            </p:cNvPr>
            <p:cNvSpPr>
              <a:spLocks noEditPoints="1"/>
            </p:cNvSpPr>
            <p:nvPr/>
          </p:nvSpPr>
          <p:spPr bwMode="auto">
            <a:xfrm>
              <a:off x="3843042"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78" name="Freeform 54">
              <a:extLst>
                <a:ext uri="{FF2B5EF4-FFF2-40B4-BE49-F238E27FC236}">
                  <a16:creationId xmlns:a16="http://schemas.microsoft.com/office/drawing/2014/main" id="{2E3E6951-8E9E-4A32-A3C4-C38764052AEC}"/>
                </a:ext>
              </a:extLst>
            </p:cNvPr>
            <p:cNvSpPr>
              <a:spLocks noEditPoints="1"/>
            </p:cNvSpPr>
            <p:nvPr/>
          </p:nvSpPr>
          <p:spPr bwMode="auto">
            <a:xfrm>
              <a:off x="3904988"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79" name="Freeform 55">
              <a:extLst>
                <a:ext uri="{FF2B5EF4-FFF2-40B4-BE49-F238E27FC236}">
                  <a16:creationId xmlns:a16="http://schemas.microsoft.com/office/drawing/2014/main" id="{D914B132-5732-4508-BC61-A3425A98C75C}"/>
                </a:ext>
              </a:extLst>
            </p:cNvPr>
            <p:cNvSpPr>
              <a:spLocks noEditPoints="1"/>
            </p:cNvSpPr>
            <p:nvPr/>
          </p:nvSpPr>
          <p:spPr bwMode="auto">
            <a:xfrm>
              <a:off x="3966933" y="2305675"/>
              <a:ext cx="25868" cy="7113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80" name="Freeform 56">
              <a:extLst>
                <a:ext uri="{FF2B5EF4-FFF2-40B4-BE49-F238E27FC236}">
                  <a16:creationId xmlns:a16="http://schemas.microsoft.com/office/drawing/2014/main" id="{FE028B97-8553-4A17-9255-E11A65533B45}"/>
                </a:ext>
              </a:extLst>
            </p:cNvPr>
            <p:cNvSpPr>
              <a:spLocks noEditPoints="1"/>
            </p:cNvSpPr>
            <p:nvPr/>
          </p:nvSpPr>
          <p:spPr bwMode="auto">
            <a:xfrm>
              <a:off x="4004628" y="2304058"/>
              <a:ext cx="51734"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81" name="Freeform 52">
              <a:extLst>
                <a:ext uri="{FF2B5EF4-FFF2-40B4-BE49-F238E27FC236}">
                  <a16:creationId xmlns:a16="http://schemas.microsoft.com/office/drawing/2014/main" id="{D4A691BA-2C62-4D43-A390-4241B56D04FC}"/>
                </a:ext>
              </a:extLst>
            </p:cNvPr>
            <p:cNvSpPr>
              <a:spLocks noEditPoints="1"/>
            </p:cNvSpPr>
            <p:nvPr/>
          </p:nvSpPr>
          <p:spPr bwMode="auto">
            <a:xfrm>
              <a:off x="4068190" y="2304058"/>
              <a:ext cx="51734" cy="74369"/>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82" name="Freeform 53">
              <a:extLst>
                <a:ext uri="{FF2B5EF4-FFF2-40B4-BE49-F238E27FC236}">
                  <a16:creationId xmlns:a16="http://schemas.microsoft.com/office/drawing/2014/main" id="{EEBECBB4-C645-4922-ADBB-E33E51A039FC}"/>
                </a:ext>
              </a:extLst>
            </p:cNvPr>
            <p:cNvSpPr>
              <a:spLocks noEditPoints="1"/>
            </p:cNvSpPr>
            <p:nvPr/>
          </p:nvSpPr>
          <p:spPr bwMode="auto">
            <a:xfrm>
              <a:off x="4131752"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83" name="Freeform 54">
              <a:extLst>
                <a:ext uri="{FF2B5EF4-FFF2-40B4-BE49-F238E27FC236}">
                  <a16:creationId xmlns:a16="http://schemas.microsoft.com/office/drawing/2014/main" id="{F3A21FA0-46B8-4030-9DF9-6E3973B00600}"/>
                </a:ext>
              </a:extLst>
            </p:cNvPr>
            <p:cNvSpPr>
              <a:spLocks noEditPoints="1"/>
            </p:cNvSpPr>
            <p:nvPr/>
          </p:nvSpPr>
          <p:spPr bwMode="auto">
            <a:xfrm>
              <a:off x="4193698" y="2304058"/>
              <a:ext cx="50119"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84" name="Freeform 55">
              <a:extLst>
                <a:ext uri="{FF2B5EF4-FFF2-40B4-BE49-F238E27FC236}">
                  <a16:creationId xmlns:a16="http://schemas.microsoft.com/office/drawing/2014/main" id="{90FAEB87-E8E7-4994-86E7-E470256C42C9}"/>
                </a:ext>
              </a:extLst>
            </p:cNvPr>
            <p:cNvSpPr>
              <a:spLocks noEditPoints="1"/>
            </p:cNvSpPr>
            <p:nvPr/>
          </p:nvSpPr>
          <p:spPr bwMode="auto">
            <a:xfrm>
              <a:off x="4255644" y="2305675"/>
              <a:ext cx="25868" cy="7113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85" name="Freeform 56">
              <a:extLst>
                <a:ext uri="{FF2B5EF4-FFF2-40B4-BE49-F238E27FC236}">
                  <a16:creationId xmlns:a16="http://schemas.microsoft.com/office/drawing/2014/main" id="{CD412BA4-8675-4D54-B343-15076B2DB53A}"/>
                </a:ext>
              </a:extLst>
            </p:cNvPr>
            <p:cNvSpPr>
              <a:spLocks noEditPoints="1"/>
            </p:cNvSpPr>
            <p:nvPr/>
          </p:nvSpPr>
          <p:spPr bwMode="auto">
            <a:xfrm>
              <a:off x="4293338" y="2304058"/>
              <a:ext cx="51734" cy="74369"/>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86" name="Group 185">
            <a:extLst>
              <a:ext uri="{FF2B5EF4-FFF2-40B4-BE49-F238E27FC236}">
                <a16:creationId xmlns:a16="http://schemas.microsoft.com/office/drawing/2014/main" id="{3F83CFE3-4C55-4B44-84D7-00FE2999C0E2}"/>
              </a:ext>
            </a:extLst>
          </p:cNvPr>
          <p:cNvGrpSpPr/>
          <p:nvPr/>
        </p:nvGrpSpPr>
        <p:grpSpPr>
          <a:xfrm>
            <a:off x="7157535" y="2868363"/>
            <a:ext cx="590446" cy="74369"/>
            <a:chOff x="3787564" y="1927368"/>
            <a:chExt cx="590446" cy="74369"/>
          </a:xfrm>
        </p:grpSpPr>
        <p:sp>
          <p:nvSpPr>
            <p:cNvPr id="187" name="Freeform 26">
              <a:extLst>
                <a:ext uri="{FF2B5EF4-FFF2-40B4-BE49-F238E27FC236}">
                  <a16:creationId xmlns:a16="http://schemas.microsoft.com/office/drawing/2014/main" id="{26440CBB-7630-45F9-A7CF-4A846BC5A240}"/>
                </a:ext>
              </a:extLst>
            </p:cNvPr>
            <p:cNvSpPr>
              <a:spLocks noEditPoints="1"/>
            </p:cNvSpPr>
            <p:nvPr/>
          </p:nvSpPr>
          <p:spPr bwMode="auto">
            <a:xfrm>
              <a:off x="3787564"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88" name="Freeform 27">
              <a:extLst>
                <a:ext uri="{FF2B5EF4-FFF2-40B4-BE49-F238E27FC236}">
                  <a16:creationId xmlns:a16="http://schemas.microsoft.com/office/drawing/2014/main" id="{AE9FA3D9-FA14-4675-8F95-398542BDE482}"/>
                </a:ext>
              </a:extLst>
            </p:cNvPr>
            <p:cNvSpPr>
              <a:spLocks noEditPoints="1"/>
            </p:cNvSpPr>
            <p:nvPr/>
          </p:nvSpPr>
          <p:spPr bwMode="auto">
            <a:xfrm>
              <a:off x="3835130"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89" name="Freeform 28">
              <a:extLst>
                <a:ext uri="{FF2B5EF4-FFF2-40B4-BE49-F238E27FC236}">
                  <a16:creationId xmlns:a16="http://schemas.microsoft.com/office/drawing/2014/main" id="{E2BE2231-F467-413B-96B2-CA81C4189325}"/>
                </a:ext>
              </a:extLst>
            </p:cNvPr>
            <p:cNvSpPr>
              <a:spLocks noEditPoints="1"/>
            </p:cNvSpPr>
            <p:nvPr/>
          </p:nvSpPr>
          <p:spPr bwMode="auto">
            <a:xfrm>
              <a:off x="3905330" y="1928176"/>
              <a:ext cx="27484" cy="7275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90" name="Freeform 29">
              <a:extLst>
                <a:ext uri="{FF2B5EF4-FFF2-40B4-BE49-F238E27FC236}">
                  <a16:creationId xmlns:a16="http://schemas.microsoft.com/office/drawing/2014/main" id="{50CC4B55-83BE-49DE-83E7-223A7FF927AB}"/>
                </a:ext>
              </a:extLst>
            </p:cNvPr>
            <p:cNvSpPr>
              <a:spLocks noEditPoints="1"/>
            </p:cNvSpPr>
            <p:nvPr/>
          </p:nvSpPr>
          <p:spPr bwMode="auto">
            <a:xfrm>
              <a:off x="3952896"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91" name="Freeform 30">
              <a:extLst>
                <a:ext uri="{FF2B5EF4-FFF2-40B4-BE49-F238E27FC236}">
                  <a16:creationId xmlns:a16="http://schemas.microsoft.com/office/drawing/2014/main" id="{A9DF90EB-A475-4FE8-B74E-44A24825085E}"/>
                </a:ext>
              </a:extLst>
            </p:cNvPr>
            <p:cNvSpPr>
              <a:spLocks noEditPoints="1"/>
            </p:cNvSpPr>
            <p:nvPr/>
          </p:nvSpPr>
          <p:spPr bwMode="auto">
            <a:xfrm>
              <a:off x="4023096" y="1928176"/>
              <a:ext cx="25868" cy="7275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92" name="Freeform 26">
              <a:extLst>
                <a:ext uri="{FF2B5EF4-FFF2-40B4-BE49-F238E27FC236}">
                  <a16:creationId xmlns:a16="http://schemas.microsoft.com/office/drawing/2014/main" id="{95EE80BA-5D1C-4BE8-AD6A-C423640973AF}"/>
                </a:ext>
              </a:extLst>
            </p:cNvPr>
            <p:cNvSpPr>
              <a:spLocks noEditPoints="1"/>
            </p:cNvSpPr>
            <p:nvPr/>
          </p:nvSpPr>
          <p:spPr bwMode="auto">
            <a:xfrm>
              <a:off x="4069045"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93" name="Freeform 27">
              <a:extLst>
                <a:ext uri="{FF2B5EF4-FFF2-40B4-BE49-F238E27FC236}">
                  <a16:creationId xmlns:a16="http://schemas.microsoft.com/office/drawing/2014/main" id="{E34D1242-96ED-4CA2-8BFD-9560F3D54090}"/>
                </a:ext>
              </a:extLst>
            </p:cNvPr>
            <p:cNvSpPr>
              <a:spLocks noEditPoints="1"/>
            </p:cNvSpPr>
            <p:nvPr/>
          </p:nvSpPr>
          <p:spPr bwMode="auto">
            <a:xfrm>
              <a:off x="4116611"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94" name="Freeform 28">
              <a:extLst>
                <a:ext uri="{FF2B5EF4-FFF2-40B4-BE49-F238E27FC236}">
                  <a16:creationId xmlns:a16="http://schemas.microsoft.com/office/drawing/2014/main" id="{CAF4C265-845B-41E8-93B1-FC2DB256333F}"/>
                </a:ext>
              </a:extLst>
            </p:cNvPr>
            <p:cNvSpPr>
              <a:spLocks noEditPoints="1"/>
            </p:cNvSpPr>
            <p:nvPr/>
          </p:nvSpPr>
          <p:spPr bwMode="auto">
            <a:xfrm>
              <a:off x="4186811" y="1928176"/>
              <a:ext cx="27484" cy="72752"/>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95" name="Freeform 29">
              <a:extLst>
                <a:ext uri="{FF2B5EF4-FFF2-40B4-BE49-F238E27FC236}">
                  <a16:creationId xmlns:a16="http://schemas.microsoft.com/office/drawing/2014/main" id="{D35F3B0D-9859-4044-8169-0C36E0B19083}"/>
                </a:ext>
              </a:extLst>
            </p:cNvPr>
            <p:cNvSpPr>
              <a:spLocks noEditPoints="1"/>
            </p:cNvSpPr>
            <p:nvPr/>
          </p:nvSpPr>
          <p:spPr bwMode="auto">
            <a:xfrm>
              <a:off x="4234377" y="1927368"/>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96" name="Freeform 30">
              <a:extLst>
                <a:ext uri="{FF2B5EF4-FFF2-40B4-BE49-F238E27FC236}">
                  <a16:creationId xmlns:a16="http://schemas.microsoft.com/office/drawing/2014/main" id="{D9CFB79B-13C7-4E15-A526-E0EE9F707B15}"/>
                </a:ext>
              </a:extLst>
            </p:cNvPr>
            <p:cNvSpPr>
              <a:spLocks noEditPoints="1"/>
            </p:cNvSpPr>
            <p:nvPr/>
          </p:nvSpPr>
          <p:spPr bwMode="auto">
            <a:xfrm>
              <a:off x="4304577" y="1928176"/>
              <a:ext cx="25868" cy="72752"/>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97" name="Freeform 26">
              <a:extLst>
                <a:ext uri="{FF2B5EF4-FFF2-40B4-BE49-F238E27FC236}">
                  <a16:creationId xmlns:a16="http://schemas.microsoft.com/office/drawing/2014/main" id="{A1D7E003-4B68-44B8-8289-E94A0F08747A}"/>
                </a:ext>
              </a:extLst>
            </p:cNvPr>
            <p:cNvSpPr>
              <a:spLocks noEditPoints="1"/>
            </p:cNvSpPr>
            <p:nvPr/>
          </p:nvSpPr>
          <p:spPr bwMode="auto">
            <a:xfrm>
              <a:off x="4350526" y="1928176"/>
              <a:ext cx="27484" cy="72752"/>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98" name="Group 197">
            <a:extLst>
              <a:ext uri="{FF2B5EF4-FFF2-40B4-BE49-F238E27FC236}">
                <a16:creationId xmlns:a16="http://schemas.microsoft.com/office/drawing/2014/main" id="{46FBDE7F-7371-4F5E-9F74-C0E4CD3A6AB2}"/>
              </a:ext>
            </a:extLst>
          </p:cNvPr>
          <p:cNvGrpSpPr/>
          <p:nvPr/>
        </p:nvGrpSpPr>
        <p:grpSpPr>
          <a:xfrm>
            <a:off x="7149451" y="2992848"/>
            <a:ext cx="625759" cy="75985"/>
            <a:chOff x="3779480" y="2051853"/>
            <a:chExt cx="625759" cy="75985"/>
          </a:xfrm>
        </p:grpSpPr>
        <p:sp>
          <p:nvSpPr>
            <p:cNvPr id="199" name="Freeform 35">
              <a:extLst>
                <a:ext uri="{FF2B5EF4-FFF2-40B4-BE49-F238E27FC236}">
                  <a16:creationId xmlns:a16="http://schemas.microsoft.com/office/drawing/2014/main" id="{96989130-9FAA-4CFD-8E2F-04384D88B2BB}"/>
                </a:ext>
              </a:extLst>
            </p:cNvPr>
            <p:cNvSpPr>
              <a:spLocks noEditPoints="1"/>
            </p:cNvSpPr>
            <p:nvPr/>
          </p:nvSpPr>
          <p:spPr bwMode="auto">
            <a:xfrm>
              <a:off x="3779480"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00" name="Freeform 36">
              <a:extLst>
                <a:ext uri="{FF2B5EF4-FFF2-40B4-BE49-F238E27FC236}">
                  <a16:creationId xmlns:a16="http://schemas.microsoft.com/office/drawing/2014/main" id="{9D2C3E3F-A3D1-4051-952A-2DEF8E0C1699}"/>
                </a:ext>
              </a:extLst>
            </p:cNvPr>
            <p:cNvSpPr>
              <a:spLocks noEditPoints="1"/>
            </p:cNvSpPr>
            <p:nvPr/>
          </p:nvSpPr>
          <p:spPr bwMode="auto">
            <a:xfrm>
              <a:off x="3842702" y="2051853"/>
              <a:ext cx="50119" cy="75985"/>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01" name="Freeform 37">
              <a:extLst>
                <a:ext uri="{FF2B5EF4-FFF2-40B4-BE49-F238E27FC236}">
                  <a16:creationId xmlns:a16="http://schemas.microsoft.com/office/drawing/2014/main" id="{8FDA668E-14D8-417B-9B97-CE64F72B01A1}"/>
                </a:ext>
              </a:extLst>
            </p:cNvPr>
            <p:cNvSpPr>
              <a:spLocks noEditPoints="1"/>
            </p:cNvSpPr>
            <p:nvPr/>
          </p:nvSpPr>
          <p:spPr bwMode="auto">
            <a:xfrm>
              <a:off x="3904308" y="2053470"/>
              <a:ext cx="27484" cy="7275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02" name="Freeform 38">
              <a:extLst>
                <a:ext uri="{FF2B5EF4-FFF2-40B4-BE49-F238E27FC236}">
                  <a16:creationId xmlns:a16="http://schemas.microsoft.com/office/drawing/2014/main" id="{F75F8633-DED4-4805-A1B1-622CCEAD7BFF}"/>
                </a:ext>
              </a:extLst>
            </p:cNvPr>
            <p:cNvSpPr>
              <a:spLocks noEditPoints="1"/>
            </p:cNvSpPr>
            <p:nvPr/>
          </p:nvSpPr>
          <p:spPr bwMode="auto">
            <a:xfrm>
              <a:off x="3943280" y="2051853"/>
              <a:ext cx="50119"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03" name="Freeform 39">
              <a:extLst>
                <a:ext uri="{FF2B5EF4-FFF2-40B4-BE49-F238E27FC236}">
                  <a16:creationId xmlns:a16="http://schemas.microsoft.com/office/drawing/2014/main" id="{E2D685AA-A212-4B7F-8E11-F585273A2FE9}"/>
                </a:ext>
              </a:extLst>
            </p:cNvPr>
            <p:cNvSpPr>
              <a:spLocks noEditPoints="1"/>
            </p:cNvSpPr>
            <p:nvPr/>
          </p:nvSpPr>
          <p:spPr bwMode="auto">
            <a:xfrm>
              <a:off x="4004886" y="2051853"/>
              <a:ext cx="50119" cy="75985"/>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04" name="Freeform 35">
              <a:extLst>
                <a:ext uri="{FF2B5EF4-FFF2-40B4-BE49-F238E27FC236}">
                  <a16:creationId xmlns:a16="http://schemas.microsoft.com/office/drawing/2014/main" id="{2FCA2C59-F675-4A2F-A213-BDB44CF5A030}"/>
                </a:ext>
              </a:extLst>
            </p:cNvPr>
            <p:cNvSpPr>
              <a:spLocks noEditPoints="1"/>
            </p:cNvSpPr>
            <p:nvPr/>
          </p:nvSpPr>
          <p:spPr bwMode="auto">
            <a:xfrm>
              <a:off x="4066493"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05" name="Freeform 36">
              <a:extLst>
                <a:ext uri="{FF2B5EF4-FFF2-40B4-BE49-F238E27FC236}">
                  <a16:creationId xmlns:a16="http://schemas.microsoft.com/office/drawing/2014/main" id="{D7431C70-36E5-4028-AEB0-973931A4EE5E}"/>
                </a:ext>
              </a:extLst>
            </p:cNvPr>
            <p:cNvSpPr>
              <a:spLocks noEditPoints="1"/>
            </p:cNvSpPr>
            <p:nvPr/>
          </p:nvSpPr>
          <p:spPr bwMode="auto">
            <a:xfrm>
              <a:off x="4129714" y="2051853"/>
              <a:ext cx="50119" cy="75985"/>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06" name="Freeform 37">
              <a:extLst>
                <a:ext uri="{FF2B5EF4-FFF2-40B4-BE49-F238E27FC236}">
                  <a16:creationId xmlns:a16="http://schemas.microsoft.com/office/drawing/2014/main" id="{EC24515A-BAD6-4D39-BE60-6B46F6FC1DAE}"/>
                </a:ext>
              </a:extLst>
            </p:cNvPr>
            <p:cNvSpPr>
              <a:spLocks noEditPoints="1"/>
            </p:cNvSpPr>
            <p:nvPr/>
          </p:nvSpPr>
          <p:spPr bwMode="auto">
            <a:xfrm>
              <a:off x="4191321" y="2053470"/>
              <a:ext cx="27484" cy="72752"/>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07" name="Freeform 38">
              <a:extLst>
                <a:ext uri="{FF2B5EF4-FFF2-40B4-BE49-F238E27FC236}">
                  <a16:creationId xmlns:a16="http://schemas.microsoft.com/office/drawing/2014/main" id="{D05B19AA-A9D1-449B-BCC9-D91250DB202C}"/>
                </a:ext>
              </a:extLst>
            </p:cNvPr>
            <p:cNvSpPr>
              <a:spLocks noEditPoints="1"/>
            </p:cNvSpPr>
            <p:nvPr/>
          </p:nvSpPr>
          <p:spPr bwMode="auto">
            <a:xfrm>
              <a:off x="4230293" y="2051853"/>
              <a:ext cx="50119"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08" name="Freeform 39">
              <a:extLst>
                <a:ext uri="{FF2B5EF4-FFF2-40B4-BE49-F238E27FC236}">
                  <a16:creationId xmlns:a16="http://schemas.microsoft.com/office/drawing/2014/main" id="{D0E99176-077E-4597-B237-E720237AE4ED}"/>
                </a:ext>
              </a:extLst>
            </p:cNvPr>
            <p:cNvSpPr>
              <a:spLocks noEditPoints="1"/>
            </p:cNvSpPr>
            <p:nvPr/>
          </p:nvSpPr>
          <p:spPr bwMode="auto">
            <a:xfrm>
              <a:off x="4291899" y="2051853"/>
              <a:ext cx="50119" cy="75985"/>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09" name="Freeform 35">
              <a:extLst>
                <a:ext uri="{FF2B5EF4-FFF2-40B4-BE49-F238E27FC236}">
                  <a16:creationId xmlns:a16="http://schemas.microsoft.com/office/drawing/2014/main" id="{8FA32D8F-8CD9-4B50-AB5A-87E7600DBA9A}"/>
                </a:ext>
              </a:extLst>
            </p:cNvPr>
            <p:cNvSpPr>
              <a:spLocks noEditPoints="1"/>
            </p:cNvSpPr>
            <p:nvPr/>
          </p:nvSpPr>
          <p:spPr bwMode="auto">
            <a:xfrm>
              <a:off x="4353505" y="2051853"/>
              <a:ext cx="51734" cy="75985"/>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210" name="Group 209">
            <a:extLst>
              <a:ext uri="{FF2B5EF4-FFF2-40B4-BE49-F238E27FC236}">
                <a16:creationId xmlns:a16="http://schemas.microsoft.com/office/drawing/2014/main" id="{B893FCF7-8232-417C-9BD0-5CA75605921D}"/>
              </a:ext>
            </a:extLst>
          </p:cNvPr>
          <p:cNvGrpSpPr/>
          <p:nvPr/>
        </p:nvGrpSpPr>
        <p:grpSpPr>
          <a:xfrm>
            <a:off x="7149451" y="3118951"/>
            <a:ext cx="626432" cy="74369"/>
            <a:chOff x="3779480" y="2177956"/>
            <a:chExt cx="626432" cy="74369"/>
          </a:xfrm>
        </p:grpSpPr>
        <p:sp>
          <p:nvSpPr>
            <p:cNvPr id="211" name="Freeform 42">
              <a:extLst>
                <a:ext uri="{FF2B5EF4-FFF2-40B4-BE49-F238E27FC236}">
                  <a16:creationId xmlns:a16="http://schemas.microsoft.com/office/drawing/2014/main" id="{ADF89C09-E3C2-436D-B336-F632C55D2937}"/>
                </a:ext>
              </a:extLst>
            </p:cNvPr>
            <p:cNvSpPr>
              <a:spLocks noEditPoints="1"/>
            </p:cNvSpPr>
            <p:nvPr/>
          </p:nvSpPr>
          <p:spPr bwMode="auto">
            <a:xfrm>
              <a:off x="3779480"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12" name="Freeform 43">
              <a:extLst>
                <a:ext uri="{FF2B5EF4-FFF2-40B4-BE49-F238E27FC236}">
                  <a16:creationId xmlns:a16="http://schemas.microsoft.com/office/drawing/2014/main" id="{92658C01-28EA-4D46-8726-989DDD7CA819}"/>
                </a:ext>
              </a:extLst>
            </p:cNvPr>
            <p:cNvSpPr>
              <a:spLocks noEditPoints="1"/>
            </p:cNvSpPr>
            <p:nvPr/>
          </p:nvSpPr>
          <p:spPr bwMode="auto">
            <a:xfrm>
              <a:off x="3847296" y="2177956"/>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13" name="Freeform 44">
              <a:extLst>
                <a:ext uri="{FF2B5EF4-FFF2-40B4-BE49-F238E27FC236}">
                  <a16:creationId xmlns:a16="http://schemas.microsoft.com/office/drawing/2014/main" id="{E9B3BA53-BB1C-412A-8931-ABCFA89B9D4E}"/>
                </a:ext>
              </a:extLst>
            </p:cNvPr>
            <p:cNvSpPr>
              <a:spLocks noEditPoints="1"/>
            </p:cNvSpPr>
            <p:nvPr/>
          </p:nvSpPr>
          <p:spPr bwMode="auto">
            <a:xfrm>
              <a:off x="3913497" y="2178765"/>
              <a:ext cx="27484" cy="7275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14" name="Freeform 45">
              <a:extLst>
                <a:ext uri="{FF2B5EF4-FFF2-40B4-BE49-F238E27FC236}">
                  <a16:creationId xmlns:a16="http://schemas.microsoft.com/office/drawing/2014/main" id="{BAEEE39B-F6C9-496B-9D50-3BC08EEF48A4}"/>
                </a:ext>
              </a:extLst>
            </p:cNvPr>
            <p:cNvSpPr>
              <a:spLocks noEditPoints="1"/>
            </p:cNvSpPr>
            <p:nvPr/>
          </p:nvSpPr>
          <p:spPr bwMode="auto">
            <a:xfrm>
              <a:off x="3957063" y="2178765"/>
              <a:ext cx="27484" cy="7275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15" name="Freeform 46">
              <a:extLst>
                <a:ext uri="{FF2B5EF4-FFF2-40B4-BE49-F238E27FC236}">
                  <a16:creationId xmlns:a16="http://schemas.microsoft.com/office/drawing/2014/main" id="{714F7DFA-35DB-4333-9246-FF4595000150}"/>
                </a:ext>
              </a:extLst>
            </p:cNvPr>
            <p:cNvSpPr>
              <a:spLocks noEditPoints="1"/>
            </p:cNvSpPr>
            <p:nvPr/>
          </p:nvSpPr>
          <p:spPr bwMode="auto">
            <a:xfrm>
              <a:off x="4000629" y="2177956"/>
              <a:ext cx="50119" cy="74369"/>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16" name="Freeform 42">
              <a:extLst>
                <a:ext uri="{FF2B5EF4-FFF2-40B4-BE49-F238E27FC236}">
                  <a16:creationId xmlns:a16="http://schemas.microsoft.com/office/drawing/2014/main" id="{EA49258E-448D-43C3-B973-CE56B59066E8}"/>
                </a:ext>
              </a:extLst>
            </p:cNvPr>
            <p:cNvSpPr>
              <a:spLocks noEditPoints="1"/>
            </p:cNvSpPr>
            <p:nvPr/>
          </p:nvSpPr>
          <p:spPr bwMode="auto">
            <a:xfrm>
              <a:off x="4066829"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17" name="Freeform 43">
              <a:extLst>
                <a:ext uri="{FF2B5EF4-FFF2-40B4-BE49-F238E27FC236}">
                  <a16:creationId xmlns:a16="http://schemas.microsoft.com/office/drawing/2014/main" id="{030A9F12-F9BA-44EA-AB74-BB16357B72CE}"/>
                </a:ext>
              </a:extLst>
            </p:cNvPr>
            <p:cNvSpPr>
              <a:spLocks noEditPoints="1"/>
            </p:cNvSpPr>
            <p:nvPr/>
          </p:nvSpPr>
          <p:spPr bwMode="auto">
            <a:xfrm>
              <a:off x="4134645" y="2177956"/>
              <a:ext cx="50119" cy="74369"/>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18" name="Freeform 44">
              <a:extLst>
                <a:ext uri="{FF2B5EF4-FFF2-40B4-BE49-F238E27FC236}">
                  <a16:creationId xmlns:a16="http://schemas.microsoft.com/office/drawing/2014/main" id="{FFB43FAC-921F-454F-B814-E9F8A4A474C3}"/>
                </a:ext>
              </a:extLst>
            </p:cNvPr>
            <p:cNvSpPr>
              <a:spLocks noEditPoints="1"/>
            </p:cNvSpPr>
            <p:nvPr/>
          </p:nvSpPr>
          <p:spPr bwMode="auto">
            <a:xfrm>
              <a:off x="4200846" y="2178765"/>
              <a:ext cx="27484" cy="72752"/>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19" name="Freeform 45">
              <a:extLst>
                <a:ext uri="{FF2B5EF4-FFF2-40B4-BE49-F238E27FC236}">
                  <a16:creationId xmlns:a16="http://schemas.microsoft.com/office/drawing/2014/main" id="{352B8230-458B-4CC1-9D0B-841075507F06}"/>
                </a:ext>
              </a:extLst>
            </p:cNvPr>
            <p:cNvSpPr>
              <a:spLocks noEditPoints="1"/>
            </p:cNvSpPr>
            <p:nvPr/>
          </p:nvSpPr>
          <p:spPr bwMode="auto">
            <a:xfrm>
              <a:off x="4244412" y="2178765"/>
              <a:ext cx="27484" cy="72752"/>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20" name="Freeform 46">
              <a:extLst>
                <a:ext uri="{FF2B5EF4-FFF2-40B4-BE49-F238E27FC236}">
                  <a16:creationId xmlns:a16="http://schemas.microsoft.com/office/drawing/2014/main" id="{52CF0AE9-E319-4699-B3A5-9C1DE0F22223}"/>
                </a:ext>
              </a:extLst>
            </p:cNvPr>
            <p:cNvSpPr>
              <a:spLocks noEditPoints="1"/>
            </p:cNvSpPr>
            <p:nvPr/>
          </p:nvSpPr>
          <p:spPr bwMode="auto">
            <a:xfrm>
              <a:off x="4287978" y="2177956"/>
              <a:ext cx="50119" cy="74369"/>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21" name="Freeform 42">
              <a:extLst>
                <a:ext uri="{FF2B5EF4-FFF2-40B4-BE49-F238E27FC236}">
                  <a16:creationId xmlns:a16="http://schemas.microsoft.com/office/drawing/2014/main" id="{983E69B5-396A-4919-87C5-234A180A1A24}"/>
                </a:ext>
              </a:extLst>
            </p:cNvPr>
            <p:cNvSpPr>
              <a:spLocks noEditPoints="1"/>
            </p:cNvSpPr>
            <p:nvPr/>
          </p:nvSpPr>
          <p:spPr bwMode="auto">
            <a:xfrm>
              <a:off x="4354178" y="2177956"/>
              <a:ext cx="51734" cy="74369"/>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sp>
        <p:nvSpPr>
          <p:cNvPr id="222" name="Circle: Hollow 221">
            <a:extLst>
              <a:ext uri="{FF2B5EF4-FFF2-40B4-BE49-F238E27FC236}">
                <a16:creationId xmlns:a16="http://schemas.microsoft.com/office/drawing/2014/main" id="{E21420CA-CAC1-4DDF-9466-9A14B189E3B7}"/>
              </a:ext>
            </a:extLst>
          </p:cNvPr>
          <p:cNvSpPr/>
          <p:nvPr/>
        </p:nvSpPr>
        <p:spPr>
          <a:xfrm>
            <a:off x="7071932" y="2650014"/>
            <a:ext cx="761650" cy="761650"/>
          </a:xfrm>
          <a:prstGeom prst="donut">
            <a:avLst>
              <a:gd name="adj" fmla="val 827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223" name="Group 222">
            <a:extLst>
              <a:ext uri="{FF2B5EF4-FFF2-40B4-BE49-F238E27FC236}">
                <a16:creationId xmlns:a16="http://schemas.microsoft.com/office/drawing/2014/main" id="{AC8B5CC8-F1E4-434A-A220-426749DC2023}"/>
              </a:ext>
            </a:extLst>
          </p:cNvPr>
          <p:cNvGrpSpPr/>
          <p:nvPr/>
        </p:nvGrpSpPr>
        <p:grpSpPr>
          <a:xfrm>
            <a:off x="7224349" y="2872744"/>
            <a:ext cx="468134" cy="372309"/>
            <a:chOff x="7656563" y="4257775"/>
            <a:chExt cx="468134" cy="372309"/>
          </a:xfrm>
        </p:grpSpPr>
        <p:grpSp>
          <p:nvGrpSpPr>
            <p:cNvPr id="224" name="Group 221">
              <a:extLst>
                <a:ext uri="{FF2B5EF4-FFF2-40B4-BE49-F238E27FC236}">
                  <a16:creationId xmlns:a16="http://schemas.microsoft.com/office/drawing/2014/main" id="{0E66B72E-1D0E-4BAD-B539-E7234F3F73E9}"/>
                </a:ext>
              </a:extLst>
            </p:cNvPr>
            <p:cNvGrpSpPr>
              <a:grpSpLocks noChangeAspect="1"/>
            </p:cNvGrpSpPr>
            <p:nvPr/>
          </p:nvGrpSpPr>
          <p:grpSpPr bwMode="auto">
            <a:xfrm>
              <a:off x="7656563" y="4257775"/>
              <a:ext cx="468134" cy="372309"/>
              <a:chOff x="2096" y="1022"/>
              <a:chExt cx="1573" cy="1251"/>
            </a:xfrm>
            <a:solidFill>
              <a:srgbClr val="005073"/>
            </a:solidFill>
          </p:grpSpPr>
          <p:sp>
            <p:nvSpPr>
              <p:cNvPr id="226" name="Freeform 222">
                <a:extLst>
                  <a:ext uri="{FF2B5EF4-FFF2-40B4-BE49-F238E27FC236}">
                    <a16:creationId xmlns:a16="http://schemas.microsoft.com/office/drawing/2014/main" id="{E7DA8125-8369-42AD-A134-79C6A95EE806}"/>
                  </a:ext>
                </a:extLst>
              </p:cNvPr>
              <p:cNvSpPr>
                <a:spLocks/>
              </p:cNvSpPr>
              <p:nvPr/>
            </p:nvSpPr>
            <p:spPr bwMode="auto">
              <a:xfrm>
                <a:off x="2568" y="2204"/>
                <a:ext cx="615"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sp>
            <p:nvSpPr>
              <p:cNvPr id="227" name="Freeform 223">
                <a:extLst>
                  <a:ext uri="{FF2B5EF4-FFF2-40B4-BE49-F238E27FC236}">
                    <a16:creationId xmlns:a16="http://schemas.microsoft.com/office/drawing/2014/main" id="{C1AB2685-2248-427C-96A9-2CEDF64ECB38}"/>
                  </a:ext>
                </a:extLst>
              </p:cNvPr>
              <p:cNvSpPr>
                <a:spLocks/>
              </p:cNvSpPr>
              <p:nvPr/>
            </p:nvSpPr>
            <p:spPr bwMode="auto">
              <a:xfrm>
                <a:off x="2142" y="1078"/>
                <a:ext cx="1480"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sp>
            <p:nvSpPr>
              <p:cNvPr id="228" name="Freeform 224">
                <a:extLst>
                  <a:ext uri="{FF2B5EF4-FFF2-40B4-BE49-F238E27FC236}">
                    <a16:creationId xmlns:a16="http://schemas.microsoft.com/office/drawing/2014/main" id="{030D403E-70E3-40CB-8B00-F76303D62A4A}"/>
                  </a:ext>
                </a:extLst>
              </p:cNvPr>
              <p:cNvSpPr>
                <a:spLocks noEditPoints="1"/>
              </p:cNvSpPr>
              <p:nvPr/>
            </p:nvSpPr>
            <p:spPr bwMode="auto">
              <a:xfrm>
                <a:off x="2096" y="1022"/>
                <a:ext cx="1573" cy="947"/>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grpSp>
        <p:sp>
          <p:nvSpPr>
            <p:cNvPr id="225" name="Rectangle 224">
              <a:extLst>
                <a:ext uri="{FF2B5EF4-FFF2-40B4-BE49-F238E27FC236}">
                  <a16:creationId xmlns:a16="http://schemas.microsoft.com/office/drawing/2014/main" id="{60C1D6CB-0664-467E-8E75-CC4D414558AD}"/>
                </a:ext>
              </a:extLst>
            </p:cNvPr>
            <p:cNvSpPr/>
            <p:nvPr/>
          </p:nvSpPr>
          <p:spPr>
            <a:xfrm>
              <a:off x="7829859" y="4539611"/>
              <a:ext cx="120650" cy="69938"/>
            </a:xfrm>
            <a:prstGeom prst="rect">
              <a:avLst/>
            </a:prstGeom>
            <a:solidFill>
              <a:schemeClr val="accent1"/>
            </a:solidFill>
            <a:ln w="25400" cap="flat" cmpd="sng" algn="ctr">
              <a:no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grpSp>
      <p:grpSp>
        <p:nvGrpSpPr>
          <p:cNvPr id="229" name="Group 221">
            <a:extLst>
              <a:ext uri="{FF2B5EF4-FFF2-40B4-BE49-F238E27FC236}">
                <a16:creationId xmlns:a16="http://schemas.microsoft.com/office/drawing/2014/main" id="{BA63CA3D-6BEC-4981-8491-939B4572D991}"/>
              </a:ext>
            </a:extLst>
          </p:cNvPr>
          <p:cNvGrpSpPr>
            <a:grpSpLocks noChangeAspect="1"/>
          </p:cNvGrpSpPr>
          <p:nvPr/>
        </p:nvGrpSpPr>
        <p:grpSpPr bwMode="auto">
          <a:xfrm>
            <a:off x="6373478" y="3263366"/>
            <a:ext cx="495216" cy="283918"/>
            <a:chOff x="2049" y="1143"/>
            <a:chExt cx="1664" cy="954"/>
          </a:xfrm>
          <a:solidFill>
            <a:srgbClr val="005073"/>
          </a:solidFill>
        </p:grpSpPr>
        <p:sp>
          <p:nvSpPr>
            <p:cNvPr id="230" name="Freeform 222">
              <a:extLst>
                <a:ext uri="{FF2B5EF4-FFF2-40B4-BE49-F238E27FC236}">
                  <a16:creationId xmlns:a16="http://schemas.microsoft.com/office/drawing/2014/main" id="{C016B835-65F4-438C-A65B-874BC655C7AC}"/>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sp>
          <p:nvSpPr>
            <p:cNvPr id="231" name="Freeform 223">
              <a:extLst>
                <a:ext uri="{FF2B5EF4-FFF2-40B4-BE49-F238E27FC236}">
                  <a16:creationId xmlns:a16="http://schemas.microsoft.com/office/drawing/2014/main" id="{3CD1CDC1-D43D-4BCF-81BD-30816097389F}"/>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sp>
          <p:nvSpPr>
            <p:cNvPr id="232" name="Freeform 224">
              <a:extLst>
                <a:ext uri="{FF2B5EF4-FFF2-40B4-BE49-F238E27FC236}">
                  <a16:creationId xmlns:a16="http://schemas.microsoft.com/office/drawing/2014/main" id="{D7C27178-FA99-4D77-85C0-2B7ED3A74670}"/>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grpSp>
      <p:cxnSp>
        <p:nvCxnSpPr>
          <p:cNvPr id="233" name="Straight Arrow Connector 232">
            <a:extLst>
              <a:ext uri="{FF2B5EF4-FFF2-40B4-BE49-F238E27FC236}">
                <a16:creationId xmlns:a16="http://schemas.microsoft.com/office/drawing/2014/main" id="{71417AB2-400B-43D5-9F65-863FD0664DFB}"/>
              </a:ext>
            </a:extLst>
          </p:cNvPr>
          <p:cNvCxnSpPr>
            <a:cxnSpLocks/>
          </p:cNvCxnSpPr>
          <p:nvPr/>
        </p:nvCxnSpPr>
        <p:spPr>
          <a:xfrm>
            <a:off x="3902463" y="3031122"/>
            <a:ext cx="3141117" cy="0"/>
          </a:xfrm>
          <a:prstGeom prst="straightConnector1">
            <a:avLst/>
          </a:prstGeom>
          <a:ln w="12700">
            <a:solidFill>
              <a:schemeClr val="accent5"/>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234" name="Oval 233">
            <a:extLst>
              <a:ext uri="{FF2B5EF4-FFF2-40B4-BE49-F238E27FC236}">
                <a16:creationId xmlns:a16="http://schemas.microsoft.com/office/drawing/2014/main" id="{4D7E13DD-5A4A-4F49-B07B-7C569D169B75}"/>
              </a:ext>
            </a:extLst>
          </p:cNvPr>
          <p:cNvSpPr/>
          <p:nvPr/>
        </p:nvSpPr>
        <p:spPr>
          <a:xfrm>
            <a:off x="3907234" y="2711080"/>
            <a:ext cx="639975" cy="640080"/>
          </a:xfrm>
          <a:prstGeom prst="ellipse">
            <a:avLst/>
          </a:prstGeom>
          <a:solidFill>
            <a:schemeClr val="bg1"/>
          </a:solidFill>
          <a:ln w="25400" cap="flat" cmpd="sng" algn="ctr">
            <a:noFill/>
            <a:prstDash val="solid"/>
          </a:ln>
          <a:effectLst/>
        </p:spPr>
        <p:txBody>
          <a:bodyPr rot="0" spcFirstLastPara="0" vertOverflow="overflow" horzOverflow="overflow" vert="horz" wrap="square" lIns="457200" tIns="45720" rIns="457200" bIns="45720" numCol="1" spcCol="0" rtlCol="0" fromWordArt="0" anchor="ctr" anchorCtr="1" forceAA="0" compatLnSpc="1">
            <a:prstTxWarp prst="textNoShape">
              <a:avLst/>
            </a:prstTxWarp>
            <a:noAutofit/>
          </a:bodyPr>
          <a:lstStyle/>
          <a:p>
            <a:pPr marL="0" marR="0" lvl="0" indent="0" algn="ctr" defTabSz="685813" rtl="0" eaLnBrk="1" fontAlgn="auto" latinLnBrk="0" hangingPunct="1">
              <a:lnSpc>
                <a:spcPct val="100000"/>
              </a:lnSpc>
              <a:spcBef>
                <a:spcPts val="0"/>
              </a:spcBef>
              <a:spcAft>
                <a:spcPts val="0"/>
              </a:spcAft>
              <a:buClrTx/>
              <a:buSzTx/>
              <a:buFontTx/>
              <a:buNone/>
              <a:tabLst/>
              <a:defRPr/>
            </a:pPr>
            <a:endParaRPr kumimoji="0" lang="en-US" sz="2100" b="1"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grpSp>
        <p:nvGrpSpPr>
          <p:cNvPr id="235" name="Group 221">
            <a:extLst>
              <a:ext uri="{FF2B5EF4-FFF2-40B4-BE49-F238E27FC236}">
                <a16:creationId xmlns:a16="http://schemas.microsoft.com/office/drawing/2014/main" id="{8C7A1F49-B22A-4CD7-B4C3-BBC84384820E}"/>
              </a:ext>
            </a:extLst>
          </p:cNvPr>
          <p:cNvGrpSpPr>
            <a:grpSpLocks noChangeAspect="1"/>
          </p:cNvGrpSpPr>
          <p:nvPr/>
        </p:nvGrpSpPr>
        <p:grpSpPr bwMode="auto">
          <a:xfrm>
            <a:off x="3983140" y="2889163"/>
            <a:ext cx="495216" cy="283918"/>
            <a:chOff x="2049" y="1143"/>
            <a:chExt cx="1664" cy="954"/>
          </a:xfrm>
          <a:solidFill>
            <a:srgbClr val="005073"/>
          </a:solidFill>
        </p:grpSpPr>
        <p:sp>
          <p:nvSpPr>
            <p:cNvPr id="236" name="Freeform 222">
              <a:extLst>
                <a:ext uri="{FF2B5EF4-FFF2-40B4-BE49-F238E27FC236}">
                  <a16:creationId xmlns:a16="http://schemas.microsoft.com/office/drawing/2014/main" id="{329C46EA-2433-4A34-8109-5ABAE6CEBC32}"/>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sp>
          <p:nvSpPr>
            <p:cNvPr id="237" name="Freeform 223">
              <a:extLst>
                <a:ext uri="{FF2B5EF4-FFF2-40B4-BE49-F238E27FC236}">
                  <a16:creationId xmlns:a16="http://schemas.microsoft.com/office/drawing/2014/main" id="{E1E6C2C2-5554-4AF0-900B-4DE37CED66DE}"/>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pple LiGothic Medium"/>
                <a:cs typeface="Apple LiGothic Medium"/>
              </a:endParaRPr>
            </a:p>
          </p:txBody>
        </p:sp>
        <p:sp>
          <p:nvSpPr>
            <p:cNvPr id="238" name="Freeform 224">
              <a:extLst>
                <a:ext uri="{FF2B5EF4-FFF2-40B4-BE49-F238E27FC236}">
                  <a16:creationId xmlns:a16="http://schemas.microsoft.com/office/drawing/2014/main" id="{523B495F-404A-41FF-B6C7-E7D373E5ECBD}"/>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Apple LiGothic Medium"/>
                <a:cs typeface="Apple LiGothic Medium"/>
              </a:endParaRPr>
            </a:p>
          </p:txBody>
        </p:sp>
      </p:grpSp>
      <p:cxnSp>
        <p:nvCxnSpPr>
          <p:cNvPr id="105" name="Straight Connector 104">
            <a:extLst>
              <a:ext uri="{FF2B5EF4-FFF2-40B4-BE49-F238E27FC236}">
                <a16:creationId xmlns:a16="http://schemas.microsoft.com/office/drawing/2014/main" id="{2899AFBD-04D6-4173-9AAE-44A447355903}"/>
              </a:ext>
            </a:extLst>
          </p:cNvPr>
          <p:cNvCxnSpPr>
            <a:cxnSpLocks/>
          </p:cNvCxnSpPr>
          <p:nvPr/>
        </p:nvCxnSpPr>
        <p:spPr>
          <a:xfrm flipV="1">
            <a:off x="5125654" y="1922911"/>
            <a:ext cx="0" cy="2319668"/>
          </a:xfrm>
          <a:prstGeom prst="line">
            <a:avLst/>
          </a:prstGeom>
          <a:ln w="28575">
            <a:solidFill>
              <a:schemeClr val="tx1">
                <a:lumMod val="10000"/>
                <a:lumOff val="90000"/>
              </a:schemeClr>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338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33"/>
                                        </p:tgtEl>
                                        <p:attrNameLst>
                                          <p:attrName>style.visibility</p:attrName>
                                        </p:attrNameLst>
                                      </p:cBhvr>
                                      <p:to>
                                        <p:strVal val="visible"/>
                                      </p:to>
                                    </p:set>
                                    <p:animEffect transition="in" filter="wipe(left)">
                                      <p:cBhvr>
                                        <p:cTn id="7" dur="1000"/>
                                        <p:tgtEl>
                                          <p:spTgt spid="233"/>
                                        </p:tgtEl>
                                      </p:cBhvr>
                                    </p:animEffect>
                                  </p:childTnLst>
                                </p:cTn>
                              </p:par>
                              <p:par>
                                <p:cTn id="8" presetID="22" presetClass="entr" presetSubtype="8" fill="hold" nodeType="withEffect">
                                  <p:stCondLst>
                                    <p:cond delay="250"/>
                                  </p:stCondLst>
                                  <p:childTnLst>
                                    <p:set>
                                      <p:cBhvr>
                                        <p:cTn id="9" dur="1" fill="hold">
                                          <p:stCondLst>
                                            <p:cond delay="0"/>
                                          </p:stCondLst>
                                        </p:cTn>
                                        <p:tgtEl>
                                          <p:spTgt spid="107"/>
                                        </p:tgtEl>
                                        <p:attrNameLst>
                                          <p:attrName>style.visibility</p:attrName>
                                        </p:attrNameLst>
                                      </p:cBhvr>
                                      <p:to>
                                        <p:strVal val="visible"/>
                                      </p:to>
                                    </p:set>
                                    <p:animEffect transition="in" filter="wipe(left)">
                                      <p:cBhvr>
                                        <p:cTn id="10" dur="1000"/>
                                        <p:tgtEl>
                                          <p:spTgt spid="107"/>
                                        </p:tgtEl>
                                      </p:cBhvr>
                                    </p:animEffect>
                                  </p:childTnLst>
                                </p:cTn>
                              </p:par>
                              <p:par>
                                <p:cTn id="11" presetID="22" presetClass="entr" presetSubtype="8" fill="hold" nodeType="withEffect">
                                  <p:stCondLst>
                                    <p:cond delay="500"/>
                                  </p:stCondLst>
                                  <p:childTnLst>
                                    <p:set>
                                      <p:cBhvr>
                                        <p:cTn id="12" dur="1" fill="hold">
                                          <p:stCondLst>
                                            <p:cond delay="0"/>
                                          </p:stCondLst>
                                        </p:cTn>
                                        <p:tgtEl>
                                          <p:spTgt spid="108"/>
                                        </p:tgtEl>
                                        <p:attrNameLst>
                                          <p:attrName>style.visibility</p:attrName>
                                        </p:attrNameLst>
                                      </p:cBhvr>
                                      <p:to>
                                        <p:strVal val="visible"/>
                                      </p:to>
                                    </p:set>
                                    <p:animEffect transition="in" filter="wipe(left)">
                                      <p:cBhvr>
                                        <p:cTn id="13" dur="1000"/>
                                        <p:tgtEl>
                                          <p:spTgt spid="108"/>
                                        </p:tgtEl>
                                      </p:cBhvr>
                                    </p:animEffect>
                                  </p:childTnLst>
                                </p:cTn>
                              </p:par>
                              <p:par>
                                <p:cTn id="14" presetID="10" presetClass="entr" presetSubtype="0" fill="hold" nodeType="withEffect">
                                  <p:stCondLst>
                                    <p:cond delay="500"/>
                                  </p:stCondLst>
                                  <p:childTnLst>
                                    <p:set>
                                      <p:cBhvr>
                                        <p:cTn id="15" dur="1" fill="hold">
                                          <p:stCondLst>
                                            <p:cond delay="0"/>
                                          </p:stCondLst>
                                        </p:cTn>
                                        <p:tgtEl>
                                          <p:spTgt spid="119"/>
                                        </p:tgtEl>
                                        <p:attrNameLst>
                                          <p:attrName>style.visibility</p:attrName>
                                        </p:attrNameLst>
                                      </p:cBhvr>
                                      <p:to>
                                        <p:strVal val="visible"/>
                                      </p:to>
                                    </p:set>
                                    <p:animEffect transition="in" filter="fade">
                                      <p:cBhvr>
                                        <p:cTn id="16" dur="500"/>
                                        <p:tgtEl>
                                          <p:spTgt spid="119"/>
                                        </p:tgtEl>
                                      </p:cBhvr>
                                    </p:animEffect>
                                  </p:childTnLst>
                                </p:cTn>
                              </p:par>
                              <p:par>
                                <p:cTn id="17" presetID="10" presetClass="entr" presetSubtype="0" fill="hold" nodeType="withEffect">
                                  <p:stCondLst>
                                    <p:cond delay="750"/>
                                  </p:stCondLst>
                                  <p:childTnLst>
                                    <p:set>
                                      <p:cBhvr>
                                        <p:cTn id="18" dur="1" fill="hold">
                                          <p:stCondLst>
                                            <p:cond delay="0"/>
                                          </p:stCondLst>
                                        </p:cTn>
                                        <p:tgtEl>
                                          <p:spTgt spid="153"/>
                                        </p:tgtEl>
                                        <p:attrNameLst>
                                          <p:attrName>style.visibility</p:attrName>
                                        </p:attrNameLst>
                                      </p:cBhvr>
                                      <p:to>
                                        <p:strVal val="visible"/>
                                      </p:to>
                                    </p:set>
                                    <p:animEffect transition="in" filter="fade">
                                      <p:cBhvr>
                                        <p:cTn id="19" dur="500"/>
                                        <p:tgtEl>
                                          <p:spTgt spid="153"/>
                                        </p:tgtEl>
                                      </p:cBhvr>
                                    </p:animEffect>
                                  </p:childTnLst>
                                </p:cTn>
                              </p:par>
                              <p:par>
                                <p:cTn id="20" presetID="10" presetClass="entr" presetSubtype="0" fill="hold" nodeType="withEffect">
                                  <p:stCondLst>
                                    <p:cond delay="1000"/>
                                  </p:stCondLst>
                                  <p:childTnLst>
                                    <p:set>
                                      <p:cBhvr>
                                        <p:cTn id="21" dur="1" fill="hold">
                                          <p:stCondLst>
                                            <p:cond delay="0"/>
                                          </p:stCondLst>
                                        </p:cTn>
                                        <p:tgtEl>
                                          <p:spTgt spid="141"/>
                                        </p:tgtEl>
                                        <p:attrNameLst>
                                          <p:attrName>style.visibility</p:attrName>
                                        </p:attrNameLst>
                                      </p:cBhvr>
                                      <p:to>
                                        <p:strVal val="visible"/>
                                      </p:to>
                                    </p:set>
                                    <p:animEffect transition="in" filter="fade">
                                      <p:cBhvr>
                                        <p:cTn id="22" dur="500"/>
                                        <p:tgtEl>
                                          <p:spTgt spid="141"/>
                                        </p:tgtEl>
                                      </p:cBhvr>
                                    </p:animEffect>
                                  </p:childTnLst>
                                </p:cTn>
                              </p:par>
                              <p:par>
                                <p:cTn id="23" presetID="10" presetClass="entr" presetSubtype="0" fill="hold" nodeType="withEffect">
                                  <p:stCondLst>
                                    <p:cond delay="1250"/>
                                  </p:stCondLst>
                                  <p:childTnLst>
                                    <p:set>
                                      <p:cBhvr>
                                        <p:cTn id="24" dur="1" fill="hold">
                                          <p:stCondLst>
                                            <p:cond delay="0"/>
                                          </p:stCondLst>
                                        </p:cTn>
                                        <p:tgtEl>
                                          <p:spTgt spid="129"/>
                                        </p:tgtEl>
                                        <p:attrNameLst>
                                          <p:attrName>style.visibility</p:attrName>
                                        </p:attrNameLst>
                                      </p:cBhvr>
                                      <p:to>
                                        <p:strVal val="visible"/>
                                      </p:to>
                                    </p:set>
                                    <p:animEffect transition="in" filter="fade">
                                      <p:cBhvr>
                                        <p:cTn id="25" dur="500"/>
                                        <p:tgtEl>
                                          <p:spTgt spid="129"/>
                                        </p:tgtEl>
                                      </p:cBhvr>
                                    </p:animEffect>
                                  </p:childTnLst>
                                </p:cTn>
                              </p:par>
                              <p:par>
                                <p:cTn id="26" presetID="10" presetClass="entr" presetSubtype="0" fill="hold" nodeType="withEffect">
                                  <p:stCondLst>
                                    <p:cond delay="1500"/>
                                  </p:stCondLst>
                                  <p:childTnLst>
                                    <p:set>
                                      <p:cBhvr>
                                        <p:cTn id="27" dur="1" fill="hold">
                                          <p:stCondLst>
                                            <p:cond delay="0"/>
                                          </p:stCondLst>
                                        </p:cTn>
                                        <p:tgtEl>
                                          <p:spTgt spid="110"/>
                                        </p:tgtEl>
                                        <p:attrNameLst>
                                          <p:attrName>style.visibility</p:attrName>
                                        </p:attrNameLst>
                                      </p:cBhvr>
                                      <p:to>
                                        <p:strVal val="visible"/>
                                      </p:to>
                                    </p:set>
                                    <p:animEffect transition="in" filter="fade">
                                      <p:cBhvr>
                                        <p:cTn id="28" dur="500"/>
                                        <p:tgtEl>
                                          <p:spTgt spid="110"/>
                                        </p:tgtEl>
                                      </p:cBhvr>
                                    </p:animEffect>
                                  </p:childTnLst>
                                </p:cTn>
                              </p:par>
                              <p:par>
                                <p:cTn id="29" presetID="10" presetClass="entr" presetSubtype="0" fill="hold" nodeType="withEffect">
                                  <p:stCondLst>
                                    <p:cond delay="500"/>
                                  </p:stCondLst>
                                  <p:childTnLst>
                                    <p:set>
                                      <p:cBhvr>
                                        <p:cTn id="30" dur="1" fill="hold">
                                          <p:stCondLst>
                                            <p:cond delay="0"/>
                                          </p:stCondLst>
                                        </p:cTn>
                                        <p:tgtEl>
                                          <p:spTgt spid="52"/>
                                        </p:tgtEl>
                                        <p:attrNameLst>
                                          <p:attrName>style.visibility</p:attrName>
                                        </p:attrNameLst>
                                      </p:cBhvr>
                                      <p:to>
                                        <p:strVal val="visible"/>
                                      </p:to>
                                    </p:set>
                                    <p:animEffect transition="in" filter="fade">
                                      <p:cBhvr>
                                        <p:cTn id="31" dur="500"/>
                                        <p:tgtEl>
                                          <p:spTgt spid="52"/>
                                        </p:tgtEl>
                                      </p:cBhvr>
                                    </p:animEffect>
                                  </p:childTnLst>
                                </p:cTn>
                              </p:par>
                              <p:par>
                                <p:cTn id="32" presetID="10" presetClass="entr" presetSubtype="0" fill="hold" nodeType="withEffect">
                                  <p:stCondLst>
                                    <p:cond delay="750"/>
                                  </p:stCondLst>
                                  <p:childTnLst>
                                    <p:set>
                                      <p:cBhvr>
                                        <p:cTn id="33" dur="1" fill="hold">
                                          <p:stCondLst>
                                            <p:cond delay="0"/>
                                          </p:stCondLst>
                                        </p:cTn>
                                        <p:tgtEl>
                                          <p:spTgt spid="86"/>
                                        </p:tgtEl>
                                        <p:attrNameLst>
                                          <p:attrName>style.visibility</p:attrName>
                                        </p:attrNameLst>
                                      </p:cBhvr>
                                      <p:to>
                                        <p:strVal val="visible"/>
                                      </p:to>
                                    </p:set>
                                    <p:animEffect transition="in" filter="fade">
                                      <p:cBhvr>
                                        <p:cTn id="34" dur="500"/>
                                        <p:tgtEl>
                                          <p:spTgt spid="86"/>
                                        </p:tgtEl>
                                      </p:cBhvr>
                                    </p:animEffect>
                                  </p:childTnLst>
                                </p:cTn>
                              </p:par>
                              <p:par>
                                <p:cTn id="35" presetID="10" presetClass="entr" presetSubtype="0" fill="hold" nodeType="withEffect">
                                  <p:stCondLst>
                                    <p:cond delay="1000"/>
                                  </p:stCondLst>
                                  <p:childTnLst>
                                    <p:set>
                                      <p:cBhvr>
                                        <p:cTn id="36" dur="1" fill="hold">
                                          <p:stCondLst>
                                            <p:cond delay="0"/>
                                          </p:stCondLst>
                                        </p:cTn>
                                        <p:tgtEl>
                                          <p:spTgt spid="74"/>
                                        </p:tgtEl>
                                        <p:attrNameLst>
                                          <p:attrName>style.visibility</p:attrName>
                                        </p:attrNameLst>
                                      </p:cBhvr>
                                      <p:to>
                                        <p:strVal val="visible"/>
                                      </p:to>
                                    </p:set>
                                    <p:animEffect transition="in" filter="fade">
                                      <p:cBhvr>
                                        <p:cTn id="37" dur="500"/>
                                        <p:tgtEl>
                                          <p:spTgt spid="74"/>
                                        </p:tgtEl>
                                      </p:cBhvr>
                                    </p:animEffect>
                                  </p:childTnLst>
                                </p:cTn>
                              </p:par>
                              <p:par>
                                <p:cTn id="38" presetID="10" presetClass="entr" presetSubtype="0" fill="hold" nodeType="withEffect">
                                  <p:stCondLst>
                                    <p:cond delay="1250"/>
                                  </p:stCondLst>
                                  <p:childTnLst>
                                    <p:set>
                                      <p:cBhvr>
                                        <p:cTn id="39" dur="1" fill="hold">
                                          <p:stCondLst>
                                            <p:cond delay="0"/>
                                          </p:stCondLst>
                                        </p:cTn>
                                        <p:tgtEl>
                                          <p:spTgt spid="62"/>
                                        </p:tgtEl>
                                        <p:attrNameLst>
                                          <p:attrName>style.visibility</p:attrName>
                                        </p:attrNameLst>
                                      </p:cBhvr>
                                      <p:to>
                                        <p:strVal val="visible"/>
                                      </p:to>
                                    </p:set>
                                    <p:animEffect transition="in" filter="fade">
                                      <p:cBhvr>
                                        <p:cTn id="40" dur="500"/>
                                        <p:tgtEl>
                                          <p:spTgt spid="62"/>
                                        </p:tgtEl>
                                      </p:cBhvr>
                                    </p:animEffect>
                                  </p:childTnLst>
                                </p:cTn>
                              </p:par>
                              <p:par>
                                <p:cTn id="41" presetID="10" presetClass="entr" presetSubtype="0" fill="hold" nodeType="withEffect">
                                  <p:stCondLst>
                                    <p:cond delay="1500"/>
                                  </p:stCondLst>
                                  <p:childTnLst>
                                    <p:set>
                                      <p:cBhvr>
                                        <p:cTn id="42" dur="1" fill="hold">
                                          <p:stCondLst>
                                            <p:cond delay="0"/>
                                          </p:stCondLst>
                                        </p:cTn>
                                        <p:tgtEl>
                                          <p:spTgt spid="43"/>
                                        </p:tgtEl>
                                        <p:attrNameLst>
                                          <p:attrName>style.visibility</p:attrName>
                                        </p:attrNameLst>
                                      </p:cBhvr>
                                      <p:to>
                                        <p:strVal val="visible"/>
                                      </p:to>
                                    </p:set>
                                    <p:animEffect transition="in" filter="fade">
                                      <p:cBhvr>
                                        <p:cTn id="43" dur="500"/>
                                        <p:tgtEl>
                                          <p:spTgt spid="43"/>
                                        </p:tgtEl>
                                      </p:cBhvr>
                                    </p:animEffect>
                                  </p:childTnLst>
                                </p:cTn>
                              </p:par>
                              <p:par>
                                <p:cTn id="44" presetID="10" presetClass="entr" presetSubtype="0" fill="hold" nodeType="withEffect">
                                  <p:stCondLst>
                                    <p:cond delay="500"/>
                                  </p:stCondLst>
                                  <p:childTnLst>
                                    <p:set>
                                      <p:cBhvr>
                                        <p:cTn id="45" dur="1" fill="hold">
                                          <p:stCondLst>
                                            <p:cond delay="0"/>
                                          </p:stCondLst>
                                        </p:cTn>
                                        <p:tgtEl>
                                          <p:spTgt spid="176"/>
                                        </p:tgtEl>
                                        <p:attrNameLst>
                                          <p:attrName>style.visibility</p:attrName>
                                        </p:attrNameLst>
                                      </p:cBhvr>
                                      <p:to>
                                        <p:strVal val="visible"/>
                                      </p:to>
                                    </p:set>
                                    <p:animEffect transition="in" filter="fade">
                                      <p:cBhvr>
                                        <p:cTn id="46" dur="500"/>
                                        <p:tgtEl>
                                          <p:spTgt spid="176"/>
                                        </p:tgtEl>
                                      </p:cBhvr>
                                    </p:animEffect>
                                  </p:childTnLst>
                                </p:cTn>
                              </p:par>
                              <p:par>
                                <p:cTn id="47" presetID="10" presetClass="entr" presetSubtype="0" fill="hold" nodeType="withEffect">
                                  <p:stCondLst>
                                    <p:cond delay="750"/>
                                  </p:stCondLst>
                                  <p:childTnLst>
                                    <p:set>
                                      <p:cBhvr>
                                        <p:cTn id="48" dur="1" fill="hold">
                                          <p:stCondLst>
                                            <p:cond delay="0"/>
                                          </p:stCondLst>
                                        </p:cTn>
                                        <p:tgtEl>
                                          <p:spTgt spid="210"/>
                                        </p:tgtEl>
                                        <p:attrNameLst>
                                          <p:attrName>style.visibility</p:attrName>
                                        </p:attrNameLst>
                                      </p:cBhvr>
                                      <p:to>
                                        <p:strVal val="visible"/>
                                      </p:to>
                                    </p:set>
                                    <p:animEffect transition="in" filter="fade">
                                      <p:cBhvr>
                                        <p:cTn id="49" dur="500"/>
                                        <p:tgtEl>
                                          <p:spTgt spid="210"/>
                                        </p:tgtEl>
                                      </p:cBhvr>
                                    </p:animEffect>
                                  </p:childTnLst>
                                </p:cTn>
                              </p:par>
                              <p:par>
                                <p:cTn id="50" presetID="10" presetClass="entr" presetSubtype="0" fill="hold" nodeType="withEffect">
                                  <p:stCondLst>
                                    <p:cond delay="1000"/>
                                  </p:stCondLst>
                                  <p:childTnLst>
                                    <p:set>
                                      <p:cBhvr>
                                        <p:cTn id="51" dur="1" fill="hold">
                                          <p:stCondLst>
                                            <p:cond delay="0"/>
                                          </p:stCondLst>
                                        </p:cTn>
                                        <p:tgtEl>
                                          <p:spTgt spid="198"/>
                                        </p:tgtEl>
                                        <p:attrNameLst>
                                          <p:attrName>style.visibility</p:attrName>
                                        </p:attrNameLst>
                                      </p:cBhvr>
                                      <p:to>
                                        <p:strVal val="visible"/>
                                      </p:to>
                                    </p:set>
                                    <p:animEffect transition="in" filter="fade">
                                      <p:cBhvr>
                                        <p:cTn id="52" dur="500"/>
                                        <p:tgtEl>
                                          <p:spTgt spid="198"/>
                                        </p:tgtEl>
                                      </p:cBhvr>
                                    </p:animEffect>
                                  </p:childTnLst>
                                </p:cTn>
                              </p:par>
                              <p:par>
                                <p:cTn id="53" presetID="10" presetClass="entr" presetSubtype="0" fill="hold" nodeType="withEffect">
                                  <p:stCondLst>
                                    <p:cond delay="1250"/>
                                  </p:stCondLst>
                                  <p:childTnLst>
                                    <p:set>
                                      <p:cBhvr>
                                        <p:cTn id="54" dur="1" fill="hold">
                                          <p:stCondLst>
                                            <p:cond delay="0"/>
                                          </p:stCondLst>
                                        </p:cTn>
                                        <p:tgtEl>
                                          <p:spTgt spid="186"/>
                                        </p:tgtEl>
                                        <p:attrNameLst>
                                          <p:attrName>style.visibility</p:attrName>
                                        </p:attrNameLst>
                                      </p:cBhvr>
                                      <p:to>
                                        <p:strVal val="visible"/>
                                      </p:to>
                                    </p:set>
                                    <p:animEffect transition="in" filter="fade">
                                      <p:cBhvr>
                                        <p:cTn id="55" dur="500"/>
                                        <p:tgtEl>
                                          <p:spTgt spid="186"/>
                                        </p:tgtEl>
                                      </p:cBhvr>
                                    </p:animEffect>
                                  </p:childTnLst>
                                </p:cTn>
                              </p:par>
                              <p:par>
                                <p:cTn id="56" presetID="10" presetClass="entr" presetSubtype="0" fill="hold" nodeType="withEffect">
                                  <p:stCondLst>
                                    <p:cond delay="1500"/>
                                  </p:stCondLst>
                                  <p:childTnLst>
                                    <p:set>
                                      <p:cBhvr>
                                        <p:cTn id="57" dur="1" fill="hold">
                                          <p:stCondLst>
                                            <p:cond delay="0"/>
                                          </p:stCondLst>
                                        </p:cTn>
                                        <p:tgtEl>
                                          <p:spTgt spid="167"/>
                                        </p:tgtEl>
                                        <p:attrNameLst>
                                          <p:attrName>style.visibility</p:attrName>
                                        </p:attrNameLst>
                                      </p:cBhvr>
                                      <p:to>
                                        <p:strVal val="visible"/>
                                      </p:to>
                                    </p:set>
                                    <p:animEffect transition="in" filter="fade">
                                      <p:cBhvr>
                                        <p:cTn id="58" dur="50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Title 1"/>
          <p:cNvSpPr>
            <a:spLocks noGrp="1"/>
          </p:cNvSpPr>
          <p:nvPr>
            <p:ph type="title"/>
          </p:nvPr>
        </p:nvSpPr>
        <p:spPr/>
        <p:txBody>
          <a:bodyPr/>
          <a:lstStyle/>
          <a:p>
            <a:r>
              <a:rPr lang="en-US" dirty="0" err="1"/>
              <a:t>Stealthwatch</a:t>
            </a:r>
            <a:r>
              <a:rPr lang="en-US" dirty="0"/>
              <a:t> Enterprise Architecture</a:t>
            </a:r>
          </a:p>
        </p:txBody>
      </p:sp>
      <p:sp>
        <p:nvSpPr>
          <p:cNvPr id="67" name="Rectangle 66"/>
          <p:cNvSpPr/>
          <p:nvPr/>
        </p:nvSpPr>
        <p:spPr>
          <a:xfrm>
            <a:off x="439112" y="1931426"/>
            <a:ext cx="2532703" cy="92333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282828">
                    <a:lumMod val="75000"/>
                  </a:srgbClr>
                </a:solidFill>
                <a:effectLst/>
                <a:uLnTx/>
                <a:uFillTx/>
                <a:latin typeface="CiscoSansTT ExtraLight"/>
                <a:ea typeface="ＭＳ Ｐゴシック" charset="0"/>
              </a:rPr>
              <a:t>Comprehensive</a:t>
            </a:r>
            <a:br>
              <a:rPr kumimoji="0" lang="en-US" sz="1800" b="0" i="0" u="none" strike="noStrike" kern="1200" cap="none" spc="0" normalizeH="0" baseline="0" noProof="0" dirty="0">
                <a:ln>
                  <a:noFill/>
                </a:ln>
                <a:solidFill>
                  <a:srgbClr val="282828">
                    <a:lumMod val="75000"/>
                  </a:srgbClr>
                </a:solidFill>
                <a:effectLst/>
                <a:uLnTx/>
                <a:uFillTx/>
                <a:latin typeface="CiscoSansTT ExtraLight"/>
                <a:ea typeface="ＭＳ Ｐゴシック" charset="0"/>
              </a:rPr>
            </a:br>
            <a:r>
              <a:rPr kumimoji="0" lang="en-US" sz="1800" b="0" i="0" u="none" strike="noStrike" kern="1200" cap="none" spc="0" normalizeH="0" baseline="0" noProof="0" dirty="0">
                <a:ln>
                  <a:noFill/>
                </a:ln>
                <a:solidFill>
                  <a:srgbClr val="00BCEB"/>
                </a:solidFill>
                <a:effectLst/>
                <a:uLnTx/>
                <a:uFillTx/>
                <a:latin typeface="CiscoSansTT ExtraLight"/>
                <a:ea typeface="ＭＳ Ｐゴシック" charset="0"/>
              </a:rPr>
              <a:t>visibility</a:t>
            </a:r>
            <a:r>
              <a:rPr kumimoji="0" lang="en-US" sz="1800" b="0" i="0" u="none" strike="noStrike" kern="1200" cap="none" spc="0" normalizeH="0" baseline="0" noProof="0" dirty="0">
                <a:ln>
                  <a:noFill/>
                </a:ln>
                <a:solidFill>
                  <a:srgbClr val="005073"/>
                </a:solidFill>
                <a:effectLst/>
                <a:uLnTx/>
                <a:uFillTx/>
                <a:latin typeface="CiscoSansTT ExtraLight"/>
                <a:ea typeface="ＭＳ Ｐゴシック" charset="0"/>
              </a:rPr>
              <a:t> </a:t>
            </a:r>
            <a:r>
              <a:rPr kumimoji="0" lang="en-US" sz="1800" b="0" i="0" u="none" strike="noStrike" kern="1200" cap="none" spc="0" normalizeH="0" baseline="0" noProof="0" dirty="0">
                <a:ln>
                  <a:noFill/>
                </a:ln>
                <a:solidFill>
                  <a:srgbClr val="282828">
                    <a:lumMod val="75000"/>
                  </a:srgbClr>
                </a:solidFill>
                <a:effectLst/>
                <a:uLnTx/>
                <a:uFillTx/>
                <a:latin typeface="CiscoSansTT ExtraLight"/>
                <a:ea typeface="ＭＳ Ｐゴシック" charset="0"/>
              </a:rPr>
              <a:t>and</a:t>
            </a:r>
            <a:r>
              <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rPr>
              <a:t> </a:t>
            </a:r>
            <a:br>
              <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rPr>
            </a:br>
            <a:r>
              <a:rPr kumimoji="0" lang="en-US" sz="1800" b="0" i="0" u="none" strike="noStrike" kern="1200" cap="none" spc="0" normalizeH="0" baseline="0" noProof="0" dirty="0">
                <a:ln>
                  <a:noFill/>
                </a:ln>
                <a:solidFill>
                  <a:srgbClr val="00BCEB"/>
                </a:solidFill>
                <a:effectLst/>
                <a:uLnTx/>
                <a:uFillTx/>
                <a:latin typeface="CiscoSansTT ExtraLight"/>
                <a:ea typeface="ＭＳ Ｐゴシック" charset="0"/>
              </a:rPr>
              <a:t>security analytics</a:t>
            </a:r>
          </a:p>
        </p:txBody>
      </p:sp>
      <p:grpSp>
        <p:nvGrpSpPr>
          <p:cNvPr id="604" name="Group 603">
            <a:extLst>
              <a:ext uri="{FF2B5EF4-FFF2-40B4-BE49-F238E27FC236}">
                <a16:creationId xmlns:a16="http://schemas.microsoft.com/office/drawing/2014/main" id="{9FC41DCC-3CE8-45BD-8D2E-B39A9958777C}"/>
              </a:ext>
            </a:extLst>
          </p:cNvPr>
          <p:cNvGrpSpPr/>
          <p:nvPr/>
        </p:nvGrpSpPr>
        <p:grpSpPr>
          <a:xfrm>
            <a:off x="4237747" y="3264052"/>
            <a:ext cx="1185166" cy="1190593"/>
            <a:chOff x="5598019" y="3264052"/>
            <a:chExt cx="1185166" cy="1190593"/>
          </a:xfrm>
        </p:grpSpPr>
        <p:sp>
          <p:nvSpPr>
            <p:cNvPr id="605" name="TextBox 604">
              <a:extLst>
                <a:ext uri="{FF2B5EF4-FFF2-40B4-BE49-F238E27FC236}">
                  <a16:creationId xmlns:a16="http://schemas.microsoft.com/office/drawing/2014/main" id="{16CC3ACA-DDE4-47DB-87E3-2574BD0E9E2B}"/>
                </a:ext>
              </a:extLst>
            </p:cNvPr>
            <p:cNvSpPr txBox="1"/>
            <p:nvPr/>
          </p:nvSpPr>
          <p:spPr>
            <a:xfrm>
              <a:off x="5598019" y="4251512"/>
              <a:ext cx="1185166" cy="203133"/>
            </a:xfrm>
            <a:prstGeom prst="rect">
              <a:avLst/>
            </a:prstGeom>
            <a:noFill/>
          </p:spPr>
          <p:txBody>
            <a:bodyPr wrap="square" rtlCol="0">
              <a:spAutoFit/>
            </a:bodyPr>
            <a:lstStyle/>
            <a:p>
              <a:pPr marL="0" marR="0" lvl="0" indent="0" algn="ctr"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5073"/>
                  </a:solidFill>
                  <a:effectLst/>
                  <a:uLnTx/>
                  <a:uFillTx/>
                  <a:latin typeface="CiscoSansTT ExtraLight" panose="020B0303020201020303" pitchFamily="34" charset="0"/>
                  <a:ea typeface="Arial" charset="0"/>
                  <a:cs typeface="CiscoSansTT ExtraLight" panose="020B0303020201020303" pitchFamily="34" charset="0"/>
                </a:rPr>
                <a:t>Endpoint License</a:t>
              </a:r>
            </a:p>
          </p:txBody>
        </p:sp>
        <p:pic>
          <p:nvPicPr>
            <p:cNvPr id="606" name="Picture 605">
              <a:extLst>
                <a:ext uri="{FF2B5EF4-FFF2-40B4-BE49-F238E27FC236}">
                  <a16:creationId xmlns:a16="http://schemas.microsoft.com/office/drawing/2014/main" id="{4A1A7942-571F-454B-8B11-6E8BB76BF0C6}"/>
                </a:ext>
              </a:extLst>
            </p:cNvPr>
            <p:cNvPicPr>
              <a:picLocks noChangeAspect="1"/>
            </p:cNvPicPr>
            <p:nvPr/>
          </p:nvPicPr>
          <p:blipFill>
            <a:blip r:embed="rId3"/>
            <a:stretch>
              <a:fillRect/>
            </a:stretch>
          </p:blipFill>
          <p:spPr>
            <a:xfrm>
              <a:off x="5969451" y="3784756"/>
              <a:ext cx="457200" cy="457200"/>
            </a:xfrm>
            <a:prstGeom prst="rect">
              <a:avLst/>
            </a:prstGeom>
          </p:spPr>
        </p:pic>
        <p:cxnSp>
          <p:nvCxnSpPr>
            <p:cNvPr id="607" name="STEP 1">
              <a:extLst>
                <a:ext uri="{FF2B5EF4-FFF2-40B4-BE49-F238E27FC236}">
                  <a16:creationId xmlns:a16="http://schemas.microsoft.com/office/drawing/2014/main" id="{81637E09-42A1-4B46-A8CD-C53212924383}"/>
                </a:ext>
              </a:extLst>
            </p:cNvPr>
            <p:cNvCxnSpPr>
              <a:cxnSpLocks/>
              <a:stCxn id="606" idx="0"/>
              <a:endCxn id="629" idx="3"/>
            </p:cNvCxnSpPr>
            <p:nvPr/>
          </p:nvCxnSpPr>
          <p:spPr bwMode="auto">
            <a:xfrm flipV="1">
              <a:off x="6198051" y="3264052"/>
              <a:ext cx="188429" cy="520704"/>
            </a:xfrm>
            <a:prstGeom prst="straightConnector1">
              <a:avLst/>
            </a:prstGeom>
            <a:ln w="12700" cap="rnd" cmpd="sng">
              <a:solidFill>
                <a:schemeClr val="accent2"/>
              </a:solidFill>
              <a:prstDash val="dash"/>
              <a:headEnd type="none" w="med" len="med"/>
              <a:tailEnd type="arrow" w="lg" len="med"/>
            </a:ln>
            <a:effectLst/>
          </p:spPr>
          <p:style>
            <a:lnRef idx="2">
              <a:schemeClr val="accent4"/>
            </a:lnRef>
            <a:fillRef idx="0">
              <a:schemeClr val="accent4"/>
            </a:fillRef>
            <a:effectRef idx="1">
              <a:schemeClr val="accent4"/>
            </a:effectRef>
            <a:fontRef idx="minor">
              <a:schemeClr val="tx1"/>
            </a:fontRef>
          </p:style>
        </p:cxnSp>
      </p:grpSp>
      <p:grpSp>
        <p:nvGrpSpPr>
          <p:cNvPr id="13" name="Group 12">
            <a:extLst>
              <a:ext uri="{FF2B5EF4-FFF2-40B4-BE49-F238E27FC236}">
                <a16:creationId xmlns:a16="http://schemas.microsoft.com/office/drawing/2014/main" id="{F94A5740-1629-455E-8D8F-505583DCE059}"/>
              </a:ext>
            </a:extLst>
          </p:cNvPr>
          <p:cNvGrpSpPr/>
          <p:nvPr/>
        </p:nvGrpSpPr>
        <p:grpSpPr>
          <a:xfrm>
            <a:off x="2969149" y="1245771"/>
            <a:ext cx="2983494" cy="2125410"/>
            <a:chOff x="2969149" y="1245771"/>
            <a:chExt cx="2983494" cy="2125410"/>
          </a:xfrm>
        </p:grpSpPr>
        <p:sp>
          <p:nvSpPr>
            <p:cNvPr id="625" name="Rounded Rectangle 114">
              <a:extLst>
                <a:ext uri="{FF2B5EF4-FFF2-40B4-BE49-F238E27FC236}">
                  <a16:creationId xmlns:a16="http://schemas.microsoft.com/office/drawing/2014/main" id="{D02DE0BA-0A70-44D1-98B7-2F9A1F4CD844}"/>
                </a:ext>
              </a:extLst>
            </p:cNvPr>
            <p:cNvSpPr/>
            <p:nvPr/>
          </p:nvSpPr>
          <p:spPr>
            <a:xfrm>
              <a:off x="2987291" y="1531766"/>
              <a:ext cx="2080994" cy="883454"/>
            </a:xfrm>
            <a:prstGeom prst="roundRect">
              <a:avLst>
                <a:gd name="adj" fmla="val 50000"/>
              </a:avLst>
            </a:prstGeom>
            <a:ln w="12700" cap="rnd" cmpd="sng">
              <a:solidFill>
                <a:schemeClr val="accent3"/>
              </a:solidFill>
              <a:prstDash val="dash"/>
              <a:headEnd type="none" w="med" len="med"/>
              <a:tailEnd type="none" w="lg" len="lg"/>
            </a:ln>
            <a:effectLst/>
          </p:spPr>
          <p:style>
            <a:lnRef idx="2">
              <a:schemeClr val="accent4"/>
            </a:lnRef>
            <a:fillRef idx="0">
              <a:schemeClr val="accent4"/>
            </a:fillRef>
            <a:effectRef idx="1">
              <a:schemeClr val="accent4"/>
            </a:effectRef>
            <a:fontRef idx="minor">
              <a:schemeClr val="tx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lumMod val="75000"/>
                    <a:lumOff val="25000"/>
                  </a:srgbClr>
                </a:solidFill>
                <a:effectLst/>
                <a:uLnTx/>
                <a:uFillTx/>
                <a:latin typeface="CiscoSansTT ExtraLight"/>
                <a:ea typeface="+mn-ea"/>
                <a:cs typeface="+mn-cs"/>
              </a:endParaRPr>
            </a:p>
          </p:txBody>
        </p:sp>
        <p:sp>
          <p:nvSpPr>
            <p:cNvPr id="626" name="TextBox 625">
              <a:extLst>
                <a:ext uri="{FF2B5EF4-FFF2-40B4-BE49-F238E27FC236}">
                  <a16:creationId xmlns:a16="http://schemas.microsoft.com/office/drawing/2014/main" id="{43CD35B2-3BBE-407C-9804-E698ECDBDCF6}"/>
                </a:ext>
              </a:extLst>
            </p:cNvPr>
            <p:cNvSpPr txBox="1"/>
            <p:nvPr/>
          </p:nvSpPr>
          <p:spPr>
            <a:xfrm>
              <a:off x="2969149" y="2025204"/>
              <a:ext cx="848988" cy="206210"/>
            </a:xfrm>
            <a:prstGeom prst="rect">
              <a:avLst/>
            </a:prstGeom>
            <a:noFill/>
          </p:spPr>
          <p:txBody>
            <a:bodyPr wrap="square" rtlCol="0">
              <a:spAutoFit/>
            </a:bodyPr>
            <a:lstStyle/>
            <a:p>
              <a:pPr marL="0" marR="0" lvl="0" indent="0" algn="ctr"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BCEB"/>
                  </a:solidFill>
                  <a:effectLst/>
                  <a:uLnTx/>
                  <a:uFillTx/>
                  <a:latin typeface="CiscoSansTT ExtraLight" panose="020B0303020201020303" pitchFamily="34" charset="0"/>
                  <a:ea typeface="Arial" charset="0"/>
                  <a:cs typeface="CiscoSansTT ExtraLight" panose="020B0303020201020303" pitchFamily="34" charset="0"/>
                </a:rPr>
                <a:t>ISE</a:t>
              </a:r>
            </a:p>
          </p:txBody>
        </p:sp>
        <p:sp>
          <p:nvSpPr>
            <p:cNvPr id="627" name="TextBox 626">
              <a:extLst>
                <a:ext uri="{FF2B5EF4-FFF2-40B4-BE49-F238E27FC236}">
                  <a16:creationId xmlns:a16="http://schemas.microsoft.com/office/drawing/2014/main" id="{04A85DA6-9360-4E13-8FB7-6C241974B0AF}"/>
                </a:ext>
              </a:extLst>
            </p:cNvPr>
            <p:cNvSpPr txBox="1"/>
            <p:nvPr/>
          </p:nvSpPr>
          <p:spPr>
            <a:xfrm>
              <a:off x="4688313" y="2453164"/>
              <a:ext cx="1193053" cy="203133"/>
            </a:xfrm>
            <a:prstGeom prst="rect">
              <a:avLst/>
            </a:prstGeom>
            <a:noFill/>
          </p:spPr>
          <p:txBody>
            <a:bodyPr wrap="square" rtlCol="0">
              <a:spAutoFit/>
            </a:bodyPr>
            <a:lstStyle/>
            <a:p>
              <a:pPr marL="0" marR="0" lvl="0" indent="0" algn="ctr"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5073"/>
                  </a:solidFill>
                  <a:effectLst/>
                  <a:uLnTx/>
                  <a:uFillTx/>
                  <a:latin typeface="CiscoSansTT ExtraLight" panose="020B0303020201020303" pitchFamily="34" charset="0"/>
                  <a:ea typeface="Arial" charset="0"/>
                  <a:cs typeface="CiscoSansTT ExtraLight" panose="020B0303020201020303" pitchFamily="34" charset="0"/>
                </a:rPr>
                <a:t>Flow Collector</a:t>
              </a:r>
            </a:p>
          </p:txBody>
        </p:sp>
        <p:grpSp>
          <p:nvGrpSpPr>
            <p:cNvPr id="628" name="Group 627">
              <a:extLst>
                <a:ext uri="{FF2B5EF4-FFF2-40B4-BE49-F238E27FC236}">
                  <a16:creationId xmlns:a16="http://schemas.microsoft.com/office/drawing/2014/main" id="{52E63AF3-9870-4026-BCA8-21C77BB793AE}"/>
                </a:ext>
              </a:extLst>
            </p:cNvPr>
            <p:cNvGrpSpPr/>
            <p:nvPr/>
          </p:nvGrpSpPr>
          <p:grpSpPr>
            <a:xfrm>
              <a:off x="4919079" y="2639661"/>
              <a:ext cx="731520" cy="731520"/>
              <a:chOff x="5214576" y="2618539"/>
              <a:chExt cx="457200" cy="457200"/>
            </a:xfrm>
          </p:grpSpPr>
          <p:sp>
            <p:nvSpPr>
              <p:cNvPr id="629" name="Oval 628">
                <a:extLst>
                  <a:ext uri="{FF2B5EF4-FFF2-40B4-BE49-F238E27FC236}">
                    <a16:creationId xmlns:a16="http://schemas.microsoft.com/office/drawing/2014/main" id="{8901BE33-3572-448B-A86B-AB819B0603C6}"/>
                  </a:ext>
                </a:extLst>
              </p:cNvPr>
              <p:cNvSpPr>
                <a:spLocks noChangeAspect="1"/>
              </p:cNvSpPr>
              <p:nvPr/>
            </p:nvSpPr>
            <p:spPr>
              <a:xfrm>
                <a:off x="5214576" y="2618539"/>
                <a:ext cx="457200" cy="45720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30" name="Freeform 288">
                <a:extLst>
                  <a:ext uri="{FF2B5EF4-FFF2-40B4-BE49-F238E27FC236}">
                    <a16:creationId xmlns:a16="http://schemas.microsoft.com/office/drawing/2014/main" id="{AD95BCF8-3564-4878-B227-82854D970799}"/>
                  </a:ext>
                </a:extLst>
              </p:cNvPr>
              <p:cNvSpPr/>
              <p:nvPr/>
            </p:nvSpPr>
            <p:spPr>
              <a:xfrm rot="13500000">
                <a:off x="5383365" y="2688328"/>
                <a:ext cx="119623" cy="120014"/>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31" name="Oval 630">
                <a:extLst>
                  <a:ext uri="{FF2B5EF4-FFF2-40B4-BE49-F238E27FC236}">
                    <a16:creationId xmlns:a16="http://schemas.microsoft.com/office/drawing/2014/main" id="{8CC29BAD-0749-4CF7-8C4B-FA0FE4C3FB78}"/>
                  </a:ext>
                </a:extLst>
              </p:cNvPr>
              <p:cNvSpPr>
                <a:spLocks noChangeAspect="1"/>
              </p:cNvSpPr>
              <p:nvPr/>
            </p:nvSpPr>
            <p:spPr>
              <a:xfrm>
                <a:off x="5378152" y="2795683"/>
                <a:ext cx="130048" cy="130046"/>
              </a:xfrm>
              <a:prstGeom prst="ellipse">
                <a:avLst/>
              </a:prstGeom>
              <a:solidFill>
                <a:schemeClr val="accent3"/>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32" name="Pie 88">
                <a:extLst>
                  <a:ext uri="{FF2B5EF4-FFF2-40B4-BE49-F238E27FC236}">
                    <a16:creationId xmlns:a16="http://schemas.microsoft.com/office/drawing/2014/main" id="{4EDF1B54-267E-4479-B6B5-A8D3A283AC9C}"/>
                  </a:ext>
                </a:extLst>
              </p:cNvPr>
              <p:cNvSpPr/>
              <p:nvPr/>
            </p:nvSpPr>
            <p:spPr>
              <a:xfrm>
                <a:off x="5376521" y="2796934"/>
                <a:ext cx="133311" cy="133311"/>
              </a:xfrm>
              <a:prstGeom prst="pie">
                <a:avLst>
                  <a:gd name="adj1" fmla="val 0"/>
                  <a:gd name="adj2" fmla="val 10843265"/>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633" name="Group 632">
                <a:extLst>
                  <a:ext uri="{FF2B5EF4-FFF2-40B4-BE49-F238E27FC236}">
                    <a16:creationId xmlns:a16="http://schemas.microsoft.com/office/drawing/2014/main" id="{4E7C1608-635A-42D1-9179-2B3474558285}"/>
                  </a:ext>
                </a:extLst>
              </p:cNvPr>
              <p:cNvGrpSpPr/>
              <p:nvPr/>
            </p:nvGrpSpPr>
            <p:grpSpPr>
              <a:xfrm>
                <a:off x="5310499" y="2928158"/>
                <a:ext cx="265354" cy="108370"/>
                <a:chOff x="5519555" y="1929418"/>
                <a:chExt cx="265354" cy="108370"/>
              </a:xfrm>
            </p:grpSpPr>
            <p:sp>
              <p:nvSpPr>
                <p:cNvPr id="637" name="Oval 636">
                  <a:extLst>
                    <a:ext uri="{FF2B5EF4-FFF2-40B4-BE49-F238E27FC236}">
                      <a16:creationId xmlns:a16="http://schemas.microsoft.com/office/drawing/2014/main" id="{34FFDDAB-3358-4A83-BB9F-430A1DDAEFFB}"/>
                    </a:ext>
                  </a:extLst>
                </p:cNvPr>
                <p:cNvSpPr>
                  <a:spLocks noChangeAspect="1"/>
                </p:cNvSpPr>
                <p:nvPr/>
              </p:nvSpPr>
              <p:spPr>
                <a:xfrm>
                  <a:off x="5715349" y="1929418"/>
                  <a:ext cx="69560" cy="6955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38" name="Oval 637">
                  <a:extLst>
                    <a:ext uri="{FF2B5EF4-FFF2-40B4-BE49-F238E27FC236}">
                      <a16:creationId xmlns:a16="http://schemas.microsoft.com/office/drawing/2014/main" id="{F564FE2B-F895-4A7B-8807-10223CBF12CC}"/>
                    </a:ext>
                  </a:extLst>
                </p:cNvPr>
                <p:cNvSpPr>
                  <a:spLocks noChangeAspect="1"/>
                </p:cNvSpPr>
                <p:nvPr/>
              </p:nvSpPr>
              <p:spPr>
                <a:xfrm>
                  <a:off x="5519555" y="1929418"/>
                  <a:ext cx="69560" cy="6955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39" name="Oval 638">
                  <a:extLst>
                    <a:ext uri="{FF2B5EF4-FFF2-40B4-BE49-F238E27FC236}">
                      <a16:creationId xmlns:a16="http://schemas.microsoft.com/office/drawing/2014/main" id="{BEF7F622-F501-4511-A298-06D5AEEEA549}"/>
                    </a:ext>
                  </a:extLst>
                </p:cNvPr>
                <p:cNvSpPr>
                  <a:spLocks noChangeAspect="1"/>
                </p:cNvSpPr>
                <p:nvPr/>
              </p:nvSpPr>
              <p:spPr>
                <a:xfrm>
                  <a:off x="5617452" y="1968230"/>
                  <a:ext cx="69560" cy="6955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cxnSp>
            <p:nvCxnSpPr>
              <p:cNvPr id="634" name="Straight Connector 633">
                <a:extLst>
                  <a:ext uri="{FF2B5EF4-FFF2-40B4-BE49-F238E27FC236}">
                    <a16:creationId xmlns:a16="http://schemas.microsoft.com/office/drawing/2014/main" id="{569004F1-CA89-4E6F-B5BE-77009563107B}"/>
                  </a:ext>
                </a:extLst>
              </p:cNvPr>
              <p:cNvCxnSpPr/>
              <p:nvPr/>
            </p:nvCxnSpPr>
            <p:spPr>
              <a:xfrm>
                <a:off x="5469622" y="2893623"/>
                <a:ext cx="71861" cy="7186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5" name="Straight Connector 634">
                <a:extLst>
                  <a:ext uri="{FF2B5EF4-FFF2-40B4-BE49-F238E27FC236}">
                    <a16:creationId xmlns:a16="http://schemas.microsoft.com/office/drawing/2014/main" id="{0488590F-C578-44AF-ADA7-AB589CC61842}"/>
                  </a:ext>
                </a:extLst>
              </p:cNvPr>
              <p:cNvCxnSpPr/>
              <p:nvPr/>
            </p:nvCxnSpPr>
            <p:spPr>
              <a:xfrm rot="5400000">
                <a:off x="5343443" y="2893623"/>
                <a:ext cx="71861" cy="7186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6" name="Straight Connector 635">
                <a:extLst>
                  <a:ext uri="{FF2B5EF4-FFF2-40B4-BE49-F238E27FC236}">
                    <a16:creationId xmlns:a16="http://schemas.microsoft.com/office/drawing/2014/main" id="{2D5DB996-DDDD-4A2F-99DD-953B96E4E5A7}"/>
                  </a:ext>
                </a:extLst>
              </p:cNvPr>
              <p:cNvCxnSpPr/>
              <p:nvPr/>
            </p:nvCxnSpPr>
            <p:spPr>
              <a:xfrm rot="2700000">
                <a:off x="5405361" y="2921479"/>
                <a:ext cx="71861" cy="7186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640" name="TextBox 639">
              <a:extLst>
                <a:ext uri="{FF2B5EF4-FFF2-40B4-BE49-F238E27FC236}">
                  <a16:creationId xmlns:a16="http://schemas.microsoft.com/office/drawing/2014/main" id="{C07C0810-037E-4D73-9CA2-7B7683E76D6E}"/>
                </a:ext>
              </a:extLst>
            </p:cNvPr>
            <p:cNvSpPr txBox="1"/>
            <p:nvPr/>
          </p:nvSpPr>
          <p:spPr>
            <a:xfrm>
              <a:off x="4617035" y="1245771"/>
              <a:ext cx="1335608" cy="203133"/>
            </a:xfrm>
            <a:prstGeom prst="rect">
              <a:avLst/>
            </a:prstGeom>
            <a:noFill/>
          </p:spPr>
          <p:txBody>
            <a:bodyPr wrap="square" lIns="0" rIns="0" rtlCol="0">
              <a:spAutoFit/>
            </a:bodyPr>
            <a:lstStyle/>
            <a:p>
              <a:pPr marL="0" marR="0" lvl="0" indent="0" algn="ctr"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5073"/>
                  </a:solidFill>
                  <a:effectLst/>
                  <a:uLnTx/>
                  <a:uFillTx/>
                  <a:latin typeface="CiscoSansTT ExtraLight" panose="020B0303020201020303" pitchFamily="34" charset="0"/>
                  <a:ea typeface="Arial" charset="0"/>
                  <a:cs typeface="CiscoSansTT ExtraLight" panose="020B0303020201020303" pitchFamily="34" charset="0"/>
                </a:rPr>
                <a:t>Management Console</a:t>
              </a:r>
            </a:p>
          </p:txBody>
        </p:sp>
        <p:sp>
          <p:nvSpPr>
            <p:cNvPr id="641" name="TextBox 640">
              <a:extLst>
                <a:ext uri="{FF2B5EF4-FFF2-40B4-BE49-F238E27FC236}">
                  <a16:creationId xmlns:a16="http://schemas.microsoft.com/office/drawing/2014/main" id="{56FF5CB3-B5F2-420D-A7F5-BBDB009C3CDF}"/>
                </a:ext>
              </a:extLst>
            </p:cNvPr>
            <p:cNvSpPr txBox="1"/>
            <p:nvPr/>
          </p:nvSpPr>
          <p:spPr>
            <a:xfrm>
              <a:off x="3540034" y="2012504"/>
              <a:ext cx="792826" cy="424732"/>
            </a:xfrm>
            <a:prstGeom prst="rect">
              <a:avLst/>
            </a:prstGeom>
            <a:noFill/>
          </p:spPr>
          <p:txBody>
            <a:bodyPr wrap="square" rtlCol="0">
              <a:spAutoFit/>
            </a:bodyPr>
            <a:lstStyle/>
            <a:p>
              <a:pPr marL="0" marR="0" lvl="0" indent="0" algn="ctr"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5073"/>
                  </a:solidFill>
                  <a:effectLst/>
                  <a:uLnTx/>
                  <a:uFillTx/>
                  <a:latin typeface="CiscoSansTT ExtraLight" panose="020B0303020201020303" pitchFamily="34" charset="0"/>
                  <a:ea typeface="Arial" charset="0"/>
                  <a:cs typeface="CiscoSansTT ExtraLight" panose="020B0303020201020303" pitchFamily="34" charset="0"/>
                </a:rPr>
                <a:t>Threat Intelligence</a:t>
              </a:r>
              <a:br>
                <a:rPr kumimoji="0" lang="en-US" sz="800" b="0" i="0" u="none" strike="noStrike" kern="1200" cap="none" spc="0" normalizeH="0" baseline="0" noProof="0" dirty="0">
                  <a:ln>
                    <a:noFill/>
                  </a:ln>
                  <a:solidFill>
                    <a:srgbClr val="005073"/>
                  </a:solidFill>
                  <a:effectLst/>
                  <a:uLnTx/>
                  <a:uFillTx/>
                  <a:latin typeface="CiscoSansTT ExtraLight" panose="020B0303020201020303" pitchFamily="34" charset="0"/>
                  <a:ea typeface="Arial" charset="0"/>
                  <a:cs typeface="CiscoSansTT ExtraLight" panose="020B0303020201020303" pitchFamily="34" charset="0"/>
                </a:rPr>
              </a:br>
              <a:r>
                <a:rPr kumimoji="0" lang="en-US" sz="800" b="0" i="0" u="none" strike="noStrike" kern="1200" cap="none" spc="0" normalizeH="0" baseline="0" noProof="0" dirty="0">
                  <a:ln>
                    <a:noFill/>
                  </a:ln>
                  <a:solidFill>
                    <a:srgbClr val="005073"/>
                  </a:solidFill>
                  <a:effectLst/>
                  <a:uLnTx/>
                  <a:uFillTx/>
                  <a:latin typeface="CiscoSansTT ExtraLight" panose="020B0303020201020303" pitchFamily="34" charset="0"/>
                  <a:ea typeface="Arial" charset="0"/>
                  <a:cs typeface="CiscoSansTT ExtraLight" panose="020B0303020201020303" pitchFamily="34" charset="0"/>
                </a:rPr>
                <a:t>License</a:t>
              </a:r>
            </a:p>
          </p:txBody>
        </p:sp>
        <p:sp>
          <p:nvSpPr>
            <p:cNvPr id="642" name="TextBox 641">
              <a:extLst>
                <a:ext uri="{FF2B5EF4-FFF2-40B4-BE49-F238E27FC236}">
                  <a16:creationId xmlns:a16="http://schemas.microsoft.com/office/drawing/2014/main" id="{7EACEEA2-2078-425B-8085-CF5836BF9064}"/>
                </a:ext>
              </a:extLst>
            </p:cNvPr>
            <p:cNvSpPr txBox="1"/>
            <p:nvPr/>
          </p:nvSpPr>
          <p:spPr>
            <a:xfrm>
              <a:off x="4147233" y="2012504"/>
              <a:ext cx="800220" cy="313932"/>
            </a:xfrm>
            <a:prstGeom prst="rect">
              <a:avLst/>
            </a:prstGeom>
            <a:noFill/>
          </p:spPr>
          <p:txBody>
            <a:bodyPr wrap="none" rtlCol="0">
              <a:spAutoFit/>
            </a:bodyPr>
            <a:lstStyle/>
            <a:p>
              <a:pPr marL="0" marR="0" lvl="0" indent="0" algn="ctr"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5073"/>
                  </a:solidFill>
                  <a:effectLst/>
                  <a:uLnTx/>
                  <a:uFillTx/>
                  <a:latin typeface="CiscoSansTT ExtraLight" panose="020B0303020201020303" pitchFamily="34" charset="0"/>
                  <a:ea typeface="Arial" charset="0"/>
                  <a:cs typeface="CiscoSansTT ExtraLight" panose="020B0303020201020303" pitchFamily="34" charset="0"/>
                </a:rPr>
                <a:t>Global Threat</a:t>
              </a:r>
            </a:p>
            <a:p>
              <a:pPr marL="0" marR="0" lvl="0" indent="0" algn="ctr"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5073"/>
                  </a:solidFill>
                  <a:effectLst/>
                  <a:uLnTx/>
                  <a:uFillTx/>
                  <a:latin typeface="CiscoSansTT ExtraLight" panose="020B0303020201020303" pitchFamily="34" charset="0"/>
                  <a:ea typeface="Arial" charset="0"/>
                  <a:cs typeface="CiscoSansTT ExtraLight" panose="020B0303020201020303" pitchFamily="34" charset="0"/>
                </a:rPr>
                <a:t>Analytics</a:t>
              </a:r>
            </a:p>
          </p:txBody>
        </p:sp>
        <p:pic>
          <p:nvPicPr>
            <p:cNvPr id="643" name="Picture 642">
              <a:extLst>
                <a:ext uri="{FF2B5EF4-FFF2-40B4-BE49-F238E27FC236}">
                  <a16:creationId xmlns:a16="http://schemas.microsoft.com/office/drawing/2014/main" id="{5144D0DA-BE35-49AA-9702-0A77BFC15A43}"/>
                </a:ext>
              </a:extLst>
            </p:cNvPr>
            <p:cNvPicPr>
              <a:picLocks noChangeAspect="1"/>
            </p:cNvPicPr>
            <p:nvPr/>
          </p:nvPicPr>
          <p:blipFill rotWithShape="1">
            <a:blip r:embed="rId4"/>
            <a:srcRect r="-1212"/>
            <a:stretch/>
          </p:blipFill>
          <p:spPr>
            <a:xfrm>
              <a:off x="3723955" y="1573184"/>
              <a:ext cx="462741" cy="457200"/>
            </a:xfrm>
            <a:prstGeom prst="rect">
              <a:avLst/>
            </a:prstGeom>
          </p:spPr>
        </p:pic>
        <p:grpSp>
          <p:nvGrpSpPr>
            <p:cNvPr id="644" name="Group 643">
              <a:extLst>
                <a:ext uri="{FF2B5EF4-FFF2-40B4-BE49-F238E27FC236}">
                  <a16:creationId xmlns:a16="http://schemas.microsoft.com/office/drawing/2014/main" id="{2EE640E9-B025-434C-8A2A-456D6EF6FC69}"/>
                </a:ext>
              </a:extLst>
            </p:cNvPr>
            <p:cNvGrpSpPr/>
            <p:nvPr/>
          </p:nvGrpSpPr>
          <p:grpSpPr>
            <a:xfrm>
              <a:off x="4318741" y="1573184"/>
              <a:ext cx="457200" cy="457200"/>
              <a:chOff x="7833968" y="182696"/>
              <a:chExt cx="411413" cy="411480"/>
            </a:xfrm>
          </p:grpSpPr>
          <p:grpSp>
            <p:nvGrpSpPr>
              <p:cNvPr id="645" name="Group 644">
                <a:extLst>
                  <a:ext uri="{FF2B5EF4-FFF2-40B4-BE49-F238E27FC236}">
                    <a16:creationId xmlns:a16="http://schemas.microsoft.com/office/drawing/2014/main" id="{5B30BC3F-4F01-45E9-BCC2-7E61B3098C17}"/>
                  </a:ext>
                </a:extLst>
              </p:cNvPr>
              <p:cNvGrpSpPr>
                <a:grpSpLocks noChangeAspect="1"/>
              </p:cNvGrpSpPr>
              <p:nvPr/>
            </p:nvGrpSpPr>
            <p:grpSpPr>
              <a:xfrm>
                <a:off x="7833968" y="182696"/>
                <a:ext cx="411413" cy="411480"/>
                <a:chOff x="4802809" y="244489"/>
                <a:chExt cx="1188533" cy="1188720"/>
              </a:xfrm>
            </p:grpSpPr>
            <p:sp>
              <p:nvSpPr>
                <p:cNvPr id="650" name="Oval 649">
                  <a:extLst>
                    <a:ext uri="{FF2B5EF4-FFF2-40B4-BE49-F238E27FC236}">
                      <a16:creationId xmlns:a16="http://schemas.microsoft.com/office/drawing/2014/main" id="{23D38A61-3067-482C-9432-D3CA18A0524C}"/>
                    </a:ext>
                  </a:extLst>
                </p:cNvPr>
                <p:cNvSpPr/>
                <p:nvPr/>
              </p:nvSpPr>
              <p:spPr>
                <a:xfrm>
                  <a:off x="4802809" y="244489"/>
                  <a:ext cx="1188533" cy="1188720"/>
                </a:xfrm>
                <a:prstGeom prst="ellipse">
                  <a:avLst/>
                </a:prstGeom>
                <a:solidFill>
                  <a:schemeClr val="bg1"/>
                </a:solidFill>
                <a:ln w="25400" cap="flat" cmpd="sng" algn="ctr">
                  <a:noFill/>
                  <a:prstDash val="solid"/>
                </a:ln>
                <a:effectLst/>
              </p:spPr>
              <p:txBody>
                <a:bodyPr rot="0" spcFirstLastPara="0" vertOverflow="overflow" horzOverflow="overflow" vert="horz" wrap="square" lIns="457200" tIns="45720" rIns="457200" bIns="45720" numCol="1" spcCol="0" rtlCol="0" fromWordArt="0" anchor="ctr" anchorCtr="1" forceAA="0" compatLnSpc="1">
                  <a:prstTxWarp prst="textNoShape">
                    <a:avLst/>
                  </a:prstTxWarp>
                  <a:noAutofit/>
                </a:bodyPr>
                <a:lstStyle/>
                <a:p>
                  <a:pPr marL="0" marR="0" lvl="0" indent="0" algn="ctr" defTabSz="685813" rtl="0" eaLnBrk="1" fontAlgn="auto" latinLnBrk="0" hangingPunct="1">
                    <a:lnSpc>
                      <a:spcPct val="90000"/>
                    </a:lnSpc>
                    <a:spcBef>
                      <a:spcPts val="0"/>
                    </a:spcBef>
                    <a:spcAft>
                      <a:spcPts val="0"/>
                    </a:spcAft>
                    <a:buClrTx/>
                    <a:buSzTx/>
                    <a:buFontTx/>
                    <a:buNone/>
                    <a:tabLst/>
                    <a:defRPr/>
                  </a:pPr>
                  <a:endParaRPr kumimoji="0" lang="en-US" sz="2100" b="1" i="0" u="none" strike="noStrike" kern="0" cap="none" spc="0" normalizeH="0" baseline="0" noProof="0" dirty="0">
                    <a:ln>
                      <a:noFill/>
                    </a:ln>
                    <a:solidFill>
                      <a:srgbClr val="FFFFFF"/>
                    </a:solidFill>
                    <a:effectLst/>
                    <a:uLnTx/>
                    <a:uFillTx/>
                    <a:latin typeface="Arial" charset="0"/>
                    <a:ea typeface="ＭＳ Ｐゴシック" charset="0"/>
                  </a:endParaRPr>
                </a:p>
              </p:txBody>
            </p:sp>
            <p:grpSp>
              <p:nvGrpSpPr>
                <p:cNvPr id="651" name="Group 221">
                  <a:extLst>
                    <a:ext uri="{FF2B5EF4-FFF2-40B4-BE49-F238E27FC236}">
                      <a16:creationId xmlns:a16="http://schemas.microsoft.com/office/drawing/2014/main" id="{95E639FB-3812-49AB-B4E0-ED0164318B4A}"/>
                    </a:ext>
                  </a:extLst>
                </p:cNvPr>
                <p:cNvGrpSpPr>
                  <a:grpSpLocks noChangeAspect="1"/>
                </p:cNvGrpSpPr>
                <p:nvPr/>
              </p:nvGrpSpPr>
              <p:grpSpPr bwMode="auto">
                <a:xfrm>
                  <a:off x="4937229" y="575210"/>
                  <a:ext cx="919693" cy="527277"/>
                  <a:chOff x="2049" y="1143"/>
                  <a:chExt cx="1664" cy="954"/>
                </a:xfrm>
                <a:solidFill>
                  <a:srgbClr val="005073"/>
                </a:solidFill>
              </p:grpSpPr>
              <p:sp>
                <p:nvSpPr>
                  <p:cNvPr id="652" name="Freeform 222">
                    <a:extLst>
                      <a:ext uri="{FF2B5EF4-FFF2-40B4-BE49-F238E27FC236}">
                        <a16:creationId xmlns:a16="http://schemas.microsoft.com/office/drawing/2014/main" id="{9DCC6105-C5DE-4B1B-92C5-8383DF7A6E25}"/>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653" name="Freeform 223">
                    <a:extLst>
                      <a:ext uri="{FF2B5EF4-FFF2-40B4-BE49-F238E27FC236}">
                        <a16:creationId xmlns:a16="http://schemas.microsoft.com/office/drawing/2014/main" id="{87F29880-8EB5-40AD-AA75-7F38BB24540A}"/>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654" name="Freeform 224">
                    <a:extLst>
                      <a:ext uri="{FF2B5EF4-FFF2-40B4-BE49-F238E27FC236}">
                        <a16:creationId xmlns:a16="http://schemas.microsoft.com/office/drawing/2014/main" id="{D6446F27-2A6B-43E9-85A0-E301241E6F6F}"/>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grpSp>
          </p:grpSp>
          <p:grpSp>
            <p:nvGrpSpPr>
              <p:cNvPr id="646" name="Group 645">
                <a:extLst>
                  <a:ext uri="{FF2B5EF4-FFF2-40B4-BE49-F238E27FC236}">
                    <a16:creationId xmlns:a16="http://schemas.microsoft.com/office/drawing/2014/main" id="{95A6F712-60A3-4E46-AC3E-8227FA5CCA11}"/>
                  </a:ext>
                </a:extLst>
              </p:cNvPr>
              <p:cNvGrpSpPr/>
              <p:nvPr/>
            </p:nvGrpSpPr>
            <p:grpSpPr>
              <a:xfrm>
                <a:off x="7929146" y="339647"/>
                <a:ext cx="222453" cy="79160"/>
                <a:chOff x="7954756" y="301348"/>
                <a:chExt cx="375572" cy="133648"/>
              </a:xfrm>
            </p:grpSpPr>
            <p:sp>
              <p:nvSpPr>
                <p:cNvPr id="647" name="Block Arc 646">
                  <a:extLst>
                    <a:ext uri="{FF2B5EF4-FFF2-40B4-BE49-F238E27FC236}">
                      <a16:creationId xmlns:a16="http://schemas.microsoft.com/office/drawing/2014/main" id="{D5758ABA-ADF1-4E5A-96EB-B3F7CCACFCC2}"/>
                    </a:ext>
                  </a:extLst>
                </p:cNvPr>
                <p:cNvSpPr/>
                <p:nvPr/>
              </p:nvSpPr>
              <p:spPr>
                <a:xfrm>
                  <a:off x="7954756" y="301348"/>
                  <a:ext cx="133648" cy="133648"/>
                </a:xfrm>
                <a:prstGeom prst="blockArc">
                  <a:avLst>
                    <a:gd name="adj1" fmla="val 2070285"/>
                    <a:gd name="adj2" fmla="val 19949703"/>
                    <a:gd name="adj3" fmla="val 1913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648" name="Block Arc 647">
                  <a:extLst>
                    <a:ext uri="{FF2B5EF4-FFF2-40B4-BE49-F238E27FC236}">
                      <a16:creationId xmlns:a16="http://schemas.microsoft.com/office/drawing/2014/main" id="{035D71BB-750B-46A9-BCCB-EF9BB17860DF}"/>
                    </a:ext>
                  </a:extLst>
                </p:cNvPr>
                <p:cNvSpPr/>
                <p:nvPr/>
              </p:nvSpPr>
              <p:spPr>
                <a:xfrm>
                  <a:off x="8091365" y="301348"/>
                  <a:ext cx="133648" cy="133648"/>
                </a:xfrm>
                <a:prstGeom prst="blockArc">
                  <a:avLst>
                    <a:gd name="adj1" fmla="val 5296612"/>
                    <a:gd name="adj2" fmla="val 16338351"/>
                    <a:gd name="adj3" fmla="val 1909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649" name="Block Arc 648">
                  <a:extLst>
                    <a:ext uri="{FF2B5EF4-FFF2-40B4-BE49-F238E27FC236}">
                      <a16:creationId xmlns:a16="http://schemas.microsoft.com/office/drawing/2014/main" id="{09800563-2C66-4005-B68F-225B056D3E96}"/>
                    </a:ext>
                  </a:extLst>
                </p:cNvPr>
                <p:cNvSpPr/>
                <p:nvPr/>
              </p:nvSpPr>
              <p:spPr>
                <a:xfrm>
                  <a:off x="8196680" y="301348"/>
                  <a:ext cx="133648" cy="133648"/>
                </a:xfrm>
                <a:prstGeom prst="blockArc">
                  <a:avLst>
                    <a:gd name="adj1" fmla="val 11591877"/>
                    <a:gd name="adj2" fmla="val 3337786"/>
                    <a:gd name="adj3" fmla="val 1834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grpSp>
          <p:nvGrpSpPr>
            <p:cNvPr id="655" name="Group 654">
              <a:extLst>
                <a:ext uri="{FF2B5EF4-FFF2-40B4-BE49-F238E27FC236}">
                  <a16:creationId xmlns:a16="http://schemas.microsoft.com/office/drawing/2014/main" id="{188FCF0B-F979-4B17-9EAC-90FEF5C5F8FB}"/>
                </a:ext>
              </a:extLst>
            </p:cNvPr>
            <p:cNvGrpSpPr/>
            <p:nvPr/>
          </p:nvGrpSpPr>
          <p:grpSpPr>
            <a:xfrm>
              <a:off x="3165043" y="1573184"/>
              <a:ext cx="457200" cy="457200"/>
              <a:chOff x="2103337" y="1179875"/>
              <a:chExt cx="411413" cy="411480"/>
            </a:xfrm>
          </p:grpSpPr>
          <p:sp>
            <p:nvSpPr>
              <p:cNvPr id="656" name="Oval 655">
                <a:extLst>
                  <a:ext uri="{FF2B5EF4-FFF2-40B4-BE49-F238E27FC236}">
                    <a16:creationId xmlns:a16="http://schemas.microsoft.com/office/drawing/2014/main" id="{513372B3-7FC4-4E8B-948E-EA0991774D81}"/>
                  </a:ext>
                </a:extLst>
              </p:cNvPr>
              <p:cNvSpPr/>
              <p:nvPr/>
            </p:nvSpPr>
            <p:spPr>
              <a:xfrm>
                <a:off x="2103337" y="1179875"/>
                <a:ext cx="411413" cy="411480"/>
              </a:xfrm>
              <a:prstGeom prst="ellipse">
                <a:avLst/>
              </a:prstGeom>
              <a:solidFill>
                <a:schemeClr val="accent1"/>
              </a:solidFill>
              <a:ln w="25400" cap="flat" cmpd="sng" algn="ctr">
                <a:noFill/>
                <a:prstDash val="solid"/>
              </a:ln>
              <a:effectLst/>
            </p:spPr>
            <p:txBody>
              <a:bodyPr rot="0" spcFirstLastPara="0" vertOverflow="overflow" horzOverflow="overflow" vert="horz" wrap="square" lIns="457200" tIns="45720" rIns="457200" bIns="45720" numCol="1" spcCol="0" rtlCol="0" fromWordArt="0" anchor="ctr" anchorCtr="1" forceAA="0" compatLnSpc="1">
                <a:prstTxWarp prst="textNoShape">
                  <a:avLst/>
                </a:prstTxWarp>
                <a:noAutofit/>
              </a:bodyPr>
              <a:lstStyle/>
              <a:p>
                <a:pPr marL="0" marR="0" lvl="0" indent="0" algn="ctr" defTabSz="685813" rtl="0" eaLnBrk="1" fontAlgn="auto" latinLnBrk="0" hangingPunct="1">
                  <a:lnSpc>
                    <a:spcPct val="90000"/>
                  </a:lnSpc>
                  <a:spcBef>
                    <a:spcPts val="0"/>
                  </a:spcBef>
                  <a:spcAft>
                    <a:spcPts val="0"/>
                  </a:spcAft>
                  <a:buClrTx/>
                  <a:buSzTx/>
                  <a:buFontTx/>
                  <a:buNone/>
                  <a:tabLst/>
                  <a:defRPr/>
                </a:pPr>
                <a:endParaRPr kumimoji="0" lang="en-US" sz="2100" b="1" i="0" u="none" strike="noStrike" kern="0" cap="none" spc="0" normalizeH="0" baseline="0" noProof="0" dirty="0">
                  <a:ln>
                    <a:noFill/>
                  </a:ln>
                  <a:solidFill>
                    <a:srgbClr val="FFFFFF"/>
                  </a:solidFill>
                  <a:effectLst/>
                  <a:uLnTx/>
                  <a:uFillTx/>
                  <a:latin typeface="Arial" charset="0"/>
                  <a:ea typeface="ＭＳ Ｐゴシック" charset="0"/>
                </a:endParaRPr>
              </a:p>
            </p:txBody>
          </p:sp>
          <p:grpSp>
            <p:nvGrpSpPr>
              <p:cNvPr id="657" name="Group 656">
                <a:extLst>
                  <a:ext uri="{FF2B5EF4-FFF2-40B4-BE49-F238E27FC236}">
                    <a16:creationId xmlns:a16="http://schemas.microsoft.com/office/drawing/2014/main" id="{566A04FE-DA0D-4BAB-B8AF-06AB554C13D1}"/>
                  </a:ext>
                </a:extLst>
              </p:cNvPr>
              <p:cNvGrpSpPr>
                <a:grpSpLocks noChangeAspect="1"/>
              </p:cNvGrpSpPr>
              <p:nvPr/>
            </p:nvGrpSpPr>
            <p:grpSpPr>
              <a:xfrm>
                <a:off x="2146629" y="1224748"/>
                <a:ext cx="324828" cy="321734"/>
                <a:chOff x="7217552" y="3327527"/>
                <a:chExt cx="524984" cy="519984"/>
              </a:xfrm>
              <a:solidFill>
                <a:schemeClr val="bg2"/>
              </a:solidFill>
            </p:grpSpPr>
            <p:sp>
              <p:nvSpPr>
                <p:cNvPr id="658" name="Freeform 108">
                  <a:extLst>
                    <a:ext uri="{FF2B5EF4-FFF2-40B4-BE49-F238E27FC236}">
                      <a16:creationId xmlns:a16="http://schemas.microsoft.com/office/drawing/2014/main" id="{B1EA0FEC-F495-48D8-9814-F0196DB4C1FD}"/>
                    </a:ext>
                  </a:extLst>
                </p:cNvPr>
                <p:cNvSpPr>
                  <a:spLocks/>
                </p:cNvSpPr>
                <p:nvPr/>
              </p:nvSpPr>
              <p:spPr bwMode="auto">
                <a:xfrm>
                  <a:off x="7225552" y="3327527"/>
                  <a:ext cx="516984" cy="387988"/>
                </a:xfrm>
                <a:custGeom>
                  <a:avLst/>
                  <a:gdLst>
                    <a:gd name="T0" fmla="*/ 199 w 219"/>
                    <a:gd name="T1" fmla="*/ 164 h 164"/>
                    <a:gd name="T2" fmla="*/ 197 w 219"/>
                    <a:gd name="T3" fmla="*/ 164 h 164"/>
                    <a:gd name="T4" fmla="*/ 194 w 219"/>
                    <a:gd name="T5" fmla="*/ 156 h 164"/>
                    <a:gd name="T6" fmla="*/ 199 w 219"/>
                    <a:gd name="T7" fmla="*/ 81 h 164"/>
                    <a:gd name="T8" fmla="*/ 150 w 219"/>
                    <a:gd name="T9" fmla="*/ 25 h 164"/>
                    <a:gd name="T10" fmla="*/ 75 w 219"/>
                    <a:gd name="T11" fmla="*/ 20 h 164"/>
                    <a:gd name="T12" fmla="*/ 19 w 219"/>
                    <a:gd name="T13" fmla="*/ 70 h 164"/>
                    <a:gd name="T14" fmla="*/ 12 w 219"/>
                    <a:gd name="T15" fmla="*/ 90 h 164"/>
                    <a:gd name="T16" fmla="*/ 5 w 219"/>
                    <a:gd name="T17" fmla="*/ 94 h 164"/>
                    <a:gd name="T18" fmla="*/ 0 w 219"/>
                    <a:gd name="T19" fmla="*/ 87 h 164"/>
                    <a:gd name="T20" fmla="*/ 9 w 219"/>
                    <a:gd name="T21" fmla="*/ 65 h 164"/>
                    <a:gd name="T22" fmla="*/ 71 w 219"/>
                    <a:gd name="T23" fmla="*/ 10 h 164"/>
                    <a:gd name="T24" fmla="*/ 155 w 219"/>
                    <a:gd name="T25" fmla="*/ 15 h 164"/>
                    <a:gd name="T26" fmla="*/ 210 w 219"/>
                    <a:gd name="T27" fmla="*/ 78 h 164"/>
                    <a:gd name="T28" fmla="*/ 204 w 219"/>
                    <a:gd name="T29" fmla="*/ 161 h 164"/>
                    <a:gd name="T30" fmla="*/ 199 w 219"/>
                    <a:gd name="T3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164">
                      <a:moveTo>
                        <a:pt x="199" y="164"/>
                      </a:moveTo>
                      <a:cubicBezTo>
                        <a:pt x="198" y="164"/>
                        <a:pt x="197" y="164"/>
                        <a:pt x="197" y="164"/>
                      </a:cubicBezTo>
                      <a:cubicBezTo>
                        <a:pt x="194" y="162"/>
                        <a:pt x="193" y="159"/>
                        <a:pt x="194" y="156"/>
                      </a:cubicBezTo>
                      <a:cubicBezTo>
                        <a:pt x="206" y="133"/>
                        <a:pt x="207" y="106"/>
                        <a:pt x="199" y="81"/>
                      </a:cubicBezTo>
                      <a:cubicBezTo>
                        <a:pt x="191" y="57"/>
                        <a:pt x="173" y="37"/>
                        <a:pt x="150" y="25"/>
                      </a:cubicBezTo>
                      <a:cubicBezTo>
                        <a:pt x="126" y="14"/>
                        <a:pt x="100" y="12"/>
                        <a:pt x="75" y="20"/>
                      </a:cubicBezTo>
                      <a:cubicBezTo>
                        <a:pt x="50" y="29"/>
                        <a:pt x="31" y="46"/>
                        <a:pt x="19" y="70"/>
                      </a:cubicBezTo>
                      <a:cubicBezTo>
                        <a:pt x="16" y="76"/>
                        <a:pt x="13" y="83"/>
                        <a:pt x="12" y="90"/>
                      </a:cubicBezTo>
                      <a:cubicBezTo>
                        <a:pt x="11" y="93"/>
                        <a:pt x="8" y="95"/>
                        <a:pt x="5" y="94"/>
                      </a:cubicBezTo>
                      <a:cubicBezTo>
                        <a:pt x="2" y="94"/>
                        <a:pt x="0" y="90"/>
                        <a:pt x="0" y="87"/>
                      </a:cubicBezTo>
                      <a:cubicBezTo>
                        <a:pt x="2" y="80"/>
                        <a:pt x="5" y="72"/>
                        <a:pt x="9" y="65"/>
                      </a:cubicBezTo>
                      <a:cubicBezTo>
                        <a:pt x="22" y="38"/>
                        <a:pt x="44" y="19"/>
                        <a:pt x="71" y="10"/>
                      </a:cubicBezTo>
                      <a:cubicBezTo>
                        <a:pt x="99" y="0"/>
                        <a:pt x="129" y="2"/>
                        <a:pt x="155" y="15"/>
                      </a:cubicBezTo>
                      <a:cubicBezTo>
                        <a:pt x="181" y="28"/>
                        <a:pt x="200" y="50"/>
                        <a:pt x="210" y="78"/>
                      </a:cubicBezTo>
                      <a:cubicBezTo>
                        <a:pt x="219" y="105"/>
                        <a:pt x="217" y="135"/>
                        <a:pt x="204" y="161"/>
                      </a:cubicBezTo>
                      <a:cubicBezTo>
                        <a:pt x="203" y="163"/>
                        <a:pt x="201" y="164"/>
                        <a:pt x="199"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59" name="Freeform 109">
                  <a:extLst>
                    <a:ext uri="{FF2B5EF4-FFF2-40B4-BE49-F238E27FC236}">
                      <a16:creationId xmlns:a16="http://schemas.microsoft.com/office/drawing/2014/main" id="{E9AFBB8E-80E2-4E60-ACFA-0B148815903C}"/>
                    </a:ext>
                  </a:extLst>
                </p:cNvPr>
                <p:cNvSpPr>
                  <a:spLocks/>
                </p:cNvSpPr>
                <p:nvPr/>
              </p:nvSpPr>
              <p:spPr bwMode="auto">
                <a:xfrm>
                  <a:off x="7255551" y="3509521"/>
                  <a:ext cx="302991" cy="316990"/>
                </a:xfrm>
                <a:custGeom>
                  <a:avLst/>
                  <a:gdLst>
                    <a:gd name="T0" fmla="*/ 50 w 128"/>
                    <a:gd name="T1" fmla="*/ 134 h 134"/>
                    <a:gd name="T2" fmla="*/ 45 w 128"/>
                    <a:gd name="T3" fmla="*/ 131 h 134"/>
                    <a:gd name="T4" fmla="*/ 47 w 128"/>
                    <a:gd name="T5" fmla="*/ 123 h 134"/>
                    <a:gd name="T6" fmla="*/ 94 w 128"/>
                    <a:gd name="T7" fmla="*/ 81 h 134"/>
                    <a:gd name="T8" fmla="*/ 113 w 128"/>
                    <a:gd name="T9" fmla="*/ 40 h 134"/>
                    <a:gd name="T10" fmla="*/ 102 w 128"/>
                    <a:gd name="T11" fmla="*/ 18 h 134"/>
                    <a:gd name="T12" fmla="*/ 76 w 128"/>
                    <a:gd name="T13" fmla="*/ 27 h 134"/>
                    <a:gd name="T14" fmla="*/ 71 w 128"/>
                    <a:gd name="T15" fmla="*/ 37 h 134"/>
                    <a:gd name="T16" fmla="*/ 53 w 128"/>
                    <a:gd name="T17" fmla="*/ 70 h 134"/>
                    <a:gd name="T18" fmla="*/ 8 w 128"/>
                    <a:gd name="T19" fmla="*/ 96 h 134"/>
                    <a:gd name="T20" fmla="*/ 1 w 128"/>
                    <a:gd name="T21" fmla="*/ 92 h 134"/>
                    <a:gd name="T22" fmla="*/ 4 w 128"/>
                    <a:gd name="T23" fmla="*/ 85 h 134"/>
                    <a:gd name="T24" fmla="*/ 44 w 128"/>
                    <a:gd name="T25" fmla="*/ 63 h 134"/>
                    <a:gd name="T26" fmla="*/ 61 w 128"/>
                    <a:gd name="T27" fmla="*/ 32 h 134"/>
                    <a:gd name="T28" fmla="*/ 65 w 128"/>
                    <a:gd name="T29" fmla="*/ 22 h 134"/>
                    <a:gd name="T30" fmla="*/ 107 w 128"/>
                    <a:gd name="T31" fmla="*/ 8 h 134"/>
                    <a:gd name="T32" fmla="*/ 123 w 128"/>
                    <a:gd name="T33" fmla="*/ 44 h 134"/>
                    <a:gd name="T34" fmla="*/ 104 w 128"/>
                    <a:gd name="T35" fmla="*/ 88 h 134"/>
                    <a:gd name="T36" fmla="*/ 52 w 128"/>
                    <a:gd name="T37" fmla="*/ 133 h 134"/>
                    <a:gd name="T38" fmla="*/ 50 w 128"/>
                    <a:gd name="T3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4">
                      <a:moveTo>
                        <a:pt x="50" y="134"/>
                      </a:moveTo>
                      <a:cubicBezTo>
                        <a:pt x="48" y="134"/>
                        <a:pt x="46" y="133"/>
                        <a:pt x="45" y="131"/>
                      </a:cubicBezTo>
                      <a:cubicBezTo>
                        <a:pt x="43" y="128"/>
                        <a:pt x="44" y="125"/>
                        <a:pt x="47" y="123"/>
                      </a:cubicBezTo>
                      <a:cubicBezTo>
                        <a:pt x="47" y="123"/>
                        <a:pt x="78" y="106"/>
                        <a:pt x="94" y="81"/>
                      </a:cubicBezTo>
                      <a:cubicBezTo>
                        <a:pt x="104" y="67"/>
                        <a:pt x="110" y="48"/>
                        <a:pt x="113" y="40"/>
                      </a:cubicBezTo>
                      <a:cubicBezTo>
                        <a:pt x="116" y="30"/>
                        <a:pt x="113" y="23"/>
                        <a:pt x="102" y="18"/>
                      </a:cubicBezTo>
                      <a:cubicBezTo>
                        <a:pt x="93" y="13"/>
                        <a:pt x="81" y="17"/>
                        <a:pt x="76" y="27"/>
                      </a:cubicBezTo>
                      <a:cubicBezTo>
                        <a:pt x="74" y="30"/>
                        <a:pt x="73" y="33"/>
                        <a:pt x="71" y="37"/>
                      </a:cubicBezTo>
                      <a:cubicBezTo>
                        <a:pt x="66" y="47"/>
                        <a:pt x="61" y="60"/>
                        <a:pt x="53" y="70"/>
                      </a:cubicBezTo>
                      <a:cubicBezTo>
                        <a:pt x="41" y="86"/>
                        <a:pt x="9" y="96"/>
                        <a:pt x="8" y="96"/>
                      </a:cubicBezTo>
                      <a:cubicBezTo>
                        <a:pt x="5" y="97"/>
                        <a:pt x="2" y="95"/>
                        <a:pt x="1" y="92"/>
                      </a:cubicBezTo>
                      <a:cubicBezTo>
                        <a:pt x="0" y="89"/>
                        <a:pt x="1" y="86"/>
                        <a:pt x="4" y="85"/>
                      </a:cubicBezTo>
                      <a:cubicBezTo>
                        <a:pt x="13" y="83"/>
                        <a:pt x="36" y="74"/>
                        <a:pt x="44" y="63"/>
                      </a:cubicBezTo>
                      <a:cubicBezTo>
                        <a:pt x="51" y="54"/>
                        <a:pt x="56" y="42"/>
                        <a:pt x="61" y="32"/>
                      </a:cubicBezTo>
                      <a:cubicBezTo>
                        <a:pt x="62" y="28"/>
                        <a:pt x="64" y="25"/>
                        <a:pt x="65" y="22"/>
                      </a:cubicBezTo>
                      <a:cubicBezTo>
                        <a:pt x="73" y="6"/>
                        <a:pt x="92" y="0"/>
                        <a:pt x="107" y="8"/>
                      </a:cubicBezTo>
                      <a:cubicBezTo>
                        <a:pt x="123" y="15"/>
                        <a:pt x="128" y="28"/>
                        <a:pt x="123" y="44"/>
                      </a:cubicBezTo>
                      <a:cubicBezTo>
                        <a:pt x="121" y="52"/>
                        <a:pt x="114" y="72"/>
                        <a:pt x="104" y="88"/>
                      </a:cubicBezTo>
                      <a:cubicBezTo>
                        <a:pt x="86" y="115"/>
                        <a:pt x="54" y="132"/>
                        <a:pt x="52" y="133"/>
                      </a:cubicBezTo>
                      <a:cubicBezTo>
                        <a:pt x="51" y="134"/>
                        <a:pt x="51" y="134"/>
                        <a:pt x="50"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60" name="Freeform 110">
                  <a:extLst>
                    <a:ext uri="{FF2B5EF4-FFF2-40B4-BE49-F238E27FC236}">
                      <a16:creationId xmlns:a16="http://schemas.microsoft.com/office/drawing/2014/main" id="{20EC8C97-7CE4-49F4-9E70-ADF205E62275}"/>
                    </a:ext>
                  </a:extLst>
                </p:cNvPr>
                <p:cNvSpPr>
                  <a:spLocks/>
                </p:cNvSpPr>
                <p:nvPr/>
              </p:nvSpPr>
              <p:spPr bwMode="auto">
                <a:xfrm>
                  <a:off x="7227552" y="3455523"/>
                  <a:ext cx="398988" cy="391988"/>
                </a:xfrm>
                <a:custGeom>
                  <a:avLst/>
                  <a:gdLst>
                    <a:gd name="T0" fmla="*/ 94 w 169"/>
                    <a:gd name="T1" fmla="*/ 166 h 166"/>
                    <a:gd name="T2" fmla="*/ 89 w 169"/>
                    <a:gd name="T3" fmla="*/ 164 h 166"/>
                    <a:gd name="T4" fmla="*/ 90 w 169"/>
                    <a:gd name="T5" fmla="*/ 156 h 166"/>
                    <a:gd name="T6" fmla="*/ 129 w 169"/>
                    <a:gd name="T7" fmla="*/ 117 h 166"/>
                    <a:gd name="T8" fmla="*/ 147 w 169"/>
                    <a:gd name="T9" fmla="*/ 77 h 166"/>
                    <a:gd name="T10" fmla="*/ 126 w 169"/>
                    <a:gd name="T11" fmla="*/ 18 h 166"/>
                    <a:gd name="T12" fmla="*/ 64 w 169"/>
                    <a:gd name="T13" fmla="*/ 39 h 166"/>
                    <a:gd name="T14" fmla="*/ 63 w 169"/>
                    <a:gd name="T15" fmla="*/ 42 h 166"/>
                    <a:gd name="T16" fmla="*/ 49 w 169"/>
                    <a:gd name="T17" fmla="*/ 71 h 166"/>
                    <a:gd name="T18" fmla="*/ 7 w 169"/>
                    <a:gd name="T19" fmla="*/ 96 h 166"/>
                    <a:gd name="T20" fmla="*/ 0 w 169"/>
                    <a:gd name="T21" fmla="*/ 92 h 166"/>
                    <a:gd name="T22" fmla="*/ 5 w 169"/>
                    <a:gd name="T23" fmla="*/ 85 h 166"/>
                    <a:gd name="T24" fmla="*/ 40 w 169"/>
                    <a:gd name="T25" fmla="*/ 65 h 166"/>
                    <a:gd name="T26" fmla="*/ 52 w 169"/>
                    <a:gd name="T27" fmla="*/ 39 h 166"/>
                    <a:gd name="T28" fmla="*/ 54 w 169"/>
                    <a:gd name="T29" fmla="*/ 33 h 166"/>
                    <a:gd name="T30" fmla="*/ 87 w 169"/>
                    <a:gd name="T31" fmla="*/ 5 h 166"/>
                    <a:gd name="T32" fmla="*/ 131 w 169"/>
                    <a:gd name="T33" fmla="*/ 7 h 166"/>
                    <a:gd name="T34" fmla="*/ 158 w 169"/>
                    <a:gd name="T35" fmla="*/ 81 h 166"/>
                    <a:gd name="T36" fmla="*/ 138 w 169"/>
                    <a:gd name="T37" fmla="*/ 123 h 166"/>
                    <a:gd name="T38" fmla="*/ 97 w 169"/>
                    <a:gd name="T39" fmla="*/ 165 h 166"/>
                    <a:gd name="T40" fmla="*/ 94 w 169"/>
                    <a:gd name="T4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166">
                      <a:moveTo>
                        <a:pt x="94" y="166"/>
                      </a:moveTo>
                      <a:cubicBezTo>
                        <a:pt x="92" y="166"/>
                        <a:pt x="91" y="166"/>
                        <a:pt x="89" y="164"/>
                      </a:cubicBezTo>
                      <a:cubicBezTo>
                        <a:pt x="87" y="162"/>
                        <a:pt x="88" y="158"/>
                        <a:pt x="90" y="156"/>
                      </a:cubicBezTo>
                      <a:cubicBezTo>
                        <a:pt x="91" y="156"/>
                        <a:pt x="115" y="137"/>
                        <a:pt x="129" y="117"/>
                      </a:cubicBezTo>
                      <a:cubicBezTo>
                        <a:pt x="136" y="106"/>
                        <a:pt x="142" y="93"/>
                        <a:pt x="147" y="77"/>
                      </a:cubicBezTo>
                      <a:cubicBezTo>
                        <a:pt x="157" y="48"/>
                        <a:pt x="150" y="29"/>
                        <a:pt x="126" y="18"/>
                      </a:cubicBezTo>
                      <a:cubicBezTo>
                        <a:pt x="103" y="6"/>
                        <a:pt x="77" y="16"/>
                        <a:pt x="64" y="39"/>
                      </a:cubicBezTo>
                      <a:cubicBezTo>
                        <a:pt x="64" y="39"/>
                        <a:pt x="63" y="41"/>
                        <a:pt x="63" y="42"/>
                      </a:cubicBezTo>
                      <a:cubicBezTo>
                        <a:pt x="60" y="49"/>
                        <a:pt x="56" y="60"/>
                        <a:pt x="49" y="71"/>
                      </a:cubicBezTo>
                      <a:cubicBezTo>
                        <a:pt x="39" y="88"/>
                        <a:pt x="9" y="96"/>
                        <a:pt x="7" y="96"/>
                      </a:cubicBezTo>
                      <a:cubicBezTo>
                        <a:pt x="4" y="97"/>
                        <a:pt x="1" y="95"/>
                        <a:pt x="0" y="92"/>
                      </a:cubicBezTo>
                      <a:cubicBezTo>
                        <a:pt x="0" y="89"/>
                        <a:pt x="2" y="86"/>
                        <a:pt x="5" y="85"/>
                      </a:cubicBezTo>
                      <a:cubicBezTo>
                        <a:pt x="12" y="83"/>
                        <a:pt x="33" y="76"/>
                        <a:pt x="40" y="65"/>
                      </a:cubicBezTo>
                      <a:cubicBezTo>
                        <a:pt x="46" y="55"/>
                        <a:pt x="50" y="45"/>
                        <a:pt x="52" y="39"/>
                      </a:cubicBezTo>
                      <a:cubicBezTo>
                        <a:pt x="53" y="36"/>
                        <a:pt x="53" y="34"/>
                        <a:pt x="54" y="33"/>
                      </a:cubicBezTo>
                      <a:cubicBezTo>
                        <a:pt x="62" y="20"/>
                        <a:pt x="73" y="10"/>
                        <a:pt x="87" y="5"/>
                      </a:cubicBezTo>
                      <a:cubicBezTo>
                        <a:pt x="102" y="0"/>
                        <a:pt x="117" y="1"/>
                        <a:pt x="131" y="7"/>
                      </a:cubicBezTo>
                      <a:cubicBezTo>
                        <a:pt x="160" y="22"/>
                        <a:pt x="169" y="46"/>
                        <a:pt x="158" y="81"/>
                      </a:cubicBezTo>
                      <a:cubicBezTo>
                        <a:pt x="152" y="98"/>
                        <a:pt x="146" y="112"/>
                        <a:pt x="138" y="123"/>
                      </a:cubicBezTo>
                      <a:cubicBezTo>
                        <a:pt x="123" y="145"/>
                        <a:pt x="98" y="164"/>
                        <a:pt x="97" y="165"/>
                      </a:cubicBezTo>
                      <a:cubicBezTo>
                        <a:pt x="96" y="166"/>
                        <a:pt x="95" y="166"/>
                        <a:pt x="9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61" name="Freeform 111">
                  <a:extLst>
                    <a:ext uri="{FF2B5EF4-FFF2-40B4-BE49-F238E27FC236}">
                      <a16:creationId xmlns:a16="http://schemas.microsoft.com/office/drawing/2014/main" id="{2553A657-5330-4710-99B5-32A460CAD534}"/>
                    </a:ext>
                  </a:extLst>
                </p:cNvPr>
                <p:cNvSpPr>
                  <a:spLocks/>
                </p:cNvSpPr>
                <p:nvPr/>
              </p:nvSpPr>
              <p:spPr bwMode="auto">
                <a:xfrm>
                  <a:off x="7217552" y="3370526"/>
                  <a:ext cx="479985" cy="464986"/>
                </a:xfrm>
                <a:custGeom>
                  <a:avLst/>
                  <a:gdLst>
                    <a:gd name="T0" fmla="*/ 141 w 203"/>
                    <a:gd name="T1" fmla="*/ 197 h 197"/>
                    <a:gd name="T2" fmla="*/ 137 w 203"/>
                    <a:gd name="T3" fmla="*/ 196 h 197"/>
                    <a:gd name="T4" fmla="*/ 137 w 203"/>
                    <a:gd name="T5" fmla="*/ 188 h 197"/>
                    <a:gd name="T6" fmla="*/ 171 w 203"/>
                    <a:gd name="T7" fmla="*/ 133 h 197"/>
                    <a:gd name="T8" fmla="*/ 141 w 203"/>
                    <a:gd name="T9" fmla="*/ 30 h 197"/>
                    <a:gd name="T10" fmla="*/ 45 w 203"/>
                    <a:gd name="T11" fmla="*/ 63 h 197"/>
                    <a:gd name="T12" fmla="*/ 41 w 203"/>
                    <a:gd name="T13" fmla="*/ 75 h 197"/>
                    <a:gd name="T14" fmla="*/ 38 w 203"/>
                    <a:gd name="T15" fmla="*/ 82 h 197"/>
                    <a:gd name="T16" fmla="*/ 7 w 203"/>
                    <a:gd name="T17" fmla="*/ 106 h 197"/>
                    <a:gd name="T18" fmla="*/ 0 w 203"/>
                    <a:gd name="T19" fmla="*/ 102 h 197"/>
                    <a:gd name="T20" fmla="*/ 5 w 203"/>
                    <a:gd name="T21" fmla="*/ 95 h 197"/>
                    <a:gd name="T22" fmla="*/ 28 w 203"/>
                    <a:gd name="T23" fmla="*/ 78 h 197"/>
                    <a:gd name="T24" fmla="*/ 30 w 203"/>
                    <a:gd name="T25" fmla="*/ 72 h 197"/>
                    <a:gd name="T26" fmla="*/ 35 w 203"/>
                    <a:gd name="T27" fmla="*/ 58 h 197"/>
                    <a:gd name="T28" fmla="*/ 146 w 203"/>
                    <a:gd name="T29" fmla="*/ 20 h 197"/>
                    <a:gd name="T30" fmla="*/ 182 w 203"/>
                    <a:gd name="T31" fmla="*/ 137 h 197"/>
                    <a:gd name="T32" fmla="*/ 146 w 203"/>
                    <a:gd name="T33" fmla="*/ 195 h 197"/>
                    <a:gd name="T34" fmla="*/ 141 w 203"/>
                    <a:gd name="T3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3" h="197">
                      <a:moveTo>
                        <a:pt x="141" y="197"/>
                      </a:moveTo>
                      <a:cubicBezTo>
                        <a:pt x="140" y="197"/>
                        <a:pt x="139" y="197"/>
                        <a:pt x="137" y="196"/>
                      </a:cubicBezTo>
                      <a:cubicBezTo>
                        <a:pt x="135" y="194"/>
                        <a:pt x="135" y="190"/>
                        <a:pt x="137" y="188"/>
                      </a:cubicBezTo>
                      <a:cubicBezTo>
                        <a:pt x="137" y="188"/>
                        <a:pt x="159" y="163"/>
                        <a:pt x="171" y="133"/>
                      </a:cubicBezTo>
                      <a:cubicBezTo>
                        <a:pt x="190" y="86"/>
                        <a:pt x="179" y="49"/>
                        <a:pt x="141" y="30"/>
                      </a:cubicBezTo>
                      <a:cubicBezTo>
                        <a:pt x="106" y="13"/>
                        <a:pt x="62" y="27"/>
                        <a:pt x="45" y="63"/>
                      </a:cubicBezTo>
                      <a:cubicBezTo>
                        <a:pt x="43" y="67"/>
                        <a:pt x="42" y="71"/>
                        <a:pt x="41" y="75"/>
                      </a:cubicBezTo>
                      <a:cubicBezTo>
                        <a:pt x="40" y="77"/>
                        <a:pt x="39" y="80"/>
                        <a:pt x="38" y="82"/>
                      </a:cubicBezTo>
                      <a:cubicBezTo>
                        <a:pt x="32" y="100"/>
                        <a:pt x="8" y="106"/>
                        <a:pt x="7" y="106"/>
                      </a:cubicBezTo>
                      <a:cubicBezTo>
                        <a:pt x="4" y="107"/>
                        <a:pt x="1" y="105"/>
                        <a:pt x="0" y="102"/>
                      </a:cubicBezTo>
                      <a:cubicBezTo>
                        <a:pt x="0" y="99"/>
                        <a:pt x="1" y="96"/>
                        <a:pt x="5" y="95"/>
                      </a:cubicBezTo>
                      <a:cubicBezTo>
                        <a:pt x="5" y="95"/>
                        <a:pt x="24" y="91"/>
                        <a:pt x="28" y="78"/>
                      </a:cubicBezTo>
                      <a:cubicBezTo>
                        <a:pt x="28" y="76"/>
                        <a:pt x="29" y="74"/>
                        <a:pt x="30" y="72"/>
                      </a:cubicBezTo>
                      <a:cubicBezTo>
                        <a:pt x="31" y="67"/>
                        <a:pt x="32" y="63"/>
                        <a:pt x="35" y="58"/>
                      </a:cubicBezTo>
                      <a:cubicBezTo>
                        <a:pt x="55" y="17"/>
                        <a:pt x="105" y="0"/>
                        <a:pt x="146" y="20"/>
                      </a:cubicBezTo>
                      <a:cubicBezTo>
                        <a:pt x="190" y="41"/>
                        <a:pt x="203" y="85"/>
                        <a:pt x="182" y="137"/>
                      </a:cubicBezTo>
                      <a:cubicBezTo>
                        <a:pt x="169" y="169"/>
                        <a:pt x="146" y="194"/>
                        <a:pt x="146" y="195"/>
                      </a:cubicBezTo>
                      <a:cubicBezTo>
                        <a:pt x="144" y="197"/>
                        <a:pt x="143" y="197"/>
                        <a:pt x="141"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62" name="Freeform 112">
                  <a:extLst>
                    <a:ext uri="{FF2B5EF4-FFF2-40B4-BE49-F238E27FC236}">
                      <a16:creationId xmlns:a16="http://schemas.microsoft.com/office/drawing/2014/main" id="{67FE70E0-5439-4847-873E-5CA55CA1694F}"/>
                    </a:ext>
                  </a:extLst>
                </p:cNvPr>
                <p:cNvSpPr>
                  <a:spLocks/>
                </p:cNvSpPr>
                <p:nvPr/>
              </p:nvSpPr>
              <p:spPr bwMode="auto">
                <a:xfrm>
                  <a:off x="7295550" y="3585519"/>
                  <a:ext cx="191994" cy="202994"/>
                </a:xfrm>
                <a:custGeom>
                  <a:avLst/>
                  <a:gdLst>
                    <a:gd name="T0" fmla="*/ 7 w 81"/>
                    <a:gd name="T1" fmla="*/ 86 h 86"/>
                    <a:gd name="T2" fmla="*/ 2 w 81"/>
                    <a:gd name="T3" fmla="*/ 83 h 86"/>
                    <a:gd name="T4" fmla="*/ 4 w 81"/>
                    <a:gd name="T5" fmla="*/ 75 h 86"/>
                    <a:gd name="T6" fmla="*/ 45 w 81"/>
                    <a:gd name="T7" fmla="*/ 48 h 86"/>
                    <a:gd name="T8" fmla="*/ 69 w 81"/>
                    <a:gd name="T9" fmla="*/ 5 h 86"/>
                    <a:gd name="T10" fmla="*/ 76 w 81"/>
                    <a:gd name="T11" fmla="*/ 0 h 86"/>
                    <a:gd name="T12" fmla="*/ 81 w 81"/>
                    <a:gd name="T13" fmla="*/ 7 h 86"/>
                    <a:gd name="T14" fmla="*/ 54 w 81"/>
                    <a:gd name="T15" fmla="*/ 56 h 86"/>
                    <a:gd name="T16" fmla="*/ 9 w 81"/>
                    <a:gd name="T17" fmla="*/ 86 h 86"/>
                    <a:gd name="T18" fmla="*/ 7 w 81"/>
                    <a:gd name="T1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6">
                      <a:moveTo>
                        <a:pt x="7" y="86"/>
                      </a:moveTo>
                      <a:cubicBezTo>
                        <a:pt x="5" y="86"/>
                        <a:pt x="3" y="85"/>
                        <a:pt x="2" y="83"/>
                      </a:cubicBezTo>
                      <a:cubicBezTo>
                        <a:pt x="0" y="80"/>
                        <a:pt x="2" y="76"/>
                        <a:pt x="4" y="75"/>
                      </a:cubicBezTo>
                      <a:cubicBezTo>
                        <a:pt x="5" y="75"/>
                        <a:pt x="33" y="62"/>
                        <a:pt x="45" y="48"/>
                      </a:cubicBezTo>
                      <a:cubicBezTo>
                        <a:pt x="65" y="26"/>
                        <a:pt x="69" y="5"/>
                        <a:pt x="69" y="5"/>
                      </a:cubicBezTo>
                      <a:cubicBezTo>
                        <a:pt x="70" y="2"/>
                        <a:pt x="73" y="0"/>
                        <a:pt x="76" y="0"/>
                      </a:cubicBezTo>
                      <a:cubicBezTo>
                        <a:pt x="79" y="1"/>
                        <a:pt x="81" y="4"/>
                        <a:pt x="81" y="7"/>
                      </a:cubicBezTo>
                      <a:cubicBezTo>
                        <a:pt x="80" y="8"/>
                        <a:pt x="75" y="31"/>
                        <a:pt x="54" y="56"/>
                      </a:cubicBezTo>
                      <a:cubicBezTo>
                        <a:pt x="39" y="72"/>
                        <a:pt x="10" y="85"/>
                        <a:pt x="9" y="86"/>
                      </a:cubicBezTo>
                      <a:cubicBezTo>
                        <a:pt x="8" y="86"/>
                        <a:pt x="8" y="86"/>
                        <a:pt x="7"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cxnSp>
          <p:nvCxnSpPr>
            <p:cNvPr id="663" name="Straight Connector 662">
              <a:extLst>
                <a:ext uri="{FF2B5EF4-FFF2-40B4-BE49-F238E27FC236}">
                  <a16:creationId xmlns:a16="http://schemas.microsoft.com/office/drawing/2014/main" id="{AE7A3283-63AB-44A2-8F38-2A8C30E569C3}"/>
                </a:ext>
              </a:extLst>
            </p:cNvPr>
            <p:cNvCxnSpPr>
              <a:cxnSpLocks/>
              <a:stCxn id="665" idx="2"/>
              <a:endCxn id="627" idx="0"/>
            </p:cNvCxnSpPr>
            <p:nvPr/>
          </p:nvCxnSpPr>
          <p:spPr>
            <a:xfrm>
              <a:off x="5284839" y="2167544"/>
              <a:ext cx="1" cy="285620"/>
            </a:xfrm>
            <a:prstGeom prst="line">
              <a:avLst/>
            </a:prstGeom>
            <a:ln w="12700" cap="rnd" cmpd="sng">
              <a:solidFill>
                <a:schemeClr val="accent3"/>
              </a:solidFill>
              <a:prstDash val="dash"/>
              <a:headEnd type="arrow" w="lg" len="med"/>
              <a:tailEnd type="arrow" w="lg" len="med"/>
            </a:ln>
            <a:effectLst/>
          </p:spPr>
          <p:style>
            <a:lnRef idx="2">
              <a:schemeClr val="accent4"/>
            </a:lnRef>
            <a:fillRef idx="0">
              <a:schemeClr val="accent4"/>
            </a:fillRef>
            <a:effectRef idx="1">
              <a:schemeClr val="accent4"/>
            </a:effectRef>
            <a:fontRef idx="minor">
              <a:schemeClr val="tx1"/>
            </a:fontRef>
          </p:style>
        </p:cxnSp>
        <p:pic>
          <p:nvPicPr>
            <p:cNvPr id="665" name="Picture 664">
              <a:extLst>
                <a:ext uri="{FF2B5EF4-FFF2-40B4-BE49-F238E27FC236}">
                  <a16:creationId xmlns:a16="http://schemas.microsoft.com/office/drawing/2014/main" id="{E2C0104E-F70D-4B98-8A69-C08E9370FD4B}"/>
                </a:ext>
              </a:extLst>
            </p:cNvPr>
            <p:cNvPicPr>
              <a:picLocks noChangeAspect="1"/>
            </p:cNvPicPr>
            <p:nvPr/>
          </p:nvPicPr>
          <p:blipFill>
            <a:blip r:embed="rId5"/>
            <a:stretch>
              <a:fillRect/>
            </a:stretch>
          </p:blipFill>
          <p:spPr>
            <a:xfrm>
              <a:off x="4918210" y="1436024"/>
              <a:ext cx="733258" cy="731520"/>
            </a:xfrm>
            <a:prstGeom prst="rect">
              <a:avLst/>
            </a:prstGeom>
          </p:spPr>
        </p:pic>
      </p:grpSp>
      <p:grpSp>
        <p:nvGrpSpPr>
          <p:cNvPr id="31" name="Group 30">
            <a:extLst>
              <a:ext uri="{FF2B5EF4-FFF2-40B4-BE49-F238E27FC236}">
                <a16:creationId xmlns:a16="http://schemas.microsoft.com/office/drawing/2014/main" id="{99F9E97B-AF7F-455A-9947-55D3DE2DB602}"/>
              </a:ext>
            </a:extLst>
          </p:cNvPr>
          <p:cNvGrpSpPr/>
          <p:nvPr/>
        </p:nvGrpSpPr>
        <p:grpSpPr>
          <a:xfrm>
            <a:off x="5650599" y="1573184"/>
            <a:ext cx="2253893" cy="756330"/>
            <a:chOff x="5650599" y="1573184"/>
            <a:chExt cx="2253893" cy="756330"/>
          </a:xfrm>
        </p:grpSpPr>
        <p:sp>
          <p:nvSpPr>
            <p:cNvPr id="608" name="Rounded Rectangle 389">
              <a:extLst>
                <a:ext uri="{FF2B5EF4-FFF2-40B4-BE49-F238E27FC236}">
                  <a16:creationId xmlns:a16="http://schemas.microsoft.com/office/drawing/2014/main" id="{B0A9E99D-A9D9-403A-B11C-71BCD5B1AF4E}"/>
                </a:ext>
              </a:extLst>
            </p:cNvPr>
            <p:cNvSpPr/>
            <p:nvPr/>
          </p:nvSpPr>
          <p:spPr>
            <a:xfrm>
              <a:off x="6726672" y="1596635"/>
              <a:ext cx="1111440" cy="410299"/>
            </a:xfrm>
            <a:prstGeom prst="roundRect">
              <a:avLst>
                <a:gd name="adj" fmla="val 50000"/>
              </a:avLst>
            </a:prstGeom>
            <a:noFill/>
            <a:ln w="12700" cap="rnd" cmpd="sng">
              <a:solidFill>
                <a:schemeClr val="accent2"/>
              </a:solidFill>
              <a:prstDash val="dash"/>
              <a:headEnd type="none" w="med" len="med"/>
              <a:tailEnd type="arrow" w="lg" len="lg"/>
            </a:ln>
            <a:effectLst/>
          </p:spPr>
          <p:style>
            <a:lnRef idx="2">
              <a:schemeClr val="accent4"/>
            </a:lnRef>
            <a:fillRef idx="0">
              <a:schemeClr val="accent4"/>
            </a:fillRef>
            <a:effectRef idx="1">
              <a:schemeClr val="accent4"/>
            </a:effectRef>
            <a:fontRef idx="minor">
              <a:schemeClr val="tx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828">
                    <a:lumMod val="75000"/>
                    <a:lumOff val="25000"/>
                  </a:srgbClr>
                </a:solidFill>
                <a:effectLst/>
                <a:uLnTx/>
                <a:uFillTx/>
                <a:latin typeface="CiscoSansTT ExtraLight"/>
                <a:ea typeface="+mn-ea"/>
                <a:cs typeface="+mn-cs"/>
              </a:endParaRPr>
            </a:p>
          </p:txBody>
        </p:sp>
        <p:grpSp>
          <p:nvGrpSpPr>
            <p:cNvPr id="609" name="Group 608">
              <a:extLst>
                <a:ext uri="{FF2B5EF4-FFF2-40B4-BE49-F238E27FC236}">
                  <a16:creationId xmlns:a16="http://schemas.microsoft.com/office/drawing/2014/main" id="{2097874C-454F-4482-9D39-4526C461D3AF}"/>
                </a:ext>
              </a:extLst>
            </p:cNvPr>
            <p:cNvGrpSpPr/>
            <p:nvPr/>
          </p:nvGrpSpPr>
          <p:grpSpPr>
            <a:xfrm>
              <a:off x="7145232" y="1664624"/>
              <a:ext cx="274320" cy="274320"/>
              <a:chOff x="3270222" y="3881977"/>
              <a:chExt cx="274320" cy="274320"/>
            </a:xfrm>
          </p:grpSpPr>
          <p:sp>
            <p:nvSpPr>
              <p:cNvPr id="610" name="Oval 609">
                <a:extLst>
                  <a:ext uri="{FF2B5EF4-FFF2-40B4-BE49-F238E27FC236}">
                    <a16:creationId xmlns:a16="http://schemas.microsoft.com/office/drawing/2014/main" id="{C0647AF2-B7A1-47E1-8F28-87657E863CE2}"/>
                  </a:ext>
                </a:extLst>
              </p:cNvPr>
              <p:cNvSpPr>
                <a:spLocks noChangeAspect="1"/>
              </p:cNvSpPr>
              <p:nvPr/>
            </p:nvSpPr>
            <p:spPr>
              <a:xfrm>
                <a:off x="3270222" y="3881977"/>
                <a:ext cx="274320" cy="27432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611" name="Group 610">
                <a:extLst>
                  <a:ext uri="{FF2B5EF4-FFF2-40B4-BE49-F238E27FC236}">
                    <a16:creationId xmlns:a16="http://schemas.microsoft.com/office/drawing/2014/main" id="{243C1EF3-712D-4147-9C1F-65426ADF63CE}"/>
                  </a:ext>
                </a:extLst>
              </p:cNvPr>
              <p:cNvGrpSpPr/>
              <p:nvPr/>
            </p:nvGrpSpPr>
            <p:grpSpPr>
              <a:xfrm>
                <a:off x="3319358" y="3929248"/>
                <a:ext cx="176048" cy="179779"/>
                <a:chOff x="3311944" y="3920708"/>
                <a:chExt cx="282314" cy="288298"/>
              </a:xfrm>
            </p:grpSpPr>
            <p:sp>
              <p:nvSpPr>
                <p:cNvPr id="612" name="Freeform 391">
                  <a:extLst>
                    <a:ext uri="{FF2B5EF4-FFF2-40B4-BE49-F238E27FC236}">
                      <a16:creationId xmlns:a16="http://schemas.microsoft.com/office/drawing/2014/main" id="{3F9B99FA-CCB1-4435-A325-862963DA6BB1}"/>
                    </a:ext>
                  </a:extLst>
                </p:cNvPr>
                <p:cNvSpPr/>
                <p:nvPr/>
              </p:nvSpPr>
              <p:spPr>
                <a:xfrm rot="18900000">
                  <a:off x="3311944" y="4018038"/>
                  <a:ext cx="95698" cy="96011"/>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13" name="Freeform 392">
                  <a:extLst>
                    <a:ext uri="{FF2B5EF4-FFF2-40B4-BE49-F238E27FC236}">
                      <a16:creationId xmlns:a16="http://schemas.microsoft.com/office/drawing/2014/main" id="{EA9F23B2-470C-4285-A6AE-6AE08089957A}"/>
                    </a:ext>
                  </a:extLst>
                </p:cNvPr>
                <p:cNvSpPr/>
                <p:nvPr/>
              </p:nvSpPr>
              <p:spPr>
                <a:xfrm rot="8100000">
                  <a:off x="3498560" y="4018038"/>
                  <a:ext cx="95698" cy="96011"/>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14" name="Freeform 393">
                  <a:extLst>
                    <a:ext uri="{FF2B5EF4-FFF2-40B4-BE49-F238E27FC236}">
                      <a16:creationId xmlns:a16="http://schemas.microsoft.com/office/drawing/2014/main" id="{73EA33F6-ACAC-40DB-8443-286BE8995DE1}"/>
                    </a:ext>
                  </a:extLst>
                </p:cNvPr>
                <p:cNvSpPr/>
                <p:nvPr/>
              </p:nvSpPr>
              <p:spPr>
                <a:xfrm rot="13500000">
                  <a:off x="3405252" y="3920551"/>
                  <a:ext cx="95698" cy="96011"/>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15" name="Freeform 394">
                  <a:extLst>
                    <a:ext uri="{FF2B5EF4-FFF2-40B4-BE49-F238E27FC236}">
                      <a16:creationId xmlns:a16="http://schemas.microsoft.com/office/drawing/2014/main" id="{8619F63F-4DEA-4D66-AF83-9DFA966572F7}"/>
                    </a:ext>
                  </a:extLst>
                </p:cNvPr>
                <p:cNvSpPr/>
                <p:nvPr/>
              </p:nvSpPr>
              <p:spPr>
                <a:xfrm rot="2700000">
                  <a:off x="3405252" y="4113151"/>
                  <a:ext cx="95698" cy="96011"/>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grpSp>
          <p:nvGrpSpPr>
            <p:cNvPr id="616" name="Group 615">
              <a:extLst>
                <a:ext uri="{FF2B5EF4-FFF2-40B4-BE49-F238E27FC236}">
                  <a16:creationId xmlns:a16="http://schemas.microsoft.com/office/drawing/2014/main" id="{311901FA-2DE2-4EC3-A260-F61BC92BD455}"/>
                </a:ext>
              </a:extLst>
            </p:cNvPr>
            <p:cNvGrpSpPr/>
            <p:nvPr/>
          </p:nvGrpSpPr>
          <p:grpSpPr>
            <a:xfrm>
              <a:off x="7480179" y="1664624"/>
              <a:ext cx="274320" cy="274320"/>
              <a:chOff x="6081636" y="3981080"/>
              <a:chExt cx="228600" cy="228600"/>
            </a:xfrm>
          </p:grpSpPr>
          <p:sp>
            <p:nvSpPr>
              <p:cNvPr id="617" name="Oval 616">
                <a:extLst>
                  <a:ext uri="{FF2B5EF4-FFF2-40B4-BE49-F238E27FC236}">
                    <a16:creationId xmlns:a16="http://schemas.microsoft.com/office/drawing/2014/main" id="{C89A1C6C-AAFD-4879-B7CA-A96D4EC88029}"/>
                  </a:ext>
                </a:extLst>
              </p:cNvPr>
              <p:cNvSpPr>
                <a:spLocks noChangeAspect="1"/>
              </p:cNvSpPr>
              <p:nvPr/>
            </p:nvSpPr>
            <p:spPr>
              <a:xfrm>
                <a:off x="6081636" y="3981080"/>
                <a:ext cx="228600" cy="2286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18" name="Freeform 396">
                <a:extLst>
                  <a:ext uri="{FF2B5EF4-FFF2-40B4-BE49-F238E27FC236}">
                    <a16:creationId xmlns:a16="http://schemas.microsoft.com/office/drawing/2014/main" id="{76448E34-696B-4D2D-9F36-5DA04C42E150}"/>
                  </a:ext>
                </a:extLst>
              </p:cNvPr>
              <p:cNvSpPr/>
              <p:nvPr/>
            </p:nvSpPr>
            <p:spPr>
              <a:xfrm rot="18900000">
                <a:off x="6166030" y="4097646"/>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19" name="Freeform 397">
                <a:extLst>
                  <a:ext uri="{FF2B5EF4-FFF2-40B4-BE49-F238E27FC236}">
                    <a16:creationId xmlns:a16="http://schemas.microsoft.com/office/drawing/2014/main" id="{14C5454D-0CC6-4AF5-9BB6-8796B7117538}"/>
                  </a:ext>
                </a:extLst>
              </p:cNvPr>
              <p:cNvSpPr/>
              <p:nvPr/>
            </p:nvSpPr>
            <p:spPr>
              <a:xfrm rot="8100000">
                <a:off x="6166030" y="4033106"/>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sp>
          <p:nvSpPr>
            <p:cNvPr id="620" name="Oval 619">
              <a:extLst>
                <a:ext uri="{FF2B5EF4-FFF2-40B4-BE49-F238E27FC236}">
                  <a16:creationId xmlns:a16="http://schemas.microsoft.com/office/drawing/2014/main" id="{1B5748A8-A974-47E3-B1EE-1371C92939FB}"/>
                </a:ext>
              </a:extLst>
            </p:cNvPr>
            <p:cNvSpPr>
              <a:spLocks noChangeAspect="1"/>
            </p:cNvSpPr>
            <p:nvPr/>
          </p:nvSpPr>
          <p:spPr>
            <a:xfrm>
              <a:off x="6810285" y="1664624"/>
              <a:ext cx="274320" cy="27432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21" name="TextBox 620">
              <a:extLst>
                <a:ext uri="{FF2B5EF4-FFF2-40B4-BE49-F238E27FC236}">
                  <a16:creationId xmlns:a16="http://schemas.microsoft.com/office/drawing/2014/main" id="{84188B56-DC54-4F5B-9231-2B3514810270}"/>
                </a:ext>
              </a:extLst>
            </p:cNvPr>
            <p:cNvSpPr txBox="1"/>
            <p:nvPr/>
          </p:nvSpPr>
          <p:spPr>
            <a:xfrm>
              <a:off x="5767119" y="2012504"/>
              <a:ext cx="880886" cy="317010"/>
            </a:xfrm>
            <a:prstGeom prst="rect">
              <a:avLst/>
            </a:prstGeom>
            <a:noFill/>
          </p:spPr>
          <p:txBody>
            <a:bodyPr wrap="square" rtlCol="0">
              <a:spAutoFit/>
            </a:bodyPr>
            <a:lstStyle/>
            <a:p>
              <a:pPr marL="0" marR="0" lvl="0" indent="0" algn="ctr"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BCEB"/>
                  </a:solidFill>
                  <a:effectLst/>
                  <a:uLnTx/>
                  <a:uFillTx/>
                  <a:latin typeface="CiscoSansTT ExtraLight" panose="020B0303020201020303" pitchFamily="34" charset="0"/>
                  <a:ea typeface="Arial" charset="0"/>
                  <a:cs typeface="CiscoSansTT ExtraLight" panose="020B0303020201020303" pitchFamily="34" charset="0"/>
                </a:rPr>
                <a:t>Security Packet Analyzer</a:t>
              </a:r>
            </a:p>
          </p:txBody>
        </p:sp>
        <p:sp>
          <p:nvSpPr>
            <p:cNvPr id="622" name="TextBox 621">
              <a:extLst>
                <a:ext uri="{FF2B5EF4-FFF2-40B4-BE49-F238E27FC236}">
                  <a16:creationId xmlns:a16="http://schemas.microsoft.com/office/drawing/2014/main" id="{2439D70D-14D4-4110-967A-0132AF6401C9}"/>
                </a:ext>
              </a:extLst>
            </p:cNvPr>
            <p:cNvSpPr txBox="1"/>
            <p:nvPr/>
          </p:nvSpPr>
          <p:spPr>
            <a:xfrm>
              <a:off x="6667150" y="2012504"/>
              <a:ext cx="1237342" cy="317010"/>
            </a:xfrm>
            <a:prstGeom prst="rect">
              <a:avLst/>
            </a:prstGeom>
            <a:noFill/>
          </p:spPr>
          <p:txBody>
            <a:bodyPr wrap="square" rtlCol="0">
              <a:spAutoFit/>
            </a:bodyPr>
            <a:lstStyle/>
            <a:p>
              <a:pPr marL="0" marR="0" lvl="0" indent="0" algn="ctr"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EBE4A">
                      <a:lumMod val="75000"/>
                    </a:srgbClr>
                  </a:solidFill>
                  <a:effectLst/>
                  <a:uLnTx/>
                  <a:uFillTx/>
                  <a:latin typeface="CiscoSansTT ExtraLight" panose="020B0303020201020303" pitchFamily="34" charset="0"/>
                  <a:ea typeface="Arial" charset="0"/>
                  <a:cs typeface="CiscoSansTT ExtraLight" panose="020B0303020201020303" pitchFamily="34" charset="0"/>
                </a:rPr>
                <a:t>Packet Data &amp; Storage</a:t>
              </a:r>
            </a:p>
          </p:txBody>
        </p:sp>
        <p:cxnSp>
          <p:nvCxnSpPr>
            <p:cNvPr id="623" name="Straight Connector 622">
              <a:extLst>
                <a:ext uri="{FF2B5EF4-FFF2-40B4-BE49-F238E27FC236}">
                  <a16:creationId xmlns:a16="http://schemas.microsoft.com/office/drawing/2014/main" id="{17A27AB2-C6C4-4583-95D2-171773C08D1D}"/>
                </a:ext>
              </a:extLst>
            </p:cNvPr>
            <p:cNvCxnSpPr>
              <a:cxnSpLocks/>
            </p:cNvCxnSpPr>
            <p:nvPr/>
          </p:nvCxnSpPr>
          <p:spPr>
            <a:xfrm flipH="1" flipV="1">
              <a:off x="5650599" y="1799265"/>
              <a:ext cx="328363" cy="5039"/>
            </a:xfrm>
            <a:prstGeom prst="line">
              <a:avLst/>
            </a:prstGeom>
            <a:ln w="12700" cap="rnd" cmpd="sng">
              <a:solidFill>
                <a:schemeClr val="accent3"/>
              </a:solidFill>
              <a:prstDash val="dash"/>
              <a:headEnd type="arrow" w="lg" len="med"/>
              <a:tailEnd type="arrow" w="lg" len="med"/>
            </a:ln>
            <a:effectLst/>
          </p:spPr>
          <p:style>
            <a:lnRef idx="2">
              <a:schemeClr val="accent4"/>
            </a:lnRef>
            <a:fillRef idx="0">
              <a:schemeClr val="accent4"/>
            </a:fillRef>
            <a:effectRef idx="1">
              <a:schemeClr val="accent4"/>
            </a:effectRef>
            <a:fontRef idx="minor">
              <a:schemeClr val="tx1"/>
            </a:fontRef>
          </p:style>
        </p:cxnSp>
        <p:cxnSp>
          <p:nvCxnSpPr>
            <p:cNvPr id="624" name="Straight Connector 623">
              <a:extLst>
                <a:ext uri="{FF2B5EF4-FFF2-40B4-BE49-F238E27FC236}">
                  <a16:creationId xmlns:a16="http://schemas.microsoft.com/office/drawing/2014/main" id="{EFB155F8-3954-43B9-A079-A84A01A669C3}"/>
                </a:ext>
              </a:extLst>
            </p:cNvPr>
            <p:cNvCxnSpPr>
              <a:cxnSpLocks/>
            </p:cNvCxnSpPr>
            <p:nvPr/>
          </p:nvCxnSpPr>
          <p:spPr>
            <a:xfrm flipH="1" flipV="1">
              <a:off x="6436162" y="1801784"/>
              <a:ext cx="290510" cy="1"/>
            </a:xfrm>
            <a:prstGeom prst="line">
              <a:avLst/>
            </a:prstGeom>
            <a:ln w="12700" cap="rnd" cmpd="sng">
              <a:solidFill>
                <a:schemeClr val="accent2"/>
              </a:solidFill>
              <a:prstDash val="dash"/>
              <a:headEnd type="arrow" w="lg" len="med"/>
              <a:tailEnd type="arrow" w="lg" len="med"/>
            </a:ln>
            <a:effectLst/>
          </p:spPr>
          <p:style>
            <a:lnRef idx="2">
              <a:schemeClr val="accent4"/>
            </a:lnRef>
            <a:fillRef idx="0">
              <a:schemeClr val="accent4"/>
            </a:fillRef>
            <a:effectRef idx="1">
              <a:schemeClr val="accent4"/>
            </a:effectRef>
            <a:fontRef idx="minor">
              <a:schemeClr val="tx1"/>
            </a:fontRef>
          </p:style>
        </p:cxnSp>
        <p:grpSp>
          <p:nvGrpSpPr>
            <p:cNvPr id="666" name="Group 665">
              <a:extLst>
                <a:ext uri="{FF2B5EF4-FFF2-40B4-BE49-F238E27FC236}">
                  <a16:creationId xmlns:a16="http://schemas.microsoft.com/office/drawing/2014/main" id="{A1B064A0-6AD8-4F5D-A22D-BE2AF3A1D0B3}"/>
                </a:ext>
              </a:extLst>
            </p:cNvPr>
            <p:cNvGrpSpPr/>
            <p:nvPr/>
          </p:nvGrpSpPr>
          <p:grpSpPr>
            <a:xfrm>
              <a:off x="5978485" y="1573184"/>
              <a:ext cx="457200" cy="457200"/>
              <a:chOff x="2650441" y="2912813"/>
              <a:chExt cx="498638" cy="498642"/>
            </a:xfrm>
          </p:grpSpPr>
          <p:sp>
            <p:nvSpPr>
              <p:cNvPr id="667" name="Oval 666">
                <a:extLst>
                  <a:ext uri="{FF2B5EF4-FFF2-40B4-BE49-F238E27FC236}">
                    <a16:creationId xmlns:a16="http://schemas.microsoft.com/office/drawing/2014/main" id="{3A6174A5-AC65-4F8D-B1D6-15D717ADCAE5}"/>
                  </a:ext>
                </a:extLst>
              </p:cNvPr>
              <p:cNvSpPr/>
              <p:nvPr/>
            </p:nvSpPr>
            <p:spPr>
              <a:xfrm rot="5400000">
                <a:off x="2650440" y="2912814"/>
                <a:ext cx="498639" cy="49863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668" name="Group 667">
                <a:extLst>
                  <a:ext uri="{FF2B5EF4-FFF2-40B4-BE49-F238E27FC236}">
                    <a16:creationId xmlns:a16="http://schemas.microsoft.com/office/drawing/2014/main" id="{5AE11FEE-3661-4A90-9540-F817E51A9924}"/>
                  </a:ext>
                </a:extLst>
              </p:cNvPr>
              <p:cNvGrpSpPr/>
              <p:nvPr/>
            </p:nvGrpSpPr>
            <p:grpSpPr>
              <a:xfrm>
                <a:off x="2787287" y="2993262"/>
                <a:ext cx="228728" cy="391606"/>
                <a:chOff x="3889515" y="3744777"/>
                <a:chExt cx="438047" cy="749982"/>
              </a:xfrm>
            </p:grpSpPr>
            <p:sp>
              <p:nvSpPr>
                <p:cNvPr id="670" name="Rectangle: Rounded Corners 669">
                  <a:extLst>
                    <a:ext uri="{FF2B5EF4-FFF2-40B4-BE49-F238E27FC236}">
                      <a16:creationId xmlns:a16="http://schemas.microsoft.com/office/drawing/2014/main" id="{6D195196-399B-434E-A202-35A77CBD1643}"/>
                    </a:ext>
                  </a:extLst>
                </p:cNvPr>
                <p:cNvSpPr/>
                <p:nvPr/>
              </p:nvSpPr>
              <p:spPr>
                <a:xfrm>
                  <a:off x="4118243" y="3831569"/>
                  <a:ext cx="76676" cy="115994"/>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71" name="Rectangle: Rounded Corners 670">
                  <a:extLst>
                    <a:ext uri="{FF2B5EF4-FFF2-40B4-BE49-F238E27FC236}">
                      <a16:creationId xmlns:a16="http://schemas.microsoft.com/office/drawing/2014/main" id="{C67D0BD2-9A55-400B-A13E-E82B8D743151}"/>
                    </a:ext>
                  </a:extLst>
                </p:cNvPr>
                <p:cNvSpPr/>
                <p:nvPr/>
              </p:nvSpPr>
              <p:spPr>
                <a:xfrm>
                  <a:off x="4004414" y="3744777"/>
                  <a:ext cx="76676" cy="95863"/>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72" name="Rectangle: Rounded Corners 671">
                  <a:extLst>
                    <a:ext uri="{FF2B5EF4-FFF2-40B4-BE49-F238E27FC236}">
                      <a16:creationId xmlns:a16="http://schemas.microsoft.com/office/drawing/2014/main" id="{9531D304-D26A-4C02-A5B9-02B287508253}"/>
                    </a:ext>
                  </a:extLst>
                </p:cNvPr>
                <p:cNvSpPr/>
                <p:nvPr/>
              </p:nvSpPr>
              <p:spPr>
                <a:xfrm>
                  <a:off x="3928356" y="3863341"/>
                  <a:ext cx="52370" cy="95863"/>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73" name="Rectangle: Rounded Corners 672">
                  <a:extLst>
                    <a:ext uri="{FF2B5EF4-FFF2-40B4-BE49-F238E27FC236}">
                      <a16:creationId xmlns:a16="http://schemas.microsoft.com/office/drawing/2014/main" id="{1E584094-96C3-42A2-9098-E7996A3A234B}"/>
                    </a:ext>
                  </a:extLst>
                </p:cNvPr>
                <p:cNvSpPr/>
                <p:nvPr/>
              </p:nvSpPr>
              <p:spPr>
                <a:xfrm>
                  <a:off x="4028720" y="3917305"/>
                  <a:ext cx="52370" cy="54112"/>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74" name="Rectangle: Rounded Corners 673">
                  <a:extLst>
                    <a:ext uri="{FF2B5EF4-FFF2-40B4-BE49-F238E27FC236}">
                      <a16:creationId xmlns:a16="http://schemas.microsoft.com/office/drawing/2014/main" id="{F1DA056A-53AF-4F63-A34C-A348B1448D3F}"/>
                    </a:ext>
                  </a:extLst>
                </p:cNvPr>
                <p:cNvSpPr/>
                <p:nvPr/>
              </p:nvSpPr>
              <p:spPr>
                <a:xfrm>
                  <a:off x="4156581" y="3745561"/>
                  <a:ext cx="52370" cy="54112"/>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75" name="Rectangle: Rounded Corners 674">
                  <a:extLst>
                    <a:ext uri="{FF2B5EF4-FFF2-40B4-BE49-F238E27FC236}">
                      <a16:creationId xmlns:a16="http://schemas.microsoft.com/office/drawing/2014/main" id="{06345633-012D-4FB7-A3CA-853F22D3D9F0}"/>
                    </a:ext>
                  </a:extLst>
                </p:cNvPr>
                <p:cNvSpPr/>
                <p:nvPr/>
              </p:nvSpPr>
              <p:spPr>
                <a:xfrm>
                  <a:off x="4227147" y="3883263"/>
                  <a:ext cx="52370" cy="54112"/>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76" name="Rectangle: Rounded Corners 675">
                  <a:extLst>
                    <a:ext uri="{FF2B5EF4-FFF2-40B4-BE49-F238E27FC236}">
                      <a16:creationId xmlns:a16="http://schemas.microsoft.com/office/drawing/2014/main" id="{99AC89D8-72CA-4079-A0CF-BEA415D4CC99}"/>
                    </a:ext>
                  </a:extLst>
                </p:cNvPr>
                <p:cNvSpPr/>
                <p:nvPr/>
              </p:nvSpPr>
              <p:spPr>
                <a:xfrm>
                  <a:off x="4115417" y="3980186"/>
                  <a:ext cx="52370" cy="95863"/>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677" name="Group 676">
                  <a:extLst>
                    <a:ext uri="{FF2B5EF4-FFF2-40B4-BE49-F238E27FC236}">
                      <a16:creationId xmlns:a16="http://schemas.microsoft.com/office/drawing/2014/main" id="{28C33BB0-364E-4641-B31F-82E472DA9913}"/>
                    </a:ext>
                  </a:extLst>
                </p:cNvPr>
                <p:cNvGrpSpPr/>
                <p:nvPr/>
              </p:nvGrpSpPr>
              <p:grpSpPr>
                <a:xfrm>
                  <a:off x="3889515" y="3957751"/>
                  <a:ext cx="438047" cy="537008"/>
                  <a:chOff x="3988209" y="4033674"/>
                  <a:chExt cx="242268" cy="297000"/>
                </a:xfrm>
                <a:solidFill>
                  <a:schemeClr val="bg2"/>
                </a:solidFill>
              </p:grpSpPr>
              <p:sp>
                <p:nvSpPr>
                  <p:cNvPr id="678" name="Freeform 31">
                    <a:extLst>
                      <a:ext uri="{FF2B5EF4-FFF2-40B4-BE49-F238E27FC236}">
                        <a16:creationId xmlns:a16="http://schemas.microsoft.com/office/drawing/2014/main" id="{09ADD6DA-523C-4CED-9EEE-315E2824CD87}"/>
                      </a:ext>
                    </a:extLst>
                  </p:cNvPr>
                  <p:cNvSpPr>
                    <a:spLocks/>
                  </p:cNvSpPr>
                  <p:nvPr/>
                </p:nvSpPr>
                <p:spPr bwMode="auto">
                  <a:xfrm>
                    <a:off x="3988209" y="4188211"/>
                    <a:ext cx="242268" cy="142463"/>
                  </a:xfrm>
                  <a:custGeom>
                    <a:avLst/>
                    <a:gdLst>
                      <a:gd name="T0" fmla="*/ 0 w 127"/>
                      <a:gd name="T1" fmla="*/ 0 h 75"/>
                      <a:gd name="T2" fmla="*/ 0 w 127"/>
                      <a:gd name="T3" fmla="*/ 36 h 75"/>
                      <a:gd name="T4" fmla="*/ 127 w 127"/>
                      <a:gd name="T5" fmla="*/ 36 h 75"/>
                      <a:gd name="T6" fmla="*/ 127 w 127"/>
                      <a:gd name="T7" fmla="*/ 0 h 75"/>
                      <a:gd name="T8" fmla="*/ 0 w 127"/>
                      <a:gd name="T9" fmla="*/ 0 h 75"/>
                    </a:gdLst>
                    <a:ahLst/>
                    <a:cxnLst>
                      <a:cxn ang="0">
                        <a:pos x="T0" y="T1"/>
                      </a:cxn>
                      <a:cxn ang="0">
                        <a:pos x="T2" y="T3"/>
                      </a:cxn>
                      <a:cxn ang="0">
                        <a:pos x="T4" y="T5"/>
                      </a:cxn>
                      <a:cxn ang="0">
                        <a:pos x="T6" y="T7"/>
                      </a:cxn>
                      <a:cxn ang="0">
                        <a:pos x="T8" y="T9"/>
                      </a:cxn>
                    </a:cxnLst>
                    <a:rect l="0" t="0" r="r" b="b"/>
                    <a:pathLst>
                      <a:path w="127" h="75">
                        <a:moveTo>
                          <a:pt x="0" y="0"/>
                        </a:moveTo>
                        <a:cubicBezTo>
                          <a:pt x="0" y="36"/>
                          <a:pt x="0" y="36"/>
                          <a:pt x="0" y="36"/>
                        </a:cubicBezTo>
                        <a:cubicBezTo>
                          <a:pt x="57" y="75"/>
                          <a:pt x="126" y="42"/>
                          <a:pt x="127" y="36"/>
                        </a:cubicBezTo>
                        <a:cubicBezTo>
                          <a:pt x="127" y="36"/>
                          <a:pt x="127" y="36"/>
                          <a:pt x="127" y="0"/>
                        </a:cubicBezTo>
                        <a:cubicBezTo>
                          <a:pt x="126" y="6"/>
                          <a:pt x="57" y="3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79" name="Freeform 32">
                    <a:extLst>
                      <a:ext uri="{FF2B5EF4-FFF2-40B4-BE49-F238E27FC236}">
                        <a16:creationId xmlns:a16="http://schemas.microsoft.com/office/drawing/2014/main" id="{F498FCF0-C958-4692-9389-BC49F925D633}"/>
                      </a:ext>
                    </a:extLst>
                  </p:cNvPr>
                  <p:cNvSpPr>
                    <a:spLocks/>
                  </p:cNvSpPr>
                  <p:nvPr/>
                </p:nvSpPr>
                <p:spPr bwMode="auto">
                  <a:xfrm>
                    <a:off x="3988209" y="4110137"/>
                    <a:ext cx="242268" cy="144878"/>
                  </a:xfrm>
                  <a:custGeom>
                    <a:avLst/>
                    <a:gdLst>
                      <a:gd name="T0" fmla="*/ 0 w 127"/>
                      <a:gd name="T1" fmla="*/ 0 h 76"/>
                      <a:gd name="T2" fmla="*/ 0 w 127"/>
                      <a:gd name="T3" fmla="*/ 36 h 76"/>
                      <a:gd name="T4" fmla="*/ 127 w 127"/>
                      <a:gd name="T5" fmla="*/ 36 h 76"/>
                      <a:gd name="T6" fmla="*/ 127 w 127"/>
                      <a:gd name="T7" fmla="*/ 0 h 76"/>
                      <a:gd name="T8" fmla="*/ 0 w 127"/>
                      <a:gd name="T9" fmla="*/ 0 h 76"/>
                    </a:gdLst>
                    <a:ahLst/>
                    <a:cxnLst>
                      <a:cxn ang="0">
                        <a:pos x="T0" y="T1"/>
                      </a:cxn>
                      <a:cxn ang="0">
                        <a:pos x="T2" y="T3"/>
                      </a:cxn>
                      <a:cxn ang="0">
                        <a:pos x="T4" y="T5"/>
                      </a:cxn>
                      <a:cxn ang="0">
                        <a:pos x="T6" y="T7"/>
                      </a:cxn>
                      <a:cxn ang="0">
                        <a:pos x="T8" y="T9"/>
                      </a:cxn>
                    </a:cxnLst>
                    <a:rect l="0" t="0" r="r" b="b"/>
                    <a:pathLst>
                      <a:path w="127" h="76">
                        <a:moveTo>
                          <a:pt x="0" y="0"/>
                        </a:moveTo>
                        <a:cubicBezTo>
                          <a:pt x="0" y="36"/>
                          <a:pt x="0" y="36"/>
                          <a:pt x="0" y="36"/>
                        </a:cubicBezTo>
                        <a:cubicBezTo>
                          <a:pt x="57" y="76"/>
                          <a:pt x="126" y="42"/>
                          <a:pt x="127" y="36"/>
                        </a:cubicBezTo>
                        <a:cubicBezTo>
                          <a:pt x="127" y="36"/>
                          <a:pt x="127" y="36"/>
                          <a:pt x="127" y="0"/>
                        </a:cubicBezTo>
                        <a:cubicBezTo>
                          <a:pt x="126" y="5"/>
                          <a:pt x="57" y="4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80" name="Freeform 33">
                    <a:extLst>
                      <a:ext uri="{FF2B5EF4-FFF2-40B4-BE49-F238E27FC236}">
                        <a16:creationId xmlns:a16="http://schemas.microsoft.com/office/drawing/2014/main" id="{77988111-0267-46EC-9538-4CE022EFC475}"/>
                      </a:ext>
                    </a:extLst>
                  </p:cNvPr>
                  <p:cNvSpPr>
                    <a:spLocks/>
                  </p:cNvSpPr>
                  <p:nvPr/>
                </p:nvSpPr>
                <p:spPr bwMode="auto">
                  <a:xfrm>
                    <a:off x="3988209" y="4033674"/>
                    <a:ext cx="242268" cy="143268"/>
                  </a:xfrm>
                  <a:custGeom>
                    <a:avLst/>
                    <a:gdLst>
                      <a:gd name="T0" fmla="*/ 0 w 127"/>
                      <a:gd name="T1" fmla="*/ 0 h 75"/>
                      <a:gd name="T2" fmla="*/ 0 w 127"/>
                      <a:gd name="T3" fmla="*/ 36 h 75"/>
                      <a:gd name="T4" fmla="*/ 127 w 127"/>
                      <a:gd name="T5" fmla="*/ 36 h 75"/>
                      <a:gd name="T6" fmla="*/ 127 w 127"/>
                      <a:gd name="T7" fmla="*/ 0 h 75"/>
                      <a:gd name="T8" fmla="*/ 0 w 127"/>
                      <a:gd name="T9" fmla="*/ 0 h 75"/>
                    </a:gdLst>
                    <a:ahLst/>
                    <a:cxnLst>
                      <a:cxn ang="0">
                        <a:pos x="T0" y="T1"/>
                      </a:cxn>
                      <a:cxn ang="0">
                        <a:pos x="T2" y="T3"/>
                      </a:cxn>
                      <a:cxn ang="0">
                        <a:pos x="T4" y="T5"/>
                      </a:cxn>
                      <a:cxn ang="0">
                        <a:pos x="T6" y="T7"/>
                      </a:cxn>
                      <a:cxn ang="0">
                        <a:pos x="T8" y="T9"/>
                      </a:cxn>
                    </a:cxnLst>
                    <a:rect l="0" t="0" r="r" b="b"/>
                    <a:pathLst>
                      <a:path w="127" h="75">
                        <a:moveTo>
                          <a:pt x="0" y="0"/>
                        </a:moveTo>
                        <a:cubicBezTo>
                          <a:pt x="0" y="36"/>
                          <a:pt x="0" y="36"/>
                          <a:pt x="0" y="36"/>
                        </a:cubicBezTo>
                        <a:cubicBezTo>
                          <a:pt x="57" y="75"/>
                          <a:pt x="126" y="41"/>
                          <a:pt x="127" y="36"/>
                        </a:cubicBezTo>
                        <a:cubicBezTo>
                          <a:pt x="127" y="36"/>
                          <a:pt x="127" y="36"/>
                          <a:pt x="127" y="0"/>
                        </a:cubicBezTo>
                        <a:cubicBezTo>
                          <a:pt x="126" y="5"/>
                          <a:pt x="57" y="3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sp>
            <p:nvSpPr>
              <p:cNvPr id="669" name="Freeform: Shape 668">
                <a:extLst>
                  <a:ext uri="{FF2B5EF4-FFF2-40B4-BE49-F238E27FC236}">
                    <a16:creationId xmlns:a16="http://schemas.microsoft.com/office/drawing/2014/main" id="{C6F024EB-DD69-423D-BEB5-7E4E725A61E0}"/>
                  </a:ext>
                </a:extLst>
              </p:cNvPr>
              <p:cNvSpPr/>
              <p:nvPr/>
            </p:nvSpPr>
            <p:spPr>
              <a:xfrm rot="5400000">
                <a:off x="2872325" y="3230898"/>
                <a:ext cx="95490" cy="265624"/>
              </a:xfrm>
              <a:custGeom>
                <a:avLst/>
                <a:gdLst>
                  <a:gd name="connsiteX0" fmla="*/ 0 w 95490"/>
                  <a:gd name="connsiteY0" fmla="*/ 265624 h 265624"/>
                  <a:gd name="connsiteX1" fmla="*/ 4334 w 95490"/>
                  <a:gd name="connsiteY1" fmla="*/ 31607 h 265624"/>
                  <a:gd name="connsiteX2" fmla="*/ 41585 w 95490"/>
                  <a:gd name="connsiteY2" fmla="*/ 0 h 265624"/>
                  <a:gd name="connsiteX3" fmla="*/ 52910 w 95490"/>
                  <a:gd name="connsiteY3" fmla="*/ 13726 h 265624"/>
                  <a:gd name="connsiteX4" fmla="*/ 95490 w 95490"/>
                  <a:gd name="connsiteY4" fmla="*/ 153123 h 265624"/>
                  <a:gd name="connsiteX5" fmla="*/ 93345 w 95490"/>
                  <a:gd name="connsiteY5" fmla="*/ 174400 h 265624"/>
                  <a:gd name="connsiteX6" fmla="*/ 0 w 95490"/>
                  <a:gd name="connsiteY6" fmla="*/ 265624 h 265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490" h="265624">
                    <a:moveTo>
                      <a:pt x="0" y="265624"/>
                    </a:moveTo>
                    <a:lnTo>
                      <a:pt x="4334" y="31607"/>
                    </a:lnTo>
                    <a:lnTo>
                      <a:pt x="41585" y="0"/>
                    </a:lnTo>
                    <a:lnTo>
                      <a:pt x="52910" y="13726"/>
                    </a:lnTo>
                    <a:cubicBezTo>
                      <a:pt x="79793" y="53518"/>
                      <a:pt x="95490" y="101487"/>
                      <a:pt x="95490" y="153123"/>
                    </a:cubicBezTo>
                    <a:lnTo>
                      <a:pt x="93345" y="174400"/>
                    </a:lnTo>
                    <a:lnTo>
                      <a:pt x="0" y="265624"/>
                    </a:lnTo>
                    <a:close/>
                  </a:path>
                </a:pathLst>
              </a:custGeom>
              <a:solidFill>
                <a:srgbClr val="00A3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grpSp>
          <p:nvGrpSpPr>
            <p:cNvPr id="681" name="Group 680">
              <a:extLst>
                <a:ext uri="{FF2B5EF4-FFF2-40B4-BE49-F238E27FC236}">
                  <a16:creationId xmlns:a16="http://schemas.microsoft.com/office/drawing/2014/main" id="{794CE48E-7EC2-42CA-BD76-A3502CB3722E}"/>
                </a:ext>
              </a:extLst>
            </p:cNvPr>
            <p:cNvGrpSpPr/>
            <p:nvPr/>
          </p:nvGrpSpPr>
          <p:grpSpPr>
            <a:xfrm>
              <a:off x="6850810" y="1728856"/>
              <a:ext cx="193269" cy="135231"/>
              <a:chOff x="6445250" y="1355725"/>
              <a:chExt cx="544513" cy="381000"/>
            </a:xfrm>
            <a:solidFill>
              <a:schemeClr val="bg2"/>
            </a:solidFill>
            <a:effectLst/>
          </p:grpSpPr>
          <p:sp>
            <p:nvSpPr>
              <p:cNvPr id="682" name="Freeform 281">
                <a:extLst>
                  <a:ext uri="{FF2B5EF4-FFF2-40B4-BE49-F238E27FC236}">
                    <a16:creationId xmlns:a16="http://schemas.microsoft.com/office/drawing/2014/main" id="{122D3B62-5A4F-47B0-B8CF-35F1B45B4AEB}"/>
                  </a:ext>
                </a:extLst>
              </p:cNvPr>
              <p:cNvSpPr>
                <a:spLocks noEditPoints="1"/>
              </p:cNvSpPr>
              <p:nvPr/>
            </p:nvSpPr>
            <p:spPr bwMode="auto">
              <a:xfrm>
                <a:off x="6594475" y="1355725"/>
                <a:ext cx="258763" cy="120650"/>
              </a:xfrm>
              <a:custGeom>
                <a:avLst/>
                <a:gdLst>
                  <a:gd name="T0" fmla="*/ 324 w 325"/>
                  <a:gd name="T1" fmla="*/ 100 h 154"/>
                  <a:gd name="T2" fmla="*/ 325 w 325"/>
                  <a:gd name="T3" fmla="*/ 77 h 154"/>
                  <a:gd name="T4" fmla="*/ 325 w 325"/>
                  <a:gd name="T5" fmla="*/ 65 h 154"/>
                  <a:gd name="T6" fmla="*/ 322 w 325"/>
                  <a:gd name="T7" fmla="*/ 45 h 154"/>
                  <a:gd name="T8" fmla="*/ 318 w 325"/>
                  <a:gd name="T9" fmla="*/ 38 h 154"/>
                  <a:gd name="T10" fmla="*/ 306 w 325"/>
                  <a:gd name="T11" fmla="*/ 26 h 154"/>
                  <a:gd name="T12" fmla="*/ 287 w 325"/>
                  <a:gd name="T13" fmla="*/ 16 h 154"/>
                  <a:gd name="T14" fmla="*/ 240 w 325"/>
                  <a:gd name="T15" fmla="*/ 6 h 154"/>
                  <a:gd name="T16" fmla="*/ 193 w 325"/>
                  <a:gd name="T17" fmla="*/ 0 h 154"/>
                  <a:gd name="T18" fmla="*/ 162 w 325"/>
                  <a:gd name="T19" fmla="*/ 0 h 154"/>
                  <a:gd name="T20" fmla="*/ 108 w 325"/>
                  <a:gd name="T21" fmla="*/ 3 h 154"/>
                  <a:gd name="T22" fmla="*/ 58 w 325"/>
                  <a:gd name="T23" fmla="*/ 10 h 154"/>
                  <a:gd name="T24" fmla="*/ 35 w 325"/>
                  <a:gd name="T25" fmla="*/ 16 h 154"/>
                  <a:gd name="T26" fmla="*/ 17 w 325"/>
                  <a:gd name="T27" fmla="*/ 26 h 154"/>
                  <a:gd name="T28" fmla="*/ 5 w 325"/>
                  <a:gd name="T29" fmla="*/ 38 h 154"/>
                  <a:gd name="T30" fmla="*/ 3 w 325"/>
                  <a:gd name="T31" fmla="*/ 46 h 154"/>
                  <a:gd name="T32" fmla="*/ 0 w 325"/>
                  <a:gd name="T33" fmla="*/ 77 h 154"/>
                  <a:gd name="T34" fmla="*/ 0 w 325"/>
                  <a:gd name="T35" fmla="*/ 89 h 154"/>
                  <a:gd name="T36" fmla="*/ 1 w 325"/>
                  <a:gd name="T37" fmla="*/ 100 h 154"/>
                  <a:gd name="T38" fmla="*/ 55 w 325"/>
                  <a:gd name="T39" fmla="*/ 105 h 154"/>
                  <a:gd name="T40" fmla="*/ 73 w 325"/>
                  <a:gd name="T41" fmla="*/ 108 h 154"/>
                  <a:gd name="T42" fmla="*/ 102 w 325"/>
                  <a:gd name="T43" fmla="*/ 116 h 154"/>
                  <a:gd name="T44" fmla="*/ 127 w 325"/>
                  <a:gd name="T45" fmla="*/ 127 h 154"/>
                  <a:gd name="T46" fmla="*/ 144 w 325"/>
                  <a:gd name="T47" fmla="*/ 140 h 154"/>
                  <a:gd name="T48" fmla="*/ 150 w 325"/>
                  <a:gd name="T49" fmla="*/ 148 h 154"/>
                  <a:gd name="T50" fmla="*/ 154 w 325"/>
                  <a:gd name="T51" fmla="*/ 154 h 154"/>
                  <a:gd name="T52" fmla="*/ 154 w 325"/>
                  <a:gd name="T53" fmla="*/ 154 h 154"/>
                  <a:gd name="T54" fmla="*/ 155 w 325"/>
                  <a:gd name="T55" fmla="*/ 154 h 154"/>
                  <a:gd name="T56" fmla="*/ 156 w 325"/>
                  <a:gd name="T57" fmla="*/ 150 h 154"/>
                  <a:gd name="T58" fmla="*/ 170 w 325"/>
                  <a:gd name="T59" fmla="*/ 135 h 154"/>
                  <a:gd name="T60" fmla="*/ 190 w 325"/>
                  <a:gd name="T61" fmla="*/ 123 h 154"/>
                  <a:gd name="T62" fmla="*/ 217 w 325"/>
                  <a:gd name="T63" fmla="*/ 112 h 154"/>
                  <a:gd name="T64" fmla="*/ 252 w 325"/>
                  <a:gd name="T65" fmla="*/ 105 h 154"/>
                  <a:gd name="T66" fmla="*/ 272 w 325"/>
                  <a:gd name="T67" fmla="*/ 103 h 154"/>
                  <a:gd name="T68" fmla="*/ 324 w 325"/>
                  <a:gd name="T69" fmla="*/ 100 h 154"/>
                  <a:gd name="T70" fmla="*/ 162 w 325"/>
                  <a:gd name="T71" fmla="*/ 34 h 154"/>
                  <a:gd name="T72" fmla="*/ 121 w 325"/>
                  <a:gd name="T73" fmla="*/ 35 h 154"/>
                  <a:gd name="T74" fmla="*/ 71 w 325"/>
                  <a:gd name="T75" fmla="*/ 42 h 154"/>
                  <a:gd name="T76" fmla="*/ 47 w 325"/>
                  <a:gd name="T77" fmla="*/ 49 h 154"/>
                  <a:gd name="T78" fmla="*/ 39 w 325"/>
                  <a:gd name="T79" fmla="*/ 51 h 154"/>
                  <a:gd name="T80" fmla="*/ 36 w 325"/>
                  <a:gd name="T81" fmla="*/ 46 h 154"/>
                  <a:gd name="T82" fmla="*/ 36 w 325"/>
                  <a:gd name="T83" fmla="*/ 43 h 154"/>
                  <a:gd name="T84" fmla="*/ 46 w 325"/>
                  <a:gd name="T85" fmla="*/ 35 h 154"/>
                  <a:gd name="T86" fmla="*/ 73 w 325"/>
                  <a:gd name="T87" fmla="*/ 26 h 154"/>
                  <a:gd name="T88" fmla="*/ 113 w 325"/>
                  <a:gd name="T89" fmla="*/ 20 h 154"/>
                  <a:gd name="T90" fmla="*/ 162 w 325"/>
                  <a:gd name="T91" fmla="*/ 18 h 154"/>
                  <a:gd name="T92" fmla="*/ 187 w 325"/>
                  <a:gd name="T93" fmla="*/ 19 h 154"/>
                  <a:gd name="T94" fmla="*/ 232 w 325"/>
                  <a:gd name="T95" fmla="*/ 23 h 154"/>
                  <a:gd name="T96" fmla="*/ 267 w 325"/>
                  <a:gd name="T97" fmla="*/ 30 h 154"/>
                  <a:gd name="T98" fmla="*/ 286 w 325"/>
                  <a:gd name="T99" fmla="*/ 41 h 154"/>
                  <a:gd name="T100" fmla="*/ 288 w 325"/>
                  <a:gd name="T101" fmla="*/ 46 h 154"/>
                  <a:gd name="T102" fmla="*/ 287 w 325"/>
                  <a:gd name="T103" fmla="*/ 49 h 154"/>
                  <a:gd name="T104" fmla="*/ 286 w 325"/>
                  <a:gd name="T105" fmla="*/ 51 h 154"/>
                  <a:gd name="T106" fmla="*/ 266 w 325"/>
                  <a:gd name="T107" fmla="*/ 45 h 154"/>
                  <a:gd name="T108" fmla="*/ 239 w 325"/>
                  <a:gd name="T109" fmla="*/ 39 h 154"/>
                  <a:gd name="T110" fmla="*/ 162 w 325"/>
                  <a:gd name="T111"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5" h="154">
                    <a:moveTo>
                      <a:pt x="324" y="100"/>
                    </a:moveTo>
                    <a:lnTo>
                      <a:pt x="324" y="100"/>
                    </a:lnTo>
                    <a:lnTo>
                      <a:pt x="325" y="89"/>
                    </a:lnTo>
                    <a:lnTo>
                      <a:pt x="325" y="77"/>
                    </a:lnTo>
                    <a:lnTo>
                      <a:pt x="325" y="77"/>
                    </a:lnTo>
                    <a:lnTo>
                      <a:pt x="325" y="65"/>
                    </a:lnTo>
                    <a:lnTo>
                      <a:pt x="324" y="54"/>
                    </a:lnTo>
                    <a:lnTo>
                      <a:pt x="322" y="45"/>
                    </a:lnTo>
                    <a:lnTo>
                      <a:pt x="318" y="38"/>
                    </a:lnTo>
                    <a:lnTo>
                      <a:pt x="318" y="38"/>
                    </a:lnTo>
                    <a:lnTo>
                      <a:pt x="313" y="31"/>
                    </a:lnTo>
                    <a:lnTo>
                      <a:pt x="306" y="26"/>
                    </a:lnTo>
                    <a:lnTo>
                      <a:pt x="297" y="20"/>
                    </a:lnTo>
                    <a:lnTo>
                      <a:pt x="287" y="16"/>
                    </a:lnTo>
                    <a:lnTo>
                      <a:pt x="264" y="10"/>
                    </a:lnTo>
                    <a:lnTo>
                      <a:pt x="240" y="6"/>
                    </a:lnTo>
                    <a:lnTo>
                      <a:pt x="216" y="3"/>
                    </a:lnTo>
                    <a:lnTo>
                      <a:pt x="193" y="0"/>
                    </a:lnTo>
                    <a:lnTo>
                      <a:pt x="162" y="0"/>
                    </a:lnTo>
                    <a:lnTo>
                      <a:pt x="162" y="0"/>
                    </a:lnTo>
                    <a:lnTo>
                      <a:pt x="131" y="0"/>
                    </a:lnTo>
                    <a:lnTo>
                      <a:pt x="108" y="3"/>
                    </a:lnTo>
                    <a:lnTo>
                      <a:pt x="82" y="6"/>
                    </a:lnTo>
                    <a:lnTo>
                      <a:pt x="58" y="10"/>
                    </a:lnTo>
                    <a:lnTo>
                      <a:pt x="47" y="14"/>
                    </a:lnTo>
                    <a:lnTo>
                      <a:pt x="35" y="16"/>
                    </a:lnTo>
                    <a:lnTo>
                      <a:pt x="26" y="22"/>
                    </a:lnTo>
                    <a:lnTo>
                      <a:pt x="17" y="26"/>
                    </a:lnTo>
                    <a:lnTo>
                      <a:pt x="11" y="33"/>
                    </a:lnTo>
                    <a:lnTo>
                      <a:pt x="5" y="38"/>
                    </a:lnTo>
                    <a:lnTo>
                      <a:pt x="5" y="38"/>
                    </a:lnTo>
                    <a:lnTo>
                      <a:pt x="3" y="46"/>
                    </a:lnTo>
                    <a:lnTo>
                      <a:pt x="0" y="54"/>
                    </a:lnTo>
                    <a:lnTo>
                      <a:pt x="0" y="77"/>
                    </a:lnTo>
                    <a:lnTo>
                      <a:pt x="0" y="77"/>
                    </a:lnTo>
                    <a:lnTo>
                      <a:pt x="0" y="89"/>
                    </a:lnTo>
                    <a:lnTo>
                      <a:pt x="1" y="100"/>
                    </a:lnTo>
                    <a:lnTo>
                      <a:pt x="1" y="100"/>
                    </a:lnTo>
                    <a:lnTo>
                      <a:pt x="27" y="103"/>
                    </a:lnTo>
                    <a:lnTo>
                      <a:pt x="55" y="105"/>
                    </a:lnTo>
                    <a:lnTo>
                      <a:pt x="55" y="105"/>
                    </a:lnTo>
                    <a:lnTo>
                      <a:pt x="73" y="108"/>
                    </a:lnTo>
                    <a:lnTo>
                      <a:pt x="89" y="112"/>
                    </a:lnTo>
                    <a:lnTo>
                      <a:pt x="102" y="116"/>
                    </a:lnTo>
                    <a:lnTo>
                      <a:pt x="116" y="122"/>
                    </a:lnTo>
                    <a:lnTo>
                      <a:pt x="127" y="127"/>
                    </a:lnTo>
                    <a:lnTo>
                      <a:pt x="136" y="134"/>
                    </a:lnTo>
                    <a:lnTo>
                      <a:pt x="144" y="140"/>
                    </a:lnTo>
                    <a:lnTo>
                      <a:pt x="150" y="148"/>
                    </a:lnTo>
                    <a:lnTo>
                      <a:pt x="150" y="148"/>
                    </a:lnTo>
                    <a:lnTo>
                      <a:pt x="154" y="154"/>
                    </a:lnTo>
                    <a:lnTo>
                      <a:pt x="154" y="154"/>
                    </a:lnTo>
                    <a:lnTo>
                      <a:pt x="154" y="154"/>
                    </a:lnTo>
                    <a:lnTo>
                      <a:pt x="154" y="154"/>
                    </a:lnTo>
                    <a:lnTo>
                      <a:pt x="155" y="154"/>
                    </a:lnTo>
                    <a:lnTo>
                      <a:pt x="155" y="154"/>
                    </a:lnTo>
                    <a:lnTo>
                      <a:pt x="156" y="150"/>
                    </a:lnTo>
                    <a:lnTo>
                      <a:pt x="156" y="150"/>
                    </a:lnTo>
                    <a:lnTo>
                      <a:pt x="163" y="142"/>
                    </a:lnTo>
                    <a:lnTo>
                      <a:pt x="170" y="135"/>
                    </a:lnTo>
                    <a:lnTo>
                      <a:pt x="179" y="128"/>
                    </a:lnTo>
                    <a:lnTo>
                      <a:pt x="190" y="123"/>
                    </a:lnTo>
                    <a:lnTo>
                      <a:pt x="204" y="117"/>
                    </a:lnTo>
                    <a:lnTo>
                      <a:pt x="217" y="112"/>
                    </a:lnTo>
                    <a:lnTo>
                      <a:pt x="233" y="109"/>
                    </a:lnTo>
                    <a:lnTo>
                      <a:pt x="252" y="105"/>
                    </a:lnTo>
                    <a:lnTo>
                      <a:pt x="252" y="105"/>
                    </a:lnTo>
                    <a:lnTo>
                      <a:pt x="272" y="103"/>
                    </a:lnTo>
                    <a:lnTo>
                      <a:pt x="291" y="101"/>
                    </a:lnTo>
                    <a:lnTo>
                      <a:pt x="324" y="100"/>
                    </a:lnTo>
                    <a:lnTo>
                      <a:pt x="324" y="100"/>
                    </a:lnTo>
                    <a:close/>
                    <a:moveTo>
                      <a:pt x="162" y="34"/>
                    </a:moveTo>
                    <a:lnTo>
                      <a:pt x="162" y="34"/>
                    </a:lnTo>
                    <a:lnTo>
                      <a:pt x="121" y="35"/>
                    </a:lnTo>
                    <a:lnTo>
                      <a:pt x="86" y="39"/>
                    </a:lnTo>
                    <a:lnTo>
                      <a:pt x="71" y="42"/>
                    </a:lnTo>
                    <a:lnTo>
                      <a:pt x="58" y="45"/>
                    </a:lnTo>
                    <a:lnTo>
                      <a:pt x="47" y="49"/>
                    </a:lnTo>
                    <a:lnTo>
                      <a:pt x="39" y="51"/>
                    </a:lnTo>
                    <a:lnTo>
                      <a:pt x="39" y="51"/>
                    </a:lnTo>
                    <a:lnTo>
                      <a:pt x="36" y="49"/>
                    </a:lnTo>
                    <a:lnTo>
                      <a:pt x="36" y="46"/>
                    </a:lnTo>
                    <a:lnTo>
                      <a:pt x="36" y="46"/>
                    </a:lnTo>
                    <a:lnTo>
                      <a:pt x="36" y="43"/>
                    </a:lnTo>
                    <a:lnTo>
                      <a:pt x="39" y="41"/>
                    </a:lnTo>
                    <a:lnTo>
                      <a:pt x="46" y="35"/>
                    </a:lnTo>
                    <a:lnTo>
                      <a:pt x="58" y="30"/>
                    </a:lnTo>
                    <a:lnTo>
                      <a:pt x="73" y="26"/>
                    </a:lnTo>
                    <a:lnTo>
                      <a:pt x="92" y="23"/>
                    </a:lnTo>
                    <a:lnTo>
                      <a:pt x="113" y="20"/>
                    </a:lnTo>
                    <a:lnTo>
                      <a:pt x="136" y="19"/>
                    </a:lnTo>
                    <a:lnTo>
                      <a:pt x="162" y="18"/>
                    </a:lnTo>
                    <a:lnTo>
                      <a:pt x="162" y="18"/>
                    </a:lnTo>
                    <a:lnTo>
                      <a:pt x="187" y="19"/>
                    </a:lnTo>
                    <a:lnTo>
                      <a:pt x="212" y="20"/>
                    </a:lnTo>
                    <a:lnTo>
                      <a:pt x="232" y="23"/>
                    </a:lnTo>
                    <a:lnTo>
                      <a:pt x="251" y="26"/>
                    </a:lnTo>
                    <a:lnTo>
                      <a:pt x="267" y="30"/>
                    </a:lnTo>
                    <a:lnTo>
                      <a:pt x="278" y="35"/>
                    </a:lnTo>
                    <a:lnTo>
                      <a:pt x="286" y="41"/>
                    </a:lnTo>
                    <a:lnTo>
                      <a:pt x="287" y="43"/>
                    </a:lnTo>
                    <a:lnTo>
                      <a:pt x="288" y="46"/>
                    </a:lnTo>
                    <a:lnTo>
                      <a:pt x="288" y="46"/>
                    </a:lnTo>
                    <a:lnTo>
                      <a:pt x="287" y="49"/>
                    </a:lnTo>
                    <a:lnTo>
                      <a:pt x="286" y="51"/>
                    </a:lnTo>
                    <a:lnTo>
                      <a:pt x="286" y="51"/>
                    </a:lnTo>
                    <a:lnTo>
                      <a:pt x="276" y="47"/>
                    </a:lnTo>
                    <a:lnTo>
                      <a:pt x="266" y="45"/>
                    </a:lnTo>
                    <a:lnTo>
                      <a:pt x="253" y="42"/>
                    </a:lnTo>
                    <a:lnTo>
                      <a:pt x="239" y="39"/>
                    </a:lnTo>
                    <a:lnTo>
                      <a:pt x="202" y="35"/>
                    </a:lnTo>
                    <a:lnTo>
                      <a:pt x="162" y="34"/>
                    </a:lnTo>
                    <a:lnTo>
                      <a:pt x="162" y="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83" name="Freeform 282">
                <a:extLst>
                  <a:ext uri="{FF2B5EF4-FFF2-40B4-BE49-F238E27FC236}">
                    <a16:creationId xmlns:a16="http://schemas.microsoft.com/office/drawing/2014/main" id="{1D6114DA-5FEC-4660-A41D-DCE027A42D5A}"/>
                  </a:ext>
                </a:extLst>
              </p:cNvPr>
              <p:cNvSpPr>
                <a:spLocks/>
              </p:cNvSpPr>
              <p:nvPr/>
            </p:nvSpPr>
            <p:spPr bwMode="auto">
              <a:xfrm>
                <a:off x="6445250" y="1571625"/>
                <a:ext cx="258763" cy="79375"/>
              </a:xfrm>
              <a:custGeom>
                <a:avLst/>
                <a:gdLst>
                  <a:gd name="T0" fmla="*/ 322 w 325"/>
                  <a:gd name="T1" fmla="*/ 0 h 100"/>
                  <a:gd name="T2" fmla="*/ 322 w 325"/>
                  <a:gd name="T3" fmla="*/ 0 h 100"/>
                  <a:gd name="T4" fmla="*/ 322 w 325"/>
                  <a:gd name="T5" fmla="*/ 0 h 100"/>
                  <a:gd name="T6" fmla="*/ 322 w 325"/>
                  <a:gd name="T7" fmla="*/ 0 h 100"/>
                  <a:gd name="T8" fmla="*/ 308 w 325"/>
                  <a:gd name="T9" fmla="*/ 8 h 100"/>
                  <a:gd name="T10" fmla="*/ 290 w 325"/>
                  <a:gd name="T11" fmla="*/ 15 h 100"/>
                  <a:gd name="T12" fmla="*/ 268 w 325"/>
                  <a:gd name="T13" fmla="*/ 21 h 100"/>
                  <a:gd name="T14" fmla="*/ 243 w 325"/>
                  <a:gd name="T15" fmla="*/ 25 h 100"/>
                  <a:gd name="T16" fmla="*/ 243 w 325"/>
                  <a:gd name="T17" fmla="*/ 25 h 100"/>
                  <a:gd name="T18" fmla="*/ 216 w 325"/>
                  <a:gd name="T19" fmla="*/ 30 h 100"/>
                  <a:gd name="T20" fmla="*/ 190 w 325"/>
                  <a:gd name="T21" fmla="*/ 31 h 100"/>
                  <a:gd name="T22" fmla="*/ 190 w 325"/>
                  <a:gd name="T23" fmla="*/ 31 h 100"/>
                  <a:gd name="T24" fmla="*/ 162 w 325"/>
                  <a:gd name="T25" fmla="*/ 31 h 100"/>
                  <a:gd name="T26" fmla="*/ 162 w 325"/>
                  <a:gd name="T27" fmla="*/ 31 h 100"/>
                  <a:gd name="T28" fmla="*/ 130 w 325"/>
                  <a:gd name="T29" fmla="*/ 31 h 100"/>
                  <a:gd name="T30" fmla="*/ 105 w 325"/>
                  <a:gd name="T31" fmla="*/ 28 h 100"/>
                  <a:gd name="T32" fmla="*/ 80 w 325"/>
                  <a:gd name="T33" fmla="*/ 25 h 100"/>
                  <a:gd name="T34" fmla="*/ 80 w 325"/>
                  <a:gd name="T35" fmla="*/ 25 h 100"/>
                  <a:gd name="T36" fmla="*/ 55 w 325"/>
                  <a:gd name="T37" fmla="*/ 21 h 100"/>
                  <a:gd name="T38" fmla="*/ 34 w 325"/>
                  <a:gd name="T39" fmla="*/ 15 h 100"/>
                  <a:gd name="T40" fmla="*/ 16 w 325"/>
                  <a:gd name="T41" fmla="*/ 8 h 100"/>
                  <a:gd name="T42" fmla="*/ 1 w 325"/>
                  <a:gd name="T43" fmla="*/ 0 h 100"/>
                  <a:gd name="T44" fmla="*/ 1 w 325"/>
                  <a:gd name="T45" fmla="*/ 0 h 100"/>
                  <a:gd name="T46" fmla="*/ 0 w 325"/>
                  <a:gd name="T47" fmla="*/ 5 h 100"/>
                  <a:gd name="T48" fmla="*/ 0 w 325"/>
                  <a:gd name="T49" fmla="*/ 13 h 100"/>
                  <a:gd name="T50" fmla="*/ 0 w 325"/>
                  <a:gd name="T51" fmla="*/ 28 h 100"/>
                  <a:gd name="T52" fmla="*/ 0 w 325"/>
                  <a:gd name="T53" fmla="*/ 28 h 100"/>
                  <a:gd name="T54" fmla="*/ 0 w 325"/>
                  <a:gd name="T55" fmla="*/ 47 h 100"/>
                  <a:gd name="T56" fmla="*/ 0 w 325"/>
                  <a:gd name="T57" fmla="*/ 54 h 100"/>
                  <a:gd name="T58" fmla="*/ 3 w 325"/>
                  <a:gd name="T59" fmla="*/ 61 h 100"/>
                  <a:gd name="T60" fmla="*/ 19 w 325"/>
                  <a:gd name="T61" fmla="*/ 73 h 100"/>
                  <a:gd name="T62" fmla="*/ 19 w 325"/>
                  <a:gd name="T63" fmla="*/ 73 h 100"/>
                  <a:gd name="T64" fmla="*/ 28 w 325"/>
                  <a:gd name="T65" fmla="*/ 79 h 100"/>
                  <a:gd name="T66" fmla="*/ 42 w 325"/>
                  <a:gd name="T67" fmla="*/ 85 h 100"/>
                  <a:gd name="T68" fmla="*/ 57 w 325"/>
                  <a:gd name="T69" fmla="*/ 89 h 100"/>
                  <a:gd name="T70" fmla="*/ 73 w 325"/>
                  <a:gd name="T71" fmla="*/ 93 h 100"/>
                  <a:gd name="T72" fmla="*/ 93 w 325"/>
                  <a:gd name="T73" fmla="*/ 96 h 100"/>
                  <a:gd name="T74" fmla="*/ 115 w 325"/>
                  <a:gd name="T75" fmla="*/ 98 h 100"/>
                  <a:gd name="T76" fmla="*/ 138 w 325"/>
                  <a:gd name="T77" fmla="*/ 100 h 100"/>
                  <a:gd name="T78" fmla="*/ 162 w 325"/>
                  <a:gd name="T79" fmla="*/ 100 h 100"/>
                  <a:gd name="T80" fmla="*/ 162 w 325"/>
                  <a:gd name="T81" fmla="*/ 100 h 100"/>
                  <a:gd name="T82" fmla="*/ 206 w 325"/>
                  <a:gd name="T83" fmla="*/ 98 h 100"/>
                  <a:gd name="T84" fmla="*/ 225 w 325"/>
                  <a:gd name="T85" fmla="*/ 97 h 100"/>
                  <a:gd name="T86" fmla="*/ 244 w 325"/>
                  <a:gd name="T87" fmla="*/ 94 h 100"/>
                  <a:gd name="T88" fmla="*/ 260 w 325"/>
                  <a:gd name="T89" fmla="*/ 90 h 100"/>
                  <a:gd name="T90" fmla="*/ 275 w 325"/>
                  <a:gd name="T91" fmla="*/ 88 h 100"/>
                  <a:gd name="T92" fmla="*/ 289 w 325"/>
                  <a:gd name="T93" fmla="*/ 82 h 100"/>
                  <a:gd name="T94" fmla="*/ 298 w 325"/>
                  <a:gd name="T95" fmla="*/ 77 h 100"/>
                  <a:gd name="T96" fmla="*/ 298 w 325"/>
                  <a:gd name="T97" fmla="*/ 77 h 100"/>
                  <a:gd name="T98" fmla="*/ 305 w 325"/>
                  <a:gd name="T99" fmla="*/ 73 h 100"/>
                  <a:gd name="T100" fmla="*/ 322 w 325"/>
                  <a:gd name="T101" fmla="*/ 61 h 100"/>
                  <a:gd name="T102" fmla="*/ 322 w 325"/>
                  <a:gd name="T103" fmla="*/ 61 h 100"/>
                  <a:gd name="T104" fmla="*/ 324 w 325"/>
                  <a:gd name="T105" fmla="*/ 54 h 100"/>
                  <a:gd name="T106" fmla="*/ 324 w 325"/>
                  <a:gd name="T107" fmla="*/ 47 h 100"/>
                  <a:gd name="T108" fmla="*/ 325 w 325"/>
                  <a:gd name="T109" fmla="*/ 28 h 100"/>
                  <a:gd name="T110" fmla="*/ 325 w 325"/>
                  <a:gd name="T111" fmla="*/ 28 h 100"/>
                  <a:gd name="T112" fmla="*/ 325 w 325"/>
                  <a:gd name="T113" fmla="*/ 13 h 100"/>
                  <a:gd name="T114" fmla="*/ 324 w 325"/>
                  <a:gd name="T115" fmla="*/ 5 h 100"/>
                  <a:gd name="T116" fmla="*/ 322 w 325"/>
                  <a:gd name="T117" fmla="*/ 0 h 100"/>
                  <a:gd name="T118" fmla="*/ 322 w 325"/>
                  <a:gd name="T119" fmla="*/ 0 h 100"/>
                  <a:gd name="T120" fmla="*/ 322 w 325"/>
                  <a:gd name="T121" fmla="*/ 0 h 100"/>
                  <a:gd name="T122" fmla="*/ 322 w 325"/>
                  <a:gd name="T12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5" h="100">
                    <a:moveTo>
                      <a:pt x="322" y="0"/>
                    </a:moveTo>
                    <a:lnTo>
                      <a:pt x="322" y="0"/>
                    </a:lnTo>
                    <a:lnTo>
                      <a:pt x="322" y="0"/>
                    </a:lnTo>
                    <a:lnTo>
                      <a:pt x="322" y="0"/>
                    </a:lnTo>
                    <a:lnTo>
                      <a:pt x="308" y="8"/>
                    </a:lnTo>
                    <a:lnTo>
                      <a:pt x="290" y="15"/>
                    </a:lnTo>
                    <a:lnTo>
                      <a:pt x="268" y="21"/>
                    </a:lnTo>
                    <a:lnTo>
                      <a:pt x="243" y="25"/>
                    </a:lnTo>
                    <a:lnTo>
                      <a:pt x="243" y="25"/>
                    </a:lnTo>
                    <a:lnTo>
                      <a:pt x="216" y="30"/>
                    </a:lnTo>
                    <a:lnTo>
                      <a:pt x="190" y="31"/>
                    </a:lnTo>
                    <a:lnTo>
                      <a:pt x="190" y="31"/>
                    </a:lnTo>
                    <a:lnTo>
                      <a:pt x="162" y="31"/>
                    </a:lnTo>
                    <a:lnTo>
                      <a:pt x="162" y="31"/>
                    </a:lnTo>
                    <a:lnTo>
                      <a:pt x="130" y="31"/>
                    </a:lnTo>
                    <a:lnTo>
                      <a:pt x="105" y="28"/>
                    </a:lnTo>
                    <a:lnTo>
                      <a:pt x="80" y="25"/>
                    </a:lnTo>
                    <a:lnTo>
                      <a:pt x="80" y="25"/>
                    </a:lnTo>
                    <a:lnTo>
                      <a:pt x="55" y="21"/>
                    </a:lnTo>
                    <a:lnTo>
                      <a:pt x="34" y="15"/>
                    </a:lnTo>
                    <a:lnTo>
                      <a:pt x="16" y="8"/>
                    </a:lnTo>
                    <a:lnTo>
                      <a:pt x="1" y="0"/>
                    </a:lnTo>
                    <a:lnTo>
                      <a:pt x="1" y="0"/>
                    </a:lnTo>
                    <a:lnTo>
                      <a:pt x="0" y="5"/>
                    </a:lnTo>
                    <a:lnTo>
                      <a:pt x="0" y="13"/>
                    </a:lnTo>
                    <a:lnTo>
                      <a:pt x="0" y="28"/>
                    </a:lnTo>
                    <a:lnTo>
                      <a:pt x="0" y="28"/>
                    </a:lnTo>
                    <a:lnTo>
                      <a:pt x="0" y="47"/>
                    </a:lnTo>
                    <a:lnTo>
                      <a:pt x="0" y="54"/>
                    </a:lnTo>
                    <a:lnTo>
                      <a:pt x="3" y="61"/>
                    </a:lnTo>
                    <a:lnTo>
                      <a:pt x="19" y="73"/>
                    </a:lnTo>
                    <a:lnTo>
                      <a:pt x="19" y="73"/>
                    </a:lnTo>
                    <a:lnTo>
                      <a:pt x="28" y="79"/>
                    </a:lnTo>
                    <a:lnTo>
                      <a:pt x="42" y="85"/>
                    </a:lnTo>
                    <a:lnTo>
                      <a:pt x="57" y="89"/>
                    </a:lnTo>
                    <a:lnTo>
                      <a:pt x="73" y="93"/>
                    </a:lnTo>
                    <a:lnTo>
                      <a:pt x="93" y="96"/>
                    </a:lnTo>
                    <a:lnTo>
                      <a:pt x="115" y="98"/>
                    </a:lnTo>
                    <a:lnTo>
                      <a:pt x="138" y="100"/>
                    </a:lnTo>
                    <a:lnTo>
                      <a:pt x="162" y="100"/>
                    </a:lnTo>
                    <a:lnTo>
                      <a:pt x="162" y="100"/>
                    </a:lnTo>
                    <a:lnTo>
                      <a:pt x="206" y="98"/>
                    </a:lnTo>
                    <a:lnTo>
                      <a:pt x="225" y="97"/>
                    </a:lnTo>
                    <a:lnTo>
                      <a:pt x="244" y="94"/>
                    </a:lnTo>
                    <a:lnTo>
                      <a:pt x="260" y="90"/>
                    </a:lnTo>
                    <a:lnTo>
                      <a:pt x="275" y="88"/>
                    </a:lnTo>
                    <a:lnTo>
                      <a:pt x="289" y="82"/>
                    </a:lnTo>
                    <a:lnTo>
                      <a:pt x="298" y="77"/>
                    </a:lnTo>
                    <a:lnTo>
                      <a:pt x="298" y="77"/>
                    </a:lnTo>
                    <a:lnTo>
                      <a:pt x="305" y="73"/>
                    </a:lnTo>
                    <a:lnTo>
                      <a:pt x="322" y="61"/>
                    </a:lnTo>
                    <a:lnTo>
                      <a:pt x="322" y="61"/>
                    </a:lnTo>
                    <a:lnTo>
                      <a:pt x="324" y="54"/>
                    </a:lnTo>
                    <a:lnTo>
                      <a:pt x="324" y="47"/>
                    </a:lnTo>
                    <a:lnTo>
                      <a:pt x="325" y="28"/>
                    </a:lnTo>
                    <a:lnTo>
                      <a:pt x="325" y="28"/>
                    </a:lnTo>
                    <a:lnTo>
                      <a:pt x="325" y="13"/>
                    </a:lnTo>
                    <a:lnTo>
                      <a:pt x="324" y="5"/>
                    </a:lnTo>
                    <a:lnTo>
                      <a:pt x="322" y="0"/>
                    </a:lnTo>
                    <a:lnTo>
                      <a:pt x="322" y="0"/>
                    </a:lnTo>
                    <a:lnTo>
                      <a:pt x="322" y="0"/>
                    </a:lnTo>
                    <a:lnTo>
                      <a:pt x="32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84" name="Freeform 283">
                <a:extLst>
                  <a:ext uri="{FF2B5EF4-FFF2-40B4-BE49-F238E27FC236}">
                    <a16:creationId xmlns:a16="http://schemas.microsoft.com/office/drawing/2014/main" id="{01D70EAE-1F1D-4749-892D-EA5F4B8613C4}"/>
                  </a:ext>
                </a:extLst>
              </p:cNvPr>
              <p:cNvSpPr>
                <a:spLocks/>
              </p:cNvSpPr>
              <p:nvPr/>
            </p:nvSpPr>
            <p:spPr bwMode="auto">
              <a:xfrm>
                <a:off x="6445250" y="1647825"/>
                <a:ext cx="258763" cy="88900"/>
              </a:xfrm>
              <a:custGeom>
                <a:avLst/>
                <a:gdLst>
                  <a:gd name="T0" fmla="*/ 321 w 325"/>
                  <a:gd name="T1" fmla="*/ 0 h 112"/>
                  <a:gd name="T2" fmla="*/ 321 w 325"/>
                  <a:gd name="T3" fmla="*/ 0 h 112"/>
                  <a:gd name="T4" fmla="*/ 313 w 325"/>
                  <a:gd name="T5" fmla="*/ 4 h 112"/>
                  <a:gd name="T6" fmla="*/ 305 w 325"/>
                  <a:gd name="T7" fmla="*/ 10 h 112"/>
                  <a:gd name="T8" fmla="*/ 287 w 325"/>
                  <a:gd name="T9" fmla="*/ 16 h 112"/>
                  <a:gd name="T10" fmla="*/ 267 w 325"/>
                  <a:gd name="T11" fmla="*/ 22 h 112"/>
                  <a:gd name="T12" fmla="*/ 246 w 325"/>
                  <a:gd name="T13" fmla="*/ 26 h 112"/>
                  <a:gd name="T14" fmla="*/ 223 w 325"/>
                  <a:gd name="T15" fmla="*/ 29 h 112"/>
                  <a:gd name="T16" fmla="*/ 201 w 325"/>
                  <a:gd name="T17" fmla="*/ 31 h 112"/>
                  <a:gd name="T18" fmla="*/ 162 w 325"/>
                  <a:gd name="T19" fmla="*/ 33 h 112"/>
                  <a:gd name="T20" fmla="*/ 162 w 325"/>
                  <a:gd name="T21" fmla="*/ 33 h 112"/>
                  <a:gd name="T22" fmla="*/ 123 w 325"/>
                  <a:gd name="T23" fmla="*/ 31 h 112"/>
                  <a:gd name="T24" fmla="*/ 101 w 325"/>
                  <a:gd name="T25" fmla="*/ 29 h 112"/>
                  <a:gd name="T26" fmla="*/ 78 w 325"/>
                  <a:gd name="T27" fmla="*/ 26 h 112"/>
                  <a:gd name="T28" fmla="*/ 57 w 325"/>
                  <a:gd name="T29" fmla="*/ 22 h 112"/>
                  <a:gd name="T30" fmla="*/ 37 w 325"/>
                  <a:gd name="T31" fmla="*/ 16 h 112"/>
                  <a:gd name="T32" fmla="*/ 19 w 325"/>
                  <a:gd name="T33" fmla="*/ 10 h 112"/>
                  <a:gd name="T34" fmla="*/ 11 w 325"/>
                  <a:gd name="T35" fmla="*/ 4 h 112"/>
                  <a:gd name="T36" fmla="*/ 3 w 325"/>
                  <a:gd name="T37" fmla="*/ 0 h 112"/>
                  <a:gd name="T38" fmla="*/ 3 w 325"/>
                  <a:gd name="T39" fmla="*/ 0 h 112"/>
                  <a:gd name="T40" fmla="*/ 1 w 325"/>
                  <a:gd name="T41" fmla="*/ 6 h 112"/>
                  <a:gd name="T42" fmla="*/ 1 w 325"/>
                  <a:gd name="T43" fmla="*/ 6 h 112"/>
                  <a:gd name="T44" fmla="*/ 0 w 325"/>
                  <a:gd name="T45" fmla="*/ 12 h 112"/>
                  <a:gd name="T46" fmla="*/ 0 w 325"/>
                  <a:gd name="T47" fmla="*/ 19 h 112"/>
                  <a:gd name="T48" fmla="*/ 0 w 325"/>
                  <a:gd name="T49" fmla="*/ 35 h 112"/>
                  <a:gd name="T50" fmla="*/ 0 w 325"/>
                  <a:gd name="T51" fmla="*/ 35 h 112"/>
                  <a:gd name="T52" fmla="*/ 0 w 325"/>
                  <a:gd name="T53" fmla="*/ 58 h 112"/>
                  <a:gd name="T54" fmla="*/ 3 w 325"/>
                  <a:gd name="T55" fmla="*/ 68 h 112"/>
                  <a:gd name="T56" fmla="*/ 6 w 325"/>
                  <a:gd name="T57" fmla="*/ 74 h 112"/>
                  <a:gd name="T58" fmla="*/ 6 w 325"/>
                  <a:gd name="T59" fmla="*/ 74 h 112"/>
                  <a:gd name="T60" fmla="*/ 11 w 325"/>
                  <a:gd name="T61" fmla="*/ 80 h 112"/>
                  <a:gd name="T62" fmla="*/ 18 w 325"/>
                  <a:gd name="T63" fmla="*/ 87 h 112"/>
                  <a:gd name="T64" fmla="*/ 27 w 325"/>
                  <a:gd name="T65" fmla="*/ 91 h 112"/>
                  <a:gd name="T66" fmla="*/ 37 w 325"/>
                  <a:gd name="T67" fmla="*/ 95 h 112"/>
                  <a:gd name="T68" fmla="*/ 59 w 325"/>
                  <a:gd name="T69" fmla="*/ 101 h 112"/>
                  <a:gd name="T70" fmla="*/ 84 w 325"/>
                  <a:gd name="T71" fmla="*/ 107 h 112"/>
                  <a:gd name="T72" fmla="*/ 108 w 325"/>
                  <a:gd name="T73" fmla="*/ 109 h 112"/>
                  <a:gd name="T74" fmla="*/ 131 w 325"/>
                  <a:gd name="T75" fmla="*/ 111 h 112"/>
                  <a:gd name="T76" fmla="*/ 162 w 325"/>
                  <a:gd name="T77" fmla="*/ 112 h 112"/>
                  <a:gd name="T78" fmla="*/ 162 w 325"/>
                  <a:gd name="T79" fmla="*/ 112 h 112"/>
                  <a:gd name="T80" fmla="*/ 193 w 325"/>
                  <a:gd name="T81" fmla="*/ 111 h 112"/>
                  <a:gd name="T82" fmla="*/ 216 w 325"/>
                  <a:gd name="T83" fmla="*/ 109 h 112"/>
                  <a:gd name="T84" fmla="*/ 240 w 325"/>
                  <a:gd name="T85" fmla="*/ 107 h 112"/>
                  <a:gd name="T86" fmla="*/ 264 w 325"/>
                  <a:gd name="T87" fmla="*/ 101 h 112"/>
                  <a:gd name="T88" fmla="*/ 286 w 325"/>
                  <a:gd name="T89" fmla="*/ 96 h 112"/>
                  <a:gd name="T90" fmla="*/ 297 w 325"/>
                  <a:gd name="T91" fmla="*/ 92 h 112"/>
                  <a:gd name="T92" fmla="*/ 305 w 325"/>
                  <a:gd name="T93" fmla="*/ 87 h 112"/>
                  <a:gd name="T94" fmla="*/ 312 w 325"/>
                  <a:gd name="T95" fmla="*/ 81 h 112"/>
                  <a:gd name="T96" fmla="*/ 317 w 325"/>
                  <a:gd name="T97" fmla="*/ 74 h 112"/>
                  <a:gd name="T98" fmla="*/ 317 w 325"/>
                  <a:gd name="T99" fmla="*/ 74 h 112"/>
                  <a:gd name="T100" fmla="*/ 321 w 325"/>
                  <a:gd name="T101" fmla="*/ 68 h 112"/>
                  <a:gd name="T102" fmla="*/ 324 w 325"/>
                  <a:gd name="T103" fmla="*/ 58 h 112"/>
                  <a:gd name="T104" fmla="*/ 324 w 325"/>
                  <a:gd name="T105" fmla="*/ 47 h 112"/>
                  <a:gd name="T106" fmla="*/ 325 w 325"/>
                  <a:gd name="T107" fmla="*/ 35 h 112"/>
                  <a:gd name="T108" fmla="*/ 325 w 325"/>
                  <a:gd name="T109" fmla="*/ 35 h 112"/>
                  <a:gd name="T110" fmla="*/ 325 w 325"/>
                  <a:gd name="T111" fmla="*/ 19 h 112"/>
                  <a:gd name="T112" fmla="*/ 324 w 325"/>
                  <a:gd name="T113" fmla="*/ 12 h 112"/>
                  <a:gd name="T114" fmla="*/ 322 w 325"/>
                  <a:gd name="T115" fmla="*/ 6 h 112"/>
                  <a:gd name="T116" fmla="*/ 322 w 325"/>
                  <a:gd name="T117" fmla="*/ 6 h 112"/>
                  <a:gd name="T118" fmla="*/ 321 w 325"/>
                  <a:gd name="T119" fmla="*/ 0 h 112"/>
                  <a:gd name="T120" fmla="*/ 321 w 325"/>
                  <a:gd name="T12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5" h="112">
                    <a:moveTo>
                      <a:pt x="321" y="0"/>
                    </a:moveTo>
                    <a:lnTo>
                      <a:pt x="321" y="0"/>
                    </a:lnTo>
                    <a:lnTo>
                      <a:pt x="313" y="4"/>
                    </a:lnTo>
                    <a:lnTo>
                      <a:pt x="305" y="10"/>
                    </a:lnTo>
                    <a:lnTo>
                      <a:pt x="287" y="16"/>
                    </a:lnTo>
                    <a:lnTo>
                      <a:pt x="267" y="22"/>
                    </a:lnTo>
                    <a:lnTo>
                      <a:pt x="246" y="26"/>
                    </a:lnTo>
                    <a:lnTo>
                      <a:pt x="223" y="29"/>
                    </a:lnTo>
                    <a:lnTo>
                      <a:pt x="201" y="31"/>
                    </a:lnTo>
                    <a:lnTo>
                      <a:pt x="162" y="33"/>
                    </a:lnTo>
                    <a:lnTo>
                      <a:pt x="162" y="33"/>
                    </a:lnTo>
                    <a:lnTo>
                      <a:pt x="123" y="31"/>
                    </a:lnTo>
                    <a:lnTo>
                      <a:pt x="101" y="29"/>
                    </a:lnTo>
                    <a:lnTo>
                      <a:pt x="78" y="26"/>
                    </a:lnTo>
                    <a:lnTo>
                      <a:pt x="57" y="22"/>
                    </a:lnTo>
                    <a:lnTo>
                      <a:pt x="37" y="16"/>
                    </a:lnTo>
                    <a:lnTo>
                      <a:pt x="19" y="10"/>
                    </a:lnTo>
                    <a:lnTo>
                      <a:pt x="11" y="4"/>
                    </a:lnTo>
                    <a:lnTo>
                      <a:pt x="3" y="0"/>
                    </a:lnTo>
                    <a:lnTo>
                      <a:pt x="3" y="0"/>
                    </a:lnTo>
                    <a:lnTo>
                      <a:pt x="1" y="6"/>
                    </a:lnTo>
                    <a:lnTo>
                      <a:pt x="1" y="6"/>
                    </a:lnTo>
                    <a:lnTo>
                      <a:pt x="0" y="12"/>
                    </a:lnTo>
                    <a:lnTo>
                      <a:pt x="0" y="19"/>
                    </a:lnTo>
                    <a:lnTo>
                      <a:pt x="0" y="35"/>
                    </a:lnTo>
                    <a:lnTo>
                      <a:pt x="0" y="35"/>
                    </a:lnTo>
                    <a:lnTo>
                      <a:pt x="0" y="58"/>
                    </a:lnTo>
                    <a:lnTo>
                      <a:pt x="3" y="68"/>
                    </a:lnTo>
                    <a:lnTo>
                      <a:pt x="6" y="74"/>
                    </a:lnTo>
                    <a:lnTo>
                      <a:pt x="6" y="74"/>
                    </a:lnTo>
                    <a:lnTo>
                      <a:pt x="11" y="80"/>
                    </a:lnTo>
                    <a:lnTo>
                      <a:pt x="18" y="87"/>
                    </a:lnTo>
                    <a:lnTo>
                      <a:pt x="27" y="91"/>
                    </a:lnTo>
                    <a:lnTo>
                      <a:pt x="37" y="95"/>
                    </a:lnTo>
                    <a:lnTo>
                      <a:pt x="59" y="101"/>
                    </a:lnTo>
                    <a:lnTo>
                      <a:pt x="84" y="107"/>
                    </a:lnTo>
                    <a:lnTo>
                      <a:pt x="108" y="109"/>
                    </a:lnTo>
                    <a:lnTo>
                      <a:pt x="131" y="111"/>
                    </a:lnTo>
                    <a:lnTo>
                      <a:pt x="162" y="112"/>
                    </a:lnTo>
                    <a:lnTo>
                      <a:pt x="162" y="112"/>
                    </a:lnTo>
                    <a:lnTo>
                      <a:pt x="193" y="111"/>
                    </a:lnTo>
                    <a:lnTo>
                      <a:pt x="216" y="109"/>
                    </a:lnTo>
                    <a:lnTo>
                      <a:pt x="240" y="107"/>
                    </a:lnTo>
                    <a:lnTo>
                      <a:pt x="264" y="101"/>
                    </a:lnTo>
                    <a:lnTo>
                      <a:pt x="286" y="96"/>
                    </a:lnTo>
                    <a:lnTo>
                      <a:pt x="297" y="92"/>
                    </a:lnTo>
                    <a:lnTo>
                      <a:pt x="305" y="87"/>
                    </a:lnTo>
                    <a:lnTo>
                      <a:pt x="312" y="81"/>
                    </a:lnTo>
                    <a:lnTo>
                      <a:pt x="317" y="74"/>
                    </a:lnTo>
                    <a:lnTo>
                      <a:pt x="317" y="74"/>
                    </a:lnTo>
                    <a:lnTo>
                      <a:pt x="321" y="68"/>
                    </a:lnTo>
                    <a:lnTo>
                      <a:pt x="324" y="58"/>
                    </a:lnTo>
                    <a:lnTo>
                      <a:pt x="324" y="47"/>
                    </a:lnTo>
                    <a:lnTo>
                      <a:pt x="325" y="35"/>
                    </a:lnTo>
                    <a:lnTo>
                      <a:pt x="325" y="35"/>
                    </a:lnTo>
                    <a:lnTo>
                      <a:pt x="325" y="19"/>
                    </a:lnTo>
                    <a:lnTo>
                      <a:pt x="324" y="12"/>
                    </a:lnTo>
                    <a:lnTo>
                      <a:pt x="322" y="6"/>
                    </a:lnTo>
                    <a:lnTo>
                      <a:pt x="322" y="6"/>
                    </a:lnTo>
                    <a:lnTo>
                      <a:pt x="321" y="0"/>
                    </a:lnTo>
                    <a:lnTo>
                      <a:pt x="32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85" name="Freeform 284">
                <a:extLst>
                  <a:ext uri="{FF2B5EF4-FFF2-40B4-BE49-F238E27FC236}">
                    <a16:creationId xmlns:a16="http://schemas.microsoft.com/office/drawing/2014/main" id="{E38E0935-E156-44FA-8712-8AD91A9E0933}"/>
                  </a:ext>
                </a:extLst>
              </p:cNvPr>
              <p:cNvSpPr>
                <a:spLocks noEditPoints="1"/>
              </p:cNvSpPr>
              <p:nvPr/>
            </p:nvSpPr>
            <p:spPr bwMode="auto">
              <a:xfrm>
                <a:off x="6445250" y="1454150"/>
                <a:ext cx="258763" cy="122238"/>
              </a:xfrm>
              <a:custGeom>
                <a:avLst/>
                <a:gdLst>
                  <a:gd name="T0" fmla="*/ 6 w 325"/>
                  <a:gd name="T1" fmla="*/ 116 h 153"/>
                  <a:gd name="T2" fmla="*/ 18 w 325"/>
                  <a:gd name="T3" fmla="*/ 128 h 153"/>
                  <a:gd name="T4" fmla="*/ 37 w 325"/>
                  <a:gd name="T5" fmla="*/ 137 h 153"/>
                  <a:gd name="T6" fmla="*/ 84 w 325"/>
                  <a:gd name="T7" fmla="*/ 148 h 153"/>
                  <a:gd name="T8" fmla="*/ 131 w 325"/>
                  <a:gd name="T9" fmla="*/ 152 h 153"/>
                  <a:gd name="T10" fmla="*/ 162 w 325"/>
                  <a:gd name="T11" fmla="*/ 153 h 153"/>
                  <a:gd name="T12" fmla="*/ 189 w 325"/>
                  <a:gd name="T13" fmla="*/ 153 h 153"/>
                  <a:gd name="T14" fmla="*/ 248 w 325"/>
                  <a:gd name="T15" fmla="*/ 147 h 153"/>
                  <a:gd name="T16" fmla="*/ 268 w 325"/>
                  <a:gd name="T17" fmla="*/ 142 h 153"/>
                  <a:gd name="T18" fmla="*/ 290 w 325"/>
                  <a:gd name="T19" fmla="*/ 136 h 153"/>
                  <a:gd name="T20" fmla="*/ 308 w 325"/>
                  <a:gd name="T21" fmla="*/ 126 h 153"/>
                  <a:gd name="T22" fmla="*/ 313 w 325"/>
                  <a:gd name="T23" fmla="*/ 121 h 153"/>
                  <a:gd name="T24" fmla="*/ 317 w 325"/>
                  <a:gd name="T25" fmla="*/ 117 h 153"/>
                  <a:gd name="T26" fmla="*/ 322 w 325"/>
                  <a:gd name="T27" fmla="*/ 109 h 153"/>
                  <a:gd name="T28" fmla="*/ 324 w 325"/>
                  <a:gd name="T29" fmla="*/ 102 h 153"/>
                  <a:gd name="T30" fmla="*/ 325 w 325"/>
                  <a:gd name="T31" fmla="*/ 76 h 153"/>
                  <a:gd name="T32" fmla="*/ 324 w 325"/>
                  <a:gd name="T33" fmla="*/ 60 h 153"/>
                  <a:gd name="T34" fmla="*/ 322 w 325"/>
                  <a:gd name="T35" fmla="*/ 47 h 153"/>
                  <a:gd name="T36" fmla="*/ 318 w 325"/>
                  <a:gd name="T37" fmla="*/ 37 h 153"/>
                  <a:gd name="T38" fmla="*/ 313 w 325"/>
                  <a:gd name="T39" fmla="*/ 31 h 153"/>
                  <a:gd name="T40" fmla="*/ 306 w 325"/>
                  <a:gd name="T41" fmla="*/ 25 h 153"/>
                  <a:gd name="T42" fmla="*/ 286 w 325"/>
                  <a:gd name="T43" fmla="*/ 16 h 153"/>
                  <a:gd name="T44" fmla="*/ 260 w 325"/>
                  <a:gd name="T45" fmla="*/ 9 h 153"/>
                  <a:gd name="T46" fmla="*/ 208 w 325"/>
                  <a:gd name="T47" fmla="*/ 2 h 153"/>
                  <a:gd name="T48" fmla="*/ 179 w 325"/>
                  <a:gd name="T49" fmla="*/ 0 h 153"/>
                  <a:gd name="T50" fmla="*/ 162 w 325"/>
                  <a:gd name="T51" fmla="*/ 0 h 153"/>
                  <a:gd name="T52" fmla="*/ 108 w 325"/>
                  <a:gd name="T53" fmla="*/ 2 h 153"/>
                  <a:gd name="T54" fmla="*/ 58 w 325"/>
                  <a:gd name="T55" fmla="*/ 10 h 153"/>
                  <a:gd name="T56" fmla="*/ 35 w 325"/>
                  <a:gd name="T57" fmla="*/ 17 h 153"/>
                  <a:gd name="T58" fmla="*/ 18 w 325"/>
                  <a:gd name="T59" fmla="*/ 27 h 153"/>
                  <a:gd name="T60" fmla="*/ 6 w 325"/>
                  <a:gd name="T61" fmla="*/ 39 h 153"/>
                  <a:gd name="T62" fmla="*/ 1 w 325"/>
                  <a:gd name="T63" fmla="*/ 45 h 153"/>
                  <a:gd name="T64" fmla="*/ 0 w 325"/>
                  <a:gd name="T65" fmla="*/ 76 h 153"/>
                  <a:gd name="T66" fmla="*/ 0 w 325"/>
                  <a:gd name="T67" fmla="*/ 94 h 153"/>
                  <a:gd name="T68" fmla="*/ 3 w 325"/>
                  <a:gd name="T69" fmla="*/ 109 h 153"/>
                  <a:gd name="T70" fmla="*/ 6 w 325"/>
                  <a:gd name="T71" fmla="*/ 116 h 153"/>
                  <a:gd name="T72" fmla="*/ 162 w 325"/>
                  <a:gd name="T73" fmla="*/ 18 h 153"/>
                  <a:gd name="T74" fmla="*/ 192 w 325"/>
                  <a:gd name="T75" fmla="*/ 18 h 153"/>
                  <a:gd name="T76" fmla="*/ 197 w 325"/>
                  <a:gd name="T77" fmla="*/ 20 h 153"/>
                  <a:gd name="T78" fmla="*/ 232 w 325"/>
                  <a:gd name="T79" fmla="*/ 22 h 153"/>
                  <a:gd name="T80" fmla="*/ 260 w 325"/>
                  <a:gd name="T81" fmla="*/ 29 h 153"/>
                  <a:gd name="T82" fmla="*/ 279 w 325"/>
                  <a:gd name="T83" fmla="*/ 36 h 153"/>
                  <a:gd name="T84" fmla="*/ 287 w 325"/>
                  <a:gd name="T85" fmla="*/ 44 h 153"/>
                  <a:gd name="T86" fmla="*/ 287 w 325"/>
                  <a:gd name="T87" fmla="*/ 45 h 153"/>
                  <a:gd name="T88" fmla="*/ 287 w 325"/>
                  <a:gd name="T89" fmla="*/ 49 h 153"/>
                  <a:gd name="T90" fmla="*/ 285 w 325"/>
                  <a:gd name="T91" fmla="*/ 52 h 153"/>
                  <a:gd name="T92" fmla="*/ 270 w 325"/>
                  <a:gd name="T93" fmla="*/ 45 h 153"/>
                  <a:gd name="T94" fmla="*/ 220 w 325"/>
                  <a:gd name="T95" fmla="*/ 37 h 153"/>
                  <a:gd name="T96" fmla="*/ 189 w 325"/>
                  <a:gd name="T97" fmla="*/ 35 h 153"/>
                  <a:gd name="T98" fmla="*/ 162 w 325"/>
                  <a:gd name="T99" fmla="*/ 33 h 153"/>
                  <a:gd name="T100" fmla="*/ 86 w 325"/>
                  <a:gd name="T101" fmla="*/ 39 h 153"/>
                  <a:gd name="T102" fmla="*/ 58 w 325"/>
                  <a:gd name="T103" fmla="*/ 44 h 153"/>
                  <a:gd name="T104" fmla="*/ 39 w 325"/>
                  <a:gd name="T105" fmla="*/ 52 h 153"/>
                  <a:gd name="T106" fmla="*/ 37 w 325"/>
                  <a:gd name="T107" fmla="*/ 49 h 153"/>
                  <a:gd name="T108" fmla="*/ 37 w 325"/>
                  <a:gd name="T109" fmla="*/ 45 h 153"/>
                  <a:gd name="T110" fmla="*/ 39 w 325"/>
                  <a:gd name="T111" fmla="*/ 40 h 153"/>
                  <a:gd name="T112" fmla="*/ 58 w 325"/>
                  <a:gd name="T113" fmla="*/ 31 h 153"/>
                  <a:gd name="T114" fmla="*/ 92 w 325"/>
                  <a:gd name="T115" fmla="*/ 22 h 153"/>
                  <a:gd name="T116" fmla="*/ 136 w 325"/>
                  <a:gd name="T117" fmla="*/ 18 h 153"/>
                  <a:gd name="T118" fmla="*/ 162 w 325"/>
                  <a:gd name="T119" fmla="*/ 1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153">
                    <a:moveTo>
                      <a:pt x="6" y="116"/>
                    </a:moveTo>
                    <a:lnTo>
                      <a:pt x="6" y="116"/>
                    </a:lnTo>
                    <a:lnTo>
                      <a:pt x="11" y="122"/>
                    </a:lnTo>
                    <a:lnTo>
                      <a:pt x="18" y="128"/>
                    </a:lnTo>
                    <a:lnTo>
                      <a:pt x="27" y="132"/>
                    </a:lnTo>
                    <a:lnTo>
                      <a:pt x="37" y="137"/>
                    </a:lnTo>
                    <a:lnTo>
                      <a:pt x="59" y="144"/>
                    </a:lnTo>
                    <a:lnTo>
                      <a:pt x="84" y="148"/>
                    </a:lnTo>
                    <a:lnTo>
                      <a:pt x="108" y="151"/>
                    </a:lnTo>
                    <a:lnTo>
                      <a:pt x="131" y="152"/>
                    </a:lnTo>
                    <a:lnTo>
                      <a:pt x="162" y="153"/>
                    </a:lnTo>
                    <a:lnTo>
                      <a:pt x="162" y="153"/>
                    </a:lnTo>
                    <a:lnTo>
                      <a:pt x="189" y="153"/>
                    </a:lnTo>
                    <a:lnTo>
                      <a:pt x="189" y="153"/>
                    </a:lnTo>
                    <a:lnTo>
                      <a:pt x="227" y="149"/>
                    </a:lnTo>
                    <a:lnTo>
                      <a:pt x="248" y="147"/>
                    </a:lnTo>
                    <a:lnTo>
                      <a:pt x="268" y="142"/>
                    </a:lnTo>
                    <a:lnTo>
                      <a:pt x="268" y="142"/>
                    </a:lnTo>
                    <a:lnTo>
                      <a:pt x="281" y="140"/>
                    </a:lnTo>
                    <a:lnTo>
                      <a:pt x="290" y="136"/>
                    </a:lnTo>
                    <a:lnTo>
                      <a:pt x="299" y="130"/>
                    </a:lnTo>
                    <a:lnTo>
                      <a:pt x="308" y="126"/>
                    </a:lnTo>
                    <a:lnTo>
                      <a:pt x="308" y="126"/>
                    </a:lnTo>
                    <a:lnTo>
                      <a:pt x="313" y="121"/>
                    </a:lnTo>
                    <a:lnTo>
                      <a:pt x="317" y="117"/>
                    </a:lnTo>
                    <a:lnTo>
                      <a:pt x="317" y="117"/>
                    </a:lnTo>
                    <a:lnTo>
                      <a:pt x="320" y="113"/>
                    </a:lnTo>
                    <a:lnTo>
                      <a:pt x="322" y="109"/>
                    </a:lnTo>
                    <a:lnTo>
                      <a:pt x="322" y="109"/>
                    </a:lnTo>
                    <a:lnTo>
                      <a:pt x="324" y="102"/>
                    </a:lnTo>
                    <a:lnTo>
                      <a:pt x="324" y="94"/>
                    </a:lnTo>
                    <a:lnTo>
                      <a:pt x="325" y="76"/>
                    </a:lnTo>
                    <a:lnTo>
                      <a:pt x="325" y="76"/>
                    </a:lnTo>
                    <a:lnTo>
                      <a:pt x="324" y="60"/>
                    </a:lnTo>
                    <a:lnTo>
                      <a:pt x="322" y="47"/>
                    </a:lnTo>
                    <a:lnTo>
                      <a:pt x="322" y="47"/>
                    </a:lnTo>
                    <a:lnTo>
                      <a:pt x="321" y="41"/>
                    </a:lnTo>
                    <a:lnTo>
                      <a:pt x="318" y="37"/>
                    </a:lnTo>
                    <a:lnTo>
                      <a:pt x="318" y="37"/>
                    </a:lnTo>
                    <a:lnTo>
                      <a:pt x="313" y="31"/>
                    </a:lnTo>
                    <a:lnTo>
                      <a:pt x="306" y="25"/>
                    </a:lnTo>
                    <a:lnTo>
                      <a:pt x="306" y="25"/>
                    </a:lnTo>
                    <a:lnTo>
                      <a:pt x="297" y="20"/>
                    </a:lnTo>
                    <a:lnTo>
                      <a:pt x="286" y="16"/>
                    </a:lnTo>
                    <a:lnTo>
                      <a:pt x="274" y="12"/>
                    </a:lnTo>
                    <a:lnTo>
                      <a:pt x="260" y="9"/>
                    </a:lnTo>
                    <a:lnTo>
                      <a:pt x="233" y="5"/>
                    </a:lnTo>
                    <a:lnTo>
                      <a:pt x="208" y="2"/>
                    </a:lnTo>
                    <a:lnTo>
                      <a:pt x="208" y="2"/>
                    </a:lnTo>
                    <a:lnTo>
                      <a:pt x="179" y="0"/>
                    </a:lnTo>
                    <a:lnTo>
                      <a:pt x="162" y="0"/>
                    </a:lnTo>
                    <a:lnTo>
                      <a:pt x="162" y="0"/>
                    </a:lnTo>
                    <a:lnTo>
                      <a:pt x="131" y="1"/>
                    </a:lnTo>
                    <a:lnTo>
                      <a:pt x="108" y="2"/>
                    </a:lnTo>
                    <a:lnTo>
                      <a:pt x="82" y="5"/>
                    </a:lnTo>
                    <a:lnTo>
                      <a:pt x="58" y="10"/>
                    </a:lnTo>
                    <a:lnTo>
                      <a:pt x="46" y="13"/>
                    </a:lnTo>
                    <a:lnTo>
                      <a:pt x="35" y="17"/>
                    </a:lnTo>
                    <a:lnTo>
                      <a:pt x="26" y="21"/>
                    </a:lnTo>
                    <a:lnTo>
                      <a:pt x="18" y="27"/>
                    </a:lnTo>
                    <a:lnTo>
                      <a:pt x="11" y="32"/>
                    </a:lnTo>
                    <a:lnTo>
                      <a:pt x="6" y="39"/>
                    </a:lnTo>
                    <a:lnTo>
                      <a:pt x="6" y="39"/>
                    </a:lnTo>
                    <a:lnTo>
                      <a:pt x="1" y="45"/>
                    </a:lnTo>
                    <a:lnTo>
                      <a:pt x="0" y="55"/>
                    </a:lnTo>
                    <a:lnTo>
                      <a:pt x="0" y="76"/>
                    </a:lnTo>
                    <a:lnTo>
                      <a:pt x="0" y="76"/>
                    </a:lnTo>
                    <a:lnTo>
                      <a:pt x="0" y="94"/>
                    </a:lnTo>
                    <a:lnTo>
                      <a:pt x="0" y="102"/>
                    </a:lnTo>
                    <a:lnTo>
                      <a:pt x="3" y="109"/>
                    </a:lnTo>
                    <a:lnTo>
                      <a:pt x="3" y="109"/>
                    </a:lnTo>
                    <a:lnTo>
                      <a:pt x="6" y="116"/>
                    </a:lnTo>
                    <a:lnTo>
                      <a:pt x="6" y="116"/>
                    </a:lnTo>
                    <a:close/>
                    <a:moveTo>
                      <a:pt x="162" y="18"/>
                    </a:moveTo>
                    <a:lnTo>
                      <a:pt x="162" y="18"/>
                    </a:lnTo>
                    <a:lnTo>
                      <a:pt x="192" y="18"/>
                    </a:lnTo>
                    <a:lnTo>
                      <a:pt x="192" y="18"/>
                    </a:lnTo>
                    <a:lnTo>
                      <a:pt x="197" y="20"/>
                    </a:lnTo>
                    <a:lnTo>
                      <a:pt x="197" y="20"/>
                    </a:lnTo>
                    <a:lnTo>
                      <a:pt x="232" y="22"/>
                    </a:lnTo>
                    <a:lnTo>
                      <a:pt x="248" y="25"/>
                    </a:lnTo>
                    <a:lnTo>
                      <a:pt x="260" y="29"/>
                    </a:lnTo>
                    <a:lnTo>
                      <a:pt x="271" y="32"/>
                    </a:lnTo>
                    <a:lnTo>
                      <a:pt x="279" y="36"/>
                    </a:lnTo>
                    <a:lnTo>
                      <a:pt x="285" y="40"/>
                    </a:lnTo>
                    <a:lnTo>
                      <a:pt x="287" y="44"/>
                    </a:lnTo>
                    <a:lnTo>
                      <a:pt x="287" y="44"/>
                    </a:lnTo>
                    <a:lnTo>
                      <a:pt x="287" y="45"/>
                    </a:lnTo>
                    <a:lnTo>
                      <a:pt x="287" y="45"/>
                    </a:lnTo>
                    <a:lnTo>
                      <a:pt x="287" y="49"/>
                    </a:lnTo>
                    <a:lnTo>
                      <a:pt x="285" y="52"/>
                    </a:lnTo>
                    <a:lnTo>
                      <a:pt x="285" y="52"/>
                    </a:lnTo>
                    <a:lnTo>
                      <a:pt x="278" y="48"/>
                    </a:lnTo>
                    <a:lnTo>
                      <a:pt x="270" y="45"/>
                    </a:lnTo>
                    <a:lnTo>
                      <a:pt x="248" y="40"/>
                    </a:lnTo>
                    <a:lnTo>
                      <a:pt x="220" y="37"/>
                    </a:lnTo>
                    <a:lnTo>
                      <a:pt x="189" y="35"/>
                    </a:lnTo>
                    <a:lnTo>
                      <a:pt x="189" y="35"/>
                    </a:lnTo>
                    <a:lnTo>
                      <a:pt x="162" y="33"/>
                    </a:lnTo>
                    <a:lnTo>
                      <a:pt x="162" y="33"/>
                    </a:lnTo>
                    <a:lnTo>
                      <a:pt x="121" y="35"/>
                    </a:lnTo>
                    <a:lnTo>
                      <a:pt x="86" y="39"/>
                    </a:lnTo>
                    <a:lnTo>
                      <a:pt x="70" y="41"/>
                    </a:lnTo>
                    <a:lnTo>
                      <a:pt x="58" y="44"/>
                    </a:lnTo>
                    <a:lnTo>
                      <a:pt x="47" y="48"/>
                    </a:lnTo>
                    <a:lnTo>
                      <a:pt x="39" y="52"/>
                    </a:lnTo>
                    <a:lnTo>
                      <a:pt x="39" y="52"/>
                    </a:lnTo>
                    <a:lnTo>
                      <a:pt x="37" y="49"/>
                    </a:lnTo>
                    <a:lnTo>
                      <a:pt x="37" y="45"/>
                    </a:lnTo>
                    <a:lnTo>
                      <a:pt x="37" y="45"/>
                    </a:lnTo>
                    <a:lnTo>
                      <a:pt x="37" y="43"/>
                    </a:lnTo>
                    <a:lnTo>
                      <a:pt x="39" y="40"/>
                    </a:lnTo>
                    <a:lnTo>
                      <a:pt x="46" y="35"/>
                    </a:lnTo>
                    <a:lnTo>
                      <a:pt x="58" y="31"/>
                    </a:lnTo>
                    <a:lnTo>
                      <a:pt x="73" y="27"/>
                    </a:lnTo>
                    <a:lnTo>
                      <a:pt x="92" y="22"/>
                    </a:lnTo>
                    <a:lnTo>
                      <a:pt x="113" y="20"/>
                    </a:lnTo>
                    <a:lnTo>
                      <a:pt x="136" y="18"/>
                    </a:lnTo>
                    <a:lnTo>
                      <a:pt x="162" y="18"/>
                    </a:lnTo>
                    <a:lnTo>
                      <a:pt x="162"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86" name="Freeform 285">
                <a:extLst>
                  <a:ext uri="{FF2B5EF4-FFF2-40B4-BE49-F238E27FC236}">
                    <a16:creationId xmlns:a16="http://schemas.microsoft.com/office/drawing/2014/main" id="{D07F25B1-BA37-463C-ABCB-4A039FC5F2C8}"/>
                  </a:ext>
                </a:extLst>
              </p:cNvPr>
              <p:cNvSpPr>
                <a:spLocks/>
              </p:cNvSpPr>
              <p:nvPr/>
            </p:nvSpPr>
            <p:spPr bwMode="auto">
              <a:xfrm>
                <a:off x="6732588" y="1571625"/>
                <a:ext cx="257175" cy="79375"/>
              </a:xfrm>
              <a:custGeom>
                <a:avLst/>
                <a:gdLst>
                  <a:gd name="T0" fmla="*/ 2 w 324"/>
                  <a:gd name="T1" fmla="*/ 61 h 100"/>
                  <a:gd name="T2" fmla="*/ 18 w 324"/>
                  <a:gd name="T3" fmla="*/ 73 h 100"/>
                  <a:gd name="T4" fmla="*/ 18 w 324"/>
                  <a:gd name="T5" fmla="*/ 73 h 100"/>
                  <a:gd name="T6" fmla="*/ 28 w 324"/>
                  <a:gd name="T7" fmla="*/ 78 h 100"/>
                  <a:gd name="T8" fmla="*/ 28 w 324"/>
                  <a:gd name="T9" fmla="*/ 78 h 100"/>
                  <a:gd name="T10" fmla="*/ 39 w 324"/>
                  <a:gd name="T11" fmla="*/ 83 h 100"/>
                  <a:gd name="T12" fmla="*/ 51 w 324"/>
                  <a:gd name="T13" fmla="*/ 88 h 100"/>
                  <a:gd name="T14" fmla="*/ 66 w 324"/>
                  <a:gd name="T15" fmla="*/ 92 h 100"/>
                  <a:gd name="T16" fmla="*/ 82 w 324"/>
                  <a:gd name="T17" fmla="*/ 94 h 100"/>
                  <a:gd name="T18" fmla="*/ 99 w 324"/>
                  <a:gd name="T19" fmla="*/ 97 h 100"/>
                  <a:gd name="T20" fmla="*/ 120 w 324"/>
                  <a:gd name="T21" fmla="*/ 98 h 100"/>
                  <a:gd name="T22" fmla="*/ 161 w 324"/>
                  <a:gd name="T23" fmla="*/ 100 h 100"/>
                  <a:gd name="T24" fmla="*/ 161 w 324"/>
                  <a:gd name="T25" fmla="*/ 100 h 100"/>
                  <a:gd name="T26" fmla="*/ 187 w 324"/>
                  <a:gd name="T27" fmla="*/ 100 h 100"/>
                  <a:gd name="T28" fmla="*/ 210 w 324"/>
                  <a:gd name="T29" fmla="*/ 98 h 100"/>
                  <a:gd name="T30" fmla="*/ 231 w 324"/>
                  <a:gd name="T31" fmla="*/ 96 h 100"/>
                  <a:gd name="T32" fmla="*/ 250 w 324"/>
                  <a:gd name="T33" fmla="*/ 93 h 100"/>
                  <a:gd name="T34" fmla="*/ 268 w 324"/>
                  <a:gd name="T35" fmla="*/ 89 h 100"/>
                  <a:gd name="T36" fmla="*/ 283 w 324"/>
                  <a:gd name="T37" fmla="*/ 85 h 100"/>
                  <a:gd name="T38" fmla="*/ 295 w 324"/>
                  <a:gd name="T39" fmla="*/ 79 h 100"/>
                  <a:gd name="T40" fmla="*/ 306 w 324"/>
                  <a:gd name="T41" fmla="*/ 73 h 100"/>
                  <a:gd name="T42" fmla="*/ 322 w 324"/>
                  <a:gd name="T43" fmla="*/ 61 h 100"/>
                  <a:gd name="T44" fmla="*/ 322 w 324"/>
                  <a:gd name="T45" fmla="*/ 61 h 100"/>
                  <a:gd name="T46" fmla="*/ 323 w 324"/>
                  <a:gd name="T47" fmla="*/ 54 h 100"/>
                  <a:gd name="T48" fmla="*/ 324 w 324"/>
                  <a:gd name="T49" fmla="*/ 47 h 100"/>
                  <a:gd name="T50" fmla="*/ 324 w 324"/>
                  <a:gd name="T51" fmla="*/ 28 h 100"/>
                  <a:gd name="T52" fmla="*/ 324 w 324"/>
                  <a:gd name="T53" fmla="*/ 28 h 100"/>
                  <a:gd name="T54" fmla="*/ 324 w 324"/>
                  <a:gd name="T55" fmla="*/ 13 h 100"/>
                  <a:gd name="T56" fmla="*/ 324 w 324"/>
                  <a:gd name="T57" fmla="*/ 5 h 100"/>
                  <a:gd name="T58" fmla="*/ 323 w 324"/>
                  <a:gd name="T59" fmla="*/ 0 h 100"/>
                  <a:gd name="T60" fmla="*/ 323 w 324"/>
                  <a:gd name="T61" fmla="*/ 0 h 100"/>
                  <a:gd name="T62" fmla="*/ 308 w 324"/>
                  <a:gd name="T63" fmla="*/ 8 h 100"/>
                  <a:gd name="T64" fmla="*/ 289 w 324"/>
                  <a:gd name="T65" fmla="*/ 15 h 100"/>
                  <a:gd name="T66" fmla="*/ 268 w 324"/>
                  <a:gd name="T67" fmla="*/ 21 h 100"/>
                  <a:gd name="T68" fmla="*/ 244 w 324"/>
                  <a:gd name="T69" fmla="*/ 25 h 100"/>
                  <a:gd name="T70" fmla="*/ 244 w 324"/>
                  <a:gd name="T71" fmla="*/ 25 h 100"/>
                  <a:gd name="T72" fmla="*/ 218 w 324"/>
                  <a:gd name="T73" fmla="*/ 28 h 100"/>
                  <a:gd name="T74" fmla="*/ 195 w 324"/>
                  <a:gd name="T75" fmla="*/ 31 h 100"/>
                  <a:gd name="T76" fmla="*/ 161 w 324"/>
                  <a:gd name="T77" fmla="*/ 31 h 100"/>
                  <a:gd name="T78" fmla="*/ 161 w 324"/>
                  <a:gd name="T79" fmla="*/ 31 h 100"/>
                  <a:gd name="T80" fmla="*/ 149 w 324"/>
                  <a:gd name="T81" fmla="*/ 31 h 100"/>
                  <a:gd name="T82" fmla="*/ 149 w 324"/>
                  <a:gd name="T83" fmla="*/ 31 h 100"/>
                  <a:gd name="T84" fmla="*/ 118 w 324"/>
                  <a:gd name="T85" fmla="*/ 30 h 100"/>
                  <a:gd name="T86" fmla="*/ 99 w 324"/>
                  <a:gd name="T87" fmla="*/ 28 h 100"/>
                  <a:gd name="T88" fmla="*/ 79 w 324"/>
                  <a:gd name="T89" fmla="*/ 25 h 100"/>
                  <a:gd name="T90" fmla="*/ 79 w 324"/>
                  <a:gd name="T91" fmla="*/ 25 h 100"/>
                  <a:gd name="T92" fmla="*/ 55 w 324"/>
                  <a:gd name="T93" fmla="*/ 21 h 100"/>
                  <a:gd name="T94" fmla="*/ 35 w 324"/>
                  <a:gd name="T95" fmla="*/ 15 h 100"/>
                  <a:gd name="T96" fmla="*/ 17 w 324"/>
                  <a:gd name="T97" fmla="*/ 8 h 100"/>
                  <a:gd name="T98" fmla="*/ 2 w 324"/>
                  <a:gd name="T99" fmla="*/ 0 h 100"/>
                  <a:gd name="T100" fmla="*/ 2 w 324"/>
                  <a:gd name="T101" fmla="*/ 0 h 100"/>
                  <a:gd name="T102" fmla="*/ 1 w 324"/>
                  <a:gd name="T103" fmla="*/ 0 h 100"/>
                  <a:gd name="T104" fmla="*/ 1 w 324"/>
                  <a:gd name="T105" fmla="*/ 0 h 100"/>
                  <a:gd name="T106" fmla="*/ 1 w 324"/>
                  <a:gd name="T107" fmla="*/ 0 h 100"/>
                  <a:gd name="T108" fmla="*/ 1 w 324"/>
                  <a:gd name="T109" fmla="*/ 0 h 100"/>
                  <a:gd name="T110" fmla="*/ 0 w 324"/>
                  <a:gd name="T111" fmla="*/ 7 h 100"/>
                  <a:gd name="T112" fmla="*/ 0 w 324"/>
                  <a:gd name="T113" fmla="*/ 13 h 100"/>
                  <a:gd name="T114" fmla="*/ 0 w 324"/>
                  <a:gd name="T115" fmla="*/ 28 h 100"/>
                  <a:gd name="T116" fmla="*/ 0 w 324"/>
                  <a:gd name="T117" fmla="*/ 28 h 100"/>
                  <a:gd name="T118" fmla="*/ 0 w 324"/>
                  <a:gd name="T119" fmla="*/ 46 h 100"/>
                  <a:gd name="T120" fmla="*/ 1 w 324"/>
                  <a:gd name="T121" fmla="*/ 54 h 100"/>
                  <a:gd name="T122" fmla="*/ 2 w 324"/>
                  <a:gd name="T123" fmla="*/ 61 h 100"/>
                  <a:gd name="T124" fmla="*/ 2 w 324"/>
                  <a:gd name="T125" fmla="*/ 6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4" h="100">
                    <a:moveTo>
                      <a:pt x="2" y="61"/>
                    </a:moveTo>
                    <a:lnTo>
                      <a:pt x="18" y="73"/>
                    </a:lnTo>
                    <a:lnTo>
                      <a:pt x="18" y="73"/>
                    </a:lnTo>
                    <a:lnTo>
                      <a:pt x="28" y="78"/>
                    </a:lnTo>
                    <a:lnTo>
                      <a:pt x="28" y="78"/>
                    </a:lnTo>
                    <a:lnTo>
                      <a:pt x="39" y="83"/>
                    </a:lnTo>
                    <a:lnTo>
                      <a:pt x="51" y="88"/>
                    </a:lnTo>
                    <a:lnTo>
                      <a:pt x="66" y="92"/>
                    </a:lnTo>
                    <a:lnTo>
                      <a:pt x="82" y="94"/>
                    </a:lnTo>
                    <a:lnTo>
                      <a:pt x="99" y="97"/>
                    </a:lnTo>
                    <a:lnTo>
                      <a:pt x="120" y="98"/>
                    </a:lnTo>
                    <a:lnTo>
                      <a:pt x="161" y="100"/>
                    </a:lnTo>
                    <a:lnTo>
                      <a:pt x="161" y="100"/>
                    </a:lnTo>
                    <a:lnTo>
                      <a:pt x="187" y="100"/>
                    </a:lnTo>
                    <a:lnTo>
                      <a:pt x="210" y="98"/>
                    </a:lnTo>
                    <a:lnTo>
                      <a:pt x="231" y="96"/>
                    </a:lnTo>
                    <a:lnTo>
                      <a:pt x="250" y="93"/>
                    </a:lnTo>
                    <a:lnTo>
                      <a:pt x="268" y="89"/>
                    </a:lnTo>
                    <a:lnTo>
                      <a:pt x="283" y="85"/>
                    </a:lnTo>
                    <a:lnTo>
                      <a:pt x="295" y="79"/>
                    </a:lnTo>
                    <a:lnTo>
                      <a:pt x="306" y="73"/>
                    </a:lnTo>
                    <a:lnTo>
                      <a:pt x="322" y="61"/>
                    </a:lnTo>
                    <a:lnTo>
                      <a:pt x="322" y="61"/>
                    </a:lnTo>
                    <a:lnTo>
                      <a:pt x="323" y="54"/>
                    </a:lnTo>
                    <a:lnTo>
                      <a:pt x="324" y="47"/>
                    </a:lnTo>
                    <a:lnTo>
                      <a:pt x="324" y="28"/>
                    </a:lnTo>
                    <a:lnTo>
                      <a:pt x="324" y="28"/>
                    </a:lnTo>
                    <a:lnTo>
                      <a:pt x="324" y="13"/>
                    </a:lnTo>
                    <a:lnTo>
                      <a:pt x="324" y="5"/>
                    </a:lnTo>
                    <a:lnTo>
                      <a:pt x="323" y="0"/>
                    </a:lnTo>
                    <a:lnTo>
                      <a:pt x="323" y="0"/>
                    </a:lnTo>
                    <a:lnTo>
                      <a:pt x="308" y="8"/>
                    </a:lnTo>
                    <a:lnTo>
                      <a:pt x="289" y="15"/>
                    </a:lnTo>
                    <a:lnTo>
                      <a:pt x="268" y="21"/>
                    </a:lnTo>
                    <a:lnTo>
                      <a:pt x="244" y="25"/>
                    </a:lnTo>
                    <a:lnTo>
                      <a:pt x="244" y="25"/>
                    </a:lnTo>
                    <a:lnTo>
                      <a:pt x="218" y="28"/>
                    </a:lnTo>
                    <a:lnTo>
                      <a:pt x="195" y="31"/>
                    </a:lnTo>
                    <a:lnTo>
                      <a:pt x="161" y="31"/>
                    </a:lnTo>
                    <a:lnTo>
                      <a:pt x="161" y="31"/>
                    </a:lnTo>
                    <a:lnTo>
                      <a:pt x="149" y="31"/>
                    </a:lnTo>
                    <a:lnTo>
                      <a:pt x="149" y="31"/>
                    </a:lnTo>
                    <a:lnTo>
                      <a:pt x="118" y="30"/>
                    </a:lnTo>
                    <a:lnTo>
                      <a:pt x="99" y="28"/>
                    </a:lnTo>
                    <a:lnTo>
                      <a:pt x="79" y="25"/>
                    </a:lnTo>
                    <a:lnTo>
                      <a:pt x="79" y="25"/>
                    </a:lnTo>
                    <a:lnTo>
                      <a:pt x="55" y="21"/>
                    </a:lnTo>
                    <a:lnTo>
                      <a:pt x="35" y="15"/>
                    </a:lnTo>
                    <a:lnTo>
                      <a:pt x="17" y="8"/>
                    </a:lnTo>
                    <a:lnTo>
                      <a:pt x="2" y="0"/>
                    </a:lnTo>
                    <a:lnTo>
                      <a:pt x="2" y="0"/>
                    </a:lnTo>
                    <a:lnTo>
                      <a:pt x="1" y="0"/>
                    </a:lnTo>
                    <a:lnTo>
                      <a:pt x="1" y="0"/>
                    </a:lnTo>
                    <a:lnTo>
                      <a:pt x="1" y="0"/>
                    </a:lnTo>
                    <a:lnTo>
                      <a:pt x="1" y="0"/>
                    </a:lnTo>
                    <a:lnTo>
                      <a:pt x="0" y="7"/>
                    </a:lnTo>
                    <a:lnTo>
                      <a:pt x="0" y="13"/>
                    </a:lnTo>
                    <a:lnTo>
                      <a:pt x="0" y="28"/>
                    </a:lnTo>
                    <a:lnTo>
                      <a:pt x="0" y="28"/>
                    </a:lnTo>
                    <a:lnTo>
                      <a:pt x="0" y="46"/>
                    </a:lnTo>
                    <a:lnTo>
                      <a:pt x="1" y="54"/>
                    </a:lnTo>
                    <a:lnTo>
                      <a:pt x="2" y="61"/>
                    </a:lnTo>
                    <a:lnTo>
                      <a:pt x="2"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87" name="Freeform 286">
                <a:extLst>
                  <a:ext uri="{FF2B5EF4-FFF2-40B4-BE49-F238E27FC236}">
                    <a16:creationId xmlns:a16="http://schemas.microsoft.com/office/drawing/2014/main" id="{ECDFA96D-8AFD-43B2-9D42-6A205139C214}"/>
                  </a:ext>
                </a:extLst>
              </p:cNvPr>
              <p:cNvSpPr>
                <a:spLocks/>
              </p:cNvSpPr>
              <p:nvPr/>
            </p:nvSpPr>
            <p:spPr bwMode="auto">
              <a:xfrm>
                <a:off x="6732588" y="1647825"/>
                <a:ext cx="257175" cy="88900"/>
              </a:xfrm>
              <a:custGeom>
                <a:avLst/>
                <a:gdLst>
                  <a:gd name="T0" fmla="*/ 320 w 324"/>
                  <a:gd name="T1" fmla="*/ 0 h 112"/>
                  <a:gd name="T2" fmla="*/ 320 w 324"/>
                  <a:gd name="T3" fmla="*/ 0 h 112"/>
                  <a:gd name="T4" fmla="*/ 314 w 324"/>
                  <a:gd name="T5" fmla="*/ 4 h 112"/>
                  <a:gd name="T6" fmla="*/ 306 w 324"/>
                  <a:gd name="T7" fmla="*/ 10 h 112"/>
                  <a:gd name="T8" fmla="*/ 287 w 324"/>
                  <a:gd name="T9" fmla="*/ 16 h 112"/>
                  <a:gd name="T10" fmla="*/ 266 w 324"/>
                  <a:gd name="T11" fmla="*/ 22 h 112"/>
                  <a:gd name="T12" fmla="*/ 245 w 324"/>
                  <a:gd name="T13" fmla="*/ 26 h 112"/>
                  <a:gd name="T14" fmla="*/ 223 w 324"/>
                  <a:gd name="T15" fmla="*/ 29 h 112"/>
                  <a:gd name="T16" fmla="*/ 200 w 324"/>
                  <a:gd name="T17" fmla="*/ 31 h 112"/>
                  <a:gd name="T18" fmla="*/ 161 w 324"/>
                  <a:gd name="T19" fmla="*/ 33 h 112"/>
                  <a:gd name="T20" fmla="*/ 161 w 324"/>
                  <a:gd name="T21" fmla="*/ 33 h 112"/>
                  <a:gd name="T22" fmla="*/ 122 w 324"/>
                  <a:gd name="T23" fmla="*/ 31 h 112"/>
                  <a:gd name="T24" fmla="*/ 101 w 324"/>
                  <a:gd name="T25" fmla="*/ 29 h 112"/>
                  <a:gd name="T26" fmla="*/ 79 w 324"/>
                  <a:gd name="T27" fmla="*/ 26 h 112"/>
                  <a:gd name="T28" fmla="*/ 57 w 324"/>
                  <a:gd name="T29" fmla="*/ 22 h 112"/>
                  <a:gd name="T30" fmla="*/ 37 w 324"/>
                  <a:gd name="T31" fmla="*/ 16 h 112"/>
                  <a:gd name="T32" fmla="*/ 18 w 324"/>
                  <a:gd name="T33" fmla="*/ 10 h 112"/>
                  <a:gd name="T34" fmla="*/ 10 w 324"/>
                  <a:gd name="T35" fmla="*/ 4 h 112"/>
                  <a:gd name="T36" fmla="*/ 4 w 324"/>
                  <a:gd name="T37" fmla="*/ 0 h 112"/>
                  <a:gd name="T38" fmla="*/ 4 w 324"/>
                  <a:gd name="T39" fmla="*/ 0 h 112"/>
                  <a:gd name="T40" fmla="*/ 1 w 324"/>
                  <a:gd name="T41" fmla="*/ 6 h 112"/>
                  <a:gd name="T42" fmla="*/ 1 w 324"/>
                  <a:gd name="T43" fmla="*/ 6 h 112"/>
                  <a:gd name="T44" fmla="*/ 0 w 324"/>
                  <a:gd name="T45" fmla="*/ 12 h 112"/>
                  <a:gd name="T46" fmla="*/ 0 w 324"/>
                  <a:gd name="T47" fmla="*/ 19 h 112"/>
                  <a:gd name="T48" fmla="*/ 0 w 324"/>
                  <a:gd name="T49" fmla="*/ 35 h 112"/>
                  <a:gd name="T50" fmla="*/ 0 w 324"/>
                  <a:gd name="T51" fmla="*/ 35 h 112"/>
                  <a:gd name="T52" fmla="*/ 1 w 324"/>
                  <a:gd name="T53" fmla="*/ 58 h 112"/>
                  <a:gd name="T54" fmla="*/ 2 w 324"/>
                  <a:gd name="T55" fmla="*/ 68 h 112"/>
                  <a:gd name="T56" fmla="*/ 6 w 324"/>
                  <a:gd name="T57" fmla="*/ 74 h 112"/>
                  <a:gd name="T58" fmla="*/ 6 w 324"/>
                  <a:gd name="T59" fmla="*/ 74 h 112"/>
                  <a:gd name="T60" fmla="*/ 10 w 324"/>
                  <a:gd name="T61" fmla="*/ 80 h 112"/>
                  <a:gd name="T62" fmla="*/ 18 w 324"/>
                  <a:gd name="T63" fmla="*/ 87 h 112"/>
                  <a:gd name="T64" fmla="*/ 26 w 324"/>
                  <a:gd name="T65" fmla="*/ 91 h 112"/>
                  <a:gd name="T66" fmla="*/ 36 w 324"/>
                  <a:gd name="T67" fmla="*/ 95 h 112"/>
                  <a:gd name="T68" fmla="*/ 59 w 324"/>
                  <a:gd name="T69" fmla="*/ 101 h 112"/>
                  <a:gd name="T70" fmla="*/ 83 w 324"/>
                  <a:gd name="T71" fmla="*/ 107 h 112"/>
                  <a:gd name="T72" fmla="*/ 107 w 324"/>
                  <a:gd name="T73" fmla="*/ 109 h 112"/>
                  <a:gd name="T74" fmla="*/ 130 w 324"/>
                  <a:gd name="T75" fmla="*/ 111 h 112"/>
                  <a:gd name="T76" fmla="*/ 161 w 324"/>
                  <a:gd name="T77" fmla="*/ 112 h 112"/>
                  <a:gd name="T78" fmla="*/ 161 w 324"/>
                  <a:gd name="T79" fmla="*/ 112 h 112"/>
                  <a:gd name="T80" fmla="*/ 192 w 324"/>
                  <a:gd name="T81" fmla="*/ 111 h 112"/>
                  <a:gd name="T82" fmla="*/ 215 w 324"/>
                  <a:gd name="T83" fmla="*/ 109 h 112"/>
                  <a:gd name="T84" fmla="*/ 240 w 324"/>
                  <a:gd name="T85" fmla="*/ 107 h 112"/>
                  <a:gd name="T86" fmla="*/ 264 w 324"/>
                  <a:gd name="T87" fmla="*/ 101 h 112"/>
                  <a:gd name="T88" fmla="*/ 287 w 324"/>
                  <a:gd name="T89" fmla="*/ 96 h 112"/>
                  <a:gd name="T90" fmla="*/ 296 w 324"/>
                  <a:gd name="T91" fmla="*/ 92 h 112"/>
                  <a:gd name="T92" fmla="*/ 304 w 324"/>
                  <a:gd name="T93" fmla="*/ 87 h 112"/>
                  <a:gd name="T94" fmla="*/ 312 w 324"/>
                  <a:gd name="T95" fmla="*/ 81 h 112"/>
                  <a:gd name="T96" fmla="*/ 318 w 324"/>
                  <a:gd name="T97" fmla="*/ 74 h 112"/>
                  <a:gd name="T98" fmla="*/ 318 w 324"/>
                  <a:gd name="T99" fmla="*/ 74 h 112"/>
                  <a:gd name="T100" fmla="*/ 322 w 324"/>
                  <a:gd name="T101" fmla="*/ 68 h 112"/>
                  <a:gd name="T102" fmla="*/ 323 w 324"/>
                  <a:gd name="T103" fmla="*/ 58 h 112"/>
                  <a:gd name="T104" fmla="*/ 324 w 324"/>
                  <a:gd name="T105" fmla="*/ 47 h 112"/>
                  <a:gd name="T106" fmla="*/ 324 w 324"/>
                  <a:gd name="T107" fmla="*/ 35 h 112"/>
                  <a:gd name="T108" fmla="*/ 324 w 324"/>
                  <a:gd name="T109" fmla="*/ 35 h 112"/>
                  <a:gd name="T110" fmla="*/ 324 w 324"/>
                  <a:gd name="T111" fmla="*/ 19 h 112"/>
                  <a:gd name="T112" fmla="*/ 324 w 324"/>
                  <a:gd name="T113" fmla="*/ 12 h 112"/>
                  <a:gd name="T114" fmla="*/ 323 w 324"/>
                  <a:gd name="T115" fmla="*/ 6 h 112"/>
                  <a:gd name="T116" fmla="*/ 323 w 324"/>
                  <a:gd name="T117" fmla="*/ 6 h 112"/>
                  <a:gd name="T118" fmla="*/ 320 w 324"/>
                  <a:gd name="T119" fmla="*/ 0 h 112"/>
                  <a:gd name="T120" fmla="*/ 320 w 324"/>
                  <a:gd name="T12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4" h="112">
                    <a:moveTo>
                      <a:pt x="320" y="0"/>
                    </a:moveTo>
                    <a:lnTo>
                      <a:pt x="320" y="0"/>
                    </a:lnTo>
                    <a:lnTo>
                      <a:pt x="314" y="4"/>
                    </a:lnTo>
                    <a:lnTo>
                      <a:pt x="306" y="10"/>
                    </a:lnTo>
                    <a:lnTo>
                      <a:pt x="287" y="16"/>
                    </a:lnTo>
                    <a:lnTo>
                      <a:pt x="266" y="22"/>
                    </a:lnTo>
                    <a:lnTo>
                      <a:pt x="245" y="26"/>
                    </a:lnTo>
                    <a:lnTo>
                      <a:pt x="223" y="29"/>
                    </a:lnTo>
                    <a:lnTo>
                      <a:pt x="200" y="31"/>
                    </a:lnTo>
                    <a:lnTo>
                      <a:pt x="161" y="33"/>
                    </a:lnTo>
                    <a:lnTo>
                      <a:pt x="161" y="33"/>
                    </a:lnTo>
                    <a:lnTo>
                      <a:pt x="122" y="31"/>
                    </a:lnTo>
                    <a:lnTo>
                      <a:pt x="101" y="29"/>
                    </a:lnTo>
                    <a:lnTo>
                      <a:pt x="79" y="26"/>
                    </a:lnTo>
                    <a:lnTo>
                      <a:pt x="57" y="22"/>
                    </a:lnTo>
                    <a:lnTo>
                      <a:pt x="37" y="16"/>
                    </a:lnTo>
                    <a:lnTo>
                      <a:pt x="18" y="10"/>
                    </a:lnTo>
                    <a:lnTo>
                      <a:pt x="10" y="4"/>
                    </a:lnTo>
                    <a:lnTo>
                      <a:pt x="4" y="0"/>
                    </a:lnTo>
                    <a:lnTo>
                      <a:pt x="4" y="0"/>
                    </a:lnTo>
                    <a:lnTo>
                      <a:pt x="1" y="6"/>
                    </a:lnTo>
                    <a:lnTo>
                      <a:pt x="1" y="6"/>
                    </a:lnTo>
                    <a:lnTo>
                      <a:pt x="0" y="12"/>
                    </a:lnTo>
                    <a:lnTo>
                      <a:pt x="0" y="19"/>
                    </a:lnTo>
                    <a:lnTo>
                      <a:pt x="0" y="35"/>
                    </a:lnTo>
                    <a:lnTo>
                      <a:pt x="0" y="35"/>
                    </a:lnTo>
                    <a:lnTo>
                      <a:pt x="1" y="58"/>
                    </a:lnTo>
                    <a:lnTo>
                      <a:pt x="2" y="68"/>
                    </a:lnTo>
                    <a:lnTo>
                      <a:pt x="6" y="74"/>
                    </a:lnTo>
                    <a:lnTo>
                      <a:pt x="6" y="74"/>
                    </a:lnTo>
                    <a:lnTo>
                      <a:pt x="10" y="80"/>
                    </a:lnTo>
                    <a:lnTo>
                      <a:pt x="18" y="87"/>
                    </a:lnTo>
                    <a:lnTo>
                      <a:pt x="26" y="91"/>
                    </a:lnTo>
                    <a:lnTo>
                      <a:pt x="36" y="95"/>
                    </a:lnTo>
                    <a:lnTo>
                      <a:pt x="59" y="101"/>
                    </a:lnTo>
                    <a:lnTo>
                      <a:pt x="83" y="107"/>
                    </a:lnTo>
                    <a:lnTo>
                      <a:pt x="107" y="109"/>
                    </a:lnTo>
                    <a:lnTo>
                      <a:pt x="130" y="111"/>
                    </a:lnTo>
                    <a:lnTo>
                      <a:pt x="161" y="112"/>
                    </a:lnTo>
                    <a:lnTo>
                      <a:pt x="161" y="112"/>
                    </a:lnTo>
                    <a:lnTo>
                      <a:pt x="192" y="111"/>
                    </a:lnTo>
                    <a:lnTo>
                      <a:pt x="215" y="109"/>
                    </a:lnTo>
                    <a:lnTo>
                      <a:pt x="240" y="107"/>
                    </a:lnTo>
                    <a:lnTo>
                      <a:pt x="264" y="101"/>
                    </a:lnTo>
                    <a:lnTo>
                      <a:pt x="287" y="96"/>
                    </a:lnTo>
                    <a:lnTo>
                      <a:pt x="296" y="92"/>
                    </a:lnTo>
                    <a:lnTo>
                      <a:pt x="304" y="87"/>
                    </a:lnTo>
                    <a:lnTo>
                      <a:pt x="312" y="81"/>
                    </a:lnTo>
                    <a:lnTo>
                      <a:pt x="318" y="74"/>
                    </a:lnTo>
                    <a:lnTo>
                      <a:pt x="318" y="74"/>
                    </a:lnTo>
                    <a:lnTo>
                      <a:pt x="322" y="68"/>
                    </a:lnTo>
                    <a:lnTo>
                      <a:pt x="323" y="58"/>
                    </a:lnTo>
                    <a:lnTo>
                      <a:pt x="324" y="47"/>
                    </a:lnTo>
                    <a:lnTo>
                      <a:pt x="324" y="35"/>
                    </a:lnTo>
                    <a:lnTo>
                      <a:pt x="324" y="35"/>
                    </a:lnTo>
                    <a:lnTo>
                      <a:pt x="324" y="19"/>
                    </a:lnTo>
                    <a:lnTo>
                      <a:pt x="324" y="12"/>
                    </a:lnTo>
                    <a:lnTo>
                      <a:pt x="323" y="6"/>
                    </a:lnTo>
                    <a:lnTo>
                      <a:pt x="323" y="6"/>
                    </a:lnTo>
                    <a:lnTo>
                      <a:pt x="320" y="0"/>
                    </a:lnTo>
                    <a:lnTo>
                      <a:pt x="32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88" name="Freeform 287">
                <a:extLst>
                  <a:ext uri="{FF2B5EF4-FFF2-40B4-BE49-F238E27FC236}">
                    <a16:creationId xmlns:a16="http://schemas.microsoft.com/office/drawing/2014/main" id="{A552D6B0-B540-491F-8D17-DB83BF307C92}"/>
                  </a:ext>
                </a:extLst>
              </p:cNvPr>
              <p:cNvSpPr>
                <a:spLocks noEditPoints="1"/>
              </p:cNvSpPr>
              <p:nvPr/>
            </p:nvSpPr>
            <p:spPr bwMode="auto">
              <a:xfrm>
                <a:off x="6732588" y="1454150"/>
                <a:ext cx="257175" cy="122238"/>
              </a:xfrm>
              <a:custGeom>
                <a:avLst/>
                <a:gdLst>
                  <a:gd name="T0" fmla="*/ 17 w 324"/>
                  <a:gd name="T1" fmla="*/ 27 h 153"/>
                  <a:gd name="T2" fmla="*/ 5 w 324"/>
                  <a:gd name="T3" fmla="*/ 39 h 153"/>
                  <a:gd name="T4" fmla="*/ 4 w 324"/>
                  <a:gd name="T5" fmla="*/ 43 h 153"/>
                  <a:gd name="T6" fmla="*/ 1 w 324"/>
                  <a:gd name="T7" fmla="*/ 48 h 153"/>
                  <a:gd name="T8" fmla="*/ 0 w 324"/>
                  <a:gd name="T9" fmla="*/ 76 h 153"/>
                  <a:gd name="T10" fmla="*/ 0 w 324"/>
                  <a:gd name="T11" fmla="*/ 94 h 153"/>
                  <a:gd name="T12" fmla="*/ 2 w 324"/>
                  <a:gd name="T13" fmla="*/ 109 h 153"/>
                  <a:gd name="T14" fmla="*/ 6 w 324"/>
                  <a:gd name="T15" fmla="*/ 116 h 153"/>
                  <a:gd name="T16" fmla="*/ 10 w 324"/>
                  <a:gd name="T17" fmla="*/ 121 h 153"/>
                  <a:gd name="T18" fmla="*/ 17 w 324"/>
                  <a:gd name="T19" fmla="*/ 126 h 153"/>
                  <a:gd name="T20" fmla="*/ 37 w 324"/>
                  <a:gd name="T21" fmla="*/ 137 h 153"/>
                  <a:gd name="T22" fmla="*/ 62 w 324"/>
                  <a:gd name="T23" fmla="*/ 144 h 153"/>
                  <a:gd name="T24" fmla="*/ 86 w 324"/>
                  <a:gd name="T25" fmla="*/ 148 h 153"/>
                  <a:gd name="T26" fmla="*/ 133 w 324"/>
                  <a:gd name="T27" fmla="*/ 153 h 153"/>
                  <a:gd name="T28" fmla="*/ 152 w 324"/>
                  <a:gd name="T29" fmla="*/ 153 h 153"/>
                  <a:gd name="T30" fmla="*/ 161 w 324"/>
                  <a:gd name="T31" fmla="*/ 153 h 153"/>
                  <a:gd name="T32" fmla="*/ 215 w 324"/>
                  <a:gd name="T33" fmla="*/ 151 h 153"/>
                  <a:gd name="T34" fmla="*/ 264 w 324"/>
                  <a:gd name="T35" fmla="*/ 144 h 153"/>
                  <a:gd name="T36" fmla="*/ 296 w 324"/>
                  <a:gd name="T37" fmla="*/ 133 h 153"/>
                  <a:gd name="T38" fmla="*/ 312 w 324"/>
                  <a:gd name="T39" fmla="*/ 122 h 153"/>
                  <a:gd name="T40" fmla="*/ 318 w 324"/>
                  <a:gd name="T41" fmla="*/ 117 h 153"/>
                  <a:gd name="T42" fmla="*/ 322 w 324"/>
                  <a:gd name="T43" fmla="*/ 109 h 153"/>
                  <a:gd name="T44" fmla="*/ 323 w 324"/>
                  <a:gd name="T45" fmla="*/ 102 h 153"/>
                  <a:gd name="T46" fmla="*/ 324 w 324"/>
                  <a:gd name="T47" fmla="*/ 76 h 153"/>
                  <a:gd name="T48" fmla="*/ 324 w 324"/>
                  <a:gd name="T49" fmla="*/ 64 h 153"/>
                  <a:gd name="T50" fmla="*/ 322 w 324"/>
                  <a:gd name="T51" fmla="*/ 44 h 153"/>
                  <a:gd name="T52" fmla="*/ 318 w 324"/>
                  <a:gd name="T53" fmla="*/ 37 h 153"/>
                  <a:gd name="T54" fmla="*/ 306 w 324"/>
                  <a:gd name="T55" fmla="*/ 25 h 153"/>
                  <a:gd name="T56" fmla="*/ 287 w 324"/>
                  <a:gd name="T57" fmla="*/ 17 h 153"/>
                  <a:gd name="T58" fmla="*/ 241 w 324"/>
                  <a:gd name="T59" fmla="*/ 5 h 153"/>
                  <a:gd name="T60" fmla="*/ 194 w 324"/>
                  <a:gd name="T61" fmla="*/ 1 h 153"/>
                  <a:gd name="T62" fmla="*/ 161 w 324"/>
                  <a:gd name="T63" fmla="*/ 0 h 153"/>
                  <a:gd name="T64" fmla="*/ 134 w 324"/>
                  <a:gd name="T65" fmla="*/ 1 h 153"/>
                  <a:gd name="T66" fmla="*/ 72 w 324"/>
                  <a:gd name="T67" fmla="*/ 8 h 153"/>
                  <a:gd name="T68" fmla="*/ 41 w 324"/>
                  <a:gd name="T69" fmla="*/ 14 h 153"/>
                  <a:gd name="T70" fmla="*/ 17 w 324"/>
                  <a:gd name="T71" fmla="*/ 27 h 153"/>
                  <a:gd name="T72" fmla="*/ 144 w 324"/>
                  <a:gd name="T73" fmla="*/ 18 h 153"/>
                  <a:gd name="T74" fmla="*/ 149 w 324"/>
                  <a:gd name="T75" fmla="*/ 18 h 153"/>
                  <a:gd name="T76" fmla="*/ 161 w 324"/>
                  <a:gd name="T77" fmla="*/ 18 h 153"/>
                  <a:gd name="T78" fmla="*/ 187 w 324"/>
                  <a:gd name="T79" fmla="*/ 18 h 153"/>
                  <a:gd name="T80" fmla="*/ 233 w 324"/>
                  <a:gd name="T81" fmla="*/ 22 h 153"/>
                  <a:gd name="T82" fmla="*/ 266 w 324"/>
                  <a:gd name="T83" fmla="*/ 31 h 153"/>
                  <a:gd name="T84" fmla="*/ 285 w 324"/>
                  <a:gd name="T85" fmla="*/ 40 h 153"/>
                  <a:gd name="T86" fmla="*/ 288 w 324"/>
                  <a:gd name="T87" fmla="*/ 45 h 153"/>
                  <a:gd name="T88" fmla="*/ 287 w 324"/>
                  <a:gd name="T89" fmla="*/ 49 h 153"/>
                  <a:gd name="T90" fmla="*/ 285 w 324"/>
                  <a:gd name="T91" fmla="*/ 52 h 153"/>
                  <a:gd name="T92" fmla="*/ 266 w 324"/>
                  <a:gd name="T93" fmla="*/ 44 h 153"/>
                  <a:gd name="T94" fmla="*/ 238 w 324"/>
                  <a:gd name="T95" fmla="*/ 39 h 153"/>
                  <a:gd name="T96" fmla="*/ 161 w 324"/>
                  <a:gd name="T97" fmla="*/ 33 h 153"/>
                  <a:gd name="T98" fmla="*/ 152 w 324"/>
                  <a:gd name="T99" fmla="*/ 33 h 153"/>
                  <a:gd name="T100" fmla="*/ 122 w 324"/>
                  <a:gd name="T101" fmla="*/ 35 h 153"/>
                  <a:gd name="T102" fmla="*/ 95 w 324"/>
                  <a:gd name="T103" fmla="*/ 37 h 153"/>
                  <a:gd name="T104" fmla="*/ 62 w 324"/>
                  <a:gd name="T105" fmla="*/ 44 h 153"/>
                  <a:gd name="T106" fmla="*/ 48 w 324"/>
                  <a:gd name="T107" fmla="*/ 47 h 153"/>
                  <a:gd name="T108" fmla="*/ 39 w 324"/>
                  <a:gd name="T109" fmla="*/ 52 h 153"/>
                  <a:gd name="T110" fmla="*/ 36 w 324"/>
                  <a:gd name="T111" fmla="*/ 47 h 153"/>
                  <a:gd name="T112" fmla="*/ 36 w 324"/>
                  <a:gd name="T113" fmla="*/ 45 h 153"/>
                  <a:gd name="T114" fmla="*/ 36 w 324"/>
                  <a:gd name="T115" fmla="*/ 43 h 153"/>
                  <a:gd name="T116" fmla="*/ 44 w 324"/>
                  <a:gd name="T117" fmla="*/ 36 h 153"/>
                  <a:gd name="T118" fmla="*/ 67 w 324"/>
                  <a:gd name="T119" fmla="*/ 28 h 153"/>
                  <a:gd name="T120" fmla="*/ 102 w 324"/>
                  <a:gd name="T121" fmla="*/ 21 h 153"/>
                  <a:gd name="T122" fmla="*/ 144 w 324"/>
                  <a:gd name="T123" fmla="*/ 1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4" h="153">
                    <a:moveTo>
                      <a:pt x="17" y="27"/>
                    </a:moveTo>
                    <a:lnTo>
                      <a:pt x="17" y="27"/>
                    </a:lnTo>
                    <a:lnTo>
                      <a:pt x="10" y="32"/>
                    </a:lnTo>
                    <a:lnTo>
                      <a:pt x="5" y="39"/>
                    </a:lnTo>
                    <a:lnTo>
                      <a:pt x="5" y="39"/>
                    </a:lnTo>
                    <a:lnTo>
                      <a:pt x="4" y="43"/>
                    </a:lnTo>
                    <a:lnTo>
                      <a:pt x="1" y="48"/>
                    </a:lnTo>
                    <a:lnTo>
                      <a:pt x="1" y="48"/>
                    </a:lnTo>
                    <a:lnTo>
                      <a:pt x="0" y="62"/>
                    </a:lnTo>
                    <a:lnTo>
                      <a:pt x="0" y="76"/>
                    </a:lnTo>
                    <a:lnTo>
                      <a:pt x="0" y="76"/>
                    </a:lnTo>
                    <a:lnTo>
                      <a:pt x="0" y="94"/>
                    </a:lnTo>
                    <a:lnTo>
                      <a:pt x="1" y="102"/>
                    </a:lnTo>
                    <a:lnTo>
                      <a:pt x="2" y="109"/>
                    </a:lnTo>
                    <a:lnTo>
                      <a:pt x="2" y="109"/>
                    </a:lnTo>
                    <a:lnTo>
                      <a:pt x="6" y="116"/>
                    </a:lnTo>
                    <a:lnTo>
                      <a:pt x="6" y="116"/>
                    </a:lnTo>
                    <a:lnTo>
                      <a:pt x="10" y="121"/>
                    </a:lnTo>
                    <a:lnTo>
                      <a:pt x="17" y="126"/>
                    </a:lnTo>
                    <a:lnTo>
                      <a:pt x="17" y="126"/>
                    </a:lnTo>
                    <a:lnTo>
                      <a:pt x="26" y="132"/>
                    </a:lnTo>
                    <a:lnTo>
                      <a:pt x="37" y="137"/>
                    </a:lnTo>
                    <a:lnTo>
                      <a:pt x="49" y="141"/>
                    </a:lnTo>
                    <a:lnTo>
                      <a:pt x="62" y="144"/>
                    </a:lnTo>
                    <a:lnTo>
                      <a:pt x="62" y="144"/>
                    </a:lnTo>
                    <a:lnTo>
                      <a:pt x="86" y="148"/>
                    </a:lnTo>
                    <a:lnTo>
                      <a:pt x="111" y="151"/>
                    </a:lnTo>
                    <a:lnTo>
                      <a:pt x="133" y="153"/>
                    </a:lnTo>
                    <a:lnTo>
                      <a:pt x="152" y="153"/>
                    </a:lnTo>
                    <a:lnTo>
                      <a:pt x="152" y="153"/>
                    </a:lnTo>
                    <a:lnTo>
                      <a:pt x="161" y="153"/>
                    </a:lnTo>
                    <a:lnTo>
                      <a:pt x="161" y="153"/>
                    </a:lnTo>
                    <a:lnTo>
                      <a:pt x="192" y="152"/>
                    </a:lnTo>
                    <a:lnTo>
                      <a:pt x="215" y="151"/>
                    </a:lnTo>
                    <a:lnTo>
                      <a:pt x="240" y="148"/>
                    </a:lnTo>
                    <a:lnTo>
                      <a:pt x="264" y="144"/>
                    </a:lnTo>
                    <a:lnTo>
                      <a:pt x="287" y="137"/>
                    </a:lnTo>
                    <a:lnTo>
                      <a:pt x="296" y="133"/>
                    </a:lnTo>
                    <a:lnTo>
                      <a:pt x="304" y="128"/>
                    </a:lnTo>
                    <a:lnTo>
                      <a:pt x="312" y="122"/>
                    </a:lnTo>
                    <a:lnTo>
                      <a:pt x="318" y="117"/>
                    </a:lnTo>
                    <a:lnTo>
                      <a:pt x="318" y="117"/>
                    </a:lnTo>
                    <a:lnTo>
                      <a:pt x="320" y="113"/>
                    </a:lnTo>
                    <a:lnTo>
                      <a:pt x="322" y="109"/>
                    </a:lnTo>
                    <a:lnTo>
                      <a:pt x="322" y="109"/>
                    </a:lnTo>
                    <a:lnTo>
                      <a:pt x="323" y="102"/>
                    </a:lnTo>
                    <a:lnTo>
                      <a:pt x="324" y="94"/>
                    </a:lnTo>
                    <a:lnTo>
                      <a:pt x="324" y="76"/>
                    </a:lnTo>
                    <a:lnTo>
                      <a:pt x="324" y="76"/>
                    </a:lnTo>
                    <a:lnTo>
                      <a:pt x="324" y="64"/>
                    </a:lnTo>
                    <a:lnTo>
                      <a:pt x="323" y="53"/>
                    </a:lnTo>
                    <a:lnTo>
                      <a:pt x="322" y="44"/>
                    </a:lnTo>
                    <a:lnTo>
                      <a:pt x="318" y="37"/>
                    </a:lnTo>
                    <a:lnTo>
                      <a:pt x="318" y="37"/>
                    </a:lnTo>
                    <a:lnTo>
                      <a:pt x="312" y="31"/>
                    </a:lnTo>
                    <a:lnTo>
                      <a:pt x="306" y="25"/>
                    </a:lnTo>
                    <a:lnTo>
                      <a:pt x="298" y="21"/>
                    </a:lnTo>
                    <a:lnTo>
                      <a:pt x="287" y="17"/>
                    </a:lnTo>
                    <a:lnTo>
                      <a:pt x="265" y="10"/>
                    </a:lnTo>
                    <a:lnTo>
                      <a:pt x="241" y="5"/>
                    </a:lnTo>
                    <a:lnTo>
                      <a:pt x="215" y="2"/>
                    </a:lnTo>
                    <a:lnTo>
                      <a:pt x="194" y="1"/>
                    </a:lnTo>
                    <a:lnTo>
                      <a:pt x="161" y="0"/>
                    </a:lnTo>
                    <a:lnTo>
                      <a:pt x="161" y="0"/>
                    </a:lnTo>
                    <a:lnTo>
                      <a:pt x="134" y="1"/>
                    </a:lnTo>
                    <a:lnTo>
                      <a:pt x="134" y="1"/>
                    </a:lnTo>
                    <a:lnTo>
                      <a:pt x="105" y="2"/>
                    </a:lnTo>
                    <a:lnTo>
                      <a:pt x="72" y="8"/>
                    </a:lnTo>
                    <a:lnTo>
                      <a:pt x="56" y="10"/>
                    </a:lnTo>
                    <a:lnTo>
                      <a:pt x="41" y="14"/>
                    </a:lnTo>
                    <a:lnTo>
                      <a:pt x="28" y="20"/>
                    </a:lnTo>
                    <a:lnTo>
                      <a:pt x="17" y="27"/>
                    </a:lnTo>
                    <a:lnTo>
                      <a:pt x="17" y="27"/>
                    </a:lnTo>
                    <a:close/>
                    <a:moveTo>
                      <a:pt x="144" y="18"/>
                    </a:moveTo>
                    <a:lnTo>
                      <a:pt x="144" y="18"/>
                    </a:lnTo>
                    <a:lnTo>
                      <a:pt x="149" y="18"/>
                    </a:lnTo>
                    <a:lnTo>
                      <a:pt x="149" y="18"/>
                    </a:lnTo>
                    <a:lnTo>
                      <a:pt x="161" y="18"/>
                    </a:lnTo>
                    <a:lnTo>
                      <a:pt x="161" y="18"/>
                    </a:lnTo>
                    <a:lnTo>
                      <a:pt x="187" y="18"/>
                    </a:lnTo>
                    <a:lnTo>
                      <a:pt x="211" y="20"/>
                    </a:lnTo>
                    <a:lnTo>
                      <a:pt x="233" y="22"/>
                    </a:lnTo>
                    <a:lnTo>
                      <a:pt x="250" y="27"/>
                    </a:lnTo>
                    <a:lnTo>
                      <a:pt x="266" y="31"/>
                    </a:lnTo>
                    <a:lnTo>
                      <a:pt x="277" y="35"/>
                    </a:lnTo>
                    <a:lnTo>
                      <a:pt x="285" y="40"/>
                    </a:lnTo>
                    <a:lnTo>
                      <a:pt x="287" y="43"/>
                    </a:lnTo>
                    <a:lnTo>
                      <a:pt x="288" y="45"/>
                    </a:lnTo>
                    <a:lnTo>
                      <a:pt x="288" y="45"/>
                    </a:lnTo>
                    <a:lnTo>
                      <a:pt x="287" y="49"/>
                    </a:lnTo>
                    <a:lnTo>
                      <a:pt x="285" y="52"/>
                    </a:lnTo>
                    <a:lnTo>
                      <a:pt x="285" y="52"/>
                    </a:lnTo>
                    <a:lnTo>
                      <a:pt x="277" y="48"/>
                    </a:lnTo>
                    <a:lnTo>
                      <a:pt x="266" y="44"/>
                    </a:lnTo>
                    <a:lnTo>
                      <a:pt x="253" y="41"/>
                    </a:lnTo>
                    <a:lnTo>
                      <a:pt x="238" y="39"/>
                    </a:lnTo>
                    <a:lnTo>
                      <a:pt x="203" y="35"/>
                    </a:lnTo>
                    <a:lnTo>
                      <a:pt x="161" y="33"/>
                    </a:lnTo>
                    <a:lnTo>
                      <a:pt x="161" y="33"/>
                    </a:lnTo>
                    <a:lnTo>
                      <a:pt x="152" y="33"/>
                    </a:lnTo>
                    <a:lnTo>
                      <a:pt x="152" y="33"/>
                    </a:lnTo>
                    <a:lnTo>
                      <a:pt x="122" y="35"/>
                    </a:lnTo>
                    <a:lnTo>
                      <a:pt x="95" y="37"/>
                    </a:lnTo>
                    <a:lnTo>
                      <a:pt x="95" y="37"/>
                    </a:lnTo>
                    <a:lnTo>
                      <a:pt x="78" y="40"/>
                    </a:lnTo>
                    <a:lnTo>
                      <a:pt x="62" y="44"/>
                    </a:lnTo>
                    <a:lnTo>
                      <a:pt x="62" y="44"/>
                    </a:lnTo>
                    <a:lnTo>
                      <a:pt x="48" y="47"/>
                    </a:lnTo>
                    <a:lnTo>
                      <a:pt x="39" y="52"/>
                    </a:lnTo>
                    <a:lnTo>
                      <a:pt x="39" y="52"/>
                    </a:lnTo>
                    <a:lnTo>
                      <a:pt x="37" y="49"/>
                    </a:lnTo>
                    <a:lnTo>
                      <a:pt x="36" y="47"/>
                    </a:lnTo>
                    <a:lnTo>
                      <a:pt x="36" y="47"/>
                    </a:lnTo>
                    <a:lnTo>
                      <a:pt x="36" y="45"/>
                    </a:lnTo>
                    <a:lnTo>
                      <a:pt x="36" y="45"/>
                    </a:lnTo>
                    <a:lnTo>
                      <a:pt x="36" y="43"/>
                    </a:lnTo>
                    <a:lnTo>
                      <a:pt x="39" y="41"/>
                    </a:lnTo>
                    <a:lnTo>
                      <a:pt x="44" y="36"/>
                    </a:lnTo>
                    <a:lnTo>
                      <a:pt x="53" y="32"/>
                    </a:lnTo>
                    <a:lnTo>
                      <a:pt x="67" y="28"/>
                    </a:lnTo>
                    <a:lnTo>
                      <a:pt x="83" y="24"/>
                    </a:lnTo>
                    <a:lnTo>
                      <a:pt x="102" y="21"/>
                    </a:lnTo>
                    <a:lnTo>
                      <a:pt x="122" y="20"/>
                    </a:lnTo>
                    <a:lnTo>
                      <a:pt x="144" y="18"/>
                    </a:lnTo>
                    <a:lnTo>
                      <a:pt x="144"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27" name="Group 26">
            <a:extLst>
              <a:ext uri="{FF2B5EF4-FFF2-40B4-BE49-F238E27FC236}">
                <a16:creationId xmlns:a16="http://schemas.microsoft.com/office/drawing/2014/main" id="{90210865-E607-4C8E-A2C4-A1C897A3BB89}"/>
              </a:ext>
            </a:extLst>
          </p:cNvPr>
          <p:cNvGrpSpPr/>
          <p:nvPr/>
        </p:nvGrpSpPr>
        <p:grpSpPr>
          <a:xfrm>
            <a:off x="5650600" y="3005421"/>
            <a:ext cx="2834181" cy="1559281"/>
            <a:chOff x="5650600" y="3005421"/>
            <a:chExt cx="2834181" cy="1559281"/>
          </a:xfrm>
        </p:grpSpPr>
        <p:sp>
          <p:nvSpPr>
            <p:cNvPr id="689" name="TextBox 688">
              <a:extLst>
                <a:ext uri="{FF2B5EF4-FFF2-40B4-BE49-F238E27FC236}">
                  <a16:creationId xmlns:a16="http://schemas.microsoft.com/office/drawing/2014/main" id="{1D6D3AE7-F87B-4F02-A332-93A9E5A14332}"/>
                </a:ext>
              </a:extLst>
            </p:cNvPr>
            <p:cNvSpPr txBox="1"/>
            <p:nvPr/>
          </p:nvSpPr>
          <p:spPr>
            <a:xfrm>
              <a:off x="5821341" y="3252328"/>
              <a:ext cx="548640" cy="313932"/>
            </a:xfrm>
            <a:prstGeom prst="rect">
              <a:avLst/>
            </a:prstGeom>
            <a:noFill/>
          </p:spPr>
          <p:txBody>
            <a:bodyPr wrap="square" rtlCol="0">
              <a:spAutoFit/>
            </a:bodyPr>
            <a:lstStyle/>
            <a:p>
              <a:pPr marL="0" marR="0" lvl="0" indent="0" algn="r"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5073"/>
                  </a:solidFill>
                  <a:effectLst/>
                  <a:uLnTx/>
                  <a:uFillTx/>
                  <a:latin typeface="CiscoSansTT ExtraLight" panose="020B0303020201020303" pitchFamily="34" charset="0"/>
                  <a:ea typeface="Arial" charset="0"/>
                  <a:cs typeface="CiscoSansTT ExtraLight" panose="020B0303020201020303" pitchFamily="34" charset="0"/>
                </a:rPr>
                <a:t>Flow Sensor</a:t>
              </a:r>
            </a:p>
          </p:txBody>
        </p:sp>
        <p:sp>
          <p:nvSpPr>
            <p:cNvPr id="690" name="TextBox 689">
              <a:extLst>
                <a:ext uri="{FF2B5EF4-FFF2-40B4-BE49-F238E27FC236}">
                  <a16:creationId xmlns:a16="http://schemas.microsoft.com/office/drawing/2014/main" id="{F8EA79AC-C112-44A1-AA09-25E9F572C1B3}"/>
                </a:ext>
              </a:extLst>
            </p:cNvPr>
            <p:cNvSpPr txBox="1"/>
            <p:nvPr/>
          </p:nvSpPr>
          <p:spPr>
            <a:xfrm>
              <a:off x="7499332" y="3252328"/>
              <a:ext cx="985449" cy="313932"/>
            </a:xfrm>
            <a:prstGeom prst="rect">
              <a:avLst/>
            </a:prstGeom>
            <a:noFill/>
          </p:spPr>
          <p:txBody>
            <a:bodyPr wrap="square" rtlCol="0">
              <a:spAutoFit/>
            </a:bodyPr>
            <a:lstStyle/>
            <a:p>
              <a:pPr marL="0" marR="0" lvl="0" indent="0" algn="l"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5073"/>
                  </a:solidFill>
                  <a:effectLst/>
                  <a:uLnTx/>
                  <a:uFillTx/>
                  <a:latin typeface="CiscoSansTT ExtraLight" panose="020B0303020201020303" pitchFamily="34" charset="0"/>
                  <a:ea typeface="Arial" charset="0"/>
                  <a:cs typeface="CiscoSansTT ExtraLight" panose="020B0303020201020303" pitchFamily="34" charset="0"/>
                </a:rPr>
                <a:t>Hypervisor with Flow Sensor VE</a:t>
              </a:r>
            </a:p>
          </p:txBody>
        </p:sp>
        <p:grpSp>
          <p:nvGrpSpPr>
            <p:cNvPr id="691" name="Group 690">
              <a:extLst>
                <a:ext uri="{FF2B5EF4-FFF2-40B4-BE49-F238E27FC236}">
                  <a16:creationId xmlns:a16="http://schemas.microsoft.com/office/drawing/2014/main" id="{D4E486C0-F0C8-4269-9A40-D113120C4B92}"/>
                </a:ext>
              </a:extLst>
            </p:cNvPr>
            <p:cNvGrpSpPr/>
            <p:nvPr/>
          </p:nvGrpSpPr>
          <p:grpSpPr>
            <a:xfrm>
              <a:off x="6929631" y="3080252"/>
              <a:ext cx="597702" cy="624415"/>
              <a:chOff x="6825890" y="2571750"/>
              <a:chExt cx="597702" cy="624415"/>
            </a:xfrm>
          </p:grpSpPr>
          <p:grpSp>
            <p:nvGrpSpPr>
              <p:cNvPr id="692" name="Group 691">
                <a:extLst>
                  <a:ext uri="{FF2B5EF4-FFF2-40B4-BE49-F238E27FC236}">
                    <a16:creationId xmlns:a16="http://schemas.microsoft.com/office/drawing/2014/main" id="{D99BC3ED-8566-4EC7-8D46-C5AE02E6AE4B}"/>
                  </a:ext>
                </a:extLst>
              </p:cNvPr>
              <p:cNvGrpSpPr>
                <a:grpSpLocks noChangeAspect="1"/>
              </p:cNvGrpSpPr>
              <p:nvPr/>
            </p:nvGrpSpPr>
            <p:grpSpPr>
              <a:xfrm>
                <a:off x="6897630" y="2738965"/>
                <a:ext cx="457200" cy="457200"/>
                <a:chOff x="8281099" y="2136452"/>
                <a:chExt cx="640080" cy="640080"/>
              </a:xfrm>
            </p:grpSpPr>
            <p:sp>
              <p:nvSpPr>
                <p:cNvPr id="701" name="Oval 700">
                  <a:extLst>
                    <a:ext uri="{FF2B5EF4-FFF2-40B4-BE49-F238E27FC236}">
                      <a16:creationId xmlns:a16="http://schemas.microsoft.com/office/drawing/2014/main" id="{BF86AAF0-82FD-4314-9ABB-9F3D485EE017}"/>
                    </a:ext>
                  </a:extLst>
                </p:cNvPr>
                <p:cNvSpPr>
                  <a:spLocks noChangeAspect="1"/>
                </p:cNvSpPr>
                <p:nvPr/>
              </p:nvSpPr>
              <p:spPr>
                <a:xfrm>
                  <a:off x="8281099" y="2136452"/>
                  <a:ext cx="640080" cy="64008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02" name="Freeform 355">
                  <a:extLst>
                    <a:ext uri="{FF2B5EF4-FFF2-40B4-BE49-F238E27FC236}">
                      <a16:creationId xmlns:a16="http://schemas.microsoft.com/office/drawing/2014/main" id="{2074D753-2906-4BD4-BE6E-127E6D95B525}"/>
                    </a:ext>
                  </a:extLst>
                </p:cNvPr>
                <p:cNvSpPr/>
                <p:nvPr/>
              </p:nvSpPr>
              <p:spPr>
                <a:xfrm rot="18900000">
                  <a:off x="8517403" y="2462837"/>
                  <a:ext cx="167472" cy="168020"/>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03" name="Freeform 356">
                  <a:extLst>
                    <a:ext uri="{FF2B5EF4-FFF2-40B4-BE49-F238E27FC236}">
                      <a16:creationId xmlns:a16="http://schemas.microsoft.com/office/drawing/2014/main" id="{5F8F2440-BCE4-448C-9839-5F482A056545}"/>
                    </a:ext>
                  </a:extLst>
                </p:cNvPr>
                <p:cNvSpPr/>
                <p:nvPr/>
              </p:nvSpPr>
              <p:spPr>
                <a:xfrm rot="8100000">
                  <a:off x="8517403" y="2282126"/>
                  <a:ext cx="167472" cy="168020"/>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693" name="Group 692">
                <a:extLst>
                  <a:ext uri="{FF2B5EF4-FFF2-40B4-BE49-F238E27FC236}">
                    <a16:creationId xmlns:a16="http://schemas.microsoft.com/office/drawing/2014/main" id="{7DBB3C20-4393-4914-AF1F-475854D6E2F3}"/>
                  </a:ext>
                </a:extLst>
              </p:cNvPr>
              <p:cNvGrpSpPr>
                <a:grpSpLocks noChangeAspect="1"/>
              </p:cNvGrpSpPr>
              <p:nvPr/>
            </p:nvGrpSpPr>
            <p:grpSpPr>
              <a:xfrm>
                <a:off x="7005797" y="2571750"/>
                <a:ext cx="228600" cy="228600"/>
                <a:chOff x="6628321" y="1784734"/>
                <a:chExt cx="457200" cy="457200"/>
              </a:xfrm>
            </p:grpSpPr>
            <p:sp>
              <p:nvSpPr>
                <p:cNvPr id="696" name="Oval 695">
                  <a:extLst>
                    <a:ext uri="{FF2B5EF4-FFF2-40B4-BE49-F238E27FC236}">
                      <a16:creationId xmlns:a16="http://schemas.microsoft.com/office/drawing/2014/main" id="{57E2824D-2E47-4954-924D-90165D157630}"/>
                    </a:ext>
                  </a:extLst>
                </p:cNvPr>
                <p:cNvSpPr>
                  <a:spLocks noChangeAspect="1"/>
                </p:cNvSpPr>
                <p:nvPr/>
              </p:nvSpPr>
              <p:spPr>
                <a:xfrm>
                  <a:off x="6628321" y="1784734"/>
                  <a:ext cx="457200" cy="4572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697" name="Group 696">
                  <a:extLst>
                    <a:ext uri="{FF2B5EF4-FFF2-40B4-BE49-F238E27FC236}">
                      <a16:creationId xmlns:a16="http://schemas.microsoft.com/office/drawing/2014/main" id="{9FC54CD7-29EC-4A6C-BEF0-312E6BB99666}"/>
                    </a:ext>
                  </a:extLst>
                </p:cNvPr>
                <p:cNvGrpSpPr/>
                <p:nvPr/>
              </p:nvGrpSpPr>
              <p:grpSpPr>
                <a:xfrm>
                  <a:off x="6665855" y="1883293"/>
                  <a:ext cx="382132" cy="237206"/>
                  <a:chOff x="6656844" y="1868072"/>
                  <a:chExt cx="382132" cy="237206"/>
                </a:xfrm>
              </p:grpSpPr>
              <p:sp>
                <p:nvSpPr>
                  <p:cNvPr id="698" name="Rounded Rectangle 350">
                    <a:extLst>
                      <a:ext uri="{FF2B5EF4-FFF2-40B4-BE49-F238E27FC236}">
                        <a16:creationId xmlns:a16="http://schemas.microsoft.com/office/drawing/2014/main" id="{B92B8616-8015-4F9C-95BD-9AE7CC5FB5C7}"/>
                      </a:ext>
                    </a:extLst>
                  </p:cNvPr>
                  <p:cNvSpPr/>
                  <p:nvPr/>
                </p:nvSpPr>
                <p:spPr>
                  <a:xfrm>
                    <a:off x="6656844" y="2014695"/>
                    <a:ext cx="382132" cy="51119"/>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99" name="Freeform 351">
                    <a:extLst>
                      <a:ext uri="{FF2B5EF4-FFF2-40B4-BE49-F238E27FC236}">
                        <a16:creationId xmlns:a16="http://schemas.microsoft.com/office/drawing/2014/main" id="{3C875BBF-7C9F-4C96-AD3B-BB862734120A}"/>
                      </a:ext>
                    </a:extLst>
                  </p:cNvPr>
                  <p:cNvSpPr/>
                  <p:nvPr/>
                </p:nvSpPr>
                <p:spPr>
                  <a:xfrm rot="13500000">
                    <a:off x="6788099" y="1867877"/>
                    <a:ext cx="119623" cy="120014"/>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00" name="Oval 699">
                    <a:extLst>
                      <a:ext uri="{FF2B5EF4-FFF2-40B4-BE49-F238E27FC236}">
                        <a16:creationId xmlns:a16="http://schemas.microsoft.com/office/drawing/2014/main" id="{CD10BEF5-DA73-418E-A3A2-36EB90A479AF}"/>
                      </a:ext>
                    </a:extLst>
                  </p:cNvPr>
                  <p:cNvSpPr>
                    <a:spLocks noChangeAspect="1"/>
                  </p:cNvSpPr>
                  <p:nvPr/>
                </p:nvSpPr>
                <p:spPr>
                  <a:xfrm>
                    <a:off x="6782887" y="1975232"/>
                    <a:ext cx="130048" cy="130046"/>
                  </a:xfrm>
                  <a:prstGeom prst="ellipse">
                    <a:avLst/>
                  </a:prstGeom>
                  <a:solidFill>
                    <a:schemeClr val="bg1"/>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sp>
            <p:nvSpPr>
              <p:cNvPr id="694" name="Oval 693">
                <a:extLst>
                  <a:ext uri="{FF2B5EF4-FFF2-40B4-BE49-F238E27FC236}">
                    <a16:creationId xmlns:a16="http://schemas.microsoft.com/office/drawing/2014/main" id="{73469F90-02CF-4211-A0C3-9433DC9B46ED}"/>
                  </a:ext>
                </a:extLst>
              </p:cNvPr>
              <p:cNvSpPr>
                <a:spLocks noChangeAspect="1"/>
              </p:cNvSpPr>
              <p:nvPr/>
            </p:nvSpPr>
            <p:spPr>
              <a:xfrm>
                <a:off x="7260845" y="2886191"/>
                <a:ext cx="162747" cy="162747"/>
              </a:xfrm>
              <a:prstGeom prst="ellipse">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tIns="64008"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CiscoSansTT ExtraLight"/>
                    <a:ea typeface="+mn-ea"/>
                    <a:cs typeface="+mn-cs"/>
                  </a:rPr>
                  <a:t>VM</a:t>
                </a:r>
              </a:p>
            </p:txBody>
          </p:sp>
          <p:sp>
            <p:nvSpPr>
              <p:cNvPr id="695" name="Oval 694">
                <a:extLst>
                  <a:ext uri="{FF2B5EF4-FFF2-40B4-BE49-F238E27FC236}">
                    <a16:creationId xmlns:a16="http://schemas.microsoft.com/office/drawing/2014/main" id="{15B51C49-253C-4979-8451-7A62E439834A}"/>
                  </a:ext>
                </a:extLst>
              </p:cNvPr>
              <p:cNvSpPr>
                <a:spLocks noChangeAspect="1"/>
              </p:cNvSpPr>
              <p:nvPr/>
            </p:nvSpPr>
            <p:spPr>
              <a:xfrm>
                <a:off x="6825890" y="2886191"/>
                <a:ext cx="162747" cy="162747"/>
              </a:xfrm>
              <a:prstGeom prst="ellipse">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tIns="64008"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CiscoSansTT ExtraLight"/>
                    <a:ea typeface="+mn-ea"/>
                    <a:cs typeface="+mn-cs"/>
                  </a:rPr>
                  <a:t>VM</a:t>
                </a:r>
              </a:p>
            </p:txBody>
          </p:sp>
        </p:grpSp>
        <p:sp>
          <p:nvSpPr>
            <p:cNvPr id="704" name="TextBox 703">
              <a:extLst>
                <a:ext uri="{FF2B5EF4-FFF2-40B4-BE49-F238E27FC236}">
                  <a16:creationId xmlns:a16="http://schemas.microsoft.com/office/drawing/2014/main" id="{CB37419B-9FC0-4511-B6D6-DCE063CE8C48}"/>
                </a:ext>
              </a:extLst>
            </p:cNvPr>
            <p:cNvSpPr txBox="1"/>
            <p:nvPr/>
          </p:nvSpPr>
          <p:spPr>
            <a:xfrm>
              <a:off x="6143873" y="4250770"/>
              <a:ext cx="1515042" cy="313932"/>
            </a:xfrm>
            <a:prstGeom prst="rect">
              <a:avLst/>
            </a:prstGeom>
            <a:noFill/>
          </p:spPr>
          <p:txBody>
            <a:bodyPr wrap="square" rtlCol="0">
              <a:spAutoFit/>
            </a:bodyPr>
            <a:lstStyle/>
            <a:p>
              <a:pPr marL="0" marR="0" lvl="0" indent="0" algn="ctr"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EBE4A">
                      <a:lumMod val="75000"/>
                    </a:srgbClr>
                  </a:solidFill>
                  <a:effectLst/>
                  <a:uLnTx/>
                  <a:uFillTx/>
                  <a:latin typeface="CiscoSansTT ExtraLight" panose="020B0303020201020303" pitchFamily="34" charset="0"/>
                  <a:ea typeface="Arial" charset="0"/>
                  <a:cs typeface="CiscoSansTT ExtraLight" panose="020B0303020201020303" pitchFamily="34" charset="0"/>
                </a:rPr>
                <a:t>Non-NetFlow enabled equipment</a:t>
              </a:r>
            </a:p>
          </p:txBody>
        </p:sp>
        <p:cxnSp>
          <p:nvCxnSpPr>
            <p:cNvPr id="705" name="STEP 1">
              <a:extLst>
                <a:ext uri="{FF2B5EF4-FFF2-40B4-BE49-F238E27FC236}">
                  <a16:creationId xmlns:a16="http://schemas.microsoft.com/office/drawing/2014/main" id="{104A1C05-2B89-4ECB-A823-8FD9440DFEA3}"/>
                </a:ext>
              </a:extLst>
            </p:cNvPr>
            <p:cNvCxnSpPr>
              <a:cxnSpLocks/>
              <a:endCxn id="629" idx="6"/>
            </p:cNvCxnSpPr>
            <p:nvPr/>
          </p:nvCxnSpPr>
          <p:spPr bwMode="auto">
            <a:xfrm rot="10800000">
              <a:off x="5650600" y="3005422"/>
              <a:ext cx="930735" cy="819089"/>
            </a:xfrm>
            <a:prstGeom prst="bentConnector3">
              <a:avLst>
                <a:gd name="adj1" fmla="val 447"/>
              </a:avLst>
            </a:prstGeom>
            <a:ln w="12700" cap="rnd" cmpd="sng">
              <a:solidFill>
                <a:schemeClr val="accent2"/>
              </a:solidFill>
              <a:prstDash val="dash"/>
              <a:headEnd type="none" w="med" len="med"/>
              <a:tailEnd type="arrow" w="lg" len="med"/>
            </a:ln>
            <a:effectLst/>
          </p:spPr>
          <p:style>
            <a:lnRef idx="2">
              <a:schemeClr val="accent4"/>
            </a:lnRef>
            <a:fillRef idx="0">
              <a:schemeClr val="accent4"/>
            </a:fillRef>
            <a:effectRef idx="1">
              <a:schemeClr val="accent4"/>
            </a:effectRef>
            <a:fontRef idx="minor">
              <a:schemeClr val="tx1"/>
            </a:fontRef>
          </p:style>
        </p:cxnSp>
        <p:sp>
          <p:nvSpPr>
            <p:cNvPr id="706" name="Rounded Rectangle 389">
              <a:extLst>
                <a:ext uri="{FF2B5EF4-FFF2-40B4-BE49-F238E27FC236}">
                  <a16:creationId xmlns:a16="http://schemas.microsoft.com/office/drawing/2014/main" id="{B01DAEC1-79C5-4BF2-9EFC-6ABB56992741}"/>
                </a:ext>
              </a:extLst>
            </p:cNvPr>
            <p:cNvSpPr/>
            <p:nvPr/>
          </p:nvSpPr>
          <p:spPr>
            <a:xfrm>
              <a:off x="6351968" y="3828493"/>
              <a:ext cx="1111440" cy="410299"/>
            </a:xfrm>
            <a:prstGeom prst="roundRect">
              <a:avLst>
                <a:gd name="adj" fmla="val 50000"/>
              </a:avLst>
            </a:prstGeom>
            <a:noFill/>
            <a:ln w="12700" cap="rnd" cmpd="sng">
              <a:solidFill>
                <a:schemeClr val="accent2"/>
              </a:solidFill>
              <a:prstDash val="dash"/>
              <a:headEnd type="none" w="med" len="med"/>
              <a:tailEnd type="arrow" w="lg" len="lg"/>
            </a:ln>
            <a:effectLst/>
          </p:spPr>
          <p:style>
            <a:lnRef idx="2">
              <a:schemeClr val="accent4"/>
            </a:lnRef>
            <a:fillRef idx="0">
              <a:schemeClr val="accent4"/>
            </a:fillRef>
            <a:effectRef idx="1">
              <a:schemeClr val="accent4"/>
            </a:effectRef>
            <a:fontRef idx="minor">
              <a:schemeClr val="tx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lumMod val="75000"/>
                    <a:lumOff val="25000"/>
                  </a:srgbClr>
                </a:solidFill>
                <a:effectLst/>
                <a:uLnTx/>
                <a:uFillTx/>
                <a:latin typeface="CiscoSansTT ExtraLight"/>
                <a:ea typeface="+mn-ea"/>
                <a:cs typeface="+mn-cs"/>
              </a:endParaRPr>
            </a:p>
          </p:txBody>
        </p:sp>
        <p:grpSp>
          <p:nvGrpSpPr>
            <p:cNvPr id="707" name="Group 706">
              <a:extLst>
                <a:ext uri="{FF2B5EF4-FFF2-40B4-BE49-F238E27FC236}">
                  <a16:creationId xmlns:a16="http://schemas.microsoft.com/office/drawing/2014/main" id="{31DC4872-6397-4187-B581-2FAB35334CDB}"/>
                </a:ext>
              </a:extLst>
            </p:cNvPr>
            <p:cNvGrpSpPr/>
            <p:nvPr/>
          </p:nvGrpSpPr>
          <p:grpSpPr>
            <a:xfrm>
              <a:off x="6770528" y="3896482"/>
              <a:ext cx="274320" cy="274320"/>
              <a:chOff x="3270222" y="3881977"/>
              <a:chExt cx="274320" cy="274320"/>
            </a:xfrm>
          </p:grpSpPr>
          <p:sp>
            <p:nvSpPr>
              <p:cNvPr id="708" name="Oval 707">
                <a:extLst>
                  <a:ext uri="{FF2B5EF4-FFF2-40B4-BE49-F238E27FC236}">
                    <a16:creationId xmlns:a16="http://schemas.microsoft.com/office/drawing/2014/main" id="{E4035543-90D1-4915-8480-F7718CF73336}"/>
                  </a:ext>
                </a:extLst>
              </p:cNvPr>
              <p:cNvSpPr>
                <a:spLocks noChangeAspect="1"/>
              </p:cNvSpPr>
              <p:nvPr/>
            </p:nvSpPr>
            <p:spPr>
              <a:xfrm>
                <a:off x="3270222" y="3881977"/>
                <a:ext cx="274320" cy="27432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709" name="Group 708">
                <a:extLst>
                  <a:ext uri="{FF2B5EF4-FFF2-40B4-BE49-F238E27FC236}">
                    <a16:creationId xmlns:a16="http://schemas.microsoft.com/office/drawing/2014/main" id="{7CFF99E5-7819-4B19-BB2B-53B1009BBBD0}"/>
                  </a:ext>
                </a:extLst>
              </p:cNvPr>
              <p:cNvGrpSpPr/>
              <p:nvPr/>
            </p:nvGrpSpPr>
            <p:grpSpPr>
              <a:xfrm>
                <a:off x="3319358" y="3929248"/>
                <a:ext cx="176048" cy="179779"/>
                <a:chOff x="3311944" y="3920708"/>
                <a:chExt cx="282314" cy="288298"/>
              </a:xfrm>
            </p:grpSpPr>
            <p:sp>
              <p:nvSpPr>
                <p:cNvPr id="710" name="Freeform 391">
                  <a:extLst>
                    <a:ext uri="{FF2B5EF4-FFF2-40B4-BE49-F238E27FC236}">
                      <a16:creationId xmlns:a16="http://schemas.microsoft.com/office/drawing/2014/main" id="{44833506-DFB1-4ABB-82B4-9C72717184D4}"/>
                    </a:ext>
                  </a:extLst>
                </p:cNvPr>
                <p:cNvSpPr/>
                <p:nvPr/>
              </p:nvSpPr>
              <p:spPr>
                <a:xfrm rot="18900000">
                  <a:off x="3311944" y="4018038"/>
                  <a:ext cx="95698" cy="96011"/>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11" name="Freeform 392">
                  <a:extLst>
                    <a:ext uri="{FF2B5EF4-FFF2-40B4-BE49-F238E27FC236}">
                      <a16:creationId xmlns:a16="http://schemas.microsoft.com/office/drawing/2014/main" id="{EC5557F5-A7A0-4178-82BD-8F2F73688216}"/>
                    </a:ext>
                  </a:extLst>
                </p:cNvPr>
                <p:cNvSpPr/>
                <p:nvPr/>
              </p:nvSpPr>
              <p:spPr>
                <a:xfrm rot="8100000">
                  <a:off x="3498560" y="4018038"/>
                  <a:ext cx="95698" cy="96011"/>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12" name="Freeform 393">
                  <a:extLst>
                    <a:ext uri="{FF2B5EF4-FFF2-40B4-BE49-F238E27FC236}">
                      <a16:creationId xmlns:a16="http://schemas.microsoft.com/office/drawing/2014/main" id="{73FC6DEF-2A3D-4AE8-809E-D195A5EFE2C1}"/>
                    </a:ext>
                  </a:extLst>
                </p:cNvPr>
                <p:cNvSpPr/>
                <p:nvPr/>
              </p:nvSpPr>
              <p:spPr>
                <a:xfrm rot="13500000">
                  <a:off x="3405252" y="3920551"/>
                  <a:ext cx="95698" cy="96011"/>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13" name="Freeform 394">
                  <a:extLst>
                    <a:ext uri="{FF2B5EF4-FFF2-40B4-BE49-F238E27FC236}">
                      <a16:creationId xmlns:a16="http://schemas.microsoft.com/office/drawing/2014/main" id="{D514FBD2-79ED-442A-8071-396E9277CD8C}"/>
                    </a:ext>
                  </a:extLst>
                </p:cNvPr>
                <p:cNvSpPr/>
                <p:nvPr/>
              </p:nvSpPr>
              <p:spPr>
                <a:xfrm rot="2700000">
                  <a:off x="3405252" y="4113151"/>
                  <a:ext cx="95698" cy="96011"/>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grpSp>
          <p:nvGrpSpPr>
            <p:cNvPr id="714" name="Group 713">
              <a:extLst>
                <a:ext uri="{FF2B5EF4-FFF2-40B4-BE49-F238E27FC236}">
                  <a16:creationId xmlns:a16="http://schemas.microsoft.com/office/drawing/2014/main" id="{DD4C6964-40EA-4EDD-BAE4-6E378B32F871}"/>
                </a:ext>
              </a:extLst>
            </p:cNvPr>
            <p:cNvGrpSpPr/>
            <p:nvPr/>
          </p:nvGrpSpPr>
          <p:grpSpPr>
            <a:xfrm>
              <a:off x="7105475" y="3896482"/>
              <a:ext cx="274320" cy="274320"/>
              <a:chOff x="6081636" y="3981080"/>
              <a:chExt cx="228600" cy="228600"/>
            </a:xfrm>
          </p:grpSpPr>
          <p:sp>
            <p:nvSpPr>
              <p:cNvPr id="715" name="Oval 714">
                <a:extLst>
                  <a:ext uri="{FF2B5EF4-FFF2-40B4-BE49-F238E27FC236}">
                    <a16:creationId xmlns:a16="http://schemas.microsoft.com/office/drawing/2014/main" id="{4C169679-D5B9-4532-AEEF-24E7DFE0D1D7}"/>
                  </a:ext>
                </a:extLst>
              </p:cNvPr>
              <p:cNvSpPr>
                <a:spLocks noChangeAspect="1"/>
              </p:cNvSpPr>
              <p:nvPr/>
            </p:nvSpPr>
            <p:spPr>
              <a:xfrm>
                <a:off x="6081636" y="3981080"/>
                <a:ext cx="228600" cy="2286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16" name="Freeform 396">
                <a:extLst>
                  <a:ext uri="{FF2B5EF4-FFF2-40B4-BE49-F238E27FC236}">
                    <a16:creationId xmlns:a16="http://schemas.microsoft.com/office/drawing/2014/main" id="{8856ED41-6D42-48CF-B65E-217CB9FE79BC}"/>
                  </a:ext>
                </a:extLst>
              </p:cNvPr>
              <p:cNvSpPr/>
              <p:nvPr/>
            </p:nvSpPr>
            <p:spPr>
              <a:xfrm rot="18900000">
                <a:off x="6166030" y="4097646"/>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17" name="Freeform 397">
                <a:extLst>
                  <a:ext uri="{FF2B5EF4-FFF2-40B4-BE49-F238E27FC236}">
                    <a16:creationId xmlns:a16="http://schemas.microsoft.com/office/drawing/2014/main" id="{5C7E9989-0E09-4238-9356-1E8009D3D5F2}"/>
                  </a:ext>
                </a:extLst>
              </p:cNvPr>
              <p:cNvSpPr/>
              <p:nvPr/>
            </p:nvSpPr>
            <p:spPr>
              <a:xfrm rot="8100000">
                <a:off x="6166030" y="4033106"/>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718" name="Group 717">
              <a:extLst>
                <a:ext uri="{FF2B5EF4-FFF2-40B4-BE49-F238E27FC236}">
                  <a16:creationId xmlns:a16="http://schemas.microsoft.com/office/drawing/2014/main" id="{64FA9902-F375-4A6A-83AC-C4B0EA26A6CB}"/>
                </a:ext>
              </a:extLst>
            </p:cNvPr>
            <p:cNvGrpSpPr/>
            <p:nvPr/>
          </p:nvGrpSpPr>
          <p:grpSpPr>
            <a:xfrm>
              <a:off x="6437321" y="3896482"/>
              <a:ext cx="274320" cy="274320"/>
              <a:chOff x="2880064" y="3881977"/>
              <a:chExt cx="274320" cy="274320"/>
            </a:xfrm>
          </p:grpSpPr>
          <p:sp>
            <p:nvSpPr>
              <p:cNvPr id="719" name="Oval 718">
                <a:extLst>
                  <a:ext uri="{FF2B5EF4-FFF2-40B4-BE49-F238E27FC236}">
                    <a16:creationId xmlns:a16="http://schemas.microsoft.com/office/drawing/2014/main" id="{57600788-5ECD-4139-9221-87B0E01C871F}"/>
                  </a:ext>
                </a:extLst>
              </p:cNvPr>
              <p:cNvSpPr>
                <a:spLocks noChangeAspect="1"/>
              </p:cNvSpPr>
              <p:nvPr/>
            </p:nvSpPr>
            <p:spPr>
              <a:xfrm>
                <a:off x="2880064" y="3881977"/>
                <a:ext cx="274320" cy="27432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720" name="Group 719">
                <a:extLst>
                  <a:ext uri="{FF2B5EF4-FFF2-40B4-BE49-F238E27FC236}">
                    <a16:creationId xmlns:a16="http://schemas.microsoft.com/office/drawing/2014/main" id="{34EF2140-2E54-459F-B769-34A5A672F0C6}"/>
                  </a:ext>
                </a:extLst>
              </p:cNvPr>
              <p:cNvGrpSpPr/>
              <p:nvPr/>
            </p:nvGrpSpPr>
            <p:grpSpPr>
              <a:xfrm>
                <a:off x="2934186" y="3958023"/>
                <a:ext cx="166077" cy="122228"/>
                <a:chOff x="5184662" y="2694894"/>
                <a:chExt cx="164415" cy="121006"/>
              </a:xfrm>
            </p:grpSpPr>
            <p:sp>
              <p:nvSpPr>
                <p:cNvPr id="721" name="Rectangle 49">
                  <a:extLst>
                    <a:ext uri="{FF2B5EF4-FFF2-40B4-BE49-F238E27FC236}">
                      <a16:creationId xmlns:a16="http://schemas.microsoft.com/office/drawing/2014/main" id="{DE5F9D44-DE12-43CB-972B-B589DEC6912D}"/>
                    </a:ext>
                  </a:extLst>
                </p:cNvPr>
                <p:cNvSpPr>
                  <a:spLocks noChangeArrowheads="1"/>
                </p:cNvSpPr>
                <p:nvPr/>
              </p:nvSpPr>
              <p:spPr bwMode="auto">
                <a:xfrm>
                  <a:off x="5184662" y="2777916"/>
                  <a:ext cx="109610"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722" name="Rectangle 50">
                  <a:extLst>
                    <a:ext uri="{FF2B5EF4-FFF2-40B4-BE49-F238E27FC236}">
                      <a16:creationId xmlns:a16="http://schemas.microsoft.com/office/drawing/2014/main" id="{5B8B8EF4-8D1E-46C9-82A7-CC1D84509BE4}"/>
                    </a:ext>
                  </a:extLst>
                </p:cNvPr>
                <p:cNvSpPr>
                  <a:spLocks noChangeArrowheads="1"/>
                </p:cNvSpPr>
                <p:nvPr/>
              </p:nvSpPr>
              <p:spPr bwMode="auto">
                <a:xfrm>
                  <a:off x="5239467" y="2736133"/>
                  <a:ext cx="109610"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723" name="Rectangle 51">
                  <a:extLst>
                    <a:ext uri="{FF2B5EF4-FFF2-40B4-BE49-F238E27FC236}">
                      <a16:creationId xmlns:a16="http://schemas.microsoft.com/office/drawing/2014/main" id="{B9EC0DA2-7252-4647-A41E-DA0433764F70}"/>
                    </a:ext>
                  </a:extLst>
                </p:cNvPr>
                <p:cNvSpPr>
                  <a:spLocks noChangeArrowheads="1"/>
                </p:cNvSpPr>
                <p:nvPr/>
              </p:nvSpPr>
              <p:spPr bwMode="auto">
                <a:xfrm>
                  <a:off x="5299156" y="2777916"/>
                  <a:ext cx="49921"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724" name="Rectangle 52">
                  <a:extLst>
                    <a:ext uri="{FF2B5EF4-FFF2-40B4-BE49-F238E27FC236}">
                      <a16:creationId xmlns:a16="http://schemas.microsoft.com/office/drawing/2014/main" id="{F3E3571B-265E-4A4E-B4FB-A0FB4E35F6E5}"/>
                    </a:ext>
                  </a:extLst>
                </p:cNvPr>
                <p:cNvSpPr>
                  <a:spLocks noChangeArrowheads="1"/>
                </p:cNvSpPr>
                <p:nvPr/>
              </p:nvSpPr>
              <p:spPr bwMode="auto">
                <a:xfrm>
                  <a:off x="5299156" y="2694894"/>
                  <a:ext cx="49921" cy="37441"/>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725" name="Rectangle 53">
                  <a:extLst>
                    <a:ext uri="{FF2B5EF4-FFF2-40B4-BE49-F238E27FC236}">
                      <a16:creationId xmlns:a16="http://schemas.microsoft.com/office/drawing/2014/main" id="{AAA48B66-9F06-4026-9DDF-604A5DCB6B4A}"/>
                    </a:ext>
                  </a:extLst>
                </p:cNvPr>
                <p:cNvSpPr>
                  <a:spLocks noChangeArrowheads="1"/>
                </p:cNvSpPr>
                <p:nvPr/>
              </p:nvSpPr>
              <p:spPr bwMode="auto">
                <a:xfrm>
                  <a:off x="5184662" y="2736133"/>
                  <a:ext cx="49379"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726" name="Rectangle 54">
                  <a:extLst>
                    <a:ext uri="{FF2B5EF4-FFF2-40B4-BE49-F238E27FC236}">
                      <a16:creationId xmlns:a16="http://schemas.microsoft.com/office/drawing/2014/main" id="{555ACCA4-AA7E-48FC-B715-E5C559BF472F}"/>
                    </a:ext>
                  </a:extLst>
                </p:cNvPr>
                <p:cNvSpPr>
                  <a:spLocks noChangeArrowheads="1"/>
                </p:cNvSpPr>
                <p:nvPr/>
              </p:nvSpPr>
              <p:spPr bwMode="auto">
                <a:xfrm>
                  <a:off x="5184662" y="2694894"/>
                  <a:ext cx="109610" cy="37441"/>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grpSp>
          <p:nvGrpSpPr>
            <p:cNvPr id="727" name="Group 726">
              <a:extLst>
                <a:ext uri="{FF2B5EF4-FFF2-40B4-BE49-F238E27FC236}">
                  <a16:creationId xmlns:a16="http://schemas.microsoft.com/office/drawing/2014/main" id="{D86C4DFB-CD14-4A38-81A1-BFD942CAB9FC}"/>
                </a:ext>
              </a:extLst>
            </p:cNvPr>
            <p:cNvGrpSpPr/>
            <p:nvPr/>
          </p:nvGrpSpPr>
          <p:grpSpPr>
            <a:xfrm>
              <a:off x="6345881" y="3180694"/>
              <a:ext cx="457200" cy="457200"/>
              <a:chOff x="6628321" y="1784734"/>
              <a:chExt cx="457200" cy="457200"/>
            </a:xfrm>
          </p:grpSpPr>
          <p:sp>
            <p:nvSpPr>
              <p:cNvPr id="728" name="Oval 727">
                <a:extLst>
                  <a:ext uri="{FF2B5EF4-FFF2-40B4-BE49-F238E27FC236}">
                    <a16:creationId xmlns:a16="http://schemas.microsoft.com/office/drawing/2014/main" id="{807E144D-0DF5-4C42-96B4-69265D00DB6F}"/>
                  </a:ext>
                </a:extLst>
              </p:cNvPr>
              <p:cNvSpPr>
                <a:spLocks noChangeAspect="1"/>
              </p:cNvSpPr>
              <p:nvPr/>
            </p:nvSpPr>
            <p:spPr>
              <a:xfrm>
                <a:off x="6628321" y="1784734"/>
                <a:ext cx="457200" cy="45720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729" name="Group 728">
                <a:extLst>
                  <a:ext uri="{FF2B5EF4-FFF2-40B4-BE49-F238E27FC236}">
                    <a16:creationId xmlns:a16="http://schemas.microsoft.com/office/drawing/2014/main" id="{AF27E6AA-AC10-44DD-81BA-F25D227385C5}"/>
                  </a:ext>
                </a:extLst>
              </p:cNvPr>
              <p:cNvGrpSpPr/>
              <p:nvPr/>
            </p:nvGrpSpPr>
            <p:grpSpPr>
              <a:xfrm>
                <a:off x="6665855" y="1883293"/>
                <a:ext cx="382132" cy="237206"/>
                <a:chOff x="6656844" y="1868072"/>
                <a:chExt cx="382132" cy="237206"/>
              </a:xfrm>
            </p:grpSpPr>
            <p:sp>
              <p:nvSpPr>
                <p:cNvPr id="730" name="Rounded Rectangle 85">
                  <a:extLst>
                    <a:ext uri="{FF2B5EF4-FFF2-40B4-BE49-F238E27FC236}">
                      <a16:creationId xmlns:a16="http://schemas.microsoft.com/office/drawing/2014/main" id="{7C173397-0936-4C6F-8D81-6715563E1DFB}"/>
                    </a:ext>
                  </a:extLst>
                </p:cNvPr>
                <p:cNvSpPr/>
                <p:nvPr/>
              </p:nvSpPr>
              <p:spPr>
                <a:xfrm>
                  <a:off x="6656844" y="2014695"/>
                  <a:ext cx="382132" cy="51119"/>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31" name="Freeform 281">
                  <a:extLst>
                    <a:ext uri="{FF2B5EF4-FFF2-40B4-BE49-F238E27FC236}">
                      <a16:creationId xmlns:a16="http://schemas.microsoft.com/office/drawing/2014/main" id="{A1C6A9FB-5C90-4EB9-A156-8206ADC52D44}"/>
                    </a:ext>
                  </a:extLst>
                </p:cNvPr>
                <p:cNvSpPr/>
                <p:nvPr/>
              </p:nvSpPr>
              <p:spPr>
                <a:xfrm rot="13500000">
                  <a:off x="6788099" y="1867877"/>
                  <a:ext cx="119623" cy="120014"/>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32" name="Oval 731">
                  <a:extLst>
                    <a:ext uri="{FF2B5EF4-FFF2-40B4-BE49-F238E27FC236}">
                      <a16:creationId xmlns:a16="http://schemas.microsoft.com/office/drawing/2014/main" id="{899BD343-B91B-42CD-81D2-C163054D8505}"/>
                    </a:ext>
                  </a:extLst>
                </p:cNvPr>
                <p:cNvSpPr>
                  <a:spLocks noChangeAspect="1"/>
                </p:cNvSpPr>
                <p:nvPr/>
              </p:nvSpPr>
              <p:spPr>
                <a:xfrm>
                  <a:off x="6782887" y="1975232"/>
                  <a:ext cx="130048" cy="130046"/>
                </a:xfrm>
                <a:prstGeom prst="ellipse">
                  <a:avLst/>
                </a:prstGeom>
                <a:solidFill>
                  <a:schemeClr val="accent3"/>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cxnSp>
          <p:nvCxnSpPr>
            <p:cNvPr id="733" name="STEP 1">
              <a:extLst>
                <a:ext uri="{FF2B5EF4-FFF2-40B4-BE49-F238E27FC236}">
                  <a16:creationId xmlns:a16="http://schemas.microsoft.com/office/drawing/2014/main" id="{5E2E0B97-BE99-4375-B6C2-C6DB5A5C0D48}"/>
                </a:ext>
              </a:extLst>
            </p:cNvPr>
            <p:cNvCxnSpPr>
              <a:cxnSpLocks/>
              <a:endCxn id="696" idx="0"/>
            </p:cNvCxnSpPr>
            <p:nvPr/>
          </p:nvCxnSpPr>
          <p:spPr bwMode="auto">
            <a:xfrm>
              <a:off x="6600423" y="3005421"/>
              <a:ext cx="623415" cy="74831"/>
            </a:xfrm>
            <a:prstGeom prst="bentConnector2">
              <a:avLst/>
            </a:prstGeom>
            <a:ln w="12700" cap="rnd" cmpd="sng">
              <a:solidFill>
                <a:schemeClr val="accent2"/>
              </a:solidFill>
              <a:prstDash val="dash"/>
              <a:headEnd type="none" w="med" len="med"/>
              <a:tailEnd type="none" w="lg" len="lg"/>
            </a:ln>
            <a:effectLst/>
          </p:spPr>
          <p:style>
            <a:lnRef idx="2">
              <a:schemeClr val="accent4"/>
            </a:lnRef>
            <a:fillRef idx="0">
              <a:schemeClr val="accent4"/>
            </a:fillRef>
            <a:effectRef idx="1">
              <a:schemeClr val="accent4"/>
            </a:effectRef>
            <a:fontRef idx="minor">
              <a:schemeClr val="tx1"/>
            </a:fontRef>
          </p:style>
        </p:cxnSp>
      </p:grpSp>
      <p:grpSp>
        <p:nvGrpSpPr>
          <p:cNvPr id="30" name="Group 29">
            <a:extLst>
              <a:ext uri="{FF2B5EF4-FFF2-40B4-BE49-F238E27FC236}">
                <a16:creationId xmlns:a16="http://schemas.microsoft.com/office/drawing/2014/main" id="{3126AEA3-4AAD-4CF2-AFB0-5F5B75B7B558}"/>
              </a:ext>
            </a:extLst>
          </p:cNvPr>
          <p:cNvGrpSpPr/>
          <p:nvPr/>
        </p:nvGrpSpPr>
        <p:grpSpPr>
          <a:xfrm>
            <a:off x="5353609" y="3264052"/>
            <a:ext cx="721876" cy="1242161"/>
            <a:chOff x="5353609" y="3264052"/>
            <a:chExt cx="721876" cy="1242161"/>
          </a:xfrm>
        </p:grpSpPr>
        <p:cxnSp>
          <p:nvCxnSpPr>
            <p:cNvPr id="537" name="STEP 1">
              <a:extLst>
                <a:ext uri="{FF2B5EF4-FFF2-40B4-BE49-F238E27FC236}">
                  <a16:creationId xmlns:a16="http://schemas.microsoft.com/office/drawing/2014/main" id="{DF0D7144-E51F-45A6-B7AB-4B3E67B36CB0}"/>
                </a:ext>
              </a:extLst>
            </p:cNvPr>
            <p:cNvCxnSpPr>
              <a:cxnSpLocks/>
              <a:stCxn id="766" idx="0"/>
              <a:endCxn id="629" idx="5"/>
            </p:cNvCxnSpPr>
            <p:nvPr/>
          </p:nvCxnSpPr>
          <p:spPr bwMode="auto">
            <a:xfrm flipH="1" flipV="1">
              <a:off x="5543470" y="3264052"/>
              <a:ext cx="168842" cy="634325"/>
            </a:xfrm>
            <a:prstGeom prst="straightConnector1">
              <a:avLst/>
            </a:prstGeom>
            <a:ln w="12700" cap="rnd" cmpd="sng">
              <a:solidFill>
                <a:schemeClr val="accent2"/>
              </a:solidFill>
              <a:prstDash val="dash"/>
              <a:headEnd type="none" w="med" len="med"/>
              <a:tailEnd type="arrow" w="lg" len="med"/>
            </a:ln>
            <a:effectLst/>
          </p:spPr>
          <p:style>
            <a:lnRef idx="2">
              <a:schemeClr val="accent4"/>
            </a:lnRef>
            <a:fillRef idx="0">
              <a:schemeClr val="accent4"/>
            </a:fillRef>
            <a:effectRef idx="1">
              <a:schemeClr val="accent4"/>
            </a:effectRef>
            <a:fontRef idx="minor">
              <a:schemeClr val="tx1"/>
            </a:fontRef>
          </p:style>
        </p:cxnSp>
        <p:grpSp>
          <p:nvGrpSpPr>
            <p:cNvPr id="762" name="Group 761">
              <a:extLst>
                <a:ext uri="{FF2B5EF4-FFF2-40B4-BE49-F238E27FC236}">
                  <a16:creationId xmlns:a16="http://schemas.microsoft.com/office/drawing/2014/main" id="{3E8E174B-66CB-482F-AC7B-FDC9ABBC0E73}"/>
                </a:ext>
              </a:extLst>
            </p:cNvPr>
            <p:cNvGrpSpPr>
              <a:grpSpLocks noChangeAspect="1"/>
            </p:cNvGrpSpPr>
            <p:nvPr/>
          </p:nvGrpSpPr>
          <p:grpSpPr>
            <a:xfrm>
              <a:off x="5575152" y="3898377"/>
              <a:ext cx="274320" cy="274320"/>
              <a:chOff x="4057127" y="679518"/>
              <a:chExt cx="548640" cy="548640"/>
            </a:xfrm>
          </p:grpSpPr>
          <p:grpSp>
            <p:nvGrpSpPr>
              <p:cNvPr id="763" name="Group 762">
                <a:extLst>
                  <a:ext uri="{FF2B5EF4-FFF2-40B4-BE49-F238E27FC236}">
                    <a16:creationId xmlns:a16="http://schemas.microsoft.com/office/drawing/2014/main" id="{4DCBA337-5FE1-48AC-B083-D965FEB955BB}"/>
                  </a:ext>
                </a:extLst>
              </p:cNvPr>
              <p:cNvGrpSpPr/>
              <p:nvPr/>
            </p:nvGrpSpPr>
            <p:grpSpPr>
              <a:xfrm>
                <a:off x="4057127" y="679518"/>
                <a:ext cx="548640" cy="548640"/>
                <a:chOff x="4247689" y="3669562"/>
                <a:chExt cx="548640" cy="548640"/>
              </a:xfrm>
            </p:grpSpPr>
            <p:sp>
              <p:nvSpPr>
                <p:cNvPr id="766" name="Oval 765">
                  <a:extLst>
                    <a:ext uri="{FF2B5EF4-FFF2-40B4-BE49-F238E27FC236}">
                      <a16:creationId xmlns:a16="http://schemas.microsoft.com/office/drawing/2014/main" id="{00350412-8CAA-4904-8A55-D35D1C8CA8E6}"/>
                    </a:ext>
                  </a:extLst>
                </p:cNvPr>
                <p:cNvSpPr/>
                <p:nvPr/>
              </p:nvSpPr>
              <p:spPr>
                <a:xfrm>
                  <a:off x="4247689" y="3669562"/>
                  <a:ext cx="548640" cy="54864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767" name="Group 766">
                  <a:extLst>
                    <a:ext uri="{FF2B5EF4-FFF2-40B4-BE49-F238E27FC236}">
                      <a16:creationId xmlns:a16="http://schemas.microsoft.com/office/drawing/2014/main" id="{C81FDA37-A36B-4A9C-B192-3DB3A8C533CC}"/>
                    </a:ext>
                  </a:extLst>
                </p:cNvPr>
                <p:cNvGrpSpPr/>
                <p:nvPr/>
              </p:nvGrpSpPr>
              <p:grpSpPr>
                <a:xfrm>
                  <a:off x="4416801" y="3752252"/>
                  <a:ext cx="209312" cy="383266"/>
                  <a:chOff x="4457929" y="4607371"/>
                  <a:chExt cx="234950" cy="430212"/>
                </a:xfrm>
              </p:grpSpPr>
              <p:sp>
                <p:nvSpPr>
                  <p:cNvPr id="768" name="Freeform 207">
                    <a:extLst>
                      <a:ext uri="{FF2B5EF4-FFF2-40B4-BE49-F238E27FC236}">
                        <a16:creationId xmlns:a16="http://schemas.microsoft.com/office/drawing/2014/main" id="{A8107E18-E9A9-447A-91E8-0F14A08DE87B}"/>
                      </a:ext>
                    </a:extLst>
                  </p:cNvPr>
                  <p:cNvSpPr>
                    <a:spLocks/>
                  </p:cNvSpPr>
                  <p:nvPr/>
                </p:nvSpPr>
                <p:spPr bwMode="auto">
                  <a:xfrm>
                    <a:off x="4457929" y="4607371"/>
                    <a:ext cx="234950"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69" name="Line 208">
                    <a:extLst>
                      <a:ext uri="{FF2B5EF4-FFF2-40B4-BE49-F238E27FC236}">
                        <a16:creationId xmlns:a16="http://schemas.microsoft.com/office/drawing/2014/main" id="{80B49C5F-8ED4-40FB-96C4-1F10C15ECD19}"/>
                      </a:ext>
                    </a:extLst>
                  </p:cNvPr>
                  <p:cNvSpPr>
                    <a:spLocks noChangeShapeType="1"/>
                  </p:cNvSpPr>
                  <p:nvPr/>
                </p:nvSpPr>
                <p:spPr bwMode="auto">
                  <a:xfrm>
                    <a:off x="4516667" y="4677221"/>
                    <a:ext cx="117475" cy="0"/>
                  </a:xfrm>
                  <a:prstGeom prst="line">
                    <a:avLst/>
                  </a:prstGeom>
                  <a:noFill/>
                  <a:ln w="9525"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70" name="Line 209">
                    <a:extLst>
                      <a:ext uri="{FF2B5EF4-FFF2-40B4-BE49-F238E27FC236}">
                        <a16:creationId xmlns:a16="http://schemas.microsoft.com/office/drawing/2014/main" id="{8086BC9B-CD48-4B49-872D-11076F2EA790}"/>
                      </a:ext>
                    </a:extLst>
                  </p:cNvPr>
                  <p:cNvSpPr>
                    <a:spLocks noChangeShapeType="1"/>
                  </p:cNvSpPr>
                  <p:nvPr/>
                </p:nvSpPr>
                <p:spPr bwMode="auto">
                  <a:xfrm>
                    <a:off x="4516667" y="4745483"/>
                    <a:ext cx="117475" cy="0"/>
                  </a:xfrm>
                  <a:prstGeom prst="line">
                    <a:avLst/>
                  </a:prstGeom>
                  <a:noFill/>
                  <a:ln w="9525"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71" name="Line 210">
                    <a:extLst>
                      <a:ext uri="{FF2B5EF4-FFF2-40B4-BE49-F238E27FC236}">
                        <a16:creationId xmlns:a16="http://schemas.microsoft.com/office/drawing/2014/main" id="{6B6A778A-4551-492F-834D-0080AE0450F1}"/>
                      </a:ext>
                    </a:extLst>
                  </p:cNvPr>
                  <p:cNvSpPr>
                    <a:spLocks noChangeShapeType="1"/>
                  </p:cNvSpPr>
                  <p:nvPr/>
                </p:nvSpPr>
                <p:spPr bwMode="auto">
                  <a:xfrm>
                    <a:off x="4516667" y="4816921"/>
                    <a:ext cx="117475" cy="0"/>
                  </a:xfrm>
                  <a:prstGeom prst="line">
                    <a:avLst/>
                  </a:prstGeom>
                  <a:noFill/>
                  <a:ln w="9525"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72" name="Line 211">
                    <a:extLst>
                      <a:ext uri="{FF2B5EF4-FFF2-40B4-BE49-F238E27FC236}">
                        <a16:creationId xmlns:a16="http://schemas.microsoft.com/office/drawing/2014/main" id="{160AE347-8250-47C0-A6DA-FFD3F5F3B0E5}"/>
                      </a:ext>
                    </a:extLst>
                  </p:cNvPr>
                  <p:cNvSpPr>
                    <a:spLocks noChangeShapeType="1"/>
                  </p:cNvSpPr>
                  <p:nvPr/>
                </p:nvSpPr>
                <p:spPr bwMode="auto">
                  <a:xfrm>
                    <a:off x="4516667" y="4886771"/>
                    <a:ext cx="117475" cy="0"/>
                  </a:xfrm>
                  <a:prstGeom prst="line">
                    <a:avLst/>
                  </a:prstGeom>
                  <a:noFill/>
                  <a:ln w="9525"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sp>
            <p:nvSpPr>
              <p:cNvPr id="764" name="Oval 763">
                <a:extLst>
                  <a:ext uri="{FF2B5EF4-FFF2-40B4-BE49-F238E27FC236}">
                    <a16:creationId xmlns:a16="http://schemas.microsoft.com/office/drawing/2014/main" id="{D6E5ECDE-923A-4208-9A8D-1743FA06B1EB}"/>
                  </a:ext>
                </a:extLst>
              </p:cNvPr>
              <p:cNvSpPr/>
              <p:nvPr/>
            </p:nvSpPr>
            <p:spPr>
              <a:xfrm>
                <a:off x="4149467" y="851779"/>
                <a:ext cx="197510" cy="19751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65" name="Freeform 594">
                <a:extLst>
                  <a:ext uri="{FF2B5EF4-FFF2-40B4-BE49-F238E27FC236}">
                    <a16:creationId xmlns:a16="http://schemas.microsoft.com/office/drawing/2014/main" id="{7A3DE070-04DB-413E-BC1C-6E7DC7CC293E}"/>
                  </a:ext>
                </a:extLst>
              </p:cNvPr>
              <p:cNvSpPr>
                <a:spLocks noChangeAspect="1" noEditPoints="1"/>
              </p:cNvSpPr>
              <p:nvPr/>
            </p:nvSpPr>
            <p:spPr bwMode="auto">
              <a:xfrm>
                <a:off x="4164998" y="867603"/>
                <a:ext cx="166449" cy="165862"/>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
          <p:nvSpPr>
            <p:cNvPr id="773" name="TextBox 772">
              <a:extLst>
                <a:ext uri="{FF2B5EF4-FFF2-40B4-BE49-F238E27FC236}">
                  <a16:creationId xmlns:a16="http://schemas.microsoft.com/office/drawing/2014/main" id="{A9BDB4D2-3787-49CF-8060-C408C24E5211}"/>
                </a:ext>
              </a:extLst>
            </p:cNvPr>
            <p:cNvSpPr txBox="1"/>
            <p:nvPr/>
          </p:nvSpPr>
          <p:spPr>
            <a:xfrm>
              <a:off x="5353609" y="4189203"/>
              <a:ext cx="721876" cy="317010"/>
            </a:xfrm>
            <a:prstGeom prst="rect">
              <a:avLst/>
            </a:prstGeom>
            <a:noFill/>
          </p:spPr>
          <p:txBody>
            <a:bodyPr wrap="square" rtlCol="0">
              <a:spAutoFit/>
            </a:bodyPr>
            <a:lstStyle/>
            <a:p>
              <a:pPr marL="0" marR="0" lvl="0" indent="0" algn="ctr"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EBE4A">
                      <a:lumMod val="75000"/>
                    </a:srgbClr>
                  </a:solidFill>
                  <a:effectLst/>
                  <a:uLnTx/>
                  <a:uFillTx/>
                  <a:latin typeface="CiscoSansTT ExtraLight" panose="020B0303020201020303" pitchFamily="34" charset="0"/>
                  <a:ea typeface="Arial" charset="0"/>
                  <a:cs typeface="CiscoSansTT ExtraLight" panose="020B0303020201020303" pitchFamily="34" charset="0"/>
                </a:rPr>
                <a:t>Proxy Data</a:t>
              </a:r>
            </a:p>
          </p:txBody>
        </p:sp>
      </p:grpSp>
      <p:grpSp>
        <p:nvGrpSpPr>
          <p:cNvPr id="64" name="Group 63">
            <a:extLst>
              <a:ext uri="{FF2B5EF4-FFF2-40B4-BE49-F238E27FC236}">
                <a16:creationId xmlns:a16="http://schemas.microsoft.com/office/drawing/2014/main" id="{3CBF0294-1623-4AA3-98D7-C3095960F4DB}"/>
              </a:ext>
            </a:extLst>
          </p:cNvPr>
          <p:cNvGrpSpPr/>
          <p:nvPr/>
        </p:nvGrpSpPr>
        <p:grpSpPr>
          <a:xfrm>
            <a:off x="7353916" y="2388999"/>
            <a:ext cx="1309537" cy="612993"/>
            <a:chOff x="7353916" y="2388999"/>
            <a:chExt cx="1309537" cy="612993"/>
          </a:xfrm>
        </p:grpSpPr>
        <p:sp>
          <p:nvSpPr>
            <p:cNvPr id="567" name="TextBox 566">
              <a:extLst>
                <a:ext uri="{FF2B5EF4-FFF2-40B4-BE49-F238E27FC236}">
                  <a16:creationId xmlns:a16="http://schemas.microsoft.com/office/drawing/2014/main" id="{436CA1D9-E2DC-489B-AB77-3B71E81D4F80}"/>
                </a:ext>
              </a:extLst>
            </p:cNvPr>
            <p:cNvSpPr txBox="1"/>
            <p:nvPr/>
          </p:nvSpPr>
          <p:spPr>
            <a:xfrm>
              <a:off x="7865572" y="2536990"/>
              <a:ext cx="797881" cy="317010"/>
            </a:xfrm>
            <a:prstGeom prst="rect">
              <a:avLst/>
            </a:prstGeom>
            <a:noFill/>
          </p:spPr>
          <p:txBody>
            <a:bodyPr wrap="square" rtlCol="0">
              <a:spAutoFit/>
            </a:bodyPr>
            <a:lstStyle/>
            <a:p>
              <a:pPr marL="0" marR="0" lvl="0" indent="0" algn="l"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5073"/>
                  </a:solidFill>
                  <a:effectLst/>
                  <a:uLnTx/>
                  <a:uFillTx/>
                  <a:latin typeface="CiscoSansTT ExtraLight" panose="020B0303020201020303" pitchFamily="34" charset="0"/>
                  <a:ea typeface="Arial" charset="0"/>
                  <a:cs typeface="CiscoSansTT ExtraLight" panose="020B0303020201020303" pitchFamily="34" charset="0"/>
                </a:rPr>
                <a:t>Stealthwatch Cloud</a:t>
              </a:r>
            </a:p>
          </p:txBody>
        </p:sp>
        <p:grpSp>
          <p:nvGrpSpPr>
            <p:cNvPr id="568" name="Group 567">
              <a:extLst>
                <a:ext uri="{FF2B5EF4-FFF2-40B4-BE49-F238E27FC236}">
                  <a16:creationId xmlns:a16="http://schemas.microsoft.com/office/drawing/2014/main" id="{95FE8972-6690-4BAA-99C8-B748073D5221}"/>
                </a:ext>
              </a:extLst>
            </p:cNvPr>
            <p:cNvGrpSpPr/>
            <p:nvPr/>
          </p:nvGrpSpPr>
          <p:grpSpPr>
            <a:xfrm>
              <a:off x="7451589" y="2466895"/>
              <a:ext cx="457200" cy="457200"/>
              <a:chOff x="7486028" y="3266868"/>
              <a:chExt cx="640080" cy="640080"/>
            </a:xfrm>
          </p:grpSpPr>
          <p:sp>
            <p:nvSpPr>
              <p:cNvPr id="569" name="Oval 568">
                <a:extLst>
                  <a:ext uri="{FF2B5EF4-FFF2-40B4-BE49-F238E27FC236}">
                    <a16:creationId xmlns:a16="http://schemas.microsoft.com/office/drawing/2014/main" id="{2F3B3E51-2CD8-4407-846F-6FDAAFC4792F}"/>
                  </a:ext>
                </a:extLst>
              </p:cNvPr>
              <p:cNvSpPr>
                <a:spLocks noChangeAspect="1"/>
              </p:cNvSpPr>
              <p:nvPr/>
            </p:nvSpPr>
            <p:spPr>
              <a:xfrm>
                <a:off x="7486028" y="3266868"/>
                <a:ext cx="640080" cy="64008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570" name="Group 569">
                <a:extLst>
                  <a:ext uri="{FF2B5EF4-FFF2-40B4-BE49-F238E27FC236}">
                    <a16:creationId xmlns:a16="http://schemas.microsoft.com/office/drawing/2014/main" id="{59B0442F-D050-48A5-AD99-57A7BDE835A5}"/>
                  </a:ext>
                </a:extLst>
              </p:cNvPr>
              <p:cNvGrpSpPr>
                <a:grpSpLocks noChangeAspect="1"/>
              </p:cNvGrpSpPr>
              <p:nvPr/>
            </p:nvGrpSpPr>
            <p:grpSpPr>
              <a:xfrm>
                <a:off x="7507101" y="3399264"/>
                <a:ext cx="597934" cy="375289"/>
                <a:chOff x="836085" y="1496592"/>
                <a:chExt cx="538984" cy="338291"/>
              </a:xfrm>
              <a:solidFill>
                <a:schemeClr val="bg2"/>
              </a:solidFill>
            </p:grpSpPr>
            <p:sp>
              <p:nvSpPr>
                <p:cNvPr id="600" name="Freeform 751">
                  <a:extLst>
                    <a:ext uri="{FF2B5EF4-FFF2-40B4-BE49-F238E27FC236}">
                      <a16:creationId xmlns:a16="http://schemas.microsoft.com/office/drawing/2014/main" id="{4CDDA8D4-56FF-499D-B8F7-B61E10AE470F}"/>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01" name="Freeform 752">
                  <a:extLst>
                    <a:ext uri="{FF2B5EF4-FFF2-40B4-BE49-F238E27FC236}">
                      <a16:creationId xmlns:a16="http://schemas.microsoft.com/office/drawing/2014/main" id="{75CB4D22-8AB2-4886-A682-AFF5E2DF7585}"/>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02" name="Freeform 753">
                  <a:extLst>
                    <a:ext uri="{FF2B5EF4-FFF2-40B4-BE49-F238E27FC236}">
                      <a16:creationId xmlns:a16="http://schemas.microsoft.com/office/drawing/2014/main" id="{515DF59B-C505-4747-A0BE-99DDF25C24ED}"/>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03" name="Freeform 752">
                  <a:extLst>
                    <a:ext uri="{FF2B5EF4-FFF2-40B4-BE49-F238E27FC236}">
                      <a16:creationId xmlns:a16="http://schemas.microsoft.com/office/drawing/2014/main" id="{A7D19331-FB24-4773-AC90-3E2731C82011}"/>
                    </a:ext>
                  </a:extLst>
                </p:cNvPr>
                <p:cNvSpPr>
                  <a:spLocks/>
                </p:cNvSpPr>
                <p:nvPr/>
              </p:nvSpPr>
              <p:spPr bwMode="auto">
                <a:xfrm>
                  <a:off x="955081" y="1718887"/>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571" name="Group 570">
                <a:extLst>
                  <a:ext uri="{FF2B5EF4-FFF2-40B4-BE49-F238E27FC236}">
                    <a16:creationId xmlns:a16="http://schemas.microsoft.com/office/drawing/2014/main" id="{EDBB70AB-670D-4BC1-BE61-27A377BD5855}"/>
                  </a:ext>
                </a:extLst>
              </p:cNvPr>
              <p:cNvGrpSpPr/>
              <p:nvPr/>
            </p:nvGrpSpPr>
            <p:grpSpPr>
              <a:xfrm>
                <a:off x="7598899" y="3430979"/>
                <a:ext cx="412503" cy="398177"/>
                <a:chOff x="7710459" y="3446855"/>
                <a:chExt cx="329518" cy="318074"/>
              </a:xfrm>
            </p:grpSpPr>
            <p:grpSp>
              <p:nvGrpSpPr>
                <p:cNvPr id="572" name="Group 10">
                  <a:extLst>
                    <a:ext uri="{FF2B5EF4-FFF2-40B4-BE49-F238E27FC236}">
                      <a16:creationId xmlns:a16="http://schemas.microsoft.com/office/drawing/2014/main" id="{EDEFA6B9-CF78-4B0D-BDD9-09BE6172AE4A}"/>
                    </a:ext>
                  </a:extLst>
                </p:cNvPr>
                <p:cNvGrpSpPr>
                  <a:grpSpLocks noChangeAspect="1"/>
                </p:cNvGrpSpPr>
                <p:nvPr/>
              </p:nvGrpSpPr>
              <p:grpSpPr bwMode="auto">
                <a:xfrm>
                  <a:off x="7826272" y="3485750"/>
                  <a:ext cx="162028" cy="162028"/>
                  <a:chOff x="2594" y="1936"/>
                  <a:chExt cx="628" cy="628"/>
                </a:xfrm>
                <a:solidFill>
                  <a:schemeClr val="bg2"/>
                </a:solidFill>
              </p:grpSpPr>
              <p:sp>
                <p:nvSpPr>
                  <p:cNvPr id="574" name="Freeform 11">
                    <a:extLst>
                      <a:ext uri="{FF2B5EF4-FFF2-40B4-BE49-F238E27FC236}">
                        <a16:creationId xmlns:a16="http://schemas.microsoft.com/office/drawing/2014/main" id="{94C2B26E-9FDD-432C-81DF-03473B27136B}"/>
                      </a:ext>
                    </a:extLst>
                  </p:cNvPr>
                  <p:cNvSpPr>
                    <a:spLocks/>
                  </p:cNvSpPr>
                  <p:nvPr/>
                </p:nvSpPr>
                <p:spPr bwMode="auto">
                  <a:xfrm>
                    <a:off x="2594" y="1936"/>
                    <a:ext cx="628" cy="628"/>
                  </a:xfrm>
                  <a:custGeom>
                    <a:avLst/>
                    <a:gdLst>
                      <a:gd name="T0" fmla="*/ 1255 w 1256"/>
                      <a:gd name="T1" fmla="*/ 660 h 1256"/>
                      <a:gd name="T2" fmla="*/ 1243 w 1256"/>
                      <a:gd name="T3" fmla="*/ 754 h 1256"/>
                      <a:gd name="T4" fmla="*/ 1218 w 1256"/>
                      <a:gd name="T5" fmla="*/ 845 h 1256"/>
                      <a:gd name="T6" fmla="*/ 1180 w 1256"/>
                      <a:gd name="T7" fmla="*/ 928 h 1256"/>
                      <a:gd name="T8" fmla="*/ 1132 w 1256"/>
                      <a:gd name="T9" fmla="*/ 1004 h 1256"/>
                      <a:gd name="T10" fmla="*/ 1071 w 1256"/>
                      <a:gd name="T11" fmla="*/ 1073 h 1256"/>
                      <a:gd name="T12" fmla="*/ 1004 w 1256"/>
                      <a:gd name="T13" fmla="*/ 1132 h 1256"/>
                      <a:gd name="T14" fmla="*/ 928 w 1256"/>
                      <a:gd name="T15" fmla="*/ 1181 h 1256"/>
                      <a:gd name="T16" fmla="*/ 843 w 1256"/>
                      <a:gd name="T17" fmla="*/ 1218 h 1256"/>
                      <a:gd name="T18" fmla="*/ 754 w 1256"/>
                      <a:gd name="T19" fmla="*/ 1243 h 1256"/>
                      <a:gd name="T20" fmla="*/ 660 w 1256"/>
                      <a:gd name="T21" fmla="*/ 1256 h 1256"/>
                      <a:gd name="T22" fmla="*/ 595 w 1256"/>
                      <a:gd name="T23" fmla="*/ 1256 h 1256"/>
                      <a:gd name="T24" fmla="*/ 500 w 1256"/>
                      <a:gd name="T25" fmla="*/ 1243 h 1256"/>
                      <a:gd name="T26" fmla="*/ 411 w 1256"/>
                      <a:gd name="T27" fmla="*/ 1218 h 1256"/>
                      <a:gd name="T28" fmla="*/ 328 w 1256"/>
                      <a:gd name="T29" fmla="*/ 1181 h 1256"/>
                      <a:gd name="T30" fmla="*/ 252 w 1256"/>
                      <a:gd name="T31" fmla="*/ 1132 h 1256"/>
                      <a:gd name="T32" fmla="*/ 183 w 1256"/>
                      <a:gd name="T33" fmla="*/ 1073 h 1256"/>
                      <a:gd name="T34" fmla="*/ 124 w 1256"/>
                      <a:gd name="T35" fmla="*/ 1004 h 1256"/>
                      <a:gd name="T36" fmla="*/ 75 w 1256"/>
                      <a:gd name="T37" fmla="*/ 928 h 1256"/>
                      <a:gd name="T38" fmla="*/ 36 w 1256"/>
                      <a:gd name="T39" fmla="*/ 845 h 1256"/>
                      <a:gd name="T40" fmla="*/ 13 w 1256"/>
                      <a:gd name="T41" fmla="*/ 754 h 1256"/>
                      <a:gd name="T42" fmla="*/ 0 w 1256"/>
                      <a:gd name="T43" fmla="*/ 660 h 1256"/>
                      <a:gd name="T44" fmla="*/ 0 w 1256"/>
                      <a:gd name="T45" fmla="*/ 596 h 1256"/>
                      <a:gd name="T46" fmla="*/ 13 w 1256"/>
                      <a:gd name="T47" fmla="*/ 502 h 1256"/>
                      <a:gd name="T48" fmla="*/ 36 w 1256"/>
                      <a:gd name="T49" fmla="*/ 411 h 1256"/>
                      <a:gd name="T50" fmla="*/ 75 w 1256"/>
                      <a:gd name="T51" fmla="*/ 328 h 1256"/>
                      <a:gd name="T52" fmla="*/ 124 w 1256"/>
                      <a:gd name="T53" fmla="*/ 252 h 1256"/>
                      <a:gd name="T54" fmla="*/ 183 w 1256"/>
                      <a:gd name="T55" fmla="*/ 183 h 1256"/>
                      <a:gd name="T56" fmla="*/ 252 w 1256"/>
                      <a:gd name="T57" fmla="*/ 124 h 1256"/>
                      <a:gd name="T58" fmla="*/ 328 w 1256"/>
                      <a:gd name="T59" fmla="*/ 75 h 1256"/>
                      <a:gd name="T60" fmla="*/ 411 w 1256"/>
                      <a:gd name="T61" fmla="*/ 38 h 1256"/>
                      <a:gd name="T62" fmla="*/ 500 w 1256"/>
                      <a:gd name="T63" fmla="*/ 13 h 1256"/>
                      <a:gd name="T64" fmla="*/ 595 w 1256"/>
                      <a:gd name="T65" fmla="*/ 0 h 1256"/>
                      <a:gd name="T66" fmla="*/ 660 w 1256"/>
                      <a:gd name="T67" fmla="*/ 0 h 1256"/>
                      <a:gd name="T68" fmla="*/ 754 w 1256"/>
                      <a:gd name="T69" fmla="*/ 13 h 1256"/>
                      <a:gd name="T70" fmla="*/ 843 w 1256"/>
                      <a:gd name="T71" fmla="*/ 38 h 1256"/>
                      <a:gd name="T72" fmla="*/ 928 w 1256"/>
                      <a:gd name="T73" fmla="*/ 75 h 1256"/>
                      <a:gd name="T74" fmla="*/ 1004 w 1256"/>
                      <a:gd name="T75" fmla="*/ 124 h 1256"/>
                      <a:gd name="T76" fmla="*/ 1071 w 1256"/>
                      <a:gd name="T77" fmla="*/ 183 h 1256"/>
                      <a:gd name="T78" fmla="*/ 1132 w 1256"/>
                      <a:gd name="T79" fmla="*/ 252 h 1256"/>
                      <a:gd name="T80" fmla="*/ 1180 w 1256"/>
                      <a:gd name="T81" fmla="*/ 328 h 1256"/>
                      <a:gd name="T82" fmla="*/ 1218 w 1256"/>
                      <a:gd name="T83" fmla="*/ 411 h 1256"/>
                      <a:gd name="T84" fmla="*/ 1243 w 1256"/>
                      <a:gd name="T85" fmla="*/ 502 h 1256"/>
                      <a:gd name="T86" fmla="*/ 1255 w 1256"/>
                      <a:gd name="T87" fmla="*/ 59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6" h="1256">
                        <a:moveTo>
                          <a:pt x="1256" y="628"/>
                        </a:moveTo>
                        <a:lnTo>
                          <a:pt x="1256" y="628"/>
                        </a:lnTo>
                        <a:lnTo>
                          <a:pt x="1255" y="660"/>
                        </a:lnTo>
                        <a:lnTo>
                          <a:pt x="1253" y="692"/>
                        </a:lnTo>
                        <a:lnTo>
                          <a:pt x="1248" y="724"/>
                        </a:lnTo>
                        <a:lnTo>
                          <a:pt x="1243" y="754"/>
                        </a:lnTo>
                        <a:lnTo>
                          <a:pt x="1236" y="786"/>
                        </a:lnTo>
                        <a:lnTo>
                          <a:pt x="1228" y="815"/>
                        </a:lnTo>
                        <a:lnTo>
                          <a:pt x="1218" y="845"/>
                        </a:lnTo>
                        <a:lnTo>
                          <a:pt x="1207" y="872"/>
                        </a:lnTo>
                        <a:lnTo>
                          <a:pt x="1194" y="901"/>
                        </a:lnTo>
                        <a:lnTo>
                          <a:pt x="1180" y="928"/>
                        </a:lnTo>
                        <a:lnTo>
                          <a:pt x="1165" y="953"/>
                        </a:lnTo>
                        <a:lnTo>
                          <a:pt x="1149" y="979"/>
                        </a:lnTo>
                        <a:lnTo>
                          <a:pt x="1132" y="1004"/>
                        </a:lnTo>
                        <a:lnTo>
                          <a:pt x="1113" y="1028"/>
                        </a:lnTo>
                        <a:lnTo>
                          <a:pt x="1094" y="1051"/>
                        </a:lnTo>
                        <a:lnTo>
                          <a:pt x="1071" y="1073"/>
                        </a:lnTo>
                        <a:lnTo>
                          <a:pt x="1051" y="1094"/>
                        </a:lnTo>
                        <a:lnTo>
                          <a:pt x="1027" y="1113"/>
                        </a:lnTo>
                        <a:lnTo>
                          <a:pt x="1004" y="1132"/>
                        </a:lnTo>
                        <a:lnTo>
                          <a:pt x="979" y="1149"/>
                        </a:lnTo>
                        <a:lnTo>
                          <a:pt x="953" y="1165"/>
                        </a:lnTo>
                        <a:lnTo>
                          <a:pt x="928" y="1181"/>
                        </a:lnTo>
                        <a:lnTo>
                          <a:pt x="901" y="1194"/>
                        </a:lnTo>
                        <a:lnTo>
                          <a:pt x="872" y="1207"/>
                        </a:lnTo>
                        <a:lnTo>
                          <a:pt x="843" y="1218"/>
                        </a:lnTo>
                        <a:lnTo>
                          <a:pt x="815" y="1228"/>
                        </a:lnTo>
                        <a:lnTo>
                          <a:pt x="784" y="1237"/>
                        </a:lnTo>
                        <a:lnTo>
                          <a:pt x="754" y="1243"/>
                        </a:lnTo>
                        <a:lnTo>
                          <a:pt x="724" y="1250"/>
                        </a:lnTo>
                        <a:lnTo>
                          <a:pt x="692" y="1253"/>
                        </a:lnTo>
                        <a:lnTo>
                          <a:pt x="660" y="1256"/>
                        </a:lnTo>
                        <a:lnTo>
                          <a:pt x="628" y="1256"/>
                        </a:lnTo>
                        <a:lnTo>
                          <a:pt x="628" y="1256"/>
                        </a:lnTo>
                        <a:lnTo>
                          <a:pt x="595" y="1256"/>
                        </a:lnTo>
                        <a:lnTo>
                          <a:pt x="563" y="1253"/>
                        </a:lnTo>
                        <a:lnTo>
                          <a:pt x="532" y="1250"/>
                        </a:lnTo>
                        <a:lnTo>
                          <a:pt x="500" y="1243"/>
                        </a:lnTo>
                        <a:lnTo>
                          <a:pt x="470" y="1237"/>
                        </a:lnTo>
                        <a:lnTo>
                          <a:pt x="441" y="1228"/>
                        </a:lnTo>
                        <a:lnTo>
                          <a:pt x="411" y="1218"/>
                        </a:lnTo>
                        <a:lnTo>
                          <a:pt x="382" y="1207"/>
                        </a:lnTo>
                        <a:lnTo>
                          <a:pt x="355" y="1194"/>
                        </a:lnTo>
                        <a:lnTo>
                          <a:pt x="328" y="1181"/>
                        </a:lnTo>
                        <a:lnTo>
                          <a:pt x="301" y="1165"/>
                        </a:lnTo>
                        <a:lnTo>
                          <a:pt x="276" y="1149"/>
                        </a:lnTo>
                        <a:lnTo>
                          <a:pt x="252" y="1132"/>
                        </a:lnTo>
                        <a:lnTo>
                          <a:pt x="228" y="1113"/>
                        </a:lnTo>
                        <a:lnTo>
                          <a:pt x="205" y="1094"/>
                        </a:lnTo>
                        <a:lnTo>
                          <a:pt x="183" y="1073"/>
                        </a:lnTo>
                        <a:lnTo>
                          <a:pt x="162" y="1051"/>
                        </a:lnTo>
                        <a:lnTo>
                          <a:pt x="143" y="1028"/>
                        </a:lnTo>
                        <a:lnTo>
                          <a:pt x="124" y="1004"/>
                        </a:lnTo>
                        <a:lnTo>
                          <a:pt x="107" y="979"/>
                        </a:lnTo>
                        <a:lnTo>
                          <a:pt x="91" y="953"/>
                        </a:lnTo>
                        <a:lnTo>
                          <a:pt x="75" y="928"/>
                        </a:lnTo>
                        <a:lnTo>
                          <a:pt x="60" y="901"/>
                        </a:lnTo>
                        <a:lnTo>
                          <a:pt x="49" y="872"/>
                        </a:lnTo>
                        <a:lnTo>
                          <a:pt x="36" y="845"/>
                        </a:lnTo>
                        <a:lnTo>
                          <a:pt x="27" y="815"/>
                        </a:lnTo>
                        <a:lnTo>
                          <a:pt x="19" y="786"/>
                        </a:lnTo>
                        <a:lnTo>
                          <a:pt x="13" y="754"/>
                        </a:lnTo>
                        <a:lnTo>
                          <a:pt x="6" y="724"/>
                        </a:lnTo>
                        <a:lnTo>
                          <a:pt x="3" y="692"/>
                        </a:lnTo>
                        <a:lnTo>
                          <a:pt x="0" y="660"/>
                        </a:lnTo>
                        <a:lnTo>
                          <a:pt x="0" y="628"/>
                        </a:lnTo>
                        <a:lnTo>
                          <a:pt x="0" y="628"/>
                        </a:lnTo>
                        <a:lnTo>
                          <a:pt x="0" y="596"/>
                        </a:lnTo>
                        <a:lnTo>
                          <a:pt x="3" y="564"/>
                        </a:lnTo>
                        <a:lnTo>
                          <a:pt x="6" y="532"/>
                        </a:lnTo>
                        <a:lnTo>
                          <a:pt x="13" y="502"/>
                        </a:lnTo>
                        <a:lnTo>
                          <a:pt x="19" y="470"/>
                        </a:lnTo>
                        <a:lnTo>
                          <a:pt x="27" y="441"/>
                        </a:lnTo>
                        <a:lnTo>
                          <a:pt x="36" y="411"/>
                        </a:lnTo>
                        <a:lnTo>
                          <a:pt x="49" y="384"/>
                        </a:lnTo>
                        <a:lnTo>
                          <a:pt x="60" y="355"/>
                        </a:lnTo>
                        <a:lnTo>
                          <a:pt x="75" y="328"/>
                        </a:lnTo>
                        <a:lnTo>
                          <a:pt x="91" y="303"/>
                        </a:lnTo>
                        <a:lnTo>
                          <a:pt x="107" y="277"/>
                        </a:lnTo>
                        <a:lnTo>
                          <a:pt x="124" y="252"/>
                        </a:lnTo>
                        <a:lnTo>
                          <a:pt x="143" y="228"/>
                        </a:lnTo>
                        <a:lnTo>
                          <a:pt x="162" y="205"/>
                        </a:lnTo>
                        <a:lnTo>
                          <a:pt x="183" y="183"/>
                        </a:lnTo>
                        <a:lnTo>
                          <a:pt x="205" y="162"/>
                        </a:lnTo>
                        <a:lnTo>
                          <a:pt x="228" y="143"/>
                        </a:lnTo>
                        <a:lnTo>
                          <a:pt x="252" y="124"/>
                        </a:lnTo>
                        <a:lnTo>
                          <a:pt x="276" y="107"/>
                        </a:lnTo>
                        <a:lnTo>
                          <a:pt x="301" y="91"/>
                        </a:lnTo>
                        <a:lnTo>
                          <a:pt x="328" y="75"/>
                        </a:lnTo>
                        <a:lnTo>
                          <a:pt x="355" y="62"/>
                        </a:lnTo>
                        <a:lnTo>
                          <a:pt x="382" y="49"/>
                        </a:lnTo>
                        <a:lnTo>
                          <a:pt x="411" y="38"/>
                        </a:lnTo>
                        <a:lnTo>
                          <a:pt x="441" y="28"/>
                        </a:lnTo>
                        <a:lnTo>
                          <a:pt x="470" y="19"/>
                        </a:lnTo>
                        <a:lnTo>
                          <a:pt x="500" y="13"/>
                        </a:lnTo>
                        <a:lnTo>
                          <a:pt x="532" y="6"/>
                        </a:lnTo>
                        <a:lnTo>
                          <a:pt x="563" y="3"/>
                        </a:lnTo>
                        <a:lnTo>
                          <a:pt x="595" y="0"/>
                        </a:lnTo>
                        <a:lnTo>
                          <a:pt x="628" y="0"/>
                        </a:lnTo>
                        <a:lnTo>
                          <a:pt x="628" y="0"/>
                        </a:lnTo>
                        <a:lnTo>
                          <a:pt x="660" y="0"/>
                        </a:lnTo>
                        <a:lnTo>
                          <a:pt x="692" y="3"/>
                        </a:lnTo>
                        <a:lnTo>
                          <a:pt x="724" y="6"/>
                        </a:lnTo>
                        <a:lnTo>
                          <a:pt x="754" y="13"/>
                        </a:lnTo>
                        <a:lnTo>
                          <a:pt x="784" y="19"/>
                        </a:lnTo>
                        <a:lnTo>
                          <a:pt x="815" y="28"/>
                        </a:lnTo>
                        <a:lnTo>
                          <a:pt x="843" y="38"/>
                        </a:lnTo>
                        <a:lnTo>
                          <a:pt x="872" y="49"/>
                        </a:lnTo>
                        <a:lnTo>
                          <a:pt x="901" y="62"/>
                        </a:lnTo>
                        <a:lnTo>
                          <a:pt x="928" y="75"/>
                        </a:lnTo>
                        <a:lnTo>
                          <a:pt x="953" y="91"/>
                        </a:lnTo>
                        <a:lnTo>
                          <a:pt x="979" y="107"/>
                        </a:lnTo>
                        <a:lnTo>
                          <a:pt x="1004" y="124"/>
                        </a:lnTo>
                        <a:lnTo>
                          <a:pt x="1027" y="143"/>
                        </a:lnTo>
                        <a:lnTo>
                          <a:pt x="1051" y="162"/>
                        </a:lnTo>
                        <a:lnTo>
                          <a:pt x="1071" y="183"/>
                        </a:lnTo>
                        <a:lnTo>
                          <a:pt x="1094" y="205"/>
                        </a:lnTo>
                        <a:lnTo>
                          <a:pt x="1113" y="228"/>
                        </a:lnTo>
                        <a:lnTo>
                          <a:pt x="1132" y="252"/>
                        </a:lnTo>
                        <a:lnTo>
                          <a:pt x="1149" y="277"/>
                        </a:lnTo>
                        <a:lnTo>
                          <a:pt x="1165" y="303"/>
                        </a:lnTo>
                        <a:lnTo>
                          <a:pt x="1180" y="328"/>
                        </a:lnTo>
                        <a:lnTo>
                          <a:pt x="1194" y="355"/>
                        </a:lnTo>
                        <a:lnTo>
                          <a:pt x="1207" y="384"/>
                        </a:lnTo>
                        <a:lnTo>
                          <a:pt x="1218" y="411"/>
                        </a:lnTo>
                        <a:lnTo>
                          <a:pt x="1228" y="441"/>
                        </a:lnTo>
                        <a:lnTo>
                          <a:pt x="1236" y="470"/>
                        </a:lnTo>
                        <a:lnTo>
                          <a:pt x="1243" y="502"/>
                        </a:lnTo>
                        <a:lnTo>
                          <a:pt x="1248" y="532"/>
                        </a:lnTo>
                        <a:lnTo>
                          <a:pt x="1253" y="564"/>
                        </a:lnTo>
                        <a:lnTo>
                          <a:pt x="1255" y="596"/>
                        </a:lnTo>
                        <a:lnTo>
                          <a:pt x="1256" y="628"/>
                        </a:lnTo>
                        <a:lnTo>
                          <a:pt x="1256" y="6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75" name="Freeform 13">
                    <a:extLst>
                      <a:ext uri="{FF2B5EF4-FFF2-40B4-BE49-F238E27FC236}">
                        <a16:creationId xmlns:a16="http://schemas.microsoft.com/office/drawing/2014/main" id="{442BC284-7142-4BC2-8D61-3F104BCB7481}"/>
                      </a:ext>
                    </a:extLst>
                  </p:cNvPr>
                  <p:cNvSpPr>
                    <a:spLocks/>
                  </p:cNvSpPr>
                  <p:nvPr/>
                </p:nvSpPr>
                <p:spPr bwMode="auto">
                  <a:xfrm>
                    <a:off x="2594" y="1936"/>
                    <a:ext cx="628" cy="628"/>
                  </a:xfrm>
                  <a:custGeom>
                    <a:avLst/>
                    <a:gdLst>
                      <a:gd name="T0" fmla="*/ 1255 w 1256"/>
                      <a:gd name="T1" fmla="*/ 660 h 1256"/>
                      <a:gd name="T2" fmla="*/ 1243 w 1256"/>
                      <a:gd name="T3" fmla="*/ 754 h 1256"/>
                      <a:gd name="T4" fmla="*/ 1218 w 1256"/>
                      <a:gd name="T5" fmla="*/ 845 h 1256"/>
                      <a:gd name="T6" fmla="*/ 1180 w 1256"/>
                      <a:gd name="T7" fmla="*/ 928 h 1256"/>
                      <a:gd name="T8" fmla="*/ 1132 w 1256"/>
                      <a:gd name="T9" fmla="*/ 1004 h 1256"/>
                      <a:gd name="T10" fmla="*/ 1071 w 1256"/>
                      <a:gd name="T11" fmla="*/ 1073 h 1256"/>
                      <a:gd name="T12" fmla="*/ 1004 w 1256"/>
                      <a:gd name="T13" fmla="*/ 1132 h 1256"/>
                      <a:gd name="T14" fmla="*/ 928 w 1256"/>
                      <a:gd name="T15" fmla="*/ 1181 h 1256"/>
                      <a:gd name="T16" fmla="*/ 843 w 1256"/>
                      <a:gd name="T17" fmla="*/ 1218 h 1256"/>
                      <a:gd name="T18" fmla="*/ 754 w 1256"/>
                      <a:gd name="T19" fmla="*/ 1243 h 1256"/>
                      <a:gd name="T20" fmla="*/ 660 w 1256"/>
                      <a:gd name="T21" fmla="*/ 1256 h 1256"/>
                      <a:gd name="T22" fmla="*/ 595 w 1256"/>
                      <a:gd name="T23" fmla="*/ 1256 h 1256"/>
                      <a:gd name="T24" fmla="*/ 500 w 1256"/>
                      <a:gd name="T25" fmla="*/ 1243 h 1256"/>
                      <a:gd name="T26" fmla="*/ 411 w 1256"/>
                      <a:gd name="T27" fmla="*/ 1218 h 1256"/>
                      <a:gd name="T28" fmla="*/ 328 w 1256"/>
                      <a:gd name="T29" fmla="*/ 1181 h 1256"/>
                      <a:gd name="T30" fmla="*/ 252 w 1256"/>
                      <a:gd name="T31" fmla="*/ 1132 h 1256"/>
                      <a:gd name="T32" fmla="*/ 183 w 1256"/>
                      <a:gd name="T33" fmla="*/ 1073 h 1256"/>
                      <a:gd name="T34" fmla="*/ 124 w 1256"/>
                      <a:gd name="T35" fmla="*/ 1004 h 1256"/>
                      <a:gd name="T36" fmla="*/ 75 w 1256"/>
                      <a:gd name="T37" fmla="*/ 928 h 1256"/>
                      <a:gd name="T38" fmla="*/ 36 w 1256"/>
                      <a:gd name="T39" fmla="*/ 845 h 1256"/>
                      <a:gd name="T40" fmla="*/ 13 w 1256"/>
                      <a:gd name="T41" fmla="*/ 754 h 1256"/>
                      <a:gd name="T42" fmla="*/ 0 w 1256"/>
                      <a:gd name="T43" fmla="*/ 660 h 1256"/>
                      <a:gd name="T44" fmla="*/ 0 w 1256"/>
                      <a:gd name="T45" fmla="*/ 596 h 1256"/>
                      <a:gd name="T46" fmla="*/ 13 w 1256"/>
                      <a:gd name="T47" fmla="*/ 502 h 1256"/>
                      <a:gd name="T48" fmla="*/ 36 w 1256"/>
                      <a:gd name="T49" fmla="*/ 411 h 1256"/>
                      <a:gd name="T50" fmla="*/ 75 w 1256"/>
                      <a:gd name="T51" fmla="*/ 328 h 1256"/>
                      <a:gd name="T52" fmla="*/ 124 w 1256"/>
                      <a:gd name="T53" fmla="*/ 252 h 1256"/>
                      <a:gd name="T54" fmla="*/ 183 w 1256"/>
                      <a:gd name="T55" fmla="*/ 183 h 1256"/>
                      <a:gd name="T56" fmla="*/ 252 w 1256"/>
                      <a:gd name="T57" fmla="*/ 124 h 1256"/>
                      <a:gd name="T58" fmla="*/ 328 w 1256"/>
                      <a:gd name="T59" fmla="*/ 75 h 1256"/>
                      <a:gd name="T60" fmla="*/ 411 w 1256"/>
                      <a:gd name="T61" fmla="*/ 38 h 1256"/>
                      <a:gd name="T62" fmla="*/ 500 w 1256"/>
                      <a:gd name="T63" fmla="*/ 13 h 1256"/>
                      <a:gd name="T64" fmla="*/ 595 w 1256"/>
                      <a:gd name="T65" fmla="*/ 0 h 1256"/>
                      <a:gd name="T66" fmla="*/ 660 w 1256"/>
                      <a:gd name="T67" fmla="*/ 0 h 1256"/>
                      <a:gd name="T68" fmla="*/ 754 w 1256"/>
                      <a:gd name="T69" fmla="*/ 13 h 1256"/>
                      <a:gd name="T70" fmla="*/ 843 w 1256"/>
                      <a:gd name="T71" fmla="*/ 38 h 1256"/>
                      <a:gd name="T72" fmla="*/ 928 w 1256"/>
                      <a:gd name="T73" fmla="*/ 75 h 1256"/>
                      <a:gd name="T74" fmla="*/ 1004 w 1256"/>
                      <a:gd name="T75" fmla="*/ 124 h 1256"/>
                      <a:gd name="T76" fmla="*/ 1071 w 1256"/>
                      <a:gd name="T77" fmla="*/ 183 h 1256"/>
                      <a:gd name="T78" fmla="*/ 1132 w 1256"/>
                      <a:gd name="T79" fmla="*/ 252 h 1256"/>
                      <a:gd name="T80" fmla="*/ 1180 w 1256"/>
                      <a:gd name="T81" fmla="*/ 328 h 1256"/>
                      <a:gd name="T82" fmla="*/ 1218 w 1256"/>
                      <a:gd name="T83" fmla="*/ 411 h 1256"/>
                      <a:gd name="T84" fmla="*/ 1243 w 1256"/>
                      <a:gd name="T85" fmla="*/ 502 h 1256"/>
                      <a:gd name="T86" fmla="*/ 1255 w 1256"/>
                      <a:gd name="T87" fmla="*/ 59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6" h="1256">
                        <a:moveTo>
                          <a:pt x="1256" y="628"/>
                        </a:moveTo>
                        <a:lnTo>
                          <a:pt x="1256" y="628"/>
                        </a:lnTo>
                        <a:lnTo>
                          <a:pt x="1255" y="660"/>
                        </a:lnTo>
                        <a:lnTo>
                          <a:pt x="1253" y="692"/>
                        </a:lnTo>
                        <a:lnTo>
                          <a:pt x="1248" y="724"/>
                        </a:lnTo>
                        <a:lnTo>
                          <a:pt x="1243" y="754"/>
                        </a:lnTo>
                        <a:lnTo>
                          <a:pt x="1236" y="786"/>
                        </a:lnTo>
                        <a:lnTo>
                          <a:pt x="1228" y="815"/>
                        </a:lnTo>
                        <a:lnTo>
                          <a:pt x="1218" y="845"/>
                        </a:lnTo>
                        <a:lnTo>
                          <a:pt x="1207" y="872"/>
                        </a:lnTo>
                        <a:lnTo>
                          <a:pt x="1194" y="901"/>
                        </a:lnTo>
                        <a:lnTo>
                          <a:pt x="1180" y="928"/>
                        </a:lnTo>
                        <a:lnTo>
                          <a:pt x="1165" y="953"/>
                        </a:lnTo>
                        <a:lnTo>
                          <a:pt x="1149" y="979"/>
                        </a:lnTo>
                        <a:lnTo>
                          <a:pt x="1132" y="1004"/>
                        </a:lnTo>
                        <a:lnTo>
                          <a:pt x="1113" y="1028"/>
                        </a:lnTo>
                        <a:lnTo>
                          <a:pt x="1094" y="1051"/>
                        </a:lnTo>
                        <a:lnTo>
                          <a:pt x="1071" y="1073"/>
                        </a:lnTo>
                        <a:lnTo>
                          <a:pt x="1051" y="1094"/>
                        </a:lnTo>
                        <a:lnTo>
                          <a:pt x="1027" y="1113"/>
                        </a:lnTo>
                        <a:lnTo>
                          <a:pt x="1004" y="1132"/>
                        </a:lnTo>
                        <a:lnTo>
                          <a:pt x="979" y="1149"/>
                        </a:lnTo>
                        <a:lnTo>
                          <a:pt x="953" y="1165"/>
                        </a:lnTo>
                        <a:lnTo>
                          <a:pt x="928" y="1181"/>
                        </a:lnTo>
                        <a:lnTo>
                          <a:pt x="901" y="1194"/>
                        </a:lnTo>
                        <a:lnTo>
                          <a:pt x="872" y="1207"/>
                        </a:lnTo>
                        <a:lnTo>
                          <a:pt x="843" y="1218"/>
                        </a:lnTo>
                        <a:lnTo>
                          <a:pt x="815" y="1228"/>
                        </a:lnTo>
                        <a:lnTo>
                          <a:pt x="784" y="1237"/>
                        </a:lnTo>
                        <a:lnTo>
                          <a:pt x="754" y="1243"/>
                        </a:lnTo>
                        <a:lnTo>
                          <a:pt x="724" y="1250"/>
                        </a:lnTo>
                        <a:lnTo>
                          <a:pt x="692" y="1253"/>
                        </a:lnTo>
                        <a:lnTo>
                          <a:pt x="660" y="1256"/>
                        </a:lnTo>
                        <a:lnTo>
                          <a:pt x="628" y="1256"/>
                        </a:lnTo>
                        <a:lnTo>
                          <a:pt x="628" y="1256"/>
                        </a:lnTo>
                        <a:lnTo>
                          <a:pt x="595" y="1256"/>
                        </a:lnTo>
                        <a:lnTo>
                          <a:pt x="563" y="1253"/>
                        </a:lnTo>
                        <a:lnTo>
                          <a:pt x="532" y="1250"/>
                        </a:lnTo>
                        <a:lnTo>
                          <a:pt x="500" y="1243"/>
                        </a:lnTo>
                        <a:lnTo>
                          <a:pt x="470" y="1237"/>
                        </a:lnTo>
                        <a:lnTo>
                          <a:pt x="441" y="1228"/>
                        </a:lnTo>
                        <a:lnTo>
                          <a:pt x="411" y="1218"/>
                        </a:lnTo>
                        <a:lnTo>
                          <a:pt x="382" y="1207"/>
                        </a:lnTo>
                        <a:lnTo>
                          <a:pt x="355" y="1194"/>
                        </a:lnTo>
                        <a:lnTo>
                          <a:pt x="328" y="1181"/>
                        </a:lnTo>
                        <a:lnTo>
                          <a:pt x="301" y="1165"/>
                        </a:lnTo>
                        <a:lnTo>
                          <a:pt x="276" y="1149"/>
                        </a:lnTo>
                        <a:lnTo>
                          <a:pt x="252" y="1132"/>
                        </a:lnTo>
                        <a:lnTo>
                          <a:pt x="228" y="1113"/>
                        </a:lnTo>
                        <a:lnTo>
                          <a:pt x="205" y="1094"/>
                        </a:lnTo>
                        <a:lnTo>
                          <a:pt x="183" y="1073"/>
                        </a:lnTo>
                        <a:lnTo>
                          <a:pt x="162" y="1051"/>
                        </a:lnTo>
                        <a:lnTo>
                          <a:pt x="143" y="1028"/>
                        </a:lnTo>
                        <a:lnTo>
                          <a:pt x="124" y="1004"/>
                        </a:lnTo>
                        <a:lnTo>
                          <a:pt x="107" y="979"/>
                        </a:lnTo>
                        <a:lnTo>
                          <a:pt x="91" y="953"/>
                        </a:lnTo>
                        <a:lnTo>
                          <a:pt x="75" y="928"/>
                        </a:lnTo>
                        <a:lnTo>
                          <a:pt x="60" y="901"/>
                        </a:lnTo>
                        <a:lnTo>
                          <a:pt x="49" y="872"/>
                        </a:lnTo>
                        <a:lnTo>
                          <a:pt x="36" y="845"/>
                        </a:lnTo>
                        <a:lnTo>
                          <a:pt x="27" y="815"/>
                        </a:lnTo>
                        <a:lnTo>
                          <a:pt x="19" y="786"/>
                        </a:lnTo>
                        <a:lnTo>
                          <a:pt x="13" y="754"/>
                        </a:lnTo>
                        <a:lnTo>
                          <a:pt x="6" y="724"/>
                        </a:lnTo>
                        <a:lnTo>
                          <a:pt x="3" y="692"/>
                        </a:lnTo>
                        <a:lnTo>
                          <a:pt x="0" y="660"/>
                        </a:lnTo>
                        <a:lnTo>
                          <a:pt x="0" y="628"/>
                        </a:lnTo>
                        <a:lnTo>
                          <a:pt x="0" y="628"/>
                        </a:lnTo>
                        <a:lnTo>
                          <a:pt x="0" y="596"/>
                        </a:lnTo>
                        <a:lnTo>
                          <a:pt x="3" y="564"/>
                        </a:lnTo>
                        <a:lnTo>
                          <a:pt x="6" y="532"/>
                        </a:lnTo>
                        <a:lnTo>
                          <a:pt x="13" y="502"/>
                        </a:lnTo>
                        <a:lnTo>
                          <a:pt x="19" y="470"/>
                        </a:lnTo>
                        <a:lnTo>
                          <a:pt x="27" y="441"/>
                        </a:lnTo>
                        <a:lnTo>
                          <a:pt x="36" y="411"/>
                        </a:lnTo>
                        <a:lnTo>
                          <a:pt x="49" y="384"/>
                        </a:lnTo>
                        <a:lnTo>
                          <a:pt x="60" y="355"/>
                        </a:lnTo>
                        <a:lnTo>
                          <a:pt x="75" y="328"/>
                        </a:lnTo>
                        <a:lnTo>
                          <a:pt x="91" y="303"/>
                        </a:lnTo>
                        <a:lnTo>
                          <a:pt x="107" y="277"/>
                        </a:lnTo>
                        <a:lnTo>
                          <a:pt x="124" y="252"/>
                        </a:lnTo>
                        <a:lnTo>
                          <a:pt x="143" y="228"/>
                        </a:lnTo>
                        <a:lnTo>
                          <a:pt x="162" y="205"/>
                        </a:lnTo>
                        <a:lnTo>
                          <a:pt x="183" y="183"/>
                        </a:lnTo>
                        <a:lnTo>
                          <a:pt x="205" y="162"/>
                        </a:lnTo>
                        <a:lnTo>
                          <a:pt x="228" y="143"/>
                        </a:lnTo>
                        <a:lnTo>
                          <a:pt x="252" y="124"/>
                        </a:lnTo>
                        <a:lnTo>
                          <a:pt x="276" y="107"/>
                        </a:lnTo>
                        <a:lnTo>
                          <a:pt x="301" y="91"/>
                        </a:lnTo>
                        <a:lnTo>
                          <a:pt x="328" y="75"/>
                        </a:lnTo>
                        <a:lnTo>
                          <a:pt x="355" y="62"/>
                        </a:lnTo>
                        <a:lnTo>
                          <a:pt x="382" y="49"/>
                        </a:lnTo>
                        <a:lnTo>
                          <a:pt x="411" y="38"/>
                        </a:lnTo>
                        <a:lnTo>
                          <a:pt x="441" y="28"/>
                        </a:lnTo>
                        <a:lnTo>
                          <a:pt x="470" y="19"/>
                        </a:lnTo>
                        <a:lnTo>
                          <a:pt x="500" y="13"/>
                        </a:lnTo>
                        <a:lnTo>
                          <a:pt x="532" y="6"/>
                        </a:lnTo>
                        <a:lnTo>
                          <a:pt x="563" y="3"/>
                        </a:lnTo>
                        <a:lnTo>
                          <a:pt x="595" y="0"/>
                        </a:lnTo>
                        <a:lnTo>
                          <a:pt x="628" y="0"/>
                        </a:lnTo>
                        <a:lnTo>
                          <a:pt x="628" y="0"/>
                        </a:lnTo>
                        <a:lnTo>
                          <a:pt x="660" y="0"/>
                        </a:lnTo>
                        <a:lnTo>
                          <a:pt x="692" y="3"/>
                        </a:lnTo>
                        <a:lnTo>
                          <a:pt x="724" y="6"/>
                        </a:lnTo>
                        <a:lnTo>
                          <a:pt x="754" y="13"/>
                        </a:lnTo>
                        <a:lnTo>
                          <a:pt x="784" y="19"/>
                        </a:lnTo>
                        <a:lnTo>
                          <a:pt x="815" y="28"/>
                        </a:lnTo>
                        <a:lnTo>
                          <a:pt x="843" y="38"/>
                        </a:lnTo>
                        <a:lnTo>
                          <a:pt x="872" y="49"/>
                        </a:lnTo>
                        <a:lnTo>
                          <a:pt x="901" y="62"/>
                        </a:lnTo>
                        <a:lnTo>
                          <a:pt x="928" y="75"/>
                        </a:lnTo>
                        <a:lnTo>
                          <a:pt x="953" y="91"/>
                        </a:lnTo>
                        <a:lnTo>
                          <a:pt x="979" y="107"/>
                        </a:lnTo>
                        <a:lnTo>
                          <a:pt x="1004" y="124"/>
                        </a:lnTo>
                        <a:lnTo>
                          <a:pt x="1027" y="143"/>
                        </a:lnTo>
                        <a:lnTo>
                          <a:pt x="1051" y="162"/>
                        </a:lnTo>
                        <a:lnTo>
                          <a:pt x="1071" y="183"/>
                        </a:lnTo>
                        <a:lnTo>
                          <a:pt x="1094" y="205"/>
                        </a:lnTo>
                        <a:lnTo>
                          <a:pt x="1113" y="228"/>
                        </a:lnTo>
                        <a:lnTo>
                          <a:pt x="1132" y="252"/>
                        </a:lnTo>
                        <a:lnTo>
                          <a:pt x="1149" y="277"/>
                        </a:lnTo>
                        <a:lnTo>
                          <a:pt x="1165" y="303"/>
                        </a:lnTo>
                        <a:lnTo>
                          <a:pt x="1180" y="328"/>
                        </a:lnTo>
                        <a:lnTo>
                          <a:pt x="1194" y="355"/>
                        </a:lnTo>
                        <a:lnTo>
                          <a:pt x="1207" y="384"/>
                        </a:lnTo>
                        <a:lnTo>
                          <a:pt x="1218" y="411"/>
                        </a:lnTo>
                        <a:lnTo>
                          <a:pt x="1228" y="441"/>
                        </a:lnTo>
                        <a:lnTo>
                          <a:pt x="1236" y="470"/>
                        </a:lnTo>
                        <a:lnTo>
                          <a:pt x="1243" y="502"/>
                        </a:lnTo>
                        <a:lnTo>
                          <a:pt x="1248" y="532"/>
                        </a:lnTo>
                        <a:lnTo>
                          <a:pt x="1253" y="564"/>
                        </a:lnTo>
                        <a:lnTo>
                          <a:pt x="1255" y="596"/>
                        </a:lnTo>
                        <a:lnTo>
                          <a:pt x="1256" y="628"/>
                        </a:lnTo>
                        <a:lnTo>
                          <a:pt x="1256" y="6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76" name="Freeform 14">
                    <a:extLst>
                      <a:ext uri="{FF2B5EF4-FFF2-40B4-BE49-F238E27FC236}">
                        <a16:creationId xmlns:a16="http://schemas.microsoft.com/office/drawing/2014/main" id="{E0D78430-53ED-4891-B67E-1B455201245E}"/>
                      </a:ext>
                    </a:extLst>
                  </p:cNvPr>
                  <p:cNvSpPr>
                    <a:spLocks/>
                  </p:cNvSpPr>
                  <p:nvPr/>
                </p:nvSpPr>
                <p:spPr bwMode="auto">
                  <a:xfrm>
                    <a:off x="2806" y="2122"/>
                    <a:ext cx="70" cy="71"/>
                  </a:xfrm>
                  <a:custGeom>
                    <a:avLst/>
                    <a:gdLst>
                      <a:gd name="T0" fmla="*/ 105 w 140"/>
                      <a:gd name="T1" fmla="*/ 9 h 140"/>
                      <a:gd name="T2" fmla="*/ 105 w 140"/>
                      <a:gd name="T3" fmla="*/ 9 h 140"/>
                      <a:gd name="T4" fmla="*/ 118 w 140"/>
                      <a:gd name="T5" fmla="*/ 17 h 140"/>
                      <a:gd name="T6" fmla="*/ 127 w 140"/>
                      <a:gd name="T7" fmla="*/ 27 h 140"/>
                      <a:gd name="T8" fmla="*/ 134 w 140"/>
                      <a:gd name="T9" fmla="*/ 40 h 140"/>
                      <a:gd name="T10" fmla="*/ 139 w 140"/>
                      <a:gd name="T11" fmla="*/ 53 h 140"/>
                      <a:gd name="T12" fmla="*/ 140 w 140"/>
                      <a:gd name="T13" fmla="*/ 65 h 140"/>
                      <a:gd name="T14" fmla="*/ 140 w 140"/>
                      <a:gd name="T15" fmla="*/ 80 h 140"/>
                      <a:gd name="T16" fmla="*/ 137 w 140"/>
                      <a:gd name="T17" fmla="*/ 92 h 140"/>
                      <a:gd name="T18" fmla="*/ 132 w 140"/>
                      <a:gd name="T19" fmla="*/ 105 h 140"/>
                      <a:gd name="T20" fmla="*/ 132 w 140"/>
                      <a:gd name="T21" fmla="*/ 105 h 140"/>
                      <a:gd name="T22" fmla="*/ 123 w 140"/>
                      <a:gd name="T23" fmla="*/ 116 h 140"/>
                      <a:gd name="T24" fmla="*/ 113 w 140"/>
                      <a:gd name="T25" fmla="*/ 126 h 140"/>
                      <a:gd name="T26" fmla="*/ 102 w 140"/>
                      <a:gd name="T27" fmla="*/ 134 h 140"/>
                      <a:gd name="T28" fmla="*/ 89 w 140"/>
                      <a:gd name="T29" fmla="*/ 139 h 140"/>
                      <a:gd name="T30" fmla="*/ 75 w 140"/>
                      <a:gd name="T31" fmla="*/ 140 h 140"/>
                      <a:gd name="T32" fmla="*/ 62 w 140"/>
                      <a:gd name="T33" fmla="*/ 140 h 140"/>
                      <a:gd name="T34" fmla="*/ 48 w 140"/>
                      <a:gd name="T35" fmla="*/ 137 h 140"/>
                      <a:gd name="T36" fmla="*/ 35 w 140"/>
                      <a:gd name="T37" fmla="*/ 131 h 140"/>
                      <a:gd name="T38" fmla="*/ 35 w 140"/>
                      <a:gd name="T39" fmla="*/ 131 h 140"/>
                      <a:gd name="T40" fmla="*/ 24 w 140"/>
                      <a:gd name="T41" fmla="*/ 123 h 140"/>
                      <a:gd name="T42" fmla="*/ 14 w 140"/>
                      <a:gd name="T43" fmla="*/ 113 h 140"/>
                      <a:gd name="T44" fmla="*/ 8 w 140"/>
                      <a:gd name="T45" fmla="*/ 100 h 140"/>
                      <a:gd name="T46" fmla="*/ 3 w 140"/>
                      <a:gd name="T47" fmla="*/ 88 h 140"/>
                      <a:gd name="T48" fmla="*/ 0 w 140"/>
                      <a:gd name="T49" fmla="*/ 75 h 140"/>
                      <a:gd name="T50" fmla="*/ 0 w 140"/>
                      <a:gd name="T51" fmla="*/ 62 h 140"/>
                      <a:gd name="T52" fmla="*/ 3 w 140"/>
                      <a:gd name="T53" fmla="*/ 48 h 140"/>
                      <a:gd name="T54" fmla="*/ 9 w 140"/>
                      <a:gd name="T55" fmla="*/ 35 h 140"/>
                      <a:gd name="T56" fmla="*/ 9 w 140"/>
                      <a:gd name="T57" fmla="*/ 35 h 140"/>
                      <a:gd name="T58" fmla="*/ 17 w 140"/>
                      <a:gd name="T59" fmla="*/ 24 h 140"/>
                      <a:gd name="T60" fmla="*/ 29 w 140"/>
                      <a:gd name="T61" fmla="*/ 14 h 140"/>
                      <a:gd name="T62" fmla="*/ 40 w 140"/>
                      <a:gd name="T63" fmla="*/ 6 h 140"/>
                      <a:gd name="T64" fmla="*/ 53 w 140"/>
                      <a:gd name="T65" fmla="*/ 1 h 140"/>
                      <a:gd name="T66" fmla="*/ 65 w 140"/>
                      <a:gd name="T67" fmla="*/ 0 h 140"/>
                      <a:gd name="T68" fmla="*/ 80 w 140"/>
                      <a:gd name="T69" fmla="*/ 0 h 140"/>
                      <a:gd name="T70" fmla="*/ 92 w 140"/>
                      <a:gd name="T71" fmla="*/ 3 h 140"/>
                      <a:gd name="T72" fmla="*/ 105 w 140"/>
                      <a:gd name="T73" fmla="*/ 9 h 140"/>
                      <a:gd name="T74" fmla="*/ 105 w 140"/>
                      <a:gd name="T75"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0">
                        <a:moveTo>
                          <a:pt x="105" y="9"/>
                        </a:moveTo>
                        <a:lnTo>
                          <a:pt x="105" y="9"/>
                        </a:lnTo>
                        <a:lnTo>
                          <a:pt x="118" y="17"/>
                        </a:lnTo>
                        <a:lnTo>
                          <a:pt x="127" y="27"/>
                        </a:lnTo>
                        <a:lnTo>
                          <a:pt x="134" y="40"/>
                        </a:lnTo>
                        <a:lnTo>
                          <a:pt x="139" y="53"/>
                        </a:lnTo>
                        <a:lnTo>
                          <a:pt x="140" y="65"/>
                        </a:lnTo>
                        <a:lnTo>
                          <a:pt x="140" y="80"/>
                        </a:lnTo>
                        <a:lnTo>
                          <a:pt x="137" y="92"/>
                        </a:lnTo>
                        <a:lnTo>
                          <a:pt x="132" y="105"/>
                        </a:lnTo>
                        <a:lnTo>
                          <a:pt x="132" y="105"/>
                        </a:lnTo>
                        <a:lnTo>
                          <a:pt x="123" y="116"/>
                        </a:lnTo>
                        <a:lnTo>
                          <a:pt x="113" y="126"/>
                        </a:lnTo>
                        <a:lnTo>
                          <a:pt x="102" y="134"/>
                        </a:lnTo>
                        <a:lnTo>
                          <a:pt x="89" y="139"/>
                        </a:lnTo>
                        <a:lnTo>
                          <a:pt x="75" y="140"/>
                        </a:lnTo>
                        <a:lnTo>
                          <a:pt x="62" y="140"/>
                        </a:lnTo>
                        <a:lnTo>
                          <a:pt x="48" y="137"/>
                        </a:lnTo>
                        <a:lnTo>
                          <a:pt x="35" y="131"/>
                        </a:lnTo>
                        <a:lnTo>
                          <a:pt x="35" y="131"/>
                        </a:lnTo>
                        <a:lnTo>
                          <a:pt x="24" y="123"/>
                        </a:lnTo>
                        <a:lnTo>
                          <a:pt x="14" y="113"/>
                        </a:lnTo>
                        <a:lnTo>
                          <a:pt x="8" y="100"/>
                        </a:lnTo>
                        <a:lnTo>
                          <a:pt x="3" y="88"/>
                        </a:lnTo>
                        <a:lnTo>
                          <a:pt x="0" y="75"/>
                        </a:lnTo>
                        <a:lnTo>
                          <a:pt x="0" y="62"/>
                        </a:lnTo>
                        <a:lnTo>
                          <a:pt x="3" y="48"/>
                        </a:lnTo>
                        <a:lnTo>
                          <a:pt x="9" y="35"/>
                        </a:lnTo>
                        <a:lnTo>
                          <a:pt x="9" y="35"/>
                        </a:lnTo>
                        <a:lnTo>
                          <a:pt x="17" y="24"/>
                        </a:lnTo>
                        <a:lnTo>
                          <a:pt x="29" y="14"/>
                        </a:lnTo>
                        <a:lnTo>
                          <a:pt x="40" y="6"/>
                        </a:lnTo>
                        <a:lnTo>
                          <a:pt x="53" y="1"/>
                        </a:lnTo>
                        <a:lnTo>
                          <a:pt x="65" y="0"/>
                        </a:lnTo>
                        <a:lnTo>
                          <a:pt x="80" y="0"/>
                        </a:lnTo>
                        <a:lnTo>
                          <a:pt x="92" y="3"/>
                        </a:lnTo>
                        <a:lnTo>
                          <a:pt x="105" y="9"/>
                        </a:lnTo>
                        <a:lnTo>
                          <a:pt x="105"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77" name="Freeform 15">
                    <a:extLst>
                      <a:ext uri="{FF2B5EF4-FFF2-40B4-BE49-F238E27FC236}">
                        <a16:creationId xmlns:a16="http://schemas.microsoft.com/office/drawing/2014/main" id="{E0A77D70-9D5B-4859-A273-68076A98F23D}"/>
                      </a:ext>
                    </a:extLst>
                  </p:cNvPr>
                  <p:cNvSpPr>
                    <a:spLocks/>
                  </p:cNvSpPr>
                  <p:nvPr/>
                </p:nvSpPr>
                <p:spPr bwMode="auto">
                  <a:xfrm>
                    <a:off x="2834" y="2391"/>
                    <a:ext cx="70" cy="70"/>
                  </a:xfrm>
                  <a:custGeom>
                    <a:avLst/>
                    <a:gdLst>
                      <a:gd name="T0" fmla="*/ 105 w 140"/>
                      <a:gd name="T1" fmla="*/ 10 h 141"/>
                      <a:gd name="T2" fmla="*/ 105 w 140"/>
                      <a:gd name="T3" fmla="*/ 10 h 141"/>
                      <a:gd name="T4" fmla="*/ 118 w 140"/>
                      <a:gd name="T5" fmla="*/ 18 h 141"/>
                      <a:gd name="T6" fmla="*/ 126 w 140"/>
                      <a:gd name="T7" fmla="*/ 27 h 141"/>
                      <a:gd name="T8" fmla="*/ 134 w 140"/>
                      <a:gd name="T9" fmla="*/ 40 h 141"/>
                      <a:gd name="T10" fmla="*/ 138 w 140"/>
                      <a:gd name="T11" fmla="*/ 51 h 141"/>
                      <a:gd name="T12" fmla="*/ 140 w 140"/>
                      <a:gd name="T13" fmla="*/ 66 h 141"/>
                      <a:gd name="T14" fmla="*/ 140 w 140"/>
                      <a:gd name="T15" fmla="*/ 78 h 141"/>
                      <a:gd name="T16" fmla="*/ 137 w 140"/>
                      <a:gd name="T17" fmla="*/ 93 h 141"/>
                      <a:gd name="T18" fmla="*/ 130 w 140"/>
                      <a:gd name="T19" fmla="*/ 105 h 141"/>
                      <a:gd name="T20" fmla="*/ 130 w 140"/>
                      <a:gd name="T21" fmla="*/ 105 h 141"/>
                      <a:gd name="T22" fmla="*/ 122 w 140"/>
                      <a:gd name="T23" fmla="*/ 117 h 141"/>
                      <a:gd name="T24" fmla="*/ 113 w 140"/>
                      <a:gd name="T25" fmla="*/ 126 h 141"/>
                      <a:gd name="T26" fmla="*/ 102 w 140"/>
                      <a:gd name="T27" fmla="*/ 134 h 141"/>
                      <a:gd name="T28" fmla="*/ 89 w 140"/>
                      <a:gd name="T29" fmla="*/ 139 h 141"/>
                      <a:gd name="T30" fmla="*/ 75 w 140"/>
                      <a:gd name="T31" fmla="*/ 141 h 141"/>
                      <a:gd name="T32" fmla="*/ 62 w 140"/>
                      <a:gd name="T33" fmla="*/ 141 h 141"/>
                      <a:gd name="T34" fmla="*/ 48 w 140"/>
                      <a:gd name="T35" fmla="*/ 137 h 141"/>
                      <a:gd name="T36" fmla="*/ 35 w 140"/>
                      <a:gd name="T37" fmla="*/ 131 h 141"/>
                      <a:gd name="T38" fmla="*/ 35 w 140"/>
                      <a:gd name="T39" fmla="*/ 131 h 141"/>
                      <a:gd name="T40" fmla="*/ 24 w 140"/>
                      <a:gd name="T41" fmla="*/ 123 h 141"/>
                      <a:gd name="T42" fmla="*/ 14 w 140"/>
                      <a:gd name="T43" fmla="*/ 113 h 141"/>
                      <a:gd name="T44" fmla="*/ 6 w 140"/>
                      <a:gd name="T45" fmla="*/ 101 h 141"/>
                      <a:gd name="T46" fmla="*/ 1 w 140"/>
                      <a:gd name="T47" fmla="*/ 88 h 141"/>
                      <a:gd name="T48" fmla="*/ 0 w 140"/>
                      <a:gd name="T49" fmla="*/ 75 h 141"/>
                      <a:gd name="T50" fmla="*/ 0 w 140"/>
                      <a:gd name="T51" fmla="*/ 61 h 141"/>
                      <a:gd name="T52" fmla="*/ 3 w 140"/>
                      <a:gd name="T53" fmla="*/ 48 h 141"/>
                      <a:gd name="T54" fmla="*/ 9 w 140"/>
                      <a:gd name="T55" fmla="*/ 35 h 141"/>
                      <a:gd name="T56" fmla="*/ 9 w 140"/>
                      <a:gd name="T57" fmla="*/ 35 h 141"/>
                      <a:gd name="T58" fmla="*/ 17 w 140"/>
                      <a:gd name="T59" fmla="*/ 24 h 141"/>
                      <a:gd name="T60" fmla="*/ 27 w 140"/>
                      <a:gd name="T61" fmla="*/ 15 h 141"/>
                      <a:gd name="T62" fmla="*/ 40 w 140"/>
                      <a:gd name="T63" fmla="*/ 7 h 141"/>
                      <a:gd name="T64" fmla="*/ 52 w 140"/>
                      <a:gd name="T65" fmla="*/ 2 h 141"/>
                      <a:gd name="T66" fmla="*/ 65 w 140"/>
                      <a:gd name="T67" fmla="*/ 0 h 141"/>
                      <a:gd name="T68" fmla="*/ 79 w 140"/>
                      <a:gd name="T69" fmla="*/ 0 h 141"/>
                      <a:gd name="T70" fmla="*/ 92 w 140"/>
                      <a:gd name="T71" fmla="*/ 3 h 141"/>
                      <a:gd name="T72" fmla="*/ 105 w 140"/>
                      <a:gd name="T73" fmla="*/ 10 h 141"/>
                      <a:gd name="T74" fmla="*/ 105 w 140"/>
                      <a:gd name="T75" fmla="*/ 1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1">
                        <a:moveTo>
                          <a:pt x="105" y="10"/>
                        </a:moveTo>
                        <a:lnTo>
                          <a:pt x="105" y="10"/>
                        </a:lnTo>
                        <a:lnTo>
                          <a:pt x="118" y="18"/>
                        </a:lnTo>
                        <a:lnTo>
                          <a:pt x="126" y="27"/>
                        </a:lnTo>
                        <a:lnTo>
                          <a:pt x="134" y="40"/>
                        </a:lnTo>
                        <a:lnTo>
                          <a:pt x="138" y="51"/>
                        </a:lnTo>
                        <a:lnTo>
                          <a:pt x="140" y="66"/>
                        </a:lnTo>
                        <a:lnTo>
                          <a:pt x="140" y="78"/>
                        </a:lnTo>
                        <a:lnTo>
                          <a:pt x="137" y="93"/>
                        </a:lnTo>
                        <a:lnTo>
                          <a:pt x="130" y="105"/>
                        </a:lnTo>
                        <a:lnTo>
                          <a:pt x="130" y="105"/>
                        </a:lnTo>
                        <a:lnTo>
                          <a:pt x="122" y="117"/>
                        </a:lnTo>
                        <a:lnTo>
                          <a:pt x="113" y="126"/>
                        </a:lnTo>
                        <a:lnTo>
                          <a:pt x="102" y="134"/>
                        </a:lnTo>
                        <a:lnTo>
                          <a:pt x="89" y="139"/>
                        </a:lnTo>
                        <a:lnTo>
                          <a:pt x="75" y="141"/>
                        </a:lnTo>
                        <a:lnTo>
                          <a:pt x="62" y="141"/>
                        </a:lnTo>
                        <a:lnTo>
                          <a:pt x="48" y="137"/>
                        </a:lnTo>
                        <a:lnTo>
                          <a:pt x="35" y="131"/>
                        </a:lnTo>
                        <a:lnTo>
                          <a:pt x="35" y="131"/>
                        </a:lnTo>
                        <a:lnTo>
                          <a:pt x="24" y="123"/>
                        </a:lnTo>
                        <a:lnTo>
                          <a:pt x="14" y="113"/>
                        </a:lnTo>
                        <a:lnTo>
                          <a:pt x="6" y="101"/>
                        </a:lnTo>
                        <a:lnTo>
                          <a:pt x="1" y="88"/>
                        </a:lnTo>
                        <a:lnTo>
                          <a:pt x="0" y="75"/>
                        </a:lnTo>
                        <a:lnTo>
                          <a:pt x="0" y="61"/>
                        </a:lnTo>
                        <a:lnTo>
                          <a:pt x="3" y="48"/>
                        </a:lnTo>
                        <a:lnTo>
                          <a:pt x="9" y="35"/>
                        </a:lnTo>
                        <a:lnTo>
                          <a:pt x="9" y="35"/>
                        </a:lnTo>
                        <a:lnTo>
                          <a:pt x="17" y="24"/>
                        </a:lnTo>
                        <a:lnTo>
                          <a:pt x="27" y="15"/>
                        </a:lnTo>
                        <a:lnTo>
                          <a:pt x="40" y="7"/>
                        </a:lnTo>
                        <a:lnTo>
                          <a:pt x="52" y="2"/>
                        </a:lnTo>
                        <a:lnTo>
                          <a:pt x="65" y="0"/>
                        </a:lnTo>
                        <a:lnTo>
                          <a:pt x="79" y="0"/>
                        </a:lnTo>
                        <a:lnTo>
                          <a:pt x="92" y="3"/>
                        </a:lnTo>
                        <a:lnTo>
                          <a:pt x="105" y="10"/>
                        </a:lnTo>
                        <a:lnTo>
                          <a:pt x="105"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78" name="Freeform 16">
                    <a:extLst>
                      <a:ext uri="{FF2B5EF4-FFF2-40B4-BE49-F238E27FC236}">
                        <a16:creationId xmlns:a16="http://schemas.microsoft.com/office/drawing/2014/main" id="{7204CD19-0EEB-4C77-8578-C740273282C5}"/>
                      </a:ext>
                    </a:extLst>
                  </p:cNvPr>
                  <p:cNvSpPr>
                    <a:spLocks/>
                  </p:cNvSpPr>
                  <p:nvPr/>
                </p:nvSpPr>
                <p:spPr bwMode="auto">
                  <a:xfrm>
                    <a:off x="2674" y="2282"/>
                    <a:ext cx="70" cy="71"/>
                  </a:xfrm>
                  <a:custGeom>
                    <a:avLst/>
                    <a:gdLst>
                      <a:gd name="T0" fmla="*/ 105 w 141"/>
                      <a:gd name="T1" fmla="*/ 9 h 142"/>
                      <a:gd name="T2" fmla="*/ 105 w 141"/>
                      <a:gd name="T3" fmla="*/ 9 h 142"/>
                      <a:gd name="T4" fmla="*/ 117 w 141"/>
                      <a:gd name="T5" fmla="*/ 17 h 142"/>
                      <a:gd name="T6" fmla="*/ 126 w 141"/>
                      <a:gd name="T7" fmla="*/ 28 h 142"/>
                      <a:gd name="T8" fmla="*/ 134 w 141"/>
                      <a:gd name="T9" fmla="*/ 40 h 142"/>
                      <a:gd name="T10" fmla="*/ 139 w 141"/>
                      <a:gd name="T11" fmla="*/ 52 h 142"/>
                      <a:gd name="T12" fmla="*/ 141 w 141"/>
                      <a:gd name="T13" fmla="*/ 65 h 142"/>
                      <a:gd name="T14" fmla="*/ 141 w 141"/>
                      <a:gd name="T15" fmla="*/ 80 h 142"/>
                      <a:gd name="T16" fmla="*/ 137 w 141"/>
                      <a:gd name="T17" fmla="*/ 92 h 142"/>
                      <a:gd name="T18" fmla="*/ 131 w 141"/>
                      <a:gd name="T19" fmla="*/ 107 h 142"/>
                      <a:gd name="T20" fmla="*/ 131 w 141"/>
                      <a:gd name="T21" fmla="*/ 107 h 142"/>
                      <a:gd name="T22" fmla="*/ 123 w 141"/>
                      <a:gd name="T23" fmla="*/ 118 h 142"/>
                      <a:gd name="T24" fmla="*/ 113 w 141"/>
                      <a:gd name="T25" fmla="*/ 127 h 142"/>
                      <a:gd name="T26" fmla="*/ 101 w 141"/>
                      <a:gd name="T27" fmla="*/ 134 h 142"/>
                      <a:gd name="T28" fmla="*/ 88 w 141"/>
                      <a:gd name="T29" fmla="*/ 139 h 142"/>
                      <a:gd name="T30" fmla="*/ 75 w 141"/>
                      <a:gd name="T31" fmla="*/ 142 h 142"/>
                      <a:gd name="T32" fmla="*/ 62 w 141"/>
                      <a:gd name="T33" fmla="*/ 140 h 142"/>
                      <a:gd name="T34" fmla="*/ 48 w 141"/>
                      <a:gd name="T35" fmla="*/ 139 h 142"/>
                      <a:gd name="T36" fmla="*/ 35 w 141"/>
                      <a:gd name="T37" fmla="*/ 132 h 142"/>
                      <a:gd name="T38" fmla="*/ 35 w 141"/>
                      <a:gd name="T39" fmla="*/ 132 h 142"/>
                      <a:gd name="T40" fmla="*/ 24 w 141"/>
                      <a:gd name="T41" fmla="*/ 124 h 142"/>
                      <a:gd name="T42" fmla="*/ 15 w 141"/>
                      <a:gd name="T43" fmla="*/ 113 h 142"/>
                      <a:gd name="T44" fmla="*/ 7 w 141"/>
                      <a:gd name="T45" fmla="*/ 102 h 142"/>
                      <a:gd name="T46" fmla="*/ 2 w 141"/>
                      <a:gd name="T47" fmla="*/ 89 h 142"/>
                      <a:gd name="T48" fmla="*/ 0 w 141"/>
                      <a:gd name="T49" fmla="*/ 76 h 142"/>
                      <a:gd name="T50" fmla="*/ 0 w 141"/>
                      <a:gd name="T51" fmla="*/ 62 h 142"/>
                      <a:gd name="T52" fmla="*/ 3 w 141"/>
                      <a:gd name="T53" fmla="*/ 49 h 142"/>
                      <a:gd name="T54" fmla="*/ 10 w 141"/>
                      <a:gd name="T55" fmla="*/ 35 h 142"/>
                      <a:gd name="T56" fmla="*/ 10 w 141"/>
                      <a:gd name="T57" fmla="*/ 35 h 142"/>
                      <a:gd name="T58" fmla="*/ 18 w 141"/>
                      <a:gd name="T59" fmla="*/ 24 h 142"/>
                      <a:gd name="T60" fmla="*/ 27 w 141"/>
                      <a:gd name="T61" fmla="*/ 14 h 142"/>
                      <a:gd name="T62" fmla="*/ 40 w 141"/>
                      <a:gd name="T63" fmla="*/ 8 h 142"/>
                      <a:gd name="T64" fmla="*/ 53 w 141"/>
                      <a:gd name="T65" fmla="*/ 3 h 142"/>
                      <a:gd name="T66" fmla="*/ 66 w 141"/>
                      <a:gd name="T67" fmla="*/ 0 h 142"/>
                      <a:gd name="T68" fmla="*/ 78 w 141"/>
                      <a:gd name="T69" fmla="*/ 1 h 142"/>
                      <a:gd name="T70" fmla="*/ 93 w 141"/>
                      <a:gd name="T71" fmla="*/ 5 h 142"/>
                      <a:gd name="T72" fmla="*/ 105 w 141"/>
                      <a:gd name="T73" fmla="*/ 9 h 142"/>
                      <a:gd name="T74" fmla="*/ 105 w 141"/>
                      <a:gd name="T75" fmla="*/ 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 h="142">
                        <a:moveTo>
                          <a:pt x="105" y="9"/>
                        </a:moveTo>
                        <a:lnTo>
                          <a:pt x="105" y="9"/>
                        </a:lnTo>
                        <a:lnTo>
                          <a:pt x="117" y="17"/>
                        </a:lnTo>
                        <a:lnTo>
                          <a:pt x="126" y="28"/>
                        </a:lnTo>
                        <a:lnTo>
                          <a:pt x="134" y="40"/>
                        </a:lnTo>
                        <a:lnTo>
                          <a:pt x="139" y="52"/>
                        </a:lnTo>
                        <a:lnTo>
                          <a:pt x="141" y="65"/>
                        </a:lnTo>
                        <a:lnTo>
                          <a:pt x="141" y="80"/>
                        </a:lnTo>
                        <a:lnTo>
                          <a:pt x="137" y="92"/>
                        </a:lnTo>
                        <a:lnTo>
                          <a:pt x="131" y="107"/>
                        </a:lnTo>
                        <a:lnTo>
                          <a:pt x="131" y="107"/>
                        </a:lnTo>
                        <a:lnTo>
                          <a:pt x="123" y="118"/>
                        </a:lnTo>
                        <a:lnTo>
                          <a:pt x="113" y="127"/>
                        </a:lnTo>
                        <a:lnTo>
                          <a:pt x="101" y="134"/>
                        </a:lnTo>
                        <a:lnTo>
                          <a:pt x="88" y="139"/>
                        </a:lnTo>
                        <a:lnTo>
                          <a:pt x="75" y="142"/>
                        </a:lnTo>
                        <a:lnTo>
                          <a:pt x="62" y="140"/>
                        </a:lnTo>
                        <a:lnTo>
                          <a:pt x="48" y="139"/>
                        </a:lnTo>
                        <a:lnTo>
                          <a:pt x="35" y="132"/>
                        </a:lnTo>
                        <a:lnTo>
                          <a:pt x="35" y="132"/>
                        </a:lnTo>
                        <a:lnTo>
                          <a:pt x="24" y="124"/>
                        </a:lnTo>
                        <a:lnTo>
                          <a:pt x="15" y="113"/>
                        </a:lnTo>
                        <a:lnTo>
                          <a:pt x="7" y="102"/>
                        </a:lnTo>
                        <a:lnTo>
                          <a:pt x="2" y="89"/>
                        </a:lnTo>
                        <a:lnTo>
                          <a:pt x="0" y="76"/>
                        </a:lnTo>
                        <a:lnTo>
                          <a:pt x="0" y="62"/>
                        </a:lnTo>
                        <a:lnTo>
                          <a:pt x="3" y="49"/>
                        </a:lnTo>
                        <a:lnTo>
                          <a:pt x="10" y="35"/>
                        </a:lnTo>
                        <a:lnTo>
                          <a:pt x="10" y="35"/>
                        </a:lnTo>
                        <a:lnTo>
                          <a:pt x="18" y="24"/>
                        </a:lnTo>
                        <a:lnTo>
                          <a:pt x="27" y="14"/>
                        </a:lnTo>
                        <a:lnTo>
                          <a:pt x="40" y="8"/>
                        </a:lnTo>
                        <a:lnTo>
                          <a:pt x="53" y="3"/>
                        </a:lnTo>
                        <a:lnTo>
                          <a:pt x="66" y="0"/>
                        </a:lnTo>
                        <a:lnTo>
                          <a:pt x="78" y="1"/>
                        </a:lnTo>
                        <a:lnTo>
                          <a:pt x="93" y="5"/>
                        </a:lnTo>
                        <a:lnTo>
                          <a:pt x="105" y="9"/>
                        </a:lnTo>
                        <a:lnTo>
                          <a:pt x="105"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79" name="Freeform 17">
                    <a:extLst>
                      <a:ext uri="{FF2B5EF4-FFF2-40B4-BE49-F238E27FC236}">
                        <a16:creationId xmlns:a16="http://schemas.microsoft.com/office/drawing/2014/main" id="{269FF5B9-4DC2-4FA3-829A-81E341AA5B0A}"/>
                      </a:ext>
                    </a:extLst>
                  </p:cNvPr>
                  <p:cNvSpPr>
                    <a:spLocks/>
                  </p:cNvSpPr>
                  <p:nvPr/>
                </p:nvSpPr>
                <p:spPr bwMode="auto">
                  <a:xfrm>
                    <a:off x="2869" y="1968"/>
                    <a:ext cx="71" cy="70"/>
                  </a:xfrm>
                  <a:custGeom>
                    <a:avLst/>
                    <a:gdLst>
                      <a:gd name="T0" fmla="*/ 107 w 142"/>
                      <a:gd name="T1" fmla="*/ 9 h 140"/>
                      <a:gd name="T2" fmla="*/ 107 w 142"/>
                      <a:gd name="T3" fmla="*/ 9 h 140"/>
                      <a:gd name="T4" fmla="*/ 118 w 142"/>
                      <a:gd name="T5" fmla="*/ 17 h 140"/>
                      <a:gd name="T6" fmla="*/ 127 w 142"/>
                      <a:gd name="T7" fmla="*/ 27 h 140"/>
                      <a:gd name="T8" fmla="*/ 134 w 142"/>
                      <a:gd name="T9" fmla="*/ 38 h 140"/>
                      <a:gd name="T10" fmla="*/ 139 w 142"/>
                      <a:gd name="T11" fmla="*/ 51 h 140"/>
                      <a:gd name="T12" fmla="*/ 142 w 142"/>
                      <a:gd name="T13" fmla="*/ 65 h 140"/>
                      <a:gd name="T14" fmla="*/ 140 w 142"/>
                      <a:gd name="T15" fmla="*/ 78 h 140"/>
                      <a:gd name="T16" fmla="*/ 137 w 142"/>
                      <a:gd name="T17" fmla="*/ 92 h 140"/>
                      <a:gd name="T18" fmla="*/ 132 w 142"/>
                      <a:gd name="T19" fmla="*/ 105 h 140"/>
                      <a:gd name="T20" fmla="*/ 132 w 142"/>
                      <a:gd name="T21" fmla="*/ 105 h 140"/>
                      <a:gd name="T22" fmla="*/ 124 w 142"/>
                      <a:gd name="T23" fmla="*/ 116 h 140"/>
                      <a:gd name="T24" fmla="*/ 113 w 142"/>
                      <a:gd name="T25" fmla="*/ 126 h 140"/>
                      <a:gd name="T26" fmla="*/ 102 w 142"/>
                      <a:gd name="T27" fmla="*/ 133 h 140"/>
                      <a:gd name="T28" fmla="*/ 89 w 142"/>
                      <a:gd name="T29" fmla="*/ 138 h 140"/>
                      <a:gd name="T30" fmla="*/ 76 w 142"/>
                      <a:gd name="T31" fmla="*/ 140 h 140"/>
                      <a:gd name="T32" fmla="*/ 62 w 142"/>
                      <a:gd name="T33" fmla="*/ 140 h 140"/>
                      <a:gd name="T34" fmla="*/ 48 w 142"/>
                      <a:gd name="T35" fmla="*/ 137 h 140"/>
                      <a:gd name="T36" fmla="*/ 35 w 142"/>
                      <a:gd name="T37" fmla="*/ 130 h 140"/>
                      <a:gd name="T38" fmla="*/ 35 w 142"/>
                      <a:gd name="T39" fmla="*/ 130 h 140"/>
                      <a:gd name="T40" fmla="*/ 24 w 142"/>
                      <a:gd name="T41" fmla="*/ 122 h 140"/>
                      <a:gd name="T42" fmla="*/ 14 w 142"/>
                      <a:gd name="T43" fmla="*/ 113 h 140"/>
                      <a:gd name="T44" fmla="*/ 8 w 142"/>
                      <a:gd name="T45" fmla="*/ 100 h 140"/>
                      <a:gd name="T46" fmla="*/ 3 w 142"/>
                      <a:gd name="T47" fmla="*/ 87 h 140"/>
                      <a:gd name="T48" fmla="*/ 0 w 142"/>
                      <a:gd name="T49" fmla="*/ 74 h 140"/>
                      <a:gd name="T50" fmla="*/ 0 w 142"/>
                      <a:gd name="T51" fmla="*/ 60 h 140"/>
                      <a:gd name="T52" fmla="*/ 3 w 142"/>
                      <a:gd name="T53" fmla="*/ 47 h 140"/>
                      <a:gd name="T54" fmla="*/ 9 w 142"/>
                      <a:gd name="T55" fmla="*/ 35 h 140"/>
                      <a:gd name="T56" fmla="*/ 9 w 142"/>
                      <a:gd name="T57" fmla="*/ 35 h 140"/>
                      <a:gd name="T58" fmla="*/ 17 w 142"/>
                      <a:gd name="T59" fmla="*/ 22 h 140"/>
                      <a:gd name="T60" fmla="*/ 29 w 142"/>
                      <a:gd name="T61" fmla="*/ 14 h 140"/>
                      <a:gd name="T62" fmla="*/ 40 w 142"/>
                      <a:gd name="T63" fmla="*/ 6 h 140"/>
                      <a:gd name="T64" fmla="*/ 52 w 142"/>
                      <a:gd name="T65" fmla="*/ 1 h 140"/>
                      <a:gd name="T66" fmla="*/ 65 w 142"/>
                      <a:gd name="T67" fmla="*/ 0 h 140"/>
                      <a:gd name="T68" fmla="*/ 80 w 142"/>
                      <a:gd name="T69" fmla="*/ 0 h 140"/>
                      <a:gd name="T70" fmla="*/ 92 w 142"/>
                      <a:gd name="T71" fmla="*/ 3 h 140"/>
                      <a:gd name="T72" fmla="*/ 107 w 142"/>
                      <a:gd name="T73" fmla="*/ 9 h 140"/>
                      <a:gd name="T74" fmla="*/ 107 w 142"/>
                      <a:gd name="T75"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40">
                        <a:moveTo>
                          <a:pt x="107" y="9"/>
                        </a:moveTo>
                        <a:lnTo>
                          <a:pt x="107" y="9"/>
                        </a:lnTo>
                        <a:lnTo>
                          <a:pt x="118" y="17"/>
                        </a:lnTo>
                        <a:lnTo>
                          <a:pt x="127" y="27"/>
                        </a:lnTo>
                        <a:lnTo>
                          <a:pt x="134" y="38"/>
                        </a:lnTo>
                        <a:lnTo>
                          <a:pt x="139" y="51"/>
                        </a:lnTo>
                        <a:lnTo>
                          <a:pt x="142" y="65"/>
                        </a:lnTo>
                        <a:lnTo>
                          <a:pt x="140" y="78"/>
                        </a:lnTo>
                        <a:lnTo>
                          <a:pt x="137" y="92"/>
                        </a:lnTo>
                        <a:lnTo>
                          <a:pt x="132" y="105"/>
                        </a:lnTo>
                        <a:lnTo>
                          <a:pt x="132" y="105"/>
                        </a:lnTo>
                        <a:lnTo>
                          <a:pt x="124" y="116"/>
                        </a:lnTo>
                        <a:lnTo>
                          <a:pt x="113" y="126"/>
                        </a:lnTo>
                        <a:lnTo>
                          <a:pt x="102" y="133"/>
                        </a:lnTo>
                        <a:lnTo>
                          <a:pt x="89" y="138"/>
                        </a:lnTo>
                        <a:lnTo>
                          <a:pt x="76" y="140"/>
                        </a:lnTo>
                        <a:lnTo>
                          <a:pt x="62" y="140"/>
                        </a:lnTo>
                        <a:lnTo>
                          <a:pt x="48" y="137"/>
                        </a:lnTo>
                        <a:lnTo>
                          <a:pt x="35" y="130"/>
                        </a:lnTo>
                        <a:lnTo>
                          <a:pt x="35" y="130"/>
                        </a:lnTo>
                        <a:lnTo>
                          <a:pt x="24" y="122"/>
                        </a:lnTo>
                        <a:lnTo>
                          <a:pt x="14" y="113"/>
                        </a:lnTo>
                        <a:lnTo>
                          <a:pt x="8" y="100"/>
                        </a:lnTo>
                        <a:lnTo>
                          <a:pt x="3" y="87"/>
                        </a:lnTo>
                        <a:lnTo>
                          <a:pt x="0" y="74"/>
                        </a:lnTo>
                        <a:lnTo>
                          <a:pt x="0" y="60"/>
                        </a:lnTo>
                        <a:lnTo>
                          <a:pt x="3" y="47"/>
                        </a:lnTo>
                        <a:lnTo>
                          <a:pt x="9" y="35"/>
                        </a:lnTo>
                        <a:lnTo>
                          <a:pt x="9" y="35"/>
                        </a:lnTo>
                        <a:lnTo>
                          <a:pt x="17" y="22"/>
                        </a:lnTo>
                        <a:lnTo>
                          <a:pt x="29" y="14"/>
                        </a:lnTo>
                        <a:lnTo>
                          <a:pt x="40" y="6"/>
                        </a:lnTo>
                        <a:lnTo>
                          <a:pt x="52" y="1"/>
                        </a:lnTo>
                        <a:lnTo>
                          <a:pt x="65" y="0"/>
                        </a:lnTo>
                        <a:lnTo>
                          <a:pt x="80" y="0"/>
                        </a:lnTo>
                        <a:lnTo>
                          <a:pt x="92" y="3"/>
                        </a:lnTo>
                        <a:lnTo>
                          <a:pt x="107" y="9"/>
                        </a:lnTo>
                        <a:lnTo>
                          <a:pt x="10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0" name="Freeform 18">
                    <a:extLst>
                      <a:ext uri="{FF2B5EF4-FFF2-40B4-BE49-F238E27FC236}">
                        <a16:creationId xmlns:a16="http://schemas.microsoft.com/office/drawing/2014/main" id="{11D77777-016E-4261-B5FF-DAE0AAE7F6E7}"/>
                      </a:ext>
                    </a:extLst>
                  </p:cNvPr>
                  <p:cNvSpPr>
                    <a:spLocks/>
                  </p:cNvSpPr>
                  <p:nvPr/>
                </p:nvSpPr>
                <p:spPr bwMode="auto">
                  <a:xfrm>
                    <a:off x="3015" y="2045"/>
                    <a:ext cx="70" cy="71"/>
                  </a:xfrm>
                  <a:custGeom>
                    <a:avLst/>
                    <a:gdLst>
                      <a:gd name="T0" fmla="*/ 105 w 140"/>
                      <a:gd name="T1" fmla="*/ 10 h 142"/>
                      <a:gd name="T2" fmla="*/ 105 w 140"/>
                      <a:gd name="T3" fmla="*/ 10 h 142"/>
                      <a:gd name="T4" fmla="*/ 118 w 140"/>
                      <a:gd name="T5" fmla="*/ 18 h 142"/>
                      <a:gd name="T6" fmla="*/ 127 w 140"/>
                      <a:gd name="T7" fmla="*/ 29 h 142"/>
                      <a:gd name="T8" fmla="*/ 134 w 140"/>
                      <a:gd name="T9" fmla="*/ 40 h 142"/>
                      <a:gd name="T10" fmla="*/ 138 w 140"/>
                      <a:gd name="T11" fmla="*/ 53 h 142"/>
                      <a:gd name="T12" fmla="*/ 140 w 140"/>
                      <a:gd name="T13" fmla="*/ 66 h 142"/>
                      <a:gd name="T14" fmla="*/ 140 w 140"/>
                      <a:gd name="T15" fmla="*/ 80 h 142"/>
                      <a:gd name="T16" fmla="*/ 137 w 140"/>
                      <a:gd name="T17" fmla="*/ 93 h 142"/>
                      <a:gd name="T18" fmla="*/ 132 w 140"/>
                      <a:gd name="T19" fmla="*/ 107 h 142"/>
                      <a:gd name="T20" fmla="*/ 132 w 140"/>
                      <a:gd name="T21" fmla="*/ 107 h 142"/>
                      <a:gd name="T22" fmla="*/ 122 w 140"/>
                      <a:gd name="T23" fmla="*/ 118 h 142"/>
                      <a:gd name="T24" fmla="*/ 113 w 140"/>
                      <a:gd name="T25" fmla="*/ 128 h 142"/>
                      <a:gd name="T26" fmla="*/ 102 w 140"/>
                      <a:gd name="T27" fmla="*/ 134 h 142"/>
                      <a:gd name="T28" fmla="*/ 89 w 140"/>
                      <a:gd name="T29" fmla="*/ 139 h 142"/>
                      <a:gd name="T30" fmla="*/ 75 w 140"/>
                      <a:gd name="T31" fmla="*/ 142 h 142"/>
                      <a:gd name="T32" fmla="*/ 62 w 140"/>
                      <a:gd name="T33" fmla="*/ 141 h 142"/>
                      <a:gd name="T34" fmla="*/ 47 w 140"/>
                      <a:gd name="T35" fmla="*/ 137 h 142"/>
                      <a:gd name="T36" fmla="*/ 35 w 140"/>
                      <a:gd name="T37" fmla="*/ 133 h 142"/>
                      <a:gd name="T38" fmla="*/ 35 w 140"/>
                      <a:gd name="T39" fmla="*/ 133 h 142"/>
                      <a:gd name="T40" fmla="*/ 24 w 140"/>
                      <a:gd name="T41" fmla="*/ 123 h 142"/>
                      <a:gd name="T42" fmla="*/ 14 w 140"/>
                      <a:gd name="T43" fmla="*/ 113 h 142"/>
                      <a:gd name="T44" fmla="*/ 6 w 140"/>
                      <a:gd name="T45" fmla="*/ 102 h 142"/>
                      <a:gd name="T46" fmla="*/ 1 w 140"/>
                      <a:gd name="T47" fmla="*/ 90 h 142"/>
                      <a:gd name="T48" fmla="*/ 0 w 140"/>
                      <a:gd name="T49" fmla="*/ 75 h 142"/>
                      <a:gd name="T50" fmla="*/ 0 w 140"/>
                      <a:gd name="T51" fmla="*/ 62 h 142"/>
                      <a:gd name="T52" fmla="*/ 3 w 140"/>
                      <a:gd name="T53" fmla="*/ 48 h 142"/>
                      <a:gd name="T54" fmla="*/ 9 w 140"/>
                      <a:gd name="T55" fmla="*/ 35 h 142"/>
                      <a:gd name="T56" fmla="*/ 9 w 140"/>
                      <a:gd name="T57" fmla="*/ 35 h 142"/>
                      <a:gd name="T58" fmla="*/ 17 w 140"/>
                      <a:gd name="T59" fmla="*/ 24 h 142"/>
                      <a:gd name="T60" fmla="*/ 28 w 140"/>
                      <a:gd name="T61" fmla="*/ 15 h 142"/>
                      <a:gd name="T62" fmla="*/ 40 w 140"/>
                      <a:gd name="T63" fmla="*/ 8 h 142"/>
                      <a:gd name="T64" fmla="*/ 52 w 140"/>
                      <a:gd name="T65" fmla="*/ 3 h 142"/>
                      <a:gd name="T66" fmla="*/ 65 w 140"/>
                      <a:gd name="T67" fmla="*/ 0 h 142"/>
                      <a:gd name="T68" fmla="*/ 79 w 140"/>
                      <a:gd name="T69" fmla="*/ 0 h 142"/>
                      <a:gd name="T70" fmla="*/ 92 w 140"/>
                      <a:gd name="T71" fmla="*/ 3 h 142"/>
                      <a:gd name="T72" fmla="*/ 105 w 140"/>
                      <a:gd name="T73" fmla="*/ 10 h 142"/>
                      <a:gd name="T74" fmla="*/ 105 w 140"/>
                      <a:gd name="T75" fmla="*/ 1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2">
                        <a:moveTo>
                          <a:pt x="105" y="10"/>
                        </a:moveTo>
                        <a:lnTo>
                          <a:pt x="105" y="10"/>
                        </a:lnTo>
                        <a:lnTo>
                          <a:pt x="118" y="18"/>
                        </a:lnTo>
                        <a:lnTo>
                          <a:pt x="127" y="29"/>
                        </a:lnTo>
                        <a:lnTo>
                          <a:pt x="134" y="40"/>
                        </a:lnTo>
                        <a:lnTo>
                          <a:pt x="138" y="53"/>
                        </a:lnTo>
                        <a:lnTo>
                          <a:pt x="140" y="66"/>
                        </a:lnTo>
                        <a:lnTo>
                          <a:pt x="140" y="80"/>
                        </a:lnTo>
                        <a:lnTo>
                          <a:pt x="137" y="93"/>
                        </a:lnTo>
                        <a:lnTo>
                          <a:pt x="132" y="107"/>
                        </a:lnTo>
                        <a:lnTo>
                          <a:pt x="132" y="107"/>
                        </a:lnTo>
                        <a:lnTo>
                          <a:pt x="122" y="118"/>
                        </a:lnTo>
                        <a:lnTo>
                          <a:pt x="113" y="128"/>
                        </a:lnTo>
                        <a:lnTo>
                          <a:pt x="102" y="134"/>
                        </a:lnTo>
                        <a:lnTo>
                          <a:pt x="89" y="139"/>
                        </a:lnTo>
                        <a:lnTo>
                          <a:pt x="75" y="142"/>
                        </a:lnTo>
                        <a:lnTo>
                          <a:pt x="62" y="141"/>
                        </a:lnTo>
                        <a:lnTo>
                          <a:pt x="47" y="137"/>
                        </a:lnTo>
                        <a:lnTo>
                          <a:pt x="35" y="133"/>
                        </a:lnTo>
                        <a:lnTo>
                          <a:pt x="35" y="133"/>
                        </a:lnTo>
                        <a:lnTo>
                          <a:pt x="24" y="123"/>
                        </a:lnTo>
                        <a:lnTo>
                          <a:pt x="14" y="113"/>
                        </a:lnTo>
                        <a:lnTo>
                          <a:pt x="6" y="102"/>
                        </a:lnTo>
                        <a:lnTo>
                          <a:pt x="1" y="90"/>
                        </a:lnTo>
                        <a:lnTo>
                          <a:pt x="0" y="75"/>
                        </a:lnTo>
                        <a:lnTo>
                          <a:pt x="0" y="62"/>
                        </a:lnTo>
                        <a:lnTo>
                          <a:pt x="3" y="48"/>
                        </a:lnTo>
                        <a:lnTo>
                          <a:pt x="9" y="35"/>
                        </a:lnTo>
                        <a:lnTo>
                          <a:pt x="9" y="35"/>
                        </a:lnTo>
                        <a:lnTo>
                          <a:pt x="17" y="24"/>
                        </a:lnTo>
                        <a:lnTo>
                          <a:pt x="28" y="15"/>
                        </a:lnTo>
                        <a:lnTo>
                          <a:pt x="40" y="8"/>
                        </a:lnTo>
                        <a:lnTo>
                          <a:pt x="52" y="3"/>
                        </a:lnTo>
                        <a:lnTo>
                          <a:pt x="65" y="0"/>
                        </a:lnTo>
                        <a:lnTo>
                          <a:pt x="79" y="0"/>
                        </a:lnTo>
                        <a:lnTo>
                          <a:pt x="92" y="3"/>
                        </a:lnTo>
                        <a:lnTo>
                          <a:pt x="105" y="10"/>
                        </a:lnTo>
                        <a:lnTo>
                          <a:pt x="105"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1" name="Freeform 19">
                    <a:extLst>
                      <a:ext uri="{FF2B5EF4-FFF2-40B4-BE49-F238E27FC236}">
                        <a16:creationId xmlns:a16="http://schemas.microsoft.com/office/drawing/2014/main" id="{95B8E55B-D1A9-4B89-9BC8-3DB62168D6C4}"/>
                      </a:ext>
                    </a:extLst>
                  </p:cNvPr>
                  <p:cNvSpPr>
                    <a:spLocks/>
                  </p:cNvSpPr>
                  <p:nvPr/>
                </p:nvSpPr>
                <p:spPr bwMode="auto">
                  <a:xfrm>
                    <a:off x="2708" y="2153"/>
                    <a:ext cx="120" cy="162"/>
                  </a:xfrm>
                  <a:custGeom>
                    <a:avLst/>
                    <a:gdLst>
                      <a:gd name="T0" fmla="*/ 225 w 241"/>
                      <a:gd name="T1" fmla="*/ 74 h 326"/>
                      <a:gd name="T2" fmla="*/ 225 w 241"/>
                      <a:gd name="T3" fmla="*/ 74 h 326"/>
                      <a:gd name="T4" fmla="*/ 233 w 241"/>
                      <a:gd name="T5" fmla="*/ 37 h 326"/>
                      <a:gd name="T6" fmla="*/ 241 w 241"/>
                      <a:gd name="T7" fmla="*/ 0 h 326"/>
                      <a:gd name="T8" fmla="*/ 241 w 241"/>
                      <a:gd name="T9" fmla="*/ 0 h 326"/>
                      <a:gd name="T10" fmla="*/ 201 w 241"/>
                      <a:gd name="T11" fmla="*/ 32 h 326"/>
                      <a:gd name="T12" fmla="*/ 164 w 241"/>
                      <a:gd name="T13" fmla="*/ 66 h 326"/>
                      <a:gd name="T14" fmla="*/ 131 w 241"/>
                      <a:gd name="T15" fmla="*/ 101 h 326"/>
                      <a:gd name="T16" fmla="*/ 100 w 241"/>
                      <a:gd name="T17" fmla="*/ 138 h 326"/>
                      <a:gd name="T18" fmla="*/ 72 w 241"/>
                      <a:gd name="T19" fmla="*/ 174 h 326"/>
                      <a:gd name="T20" fmla="*/ 44 w 241"/>
                      <a:gd name="T21" fmla="*/ 213 h 326"/>
                      <a:gd name="T22" fmla="*/ 21 w 241"/>
                      <a:gd name="T23" fmla="*/ 251 h 326"/>
                      <a:gd name="T24" fmla="*/ 0 w 241"/>
                      <a:gd name="T25" fmla="*/ 287 h 326"/>
                      <a:gd name="T26" fmla="*/ 0 w 241"/>
                      <a:gd name="T27" fmla="*/ 287 h 326"/>
                      <a:gd name="T28" fmla="*/ 33 w 241"/>
                      <a:gd name="T29" fmla="*/ 326 h 326"/>
                      <a:gd name="T30" fmla="*/ 33 w 241"/>
                      <a:gd name="T31" fmla="*/ 326 h 326"/>
                      <a:gd name="T32" fmla="*/ 51 w 241"/>
                      <a:gd name="T33" fmla="*/ 294 h 326"/>
                      <a:gd name="T34" fmla="*/ 70 w 241"/>
                      <a:gd name="T35" fmla="*/ 260 h 326"/>
                      <a:gd name="T36" fmla="*/ 92 w 241"/>
                      <a:gd name="T37" fmla="*/ 228 h 326"/>
                      <a:gd name="T38" fmla="*/ 115 w 241"/>
                      <a:gd name="T39" fmla="*/ 197 h 326"/>
                      <a:gd name="T40" fmla="*/ 140 w 241"/>
                      <a:gd name="T41" fmla="*/ 165 h 326"/>
                      <a:gd name="T42" fmla="*/ 166 w 241"/>
                      <a:gd name="T43" fmla="*/ 133 h 326"/>
                      <a:gd name="T44" fmla="*/ 194 w 241"/>
                      <a:gd name="T45" fmla="*/ 103 h 326"/>
                      <a:gd name="T46" fmla="*/ 225 w 241"/>
                      <a:gd name="T47" fmla="*/ 74 h 326"/>
                      <a:gd name="T48" fmla="*/ 225 w 241"/>
                      <a:gd name="T49" fmla="*/ 74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1" h="326">
                        <a:moveTo>
                          <a:pt x="225" y="74"/>
                        </a:moveTo>
                        <a:lnTo>
                          <a:pt x="225" y="74"/>
                        </a:lnTo>
                        <a:lnTo>
                          <a:pt x="233" y="37"/>
                        </a:lnTo>
                        <a:lnTo>
                          <a:pt x="241" y="0"/>
                        </a:lnTo>
                        <a:lnTo>
                          <a:pt x="241" y="0"/>
                        </a:lnTo>
                        <a:lnTo>
                          <a:pt x="201" y="32"/>
                        </a:lnTo>
                        <a:lnTo>
                          <a:pt x="164" y="66"/>
                        </a:lnTo>
                        <a:lnTo>
                          <a:pt x="131" y="101"/>
                        </a:lnTo>
                        <a:lnTo>
                          <a:pt x="100" y="138"/>
                        </a:lnTo>
                        <a:lnTo>
                          <a:pt x="72" y="174"/>
                        </a:lnTo>
                        <a:lnTo>
                          <a:pt x="44" y="213"/>
                        </a:lnTo>
                        <a:lnTo>
                          <a:pt x="21" y="251"/>
                        </a:lnTo>
                        <a:lnTo>
                          <a:pt x="0" y="287"/>
                        </a:lnTo>
                        <a:lnTo>
                          <a:pt x="0" y="287"/>
                        </a:lnTo>
                        <a:lnTo>
                          <a:pt x="33" y="326"/>
                        </a:lnTo>
                        <a:lnTo>
                          <a:pt x="33" y="326"/>
                        </a:lnTo>
                        <a:lnTo>
                          <a:pt x="51" y="294"/>
                        </a:lnTo>
                        <a:lnTo>
                          <a:pt x="70" y="260"/>
                        </a:lnTo>
                        <a:lnTo>
                          <a:pt x="92" y="228"/>
                        </a:lnTo>
                        <a:lnTo>
                          <a:pt x="115" y="197"/>
                        </a:lnTo>
                        <a:lnTo>
                          <a:pt x="140" y="165"/>
                        </a:lnTo>
                        <a:lnTo>
                          <a:pt x="166" y="133"/>
                        </a:lnTo>
                        <a:lnTo>
                          <a:pt x="194" y="103"/>
                        </a:lnTo>
                        <a:lnTo>
                          <a:pt x="225" y="74"/>
                        </a:lnTo>
                        <a:lnTo>
                          <a:pt x="22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2" name="Freeform 20">
                    <a:extLst>
                      <a:ext uri="{FF2B5EF4-FFF2-40B4-BE49-F238E27FC236}">
                        <a16:creationId xmlns:a16="http://schemas.microsoft.com/office/drawing/2014/main" id="{71578B9E-4AF6-4242-AAD2-BCD0E00790FC}"/>
                      </a:ext>
                    </a:extLst>
                  </p:cNvPr>
                  <p:cNvSpPr>
                    <a:spLocks/>
                  </p:cNvSpPr>
                  <p:nvPr/>
                </p:nvSpPr>
                <p:spPr bwMode="auto">
                  <a:xfrm>
                    <a:off x="2849" y="2072"/>
                    <a:ext cx="195" cy="94"/>
                  </a:xfrm>
                  <a:custGeom>
                    <a:avLst/>
                    <a:gdLst>
                      <a:gd name="T0" fmla="*/ 19 w 391"/>
                      <a:gd name="T1" fmla="*/ 120 h 189"/>
                      <a:gd name="T2" fmla="*/ 19 w 391"/>
                      <a:gd name="T3" fmla="*/ 120 h 189"/>
                      <a:gd name="T4" fmla="*/ 10 w 391"/>
                      <a:gd name="T5" fmla="*/ 154 h 189"/>
                      <a:gd name="T6" fmla="*/ 0 w 391"/>
                      <a:gd name="T7" fmla="*/ 189 h 189"/>
                      <a:gd name="T8" fmla="*/ 0 w 391"/>
                      <a:gd name="T9" fmla="*/ 189 h 189"/>
                      <a:gd name="T10" fmla="*/ 24 w 391"/>
                      <a:gd name="T11" fmla="*/ 173 h 189"/>
                      <a:gd name="T12" fmla="*/ 48 w 391"/>
                      <a:gd name="T13" fmla="*/ 158 h 189"/>
                      <a:gd name="T14" fmla="*/ 72 w 391"/>
                      <a:gd name="T15" fmla="*/ 144 h 189"/>
                      <a:gd name="T16" fmla="*/ 96 w 391"/>
                      <a:gd name="T17" fmla="*/ 131 h 189"/>
                      <a:gd name="T18" fmla="*/ 145 w 391"/>
                      <a:gd name="T19" fmla="*/ 107 h 189"/>
                      <a:gd name="T20" fmla="*/ 196 w 391"/>
                      <a:gd name="T21" fmla="*/ 88 h 189"/>
                      <a:gd name="T22" fmla="*/ 246 w 391"/>
                      <a:gd name="T23" fmla="*/ 72 h 189"/>
                      <a:gd name="T24" fmla="*/ 295 w 391"/>
                      <a:gd name="T25" fmla="*/ 58 h 189"/>
                      <a:gd name="T26" fmla="*/ 344 w 391"/>
                      <a:gd name="T27" fmla="*/ 48 h 189"/>
                      <a:gd name="T28" fmla="*/ 391 w 391"/>
                      <a:gd name="T29" fmla="*/ 40 h 189"/>
                      <a:gd name="T30" fmla="*/ 391 w 391"/>
                      <a:gd name="T31" fmla="*/ 40 h 189"/>
                      <a:gd name="T32" fmla="*/ 365 w 391"/>
                      <a:gd name="T33" fmla="*/ 20 h 189"/>
                      <a:gd name="T34" fmla="*/ 340 w 391"/>
                      <a:gd name="T35" fmla="*/ 0 h 189"/>
                      <a:gd name="T36" fmla="*/ 340 w 391"/>
                      <a:gd name="T37" fmla="*/ 0 h 189"/>
                      <a:gd name="T38" fmla="*/ 301 w 391"/>
                      <a:gd name="T39" fmla="*/ 8 h 189"/>
                      <a:gd name="T40" fmla="*/ 262 w 391"/>
                      <a:gd name="T41" fmla="*/ 18 h 189"/>
                      <a:gd name="T42" fmla="*/ 220 w 391"/>
                      <a:gd name="T43" fmla="*/ 29 h 189"/>
                      <a:gd name="T44" fmla="*/ 180 w 391"/>
                      <a:gd name="T45" fmla="*/ 43 h 189"/>
                      <a:gd name="T46" fmla="*/ 139 w 391"/>
                      <a:gd name="T47" fmla="*/ 59 h 189"/>
                      <a:gd name="T48" fmla="*/ 99 w 391"/>
                      <a:gd name="T49" fmla="*/ 77 h 189"/>
                      <a:gd name="T50" fmla="*/ 59 w 391"/>
                      <a:gd name="T51" fmla="*/ 98 h 189"/>
                      <a:gd name="T52" fmla="*/ 19 w 391"/>
                      <a:gd name="T53" fmla="*/ 120 h 189"/>
                      <a:gd name="T54" fmla="*/ 19 w 391"/>
                      <a:gd name="T55" fmla="*/ 12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1" h="189">
                        <a:moveTo>
                          <a:pt x="19" y="120"/>
                        </a:moveTo>
                        <a:lnTo>
                          <a:pt x="19" y="120"/>
                        </a:lnTo>
                        <a:lnTo>
                          <a:pt x="10" y="154"/>
                        </a:lnTo>
                        <a:lnTo>
                          <a:pt x="0" y="189"/>
                        </a:lnTo>
                        <a:lnTo>
                          <a:pt x="0" y="189"/>
                        </a:lnTo>
                        <a:lnTo>
                          <a:pt x="24" y="173"/>
                        </a:lnTo>
                        <a:lnTo>
                          <a:pt x="48" y="158"/>
                        </a:lnTo>
                        <a:lnTo>
                          <a:pt x="72" y="144"/>
                        </a:lnTo>
                        <a:lnTo>
                          <a:pt x="96" y="131"/>
                        </a:lnTo>
                        <a:lnTo>
                          <a:pt x="145" y="107"/>
                        </a:lnTo>
                        <a:lnTo>
                          <a:pt x="196" y="88"/>
                        </a:lnTo>
                        <a:lnTo>
                          <a:pt x="246" y="72"/>
                        </a:lnTo>
                        <a:lnTo>
                          <a:pt x="295" y="58"/>
                        </a:lnTo>
                        <a:lnTo>
                          <a:pt x="344" y="48"/>
                        </a:lnTo>
                        <a:lnTo>
                          <a:pt x="391" y="40"/>
                        </a:lnTo>
                        <a:lnTo>
                          <a:pt x="391" y="40"/>
                        </a:lnTo>
                        <a:lnTo>
                          <a:pt x="365" y="20"/>
                        </a:lnTo>
                        <a:lnTo>
                          <a:pt x="340" y="0"/>
                        </a:lnTo>
                        <a:lnTo>
                          <a:pt x="340" y="0"/>
                        </a:lnTo>
                        <a:lnTo>
                          <a:pt x="301" y="8"/>
                        </a:lnTo>
                        <a:lnTo>
                          <a:pt x="262" y="18"/>
                        </a:lnTo>
                        <a:lnTo>
                          <a:pt x="220" y="29"/>
                        </a:lnTo>
                        <a:lnTo>
                          <a:pt x="180" y="43"/>
                        </a:lnTo>
                        <a:lnTo>
                          <a:pt x="139" y="59"/>
                        </a:lnTo>
                        <a:lnTo>
                          <a:pt x="99" y="77"/>
                        </a:lnTo>
                        <a:lnTo>
                          <a:pt x="59" y="98"/>
                        </a:lnTo>
                        <a:lnTo>
                          <a:pt x="19" y="120"/>
                        </a:lnTo>
                        <a:lnTo>
                          <a:pt x="19"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3" name="Freeform 21">
                    <a:extLst>
                      <a:ext uri="{FF2B5EF4-FFF2-40B4-BE49-F238E27FC236}">
                        <a16:creationId xmlns:a16="http://schemas.microsoft.com/office/drawing/2014/main" id="{97FF0DEA-C045-46DE-8289-E2F0F81BE609}"/>
                      </a:ext>
                    </a:extLst>
                  </p:cNvPr>
                  <p:cNvSpPr>
                    <a:spLocks/>
                  </p:cNvSpPr>
                  <p:nvPr/>
                </p:nvSpPr>
                <p:spPr bwMode="auto">
                  <a:xfrm>
                    <a:off x="3051" y="2061"/>
                    <a:ext cx="125" cy="27"/>
                  </a:xfrm>
                  <a:custGeom>
                    <a:avLst/>
                    <a:gdLst>
                      <a:gd name="T0" fmla="*/ 0 w 251"/>
                      <a:gd name="T1" fmla="*/ 11 h 54"/>
                      <a:gd name="T2" fmla="*/ 0 w 251"/>
                      <a:gd name="T3" fmla="*/ 11 h 54"/>
                      <a:gd name="T4" fmla="*/ 34 w 251"/>
                      <a:gd name="T5" fmla="*/ 40 h 54"/>
                      <a:gd name="T6" fmla="*/ 34 w 251"/>
                      <a:gd name="T7" fmla="*/ 40 h 54"/>
                      <a:gd name="T8" fmla="*/ 48 w 251"/>
                      <a:gd name="T9" fmla="*/ 54 h 54"/>
                      <a:gd name="T10" fmla="*/ 48 w 251"/>
                      <a:gd name="T11" fmla="*/ 54 h 54"/>
                      <a:gd name="T12" fmla="*/ 83 w 251"/>
                      <a:gd name="T13" fmla="*/ 51 h 54"/>
                      <a:gd name="T14" fmla="*/ 117 w 251"/>
                      <a:gd name="T15" fmla="*/ 50 h 54"/>
                      <a:gd name="T16" fmla="*/ 174 w 251"/>
                      <a:gd name="T17" fmla="*/ 48 h 54"/>
                      <a:gd name="T18" fmla="*/ 220 w 251"/>
                      <a:gd name="T19" fmla="*/ 48 h 54"/>
                      <a:gd name="T20" fmla="*/ 251 w 251"/>
                      <a:gd name="T21" fmla="*/ 51 h 54"/>
                      <a:gd name="T22" fmla="*/ 251 w 251"/>
                      <a:gd name="T23" fmla="*/ 51 h 54"/>
                      <a:gd name="T24" fmla="*/ 235 w 251"/>
                      <a:gd name="T25" fmla="*/ 26 h 54"/>
                      <a:gd name="T26" fmla="*/ 217 w 251"/>
                      <a:gd name="T27" fmla="*/ 2 h 54"/>
                      <a:gd name="T28" fmla="*/ 217 w 251"/>
                      <a:gd name="T29" fmla="*/ 2 h 54"/>
                      <a:gd name="T30" fmla="*/ 176 w 251"/>
                      <a:gd name="T31" fmla="*/ 0 h 54"/>
                      <a:gd name="T32" fmla="*/ 125 w 251"/>
                      <a:gd name="T33" fmla="*/ 2 h 54"/>
                      <a:gd name="T34" fmla="*/ 66 w 251"/>
                      <a:gd name="T35" fmla="*/ 5 h 54"/>
                      <a:gd name="T36" fmla="*/ 0 w 251"/>
                      <a:gd name="T37" fmla="*/ 11 h 54"/>
                      <a:gd name="T38" fmla="*/ 0 w 251"/>
                      <a:gd name="T39" fmla="*/ 1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1" h="54">
                        <a:moveTo>
                          <a:pt x="0" y="11"/>
                        </a:moveTo>
                        <a:lnTo>
                          <a:pt x="0" y="11"/>
                        </a:lnTo>
                        <a:lnTo>
                          <a:pt x="34" y="40"/>
                        </a:lnTo>
                        <a:lnTo>
                          <a:pt x="34" y="40"/>
                        </a:lnTo>
                        <a:lnTo>
                          <a:pt x="48" y="54"/>
                        </a:lnTo>
                        <a:lnTo>
                          <a:pt x="48" y="54"/>
                        </a:lnTo>
                        <a:lnTo>
                          <a:pt x="83" y="51"/>
                        </a:lnTo>
                        <a:lnTo>
                          <a:pt x="117" y="50"/>
                        </a:lnTo>
                        <a:lnTo>
                          <a:pt x="174" y="48"/>
                        </a:lnTo>
                        <a:lnTo>
                          <a:pt x="220" y="48"/>
                        </a:lnTo>
                        <a:lnTo>
                          <a:pt x="251" y="51"/>
                        </a:lnTo>
                        <a:lnTo>
                          <a:pt x="251" y="51"/>
                        </a:lnTo>
                        <a:lnTo>
                          <a:pt x="235" y="26"/>
                        </a:lnTo>
                        <a:lnTo>
                          <a:pt x="217" y="2"/>
                        </a:lnTo>
                        <a:lnTo>
                          <a:pt x="217" y="2"/>
                        </a:lnTo>
                        <a:lnTo>
                          <a:pt x="176" y="0"/>
                        </a:lnTo>
                        <a:lnTo>
                          <a:pt x="125" y="2"/>
                        </a:lnTo>
                        <a:lnTo>
                          <a:pt x="66" y="5"/>
                        </a:lnTo>
                        <a:lnTo>
                          <a:pt x="0" y="11"/>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4" name="Freeform 22">
                    <a:extLst>
                      <a:ext uri="{FF2B5EF4-FFF2-40B4-BE49-F238E27FC236}">
                        <a16:creationId xmlns:a16="http://schemas.microsoft.com/office/drawing/2014/main" id="{56DD1F22-6994-41FA-82FE-BC0FBCE78214}"/>
                      </a:ext>
                    </a:extLst>
                  </p:cNvPr>
                  <p:cNvSpPr>
                    <a:spLocks/>
                  </p:cNvSpPr>
                  <p:nvPr/>
                </p:nvSpPr>
                <p:spPr bwMode="auto">
                  <a:xfrm>
                    <a:off x="2653" y="2319"/>
                    <a:ext cx="60" cy="138"/>
                  </a:xfrm>
                  <a:custGeom>
                    <a:avLst/>
                    <a:gdLst>
                      <a:gd name="T0" fmla="*/ 86 w 121"/>
                      <a:gd name="T1" fmla="*/ 0 h 276"/>
                      <a:gd name="T2" fmla="*/ 86 w 121"/>
                      <a:gd name="T3" fmla="*/ 0 h 276"/>
                      <a:gd name="T4" fmla="*/ 70 w 121"/>
                      <a:gd name="T5" fmla="*/ 33 h 276"/>
                      <a:gd name="T6" fmla="*/ 56 w 121"/>
                      <a:gd name="T7" fmla="*/ 67 h 276"/>
                      <a:gd name="T8" fmla="*/ 32 w 121"/>
                      <a:gd name="T9" fmla="*/ 127 h 276"/>
                      <a:gd name="T10" fmla="*/ 13 w 121"/>
                      <a:gd name="T11" fmla="*/ 183 h 276"/>
                      <a:gd name="T12" fmla="*/ 0 w 121"/>
                      <a:gd name="T13" fmla="*/ 228 h 276"/>
                      <a:gd name="T14" fmla="*/ 0 w 121"/>
                      <a:gd name="T15" fmla="*/ 228 h 276"/>
                      <a:gd name="T16" fmla="*/ 17 w 121"/>
                      <a:gd name="T17" fmla="*/ 252 h 276"/>
                      <a:gd name="T18" fmla="*/ 36 w 121"/>
                      <a:gd name="T19" fmla="*/ 276 h 276"/>
                      <a:gd name="T20" fmla="*/ 36 w 121"/>
                      <a:gd name="T21" fmla="*/ 276 h 276"/>
                      <a:gd name="T22" fmla="*/ 48 w 121"/>
                      <a:gd name="T23" fmla="*/ 234 h 276"/>
                      <a:gd name="T24" fmla="*/ 64 w 121"/>
                      <a:gd name="T25" fmla="*/ 180 h 276"/>
                      <a:gd name="T26" fmla="*/ 75 w 121"/>
                      <a:gd name="T27" fmla="*/ 146 h 276"/>
                      <a:gd name="T28" fmla="*/ 87 w 121"/>
                      <a:gd name="T29" fmla="*/ 113 h 276"/>
                      <a:gd name="T30" fmla="*/ 103 w 121"/>
                      <a:gd name="T31" fmla="*/ 76 h 276"/>
                      <a:gd name="T32" fmla="*/ 121 w 121"/>
                      <a:gd name="T33" fmla="*/ 38 h 276"/>
                      <a:gd name="T34" fmla="*/ 121 w 121"/>
                      <a:gd name="T35" fmla="*/ 38 h 276"/>
                      <a:gd name="T36" fmla="*/ 86 w 121"/>
                      <a:gd name="T37" fmla="*/ 0 h 276"/>
                      <a:gd name="T38" fmla="*/ 86 w 121"/>
                      <a:gd name="T39"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 h="276">
                        <a:moveTo>
                          <a:pt x="86" y="0"/>
                        </a:moveTo>
                        <a:lnTo>
                          <a:pt x="86" y="0"/>
                        </a:lnTo>
                        <a:lnTo>
                          <a:pt x="70" y="33"/>
                        </a:lnTo>
                        <a:lnTo>
                          <a:pt x="56" y="67"/>
                        </a:lnTo>
                        <a:lnTo>
                          <a:pt x="32" y="127"/>
                        </a:lnTo>
                        <a:lnTo>
                          <a:pt x="13" y="183"/>
                        </a:lnTo>
                        <a:lnTo>
                          <a:pt x="0" y="228"/>
                        </a:lnTo>
                        <a:lnTo>
                          <a:pt x="0" y="228"/>
                        </a:lnTo>
                        <a:lnTo>
                          <a:pt x="17" y="252"/>
                        </a:lnTo>
                        <a:lnTo>
                          <a:pt x="36" y="276"/>
                        </a:lnTo>
                        <a:lnTo>
                          <a:pt x="36" y="276"/>
                        </a:lnTo>
                        <a:lnTo>
                          <a:pt x="48" y="234"/>
                        </a:lnTo>
                        <a:lnTo>
                          <a:pt x="64" y="180"/>
                        </a:lnTo>
                        <a:lnTo>
                          <a:pt x="75" y="146"/>
                        </a:lnTo>
                        <a:lnTo>
                          <a:pt x="87" y="113"/>
                        </a:lnTo>
                        <a:lnTo>
                          <a:pt x="103" y="76"/>
                        </a:lnTo>
                        <a:lnTo>
                          <a:pt x="121" y="38"/>
                        </a:lnTo>
                        <a:lnTo>
                          <a:pt x="121" y="38"/>
                        </a:lnTo>
                        <a:lnTo>
                          <a:pt x="86" y="0"/>
                        </a:lnTo>
                        <a:lnTo>
                          <a:pt x="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5" name="Freeform 23">
                    <a:extLst>
                      <a:ext uri="{FF2B5EF4-FFF2-40B4-BE49-F238E27FC236}">
                        <a16:creationId xmlns:a16="http://schemas.microsoft.com/office/drawing/2014/main" id="{B0015C36-9E5D-419A-A345-AE1EA764F872}"/>
                      </a:ext>
                    </a:extLst>
                  </p:cNvPr>
                  <p:cNvSpPr>
                    <a:spLocks/>
                  </p:cNvSpPr>
                  <p:nvPr/>
                </p:nvSpPr>
                <p:spPr bwMode="auto">
                  <a:xfrm>
                    <a:off x="2828" y="2009"/>
                    <a:ext cx="83" cy="144"/>
                  </a:xfrm>
                  <a:custGeom>
                    <a:avLst/>
                    <a:gdLst>
                      <a:gd name="T0" fmla="*/ 60 w 165"/>
                      <a:gd name="T1" fmla="*/ 246 h 287"/>
                      <a:gd name="T2" fmla="*/ 60 w 165"/>
                      <a:gd name="T3" fmla="*/ 246 h 287"/>
                      <a:gd name="T4" fmla="*/ 71 w 165"/>
                      <a:gd name="T5" fmla="*/ 214 h 287"/>
                      <a:gd name="T6" fmla="*/ 82 w 165"/>
                      <a:gd name="T7" fmla="*/ 182 h 287"/>
                      <a:gd name="T8" fmla="*/ 95 w 165"/>
                      <a:gd name="T9" fmla="*/ 152 h 287"/>
                      <a:gd name="T10" fmla="*/ 108 w 165"/>
                      <a:gd name="T11" fmla="*/ 122 h 287"/>
                      <a:gd name="T12" fmla="*/ 137 w 165"/>
                      <a:gd name="T13" fmla="*/ 66 h 287"/>
                      <a:gd name="T14" fmla="*/ 165 w 165"/>
                      <a:gd name="T15" fmla="*/ 16 h 287"/>
                      <a:gd name="T16" fmla="*/ 165 w 165"/>
                      <a:gd name="T17" fmla="*/ 16 h 287"/>
                      <a:gd name="T18" fmla="*/ 118 w 165"/>
                      <a:gd name="T19" fmla="*/ 0 h 287"/>
                      <a:gd name="T20" fmla="*/ 118 w 165"/>
                      <a:gd name="T21" fmla="*/ 0 h 287"/>
                      <a:gd name="T22" fmla="*/ 102 w 165"/>
                      <a:gd name="T23" fmla="*/ 31 h 287"/>
                      <a:gd name="T24" fmla="*/ 84 w 165"/>
                      <a:gd name="T25" fmla="*/ 63 h 287"/>
                      <a:gd name="T26" fmla="*/ 67 w 165"/>
                      <a:gd name="T27" fmla="*/ 96 h 287"/>
                      <a:gd name="T28" fmla="*/ 51 w 165"/>
                      <a:gd name="T29" fmla="*/ 133 h 287"/>
                      <a:gd name="T30" fmla="*/ 36 w 165"/>
                      <a:gd name="T31" fmla="*/ 169 h 287"/>
                      <a:gd name="T32" fmla="*/ 22 w 165"/>
                      <a:gd name="T33" fmla="*/ 208 h 287"/>
                      <a:gd name="T34" fmla="*/ 9 w 165"/>
                      <a:gd name="T35" fmla="*/ 248 h 287"/>
                      <a:gd name="T36" fmla="*/ 0 w 165"/>
                      <a:gd name="T37" fmla="*/ 287 h 287"/>
                      <a:gd name="T38" fmla="*/ 0 w 165"/>
                      <a:gd name="T39" fmla="*/ 287 h 287"/>
                      <a:gd name="T40" fmla="*/ 4 w 165"/>
                      <a:gd name="T41" fmla="*/ 283 h 287"/>
                      <a:gd name="T42" fmla="*/ 4 w 165"/>
                      <a:gd name="T43" fmla="*/ 283 h 287"/>
                      <a:gd name="T44" fmla="*/ 31 w 165"/>
                      <a:gd name="T45" fmla="*/ 264 h 287"/>
                      <a:gd name="T46" fmla="*/ 60 w 165"/>
                      <a:gd name="T47" fmla="*/ 246 h 287"/>
                      <a:gd name="T48" fmla="*/ 60 w 165"/>
                      <a:gd name="T49" fmla="*/ 24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5" h="287">
                        <a:moveTo>
                          <a:pt x="60" y="246"/>
                        </a:moveTo>
                        <a:lnTo>
                          <a:pt x="60" y="246"/>
                        </a:lnTo>
                        <a:lnTo>
                          <a:pt x="71" y="214"/>
                        </a:lnTo>
                        <a:lnTo>
                          <a:pt x="82" y="182"/>
                        </a:lnTo>
                        <a:lnTo>
                          <a:pt x="95" y="152"/>
                        </a:lnTo>
                        <a:lnTo>
                          <a:pt x="108" y="122"/>
                        </a:lnTo>
                        <a:lnTo>
                          <a:pt x="137" y="66"/>
                        </a:lnTo>
                        <a:lnTo>
                          <a:pt x="165" y="16"/>
                        </a:lnTo>
                        <a:lnTo>
                          <a:pt x="165" y="16"/>
                        </a:lnTo>
                        <a:lnTo>
                          <a:pt x="118" y="0"/>
                        </a:lnTo>
                        <a:lnTo>
                          <a:pt x="118" y="0"/>
                        </a:lnTo>
                        <a:lnTo>
                          <a:pt x="102" y="31"/>
                        </a:lnTo>
                        <a:lnTo>
                          <a:pt x="84" y="63"/>
                        </a:lnTo>
                        <a:lnTo>
                          <a:pt x="67" y="96"/>
                        </a:lnTo>
                        <a:lnTo>
                          <a:pt x="51" y="133"/>
                        </a:lnTo>
                        <a:lnTo>
                          <a:pt x="36" y="169"/>
                        </a:lnTo>
                        <a:lnTo>
                          <a:pt x="22" y="208"/>
                        </a:lnTo>
                        <a:lnTo>
                          <a:pt x="9" y="248"/>
                        </a:lnTo>
                        <a:lnTo>
                          <a:pt x="0" y="287"/>
                        </a:lnTo>
                        <a:lnTo>
                          <a:pt x="0" y="287"/>
                        </a:lnTo>
                        <a:lnTo>
                          <a:pt x="4" y="283"/>
                        </a:lnTo>
                        <a:lnTo>
                          <a:pt x="4" y="283"/>
                        </a:lnTo>
                        <a:lnTo>
                          <a:pt x="31" y="264"/>
                        </a:lnTo>
                        <a:lnTo>
                          <a:pt x="60" y="246"/>
                        </a:lnTo>
                        <a:lnTo>
                          <a:pt x="60"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6" name="Freeform 24">
                    <a:extLst>
                      <a:ext uri="{FF2B5EF4-FFF2-40B4-BE49-F238E27FC236}">
                        <a16:creationId xmlns:a16="http://schemas.microsoft.com/office/drawing/2014/main" id="{7AB78184-39E8-46AC-825F-E04B96FD27EE}"/>
                      </a:ext>
                    </a:extLst>
                  </p:cNvPr>
                  <p:cNvSpPr>
                    <a:spLocks/>
                  </p:cNvSpPr>
                  <p:nvPr/>
                </p:nvSpPr>
                <p:spPr bwMode="auto">
                  <a:xfrm>
                    <a:off x="2901" y="1937"/>
                    <a:ext cx="64" cy="59"/>
                  </a:xfrm>
                  <a:custGeom>
                    <a:avLst/>
                    <a:gdLst>
                      <a:gd name="T0" fmla="*/ 46 w 127"/>
                      <a:gd name="T1" fmla="*/ 118 h 118"/>
                      <a:gd name="T2" fmla="*/ 46 w 127"/>
                      <a:gd name="T3" fmla="*/ 118 h 118"/>
                      <a:gd name="T4" fmla="*/ 70 w 127"/>
                      <a:gd name="T5" fmla="*/ 83 h 118"/>
                      <a:gd name="T6" fmla="*/ 92 w 127"/>
                      <a:gd name="T7" fmla="*/ 53 h 118"/>
                      <a:gd name="T8" fmla="*/ 127 w 127"/>
                      <a:gd name="T9" fmla="*/ 6 h 118"/>
                      <a:gd name="T10" fmla="*/ 127 w 127"/>
                      <a:gd name="T11" fmla="*/ 6 h 118"/>
                      <a:gd name="T12" fmla="*/ 100 w 127"/>
                      <a:gd name="T13" fmla="*/ 3 h 118"/>
                      <a:gd name="T14" fmla="*/ 73 w 127"/>
                      <a:gd name="T15" fmla="*/ 0 h 118"/>
                      <a:gd name="T16" fmla="*/ 73 w 127"/>
                      <a:gd name="T17" fmla="*/ 0 h 118"/>
                      <a:gd name="T18" fmla="*/ 38 w 127"/>
                      <a:gd name="T19" fmla="*/ 45 h 118"/>
                      <a:gd name="T20" fmla="*/ 19 w 127"/>
                      <a:gd name="T21" fmla="*/ 72 h 118"/>
                      <a:gd name="T22" fmla="*/ 0 w 127"/>
                      <a:gd name="T23" fmla="*/ 102 h 118"/>
                      <a:gd name="T24" fmla="*/ 0 w 127"/>
                      <a:gd name="T25" fmla="*/ 102 h 118"/>
                      <a:gd name="T26" fmla="*/ 46 w 127"/>
                      <a:gd name="T27" fmla="*/ 118 h 118"/>
                      <a:gd name="T28" fmla="*/ 46 w 127"/>
                      <a:gd name="T29"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18">
                        <a:moveTo>
                          <a:pt x="46" y="118"/>
                        </a:moveTo>
                        <a:lnTo>
                          <a:pt x="46" y="118"/>
                        </a:lnTo>
                        <a:lnTo>
                          <a:pt x="70" y="83"/>
                        </a:lnTo>
                        <a:lnTo>
                          <a:pt x="92" y="53"/>
                        </a:lnTo>
                        <a:lnTo>
                          <a:pt x="127" y="6"/>
                        </a:lnTo>
                        <a:lnTo>
                          <a:pt x="127" y="6"/>
                        </a:lnTo>
                        <a:lnTo>
                          <a:pt x="100" y="3"/>
                        </a:lnTo>
                        <a:lnTo>
                          <a:pt x="73" y="0"/>
                        </a:lnTo>
                        <a:lnTo>
                          <a:pt x="73" y="0"/>
                        </a:lnTo>
                        <a:lnTo>
                          <a:pt x="38" y="45"/>
                        </a:lnTo>
                        <a:lnTo>
                          <a:pt x="19" y="72"/>
                        </a:lnTo>
                        <a:lnTo>
                          <a:pt x="0" y="102"/>
                        </a:lnTo>
                        <a:lnTo>
                          <a:pt x="0" y="102"/>
                        </a:lnTo>
                        <a:lnTo>
                          <a:pt x="46" y="118"/>
                        </a:lnTo>
                        <a:lnTo>
                          <a:pt x="46"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7" name="Freeform 25">
                    <a:extLst>
                      <a:ext uri="{FF2B5EF4-FFF2-40B4-BE49-F238E27FC236}">
                        <a16:creationId xmlns:a16="http://schemas.microsoft.com/office/drawing/2014/main" id="{B78283FF-4FD4-4B0F-B140-2452FC3DD659}"/>
                      </a:ext>
                    </a:extLst>
                  </p:cNvPr>
                  <p:cNvSpPr>
                    <a:spLocks/>
                  </p:cNvSpPr>
                  <p:nvPr/>
                </p:nvSpPr>
                <p:spPr bwMode="auto">
                  <a:xfrm>
                    <a:off x="2816" y="2166"/>
                    <a:ext cx="63" cy="253"/>
                  </a:xfrm>
                  <a:custGeom>
                    <a:avLst/>
                    <a:gdLst>
                      <a:gd name="T0" fmla="*/ 8 w 126"/>
                      <a:gd name="T1" fmla="*/ 46 h 505"/>
                      <a:gd name="T2" fmla="*/ 8 w 126"/>
                      <a:gd name="T3" fmla="*/ 46 h 505"/>
                      <a:gd name="T4" fmla="*/ 4 w 126"/>
                      <a:gd name="T5" fmla="*/ 75 h 505"/>
                      <a:gd name="T6" fmla="*/ 1 w 126"/>
                      <a:gd name="T7" fmla="*/ 103 h 505"/>
                      <a:gd name="T8" fmla="*/ 0 w 126"/>
                      <a:gd name="T9" fmla="*/ 134 h 505"/>
                      <a:gd name="T10" fmla="*/ 0 w 126"/>
                      <a:gd name="T11" fmla="*/ 164 h 505"/>
                      <a:gd name="T12" fmla="*/ 0 w 126"/>
                      <a:gd name="T13" fmla="*/ 164 h 505"/>
                      <a:gd name="T14" fmla="*/ 1 w 126"/>
                      <a:gd name="T15" fmla="*/ 207 h 505"/>
                      <a:gd name="T16" fmla="*/ 4 w 126"/>
                      <a:gd name="T17" fmla="*/ 248 h 505"/>
                      <a:gd name="T18" fmla="*/ 9 w 126"/>
                      <a:gd name="T19" fmla="*/ 290 h 505"/>
                      <a:gd name="T20" fmla="*/ 17 w 126"/>
                      <a:gd name="T21" fmla="*/ 330 h 505"/>
                      <a:gd name="T22" fmla="*/ 27 w 126"/>
                      <a:gd name="T23" fmla="*/ 368 h 505"/>
                      <a:gd name="T24" fmla="*/ 38 w 126"/>
                      <a:gd name="T25" fmla="*/ 406 h 505"/>
                      <a:gd name="T26" fmla="*/ 49 w 126"/>
                      <a:gd name="T27" fmla="*/ 444 h 505"/>
                      <a:gd name="T28" fmla="*/ 63 w 126"/>
                      <a:gd name="T29" fmla="*/ 480 h 505"/>
                      <a:gd name="T30" fmla="*/ 63 w 126"/>
                      <a:gd name="T31" fmla="*/ 480 h 505"/>
                      <a:gd name="T32" fmla="*/ 94 w 126"/>
                      <a:gd name="T33" fmla="*/ 492 h 505"/>
                      <a:gd name="T34" fmla="*/ 126 w 126"/>
                      <a:gd name="T35" fmla="*/ 505 h 505"/>
                      <a:gd name="T36" fmla="*/ 126 w 126"/>
                      <a:gd name="T37" fmla="*/ 505 h 505"/>
                      <a:gd name="T38" fmla="*/ 110 w 126"/>
                      <a:gd name="T39" fmla="*/ 467 h 505"/>
                      <a:gd name="T40" fmla="*/ 94 w 126"/>
                      <a:gd name="T41" fmla="*/ 427 h 505"/>
                      <a:gd name="T42" fmla="*/ 81 w 126"/>
                      <a:gd name="T43" fmla="*/ 385 h 505"/>
                      <a:gd name="T44" fmla="*/ 70 w 126"/>
                      <a:gd name="T45" fmla="*/ 344 h 505"/>
                      <a:gd name="T46" fmla="*/ 60 w 126"/>
                      <a:gd name="T47" fmla="*/ 299 h 505"/>
                      <a:gd name="T48" fmla="*/ 52 w 126"/>
                      <a:gd name="T49" fmla="*/ 255 h 505"/>
                      <a:gd name="T50" fmla="*/ 47 w 126"/>
                      <a:gd name="T51" fmla="*/ 210 h 505"/>
                      <a:gd name="T52" fmla="*/ 46 w 126"/>
                      <a:gd name="T53" fmla="*/ 164 h 505"/>
                      <a:gd name="T54" fmla="*/ 46 w 126"/>
                      <a:gd name="T55" fmla="*/ 164 h 505"/>
                      <a:gd name="T56" fmla="*/ 47 w 126"/>
                      <a:gd name="T57" fmla="*/ 121 h 505"/>
                      <a:gd name="T58" fmla="*/ 51 w 126"/>
                      <a:gd name="T59" fmla="*/ 81 h 505"/>
                      <a:gd name="T60" fmla="*/ 57 w 126"/>
                      <a:gd name="T61" fmla="*/ 39 h 505"/>
                      <a:gd name="T62" fmla="*/ 65 w 126"/>
                      <a:gd name="T63" fmla="*/ 0 h 505"/>
                      <a:gd name="T64" fmla="*/ 65 w 126"/>
                      <a:gd name="T65" fmla="*/ 0 h 505"/>
                      <a:gd name="T66" fmla="*/ 57 w 126"/>
                      <a:gd name="T67" fmla="*/ 6 h 505"/>
                      <a:gd name="T68" fmla="*/ 57 w 126"/>
                      <a:gd name="T69" fmla="*/ 6 h 505"/>
                      <a:gd name="T70" fmla="*/ 32 w 126"/>
                      <a:gd name="T71" fmla="*/ 25 h 505"/>
                      <a:gd name="T72" fmla="*/ 8 w 126"/>
                      <a:gd name="T73" fmla="*/ 46 h 505"/>
                      <a:gd name="T74" fmla="*/ 8 w 126"/>
                      <a:gd name="T75" fmla="*/ 4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505">
                        <a:moveTo>
                          <a:pt x="8" y="46"/>
                        </a:moveTo>
                        <a:lnTo>
                          <a:pt x="8" y="46"/>
                        </a:lnTo>
                        <a:lnTo>
                          <a:pt x="4" y="75"/>
                        </a:lnTo>
                        <a:lnTo>
                          <a:pt x="1" y="103"/>
                        </a:lnTo>
                        <a:lnTo>
                          <a:pt x="0" y="134"/>
                        </a:lnTo>
                        <a:lnTo>
                          <a:pt x="0" y="164"/>
                        </a:lnTo>
                        <a:lnTo>
                          <a:pt x="0" y="164"/>
                        </a:lnTo>
                        <a:lnTo>
                          <a:pt x="1" y="207"/>
                        </a:lnTo>
                        <a:lnTo>
                          <a:pt x="4" y="248"/>
                        </a:lnTo>
                        <a:lnTo>
                          <a:pt x="9" y="290"/>
                        </a:lnTo>
                        <a:lnTo>
                          <a:pt x="17" y="330"/>
                        </a:lnTo>
                        <a:lnTo>
                          <a:pt x="27" y="368"/>
                        </a:lnTo>
                        <a:lnTo>
                          <a:pt x="38" y="406"/>
                        </a:lnTo>
                        <a:lnTo>
                          <a:pt x="49" y="444"/>
                        </a:lnTo>
                        <a:lnTo>
                          <a:pt x="63" y="480"/>
                        </a:lnTo>
                        <a:lnTo>
                          <a:pt x="63" y="480"/>
                        </a:lnTo>
                        <a:lnTo>
                          <a:pt x="94" y="492"/>
                        </a:lnTo>
                        <a:lnTo>
                          <a:pt x="126" y="505"/>
                        </a:lnTo>
                        <a:lnTo>
                          <a:pt x="126" y="505"/>
                        </a:lnTo>
                        <a:lnTo>
                          <a:pt x="110" y="467"/>
                        </a:lnTo>
                        <a:lnTo>
                          <a:pt x="94" y="427"/>
                        </a:lnTo>
                        <a:lnTo>
                          <a:pt x="81" y="385"/>
                        </a:lnTo>
                        <a:lnTo>
                          <a:pt x="70" y="344"/>
                        </a:lnTo>
                        <a:lnTo>
                          <a:pt x="60" y="299"/>
                        </a:lnTo>
                        <a:lnTo>
                          <a:pt x="52" y="255"/>
                        </a:lnTo>
                        <a:lnTo>
                          <a:pt x="47" y="210"/>
                        </a:lnTo>
                        <a:lnTo>
                          <a:pt x="46" y="164"/>
                        </a:lnTo>
                        <a:lnTo>
                          <a:pt x="46" y="164"/>
                        </a:lnTo>
                        <a:lnTo>
                          <a:pt x="47" y="121"/>
                        </a:lnTo>
                        <a:lnTo>
                          <a:pt x="51" y="81"/>
                        </a:lnTo>
                        <a:lnTo>
                          <a:pt x="57" y="39"/>
                        </a:lnTo>
                        <a:lnTo>
                          <a:pt x="65" y="0"/>
                        </a:lnTo>
                        <a:lnTo>
                          <a:pt x="65" y="0"/>
                        </a:lnTo>
                        <a:lnTo>
                          <a:pt x="57" y="6"/>
                        </a:lnTo>
                        <a:lnTo>
                          <a:pt x="57" y="6"/>
                        </a:lnTo>
                        <a:lnTo>
                          <a:pt x="32" y="25"/>
                        </a:lnTo>
                        <a:lnTo>
                          <a:pt x="8" y="46"/>
                        </a:lnTo>
                        <a:lnTo>
                          <a:pt x="8"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8" name="Freeform 26">
                    <a:extLst>
                      <a:ext uri="{FF2B5EF4-FFF2-40B4-BE49-F238E27FC236}">
                        <a16:creationId xmlns:a16="http://schemas.microsoft.com/office/drawing/2014/main" id="{4FC70C53-1CC9-47D1-84C2-A50FC57A0B9D}"/>
                      </a:ext>
                    </a:extLst>
                  </p:cNvPr>
                  <p:cNvSpPr>
                    <a:spLocks/>
                  </p:cNvSpPr>
                  <p:nvPr/>
                </p:nvSpPr>
                <p:spPr bwMode="auto">
                  <a:xfrm>
                    <a:off x="2862" y="2437"/>
                    <a:ext cx="105" cy="126"/>
                  </a:xfrm>
                  <a:custGeom>
                    <a:avLst/>
                    <a:gdLst>
                      <a:gd name="T0" fmla="*/ 0 w 210"/>
                      <a:gd name="T1" fmla="*/ 0 h 250"/>
                      <a:gd name="T2" fmla="*/ 0 w 210"/>
                      <a:gd name="T3" fmla="*/ 0 h 250"/>
                      <a:gd name="T4" fmla="*/ 19 w 210"/>
                      <a:gd name="T5" fmla="*/ 41 h 250"/>
                      <a:gd name="T6" fmla="*/ 41 w 210"/>
                      <a:gd name="T7" fmla="*/ 79 h 250"/>
                      <a:gd name="T8" fmla="*/ 62 w 210"/>
                      <a:gd name="T9" fmla="*/ 116 h 250"/>
                      <a:gd name="T10" fmla="*/ 82 w 210"/>
                      <a:gd name="T11" fmla="*/ 150 h 250"/>
                      <a:gd name="T12" fmla="*/ 103 w 210"/>
                      <a:gd name="T13" fmla="*/ 180 h 250"/>
                      <a:gd name="T14" fmla="*/ 122 w 210"/>
                      <a:gd name="T15" fmla="*/ 207 h 250"/>
                      <a:gd name="T16" fmla="*/ 156 w 210"/>
                      <a:gd name="T17" fmla="*/ 250 h 250"/>
                      <a:gd name="T18" fmla="*/ 156 w 210"/>
                      <a:gd name="T19" fmla="*/ 250 h 250"/>
                      <a:gd name="T20" fmla="*/ 183 w 210"/>
                      <a:gd name="T21" fmla="*/ 247 h 250"/>
                      <a:gd name="T22" fmla="*/ 210 w 210"/>
                      <a:gd name="T23" fmla="*/ 242 h 250"/>
                      <a:gd name="T24" fmla="*/ 210 w 210"/>
                      <a:gd name="T25" fmla="*/ 242 h 250"/>
                      <a:gd name="T26" fmla="*/ 183 w 210"/>
                      <a:gd name="T27" fmla="*/ 209 h 250"/>
                      <a:gd name="T28" fmla="*/ 148 w 210"/>
                      <a:gd name="T29" fmla="*/ 159 h 250"/>
                      <a:gd name="T30" fmla="*/ 127 w 210"/>
                      <a:gd name="T31" fmla="*/ 130 h 250"/>
                      <a:gd name="T32" fmla="*/ 106 w 210"/>
                      <a:gd name="T33" fmla="*/ 97 h 250"/>
                      <a:gd name="T34" fmla="*/ 84 w 210"/>
                      <a:gd name="T35" fmla="*/ 60 h 250"/>
                      <a:gd name="T36" fmla="*/ 63 w 210"/>
                      <a:gd name="T37" fmla="*/ 20 h 250"/>
                      <a:gd name="T38" fmla="*/ 63 w 210"/>
                      <a:gd name="T39" fmla="*/ 20 h 250"/>
                      <a:gd name="T40" fmla="*/ 31 w 210"/>
                      <a:gd name="T41" fmla="*/ 11 h 250"/>
                      <a:gd name="T42" fmla="*/ 0 w 210"/>
                      <a:gd name="T43" fmla="*/ 0 h 250"/>
                      <a:gd name="T44" fmla="*/ 0 w 210"/>
                      <a:gd name="T4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0" h="250">
                        <a:moveTo>
                          <a:pt x="0" y="0"/>
                        </a:moveTo>
                        <a:lnTo>
                          <a:pt x="0" y="0"/>
                        </a:lnTo>
                        <a:lnTo>
                          <a:pt x="19" y="41"/>
                        </a:lnTo>
                        <a:lnTo>
                          <a:pt x="41" y="79"/>
                        </a:lnTo>
                        <a:lnTo>
                          <a:pt x="62" y="116"/>
                        </a:lnTo>
                        <a:lnTo>
                          <a:pt x="82" y="150"/>
                        </a:lnTo>
                        <a:lnTo>
                          <a:pt x="103" y="180"/>
                        </a:lnTo>
                        <a:lnTo>
                          <a:pt x="122" y="207"/>
                        </a:lnTo>
                        <a:lnTo>
                          <a:pt x="156" y="250"/>
                        </a:lnTo>
                        <a:lnTo>
                          <a:pt x="156" y="250"/>
                        </a:lnTo>
                        <a:lnTo>
                          <a:pt x="183" y="247"/>
                        </a:lnTo>
                        <a:lnTo>
                          <a:pt x="210" y="242"/>
                        </a:lnTo>
                        <a:lnTo>
                          <a:pt x="210" y="242"/>
                        </a:lnTo>
                        <a:lnTo>
                          <a:pt x="183" y="209"/>
                        </a:lnTo>
                        <a:lnTo>
                          <a:pt x="148" y="159"/>
                        </a:lnTo>
                        <a:lnTo>
                          <a:pt x="127" y="130"/>
                        </a:lnTo>
                        <a:lnTo>
                          <a:pt x="106" y="97"/>
                        </a:lnTo>
                        <a:lnTo>
                          <a:pt x="84" y="60"/>
                        </a:lnTo>
                        <a:lnTo>
                          <a:pt x="63" y="20"/>
                        </a:lnTo>
                        <a:lnTo>
                          <a:pt x="63" y="20"/>
                        </a:lnTo>
                        <a:lnTo>
                          <a:pt x="31" y="1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9" name="Freeform 27">
                    <a:extLst>
                      <a:ext uri="{FF2B5EF4-FFF2-40B4-BE49-F238E27FC236}">
                        <a16:creationId xmlns:a16="http://schemas.microsoft.com/office/drawing/2014/main" id="{0DB298B6-0287-451B-B93B-B82B3592B186}"/>
                      </a:ext>
                    </a:extLst>
                  </p:cNvPr>
                  <p:cNvSpPr>
                    <a:spLocks/>
                  </p:cNvSpPr>
                  <p:nvPr/>
                </p:nvSpPr>
                <p:spPr bwMode="auto">
                  <a:xfrm>
                    <a:off x="2820" y="2132"/>
                    <a:ext cx="39" cy="57"/>
                  </a:xfrm>
                  <a:custGeom>
                    <a:avLst/>
                    <a:gdLst>
                      <a:gd name="T0" fmla="*/ 20 w 76"/>
                      <a:gd name="T1" fmla="*/ 37 h 115"/>
                      <a:gd name="T2" fmla="*/ 20 w 76"/>
                      <a:gd name="T3" fmla="*/ 37 h 115"/>
                      <a:gd name="T4" fmla="*/ 16 w 76"/>
                      <a:gd name="T5" fmla="*/ 41 h 115"/>
                      <a:gd name="T6" fmla="*/ 16 w 76"/>
                      <a:gd name="T7" fmla="*/ 41 h 115"/>
                      <a:gd name="T8" fmla="*/ 8 w 76"/>
                      <a:gd name="T9" fmla="*/ 78 h 115"/>
                      <a:gd name="T10" fmla="*/ 0 w 76"/>
                      <a:gd name="T11" fmla="*/ 115 h 115"/>
                      <a:gd name="T12" fmla="*/ 0 w 76"/>
                      <a:gd name="T13" fmla="*/ 115 h 115"/>
                      <a:gd name="T14" fmla="*/ 24 w 76"/>
                      <a:gd name="T15" fmla="*/ 94 h 115"/>
                      <a:gd name="T16" fmla="*/ 49 w 76"/>
                      <a:gd name="T17" fmla="*/ 75 h 115"/>
                      <a:gd name="T18" fmla="*/ 49 w 76"/>
                      <a:gd name="T19" fmla="*/ 75 h 115"/>
                      <a:gd name="T20" fmla="*/ 57 w 76"/>
                      <a:gd name="T21" fmla="*/ 69 h 115"/>
                      <a:gd name="T22" fmla="*/ 57 w 76"/>
                      <a:gd name="T23" fmla="*/ 69 h 115"/>
                      <a:gd name="T24" fmla="*/ 67 w 76"/>
                      <a:gd name="T25" fmla="*/ 34 h 115"/>
                      <a:gd name="T26" fmla="*/ 76 w 76"/>
                      <a:gd name="T27" fmla="*/ 0 h 115"/>
                      <a:gd name="T28" fmla="*/ 76 w 76"/>
                      <a:gd name="T29" fmla="*/ 0 h 115"/>
                      <a:gd name="T30" fmla="*/ 47 w 76"/>
                      <a:gd name="T31" fmla="*/ 18 h 115"/>
                      <a:gd name="T32" fmla="*/ 20 w 76"/>
                      <a:gd name="T33" fmla="*/ 37 h 115"/>
                      <a:gd name="T34" fmla="*/ 20 w 76"/>
                      <a:gd name="T35" fmla="*/ 3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15">
                        <a:moveTo>
                          <a:pt x="20" y="37"/>
                        </a:moveTo>
                        <a:lnTo>
                          <a:pt x="20" y="37"/>
                        </a:lnTo>
                        <a:lnTo>
                          <a:pt x="16" y="41"/>
                        </a:lnTo>
                        <a:lnTo>
                          <a:pt x="16" y="41"/>
                        </a:lnTo>
                        <a:lnTo>
                          <a:pt x="8" y="78"/>
                        </a:lnTo>
                        <a:lnTo>
                          <a:pt x="0" y="115"/>
                        </a:lnTo>
                        <a:lnTo>
                          <a:pt x="0" y="115"/>
                        </a:lnTo>
                        <a:lnTo>
                          <a:pt x="24" y="94"/>
                        </a:lnTo>
                        <a:lnTo>
                          <a:pt x="49" y="75"/>
                        </a:lnTo>
                        <a:lnTo>
                          <a:pt x="49" y="75"/>
                        </a:lnTo>
                        <a:lnTo>
                          <a:pt x="57" y="69"/>
                        </a:lnTo>
                        <a:lnTo>
                          <a:pt x="57" y="69"/>
                        </a:lnTo>
                        <a:lnTo>
                          <a:pt x="67" y="34"/>
                        </a:lnTo>
                        <a:lnTo>
                          <a:pt x="76" y="0"/>
                        </a:lnTo>
                        <a:lnTo>
                          <a:pt x="76" y="0"/>
                        </a:lnTo>
                        <a:lnTo>
                          <a:pt x="47" y="18"/>
                        </a:lnTo>
                        <a:lnTo>
                          <a:pt x="20" y="37"/>
                        </a:lnTo>
                        <a:lnTo>
                          <a:pt x="2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0" name="Freeform 28">
                    <a:extLst>
                      <a:ext uri="{FF2B5EF4-FFF2-40B4-BE49-F238E27FC236}">
                        <a16:creationId xmlns:a16="http://schemas.microsoft.com/office/drawing/2014/main" id="{1697CFA4-8161-45A5-A53C-B5E6036565E1}"/>
                      </a:ext>
                    </a:extLst>
                  </p:cNvPr>
                  <p:cNvSpPr>
                    <a:spLocks/>
                  </p:cNvSpPr>
                  <p:nvPr/>
                </p:nvSpPr>
                <p:spPr bwMode="auto">
                  <a:xfrm>
                    <a:off x="2879" y="2419"/>
                    <a:ext cx="286" cy="49"/>
                  </a:xfrm>
                  <a:custGeom>
                    <a:avLst/>
                    <a:gdLst>
                      <a:gd name="T0" fmla="*/ 0 w 570"/>
                      <a:gd name="T1" fmla="*/ 0 h 97"/>
                      <a:gd name="T2" fmla="*/ 0 w 570"/>
                      <a:gd name="T3" fmla="*/ 0 h 97"/>
                      <a:gd name="T4" fmla="*/ 14 w 570"/>
                      <a:gd name="T5" fmla="*/ 29 h 97"/>
                      <a:gd name="T6" fmla="*/ 28 w 570"/>
                      <a:gd name="T7" fmla="*/ 57 h 97"/>
                      <a:gd name="T8" fmla="*/ 28 w 570"/>
                      <a:gd name="T9" fmla="*/ 57 h 97"/>
                      <a:gd name="T10" fmla="*/ 67 w 570"/>
                      <a:gd name="T11" fmla="*/ 69 h 97"/>
                      <a:gd name="T12" fmla="*/ 103 w 570"/>
                      <a:gd name="T13" fmla="*/ 77 h 97"/>
                      <a:gd name="T14" fmla="*/ 142 w 570"/>
                      <a:gd name="T15" fmla="*/ 83 h 97"/>
                      <a:gd name="T16" fmla="*/ 178 w 570"/>
                      <a:gd name="T17" fmla="*/ 88 h 97"/>
                      <a:gd name="T18" fmla="*/ 215 w 570"/>
                      <a:gd name="T19" fmla="*/ 93 h 97"/>
                      <a:gd name="T20" fmla="*/ 250 w 570"/>
                      <a:gd name="T21" fmla="*/ 94 h 97"/>
                      <a:gd name="T22" fmla="*/ 285 w 570"/>
                      <a:gd name="T23" fmla="*/ 96 h 97"/>
                      <a:gd name="T24" fmla="*/ 318 w 570"/>
                      <a:gd name="T25" fmla="*/ 97 h 97"/>
                      <a:gd name="T26" fmla="*/ 318 w 570"/>
                      <a:gd name="T27" fmla="*/ 97 h 97"/>
                      <a:gd name="T28" fmla="*/ 381 w 570"/>
                      <a:gd name="T29" fmla="*/ 96 h 97"/>
                      <a:gd name="T30" fmla="*/ 438 w 570"/>
                      <a:gd name="T31" fmla="*/ 91 h 97"/>
                      <a:gd name="T32" fmla="*/ 486 w 570"/>
                      <a:gd name="T33" fmla="*/ 85 h 97"/>
                      <a:gd name="T34" fmla="*/ 527 w 570"/>
                      <a:gd name="T35" fmla="*/ 80 h 97"/>
                      <a:gd name="T36" fmla="*/ 527 w 570"/>
                      <a:gd name="T37" fmla="*/ 80 h 97"/>
                      <a:gd name="T38" fmla="*/ 550 w 570"/>
                      <a:gd name="T39" fmla="*/ 53 h 97"/>
                      <a:gd name="T40" fmla="*/ 570 w 570"/>
                      <a:gd name="T41" fmla="*/ 24 h 97"/>
                      <a:gd name="T42" fmla="*/ 570 w 570"/>
                      <a:gd name="T43" fmla="*/ 22 h 97"/>
                      <a:gd name="T44" fmla="*/ 570 w 570"/>
                      <a:gd name="T45" fmla="*/ 22 h 97"/>
                      <a:gd name="T46" fmla="*/ 556 w 570"/>
                      <a:gd name="T47" fmla="*/ 26 h 97"/>
                      <a:gd name="T48" fmla="*/ 518 w 570"/>
                      <a:gd name="T49" fmla="*/ 32 h 97"/>
                      <a:gd name="T50" fmla="*/ 460 w 570"/>
                      <a:gd name="T51" fmla="*/ 40 h 97"/>
                      <a:gd name="T52" fmla="*/ 425 w 570"/>
                      <a:gd name="T53" fmla="*/ 45 h 97"/>
                      <a:gd name="T54" fmla="*/ 387 w 570"/>
                      <a:gd name="T55" fmla="*/ 46 h 97"/>
                      <a:gd name="T56" fmla="*/ 344 w 570"/>
                      <a:gd name="T57" fmla="*/ 48 h 97"/>
                      <a:gd name="T58" fmla="*/ 299 w 570"/>
                      <a:gd name="T59" fmla="*/ 48 h 97"/>
                      <a:gd name="T60" fmla="*/ 253 w 570"/>
                      <a:gd name="T61" fmla="*/ 46 h 97"/>
                      <a:gd name="T62" fmla="*/ 204 w 570"/>
                      <a:gd name="T63" fmla="*/ 43 h 97"/>
                      <a:gd name="T64" fmla="*/ 154 w 570"/>
                      <a:gd name="T65" fmla="*/ 37 h 97"/>
                      <a:gd name="T66" fmla="*/ 103 w 570"/>
                      <a:gd name="T67" fmla="*/ 27 h 97"/>
                      <a:gd name="T68" fmla="*/ 51 w 570"/>
                      <a:gd name="T69" fmla="*/ 16 h 97"/>
                      <a:gd name="T70" fmla="*/ 0 w 570"/>
                      <a:gd name="T71" fmla="*/ 0 h 97"/>
                      <a:gd name="T72" fmla="*/ 0 w 570"/>
                      <a:gd name="T73"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0" h="97">
                        <a:moveTo>
                          <a:pt x="0" y="0"/>
                        </a:moveTo>
                        <a:lnTo>
                          <a:pt x="0" y="0"/>
                        </a:lnTo>
                        <a:lnTo>
                          <a:pt x="14" y="29"/>
                        </a:lnTo>
                        <a:lnTo>
                          <a:pt x="28" y="57"/>
                        </a:lnTo>
                        <a:lnTo>
                          <a:pt x="28" y="57"/>
                        </a:lnTo>
                        <a:lnTo>
                          <a:pt x="67" y="69"/>
                        </a:lnTo>
                        <a:lnTo>
                          <a:pt x="103" y="77"/>
                        </a:lnTo>
                        <a:lnTo>
                          <a:pt x="142" y="83"/>
                        </a:lnTo>
                        <a:lnTo>
                          <a:pt x="178" y="88"/>
                        </a:lnTo>
                        <a:lnTo>
                          <a:pt x="215" y="93"/>
                        </a:lnTo>
                        <a:lnTo>
                          <a:pt x="250" y="94"/>
                        </a:lnTo>
                        <a:lnTo>
                          <a:pt x="285" y="96"/>
                        </a:lnTo>
                        <a:lnTo>
                          <a:pt x="318" y="97"/>
                        </a:lnTo>
                        <a:lnTo>
                          <a:pt x="318" y="97"/>
                        </a:lnTo>
                        <a:lnTo>
                          <a:pt x="381" y="96"/>
                        </a:lnTo>
                        <a:lnTo>
                          <a:pt x="438" y="91"/>
                        </a:lnTo>
                        <a:lnTo>
                          <a:pt x="486" y="85"/>
                        </a:lnTo>
                        <a:lnTo>
                          <a:pt x="527" y="80"/>
                        </a:lnTo>
                        <a:lnTo>
                          <a:pt x="527" y="80"/>
                        </a:lnTo>
                        <a:lnTo>
                          <a:pt x="550" y="53"/>
                        </a:lnTo>
                        <a:lnTo>
                          <a:pt x="570" y="24"/>
                        </a:lnTo>
                        <a:lnTo>
                          <a:pt x="570" y="22"/>
                        </a:lnTo>
                        <a:lnTo>
                          <a:pt x="570" y="22"/>
                        </a:lnTo>
                        <a:lnTo>
                          <a:pt x="556" y="26"/>
                        </a:lnTo>
                        <a:lnTo>
                          <a:pt x="518" y="32"/>
                        </a:lnTo>
                        <a:lnTo>
                          <a:pt x="460" y="40"/>
                        </a:lnTo>
                        <a:lnTo>
                          <a:pt x="425" y="45"/>
                        </a:lnTo>
                        <a:lnTo>
                          <a:pt x="387" y="46"/>
                        </a:lnTo>
                        <a:lnTo>
                          <a:pt x="344" y="48"/>
                        </a:lnTo>
                        <a:lnTo>
                          <a:pt x="299" y="48"/>
                        </a:lnTo>
                        <a:lnTo>
                          <a:pt x="253" y="46"/>
                        </a:lnTo>
                        <a:lnTo>
                          <a:pt x="204" y="43"/>
                        </a:lnTo>
                        <a:lnTo>
                          <a:pt x="154" y="37"/>
                        </a:lnTo>
                        <a:lnTo>
                          <a:pt x="103" y="27"/>
                        </a:lnTo>
                        <a:lnTo>
                          <a:pt x="51" y="1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1" name="Freeform 29">
                    <a:extLst>
                      <a:ext uri="{FF2B5EF4-FFF2-40B4-BE49-F238E27FC236}">
                        <a16:creationId xmlns:a16="http://schemas.microsoft.com/office/drawing/2014/main" id="{DF630F14-CBF3-4E6D-A7E7-1A047A1B435E}"/>
                      </a:ext>
                    </a:extLst>
                  </p:cNvPr>
                  <p:cNvSpPr>
                    <a:spLocks/>
                  </p:cNvSpPr>
                  <p:nvPr/>
                </p:nvSpPr>
                <p:spPr bwMode="auto">
                  <a:xfrm>
                    <a:off x="2603" y="2137"/>
                    <a:ext cx="105" cy="182"/>
                  </a:xfrm>
                  <a:custGeom>
                    <a:avLst/>
                    <a:gdLst>
                      <a:gd name="T0" fmla="*/ 209 w 209"/>
                      <a:gd name="T1" fmla="*/ 318 h 365"/>
                      <a:gd name="T2" fmla="*/ 209 w 209"/>
                      <a:gd name="T3" fmla="*/ 318 h 365"/>
                      <a:gd name="T4" fmla="*/ 172 w 209"/>
                      <a:gd name="T5" fmla="*/ 272 h 365"/>
                      <a:gd name="T6" fmla="*/ 140 w 209"/>
                      <a:gd name="T7" fmla="*/ 226 h 365"/>
                      <a:gd name="T8" fmla="*/ 112 w 209"/>
                      <a:gd name="T9" fmla="*/ 180 h 365"/>
                      <a:gd name="T10" fmla="*/ 86 w 209"/>
                      <a:gd name="T11" fmla="*/ 137 h 365"/>
                      <a:gd name="T12" fmla="*/ 65 w 209"/>
                      <a:gd name="T13" fmla="*/ 95 h 365"/>
                      <a:gd name="T14" fmla="*/ 48 w 209"/>
                      <a:gd name="T15" fmla="*/ 59 h 365"/>
                      <a:gd name="T16" fmla="*/ 33 w 209"/>
                      <a:gd name="T17" fmla="*/ 27 h 365"/>
                      <a:gd name="T18" fmla="*/ 22 w 209"/>
                      <a:gd name="T19" fmla="*/ 0 h 365"/>
                      <a:gd name="T20" fmla="*/ 22 w 209"/>
                      <a:gd name="T21" fmla="*/ 0 h 365"/>
                      <a:gd name="T22" fmla="*/ 9 w 209"/>
                      <a:gd name="T23" fmla="*/ 35 h 365"/>
                      <a:gd name="T24" fmla="*/ 0 w 209"/>
                      <a:gd name="T25" fmla="*/ 70 h 365"/>
                      <a:gd name="T26" fmla="*/ 0 w 209"/>
                      <a:gd name="T27" fmla="*/ 70 h 365"/>
                      <a:gd name="T28" fmla="*/ 14 w 209"/>
                      <a:gd name="T29" fmla="*/ 100 h 365"/>
                      <a:gd name="T30" fmla="*/ 30 w 209"/>
                      <a:gd name="T31" fmla="*/ 134 h 365"/>
                      <a:gd name="T32" fmla="*/ 49 w 209"/>
                      <a:gd name="T33" fmla="*/ 169 h 365"/>
                      <a:gd name="T34" fmla="*/ 70 w 209"/>
                      <a:gd name="T35" fmla="*/ 207 h 365"/>
                      <a:gd name="T36" fmla="*/ 96 w 209"/>
                      <a:gd name="T37" fmla="*/ 245 h 365"/>
                      <a:gd name="T38" fmla="*/ 123 w 209"/>
                      <a:gd name="T39" fmla="*/ 285 h 365"/>
                      <a:gd name="T40" fmla="*/ 151 w 209"/>
                      <a:gd name="T41" fmla="*/ 325 h 365"/>
                      <a:gd name="T42" fmla="*/ 185 w 209"/>
                      <a:gd name="T43" fmla="*/ 365 h 365"/>
                      <a:gd name="T44" fmla="*/ 185 w 209"/>
                      <a:gd name="T45" fmla="*/ 365 h 365"/>
                      <a:gd name="T46" fmla="*/ 209 w 209"/>
                      <a:gd name="T47" fmla="*/ 318 h 365"/>
                      <a:gd name="T48" fmla="*/ 209 w 209"/>
                      <a:gd name="T49" fmla="*/ 318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9" h="365">
                        <a:moveTo>
                          <a:pt x="209" y="318"/>
                        </a:moveTo>
                        <a:lnTo>
                          <a:pt x="209" y="318"/>
                        </a:lnTo>
                        <a:lnTo>
                          <a:pt x="172" y="272"/>
                        </a:lnTo>
                        <a:lnTo>
                          <a:pt x="140" y="226"/>
                        </a:lnTo>
                        <a:lnTo>
                          <a:pt x="112" y="180"/>
                        </a:lnTo>
                        <a:lnTo>
                          <a:pt x="86" y="137"/>
                        </a:lnTo>
                        <a:lnTo>
                          <a:pt x="65" y="95"/>
                        </a:lnTo>
                        <a:lnTo>
                          <a:pt x="48" y="59"/>
                        </a:lnTo>
                        <a:lnTo>
                          <a:pt x="33" y="27"/>
                        </a:lnTo>
                        <a:lnTo>
                          <a:pt x="22" y="0"/>
                        </a:lnTo>
                        <a:lnTo>
                          <a:pt x="22" y="0"/>
                        </a:lnTo>
                        <a:lnTo>
                          <a:pt x="9" y="35"/>
                        </a:lnTo>
                        <a:lnTo>
                          <a:pt x="0" y="70"/>
                        </a:lnTo>
                        <a:lnTo>
                          <a:pt x="0" y="70"/>
                        </a:lnTo>
                        <a:lnTo>
                          <a:pt x="14" y="100"/>
                        </a:lnTo>
                        <a:lnTo>
                          <a:pt x="30" y="134"/>
                        </a:lnTo>
                        <a:lnTo>
                          <a:pt x="49" y="169"/>
                        </a:lnTo>
                        <a:lnTo>
                          <a:pt x="70" y="207"/>
                        </a:lnTo>
                        <a:lnTo>
                          <a:pt x="96" y="245"/>
                        </a:lnTo>
                        <a:lnTo>
                          <a:pt x="123" y="285"/>
                        </a:lnTo>
                        <a:lnTo>
                          <a:pt x="151" y="325"/>
                        </a:lnTo>
                        <a:lnTo>
                          <a:pt x="185" y="365"/>
                        </a:lnTo>
                        <a:lnTo>
                          <a:pt x="185" y="365"/>
                        </a:lnTo>
                        <a:lnTo>
                          <a:pt x="209" y="318"/>
                        </a:lnTo>
                        <a:lnTo>
                          <a:pt x="209" y="3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2" name="Freeform 30">
                    <a:extLst>
                      <a:ext uri="{FF2B5EF4-FFF2-40B4-BE49-F238E27FC236}">
                        <a16:creationId xmlns:a16="http://schemas.microsoft.com/office/drawing/2014/main" id="{D2595FC0-ADDC-4884-9AC2-F78313B18F96}"/>
                      </a:ext>
                    </a:extLst>
                  </p:cNvPr>
                  <p:cNvSpPr>
                    <a:spLocks/>
                  </p:cNvSpPr>
                  <p:nvPr/>
                </p:nvSpPr>
                <p:spPr bwMode="auto">
                  <a:xfrm>
                    <a:off x="2713" y="2315"/>
                    <a:ext cx="149" cy="122"/>
                  </a:xfrm>
                  <a:custGeom>
                    <a:avLst/>
                    <a:gdLst>
                      <a:gd name="T0" fmla="*/ 212 w 297"/>
                      <a:gd name="T1" fmla="*/ 153 h 244"/>
                      <a:gd name="T2" fmla="*/ 212 w 297"/>
                      <a:gd name="T3" fmla="*/ 153 h 244"/>
                      <a:gd name="T4" fmla="*/ 185 w 297"/>
                      <a:gd name="T5" fmla="*/ 137 h 244"/>
                      <a:gd name="T6" fmla="*/ 159 w 297"/>
                      <a:gd name="T7" fmla="*/ 119 h 244"/>
                      <a:gd name="T8" fmla="*/ 134 w 297"/>
                      <a:gd name="T9" fmla="*/ 102 h 244"/>
                      <a:gd name="T10" fmla="*/ 110 w 297"/>
                      <a:gd name="T11" fmla="*/ 83 h 244"/>
                      <a:gd name="T12" fmla="*/ 86 w 297"/>
                      <a:gd name="T13" fmla="*/ 64 h 244"/>
                      <a:gd name="T14" fmla="*/ 64 w 297"/>
                      <a:gd name="T15" fmla="*/ 43 h 244"/>
                      <a:gd name="T16" fmla="*/ 43 w 297"/>
                      <a:gd name="T17" fmla="*/ 22 h 244"/>
                      <a:gd name="T18" fmla="*/ 22 w 297"/>
                      <a:gd name="T19" fmla="*/ 0 h 244"/>
                      <a:gd name="T20" fmla="*/ 22 w 297"/>
                      <a:gd name="T21" fmla="*/ 0 h 244"/>
                      <a:gd name="T22" fmla="*/ 0 w 297"/>
                      <a:gd name="T23" fmla="*/ 46 h 244"/>
                      <a:gd name="T24" fmla="*/ 0 w 297"/>
                      <a:gd name="T25" fmla="*/ 46 h 244"/>
                      <a:gd name="T26" fmla="*/ 21 w 297"/>
                      <a:gd name="T27" fmla="*/ 67 h 244"/>
                      <a:gd name="T28" fmla="*/ 41 w 297"/>
                      <a:gd name="T29" fmla="*/ 86 h 244"/>
                      <a:gd name="T30" fmla="*/ 64 w 297"/>
                      <a:gd name="T31" fmla="*/ 107 h 244"/>
                      <a:gd name="T32" fmla="*/ 88 w 297"/>
                      <a:gd name="T33" fmla="*/ 126 h 244"/>
                      <a:gd name="T34" fmla="*/ 112 w 297"/>
                      <a:gd name="T35" fmla="*/ 143 h 244"/>
                      <a:gd name="T36" fmla="*/ 137 w 297"/>
                      <a:gd name="T37" fmla="*/ 162 h 244"/>
                      <a:gd name="T38" fmla="*/ 163 w 297"/>
                      <a:gd name="T39" fmla="*/ 178 h 244"/>
                      <a:gd name="T40" fmla="*/ 190 w 297"/>
                      <a:gd name="T41" fmla="*/ 194 h 244"/>
                      <a:gd name="T42" fmla="*/ 190 w 297"/>
                      <a:gd name="T43" fmla="*/ 194 h 244"/>
                      <a:gd name="T44" fmla="*/ 215 w 297"/>
                      <a:gd name="T45" fmla="*/ 209 h 244"/>
                      <a:gd name="T46" fmla="*/ 242 w 297"/>
                      <a:gd name="T47" fmla="*/ 221 h 244"/>
                      <a:gd name="T48" fmla="*/ 269 w 297"/>
                      <a:gd name="T49" fmla="*/ 233 h 244"/>
                      <a:gd name="T50" fmla="*/ 297 w 297"/>
                      <a:gd name="T51" fmla="*/ 244 h 244"/>
                      <a:gd name="T52" fmla="*/ 297 w 297"/>
                      <a:gd name="T53" fmla="*/ 244 h 244"/>
                      <a:gd name="T54" fmla="*/ 282 w 297"/>
                      <a:gd name="T55" fmla="*/ 213 h 244"/>
                      <a:gd name="T56" fmla="*/ 269 w 297"/>
                      <a:gd name="T57" fmla="*/ 182 h 244"/>
                      <a:gd name="T58" fmla="*/ 269 w 297"/>
                      <a:gd name="T59" fmla="*/ 182 h 244"/>
                      <a:gd name="T60" fmla="*/ 241 w 297"/>
                      <a:gd name="T61" fmla="*/ 169 h 244"/>
                      <a:gd name="T62" fmla="*/ 212 w 297"/>
                      <a:gd name="T63" fmla="*/ 153 h 244"/>
                      <a:gd name="T64" fmla="*/ 212 w 297"/>
                      <a:gd name="T65" fmla="*/ 15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7" h="244">
                        <a:moveTo>
                          <a:pt x="212" y="153"/>
                        </a:moveTo>
                        <a:lnTo>
                          <a:pt x="212" y="153"/>
                        </a:lnTo>
                        <a:lnTo>
                          <a:pt x="185" y="137"/>
                        </a:lnTo>
                        <a:lnTo>
                          <a:pt x="159" y="119"/>
                        </a:lnTo>
                        <a:lnTo>
                          <a:pt x="134" y="102"/>
                        </a:lnTo>
                        <a:lnTo>
                          <a:pt x="110" y="83"/>
                        </a:lnTo>
                        <a:lnTo>
                          <a:pt x="86" y="64"/>
                        </a:lnTo>
                        <a:lnTo>
                          <a:pt x="64" y="43"/>
                        </a:lnTo>
                        <a:lnTo>
                          <a:pt x="43" y="22"/>
                        </a:lnTo>
                        <a:lnTo>
                          <a:pt x="22" y="0"/>
                        </a:lnTo>
                        <a:lnTo>
                          <a:pt x="22" y="0"/>
                        </a:lnTo>
                        <a:lnTo>
                          <a:pt x="0" y="46"/>
                        </a:lnTo>
                        <a:lnTo>
                          <a:pt x="0" y="46"/>
                        </a:lnTo>
                        <a:lnTo>
                          <a:pt x="21" y="67"/>
                        </a:lnTo>
                        <a:lnTo>
                          <a:pt x="41" y="86"/>
                        </a:lnTo>
                        <a:lnTo>
                          <a:pt x="64" y="107"/>
                        </a:lnTo>
                        <a:lnTo>
                          <a:pt x="88" y="126"/>
                        </a:lnTo>
                        <a:lnTo>
                          <a:pt x="112" y="143"/>
                        </a:lnTo>
                        <a:lnTo>
                          <a:pt x="137" y="162"/>
                        </a:lnTo>
                        <a:lnTo>
                          <a:pt x="163" y="178"/>
                        </a:lnTo>
                        <a:lnTo>
                          <a:pt x="190" y="194"/>
                        </a:lnTo>
                        <a:lnTo>
                          <a:pt x="190" y="194"/>
                        </a:lnTo>
                        <a:lnTo>
                          <a:pt x="215" y="209"/>
                        </a:lnTo>
                        <a:lnTo>
                          <a:pt x="242" y="221"/>
                        </a:lnTo>
                        <a:lnTo>
                          <a:pt x="269" y="233"/>
                        </a:lnTo>
                        <a:lnTo>
                          <a:pt x="297" y="244"/>
                        </a:lnTo>
                        <a:lnTo>
                          <a:pt x="297" y="244"/>
                        </a:lnTo>
                        <a:lnTo>
                          <a:pt x="282" y="213"/>
                        </a:lnTo>
                        <a:lnTo>
                          <a:pt x="269" y="182"/>
                        </a:lnTo>
                        <a:lnTo>
                          <a:pt x="269" y="182"/>
                        </a:lnTo>
                        <a:lnTo>
                          <a:pt x="241" y="169"/>
                        </a:lnTo>
                        <a:lnTo>
                          <a:pt x="212" y="153"/>
                        </a:lnTo>
                        <a:lnTo>
                          <a:pt x="212"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3" name="Freeform 31">
                    <a:extLst>
                      <a:ext uri="{FF2B5EF4-FFF2-40B4-BE49-F238E27FC236}">
                        <a16:creationId xmlns:a16="http://schemas.microsoft.com/office/drawing/2014/main" id="{669ECD99-11C9-4297-AE16-8B7ECBF7C666}"/>
                      </a:ext>
                    </a:extLst>
                  </p:cNvPr>
                  <p:cNvSpPr>
                    <a:spLocks/>
                  </p:cNvSpPr>
                  <p:nvPr/>
                </p:nvSpPr>
                <p:spPr bwMode="auto">
                  <a:xfrm>
                    <a:off x="2696" y="2296"/>
                    <a:ext cx="29" cy="42"/>
                  </a:xfrm>
                  <a:custGeom>
                    <a:avLst/>
                    <a:gdLst>
                      <a:gd name="T0" fmla="*/ 24 w 57"/>
                      <a:gd name="T1" fmla="*/ 0 h 85"/>
                      <a:gd name="T2" fmla="*/ 24 w 57"/>
                      <a:gd name="T3" fmla="*/ 0 h 85"/>
                      <a:gd name="T4" fmla="*/ 0 w 57"/>
                      <a:gd name="T5" fmla="*/ 47 h 85"/>
                      <a:gd name="T6" fmla="*/ 0 w 57"/>
                      <a:gd name="T7" fmla="*/ 47 h 85"/>
                      <a:gd name="T8" fmla="*/ 35 w 57"/>
                      <a:gd name="T9" fmla="*/ 85 h 85"/>
                      <a:gd name="T10" fmla="*/ 35 w 57"/>
                      <a:gd name="T11" fmla="*/ 85 h 85"/>
                      <a:gd name="T12" fmla="*/ 57 w 57"/>
                      <a:gd name="T13" fmla="*/ 39 h 85"/>
                      <a:gd name="T14" fmla="*/ 57 w 57"/>
                      <a:gd name="T15" fmla="*/ 39 h 85"/>
                      <a:gd name="T16" fmla="*/ 24 w 57"/>
                      <a:gd name="T17" fmla="*/ 0 h 85"/>
                      <a:gd name="T18" fmla="*/ 24 w 57"/>
                      <a:gd name="T19"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5">
                        <a:moveTo>
                          <a:pt x="24" y="0"/>
                        </a:moveTo>
                        <a:lnTo>
                          <a:pt x="24" y="0"/>
                        </a:lnTo>
                        <a:lnTo>
                          <a:pt x="0" y="47"/>
                        </a:lnTo>
                        <a:lnTo>
                          <a:pt x="0" y="47"/>
                        </a:lnTo>
                        <a:lnTo>
                          <a:pt x="35" y="85"/>
                        </a:lnTo>
                        <a:lnTo>
                          <a:pt x="35" y="85"/>
                        </a:lnTo>
                        <a:lnTo>
                          <a:pt x="57" y="39"/>
                        </a:lnTo>
                        <a:lnTo>
                          <a:pt x="57" y="39"/>
                        </a:lnTo>
                        <a:lnTo>
                          <a:pt x="24" y="0"/>
                        </a:ln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4" name="Freeform 32">
                    <a:extLst>
                      <a:ext uri="{FF2B5EF4-FFF2-40B4-BE49-F238E27FC236}">
                        <a16:creationId xmlns:a16="http://schemas.microsoft.com/office/drawing/2014/main" id="{1185065F-6E4C-4938-ACA5-CDCDA77FAA06}"/>
                      </a:ext>
                    </a:extLst>
                  </p:cNvPr>
                  <p:cNvSpPr>
                    <a:spLocks/>
                  </p:cNvSpPr>
                  <p:nvPr/>
                </p:nvSpPr>
                <p:spPr bwMode="auto">
                  <a:xfrm>
                    <a:off x="2848" y="2406"/>
                    <a:ext cx="46" cy="42"/>
                  </a:xfrm>
                  <a:custGeom>
                    <a:avLst/>
                    <a:gdLst>
                      <a:gd name="T0" fmla="*/ 28 w 91"/>
                      <a:gd name="T1" fmla="*/ 62 h 82"/>
                      <a:gd name="T2" fmla="*/ 28 w 91"/>
                      <a:gd name="T3" fmla="*/ 62 h 82"/>
                      <a:gd name="T4" fmla="*/ 59 w 91"/>
                      <a:gd name="T5" fmla="*/ 73 h 82"/>
                      <a:gd name="T6" fmla="*/ 91 w 91"/>
                      <a:gd name="T7" fmla="*/ 82 h 82"/>
                      <a:gd name="T8" fmla="*/ 91 w 91"/>
                      <a:gd name="T9" fmla="*/ 82 h 82"/>
                      <a:gd name="T10" fmla="*/ 77 w 91"/>
                      <a:gd name="T11" fmla="*/ 54 h 82"/>
                      <a:gd name="T12" fmla="*/ 63 w 91"/>
                      <a:gd name="T13" fmla="*/ 25 h 82"/>
                      <a:gd name="T14" fmla="*/ 63 w 91"/>
                      <a:gd name="T15" fmla="*/ 25 h 82"/>
                      <a:gd name="T16" fmla="*/ 31 w 91"/>
                      <a:gd name="T17" fmla="*/ 12 h 82"/>
                      <a:gd name="T18" fmla="*/ 0 w 91"/>
                      <a:gd name="T19" fmla="*/ 0 h 82"/>
                      <a:gd name="T20" fmla="*/ 0 w 91"/>
                      <a:gd name="T21" fmla="*/ 0 h 82"/>
                      <a:gd name="T22" fmla="*/ 13 w 91"/>
                      <a:gd name="T23" fmla="*/ 31 h 82"/>
                      <a:gd name="T24" fmla="*/ 28 w 91"/>
                      <a:gd name="T25" fmla="*/ 62 h 82"/>
                      <a:gd name="T26" fmla="*/ 28 w 91"/>
                      <a:gd name="T27" fmla="*/ 6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82">
                        <a:moveTo>
                          <a:pt x="28" y="62"/>
                        </a:moveTo>
                        <a:lnTo>
                          <a:pt x="28" y="62"/>
                        </a:lnTo>
                        <a:lnTo>
                          <a:pt x="59" y="73"/>
                        </a:lnTo>
                        <a:lnTo>
                          <a:pt x="91" y="82"/>
                        </a:lnTo>
                        <a:lnTo>
                          <a:pt x="91" y="82"/>
                        </a:lnTo>
                        <a:lnTo>
                          <a:pt x="77" y="54"/>
                        </a:lnTo>
                        <a:lnTo>
                          <a:pt x="63" y="25"/>
                        </a:lnTo>
                        <a:lnTo>
                          <a:pt x="63" y="25"/>
                        </a:lnTo>
                        <a:lnTo>
                          <a:pt x="31" y="12"/>
                        </a:lnTo>
                        <a:lnTo>
                          <a:pt x="0" y="0"/>
                        </a:lnTo>
                        <a:lnTo>
                          <a:pt x="0" y="0"/>
                        </a:lnTo>
                        <a:lnTo>
                          <a:pt x="13" y="31"/>
                        </a:lnTo>
                        <a:lnTo>
                          <a:pt x="28" y="62"/>
                        </a:lnTo>
                        <a:lnTo>
                          <a:pt x="28"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5" name="Freeform 33">
                    <a:extLst>
                      <a:ext uri="{FF2B5EF4-FFF2-40B4-BE49-F238E27FC236}">
                        <a16:creationId xmlns:a16="http://schemas.microsoft.com/office/drawing/2014/main" id="{3232FE7D-46F9-4BB8-A680-B45DA439953C}"/>
                      </a:ext>
                    </a:extLst>
                  </p:cNvPr>
                  <p:cNvSpPr>
                    <a:spLocks/>
                  </p:cNvSpPr>
                  <p:nvPr/>
                </p:nvSpPr>
                <p:spPr bwMode="auto">
                  <a:xfrm>
                    <a:off x="3044" y="2088"/>
                    <a:ext cx="165" cy="294"/>
                  </a:xfrm>
                  <a:custGeom>
                    <a:avLst/>
                    <a:gdLst>
                      <a:gd name="T0" fmla="*/ 60 w 328"/>
                      <a:gd name="T1" fmla="*/ 0 h 589"/>
                      <a:gd name="T2" fmla="*/ 60 w 328"/>
                      <a:gd name="T3" fmla="*/ 0 h 589"/>
                      <a:gd name="T4" fmla="*/ 0 w 328"/>
                      <a:gd name="T5" fmla="*/ 8 h 589"/>
                      <a:gd name="T6" fmla="*/ 0 w 328"/>
                      <a:gd name="T7" fmla="*/ 8 h 589"/>
                      <a:gd name="T8" fmla="*/ 14 w 328"/>
                      <a:gd name="T9" fmla="*/ 21 h 589"/>
                      <a:gd name="T10" fmla="*/ 14 w 328"/>
                      <a:gd name="T11" fmla="*/ 21 h 589"/>
                      <a:gd name="T12" fmla="*/ 49 w 328"/>
                      <a:gd name="T13" fmla="*/ 55 h 589"/>
                      <a:gd name="T14" fmla="*/ 81 w 328"/>
                      <a:gd name="T15" fmla="*/ 91 h 589"/>
                      <a:gd name="T16" fmla="*/ 111 w 328"/>
                      <a:gd name="T17" fmla="*/ 128 h 589"/>
                      <a:gd name="T18" fmla="*/ 137 w 328"/>
                      <a:gd name="T19" fmla="*/ 168 h 589"/>
                      <a:gd name="T20" fmla="*/ 162 w 328"/>
                      <a:gd name="T21" fmla="*/ 206 h 589"/>
                      <a:gd name="T22" fmla="*/ 183 w 328"/>
                      <a:gd name="T23" fmla="*/ 246 h 589"/>
                      <a:gd name="T24" fmla="*/ 204 w 328"/>
                      <a:gd name="T25" fmla="*/ 286 h 589"/>
                      <a:gd name="T26" fmla="*/ 221 w 328"/>
                      <a:gd name="T27" fmla="*/ 326 h 589"/>
                      <a:gd name="T28" fmla="*/ 236 w 328"/>
                      <a:gd name="T29" fmla="*/ 365 h 589"/>
                      <a:gd name="T30" fmla="*/ 250 w 328"/>
                      <a:gd name="T31" fmla="*/ 402 h 589"/>
                      <a:gd name="T32" fmla="*/ 261 w 328"/>
                      <a:gd name="T33" fmla="*/ 439 h 589"/>
                      <a:gd name="T34" fmla="*/ 271 w 328"/>
                      <a:gd name="T35" fmla="*/ 474 h 589"/>
                      <a:gd name="T36" fmla="*/ 287 w 328"/>
                      <a:gd name="T37" fmla="*/ 538 h 589"/>
                      <a:gd name="T38" fmla="*/ 296 w 328"/>
                      <a:gd name="T39" fmla="*/ 589 h 589"/>
                      <a:gd name="T40" fmla="*/ 296 w 328"/>
                      <a:gd name="T41" fmla="*/ 589 h 589"/>
                      <a:gd name="T42" fmla="*/ 314 w 328"/>
                      <a:gd name="T43" fmla="*/ 549 h 589"/>
                      <a:gd name="T44" fmla="*/ 328 w 328"/>
                      <a:gd name="T45" fmla="*/ 506 h 589"/>
                      <a:gd name="T46" fmla="*/ 328 w 328"/>
                      <a:gd name="T47" fmla="*/ 506 h 589"/>
                      <a:gd name="T48" fmla="*/ 314 w 328"/>
                      <a:gd name="T49" fmla="*/ 452 h 589"/>
                      <a:gd name="T50" fmla="*/ 296 w 328"/>
                      <a:gd name="T51" fmla="*/ 391 h 589"/>
                      <a:gd name="T52" fmla="*/ 285 w 328"/>
                      <a:gd name="T53" fmla="*/ 359 h 589"/>
                      <a:gd name="T54" fmla="*/ 272 w 328"/>
                      <a:gd name="T55" fmla="*/ 327 h 589"/>
                      <a:gd name="T56" fmla="*/ 260 w 328"/>
                      <a:gd name="T57" fmla="*/ 294 h 589"/>
                      <a:gd name="T58" fmla="*/ 244 w 328"/>
                      <a:gd name="T59" fmla="*/ 260 h 589"/>
                      <a:gd name="T60" fmla="*/ 226 w 328"/>
                      <a:gd name="T61" fmla="*/ 227 h 589"/>
                      <a:gd name="T62" fmla="*/ 209 w 328"/>
                      <a:gd name="T63" fmla="*/ 193 h 589"/>
                      <a:gd name="T64" fmla="*/ 188 w 328"/>
                      <a:gd name="T65" fmla="*/ 158 h 589"/>
                      <a:gd name="T66" fmla="*/ 167 w 328"/>
                      <a:gd name="T67" fmla="*/ 126 h 589"/>
                      <a:gd name="T68" fmla="*/ 143 w 328"/>
                      <a:gd name="T69" fmla="*/ 93 h 589"/>
                      <a:gd name="T70" fmla="*/ 118 w 328"/>
                      <a:gd name="T71" fmla="*/ 61 h 589"/>
                      <a:gd name="T72" fmla="*/ 91 w 328"/>
                      <a:gd name="T73" fmla="*/ 31 h 589"/>
                      <a:gd name="T74" fmla="*/ 60 w 328"/>
                      <a:gd name="T75" fmla="*/ 0 h 589"/>
                      <a:gd name="T76" fmla="*/ 60 w 328"/>
                      <a:gd name="T77"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 h="589">
                        <a:moveTo>
                          <a:pt x="60" y="0"/>
                        </a:moveTo>
                        <a:lnTo>
                          <a:pt x="60" y="0"/>
                        </a:lnTo>
                        <a:lnTo>
                          <a:pt x="0" y="8"/>
                        </a:lnTo>
                        <a:lnTo>
                          <a:pt x="0" y="8"/>
                        </a:lnTo>
                        <a:lnTo>
                          <a:pt x="14" y="21"/>
                        </a:lnTo>
                        <a:lnTo>
                          <a:pt x="14" y="21"/>
                        </a:lnTo>
                        <a:lnTo>
                          <a:pt x="49" y="55"/>
                        </a:lnTo>
                        <a:lnTo>
                          <a:pt x="81" y="91"/>
                        </a:lnTo>
                        <a:lnTo>
                          <a:pt x="111" y="128"/>
                        </a:lnTo>
                        <a:lnTo>
                          <a:pt x="137" y="168"/>
                        </a:lnTo>
                        <a:lnTo>
                          <a:pt x="162" y="206"/>
                        </a:lnTo>
                        <a:lnTo>
                          <a:pt x="183" y="246"/>
                        </a:lnTo>
                        <a:lnTo>
                          <a:pt x="204" y="286"/>
                        </a:lnTo>
                        <a:lnTo>
                          <a:pt x="221" y="326"/>
                        </a:lnTo>
                        <a:lnTo>
                          <a:pt x="236" y="365"/>
                        </a:lnTo>
                        <a:lnTo>
                          <a:pt x="250" y="402"/>
                        </a:lnTo>
                        <a:lnTo>
                          <a:pt x="261" y="439"/>
                        </a:lnTo>
                        <a:lnTo>
                          <a:pt x="271" y="474"/>
                        </a:lnTo>
                        <a:lnTo>
                          <a:pt x="287" y="538"/>
                        </a:lnTo>
                        <a:lnTo>
                          <a:pt x="296" y="589"/>
                        </a:lnTo>
                        <a:lnTo>
                          <a:pt x="296" y="589"/>
                        </a:lnTo>
                        <a:lnTo>
                          <a:pt x="314" y="549"/>
                        </a:lnTo>
                        <a:lnTo>
                          <a:pt x="328" y="506"/>
                        </a:lnTo>
                        <a:lnTo>
                          <a:pt x="328" y="506"/>
                        </a:lnTo>
                        <a:lnTo>
                          <a:pt x="314" y="452"/>
                        </a:lnTo>
                        <a:lnTo>
                          <a:pt x="296" y="391"/>
                        </a:lnTo>
                        <a:lnTo>
                          <a:pt x="285" y="359"/>
                        </a:lnTo>
                        <a:lnTo>
                          <a:pt x="272" y="327"/>
                        </a:lnTo>
                        <a:lnTo>
                          <a:pt x="260" y="294"/>
                        </a:lnTo>
                        <a:lnTo>
                          <a:pt x="244" y="260"/>
                        </a:lnTo>
                        <a:lnTo>
                          <a:pt x="226" y="227"/>
                        </a:lnTo>
                        <a:lnTo>
                          <a:pt x="209" y="193"/>
                        </a:lnTo>
                        <a:lnTo>
                          <a:pt x="188" y="158"/>
                        </a:lnTo>
                        <a:lnTo>
                          <a:pt x="167" y="126"/>
                        </a:lnTo>
                        <a:lnTo>
                          <a:pt x="143" y="93"/>
                        </a:lnTo>
                        <a:lnTo>
                          <a:pt x="118" y="61"/>
                        </a:lnTo>
                        <a:lnTo>
                          <a:pt x="91" y="31"/>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6" name="Freeform 34">
                    <a:extLst>
                      <a:ext uri="{FF2B5EF4-FFF2-40B4-BE49-F238E27FC236}">
                        <a16:creationId xmlns:a16="http://schemas.microsoft.com/office/drawing/2014/main" id="{5F178FED-795E-47E3-977D-5080129E0E5A}"/>
                      </a:ext>
                    </a:extLst>
                  </p:cNvPr>
                  <p:cNvSpPr>
                    <a:spLocks/>
                  </p:cNvSpPr>
                  <p:nvPr/>
                </p:nvSpPr>
                <p:spPr bwMode="auto">
                  <a:xfrm>
                    <a:off x="2740" y="1964"/>
                    <a:ext cx="161" cy="45"/>
                  </a:xfrm>
                  <a:custGeom>
                    <a:avLst/>
                    <a:gdLst>
                      <a:gd name="T0" fmla="*/ 322 w 322"/>
                      <a:gd name="T1" fmla="*/ 49 h 90"/>
                      <a:gd name="T2" fmla="*/ 322 w 322"/>
                      <a:gd name="T3" fmla="*/ 49 h 90"/>
                      <a:gd name="T4" fmla="*/ 287 w 322"/>
                      <a:gd name="T5" fmla="*/ 38 h 90"/>
                      <a:gd name="T6" fmla="*/ 253 w 322"/>
                      <a:gd name="T7" fmla="*/ 30 h 90"/>
                      <a:gd name="T8" fmla="*/ 188 w 322"/>
                      <a:gd name="T9" fmla="*/ 16 h 90"/>
                      <a:gd name="T10" fmla="*/ 129 w 322"/>
                      <a:gd name="T11" fmla="*/ 6 h 90"/>
                      <a:gd name="T12" fmla="*/ 78 w 322"/>
                      <a:gd name="T13" fmla="*/ 0 h 90"/>
                      <a:gd name="T14" fmla="*/ 78 w 322"/>
                      <a:gd name="T15" fmla="*/ 0 h 90"/>
                      <a:gd name="T16" fmla="*/ 38 w 322"/>
                      <a:gd name="T17" fmla="*/ 19 h 90"/>
                      <a:gd name="T18" fmla="*/ 0 w 322"/>
                      <a:gd name="T19" fmla="*/ 41 h 90"/>
                      <a:gd name="T20" fmla="*/ 0 w 322"/>
                      <a:gd name="T21" fmla="*/ 41 h 90"/>
                      <a:gd name="T22" fmla="*/ 51 w 322"/>
                      <a:gd name="T23" fmla="*/ 44 h 90"/>
                      <a:gd name="T24" fmla="*/ 82 w 322"/>
                      <a:gd name="T25" fmla="*/ 47 h 90"/>
                      <a:gd name="T26" fmla="*/ 119 w 322"/>
                      <a:gd name="T27" fmla="*/ 52 h 90"/>
                      <a:gd name="T28" fmla="*/ 159 w 322"/>
                      <a:gd name="T29" fmla="*/ 59 h 90"/>
                      <a:gd name="T30" fmla="*/ 202 w 322"/>
                      <a:gd name="T31" fmla="*/ 67 h 90"/>
                      <a:gd name="T32" fmla="*/ 248 w 322"/>
                      <a:gd name="T33" fmla="*/ 78 h 90"/>
                      <a:gd name="T34" fmla="*/ 295 w 322"/>
                      <a:gd name="T35" fmla="*/ 90 h 90"/>
                      <a:gd name="T36" fmla="*/ 295 w 322"/>
                      <a:gd name="T37" fmla="*/ 90 h 90"/>
                      <a:gd name="T38" fmla="*/ 322 w 322"/>
                      <a:gd name="T39" fmla="*/ 49 h 90"/>
                      <a:gd name="T40" fmla="*/ 322 w 322"/>
                      <a:gd name="T41" fmla="*/ 4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2" h="90">
                        <a:moveTo>
                          <a:pt x="322" y="49"/>
                        </a:moveTo>
                        <a:lnTo>
                          <a:pt x="322" y="49"/>
                        </a:lnTo>
                        <a:lnTo>
                          <a:pt x="287" y="38"/>
                        </a:lnTo>
                        <a:lnTo>
                          <a:pt x="253" y="30"/>
                        </a:lnTo>
                        <a:lnTo>
                          <a:pt x="188" y="16"/>
                        </a:lnTo>
                        <a:lnTo>
                          <a:pt x="129" y="6"/>
                        </a:lnTo>
                        <a:lnTo>
                          <a:pt x="78" y="0"/>
                        </a:lnTo>
                        <a:lnTo>
                          <a:pt x="78" y="0"/>
                        </a:lnTo>
                        <a:lnTo>
                          <a:pt x="38" y="19"/>
                        </a:lnTo>
                        <a:lnTo>
                          <a:pt x="0" y="41"/>
                        </a:lnTo>
                        <a:lnTo>
                          <a:pt x="0" y="41"/>
                        </a:lnTo>
                        <a:lnTo>
                          <a:pt x="51" y="44"/>
                        </a:lnTo>
                        <a:lnTo>
                          <a:pt x="82" y="47"/>
                        </a:lnTo>
                        <a:lnTo>
                          <a:pt x="119" y="52"/>
                        </a:lnTo>
                        <a:lnTo>
                          <a:pt x="159" y="59"/>
                        </a:lnTo>
                        <a:lnTo>
                          <a:pt x="202" y="67"/>
                        </a:lnTo>
                        <a:lnTo>
                          <a:pt x="248" y="78"/>
                        </a:lnTo>
                        <a:lnTo>
                          <a:pt x="295" y="90"/>
                        </a:lnTo>
                        <a:lnTo>
                          <a:pt x="295" y="90"/>
                        </a:lnTo>
                        <a:lnTo>
                          <a:pt x="322" y="49"/>
                        </a:lnTo>
                        <a:lnTo>
                          <a:pt x="32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7" name="Freeform 35">
                    <a:extLst>
                      <a:ext uri="{FF2B5EF4-FFF2-40B4-BE49-F238E27FC236}">
                        <a16:creationId xmlns:a16="http://schemas.microsoft.com/office/drawing/2014/main" id="{C5D8C48E-8F44-4B9E-9E76-C5B46FE12F90}"/>
                      </a:ext>
                    </a:extLst>
                  </p:cNvPr>
                  <p:cNvSpPr>
                    <a:spLocks/>
                  </p:cNvSpPr>
                  <p:nvPr/>
                </p:nvSpPr>
                <p:spPr bwMode="auto">
                  <a:xfrm>
                    <a:off x="2911" y="1996"/>
                    <a:ext cx="140" cy="76"/>
                  </a:xfrm>
                  <a:custGeom>
                    <a:avLst/>
                    <a:gdLst>
                      <a:gd name="T0" fmla="*/ 216 w 279"/>
                      <a:gd name="T1" fmla="*/ 151 h 151"/>
                      <a:gd name="T2" fmla="*/ 216 w 279"/>
                      <a:gd name="T3" fmla="*/ 151 h 151"/>
                      <a:gd name="T4" fmla="*/ 279 w 279"/>
                      <a:gd name="T5" fmla="*/ 140 h 151"/>
                      <a:gd name="T6" fmla="*/ 279 w 279"/>
                      <a:gd name="T7" fmla="*/ 140 h 151"/>
                      <a:gd name="T8" fmla="*/ 249 w 279"/>
                      <a:gd name="T9" fmla="*/ 116 h 151"/>
                      <a:gd name="T10" fmla="*/ 219 w 279"/>
                      <a:gd name="T11" fmla="*/ 96 h 151"/>
                      <a:gd name="T12" fmla="*/ 187 w 279"/>
                      <a:gd name="T13" fmla="*/ 75 h 151"/>
                      <a:gd name="T14" fmla="*/ 155 w 279"/>
                      <a:gd name="T15" fmla="*/ 57 h 151"/>
                      <a:gd name="T16" fmla="*/ 123 w 279"/>
                      <a:gd name="T17" fmla="*/ 41 h 151"/>
                      <a:gd name="T18" fmla="*/ 90 w 279"/>
                      <a:gd name="T19" fmla="*/ 25 h 151"/>
                      <a:gd name="T20" fmla="*/ 58 w 279"/>
                      <a:gd name="T21" fmla="*/ 11 h 151"/>
                      <a:gd name="T22" fmla="*/ 26 w 279"/>
                      <a:gd name="T23" fmla="*/ 0 h 151"/>
                      <a:gd name="T24" fmla="*/ 26 w 279"/>
                      <a:gd name="T25" fmla="*/ 0 h 151"/>
                      <a:gd name="T26" fmla="*/ 0 w 279"/>
                      <a:gd name="T27" fmla="*/ 41 h 151"/>
                      <a:gd name="T28" fmla="*/ 0 w 279"/>
                      <a:gd name="T29" fmla="*/ 41 h 151"/>
                      <a:gd name="T30" fmla="*/ 55 w 279"/>
                      <a:gd name="T31" fmla="*/ 62 h 151"/>
                      <a:gd name="T32" fmla="*/ 82 w 279"/>
                      <a:gd name="T33" fmla="*/ 73 h 151"/>
                      <a:gd name="T34" fmla="*/ 109 w 279"/>
                      <a:gd name="T35" fmla="*/ 88 h 151"/>
                      <a:gd name="T36" fmla="*/ 136 w 279"/>
                      <a:gd name="T37" fmla="*/ 102 h 151"/>
                      <a:gd name="T38" fmla="*/ 163 w 279"/>
                      <a:gd name="T39" fmla="*/ 116 h 151"/>
                      <a:gd name="T40" fmla="*/ 190 w 279"/>
                      <a:gd name="T41" fmla="*/ 132 h 151"/>
                      <a:gd name="T42" fmla="*/ 216 w 279"/>
                      <a:gd name="T43" fmla="*/ 151 h 151"/>
                      <a:gd name="T44" fmla="*/ 216 w 279"/>
                      <a:gd name="T45"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9" h="151">
                        <a:moveTo>
                          <a:pt x="216" y="151"/>
                        </a:moveTo>
                        <a:lnTo>
                          <a:pt x="216" y="151"/>
                        </a:lnTo>
                        <a:lnTo>
                          <a:pt x="279" y="140"/>
                        </a:lnTo>
                        <a:lnTo>
                          <a:pt x="279" y="140"/>
                        </a:lnTo>
                        <a:lnTo>
                          <a:pt x="249" y="116"/>
                        </a:lnTo>
                        <a:lnTo>
                          <a:pt x="219" y="96"/>
                        </a:lnTo>
                        <a:lnTo>
                          <a:pt x="187" y="75"/>
                        </a:lnTo>
                        <a:lnTo>
                          <a:pt x="155" y="57"/>
                        </a:lnTo>
                        <a:lnTo>
                          <a:pt x="123" y="41"/>
                        </a:lnTo>
                        <a:lnTo>
                          <a:pt x="90" y="25"/>
                        </a:lnTo>
                        <a:lnTo>
                          <a:pt x="58" y="11"/>
                        </a:lnTo>
                        <a:lnTo>
                          <a:pt x="26" y="0"/>
                        </a:lnTo>
                        <a:lnTo>
                          <a:pt x="26" y="0"/>
                        </a:lnTo>
                        <a:lnTo>
                          <a:pt x="0" y="41"/>
                        </a:lnTo>
                        <a:lnTo>
                          <a:pt x="0" y="41"/>
                        </a:lnTo>
                        <a:lnTo>
                          <a:pt x="55" y="62"/>
                        </a:lnTo>
                        <a:lnTo>
                          <a:pt x="82" y="73"/>
                        </a:lnTo>
                        <a:lnTo>
                          <a:pt x="109" y="88"/>
                        </a:lnTo>
                        <a:lnTo>
                          <a:pt x="136" y="102"/>
                        </a:lnTo>
                        <a:lnTo>
                          <a:pt x="163" y="116"/>
                        </a:lnTo>
                        <a:lnTo>
                          <a:pt x="190" y="132"/>
                        </a:lnTo>
                        <a:lnTo>
                          <a:pt x="216" y="151"/>
                        </a:lnTo>
                        <a:lnTo>
                          <a:pt x="21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8" name="Freeform 36">
                    <a:extLst>
                      <a:ext uri="{FF2B5EF4-FFF2-40B4-BE49-F238E27FC236}">
                        <a16:creationId xmlns:a16="http://schemas.microsoft.com/office/drawing/2014/main" id="{7E05B55F-0A8D-4141-8C6C-82547AB174AA}"/>
                      </a:ext>
                    </a:extLst>
                  </p:cNvPr>
                  <p:cNvSpPr>
                    <a:spLocks/>
                  </p:cNvSpPr>
                  <p:nvPr/>
                </p:nvSpPr>
                <p:spPr bwMode="auto">
                  <a:xfrm>
                    <a:off x="3019" y="2067"/>
                    <a:ext cx="56" cy="25"/>
                  </a:xfrm>
                  <a:custGeom>
                    <a:avLst/>
                    <a:gdLst>
                      <a:gd name="T0" fmla="*/ 63 w 111"/>
                      <a:gd name="T1" fmla="*/ 0 h 51"/>
                      <a:gd name="T2" fmla="*/ 63 w 111"/>
                      <a:gd name="T3" fmla="*/ 0 h 51"/>
                      <a:gd name="T4" fmla="*/ 0 w 111"/>
                      <a:gd name="T5" fmla="*/ 11 h 51"/>
                      <a:gd name="T6" fmla="*/ 0 w 111"/>
                      <a:gd name="T7" fmla="*/ 11 h 51"/>
                      <a:gd name="T8" fmla="*/ 25 w 111"/>
                      <a:gd name="T9" fmla="*/ 31 h 51"/>
                      <a:gd name="T10" fmla="*/ 51 w 111"/>
                      <a:gd name="T11" fmla="*/ 51 h 51"/>
                      <a:gd name="T12" fmla="*/ 51 w 111"/>
                      <a:gd name="T13" fmla="*/ 51 h 51"/>
                      <a:gd name="T14" fmla="*/ 111 w 111"/>
                      <a:gd name="T15" fmla="*/ 43 h 51"/>
                      <a:gd name="T16" fmla="*/ 111 w 111"/>
                      <a:gd name="T17" fmla="*/ 43 h 51"/>
                      <a:gd name="T18" fmla="*/ 97 w 111"/>
                      <a:gd name="T19" fmla="*/ 29 h 51"/>
                      <a:gd name="T20" fmla="*/ 97 w 111"/>
                      <a:gd name="T21" fmla="*/ 29 h 51"/>
                      <a:gd name="T22" fmla="*/ 63 w 111"/>
                      <a:gd name="T23" fmla="*/ 0 h 51"/>
                      <a:gd name="T24" fmla="*/ 63 w 111"/>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51">
                        <a:moveTo>
                          <a:pt x="63" y="0"/>
                        </a:moveTo>
                        <a:lnTo>
                          <a:pt x="63" y="0"/>
                        </a:lnTo>
                        <a:lnTo>
                          <a:pt x="0" y="11"/>
                        </a:lnTo>
                        <a:lnTo>
                          <a:pt x="0" y="11"/>
                        </a:lnTo>
                        <a:lnTo>
                          <a:pt x="25" y="31"/>
                        </a:lnTo>
                        <a:lnTo>
                          <a:pt x="51" y="51"/>
                        </a:lnTo>
                        <a:lnTo>
                          <a:pt x="51" y="51"/>
                        </a:lnTo>
                        <a:lnTo>
                          <a:pt x="111" y="43"/>
                        </a:lnTo>
                        <a:lnTo>
                          <a:pt x="111" y="43"/>
                        </a:lnTo>
                        <a:lnTo>
                          <a:pt x="97" y="29"/>
                        </a:lnTo>
                        <a:lnTo>
                          <a:pt x="97" y="29"/>
                        </a:lnTo>
                        <a:lnTo>
                          <a:pt x="63" y="0"/>
                        </a:lnTo>
                        <a:lnTo>
                          <a:pt x="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9" name="Freeform 37">
                    <a:extLst>
                      <a:ext uri="{FF2B5EF4-FFF2-40B4-BE49-F238E27FC236}">
                        <a16:creationId xmlns:a16="http://schemas.microsoft.com/office/drawing/2014/main" id="{579BE1FA-890F-4FBC-8F50-B739450D46C5}"/>
                      </a:ext>
                    </a:extLst>
                  </p:cNvPr>
                  <p:cNvSpPr>
                    <a:spLocks/>
                  </p:cNvSpPr>
                  <p:nvPr/>
                </p:nvSpPr>
                <p:spPr bwMode="auto">
                  <a:xfrm>
                    <a:off x="2887" y="1989"/>
                    <a:ext cx="37" cy="28"/>
                  </a:xfrm>
                  <a:custGeom>
                    <a:avLst/>
                    <a:gdLst>
                      <a:gd name="T0" fmla="*/ 73 w 73"/>
                      <a:gd name="T1" fmla="*/ 16 h 57"/>
                      <a:gd name="T2" fmla="*/ 73 w 73"/>
                      <a:gd name="T3" fmla="*/ 16 h 57"/>
                      <a:gd name="T4" fmla="*/ 27 w 73"/>
                      <a:gd name="T5" fmla="*/ 0 h 57"/>
                      <a:gd name="T6" fmla="*/ 27 w 73"/>
                      <a:gd name="T7" fmla="*/ 0 h 57"/>
                      <a:gd name="T8" fmla="*/ 0 w 73"/>
                      <a:gd name="T9" fmla="*/ 41 h 57"/>
                      <a:gd name="T10" fmla="*/ 0 w 73"/>
                      <a:gd name="T11" fmla="*/ 41 h 57"/>
                      <a:gd name="T12" fmla="*/ 47 w 73"/>
                      <a:gd name="T13" fmla="*/ 57 h 57"/>
                      <a:gd name="T14" fmla="*/ 47 w 73"/>
                      <a:gd name="T15" fmla="*/ 57 h 57"/>
                      <a:gd name="T16" fmla="*/ 73 w 73"/>
                      <a:gd name="T17" fmla="*/ 16 h 57"/>
                      <a:gd name="T18" fmla="*/ 73 w 73"/>
                      <a:gd name="T19" fmla="*/ 1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57">
                        <a:moveTo>
                          <a:pt x="73" y="16"/>
                        </a:moveTo>
                        <a:lnTo>
                          <a:pt x="73" y="16"/>
                        </a:lnTo>
                        <a:lnTo>
                          <a:pt x="27" y="0"/>
                        </a:lnTo>
                        <a:lnTo>
                          <a:pt x="27" y="0"/>
                        </a:lnTo>
                        <a:lnTo>
                          <a:pt x="0" y="41"/>
                        </a:lnTo>
                        <a:lnTo>
                          <a:pt x="0" y="41"/>
                        </a:lnTo>
                        <a:lnTo>
                          <a:pt x="47" y="57"/>
                        </a:lnTo>
                        <a:lnTo>
                          <a:pt x="47" y="57"/>
                        </a:lnTo>
                        <a:lnTo>
                          <a:pt x="73" y="16"/>
                        </a:lnTo>
                        <a:lnTo>
                          <a:pt x="73"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
              <p:nvSpPr>
                <p:cNvPr id="573" name="Freeform 6">
                  <a:extLst>
                    <a:ext uri="{FF2B5EF4-FFF2-40B4-BE49-F238E27FC236}">
                      <a16:creationId xmlns:a16="http://schemas.microsoft.com/office/drawing/2014/main" id="{5B6DCF75-9CB2-4CCC-AE43-A67DBEE3B513}"/>
                    </a:ext>
                  </a:extLst>
                </p:cNvPr>
                <p:cNvSpPr>
                  <a:spLocks noEditPoints="1"/>
                </p:cNvSpPr>
                <p:nvPr/>
              </p:nvSpPr>
              <p:spPr bwMode="auto">
                <a:xfrm>
                  <a:off x="7710459" y="3446855"/>
                  <a:ext cx="329518" cy="318074"/>
                </a:xfrm>
                <a:custGeom>
                  <a:avLst/>
                  <a:gdLst>
                    <a:gd name="T0" fmla="*/ 360 w 465"/>
                    <a:gd name="T1" fmla="*/ 248 h 448"/>
                    <a:gd name="T2" fmla="*/ 281 w 465"/>
                    <a:gd name="T3" fmla="*/ 281 h 448"/>
                    <a:gd name="T4" fmla="*/ 199 w 465"/>
                    <a:gd name="T5" fmla="*/ 248 h 448"/>
                    <a:gd name="T6" fmla="*/ 199 w 465"/>
                    <a:gd name="T7" fmla="*/ 87 h 448"/>
                    <a:gd name="T8" fmla="*/ 281 w 465"/>
                    <a:gd name="T9" fmla="*/ 53 h 448"/>
                    <a:gd name="T10" fmla="*/ 360 w 465"/>
                    <a:gd name="T11" fmla="*/ 87 h 448"/>
                    <a:gd name="T12" fmla="*/ 394 w 465"/>
                    <a:gd name="T13" fmla="*/ 168 h 448"/>
                    <a:gd name="T14" fmla="*/ 360 w 465"/>
                    <a:gd name="T15" fmla="*/ 248 h 448"/>
                    <a:gd name="T16" fmla="*/ 398 w 465"/>
                    <a:gd name="T17" fmla="*/ 49 h 448"/>
                    <a:gd name="T18" fmla="*/ 281 w 465"/>
                    <a:gd name="T19" fmla="*/ 0 h 448"/>
                    <a:gd name="T20" fmla="*/ 160 w 465"/>
                    <a:gd name="T21" fmla="*/ 49 h 448"/>
                    <a:gd name="T22" fmla="*/ 137 w 465"/>
                    <a:gd name="T23" fmla="*/ 257 h 448"/>
                    <a:gd name="T24" fmla="*/ 11 w 465"/>
                    <a:gd name="T25" fmla="*/ 385 h 448"/>
                    <a:gd name="T26" fmla="*/ 11 w 465"/>
                    <a:gd name="T27" fmla="*/ 423 h 448"/>
                    <a:gd name="T28" fmla="*/ 25 w 465"/>
                    <a:gd name="T29" fmla="*/ 437 h 448"/>
                    <a:gd name="T30" fmla="*/ 63 w 465"/>
                    <a:gd name="T31" fmla="*/ 437 h 448"/>
                    <a:gd name="T32" fmla="*/ 191 w 465"/>
                    <a:gd name="T33" fmla="*/ 310 h 448"/>
                    <a:gd name="T34" fmla="*/ 281 w 465"/>
                    <a:gd name="T35" fmla="*/ 335 h 448"/>
                    <a:gd name="T36" fmla="*/ 398 w 465"/>
                    <a:gd name="T37" fmla="*/ 287 h 448"/>
                    <a:gd name="T38" fmla="*/ 398 w 465"/>
                    <a:gd name="T39" fmla="*/ 49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5" h="448">
                      <a:moveTo>
                        <a:pt x="360" y="248"/>
                      </a:moveTo>
                      <a:cubicBezTo>
                        <a:pt x="339" y="269"/>
                        <a:pt x="310" y="281"/>
                        <a:pt x="281" y="281"/>
                      </a:cubicBezTo>
                      <a:cubicBezTo>
                        <a:pt x="250" y="281"/>
                        <a:pt x="221" y="269"/>
                        <a:pt x="199" y="248"/>
                      </a:cubicBezTo>
                      <a:cubicBezTo>
                        <a:pt x="155" y="203"/>
                        <a:pt x="155" y="131"/>
                        <a:pt x="199" y="87"/>
                      </a:cubicBezTo>
                      <a:cubicBezTo>
                        <a:pt x="221" y="65"/>
                        <a:pt x="250" y="53"/>
                        <a:pt x="281" y="53"/>
                      </a:cubicBezTo>
                      <a:cubicBezTo>
                        <a:pt x="310" y="53"/>
                        <a:pt x="339" y="65"/>
                        <a:pt x="360" y="87"/>
                      </a:cubicBezTo>
                      <a:cubicBezTo>
                        <a:pt x="382" y="108"/>
                        <a:pt x="394" y="137"/>
                        <a:pt x="394" y="168"/>
                      </a:cubicBezTo>
                      <a:cubicBezTo>
                        <a:pt x="394" y="197"/>
                        <a:pt x="382" y="226"/>
                        <a:pt x="360" y="248"/>
                      </a:cubicBezTo>
                      <a:close/>
                      <a:moveTo>
                        <a:pt x="398" y="49"/>
                      </a:moveTo>
                      <a:cubicBezTo>
                        <a:pt x="365" y="16"/>
                        <a:pt x="323" y="0"/>
                        <a:pt x="281" y="0"/>
                      </a:cubicBezTo>
                      <a:cubicBezTo>
                        <a:pt x="238" y="0"/>
                        <a:pt x="194" y="16"/>
                        <a:pt x="160" y="49"/>
                      </a:cubicBezTo>
                      <a:cubicBezTo>
                        <a:pt x="104" y="106"/>
                        <a:pt x="98" y="192"/>
                        <a:pt x="137" y="257"/>
                      </a:cubicBezTo>
                      <a:cubicBezTo>
                        <a:pt x="137" y="257"/>
                        <a:pt x="137" y="257"/>
                        <a:pt x="11" y="385"/>
                      </a:cubicBezTo>
                      <a:cubicBezTo>
                        <a:pt x="0" y="394"/>
                        <a:pt x="0" y="412"/>
                        <a:pt x="11" y="423"/>
                      </a:cubicBezTo>
                      <a:cubicBezTo>
                        <a:pt x="11" y="423"/>
                        <a:pt x="11" y="423"/>
                        <a:pt x="25" y="437"/>
                      </a:cubicBezTo>
                      <a:cubicBezTo>
                        <a:pt x="36" y="448"/>
                        <a:pt x="54" y="448"/>
                        <a:pt x="63" y="437"/>
                      </a:cubicBezTo>
                      <a:cubicBezTo>
                        <a:pt x="63" y="437"/>
                        <a:pt x="63" y="437"/>
                        <a:pt x="191" y="310"/>
                      </a:cubicBezTo>
                      <a:cubicBezTo>
                        <a:pt x="219" y="327"/>
                        <a:pt x="249" y="335"/>
                        <a:pt x="281" y="335"/>
                      </a:cubicBezTo>
                      <a:cubicBezTo>
                        <a:pt x="323" y="335"/>
                        <a:pt x="365" y="319"/>
                        <a:pt x="398" y="287"/>
                      </a:cubicBezTo>
                      <a:cubicBezTo>
                        <a:pt x="465" y="221"/>
                        <a:pt x="465" y="114"/>
                        <a:pt x="398" y="49"/>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828">
                        <a:lumMod val="75000"/>
                        <a:lumOff val="25000"/>
                      </a:srgbClr>
                    </a:solidFill>
                    <a:effectLst/>
                    <a:uLnTx/>
                    <a:uFillTx/>
                    <a:latin typeface="CiscoSansTT ExtraLight" panose="020B0303020201020303" pitchFamily="34" charset="0"/>
                    <a:ea typeface="ＭＳ Ｐゴシック" charset="0"/>
                    <a:cs typeface="CiscoSansTT ExtraLight" panose="020B0303020201020303" pitchFamily="34" charset="0"/>
                  </a:endParaRPr>
                </a:p>
              </p:txBody>
            </p:sp>
          </p:grpSp>
        </p:grpSp>
        <p:sp>
          <p:nvSpPr>
            <p:cNvPr id="241" name="Rounded Rectangle 114">
              <a:extLst>
                <a:ext uri="{FF2B5EF4-FFF2-40B4-BE49-F238E27FC236}">
                  <a16:creationId xmlns:a16="http://schemas.microsoft.com/office/drawing/2014/main" id="{468FD4CE-D153-4E3B-A891-4C578BF5ABD5}"/>
                </a:ext>
              </a:extLst>
            </p:cNvPr>
            <p:cNvSpPr/>
            <p:nvPr/>
          </p:nvSpPr>
          <p:spPr>
            <a:xfrm>
              <a:off x="7353916" y="2388999"/>
              <a:ext cx="1277919" cy="612993"/>
            </a:xfrm>
            <a:prstGeom prst="roundRect">
              <a:avLst>
                <a:gd name="adj" fmla="val 50000"/>
              </a:avLst>
            </a:prstGeom>
            <a:ln w="12700" cap="rnd" cmpd="sng">
              <a:solidFill>
                <a:schemeClr val="accent3"/>
              </a:solidFill>
              <a:prstDash val="dash"/>
              <a:headEnd type="none" w="med" len="med"/>
              <a:tailEnd type="none" w="lg" len="lg"/>
            </a:ln>
            <a:effectLst/>
          </p:spPr>
          <p:style>
            <a:lnRef idx="2">
              <a:schemeClr val="accent4"/>
            </a:lnRef>
            <a:fillRef idx="0">
              <a:schemeClr val="accent4"/>
            </a:fillRef>
            <a:effectRef idx="1">
              <a:schemeClr val="accent4"/>
            </a:effectRef>
            <a:fontRef idx="minor">
              <a:schemeClr val="tx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lumMod val="75000"/>
                    <a:lumOff val="25000"/>
                  </a:srgbClr>
                </a:solidFill>
                <a:effectLst/>
                <a:uLnTx/>
                <a:uFillTx/>
                <a:latin typeface="CiscoSansTT ExtraLight"/>
                <a:ea typeface="+mn-ea"/>
                <a:cs typeface="+mn-cs"/>
              </a:endParaRPr>
            </a:p>
          </p:txBody>
        </p:sp>
      </p:grpSp>
      <p:grpSp>
        <p:nvGrpSpPr>
          <p:cNvPr id="29" name="Group 28">
            <a:extLst>
              <a:ext uri="{FF2B5EF4-FFF2-40B4-BE49-F238E27FC236}">
                <a16:creationId xmlns:a16="http://schemas.microsoft.com/office/drawing/2014/main" id="{90E44C3B-1557-4368-8B37-A85912187E22}"/>
              </a:ext>
            </a:extLst>
          </p:cNvPr>
          <p:cNvGrpSpPr/>
          <p:nvPr/>
        </p:nvGrpSpPr>
        <p:grpSpPr>
          <a:xfrm>
            <a:off x="2127970" y="2526218"/>
            <a:ext cx="2085091" cy="1286857"/>
            <a:chOff x="2127970" y="2526218"/>
            <a:chExt cx="2085091" cy="1286857"/>
          </a:xfrm>
        </p:grpSpPr>
        <p:sp>
          <p:nvSpPr>
            <p:cNvPr id="540" name="TextBox 539">
              <a:extLst>
                <a:ext uri="{FF2B5EF4-FFF2-40B4-BE49-F238E27FC236}">
                  <a16:creationId xmlns:a16="http://schemas.microsoft.com/office/drawing/2014/main" id="{81C188F1-F495-4213-8A18-FE8D0520A32F}"/>
                </a:ext>
              </a:extLst>
            </p:cNvPr>
            <p:cNvSpPr txBox="1"/>
            <p:nvPr/>
          </p:nvSpPr>
          <p:spPr>
            <a:xfrm>
              <a:off x="2127970" y="3240017"/>
              <a:ext cx="700261" cy="338554"/>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5073"/>
                  </a:solidFill>
                  <a:effectLst/>
                  <a:uLnTx/>
                  <a:uFillTx/>
                  <a:latin typeface="CiscoSansTT ExtraLight" panose="020B0303020201020303" pitchFamily="34" charset="0"/>
                  <a:ea typeface="Arial" charset="0"/>
                  <a:cs typeface="CiscoSansTT ExtraLight" panose="020B0303020201020303" pitchFamily="34" charset="0"/>
                </a:rPr>
                <a:t>UDP Director</a:t>
              </a:r>
            </a:p>
          </p:txBody>
        </p:sp>
        <p:sp>
          <p:nvSpPr>
            <p:cNvPr id="541" name="TextBox 540">
              <a:extLst>
                <a:ext uri="{FF2B5EF4-FFF2-40B4-BE49-F238E27FC236}">
                  <a16:creationId xmlns:a16="http://schemas.microsoft.com/office/drawing/2014/main" id="{6E9B3602-103D-4FDA-BF92-D9D54B54AE2A}"/>
                </a:ext>
              </a:extLst>
            </p:cNvPr>
            <p:cNvSpPr txBox="1"/>
            <p:nvPr/>
          </p:nvSpPr>
          <p:spPr>
            <a:xfrm>
              <a:off x="3132138" y="2526218"/>
              <a:ext cx="1080923" cy="338554"/>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BAB18">
                      <a:lumMod val="75000"/>
                    </a:srgbClr>
                  </a:solidFill>
                  <a:effectLst/>
                  <a:uLnTx/>
                  <a:uFillTx/>
                  <a:latin typeface="CiscoSansTT ExtraLight" panose="020B0303020201020303" pitchFamily="34" charset="0"/>
                  <a:ea typeface="Arial" charset="0"/>
                  <a:cs typeface="CiscoSansTT ExtraLight" panose="020B0303020201020303" pitchFamily="34" charset="0"/>
                </a:rPr>
                <a:t>Other Traffic Analysis Software</a:t>
              </a:r>
            </a:p>
          </p:txBody>
        </p:sp>
        <p:grpSp>
          <p:nvGrpSpPr>
            <p:cNvPr id="542" name="Group 541">
              <a:extLst>
                <a:ext uri="{FF2B5EF4-FFF2-40B4-BE49-F238E27FC236}">
                  <a16:creationId xmlns:a16="http://schemas.microsoft.com/office/drawing/2014/main" id="{7D4BC20D-17BF-487E-8782-BD2E6B225513}"/>
                </a:ext>
              </a:extLst>
            </p:cNvPr>
            <p:cNvGrpSpPr>
              <a:grpSpLocks noChangeAspect="1"/>
            </p:cNvGrpSpPr>
            <p:nvPr/>
          </p:nvGrpSpPr>
          <p:grpSpPr>
            <a:xfrm>
              <a:off x="2889296" y="2558313"/>
              <a:ext cx="274320" cy="274365"/>
              <a:chOff x="2456532" y="3429120"/>
              <a:chExt cx="548550" cy="548640"/>
            </a:xfrm>
          </p:grpSpPr>
          <p:grpSp>
            <p:nvGrpSpPr>
              <p:cNvPr id="543" name="Group 542">
                <a:extLst>
                  <a:ext uri="{FF2B5EF4-FFF2-40B4-BE49-F238E27FC236}">
                    <a16:creationId xmlns:a16="http://schemas.microsoft.com/office/drawing/2014/main" id="{30A1699B-8652-41ED-8804-15B3D2CBCD30}"/>
                  </a:ext>
                </a:extLst>
              </p:cNvPr>
              <p:cNvGrpSpPr>
                <a:grpSpLocks noChangeAspect="1"/>
              </p:cNvGrpSpPr>
              <p:nvPr/>
            </p:nvGrpSpPr>
            <p:grpSpPr>
              <a:xfrm>
                <a:off x="2456532" y="3429120"/>
                <a:ext cx="548550" cy="548640"/>
                <a:chOff x="4802809" y="244489"/>
                <a:chExt cx="1188533" cy="1188720"/>
              </a:xfrm>
            </p:grpSpPr>
            <p:sp>
              <p:nvSpPr>
                <p:cNvPr id="547" name="Oval 546">
                  <a:extLst>
                    <a:ext uri="{FF2B5EF4-FFF2-40B4-BE49-F238E27FC236}">
                      <a16:creationId xmlns:a16="http://schemas.microsoft.com/office/drawing/2014/main" id="{245BFDED-EAEC-40A6-9B30-0BC8215C5651}"/>
                    </a:ext>
                  </a:extLst>
                </p:cNvPr>
                <p:cNvSpPr/>
                <p:nvPr/>
              </p:nvSpPr>
              <p:spPr>
                <a:xfrm>
                  <a:off x="4802809" y="244489"/>
                  <a:ext cx="1188533" cy="1188720"/>
                </a:xfrm>
                <a:prstGeom prst="ellipse">
                  <a:avLst/>
                </a:prstGeom>
                <a:solidFill>
                  <a:schemeClr val="accent5"/>
                </a:solidFill>
                <a:ln w="25400" cap="flat" cmpd="sng" algn="ctr">
                  <a:noFill/>
                  <a:prstDash val="solid"/>
                </a:ln>
                <a:effectLst/>
              </p:spPr>
              <p:txBody>
                <a:bodyPr rot="0" spcFirstLastPara="0" vertOverflow="overflow" horzOverflow="overflow" vert="horz" wrap="square" lIns="457200" tIns="45720" rIns="457200" bIns="45720" numCol="1" spcCol="0" rtlCol="0" fromWordArt="0" anchor="ctr" anchorCtr="1" forceAA="0" compatLnSpc="1">
                  <a:prstTxWarp prst="textNoShape">
                    <a:avLst/>
                  </a:prstTxWarp>
                  <a:noAutofit/>
                </a:bodyPr>
                <a:lstStyle/>
                <a:p>
                  <a:pPr marL="0" marR="0" lvl="0" indent="0" algn="ctr" defTabSz="685813" rtl="0" eaLnBrk="1" fontAlgn="auto" latinLnBrk="0" hangingPunct="1">
                    <a:lnSpc>
                      <a:spcPct val="90000"/>
                    </a:lnSpc>
                    <a:spcBef>
                      <a:spcPts val="0"/>
                    </a:spcBef>
                    <a:spcAft>
                      <a:spcPts val="0"/>
                    </a:spcAft>
                    <a:buClrTx/>
                    <a:buSzTx/>
                    <a:buFontTx/>
                    <a:buNone/>
                    <a:tabLst/>
                    <a:defRPr/>
                  </a:pPr>
                  <a:endParaRPr kumimoji="0" lang="en-US" sz="2100" b="1" i="0" u="none" strike="noStrike" kern="0" cap="none" spc="0" normalizeH="0" baseline="0" noProof="0" dirty="0">
                    <a:ln>
                      <a:noFill/>
                    </a:ln>
                    <a:solidFill>
                      <a:srgbClr val="FFFFFF"/>
                    </a:solidFill>
                    <a:effectLst/>
                    <a:uLnTx/>
                    <a:uFillTx/>
                    <a:latin typeface="Arial" charset="0"/>
                    <a:ea typeface="ＭＳ Ｐゴシック" charset="0"/>
                  </a:endParaRPr>
                </a:p>
              </p:txBody>
            </p:sp>
            <p:grpSp>
              <p:nvGrpSpPr>
                <p:cNvPr id="548" name="Group 221">
                  <a:extLst>
                    <a:ext uri="{FF2B5EF4-FFF2-40B4-BE49-F238E27FC236}">
                      <a16:creationId xmlns:a16="http://schemas.microsoft.com/office/drawing/2014/main" id="{2D6559F6-AB98-4893-BB8E-52C2977EB0B7}"/>
                    </a:ext>
                  </a:extLst>
                </p:cNvPr>
                <p:cNvGrpSpPr>
                  <a:grpSpLocks noChangeAspect="1"/>
                </p:cNvGrpSpPr>
                <p:nvPr/>
              </p:nvGrpSpPr>
              <p:grpSpPr bwMode="auto">
                <a:xfrm>
                  <a:off x="4937229" y="575210"/>
                  <a:ext cx="919693" cy="527277"/>
                  <a:chOff x="2049" y="1143"/>
                  <a:chExt cx="1664" cy="954"/>
                </a:xfrm>
                <a:solidFill>
                  <a:srgbClr val="005073"/>
                </a:solidFill>
              </p:grpSpPr>
              <p:sp>
                <p:nvSpPr>
                  <p:cNvPr id="549" name="Freeform 222">
                    <a:extLst>
                      <a:ext uri="{FF2B5EF4-FFF2-40B4-BE49-F238E27FC236}">
                        <a16:creationId xmlns:a16="http://schemas.microsoft.com/office/drawing/2014/main" id="{B426B072-D6FA-4A9E-83D9-5008943CCCBB}"/>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550" name="Freeform 223">
                    <a:extLst>
                      <a:ext uri="{FF2B5EF4-FFF2-40B4-BE49-F238E27FC236}">
                        <a16:creationId xmlns:a16="http://schemas.microsoft.com/office/drawing/2014/main" id="{77C82DE4-66D9-491E-8720-1E9873243930}"/>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accent5">
                      <a:lumMod val="75000"/>
                    </a:schemeClr>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551" name="Freeform 224">
                    <a:extLst>
                      <a:ext uri="{FF2B5EF4-FFF2-40B4-BE49-F238E27FC236}">
                        <a16:creationId xmlns:a16="http://schemas.microsoft.com/office/drawing/2014/main" id="{412141A6-08A7-4A06-8A4C-4C77020192C1}"/>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grpSp>
          </p:grpSp>
          <p:sp>
            <p:nvSpPr>
              <p:cNvPr id="544" name="Freeform 23">
                <a:extLst>
                  <a:ext uri="{FF2B5EF4-FFF2-40B4-BE49-F238E27FC236}">
                    <a16:creationId xmlns:a16="http://schemas.microsoft.com/office/drawing/2014/main" id="{3701FBF2-451F-40E2-A254-6CD0F0467C73}"/>
                  </a:ext>
                </a:extLst>
              </p:cNvPr>
              <p:cNvSpPr>
                <a:spLocks/>
              </p:cNvSpPr>
              <p:nvPr/>
            </p:nvSpPr>
            <p:spPr bwMode="auto">
              <a:xfrm>
                <a:off x="2620654" y="3620152"/>
                <a:ext cx="137240" cy="28592"/>
              </a:xfrm>
              <a:custGeom>
                <a:avLst/>
                <a:gdLst>
                  <a:gd name="T0" fmla="*/ 172 w 192"/>
                  <a:gd name="T1" fmla="*/ 40 h 40"/>
                  <a:gd name="T2" fmla="*/ 20 w 192"/>
                  <a:gd name="T3" fmla="*/ 40 h 40"/>
                  <a:gd name="T4" fmla="*/ 0 w 192"/>
                  <a:gd name="T5" fmla="*/ 20 h 40"/>
                  <a:gd name="T6" fmla="*/ 20 w 192"/>
                  <a:gd name="T7" fmla="*/ 0 h 40"/>
                  <a:gd name="T8" fmla="*/ 172 w 192"/>
                  <a:gd name="T9" fmla="*/ 0 h 40"/>
                  <a:gd name="T10" fmla="*/ 192 w 192"/>
                  <a:gd name="T11" fmla="*/ 20 h 40"/>
                  <a:gd name="T12" fmla="*/ 172 w 19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92" h="40">
                    <a:moveTo>
                      <a:pt x="172" y="40"/>
                    </a:moveTo>
                    <a:cubicBezTo>
                      <a:pt x="20" y="40"/>
                      <a:pt x="20" y="40"/>
                      <a:pt x="20" y="40"/>
                    </a:cubicBezTo>
                    <a:cubicBezTo>
                      <a:pt x="9" y="40"/>
                      <a:pt x="0" y="31"/>
                      <a:pt x="0" y="20"/>
                    </a:cubicBezTo>
                    <a:cubicBezTo>
                      <a:pt x="0" y="9"/>
                      <a:pt x="9" y="0"/>
                      <a:pt x="20" y="0"/>
                    </a:cubicBezTo>
                    <a:cubicBezTo>
                      <a:pt x="172" y="0"/>
                      <a:pt x="172" y="0"/>
                      <a:pt x="172" y="0"/>
                    </a:cubicBezTo>
                    <a:cubicBezTo>
                      <a:pt x="183" y="0"/>
                      <a:pt x="192" y="9"/>
                      <a:pt x="192" y="20"/>
                    </a:cubicBezTo>
                    <a:cubicBezTo>
                      <a:pt x="192" y="31"/>
                      <a:pt x="183" y="40"/>
                      <a:pt x="172" y="4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45" name="Freeform 24">
                <a:extLst>
                  <a:ext uri="{FF2B5EF4-FFF2-40B4-BE49-F238E27FC236}">
                    <a16:creationId xmlns:a16="http://schemas.microsoft.com/office/drawing/2014/main" id="{313A2889-19FD-4032-BFE5-7164836FB1EC}"/>
                  </a:ext>
                </a:extLst>
              </p:cNvPr>
              <p:cNvSpPr>
                <a:spLocks/>
              </p:cNvSpPr>
              <p:nvPr/>
            </p:nvSpPr>
            <p:spPr bwMode="auto">
              <a:xfrm>
                <a:off x="2620654" y="3673115"/>
                <a:ext cx="220306" cy="28592"/>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46" name="Freeform 25">
                <a:extLst>
                  <a:ext uri="{FF2B5EF4-FFF2-40B4-BE49-F238E27FC236}">
                    <a16:creationId xmlns:a16="http://schemas.microsoft.com/office/drawing/2014/main" id="{1D0F7F6D-799D-4327-A361-1EBF7741DA73}"/>
                  </a:ext>
                </a:extLst>
              </p:cNvPr>
              <p:cNvSpPr>
                <a:spLocks/>
              </p:cNvSpPr>
              <p:nvPr/>
            </p:nvSpPr>
            <p:spPr bwMode="auto">
              <a:xfrm>
                <a:off x="2620654" y="3726078"/>
                <a:ext cx="220306" cy="28592"/>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cxnSp>
          <p:nvCxnSpPr>
            <p:cNvPr id="553" name="STEP 1">
              <a:extLst>
                <a:ext uri="{FF2B5EF4-FFF2-40B4-BE49-F238E27FC236}">
                  <a16:creationId xmlns:a16="http://schemas.microsoft.com/office/drawing/2014/main" id="{9951D199-F173-4686-A8E2-3330CE551C79}"/>
                </a:ext>
              </a:extLst>
            </p:cNvPr>
            <p:cNvCxnSpPr>
              <a:cxnSpLocks/>
              <a:endCxn id="547" idx="4"/>
            </p:cNvCxnSpPr>
            <p:nvPr/>
          </p:nvCxnSpPr>
          <p:spPr bwMode="auto">
            <a:xfrm flipH="1" flipV="1">
              <a:off x="3026456" y="2832678"/>
              <a:ext cx="2" cy="141862"/>
            </a:xfrm>
            <a:prstGeom prst="line">
              <a:avLst/>
            </a:prstGeom>
            <a:ln w="12700" cap="rnd" cmpd="sng">
              <a:solidFill>
                <a:schemeClr val="accent2"/>
              </a:solidFill>
              <a:prstDash val="dash"/>
              <a:headEnd type="none" w="med" len="med"/>
              <a:tailEnd type="arrow" w="lg" len="med"/>
            </a:ln>
            <a:effectLst/>
          </p:spPr>
          <p:style>
            <a:lnRef idx="2">
              <a:schemeClr val="accent4"/>
            </a:lnRef>
            <a:fillRef idx="0">
              <a:schemeClr val="accent4"/>
            </a:fillRef>
            <a:effectRef idx="1">
              <a:schemeClr val="accent4"/>
            </a:effectRef>
            <a:fontRef idx="minor">
              <a:schemeClr val="tx1"/>
            </a:fontRef>
          </p:style>
        </p:cxnSp>
        <p:cxnSp>
          <p:nvCxnSpPr>
            <p:cNvPr id="256" name="STEP 1">
              <a:extLst>
                <a:ext uri="{FF2B5EF4-FFF2-40B4-BE49-F238E27FC236}">
                  <a16:creationId xmlns:a16="http://schemas.microsoft.com/office/drawing/2014/main" id="{8843A6E9-BB02-4C48-976E-789D5EB5DDB7}"/>
                </a:ext>
              </a:extLst>
            </p:cNvPr>
            <p:cNvCxnSpPr>
              <a:cxnSpLocks/>
            </p:cNvCxnSpPr>
            <p:nvPr/>
          </p:nvCxnSpPr>
          <p:spPr bwMode="auto">
            <a:xfrm flipV="1">
              <a:off x="3027242" y="3017267"/>
              <a:ext cx="0" cy="795808"/>
            </a:xfrm>
            <a:prstGeom prst="straightConnector1">
              <a:avLst/>
            </a:prstGeom>
            <a:ln w="12700" cap="rnd" cmpd="sng">
              <a:solidFill>
                <a:schemeClr val="accent2"/>
              </a:solidFill>
              <a:prstDash val="dash"/>
              <a:headEnd type="none" w="med" len="med"/>
              <a:tailEnd type="none" w="lg" len="lg"/>
            </a:ln>
            <a:effectLst/>
          </p:spPr>
          <p:style>
            <a:lnRef idx="2">
              <a:schemeClr val="accent4"/>
            </a:lnRef>
            <a:fillRef idx="0">
              <a:schemeClr val="accent4"/>
            </a:fillRef>
            <a:effectRef idx="1">
              <a:schemeClr val="accent4"/>
            </a:effectRef>
            <a:fontRef idx="minor">
              <a:schemeClr val="tx1"/>
            </a:fontRef>
          </p:style>
        </p:cxnSp>
        <p:grpSp>
          <p:nvGrpSpPr>
            <p:cNvPr id="554" name="Group 553">
              <a:extLst>
                <a:ext uri="{FF2B5EF4-FFF2-40B4-BE49-F238E27FC236}">
                  <a16:creationId xmlns:a16="http://schemas.microsoft.com/office/drawing/2014/main" id="{F89F5220-E531-4597-A7DA-0173690A6A85}"/>
                </a:ext>
              </a:extLst>
            </p:cNvPr>
            <p:cNvGrpSpPr/>
            <p:nvPr/>
          </p:nvGrpSpPr>
          <p:grpSpPr>
            <a:xfrm>
              <a:off x="2798641" y="3180694"/>
              <a:ext cx="457200" cy="457200"/>
              <a:chOff x="3720045" y="3002565"/>
              <a:chExt cx="457200" cy="457200"/>
            </a:xfrm>
          </p:grpSpPr>
          <p:sp>
            <p:nvSpPr>
              <p:cNvPr id="555" name="Oval 554">
                <a:extLst>
                  <a:ext uri="{FF2B5EF4-FFF2-40B4-BE49-F238E27FC236}">
                    <a16:creationId xmlns:a16="http://schemas.microsoft.com/office/drawing/2014/main" id="{75F98FE7-4CF8-4559-82AB-9FBC5620BB97}"/>
                  </a:ext>
                </a:extLst>
              </p:cNvPr>
              <p:cNvSpPr>
                <a:spLocks noChangeAspect="1"/>
              </p:cNvSpPr>
              <p:nvPr/>
            </p:nvSpPr>
            <p:spPr>
              <a:xfrm>
                <a:off x="3720045" y="3002565"/>
                <a:ext cx="457200" cy="45720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556" name="Group 555">
                <a:extLst>
                  <a:ext uri="{FF2B5EF4-FFF2-40B4-BE49-F238E27FC236}">
                    <a16:creationId xmlns:a16="http://schemas.microsoft.com/office/drawing/2014/main" id="{3B7E2446-89F5-4E42-AADF-6DA4D3B8DA7D}"/>
                  </a:ext>
                </a:extLst>
              </p:cNvPr>
              <p:cNvGrpSpPr/>
              <p:nvPr/>
            </p:nvGrpSpPr>
            <p:grpSpPr>
              <a:xfrm>
                <a:off x="3800428" y="3071625"/>
                <a:ext cx="297292" cy="319080"/>
                <a:chOff x="3800428" y="3101124"/>
                <a:chExt cx="297292" cy="319080"/>
              </a:xfrm>
            </p:grpSpPr>
            <p:sp>
              <p:nvSpPr>
                <p:cNvPr id="557" name="Rounded Rectangle 320">
                  <a:extLst>
                    <a:ext uri="{FF2B5EF4-FFF2-40B4-BE49-F238E27FC236}">
                      <a16:creationId xmlns:a16="http://schemas.microsoft.com/office/drawing/2014/main" id="{DEA827F8-4F68-4E95-9A38-7FBC6CAD5FD0}"/>
                    </a:ext>
                  </a:extLst>
                </p:cNvPr>
                <p:cNvSpPr/>
                <p:nvPr/>
              </p:nvSpPr>
              <p:spPr>
                <a:xfrm>
                  <a:off x="3883620" y="3374484"/>
                  <a:ext cx="130050" cy="4572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8" name="Freeform 321">
                  <a:extLst>
                    <a:ext uri="{FF2B5EF4-FFF2-40B4-BE49-F238E27FC236}">
                      <a16:creationId xmlns:a16="http://schemas.microsoft.com/office/drawing/2014/main" id="{FA5D8D89-FB16-4EB7-BA26-B1FF90BC155C}"/>
                    </a:ext>
                  </a:extLst>
                </p:cNvPr>
                <p:cNvSpPr/>
                <p:nvPr/>
              </p:nvSpPr>
              <p:spPr>
                <a:xfrm rot="13500000">
                  <a:off x="3888834" y="3100929"/>
                  <a:ext cx="119623" cy="120014"/>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9" name="Rounded Rectangle 323">
                  <a:extLst>
                    <a:ext uri="{FF2B5EF4-FFF2-40B4-BE49-F238E27FC236}">
                      <a16:creationId xmlns:a16="http://schemas.microsoft.com/office/drawing/2014/main" id="{ED3B2435-BA6A-4E58-B297-D918338E8ED1}"/>
                    </a:ext>
                  </a:extLst>
                </p:cNvPr>
                <p:cNvSpPr/>
                <p:nvPr/>
              </p:nvSpPr>
              <p:spPr>
                <a:xfrm rot="5400000">
                  <a:off x="3883620" y="3315470"/>
                  <a:ext cx="130050" cy="4572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60" name="Freeform 324">
                  <a:extLst>
                    <a:ext uri="{FF2B5EF4-FFF2-40B4-BE49-F238E27FC236}">
                      <a16:creationId xmlns:a16="http://schemas.microsoft.com/office/drawing/2014/main" id="{71B882A9-4BA9-4BD4-9090-9A668E23E8CC}"/>
                    </a:ext>
                  </a:extLst>
                </p:cNvPr>
                <p:cNvSpPr/>
                <p:nvPr/>
              </p:nvSpPr>
              <p:spPr>
                <a:xfrm rot="18900000">
                  <a:off x="4003784" y="3232519"/>
                  <a:ext cx="93936" cy="94242"/>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61" name="Freeform 325">
                  <a:extLst>
                    <a:ext uri="{FF2B5EF4-FFF2-40B4-BE49-F238E27FC236}">
                      <a16:creationId xmlns:a16="http://schemas.microsoft.com/office/drawing/2014/main" id="{BBBB5C6A-59E8-4D48-A8E3-3EA6671F7A66}"/>
                    </a:ext>
                  </a:extLst>
                </p:cNvPr>
                <p:cNvSpPr/>
                <p:nvPr/>
              </p:nvSpPr>
              <p:spPr>
                <a:xfrm rot="8100000">
                  <a:off x="3800428" y="3232519"/>
                  <a:ext cx="93934" cy="94242"/>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62" name="Freeform 326">
                  <a:extLst>
                    <a:ext uri="{FF2B5EF4-FFF2-40B4-BE49-F238E27FC236}">
                      <a16:creationId xmlns:a16="http://schemas.microsoft.com/office/drawing/2014/main" id="{8D28B97C-60E5-4B29-AA3A-766CB65DCA4C}"/>
                    </a:ext>
                  </a:extLst>
                </p:cNvPr>
                <p:cNvSpPr/>
                <p:nvPr/>
              </p:nvSpPr>
              <p:spPr>
                <a:xfrm rot="16200000">
                  <a:off x="3995920" y="3167795"/>
                  <a:ext cx="71564" cy="71798"/>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63" name="Freeform 327">
                  <a:extLst>
                    <a:ext uri="{FF2B5EF4-FFF2-40B4-BE49-F238E27FC236}">
                      <a16:creationId xmlns:a16="http://schemas.microsoft.com/office/drawing/2014/main" id="{1135ADCC-CAA9-4D72-B137-FF12F6B2CBD9}"/>
                    </a:ext>
                  </a:extLst>
                </p:cNvPr>
                <p:cNvSpPr/>
                <p:nvPr/>
              </p:nvSpPr>
              <p:spPr>
                <a:xfrm rot="10800000">
                  <a:off x="3830664" y="3167796"/>
                  <a:ext cx="71562" cy="71796"/>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64" name="Oval 563">
                  <a:extLst>
                    <a:ext uri="{FF2B5EF4-FFF2-40B4-BE49-F238E27FC236}">
                      <a16:creationId xmlns:a16="http://schemas.microsoft.com/office/drawing/2014/main" id="{51F39C45-584B-4CB9-BB04-46D7151E3EF8}"/>
                    </a:ext>
                  </a:extLst>
                </p:cNvPr>
                <p:cNvSpPr>
                  <a:spLocks noChangeAspect="1"/>
                </p:cNvSpPr>
                <p:nvPr/>
              </p:nvSpPr>
              <p:spPr>
                <a:xfrm>
                  <a:off x="3883622" y="3208284"/>
                  <a:ext cx="130048" cy="130046"/>
                </a:xfrm>
                <a:prstGeom prst="ellipse">
                  <a:avLst/>
                </a:prstGeom>
                <a:solidFill>
                  <a:schemeClr val="accent3"/>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cxnSp>
          <p:nvCxnSpPr>
            <p:cNvPr id="267" name="STEP 1">
              <a:extLst>
                <a:ext uri="{FF2B5EF4-FFF2-40B4-BE49-F238E27FC236}">
                  <a16:creationId xmlns:a16="http://schemas.microsoft.com/office/drawing/2014/main" id="{106C9425-47D0-496E-AE1C-0ABDD17B49C1}"/>
                </a:ext>
              </a:extLst>
            </p:cNvPr>
            <p:cNvCxnSpPr>
              <a:cxnSpLocks/>
            </p:cNvCxnSpPr>
            <p:nvPr/>
          </p:nvCxnSpPr>
          <p:spPr bwMode="auto">
            <a:xfrm flipH="1">
              <a:off x="3050101" y="3005421"/>
              <a:ext cx="290622" cy="0"/>
            </a:xfrm>
            <a:prstGeom prst="straightConnector1">
              <a:avLst/>
            </a:prstGeom>
            <a:ln w="12700" cap="rnd" cmpd="sng">
              <a:solidFill>
                <a:schemeClr val="accent2"/>
              </a:solidFill>
              <a:prstDash val="dash"/>
              <a:headEnd type="none" w="med" len="med"/>
              <a:tailEnd type="none" w="lg" len="lg"/>
            </a:ln>
            <a:effectLst/>
          </p:spPr>
          <p:style>
            <a:lnRef idx="2">
              <a:schemeClr val="accent4"/>
            </a:lnRef>
            <a:fillRef idx="0">
              <a:schemeClr val="accent4"/>
            </a:fillRef>
            <a:effectRef idx="1">
              <a:schemeClr val="accent4"/>
            </a:effectRef>
            <a:fontRef idx="minor">
              <a:schemeClr val="tx1"/>
            </a:fontRef>
          </p:style>
        </p:cxnSp>
      </p:grpSp>
      <p:grpSp>
        <p:nvGrpSpPr>
          <p:cNvPr id="3" name="Group 2"/>
          <p:cNvGrpSpPr/>
          <p:nvPr/>
        </p:nvGrpSpPr>
        <p:grpSpPr>
          <a:xfrm>
            <a:off x="2612777" y="3005421"/>
            <a:ext cx="2306302" cy="1559281"/>
            <a:chOff x="2612777" y="3005421"/>
            <a:chExt cx="2306302" cy="1559281"/>
          </a:xfrm>
        </p:grpSpPr>
        <p:sp>
          <p:nvSpPr>
            <p:cNvPr id="538" name="TextBox 537">
              <a:extLst>
                <a:ext uri="{FF2B5EF4-FFF2-40B4-BE49-F238E27FC236}">
                  <a16:creationId xmlns:a16="http://schemas.microsoft.com/office/drawing/2014/main" id="{4C347FDC-C5B2-43C8-BDC4-E0F50D1EEE83}"/>
                </a:ext>
              </a:extLst>
            </p:cNvPr>
            <p:cNvSpPr txBox="1"/>
            <p:nvPr/>
          </p:nvSpPr>
          <p:spPr>
            <a:xfrm>
              <a:off x="2612777" y="4250770"/>
              <a:ext cx="1515042" cy="313932"/>
            </a:xfrm>
            <a:prstGeom prst="rect">
              <a:avLst/>
            </a:prstGeom>
            <a:noFill/>
          </p:spPr>
          <p:txBody>
            <a:bodyPr wrap="square" rtlCol="0">
              <a:spAutoFit/>
            </a:bodyPr>
            <a:lstStyle/>
            <a:p>
              <a:pPr marL="0" marR="0" lvl="0" indent="0" algn="ctr"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EBE4A">
                      <a:lumMod val="75000"/>
                    </a:srgbClr>
                  </a:solidFill>
                  <a:effectLst/>
                  <a:uLnTx/>
                  <a:uFillTx/>
                  <a:latin typeface="CiscoSansTT ExtraLight" panose="020B0303020201020303" pitchFamily="34" charset="0"/>
                  <a:ea typeface="Arial" charset="0"/>
                  <a:cs typeface="CiscoSansTT ExtraLight" panose="020B0303020201020303" pitchFamily="34" charset="0"/>
                </a:rPr>
                <a:t>NetFlow enabled routers, switches, firewalls</a:t>
              </a:r>
            </a:p>
          </p:txBody>
        </p:sp>
        <p:cxnSp>
          <p:nvCxnSpPr>
            <p:cNvPr id="552" name="STEP 1">
              <a:extLst>
                <a:ext uri="{FF2B5EF4-FFF2-40B4-BE49-F238E27FC236}">
                  <a16:creationId xmlns:a16="http://schemas.microsoft.com/office/drawing/2014/main" id="{8C76A899-DE8A-41EF-BED0-A3D3DAB29FEC}"/>
                </a:ext>
              </a:extLst>
            </p:cNvPr>
            <p:cNvCxnSpPr>
              <a:cxnSpLocks/>
              <a:endCxn id="629" idx="2"/>
            </p:cNvCxnSpPr>
            <p:nvPr/>
          </p:nvCxnSpPr>
          <p:spPr bwMode="auto">
            <a:xfrm>
              <a:off x="3380719" y="3005421"/>
              <a:ext cx="1538360" cy="0"/>
            </a:xfrm>
            <a:prstGeom prst="straightConnector1">
              <a:avLst/>
            </a:prstGeom>
            <a:ln w="12700" cap="rnd" cmpd="sng">
              <a:solidFill>
                <a:schemeClr val="accent2"/>
              </a:solidFill>
              <a:prstDash val="dash"/>
              <a:headEnd type="none" w="med" len="med"/>
              <a:tailEnd type="arrow" w="lg" len="med"/>
            </a:ln>
            <a:effectLst/>
          </p:spPr>
          <p:style>
            <a:lnRef idx="2">
              <a:schemeClr val="accent4"/>
            </a:lnRef>
            <a:fillRef idx="0">
              <a:schemeClr val="accent4"/>
            </a:fillRef>
            <a:effectRef idx="1">
              <a:schemeClr val="accent4"/>
            </a:effectRef>
            <a:fontRef idx="minor">
              <a:schemeClr val="tx1"/>
            </a:fontRef>
          </p:style>
        </p:cxnSp>
        <p:cxnSp>
          <p:nvCxnSpPr>
            <p:cNvPr id="565" name="STEP 1">
              <a:extLst>
                <a:ext uri="{FF2B5EF4-FFF2-40B4-BE49-F238E27FC236}">
                  <a16:creationId xmlns:a16="http://schemas.microsoft.com/office/drawing/2014/main" id="{4AB684DE-DAF4-476A-A61C-B70D6C51C9A3}"/>
                </a:ext>
              </a:extLst>
            </p:cNvPr>
            <p:cNvCxnSpPr>
              <a:cxnSpLocks/>
            </p:cNvCxnSpPr>
            <p:nvPr/>
          </p:nvCxnSpPr>
          <p:spPr bwMode="auto">
            <a:xfrm flipV="1">
              <a:off x="3375877" y="3014013"/>
              <a:ext cx="4842" cy="814480"/>
            </a:xfrm>
            <a:prstGeom prst="line">
              <a:avLst/>
            </a:prstGeom>
            <a:ln w="12700" cap="rnd" cmpd="sng">
              <a:solidFill>
                <a:schemeClr val="accent2"/>
              </a:solidFill>
              <a:prstDash val="dash"/>
              <a:headEnd type="none" w="med" len="med"/>
              <a:tailEnd type="arrow" w="lg" len="med"/>
            </a:ln>
            <a:effectLst/>
          </p:spPr>
          <p:style>
            <a:lnRef idx="2">
              <a:schemeClr val="accent4"/>
            </a:lnRef>
            <a:fillRef idx="0">
              <a:schemeClr val="accent4"/>
            </a:fillRef>
            <a:effectRef idx="1">
              <a:schemeClr val="accent4"/>
            </a:effectRef>
            <a:fontRef idx="minor">
              <a:schemeClr val="tx1"/>
            </a:fontRef>
          </p:style>
        </p:cxnSp>
        <p:sp>
          <p:nvSpPr>
            <p:cNvPr id="664" name="TextBox 663">
              <a:extLst>
                <a:ext uri="{FF2B5EF4-FFF2-40B4-BE49-F238E27FC236}">
                  <a16:creationId xmlns:a16="http://schemas.microsoft.com/office/drawing/2014/main" id="{BC048886-08F9-48CE-8AA4-223C0F3A1838}"/>
                </a:ext>
              </a:extLst>
            </p:cNvPr>
            <p:cNvSpPr txBox="1"/>
            <p:nvPr/>
          </p:nvSpPr>
          <p:spPr>
            <a:xfrm>
              <a:off x="3145664" y="3670659"/>
              <a:ext cx="465268" cy="94763"/>
            </a:xfrm>
            <a:prstGeom prst="rect">
              <a:avLst/>
            </a:prstGeom>
            <a:solidFill>
              <a:schemeClr val="bg2"/>
            </a:solidFill>
          </p:spPr>
          <p:txBody>
            <a:bodyPr wrap="none" rtlCol="0" anchor="ctr">
              <a:noAutofit/>
            </a:bodyPr>
            <a:lstStyle/>
            <a:p>
              <a:pPr marL="0" marR="0" lvl="0" indent="0" algn="ctr"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5073"/>
                  </a:solidFill>
                  <a:effectLst/>
                  <a:uLnTx/>
                  <a:uFillTx/>
                  <a:latin typeface="CiscoSansTT ExtraLight" panose="020B0303020201020303" pitchFamily="34" charset="0"/>
                  <a:ea typeface="Arial" charset="0"/>
                  <a:cs typeface="CiscoSansTT ExtraLight" panose="020B0303020201020303" pitchFamily="34" charset="0"/>
                </a:rPr>
                <a:t>NetFlow</a:t>
              </a:r>
            </a:p>
          </p:txBody>
        </p:sp>
        <p:cxnSp>
          <p:nvCxnSpPr>
            <p:cNvPr id="734" name="STEP 1">
              <a:extLst>
                <a:ext uri="{FF2B5EF4-FFF2-40B4-BE49-F238E27FC236}">
                  <a16:creationId xmlns:a16="http://schemas.microsoft.com/office/drawing/2014/main" id="{8E45036C-D178-4C90-A665-F276B171A7C6}"/>
                </a:ext>
              </a:extLst>
            </p:cNvPr>
            <p:cNvCxnSpPr>
              <a:cxnSpLocks/>
            </p:cNvCxnSpPr>
            <p:nvPr/>
          </p:nvCxnSpPr>
          <p:spPr bwMode="auto">
            <a:xfrm flipV="1">
              <a:off x="4054313" y="3014013"/>
              <a:ext cx="4842" cy="814480"/>
            </a:xfrm>
            <a:prstGeom prst="line">
              <a:avLst/>
            </a:prstGeom>
            <a:ln w="12700" cap="rnd" cmpd="sng">
              <a:solidFill>
                <a:schemeClr val="accent2"/>
              </a:solidFill>
              <a:prstDash val="dash"/>
              <a:headEnd type="none" w="med" len="med"/>
              <a:tailEnd type="arrow" w="lg" len="med"/>
            </a:ln>
            <a:effectLst/>
          </p:spPr>
          <p:style>
            <a:lnRef idx="2">
              <a:schemeClr val="accent4"/>
            </a:lnRef>
            <a:fillRef idx="0">
              <a:schemeClr val="accent4"/>
            </a:fillRef>
            <a:effectRef idx="1">
              <a:schemeClr val="accent4"/>
            </a:effectRef>
            <a:fontRef idx="minor">
              <a:schemeClr val="tx1"/>
            </a:fontRef>
          </p:style>
        </p:cxnSp>
        <p:grpSp>
          <p:nvGrpSpPr>
            <p:cNvPr id="2" name="Group 1"/>
            <p:cNvGrpSpPr>
              <a:grpSpLocks noChangeAspect="1"/>
            </p:cNvGrpSpPr>
            <p:nvPr/>
          </p:nvGrpSpPr>
          <p:grpSpPr>
            <a:xfrm>
              <a:off x="3908864" y="3896482"/>
              <a:ext cx="285117" cy="285117"/>
              <a:chOff x="3489807" y="3180694"/>
              <a:chExt cx="457200" cy="457200"/>
            </a:xfrm>
          </p:grpSpPr>
          <p:sp>
            <p:nvSpPr>
              <p:cNvPr id="736" name="Oval 735">
                <a:extLst>
                  <a:ext uri="{FF2B5EF4-FFF2-40B4-BE49-F238E27FC236}">
                    <a16:creationId xmlns:a16="http://schemas.microsoft.com/office/drawing/2014/main" id="{F2D1DA3C-0089-42E2-800C-9E01554DBCE7}"/>
                  </a:ext>
                </a:extLst>
              </p:cNvPr>
              <p:cNvSpPr/>
              <p:nvPr/>
            </p:nvSpPr>
            <p:spPr>
              <a:xfrm>
                <a:off x="3489807" y="3180694"/>
                <a:ext cx="457200" cy="457200"/>
              </a:xfrm>
              <a:prstGeom prst="ellipse">
                <a:avLst/>
              </a:prstGeom>
              <a:solidFill>
                <a:schemeClr val="accent2"/>
              </a:solidFill>
              <a:ln w="25400" cap="flat" cmpd="sng" algn="ctr">
                <a:noFill/>
                <a:prstDash val="solid"/>
              </a:ln>
              <a:effectLst/>
            </p:spPr>
            <p:txBody>
              <a:bodyPr rot="0" spcFirstLastPara="0" vertOverflow="overflow" horzOverflow="overflow" vert="horz" wrap="square" lIns="457200" tIns="45720" rIns="457200" bIns="45720" numCol="1" spcCol="0" rtlCol="0" fromWordArt="0" anchor="ctr" anchorCtr="1" forceAA="0" compatLnSpc="1">
                <a:prstTxWarp prst="textNoShape">
                  <a:avLst/>
                </a:prstTxWarp>
                <a:noAutofit/>
              </a:bodyPr>
              <a:lstStyle/>
              <a:p>
                <a:pPr marL="0" marR="0" lvl="0" indent="0" algn="ctr" defTabSz="685813"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FFFFFF"/>
                  </a:solidFill>
                  <a:effectLst/>
                  <a:uLnTx/>
                  <a:uFillTx/>
                  <a:latin typeface="Arial" charset="0"/>
                  <a:ea typeface="ＭＳ Ｐゴシック" charset="0"/>
                </a:endParaRPr>
              </a:p>
            </p:txBody>
          </p:sp>
          <p:sp>
            <p:nvSpPr>
              <p:cNvPr id="737" name="Oval 736">
                <a:extLst>
                  <a:ext uri="{FF2B5EF4-FFF2-40B4-BE49-F238E27FC236}">
                    <a16:creationId xmlns:a16="http://schemas.microsoft.com/office/drawing/2014/main" id="{B0C5FB6C-799E-45F6-B0E0-7BB289C2E945}"/>
                  </a:ext>
                </a:extLst>
              </p:cNvPr>
              <p:cNvSpPr/>
              <p:nvPr/>
            </p:nvSpPr>
            <p:spPr>
              <a:xfrm>
                <a:off x="3637665" y="3324125"/>
                <a:ext cx="159680" cy="159627"/>
              </a:xfrm>
              <a:prstGeom prst="ellipse">
                <a:avLst/>
              </a:prstGeom>
              <a:solidFill>
                <a:schemeClr val="accent2">
                  <a:lumMod val="75000"/>
                </a:schemeClr>
              </a:solidFill>
              <a:ln w="28575" cap="flat" cmpd="sng" algn="ctr">
                <a:solidFill>
                  <a:schemeClr val="bg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5073"/>
                  </a:solidFill>
                  <a:effectLst/>
                  <a:uLnTx/>
                  <a:uFillTx/>
                  <a:latin typeface="CiscoSansTT ExtraLight"/>
                  <a:ea typeface=""/>
                  <a:cs typeface=""/>
                </a:endParaRPr>
              </a:p>
            </p:txBody>
          </p:sp>
          <p:cxnSp>
            <p:nvCxnSpPr>
              <p:cNvPr id="738" name="Straight Connector 737">
                <a:extLst>
                  <a:ext uri="{FF2B5EF4-FFF2-40B4-BE49-F238E27FC236}">
                    <a16:creationId xmlns:a16="http://schemas.microsoft.com/office/drawing/2014/main" id="{AA30AA99-42F7-4A47-99F0-ACE66D6289D9}"/>
                  </a:ext>
                </a:extLst>
              </p:cNvPr>
              <p:cNvCxnSpPr/>
              <p:nvPr/>
            </p:nvCxnSpPr>
            <p:spPr>
              <a:xfrm>
                <a:off x="3776852" y="3461542"/>
                <a:ext cx="69057" cy="69034"/>
              </a:xfrm>
              <a:prstGeom prst="line">
                <a:avLst/>
              </a:prstGeom>
              <a:noFill/>
              <a:ln w="28575" cap="rnd" cmpd="sng" algn="ctr">
                <a:solidFill>
                  <a:schemeClr val="bg2"/>
                </a:solidFill>
                <a:prstDash val="solid"/>
              </a:ln>
              <a:effectLst/>
            </p:spPr>
          </p:cxnSp>
          <p:sp>
            <p:nvSpPr>
              <p:cNvPr id="739" name="TextBox 738">
                <a:extLst>
                  <a:ext uri="{FF2B5EF4-FFF2-40B4-BE49-F238E27FC236}">
                    <a16:creationId xmlns:a16="http://schemas.microsoft.com/office/drawing/2014/main" id="{673C02BB-ACD2-4210-A830-328C3BC1D621}"/>
                  </a:ext>
                </a:extLst>
              </p:cNvPr>
              <p:cNvSpPr txBox="1"/>
              <p:nvPr/>
            </p:nvSpPr>
            <p:spPr>
              <a:xfrm>
                <a:off x="3510975" y="3305857"/>
                <a:ext cx="399148" cy="192360"/>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50" b="1" i="0" u="none" strike="noStrike" kern="0" cap="none" spc="0" normalizeH="0" baseline="0" noProof="0" dirty="0">
                    <a:ln>
                      <a:noFill/>
                    </a:ln>
                    <a:solidFill>
                      <a:srgbClr val="FFFFFF"/>
                    </a:solidFill>
                    <a:effectLst/>
                    <a:uLnTx/>
                    <a:uFillTx/>
                    <a:latin typeface="CiscoSansTT ExtraLight"/>
                    <a:ea typeface="ＭＳ Ｐゴシック" charset="0"/>
                  </a:rPr>
                  <a:t>1</a:t>
                </a:r>
                <a:r>
                  <a:rPr kumimoji="0" lang="en-US" sz="650" b="1" i="0" u="none" strike="noStrike" kern="0" cap="none" spc="200" normalizeH="0" baseline="0" noProof="0" dirty="0">
                    <a:ln>
                      <a:noFill/>
                    </a:ln>
                    <a:solidFill>
                      <a:srgbClr val="FFFFFF"/>
                    </a:solidFill>
                    <a:effectLst/>
                    <a:uLnTx/>
                    <a:uFillTx/>
                    <a:latin typeface="CiscoSansTT ExtraLight"/>
                    <a:ea typeface="ＭＳ Ｐゴシック" charset="0"/>
                  </a:rPr>
                  <a:t>0</a:t>
                </a:r>
                <a:r>
                  <a:rPr kumimoji="0" lang="en-US" sz="650" b="1" i="0" u="none" strike="noStrike" kern="0" cap="none" spc="0" normalizeH="0" baseline="0" noProof="0" dirty="0">
                    <a:ln>
                      <a:noFill/>
                    </a:ln>
                    <a:solidFill>
                      <a:srgbClr val="FFFFFF"/>
                    </a:solidFill>
                    <a:effectLst/>
                    <a:uLnTx/>
                    <a:uFillTx/>
                    <a:latin typeface="CiscoSansTT ExtraLight"/>
                    <a:ea typeface="ＭＳ Ｐゴシック" charset="0"/>
                  </a:rPr>
                  <a:t>101 10</a:t>
                </a:r>
              </a:p>
            </p:txBody>
          </p:sp>
        </p:grpSp>
        <p:sp>
          <p:nvSpPr>
            <p:cNvPr id="741" name="Rounded Rectangle 389">
              <a:extLst>
                <a:ext uri="{FF2B5EF4-FFF2-40B4-BE49-F238E27FC236}">
                  <a16:creationId xmlns:a16="http://schemas.microsoft.com/office/drawing/2014/main" id="{572253E4-588F-4585-97BA-013F51ABC3B0}"/>
                </a:ext>
              </a:extLst>
            </p:cNvPr>
            <p:cNvSpPr/>
            <p:nvPr/>
          </p:nvSpPr>
          <p:spPr>
            <a:xfrm>
              <a:off x="2814091" y="3828493"/>
              <a:ext cx="1444752" cy="410299"/>
            </a:xfrm>
            <a:prstGeom prst="roundRect">
              <a:avLst>
                <a:gd name="adj" fmla="val 50000"/>
              </a:avLst>
            </a:prstGeom>
            <a:noFill/>
            <a:ln w="12700" cap="rnd" cmpd="sng">
              <a:solidFill>
                <a:schemeClr val="accent2"/>
              </a:solidFill>
              <a:prstDash val="dash"/>
              <a:headEnd type="none" w="med" len="med"/>
              <a:tailEnd type="arrow" w="lg" len="lg"/>
            </a:ln>
            <a:effectLst/>
          </p:spPr>
          <p:style>
            <a:lnRef idx="2">
              <a:schemeClr val="accent4"/>
            </a:lnRef>
            <a:fillRef idx="0">
              <a:schemeClr val="accent4"/>
            </a:fillRef>
            <a:effectRef idx="1">
              <a:schemeClr val="accent4"/>
            </a:effectRef>
            <a:fontRef idx="minor">
              <a:schemeClr val="tx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lumMod val="75000"/>
                    <a:lumOff val="25000"/>
                  </a:srgbClr>
                </a:solidFill>
                <a:effectLst/>
                <a:uLnTx/>
                <a:uFillTx/>
                <a:latin typeface="CiscoSansTT ExtraLight"/>
                <a:ea typeface="+mn-ea"/>
                <a:cs typeface="+mn-cs"/>
              </a:endParaRPr>
            </a:p>
          </p:txBody>
        </p:sp>
        <p:grpSp>
          <p:nvGrpSpPr>
            <p:cNvPr id="742" name="Group 741">
              <a:extLst>
                <a:ext uri="{FF2B5EF4-FFF2-40B4-BE49-F238E27FC236}">
                  <a16:creationId xmlns:a16="http://schemas.microsoft.com/office/drawing/2014/main" id="{35269639-D847-4896-B8AA-2D4F3773E495}"/>
                </a:ext>
              </a:extLst>
            </p:cNvPr>
            <p:cNvGrpSpPr/>
            <p:nvPr/>
          </p:nvGrpSpPr>
          <p:grpSpPr>
            <a:xfrm>
              <a:off x="3232651" y="3896482"/>
              <a:ext cx="274320" cy="274320"/>
              <a:chOff x="3270222" y="3881977"/>
              <a:chExt cx="274320" cy="274320"/>
            </a:xfrm>
          </p:grpSpPr>
          <p:sp>
            <p:nvSpPr>
              <p:cNvPr id="743" name="Oval 742">
                <a:extLst>
                  <a:ext uri="{FF2B5EF4-FFF2-40B4-BE49-F238E27FC236}">
                    <a16:creationId xmlns:a16="http://schemas.microsoft.com/office/drawing/2014/main" id="{C9CA1D43-331F-48EF-99B7-AB03A4C68B31}"/>
                  </a:ext>
                </a:extLst>
              </p:cNvPr>
              <p:cNvSpPr>
                <a:spLocks noChangeAspect="1"/>
              </p:cNvSpPr>
              <p:nvPr/>
            </p:nvSpPr>
            <p:spPr>
              <a:xfrm>
                <a:off x="3270222" y="3881977"/>
                <a:ext cx="274320" cy="27432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744" name="Group 743">
                <a:extLst>
                  <a:ext uri="{FF2B5EF4-FFF2-40B4-BE49-F238E27FC236}">
                    <a16:creationId xmlns:a16="http://schemas.microsoft.com/office/drawing/2014/main" id="{25D17138-448D-43EB-A138-DA85F724FC78}"/>
                  </a:ext>
                </a:extLst>
              </p:cNvPr>
              <p:cNvGrpSpPr/>
              <p:nvPr/>
            </p:nvGrpSpPr>
            <p:grpSpPr>
              <a:xfrm>
                <a:off x="3319358" y="3929248"/>
                <a:ext cx="176048" cy="179779"/>
                <a:chOff x="3311944" y="3920708"/>
                <a:chExt cx="282314" cy="288298"/>
              </a:xfrm>
            </p:grpSpPr>
            <p:sp>
              <p:nvSpPr>
                <p:cNvPr id="745" name="Freeform 391">
                  <a:extLst>
                    <a:ext uri="{FF2B5EF4-FFF2-40B4-BE49-F238E27FC236}">
                      <a16:creationId xmlns:a16="http://schemas.microsoft.com/office/drawing/2014/main" id="{D9410ED5-9E36-4F1B-900F-8DB1567C21BA}"/>
                    </a:ext>
                  </a:extLst>
                </p:cNvPr>
                <p:cNvSpPr/>
                <p:nvPr/>
              </p:nvSpPr>
              <p:spPr>
                <a:xfrm rot="18900000">
                  <a:off x="3311944" y="4018038"/>
                  <a:ext cx="95698" cy="96011"/>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46" name="Freeform 392">
                  <a:extLst>
                    <a:ext uri="{FF2B5EF4-FFF2-40B4-BE49-F238E27FC236}">
                      <a16:creationId xmlns:a16="http://schemas.microsoft.com/office/drawing/2014/main" id="{496B8D26-CEB5-44CE-9C92-A82AC999085F}"/>
                    </a:ext>
                  </a:extLst>
                </p:cNvPr>
                <p:cNvSpPr/>
                <p:nvPr/>
              </p:nvSpPr>
              <p:spPr>
                <a:xfrm rot="8100000">
                  <a:off x="3498560" y="4018038"/>
                  <a:ext cx="95698" cy="96011"/>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47" name="Freeform 393">
                  <a:extLst>
                    <a:ext uri="{FF2B5EF4-FFF2-40B4-BE49-F238E27FC236}">
                      <a16:creationId xmlns:a16="http://schemas.microsoft.com/office/drawing/2014/main" id="{B87F4F07-9FE8-4117-B23B-AD382455E4E4}"/>
                    </a:ext>
                  </a:extLst>
                </p:cNvPr>
                <p:cNvSpPr/>
                <p:nvPr/>
              </p:nvSpPr>
              <p:spPr>
                <a:xfrm rot="13500000">
                  <a:off x="3405252" y="3920551"/>
                  <a:ext cx="95698" cy="96011"/>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48" name="Freeform 394">
                  <a:extLst>
                    <a:ext uri="{FF2B5EF4-FFF2-40B4-BE49-F238E27FC236}">
                      <a16:creationId xmlns:a16="http://schemas.microsoft.com/office/drawing/2014/main" id="{9719095E-D7C9-4297-B9D4-8F08D523F9C5}"/>
                    </a:ext>
                  </a:extLst>
                </p:cNvPr>
                <p:cNvSpPr/>
                <p:nvPr/>
              </p:nvSpPr>
              <p:spPr>
                <a:xfrm rot="2700000">
                  <a:off x="3405252" y="4113151"/>
                  <a:ext cx="95698" cy="96011"/>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grpSp>
          <p:nvGrpSpPr>
            <p:cNvPr id="749" name="Group 748">
              <a:extLst>
                <a:ext uri="{FF2B5EF4-FFF2-40B4-BE49-F238E27FC236}">
                  <a16:creationId xmlns:a16="http://schemas.microsoft.com/office/drawing/2014/main" id="{F9CDF02A-9620-45E7-926B-2BBBA7FEF38E}"/>
                </a:ext>
              </a:extLst>
            </p:cNvPr>
            <p:cNvGrpSpPr/>
            <p:nvPr/>
          </p:nvGrpSpPr>
          <p:grpSpPr>
            <a:xfrm>
              <a:off x="3567598" y="3896482"/>
              <a:ext cx="274320" cy="274320"/>
              <a:chOff x="6081636" y="3981080"/>
              <a:chExt cx="228600" cy="228600"/>
            </a:xfrm>
          </p:grpSpPr>
          <p:sp>
            <p:nvSpPr>
              <p:cNvPr id="750" name="Oval 749">
                <a:extLst>
                  <a:ext uri="{FF2B5EF4-FFF2-40B4-BE49-F238E27FC236}">
                    <a16:creationId xmlns:a16="http://schemas.microsoft.com/office/drawing/2014/main" id="{A104D414-5FC5-442B-913B-6B0465652874}"/>
                  </a:ext>
                </a:extLst>
              </p:cNvPr>
              <p:cNvSpPr>
                <a:spLocks noChangeAspect="1"/>
              </p:cNvSpPr>
              <p:nvPr/>
            </p:nvSpPr>
            <p:spPr>
              <a:xfrm>
                <a:off x="6081636" y="3981080"/>
                <a:ext cx="228600" cy="2286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51" name="Freeform 396">
                <a:extLst>
                  <a:ext uri="{FF2B5EF4-FFF2-40B4-BE49-F238E27FC236}">
                    <a16:creationId xmlns:a16="http://schemas.microsoft.com/office/drawing/2014/main" id="{036715CB-C1BF-4FE1-A9D0-B61E0FE94A19}"/>
                  </a:ext>
                </a:extLst>
              </p:cNvPr>
              <p:cNvSpPr/>
              <p:nvPr/>
            </p:nvSpPr>
            <p:spPr>
              <a:xfrm rot="18900000">
                <a:off x="6166030" y="4097646"/>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52" name="Freeform 397">
                <a:extLst>
                  <a:ext uri="{FF2B5EF4-FFF2-40B4-BE49-F238E27FC236}">
                    <a16:creationId xmlns:a16="http://schemas.microsoft.com/office/drawing/2014/main" id="{E76161EA-C402-48B3-848C-73CF1EC53747}"/>
                  </a:ext>
                </a:extLst>
              </p:cNvPr>
              <p:cNvSpPr/>
              <p:nvPr/>
            </p:nvSpPr>
            <p:spPr>
              <a:xfrm rot="8100000">
                <a:off x="6166030" y="4033106"/>
                <a:ext cx="59811" cy="60007"/>
              </a:xfrm>
              <a:custGeom>
                <a:avLst/>
                <a:gdLst>
                  <a:gd name="connsiteX0" fmla="*/ 1717660 w 1780347"/>
                  <a:gd name="connsiteY0" fmla="*/ 526408 h 1786171"/>
                  <a:gd name="connsiteX1" fmla="*/ 1779284 w 1780347"/>
                  <a:gd name="connsiteY1" fmla="*/ 675182 h 1786171"/>
                  <a:gd name="connsiteX2" fmla="*/ 1779284 w 1780347"/>
                  <a:gd name="connsiteY2" fmla="*/ 1567682 h 1786171"/>
                  <a:gd name="connsiteX3" fmla="*/ 1780347 w 1780347"/>
                  <a:gd name="connsiteY3" fmla="*/ 1574715 h 1786171"/>
                  <a:gd name="connsiteX4" fmla="*/ 1718723 w 1780347"/>
                  <a:gd name="connsiteY4" fmla="*/ 1723489 h 1786171"/>
                  <a:gd name="connsiteX5" fmla="*/ 1718083 w 1780347"/>
                  <a:gd name="connsiteY5" fmla="*/ 1723921 h 1786171"/>
                  <a:gd name="connsiteX6" fmla="*/ 1717660 w 1780347"/>
                  <a:gd name="connsiteY6" fmla="*/ 1724548 h 1786171"/>
                  <a:gd name="connsiteX7" fmla="*/ 1568886 w 1780347"/>
                  <a:gd name="connsiteY7" fmla="*/ 1786171 h 1786171"/>
                  <a:gd name="connsiteX8" fmla="*/ 1558389 w 1780347"/>
                  <a:gd name="connsiteY8" fmla="*/ 1785113 h 1786171"/>
                  <a:gd name="connsiteX9" fmla="*/ 669358 w 1780347"/>
                  <a:gd name="connsiteY9" fmla="*/ 1785113 h 1786171"/>
                  <a:gd name="connsiteX10" fmla="*/ 458960 w 1780347"/>
                  <a:gd name="connsiteY10" fmla="*/ 1574715 h 1786171"/>
                  <a:gd name="connsiteX11" fmla="*/ 669358 w 1780347"/>
                  <a:gd name="connsiteY11" fmla="*/ 1364317 h 1786171"/>
                  <a:gd name="connsiteX12" fmla="*/ 1066769 w 1780347"/>
                  <a:gd name="connsiteY12" fmla="*/ 1364317 h 1786171"/>
                  <a:gd name="connsiteX13" fmla="*/ 61624 w 1780347"/>
                  <a:gd name="connsiteY13" fmla="*/ 359172 h 1786171"/>
                  <a:gd name="connsiteX14" fmla="*/ 61624 w 1780347"/>
                  <a:gd name="connsiteY14" fmla="*/ 61624 h 1786171"/>
                  <a:gd name="connsiteX15" fmla="*/ 359172 w 1780347"/>
                  <a:gd name="connsiteY15" fmla="*/ 61624 h 1786171"/>
                  <a:gd name="connsiteX16" fmla="*/ 1358488 w 1780347"/>
                  <a:gd name="connsiteY16" fmla="*/ 1060940 h 1786171"/>
                  <a:gd name="connsiteX17" fmla="*/ 1358488 w 1780347"/>
                  <a:gd name="connsiteY17" fmla="*/ 675182 h 1786171"/>
                  <a:gd name="connsiteX18" fmla="*/ 1568886 w 1780347"/>
                  <a:gd name="connsiteY18" fmla="*/ 464784 h 1786171"/>
                  <a:gd name="connsiteX19" fmla="*/ 1717660 w 1780347"/>
                  <a:gd name="connsiteY19" fmla="*/ 526408 h 178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80347" h="1786171">
                    <a:moveTo>
                      <a:pt x="1717660" y="526408"/>
                    </a:moveTo>
                    <a:cubicBezTo>
                      <a:pt x="1755734" y="564482"/>
                      <a:pt x="1779284" y="617082"/>
                      <a:pt x="1779284" y="675182"/>
                    </a:cubicBezTo>
                    <a:lnTo>
                      <a:pt x="1779284" y="1567682"/>
                    </a:lnTo>
                    <a:lnTo>
                      <a:pt x="1780347" y="1574715"/>
                    </a:lnTo>
                    <a:cubicBezTo>
                      <a:pt x="1780347" y="1632815"/>
                      <a:pt x="1756797" y="1685414"/>
                      <a:pt x="1718723" y="1723489"/>
                    </a:cubicBezTo>
                    <a:lnTo>
                      <a:pt x="1718083" y="1723921"/>
                    </a:lnTo>
                    <a:lnTo>
                      <a:pt x="1717660" y="1724548"/>
                    </a:lnTo>
                    <a:cubicBezTo>
                      <a:pt x="1679585" y="1762622"/>
                      <a:pt x="1626986" y="1786171"/>
                      <a:pt x="1568886" y="1786171"/>
                    </a:cubicBezTo>
                    <a:lnTo>
                      <a:pt x="1558389" y="1785113"/>
                    </a:lnTo>
                    <a:lnTo>
                      <a:pt x="669358" y="1785113"/>
                    </a:lnTo>
                    <a:cubicBezTo>
                      <a:pt x="553158" y="1785113"/>
                      <a:pt x="458960" y="1690915"/>
                      <a:pt x="458960" y="1574715"/>
                    </a:cubicBezTo>
                    <a:cubicBezTo>
                      <a:pt x="458960" y="1458515"/>
                      <a:pt x="553158" y="1364317"/>
                      <a:pt x="669358" y="1364317"/>
                    </a:cubicBezTo>
                    <a:lnTo>
                      <a:pt x="1066769" y="1364317"/>
                    </a:lnTo>
                    <a:lnTo>
                      <a:pt x="61624" y="359172"/>
                    </a:lnTo>
                    <a:cubicBezTo>
                      <a:pt x="-20542" y="277006"/>
                      <a:pt x="-20542" y="143790"/>
                      <a:pt x="61624" y="61624"/>
                    </a:cubicBezTo>
                    <a:cubicBezTo>
                      <a:pt x="143790" y="-20542"/>
                      <a:pt x="277006" y="-20542"/>
                      <a:pt x="359172" y="61624"/>
                    </a:cubicBezTo>
                    <a:lnTo>
                      <a:pt x="1358488" y="1060940"/>
                    </a:lnTo>
                    <a:lnTo>
                      <a:pt x="1358488" y="675182"/>
                    </a:lnTo>
                    <a:cubicBezTo>
                      <a:pt x="1358488" y="558982"/>
                      <a:pt x="1452686" y="464784"/>
                      <a:pt x="1568886" y="464784"/>
                    </a:cubicBezTo>
                    <a:cubicBezTo>
                      <a:pt x="1626986" y="464784"/>
                      <a:pt x="1679585" y="488333"/>
                      <a:pt x="1717660" y="526408"/>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753" name="Group 752">
              <a:extLst>
                <a:ext uri="{FF2B5EF4-FFF2-40B4-BE49-F238E27FC236}">
                  <a16:creationId xmlns:a16="http://schemas.microsoft.com/office/drawing/2014/main" id="{1F30199C-8723-4073-B65B-50398AEC80FC}"/>
                </a:ext>
              </a:extLst>
            </p:cNvPr>
            <p:cNvGrpSpPr/>
            <p:nvPr/>
          </p:nvGrpSpPr>
          <p:grpSpPr>
            <a:xfrm>
              <a:off x="2899444" y="3896482"/>
              <a:ext cx="274320" cy="274320"/>
              <a:chOff x="2880064" y="3881977"/>
              <a:chExt cx="274320" cy="274320"/>
            </a:xfrm>
          </p:grpSpPr>
          <p:sp>
            <p:nvSpPr>
              <p:cNvPr id="754" name="Oval 753">
                <a:extLst>
                  <a:ext uri="{FF2B5EF4-FFF2-40B4-BE49-F238E27FC236}">
                    <a16:creationId xmlns:a16="http://schemas.microsoft.com/office/drawing/2014/main" id="{759B0412-2937-483D-8FB3-85978A9C045D}"/>
                  </a:ext>
                </a:extLst>
              </p:cNvPr>
              <p:cNvSpPr>
                <a:spLocks noChangeAspect="1"/>
              </p:cNvSpPr>
              <p:nvPr/>
            </p:nvSpPr>
            <p:spPr>
              <a:xfrm>
                <a:off x="2880064" y="3881977"/>
                <a:ext cx="274320" cy="27432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755" name="Group 754">
                <a:extLst>
                  <a:ext uri="{FF2B5EF4-FFF2-40B4-BE49-F238E27FC236}">
                    <a16:creationId xmlns:a16="http://schemas.microsoft.com/office/drawing/2014/main" id="{49EE5DA4-54AF-4086-82E2-1EE5B9760DF1}"/>
                  </a:ext>
                </a:extLst>
              </p:cNvPr>
              <p:cNvGrpSpPr/>
              <p:nvPr/>
            </p:nvGrpSpPr>
            <p:grpSpPr>
              <a:xfrm>
                <a:off x="2934186" y="3958023"/>
                <a:ext cx="166077" cy="122228"/>
                <a:chOff x="5184662" y="2694894"/>
                <a:chExt cx="164415" cy="121006"/>
              </a:xfrm>
            </p:grpSpPr>
            <p:sp>
              <p:nvSpPr>
                <p:cNvPr id="756" name="Rectangle 49">
                  <a:extLst>
                    <a:ext uri="{FF2B5EF4-FFF2-40B4-BE49-F238E27FC236}">
                      <a16:creationId xmlns:a16="http://schemas.microsoft.com/office/drawing/2014/main" id="{DD48C44A-87EB-4184-A3DC-C6BC8FF52FA8}"/>
                    </a:ext>
                  </a:extLst>
                </p:cNvPr>
                <p:cNvSpPr>
                  <a:spLocks noChangeArrowheads="1"/>
                </p:cNvSpPr>
                <p:nvPr/>
              </p:nvSpPr>
              <p:spPr bwMode="auto">
                <a:xfrm>
                  <a:off x="5184662" y="2777916"/>
                  <a:ext cx="109610"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757" name="Rectangle 50">
                  <a:extLst>
                    <a:ext uri="{FF2B5EF4-FFF2-40B4-BE49-F238E27FC236}">
                      <a16:creationId xmlns:a16="http://schemas.microsoft.com/office/drawing/2014/main" id="{338EB343-C576-474A-BCFA-3D935C5E02AD}"/>
                    </a:ext>
                  </a:extLst>
                </p:cNvPr>
                <p:cNvSpPr>
                  <a:spLocks noChangeArrowheads="1"/>
                </p:cNvSpPr>
                <p:nvPr/>
              </p:nvSpPr>
              <p:spPr bwMode="auto">
                <a:xfrm>
                  <a:off x="5239467" y="2736133"/>
                  <a:ext cx="109610"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758" name="Rectangle 51">
                  <a:extLst>
                    <a:ext uri="{FF2B5EF4-FFF2-40B4-BE49-F238E27FC236}">
                      <a16:creationId xmlns:a16="http://schemas.microsoft.com/office/drawing/2014/main" id="{9791A716-AF83-4487-8B98-CA789759D430}"/>
                    </a:ext>
                  </a:extLst>
                </p:cNvPr>
                <p:cNvSpPr>
                  <a:spLocks noChangeArrowheads="1"/>
                </p:cNvSpPr>
                <p:nvPr/>
              </p:nvSpPr>
              <p:spPr bwMode="auto">
                <a:xfrm>
                  <a:off x="5299156" y="2777916"/>
                  <a:ext cx="49921"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759" name="Rectangle 52">
                  <a:extLst>
                    <a:ext uri="{FF2B5EF4-FFF2-40B4-BE49-F238E27FC236}">
                      <a16:creationId xmlns:a16="http://schemas.microsoft.com/office/drawing/2014/main" id="{4A7595AC-5866-4722-82F7-01A75EC1CAA9}"/>
                    </a:ext>
                  </a:extLst>
                </p:cNvPr>
                <p:cNvSpPr>
                  <a:spLocks noChangeArrowheads="1"/>
                </p:cNvSpPr>
                <p:nvPr/>
              </p:nvSpPr>
              <p:spPr bwMode="auto">
                <a:xfrm>
                  <a:off x="5299156" y="2694894"/>
                  <a:ext cx="49921" cy="37441"/>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760" name="Rectangle 53">
                  <a:extLst>
                    <a:ext uri="{FF2B5EF4-FFF2-40B4-BE49-F238E27FC236}">
                      <a16:creationId xmlns:a16="http://schemas.microsoft.com/office/drawing/2014/main" id="{7621342F-4CDC-48AC-BE96-5A1BE08B1C1E}"/>
                    </a:ext>
                  </a:extLst>
                </p:cNvPr>
                <p:cNvSpPr>
                  <a:spLocks noChangeArrowheads="1"/>
                </p:cNvSpPr>
                <p:nvPr/>
              </p:nvSpPr>
              <p:spPr bwMode="auto">
                <a:xfrm>
                  <a:off x="5184662" y="2736133"/>
                  <a:ext cx="49379"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761" name="Rectangle 54">
                  <a:extLst>
                    <a:ext uri="{FF2B5EF4-FFF2-40B4-BE49-F238E27FC236}">
                      <a16:creationId xmlns:a16="http://schemas.microsoft.com/office/drawing/2014/main" id="{F843B0C8-EE38-48D6-9D7A-687F27504FC3}"/>
                    </a:ext>
                  </a:extLst>
                </p:cNvPr>
                <p:cNvSpPr>
                  <a:spLocks noChangeArrowheads="1"/>
                </p:cNvSpPr>
                <p:nvPr/>
              </p:nvSpPr>
              <p:spPr bwMode="auto">
                <a:xfrm>
                  <a:off x="5184662" y="2694894"/>
                  <a:ext cx="109610" cy="37441"/>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algn="l" defTabSz="91416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sp>
          <p:nvSpPr>
            <p:cNvPr id="539" name="TextBox 538">
              <a:extLst>
                <a:ext uri="{FF2B5EF4-FFF2-40B4-BE49-F238E27FC236}">
                  <a16:creationId xmlns:a16="http://schemas.microsoft.com/office/drawing/2014/main" id="{37E306D4-EE93-40CC-8B81-1FFB18E3CAD4}"/>
                </a:ext>
              </a:extLst>
            </p:cNvPr>
            <p:cNvSpPr txBox="1"/>
            <p:nvPr/>
          </p:nvSpPr>
          <p:spPr>
            <a:xfrm>
              <a:off x="3765659" y="3406035"/>
              <a:ext cx="939417" cy="332399"/>
            </a:xfrm>
            <a:prstGeom prst="rect">
              <a:avLst/>
            </a:prstGeom>
            <a:solidFill>
              <a:schemeClr val="bg2"/>
            </a:solidFill>
          </p:spPr>
          <p:txBody>
            <a:bodyPr wrap="square" lIns="0" tIns="0" rIns="0" bIns="0" rtlCol="0">
              <a:spAutoFit/>
            </a:bodyPr>
            <a:lstStyle/>
            <a:p>
              <a:pPr marL="0" marR="0" lvl="0" indent="0" algn="l" defTabSz="457200" rtl="0" eaLnBrk="1" fontAlgn="base"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EBE4A">
                      <a:lumMod val="75000"/>
                    </a:srgbClr>
                  </a:solidFill>
                  <a:effectLst/>
                  <a:uLnTx/>
                  <a:uFillTx/>
                  <a:latin typeface="CiscoSansTT ExtraLight" panose="020B0303020201020303" pitchFamily="34" charset="0"/>
                  <a:ea typeface="Arial" charset="0"/>
                  <a:cs typeface="CiscoSansTT ExtraLight" panose="020B0303020201020303" pitchFamily="34" charset="0"/>
                </a:rPr>
                <a:t>Telemetry for Encrypted Traffic Analytics</a:t>
              </a:r>
            </a:p>
          </p:txBody>
        </p:sp>
      </p:grpSp>
    </p:spTree>
    <p:extLst>
      <p:ext uri="{BB962C8B-B14F-4D97-AF65-F5344CB8AC3E}">
        <p14:creationId xmlns:p14="http://schemas.microsoft.com/office/powerpoint/2010/main" val="24603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04"/>
                                        </p:tgtEl>
                                        <p:attrNameLst>
                                          <p:attrName>style.visibility</p:attrName>
                                        </p:attrNameLst>
                                      </p:cBhvr>
                                      <p:to>
                                        <p:strVal val="visible"/>
                                      </p:to>
                                    </p:set>
                                    <p:animEffect transition="in" filter="fade">
                                      <p:cBhvr>
                                        <p:cTn id="27" dur="500"/>
                                        <p:tgtEl>
                                          <p:spTgt spid="60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500"/>
                                        <p:tgtEl>
                                          <p:spTgt spid="3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4"/>
                                        </p:tgtEl>
                                        <p:attrNameLst>
                                          <p:attrName>style.visibility</p:attrName>
                                        </p:attrNameLst>
                                      </p:cBhvr>
                                      <p:to>
                                        <p:strVal val="visible"/>
                                      </p:to>
                                    </p:set>
                                    <p:animEffect transition="in" filter="fade">
                                      <p:cBhvr>
                                        <p:cTn id="42"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2380">
            <a:extLst>
              <a:ext uri="{FF2B5EF4-FFF2-40B4-BE49-F238E27FC236}">
                <a16:creationId xmlns:a16="http://schemas.microsoft.com/office/drawing/2014/main" id="{0EFD7B93-539C-4333-90BB-5BC499EC624A}"/>
              </a:ext>
            </a:extLst>
          </p:cNvPr>
          <p:cNvGrpSpPr>
            <a:grpSpLocks noChangeAspect="1"/>
          </p:cNvGrpSpPr>
          <p:nvPr/>
        </p:nvGrpSpPr>
        <p:grpSpPr bwMode="auto">
          <a:xfrm>
            <a:off x="-654269" y="-615394"/>
            <a:ext cx="10035517" cy="6374289"/>
            <a:chOff x="1246" y="0"/>
            <a:chExt cx="3268" cy="3240"/>
          </a:xfrm>
        </p:grpSpPr>
        <p:grpSp>
          <p:nvGrpSpPr>
            <p:cNvPr id="9" name="Group 2581">
              <a:extLst>
                <a:ext uri="{FF2B5EF4-FFF2-40B4-BE49-F238E27FC236}">
                  <a16:creationId xmlns:a16="http://schemas.microsoft.com/office/drawing/2014/main" id="{2B8BC159-D48A-4218-9CEF-2EDF294C23E9}"/>
                </a:ext>
              </a:extLst>
            </p:cNvPr>
            <p:cNvGrpSpPr>
              <a:grpSpLocks/>
            </p:cNvGrpSpPr>
            <p:nvPr/>
          </p:nvGrpSpPr>
          <p:grpSpPr bwMode="auto">
            <a:xfrm>
              <a:off x="1276" y="30"/>
              <a:ext cx="3178" cy="3180"/>
              <a:chOff x="1276" y="30"/>
              <a:chExt cx="3178" cy="3180"/>
            </a:xfrm>
          </p:grpSpPr>
          <p:sp>
            <p:nvSpPr>
              <p:cNvPr id="597" name="Line 2381">
                <a:extLst>
                  <a:ext uri="{FF2B5EF4-FFF2-40B4-BE49-F238E27FC236}">
                    <a16:creationId xmlns:a16="http://schemas.microsoft.com/office/drawing/2014/main" id="{E17EB3E2-F8DC-4385-85AE-3D32C92C7FA7}"/>
                  </a:ext>
                </a:extLst>
              </p:cNvPr>
              <p:cNvSpPr>
                <a:spLocks noChangeShapeType="1"/>
              </p:cNvSpPr>
              <p:nvPr/>
            </p:nvSpPr>
            <p:spPr bwMode="auto">
              <a:xfrm>
                <a:off x="3045" y="147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8" name="Freeform 2382">
                <a:extLst>
                  <a:ext uri="{FF2B5EF4-FFF2-40B4-BE49-F238E27FC236}">
                    <a16:creationId xmlns:a16="http://schemas.microsoft.com/office/drawing/2014/main" id="{5287B118-21C7-4DBD-A584-7EC48C164ABA}"/>
                  </a:ext>
                </a:extLst>
              </p:cNvPr>
              <p:cNvSpPr>
                <a:spLocks/>
              </p:cNvSpPr>
              <p:nvPr/>
            </p:nvSpPr>
            <p:spPr bwMode="auto">
              <a:xfrm>
                <a:off x="2625" y="1410"/>
                <a:ext cx="300" cy="210"/>
              </a:xfrm>
              <a:custGeom>
                <a:avLst/>
                <a:gdLst>
                  <a:gd name="T0" fmla="*/ 210 w 300"/>
                  <a:gd name="T1" fmla="*/ 90 h 210"/>
                  <a:gd name="T2" fmla="*/ 300 w 300"/>
                  <a:gd name="T3" fmla="*/ 30 h 210"/>
                  <a:gd name="T4" fmla="*/ 300 w 300"/>
                  <a:gd name="T5" fmla="*/ 120 h 210"/>
                  <a:gd name="T6" fmla="*/ 240 w 300"/>
                  <a:gd name="T7" fmla="*/ 210 h 210"/>
                  <a:gd name="T8" fmla="*/ 150 w 300"/>
                  <a:gd name="T9" fmla="*/ 150 h 210"/>
                  <a:gd name="T10" fmla="*/ 60 w 300"/>
                  <a:gd name="T11" fmla="*/ 90 h 210"/>
                  <a:gd name="T12" fmla="*/ 0 w 30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210" y="90"/>
                    </a:moveTo>
                    <a:lnTo>
                      <a:pt x="300" y="30"/>
                    </a:lnTo>
                    <a:lnTo>
                      <a:pt x="300" y="120"/>
                    </a:lnTo>
                    <a:lnTo>
                      <a:pt x="240" y="210"/>
                    </a:lnTo>
                    <a:lnTo>
                      <a:pt x="150" y="150"/>
                    </a:lnTo>
                    <a:lnTo>
                      <a:pt x="60" y="9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9" name="Freeform 2383">
                <a:extLst>
                  <a:ext uri="{FF2B5EF4-FFF2-40B4-BE49-F238E27FC236}">
                    <a16:creationId xmlns:a16="http://schemas.microsoft.com/office/drawing/2014/main" id="{EC0AFBB3-D026-43A2-95ED-ED44068A3906}"/>
                  </a:ext>
                </a:extLst>
              </p:cNvPr>
              <p:cNvSpPr>
                <a:spLocks/>
              </p:cNvSpPr>
              <p:nvPr/>
            </p:nvSpPr>
            <p:spPr bwMode="auto">
              <a:xfrm>
                <a:off x="2535" y="1292"/>
                <a:ext cx="180" cy="208"/>
              </a:xfrm>
              <a:custGeom>
                <a:avLst/>
                <a:gdLst>
                  <a:gd name="T0" fmla="*/ 0 w 180"/>
                  <a:gd name="T1" fmla="*/ 149 h 208"/>
                  <a:gd name="T2" fmla="*/ 150 w 180"/>
                  <a:gd name="T3" fmla="*/ 208 h 208"/>
                  <a:gd name="T4" fmla="*/ 180 w 180"/>
                  <a:gd name="T5" fmla="*/ 0 h 208"/>
                </a:gdLst>
                <a:ahLst/>
                <a:cxnLst>
                  <a:cxn ang="0">
                    <a:pos x="T0" y="T1"/>
                  </a:cxn>
                  <a:cxn ang="0">
                    <a:pos x="T2" y="T3"/>
                  </a:cxn>
                  <a:cxn ang="0">
                    <a:pos x="T4" y="T5"/>
                  </a:cxn>
                </a:cxnLst>
                <a:rect l="0" t="0" r="r" b="b"/>
                <a:pathLst>
                  <a:path w="180" h="208">
                    <a:moveTo>
                      <a:pt x="0" y="149"/>
                    </a:moveTo>
                    <a:lnTo>
                      <a:pt x="150" y="208"/>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0" name="Line 2384">
                <a:extLst>
                  <a:ext uri="{FF2B5EF4-FFF2-40B4-BE49-F238E27FC236}">
                    <a16:creationId xmlns:a16="http://schemas.microsoft.com/office/drawing/2014/main" id="{67AF2C16-D845-45BB-9860-CEF39C6217AF}"/>
                  </a:ext>
                </a:extLst>
              </p:cNvPr>
              <p:cNvSpPr>
                <a:spLocks noChangeShapeType="1"/>
              </p:cNvSpPr>
              <p:nvPr/>
            </p:nvSpPr>
            <p:spPr bwMode="auto">
              <a:xfrm flipH="1">
                <a:off x="2535" y="1620"/>
                <a:ext cx="18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1" name="Line 2385">
                <a:extLst>
                  <a:ext uri="{FF2B5EF4-FFF2-40B4-BE49-F238E27FC236}">
                    <a16:creationId xmlns:a16="http://schemas.microsoft.com/office/drawing/2014/main" id="{12A7711A-7CED-4794-BF09-D2E35B5ADC7D}"/>
                  </a:ext>
                </a:extLst>
              </p:cNvPr>
              <p:cNvSpPr>
                <a:spLocks noChangeShapeType="1"/>
              </p:cNvSpPr>
              <p:nvPr/>
            </p:nvSpPr>
            <p:spPr bwMode="auto">
              <a:xfrm>
                <a:off x="2595" y="156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2" name="Freeform 2386">
                <a:extLst>
                  <a:ext uri="{FF2B5EF4-FFF2-40B4-BE49-F238E27FC236}">
                    <a16:creationId xmlns:a16="http://schemas.microsoft.com/office/drawing/2014/main" id="{1280CC53-A3AD-4AE5-AA22-7D439FFD7042}"/>
                  </a:ext>
                </a:extLst>
              </p:cNvPr>
              <p:cNvSpPr>
                <a:spLocks/>
              </p:cNvSpPr>
              <p:nvPr/>
            </p:nvSpPr>
            <p:spPr bwMode="auto">
              <a:xfrm>
                <a:off x="2535" y="1650"/>
                <a:ext cx="210" cy="330"/>
              </a:xfrm>
              <a:custGeom>
                <a:avLst/>
                <a:gdLst>
                  <a:gd name="T0" fmla="*/ 120 w 210"/>
                  <a:gd name="T1" fmla="*/ 60 h 330"/>
                  <a:gd name="T2" fmla="*/ 0 w 210"/>
                  <a:gd name="T3" fmla="*/ 0 h 330"/>
                  <a:gd name="T4" fmla="*/ 0 w 210"/>
                  <a:gd name="T5" fmla="*/ 330 h 330"/>
                  <a:gd name="T6" fmla="*/ 210 w 210"/>
                  <a:gd name="T7" fmla="*/ 270 h 330"/>
                  <a:gd name="T8" fmla="*/ 119 w 210"/>
                  <a:gd name="T9" fmla="*/ 182 h 330"/>
                </a:gdLst>
                <a:ahLst/>
                <a:cxnLst>
                  <a:cxn ang="0">
                    <a:pos x="T0" y="T1"/>
                  </a:cxn>
                  <a:cxn ang="0">
                    <a:pos x="T2" y="T3"/>
                  </a:cxn>
                  <a:cxn ang="0">
                    <a:pos x="T4" y="T5"/>
                  </a:cxn>
                  <a:cxn ang="0">
                    <a:pos x="T6" y="T7"/>
                  </a:cxn>
                  <a:cxn ang="0">
                    <a:pos x="T8" y="T9"/>
                  </a:cxn>
                </a:cxnLst>
                <a:rect l="0" t="0" r="r" b="b"/>
                <a:pathLst>
                  <a:path w="210" h="330">
                    <a:moveTo>
                      <a:pt x="120" y="60"/>
                    </a:moveTo>
                    <a:lnTo>
                      <a:pt x="0" y="0"/>
                    </a:lnTo>
                    <a:lnTo>
                      <a:pt x="0" y="330"/>
                    </a:lnTo>
                    <a:lnTo>
                      <a:pt x="210" y="270"/>
                    </a:lnTo>
                    <a:lnTo>
                      <a:pt x="119" y="18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3" name="Freeform 2387">
                <a:extLst>
                  <a:ext uri="{FF2B5EF4-FFF2-40B4-BE49-F238E27FC236}">
                    <a16:creationId xmlns:a16="http://schemas.microsoft.com/office/drawing/2014/main" id="{0039B235-B137-4B96-801E-CD5DF1DC0415}"/>
                  </a:ext>
                </a:extLst>
              </p:cNvPr>
              <p:cNvSpPr>
                <a:spLocks/>
              </p:cNvSpPr>
              <p:nvPr/>
            </p:nvSpPr>
            <p:spPr bwMode="auto">
              <a:xfrm>
                <a:off x="2654" y="1680"/>
                <a:ext cx="151" cy="152"/>
              </a:xfrm>
              <a:custGeom>
                <a:avLst/>
                <a:gdLst>
                  <a:gd name="T0" fmla="*/ 121 w 151"/>
                  <a:gd name="T1" fmla="*/ 0 h 152"/>
                  <a:gd name="T2" fmla="*/ 151 w 151"/>
                  <a:gd name="T3" fmla="*/ 120 h 152"/>
                  <a:gd name="T4" fmla="*/ 0 w 151"/>
                  <a:gd name="T5" fmla="*/ 152 h 152"/>
                  <a:gd name="T6" fmla="*/ 1 w 151"/>
                  <a:gd name="T7" fmla="*/ 30 h 152"/>
                  <a:gd name="T8" fmla="*/ 121 w 151"/>
                  <a:gd name="T9" fmla="*/ 0 h 152"/>
                </a:gdLst>
                <a:ahLst/>
                <a:cxnLst>
                  <a:cxn ang="0">
                    <a:pos x="T0" y="T1"/>
                  </a:cxn>
                  <a:cxn ang="0">
                    <a:pos x="T2" y="T3"/>
                  </a:cxn>
                  <a:cxn ang="0">
                    <a:pos x="T4" y="T5"/>
                  </a:cxn>
                  <a:cxn ang="0">
                    <a:pos x="T6" y="T7"/>
                  </a:cxn>
                  <a:cxn ang="0">
                    <a:pos x="T8" y="T9"/>
                  </a:cxn>
                </a:cxnLst>
                <a:rect l="0" t="0" r="r" b="b"/>
                <a:pathLst>
                  <a:path w="151" h="152">
                    <a:moveTo>
                      <a:pt x="121" y="0"/>
                    </a:moveTo>
                    <a:lnTo>
                      <a:pt x="151" y="120"/>
                    </a:lnTo>
                    <a:lnTo>
                      <a:pt x="0" y="152"/>
                    </a:lnTo>
                    <a:lnTo>
                      <a:pt x="1" y="30"/>
                    </a:lnTo>
                    <a:lnTo>
                      <a:pt x="121"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4" name="Freeform 2388">
                <a:extLst>
                  <a:ext uri="{FF2B5EF4-FFF2-40B4-BE49-F238E27FC236}">
                    <a16:creationId xmlns:a16="http://schemas.microsoft.com/office/drawing/2014/main" id="{0EC00A8E-6218-41F3-AE82-C6E7E24CFE31}"/>
                  </a:ext>
                </a:extLst>
              </p:cNvPr>
              <p:cNvSpPr>
                <a:spLocks/>
              </p:cNvSpPr>
              <p:nvPr/>
            </p:nvSpPr>
            <p:spPr bwMode="auto">
              <a:xfrm>
                <a:off x="2805" y="1620"/>
                <a:ext cx="240" cy="270"/>
              </a:xfrm>
              <a:custGeom>
                <a:avLst/>
                <a:gdLst>
                  <a:gd name="T0" fmla="*/ 0 w 240"/>
                  <a:gd name="T1" fmla="*/ 180 h 270"/>
                  <a:gd name="T2" fmla="*/ 60 w 240"/>
                  <a:gd name="T3" fmla="*/ 0 h 270"/>
                  <a:gd name="T4" fmla="*/ 90 w 240"/>
                  <a:gd name="T5" fmla="*/ 90 h 270"/>
                  <a:gd name="T6" fmla="*/ 120 w 240"/>
                  <a:gd name="T7" fmla="*/ 180 h 270"/>
                  <a:gd name="T8" fmla="*/ 150 w 240"/>
                  <a:gd name="T9" fmla="*/ 270 h 270"/>
                  <a:gd name="T10" fmla="*/ 240 w 240"/>
                  <a:gd name="T11" fmla="*/ 150 h 270"/>
                </a:gdLst>
                <a:ahLst/>
                <a:cxnLst>
                  <a:cxn ang="0">
                    <a:pos x="T0" y="T1"/>
                  </a:cxn>
                  <a:cxn ang="0">
                    <a:pos x="T2" y="T3"/>
                  </a:cxn>
                  <a:cxn ang="0">
                    <a:pos x="T4" y="T5"/>
                  </a:cxn>
                  <a:cxn ang="0">
                    <a:pos x="T6" y="T7"/>
                  </a:cxn>
                  <a:cxn ang="0">
                    <a:pos x="T8" y="T9"/>
                  </a:cxn>
                  <a:cxn ang="0">
                    <a:pos x="T10" y="T11"/>
                  </a:cxn>
                </a:cxnLst>
                <a:rect l="0" t="0" r="r" b="b"/>
                <a:pathLst>
                  <a:path w="240" h="270">
                    <a:moveTo>
                      <a:pt x="0" y="180"/>
                    </a:moveTo>
                    <a:lnTo>
                      <a:pt x="60" y="0"/>
                    </a:lnTo>
                    <a:lnTo>
                      <a:pt x="90" y="90"/>
                    </a:lnTo>
                    <a:lnTo>
                      <a:pt x="120" y="180"/>
                    </a:lnTo>
                    <a:lnTo>
                      <a:pt x="150" y="270"/>
                    </a:lnTo>
                    <a:lnTo>
                      <a:pt x="24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5" name="Freeform 2389">
                <a:extLst>
                  <a:ext uri="{FF2B5EF4-FFF2-40B4-BE49-F238E27FC236}">
                    <a16:creationId xmlns:a16="http://schemas.microsoft.com/office/drawing/2014/main" id="{C139F480-84A8-448B-9419-45E240DDCDB3}"/>
                  </a:ext>
                </a:extLst>
              </p:cNvPr>
              <p:cNvSpPr>
                <a:spLocks/>
              </p:cNvSpPr>
              <p:nvPr/>
            </p:nvSpPr>
            <p:spPr bwMode="auto">
              <a:xfrm>
                <a:off x="2688" y="1800"/>
                <a:ext cx="237" cy="270"/>
              </a:xfrm>
              <a:custGeom>
                <a:avLst/>
                <a:gdLst>
                  <a:gd name="T0" fmla="*/ 237 w 237"/>
                  <a:gd name="T1" fmla="*/ 0 h 270"/>
                  <a:gd name="T2" fmla="*/ 177 w 237"/>
                  <a:gd name="T3" fmla="*/ 122 h 270"/>
                  <a:gd name="T4" fmla="*/ 117 w 237"/>
                  <a:gd name="T5" fmla="*/ 0 h 270"/>
                  <a:gd name="T6" fmla="*/ 57 w 237"/>
                  <a:gd name="T7" fmla="*/ 120 h 270"/>
                  <a:gd name="T8" fmla="*/ 147 w 237"/>
                  <a:gd name="T9" fmla="*/ 270 h 270"/>
                  <a:gd name="T10" fmla="*/ 0 w 237"/>
                  <a:gd name="T11" fmla="*/ 213 h 270"/>
                </a:gdLst>
                <a:ahLst/>
                <a:cxnLst>
                  <a:cxn ang="0">
                    <a:pos x="T0" y="T1"/>
                  </a:cxn>
                  <a:cxn ang="0">
                    <a:pos x="T2" y="T3"/>
                  </a:cxn>
                  <a:cxn ang="0">
                    <a:pos x="T4" y="T5"/>
                  </a:cxn>
                  <a:cxn ang="0">
                    <a:pos x="T6" y="T7"/>
                  </a:cxn>
                  <a:cxn ang="0">
                    <a:pos x="T8" y="T9"/>
                  </a:cxn>
                  <a:cxn ang="0">
                    <a:pos x="T10" y="T11"/>
                  </a:cxn>
                </a:cxnLst>
                <a:rect l="0" t="0" r="r" b="b"/>
                <a:pathLst>
                  <a:path w="237" h="270">
                    <a:moveTo>
                      <a:pt x="237" y="0"/>
                    </a:moveTo>
                    <a:lnTo>
                      <a:pt x="177" y="122"/>
                    </a:lnTo>
                    <a:lnTo>
                      <a:pt x="117" y="0"/>
                    </a:lnTo>
                    <a:lnTo>
                      <a:pt x="57" y="120"/>
                    </a:lnTo>
                    <a:lnTo>
                      <a:pt x="147" y="270"/>
                    </a:lnTo>
                    <a:lnTo>
                      <a:pt x="0" y="21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6" name="Freeform 2390">
                <a:extLst>
                  <a:ext uri="{FF2B5EF4-FFF2-40B4-BE49-F238E27FC236}">
                    <a16:creationId xmlns:a16="http://schemas.microsoft.com/office/drawing/2014/main" id="{75241061-DDF9-416B-9AAF-F9DD356E7BBC}"/>
                  </a:ext>
                </a:extLst>
              </p:cNvPr>
              <p:cNvSpPr>
                <a:spLocks/>
              </p:cNvSpPr>
              <p:nvPr/>
            </p:nvSpPr>
            <p:spPr bwMode="auto">
              <a:xfrm>
                <a:off x="2355" y="1440"/>
                <a:ext cx="390" cy="570"/>
              </a:xfrm>
              <a:custGeom>
                <a:avLst/>
                <a:gdLst>
                  <a:gd name="T0" fmla="*/ 390 w 390"/>
                  <a:gd name="T1" fmla="*/ 480 h 570"/>
                  <a:gd name="T2" fmla="*/ 330 w 390"/>
                  <a:gd name="T3" fmla="*/ 570 h 570"/>
                  <a:gd name="T4" fmla="*/ 180 w 390"/>
                  <a:gd name="T5" fmla="*/ 540 h 570"/>
                  <a:gd name="T6" fmla="*/ 300 w 390"/>
                  <a:gd name="T7" fmla="*/ 390 h 570"/>
                  <a:gd name="T8" fmla="*/ 120 w 390"/>
                  <a:gd name="T9" fmla="*/ 390 h 570"/>
                  <a:gd name="T10" fmla="*/ 180 w 390"/>
                  <a:gd name="T11" fmla="*/ 210 h 570"/>
                  <a:gd name="T12" fmla="*/ 60 w 390"/>
                  <a:gd name="T13" fmla="*/ 330 h 570"/>
                  <a:gd name="T14" fmla="*/ 0 w 390"/>
                  <a:gd name="T15" fmla="*/ 180 h 570"/>
                  <a:gd name="T16" fmla="*/ 60 w 390"/>
                  <a:gd name="T17" fmla="*/ 60 h 570"/>
                  <a:gd name="T18" fmla="*/ 240 w 390"/>
                  <a:gd name="T19" fmla="*/ 120 h 570"/>
                  <a:gd name="T20" fmla="*/ 180 w 39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570">
                    <a:moveTo>
                      <a:pt x="390" y="480"/>
                    </a:moveTo>
                    <a:lnTo>
                      <a:pt x="330" y="570"/>
                    </a:lnTo>
                    <a:lnTo>
                      <a:pt x="180" y="540"/>
                    </a:lnTo>
                    <a:lnTo>
                      <a:pt x="300" y="390"/>
                    </a:lnTo>
                    <a:lnTo>
                      <a:pt x="120" y="390"/>
                    </a:lnTo>
                    <a:lnTo>
                      <a:pt x="180" y="210"/>
                    </a:lnTo>
                    <a:lnTo>
                      <a:pt x="60" y="330"/>
                    </a:lnTo>
                    <a:lnTo>
                      <a:pt x="0" y="180"/>
                    </a:lnTo>
                    <a:lnTo>
                      <a:pt x="60" y="60"/>
                    </a:lnTo>
                    <a:lnTo>
                      <a:pt x="240" y="120"/>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7" name="Freeform 2391">
                <a:extLst>
                  <a:ext uri="{FF2B5EF4-FFF2-40B4-BE49-F238E27FC236}">
                    <a16:creationId xmlns:a16="http://schemas.microsoft.com/office/drawing/2014/main" id="{27491140-E0F8-46BC-9656-969D15B18023}"/>
                  </a:ext>
                </a:extLst>
              </p:cNvPr>
              <p:cNvSpPr>
                <a:spLocks/>
              </p:cNvSpPr>
              <p:nvPr/>
            </p:nvSpPr>
            <p:spPr bwMode="auto">
              <a:xfrm>
                <a:off x="2355" y="1410"/>
                <a:ext cx="480" cy="420"/>
              </a:xfrm>
              <a:custGeom>
                <a:avLst/>
                <a:gdLst>
                  <a:gd name="T0" fmla="*/ 300 w 480"/>
                  <a:gd name="T1" fmla="*/ 420 h 420"/>
                  <a:gd name="T2" fmla="*/ 0 w 480"/>
                  <a:gd name="T3" fmla="*/ 210 h 420"/>
                  <a:gd name="T4" fmla="*/ 180 w 480"/>
                  <a:gd name="T5" fmla="*/ 240 h 420"/>
                  <a:gd name="T6" fmla="*/ 90 w 480"/>
                  <a:gd name="T7" fmla="*/ 0 h 420"/>
                  <a:gd name="T8" fmla="*/ 240 w 480"/>
                  <a:gd name="T9" fmla="*/ 150 h 420"/>
                  <a:gd name="T10" fmla="*/ 270 w 480"/>
                  <a:gd name="T11" fmla="*/ 0 h 420"/>
                  <a:gd name="T12" fmla="*/ 420 w 480"/>
                  <a:gd name="T13" fmla="*/ 0 h 420"/>
                  <a:gd name="T14" fmla="*/ 480 w 480"/>
                  <a:gd name="T15" fmla="*/ 9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0" h="420">
                    <a:moveTo>
                      <a:pt x="300" y="420"/>
                    </a:moveTo>
                    <a:lnTo>
                      <a:pt x="0" y="210"/>
                    </a:lnTo>
                    <a:lnTo>
                      <a:pt x="180" y="240"/>
                    </a:lnTo>
                    <a:lnTo>
                      <a:pt x="90" y="0"/>
                    </a:lnTo>
                    <a:lnTo>
                      <a:pt x="240" y="150"/>
                    </a:lnTo>
                    <a:lnTo>
                      <a:pt x="270" y="0"/>
                    </a:lnTo>
                    <a:lnTo>
                      <a:pt x="420" y="0"/>
                    </a:lnTo>
                    <a:lnTo>
                      <a:pt x="4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8" name="Freeform 2392">
                <a:extLst>
                  <a:ext uri="{FF2B5EF4-FFF2-40B4-BE49-F238E27FC236}">
                    <a16:creationId xmlns:a16="http://schemas.microsoft.com/office/drawing/2014/main" id="{8416A365-025B-4859-B336-FFA316FD3EA8}"/>
                  </a:ext>
                </a:extLst>
              </p:cNvPr>
              <p:cNvSpPr>
                <a:spLocks/>
              </p:cNvSpPr>
              <p:nvPr/>
            </p:nvSpPr>
            <p:spPr bwMode="auto">
              <a:xfrm>
                <a:off x="2925" y="1260"/>
                <a:ext cx="120" cy="300"/>
              </a:xfrm>
              <a:custGeom>
                <a:avLst/>
                <a:gdLst>
                  <a:gd name="T0" fmla="*/ 0 w 120"/>
                  <a:gd name="T1" fmla="*/ 0 h 300"/>
                  <a:gd name="T2" fmla="*/ 0 w 120"/>
                  <a:gd name="T3" fmla="*/ 180 h 300"/>
                  <a:gd name="T4" fmla="*/ 120 w 120"/>
                  <a:gd name="T5" fmla="*/ 90 h 300"/>
                  <a:gd name="T6" fmla="*/ 120 w 120"/>
                  <a:gd name="T7" fmla="*/ 210 h 300"/>
                  <a:gd name="T8" fmla="*/ 90 w 120"/>
                  <a:gd name="T9" fmla="*/ 300 h 300"/>
                </a:gdLst>
                <a:ahLst/>
                <a:cxnLst>
                  <a:cxn ang="0">
                    <a:pos x="T0" y="T1"/>
                  </a:cxn>
                  <a:cxn ang="0">
                    <a:pos x="T2" y="T3"/>
                  </a:cxn>
                  <a:cxn ang="0">
                    <a:pos x="T4" y="T5"/>
                  </a:cxn>
                  <a:cxn ang="0">
                    <a:pos x="T6" y="T7"/>
                  </a:cxn>
                  <a:cxn ang="0">
                    <a:pos x="T8" y="T9"/>
                  </a:cxn>
                </a:cxnLst>
                <a:rect l="0" t="0" r="r" b="b"/>
                <a:pathLst>
                  <a:path w="120" h="300">
                    <a:moveTo>
                      <a:pt x="0" y="0"/>
                    </a:moveTo>
                    <a:lnTo>
                      <a:pt x="0" y="180"/>
                    </a:lnTo>
                    <a:lnTo>
                      <a:pt x="120" y="90"/>
                    </a:lnTo>
                    <a:lnTo>
                      <a:pt x="120" y="210"/>
                    </a:lnTo>
                    <a:lnTo>
                      <a:pt x="9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09" name="Freeform 2393">
                <a:extLst>
                  <a:ext uri="{FF2B5EF4-FFF2-40B4-BE49-F238E27FC236}">
                    <a16:creationId xmlns:a16="http://schemas.microsoft.com/office/drawing/2014/main" id="{8676567F-3C36-4DAF-9642-17643DA4BB65}"/>
                  </a:ext>
                </a:extLst>
              </p:cNvPr>
              <p:cNvSpPr>
                <a:spLocks/>
              </p:cNvSpPr>
              <p:nvPr/>
            </p:nvSpPr>
            <p:spPr bwMode="auto">
              <a:xfrm>
                <a:off x="2715" y="1292"/>
                <a:ext cx="330" cy="178"/>
              </a:xfrm>
              <a:custGeom>
                <a:avLst/>
                <a:gdLst>
                  <a:gd name="T0" fmla="*/ 0 w 330"/>
                  <a:gd name="T1" fmla="*/ 0 h 178"/>
                  <a:gd name="T2" fmla="*/ 60 w 330"/>
                  <a:gd name="T3" fmla="*/ 118 h 178"/>
                  <a:gd name="T4" fmla="*/ 150 w 330"/>
                  <a:gd name="T5" fmla="*/ 28 h 178"/>
                  <a:gd name="T6" fmla="*/ 330 w 330"/>
                  <a:gd name="T7" fmla="*/ 178 h 178"/>
                </a:gdLst>
                <a:ahLst/>
                <a:cxnLst>
                  <a:cxn ang="0">
                    <a:pos x="T0" y="T1"/>
                  </a:cxn>
                  <a:cxn ang="0">
                    <a:pos x="T2" y="T3"/>
                  </a:cxn>
                  <a:cxn ang="0">
                    <a:pos x="T4" y="T5"/>
                  </a:cxn>
                  <a:cxn ang="0">
                    <a:pos x="T6" y="T7"/>
                  </a:cxn>
                </a:cxnLst>
                <a:rect l="0" t="0" r="r" b="b"/>
                <a:pathLst>
                  <a:path w="330" h="178">
                    <a:moveTo>
                      <a:pt x="0" y="0"/>
                    </a:moveTo>
                    <a:lnTo>
                      <a:pt x="60" y="118"/>
                    </a:lnTo>
                    <a:lnTo>
                      <a:pt x="150" y="28"/>
                    </a:lnTo>
                    <a:lnTo>
                      <a:pt x="330" y="17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0" name="Line 2394">
                <a:extLst>
                  <a:ext uri="{FF2B5EF4-FFF2-40B4-BE49-F238E27FC236}">
                    <a16:creationId xmlns:a16="http://schemas.microsoft.com/office/drawing/2014/main" id="{1BDDBE8C-015E-4C06-BEAB-7EC1BC3E2E7B}"/>
                  </a:ext>
                </a:extLst>
              </p:cNvPr>
              <p:cNvSpPr>
                <a:spLocks noChangeShapeType="1"/>
              </p:cNvSpPr>
              <p:nvPr/>
            </p:nvSpPr>
            <p:spPr bwMode="auto">
              <a:xfrm flipH="1">
                <a:off x="2925" y="1410"/>
                <a:ext cx="24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1" name="Freeform 2395">
                <a:extLst>
                  <a:ext uri="{FF2B5EF4-FFF2-40B4-BE49-F238E27FC236}">
                    <a16:creationId xmlns:a16="http://schemas.microsoft.com/office/drawing/2014/main" id="{FB3C597E-9635-4BC8-97B0-541622858207}"/>
                  </a:ext>
                </a:extLst>
              </p:cNvPr>
              <p:cNvSpPr>
                <a:spLocks/>
              </p:cNvSpPr>
              <p:nvPr/>
            </p:nvSpPr>
            <p:spPr bwMode="auto">
              <a:xfrm>
                <a:off x="2086" y="2070"/>
                <a:ext cx="899" cy="720"/>
              </a:xfrm>
              <a:custGeom>
                <a:avLst/>
                <a:gdLst>
                  <a:gd name="T0" fmla="*/ 59 w 899"/>
                  <a:gd name="T1" fmla="*/ 240 h 720"/>
                  <a:gd name="T2" fmla="*/ 179 w 899"/>
                  <a:gd name="T3" fmla="*/ 390 h 720"/>
                  <a:gd name="T4" fmla="*/ 239 w 899"/>
                  <a:gd name="T5" fmla="*/ 300 h 720"/>
                  <a:gd name="T6" fmla="*/ 329 w 899"/>
                  <a:gd name="T7" fmla="*/ 360 h 720"/>
                  <a:gd name="T8" fmla="*/ 329 w 899"/>
                  <a:gd name="T9" fmla="*/ 240 h 720"/>
                  <a:gd name="T10" fmla="*/ 179 w 899"/>
                  <a:gd name="T11" fmla="*/ 181 h 720"/>
                  <a:gd name="T12" fmla="*/ 269 w 899"/>
                  <a:gd name="T13" fmla="*/ 150 h 720"/>
                  <a:gd name="T14" fmla="*/ 389 w 899"/>
                  <a:gd name="T15" fmla="*/ 120 h 720"/>
                  <a:gd name="T16" fmla="*/ 449 w 899"/>
                  <a:gd name="T17" fmla="*/ 300 h 720"/>
                  <a:gd name="T18" fmla="*/ 539 w 899"/>
                  <a:gd name="T19" fmla="*/ 180 h 720"/>
                  <a:gd name="T20" fmla="*/ 509 w 899"/>
                  <a:gd name="T21" fmla="*/ 60 h 720"/>
                  <a:gd name="T22" fmla="*/ 359 w 899"/>
                  <a:gd name="T23" fmla="*/ 30 h 720"/>
                  <a:gd name="T24" fmla="*/ 569 w 899"/>
                  <a:gd name="T25" fmla="*/ 0 h 720"/>
                  <a:gd name="T26" fmla="*/ 689 w 899"/>
                  <a:gd name="T27" fmla="*/ 90 h 720"/>
                  <a:gd name="T28" fmla="*/ 659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89 w 899"/>
                  <a:gd name="T41" fmla="*/ 390 h 720"/>
                  <a:gd name="T42" fmla="*/ 539 w 899"/>
                  <a:gd name="T43" fmla="*/ 330 h 720"/>
                  <a:gd name="T44" fmla="*/ 569 w 899"/>
                  <a:gd name="T45" fmla="*/ 450 h 720"/>
                  <a:gd name="T46" fmla="*/ 419 w 899"/>
                  <a:gd name="T47" fmla="*/ 420 h 720"/>
                  <a:gd name="T48" fmla="*/ 389 w 899"/>
                  <a:gd name="T49" fmla="*/ 540 h 720"/>
                  <a:gd name="T50" fmla="*/ 509 w 899"/>
                  <a:gd name="T51" fmla="*/ 570 h 720"/>
                  <a:gd name="T52" fmla="*/ 659 w 899"/>
                  <a:gd name="T53" fmla="*/ 570 h 720"/>
                  <a:gd name="T54" fmla="*/ 599 w 899"/>
                  <a:gd name="T55" fmla="*/ 720 h 720"/>
                  <a:gd name="T56" fmla="*/ 299 w 899"/>
                  <a:gd name="T57" fmla="*/ 630 h 720"/>
                  <a:gd name="T58" fmla="*/ 268 w 899"/>
                  <a:gd name="T59" fmla="*/ 482 h 720"/>
                  <a:gd name="T60" fmla="*/ 179 w 899"/>
                  <a:gd name="T61" fmla="*/ 570 h 720"/>
                  <a:gd name="T62" fmla="*/ 59 w 899"/>
                  <a:gd name="T63" fmla="*/ 480 h 720"/>
                  <a:gd name="T64" fmla="*/ 0 w 899"/>
                  <a:gd name="T65" fmla="*/ 360 h 720"/>
                  <a:gd name="T66" fmla="*/ 59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59" y="240"/>
                    </a:move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599" y="720"/>
                    </a:lnTo>
                    <a:lnTo>
                      <a:pt x="299" y="630"/>
                    </a:lnTo>
                    <a:lnTo>
                      <a:pt x="268" y="482"/>
                    </a:lnTo>
                    <a:lnTo>
                      <a:pt x="179" y="570"/>
                    </a:lnTo>
                    <a:lnTo>
                      <a:pt x="59" y="480"/>
                    </a:lnTo>
                    <a:lnTo>
                      <a:pt x="0" y="360"/>
                    </a:lnTo>
                    <a:lnTo>
                      <a:pt x="59"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2" name="Line 2396">
                <a:extLst>
                  <a:ext uri="{FF2B5EF4-FFF2-40B4-BE49-F238E27FC236}">
                    <a16:creationId xmlns:a16="http://schemas.microsoft.com/office/drawing/2014/main" id="{0997670F-99E5-4B79-8442-4FA844DA6D32}"/>
                  </a:ext>
                </a:extLst>
              </p:cNvPr>
              <p:cNvSpPr>
                <a:spLocks noChangeShapeType="1"/>
              </p:cNvSpPr>
              <p:nvPr/>
            </p:nvSpPr>
            <p:spPr bwMode="auto">
              <a:xfrm flipH="1">
                <a:off x="2145" y="225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3" name="Freeform 2397">
                <a:extLst>
                  <a:ext uri="{FF2B5EF4-FFF2-40B4-BE49-F238E27FC236}">
                    <a16:creationId xmlns:a16="http://schemas.microsoft.com/office/drawing/2014/main" id="{FCCE8E8D-A720-4DFA-86FD-7D95C9B25E45}"/>
                  </a:ext>
                </a:extLst>
              </p:cNvPr>
              <p:cNvSpPr>
                <a:spLocks/>
              </p:cNvSpPr>
              <p:nvPr/>
            </p:nvSpPr>
            <p:spPr bwMode="auto">
              <a:xfrm>
                <a:off x="2354" y="243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4" name="Freeform 2398">
                <a:extLst>
                  <a:ext uri="{FF2B5EF4-FFF2-40B4-BE49-F238E27FC236}">
                    <a16:creationId xmlns:a16="http://schemas.microsoft.com/office/drawing/2014/main" id="{CFD4E33D-949E-407F-9D11-9E15CAC47BB7}"/>
                  </a:ext>
                </a:extLst>
              </p:cNvPr>
              <p:cNvSpPr>
                <a:spLocks/>
              </p:cNvSpPr>
              <p:nvPr/>
            </p:nvSpPr>
            <p:spPr bwMode="auto">
              <a:xfrm>
                <a:off x="2415" y="1980"/>
                <a:ext cx="240" cy="330"/>
              </a:xfrm>
              <a:custGeom>
                <a:avLst/>
                <a:gdLst>
                  <a:gd name="T0" fmla="*/ 180 w 240"/>
                  <a:gd name="T1" fmla="*/ 150 h 330"/>
                  <a:gd name="T2" fmla="*/ 120 w 240"/>
                  <a:gd name="T3" fmla="*/ 0 h 330"/>
                  <a:gd name="T4" fmla="*/ 240 w 240"/>
                  <a:gd name="T5" fmla="*/ 90 h 330"/>
                  <a:gd name="T6" fmla="*/ 210 w 240"/>
                  <a:gd name="T7" fmla="*/ 270 h 330"/>
                  <a:gd name="T8" fmla="*/ 0 w 240"/>
                  <a:gd name="T9" fmla="*/ 330 h 330"/>
                </a:gdLst>
                <a:ahLst/>
                <a:cxnLst>
                  <a:cxn ang="0">
                    <a:pos x="T0" y="T1"/>
                  </a:cxn>
                  <a:cxn ang="0">
                    <a:pos x="T2" y="T3"/>
                  </a:cxn>
                  <a:cxn ang="0">
                    <a:pos x="T4" y="T5"/>
                  </a:cxn>
                  <a:cxn ang="0">
                    <a:pos x="T6" y="T7"/>
                  </a:cxn>
                  <a:cxn ang="0">
                    <a:pos x="T8" y="T9"/>
                  </a:cxn>
                </a:cxnLst>
                <a:rect l="0" t="0" r="r" b="b"/>
                <a:pathLst>
                  <a:path w="240" h="330">
                    <a:moveTo>
                      <a:pt x="180" y="150"/>
                    </a:moveTo>
                    <a:lnTo>
                      <a:pt x="120" y="0"/>
                    </a:lnTo>
                    <a:lnTo>
                      <a:pt x="240" y="90"/>
                    </a:lnTo>
                    <a:lnTo>
                      <a:pt x="21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5" name="Line 2399">
                <a:extLst>
                  <a:ext uri="{FF2B5EF4-FFF2-40B4-BE49-F238E27FC236}">
                    <a16:creationId xmlns:a16="http://schemas.microsoft.com/office/drawing/2014/main" id="{4ACDB182-5233-4D93-BDD9-A7AC18B9930C}"/>
                  </a:ext>
                </a:extLst>
              </p:cNvPr>
              <p:cNvSpPr>
                <a:spLocks noChangeShapeType="1"/>
              </p:cNvSpPr>
              <p:nvPr/>
            </p:nvSpPr>
            <p:spPr bwMode="auto">
              <a:xfrm>
                <a:off x="247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6" name="Freeform 2400">
                <a:extLst>
                  <a:ext uri="{FF2B5EF4-FFF2-40B4-BE49-F238E27FC236}">
                    <a16:creationId xmlns:a16="http://schemas.microsoft.com/office/drawing/2014/main" id="{7C6DF5A9-DEF6-478D-8B35-9B6B83188A6F}"/>
                  </a:ext>
                </a:extLst>
              </p:cNvPr>
              <p:cNvSpPr>
                <a:spLocks/>
              </p:cNvSpPr>
              <p:nvPr/>
            </p:nvSpPr>
            <p:spPr bwMode="auto">
              <a:xfrm>
                <a:off x="3045" y="207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7" name="Freeform 2401">
                <a:extLst>
                  <a:ext uri="{FF2B5EF4-FFF2-40B4-BE49-F238E27FC236}">
                    <a16:creationId xmlns:a16="http://schemas.microsoft.com/office/drawing/2014/main" id="{C530EC77-F2E3-4D3B-AAE5-AD8CC9C0D1BB}"/>
                  </a:ext>
                </a:extLst>
              </p:cNvPr>
              <p:cNvSpPr>
                <a:spLocks/>
              </p:cNvSpPr>
              <p:nvPr/>
            </p:nvSpPr>
            <p:spPr bwMode="auto">
              <a:xfrm>
                <a:off x="3105" y="222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8" name="Freeform 2402">
                <a:extLst>
                  <a:ext uri="{FF2B5EF4-FFF2-40B4-BE49-F238E27FC236}">
                    <a16:creationId xmlns:a16="http://schemas.microsoft.com/office/drawing/2014/main" id="{65B7B19B-36D5-4A9F-807B-6CD1AF46F42E}"/>
                  </a:ext>
                </a:extLst>
              </p:cNvPr>
              <p:cNvSpPr>
                <a:spLocks/>
              </p:cNvSpPr>
              <p:nvPr/>
            </p:nvSpPr>
            <p:spPr bwMode="auto">
              <a:xfrm>
                <a:off x="2985" y="225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9" name="Freeform 2403">
                <a:extLst>
                  <a:ext uri="{FF2B5EF4-FFF2-40B4-BE49-F238E27FC236}">
                    <a16:creationId xmlns:a16="http://schemas.microsoft.com/office/drawing/2014/main" id="{F96B5E80-1D92-4D71-8839-92AE90D596EE}"/>
                  </a:ext>
                </a:extLst>
              </p:cNvPr>
              <p:cNvSpPr>
                <a:spLocks/>
              </p:cNvSpPr>
              <p:nvPr/>
            </p:nvSpPr>
            <p:spPr bwMode="auto">
              <a:xfrm>
                <a:off x="3313" y="243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0" name="Freeform 2404">
                <a:extLst>
                  <a:ext uri="{FF2B5EF4-FFF2-40B4-BE49-F238E27FC236}">
                    <a16:creationId xmlns:a16="http://schemas.microsoft.com/office/drawing/2014/main" id="{999086B0-E042-4AA0-9954-9C465E0BF32F}"/>
                  </a:ext>
                </a:extLst>
              </p:cNvPr>
              <p:cNvSpPr>
                <a:spLocks/>
              </p:cNvSpPr>
              <p:nvPr/>
            </p:nvSpPr>
            <p:spPr bwMode="auto">
              <a:xfrm>
                <a:off x="3375" y="204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1" name="Line 2405">
                <a:extLst>
                  <a:ext uri="{FF2B5EF4-FFF2-40B4-BE49-F238E27FC236}">
                    <a16:creationId xmlns:a16="http://schemas.microsoft.com/office/drawing/2014/main" id="{C1DB0B1A-80AD-4CBB-8F9E-BCF4A8CC1EEE}"/>
                  </a:ext>
                </a:extLst>
              </p:cNvPr>
              <p:cNvSpPr>
                <a:spLocks noChangeShapeType="1"/>
              </p:cNvSpPr>
              <p:nvPr/>
            </p:nvSpPr>
            <p:spPr bwMode="auto">
              <a:xfrm>
                <a:off x="343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2" name="Line 2406">
                <a:extLst>
                  <a:ext uri="{FF2B5EF4-FFF2-40B4-BE49-F238E27FC236}">
                    <a16:creationId xmlns:a16="http://schemas.microsoft.com/office/drawing/2014/main" id="{123A07F9-60B6-4DBF-A0E6-0ACE40946A29}"/>
                  </a:ext>
                </a:extLst>
              </p:cNvPr>
              <p:cNvSpPr>
                <a:spLocks noChangeShapeType="1"/>
              </p:cNvSpPr>
              <p:nvPr/>
            </p:nvSpPr>
            <p:spPr bwMode="auto">
              <a:xfrm>
                <a:off x="2955" y="18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3" name="Line 2407">
                <a:extLst>
                  <a:ext uri="{FF2B5EF4-FFF2-40B4-BE49-F238E27FC236}">
                    <a16:creationId xmlns:a16="http://schemas.microsoft.com/office/drawing/2014/main" id="{D637EF9B-BB36-4FDA-B0C8-71CD4861AADD}"/>
                  </a:ext>
                </a:extLst>
              </p:cNvPr>
              <p:cNvSpPr>
                <a:spLocks noChangeShapeType="1"/>
              </p:cNvSpPr>
              <p:nvPr/>
            </p:nvSpPr>
            <p:spPr bwMode="auto">
              <a:xfrm>
                <a:off x="2655" y="18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4" name="Line 2408">
                <a:extLst>
                  <a:ext uri="{FF2B5EF4-FFF2-40B4-BE49-F238E27FC236}">
                    <a16:creationId xmlns:a16="http://schemas.microsoft.com/office/drawing/2014/main" id="{8575CAF0-904A-4068-8F34-41C8D5C21A28}"/>
                  </a:ext>
                </a:extLst>
              </p:cNvPr>
              <p:cNvSpPr>
                <a:spLocks noChangeShapeType="1"/>
              </p:cNvSpPr>
              <p:nvPr/>
            </p:nvSpPr>
            <p:spPr bwMode="auto">
              <a:xfrm>
                <a:off x="3045" y="17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5" name="Line 2409">
                <a:extLst>
                  <a:ext uri="{FF2B5EF4-FFF2-40B4-BE49-F238E27FC236}">
                    <a16:creationId xmlns:a16="http://schemas.microsoft.com/office/drawing/2014/main" id="{86FE618B-342E-41EA-91FE-7B4E387555E2}"/>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6" name="Line 2410">
                <a:extLst>
                  <a:ext uri="{FF2B5EF4-FFF2-40B4-BE49-F238E27FC236}">
                    <a16:creationId xmlns:a16="http://schemas.microsoft.com/office/drawing/2014/main" id="{CC671C04-106B-4B98-A361-D25871EC7518}"/>
                  </a:ext>
                </a:extLst>
              </p:cNvPr>
              <p:cNvSpPr>
                <a:spLocks noChangeShapeType="1"/>
              </p:cNvSpPr>
              <p:nvPr/>
            </p:nvSpPr>
            <p:spPr bwMode="auto">
              <a:xfrm flipH="1" flipV="1">
                <a:off x="2415" y="1770"/>
                <a:ext cx="6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7" name="Line 2411">
                <a:extLst>
                  <a:ext uri="{FF2B5EF4-FFF2-40B4-BE49-F238E27FC236}">
                    <a16:creationId xmlns:a16="http://schemas.microsoft.com/office/drawing/2014/main" id="{D6F86D8F-DF67-4277-9A1D-37540986FA55}"/>
                  </a:ext>
                </a:extLst>
              </p:cNvPr>
              <p:cNvSpPr>
                <a:spLocks noChangeShapeType="1"/>
              </p:cNvSpPr>
              <p:nvPr/>
            </p:nvSpPr>
            <p:spPr bwMode="auto">
              <a:xfrm>
                <a:off x="2475" y="1830"/>
                <a:ext cx="21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8" name="Line 2412">
                <a:extLst>
                  <a:ext uri="{FF2B5EF4-FFF2-40B4-BE49-F238E27FC236}">
                    <a16:creationId xmlns:a16="http://schemas.microsoft.com/office/drawing/2014/main" id="{EA474CEB-A7DA-4A5D-B879-FD3FEF5BD6CC}"/>
                  </a:ext>
                </a:extLst>
              </p:cNvPr>
              <p:cNvSpPr>
                <a:spLocks noChangeShapeType="1"/>
              </p:cNvSpPr>
              <p:nvPr/>
            </p:nvSpPr>
            <p:spPr bwMode="auto">
              <a:xfrm>
                <a:off x="2535" y="16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29" name="Line 2413">
                <a:extLst>
                  <a:ext uri="{FF2B5EF4-FFF2-40B4-BE49-F238E27FC236}">
                    <a16:creationId xmlns:a16="http://schemas.microsoft.com/office/drawing/2014/main" id="{C056C5ED-D7BD-4982-8C98-2057BACCF2A0}"/>
                  </a:ext>
                </a:extLst>
              </p:cNvPr>
              <p:cNvSpPr>
                <a:spLocks noChangeShapeType="1"/>
              </p:cNvSpPr>
              <p:nvPr/>
            </p:nvSpPr>
            <p:spPr bwMode="auto">
              <a:xfrm>
                <a:off x="3045" y="13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0" name="Line 2414">
                <a:extLst>
                  <a:ext uri="{FF2B5EF4-FFF2-40B4-BE49-F238E27FC236}">
                    <a16:creationId xmlns:a16="http://schemas.microsoft.com/office/drawing/2014/main" id="{CE931DD8-DC7A-4024-AD9D-6F7B1824B1F8}"/>
                  </a:ext>
                </a:extLst>
              </p:cNvPr>
              <p:cNvSpPr>
                <a:spLocks noChangeShapeType="1"/>
              </p:cNvSpPr>
              <p:nvPr/>
            </p:nvSpPr>
            <p:spPr bwMode="auto">
              <a:xfrm>
                <a:off x="2925" y="12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1" name="Freeform 2415">
                <a:extLst>
                  <a:ext uri="{FF2B5EF4-FFF2-40B4-BE49-F238E27FC236}">
                    <a16:creationId xmlns:a16="http://schemas.microsoft.com/office/drawing/2014/main" id="{B6DC3E10-8D67-4A92-A8B6-99DE3D5BF164}"/>
                  </a:ext>
                </a:extLst>
              </p:cNvPr>
              <p:cNvSpPr>
                <a:spLocks/>
              </p:cNvSpPr>
              <p:nvPr/>
            </p:nvSpPr>
            <p:spPr bwMode="auto">
              <a:xfrm>
                <a:off x="2865" y="1710"/>
                <a:ext cx="240" cy="240"/>
              </a:xfrm>
              <a:custGeom>
                <a:avLst/>
                <a:gdLst>
                  <a:gd name="T0" fmla="*/ 240 w 240"/>
                  <a:gd name="T1" fmla="*/ 0 h 240"/>
                  <a:gd name="T2" fmla="*/ 210 w 240"/>
                  <a:gd name="T3" fmla="*/ 180 h 240"/>
                  <a:gd name="T4" fmla="*/ 180 w 240"/>
                  <a:gd name="T5" fmla="*/ 60 h 240"/>
                  <a:gd name="T6" fmla="*/ 150 w 240"/>
                  <a:gd name="T7" fmla="*/ 240 h 240"/>
                  <a:gd name="T8" fmla="*/ 90 w 240"/>
                  <a:gd name="T9" fmla="*/ 180 h 240"/>
                  <a:gd name="T10" fmla="*/ 0 w 240"/>
                  <a:gd name="T11" fmla="*/ 210 h 240"/>
                </a:gdLst>
                <a:ahLst/>
                <a:cxnLst>
                  <a:cxn ang="0">
                    <a:pos x="T0" y="T1"/>
                  </a:cxn>
                  <a:cxn ang="0">
                    <a:pos x="T2" y="T3"/>
                  </a:cxn>
                  <a:cxn ang="0">
                    <a:pos x="T4" y="T5"/>
                  </a:cxn>
                  <a:cxn ang="0">
                    <a:pos x="T6" y="T7"/>
                  </a:cxn>
                  <a:cxn ang="0">
                    <a:pos x="T8" y="T9"/>
                  </a:cxn>
                  <a:cxn ang="0">
                    <a:pos x="T10" y="T11"/>
                  </a:cxn>
                </a:cxnLst>
                <a:rect l="0" t="0" r="r" b="b"/>
                <a:pathLst>
                  <a:path w="240" h="240">
                    <a:moveTo>
                      <a:pt x="240" y="0"/>
                    </a:moveTo>
                    <a:lnTo>
                      <a:pt x="210" y="180"/>
                    </a:lnTo>
                    <a:lnTo>
                      <a:pt x="180" y="60"/>
                    </a:lnTo>
                    <a:lnTo>
                      <a:pt x="150" y="240"/>
                    </a:lnTo>
                    <a:lnTo>
                      <a:pt x="90" y="18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2" name="Line 2416">
                <a:extLst>
                  <a:ext uri="{FF2B5EF4-FFF2-40B4-BE49-F238E27FC236}">
                    <a16:creationId xmlns:a16="http://schemas.microsoft.com/office/drawing/2014/main" id="{AF9A48C4-5F7B-49D8-B1FE-ADEE0AAA9111}"/>
                  </a:ext>
                </a:extLst>
              </p:cNvPr>
              <p:cNvSpPr>
                <a:spLocks noChangeShapeType="1"/>
              </p:cNvSpPr>
              <p:nvPr/>
            </p:nvSpPr>
            <p:spPr bwMode="auto">
              <a:xfrm>
                <a:off x="2865" y="19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3" name="Freeform 2417">
                <a:extLst>
                  <a:ext uri="{FF2B5EF4-FFF2-40B4-BE49-F238E27FC236}">
                    <a16:creationId xmlns:a16="http://schemas.microsoft.com/office/drawing/2014/main" id="{160C5DB8-E68C-4C2D-AFE7-79FE330C2012}"/>
                  </a:ext>
                </a:extLst>
              </p:cNvPr>
              <p:cNvSpPr>
                <a:spLocks/>
              </p:cNvSpPr>
              <p:nvPr/>
            </p:nvSpPr>
            <p:spPr bwMode="auto">
              <a:xfrm>
                <a:off x="3045" y="1770"/>
                <a:ext cx="180" cy="120"/>
              </a:xfrm>
              <a:custGeom>
                <a:avLst/>
                <a:gdLst>
                  <a:gd name="T0" fmla="*/ 150 w 180"/>
                  <a:gd name="T1" fmla="*/ 120 h 120"/>
                  <a:gd name="T2" fmla="*/ 180 w 180"/>
                  <a:gd name="T3" fmla="*/ 0 h 120"/>
                  <a:gd name="T4" fmla="*/ 30 w 180"/>
                  <a:gd name="T5" fmla="*/ 120 h 120"/>
                  <a:gd name="T6" fmla="*/ 150 w 180"/>
                  <a:gd name="T7" fmla="*/ 120 h 120"/>
                  <a:gd name="T8" fmla="*/ 0 w 180"/>
                  <a:gd name="T9" fmla="*/ 0 h 120"/>
                </a:gdLst>
                <a:ahLst/>
                <a:cxnLst>
                  <a:cxn ang="0">
                    <a:pos x="T0" y="T1"/>
                  </a:cxn>
                  <a:cxn ang="0">
                    <a:pos x="T2" y="T3"/>
                  </a:cxn>
                  <a:cxn ang="0">
                    <a:pos x="T4" y="T5"/>
                  </a:cxn>
                  <a:cxn ang="0">
                    <a:pos x="T6" y="T7"/>
                  </a:cxn>
                  <a:cxn ang="0">
                    <a:pos x="T8" y="T9"/>
                  </a:cxn>
                </a:cxnLst>
                <a:rect l="0" t="0" r="r" b="b"/>
                <a:pathLst>
                  <a:path w="180" h="120">
                    <a:moveTo>
                      <a:pt x="150" y="120"/>
                    </a:moveTo>
                    <a:lnTo>
                      <a:pt x="180" y="0"/>
                    </a:lnTo>
                    <a:lnTo>
                      <a:pt x="30" y="120"/>
                    </a:lnTo>
                    <a:lnTo>
                      <a:pt x="15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4" name="Freeform 2418">
                <a:extLst>
                  <a:ext uri="{FF2B5EF4-FFF2-40B4-BE49-F238E27FC236}">
                    <a16:creationId xmlns:a16="http://schemas.microsoft.com/office/drawing/2014/main" id="{89F162EF-0881-489D-99F3-13DA0DFA5EB3}"/>
                  </a:ext>
                </a:extLst>
              </p:cNvPr>
              <p:cNvSpPr>
                <a:spLocks/>
              </p:cNvSpPr>
              <p:nvPr/>
            </p:nvSpPr>
            <p:spPr bwMode="auto">
              <a:xfrm>
                <a:off x="3105" y="1530"/>
                <a:ext cx="240" cy="360"/>
              </a:xfrm>
              <a:custGeom>
                <a:avLst/>
                <a:gdLst>
                  <a:gd name="T0" fmla="*/ 120 w 240"/>
                  <a:gd name="T1" fmla="*/ 240 h 360"/>
                  <a:gd name="T2" fmla="*/ 90 w 240"/>
                  <a:gd name="T3" fmla="*/ 120 h 360"/>
                  <a:gd name="T4" fmla="*/ 90 w 240"/>
                  <a:gd name="T5" fmla="*/ 0 h 360"/>
                  <a:gd name="T6" fmla="*/ 210 w 240"/>
                  <a:gd name="T7" fmla="*/ 30 h 360"/>
                  <a:gd name="T8" fmla="*/ 240 w 240"/>
                  <a:gd name="T9" fmla="*/ 180 h 360"/>
                  <a:gd name="T10" fmla="*/ 120 w 240"/>
                  <a:gd name="T11" fmla="*/ 240 h 360"/>
                  <a:gd name="T12" fmla="*/ 210 w 240"/>
                  <a:gd name="T13" fmla="*/ 330 h 360"/>
                  <a:gd name="T14" fmla="*/ 90 w 240"/>
                  <a:gd name="T15" fmla="*/ 360 h 360"/>
                  <a:gd name="T16" fmla="*/ 0 w 240"/>
                  <a:gd name="T17"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360">
                    <a:moveTo>
                      <a:pt x="120" y="240"/>
                    </a:moveTo>
                    <a:lnTo>
                      <a:pt x="90" y="120"/>
                    </a:lnTo>
                    <a:lnTo>
                      <a:pt x="90" y="0"/>
                    </a:lnTo>
                    <a:lnTo>
                      <a:pt x="210" y="30"/>
                    </a:lnTo>
                    <a:lnTo>
                      <a:pt x="240" y="180"/>
                    </a:lnTo>
                    <a:lnTo>
                      <a:pt x="120" y="240"/>
                    </a:lnTo>
                    <a:lnTo>
                      <a:pt x="210" y="330"/>
                    </a:lnTo>
                    <a:lnTo>
                      <a:pt x="90" y="36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5" name="Freeform 2419">
                <a:extLst>
                  <a:ext uri="{FF2B5EF4-FFF2-40B4-BE49-F238E27FC236}">
                    <a16:creationId xmlns:a16="http://schemas.microsoft.com/office/drawing/2014/main" id="{E8321D40-5650-4A34-B3A0-F5FCF57249ED}"/>
                  </a:ext>
                </a:extLst>
              </p:cNvPr>
              <p:cNvSpPr>
                <a:spLocks/>
              </p:cNvSpPr>
              <p:nvPr/>
            </p:nvSpPr>
            <p:spPr bwMode="auto">
              <a:xfrm>
                <a:off x="3105" y="1590"/>
                <a:ext cx="90" cy="120"/>
              </a:xfrm>
              <a:custGeom>
                <a:avLst/>
                <a:gdLst>
                  <a:gd name="T0" fmla="*/ 0 w 90"/>
                  <a:gd name="T1" fmla="*/ 120 h 120"/>
                  <a:gd name="T2" fmla="*/ 90 w 90"/>
                  <a:gd name="T3" fmla="*/ 60 h 120"/>
                  <a:gd name="T4" fmla="*/ 0 w 90"/>
                  <a:gd name="T5" fmla="*/ 0 h 120"/>
                </a:gdLst>
                <a:ahLst/>
                <a:cxnLst>
                  <a:cxn ang="0">
                    <a:pos x="T0" y="T1"/>
                  </a:cxn>
                  <a:cxn ang="0">
                    <a:pos x="T2" y="T3"/>
                  </a:cxn>
                  <a:cxn ang="0">
                    <a:pos x="T4" y="T5"/>
                  </a:cxn>
                </a:cxnLst>
                <a:rect l="0" t="0" r="r" b="b"/>
                <a:pathLst>
                  <a:path w="90" h="120">
                    <a:moveTo>
                      <a:pt x="0" y="120"/>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6" name="Line 2420">
                <a:extLst>
                  <a:ext uri="{FF2B5EF4-FFF2-40B4-BE49-F238E27FC236}">
                    <a16:creationId xmlns:a16="http://schemas.microsoft.com/office/drawing/2014/main" id="{6F5B3182-8A98-4957-94A8-DAA37DA649A6}"/>
                  </a:ext>
                </a:extLst>
              </p:cNvPr>
              <p:cNvSpPr>
                <a:spLocks noChangeShapeType="1"/>
              </p:cNvSpPr>
              <p:nvPr/>
            </p:nvSpPr>
            <p:spPr bwMode="auto">
              <a:xfrm>
                <a:off x="2595" y="15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7" name="Freeform 2421">
                <a:extLst>
                  <a:ext uri="{FF2B5EF4-FFF2-40B4-BE49-F238E27FC236}">
                    <a16:creationId xmlns:a16="http://schemas.microsoft.com/office/drawing/2014/main" id="{54F375CF-E307-488B-8414-44BC164B1BEF}"/>
                  </a:ext>
                </a:extLst>
              </p:cNvPr>
              <p:cNvSpPr>
                <a:spLocks/>
              </p:cNvSpPr>
              <p:nvPr/>
            </p:nvSpPr>
            <p:spPr bwMode="auto">
              <a:xfrm>
                <a:off x="2715" y="1230"/>
                <a:ext cx="450" cy="180"/>
              </a:xfrm>
              <a:custGeom>
                <a:avLst/>
                <a:gdLst>
                  <a:gd name="T0" fmla="*/ 450 w 450"/>
                  <a:gd name="T1" fmla="*/ 180 h 180"/>
                  <a:gd name="T2" fmla="*/ 450 w 450"/>
                  <a:gd name="T3" fmla="*/ 60 h 180"/>
                  <a:gd name="T4" fmla="*/ 330 w 450"/>
                  <a:gd name="T5" fmla="*/ 120 h 180"/>
                  <a:gd name="T6" fmla="*/ 210 w 450"/>
                  <a:gd name="T7" fmla="*/ 30 h 180"/>
                  <a:gd name="T8" fmla="*/ 90 w 450"/>
                  <a:gd name="T9" fmla="*/ 0 h 180"/>
                  <a:gd name="T10" fmla="*/ 150 w 450"/>
                  <a:gd name="T11" fmla="*/ 90 h 180"/>
                  <a:gd name="T12" fmla="*/ 0 w 450"/>
                  <a:gd name="T13" fmla="*/ 60 h 180"/>
                </a:gdLst>
                <a:ahLst/>
                <a:cxnLst>
                  <a:cxn ang="0">
                    <a:pos x="T0" y="T1"/>
                  </a:cxn>
                  <a:cxn ang="0">
                    <a:pos x="T2" y="T3"/>
                  </a:cxn>
                  <a:cxn ang="0">
                    <a:pos x="T4" y="T5"/>
                  </a:cxn>
                  <a:cxn ang="0">
                    <a:pos x="T6" y="T7"/>
                  </a:cxn>
                  <a:cxn ang="0">
                    <a:pos x="T8" y="T9"/>
                  </a:cxn>
                  <a:cxn ang="0">
                    <a:pos x="T10" y="T11"/>
                  </a:cxn>
                  <a:cxn ang="0">
                    <a:pos x="T12" y="T13"/>
                  </a:cxn>
                </a:cxnLst>
                <a:rect l="0" t="0" r="r" b="b"/>
                <a:pathLst>
                  <a:path w="450" h="180">
                    <a:moveTo>
                      <a:pt x="450" y="180"/>
                    </a:moveTo>
                    <a:lnTo>
                      <a:pt x="450" y="60"/>
                    </a:lnTo>
                    <a:lnTo>
                      <a:pt x="330" y="120"/>
                    </a:lnTo>
                    <a:lnTo>
                      <a:pt x="210" y="30"/>
                    </a:lnTo>
                    <a:lnTo>
                      <a:pt x="90" y="0"/>
                    </a:lnTo>
                    <a:lnTo>
                      <a:pt x="150" y="9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8" name="Freeform 2422">
                <a:extLst>
                  <a:ext uri="{FF2B5EF4-FFF2-40B4-BE49-F238E27FC236}">
                    <a16:creationId xmlns:a16="http://schemas.microsoft.com/office/drawing/2014/main" id="{3ED4A8B5-E8DB-4823-95E7-88011B13B9A3}"/>
                  </a:ext>
                </a:extLst>
              </p:cNvPr>
              <p:cNvSpPr>
                <a:spLocks/>
              </p:cNvSpPr>
              <p:nvPr/>
            </p:nvSpPr>
            <p:spPr bwMode="auto">
              <a:xfrm>
                <a:off x="3105" y="1440"/>
                <a:ext cx="180" cy="150"/>
              </a:xfrm>
              <a:custGeom>
                <a:avLst/>
                <a:gdLst>
                  <a:gd name="T0" fmla="*/ 180 w 180"/>
                  <a:gd name="T1" fmla="*/ 0 h 150"/>
                  <a:gd name="T2" fmla="*/ 90 w 180"/>
                  <a:gd name="T3" fmla="*/ 90 h 150"/>
                  <a:gd name="T4" fmla="*/ 0 w 180"/>
                  <a:gd name="T5" fmla="*/ 150 h 150"/>
                </a:gdLst>
                <a:ahLst/>
                <a:cxnLst>
                  <a:cxn ang="0">
                    <a:pos x="T0" y="T1"/>
                  </a:cxn>
                  <a:cxn ang="0">
                    <a:pos x="T2" y="T3"/>
                  </a:cxn>
                  <a:cxn ang="0">
                    <a:pos x="T4" y="T5"/>
                  </a:cxn>
                </a:cxnLst>
                <a:rect l="0" t="0" r="r" b="b"/>
                <a:pathLst>
                  <a:path w="180" h="150">
                    <a:moveTo>
                      <a:pt x="180" y="0"/>
                    </a:moveTo>
                    <a:lnTo>
                      <a:pt x="90" y="9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9" name="Freeform 2423">
                <a:extLst>
                  <a:ext uri="{FF2B5EF4-FFF2-40B4-BE49-F238E27FC236}">
                    <a16:creationId xmlns:a16="http://schemas.microsoft.com/office/drawing/2014/main" id="{DB344CA3-5F19-4FDB-B011-0703C9A22924}"/>
                  </a:ext>
                </a:extLst>
              </p:cNvPr>
              <p:cNvSpPr>
                <a:spLocks/>
              </p:cNvSpPr>
              <p:nvPr/>
            </p:nvSpPr>
            <p:spPr bwMode="auto">
              <a:xfrm>
                <a:off x="2925" y="1260"/>
                <a:ext cx="390" cy="390"/>
              </a:xfrm>
              <a:custGeom>
                <a:avLst/>
                <a:gdLst>
                  <a:gd name="T0" fmla="*/ 270 w 390"/>
                  <a:gd name="T1" fmla="*/ 390 h 390"/>
                  <a:gd name="T2" fmla="*/ 390 w 390"/>
                  <a:gd name="T3" fmla="*/ 300 h 390"/>
                  <a:gd name="T4" fmla="*/ 360 w 390"/>
                  <a:gd name="T5" fmla="*/ 180 h 390"/>
                  <a:gd name="T6" fmla="*/ 240 w 390"/>
                  <a:gd name="T7" fmla="*/ 30 h 390"/>
                  <a:gd name="T8" fmla="*/ 0 w 390"/>
                  <a:gd name="T9" fmla="*/ 0 h 390"/>
                </a:gdLst>
                <a:ahLst/>
                <a:cxnLst>
                  <a:cxn ang="0">
                    <a:pos x="T0" y="T1"/>
                  </a:cxn>
                  <a:cxn ang="0">
                    <a:pos x="T2" y="T3"/>
                  </a:cxn>
                  <a:cxn ang="0">
                    <a:pos x="T4" y="T5"/>
                  </a:cxn>
                  <a:cxn ang="0">
                    <a:pos x="T6" y="T7"/>
                  </a:cxn>
                  <a:cxn ang="0">
                    <a:pos x="T8" y="T9"/>
                  </a:cxn>
                </a:cxnLst>
                <a:rect l="0" t="0" r="r" b="b"/>
                <a:pathLst>
                  <a:path w="390" h="390">
                    <a:moveTo>
                      <a:pt x="270" y="390"/>
                    </a:moveTo>
                    <a:lnTo>
                      <a:pt x="390" y="300"/>
                    </a:lnTo>
                    <a:lnTo>
                      <a:pt x="360" y="180"/>
                    </a:lnTo>
                    <a:lnTo>
                      <a:pt x="24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0" name="Freeform 2424">
                <a:extLst>
                  <a:ext uri="{FF2B5EF4-FFF2-40B4-BE49-F238E27FC236}">
                    <a16:creationId xmlns:a16="http://schemas.microsoft.com/office/drawing/2014/main" id="{F1166E84-22EC-42FC-A8C6-98C39FFE14C5}"/>
                  </a:ext>
                </a:extLst>
              </p:cNvPr>
              <p:cNvSpPr>
                <a:spLocks/>
              </p:cNvSpPr>
              <p:nvPr/>
            </p:nvSpPr>
            <p:spPr bwMode="auto">
              <a:xfrm>
                <a:off x="2445" y="1230"/>
                <a:ext cx="360" cy="210"/>
              </a:xfrm>
              <a:custGeom>
                <a:avLst/>
                <a:gdLst>
                  <a:gd name="T0" fmla="*/ 90 w 360"/>
                  <a:gd name="T1" fmla="*/ 60 h 210"/>
                  <a:gd name="T2" fmla="*/ 0 w 360"/>
                  <a:gd name="T3" fmla="*/ 180 h 210"/>
                  <a:gd name="T4" fmla="*/ 90 w 360"/>
                  <a:gd name="T5" fmla="*/ 210 h 210"/>
                  <a:gd name="T6" fmla="*/ 180 w 360"/>
                  <a:gd name="T7" fmla="*/ 180 h 210"/>
                  <a:gd name="T8" fmla="*/ 90 w 360"/>
                  <a:gd name="T9" fmla="*/ 60 h 210"/>
                  <a:gd name="T10" fmla="*/ 270 w 360"/>
                  <a:gd name="T11" fmla="*/ 60 h 210"/>
                  <a:gd name="T12" fmla="*/ 360 w 36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60" h="210">
                    <a:moveTo>
                      <a:pt x="90" y="60"/>
                    </a:moveTo>
                    <a:lnTo>
                      <a:pt x="0" y="180"/>
                    </a:lnTo>
                    <a:lnTo>
                      <a:pt x="90" y="210"/>
                    </a:lnTo>
                    <a:lnTo>
                      <a:pt x="180" y="180"/>
                    </a:lnTo>
                    <a:lnTo>
                      <a:pt x="90" y="60"/>
                    </a:lnTo>
                    <a:lnTo>
                      <a:pt x="270" y="60"/>
                    </a:lnTo>
                    <a:lnTo>
                      <a:pt x="3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1" name="Line 2425">
                <a:extLst>
                  <a:ext uri="{FF2B5EF4-FFF2-40B4-BE49-F238E27FC236}">
                    <a16:creationId xmlns:a16="http://schemas.microsoft.com/office/drawing/2014/main" id="{7608EC8B-6FF9-4399-982A-29DF9E1DF72B}"/>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2" name="Line 2426">
                <a:extLst>
                  <a:ext uri="{FF2B5EF4-FFF2-40B4-BE49-F238E27FC236}">
                    <a16:creationId xmlns:a16="http://schemas.microsoft.com/office/drawing/2014/main" id="{490EE82E-7FFF-457A-A552-87E2A27A4A32}"/>
                  </a:ext>
                </a:extLst>
              </p:cNvPr>
              <p:cNvSpPr>
                <a:spLocks noChangeShapeType="1"/>
              </p:cNvSpPr>
              <p:nvPr/>
            </p:nvSpPr>
            <p:spPr bwMode="auto">
              <a:xfrm flipH="1">
                <a:off x="3105" y="141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3" name="Freeform 2427">
                <a:extLst>
                  <a:ext uri="{FF2B5EF4-FFF2-40B4-BE49-F238E27FC236}">
                    <a16:creationId xmlns:a16="http://schemas.microsoft.com/office/drawing/2014/main" id="{60BC4186-7FCE-45CA-9B29-7BB91A91F5F5}"/>
                  </a:ext>
                </a:extLst>
              </p:cNvPr>
              <p:cNvSpPr>
                <a:spLocks/>
              </p:cNvSpPr>
              <p:nvPr/>
            </p:nvSpPr>
            <p:spPr bwMode="auto">
              <a:xfrm>
                <a:off x="2505" y="2490"/>
                <a:ext cx="450" cy="300"/>
              </a:xfrm>
              <a:custGeom>
                <a:avLst/>
                <a:gdLst>
                  <a:gd name="T0" fmla="*/ 180 w 450"/>
                  <a:gd name="T1" fmla="*/ 300 h 300"/>
                  <a:gd name="T2" fmla="*/ 300 w 450"/>
                  <a:gd name="T3" fmla="*/ 240 h 300"/>
                  <a:gd name="T4" fmla="*/ 450 w 450"/>
                  <a:gd name="T5" fmla="*/ 300 h 300"/>
                  <a:gd name="T6" fmla="*/ 360 w 450"/>
                  <a:gd name="T7" fmla="*/ 90 h 300"/>
                  <a:gd name="T8" fmla="*/ 240 w 450"/>
                  <a:gd name="T9" fmla="*/ 150 h 300"/>
                  <a:gd name="T10" fmla="*/ 0 w 450"/>
                  <a:gd name="T11" fmla="*/ 0 h 300"/>
                </a:gdLst>
                <a:ahLst/>
                <a:cxnLst>
                  <a:cxn ang="0">
                    <a:pos x="T0" y="T1"/>
                  </a:cxn>
                  <a:cxn ang="0">
                    <a:pos x="T2" y="T3"/>
                  </a:cxn>
                  <a:cxn ang="0">
                    <a:pos x="T4" y="T5"/>
                  </a:cxn>
                  <a:cxn ang="0">
                    <a:pos x="T6" y="T7"/>
                  </a:cxn>
                  <a:cxn ang="0">
                    <a:pos x="T8" y="T9"/>
                  </a:cxn>
                  <a:cxn ang="0">
                    <a:pos x="T10" y="T11"/>
                  </a:cxn>
                </a:cxnLst>
                <a:rect l="0" t="0" r="r" b="b"/>
                <a:pathLst>
                  <a:path w="450" h="300">
                    <a:moveTo>
                      <a:pt x="180" y="300"/>
                    </a:moveTo>
                    <a:lnTo>
                      <a:pt x="300" y="240"/>
                    </a:lnTo>
                    <a:lnTo>
                      <a:pt x="450" y="300"/>
                    </a:lnTo>
                    <a:lnTo>
                      <a:pt x="360" y="9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4" name="Line 2428">
                <a:extLst>
                  <a:ext uri="{FF2B5EF4-FFF2-40B4-BE49-F238E27FC236}">
                    <a16:creationId xmlns:a16="http://schemas.microsoft.com/office/drawing/2014/main" id="{DD80989C-E31B-4E6E-A0FE-76CF40BF28B8}"/>
                  </a:ext>
                </a:extLst>
              </p:cNvPr>
              <p:cNvSpPr>
                <a:spLocks noChangeShapeType="1"/>
              </p:cNvSpPr>
              <p:nvPr/>
            </p:nvSpPr>
            <p:spPr bwMode="auto">
              <a:xfrm flipV="1">
                <a:off x="2925" y="243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5" name="Freeform 2429">
                <a:extLst>
                  <a:ext uri="{FF2B5EF4-FFF2-40B4-BE49-F238E27FC236}">
                    <a16:creationId xmlns:a16="http://schemas.microsoft.com/office/drawing/2014/main" id="{5B3E8514-DE1E-43EC-9DA8-C5F3732ED859}"/>
                  </a:ext>
                </a:extLst>
              </p:cNvPr>
              <p:cNvSpPr>
                <a:spLocks/>
              </p:cNvSpPr>
              <p:nvPr/>
            </p:nvSpPr>
            <p:spPr bwMode="auto">
              <a:xfrm>
                <a:off x="2835" y="2070"/>
                <a:ext cx="300" cy="240"/>
              </a:xfrm>
              <a:custGeom>
                <a:avLst/>
                <a:gdLst>
                  <a:gd name="T0" fmla="*/ 180 w 300"/>
                  <a:gd name="T1" fmla="*/ 0 h 240"/>
                  <a:gd name="T2" fmla="*/ 0 w 300"/>
                  <a:gd name="T3" fmla="*/ 0 h 240"/>
                  <a:gd name="T4" fmla="*/ 60 w 300"/>
                  <a:gd name="T5" fmla="*/ 120 h 240"/>
                  <a:gd name="T6" fmla="*/ 180 w 300"/>
                  <a:gd name="T7" fmla="*/ 0 h 240"/>
                  <a:gd name="T8" fmla="*/ 300 w 300"/>
                  <a:gd name="T9" fmla="*/ 150 h 240"/>
                  <a:gd name="T10" fmla="*/ 150 w 300"/>
                  <a:gd name="T11" fmla="*/ 240 h 240"/>
                </a:gdLst>
                <a:ahLst/>
                <a:cxnLst>
                  <a:cxn ang="0">
                    <a:pos x="T0" y="T1"/>
                  </a:cxn>
                  <a:cxn ang="0">
                    <a:pos x="T2" y="T3"/>
                  </a:cxn>
                  <a:cxn ang="0">
                    <a:pos x="T4" y="T5"/>
                  </a:cxn>
                  <a:cxn ang="0">
                    <a:pos x="T6" y="T7"/>
                  </a:cxn>
                  <a:cxn ang="0">
                    <a:pos x="T8" y="T9"/>
                  </a:cxn>
                  <a:cxn ang="0">
                    <a:pos x="T10" y="T11"/>
                  </a:cxn>
                </a:cxnLst>
                <a:rect l="0" t="0" r="r" b="b"/>
                <a:pathLst>
                  <a:path w="300" h="240">
                    <a:moveTo>
                      <a:pt x="180" y="0"/>
                    </a:moveTo>
                    <a:lnTo>
                      <a:pt x="0" y="0"/>
                    </a:lnTo>
                    <a:lnTo>
                      <a:pt x="60" y="120"/>
                    </a:lnTo>
                    <a:lnTo>
                      <a:pt x="180" y="0"/>
                    </a:lnTo>
                    <a:lnTo>
                      <a:pt x="300" y="15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6" name="Line 2430">
                <a:extLst>
                  <a:ext uri="{FF2B5EF4-FFF2-40B4-BE49-F238E27FC236}">
                    <a16:creationId xmlns:a16="http://schemas.microsoft.com/office/drawing/2014/main" id="{146F9AE8-0B03-4B46-A53E-141EA6701C25}"/>
                  </a:ext>
                </a:extLst>
              </p:cNvPr>
              <p:cNvSpPr>
                <a:spLocks noChangeShapeType="1"/>
              </p:cNvSpPr>
              <p:nvPr/>
            </p:nvSpPr>
            <p:spPr bwMode="auto">
              <a:xfrm>
                <a:off x="3135" y="204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7" name="Freeform 2431">
                <a:extLst>
                  <a:ext uri="{FF2B5EF4-FFF2-40B4-BE49-F238E27FC236}">
                    <a16:creationId xmlns:a16="http://schemas.microsoft.com/office/drawing/2014/main" id="{8E787D4A-AF0D-4FBE-AA2B-F4366D960D3F}"/>
                  </a:ext>
                </a:extLst>
              </p:cNvPr>
              <p:cNvSpPr>
                <a:spLocks/>
              </p:cNvSpPr>
              <p:nvPr/>
            </p:nvSpPr>
            <p:spPr bwMode="auto">
              <a:xfrm>
                <a:off x="2655" y="2310"/>
                <a:ext cx="690" cy="420"/>
              </a:xfrm>
              <a:custGeom>
                <a:avLst/>
                <a:gdLst>
                  <a:gd name="T0" fmla="*/ 120 w 690"/>
                  <a:gd name="T1" fmla="*/ 150 h 420"/>
                  <a:gd name="T2" fmla="*/ 330 w 690"/>
                  <a:gd name="T3" fmla="*/ 0 h 420"/>
                  <a:gd name="T4" fmla="*/ 180 w 690"/>
                  <a:gd name="T5" fmla="*/ 30 h 420"/>
                  <a:gd name="T6" fmla="*/ 270 w 690"/>
                  <a:gd name="T7" fmla="*/ 180 h 420"/>
                  <a:gd name="T8" fmla="*/ 0 w 690"/>
                  <a:gd name="T9" fmla="*/ 210 h 420"/>
                  <a:gd name="T10" fmla="*/ 210 w 690"/>
                  <a:gd name="T11" fmla="*/ 270 h 420"/>
                  <a:gd name="T12" fmla="*/ 330 w 690"/>
                  <a:gd name="T13" fmla="*/ 330 h 420"/>
                  <a:gd name="T14" fmla="*/ 420 w 690"/>
                  <a:gd name="T15" fmla="*/ 420 h 420"/>
                  <a:gd name="T16" fmla="*/ 450 w 690"/>
                  <a:gd name="T17" fmla="*/ 240 h 420"/>
                  <a:gd name="T18" fmla="*/ 570 w 690"/>
                  <a:gd name="T19" fmla="*/ 420 h 420"/>
                  <a:gd name="T20" fmla="*/ 690 w 690"/>
                  <a:gd name="T21" fmla="*/ 39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420">
                    <a:moveTo>
                      <a:pt x="120" y="150"/>
                    </a:moveTo>
                    <a:lnTo>
                      <a:pt x="330" y="0"/>
                    </a:lnTo>
                    <a:lnTo>
                      <a:pt x="180" y="30"/>
                    </a:lnTo>
                    <a:lnTo>
                      <a:pt x="270" y="180"/>
                    </a:lnTo>
                    <a:lnTo>
                      <a:pt x="0" y="210"/>
                    </a:lnTo>
                    <a:lnTo>
                      <a:pt x="210" y="270"/>
                    </a:lnTo>
                    <a:lnTo>
                      <a:pt x="330" y="330"/>
                    </a:lnTo>
                    <a:lnTo>
                      <a:pt x="420" y="420"/>
                    </a:lnTo>
                    <a:lnTo>
                      <a:pt x="450" y="240"/>
                    </a:lnTo>
                    <a:lnTo>
                      <a:pt x="570" y="420"/>
                    </a:lnTo>
                    <a:lnTo>
                      <a:pt x="690" y="3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8" name="Freeform 2432">
                <a:extLst>
                  <a:ext uri="{FF2B5EF4-FFF2-40B4-BE49-F238E27FC236}">
                    <a16:creationId xmlns:a16="http://schemas.microsoft.com/office/drawing/2014/main" id="{05261254-7F26-4025-A791-D80FE00CBBD6}"/>
                  </a:ext>
                </a:extLst>
              </p:cNvPr>
              <p:cNvSpPr>
                <a:spLocks/>
              </p:cNvSpPr>
              <p:nvPr/>
            </p:nvSpPr>
            <p:spPr bwMode="auto">
              <a:xfrm>
                <a:off x="3465" y="249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49" name="Freeform 2433">
                <a:extLst>
                  <a:ext uri="{FF2B5EF4-FFF2-40B4-BE49-F238E27FC236}">
                    <a16:creationId xmlns:a16="http://schemas.microsoft.com/office/drawing/2014/main" id="{56E3E172-C0B1-43A4-BE1E-B950A1F8A358}"/>
                  </a:ext>
                </a:extLst>
              </p:cNvPr>
              <p:cNvSpPr>
                <a:spLocks/>
              </p:cNvSpPr>
              <p:nvPr/>
            </p:nvSpPr>
            <p:spPr bwMode="auto">
              <a:xfrm>
                <a:off x="3615" y="231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0" name="Line 2434">
                <a:extLst>
                  <a:ext uri="{FF2B5EF4-FFF2-40B4-BE49-F238E27FC236}">
                    <a16:creationId xmlns:a16="http://schemas.microsoft.com/office/drawing/2014/main" id="{57622D01-9B64-472C-BDF1-644A3E4E2900}"/>
                  </a:ext>
                </a:extLst>
              </p:cNvPr>
              <p:cNvSpPr>
                <a:spLocks noChangeShapeType="1"/>
              </p:cNvSpPr>
              <p:nvPr/>
            </p:nvSpPr>
            <p:spPr bwMode="auto">
              <a:xfrm>
                <a:off x="3944" y="231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1" name="Freeform 2435">
                <a:extLst>
                  <a:ext uri="{FF2B5EF4-FFF2-40B4-BE49-F238E27FC236}">
                    <a16:creationId xmlns:a16="http://schemas.microsoft.com/office/drawing/2014/main" id="{918FBC26-6D49-4B84-ABA0-9E8CD81783FF}"/>
                  </a:ext>
                </a:extLst>
              </p:cNvPr>
              <p:cNvSpPr>
                <a:spLocks/>
              </p:cNvSpPr>
              <p:nvPr/>
            </p:nvSpPr>
            <p:spPr bwMode="auto">
              <a:xfrm>
                <a:off x="3735" y="216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2" name="Freeform 2436">
                <a:extLst>
                  <a:ext uri="{FF2B5EF4-FFF2-40B4-BE49-F238E27FC236}">
                    <a16:creationId xmlns:a16="http://schemas.microsoft.com/office/drawing/2014/main" id="{0E34EDDA-251F-49D7-9C4B-BD15F29EB263}"/>
                  </a:ext>
                </a:extLst>
              </p:cNvPr>
              <p:cNvSpPr>
                <a:spLocks/>
              </p:cNvSpPr>
              <p:nvPr/>
            </p:nvSpPr>
            <p:spPr bwMode="auto">
              <a:xfrm>
                <a:off x="1786" y="216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3" name="Freeform 2437">
                <a:extLst>
                  <a:ext uri="{FF2B5EF4-FFF2-40B4-BE49-F238E27FC236}">
                    <a16:creationId xmlns:a16="http://schemas.microsoft.com/office/drawing/2014/main" id="{6F7BC6C0-0366-4D60-A01B-C059C7DA0FBC}"/>
                  </a:ext>
                </a:extLst>
              </p:cNvPr>
              <p:cNvSpPr>
                <a:spLocks/>
              </p:cNvSpPr>
              <p:nvPr/>
            </p:nvSpPr>
            <p:spPr bwMode="auto">
              <a:xfrm>
                <a:off x="2056" y="2100"/>
                <a:ext cx="719" cy="690"/>
              </a:xfrm>
              <a:custGeom>
                <a:avLst/>
                <a:gdLst>
                  <a:gd name="T0" fmla="*/ 119 w 719"/>
                  <a:gd name="T1" fmla="*/ 120 h 690"/>
                  <a:gd name="T2" fmla="*/ 0 w 719"/>
                  <a:gd name="T3" fmla="*/ 30 h 690"/>
                  <a:gd name="T4" fmla="*/ 209 w 719"/>
                  <a:gd name="T5" fmla="*/ 0 h 690"/>
                  <a:gd name="T6" fmla="*/ 299 w 719"/>
                  <a:gd name="T7" fmla="*/ 120 h 690"/>
                  <a:gd name="T8" fmla="*/ 389 w 719"/>
                  <a:gd name="T9" fmla="*/ 0 h 690"/>
                  <a:gd name="T10" fmla="*/ 209 w 719"/>
                  <a:gd name="T11" fmla="*/ 0 h 690"/>
                  <a:gd name="T12" fmla="*/ 209 w 719"/>
                  <a:gd name="T13" fmla="*/ 151 h 690"/>
                  <a:gd name="T14" fmla="*/ 119 w 719"/>
                  <a:gd name="T15" fmla="*/ 120 h 690"/>
                  <a:gd name="T16" fmla="*/ 89 w 719"/>
                  <a:gd name="T17" fmla="*/ 210 h 690"/>
                  <a:gd name="T18" fmla="*/ 89 w 719"/>
                  <a:gd name="T19" fmla="*/ 450 h 690"/>
                  <a:gd name="T20" fmla="*/ 209 w 719"/>
                  <a:gd name="T21" fmla="*/ 360 h 690"/>
                  <a:gd name="T22" fmla="*/ 298 w 719"/>
                  <a:gd name="T23" fmla="*/ 452 h 690"/>
                  <a:gd name="T24" fmla="*/ 269 w 719"/>
                  <a:gd name="T25" fmla="*/ 270 h 690"/>
                  <a:gd name="T26" fmla="*/ 359 w 719"/>
                  <a:gd name="T27" fmla="*/ 210 h 690"/>
                  <a:gd name="T28" fmla="*/ 479 w 719"/>
                  <a:gd name="T29" fmla="*/ 270 h 690"/>
                  <a:gd name="T30" fmla="*/ 359 w 719"/>
                  <a:gd name="T31" fmla="*/ 330 h 690"/>
                  <a:gd name="T32" fmla="*/ 449 w 719"/>
                  <a:gd name="T33" fmla="*/ 390 h 690"/>
                  <a:gd name="T34" fmla="*/ 719 w 719"/>
                  <a:gd name="T35" fmla="*/ 360 h 690"/>
                  <a:gd name="T36" fmla="*/ 599 w 719"/>
                  <a:gd name="T37" fmla="*/ 420 h 690"/>
                  <a:gd name="T38" fmla="*/ 629 w 719"/>
                  <a:gd name="T39" fmla="*/ 690 h 690"/>
                  <a:gd name="T40" fmla="*/ 419 w 719"/>
                  <a:gd name="T41" fmla="*/ 51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69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29" y="69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4" name="Freeform 2438">
                <a:extLst>
                  <a:ext uri="{FF2B5EF4-FFF2-40B4-BE49-F238E27FC236}">
                    <a16:creationId xmlns:a16="http://schemas.microsoft.com/office/drawing/2014/main" id="{D9087033-8447-4D4B-BBFA-655C087FA592}"/>
                  </a:ext>
                </a:extLst>
              </p:cNvPr>
              <p:cNvSpPr>
                <a:spLocks/>
              </p:cNvSpPr>
              <p:nvPr/>
            </p:nvSpPr>
            <p:spPr bwMode="auto">
              <a:xfrm>
                <a:off x="1786" y="219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5" name="Freeform 2439">
                <a:extLst>
                  <a:ext uri="{FF2B5EF4-FFF2-40B4-BE49-F238E27FC236}">
                    <a16:creationId xmlns:a16="http://schemas.microsoft.com/office/drawing/2014/main" id="{073801DC-BCCF-43C5-871B-B659F857848E}"/>
                  </a:ext>
                </a:extLst>
              </p:cNvPr>
              <p:cNvSpPr>
                <a:spLocks/>
              </p:cNvSpPr>
              <p:nvPr/>
            </p:nvSpPr>
            <p:spPr bwMode="auto">
              <a:xfrm>
                <a:off x="1906" y="252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6" name="Freeform 2440">
                <a:extLst>
                  <a:ext uri="{FF2B5EF4-FFF2-40B4-BE49-F238E27FC236}">
                    <a16:creationId xmlns:a16="http://schemas.microsoft.com/office/drawing/2014/main" id="{34DD800A-6F6C-44F5-8BF8-1E524FF87B79}"/>
                  </a:ext>
                </a:extLst>
              </p:cNvPr>
              <p:cNvSpPr>
                <a:spLocks/>
              </p:cNvSpPr>
              <p:nvPr/>
            </p:nvSpPr>
            <p:spPr bwMode="auto">
              <a:xfrm>
                <a:off x="2056" y="540"/>
                <a:ext cx="899" cy="750"/>
              </a:xfrm>
              <a:custGeom>
                <a:avLst/>
                <a:gdLst>
                  <a:gd name="T0" fmla="*/ 299 w 899"/>
                  <a:gd name="T1" fmla="*/ 630 h 750"/>
                  <a:gd name="T2" fmla="*/ 268 w 899"/>
                  <a:gd name="T3" fmla="*/ 482 h 750"/>
                  <a:gd name="T4" fmla="*/ 179 w 899"/>
                  <a:gd name="T5" fmla="*/ 570 h 750"/>
                  <a:gd name="T6" fmla="*/ 59 w 899"/>
                  <a:gd name="T7" fmla="*/ 480 h 750"/>
                  <a:gd name="T8" fmla="*/ 0 w 899"/>
                  <a:gd name="T9" fmla="*/ 360 h 750"/>
                  <a:gd name="T10" fmla="*/ 59 w 899"/>
                  <a:gd name="T11" fmla="*/ 240 h 750"/>
                  <a:gd name="T12" fmla="*/ 179 w 899"/>
                  <a:gd name="T13" fmla="*/ 390 h 750"/>
                  <a:gd name="T14" fmla="*/ 239 w 899"/>
                  <a:gd name="T15" fmla="*/ 300 h 750"/>
                  <a:gd name="T16" fmla="*/ 329 w 899"/>
                  <a:gd name="T17" fmla="*/ 360 h 750"/>
                  <a:gd name="T18" fmla="*/ 329 w 899"/>
                  <a:gd name="T19" fmla="*/ 240 h 750"/>
                  <a:gd name="T20" fmla="*/ 179 w 899"/>
                  <a:gd name="T21" fmla="*/ 181 h 750"/>
                  <a:gd name="T22" fmla="*/ 269 w 899"/>
                  <a:gd name="T23" fmla="*/ 150 h 750"/>
                  <a:gd name="T24" fmla="*/ 389 w 899"/>
                  <a:gd name="T25" fmla="*/ 120 h 750"/>
                  <a:gd name="T26" fmla="*/ 449 w 899"/>
                  <a:gd name="T27" fmla="*/ 300 h 750"/>
                  <a:gd name="T28" fmla="*/ 539 w 899"/>
                  <a:gd name="T29" fmla="*/ 180 h 750"/>
                  <a:gd name="T30" fmla="*/ 509 w 899"/>
                  <a:gd name="T31" fmla="*/ 60 h 750"/>
                  <a:gd name="T32" fmla="*/ 359 w 899"/>
                  <a:gd name="T33" fmla="*/ 30 h 750"/>
                  <a:gd name="T34" fmla="*/ 569 w 899"/>
                  <a:gd name="T35" fmla="*/ 0 h 750"/>
                  <a:gd name="T36" fmla="*/ 689 w 899"/>
                  <a:gd name="T37" fmla="*/ 90 h 750"/>
                  <a:gd name="T38" fmla="*/ 659 w 899"/>
                  <a:gd name="T39" fmla="*/ 240 h 750"/>
                  <a:gd name="T40" fmla="*/ 749 w 899"/>
                  <a:gd name="T41" fmla="*/ 270 h 750"/>
                  <a:gd name="T42" fmla="*/ 809 w 899"/>
                  <a:gd name="T43" fmla="*/ 120 h 750"/>
                  <a:gd name="T44" fmla="*/ 899 w 899"/>
                  <a:gd name="T45" fmla="*/ 240 h 750"/>
                  <a:gd name="T46" fmla="*/ 839 w 899"/>
                  <a:gd name="T47" fmla="*/ 420 h 750"/>
                  <a:gd name="T48" fmla="*/ 779 w 899"/>
                  <a:gd name="T49" fmla="*/ 510 h 750"/>
                  <a:gd name="T50" fmla="*/ 689 w 899"/>
                  <a:gd name="T51" fmla="*/ 390 h 750"/>
                  <a:gd name="T52" fmla="*/ 539 w 899"/>
                  <a:gd name="T53" fmla="*/ 330 h 750"/>
                  <a:gd name="T54" fmla="*/ 569 w 899"/>
                  <a:gd name="T55" fmla="*/ 450 h 750"/>
                  <a:gd name="T56" fmla="*/ 419 w 899"/>
                  <a:gd name="T57" fmla="*/ 420 h 750"/>
                  <a:gd name="T58" fmla="*/ 389 w 899"/>
                  <a:gd name="T59" fmla="*/ 540 h 750"/>
                  <a:gd name="T60" fmla="*/ 509 w 899"/>
                  <a:gd name="T61" fmla="*/ 570 h 750"/>
                  <a:gd name="T62" fmla="*/ 659 w 899"/>
                  <a:gd name="T63" fmla="*/ 570 h 750"/>
                  <a:gd name="T64" fmla="*/ 659 w 899"/>
                  <a:gd name="T65"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9" h="750">
                    <a:moveTo>
                      <a:pt x="299" y="630"/>
                    </a:moveTo>
                    <a:lnTo>
                      <a:pt x="268" y="482"/>
                    </a:lnTo>
                    <a:lnTo>
                      <a:pt x="179" y="570"/>
                    </a:lnTo>
                    <a:lnTo>
                      <a:pt x="59" y="480"/>
                    </a:lnTo>
                    <a:lnTo>
                      <a:pt x="0" y="360"/>
                    </a:lnTo>
                    <a:lnTo>
                      <a:pt x="59" y="240"/>
                    </a:ln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659" y="7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7" name="Line 2441">
                <a:extLst>
                  <a:ext uri="{FF2B5EF4-FFF2-40B4-BE49-F238E27FC236}">
                    <a16:creationId xmlns:a16="http://schemas.microsoft.com/office/drawing/2014/main" id="{686F5FAA-56FB-41BE-BE24-D61ED938F89B}"/>
                  </a:ext>
                </a:extLst>
              </p:cNvPr>
              <p:cNvSpPr>
                <a:spLocks noChangeShapeType="1"/>
              </p:cNvSpPr>
              <p:nvPr/>
            </p:nvSpPr>
            <p:spPr bwMode="auto">
              <a:xfrm flipH="1">
                <a:off x="2115" y="72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8" name="Freeform 2442">
                <a:extLst>
                  <a:ext uri="{FF2B5EF4-FFF2-40B4-BE49-F238E27FC236}">
                    <a16:creationId xmlns:a16="http://schemas.microsoft.com/office/drawing/2014/main" id="{912B7488-EEDC-4ABC-806B-F708074587C1}"/>
                  </a:ext>
                </a:extLst>
              </p:cNvPr>
              <p:cNvSpPr>
                <a:spLocks/>
              </p:cNvSpPr>
              <p:nvPr/>
            </p:nvSpPr>
            <p:spPr bwMode="auto">
              <a:xfrm>
                <a:off x="2324" y="90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9" name="Freeform 2443">
                <a:extLst>
                  <a:ext uri="{FF2B5EF4-FFF2-40B4-BE49-F238E27FC236}">
                    <a16:creationId xmlns:a16="http://schemas.microsoft.com/office/drawing/2014/main" id="{79D5F726-FBA9-4798-91A6-E0AFD6B7F5C9}"/>
                  </a:ext>
                </a:extLst>
              </p:cNvPr>
              <p:cNvSpPr>
                <a:spLocks/>
              </p:cNvSpPr>
              <p:nvPr/>
            </p:nvSpPr>
            <p:spPr bwMode="auto">
              <a:xfrm>
                <a:off x="238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0" name="Line 2444">
                <a:extLst>
                  <a:ext uri="{FF2B5EF4-FFF2-40B4-BE49-F238E27FC236}">
                    <a16:creationId xmlns:a16="http://schemas.microsoft.com/office/drawing/2014/main" id="{0118C876-4A2C-49F4-ADC7-595646B43DA8}"/>
                  </a:ext>
                </a:extLst>
              </p:cNvPr>
              <p:cNvSpPr>
                <a:spLocks noChangeShapeType="1"/>
              </p:cNvSpPr>
              <p:nvPr/>
            </p:nvSpPr>
            <p:spPr bwMode="auto">
              <a:xfrm>
                <a:off x="244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1" name="Freeform 2445">
                <a:extLst>
                  <a:ext uri="{FF2B5EF4-FFF2-40B4-BE49-F238E27FC236}">
                    <a16:creationId xmlns:a16="http://schemas.microsoft.com/office/drawing/2014/main" id="{E32308EA-443D-431B-A661-874C60C553F7}"/>
                  </a:ext>
                </a:extLst>
              </p:cNvPr>
              <p:cNvSpPr>
                <a:spLocks/>
              </p:cNvSpPr>
              <p:nvPr/>
            </p:nvSpPr>
            <p:spPr bwMode="auto">
              <a:xfrm>
                <a:off x="1966" y="600"/>
                <a:ext cx="599" cy="630"/>
              </a:xfrm>
              <a:custGeom>
                <a:avLst/>
                <a:gdLst>
                  <a:gd name="T0" fmla="*/ 599 w 599"/>
                  <a:gd name="T1" fmla="*/ 510 h 630"/>
                  <a:gd name="T2" fmla="*/ 389 w 599"/>
                  <a:gd name="T3" fmla="*/ 570 h 630"/>
                  <a:gd name="T4" fmla="*/ 269 w 599"/>
                  <a:gd name="T5" fmla="*/ 510 h 630"/>
                  <a:gd name="T6" fmla="*/ 90 w 599"/>
                  <a:gd name="T7" fmla="*/ 540 h 630"/>
                  <a:gd name="T8" fmla="*/ 0 w 599"/>
                  <a:gd name="T9" fmla="*/ 390 h 630"/>
                  <a:gd name="T10" fmla="*/ 0 w 599"/>
                  <a:gd name="T11" fmla="*/ 630 h 630"/>
                  <a:gd name="T12" fmla="*/ 90 w 599"/>
                  <a:gd name="T13" fmla="*/ 300 h 630"/>
                  <a:gd name="T14" fmla="*/ 0 w 599"/>
                  <a:gd name="T15" fmla="*/ 210 h 630"/>
                  <a:gd name="T16" fmla="*/ 0 w 599"/>
                  <a:gd name="T17" fmla="*/ 60 h 630"/>
                  <a:gd name="T18" fmla="*/ 60 w 599"/>
                  <a:gd name="T19" fmla="*/ 0 h 630"/>
                  <a:gd name="T20" fmla="*/ 149 w 599"/>
                  <a:gd name="T21" fmla="*/ 180 h 630"/>
                  <a:gd name="T22" fmla="*/ 329 w 599"/>
                  <a:gd name="T23" fmla="*/ 240 h 630"/>
                  <a:gd name="T24" fmla="*/ 359 w 599"/>
                  <a:gd name="T25" fmla="*/ 9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9" h="630">
                    <a:moveTo>
                      <a:pt x="599" y="510"/>
                    </a:move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2" name="Freeform 2446">
                <a:extLst>
                  <a:ext uri="{FF2B5EF4-FFF2-40B4-BE49-F238E27FC236}">
                    <a16:creationId xmlns:a16="http://schemas.microsoft.com/office/drawing/2014/main" id="{535761B5-235B-482E-B969-DDE462EDA688}"/>
                  </a:ext>
                </a:extLst>
              </p:cNvPr>
              <p:cNvSpPr>
                <a:spLocks/>
              </p:cNvSpPr>
              <p:nvPr/>
            </p:nvSpPr>
            <p:spPr bwMode="auto">
              <a:xfrm>
                <a:off x="3015" y="54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3" name="Freeform 2447">
                <a:extLst>
                  <a:ext uri="{FF2B5EF4-FFF2-40B4-BE49-F238E27FC236}">
                    <a16:creationId xmlns:a16="http://schemas.microsoft.com/office/drawing/2014/main" id="{DACD7C44-0654-4EF8-958B-3F89C3814796}"/>
                  </a:ext>
                </a:extLst>
              </p:cNvPr>
              <p:cNvSpPr>
                <a:spLocks/>
              </p:cNvSpPr>
              <p:nvPr/>
            </p:nvSpPr>
            <p:spPr bwMode="auto">
              <a:xfrm>
                <a:off x="3075" y="69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4" name="Freeform 2448">
                <a:extLst>
                  <a:ext uri="{FF2B5EF4-FFF2-40B4-BE49-F238E27FC236}">
                    <a16:creationId xmlns:a16="http://schemas.microsoft.com/office/drawing/2014/main" id="{261BCCF1-D397-4EFE-B684-E835EB8E5DFC}"/>
                  </a:ext>
                </a:extLst>
              </p:cNvPr>
              <p:cNvSpPr>
                <a:spLocks/>
              </p:cNvSpPr>
              <p:nvPr/>
            </p:nvSpPr>
            <p:spPr bwMode="auto">
              <a:xfrm>
                <a:off x="2955" y="72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5" name="Freeform 2449">
                <a:extLst>
                  <a:ext uri="{FF2B5EF4-FFF2-40B4-BE49-F238E27FC236}">
                    <a16:creationId xmlns:a16="http://schemas.microsoft.com/office/drawing/2014/main" id="{253DC200-D809-42BD-9A8C-C4BB4EA781E9}"/>
                  </a:ext>
                </a:extLst>
              </p:cNvPr>
              <p:cNvSpPr>
                <a:spLocks/>
              </p:cNvSpPr>
              <p:nvPr/>
            </p:nvSpPr>
            <p:spPr bwMode="auto">
              <a:xfrm>
                <a:off x="3283" y="90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6" name="Freeform 2450">
                <a:extLst>
                  <a:ext uri="{FF2B5EF4-FFF2-40B4-BE49-F238E27FC236}">
                    <a16:creationId xmlns:a16="http://schemas.microsoft.com/office/drawing/2014/main" id="{63919562-9B6F-48A1-A803-0ADACBDA2907}"/>
                  </a:ext>
                </a:extLst>
              </p:cNvPr>
              <p:cNvSpPr>
                <a:spLocks/>
              </p:cNvSpPr>
              <p:nvPr/>
            </p:nvSpPr>
            <p:spPr bwMode="auto">
              <a:xfrm>
                <a:off x="334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7" name="Line 2451">
                <a:extLst>
                  <a:ext uri="{FF2B5EF4-FFF2-40B4-BE49-F238E27FC236}">
                    <a16:creationId xmlns:a16="http://schemas.microsoft.com/office/drawing/2014/main" id="{A9448435-E0BE-49E5-BA9D-C9DA857A4C30}"/>
                  </a:ext>
                </a:extLst>
              </p:cNvPr>
              <p:cNvSpPr>
                <a:spLocks noChangeShapeType="1"/>
              </p:cNvSpPr>
              <p:nvPr/>
            </p:nvSpPr>
            <p:spPr bwMode="auto">
              <a:xfrm>
                <a:off x="340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8" name="Freeform 2452">
                <a:extLst>
                  <a:ext uri="{FF2B5EF4-FFF2-40B4-BE49-F238E27FC236}">
                    <a16:creationId xmlns:a16="http://schemas.microsoft.com/office/drawing/2014/main" id="{BE3832B4-74F3-4D4A-AE32-BBE93B66EEEB}"/>
                  </a:ext>
                </a:extLst>
              </p:cNvPr>
              <p:cNvSpPr>
                <a:spLocks/>
              </p:cNvSpPr>
              <p:nvPr/>
            </p:nvSpPr>
            <p:spPr bwMode="auto">
              <a:xfrm>
                <a:off x="3075" y="780"/>
                <a:ext cx="450" cy="390"/>
              </a:xfrm>
              <a:custGeom>
                <a:avLst/>
                <a:gdLst>
                  <a:gd name="T0" fmla="*/ 450 w 450"/>
                  <a:gd name="T1" fmla="*/ 330 h 390"/>
                  <a:gd name="T2" fmla="*/ 240 w 450"/>
                  <a:gd name="T3" fmla="*/ 390 h 390"/>
                  <a:gd name="T4" fmla="*/ 120 w 450"/>
                  <a:gd name="T5" fmla="*/ 330 h 390"/>
                  <a:gd name="T6" fmla="*/ 0 w 450"/>
                  <a:gd name="T7" fmla="*/ 0 h 390"/>
                </a:gdLst>
                <a:ahLst/>
                <a:cxnLst>
                  <a:cxn ang="0">
                    <a:pos x="T0" y="T1"/>
                  </a:cxn>
                  <a:cxn ang="0">
                    <a:pos x="T2" y="T3"/>
                  </a:cxn>
                  <a:cxn ang="0">
                    <a:pos x="T4" y="T5"/>
                  </a:cxn>
                  <a:cxn ang="0">
                    <a:pos x="T6" y="T7"/>
                  </a:cxn>
                </a:cxnLst>
                <a:rect l="0" t="0" r="r" b="b"/>
                <a:pathLst>
                  <a:path w="450" h="390">
                    <a:moveTo>
                      <a:pt x="450" y="330"/>
                    </a:moveTo>
                    <a:lnTo>
                      <a:pt x="240" y="390"/>
                    </a:lnTo>
                    <a:lnTo>
                      <a:pt x="12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69" name="Freeform 2453">
                <a:extLst>
                  <a:ext uri="{FF2B5EF4-FFF2-40B4-BE49-F238E27FC236}">
                    <a16:creationId xmlns:a16="http://schemas.microsoft.com/office/drawing/2014/main" id="{271F98DD-E9BD-44D2-9865-A1A05CC4A8A6}"/>
                  </a:ext>
                </a:extLst>
              </p:cNvPr>
              <p:cNvSpPr>
                <a:spLocks/>
              </p:cNvSpPr>
              <p:nvPr/>
            </p:nvSpPr>
            <p:spPr bwMode="auto">
              <a:xfrm>
                <a:off x="2475" y="960"/>
                <a:ext cx="570" cy="300"/>
              </a:xfrm>
              <a:custGeom>
                <a:avLst/>
                <a:gdLst>
                  <a:gd name="T0" fmla="*/ 0 w 570"/>
                  <a:gd name="T1" fmla="*/ 0 h 300"/>
                  <a:gd name="T2" fmla="*/ 240 w 570"/>
                  <a:gd name="T3" fmla="*/ 150 h 300"/>
                  <a:gd name="T4" fmla="*/ 360 w 570"/>
                  <a:gd name="T5" fmla="*/ 90 h 300"/>
                  <a:gd name="T6" fmla="*/ 450 w 570"/>
                  <a:gd name="T7" fmla="*/ 300 h 300"/>
                  <a:gd name="T8" fmla="*/ 570 w 570"/>
                  <a:gd name="T9" fmla="*/ 240 h 300"/>
                </a:gdLst>
                <a:ahLst/>
                <a:cxnLst>
                  <a:cxn ang="0">
                    <a:pos x="T0" y="T1"/>
                  </a:cxn>
                  <a:cxn ang="0">
                    <a:pos x="T2" y="T3"/>
                  </a:cxn>
                  <a:cxn ang="0">
                    <a:pos x="T4" y="T5"/>
                  </a:cxn>
                  <a:cxn ang="0">
                    <a:pos x="T6" y="T7"/>
                  </a:cxn>
                  <a:cxn ang="0">
                    <a:pos x="T8" y="T9"/>
                  </a:cxn>
                </a:cxnLst>
                <a:rect l="0" t="0" r="r" b="b"/>
                <a:pathLst>
                  <a:path w="570" h="300">
                    <a:moveTo>
                      <a:pt x="0" y="0"/>
                    </a:moveTo>
                    <a:lnTo>
                      <a:pt x="240" y="150"/>
                    </a:lnTo>
                    <a:lnTo>
                      <a:pt x="360" y="90"/>
                    </a:lnTo>
                    <a:lnTo>
                      <a:pt x="450" y="300"/>
                    </a:lnTo>
                    <a:lnTo>
                      <a:pt x="57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0" name="Line 2454">
                <a:extLst>
                  <a:ext uri="{FF2B5EF4-FFF2-40B4-BE49-F238E27FC236}">
                    <a16:creationId xmlns:a16="http://schemas.microsoft.com/office/drawing/2014/main" id="{1687F78F-7AE8-4C4F-9CB9-C51F3E2CC423}"/>
                  </a:ext>
                </a:extLst>
              </p:cNvPr>
              <p:cNvSpPr>
                <a:spLocks noChangeShapeType="1"/>
              </p:cNvSpPr>
              <p:nvPr/>
            </p:nvSpPr>
            <p:spPr bwMode="auto">
              <a:xfrm flipV="1">
                <a:off x="2895" y="90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1" name="Line 2455">
                <a:extLst>
                  <a:ext uri="{FF2B5EF4-FFF2-40B4-BE49-F238E27FC236}">
                    <a16:creationId xmlns:a16="http://schemas.microsoft.com/office/drawing/2014/main" id="{20B67DB4-D10E-4FFA-8054-34028E5BD688}"/>
                  </a:ext>
                </a:extLst>
              </p:cNvPr>
              <p:cNvSpPr>
                <a:spLocks noChangeShapeType="1"/>
              </p:cNvSpPr>
              <p:nvPr/>
            </p:nvSpPr>
            <p:spPr bwMode="auto">
              <a:xfrm>
                <a:off x="3105" y="51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2" name="Freeform 2456">
                <a:extLst>
                  <a:ext uri="{FF2B5EF4-FFF2-40B4-BE49-F238E27FC236}">
                    <a16:creationId xmlns:a16="http://schemas.microsoft.com/office/drawing/2014/main" id="{F97BDC0C-D642-4329-A738-49A618DD3C1B}"/>
                  </a:ext>
                </a:extLst>
              </p:cNvPr>
              <p:cNvSpPr>
                <a:spLocks/>
              </p:cNvSpPr>
              <p:nvPr/>
            </p:nvSpPr>
            <p:spPr bwMode="auto">
              <a:xfrm>
                <a:off x="3435" y="96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3" name="Freeform 2457">
                <a:extLst>
                  <a:ext uri="{FF2B5EF4-FFF2-40B4-BE49-F238E27FC236}">
                    <a16:creationId xmlns:a16="http://schemas.microsoft.com/office/drawing/2014/main" id="{8A129D54-09C9-4994-B55B-EEE644E4AD80}"/>
                  </a:ext>
                </a:extLst>
              </p:cNvPr>
              <p:cNvSpPr>
                <a:spLocks/>
              </p:cNvSpPr>
              <p:nvPr/>
            </p:nvSpPr>
            <p:spPr bwMode="auto">
              <a:xfrm>
                <a:off x="3585" y="78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4" name="Line 2458">
                <a:extLst>
                  <a:ext uri="{FF2B5EF4-FFF2-40B4-BE49-F238E27FC236}">
                    <a16:creationId xmlns:a16="http://schemas.microsoft.com/office/drawing/2014/main" id="{F2F5BAF9-3CB2-4227-8220-3D639877F0F7}"/>
                  </a:ext>
                </a:extLst>
              </p:cNvPr>
              <p:cNvSpPr>
                <a:spLocks noChangeShapeType="1"/>
              </p:cNvSpPr>
              <p:nvPr/>
            </p:nvSpPr>
            <p:spPr bwMode="auto">
              <a:xfrm>
                <a:off x="3914" y="78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5" name="Freeform 2459">
                <a:extLst>
                  <a:ext uri="{FF2B5EF4-FFF2-40B4-BE49-F238E27FC236}">
                    <a16:creationId xmlns:a16="http://schemas.microsoft.com/office/drawing/2014/main" id="{ADBB73C0-C43B-4A3F-B25A-39AB45A4F16A}"/>
                  </a:ext>
                </a:extLst>
              </p:cNvPr>
              <p:cNvSpPr>
                <a:spLocks/>
              </p:cNvSpPr>
              <p:nvPr/>
            </p:nvSpPr>
            <p:spPr bwMode="auto">
              <a:xfrm>
                <a:off x="3705" y="63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6" name="Freeform 2460">
                <a:extLst>
                  <a:ext uri="{FF2B5EF4-FFF2-40B4-BE49-F238E27FC236}">
                    <a16:creationId xmlns:a16="http://schemas.microsoft.com/office/drawing/2014/main" id="{A362746D-D0E4-4B52-86E6-64B7F14EA187}"/>
                  </a:ext>
                </a:extLst>
              </p:cNvPr>
              <p:cNvSpPr>
                <a:spLocks/>
              </p:cNvSpPr>
              <p:nvPr/>
            </p:nvSpPr>
            <p:spPr bwMode="auto">
              <a:xfrm>
                <a:off x="1756" y="63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7" name="Freeform 2461">
                <a:extLst>
                  <a:ext uri="{FF2B5EF4-FFF2-40B4-BE49-F238E27FC236}">
                    <a16:creationId xmlns:a16="http://schemas.microsoft.com/office/drawing/2014/main" id="{5400A4CF-CDAD-4C94-8294-1FE01BC47909}"/>
                  </a:ext>
                </a:extLst>
              </p:cNvPr>
              <p:cNvSpPr>
                <a:spLocks/>
              </p:cNvSpPr>
              <p:nvPr/>
            </p:nvSpPr>
            <p:spPr bwMode="auto">
              <a:xfrm>
                <a:off x="2026" y="570"/>
                <a:ext cx="719" cy="720"/>
              </a:xfrm>
              <a:custGeom>
                <a:avLst/>
                <a:gdLst>
                  <a:gd name="T0" fmla="*/ 119 w 719"/>
                  <a:gd name="T1" fmla="*/ 120 h 720"/>
                  <a:gd name="T2" fmla="*/ 0 w 719"/>
                  <a:gd name="T3" fmla="*/ 30 h 720"/>
                  <a:gd name="T4" fmla="*/ 209 w 719"/>
                  <a:gd name="T5" fmla="*/ 0 h 720"/>
                  <a:gd name="T6" fmla="*/ 299 w 719"/>
                  <a:gd name="T7" fmla="*/ 120 h 720"/>
                  <a:gd name="T8" fmla="*/ 389 w 719"/>
                  <a:gd name="T9" fmla="*/ 0 h 720"/>
                  <a:gd name="T10" fmla="*/ 209 w 719"/>
                  <a:gd name="T11" fmla="*/ 0 h 720"/>
                  <a:gd name="T12" fmla="*/ 209 w 719"/>
                  <a:gd name="T13" fmla="*/ 151 h 720"/>
                  <a:gd name="T14" fmla="*/ 119 w 719"/>
                  <a:gd name="T15" fmla="*/ 120 h 720"/>
                  <a:gd name="T16" fmla="*/ 89 w 719"/>
                  <a:gd name="T17" fmla="*/ 210 h 720"/>
                  <a:gd name="T18" fmla="*/ 89 w 719"/>
                  <a:gd name="T19" fmla="*/ 450 h 720"/>
                  <a:gd name="T20" fmla="*/ 209 w 719"/>
                  <a:gd name="T21" fmla="*/ 360 h 720"/>
                  <a:gd name="T22" fmla="*/ 298 w 719"/>
                  <a:gd name="T23" fmla="*/ 452 h 720"/>
                  <a:gd name="T24" fmla="*/ 269 w 719"/>
                  <a:gd name="T25" fmla="*/ 270 h 720"/>
                  <a:gd name="T26" fmla="*/ 359 w 719"/>
                  <a:gd name="T27" fmla="*/ 210 h 720"/>
                  <a:gd name="T28" fmla="*/ 479 w 719"/>
                  <a:gd name="T29" fmla="*/ 270 h 720"/>
                  <a:gd name="T30" fmla="*/ 359 w 719"/>
                  <a:gd name="T31" fmla="*/ 330 h 720"/>
                  <a:gd name="T32" fmla="*/ 449 w 719"/>
                  <a:gd name="T33" fmla="*/ 390 h 720"/>
                  <a:gd name="T34" fmla="*/ 719 w 719"/>
                  <a:gd name="T35" fmla="*/ 360 h 720"/>
                  <a:gd name="T36" fmla="*/ 599 w 719"/>
                  <a:gd name="T37" fmla="*/ 420 h 720"/>
                  <a:gd name="T38" fmla="*/ 689 w 719"/>
                  <a:gd name="T39" fmla="*/ 720 h 720"/>
                  <a:gd name="T40" fmla="*/ 419 w 719"/>
                  <a:gd name="T41" fmla="*/ 51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72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89" y="72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8" name="Freeform 2462">
                <a:extLst>
                  <a:ext uri="{FF2B5EF4-FFF2-40B4-BE49-F238E27FC236}">
                    <a16:creationId xmlns:a16="http://schemas.microsoft.com/office/drawing/2014/main" id="{AE1CC2D5-2A8E-445A-980F-F0B558F3A1C7}"/>
                  </a:ext>
                </a:extLst>
              </p:cNvPr>
              <p:cNvSpPr>
                <a:spLocks/>
              </p:cNvSpPr>
              <p:nvPr/>
            </p:nvSpPr>
            <p:spPr bwMode="auto">
              <a:xfrm>
                <a:off x="1756" y="66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9" name="Freeform 2463">
                <a:extLst>
                  <a:ext uri="{FF2B5EF4-FFF2-40B4-BE49-F238E27FC236}">
                    <a16:creationId xmlns:a16="http://schemas.microsoft.com/office/drawing/2014/main" id="{170C1905-92FA-4F48-88ED-7B365C97B749}"/>
                  </a:ext>
                </a:extLst>
              </p:cNvPr>
              <p:cNvSpPr>
                <a:spLocks/>
              </p:cNvSpPr>
              <p:nvPr/>
            </p:nvSpPr>
            <p:spPr bwMode="auto">
              <a:xfrm>
                <a:off x="1876" y="99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0" name="Freeform 2464">
                <a:extLst>
                  <a:ext uri="{FF2B5EF4-FFF2-40B4-BE49-F238E27FC236}">
                    <a16:creationId xmlns:a16="http://schemas.microsoft.com/office/drawing/2014/main" id="{D31AD73A-B859-4C09-B328-E68836EC4B74}"/>
                  </a:ext>
                </a:extLst>
              </p:cNvPr>
              <p:cNvSpPr>
                <a:spLocks/>
              </p:cNvSpPr>
              <p:nvPr/>
            </p:nvSpPr>
            <p:spPr bwMode="auto">
              <a:xfrm>
                <a:off x="2355" y="1170"/>
                <a:ext cx="360" cy="120"/>
              </a:xfrm>
              <a:custGeom>
                <a:avLst/>
                <a:gdLst>
                  <a:gd name="T0" fmla="*/ 360 w 360"/>
                  <a:gd name="T1" fmla="*/ 120 h 120"/>
                  <a:gd name="T2" fmla="*/ 150 w 360"/>
                  <a:gd name="T3" fmla="*/ 30 h 120"/>
                  <a:gd name="T4" fmla="*/ 0 w 360"/>
                  <a:gd name="T5" fmla="*/ 0 h 120"/>
                </a:gdLst>
                <a:ahLst/>
                <a:cxnLst>
                  <a:cxn ang="0">
                    <a:pos x="T0" y="T1"/>
                  </a:cxn>
                  <a:cxn ang="0">
                    <a:pos x="T2" y="T3"/>
                  </a:cxn>
                  <a:cxn ang="0">
                    <a:pos x="T4" y="T5"/>
                  </a:cxn>
                </a:cxnLst>
                <a:rect l="0" t="0" r="r" b="b"/>
                <a:pathLst>
                  <a:path w="360" h="120">
                    <a:moveTo>
                      <a:pt x="360" y="120"/>
                    </a:moveTo>
                    <a:lnTo>
                      <a:pt x="15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1" name="Freeform 2465">
                <a:extLst>
                  <a:ext uri="{FF2B5EF4-FFF2-40B4-BE49-F238E27FC236}">
                    <a16:creationId xmlns:a16="http://schemas.microsoft.com/office/drawing/2014/main" id="{45209096-0F91-4E1D-92E3-F831E689D120}"/>
                  </a:ext>
                </a:extLst>
              </p:cNvPr>
              <p:cNvSpPr>
                <a:spLocks/>
              </p:cNvSpPr>
              <p:nvPr/>
            </p:nvSpPr>
            <p:spPr bwMode="auto">
              <a:xfrm>
                <a:off x="2235" y="930"/>
                <a:ext cx="720" cy="360"/>
              </a:xfrm>
              <a:custGeom>
                <a:avLst/>
                <a:gdLst>
                  <a:gd name="T0" fmla="*/ 510 w 720"/>
                  <a:gd name="T1" fmla="*/ 0 h 360"/>
                  <a:gd name="T2" fmla="*/ 570 w 720"/>
                  <a:gd name="T3" fmla="*/ 300 h 360"/>
                  <a:gd name="T4" fmla="*/ 720 w 720"/>
                  <a:gd name="T5" fmla="*/ 180 h 360"/>
                  <a:gd name="T6" fmla="*/ 480 w 720"/>
                  <a:gd name="T7" fmla="*/ 180 h 360"/>
                  <a:gd name="T8" fmla="*/ 300 w 720"/>
                  <a:gd name="T9" fmla="*/ 360 h 360"/>
                  <a:gd name="T10" fmla="*/ 270 w 720"/>
                  <a:gd name="T11" fmla="*/ 270 h 360"/>
                  <a:gd name="T12" fmla="*/ 120 w 720"/>
                  <a:gd name="T13" fmla="*/ 360 h 360"/>
                  <a:gd name="T14" fmla="*/ 0 w 720"/>
                  <a:gd name="T15" fmla="*/ 301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0" h="360">
                    <a:moveTo>
                      <a:pt x="510" y="0"/>
                    </a:moveTo>
                    <a:lnTo>
                      <a:pt x="570" y="300"/>
                    </a:lnTo>
                    <a:lnTo>
                      <a:pt x="720" y="180"/>
                    </a:lnTo>
                    <a:lnTo>
                      <a:pt x="480" y="180"/>
                    </a:lnTo>
                    <a:lnTo>
                      <a:pt x="300" y="360"/>
                    </a:lnTo>
                    <a:lnTo>
                      <a:pt x="270" y="270"/>
                    </a:lnTo>
                    <a:lnTo>
                      <a:pt x="120" y="360"/>
                    </a:lnTo>
                    <a:lnTo>
                      <a:pt x="0" y="301"/>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2" name="Freeform 2466">
                <a:extLst>
                  <a:ext uri="{FF2B5EF4-FFF2-40B4-BE49-F238E27FC236}">
                    <a16:creationId xmlns:a16="http://schemas.microsoft.com/office/drawing/2014/main" id="{E255D939-6BC4-4B5A-88BE-724F44454BDD}"/>
                  </a:ext>
                </a:extLst>
              </p:cNvPr>
              <p:cNvSpPr>
                <a:spLocks/>
              </p:cNvSpPr>
              <p:nvPr/>
            </p:nvSpPr>
            <p:spPr bwMode="auto">
              <a:xfrm>
                <a:off x="3045" y="1200"/>
                <a:ext cx="150" cy="90"/>
              </a:xfrm>
              <a:custGeom>
                <a:avLst/>
                <a:gdLst>
                  <a:gd name="T0" fmla="*/ 150 w 150"/>
                  <a:gd name="T1" fmla="*/ 0 h 90"/>
                  <a:gd name="T2" fmla="*/ 0 w 150"/>
                  <a:gd name="T3" fmla="*/ 0 h 90"/>
                  <a:gd name="T4" fmla="*/ 120 w 150"/>
                  <a:gd name="T5" fmla="*/ 90 h 90"/>
                  <a:gd name="T6" fmla="*/ 150 w 150"/>
                  <a:gd name="T7" fmla="*/ 0 h 90"/>
                </a:gdLst>
                <a:ahLst/>
                <a:cxnLst>
                  <a:cxn ang="0">
                    <a:pos x="T0" y="T1"/>
                  </a:cxn>
                  <a:cxn ang="0">
                    <a:pos x="T2" y="T3"/>
                  </a:cxn>
                  <a:cxn ang="0">
                    <a:pos x="T4" y="T5"/>
                  </a:cxn>
                  <a:cxn ang="0">
                    <a:pos x="T6" y="T7"/>
                  </a:cxn>
                </a:cxnLst>
                <a:rect l="0" t="0" r="r" b="b"/>
                <a:pathLst>
                  <a:path w="150" h="90">
                    <a:moveTo>
                      <a:pt x="150" y="0"/>
                    </a:moveTo>
                    <a:lnTo>
                      <a:pt x="0" y="0"/>
                    </a:lnTo>
                    <a:lnTo>
                      <a:pt x="120" y="90"/>
                    </a:lnTo>
                    <a:lnTo>
                      <a:pt x="15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3" name="Freeform 2467">
                <a:extLst>
                  <a:ext uri="{FF2B5EF4-FFF2-40B4-BE49-F238E27FC236}">
                    <a16:creationId xmlns:a16="http://schemas.microsoft.com/office/drawing/2014/main" id="{FAF0461E-6E75-4EBB-9E31-A73237287321}"/>
                  </a:ext>
                </a:extLst>
              </p:cNvPr>
              <p:cNvSpPr>
                <a:spLocks/>
              </p:cNvSpPr>
              <p:nvPr/>
            </p:nvSpPr>
            <p:spPr bwMode="auto">
              <a:xfrm>
                <a:off x="1696" y="480"/>
                <a:ext cx="390" cy="360"/>
              </a:xfrm>
              <a:custGeom>
                <a:avLst/>
                <a:gdLst>
                  <a:gd name="T0" fmla="*/ 180 w 390"/>
                  <a:gd name="T1" fmla="*/ 360 h 360"/>
                  <a:gd name="T2" fmla="*/ 150 w 390"/>
                  <a:gd name="T3" fmla="*/ 150 h 360"/>
                  <a:gd name="T4" fmla="*/ 30 w 390"/>
                  <a:gd name="T5" fmla="*/ 0 h 360"/>
                  <a:gd name="T6" fmla="*/ 330 w 390"/>
                  <a:gd name="T7" fmla="*/ 120 h 360"/>
                  <a:gd name="T8" fmla="*/ 390 w 390"/>
                  <a:gd name="T9" fmla="*/ 0 h 360"/>
                  <a:gd name="T10" fmla="*/ 210 w 390"/>
                  <a:gd name="T11" fmla="*/ 30 h 360"/>
                  <a:gd name="T12" fmla="*/ 0 w 390"/>
                  <a:gd name="T13" fmla="*/ 180 h 360"/>
                  <a:gd name="T14" fmla="*/ 270 w 390"/>
                  <a:gd name="T15" fmla="*/ 33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360">
                    <a:moveTo>
                      <a:pt x="180" y="360"/>
                    </a:moveTo>
                    <a:lnTo>
                      <a:pt x="150" y="150"/>
                    </a:lnTo>
                    <a:lnTo>
                      <a:pt x="30" y="0"/>
                    </a:lnTo>
                    <a:lnTo>
                      <a:pt x="330" y="120"/>
                    </a:lnTo>
                    <a:lnTo>
                      <a:pt x="390" y="0"/>
                    </a:lnTo>
                    <a:lnTo>
                      <a:pt x="210" y="30"/>
                    </a:lnTo>
                    <a:lnTo>
                      <a:pt x="0" y="180"/>
                    </a:lnTo>
                    <a:lnTo>
                      <a:pt x="27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4" name="Line 2468">
                <a:extLst>
                  <a:ext uri="{FF2B5EF4-FFF2-40B4-BE49-F238E27FC236}">
                    <a16:creationId xmlns:a16="http://schemas.microsoft.com/office/drawing/2014/main" id="{A2700F58-63AC-4CD0-8F3E-2C5385100786}"/>
                  </a:ext>
                </a:extLst>
              </p:cNvPr>
              <p:cNvSpPr>
                <a:spLocks noChangeShapeType="1"/>
              </p:cNvSpPr>
              <p:nvPr/>
            </p:nvSpPr>
            <p:spPr bwMode="auto">
              <a:xfrm flipV="1">
                <a:off x="1846" y="510"/>
                <a:ext cx="6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5" name="Freeform 2469">
                <a:extLst>
                  <a:ext uri="{FF2B5EF4-FFF2-40B4-BE49-F238E27FC236}">
                    <a16:creationId xmlns:a16="http://schemas.microsoft.com/office/drawing/2014/main" id="{68FCC229-80D9-4A9F-8884-53F18479C194}"/>
                  </a:ext>
                </a:extLst>
              </p:cNvPr>
              <p:cNvSpPr>
                <a:spLocks/>
              </p:cNvSpPr>
              <p:nvPr/>
            </p:nvSpPr>
            <p:spPr bwMode="auto">
              <a:xfrm>
                <a:off x="2086" y="450"/>
                <a:ext cx="239" cy="120"/>
              </a:xfrm>
              <a:custGeom>
                <a:avLst/>
                <a:gdLst>
                  <a:gd name="T0" fmla="*/ 239 w 239"/>
                  <a:gd name="T1" fmla="*/ 0 h 120"/>
                  <a:gd name="T2" fmla="*/ 0 w 239"/>
                  <a:gd name="T3" fmla="*/ 30 h 120"/>
                  <a:gd name="T4" fmla="*/ 149 w 239"/>
                  <a:gd name="T5" fmla="*/ 120 h 120"/>
                  <a:gd name="T6" fmla="*/ 239 w 239"/>
                  <a:gd name="T7" fmla="*/ 0 h 120"/>
                </a:gdLst>
                <a:ahLst/>
                <a:cxnLst>
                  <a:cxn ang="0">
                    <a:pos x="T0" y="T1"/>
                  </a:cxn>
                  <a:cxn ang="0">
                    <a:pos x="T2" y="T3"/>
                  </a:cxn>
                  <a:cxn ang="0">
                    <a:pos x="T4" y="T5"/>
                  </a:cxn>
                  <a:cxn ang="0">
                    <a:pos x="T6" y="T7"/>
                  </a:cxn>
                </a:cxnLst>
                <a:rect l="0" t="0" r="r" b="b"/>
                <a:pathLst>
                  <a:path w="239" h="120">
                    <a:moveTo>
                      <a:pt x="239" y="0"/>
                    </a:moveTo>
                    <a:lnTo>
                      <a:pt x="0" y="30"/>
                    </a:lnTo>
                    <a:lnTo>
                      <a:pt x="149" y="120"/>
                    </a:lnTo>
                    <a:lnTo>
                      <a:pt x="239"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6" name="Line 2470">
                <a:extLst>
                  <a:ext uri="{FF2B5EF4-FFF2-40B4-BE49-F238E27FC236}">
                    <a16:creationId xmlns:a16="http://schemas.microsoft.com/office/drawing/2014/main" id="{29EB0A10-FF18-4D5A-81E5-52949BA64222}"/>
                  </a:ext>
                </a:extLst>
              </p:cNvPr>
              <p:cNvSpPr>
                <a:spLocks noChangeShapeType="1"/>
              </p:cNvSpPr>
              <p:nvPr/>
            </p:nvSpPr>
            <p:spPr bwMode="auto">
              <a:xfrm>
                <a:off x="2625" y="540"/>
                <a:ext cx="18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7" name="Freeform 2471">
                <a:extLst>
                  <a:ext uri="{FF2B5EF4-FFF2-40B4-BE49-F238E27FC236}">
                    <a16:creationId xmlns:a16="http://schemas.microsoft.com/office/drawing/2014/main" id="{246A0F60-1191-4ACC-8C07-CE126AA671B2}"/>
                  </a:ext>
                </a:extLst>
              </p:cNvPr>
              <p:cNvSpPr>
                <a:spLocks/>
              </p:cNvSpPr>
              <p:nvPr/>
            </p:nvSpPr>
            <p:spPr bwMode="auto">
              <a:xfrm>
                <a:off x="2805" y="450"/>
                <a:ext cx="300" cy="330"/>
              </a:xfrm>
              <a:custGeom>
                <a:avLst/>
                <a:gdLst>
                  <a:gd name="T0" fmla="*/ 90 w 300"/>
                  <a:gd name="T1" fmla="*/ 0 h 330"/>
                  <a:gd name="T2" fmla="*/ 180 w 300"/>
                  <a:gd name="T3" fmla="*/ 90 h 330"/>
                  <a:gd name="T4" fmla="*/ 0 w 300"/>
                  <a:gd name="T5" fmla="*/ 90 h 330"/>
                  <a:gd name="T6" fmla="*/ 60 w 300"/>
                  <a:gd name="T7" fmla="*/ 210 h 330"/>
                  <a:gd name="T8" fmla="*/ 180 w 300"/>
                  <a:gd name="T9" fmla="*/ 90 h 330"/>
                  <a:gd name="T10" fmla="*/ 300 w 300"/>
                  <a:gd name="T11" fmla="*/ 240 h 330"/>
                  <a:gd name="T12" fmla="*/ 150 w 300"/>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300" h="330">
                    <a:moveTo>
                      <a:pt x="90" y="0"/>
                    </a:moveTo>
                    <a:lnTo>
                      <a:pt x="180" y="90"/>
                    </a:lnTo>
                    <a:lnTo>
                      <a:pt x="0" y="90"/>
                    </a:lnTo>
                    <a:lnTo>
                      <a:pt x="60" y="210"/>
                    </a:lnTo>
                    <a:lnTo>
                      <a:pt x="180" y="90"/>
                    </a:lnTo>
                    <a:lnTo>
                      <a:pt x="300" y="240"/>
                    </a:lnTo>
                    <a:lnTo>
                      <a:pt x="15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8" name="Freeform 2472">
                <a:extLst>
                  <a:ext uri="{FF2B5EF4-FFF2-40B4-BE49-F238E27FC236}">
                    <a16:creationId xmlns:a16="http://schemas.microsoft.com/office/drawing/2014/main" id="{C6DD2919-D3DB-4275-9285-9EC797174AB2}"/>
                  </a:ext>
                </a:extLst>
              </p:cNvPr>
              <p:cNvSpPr>
                <a:spLocks/>
              </p:cNvSpPr>
              <p:nvPr/>
            </p:nvSpPr>
            <p:spPr bwMode="auto">
              <a:xfrm>
                <a:off x="3195" y="480"/>
                <a:ext cx="180" cy="90"/>
              </a:xfrm>
              <a:custGeom>
                <a:avLst/>
                <a:gdLst>
                  <a:gd name="T0" fmla="*/ 0 w 180"/>
                  <a:gd name="T1" fmla="*/ 90 h 90"/>
                  <a:gd name="T2" fmla="*/ 90 w 180"/>
                  <a:gd name="T3" fmla="*/ 0 h 90"/>
                  <a:gd name="T4" fmla="*/ 180 w 180"/>
                  <a:gd name="T5" fmla="*/ 90 h 90"/>
                </a:gdLst>
                <a:ahLst/>
                <a:cxnLst>
                  <a:cxn ang="0">
                    <a:pos x="T0" y="T1"/>
                  </a:cxn>
                  <a:cxn ang="0">
                    <a:pos x="T2" y="T3"/>
                  </a:cxn>
                  <a:cxn ang="0">
                    <a:pos x="T4" y="T5"/>
                  </a:cxn>
                </a:cxnLst>
                <a:rect l="0" t="0" r="r" b="b"/>
                <a:pathLst>
                  <a:path w="180" h="90">
                    <a:moveTo>
                      <a:pt x="0" y="90"/>
                    </a:moveTo>
                    <a:lnTo>
                      <a:pt x="9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89" name="Freeform 2473">
                <a:extLst>
                  <a:ext uri="{FF2B5EF4-FFF2-40B4-BE49-F238E27FC236}">
                    <a16:creationId xmlns:a16="http://schemas.microsoft.com/office/drawing/2014/main" id="{B6CC6B7A-3837-404B-ACDA-E3C8FC668A3F}"/>
                  </a:ext>
                </a:extLst>
              </p:cNvPr>
              <p:cNvSpPr>
                <a:spLocks/>
              </p:cNvSpPr>
              <p:nvPr/>
            </p:nvSpPr>
            <p:spPr bwMode="auto">
              <a:xfrm>
                <a:off x="3675" y="450"/>
                <a:ext cx="269" cy="210"/>
              </a:xfrm>
              <a:custGeom>
                <a:avLst/>
                <a:gdLst>
                  <a:gd name="T0" fmla="*/ 119 w 269"/>
                  <a:gd name="T1" fmla="*/ 60 h 210"/>
                  <a:gd name="T2" fmla="*/ 269 w 269"/>
                  <a:gd name="T3" fmla="*/ 30 h 210"/>
                  <a:gd name="T4" fmla="*/ 149 w 269"/>
                  <a:gd name="T5" fmla="*/ 210 h 210"/>
                  <a:gd name="T6" fmla="*/ 0 w 269"/>
                  <a:gd name="T7" fmla="*/ 0 h 210"/>
                  <a:gd name="T8" fmla="*/ 30 w 269"/>
                  <a:gd name="T9" fmla="*/ 180 h 210"/>
                </a:gdLst>
                <a:ahLst/>
                <a:cxnLst>
                  <a:cxn ang="0">
                    <a:pos x="T0" y="T1"/>
                  </a:cxn>
                  <a:cxn ang="0">
                    <a:pos x="T2" y="T3"/>
                  </a:cxn>
                  <a:cxn ang="0">
                    <a:pos x="T4" y="T5"/>
                  </a:cxn>
                  <a:cxn ang="0">
                    <a:pos x="T6" y="T7"/>
                  </a:cxn>
                  <a:cxn ang="0">
                    <a:pos x="T8" y="T9"/>
                  </a:cxn>
                </a:cxnLst>
                <a:rect l="0" t="0" r="r" b="b"/>
                <a:pathLst>
                  <a:path w="269" h="210">
                    <a:moveTo>
                      <a:pt x="119" y="60"/>
                    </a:moveTo>
                    <a:lnTo>
                      <a:pt x="269" y="30"/>
                    </a:lnTo>
                    <a:lnTo>
                      <a:pt x="149" y="210"/>
                    </a:lnTo>
                    <a:lnTo>
                      <a:pt x="0" y="0"/>
                    </a:lnTo>
                    <a:lnTo>
                      <a:pt x="3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0" name="Freeform 2474">
                <a:extLst>
                  <a:ext uri="{FF2B5EF4-FFF2-40B4-BE49-F238E27FC236}">
                    <a16:creationId xmlns:a16="http://schemas.microsoft.com/office/drawing/2014/main" id="{09A73422-2FA8-443A-85B3-62949CA20028}"/>
                  </a:ext>
                </a:extLst>
              </p:cNvPr>
              <p:cNvSpPr>
                <a:spLocks/>
              </p:cNvSpPr>
              <p:nvPr/>
            </p:nvSpPr>
            <p:spPr bwMode="auto">
              <a:xfrm>
                <a:off x="1756"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1" name="Freeform 2475">
                <a:extLst>
                  <a:ext uri="{FF2B5EF4-FFF2-40B4-BE49-F238E27FC236}">
                    <a16:creationId xmlns:a16="http://schemas.microsoft.com/office/drawing/2014/main" id="{9DA06FC6-988B-48F7-9DF0-FCF8ECCD66A9}"/>
                  </a:ext>
                </a:extLst>
              </p:cNvPr>
              <p:cNvSpPr>
                <a:spLocks/>
              </p:cNvSpPr>
              <p:nvPr/>
            </p:nvSpPr>
            <p:spPr bwMode="auto">
              <a:xfrm>
                <a:off x="1936"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2" name="Freeform 2476">
                <a:extLst>
                  <a:ext uri="{FF2B5EF4-FFF2-40B4-BE49-F238E27FC236}">
                    <a16:creationId xmlns:a16="http://schemas.microsoft.com/office/drawing/2014/main" id="{CF659F96-96BD-4361-A6A5-44CE5850E2D1}"/>
                  </a:ext>
                </a:extLst>
              </p:cNvPr>
              <p:cNvSpPr>
                <a:spLocks/>
              </p:cNvSpPr>
              <p:nvPr/>
            </p:nvSpPr>
            <p:spPr bwMode="auto">
              <a:xfrm>
                <a:off x="1876" y="1740"/>
                <a:ext cx="479" cy="270"/>
              </a:xfrm>
              <a:custGeom>
                <a:avLst/>
                <a:gdLst>
                  <a:gd name="T0" fmla="*/ 0 w 479"/>
                  <a:gd name="T1" fmla="*/ 90 h 270"/>
                  <a:gd name="T2" fmla="*/ 180 w 479"/>
                  <a:gd name="T3" fmla="*/ 30 h 270"/>
                  <a:gd name="T4" fmla="*/ 299 w 479"/>
                  <a:gd name="T5" fmla="*/ 150 h 270"/>
                  <a:gd name="T6" fmla="*/ 210 w 479"/>
                  <a:gd name="T7" fmla="*/ 270 h 270"/>
                  <a:gd name="T8" fmla="*/ 30 w 479"/>
                  <a:gd name="T9" fmla="*/ 270 h 270"/>
                  <a:gd name="T10" fmla="*/ 0 w 479"/>
                  <a:gd name="T11" fmla="*/ 90 h 270"/>
                  <a:gd name="T12" fmla="*/ 150 w 479"/>
                  <a:gd name="T13" fmla="*/ 150 h 270"/>
                  <a:gd name="T14" fmla="*/ 299 w 479"/>
                  <a:gd name="T15" fmla="*/ 0 h 270"/>
                  <a:gd name="T16" fmla="*/ 479 w 479"/>
                  <a:gd name="T17" fmla="*/ 210 h 270"/>
                  <a:gd name="T18" fmla="*/ 419 w 479"/>
                  <a:gd name="T19" fmla="*/ 6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70">
                    <a:moveTo>
                      <a:pt x="0" y="90"/>
                    </a:moveTo>
                    <a:lnTo>
                      <a:pt x="180" y="30"/>
                    </a:lnTo>
                    <a:lnTo>
                      <a:pt x="299" y="150"/>
                    </a:lnTo>
                    <a:lnTo>
                      <a:pt x="210" y="270"/>
                    </a:lnTo>
                    <a:lnTo>
                      <a:pt x="30" y="270"/>
                    </a:lnTo>
                    <a:lnTo>
                      <a:pt x="0" y="90"/>
                    </a:lnTo>
                    <a:lnTo>
                      <a:pt x="150" y="150"/>
                    </a:lnTo>
                    <a:lnTo>
                      <a:pt x="299" y="0"/>
                    </a:lnTo>
                    <a:lnTo>
                      <a:pt x="479" y="210"/>
                    </a:lnTo>
                    <a:lnTo>
                      <a:pt x="41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3" name="Freeform 2477">
                <a:extLst>
                  <a:ext uri="{FF2B5EF4-FFF2-40B4-BE49-F238E27FC236}">
                    <a16:creationId xmlns:a16="http://schemas.microsoft.com/office/drawing/2014/main" id="{3CBA9173-B356-40E2-A69E-0098C50F9FDD}"/>
                  </a:ext>
                </a:extLst>
              </p:cNvPr>
              <p:cNvSpPr>
                <a:spLocks/>
              </p:cNvSpPr>
              <p:nvPr/>
            </p:nvSpPr>
            <p:spPr bwMode="auto">
              <a:xfrm>
                <a:off x="2026"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4" name="Freeform 2478">
                <a:extLst>
                  <a:ext uri="{FF2B5EF4-FFF2-40B4-BE49-F238E27FC236}">
                    <a16:creationId xmlns:a16="http://schemas.microsoft.com/office/drawing/2014/main" id="{209CA86A-57D6-46F0-AC4B-1A38ECD50D7F}"/>
                  </a:ext>
                </a:extLst>
              </p:cNvPr>
              <p:cNvSpPr>
                <a:spLocks/>
              </p:cNvSpPr>
              <p:nvPr/>
            </p:nvSpPr>
            <p:spPr bwMode="auto">
              <a:xfrm>
                <a:off x="3405"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5" name="Freeform 2479">
                <a:extLst>
                  <a:ext uri="{FF2B5EF4-FFF2-40B4-BE49-F238E27FC236}">
                    <a16:creationId xmlns:a16="http://schemas.microsoft.com/office/drawing/2014/main" id="{90467849-1360-4330-B782-103439C59821}"/>
                  </a:ext>
                </a:extLst>
              </p:cNvPr>
              <p:cNvSpPr>
                <a:spLocks/>
              </p:cNvSpPr>
              <p:nvPr/>
            </p:nvSpPr>
            <p:spPr bwMode="auto">
              <a:xfrm>
                <a:off x="3405" y="1290"/>
                <a:ext cx="300" cy="540"/>
              </a:xfrm>
              <a:custGeom>
                <a:avLst/>
                <a:gdLst>
                  <a:gd name="T0" fmla="*/ 0 w 300"/>
                  <a:gd name="T1" fmla="*/ 390 h 540"/>
                  <a:gd name="T2" fmla="*/ 180 w 300"/>
                  <a:gd name="T3" fmla="*/ 240 h 540"/>
                  <a:gd name="T4" fmla="*/ 0 w 300"/>
                  <a:gd name="T5" fmla="*/ 150 h 540"/>
                  <a:gd name="T6" fmla="*/ 120 w 300"/>
                  <a:gd name="T7" fmla="*/ 120 h 540"/>
                  <a:gd name="T8" fmla="*/ 300 w 300"/>
                  <a:gd name="T9" fmla="*/ 180 h 540"/>
                  <a:gd name="T10" fmla="*/ 270 w 300"/>
                  <a:gd name="T11" fmla="*/ 30 h 540"/>
                  <a:gd name="T12" fmla="*/ 120 w 300"/>
                  <a:gd name="T13" fmla="*/ 120 h 540"/>
                  <a:gd name="T14" fmla="*/ 30 w 300"/>
                  <a:gd name="T15" fmla="*/ 0 h 540"/>
                  <a:gd name="T16" fmla="*/ 0 w 300"/>
                  <a:gd name="T17" fmla="*/ 150 h 540"/>
                  <a:gd name="T18" fmla="*/ 30 w 300"/>
                  <a:gd name="T19" fmla="*/ 300 h 540"/>
                  <a:gd name="T20" fmla="*/ 0 w 300"/>
                  <a:gd name="T21" fmla="*/ 390 h 540"/>
                  <a:gd name="T22" fmla="*/ 120 w 300"/>
                  <a:gd name="T23"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0" h="540">
                    <a:moveTo>
                      <a:pt x="0" y="390"/>
                    </a:moveTo>
                    <a:lnTo>
                      <a:pt x="180" y="240"/>
                    </a:lnTo>
                    <a:lnTo>
                      <a:pt x="0" y="150"/>
                    </a:lnTo>
                    <a:lnTo>
                      <a:pt x="120" y="120"/>
                    </a:lnTo>
                    <a:lnTo>
                      <a:pt x="300" y="180"/>
                    </a:lnTo>
                    <a:lnTo>
                      <a:pt x="270" y="30"/>
                    </a:lnTo>
                    <a:lnTo>
                      <a:pt x="120" y="120"/>
                    </a:lnTo>
                    <a:lnTo>
                      <a:pt x="30" y="0"/>
                    </a:lnTo>
                    <a:lnTo>
                      <a:pt x="0" y="150"/>
                    </a:lnTo>
                    <a:lnTo>
                      <a:pt x="30" y="300"/>
                    </a:lnTo>
                    <a:lnTo>
                      <a:pt x="0" y="390"/>
                    </a:lnTo>
                    <a:lnTo>
                      <a:pt x="12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6" name="Freeform 2480">
                <a:extLst>
                  <a:ext uri="{FF2B5EF4-FFF2-40B4-BE49-F238E27FC236}">
                    <a16:creationId xmlns:a16="http://schemas.microsoft.com/office/drawing/2014/main" id="{32576972-2CFA-4221-9A7D-5DC121522356}"/>
                  </a:ext>
                </a:extLst>
              </p:cNvPr>
              <p:cNvSpPr>
                <a:spLocks/>
              </p:cNvSpPr>
              <p:nvPr/>
            </p:nvSpPr>
            <p:spPr bwMode="auto">
              <a:xfrm>
                <a:off x="3585"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7" name="Freeform 2481">
                <a:extLst>
                  <a:ext uri="{FF2B5EF4-FFF2-40B4-BE49-F238E27FC236}">
                    <a16:creationId xmlns:a16="http://schemas.microsoft.com/office/drawing/2014/main" id="{C69CB639-D300-4DC9-B4F5-26220AD6BFF4}"/>
                  </a:ext>
                </a:extLst>
              </p:cNvPr>
              <p:cNvSpPr>
                <a:spLocks/>
              </p:cNvSpPr>
              <p:nvPr/>
            </p:nvSpPr>
            <p:spPr bwMode="auto">
              <a:xfrm>
                <a:off x="3405" y="1320"/>
                <a:ext cx="599" cy="750"/>
              </a:xfrm>
              <a:custGeom>
                <a:avLst/>
                <a:gdLst>
                  <a:gd name="T0" fmla="*/ 300 w 599"/>
                  <a:gd name="T1" fmla="*/ 150 h 750"/>
                  <a:gd name="T2" fmla="*/ 479 w 599"/>
                  <a:gd name="T3" fmla="*/ 210 h 750"/>
                  <a:gd name="T4" fmla="*/ 479 w 599"/>
                  <a:gd name="T5" fmla="*/ 60 h 750"/>
                  <a:gd name="T6" fmla="*/ 359 w 599"/>
                  <a:gd name="T7" fmla="*/ 300 h 750"/>
                  <a:gd name="T8" fmla="*/ 419 w 599"/>
                  <a:gd name="T9" fmla="*/ 420 h 750"/>
                  <a:gd name="T10" fmla="*/ 539 w 599"/>
                  <a:gd name="T11" fmla="*/ 480 h 750"/>
                  <a:gd name="T12" fmla="*/ 479 w 599"/>
                  <a:gd name="T13" fmla="*/ 210 h 750"/>
                  <a:gd name="T14" fmla="*/ 419 w 599"/>
                  <a:gd name="T15" fmla="*/ 420 h 750"/>
                  <a:gd name="T16" fmla="*/ 419 w 599"/>
                  <a:gd name="T17" fmla="*/ 570 h 750"/>
                  <a:gd name="T18" fmla="*/ 599 w 599"/>
                  <a:gd name="T19" fmla="*/ 630 h 750"/>
                  <a:gd name="T20" fmla="*/ 300 w 599"/>
                  <a:gd name="T21" fmla="*/ 660 h 750"/>
                  <a:gd name="T22" fmla="*/ 270 w 599"/>
                  <a:gd name="T23" fmla="*/ 570 h 750"/>
                  <a:gd name="T24" fmla="*/ 210 w 599"/>
                  <a:gd name="T25" fmla="*/ 750 h 750"/>
                  <a:gd name="T26" fmla="*/ 0 w 599"/>
                  <a:gd name="T27" fmla="*/ 600 h 750"/>
                  <a:gd name="T28" fmla="*/ 120 w 599"/>
                  <a:gd name="T29" fmla="*/ 510 h 750"/>
                  <a:gd name="T30" fmla="*/ 180 w 599"/>
                  <a:gd name="T31" fmla="*/ 360 h 750"/>
                  <a:gd name="T32" fmla="*/ 300 w 599"/>
                  <a:gd name="T33" fmla="*/ 450 h 750"/>
                  <a:gd name="T34" fmla="*/ 359 w 599"/>
                  <a:gd name="T35" fmla="*/ 300 h 750"/>
                  <a:gd name="T36" fmla="*/ 180 w 599"/>
                  <a:gd name="T37" fmla="*/ 210 h 750"/>
                  <a:gd name="T38" fmla="*/ 300 w 599"/>
                  <a:gd name="T39" fmla="*/ 150 h 750"/>
                  <a:gd name="T40" fmla="*/ 389 w 599"/>
                  <a:gd name="T41" fmla="*/ 90 h 750"/>
                  <a:gd name="T42" fmla="*/ 270 w 599"/>
                  <a:gd name="T43" fmla="*/ 0 h 750"/>
                  <a:gd name="T44" fmla="*/ 479 w 599"/>
                  <a:gd name="T45" fmla="*/ 6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9" h="750">
                    <a:moveTo>
                      <a:pt x="300" y="150"/>
                    </a:moveTo>
                    <a:lnTo>
                      <a:pt x="479" y="210"/>
                    </a:lnTo>
                    <a:lnTo>
                      <a:pt x="479" y="60"/>
                    </a:lnTo>
                    <a:lnTo>
                      <a:pt x="359" y="300"/>
                    </a:lnTo>
                    <a:lnTo>
                      <a:pt x="419" y="420"/>
                    </a:lnTo>
                    <a:lnTo>
                      <a:pt x="539" y="480"/>
                    </a:lnTo>
                    <a:lnTo>
                      <a:pt x="479" y="210"/>
                    </a:lnTo>
                    <a:lnTo>
                      <a:pt x="419" y="420"/>
                    </a:lnTo>
                    <a:lnTo>
                      <a:pt x="419" y="570"/>
                    </a:lnTo>
                    <a:lnTo>
                      <a:pt x="599" y="630"/>
                    </a:lnTo>
                    <a:lnTo>
                      <a:pt x="300" y="660"/>
                    </a:lnTo>
                    <a:lnTo>
                      <a:pt x="270" y="570"/>
                    </a:lnTo>
                    <a:lnTo>
                      <a:pt x="210" y="750"/>
                    </a:lnTo>
                    <a:lnTo>
                      <a:pt x="0" y="600"/>
                    </a:lnTo>
                    <a:lnTo>
                      <a:pt x="120" y="510"/>
                    </a:lnTo>
                    <a:lnTo>
                      <a:pt x="180" y="360"/>
                    </a:lnTo>
                    <a:lnTo>
                      <a:pt x="300" y="450"/>
                    </a:lnTo>
                    <a:lnTo>
                      <a:pt x="359" y="300"/>
                    </a:lnTo>
                    <a:lnTo>
                      <a:pt x="180" y="210"/>
                    </a:lnTo>
                    <a:lnTo>
                      <a:pt x="300" y="150"/>
                    </a:lnTo>
                    <a:lnTo>
                      <a:pt x="389" y="90"/>
                    </a:lnTo>
                    <a:lnTo>
                      <a:pt x="270" y="0"/>
                    </a:lnTo>
                    <a:lnTo>
                      <a:pt x="47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8" name="Freeform 2482">
                <a:extLst>
                  <a:ext uri="{FF2B5EF4-FFF2-40B4-BE49-F238E27FC236}">
                    <a16:creationId xmlns:a16="http://schemas.microsoft.com/office/drawing/2014/main" id="{54EF1A16-7AA1-492D-9E64-2E161D9C9298}"/>
                  </a:ext>
                </a:extLst>
              </p:cNvPr>
              <p:cNvSpPr>
                <a:spLocks/>
              </p:cNvSpPr>
              <p:nvPr/>
            </p:nvSpPr>
            <p:spPr bwMode="auto">
              <a:xfrm>
                <a:off x="3525" y="1770"/>
                <a:ext cx="299" cy="210"/>
              </a:xfrm>
              <a:custGeom>
                <a:avLst/>
                <a:gdLst>
                  <a:gd name="T0" fmla="*/ 0 w 299"/>
                  <a:gd name="T1" fmla="*/ 60 h 210"/>
                  <a:gd name="T2" fmla="*/ 180 w 299"/>
                  <a:gd name="T3" fmla="*/ 0 h 210"/>
                  <a:gd name="T4" fmla="*/ 299 w 299"/>
                  <a:gd name="T5" fmla="*/ 120 h 210"/>
                  <a:gd name="T6" fmla="*/ 180 w 299"/>
                  <a:gd name="T7" fmla="*/ 210 h 210"/>
                </a:gdLst>
                <a:ahLst/>
                <a:cxnLst>
                  <a:cxn ang="0">
                    <a:pos x="T0" y="T1"/>
                  </a:cxn>
                  <a:cxn ang="0">
                    <a:pos x="T2" y="T3"/>
                  </a:cxn>
                  <a:cxn ang="0">
                    <a:pos x="T4" y="T5"/>
                  </a:cxn>
                  <a:cxn ang="0">
                    <a:pos x="T6" y="T7"/>
                  </a:cxn>
                </a:cxnLst>
                <a:rect l="0" t="0" r="r" b="b"/>
                <a:pathLst>
                  <a:path w="299" h="210">
                    <a:moveTo>
                      <a:pt x="0" y="60"/>
                    </a:moveTo>
                    <a:lnTo>
                      <a:pt x="180" y="0"/>
                    </a:lnTo>
                    <a:lnTo>
                      <a:pt x="299" y="120"/>
                    </a:lnTo>
                    <a:lnTo>
                      <a:pt x="18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9" name="Freeform 2483">
                <a:extLst>
                  <a:ext uri="{FF2B5EF4-FFF2-40B4-BE49-F238E27FC236}">
                    <a16:creationId xmlns:a16="http://schemas.microsoft.com/office/drawing/2014/main" id="{6BA06047-F12C-4EC0-8390-5234E9C9C80D}"/>
                  </a:ext>
                </a:extLst>
              </p:cNvPr>
              <p:cNvSpPr>
                <a:spLocks/>
              </p:cNvSpPr>
              <p:nvPr/>
            </p:nvSpPr>
            <p:spPr bwMode="auto">
              <a:xfrm>
                <a:off x="3675"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0" name="Line 2484">
                <a:extLst>
                  <a:ext uri="{FF2B5EF4-FFF2-40B4-BE49-F238E27FC236}">
                    <a16:creationId xmlns:a16="http://schemas.microsoft.com/office/drawing/2014/main" id="{F99E3E13-B7F5-42CC-AC1A-A9CA4CC1076A}"/>
                  </a:ext>
                </a:extLst>
              </p:cNvPr>
              <p:cNvSpPr>
                <a:spLocks noChangeShapeType="1"/>
              </p:cNvSpPr>
              <p:nvPr/>
            </p:nvSpPr>
            <p:spPr bwMode="auto">
              <a:xfrm flipV="1">
                <a:off x="1786" y="1233"/>
                <a:ext cx="181" cy="5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1" name="Line 2485">
                <a:extLst>
                  <a:ext uri="{FF2B5EF4-FFF2-40B4-BE49-F238E27FC236}">
                    <a16:creationId xmlns:a16="http://schemas.microsoft.com/office/drawing/2014/main" id="{9404EB8E-35D2-42BE-92C4-591B233A6C2D}"/>
                  </a:ext>
                </a:extLst>
              </p:cNvPr>
              <p:cNvSpPr>
                <a:spLocks noChangeShapeType="1"/>
              </p:cNvSpPr>
              <p:nvPr/>
            </p:nvSpPr>
            <p:spPr bwMode="auto">
              <a:xfrm flipH="1">
                <a:off x="1936" y="1233"/>
                <a:ext cx="31"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2" name="Freeform 2486">
                <a:extLst>
                  <a:ext uri="{FF2B5EF4-FFF2-40B4-BE49-F238E27FC236}">
                    <a16:creationId xmlns:a16="http://schemas.microsoft.com/office/drawing/2014/main" id="{F5B8E432-BDA1-4C9A-9D73-25A50AB0ECDA}"/>
                  </a:ext>
                </a:extLst>
              </p:cNvPr>
              <p:cNvSpPr>
                <a:spLocks/>
              </p:cNvSpPr>
              <p:nvPr/>
            </p:nvSpPr>
            <p:spPr bwMode="auto">
              <a:xfrm>
                <a:off x="2235" y="1231"/>
                <a:ext cx="210" cy="302"/>
              </a:xfrm>
              <a:custGeom>
                <a:avLst/>
                <a:gdLst>
                  <a:gd name="T0" fmla="*/ 0 w 210"/>
                  <a:gd name="T1" fmla="*/ 0 h 302"/>
                  <a:gd name="T2" fmla="*/ 180 w 210"/>
                  <a:gd name="T3" fmla="*/ 269 h 302"/>
                  <a:gd name="T4" fmla="*/ 2 w 210"/>
                  <a:gd name="T5" fmla="*/ 302 h 302"/>
                  <a:gd name="T6" fmla="*/ 210 w 210"/>
                  <a:gd name="T7" fmla="*/ 179 h 302"/>
                </a:gdLst>
                <a:ahLst/>
                <a:cxnLst>
                  <a:cxn ang="0">
                    <a:pos x="T0" y="T1"/>
                  </a:cxn>
                  <a:cxn ang="0">
                    <a:pos x="T2" y="T3"/>
                  </a:cxn>
                  <a:cxn ang="0">
                    <a:pos x="T4" y="T5"/>
                  </a:cxn>
                  <a:cxn ang="0">
                    <a:pos x="T6" y="T7"/>
                  </a:cxn>
                </a:cxnLst>
                <a:rect l="0" t="0" r="r" b="b"/>
                <a:pathLst>
                  <a:path w="210" h="302">
                    <a:moveTo>
                      <a:pt x="0" y="0"/>
                    </a:moveTo>
                    <a:lnTo>
                      <a:pt x="180" y="269"/>
                    </a:lnTo>
                    <a:lnTo>
                      <a:pt x="2" y="302"/>
                    </a:lnTo>
                    <a:lnTo>
                      <a:pt x="210" y="17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3" name="Line 2487">
                <a:extLst>
                  <a:ext uri="{FF2B5EF4-FFF2-40B4-BE49-F238E27FC236}">
                    <a16:creationId xmlns:a16="http://schemas.microsoft.com/office/drawing/2014/main" id="{CF534D32-0D33-46AF-95A1-EA790CC14953}"/>
                  </a:ext>
                </a:extLst>
              </p:cNvPr>
              <p:cNvSpPr>
                <a:spLocks noChangeShapeType="1"/>
              </p:cNvSpPr>
              <p:nvPr/>
            </p:nvSpPr>
            <p:spPr bwMode="auto">
              <a:xfrm>
                <a:off x="2235" y="1380"/>
                <a:ext cx="21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4" name="Freeform 2488">
                <a:extLst>
                  <a:ext uri="{FF2B5EF4-FFF2-40B4-BE49-F238E27FC236}">
                    <a16:creationId xmlns:a16="http://schemas.microsoft.com/office/drawing/2014/main" id="{51DF704E-206E-4FA5-8231-7DFE38D3E0F0}"/>
                  </a:ext>
                </a:extLst>
              </p:cNvPr>
              <p:cNvSpPr>
                <a:spLocks/>
              </p:cNvSpPr>
              <p:nvPr/>
            </p:nvSpPr>
            <p:spPr bwMode="auto">
              <a:xfrm>
                <a:off x="1756" y="1140"/>
                <a:ext cx="599" cy="870"/>
              </a:xfrm>
              <a:custGeom>
                <a:avLst/>
                <a:gdLst>
                  <a:gd name="T0" fmla="*/ 300 w 599"/>
                  <a:gd name="T1" fmla="*/ 0 h 870"/>
                  <a:gd name="T2" fmla="*/ 479 w 599"/>
                  <a:gd name="T3" fmla="*/ 91 h 870"/>
                  <a:gd name="T4" fmla="*/ 300 w 599"/>
                  <a:gd name="T5" fmla="*/ 330 h 870"/>
                  <a:gd name="T6" fmla="*/ 479 w 599"/>
                  <a:gd name="T7" fmla="*/ 390 h 870"/>
                  <a:gd name="T8" fmla="*/ 479 w 599"/>
                  <a:gd name="T9" fmla="*/ 240 h 870"/>
                  <a:gd name="T10" fmla="*/ 359 w 599"/>
                  <a:gd name="T11" fmla="*/ 480 h 870"/>
                  <a:gd name="T12" fmla="*/ 419 w 599"/>
                  <a:gd name="T13" fmla="*/ 600 h 870"/>
                  <a:gd name="T14" fmla="*/ 539 w 599"/>
                  <a:gd name="T15" fmla="*/ 660 h 870"/>
                  <a:gd name="T16" fmla="*/ 479 w 599"/>
                  <a:gd name="T17" fmla="*/ 390 h 870"/>
                  <a:gd name="T18" fmla="*/ 419 w 599"/>
                  <a:gd name="T19" fmla="*/ 600 h 870"/>
                  <a:gd name="T20" fmla="*/ 419 w 599"/>
                  <a:gd name="T21" fmla="*/ 750 h 870"/>
                  <a:gd name="T22" fmla="*/ 599 w 599"/>
                  <a:gd name="T23" fmla="*/ 810 h 870"/>
                  <a:gd name="T24" fmla="*/ 330 w 599"/>
                  <a:gd name="T25" fmla="*/ 870 h 870"/>
                  <a:gd name="T26" fmla="*/ 270 w 599"/>
                  <a:gd name="T27" fmla="*/ 750 h 870"/>
                  <a:gd name="T28" fmla="*/ 150 w 599"/>
                  <a:gd name="T29" fmla="*/ 870 h 870"/>
                  <a:gd name="T30" fmla="*/ 0 w 599"/>
                  <a:gd name="T31" fmla="*/ 780 h 870"/>
                  <a:gd name="T32" fmla="*/ 120 w 599"/>
                  <a:gd name="T33" fmla="*/ 690 h 870"/>
                  <a:gd name="T34" fmla="*/ 180 w 599"/>
                  <a:gd name="T35" fmla="*/ 540 h 870"/>
                  <a:gd name="T36" fmla="*/ 300 w 599"/>
                  <a:gd name="T37" fmla="*/ 630 h 870"/>
                  <a:gd name="T38" fmla="*/ 359 w 599"/>
                  <a:gd name="T39" fmla="*/ 480 h 870"/>
                  <a:gd name="T40" fmla="*/ 180 w 599"/>
                  <a:gd name="T41" fmla="*/ 390 h 870"/>
                  <a:gd name="T42" fmla="*/ 300 w 599"/>
                  <a:gd name="T43" fmla="*/ 330 h 870"/>
                  <a:gd name="T44" fmla="*/ 389 w 599"/>
                  <a:gd name="T45" fmla="*/ 270 h 870"/>
                  <a:gd name="T46" fmla="*/ 270 w 599"/>
                  <a:gd name="T47" fmla="*/ 180 h 870"/>
                  <a:gd name="T48" fmla="*/ 479 w 599"/>
                  <a:gd name="T49" fmla="*/ 240 h 870"/>
                  <a:gd name="T50" fmla="*/ 479 w 599"/>
                  <a:gd name="T51" fmla="*/ 90 h 870"/>
                  <a:gd name="T52" fmla="*/ 210 w 599"/>
                  <a:gd name="T53" fmla="*/ 9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9" h="870">
                    <a:moveTo>
                      <a:pt x="300" y="0"/>
                    </a:moveTo>
                    <a:lnTo>
                      <a:pt x="479" y="91"/>
                    </a:lnTo>
                    <a:lnTo>
                      <a:pt x="300" y="330"/>
                    </a:lnTo>
                    <a:lnTo>
                      <a:pt x="479" y="390"/>
                    </a:lnTo>
                    <a:lnTo>
                      <a:pt x="479" y="240"/>
                    </a:lnTo>
                    <a:lnTo>
                      <a:pt x="359" y="480"/>
                    </a:lnTo>
                    <a:lnTo>
                      <a:pt x="419" y="600"/>
                    </a:lnTo>
                    <a:lnTo>
                      <a:pt x="539" y="660"/>
                    </a:lnTo>
                    <a:lnTo>
                      <a:pt x="479" y="390"/>
                    </a:lnTo>
                    <a:lnTo>
                      <a:pt x="419" y="600"/>
                    </a:lnTo>
                    <a:lnTo>
                      <a:pt x="419" y="750"/>
                    </a:lnTo>
                    <a:lnTo>
                      <a:pt x="599" y="810"/>
                    </a:lnTo>
                    <a:lnTo>
                      <a:pt x="330" y="870"/>
                    </a:lnTo>
                    <a:lnTo>
                      <a:pt x="270" y="750"/>
                    </a:lnTo>
                    <a:lnTo>
                      <a:pt x="150" y="870"/>
                    </a:lnTo>
                    <a:lnTo>
                      <a:pt x="0" y="780"/>
                    </a:lnTo>
                    <a:lnTo>
                      <a:pt x="120" y="690"/>
                    </a:lnTo>
                    <a:lnTo>
                      <a:pt x="180" y="540"/>
                    </a:lnTo>
                    <a:lnTo>
                      <a:pt x="300" y="630"/>
                    </a:lnTo>
                    <a:lnTo>
                      <a:pt x="359" y="480"/>
                    </a:lnTo>
                    <a:lnTo>
                      <a:pt x="180" y="390"/>
                    </a:lnTo>
                    <a:lnTo>
                      <a:pt x="300" y="330"/>
                    </a:lnTo>
                    <a:lnTo>
                      <a:pt x="389" y="270"/>
                    </a:lnTo>
                    <a:lnTo>
                      <a:pt x="270" y="180"/>
                    </a:lnTo>
                    <a:lnTo>
                      <a:pt x="479" y="240"/>
                    </a:lnTo>
                    <a:lnTo>
                      <a:pt x="479" y="9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5" name="Line 2489">
                <a:extLst>
                  <a:ext uri="{FF2B5EF4-FFF2-40B4-BE49-F238E27FC236}">
                    <a16:creationId xmlns:a16="http://schemas.microsoft.com/office/drawing/2014/main" id="{9CD846B1-6F58-4871-9989-9D6390146769}"/>
                  </a:ext>
                </a:extLst>
              </p:cNvPr>
              <p:cNvSpPr>
                <a:spLocks noChangeShapeType="1"/>
              </p:cNvSpPr>
              <p:nvPr/>
            </p:nvSpPr>
            <p:spPr bwMode="auto">
              <a:xfrm flipV="1">
                <a:off x="2026" y="1110"/>
                <a:ext cx="209"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6" name="Freeform 2490">
                <a:extLst>
                  <a:ext uri="{FF2B5EF4-FFF2-40B4-BE49-F238E27FC236}">
                    <a16:creationId xmlns:a16="http://schemas.microsoft.com/office/drawing/2014/main" id="{24540AF6-D83F-4942-BA45-B47AA4FA8144}"/>
                  </a:ext>
                </a:extLst>
              </p:cNvPr>
              <p:cNvSpPr>
                <a:spLocks/>
              </p:cNvSpPr>
              <p:nvPr/>
            </p:nvSpPr>
            <p:spPr bwMode="auto">
              <a:xfrm>
                <a:off x="1276" y="1290"/>
                <a:ext cx="780" cy="1080"/>
              </a:xfrm>
              <a:custGeom>
                <a:avLst/>
                <a:gdLst>
                  <a:gd name="T0" fmla="*/ 630 w 780"/>
                  <a:gd name="T1" fmla="*/ 1080 h 1080"/>
                  <a:gd name="T2" fmla="*/ 600 w 780"/>
                  <a:gd name="T3" fmla="*/ 870 h 1080"/>
                  <a:gd name="T4" fmla="*/ 480 w 780"/>
                  <a:gd name="T5" fmla="*/ 630 h 1080"/>
                  <a:gd name="T6" fmla="*/ 390 w 780"/>
                  <a:gd name="T7" fmla="*/ 720 h 1080"/>
                  <a:gd name="T8" fmla="*/ 270 w 780"/>
                  <a:gd name="T9" fmla="*/ 870 h 1080"/>
                  <a:gd name="T10" fmla="*/ 180 w 780"/>
                  <a:gd name="T11" fmla="*/ 750 h 1080"/>
                  <a:gd name="T12" fmla="*/ 210 w 780"/>
                  <a:gd name="T13" fmla="*/ 600 h 1080"/>
                  <a:gd name="T14" fmla="*/ 90 w 780"/>
                  <a:gd name="T15" fmla="*/ 660 h 1080"/>
                  <a:gd name="T16" fmla="*/ 0 w 780"/>
                  <a:gd name="T17" fmla="*/ 870 h 1080"/>
                  <a:gd name="T18" fmla="*/ 60 w 780"/>
                  <a:gd name="T19" fmla="*/ 510 h 1080"/>
                  <a:gd name="T20" fmla="*/ 0 w 780"/>
                  <a:gd name="T21" fmla="*/ 420 h 1080"/>
                  <a:gd name="T22" fmla="*/ 120 w 780"/>
                  <a:gd name="T23" fmla="*/ 330 h 1080"/>
                  <a:gd name="T24" fmla="*/ 300 w 780"/>
                  <a:gd name="T25" fmla="*/ 390 h 1080"/>
                  <a:gd name="T26" fmla="*/ 330 w 780"/>
                  <a:gd name="T27" fmla="*/ 510 h 1080"/>
                  <a:gd name="T28" fmla="*/ 480 w 780"/>
                  <a:gd name="T29" fmla="*/ 390 h 1080"/>
                  <a:gd name="T30" fmla="*/ 660 w 780"/>
                  <a:gd name="T31" fmla="*/ 240 h 1080"/>
                  <a:gd name="T32" fmla="*/ 480 w 780"/>
                  <a:gd name="T33" fmla="*/ 150 h 1080"/>
                  <a:gd name="T34" fmla="*/ 600 w 780"/>
                  <a:gd name="T35" fmla="*/ 120 h 1080"/>
                  <a:gd name="T36" fmla="*/ 780 w 780"/>
                  <a:gd name="T37" fmla="*/ 180 h 1080"/>
                  <a:gd name="T38" fmla="*/ 750 w 780"/>
                  <a:gd name="T39" fmla="*/ 30 h 1080"/>
                  <a:gd name="T40" fmla="*/ 600 w 780"/>
                  <a:gd name="T41" fmla="*/ 120 h 1080"/>
                  <a:gd name="T42" fmla="*/ 510 w 780"/>
                  <a:gd name="T43" fmla="*/ 0 h 1080"/>
                  <a:gd name="T44" fmla="*/ 480 w 780"/>
                  <a:gd name="T45" fmla="*/ 150 h 1080"/>
                  <a:gd name="T46" fmla="*/ 510 w 780"/>
                  <a:gd name="T47" fmla="*/ 300 h 1080"/>
                  <a:gd name="T48" fmla="*/ 480 w 780"/>
                  <a:gd name="T49" fmla="*/ 390 h 1080"/>
                  <a:gd name="T50" fmla="*/ 600 w 780"/>
                  <a:gd name="T51" fmla="*/ 54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1080">
                    <a:moveTo>
                      <a:pt x="630" y="1080"/>
                    </a:moveTo>
                    <a:lnTo>
                      <a:pt x="600" y="870"/>
                    </a:lnTo>
                    <a:lnTo>
                      <a:pt x="480" y="630"/>
                    </a:lnTo>
                    <a:lnTo>
                      <a:pt x="390" y="720"/>
                    </a:lnTo>
                    <a:lnTo>
                      <a:pt x="270" y="870"/>
                    </a:lnTo>
                    <a:lnTo>
                      <a:pt x="180" y="750"/>
                    </a:lnTo>
                    <a:lnTo>
                      <a:pt x="210" y="600"/>
                    </a:lnTo>
                    <a:lnTo>
                      <a:pt x="90" y="660"/>
                    </a:lnTo>
                    <a:lnTo>
                      <a:pt x="0" y="870"/>
                    </a:lnTo>
                    <a:lnTo>
                      <a:pt x="60" y="510"/>
                    </a:lnTo>
                    <a:lnTo>
                      <a:pt x="0" y="420"/>
                    </a:lnTo>
                    <a:lnTo>
                      <a:pt x="120" y="330"/>
                    </a:lnTo>
                    <a:lnTo>
                      <a:pt x="300" y="390"/>
                    </a:lnTo>
                    <a:lnTo>
                      <a:pt x="330" y="510"/>
                    </a:lnTo>
                    <a:lnTo>
                      <a:pt x="480" y="390"/>
                    </a:lnTo>
                    <a:lnTo>
                      <a:pt x="660" y="240"/>
                    </a:lnTo>
                    <a:lnTo>
                      <a:pt x="480" y="150"/>
                    </a:lnTo>
                    <a:lnTo>
                      <a:pt x="600" y="120"/>
                    </a:lnTo>
                    <a:lnTo>
                      <a:pt x="780" y="180"/>
                    </a:lnTo>
                    <a:lnTo>
                      <a:pt x="750" y="30"/>
                    </a:lnTo>
                    <a:lnTo>
                      <a:pt x="600" y="120"/>
                    </a:lnTo>
                    <a:lnTo>
                      <a:pt x="510" y="0"/>
                    </a:lnTo>
                    <a:lnTo>
                      <a:pt x="480" y="150"/>
                    </a:lnTo>
                    <a:lnTo>
                      <a:pt x="510" y="300"/>
                    </a:lnTo>
                    <a:lnTo>
                      <a:pt x="480" y="390"/>
                    </a:lnTo>
                    <a:lnTo>
                      <a:pt x="60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7" name="Line 2491">
                <a:extLst>
                  <a:ext uri="{FF2B5EF4-FFF2-40B4-BE49-F238E27FC236}">
                    <a16:creationId xmlns:a16="http://schemas.microsoft.com/office/drawing/2014/main" id="{6DB33B85-81DF-4ABE-9185-FB377B00EEA5}"/>
                  </a:ext>
                </a:extLst>
              </p:cNvPr>
              <p:cNvSpPr>
                <a:spLocks noChangeShapeType="1"/>
              </p:cNvSpPr>
              <p:nvPr/>
            </p:nvSpPr>
            <p:spPr bwMode="auto">
              <a:xfrm>
                <a:off x="1909" y="2013"/>
                <a:ext cx="87" cy="17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8" name="Freeform 2492">
                <a:extLst>
                  <a:ext uri="{FF2B5EF4-FFF2-40B4-BE49-F238E27FC236}">
                    <a16:creationId xmlns:a16="http://schemas.microsoft.com/office/drawing/2014/main" id="{E041B0CC-B721-4D4C-966B-944BB360CEF9}"/>
                  </a:ext>
                </a:extLst>
              </p:cNvPr>
              <p:cNvSpPr>
                <a:spLocks/>
              </p:cNvSpPr>
              <p:nvPr/>
            </p:nvSpPr>
            <p:spPr bwMode="auto">
              <a:xfrm>
                <a:off x="1876" y="1890"/>
                <a:ext cx="210" cy="270"/>
              </a:xfrm>
              <a:custGeom>
                <a:avLst/>
                <a:gdLst>
                  <a:gd name="T0" fmla="*/ 210 w 210"/>
                  <a:gd name="T1" fmla="*/ 120 h 270"/>
                  <a:gd name="T2" fmla="*/ 0 w 210"/>
                  <a:gd name="T3" fmla="*/ 270 h 270"/>
                  <a:gd name="T4" fmla="*/ 150 w 210"/>
                  <a:gd name="T5" fmla="*/ 0 h 270"/>
                </a:gdLst>
                <a:ahLst/>
                <a:cxnLst>
                  <a:cxn ang="0">
                    <a:pos x="T0" y="T1"/>
                  </a:cxn>
                  <a:cxn ang="0">
                    <a:pos x="T2" y="T3"/>
                  </a:cxn>
                  <a:cxn ang="0">
                    <a:pos x="T4" y="T5"/>
                  </a:cxn>
                </a:cxnLst>
                <a:rect l="0" t="0" r="r" b="b"/>
                <a:pathLst>
                  <a:path w="210" h="270">
                    <a:moveTo>
                      <a:pt x="210" y="120"/>
                    </a:moveTo>
                    <a:lnTo>
                      <a:pt x="0" y="27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9" name="Freeform 2493">
                <a:extLst>
                  <a:ext uri="{FF2B5EF4-FFF2-40B4-BE49-F238E27FC236}">
                    <a16:creationId xmlns:a16="http://schemas.microsoft.com/office/drawing/2014/main" id="{061927F7-B5BB-4AFD-9441-17117BEE5D3E}"/>
                  </a:ext>
                </a:extLst>
              </p:cNvPr>
              <p:cNvSpPr>
                <a:spLocks/>
              </p:cNvSpPr>
              <p:nvPr/>
            </p:nvSpPr>
            <p:spPr bwMode="auto">
              <a:xfrm>
                <a:off x="2175" y="1620"/>
                <a:ext cx="360" cy="483"/>
              </a:xfrm>
              <a:custGeom>
                <a:avLst/>
                <a:gdLst>
                  <a:gd name="T0" fmla="*/ 0 w 432"/>
                  <a:gd name="T1" fmla="*/ 146 h 579"/>
                  <a:gd name="T2" fmla="*/ 216 w 432"/>
                  <a:gd name="T3" fmla="*/ 0 h 579"/>
                  <a:gd name="T4" fmla="*/ 144 w 432"/>
                  <a:gd name="T5" fmla="*/ 216 h 579"/>
                  <a:gd name="T6" fmla="*/ 360 w 432"/>
                  <a:gd name="T7" fmla="*/ 252 h 579"/>
                  <a:gd name="T8" fmla="*/ 324 w 432"/>
                  <a:gd name="T9" fmla="*/ 578 h 579"/>
                  <a:gd name="T10" fmla="*/ 432 w 432"/>
                  <a:gd name="T11" fmla="*/ 432 h 579"/>
                  <a:gd name="T12" fmla="*/ 220 w 432"/>
                  <a:gd name="T13" fmla="*/ 399 h 579"/>
                  <a:gd name="T14" fmla="*/ 112 w 432"/>
                  <a:gd name="T15" fmla="*/ 579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579">
                    <a:moveTo>
                      <a:pt x="0" y="146"/>
                    </a:moveTo>
                    <a:cubicBezTo>
                      <a:pt x="216" y="0"/>
                      <a:pt x="216" y="0"/>
                      <a:pt x="216" y="0"/>
                    </a:cubicBezTo>
                    <a:cubicBezTo>
                      <a:pt x="144" y="216"/>
                      <a:pt x="144" y="216"/>
                      <a:pt x="144" y="216"/>
                    </a:cubicBezTo>
                    <a:cubicBezTo>
                      <a:pt x="360" y="252"/>
                      <a:pt x="360" y="252"/>
                      <a:pt x="360" y="252"/>
                    </a:cubicBezTo>
                    <a:cubicBezTo>
                      <a:pt x="324" y="578"/>
                      <a:pt x="324" y="578"/>
                      <a:pt x="324" y="578"/>
                    </a:cubicBezTo>
                    <a:cubicBezTo>
                      <a:pt x="432" y="432"/>
                      <a:pt x="432" y="432"/>
                      <a:pt x="432" y="432"/>
                    </a:cubicBezTo>
                    <a:cubicBezTo>
                      <a:pt x="220" y="399"/>
                      <a:pt x="220" y="399"/>
                      <a:pt x="220" y="399"/>
                    </a:cubicBezTo>
                    <a:cubicBezTo>
                      <a:pt x="220" y="399"/>
                      <a:pt x="108" y="576"/>
                      <a:pt x="112" y="579"/>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0" name="Freeform 2494">
                <a:extLst>
                  <a:ext uri="{FF2B5EF4-FFF2-40B4-BE49-F238E27FC236}">
                    <a16:creationId xmlns:a16="http://schemas.microsoft.com/office/drawing/2014/main" id="{71939199-E841-40FD-B92B-69017DA24C1D}"/>
                  </a:ext>
                </a:extLst>
              </p:cNvPr>
              <p:cNvSpPr>
                <a:spLocks/>
              </p:cNvSpPr>
              <p:nvPr/>
            </p:nvSpPr>
            <p:spPr bwMode="auto">
              <a:xfrm>
                <a:off x="2175" y="1800"/>
                <a:ext cx="120" cy="303"/>
              </a:xfrm>
              <a:custGeom>
                <a:avLst/>
                <a:gdLst>
                  <a:gd name="T0" fmla="*/ 0 w 120"/>
                  <a:gd name="T1" fmla="*/ 90 h 303"/>
                  <a:gd name="T2" fmla="*/ 120 w 120"/>
                  <a:gd name="T3" fmla="*/ 0 h 303"/>
                  <a:gd name="T4" fmla="*/ 94 w 120"/>
                  <a:gd name="T5" fmla="*/ 303 h 303"/>
                </a:gdLst>
                <a:ahLst/>
                <a:cxnLst>
                  <a:cxn ang="0">
                    <a:pos x="T0" y="T1"/>
                  </a:cxn>
                  <a:cxn ang="0">
                    <a:pos x="T2" y="T3"/>
                  </a:cxn>
                  <a:cxn ang="0">
                    <a:pos x="T4" y="T5"/>
                  </a:cxn>
                </a:cxnLst>
                <a:rect l="0" t="0" r="r" b="b"/>
                <a:pathLst>
                  <a:path w="120" h="303">
                    <a:moveTo>
                      <a:pt x="0" y="90"/>
                    </a:moveTo>
                    <a:lnTo>
                      <a:pt x="120" y="0"/>
                    </a:lnTo>
                    <a:lnTo>
                      <a:pt x="94" y="30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1" name="Freeform 2495">
                <a:extLst>
                  <a:ext uri="{FF2B5EF4-FFF2-40B4-BE49-F238E27FC236}">
                    <a16:creationId xmlns:a16="http://schemas.microsoft.com/office/drawing/2014/main" id="{F4C725DA-6D49-42D6-870E-851BC31FD8AF}"/>
                  </a:ext>
                </a:extLst>
              </p:cNvPr>
              <p:cNvSpPr>
                <a:spLocks/>
              </p:cNvSpPr>
              <p:nvPr/>
            </p:nvSpPr>
            <p:spPr bwMode="auto">
              <a:xfrm>
                <a:off x="2625" y="1922"/>
                <a:ext cx="1110" cy="868"/>
              </a:xfrm>
              <a:custGeom>
                <a:avLst/>
                <a:gdLst>
                  <a:gd name="T0" fmla="*/ 240 w 1110"/>
                  <a:gd name="T1" fmla="*/ 0 h 868"/>
                  <a:gd name="T2" fmla="*/ 210 w 1110"/>
                  <a:gd name="T3" fmla="*/ 148 h 868"/>
                  <a:gd name="T4" fmla="*/ 150 w 1110"/>
                  <a:gd name="T5" fmla="*/ 238 h 868"/>
                  <a:gd name="T6" fmla="*/ 0 w 1110"/>
                  <a:gd name="T7" fmla="*/ 328 h 868"/>
                  <a:gd name="T8" fmla="*/ 0 w 1110"/>
                  <a:gd name="T9" fmla="*/ 478 h 868"/>
                  <a:gd name="T10" fmla="*/ 120 w 1110"/>
                  <a:gd name="T11" fmla="*/ 388 h 868"/>
                  <a:gd name="T12" fmla="*/ 270 w 1110"/>
                  <a:gd name="T13" fmla="*/ 268 h 868"/>
                  <a:gd name="T14" fmla="*/ 510 w 1110"/>
                  <a:gd name="T15" fmla="*/ 118 h 868"/>
                  <a:gd name="T16" fmla="*/ 600 w 1110"/>
                  <a:gd name="T17" fmla="*/ 178 h 868"/>
                  <a:gd name="T18" fmla="*/ 690 w 1110"/>
                  <a:gd name="T19" fmla="*/ 298 h 868"/>
                  <a:gd name="T20" fmla="*/ 780 w 1110"/>
                  <a:gd name="T21" fmla="*/ 178 h 868"/>
                  <a:gd name="T22" fmla="*/ 600 w 1110"/>
                  <a:gd name="T23" fmla="*/ 178 h 868"/>
                  <a:gd name="T24" fmla="*/ 600 w 1110"/>
                  <a:gd name="T25" fmla="*/ 329 h 868"/>
                  <a:gd name="T26" fmla="*/ 510 w 1110"/>
                  <a:gd name="T27" fmla="*/ 298 h 868"/>
                  <a:gd name="T28" fmla="*/ 480 w 1110"/>
                  <a:gd name="T29" fmla="*/ 388 h 868"/>
                  <a:gd name="T30" fmla="*/ 480 w 1110"/>
                  <a:gd name="T31" fmla="*/ 628 h 868"/>
                  <a:gd name="T32" fmla="*/ 600 w 1110"/>
                  <a:gd name="T33" fmla="*/ 538 h 868"/>
                  <a:gd name="T34" fmla="*/ 688 w 1110"/>
                  <a:gd name="T35" fmla="*/ 630 h 868"/>
                  <a:gd name="T36" fmla="*/ 660 w 1110"/>
                  <a:gd name="T37" fmla="*/ 448 h 868"/>
                  <a:gd name="T38" fmla="*/ 750 w 1110"/>
                  <a:gd name="T39" fmla="*/ 388 h 868"/>
                  <a:gd name="T40" fmla="*/ 870 w 1110"/>
                  <a:gd name="T41" fmla="*/ 448 h 868"/>
                  <a:gd name="T42" fmla="*/ 750 w 1110"/>
                  <a:gd name="T43" fmla="*/ 508 h 868"/>
                  <a:gd name="T44" fmla="*/ 840 w 1110"/>
                  <a:gd name="T45" fmla="*/ 568 h 868"/>
                  <a:gd name="T46" fmla="*/ 1110 w 1110"/>
                  <a:gd name="T47" fmla="*/ 538 h 868"/>
                  <a:gd name="T48" fmla="*/ 990 w 1110"/>
                  <a:gd name="T49" fmla="*/ 598 h 868"/>
                  <a:gd name="T50" fmla="*/ 1020 w 1110"/>
                  <a:gd name="T51" fmla="*/ 868 h 868"/>
                  <a:gd name="T52" fmla="*/ 810 w 1110"/>
                  <a:gd name="T53" fmla="*/ 68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0" h="868">
                    <a:moveTo>
                      <a:pt x="240" y="0"/>
                    </a:moveTo>
                    <a:lnTo>
                      <a:pt x="210" y="148"/>
                    </a:lnTo>
                    <a:lnTo>
                      <a:pt x="150" y="238"/>
                    </a:lnTo>
                    <a:lnTo>
                      <a:pt x="0" y="328"/>
                    </a:lnTo>
                    <a:lnTo>
                      <a:pt x="0" y="478"/>
                    </a:lnTo>
                    <a:lnTo>
                      <a:pt x="120" y="388"/>
                    </a:lnTo>
                    <a:lnTo>
                      <a:pt x="270" y="268"/>
                    </a:lnTo>
                    <a:lnTo>
                      <a:pt x="510" y="118"/>
                    </a:lnTo>
                    <a:lnTo>
                      <a:pt x="600" y="178"/>
                    </a:lnTo>
                    <a:lnTo>
                      <a:pt x="690" y="298"/>
                    </a:lnTo>
                    <a:lnTo>
                      <a:pt x="780" y="178"/>
                    </a:lnTo>
                    <a:lnTo>
                      <a:pt x="600" y="178"/>
                    </a:lnTo>
                    <a:lnTo>
                      <a:pt x="600" y="329"/>
                    </a:lnTo>
                    <a:lnTo>
                      <a:pt x="510" y="298"/>
                    </a:lnTo>
                    <a:lnTo>
                      <a:pt x="480" y="388"/>
                    </a:lnTo>
                    <a:lnTo>
                      <a:pt x="480" y="628"/>
                    </a:lnTo>
                    <a:lnTo>
                      <a:pt x="600" y="538"/>
                    </a:lnTo>
                    <a:lnTo>
                      <a:pt x="688" y="630"/>
                    </a:lnTo>
                    <a:lnTo>
                      <a:pt x="660" y="448"/>
                    </a:lnTo>
                    <a:lnTo>
                      <a:pt x="750" y="388"/>
                    </a:lnTo>
                    <a:lnTo>
                      <a:pt x="870" y="448"/>
                    </a:lnTo>
                    <a:lnTo>
                      <a:pt x="750" y="508"/>
                    </a:lnTo>
                    <a:lnTo>
                      <a:pt x="840" y="568"/>
                    </a:lnTo>
                    <a:lnTo>
                      <a:pt x="1110" y="538"/>
                    </a:lnTo>
                    <a:lnTo>
                      <a:pt x="990" y="598"/>
                    </a:lnTo>
                    <a:lnTo>
                      <a:pt x="1020" y="868"/>
                    </a:lnTo>
                    <a:lnTo>
                      <a:pt x="810" y="6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2" name="Line 2496">
                <a:extLst>
                  <a:ext uri="{FF2B5EF4-FFF2-40B4-BE49-F238E27FC236}">
                    <a16:creationId xmlns:a16="http://schemas.microsoft.com/office/drawing/2014/main" id="{734ADB4E-DB9E-4B32-BD85-64A9FD36027E}"/>
                  </a:ext>
                </a:extLst>
              </p:cNvPr>
              <p:cNvSpPr>
                <a:spLocks noChangeShapeType="1"/>
              </p:cNvSpPr>
              <p:nvPr/>
            </p:nvSpPr>
            <p:spPr bwMode="auto">
              <a:xfrm flipV="1">
                <a:off x="2835" y="195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3" name="Line 2497">
                <a:extLst>
                  <a:ext uri="{FF2B5EF4-FFF2-40B4-BE49-F238E27FC236}">
                    <a16:creationId xmlns:a16="http://schemas.microsoft.com/office/drawing/2014/main" id="{BF56A6E3-7696-4575-BEEC-F9E92561C600}"/>
                  </a:ext>
                </a:extLst>
              </p:cNvPr>
              <p:cNvSpPr>
                <a:spLocks noChangeShapeType="1"/>
              </p:cNvSpPr>
              <p:nvPr/>
            </p:nvSpPr>
            <p:spPr bwMode="auto">
              <a:xfrm flipH="1" flipV="1">
                <a:off x="2865" y="1922"/>
                <a:ext cx="152" cy="15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4" name="Freeform 2498">
                <a:extLst>
                  <a:ext uri="{FF2B5EF4-FFF2-40B4-BE49-F238E27FC236}">
                    <a16:creationId xmlns:a16="http://schemas.microsoft.com/office/drawing/2014/main" id="{1D08EDBD-7C70-4D4B-833F-EEFAA2991463}"/>
                  </a:ext>
                </a:extLst>
              </p:cNvPr>
              <p:cNvSpPr>
                <a:spLocks/>
              </p:cNvSpPr>
              <p:nvPr/>
            </p:nvSpPr>
            <p:spPr bwMode="auto">
              <a:xfrm>
                <a:off x="3077" y="1713"/>
                <a:ext cx="328" cy="390"/>
              </a:xfrm>
              <a:custGeom>
                <a:avLst/>
                <a:gdLst>
                  <a:gd name="T0" fmla="*/ 271 w 328"/>
                  <a:gd name="T1" fmla="*/ 0 h 390"/>
                  <a:gd name="T2" fmla="*/ 238 w 328"/>
                  <a:gd name="T3" fmla="*/ 147 h 390"/>
                  <a:gd name="T4" fmla="*/ 151 w 328"/>
                  <a:gd name="T5" fmla="*/ 390 h 390"/>
                  <a:gd name="T6" fmla="*/ 328 w 328"/>
                  <a:gd name="T7" fmla="*/ 207 h 390"/>
                  <a:gd name="T8" fmla="*/ 328 w 328"/>
                  <a:gd name="T9" fmla="*/ 389 h 390"/>
                  <a:gd name="T10" fmla="*/ 118 w 328"/>
                  <a:gd name="T11" fmla="*/ 177 h 390"/>
                  <a:gd name="T12" fmla="*/ 58 w 328"/>
                  <a:gd name="T13" fmla="*/ 327 h 390"/>
                  <a:gd name="T14" fmla="*/ 0 w 328"/>
                  <a:gd name="T15" fmla="*/ 180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90">
                    <a:moveTo>
                      <a:pt x="271" y="0"/>
                    </a:moveTo>
                    <a:lnTo>
                      <a:pt x="238" y="147"/>
                    </a:lnTo>
                    <a:lnTo>
                      <a:pt x="151" y="390"/>
                    </a:lnTo>
                    <a:lnTo>
                      <a:pt x="328" y="207"/>
                    </a:lnTo>
                    <a:lnTo>
                      <a:pt x="328" y="389"/>
                    </a:lnTo>
                    <a:lnTo>
                      <a:pt x="118" y="177"/>
                    </a:lnTo>
                    <a:lnTo>
                      <a:pt x="58" y="327"/>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5" name="Line 2499">
                <a:extLst>
                  <a:ext uri="{FF2B5EF4-FFF2-40B4-BE49-F238E27FC236}">
                    <a16:creationId xmlns:a16="http://schemas.microsoft.com/office/drawing/2014/main" id="{DE078C39-A503-4B1F-9AA9-7FF90CDCFCC4}"/>
                  </a:ext>
                </a:extLst>
              </p:cNvPr>
              <p:cNvSpPr>
                <a:spLocks noChangeShapeType="1"/>
              </p:cNvSpPr>
              <p:nvPr/>
            </p:nvSpPr>
            <p:spPr bwMode="auto">
              <a:xfrm flipH="1" flipV="1">
                <a:off x="3348" y="1713"/>
                <a:ext cx="177" cy="11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6" name="Line 2500">
                <a:extLst>
                  <a:ext uri="{FF2B5EF4-FFF2-40B4-BE49-F238E27FC236}">
                    <a16:creationId xmlns:a16="http://schemas.microsoft.com/office/drawing/2014/main" id="{C7347B80-A008-4FBB-8D0B-1E0F20EF2932}"/>
                  </a:ext>
                </a:extLst>
              </p:cNvPr>
              <p:cNvSpPr>
                <a:spLocks noChangeShapeType="1"/>
              </p:cNvSpPr>
              <p:nvPr/>
            </p:nvSpPr>
            <p:spPr bwMode="auto">
              <a:xfrm flipV="1">
                <a:off x="3315" y="1442"/>
                <a:ext cx="88" cy="118"/>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7" name="Freeform 2501">
                <a:extLst>
                  <a:ext uri="{FF2B5EF4-FFF2-40B4-BE49-F238E27FC236}">
                    <a16:creationId xmlns:a16="http://schemas.microsoft.com/office/drawing/2014/main" id="{C233318B-A42B-4D8D-8F18-1917F04F22CE}"/>
                  </a:ext>
                </a:extLst>
              </p:cNvPr>
              <p:cNvSpPr>
                <a:spLocks/>
              </p:cNvSpPr>
              <p:nvPr/>
            </p:nvSpPr>
            <p:spPr bwMode="auto">
              <a:xfrm>
                <a:off x="2625" y="780"/>
                <a:ext cx="690" cy="630"/>
              </a:xfrm>
              <a:custGeom>
                <a:avLst/>
                <a:gdLst>
                  <a:gd name="T0" fmla="*/ 660 w 690"/>
                  <a:gd name="T1" fmla="*/ 630 h 630"/>
                  <a:gd name="T2" fmla="*/ 690 w 690"/>
                  <a:gd name="T3" fmla="*/ 390 h 630"/>
                  <a:gd name="T4" fmla="*/ 570 w 690"/>
                  <a:gd name="T5" fmla="*/ 420 h 630"/>
                  <a:gd name="T6" fmla="*/ 450 w 690"/>
                  <a:gd name="T7" fmla="*/ 240 h 630"/>
                  <a:gd name="T8" fmla="*/ 420 w 690"/>
                  <a:gd name="T9" fmla="*/ 420 h 630"/>
                  <a:gd name="T10" fmla="*/ 330 w 690"/>
                  <a:gd name="T11" fmla="*/ 330 h 630"/>
                  <a:gd name="T12" fmla="*/ 210 w 690"/>
                  <a:gd name="T13" fmla="*/ 270 h 630"/>
                  <a:gd name="T14" fmla="*/ 0 w 690"/>
                  <a:gd name="T15" fmla="*/ 210 h 630"/>
                  <a:gd name="T16" fmla="*/ 270 w 690"/>
                  <a:gd name="T17" fmla="*/ 180 h 630"/>
                  <a:gd name="T18" fmla="*/ 180 w 690"/>
                  <a:gd name="T19" fmla="*/ 30 h 630"/>
                  <a:gd name="T20" fmla="*/ 330 w 690"/>
                  <a:gd name="T21" fmla="*/ 0 h 630"/>
                  <a:gd name="T22" fmla="*/ 120 w 690"/>
                  <a:gd name="T23" fmla="*/ 15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0" h="630">
                    <a:moveTo>
                      <a:pt x="660" y="630"/>
                    </a:moveTo>
                    <a:lnTo>
                      <a:pt x="690" y="390"/>
                    </a:lnTo>
                    <a:lnTo>
                      <a:pt x="570" y="420"/>
                    </a:lnTo>
                    <a:lnTo>
                      <a:pt x="450" y="240"/>
                    </a:lnTo>
                    <a:lnTo>
                      <a:pt x="420" y="420"/>
                    </a:lnTo>
                    <a:lnTo>
                      <a:pt x="330" y="330"/>
                    </a:lnTo>
                    <a:lnTo>
                      <a:pt x="210" y="270"/>
                    </a:lnTo>
                    <a:lnTo>
                      <a:pt x="0" y="210"/>
                    </a:lnTo>
                    <a:lnTo>
                      <a:pt x="270" y="180"/>
                    </a:lnTo>
                    <a:lnTo>
                      <a:pt x="180" y="30"/>
                    </a:lnTo>
                    <a:lnTo>
                      <a:pt x="330"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8" name="Line 2502">
                <a:extLst>
                  <a:ext uri="{FF2B5EF4-FFF2-40B4-BE49-F238E27FC236}">
                    <a16:creationId xmlns:a16="http://schemas.microsoft.com/office/drawing/2014/main" id="{2A2CCA26-0108-4F72-8D7D-151123DCC11D}"/>
                  </a:ext>
                </a:extLst>
              </p:cNvPr>
              <p:cNvSpPr>
                <a:spLocks noChangeShapeType="1"/>
              </p:cNvSpPr>
              <p:nvPr/>
            </p:nvSpPr>
            <p:spPr bwMode="auto">
              <a:xfrm flipH="1">
                <a:off x="3285" y="1290"/>
                <a:ext cx="15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9" name="Freeform 2503">
                <a:extLst>
                  <a:ext uri="{FF2B5EF4-FFF2-40B4-BE49-F238E27FC236}">
                    <a16:creationId xmlns:a16="http://schemas.microsoft.com/office/drawing/2014/main" id="{929E5EFD-6506-46E4-B6C0-F2571E50FBD3}"/>
                  </a:ext>
                </a:extLst>
              </p:cNvPr>
              <p:cNvSpPr>
                <a:spLocks/>
              </p:cNvSpPr>
              <p:nvPr/>
            </p:nvSpPr>
            <p:spPr bwMode="auto">
              <a:xfrm>
                <a:off x="3315" y="1082"/>
                <a:ext cx="120" cy="208"/>
              </a:xfrm>
              <a:custGeom>
                <a:avLst/>
                <a:gdLst>
                  <a:gd name="T0" fmla="*/ 120 w 120"/>
                  <a:gd name="T1" fmla="*/ 208 h 208"/>
                  <a:gd name="T2" fmla="*/ 90 w 120"/>
                  <a:gd name="T3" fmla="*/ 0 h 208"/>
                  <a:gd name="T4" fmla="*/ 0 w 120"/>
                  <a:gd name="T5" fmla="*/ 88 h 208"/>
                </a:gdLst>
                <a:ahLst/>
                <a:cxnLst>
                  <a:cxn ang="0">
                    <a:pos x="T0" y="T1"/>
                  </a:cxn>
                  <a:cxn ang="0">
                    <a:pos x="T2" y="T3"/>
                  </a:cxn>
                  <a:cxn ang="0">
                    <a:pos x="T4" y="T5"/>
                  </a:cxn>
                </a:cxnLst>
                <a:rect l="0" t="0" r="r" b="b"/>
                <a:pathLst>
                  <a:path w="120" h="208">
                    <a:moveTo>
                      <a:pt x="120" y="208"/>
                    </a:moveTo>
                    <a:lnTo>
                      <a:pt x="90" y="0"/>
                    </a:lnTo>
                    <a:lnTo>
                      <a:pt x="0" y="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0" name="Freeform 2504">
                <a:extLst>
                  <a:ext uri="{FF2B5EF4-FFF2-40B4-BE49-F238E27FC236}">
                    <a16:creationId xmlns:a16="http://schemas.microsoft.com/office/drawing/2014/main" id="{4DD891DA-9E89-405B-AAE2-9E56B2F444A6}"/>
                  </a:ext>
                </a:extLst>
              </p:cNvPr>
              <p:cNvSpPr>
                <a:spLocks/>
              </p:cNvSpPr>
              <p:nvPr/>
            </p:nvSpPr>
            <p:spPr bwMode="auto">
              <a:xfrm>
                <a:off x="3195" y="1200"/>
                <a:ext cx="240" cy="242"/>
              </a:xfrm>
              <a:custGeom>
                <a:avLst/>
                <a:gdLst>
                  <a:gd name="T0" fmla="*/ 240 w 240"/>
                  <a:gd name="T1" fmla="*/ 90 h 242"/>
                  <a:gd name="T2" fmla="*/ 0 w 240"/>
                  <a:gd name="T3" fmla="*/ 0 h 242"/>
                  <a:gd name="T4" fmla="*/ 208 w 240"/>
                  <a:gd name="T5" fmla="*/ 242 h 242"/>
                </a:gdLst>
                <a:ahLst/>
                <a:cxnLst>
                  <a:cxn ang="0">
                    <a:pos x="T0" y="T1"/>
                  </a:cxn>
                  <a:cxn ang="0">
                    <a:pos x="T2" y="T3"/>
                  </a:cxn>
                  <a:cxn ang="0">
                    <a:pos x="T4" y="T5"/>
                  </a:cxn>
                </a:cxnLst>
                <a:rect l="0" t="0" r="r" b="b"/>
                <a:pathLst>
                  <a:path w="240" h="242">
                    <a:moveTo>
                      <a:pt x="240" y="90"/>
                    </a:moveTo>
                    <a:lnTo>
                      <a:pt x="0" y="0"/>
                    </a:lnTo>
                    <a:lnTo>
                      <a:pt x="208" y="24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1" name="Line 2505">
                <a:extLst>
                  <a:ext uri="{FF2B5EF4-FFF2-40B4-BE49-F238E27FC236}">
                    <a16:creationId xmlns:a16="http://schemas.microsoft.com/office/drawing/2014/main" id="{5267D8E2-F139-4232-8633-4FBAC9E10D52}"/>
                  </a:ext>
                </a:extLst>
              </p:cNvPr>
              <p:cNvSpPr>
                <a:spLocks noChangeShapeType="1"/>
              </p:cNvSpPr>
              <p:nvPr/>
            </p:nvSpPr>
            <p:spPr bwMode="auto">
              <a:xfrm flipH="1">
                <a:off x="3585" y="1260"/>
                <a:ext cx="30" cy="272"/>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2" name="Freeform 2506">
                <a:extLst>
                  <a:ext uri="{FF2B5EF4-FFF2-40B4-BE49-F238E27FC236}">
                    <a16:creationId xmlns:a16="http://schemas.microsoft.com/office/drawing/2014/main" id="{B0CA60F6-C0DA-4B48-9ACE-1AD8527BF462}"/>
                  </a:ext>
                </a:extLst>
              </p:cNvPr>
              <p:cNvSpPr>
                <a:spLocks/>
              </p:cNvSpPr>
              <p:nvPr/>
            </p:nvSpPr>
            <p:spPr bwMode="auto">
              <a:xfrm>
                <a:off x="3555" y="450"/>
                <a:ext cx="449" cy="1140"/>
              </a:xfrm>
              <a:custGeom>
                <a:avLst/>
                <a:gdLst>
                  <a:gd name="T0" fmla="*/ 449 w 449"/>
                  <a:gd name="T1" fmla="*/ 1140 h 1140"/>
                  <a:gd name="T2" fmla="*/ 329 w 449"/>
                  <a:gd name="T3" fmla="*/ 930 h 1140"/>
                  <a:gd name="T4" fmla="*/ 419 w 449"/>
                  <a:gd name="T5" fmla="*/ 690 h 1140"/>
                  <a:gd name="T6" fmla="*/ 239 w 449"/>
                  <a:gd name="T7" fmla="*/ 600 h 1140"/>
                  <a:gd name="T8" fmla="*/ 269 w 449"/>
                  <a:gd name="T9" fmla="*/ 780 h 1140"/>
                  <a:gd name="T10" fmla="*/ 389 w 449"/>
                  <a:gd name="T11" fmla="*/ 570 h 1140"/>
                  <a:gd name="T12" fmla="*/ 419 w 449"/>
                  <a:gd name="T13" fmla="*/ 450 h 1140"/>
                  <a:gd name="T14" fmla="*/ 359 w 449"/>
                  <a:gd name="T15" fmla="*/ 330 h 1140"/>
                  <a:gd name="T16" fmla="*/ 389 w 449"/>
                  <a:gd name="T17" fmla="*/ 180 h 1140"/>
                  <a:gd name="T18" fmla="*/ 239 w 449"/>
                  <a:gd name="T19" fmla="*/ 60 h 1140"/>
                  <a:gd name="T20" fmla="*/ 150 w 449"/>
                  <a:gd name="T21" fmla="*/ 180 h 1140"/>
                  <a:gd name="T22" fmla="*/ 0 w 449"/>
                  <a:gd name="T23" fmla="*/ 270 h 1140"/>
                  <a:gd name="T24" fmla="*/ 0 w 449"/>
                  <a:gd name="T25" fmla="*/ 420 h 1140"/>
                  <a:gd name="T26" fmla="*/ 120 w 449"/>
                  <a:gd name="T27" fmla="*/ 330 h 1140"/>
                  <a:gd name="T28" fmla="*/ 269 w 449"/>
                  <a:gd name="T29" fmla="*/ 210 h 1140"/>
                  <a:gd name="T30" fmla="*/ 239 w 449"/>
                  <a:gd name="T31" fmla="*/ 60 h 1140"/>
                  <a:gd name="T32" fmla="*/ 120 w 449"/>
                  <a:gd name="T33" fmla="*/ 0 h 1140"/>
                  <a:gd name="T34" fmla="*/ 30 w 449"/>
                  <a:gd name="T35" fmla="*/ 9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1140">
                    <a:moveTo>
                      <a:pt x="449" y="1140"/>
                    </a:moveTo>
                    <a:lnTo>
                      <a:pt x="329" y="930"/>
                    </a:lnTo>
                    <a:lnTo>
                      <a:pt x="419" y="690"/>
                    </a:lnTo>
                    <a:lnTo>
                      <a:pt x="239" y="600"/>
                    </a:lnTo>
                    <a:lnTo>
                      <a:pt x="269" y="780"/>
                    </a:lnTo>
                    <a:lnTo>
                      <a:pt x="389" y="570"/>
                    </a:lnTo>
                    <a:lnTo>
                      <a:pt x="419" y="450"/>
                    </a:lnTo>
                    <a:lnTo>
                      <a:pt x="359" y="330"/>
                    </a:lnTo>
                    <a:lnTo>
                      <a:pt x="389" y="180"/>
                    </a:lnTo>
                    <a:lnTo>
                      <a:pt x="239" y="60"/>
                    </a:lnTo>
                    <a:lnTo>
                      <a:pt x="150" y="180"/>
                    </a:lnTo>
                    <a:lnTo>
                      <a:pt x="0" y="270"/>
                    </a:lnTo>
                    <a:lnTo>
                      <a:pt x="0" y="420"/>
                    </a:lnTo>
                    <a:lnTo>
                      <a:pt x="120" y="330"/>
                    </a:lnTo>
                    <a:lnTo>
                      <a:pt x="269" y="210"/>
                    </a:lnTo>
                    <a:lnTo>
                      <a:pt x="239" y="60"/>
                    </a:lnTo>
                    <a:lnTo>
                      <a:pt x="120" y="0"/>
                    </a:lnTo>
                    <a:lnTo>
                      <a:pt x="3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3" name="Line 2507">
                <a:extLst>
                  <a:ext uri="{FF2B5EF4-FFF2-40B4-BE49-F238E27FC236}">
                    <a16:creationId xmlns:a16="http://schemas.microsoft.com/office/drawing/2014/main" id="{AB94A7C2-CEC0-4C09-B9DB-03FDF5BC04B1}"/>
                  </a:ext>
                </a:extLst>
              </p:cNvPr>
              <p:cNvSpPr>
                <a:spLocks noChangeShapeType="1"/>
              </p:cNvSpPr>
              <p:nvPr/>
            </p:nvSpPr>
            <p:spPr bwMode="auto">
              <a:xfrm>
                <a:off x="4004"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4" name="Freeform 2508">
                <a:extLst>
                  <a:ext uri="{FF2B5EF4-FFF2-40B4-BE49-F238E27FC236}">
                    <a16:creationId xmlns:a16="http://schemas.microsoft.com/office/drawing/2014/main" id="{B196DE9C-C7B0-4BFC-886D-C17D34243D86}"/>
                  </a:ext>
                </a:extLst>
              </p:cNvPr>
              <p:cNvSpPr>
                <a:spLocks/>
              </p:cNvSpPr>
              <p:nvPr/>
            </p:nvSpPr>
            <p:spPr bwMode="auto">
              <a:xfrm>
                <a:off x="3525" y="1740"/>
                <a:ext cx="659" cy="423"/>
              </a:xfrm>
              <a:custGeom>
                <a:avLst/>
                <a:gdLst>
                  <a:gd name="T0" fmla="*/ 300 w 659"/>
                  <a:gd name="T1" fmla="*/ 303 h 423"/>
                  <a:gd name="T2" fmla="*/ 299 w 659"/>
                  <a:gd name="T3" fmla="*/ 150 h 423"/>
                  <a:gd name="T4" fmla="*/ 451 w 659"/>
                  <a:gd name="T5" fmla="*/ 423 h 423"/>
                  <a:gd name="T6" fmla="*/ 483 w 659"/>
                  <a:gd name="T7" fmla="*/ 213 h 423"/>
                  <a:gd name="T8" fmla="*/ 659 w 659"/>
                  <a:gd name="T9" fmla="*/ 300 h 423"/>
                  <a:gd name="T10" fmla="*/ 419 w 659"/>
                  <a:gd name="T11" fmla="*/ 60 h 423"/>
                  <a:gd name="T12" fmla="*/ 479 w 659"/>
                  <a:gd name="T13" fmla="*/ 210 h 423"/>
                  <a:gd name="T14" fmla="*/ 299 w 659"/>
                  <a:gd name="T15" fmla="*/ 0 h 423"/>
                  <a:gd name="T16" fmla="*/ 150 w 659"/>
                  <a:gd name="T17" fmla="*/ 150 h 423"/>
                  <a:gd name="T18" fmla="*/ 0 w 659"/>
                  <a:gd name="T19" fmla="*/ 9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9" h="423">
                    <a:moveTo>
                      <a:pt x="300" y="303"/>
                    </a:moveTo>
                    <a:lnTo>
                      <a:pt x="299" y="150"/>
                    </a:lnTo>
                    <a:lnTo>
                      <a:pt x="451" y="423"/>
                    </a:lnTo>
                    <a:lnTo>
                      <a:pt x="483" y="213"/>
                    </a:lnTo>
                    <a:lnTo>
                      <a:pt x="659" y="300"/>
                    </a:lnTo>
                    <a:lnTo>
                      <a:pt x="419" y="60"/>
                    </a:lnTo>
                    <a:lnTo>
                      <a:pt x="479" y="210"/>
                    </a:lnTo>
                    <a:lnTo>
                      <a:pt x="299" y="0"/>
                    </a:lnTo>
                    <a:lnTo>
                      <a:pt x="150" y="15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5" name="Freeform 2509">
                <a:extLst>
                  <a:ext uri="{FF2B5EF4-FFF2-40B4-BE49-F238E27FC236}">
                    <a16:creationId xmlns:a16="http://schemas.microsoft.com/office/drawing/2014/main" id="{056385CA-86CA-4FFB-A099-FEA37137EF74}"/>
                  </a:ext>
                </a:extLst>
              </p:cNvPr>
              <p:cNvSpPr>
                <a:spLocks/>
              </p:cNvSpPr>
              <p:nvPr/>
            </p:nvSpPr>
            <p:spPr bwMode="auto">
              <a:xfrm>
                <a:off x="3315" y="1860"/>
                <a:ext cx="393" cy="123"/>
              </a:xfrm>
              <a:custGeom>
                <a:avLst/>
                <a:gdLst>
                  <a:gd name="T0" fmla="*/ 393 w 393"/>
                  <a:gd name="T1" fmla="*/ 123 h 123"/>
                  <a:gd name="T2" fmla="*/ 90 w 393"/>
                  <a:gd name="T3" fmla="*/ 60 h 123"/>
                  <a:gd name="T4" fmla="*/ 0 w 393"/>
                  <a:gd name="T5" fmla="*/ 0 h 123"/>
                </a:gdLst>
                <a:ahLst/>
                <a:cxnLst>
                  <a:cxn ang="0">
                    <a:pos x="T0" y="T1"/>
                  </a:cxn>
                  <a:cxn ang="0">
                    <a:pos x="T2" y="T3"/>
                  </a:cxn>
                  <a:cxn ang="0">
                    <a:pos x="T4" y="T5"/>
                  </a:cxn>
                </a:cxnLst>
                <a:rect l="0" t="0" r="r" b="b"/>
                <a:pathLst>
                  <a:path w="393" h="123">
                    <a:moveTo>
                      <a:pt x="393" y="123"/>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6" name="Freeform 2510">
                <a:extLst>
                  <a:ext uri="{FF2B5EF4-FFF2-40B4-BE49-F238E27FC236}">
                    <a16:creationId xmlns:a16="http://schemas.microsoft.com/office/drawing/2014/main" id="{87F0DB6B-F8D7-4C11-965B-E25E73134392}"/>
                  </a:ext>
                </a:extLst>
              </p:cNvPr>
              <p:cNvSpPr>
                <a:spLocks/>
              </p:cNvSpPr>
              <p:nvPr/>
            </p:nvSpPr>
            <p:spPr bwMode="auto">
              <a:xfrm>
                <a:off x="1276" y="60"/>
                <a:ext cx="690" cy="600"/>
              </a:xfrm>
              <a:custGeom>
                <a:avLst/>
                <a:gdLst>
                  <a:gd name="T0" fmla="*/ 690 w 690"/>
                  <a:gd name="T1" fmla="*/ 600 h 600"/>
                  <a:gd name="T2" fmla="*/ 630 w 690"/>
                  <a:gd name="T3" fmla="*/ 450 h 600"/>
                  <a:gd name="T4" fmla="*/ 480 w 690"/>
                  <a:gd name="T5" fmla="*/ 210 h 600"/>
                  <a:gd name="T6" fmla="*/ 330 w 690"/>
                  <a:gd name="T7" fmla="*/ 0 h 600"/>
                  <a:gd name="T8" fmla="*/ 150 w 690"/>
                  <a:gd name="T9" fmla="*/ 90 h 600"/>
                  <a:gd name="T10" fmla="*/ 60 w 690"/>
                  <a:gd name="T11" fmla="*/ 210 h 600"/>
                  <a:gd name="T12" fmla="*/ 300 w 690"/>
                  <a:gd name="T13" fmla="*/ 210 h 600"/>
                  <a:gd name="T14" fmla="*/ 330 w 690"/>
                  <a:gd name="T15" fmla="*/ 0 h 600"/>
                  <a:gd name="T16" fmla="*/ 0 w 690"/>
                  <a:gd name="T17" fmla="*/ 60 h 600"/>
                  <a:gd name="T18" fmla="*/ 150 w 690"/>
                  <a:gd name="T19" fmla="*/ 90 h 600"/>
                  <a:gd name="T20" fmla="*/ 180 w 690"/>
                  <a:gd name="T21" fmla="*/ 240 h 600"/>
                  <a:gd name="T22" fmla="*/ 60 w 690"/>
                  <a:gd name="T23" fmla="*/ 210 h 600"/>
                  <a:gd name="T24" fmla="*/ 30 w 690"/>
                  <a:gd name="T25" fmla="*/ 360 h 600"/>
                  <a:gd name="T26" fmla="*/ 60 w 690"/>
                  <a:gd name="T27" fmla="*/ 51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0" h="600">
                    <a:moveTo>
                      <a:pt x="690" y="600"/>
                    </a:moveTo>
                    <a:lnTo>
                      <a:pt x="630" y="450"/>
                    </a:lnTo>
                    <a:lnTo>
                      <a:pt x="480" y="210"/>
                    </a:lnTo>
                    <a:lnTo>
                      <a:pt x="330" y="0"/>
                    </a:lnTo>
                    <a:lnTo>
                      <a:pt x="150" y="90"/>
                    </a:lnTo>
                    <a:lnTo>
                      <a:pt x="60" y="210"/>
                    </a:lnTo>
                    <a:lnTo>
                      <a:pt x="300" y="210"/>
                    </a:lnTo>
                    <a:lnTo>
                      <a:pt x="330" y="0"/>
                    </a:lnTo>
                    <a:lnTo>
                      <a:pt x="0" y="60"/>
                    </a:lnTo>
                    <a:lnTo>
                      <a:pt x="150" y="90"/>
                    </a:lnTo>
                    <a:lnTo>
                      <a:pt x="180" y="240"/>
                    </a:lnTo>
                    <a:lnTo>
                      <a:pt x="60" y="210"/>
                    </a:lnTo>
                    <a:lnTo>
                      <a:pt x="30" y="360"/>
                    </a:lnTo>
                    <a:lnTo>
                      <a:pt x="60"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7" name="Freeform 2511">
                <a:extLst>
                  <a:ext uri="{FF2B5EF4-FFF2-40B4-BE49-F238E27FC236}">
                    <a16:creationId xmlns:a16="http://schemas.microsoft.com/office/drawing/2014/main" id="{597054A9-3255-4C4D-9381-A0270677FBA1}"/>
                  </a:ext>
                </a:extLst>
              </p:cNvPr>
              <p:cNvSpPr>
                <a:spLocks/>
              </p:cNvSpPr>
              <p:nvPr/>
            </p:nvSpPr>
            <p:spPr bwMode="auto">
              <a:xfrm>
                <a:off x="1306" y="2700"/>
                <a:ext cx="600" cy="510"/>
              </a:xfrm>
              <a:custGeom>
                <a:avLst/>
                <a:gdLst>
                  <a:gd name="T0" fmla="*/ 540 w 600"/>
                  <a:gd name="T1" fmla="*/ 90 h 510"/>
                  <a:gd name="T2" fmla="*/ 600 w 600"/>
                  <a:gd name="T3" fmla="*/ 270 h 510"/>
                  <a:gd name="T4" fmla="*/ 480 w 600"/>
                  <a:gd name="T5" fmla="*/ 270 h 510"/>
                  <a:gd name="T6" fmla="*/ 570 w 600"/>
                  <a:gd name="T7" fmla="*/ 420 h 510"/>
                  <a:gd name="T8" fmla="*/ 510 w 600"/>
                  <a:gd name="T9" fmla="*/ 510 h 510"/>
                  <a:gd name="T10" fmla="*/ 420 w 600"/>
                  <a:gd name="T11" fmla="*/ 360 h 510"/>
                  <a:gd name="T12" fmla="*/ 240 w 600"/>
                  <a:gd name="T13" fmla="*/ 450 h 510"/>
                  <a:gd name="T14" fmla="*/ 300 w 600"/>
                  <a:gd name="T15" fmla="*/ 270 h 510"/>
                  <a:gd name="T16" fmla="*/ 150 w 600"/>
                  <a:gd name="T17" fmla="*/ 420 h 510"/>
                  <a:gd name="T18" fmla="*/ 180 w 600"/>
                  <a:gd name="T19" fmla="*/ 300 h 510"/>
                  <a:gd name="T20" fmla="*/ 30 w 600"/>
                  <a:gd name="T21" fmla="*/ 360 h 510"/>
                  <a:gd name="T22" fmla="*/ 0 w 600"/>
                  <a:gd name="T23" fmla="*/ 510 h 510"/>
                  <a:gd name="T24" fmla="*/ 180 w 600"/>
                  <a:gd name="T25" fmla="*/ 210 h 510"/>
                  <a:gd name="T26" fmla="*/ 60 w 600"/>
                  <a:gd name="T27" fmla="*/ 120 h 510"/>
                  <a:gd name="T28" fmla="*/ 0 w 600"/>
                  <a:gd name="T29" fmla="*/ 210 h 510"/>
                  <a:gd name="T30" fmla="*/ 0 w 600"/>
                  <a:gd name="T31" fmla="*/ 0 h 510"/>
                  <a:gd name="T32" fmla="*/ 180 w 600"/>
                  <a:gd name="T33" fmla="*/ 30 h 510"/>
                  <a:gd name="T34" fmla="*/ 270 w 600"/>
                  <a:gd name="T35" fmla="*/ 120 h 510"/>
                  <a:gd name="T36" fmla="*/ 390 w 600"/>
                  <a:gd name="T37" fmla="*/ 150 h 510"/>
                  <a:gd name="T38" fmla="*/ 540 w 600"/>
                  <a:gd name="T39" fmla="*/ 9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0" h="510">
                    <a:moveTo>
                      <a:pt x="540" y="90"/>
                    </a:moveTo>
                    <a:lnTo>
                      <a:pt x="600" y="270"/>
                    </a:lnTo>
                    <a:lnTo>
                      <a:pt x="480" y="270"/>
                    </a:lnTo>
                    <a:lnTo>
                      <a:pt x="570" y="420"/>
                    </a:lnTo>
                    <a:lnTo>
                      <a:pt x="510" y="510"/>
                    </a:lnTo>
                    <a:lnTo>
                      <a:pt x="420" y="360"/>
                    </a:lnTo>
                    <a:lnTo>
                      <a:pt x="240" y="450"/>
                    </a:lnTo>
                    <a:lnTo>
                      <a:pt x="300" y="270"/>
                    </a:lnTo>
                    <a:lnTo>
                      <a:pt x="150" y="420"/>
                    </a:lnTo>
                    <a:lnTo>
                      <a:pt x="180" y="300"/>
                    </a:lnTo>
                    <a:lnTo>
                      <a:pt x="30" y="360"/>
                    </a:lnTo>
                    <a:lnTo>
                      <a:pt x="0" y="510"/>
                    </a:lnTo>
                    <a:lnTo>
                      <a:pt x="180" y="210"/>
                    </a:lnTo>
                    <a:lnTo>
                      <a:pt x="60" y="120"/>
                    </a:lnTo>
                    <a:lnTo>
                      <a:pt x="0" y="210"/>
                    </a:lnTo>
                    <a:lnTo>
                      <a:pt x="0" y="0"/>
                    </a:lnTo>
                    <a:lnTo>
                      <a:pt x="180" y="30"/>
                    </a:lnTo>
                    <a:lnTo>
                      <a:pt x="270" y="120"/>
                    </a:lnTo>
                    <a:lnTo>
                      <a:pt x="390" y="150"/>
                    </a:lnTo>
                    <a:lnTo>
                      <a:pt x="54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8" name="Freeform 2512">
                <a:extLst>
                  <a:ext uri="{FF2B5EF4-FFF2-40B4-BE49-F238E27FC236}">
                    <a16:creationId xmlns:a16="http://schemas.microsoft.com/office/drawing/2014/main" id="{BBB6A667-C647-404E-942B-1E669D9906E0}"/>
                  </a:ext>
                </a:extLst>
              </p:cNvPr>
              <p:cNvSpPr>
                <a:spLocks/>
              </p:cNvSpPr>
              <p:nvPr/>
            </p:nvSpPr>
            <p:spPr bwMode="auto">
              <a:xfrm>
                <a:off x="1636" y="2700"/>
                <a:ext cx="539" cy="360"/>
              </a:xfrm>
              <a:custGeom>
                <a:avLst/>
                <a:gdLst>
                  <a:gd name="T0" fmla="*/ 90 w 539"/>
                  <a:gd name="T1" fmla="*/ 360 h 360"/>
                  <a:gd name="T2" fmla="*/ 60 w 539"/>
                  <a:gd name="T3" fmla="*/ 150 h 360"/>
                  <a:gd name="T4" fmla="*/ 0 w 539"/>
                  <a:gd name="T5" fmla="*/ 0 h 360"/>
                  <a:gd name="T6" fmla="*/ 210 w 539"/>
                  <a:gd name="T7" fmla="*/ 90 h 360"/>
                  <a:gd name="T8" fmla="*/ 360 w 539"/>
                  <a:gd name="T9" fmla="*/ 180 h 360"/>
                  <a:gd name="T10" fmla="*/ 270 w 539"/>
                  <a:gd name="T11" fmla="*/ 270 h 360"/>
                  <a:gd name="T12" fmla="*/ 450 w 539"/>
                  <a:gd name="T13" fmla="*/ 330 h 360"/>
                  <a:gd name="T14" fmla="*/ 509 w 539"/>
                  <a:gd name="T15" fmla="*/ 210 h 360"/>
                  <a:gd name="T16" fmla="*/ 360 w 539"/>
                  <a:gd name="T17" fmla="*/ 60 h 360"/>
                  <a:gd name="T18" fmla="*/ 539 w 539"/>
                  <a:gd name="T1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360">
                    <a:moveTo>
                      <a:pt x="90" y="360"/>
                    </a:moveTo>
                    <a:lnTo>
                      <a:pt x="60" y="150"/>
                    </a:lnTo>
                    <a:lnTo>
                      <a:pt x="0" y="0"/>
                    </a:lnTo>
                    <a:lnTo>
                      <a:pt x="210" y="90"/>
                    </a:lnTo>
                    <a:lnTo>
                      <a:pt x="360" y="180"/>
                    </a:lnTo>
                    <a:lnTo>
                      <a:pt x="270" y="270"/>
                    </a:lnTo>
                    <a:lnTo>
                      <a:pt x="450" y="330"/>
                    </a:lnTo>
                    <a:lnTo>
                      <a:pt x="509" y="210"/>
                    </a:lnTo>
                    <a:lnTo>
                      <a:pt x="360" y="60"/>
                    </a:lnTo>
                    <a:lnTo>
                      <a:pt x="53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29" name="Freeform 2513">
                <a:extLst>
                  <a:ext uri="{FF2B5EF4-FFF2-40B4-BE49-F238E27FC236}">
                    <a16:creationId xmlns:a16="http://schemas.microsoft.com/office/drawing/2014/main" id="{7D54AA93-D24E-440C-9E77-6F99E6A98299}"/>
                  </a:ext>
                </a:extLst>
              </p:cNvPr>
              <p:cNvSpPr>
                <a:spLocks/>
              </p:cNvSpPr>
              <p:nvPr/>
            </p:nvSpPr>
            <p:spPr bwMode="auto">
              <a:xfrm>
                <a:off x="1456" y="3120"/>
                <a:ext cx="360" cy="90"/>
              </a:xfrm>
              <a:custGeom>
                <a:avLst/>
                <a:gdLst>
                  <a:gd name="T0" fmla="*/ 360 w 360"/>
                  <a:gd name="T1" fmla="*/ 90 h 90"/>
                  <a:gd name="T2" fmla="*/ 90 w 360"/>
                  <a:gd name="T3" fmla="*/ 30 h 90"/>
                  <a:gd name="T4" fmla="*/ 0 w 360"/>
                  <a:gd name="T5" fmla="*/ 0 h 90"/>
                </a:gdLst>
                <a:ahLst/>
                <a:cxnLst>
                  <a:cxn ang="0">
                    <a:pos x="T0" y="T1"/>
                  </a:cxn>
                  <a:cxn ang="0">
                    <a:pos x="T2" y="T3"/>
                  </a:cxn>
                  <a:cxn ang="0">
                    <a:pos x="T4" y="T5"/>
                  </a:cxn>
                </a:cxnLst>
                <a:rect l="0" t="0" r="r" b="b"/>
                <a:pathLst>
                  <a:path w="360" h="90">
                    <a:moveTo>
                      <a:pt x="360" y="90"/>
                    </a:moveTo>
                    <a:lnTo>
                      <a:pt x="9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0" name="Freeform 2514">
                <a:extLst>
                  <a:ext uri="{FF2B5EF4-FFF2-40B4-BE49-F238E27FC236}">
                    <a16:creationId xmlns:a16="http://schemas.microsoft.com/office/drawing/2014/main" id="{AAE9C4D2-6A1A-4CC5-9EC6-F29F34D2679A}"/>
                  </a:ext>
                </a:extLst>
              </p:cNvPr>
              <p:cNvSpPr>
                <a:spLocks/>
              </p:cNvSpPr>
              <p:nvPr/>
            </p:nvSpPr>
            <p:spPr bwMode="auto">
              <a:xfrm>
                <a:off x="1306" y="2820"/>
                <a:ext cx="270" cy="240"/>
              </a:xfrm>
              <a:custGeom>
                <a:avLst/>
                <a:gdLst>
                  <a:gd name="T0" fmla="*/ 30 w 270"/>
                  <a:gd name="T1" fmla="*/ 240 h 240"/>
                  <a:gd name="T2" fmla="*/ 0 w 270"/>
                  <a:gd name="T3" fmla="*/ 90 h 240"/>
                  <a:gd name="T4" fmla="*/ 270 w 270"/>
                  <a:gd name="T5" fmla="*/ 0 h 240"/>
                </a:gdLst>
                <a:ahLst/>
                <a:cxnLst>
                  <a:cxn ang="0">
                    <a:pos x="T0" y="T1"/>
                  </a:cxn>
                  <a:cxn ang="0">
                    <a:pos x="T2" y="T3"/>
                  </a:cxn>
                  <a:cxn ang="0">
                    <a:pos x="T4" y="T5"/>
                  </a:cxn>
                </a:cxnLst>
                <a:rect l="0" t="0" r="r" b="b"/>
                <a:pathLst>
                  <a:path w="270" h="240">
                    <a:moveTo>
                      <a:pt x="30" y="240"/>
                    </a:moveTo>
                    <a:lnTo>
                      <a:pt x="0" y="90"/>
                    </a:lnTo>
                    <a:lnTo>
                      <a:pt x="27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1" name="Freeform 2515">
                <a:extLst>
                  <a:ext uri="{FF2B5EF4-FFF2-40B4-BE49-F238E27FC236}">
                    <a16:creationId xmlns:a16="http://schemas.microsoft.com/office/drawing/2014/main" id="{31681D70-3531-4DC4-91E6-14B2A7929A6C}"/>
                  </a:ext>
                </a:extLst>
              </p:cNvPr>
              <p:cNvSpPr>
                <a:spLocks/>
              </p:cNvSpPr>
              <p:nvPr/>
            </p:nvSpPr>
            <p:spPr bwMode="auto">
              <a:xfrm>
                <a:off x="1486" y="2490"/>
                <a:ext cx="210" cy="240"/>
              </a:xfrm>
              <a:custGeom>
                <a:avLst/>
                <a:gdLst>
                  <a:gd name="T0" fmla="*/ 0 w 210"/>
                  <a:gd name="T1" fmla="*/ 240 h 240"/>
                  <a:gd name="T2" fmla="*/ 150 w 210"/>
                  <a:gd name="T3" fmla="*/ 210 h 240"/>
                  <a:gd name="T4" fmla="*/ 120 w 210"/>
                  <a:gd name="T5" fmla="*/ 0 h 240"/>
                  <a:gd name="T6" fmla="*/ 210 w 210"/>
                  <a:gd name="T7" fmla="*/ 60 h 240"/>
                </a:gdLst>
                <a:ahLst/>
                <a:cxnLst>
                  <a:cxn ang="0">
                    <a:pos x="T0" y="T1"/>
                  </a:cxn>
                  <a:cxn ang="0">
                    <a:pos x="T2" y="T3"/>
                  </a:cxn>
                  <a:cxn ang="0">
                    <a:pos x="T4" y="T5"/>
                  </a:cxn>
                  <a:cxn ang="0">
                    <a:pos x="T6" y="T7"/>
                  </a:cxn>
                </a:cxnLst>
                <a:rect l="0" t="0" r="r" b="b"/>
                <a:pathLst>
                  <a:path w="210" h="240">
                    <a:moveTo>
                      <a:pt x="0" y="240"/>
                    </a:moveTo>
                    <a:lnTo>
                      <a:pt x="150" y="210"/>
                    </a:lnTo>
                    <a:lnTo>
                      <a:pt x="120" y="0"/>
                    </a:lnTo>
                    <a:lnTo>
                      <a:pt x="21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2" name="Freeform 2516">
                <a:extLst>
                  <a:ext uri="{FF2B5EF4-FFF2-40B4-BE49-F238E27FC236}">
                    <a16:creationId xmlns:a16="http://schemas.microsoft.com/office/drawing/2014/main" id="{A75AFB66-98CC-4E98-81F8-7ABC8E153543}"/>
                  </a:ext>
                </a:extLst>
              </p:cNvPr>
              <p:cNvSpPr>
                <a:spLocks/>
              </p:cNvSpPr>
              <p:nvPr/>
            </p:nvSpPr>
            <p:spPr bwMode="auto">
              <a:xfrm>
                <a:off x="1276" y="2190"/>
                <a:ext cx="510" cy="630"/>
              </a:xfrm>
              <a:custGeom>
                <a:avLst/>
                <a:gdLst>
                  <a:gd name="T0" fmla="*/ 270 w 510"/>
                  <a:gd name="T1" fmla="*/ 450 h 630"/>
                  <a:gd name="T2" fmla="*/ 0 w 510"/>
                  <a:gd name="T3" fmla="*/ 390 h 630"/>
                  <a:gd name="T4" fmla="*/ 30 w 510"/>
                  <a:gd name="T5" fmla="*/ 300 h 630"/>
                  <a:gd name="T6" fmla="*/ 210 w 510"/>
                  <a:gd name="T7" fmla="*/ 330 h 630"/>
                  <a:gd name="T8" fmla="*/ 150 w 510"/>
                  <a:gd name="T9" fmla="*/ 120 h 630"/>
                  <a:gd name="T10" fmla="*/ 90 w 510"/>
                  <a:gd name="T11" fmla="*/ 210 h 630"/>
                  <a:gd name="T12" fmla="*/ 60 w 510"/>
                  <a:gd name="T13" fmla="*/ 120 h 630"/>
                  <a:gd name="T14" fmla="*/ 180 w 510"/>
                  <a:gd name="T15" fmla="*/ 0 h 630"/>
                  <a:gd name="T16" fmla="*/ 300 w 510"/>
                  <a:gd name="T17" fmla="*/ 120 h 630"/>
                  <a:gd name="T18" fmla="*/ 510 w 510"/>
                  <a:gd name="T19" fmla="*/ 150 h 630"/>
                  <a:gd name="T20" fmla="*/ 330 w 510"/>
                  <a:gd name="T21" fmla="*/ 300 h 630"/>
                  <a:gd name="T22" fmla="*/ 270 w 510"/>
                  <a:gd name="T23" fmla="*/ 450 h 630"/>
                  <a:gd name="T24" fmla="*/ 30 w 510"/>
                  <a:gd name="T25" fmla="*/ 510 h 630"/>
                  <a:gd name="T26" fmla="*/ 300 w 510"/>
                  <a:gd name="T27" fmla="*/ 120 h 630"/>
                  <a:gd name="T28" fmla="*/ 30 w 510"/>
                  <a:gd name="T29" fmla="*/ 300 h 630"/>
                  <a:gd name="T30" fmla="*/ 90 w 510"/>
                  <a:gd name="T31" fmla="*/ 210 h 630"/>
                  <a:gd name="T32" fmla="*/ 330 w 510"/>
                  <a:gd name="T33" fmla="*/ 300 h 630"/>
                  <a:gd name="T34" fmla="*/ 210 w 510"/>
                  <a:gd name="T35" fmla="*/ 330 h 630"/>
                  <a:gd name="T36" fmla="*/ 270 w 510"/>
                  <a:gd name="T37" fmla="*/ 450 h 630"/>
                  <a:gd name="T38" fmla="*/ 210 w 510"/>
                  <a:gd name="T39" fmla="*/ 540 h 630"/>
                  <a:gd name="T40" fmla="*/ 90 w 510"/>
                  <a:gd name="T41"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0" h="630">
                    <a:moveTo>
                      <a:pt x="270" y="450"/>
                    </a:moveTo>
                    <a:lnTo>
                      <a:pt x="0" y="390"/>
                    </a:lnTo>
                    <a:lnTo>
                      <a:pt x="30" y="300"/>
                    </a:lnTo>
                    <a:lnTo>
                      <a:pt x="210" y="330"/>
                    </a:lnTo>
                    <a:lnTo>
                      <a:pt x="150" y="120"/>
                    </a:lnTo>
                    <a:lnTo>
                      <a:pt x="90" y="210"/>
                    </a:lnTo>
                    <a:lnTo>
                      <a:pt x="60" y="120"/>
                    </a:lnTo>
                    <a:lnTo>
                      <a:pt x="180" y="0"/>
                    </a:lnTo>
                    <a:lnTo>
                      <a:pt x="300" y="120"/>
                    </a:lnTo>
                    <a:lnTo>
                      <a:pt x="510" y="150"/>
                    </a:lnTo>
                    <a:lnTo>
                      <a:pt x="330" y="300"/>
                    </a:lnTo>
                    <a:lnTo>
                      <a:pt x="270" y="450"/>
                    </a:lnTo>
                    <a:lnTo>
                      <a:pt x="30" y="510"/>
                    </a:lnTo>
                    <a:lnTo>
                      <a:pt x="300" y="120"/>
                    </a:lnTo>
                    <a:lnTo>
                      <a:pt x="30" y="300"/>
                    </a:lnTo>
                    <a:lnTo>
                      <a:pt x="90" y="210"/>
                    </a:lnTo>
                    <a:lnTo>
                      <a:pt x="330" y="300"/>
                    </a:lnTo>
                    <a:lnTo>
                      <a:pt x="210" y="330"/>
                    </a:lnTo>
                    <a:lnTo>
                      <a:pt x="270" y="450"/>
                    </a:lnTo>
                    <a:lnTo>
                      <a:pt x="210" y="540"/>
                    </a:lnTo>
                    <a:lnTo>
                      <a:pt x="90" y="6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3" name="Freeform 2517">
                <a:extLst>
                  <a:ext uri="{FF2B5EF4-FFF2-40B4-BE49-F238E27FC236}">
                    <a16:creationId xmlns:a16="http://schemas.microsoft.com/office/drawing/2014/main" id="{D64D2C8B-EB72-413B-8E7C-8F89495C1AE4}"/>
                  </a:ext>
                </a:extLst>
              </p:cNvPr>
              <p:cNvSpPr>
                <a:spLocks/>
              </p:cNvSpPr>
              <p:nvPr/>
            </p:nvSpPr>
            <p:spPr bwMode="auto">
              <a:xfrm>
                <a:off x="1576" y="2190"/>
                <a:ext cx="420" cy="480"/>
              </a:xfrm>
              <a:custGeom>
                <a:avLst/>
                <a:gdLst>
                  <a:gd name="T0" fmla="*/ 420 w 420"/>
                  <a:gd name="T1" fmla="*/ 150 h 480"/>
                  <a:gd name="T2" fmla="*/ 120 w 420"/>
                  <a:gd name="T3" fmla="*/ 0 h 480"/>
                  <a:gd name="T4" fmla="*/ 0 w 420"/>
                  <a:gd name="T5" fmla="*/ 120 h 480"/>
                  <a:gd name="T6" fmla="*/ 240 w 420"/>
                  <a:gd name="T7" fmla="*/ 300 h 480"/>
                  <a:gd name="T8" fmla="*/ 120 w 420"/>
                  <a:gd name="T9" fmla="*/ 360 h 480"/>
                  <a:gd name="T10" fmla="*/ 210 w 420"/>
                  <a:gd name="T11" fmla="*/ 480 h 480"/>
                </a:gdLst>
                <a:ahLst/>
                <a:cxnLst>
                  <a:cxn ang="0">
                    <a:pos x="T0" y="T1"/>
                  </a:cxn>
                  <a:cxn ang="0">
                    <a:pos x="T2" y="T3"/>
                  </a:cxn>
                  <a:cxn ang="0">
                    <a:pos x="T4" y="T5"/>
                  </a:cxn>
                  <a:cxn ang="0">
                    <a:pos x="T6" y="T7"/>
                  </a:cxn>
                  <a:cxn ang="0">
                    <a:pos x="T8" y="T9"/>
                  </a:cxn>
                  <a:cxn ang="0">
                    <a:pos x="T10" y="T11"/>
                  </a:cxn>
                </a:cxnLst>
                <a:rect l="0" t="0" r="r" b="b"/>
                <a:pathLst>
                  <a:path w="420" h="480">
                    <a:moveTo>
                      <a:pt x="420" y="150"/>
                    </a:moveTo>
                    <a:lnTo>
                      <a:pt x="120" y="0"/>
                    </a:lnTo>
                    <a:lnTo>
                      <a:pt x="0" y="120"/>
                    </a:lnTo>
                    <a:lnTo>
                      <a:pt x="240" y="300"/>
                    </a:lnTo>
                    <a:lnTo>
                      <a:pt x="120" y="360"/>
                    </a:lnTo>
                    <a:lnTo>
                      <a:pt x="210" y="4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4" name="Freeform 2518">
                <a:extLst>
                  <a:ext uri="{FF2B5EF4-FFF2-40B4-BE49-F238E27FC236}">
                    <a16:creationId xmlns:a16="http://schemas.microsoft.com/office/drawing/2014/main" id="{2F7351E8-D3BB-47EA-A24F-5DB556D4A494}"/>
                  </a:ext>
                </a:extLst>
              </p:cNvPr>
              <p:cNvSpPr>
                <a:spLocks/>
              </p:cNvSpPr>
              <p:nvPr/>
            </p:nvSpPr>
            <p:spPr bwMode="auto">
              <a:xfrm>
                <a:off x="1336" y="1620"/>
                <a:ext cx="420" cy="690"/>
              </a:xfrm>
              <a:custGeom>
                <a:avLst/>
                <a:gdLst>
                  <a:gd name="T0" fmla="*/ 240 w 420"/>
                  <a:gd name="T1" fmla="*/ 690 h 690"/>
                  <a:gd name="T2" fmla="*/ 210 w 420"/>
                  <a:gd name="T3" fmla="*/ 540 h 690"/>
                  <a:gd name="T4" fmla="*/ 150 w 420"/>
                  <a:gd name="T5" fmla="*/ 270 h 690"/>
                  <a:gd name="T6" fmla="*/ 60 w 420"/>
                  <a:gd name="T7" fmla="*/ 0 h 690"/>
                  <a:gd name="T8" fmla="*/ 0 w 420"/>
                  <a:gd name="T9" fmla="*/ 180 h 690"/>
                  <a:gd name="T10" fmla="*/ 150 w 420"/>
                  <a:gd name="T11" fmla="*/ 270 h 690"/>
                  <a:gd name="T12" fmla="*/ 330 w 420"/>
                  <a:gd name="T13" fmla="*/ 390 h 690"/>
                  <a:gd name="T14" fmla="*/ 270 w 420"/>
                  <a:gd name="T15" fmla="*/ 180 h 690"/>
                  <a:gd name="T16" fmla="*/ 420 w 420"/>
                  <a:gd name="T17" fmla="*/ 30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690">
                    <a:moveTo>
                      <a:pt x="240" y="690"/>
                    </a:moveTo>
                    <a:lnTo>
                      <a:pt x="210" y="540"/>
                    </a:lnTo>
                    <a:lnTo>
                      <a:pt x="150" y="270"/>
                    </a:lnTo>
                    <a:lnTo>
                      <a:pt x="60" y="0"/>
                    </a:lnTo>
                    <a:lnTo>
                      <a:pt x="0" y="180"/>
                    </a:lnTo>
                    <a:lnTo>
                      <a:pt x="150" y="270"/>
                    </a:lnTo>
                    <a:lnTo>
                      <a:pt x="330" y="390"/>
                    </a:lnTo>
                    <a:lnTo>
                      <a:pt x="270" y="180"/>
                    </a:lnTo>
                    <a:lnTo>
                      <a:pt x="42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5" name="Freeform 2519">
                <a:extLst>
                  <a:ext uri="{FF2B5EF4-FFF2-40B4-BE49-F238E27FC236}">
                    <a16:creationId xmlns:a16="http://schemas.microsoft.com/office/drawing/2014/main" id="{184F615B-D180-45AF-9A32-882DE2250F55}"/>
                  </a:ext>
                </a:extLst>
              </p:cNvPr>
              <p:cNvSpPr>
                <a:spLocks/>
              </p:cNvSpPr>
              <p:nvPr/>
            </p:nvSpPr>
            <p:spPr bwMode="auto">
              <a:xfrm>
                <a:off x="1666" y="2010"/>
                <a:ext cx="420" cy="180"/>
              </a:xfrm>
              <a:custGeom>
                <a:avLst/>
                <a:gdLst>
                  <a:gd name="T0" fmla="*/ 210 w 420"/>
                  <a:gd name="T1" fmla="*/ 150 h 180"/>
                  <a:gd name="T2" fmla="*/ 0 w 420"/>
                  <a:gd name="T3" fmla="*/ 0 h 180"/>
                  <a:gd name="T4" fmla="*/ 30 w 420"/>
                  <a:gd name="T5" fmla="*/ 180 h 180"/>
                  <a:gd name="T6" fmla="*/ 243 w 420"/>
                  <a:gd name="T7" fmla="*/ 3 h 180"/>
                  <a:gd name="T8" fmla="*/ 390 w 420"/>
                  <a:gd name="T9" fmla="*/ 120 h 180"/>
                  <a:gd name="T10" fmla="*/ 420 w 420"/>
                  <a:gd name="T11" fmla="*/ 0 h 180"/>
                </a:gdLst>
                <a:ahLst/>
                <a:cxnLst>
                  <a:cxn ang="0">
                    <a:pos x="T0" y="T1"/>
                  </a:cxn>
                  <a:cxn ang="0">
                    <a:pos x="T2" y="T3"/>
                  </a:cxn>
                  <a:cxn ang="0">
                    <a:pos x="T4" y="T5"/>
                  </a:cxn>
                  <a:cxn ang="0">
                    <a:pos x="T6" y="T7"/>
                  </a:cxn>
                  <a:cxn ang="0">
                    <a:pos x="T8" y="T9"/>
                  </a:cxn>
                  <a:cxn ang="0">
                    <a:pos x="T10" y="T11"/>
                  </a:cxn>
                </a:cxnLst>
                <a:rect l="0" t="0" r="r" b="b"/>
                <a:pathLst>
                  <a:path w="420" h="180">
                    <a:moveTo>
                      <a:pt x="210" y="150"/>
                    </a:moveTo>
                    <a:lnTo>
                      <a:pt x="0" y="0"/>
                    </a:lnTo>
                    <a:lnTo>
                      <a:pt x="30" y="180"/>
                    </a:lnTo>
                    <a:lnTo>
                      <a:pt x="243" y="3"/>
                    </a:lnTo>
                    <a:lnTo>
                      <a:pt x="390" y="12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6" name="Line 2520">
                <a:extLst>
                  <a:ext uri="{FF2B5EF4-FFF2-40B4-BE49-F238E27FC236}">
                    <a16:creationId xmlns:a16="http://schemas.microsoft.com/office/drawing/2014/main" id="{A66A779A-FCA7-45AD-A065-EAD6D152A66B}"/>
                  </a:ext>
                </a:extLst>
              </p:cNvPr>
              <p:cNvSpPr>
                <a:spLocks noChangeShapeType="1"/>
              </p:cNvSpPr>
              <p:nvPr/>
            </p:nvSpPr>
            <p:spPr bwMode="auto">
              <a:xfrm>
                <a:off x="1696" y="2190"/>
                <a:ext cx="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7" name="Line 2521">
                <a:extLst>
                  <a:ext uri="{FF2B5EF4-FFF2-40B4-BE49-F238E27FC236}">
                    <a16:creationId xmlns:a16="http://schemas.microsoft.com/office/drawing/2014/main" id="{7ED0D93B-5813-4301-B36E-17B1E53F46B9}"/>
                  </a:ext>
                </a:extLst>
              </p:cNvPr>
              <p:cNvSpPr>
                <a:spLocks noChangeShapeType="1"/>
              </p:cNvSpPr>
              <p:nvPr/>
            </p:nvSpPr>
            <p:spPr bwMode="auto">
              <a:xfrm flipH="1" flipV="1">
                <a:off x="1426" y="2310"/>
                <a:ext cx="39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8" name="Freeform 2522">
                <a:extLst>
                  <a:ext uri="{FF2B5EF4-FFF2-40B4-BE49-F238E27FC236}">
                    <a16:creationId xmlns:a16="http://schemas.microsoft.com/office/drawing/2014/main" id="{F7112768-08F0-42E0-BA42-DB0AF1B39233}"/>
                  </a:ext>
                </a:extLst>
              </p:cNvPr>
              <p:cNvSpPr>
                <a:spLocks/>
              </p:cNvSpPr>
              <p:nvPr/>
            </p:nvSpPr>
            <p:spPr bwMode="auto">
              <a:xfrm>
                <a:off x="1276" y="1950"/>
                <a:ext cx="180" cy="360"/>
              </a:xfrm>
              <a:custGeom>
                <a:avLst/>
                <a:gdLst>
                  <a:gd name="T0" fmla="*/ 180 w 180"/>
                  <a:gd name="T1" fmla="*/ 240 h 360"/>
                  <a:gd name="T2" fmla="*/ 0 w 180"/>
                  <a:gd name="T3" fmla="*/ 210 h 360"/>
                  <a:gd name="T4" fmla="*/ 60 w 180"/>
                  <a:gd name="T5" fmla="*/ 360 h 360"/>
                  <a:gd name="T6" fmla="*/ 180 w 180"/>
                  <a:gd name="T7" fmla="*/ 90 h 360"/>
                  <a:gd name="T8" fmla="*/ 90 w 180"/>
                  <a:gd name="T9" fmla="*/ 0 h 360"/>
                </a:gdLst>
                <a:ahLst/>
                <a:cxnLst>
                  <a:cxn ang="0">
                    <a:pos x="T0" y="T1"/>
                  </a:cxn>
                  <a:cxn ang="0">
                    <a:pos x="T2" y="T3"/>
                  </a:cxn>
                  <a:cxn ang="0">
                    <a:pos x="T4" y="T5"/>
                  </a:cxn>
                  <a:cxn ang="0">
                    <a:pos x="T6" y="T7"/>
                  </a:cxn>
                  <a:cxn ang="0">
                    <a:pos x="T8" y="T9"/>
                  </a:cxn>
                </a:cxnLst>
                <a:rect l="0" t="0" r="r" b="b"/>
                <a:pathLst>
                  <a:path w="180" h="360">
                    <a:moveTo>
                      <a:pt x="180" y="240"/>
                    </a:moveTo>
                    <a:lnTo>
                      <a:pt x="0" y="210"/>
                    </a:lnTo>
                    <a:lnTo>
                      <a:pt x="60" y="360"/>
                    </a:lnTo>
                    <a:lnTo>
                      <a:pt x="180" y="90"/>
                    </a:lnTo>
                    <a:lnTo>
                      <a:pt x="9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9" name="Line 2523">
                <a:extLst>
                  <a:ext uri="{FF2B5EF4-FFF2-40B4-BE49-F238E27FC236}">
                    <a16:creationId xmlns:a16="http://schemas.microsoft.com/office/drawing/2014/main" id="{3D43FFC8-9229-4360-B507-ACE9176A0C59}"/>
                  </a:ext>
                </a:extLst>
              </p:cNvPr>
              <p:cNvSpPr>
                <a:spLocks noChangeShapeType="1"/>
              </p:cNvSpPr>
              <p:nvPr/>
            </p:nvSpPr>
            <p:spPr bwMode="auto">
              <a:xfrm flipV="1">
                <a:off x="1276" y="204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0" name="Freeform 2524">
                <a:extLst>
                  <a:ext uri="{FF2B5EF4-FFF2-40B4-BE49-F238E27FC236}">
                    <a16:creationId xmlns:a16="http://schemas.microsoft.com/office/drawing/2014/main" id="{46FC9402-7FCA-4D74-8C40-D833514ECE38}"/>
                  </a:ext>
                </a:extLst>
              </p:cNvPr>
              <p:cNvSpPr>
                <a:spLocks/>
              </p:cNvSpPr>
              <p:nvPr/>
            </p:nvSpPr>
            <p:spPr bwMode="auto">
              <a:xfrm>
                <a:off x="1606" y="1260"/>
                <a:ext cx="180" cy="330"/>
              </a:xfrm>
              <a:custGeom>
                <a:avLst/>
                <a:gdLst>
                  <a:gd name="T0" fmla="*/ 60 w 180"/>
                  <a:gd name="T1" fmla="*/ 0 h 330"/>
                  <a:gd name="T2" fmla="*/ 180 w 180"/>
                  <a:gd name="T3" fmla="*/ 30 h 330"/>
                  <a:gd name="T4" fmla="*/ 0 w 180"/>
                  <a:gd name="T5" fmla="*/ 120 h 330"/>
                  <a:gd name="T6" fmla="*/ 180 w 180"/>
                  <a:gd name="T7" fmla="*/ 330 h 330"/>
                </a:gdLst>
                <a:ahLst/>
                <a:cxnLst>
                  <a:cxn ang="0">
                    <a:pos x="T0" y="T1"/>
                  </a:cxn>
                  <a:cxn ang="0">
                    <a:pos x="T2" y="T3"/>
                  </a:cxn>
                  <a:cxn ang="0">
                    <a:pos x="T4" y="T5"/>
                  </a:cxn>
                  <a:cxn ang="0">
                    <a:pos x="T6" y="T7"/>
                  </a:cxn>
                </a:cxnLst>
                <a:rect l="0" t="0" r="r" b="b"/>
                <a:pathLst>
                  <a:path w="180" h="330">
                    <a:moveTo>
                      <a:pt x="60" y="0"/>
                    </a:moveTo>
                    <a:lnTo>
                      <a:pt x="180" y="30"/>
                    </a:lnTo>
                    <a:lnTo>
                      <a:pt x="0" y="120"/>
                    </a:lnTo>
                    <a:lnTo>
                      <a:pt x="18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1" name="Freeform 2525">
                <a:extLst>
                  <a:ext uri="{FF2B5EF4-FFF2-40B4-BE49-F238E27FC236}">
                    <a16:creationId xmlns:a16="http://schemas.microsoft.com/office/drawing/2014/main" id="{85DE2F1F-FAE6-4512-BEBA-A02E72A9F7C9}"/>
                  </a:ext>
                </a:extLst>
              </p:cNvPr>
              <p:cNvSpPr>
                <a:spLocks/>
              </p:cNvSpPr>
              <p:nvPr/>
            </p:nvSpPr>
            <p:spPr bwMode="auto">
              <a:xfrm>
                <a:off x="1576" y="1530"/>
                <a:ext cx="180" cy="150"/>
              </a:xfrm>
              <a:custGeom>
                <a:avLst/>
                <a:gdLst>
                  <a:gd name="T0" fmla="*/ 60 w 180"/>
                  <a:gd name="T1" fmla="*/ 0 h 150"/>
                  <a:gd name="T2" fmla="*/ 180 w 180"/>
                  <a:gd name="T3" fmla="*/ 150 h 150"/>
                  <a:gd name="T4" fmla="*/ 0 w 180"/>
                  <a:gd name="T5" fmla="*/ 150 h 150"/>
                </a:gdLst>
                <a:ahLst/>
                <a:cxnLst>
                  <a:cxn ang="0">
                    <a:pos x="T0" y="T1"/>
                  </a:cxn>
                  <a:cxn ang="0">
                    <a:pos x="T2" y="T3"/>
                  </a:cxn>
                  <a:cxn ang="0">
                    <a:pos x="T4" y="T5"/>
                  </a:cxn>
                </a:cxnLst>
                <a:rect l="0" t="0" r="r" b="b"/>
                <a:pathLst>
                  <a:path w="180" h="150">
                    <a:moveTo>
                      <a:pt x="60" y="0"/>
                    </a:moveTo>
                    <a:lnTo>
                      <a:pt x="180" y="15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2" name="Freeform 2526">
                <a:extLst>
                  <a:ext uri="{FF2B5EF4-FFF2-40B4-BE49-F238E27FC236}">
                    <a16:creationId xmlns:a16="http://schemas.microsoft.com/office/drawing/2014/main" id="{CFA4CB4D-0A2F-4FED-823E-79740AACE787}"/>
                  </a:ext>
                </a:extLst>
              </p:cNvPr>
              <p:cNvSpPr>
                <a:spLocks/>
              </p:cNvSpPr>
              <p:nvPr/>
            </p:nvSpPr>
            <p:spPr bwMode="auto">
              <a:xfrm>
                <a:off x="1276" y="1110"/>
                <a:ext cx="690" cy="300"/>
              </a:xfrm>
              <a:custGeom>
                <a:avLst/>
                <a:gdLst>
                  <a:gd name="T0" fmla="*/ 330 w 690"/>
                  <a:gd name="T1" fmla="*/ 270 h 300"/>
                  <a:gd name="T2" fmla="*/ 240 w 690"/>
                  <a:gd name="T3" fmla="*/ 150 h 300"/>
                  <a:gd name="T4" fmla="*/ 180 w 690"/>
                  <a:gd name="T5" fmla="*/ 300 h 300"/>
                  <a:gd name="T6" fmla="*/ 0 w 690"/>
                  <a:gd name="T7" fmla="*/ 210 h 300"/>
                  <a:gd name="T8" fmla="*/ 60 w 690"/>
                  <a:gd name="T9" fmla="*/ 90 h 300"/>
                  <a:gd name="T10" fmla="*/ 240 w 690"/>
                  <a:gd name="T11" fmla="*/ 150 h 300"/>
                  <a:gd name="T12" fmla="*/ 360 w 690"/>
                  <a:gd name="T13" fmla="*/ 30 h 300"/>
                  <a:gd name="T14" fmla="*/ 390 w 690"/>
                  <a:gd name="T15" fmla="*/ 150 h 300"/>
                  <a:gd name="T16" fmla="*/ 480 w 690"/>
                  <a:gd name="T17" fmla="*/ 30 h 300"/>
                  <a:gd name="T18" fmla="*/ 690 w 690"/>
                  <a:gd name="T19" fmla="*/ 120 h 300"/>
                  <a:gd name="T20" fmla="*/ 600 w 690"/>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300">
                    <a:moveTo>
                      <a:pt x="330" y="270"/>
                    </a:moveTo>
                    <a:lnTo>
                      <a:pt x="240" y="150"/>
                    </a:lnTo>
                    <a:lnTo>
                      <a:pt x="180" y="300"/>
                    </a:lnTo>
                    <a:lnTo>
                      <a:pt x="0" y="210"/>
                    </a:lnTo>
                    <a:lnTo>
                      <a:pt x="60" y="90"/>
                    </a:lnTo>
                    <a:lnTo>
                      <a:pt x="240" y="150"/>
                    </a:lnTo>
                    <a:lnTo>
                      <a:pt x="360" y="30"/>
                    </a:lnTo>
                    <a:lnTo>
                      <a:pt x="390" y="150"/>
                    </a:lnTo>
                    <a:lnTo>
                      <a:pt x="480" y="30"/>
                    </a:lnTo>
                    <a:lnTo>
                      <a:pt x="690" y="120"/>
                    </a:lnTo>
                    <a:lnTo>
                      <a:pt x="60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3" name="Freeform 2527">
                <a:extLst>
                  <a:ext uri="{FF2B5EF4-FFF2-40B4-BE49-F238E27FC236}">
                    <a16:creationId xmlns:a16="http://schemas.microsoft.com/office/drawing/2014/main" id="{35820B95-1B26-4A0B-BD87-E272D041902C}"/>
                  </a:ext>
                </a:extLst>
              </p:cNvPr>
              <p:cNvSpPr>
                <a:spLocks/>
              </p:cNvSpPr>
              <p:nvPr/>
            </p:nvSpPr>
            <p:spPr bwMode="auto">
              <a:xfrm>
                <a:off x="1276" y="600"/>
                <a:ext cx="480" cy="600"/>
              </a:xfrm>
              <a:custGeom>
                <a:avLst/>
                <a:gdLst>
                  <a:gd name="T0" fmla="*/ 60 w 480"/>
                  <a:gd name="T1" fmla="*/ 480 h 600"/>
                  <a:gd name="T2" fmla="*/ 180 w 480"/>
                  <a:gd name="T3" fmla="*/ 540 h 600"/>
                  <a:gd name="T4" fmla="*/ 300 w 480"/>
                  <a:gd name="T5" fmla="*/ 420 h 600"/>
                  <a:gd name="T6" fmla="*/ 330 w 480"/>
                  <a:gd name="T7" fmla="*/ 180 h 600"/>
                  <a:gd name="T8" fmla="*/ 390 w 480"/>
                  <a:gd name="T9" fmla="*/ 300 h 600"/>
                  <a:gd name="T10" fmla="*/ 480 w 480"/>
                  <a:gd name="T11" fmla="*/ 210 h 600"/>
                  <a:gd name="T12" fmla="*/ 420 w 480"/>
                  <a:gd name="T13" fmla="*/ 60 h 600"/>
                  <a:gd name="T14" fmla="*/ 300 w 480"/>
                  <a:gd name="T15" fmla="*/ 60 h 600"/>
                  <a:gd name="T16" fmla="*/ 210 w 480"/>
                  <a:gd name="T17" fmla="*/ 0 h 600"/>
                  <a:gd name="T18" fmla="*/ 150 w 480"/>
                  <a:gd name="T19" fmla="*/ 90 h 600"/>
                  <a:gd name="T20" fmla="*/ 180 w 480"/>
                  <a:gd name="T21" fmla="*/ 270 h 600"/>
                  <a:gd name="T22" fmla="*/ 30 w 480"/>
                  <a:gd name="T23" fmla="*/ 150 h 600"/>
                  <a:gd name="T24" fmla="*/ 0 w 480"/>
                  <a:gd name="T25" fmla="*/ 300 h 600"/>
                  <a:gd name="T26" fmla="*/ 120 w 480"/>
                  <a:gd name="T27" fmla="*/ 390 h 600"/>
                  <a:gd name="T28" fmla="*/ 60 w 480"/>
                  <a:gd name="T29" fmla="*/ 480 h 600"/>
                  <a:gd name="T30" fmla="*/ 60 w 480"/>
                  <a:gd name="T3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0" h="600">
                    <a:moveTo>
                      <a:pt x="60" y="480"/>
                    </a:moveTo>
                    <a:lnTo>
                      <a:pt x="180" y="540"/>
                    </a:lnTo>
                    <a:lnTo>
                      <a:pt x="300" y="420"/>
                    </a:lnTo>
                    <a:lnTo>
                      <a:pt x="330" y="180"/>
                    </a:lnTo>
                    <a:lnTo>
                      <a:pt x="390" y="300"/>
                    </a:lnTo>
                    <a:lnTo>
                      <a:pt x="480" y="210"/>
                    </a:lnTo>
                    <a:lnTo>
                      <a:pt x="420" y="60"/>
                    </a:lnTo>
                    <a:lnTo>
                      <a:pt x="300" y="60"/>
                    </a:lnTo>
                    <a:lnTo>
                      <a:pt x="210" y="0"/>
                    </a:lnTo>
                    <a:lnTo>
                      <a:pt x="150" y="90"/>
                    </a:lnTo>
                    <a:lnTo>
                      <a:pt x="180" y="270"/>
                    </a:lnTo>
                    <a:lnTo>
                      <a:pt x="30" y="150"/>
                    </a:lnTo>
                    <a:lnTo>
                      <a:pt x="0" y="300"/>
                    </a:lnTo>
                    <a:lnTo>
                      <a:pt x="120" y="390"/>
                    </a:lnTo>
                    <a:lnTo>
                      <a:pt x="60" y="480"/>
                    </a:lnTo>
                    <a:lnTo>
                      <a:pt x="60" y="6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4" name="Freeform 2528">
                <a:extLst>
                  <a:ext uri="{FF2B5EF4-FFF2-40B4-BE49-F238E27FC236}">
                    <a16:creationId xmlns:a16="http://schemas.microsoft.com/office/drawing/2014/main" id="{60A818B1-9F27-4476-A11A-0EFA165AFD06}"/>
                  </a:ext>
                </a:extLst>
              </p:cNvPr>
              <p:cNvSpPr>
                <a:spLocks/>
              </p:cNvSpPr>
              <p:nvPr/>
            </p:nvSpPr>
            <p:spPr bwMode="auto">
              <a:xfrm>
                <a:off x="1336" y="450"/>
                <a:ext cx="90" cy="240"/>
              </a:xfrm>
              <a:custGeom>
                <a:avLst/>
                <a:gdLst>
                  <a:gd name="T0" fmla="*/ 0 w 90"/>
                  <a:gd name="T1" fmla="*/ 120 h 240"/>
                  <a:gd name="T2" fmla="*/ 90 w 90"/>
                  <a:gd name="T3" fmla="*/ 240 h 240"/>
                  <a:gd name="T4" fmla="*/ 60 w 90"/>
                  <a:gd name="T5" fmla="*/ 0 h 240"/>
                </a:gdLst>
                <a:ahLst/>
                <a:cxnLst>
                  <a:cxn ang="0">
                    <a:pos x="T0" y="T1"/>
                  </a:cxn>
                  <a:cxn ang="0">
                    <a:pos x="T2" y="T3"/>
                  </a:cxn>
                  <a:cxn ang="0">
                    <a:pos x="T4" y="T5"/>
                  </a:cxn>
                </a:cxnLst>
                <a:rect l="0" t="0" r="r" b="b"/>
                <a:pathLst>
                  <a:path w="90" h="240">
                    <a:moveTo>
                      <a:pt x="0" y="120"/>
                    </a:moveTo>
                    <a:lnTo>
                      <a:pt x="90" y="24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5" name="Freeform 2529">
                <a:extLst>
                  <a:ext uri="{FF2B5EF4-FFF2-40B4-BE49-F238E27FC236}">
                    <a16:creationId xmlns:a16="http://schemas.microsoft.com/office/drawing/2014/main" id="{D3D4825A-9490-4668-878A-EC37BF519AF2}"/>
                  </a:ext>
                </a:extLst>
              </p:cNvPr>
              <p:cNvSpPr>
                <a:spLocks/>
              </p:cNvSpPr>
              <p:nvPr/>
            </p:nvSpPr>
            <p:spPr bwMode="auto">
              <a:xfrm>
                <a:off x="1426" y="690"/>
                <a:ext cx="180" cy="330"/>
              </a:xfrm>
              <a:custGeom>
                <a:avLst/>
                <a:gdLst>
                  <a:gd name="T0" fmla="*/ 180 w 180"/>
                  <a:gd name="T1" fmla="*/ 90 h 330"/>
                  <a:gd name="T2" fmla="*/ 30 w 180"/>
                  <a:gd name="T3" fmla="*/ 180 h 330"/>
                  <a:gd name="T4" fmla="*/ 150 w 180"/>
                  <a:gd name="T5" fmla="*/ 330 h 330"/>
                  <a:gd name="T6" fmla="*/ 0 w 180"/>
                  <a:gd name="T7" fmla="*/ 0 h 330"/>
                </a:gdLst>
                <a:ahLst/>
                <a:cxnLst>
                  <a:cxn ang="0">
                    <a:pos x="T0" y="T1"/>
                  </a:cxn>
                  <a:cxn ang="0">
                    <a:pos x="T2" y="T3"/>
                  </a:cxn>
                  <a:cxn ang="0">
                    <a:pos x="T4" y="T5"/>
                  </a:cxn>
                  <a:cxn ang="0">
                    <a:pos x="T6" y="T7"/>
                  </a:cxn>
                </a:cxnLst>
                <a:rect l="0" t="0" r="r" b="b"/>
                <a:pathLst>
                  <a:path w="180" h="330">
                    <a:moveTo>
                      <a:pt x="180" y="90"/>
                    </a:moveTo>
                    <a:lnTo>
                      <a:pt x="30" y="180"/>
                    </a:lnTo>
                    <a:lnTo>
                      <a:pt x="15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6" name="Freeform 2530">
                <a:extLst>
                  <a:ext uri="{FF2B5EF4-FFF2-40B4-BE49-F238E27FC236}">
                    <a16:creationId xmlns:a16="http://schemas.microsoft.com/office/drawing/2014/main" id="{D6467133-62A1-4522-A290-A93BD5FDCF39}"/>
                  </a:ext>
                </a:extLst>
              </p:cNvPr>
              <p:cNvSpPr>
                <a:spLocks/>
              </p:cNvSpPr>
              <p:nvPr/>
            </p:nvSpPr>
            <p:spPr bwMode="auto">
              <a:xfrm>
                <a:off x="1576" y="900"/>
                <a:ext cx="210" cy="240"/>
              </a:xfrm>
              <a:custGeom>
                <a:avLst/>
                <a:gdLst>
                  <a:gd name="T0" fmla="*/ 90 w 210"/>
                  <a:gd name="T1" fmla="*/ 0 h 240"/>
                  <a:gd name="T2" fmla="*/ 60 w 210"/>
                  <a:gd name="T3" fmla="*/ 240 h 240"/>
                  <a:gd name="T4" fmla="*/ 0 w 210"/>
                  <a:gd name="T5" fmla="*/ 120 h 240"/>
                  <a:gd name="T6" fmla="*/ 180 w 210"/>
                  <a:gd name="T7" fmla="*/ 240 h 240"/>
                  <a:gd name="T8" fmla="*/ 210 w 210"/>
                  <a:gd name="T9" fmla="*/ 60 h 240"/>
                  <a:gd name="T10" fmla="*/ 90 w 210"/>
                  <a:gd name="T11" fmla="*/ 0 h 240"/>
                </a:gdLst>
                <a:ahLst/>
                <a:cxnLst>
                  <a:cxn ang="0">
                    <a:pos x="T0" y="T1"/>
                  </a:cxn>
                  <a:cxn ang="0">
                    <a:pos x="T2" y="T3"/>
                  </a:cxn>
                  <a:cxn ang="0">
                    <a:pos x="T4" y="T5"/>
                  </a:cxn>
                  <a:cxn ang="0">
                    <a:pos x="T6" y="T7"/>
                  </a:cxn>
                  <a:cxn ang="0">
                    <a:pos x="T8" y="T9"/>
                  </a:cxn>
                  <a:cxn ang="0">
                    <a:pos x="T10" y="T11"/>
                  </a:cxn>
                </a:cxnLst>
                <a:rect l="0" t="0" r="r" b="b"/>
                <a:pathLst>
                  <a:path w="210" h="240">
                    <a:moveTo>
                      <a:pt x="90" y="0"/>
                    </a:moveTo>
                    <a:lnTo>
                      <a:pt x="60" y="240"/>
                    </a:lnTo>
                    <a:lnTo>
                      <a:pt x="0" y="120"/>
                    </a:lnTo>
                    <a:lnTo>
                      <a:pt x="180" y="240"/>
                    </a:lnTo>
                    <a:lnTo>
                      <a:pt x="210" y="6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7" name="Line 2531">
                <a:extLst>
                  <a:ext uri="{FF2B5EF4-FFF2-40B4-BE49-F238E27FC236}">
                    <a16:creationId xmlns:a16="http://schemas.microsoft.com/office/drawing/2014/main" id="{959B0319-02A6-449F-9B0B-3F2CD3720215}"/>
                  </a:ext>
                </a:extLst>
              </p:cNvPr>
              <p:cNvSpPr>
                <a:spLocks noChangeShapeType="1"/>
              </p:cNvSpPr>
              <p:nvPr/>
            </p:nvSpPr>
            <p:spPr bwMode="auto">
              <a:xfrm flipV="1">
                <a:off x="1576" y="960"/>
                <a:ext cx="21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8" name="Freeform 2532">
                <a:extLst>
                  <a:ext uri="{FF2B5EF4-FFF2-40B4-BE49-F238E27FC236}">
                    <a16:creationId xmlns:a16="http://schemas.microsoft.com/office/drawing/2014/main" id="{49B1494E-AC3F-4568-9EE4-2D73ACFAF002}"/>
                  </a:ext>
                </a:extLst>
              </p:cNvPr>
              <p:cNvSpPr>
                <a:spLocks/>
              </p:cNvSpPr>
              <p:nvPr/>
            </p:nvSpPr>
            <p:spPr bwMode="auto">
              <a:xfrm>
                <a:off x="1276" y="990"/>
                <a:ext cx="360" cy="330"/>
              </a:xfrm>
              <a:custGeom>
                <a:avLst/>
                <a:gdLst>
                  <a:gd name="T0" fmla="*/ 120 w 360"/>
                  <a:gd name="T1" fmla="*/ 0 h 330"/>
                  <a:gd name="T2" fmla="*/ 360 w 360"/>
                  <a:gd name="T3" fmla="*/ 150 h 330"/>
                  <a:gd name="T4" fmla="*/ 180 w 360"/>
                  <a:gd name="T5" fmla="*/ 150 h 330"/>
                  <a:gd name="T6" fmla="*/ 240 w 360"/>
                  <a:gd name="T7" fmla="*/ 270 h 330"/>
                  <a:gd name="T8" fmla="*/ 0 w 360"/>
                  <a:gd name="T9" fmla="*/ 330 h 330"/>
                </a:gdLst>
                <a:ahLst/>
                <a:cxnLst>
                  <a:cxn ang="0">
                    <a:pos x="T0" y="T1"/>
                  </a:cxn>
                  <a:cxn ang="0">
                    <a:pos x="T2" y="T3"/>
                  </a:cxn>
                  <a:cxn ang="0">
                    <a:pos x="T4" y="T5"/>
                  </a:cxn>
                  <a:cxn ang="0">
                    <a:pos x="T6" y="T7"/>
                  </a:cxn>
                  <a:cxn ang="0">
                    <a:pos x="T8" y="T9"/>
                  </a:cxn>
                </a:cxnLst>
                <a:rect l="0" t="0" r="r" b="b"/>
                <a:pathLst>
                  <a:path w="360" h="330">
                    <a:moveTo>
                      <a:pt x="120" y="0"/>
                    </a:moveTo>
                    <a:lnTo>
                      <a:pt x="360" y="150"/>
                    </a:lnTo>
                    <a:lnTo>
                      <a:pt x="180" y="150"/>
                    </a:lnTo>
                    <a:lnTo>
                      <a:pt x="24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9" name="Line 2533">
                <a:extLst>
                  <a:ext uri="{FF2B5EF4-FFF2-40B4-BE49-F238E27FC236}">
                    <a16:creationId xmlns:a16="http://schemas.microsoft.com/office/drawing/2014/main" id="{85ED0CCF-B969-40ED-B29B-453267924413}"/>
                  </a:ext>
                </a:extLst>
              </p:cNvPr>
              <p:cNvSpPr>
                <a:spLocks noChangeShapeType="1"/>
              </p:cNvSpPr>
              <p:nvPr/>
            </p:nvSpPr>
            <p:spPr bwMode="auto">
              <a:xfrm flipV="1">
                <a:off x="1336" y="1140"/>
                <a:ext cx="12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0" name="Freeform 2534">
                <a:extLst>
                  <a:ext uri="{FF2B5EF4-FFF2-40B4-BE49-F238E27FC236}">
                    <a16:creationId xmlns:a16="http://schemas.microsoft.com/office/drawing/2014/main" id="{BA6FDBE5-72FE-46A6-A149-CB874F2DB583}"/>
                  </a:ext>
                </a:extLst>
              </p:cNvPr>
              <p:cNvSpPr>
                <a:spLocks/>
              </p:cNvSpPr>
              <p:nvPr/>
            </p:nvSpPr>
            <p:spPr bwMode="auto">
              <a:xfrm>
                <a:off x="1336" y="1290"/>
                <a:ext cx="450" cy="600"/>
              </a:xfrm>
              <a:custGeom>
                <a:avLst/>
                <a:gdLst>
                  <a:gd name="T0" fmla="*/ 270 w 450"/>
                  <a:gd name="T1" fmla="*/ 510 h 600"/>
                  <a:gd name="T2" fmla="*/ 150 w 450"/>
                  <a:gd name="T3" fmla="*/ 600 h 600"/>
                  <a:gd name="T4" fmla="*/ 270 w 450"/>
                  <a:gd name="T5" fmla="*/ 90 h 600"/>
                  <a:gd name="T6" fmla="*/ 60 w 450"/>
                  <a:gd name="T7" fmla="*/ 330 h 600"/>
                  <a:gd name="T8" fmla="*/ 0 w 450"/>
                  <a:gd name="T9" fmla="*/ 210 h 600"/>
                  <a:gd name="T10" fmla="*/ 120 w 450"/>
                  <a:gd name="T11" fmla="*/ 120 h 600"/>
                  <a:gd name="T12" fmla="*/ 240 w 450"/>
                  <a:gd name="T13" fmla="*/ 390 h 600"/>
                  <a:gd name="T14" fmla="*/ 300 w 450"/>
                  <a:gd name="T15" fmla="*/ 240 h 600"/>
                  <a:gd name="T16" fmla="*/ 450 w 45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 h="600">
                    <a:moveTo>
                      <a:pt x="270" y="510"/>
                    </a:moveTo>
                    <a:lnTo>
                      <a:pt x="150" y="600"/>
                    </a:lnTo>
                    <a:lnTo>
                      <a:pt x="270" y="90"/>
                    </a:lnTo>
                    <a:lnTo>
                      <a:pt x="60" y="330"/>
                    </a:lnTo>
                    <a:lnTo>
                      <a:pt x="0" y="210"/>
                    </a:lnTo>
                    <a:lnTo>
                      <a:pt x="120" y="120"/>
                    </a:lnTo>
                    <a:lnTo>
                      <a:pt x="240" y="390"/>
                    </a:lnTo>
                    <a:lnTo>
                      <a:pt x="300" y="24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1" name="Freeform 2535">
                <a:extLst>
                  <a:ext uri="{FF2B5EF4-FFF2-40B4-BE49-F238E27FC236}">
                    <a16:creationId xmlns:a16="http://schemas.microsoft.com/office/drawing/2014/main" id="{96F9F3EF-EF6A-4D78-A64B-F18FF8B7B6D4}"/>
                  </a:ext>
                </a:extLst>
              </p:cNvPr>
              <p:cNvSpPr>
                <a:spLocks/>
              </p:cNvSpPr>
              <p:nvPr/>
            </p:nvSpPr>
            <p:spPr bwMode="auto">
              <a:xfrm>
                <a:off x="1486" y="60"/>
                <a:ext cx="390" cy="540"/>
              </a:xfrm>
              <a:custGeom>
                <a:avLst/>
                <a:gdLst>
                  <a:gd name="T0" fmla="*/ 90 w 390"/>
                  <a:gd name="T1" fmla="*/ 210 h 540"/>
                  <a:gd name="T2" fmla="*/ 270 w 390"/>
                  <a:gd name="T3" fmla="*/ 0 h 540"/>
                  <a:gd name="T4" fmla="*/ 390 w 390"/>
                  <a:gd name="T5" fmla="*/ 90 h 540"/>
                  <a:gd name="T6" fmla="*/ 360 w 390"/>
                  <a:gd name="T7" fmla="*/ 240 h 540"/>
                  <a:gd name="T8" fmla="*/ 270 w 390"/>
                  <a:gd name="T9" fmla="*/ 210 h 540"/>
                  <a:gd name="T10" fmla="*/ 60 w 390"/>
                  <a:gd name="T11" fmla="*/ 360 h 540"/>
                  <a:gd name="T12" fmla="*/ 90 w 390"/>
                  <a:gd name="T13" fmla="*/ 210 h 540"/>
                  <a:gd name="T14" fmla="*/ 240 w 390"/>
                  <a:gd name="T15" fmla="*/ 300 h 540"/>
                  <a:gd name="T16" fmla="*/ 0 w 390"/>
                  <a:gd name="T1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40">
                    <a:moveTo>
                      <a:pt x="90" y="210"/>
                    </a:moveTo>
                    <a:lnTo>
                      <a:pt x="270" y="0"/>
                    </a:lnTo>
                    <a:lnTo>
                      <a:pt x="390" y="90"/>
                    </a:lnTo>
                    <a:lnTo>
                      <a:pt x="360" y="240"/>
                    </a:lnTo>
                    <a:lnTo>
                      <a:pt x="270" y="210"/>
                    </a:lnTo>
                    <a:lnTo>
                      <a:pt x="60" y="360"/>
                    </a:lnTo>
                    <a:lnTo>
                      <a:pt x="90" y="210"/>
                    </a:lnTo>
                    <a:lnTo>
                      <a:pt x="240" y="300"/>
                    </a:lnTo>
                    <a:lnTo>
                      <a:pt x="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2" name="Line 2536">
                <a:extLst>
                  <a:ext uri="{FF2B5EF4-FFF2-40B4-BE49-F238E27FC236}">
                    <a16:creationId xmlns:a16="http://schemas.microsoft.com/office/drawing/2014/main" id="{74B700ED-AC6B-4196-8C58-0B57BAD5FC61}"/>
                  </a:ext>
                </a:extLst>
              </p:cNvPr>
              <p:cNvSpPr>
                <a:spLocks noChangeShapeType="1"/>
              </p:cNvSpPr>
              <p:nvPr/>
            </p:nvSpPr>
            <p:spPr bwMode="auto">
              <a:xfrm>
                <a:off x="1276" y="12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3" name="Freeform 2537">
                <a:extLst>
                  <a:ext uri="{FF2B5EF4-FFF2-40B4-BE49-F238E27FC236}">
                    <a16:creationId xmlns:a16="http://schemas.microsoft.com/office/drawing/2014/main" id="{04373BF5-395B-4596-B966-672EC0AC958E}"/>
                  </a:ext>
                </a:extLst>
              </p:cNvPr>
              <p:cNvSpPr>
                <a:spLocks/>
              </p:cNvSpPr>
              <p:nvPr/>
            </p:nvSpPr>
            <p:spPr bwMode="auto">
              <a:xfrm>
                <a:off x="1306" y="420"/>
                <a:ext cx="300" cy="570"/>
              </a:xfrm>
              <a:custGeom>
                <a:avLst/>
                <a:gdLst>
                  <a:gd name="T0" fmla="*/ 90 w 300"/>
                  <a:gd name="T1" fmla="*/ 30 h 570"/>
                  <a:gd name="T2" fmla="*/ 240 w 300"/>
                  <a:gd name="T3" fmla="*/ 0 h 570"/>
                  <a:gd name="T4" fmla="*/ 180 w 300"/>
                  <a:gd name="T5" fmla="*/ 180 h 570"/>
                  <a:gd name="T6" fmla="*/ 90 w 300"/>
                  <a:gd name="T7" fmla="*/ 30 h 570"/>
                  <a:gd name="T8" fmla="*/ 30 w 300"/>
                  <a:gd name="T9" fmla="*/ 150 h 570"/>
                  <a:gd name="T10" fmla="*/ 0 w 300"/>
                  <a:gd name="T11" fmla="*/ 330 h 570"/>
                  <a:gd name="T12" fmla="*/ 90 w 300"/>
                  <a:gd name="T13" fmla="*/ 570 h 570"/>
                  <a:gd name="T14" fmla="*/ 150 w 300"/>
                  <a:gd name="T15" fmla="*/ 450 h 570"/>
                  <a:gd name="T16" fmla="*/ 270 w 300"/>
                  <a:gd name="T17" fmla="*/ 240 h 570"/>
                  <a:gd name="T18" fmla="*/ 300 w 300"/>
                  <a:gd name="T19" fmla="*/ 120 h 570"/>
                  <a:gd name="T20" fmla="*/ 240 w 30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570">
                    <a:moveTo>
                      <a:pt x="90" y="30"/>
                    </a:moveTo>
                    <a:lnTo>
                      <a:pt x="240" y="0"/>
                    </a:lnTo>
                    <a:lnTo>
                      <a:pt x="180" y="180"/>
                    </a:lnTo>
                    <a:lnTo>
                      <a:pt x="90" y="30"/>
                    </a:lnTo>
                    <a:lnTo>
                      <a:pt x="30" y="150"/>
                    </a:lnTo>
                    <a:lnTo>
                      <a:pt x="0" y="330"/>
                    </a:lnTo>
                    <a:lnTo>
                      <a:pt x="90" y="570"/>
                    </a:lnTo>
                    <a:lnTo>
                      <a:pt x="150" y="450"/>
                    </a:lnTo>
                    <a:lnTo>
                      <a:pt x="270" y="240"/>
                    </a:lnTo>
                    <a:lnTo>
                      <a:pt x="300" y="12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4" name="Freeform 2538">
                <a:extLst>
                  <a:ext uri="{FF2B5EF4-FFF2-40B4-BE49-F238E27FC236}">
                    <a16:creationId xmlns:a16="http://schemas.microsoft.com/office/drawing/2014/main" id="{19D224D4-5C0A-42DC-9AA0-B718AA770CCC}"/>
                  </a:ext>
                </a:extLst>
              </p:cNvPr>
              <p:cNvSpPr>
                <a:spLocks/>
              </p:cNvSpPr>
              <p:nvPr/>
            </p:nvSpPr>
            <p:spPr bwMode="auto">
              <a:xfrm>
                <a:off x="1696" y="300"/>
                <a:ext cx="150" cy="360"/>
              </a:xfrm>
              <a:custGeom>
                <a:avLst/>
                <a:gdLst>
                  <a:gd name="T0" fmla="*/ 0 w 150"/>
                  <a:gd name="T1" fmla="*/ 360 h 360"/>
                  <a:gd name="T2" fmla="*/ 30 w 150"/>
                  <a:gd name="T3" fmla="*/ 180 h 360"/>
                  <a:gd name="T4" fmla="*/ 150 w 150"/>
                  <a:gd name="T5" fmla="*/ 0 h 360"/>
                  <a:gd name="T6" fmla="*/ 30 w 150"/>
                  <a:gd name="T7" fmla="*/ 60 h 360"/>
                </a:gdLst>
                <a:ahLst/>
                <a:cxnLst>
                  <a:cxn ang="0">
                    <a:pos x="T0" y="T1"/>
                  </a:cxn>
                  <a:cxn ang="0">
                    <a:pos x="T2" y="T3"/>
                  </a:cxn>
                  <a:cxn ang="0">
                    <a:pos x="T4" y="T5"/>
                  </a:cxn>
                  <a:cxn ang="0">
                    <a:pos x="T6" y="T7"/>
                  </a:cxn>
                </a:cxnLst>
                <a:rect l="0" t="0" r="r" b="b"/>
                <a:pathLst>
                  <a:path w="150" h="360">
                    <a:moveTo>
                      <a:pt x="0" y="360"/>
                    </a:moveTo>
                    <a:lnTo>
                      <a:pt x="30" y="180"/>
                    </a:lnTo>
                    <a:lnTo>
                      <a:pt x="150" y="0"/>
                    </a:lnTo>
                    <a:lnTo>
                      <a:pt x="3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5" name="Freeform 2539">
                <a:extLst>
                  <a:ext uri="{FF2B5EF4-FFF2-40B4-BE49-F238E27FC236}">
                    <a16:creationId xmlns:a16="http://schemas.microsoft.com/office/drawing/2014/main" id="{00A29E9D-7517-420C-9EB1-529CC872042F}"/>
                  </a:ext>
                </a:extLst>
              </p:cNvPr>
              <p:cNvSpPr>
                <a:spLocks/>
              </p:cNvSpPr>
              <p:nvPr/>
            </p:nvSpPr>
            <p:spPr bwMode="auto">
              <a:xfrm>
                <a:off x="1456" y="60"/>
                <a:ext cx="390" cy="240"/>
              </a:xfrm>
              <a:custGeom>
                <a:avLst/>
                <a:gdLst>
                  <a:gd name="T0" fmla="*/ 390 w 390"/>
                  <a:gd name="T1" fmla="*/ 210 h 240"/>
                  <a:gd name="T2" fmla="*/ 300 w 390"/>
                  <a:gd name="T3" fmla="*/ 0 h 240"/>
                  <a:gd name="T4" fmla="*/ 0 w 390"/>
                  <a:gd name="T5" fmla="*/ 240 h 240"/>
                </a:gdLst>
                <a:ahLst/>
                <a:cxnLst>
                  <a:cxn ang="0">
                    <a:pos x="T0" y="T1"/>
                  </a:cxn>
                  <a:cxn ang="0">
                    <a:pos x="T2" y="T3"/>
                  </a:cxn>
                  <a:cxn ang="0">
                    <a:pos x="T4" y="T5"/>
                  </a:cxn>
                </a:cxnLst>
                <a:rect l="0" t="0" r="r" b="b"/>
                <a:pathLst>
                  <a:path w="390" h="240">
                    <a:moveTo>
                      <a:pt x="390" y="210"/>
                    </a:moveTo>
                    <a:lnTo>
                      <a:pt x="300" y="0"/>
                    </a:lnTo>
                    <a:lnTo>
                      <a:pt x="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6" name="Freeform 2540">
                <a:extLst>
                  <a:ext uri="{FF2B5EF4-FFF2-40B4-BE49-F238E27FC236}">
                    <a16:creationId xmlns:a16="http://schemas.microsoft.com/office/drawing/2014/main" id="{1BB35091-C0EF-49C3-91DC-64D3BE1F4311}"/>
                  </a:ext>
                </a:extLst>
              </p:cNvPr>
              <p:cNvSpPr>
                <a:spLocks/>
              </p:cNvSpPr>
              <p:nvPr/>
            </p:nvSpPr>
            <p:spPr bwMode="auto">
              <a:xfrm>
                <a:off x="3974" y="2700"/>
                <a:ext cx="480" cy="360"/>
              </a:xfrm>
              <a:custGeom>
                <a:avLst/>
                <a:gdLst>
                  <a:gd name="T0" fmla="*/ 0 w 480"/>
                  <a:gd name="T1" fmla="*/ 300 h 360"/>
                  <a:gd name="T2" fmla="*/ 30 w 480"/>
                  <a:gd name="T3" fmla="*/ 150 h 360"/>
                  <a:gd name="T4" fmla="*/ 180 w 480"/>
                  <a:gd name="T5" fmla="*/ 360 h 360"/>
                  <a:gd name="T6" fmla="*/ 330 w 480"/>
                  <a:gd name="T7" fmla="*/ 300 h 360"/>
                  <a:gd name="T8" fmla="*/ 330 w 480"/>
                  <a:gd name="T9" fmla="*/ 210 h 360"/>
                  <a:gd name="T10" fmla="*/ 150 w 480"/>
                  <a:gd name="T11" fmla="*/ 210 h 360"/>
                  <a:gd name="T12" fmla="*/ 420 w 480"/>
                  <a:gd name="T13" fmla="*/ 120 h 360"/>
                  <a:gd name="T14" fmla="*/ 450 w 480"/>
                  <a:gd name="T15" fmla="*/ 270 h 360"/>
                  <a:gd name="T16" fmla="*/ 480 w 480"/>
                  <a:gd name="T1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360">
                    <a:moveTo>
                      <a:pt x="0" y="300"/>
                    </a:moveTo>
                    <a:lnTo>
                      <a:pt x="30" y="150"/>
                    </a:lnTo>
                    <a:lnTo>
                      <a:pt x="180" y="360"/>
                    </a:lnTo>
                    <a:lnTo>
                      <a:pt x="330" y="300"/>
                    </a:lnTo>
                    <a:lnTo>
                      <a:pt x="330" y="210"/>
                    </a:lnTo>
                    <a:lnTo>
                      <a:pt x="150" y="210"/>
                    </a:lnTo>
                    <a:lnTo>
                      <a:pt x="420" y="120"/>
                    </a:lnTo>
                    <a:lnTo>
                      <a:pt x="450" y="270"/>
                    </a:lnTo>
                    <a:lnTo>
                      <a:pt x="4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7" name="Freeform 2541">
                <a:extLst>
                  <a:ext uri="{FF2B5EF4-FFF2-40B4-BE49-F238E27FC236}">
                    <a16:creationId xmlns:a16="http://schemas.microsoft.com/office/drawing/2014/main" id="{F4FC7495-9DE0-45B9-8255-339F7C1FE1B5}"/>
                  </a:ext>
                </a:extLst>
              </p:cNvPr>
              <p:cNvSpPr>
                <a:spLocks/>
              </p:cNvSpPr>
              <p:nvPr/>
            </p:nvSpPr>
            <p:spPr bwMode="auto">
              <a:xfrm>
                <a:off x="3824" y="1950"/>
                <a:ext cx="570" cy="1260"/>
              </a:xfrm>
              <a:custGeom>
                <a:avLst/>
                <a:gdLst>
                  <a:gd name="T0" fmla="*/ 540 w 570"/>
                  <a:gd name="T1" fmla="*/ 1200 h 1260"/>
                  <a:gd name="T2" fmla="*/ 300 w 570"/>
                  <a:gd name="T3" fmla="*/ 1260 h 1260"/>
                  <a:gd name="T4" fmla="*/ 210 w 570"/>
                  <a:gd name="T5" fmla="*/ 1170 h 1260"/>
                  <a:gd name="T6" fmla="*/ 90 w 570"/>
                  <a:gd name="T7" fmla="*/ 1140 h 1260"/>
                  <a:gd name="T8" fmla="*/ 0 w 570"/>
                  <a:gd name="T9" fmla="*/ 990 h 1260"/>
                  <a:gd name="T10" fmla="*/ 180 w 570"/>
                  <a:gd name="T11" fmla="*/ 900 h 1260"/>
                  <a:gd name="T12" fmla="*/ 180 w 570"/>
                  <a:gd name="T13" fmla="*/ 720 h 1260"/>
                  <a:gd name="T14" fmla="*/ 300 w 570"/>
                  <a:gd name="T15" fmla="*/ 960 h 1260"/>
                  <a:gd name="T16" fmla="*/ 300 w 570"/>
                  <a:gd name="T17" fmla="*/ 750 h 1260"/>
                  <a:gd name="T18" fmla="*/ 480 w 570"/>
                  <a:gd name="T19" fmla="*/ 570 h 1260"/>
                  <a:gd name="T20" fmla="*/ 270 w 570"/>
                  <a:gd name="T21" fmla="*/ 630 h 1260"/>
                  <a:gd name="T22" fmla="*/ 150 w 570"/>
                  <a:gd name="T23" fmla="*/ 600 h 1260"/>
                  <a:gd name="T24" fmla="*/ 360 w 570"/>
                  <a:gd name="T25" fmla="*/ 450 h 1260"/>
                  <a:gd name="T26" fmla="*/ 240 w 570"/>
                  <a:gd name="T27" fmla="*/ 300 h 1260"/>
                  <a:gd name="T28" fmla="*/ 120 w 570"/>
                  <a:gd name="T29" fmla="*/ 360 h 1260"/>
                  <a:gd name="T30" fmla="*/ 360 w 570"/>
                  <a:gd name="T31" fmla="*/ 0 h 1260"/>
                  <a:gd name="T32" fmla="*/ 450 w 570"/>
                  <a:gd name="T33" fmla="*/ 210 h 1260"/>
                  <a:gd name="T34" fmla="*/ 570 w 570"/>
                  <a:gd name="T35" fmla="*/ 60 h 1260"/>
                  <a:gd name="T36" fmla="*/ 540 w 570"/>
                  <a:gd name="T37" fmla="*/ 420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1260">
                    <a:moveTo>
                      <a:pt x="540" y="1200"/>
                    </a:moveTo>
                    <a:lnTo>
                      <a:pt x="300" y="1260"/>
                    </a:lnTo>
                    <a:lnTo>
                      <a:pt x="210" y="1170"/>
                    </a:lnTo>
                    <a:lnTo>
                      <a:pt x="90" y="1140"/>
                    </a:lnTo>
                    <a:lnTo>
                      <a:pt x="0" y="990"/>
                    </a:lnTo>
                    <a:lnTo>
                      <a:pt x="180" y="900"/>
                    </a:lnTo>
                    <a:lnTo>
                      <a:pt x="180" y="720"/>
                    </a:lnTo>
                    <a:lnTo>
                      <a:pt x="300" y="960"/>
                    </a:lnTo>
                    <a:lnTo>
                      <a:pt x="300" y="750"/>
                    </a:lnTo>
                    <a:lnTo>
                      <a:pt x="480" y="570"/>
                    </a:lnTo>
                    <a:lnTo>
                      <a:pt x="270" y="630"/>
                    </a:lnTo>
                    <a:lnTo>
                      <a:pt x="150" y="600"/>
                    </a:lnTo>
                    <a:lnTo>
                      <a:pt x="360" y="450"/>
                    </a:lnTo>
                    <a:lnTo>
                      <a:pt x="240" y="300"/>
                    </a:lnTo>
                    <a:lnTo>
                      <a:pt x="120" y="360"/>
                    </a:lnTo>
                    <a:lnTo>
                      <a:pt x="360" y="0"/>
                    </a:lnTo>
                    <a:lnTo>
                      <a:pt x="450" y="210"/>
                    </a:lnTo>
                    <a:lnTo>
                      <a:pt x="570" y="60"/>
                    </a:lnTo>
                    <a:lnTo>
                      <a:pt x="540"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8" name="Freeform 2542">
                <a:extLst>
                  <a:ext uri="{FF2B5EF4-FFF2-40B4-BE49-F238E27FC236}">
                    <a16:creationId xmlns:a16="http://schemas.microsoft.com/office/drawing/2014/main" id="{EF7B2218-CA5C-4FFA-9C2B-F5E9FCA37F40}"/>
                  </a:ext>
                </a:extLst>
              </p:cNvPr>
              <p:cNvSpPr>
                <a:spLocks/>
              </p:cNvSpPr>
              <p:nvPr/>
            </p:nvSpPr>
            <p:spPr bwMode="auto">
              <a:xfrm>
                <a:off x="3585" y="1890"/>
                <a:ext cx="869" cy="1320"/>
              </a:xfrm>
              <a:custGeom>
                <a:avLst/>
                <a:gdLst>
                  <a:gd name="T0" fmla="*/ 869 w 869"/>
                  <a:gd name="T1" fmla="*/ 660 h 1320"/>
                  <a:gd name="T2" fmla="*/ 839 w 869"/>
                  <a:gd name="T3" fmla="*/ 300 h 1320"/>
                  <a:gd name="T4" fmla="*/ 809 w 869"/>
                  <a:gd name="T5" fmla="*/ 120 h 1320"/>
                  <a:gd name="T6" fmla="*/ 719 w 869"/>
                  <a:gd name="T7" fmla="*/ 0 h 1320"/>
                  <a:gd name="T8" fmla="*/ 599 w 869"/>
                  <a:gd name="T9" fmla="*/ 60 h 1320"/>
                  <a:gd name="T10" fmla="*/ 599 w 869"/>
                  <a:gd name="T11" fmla="*/ 150 h 1320"/>
                  <a:gd name="T12" fmla="*/ 509 w 869"/>
                  <a:gd name="T13" fmla="*/ 270 h 1320"/>
                  <a:gd name="T14" fmla="*/ 479 w 869"/>
                  <a:gd name="T15" fmla="*/ 360 h 1320"/>
                  <a:gd name="T16" fmla="*/ 599 w 869"/>
                  <a:gd name="T17" fmla="*/ 300 h 1320"/>
                  <a:gd name="T18" fmla="*/ 689 w 869"/>
                  <a:gd name="T19" fmla="*/ 270 h 1320"/>
                  <a:gd name="T20" fmla="*/ 659 w 869"/>
                  <a:gd name="T21" fmla="*/ 420 h 1320"/>
                  <a:gd name="T22" fmla="*/ 779 w 869"/>
                  <a:gd name="T23" fmla="*/ 480 h 1320"/>
                  <a:gd name="T24" fmla="*/ 869 w 869"/>
                  <a:gd name="T25" fmla="*/ 660 h 1320"/>
                  <a:gd name="T26" fmla="*/ 719 w 869"/>
                  <a:gd name="T27" fmla="*/ 630 h 1320"/>
                  <a:gd name="T28" fmla="*/ 599 w 869"/>
                  <a:gd name="T29" fmla="*/ 510 h 1320"/>
                  <a:gd name="T30" fmla="*/ 539 w 869"/>
                  <a:gd name="T31" fmla="*/ 600 h 1320"/>
                  <a:gd name="T32" fmla="*/ 509 w 869"/>
                  <a:gd name="T33" fmla="*/ 690 h 1320"/>
                  <a:gd name="T34" fmla="*/ 539 w 869"/>
                  <a:gd name="T35" fmla="*/ 810 h 1320"/>
                  <a:gd name="T36" fmla="*/ 269 w 869"/>
                  <a:gd name="T37" fmla="*/ 870 h 1320"/>
                  <a:gd name="T38" fmla="*/ 419 w 869"/>
                  <a:gd name="T39" fmla="*/ 960 h 1320"/>
                  <a:gd name="T40" fmla="*/ 539 w 869"/>
                  <a:gd name="T41" fmla="*/ 1020 h 1320"/>
                  <a:gd name="T42" fmla="*/ 599 w 869"/>
                  <a:gd name="T43" fmla="*/ 930 h 1320"/>
                  <a:gd name="T44" fmla="*/ 719 w 869"/>
                  <a:gd name="T45" fmla="*/ 840 h 1320"/>
                  <a:gd name="T46" fmla="*/ 779 w 869"/>
                  <a:gd name="T47" fmla="*/ 750 h 1320"/>
                  <a:gd name="T48" fmla="*/ 869 w 869"/>
                  <a:gd name="T49" fmla="*/ 810 h 1320"/>
                  <a:gd name="T50" fmla="*/ 809 w 869"/>
                  <a:gd name="T51" fmla="*/ 930 h 1320"/>
                  <a:gd name="T52" fmla="*/ 719 w 869"/>
                  <a:gd name="T53" fmla="*/ 1020 h 1320"/>
                  <a:gd name="T54" fmla="*/ 839 w 869"/>
                  <a:gd name="T55" fmla="*/ 1080 h 1320"/>
                  <a:gd name="T56" fmla="*/ 719 w 869"/>
                  <a:gd name="T57" fmla="*/ 1110 h 1320"/>
                  <a:gd name="T58" fmla="*/ 779 w 869"/>
                  <a:gd name="T59" fmla="*/ 1260 h 1320"/>
                  <a:gd name="T60" fmla="*/ 689 w 869"/>
                  <a:gd name="T61" fmla="*/ 1230 h 1320"/>
                  <a:gd name="T62" fmla="*/ 539 w 869"/>
                  <a:gd name="T63" fmla="*/ 1320 h 1320"/>
                  <a:gd name="T64" fmla="*/ 569 w 869"/>
                  <a:gd name="T65" fmla="*/ 1170 h 1320"/>
                  <a:gd name="T66" fmla="*/ 449 w 869"/>
                  <a:gd name="T67" fmla="*/ 1230 h 1320"/>
                  <a:gd name="T68" fmla="*/ 389 w 869"/>
                  <a:gd name="T69" fmla="*/ 1110 h 1320"/>
                  <a:gd name="T70" fmla="*/ 329 w 869"/>
                  <a:gd name="T71" fmla="*/ 1200 h 1320"/>
                  <a:gd name="T72" fmla="*/ 299 w 869"/>
                  <a:gd name="T73" fmla="*/ 960 h 1320"/>
                  <a:gd name="T74" fmla="*/ 239 w 869"/>
                  <a:gd name="T75" fmla="*/ 1050 h 1320"/>
                  <a:gd name="T76" fmla="*/ 269 w 869"/>
                  <a:gd name="T77" fmla="*/ 870 h 1320"/>
                  <a:gd name="T78" fmla="*/ 419 w 869"/>
                  <a:gd name="T79" fmla="*/ 780 h 1320"/>
                  <a:gd name="T80" fmla="*/ 239 w 869"/>
                  <a:gd name="T81" fmla="*/ 690 h 1320"/>
                  <a:gd name="T82" fmla="*/ 269 w 869"/>
                  <a:gd name="T83" fmla="*/ 870 h 1320"/>
                  <a:gd name="T84" fmla="*/ 389 w 869"/>
                  <a:gd name="T85" fmla="*/ 660 h 1320"/>
                  <a:gd name="T86" fmla="*/ 419 w 869"/>
                  <a:gd name="T87" fmla="*/ 540 h 1320"/>
                  <a:gd name="T88" fmla="*/ 359 w 869"/>
                  <a:gd name="T89" fmla="*/ 420 h 1320"/>
                  <a:gd name="T90" fmla="*/ 389 w 869"/>
                  <a:gd name="T91" fmla="*/ 270 h 1320"/>
                  <a:gd name="T92" fmla="*/ 239 w 869"/>
                  <a:gd name="T93" fmla="*/ 150 h 1320"/>
                  <a:gd name="T94" fmla="*/ 150 w 869"/>
                  <a:gd name="T95" fmla="*/ 270 h 1320"/>
                  <a:gd name="T96" fmla="*/ 0 w 869"/>
                  <a:gd name="T97" fmla="*/ 360 h 1320"/>
                  <a:gd name="T98" fmla="*/ 0 w 869"/>
                  <a:gd name="T99" fmla="*/ 510 h 1320"/>
                  <a:gd name="T100" fmla="*/ 120 w 869"/>
                  <a:gd name="T101" fmla="*/ 420 h 1320"/>
                  <a:gd name="T102" fmla="*/ 269 w 869"/>
                  <a:gd name="T103" fmla="*/ 300 h 1320"/>
                  <a:gd name="T104" fmla="*/ 239 w 869"/>
                  <a:gd name="T105" fmla="*/ 15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9" h="1320">
                    <a:moveTo>
                      <a:pt x="869" y="660"/>
                    </a:moveTo>
                    <a:lnTo>
                      <a:pt x="839" y="300"/>
                    </a:lnTo>
                    <a:lnTo>
                      <a:pt x="809" y="120"/>
                    </a:lnTo>
                    <a:lnTo>
                      <a:pt x="719" y="0"/>
                    </a:lnTo>
                    <a:lnTo>
                      <a:pt x="599" y="60"/>
                    </a:lnTo>
                    <a:lnTo>
                      <a:pt x="599" y="150"/>
                    </a:lnTo>
                    <a:lnTo>
                      <a:pt x="509" y="270"/>
                    </a:lnTo>
                    <a:lnTo>
                      <a:pt x="479" y="360"/>
                    </a:lnTo>
                    <a:lnTo>
                      <a:pt x="599" y="300"/>
                    </a:lnTo>
                    <a:lnTo>
                      <a:pt x="689" y="270"/>
                    </a:lnTo>
                    <a:lnTo>
                      <a:pt x="659" y="420"/>
                    </a:lnTo>
                    <a:lnTo>
                      <a:pt x="779" y="480"/>
                    </a:lnTo>
                    <a:lnTo>
                      <a:pt x="869" y="660"/>
                    </a:lnTo>
                    <a:lnTo>
                      <a:pt x="719" y="630"/>
                    </a:lnTo>
                    <a:lnTo>
                      <a:pt x="599" y="510"/>
                    </a:lnTo>
                    <a:lnTo>
                      <a:pt x="539" y="600"/>
                    </a:lnTo>
                    <a:lnTo>
                      <a:pt x="509" y="690"/>
                    </a:lnTo>
                    <a:lnTo>
                      <a:pt x="539" y="810"/>
                    </a:lnTo>
                    <a:lnTo>
                      <a:pt x="269" y="870"/>
                    </a:lnTo>
                    <a:lnTo>
                      <a:pt x="419" y="960"/>
                    </a:lnTo>
                    <a:lnTo>
                      <a:pt x="539" y="1020"/>
                    </a:lnTo>
                    <a:lnTo>
                      <a:pt x="599" y="930"/>
                    </a:lnTo>
                    <a:lnTo>
                      <a:pt x="719" y="840"/>
                    </a:lnTo>
                    <a:lnTo>
                      <a:pt x="779" y="750"/>
                    </a:lnTo>
                    <a:lnTo>
                      <a:pt x="869" y="810"/>
                    </a:lnTo>
                    <a:lnTo>
                      <a:pt x="809" y="930"/>
                    </a:lnTo>
                    <a:lnTo>
                      <a:pt x="719" y="1020"/>
                    </a:lnTo>
                    <a:lnTo>
                      <a:pt x="839" y="1080"/>
                    </a:lnTo>
                    <a:lnTo>
                      <a:pt x="719" y="1110"/>
                    </a:lnTo>
                    <a:lnTo>
                      <a:pt x="779" y="1260"/>
                    </a:lnTo>
                    <a:lnTo>
                      <a:pt x="689" y="1230"/>
                    </a:lnTo>
                    <a:lnTo>
                      <a:pt x="539" y="1320"/>
                    </a:lnTo>
                    <a:lnTo>
                      <a:pt x="569" y="1170"/>
                    </a:lnTo>
                    <a:lnTo>
                      <a:pt x="449" y="1230"/>
                    </a:lnTo>
                    <a:lnTo>
                      <a:pt x="389" y="1110"/>
                    </a:lnTo>
                    <a:lnTo>
                      <a:pt x="329" y="1200"/>
                    </a:lnTo>
                    <a:lnTo>
                      <a:pt x="299" y="960"/>
                    </a:lnTo>
                    <a:lnTo>
                      <a:pt x="239" y="1050"/>
                    </a:lnTo>
                    <a:lnTo>
                      <a:pt x="269" y="870"/>
                    </a:lnTo>
                    <a:lnTo>
                      <a:pt x="419" y="780"/>
                    </a:lnTo>
                    <a:lnTo>
                      <a:pt x="239" y="690"/>
                    </a:lnTo>
                    <a:lnTo>
                      <a:pt x="269" y="870"/>
                    </a:lnTo>
                    <a:lnTo>
                      <a:pt x="389" y="660"/>
                    </a:lnTo>
                    <a:lnTo>
                      <a:pt x="419" y="540"/>
                    </a:lnTo>
                    <a:lnTo>
                      <a:pt x="359" y="420"/>
                    </a:lnTo>
                    <a:lnTo>
                      <a:pt x="389" y="270"/>
                    </a:lnTo>
                    <a:lnTo>
                      <a:pt x="239" y="150"/>
                    </a:lnTo>
                    <a:lnTo>
                      <a:pt x="150" y="270"/>
                    </a:lnTo>
                    <a:lnTo>
                      <a:pt x="0" y="360"/>
                    </a:lnTo>
                    <a:lnTo>
                      <a:pt x="0" y="510"/>
                    </a:lnTo>
                    <a:lnTo>
                      <a:pt x="120" y="420"/>
                    </a:lnTo>
                    <a:lnTo>
                      <a:pt x="269" y="300"/>
                    </a:lnTo>
                    <a:lnTo>
                      <a:pt x="239"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9" name="Freeform 2543">
                <a:extLst>
                  <a:ext uri="{FF2B5EF4-FFF2-40B4-BE49-F238E27FC236}">
                    <a16:creationId xmlns:a16="http://schemas.microsoft.com/office/drawing/2014/main" id="{7229599E-250B-4557-9947-B5916200E0BB}"/>
                  </a:ext>
                </a:extLst>
              </p:cNvPr>
              <p:cNvSpPr>
                <a:spLocks/>
              </p:cNvSpPr>
              <p:nvPr/>
            </p:nvSpPr>
            <p:spPr bwMode="auto">
              <a:xfrm>
                <a:off x="4004" y="2250"/>
                <a:ext cx="390" cy="570"/>
              </a:xfrm>
              <a:custGeom>
                <a:avLst/>
                <a:gdLst>
                  <a:gd name="T0" fmla="*/ 120 w 390"/>
                  <a:gd name="T1" fmla="*/ 450 h 570"/>
                  <a:gd name="T2" fmla="*/ 300 w 390"/>
                  <a:gd name="T3" fmla="*/ 480 h 570"/>
                  <a:gd name="T4" fmla="*/ 390 w 390"/>
                  <a:gd name="T5" fmla="*/ 570 h 570"/>
                  <a:gd name="T6" fmla="*/ 180 w 390"/>
                  <a:gd name="T7" fmla="*/ 570 h 570"/>
                  <a:gd name="T8" fmla="*/ 300 w 390"/>
                  <a:gd name="T9" fmla="*/ 270 h 570"/>
                  <a:gd name="T10" fmla="*/ 300 w 390"/>
                  <a:gd name="T11" fmla="*/ 480 h 570"/>
                  <a:gd name="T12" fmla="*/ 120 w 390"/>
                  <a:gd name="T13" fmla="*/ 240 h 570"/>
                  <a:gd name="T14" fmla="*/ 60 w 390"/>
                  <a:gd name="T15" fmla="*/ 0 h 570"/>
                  <a:gd name="T16" fmla="*/ 0 w 390"/>
                  <a:gd name="T17" fmla="*/ 18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70">
                    <a:moveTo>
                      <a:pt x="120" y="450"/>
                    </a:moveTo>
                    <a:lnTo>
                      <a:pt x="300" y="480"/>
                    </a:lnTo>
                    <a:lnTo>
                      <a:pt x="390" y="570"/>
                    </a:lnTo>
                    <a:lnTo>
                      <a:pt x="180" y="570"/>
                    </a:lnTo>
                    <a:lnTo>
                      <a:pt x="300" y="270"/>
                    </a:lnTo>
                    <a:lnTo>
                      <a:pt x="300" y="480"/>
                    </a:lnTo>
                    <a:lnTo>
                      <a:pt x="120" y="240"/>
                    </a:lnTo>
                    <a:lnTo>
                      <a:pt x="60" y="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0" name="Freeform 2544">
                <a:extLst>
                  <a:ext uri="{FF2B5EF4-FFF2-40B4-BE49-F238E27FC236}">
                    <a16:creationId xmlns:a16="http://schemas.microsoft.com/office/drawing/2014/main" id="{B6779D72-A944-4903-A7A0-4B43CD5499E2}"/>
                  </a:ext>
                </a:extLst>
              </p:cNvPr>
              <p:cNvSpPr>
                <a:spLocks/>
              </p:cNvSpPr>
              <p:nvPr/>
            </p:nvSpPr>
            <p:spPr bwMode="auto">
              <a:xfrm>
                <a:off x="3884" y="2850"/>
                <a:ext cx="420" cy="210"/>
              </a:xfrm>
              <a:custGeom>
                <a:avLst/>
                <a:gdLst>
                  <a:gd name="T0" fmla="*/ 0 w 420"/>
                  <a:gd name="T1" fmla="*/ 0 h 210"/>
                  <a:gd name="T2" fmla="*/ 90 w 420"/>
                  <a:gd name="T3" fmla="*/ 150 h 210"/>
                  <a:gd name="T4" fmla="*/ 270 w 420"/>
                  <a:gd name="T5" fmla="*/ 210 h 210"/>
                  <a:gd name="T6" fmla="*/ 420 w 420"/>
                  <a:gd name="T7" fmla="*/ 60 h 210"/>
                </a:gdLst>
                <a:ahLst/>
                <a:cxnLst>
                  <a:cxn ang="0">
                    <a:pos x="T0" y="T1"/>
                  </a:cxn>
                  <a:cxn ang="0">
                    <a:pos x="T2" y="T3"/>
                  </a:cxn>
                  <a:cxn ang="0">
                    <a:pos x="T4" y="T5"/>
                  </a:cxn>
                  <a:cxn ang="0">
                    <a:pos x="T6" y="T7"/>
                  </a:cxn>
                </a:cxnLst>
                <a:rect l="0" t="0" r="r" b="b"/>
                <a:pathLst>
                  <a:path w="420" h="210">
                    <a:moveTo>
                      <a:pt x="0" y="0"/>
                    </a:moveTo>
                    <a:lnTo>
                      <a:pt x="90" y="150"/>
                    </a:lnTo>
                    <a:lnTo>
                      <a:pt x="270" y="210"/>
                    </a:lnTo>
                    <a:lnTo>
                      <a:pt x="4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1" name="Freeform 2545">
                <a:extLst>
                  <a:ext uri="{FF2B5EF4-FFF2-40B4-BE49-F238E27FC236}">
                    <a16:creationId xmlns:a16="http://schemas.microsoft.com/office/drawing/2014/main" id="{0223DF83-3092-43F3-828C-C1957CB80CB0}"/>
                  </a:ext>
                </a:extLst>
              </p:cNvPr>
              <p:cNvSpPr>
                <a:spLocks/>
              </p:cNvSpPr>
              <p:nvPr/>
            </p:nvSpPr>
            <p:spPr bwMode="auto">
              <a:xfrm>
                <a:off x="4124" y="2910"/>
                <a:ext cx="180" cy="210"/>
              </a:xfrm>
              <a:custGeom>
                <a:avLst/>
                <a:gdLst>
                  <a:gd name="T0" fmla="*/ 150 w 180"/>
                  <a:gd name="T1" fmla="*/ 210 h 210"/>
                  <a:gd name="T2" fmla="*/ 30 w 180"/>
                  <a:gd name="T3" fmla="*/ 150 h 210"/>
                  <a:gd name="T4" fmla="*/ 0 w 180"/>
                  <a:gd name="T5" fmla="*/ 0 h 210"/>
                  <a:gd name="T6" fmla="*/ 180 w 180"/>
                  <a:gd name="T7" fmla="*/ 90 h 210"/>
                </a:gdLst>
                <a:ahLst/>
                <a:cxnLst>
                  <a:cxn ang="0">
                    <a:pos x="T0" y="T1"/>
                  </a:cxn>
                  <a:cxn ang="0">
                    <a:pos x="T2" y="T3"/>
                  </a:cxn>
                  <a:cxn ang="0">
                    <a:pos x="T4" y="T5"/>
                  </a:cxn>
                  <a:cxn ang="0">
                    <a:pos x="T6" y="T7"/>
                  </a:cxn>
                </a:cxnLst>
                <a:rect l="0" t="0" r="r" b="b"/>
                <a:pathLst>
                  <a:path w="180" h="210">
                    <a:moveTo>
                      <a:pt x="150" y="210"/>
                    </a:moveTo>
                    <a:lnTo>
                      <a:pt x="30" y="150"/>
                    </a:lnTo>
                    <a:lnTo>
                      <a:pt x="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2" name="Line 2546">
                <a:extLst>
                  <a:ext uri="{FF2B5EF4-FFF2-40B4-BE49-F238E27FC236}">
                    <a16:creationId xmlns:a16="http://schemas.microsoft.com/office/drawing/2014/main" id="{CC30BCE3-2BA2-49EC-9266-9FCCFCC6C93F}"/>
                  </a:ext>
                </a:extLst>
              </p:cNvPr>
              <p:cNvSpPr>
                <a:spLocks noChangeShapeType="1"/>
              </p:cNvSpPr>
              <p:nvPr/>
            </p:nvSpPr>
            <p:spPr bwMode="auto">
              <a:xfrm flipV="1">
                <a:off x="4364"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3" name="Freeform 2547">
                <a:extLst>
                  <a:ext uri="{FF2B5EF4-FFF2-40B4-BE49-F238E27FC236}">
                    <a16:creationId xmlns:a16="http://schemas.microsoft.com/office/drawing/2014/main" id="{8B5C1121-5E65-4651-857A-44BBE81C1E65}"/>
                  </a:ext>
                </a:extLst>
              </p:cNvPr>
              <p:cNvSpPr>
                <a:spLocks/>
              </p:cNvSpPr>
              <p:nvPr/>
            </p:nvSpPr>
            <p:spPr bwMode="auto">
              <a:xfrm>
                <a:off x="3944" y="2160"/>
                <a:ext cx="300" cy="150"/>
              </a:xfrm>
              <a:custGeom>
                <a:avLst/>
                <a:gdLst>
                  <a:gd name="T0" fmla="*/ 0 w 300"/>
                  <a:gd name="T1" fmla="*/ 150 h 150"/>
                  <a:gd name="T2" fmla="*/ 300 w 300"/>
                  <a:gd name="T3" fmla="*/ 150 h 150"/>
                  <a:gd name="T4" fmla="*/ 240 w 300"/>
                  <a:gd name="T5" fmla="*/ 30 h 150"/>
                  <a:gd name="T6" fmla="*/ 150 w 300"/>
                  <a:gd name="T7" fmla="*/ 0 h 150"/>
                  <a:gd name="T8" fmla="*/ 30 w 300"/>
                  <a:gd name="T9" fmla="*/ 0 h 150"/>
                </a:gdLst>
                <a:ahLst/>
                <a:cxnLst>
                  <a:cxn ang="0">
                    <a:pos x="T0" y="T1"/>
                  </a:cxn>
                  <a:cxn ang="0">
                    <a:pos x="T2" y="T3"/>
                  </a:cxn>
                  <a:cxn ang="0">
                    <a:pos x="T4" y="T5"/>
                  </a:cxn>
                  <a:cxn ang="0">
                    <a:pos x="T6" y="T7"/>
                  </a:cxn>
                  <a:cxn ang="0">
                    <a:pos x="T8" y="T9"/>
                  </a:cxn>
                </a:cxnLst>
                <a:rect l="0" t="0" r="r" b="b"/>
                <a:pathLst>
                  <a:path w="300" h="150">
                    <a:moveTo>
                      <a:pt x="0" y="150"/>
                    </a:moveTo>
                    <a:lnTo>
                      <a:pt x="300" y="150"/>
                    </a:lnTo>
                    <a:lnTo>
                      <a:pt x="240" y="30"/>
                    </a:lnTo>
                    <a:lnTo>
                      <a:pt x="150" y="0"/>
                    </a:lnTo>
                    <a:lnTo>
                      <a:pt x="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4" name="Freeform 2548">
                <a:extLst>
                  <a:ext uri="{FF2B5EF4-FFF2-40B4-BE49-F238E27FC236}">
                    <a16:creationId xmlns:a16="http://schemas.microsoft.com/office/drawing/2014/main" id="{ADAE5091-FBC9-4C77-900E-2651212E9DA2}"/>
                  </a:ext>
                </a:extLst>
              </p:cNvPr>
              <p:cNvSpPr>
                <a:spLocks/>
              </p:cNvSpPr>
              <p:nvPr/>
            </p:nvSpPr>
            <p:spPr bwMode="auto">
              <a:xfrm>
                <a:off x="3914" y="510"/>
                <a:ext cx="180" cy="390"/>
              </a:xfrm>
              <a:custGeom>
                <a:avLst/>
                <a:gdLst>
                  <a:gd name="T0" fmla="*/ 0 w 180"/>
                  <a:gd name="T1" fmla="*/ 270 h 390"/>
                  <a:gd name="T2" fmla="*/ 180 w 180"/>
                  <a:gd name="T3" fmla="*/ 390 h 390"/>
                  <a:gd name="T4" fmla="*/ 30 w 180"/>
                  <a:gd name="T5" fmla="*/ 120 h 390"/>
                  <a:gd name="T6" fmla="*/ 150 w 180"/>
                  <a:gd name="T7" fmla="*/ 0 h 390"/>
                </a:gdLst>
                <a:ahLst/>
                <a:cxnLst>
                  <a:cxn ang="0">
                    <a:pos x="T0" y="T1"/>
                  </a:cxn>
                  <a:cxn ang="0">
                    <a:pos x="T2" y="T3"/>
                  </a:cxn>
                  <a:cxn ang="0">
                    <a:pos x="T4" y="T5"/>
                  </a:cxn>
                  <a:cxn ang="0">
                    <a:pos x="T6" y="T7"/>
                  </a:cxn>
                </a:cxnLst>
                <a:rect l="0" t="0" r="r" b="b"/>
                <a:pathLst>
                  <a:path w="180" h="390">
                    <a:moveTo>
                      <a:pt x="0" y="270"/>
                    </a:moveTo>
                    <a:lnTo>
                      <a:pt x="180" y="390"/>
                    </a:lnTo>
                    <a:lnTo>
                      <a:pt x="30" y="12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5" name="Freeform 2549">
                <a:extLst>
                  <a:ext uri="{FF2B5EF4-FFF2-40B4-BE49-F238E27FC236}">
                    <a16:creationId xmlns:a16="http://schemas.microsoft.com/office/drawing/2014/main" id="{D0F23EFF-2A54-4111-83DB-B20EB3734868}"/>
                  </a:ext>
                </a:extLst>
              </p:cNvPr>
              <p:cNvSpPr>
                <a:spLocks/>
              </p:cNvSpPr>
              <p:nvPr/>
            </p:nvSpPr>
            <p:spPr bwMode="auto">
              <a:xfrm>
                <a:off x="3974" y="870"/>
                <a:ext cx="300" cy="330"/>
              </a:xfrm>
              <a:custGeom>
                <a:avLst/>
                <a:gdLst>
                  <a:gd name="T0" fmla="*/ 300 w 300"/>
                  <a:gd name="T1" fmla="*/ 0 h 330"/>
                  <a:gd name="T2" fmla="*/ 240 w 300"/>
                  <a:gd name="T3" fmla="*/ 120 h 330"/>
                  <a:gd name="T4" fmla="*/ 180 w 300"/>
                  <a:gd name="T5" fmla="*/ 330 h 330"/>
                  <a:gd name="T6" fmla="*/ 0 w 300"/>
                  <a:gd name="T7" fmla="*/ 270 h 330"/>
                </a:gdLst>
                <a:ahLst/>
                <a:cxnLst>
                  <a:cxn ang="0">
                    <a:pos x="T0" y="T1"/>
                  </a:cxn>
                  <a:cxn ang="0">
                    <a:pos x="T2" y="T3"/>
                  </a:cxn>
                  <a:cxn ang="0">
                    <a:pos x="T4" y="T5"/>
                  </a:cxn>
                  <a:cxn ang="0">
                    <a:pos x="T6" y="T7"/>
                  </a:cxn>
                </a:cxnLst>
                <a:rect l="0" t="0" r="r" b="b"/>
                <a:pathLst>
                  <a:path w="300" h="330">
                    <a:moveTo>
                      <a:pt x="300" y="0"/>
                    </a:moveTo>
                    <a:lnTo>
                      <a:pt x="240" y="120"/>
                    </a:lnTo>
                    <a:lnTo>
                      <a:pt x="180" y="33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6" name="Freeform 2550">
                <a:extLst>
                  <a:ext uri="{FF2B5EF4-FFF2-40B4-BE49-F238E27FC236}">
                    <a16:creationId xmlns:a16="http://schemas.microsoft.com/office/drawing/2014/main" id="{4140996F-EB27-44D8-B6EA-E4EBBFE906A8}"/>
                  </a:ext>
                </a:extLst>
              </p:cNvPr>
              <p:cNvSpPr>
                <a:spLocks/>
              </p:cNvSpPr>
              <p:nvPr/>
            </p:nvSpPr>
            <p:spPr bwMode="auto">
              <a:xfrm>
                <a:off x="3824" y="1050"/>
                <a:ext cx="600" cy="750"/>
              </a:xfrm>
              <a:custGeom>
                <a:avLst/>
                <a:gdLst>
                  <a:gd name="T0" fmla="*/ 600 w 600"/>
                  <a:gd name="T1" fmla="*/ 750 h 750"/>
                  <a:gd name="T2" fmla="*/ 570 w 600"/>
                  <a:gd name="T3" fmla="*/ 630 h 750"/>
                  <a:gd name="T4" fmla="*/ 330 w 600"/>
                  <a:gd name="T5" fmla="*/ 750 h 750"/>
                  <a:gd name="T6" fmla="*/ 270 w 600"/>
                  <a:gd name="T7" fmla="*/ 660 h 750"/>
                  <a:gd name="T8" fmla="*/ 180 w 600"/>
                  <a:gd name="T9" fmla="*/ 540 h 750"/>
                  <a:gd name="T10" fmla="*/ 150 w 600"/>
                  <a:gd name="T11" fmla="*/ 90 h 750"/>
                  <a:gd name="T12" fmla="*/ 0 w 600"/>
                  <a:gd name="T13" fmla="*/ 180 h 750"/>
                  <a:gd name="T14" fmla="*/ 210 w 600"/>
                  <a:gd name="T15" fmla="*/ 300 h 750"/>
                  <a:gd name="T16" fmla="*/ 240 w 600"/>
                  <a:gd name="T17"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0" h="750">
                    <a:moveTo>
                      <a:pt x="600" y="750"/>
                    </a:moveTo>
                    <a:lnTo>
                      <a:pt x="570" y="630"/>
                    </a:lnTo>
                    <a:lnTo>
                      <a:pt x="330" y="750"/>
                    </a:lnTo>
                    <a:lnTo>
                      <a:pt x="270" y="660"/>
                    </a:lnTo>
                    <a:lnTo>
                      <a:pt x="180" y="540"/>
                    </a:lnTo>
                    <a:lnTo>
                      <a:pt x="150" y="90"/>
                    </a:lnTo>
                    <a:lnTo>
                      <a:pt x="0" y="180"/>
                    </a:lnTo>
                    <a:lnTo>
                      <a:pt x="210" y="30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7" name="Freeform 2551">
                <a:extLst>
                  <a:ext uri="{FF2B5EF4-FFF2-40B4-BE49-F238E27FC236}">
                    <a16:creationId xmlns:a16="http://schemas.microsoft.com/office/drawing/2014/main" id="{BECA2049-DF83-461B-81A9-1FB49C995B47}"/>
                  </a:ext>
                </a:extLst>
              </p:cNvPr>
              <p:cNvSpPr>
                <a:spLocks/>
              </p:cNvSpPr>
              <p:nvPr/>
            </p:nvSpPr>
            <p:spPr bwMode="auto">
              <a:xfrm>
                <a:off x="3884" y="1530"/>
                <a:ext cx="450" cy="420"/>
              </a:xfrm>
              <a:custGeom>
                <a:avLst/>
                <a:gdLst>
                  <a:gd name="T0" fmla="*/ 270 w 450"/>
                  <a:gd name="T1" fmla="*/ 270 h 420"/>
                  <a:gd name="T2" fmla="*/ 60 w 450"/>
                  <a:gd name="T3" fmla="*/ 270 h 420"/>
                  <a:gd name="T4" fmla="*/ 120 w 450"/>
                  <a:gd name="T5" fmla="*/ 60 h 420"/>
                  <a:gd name="T6" fmla="*/ 0 w 450"/>
                  <a:gd name="T7" fmla="*/ 0 h 420"/>
                  <a:gd name="T8" fmla="*/ 300 w 450"/>
                  <a:gd name="T9" fmla="*/ 420 h 420"/>
                  <a:gd name="T10" fmla="*/ 450 w 450"/>
                  <a:gd name="T11" fmla="*/ 0 h 420"/>
                </a:gdLst>
                <a:ahLst/>
                <a:cxnLst>
                  <a:cxn ang="0">
                    <a:pos x="T0" y="T1"/>
                  </a:cxn>
                  <a:cxn ang="0">
                    <a:pos x="T2" y="T3"/>
                  </a:cxn>
                  <a:cxn ang="0">
                    <a:pos x="T4" y="T5"/>
                  </a:cxn>
                  <a:cxn ang="0">
                    <a:pos x="T6" y="T7"/>
                  </a:cxn>
                  <a:cxn ang="0">
                    <a:pos x="T8" y="T9"/>
                  </a:cxn>
                  <a:cxn ang="0">
                    <a:pos x="T10" y="T11"/>
                  </a:cxn>
                </a:cxnLst>
                <a:rect l="0" t="0" r="r" b="b"/>
                <a:pathLst>
                  <a:path w="450" h="420">
                    <a:moveTo>
                      <a:pt x="270" y="270"/>
                    </a:moveTo>
                    <a:lnTo>
                      <a:pt x="60" y="270"/>
                    </a:lnTo>
                    <a:lnTo>
                      <a:pt x="120" y="60"/>
                    </a:lnTo>
                    <a:lnTo>
                      <a:pt x="0" y="0"/>
                    </a:lnTo>
                    <a:lnTo>
                      <a:pt x="300" y="42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8" name="Freeform 2552">
                <a:extLst>
                  <a:ext uri="{FF2B5EF4-FFF2-40B4-BE49-F238E27FC236}">
                    <a16:creationId xmlns:a16="http://schemas.microsoft.com/office/drawing/2014/main" id="{2E8FC939-BD4D-4603-8740-9B98772A79FB}"/>
                  </a:ext>
                </a:extLst>
              </p:cNvPr>
              <p:cNvSpPr>
                <a:spLocks/>
              </p:cNvSpPr>
              <p:nvPr/>
            </p:nvSpPr>
            <p:spPr bwMode="auto">
              <a:xfrm>
                <a:off x="4004" y="1410"/>
                <a:ext cx="210" cy="210"/>
              </a:xfrm>
              <a:custGeom>
                <a:avLst/>
                <a:gdLst>
                  <a:gd name="T0" fmla="*/ 0 w 210"/>
                  <a:gd name="T1" fmla="*/ 180 h 210"/>
                  <a:gd name="T2" fmla="*/ 150 w 210"/>
                  <a:gd name="T3" fmla="*/ 0 h 210"/>
                  <a:gd name="T4" fmla="*/ 210 w 210"/>
                  <a:gd name="T5" fmla="*/ 210 h 210"/>
                </a:gdLst>
                <a:ahLst/>
                <a:cxnLst>
                  <a:cxn ang="0">
                    <a:pos x="T0" y="T1"/>
                  </a:cxn>
                  <a:cxn ang="0">
                    <a:pos x="T2" y="T3"/>
                  </a:cxn>
                  <a:cxn ang="0">
                    <a:pos x="T4" y="T5"/>
                  </a:cxn>
                </a:cxnLst>
                <a:rect l="0" t="0" r="r" b="b"/>
                <a:pathLst>
                  <a:path w="210" h="210">
                    <a:moveTo>
                      <a:pt x="0" y="180"/>
                    </a:moveTo>
                    <a:lnTo>
                      <a:pt x="150" y="0"/>
                    </a:lnTo>
                    <a:lnTo>
                      <a:pt x="21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9" name="Freeform 2553">
                <a:extLst>
                  <a:ext uri="{FF2B5EF4-FFF2-40B4-BE49-F238E27FC236}">
                    <a16:creationId xmlns:a16="http://schemas.microsoft.com/office/drawing/2014/main" id="{1B244027-0DED-4351-8546-C00E37546FB8}"/>
                  </a:ext>
                </a:extLst>
              </p:cNvPr>
              <p:cNvSpPr>
                <a:spLocks/>
              </p:cNvSpPr>
              <p:nvPr/>
            </p:nvSpPr>
            <p:spPr bwMode="auto">
              <a:xfrm>
                <a:off x="4004" y="1710"/>
                <a:ext cx="90" cy="450"/>
              </a:xfrm>
              <a:custGeom>
                <a:avLst/>
                <a:gdLst>
                  <a:gd name="T0" fmla="*/ 90 w 90"/>
                  <a:gd name="T1" fmla="*/ 0 h 450"/>
                  <a:gd name="T2" fmla="*/ 0 w 90"/>
                  <a:gd name="T3" fmla="*/ 240 h 450"/>
                  <a:gd name="T4" fmla="*/ 90 w 90"/>
                  <a:gd name="T5" fmla="*/ 450 h 450"/>
                </a:gdLst>
                <a:ahLst/>
                <a:cxnLst>
                  <a:cxn ang="0">
                    <a:pos x="T0" y="T1"/>
                  </a:cxn>
                  <a:cxn ang="0">
                    <a:pos x="T2" y="T3"/>
                  </a:cxn>
                  <a:cxn ang="0">
                    <a:pos x="T4" y="T5"/>
                  </a:cxn>
                </a:cxnLst>
                <a:rect l="0" t="0" r="r" b="b"/>
                <a:pathLst>
                  <a:path w="90" h="450">
                    <a:moveTo>
                      <a:pt x="90" y="0"/>
                    </a:moveTo>
                    <a:lnTo>
                      <a:pt x="0" y="240"/>
                    </a:lnTo>
                    <a:lnTo>
                      <a:pt x="90" y="4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0" name="Freeform 2554">
                <a:extLst>
                  <a:ext uri="{FF2B5EF4-FFF2-40B4-BE49-F238E27FC236}">
                    <a16:creationId xmlns:a16="http://schemas.microsoft.com/office/drawing/2014/main" id="{D5464C5A-93EE-47D5-BB6F-5783C503B35D}"/>
                  </a:ext>
                </a:extLst>
              </p:cNvPr>
              <p:cNvSpPr>
                <a:spLocks/>
              </p:cNvSpPr>
              <p:nvPr/>
            </p:nvSpPr>
            <p:spPr bwMode="auto">
              <a:xfrm>
                <a:off x="4184" y="2190"/>
                <a:ext cx="180" cy="330"/>
              </a:xfrm>
              <a:custGeom>
                <a:avLst/>
                <a:gdLst>
                  <a:gd name="T0" fmla="*/ 120 w 180"/>
                  <a:gd name="T1" fmla="*/ 330 h 330"/>
                  <a:gd name="T2" fmla="*/ 180 w 180"/>
                  <a:gd name="T3" fmla="*/ 180 h 330"/>
                  <a:gd name="T4" fmla="*/ 0 w 180"/>
                  <a:gd name="T5" fmla="*/ 210 h 330"/>
                  <a:gd name="T6" fmla="*/ 0 w 180"/>
                  <a:gd name="T7" fmla="*/ 0 h 330"/>
                </a:gdLst>
                <a:ahLst/>
                <a:cxnLst>
                  <a:cxn ang="0">
                    <a:pos x="T0" y="T1"/>
                  </a:cxn>
                  <a:cxn ang="0">
                    <a:pos x="T2" y="T3"/>
                  </a:cxn>
                  <a:cxn ang="0">
                    <a:pos x="T4" y="T5"/>
                  </a:cxn>
                  <a:cxn ang="0">
                    <a:pos x="T6" y="T7"/>
                  </a:cxn>
                </a:cxnLst>
                <a:rect l="0" t="0" r="r" b="b"/>
                <a:pathLst>
                  <a:path w="180" h="330">
                    <a:moveTo>
                      <a:pt x="120" y="330"/>
                    </a:moveTo>
                    <a:lnTo>
                      <a:pt x="180" y="180"/>
                    </a:lnTo>
                    <a:lnTo>
                      <a:pt x="0" y="21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1" name="Line 2555">
                <a:extLst>
                  <a:ext uri="{FF2B5EF4-FFF2-40B4-BE49-F238E27FC236}">
                    <a16:creationId xmlns:a16="http://schemas.microsoft.com/office/drawing/2014/main" id="{5E127A32-612E-4739-A622-8358C7093869}"/>
                  </a:ext>
                </a:extLst>
              </p:cNvPr>
              <p:cNvSpPr>
                <a:spLocks noChangeShapeType="1"/>
              </p:cNvSpPr>
              <p:nvPr/>
            </p:nvSpPr>
            <p:spPr bwMode="auto">
              <a:xfrm>
                <a:off x="4004" y="2670"/>
                <a:ext cx="18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2" name="Freeform 2556">
                <a:extLst>
                  <a:ext uri="{FF2B5EF4-FFF2-40B4-BE49-F238E27FC236}">
                    <a16:creationId xmlns:a16="http://schemas.microsoft.com/office/drawing/2014/main" id="{98F77628-D34C-4DE6-9167-02EC7100CCD6}"/>
                  </a:ext>
                </a:extLst>
              </p:cNvPr>
              <p:cNvSpPr>
                <a:spLocks/>
              </p:cNvSpPr>
              <p:nvPr/>
            </p:nvSpPr>
            <p:spPr bwMode="auto">
              <a:xfrm>
                <a:off x="4244" y="2010"/>
                <a:ext cx="180" cy="300"/>
              </a:xfrm>
              <a:custGeom>
                <a:avLst/>
                <a:gdLst>
                  <a:gd name="T0" fmla="*/ 180 w 180"/>
                  <a:gd name="T1" fmla="*/ 180 h 300"/>
                  <a:gd name="T2" fmla="*/ 0 w 180"/>
                  <a:gd name="T3" fmla="*/ 300 h 300"/>
                  <a:gd name="T4" fmla="*/ 150 w 180"/>
                  <a:gd name="T5" fmla="*/ 0 h 300"/>
                </a:gdLst>
                <a:ahLst/>
                <a:cxnLst>
                  <a:cxn ang="0">
                    <a:pos x="T0" y="T1"/>
                  </a:cxn>
                  <a:cxn ang="0">
                    <a:pos x="T2" y="T3"/>
                  </a:cxn>
                  <a:cxn ang="0">
                    <a:pos x="T4" y="T5"/>
                  </a:cxn>
                </a:cxnLst>
                <a:rect l="0" t="0" r="r" b="b"/>
                <a:pathLst>
                  <a:path w="180" h="300">
                    <a:moveTo>
                      <a:pt x="180" y="180"/>
                    </a:moveTo>
                    <a:lnTo>
                      <a:pt x="0" y="30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3" name="Freeform 2557">
                <a:extLst>
                  <a:ext uri="{FF2B5EF4-FFF2-40B4-BE49-F238E27FC236}">
                    <a16:creationId xmlns:a16="http://schemas.microsoft.com/office/drawing/2014/main" id="{C06A2D3C-CA23-4206-A821-C4BC46C1355F}"/>
                  </a:ext>
                </a:extLst>
              </p:cNvPr>
              <p:cNvSpPr>
                <a:spLocks/>
              </p:cNvSpPr>
              <p:nvPr/>
            </p:nvSpPr>
            <p:spPr bwMode="auto">
              <a:xfrm>
                <a:off x="3974" y="1140"/>
                <a:ext cx="180" cy="270"/>
              </a:xfrm>
              <a:custGeom>
                <a:avLst/>
                <a:gdLst>
                  <a:gd name="T0" fmla="*/ 0 w 180"/>
                  <a:gd name="T1" fmla="*/ 0 h 270"/>
                  <a:gd name="T2" fmla="*/ 180 w 180"/>
                  <a:gd name="T3" fmla="*/ 270 h 270"/>
                  <a:gd name="T4" fmla="*/ 180 w 180"/>
                  <a:gd name="T5" fmla="*/ 60 h 270"/>
                </a:gdLst>
                <a:ahLst/>
                <a:cxnLst>
                  <a:cxn ang="0">
                    <a:pos x="T0" y="T1"/>
                  </a:cxn>
                  <a:cxn ang="0">
                    <a:pos x="T2" y="T3"/>
                  </a:cxn>
                  <a:cxn ang="0">
                    <a:pos x="T4" y="T5"/>
                  </a:cxn>
                </a:cxnLst>
                <a:rect l="0" t="0" r="r" b="b"/>
                <a:pathLst>
                  <a:path w="180" h="270">
                    <a:moveTo>
                      <a:pt x="0" y="0"/>
                    </a:moveTo>
                    <a:lnTo>
                      <a:pt x="180" y="270"/>
                    </a:lnTo>
                    <a:lnTo>
                      <a:pt x="18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4" name="Freeform 2558">
                <a:extLst>
                  <a:ext uri="{FF2B5EF4-FFF2-40B4-BE49-F238E27FC236}">
                    <a16:creationId xmlns:a16="http://schemas.microsoft.com/office/drawing/2014/main" id="{0DBE9507-2309-403B-8757-D6C6B82B349C}"/>
                  </a:ext>
                </a:extLst>
              </p:cNvPr>
              <p:cNvSpPr>
                <a:spLocks/>
              </p:cNvSpPr>
              <p:nvPr/>
            </p:nvSpPr>
            <p:spPr bwMode="auto">
              <a:xfrm>
                <a:off x="3884" y="60"/>
                <a:ext cx="540" cy="1830"/>
              </a:xfrm>
              <a:custGeom>
                <a:avLst/>
                <a:gdLst>
                  <a:gd name="T0" fmla="*/ 180 w 540"/>
                  <a:gd name="T1" fmla="*/ 990 h 1830"/>
                  <a:gd name="T2" fmla="*/ 330 w 540"/>
                  <a:gd name="T3" fmla="*/ 930 h 1830"/>
                  <a:gd name="T4" fmla="*/ 330 w 540"/>
                  <a:gd name="T5" fmla="*/ 1560 h 1830"/>
                  <a:gd name="T6" fmla="*/ 270 w 540"/>
                  <a:gd name="T7" fmla="*/ 1350 h 1830"/>
                  <a:gd name="T8" fmla="*/ 540 w 540"/>
                  <a:gd name="T9" fmla="*/ 1740 h 1830"/>
                  <a:gd name="T10" fmla="*/ 330 w 540"/>
                  <a:gd name="T11" fmla="*/ 1560 h 1830"/>
                  <a:gd name="T12" fmla="*/ 450 w 540"/>
                  <a:gd name="T13" fmla="*/ 1470 h 1830"/>
                  <a:gd name="T14" fmla="*/ 480 w 540"/>
                  <a:gd name="T15" fmla="*/ 1200 h 1830"/>
                  <a:gd name="T16" fmla="*/ 150 w 540"/>
                  <a:gd name="T17" fmla="*/ 1290 h 1830"/>
                  <a:gd name="T18" fmla="*/ 270 w 540"/>
                  <a:gd name="T19" fmla="*/ 1140 h 1830"/>
                  <a:gd name="T20" fmla="*/ 510 w 540"/>
                  <a:gd name="T21" fmla="*/ 960 h 1830"/>
                  <a:gd name="T22" fmla="*/ 180 w 540"/>
                  <a:gd name="T23" fmla="*/ 990 h 1830"/>
                  <a:gd name="T24" fmla="*/ 390 w 540"/>
                  <a:gd name="T25" fmla="*/ 810 h 1830"/>
                  <a:gd name="T26" fmla="*/ 360 w 540"/>
                  <a:gd name="T27" fmla="*/ 630 h 1830"/>
                  <a:gd name="T28" fmla="*/ 150 w 540"/>
                  <a:gd name="T29" fmla="*/ 630 h 1830"/>
                  <a:gd name="T30" fmla="*/ 270 w 540"/>
                  <a:gd name="T31" fmla="*/ 510 h 1830"/>
                  <a:gd name="T32" fmla="*/ 510 w 540"/>
                  <a:gd name="T33" fmla="*/ 600 h 1830"/>
                  <a:gd name="T34" fmla="*/ 480 w 540"/>
                  <a:gd name="T35" fmla="*/ 360 h 1830"/>
                  <a:gd name="T36" fmla="*/ 240 w 540"/>
                  <a:gd name="T37" fmla="*/ 360 h 1830"/>
                  <a:gd name="T38" fmla="*/ 60 w 540"/>
                  <a:gd name="T39" fmla="*/ 300 h 1830"/>
                  <a:gd name="T40" fmla="*/ 270 w 540"/>
                  <a:gd name="T41" fmla="*/ 210 h 1830"/>
                  <a:gd name="T42" fmla="*/ 90 w 540"/>
                  <a:gd name="T43" fmla="*/ 0 h 1830"/>
                  <a:gd name="T44" fmla="*/ 210 w 540"/>
                  <a:gd name="T45" fmla="*/ 60 h 1830"/>
                  <a:gd name="T46" fmla="*/ 510 w 540"/>
                  <a:gd name="T47" fmla="*/ 210 h 1830"/>
                  <a:gd name="T48" fmla="*/ 390 w 540"/>
                  <a:gd name="T49" fmla="*/ 240 h 1830"/>
                  <a:gd name="T50" fmla="*/ 270 w 540"/>
                  <a:gd name="T51" fmla="*/ 210 h 1830"/>
                  <a:gd name="T52" fmla="*/ 180 w 540"/>
                  <a:gd name="T53" fmla="*/ 240 h 1830"/>
                  <a:gd name="T54" fmla="*/ 60 w 540"/>
                  <a:gd name="T55" fmla="*/ 300 h 1830"/>
                  <a:gd name="T56" fmla="*/ 330 w 540"/>
                  <a:gd name="T57" fmla="*/ 390 h 1830"/>
                  <a:gd name="T58" fmla="*/ 480 w 540"/>
                  <a:gd name="T59" fmla="*/ 360 h 1830"/>
                  <a:gd name="T60" fmla="*/ 360 w 540"/>
                  <a:gd name="T61" fmla="*/ 630 h 1830"/>
                  <a:gd name="T62" fmla="*/ 90 w 540"/>
                  <a:gd name="T63" fmla="*/ 84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1830">
                    <a:moveTo>
                      <a:pt x="60" y="960"/>
                    </a:moveTo>
                    <a:lnTo>
                      <a:pt x="180" y="990"/>
                    </a:lnTo>
                    <a:lnTo>
                      <a:pt x="390" y="1080"/>
                    </a:lnTo>
                    <a:lnTo>
                      <a:pt x="330" y="930"/>
                    </a:lnTo>
                    <a:lnTo>
                      <a:pt x="0" y="1320"/>
                    </a:lnTo>
                    <a:lnTo>
                      <a:pt x="330" y="1560"/>
                    </a:lnTo>
                    <a:lnTo>
                      <a:pt x="450" y="1470"/>
                    </a:lnTo>
                    <a:lnTo>
                      <a:pt x="270" y="1350"/>
                    </a:lnTo>
                    <a:lnTo>
                      <a:pt x="210" y="1650"/>
                    </a:lnTo>
                    <a:lnTo>
                      <a:pt x="540" y="1740"/>
                    </a:lnTo>
                    <a:lnTo>
                      <a:pt x="420" y="1830"/>
                    </a:lnTo>
                    <a:lnTo>
                      <a:pt x="330" y="1560"/>
                    </a:lnTo>
                    <a:lnTo>
                      <a:pt x="510" y="1620"/>
                    </a:lnTo>
                    <a:lnTo>
                      <a:pt x="450" y="1470"/>
                    </a:lnTo>
                    <a:lnTo>
                      <a:pt x="420" y="1320"/>
                    </a:lnTo>
                    <a:lnTo>
                      <a:pt x="480" y="1200"/>
                    </a:lnTo>
                    <a:lnTo>
                      <a:pt x="270" y="1350"/>
                    </a:lnTo>
                    <a:lnTo>
                      <a:pt x="150" y="1290"/>
                    </a:lnTo>
                    <a:lnTo>
                      <a:pt x="330" y="1200"/>
                    </a:lnTo>
                    <a:lnTo>
                      <a:pt x="270" y="1140"/>
                    </a:lnTo>
                    <a:lnTo>
                      <a:pt x="390" y="1080"/>
                    </a:lnTo>
                    <a:lnTo>
                      <a:pt x="510" y="960"/>
                    </a:lnTo>
                    <a:lnTo>
                      <a:pt x="330" y="930"/>
                    </a:lnTo>
                    <a:lnTo>
                      <a:pt x="180" y="990"/>
                    </a:lnTo>
                    <a:lnTo>
                      <a:pt x="210" y="840"/>
                    </a:lnTo>
                    <a:lnTo>
                      <a:pt x="390" y="810"/>
                    </a:lnTo>
                    <a:lnTo>
                      <a:pt x="540" y="720"/>
                    </a:lnTo>
                    <a:lnTo>
                      <a:pt x="360" y="630"/>
                    </a:lnTo>
                    <a:lnTo>
                      <a:pt x="240" y="690"/>
                    </a:lnTo>
                    <a:lnTo>
                      <a:pt x="150" y="630"/>
                    </a:lnTo>
                    <a:lnTo>
                      <a:pt x="180" y="450"/>
                    </a:lnTo>
                    <a:lnTo>
                      <a:pt x="270" y="510"/>
                    </a:lnTo>
                    <a:lnTo>
                      <a:pt x="420" y="540"/>
                    </a:lnTo>
                    <a:lnTo>
                      <a:pt x="510" y="600"/>
                    </a:lnTo>
                    <a:lnTo>
                      <a:pt x="540" y="480"/>
                    </a:lnTo>
                    <a:lnTo>
                      <a:pt x="480" y="360"/>
                    </a:lnTo>
                    <a:lnTo>
                      <a:pt x="330" y="390"/>
                    </a:lnTo>
                    <a:lnTo>
                      <a:pt x="240" y="360"/>
                    </a:lnTo>
                    <a:lnTo>
                      <a:pt x="60" y="420"/>
                    </a:lnTo>
                    <a:lnTo>
                      <a:pt x="60" y="300"/>
                    </a:lnTo>
                    <a:lnTo>
                      <a:pt x="180" y="240"/>
                    </a:lnTo>
                    <a:lnTo>
                      <a:pt x="270" y="210"/>
                    </a:lnTo>
                    <a:lnTo>
                      <a:pt x="210" y="60"/>
                    </a:lnTo>
                    <a:lnTo>
                      <a:pt x="90" y="0"/>
                    </a:lnTo>
                    <a:lnTo>
                      <a:pt x="540" y="0"/>
                    </a:lnTo>
                    <a:lnTo>
                      <a:pt x="210" y="60"/>
                    </a:lnTo>
                    <a:lnTo>
                      <a:pt x="360" y="90"/>
                    </a:lnTo>
                    <a:lnTo>
                      <a:pt x="510" y="210"/>
                    </a:lnTo>
                    <a:lnTo>
                      <a:pt x="480" y="360"/>
                    </a:lnTo>
                    <a:lnTo>
                      <a:pt x="390" y="240"/>
                    </a:lnTo>
                    <a:lnTo>
                      <a:pt x="330" y="390"/>
                    </a:lnTo>
                    <a:lnTo>
                      <a:pt x="270" y="210"/>
                    </a:lnTo>
                    <a:lnTo>
                      <a:pt x="240" y="360"/>
                    </a:lnTo>
                    <a:lnTo>
                      <a:pt x="180" y="240"/>
                    </a:lnTo>
                    <a:lnTo>
                      <a:pt x="90" y="210"/>
                    </a:lnTo>
                    <a:lnTo>
                      <a:pt x="60" y="300"/>
                    </a:lnTo>
                    <a:lnTo>
                      <a:pt x="180" y="450"/>
                    </a:lnTo>
                    <a:lnTo>
                      <a:pt x="330" y="390"/>
                    </a:lnTo>
                    <a:lnTo>
                      <a:pt x="420" y="540"/>
                    </a:lnTo>
                    <a:lnTo>
                      <a:pt x="480" y="360"/>
                    </a:lnTo>
                    <a:lnTo>
                      <a:pt x="270" y="510"/>
                    </a:lnTo>
                    <a:lnTo>
                      <a:pt x="360" y="630"/>
                    </a:lnTo>
                    <a:lnTo>
                      <a:pt x="150" y="630"/>
                    </a:lnTo>
                    <a:lnTo>
                      <a:pt x="90" y="840"/>
                    </a:lnTo>
                    <a:lnTo>
                      <a:pt x="330" y="9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5" name="Freeform 2559">
                <a:extLst>
                  <a:ext uri="{FF2B5EF4-FFF2-40B4-BE49-F238E27FC236}">
                    <a16:creationId xmlns:a16="http://schemas.microsoft.com/office/drawing/2014/main" id="{68AD8332-456B-43FA-AC4D-E3230D7705B2}"/>
                  </a:ext>
                </a:extLst>
              </p:cNvPr>
              <p:cNvSpPr>
                <a:spLocks/>
              </p:cNvSpPr>
              <p:nvPr/>
            </p:nvSpPr>
            <p:spPr bwMode="auto">
              <a:xfrm>
                <a:off x="4244" y="600"/>
                <a:ext cx="150" cy="420"/>
              </a:xfrm>
              <a:custGeom>
                <a:avLst/>
                <a:gdLst>
                  <a:gd name="T0" fmla="*/ 30 w 150"/>
                  <a:gd name="T1" fmla="*/ 270 h 420"/>
                  <a:gd name="T2" fmla="*/ 150 w 150"/>
                  <a:gd name="T3" fmla="*/ 420 h 420"/>
                  <a:gd name="T4" fmla="*/ 60 w 150"/>
                  <a:gd name="T5" fmla="*/ 0 h 420"/>
                  <a:gd name="T6" fmla="*/ 0 w 150"/>
                  <a:gd name="T7" fmla="*/ 90 h 420"/>
                  <a:gd name="T8" fmla="*/ 30 w 150"/>
                  <a:gd name="T9" fmla="*/ 270 h 420"/>
                </a:gdLst>
                <a:ahLst/>
                <a:cxnLst>
                  <a:cxn ang="0">
                    <a:pos x="T0" y="T1"/>
                  </a:cxn>
                  <a:cxn ang="0">
                    <a:pos x="T2" y="T3"/>
                  </a:cxn>
                  <a:cxn ang="0">
                    <a:pos x="T4" y="T5"/>
                  </a:cxn>
                  <a:cxn ang="0">
                    <a:pos x="T6" y="T7"/>
                  </a:cxn>
                  <a:cxn ang="0">
                    <a:pos x="T8" y="T9"/>
                  </a:cxn>
                </a:cxnLst>
                <a:rect l="0" t="0" r="r" b="b"/>
                <a:pathLst>
                  <a:path w="150" h="420">
                    <a:moveTo>
                      <a:pt x="30" y="270"/>
                    </a:moveTo>
                    <a:lnTo>
                      <a:pt x="150" y="420"/>
                    </a:lnTo>
                    <a:lnTo>
                      <a:pt x="60" y="0"/>
                    </a:lnTo>
                    <a:lnTo>
                      <a:pt x="0" y="90"/>
                    </a:lnTo>
                    <a:lnTo>
                      <a:pt x="30" y="27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6" name="Freeform 2560">
                <a:extLst>
                  <a:ext uri="{FF2B5EF4-FFF2-40B4-BE49-F238E27FC236}">
                    <a16:creationId xmlns:a16="http://schemas.microsoft.com/office/drawing/2014/main" id="{C0C7B5B0-A338-432D-B5CA-9A2DE99383A9}"/>
                  </a:ext>
                </a:extLst>
              </p:cNvPr>
              <p:cNvSpPr>
                <a:spLocks/>
              </p:cNvSpPr>
              <p:nvPr/>
            </p:nvSpPr>
            <p:spPr bwMode="auto">
              <a:xfrm>
                <a:off x="4094" y="570"/>
                <a:ext cx="180" cy="420"/>
              </a:xfrm>
              <a:custGeom>
                <a:avLst/>
                <a:gdLst>
                  <a:gd name="T0" fmla="*/ 180 w 180"/>
                  <a:gd name="T1" fmla="*/ 300 h 420"/>
                  <a:gd name="T2" fmla="*/ 30 w 180"/>
                  <a:gd name="T3" fmla="*/ 180 h 420"/>
                  <a:gd name="T4" fmla="*/ 0 w 180"/>
                  <a:gd name="T5" fmla="*/ 330 h 420"/>
                  <a:gd name="T6" fmla="*/ 120 w 180"/>
                  <a:gd name="T7" fmla="*/ 420 h 420"/>
                  <a:gd name="T8" fmla="*/ 60 w 180"/>
                  <a:gd name="T9" fmla="*/ 0 h 420"/>
                </a:gdLst>
                <a:ahLst/>
                <a:cxnLst>
                  <a:cxn ang="0">
                    <a:pos x="T0" y="T1"/>
                  </a:cxn>
                  <a:cxn ang="0">
                    <a:pos x="T2" y="T3"/>
                  </a:cxn>
                  <a:cxn ang="0">
                    <a:pos x="T4" y="T5"/>
                  </a:cxn>
                  <a:cxn ang="0">
                    <a:pos x="T6" y="T7"/>
                  </a:cxn>
                  <a:cxn ang="0">
                    <a:pos x="T8" y="T9"/>
                  </a:cxn>
                </a:cxnLst>
                <a:rect l="0" t="0" r="r" b="b"/>
                <a:pathLst>
                  <a:path w="180" h="420">
                    <a:moveTo>
                      <a:pt x="180" y="300"/>
                    </a:moveTo>
                    <a:lnTo>
                      <a:pt x="30" y="180"/>
                    </a:lnTo>
                    <a:lnTo>
                      <a:pt x="0" y="330"/>
                    </a:lnTo>
                    <a:lnTo>
                      <a:pt x="120" y="42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7" name="Freeform 2561">
                <a:extLst>
                  <a:ext uri="{FF2B5EF4-FFF2-40B4-BE49-F238E27FC236}">
                    <a16:creationId xmlns:a16="http://schemas.microsoft.com/office/drawing/2014/main" id="{5DF8F4B4-8971-4E08-8E44-C71F340DA5FA}"/>
                  </a:ext>
                </a:extLst>
              </p:cNvPr>
              <p:cNvSpPr>
                <a:spLocks/>
              </p:cNvSpPr>
              <p:nvPr/>
            </p:nvSpPr>
            <p:spPr bwMode="auto">
              <a:xfrm>
                <a:off x="4244" y="60"/>
                <a:ext cx="180" cy="240"/>
              </a:xfrm>
              <a:custGeom>
                <a:avLst/>
                <a:gdLst>
                  <a:gd name="T0" fmla="*/ 30 w 180"/>
                  <a:gd name="T1" fmla="*/ 240 h 240"/>
                  <a:gd name="T2" fmla="*/ 0 w 180"/>
                  <a:gd name="T3" fmla="*/ 90 h 240"/>
                  <a:gd name="T4" fmla="*/ 180 w 180"/>
                  <a:gd name="T5" fmla="*/ 0 h 240"/>
                  <a:gd name="T6" fmla="*/ 150 w 180"/>
                  <a:gd name="T7" fmla="*/ 210 h 240"/>
                  <a:gd name="T8" fmla="*/ 30 w 180"/>
                  <a:gd name="T9" fmla="*/ 240 h 240"/>
                </a:gdLst>
                <a:ahLst/>
                <a:cxnLst>
                  <a:cxn ang="0">
                    <a:pos x="T0" y="T1"/>
                  </a:cxn>
                  <a:cxn ang="0">
                    <a:pos x="T2" y="T3"/>
                  </a:cxn>
                  <a:cxn ang="0">
                    <a:pos x="T4" y="T5"/>
                  </a:cxn>
                  <a:cxn ang="0">
                    <a:pos x="T6" y="T7"/>
                  </a:cxn>
                  <a:cxn ang="0">
                    <a:pos x="T8" y="T9"/>
                  </a:cxn>
                </a:cxnLst>
                <a:rect l="0" t="0" r="r" b="b"/>
                <a:pathLst>
                  <a:path w="180" h="240">
                    <a:moveTo>
                      <a:pt x="30" y="240"/>
                    </a:moveTo>
                    <a:lnTo>
                      <a:pt x="0" y="90"/>
                    </a:lnTo>
                    <a:lnTo>
                      <a:pt x="180" y="0"/>
                    </a:lnTo>
                    <a:lnTo>
                      <a:pt x="150" y="210"/>
                    </a:lnTo>
                    <a:lnTo>
                      <a:pt x="3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8" name="Line 2562">
                <a:extLst>
                  <a:ext uri="{FF2B5EF4-FFF2-40B4-BE49-F238E27FC236}">
                    <a16:creationId xmlns:a16="http://schemas.microsoft.com/office/drawing/2014/main" id="{D8FDE66B-5856-47B6-82BD-AF53D95B6DA5}"/>
                  </a:ext>
                </a:extLst>
              </p:cNvPr>
              <p:cNvSpPr>
                <a:spLocks noChangeShapeType="1"/>
              </p:cNvSpPr>
              <p:nvPr/>
            </p:nvSpPr>
            <p:spPr bwMode="auto">
              <a:xfrm flipH="1">
                <a:off x="4304" y="54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9" name="Freeform 2563">
                <a:extLst>
                  <a:ext uri="{FF2B5EF4-FFF2-40B4-BE49-F238E27FC236}">
                    <a16:creationId xmlns:a16="http://schemas.microsoft.com/office/drawing/2014/main" id="{6104AB49-31ED-4EC0-BB7A-D30F929EB1C5}"/>
                  </a:ext>
                </a:extLst>
              </p:cNvPr>
              <p:cNvSpPr>
                <a:spLocks/>
              </p:cNvSpPr>
              <p:nvPr/>
            </p:nvSpPr>
            <p:spPr bwMode="auto">
              <a:xfrm>
                <a:off x="2985" y="330"/>
                <a:ext cx="120" cy="210"/>
              </a:xfrm>
              <a:custGeom>
                <a:avLst/>
                <a:gdLst>
                  <a:gd name="T0" fmla="*/ 90 w 120"/>
                  <a:gd name="T1" fmla="*/ 0 h 210"/>
                  <a:gd name="T2" fmla="*/ 0 w 120"/>
                  <a:gd name="T3" fmla="*/ 210 h 210"/>
                  <a:gd name="T4" fmla="*/ 120 w 120"/>
                  <a:gd name="T5" fmla="*/ 180 h 210"/>
                  <a:gd name="T6" fmla="*/ 90 w 120"/>
                  <a:gd name="T7" fmla="*/ 0 h 210"/>
                </a:gdLst>
                <a:ahLst/>
                <a:cxnLst>
                  <a:cxn ang="0">
                    <a:pos x="T0" y="T1"/>
                  </a:cxn>
                  <a:cxn ang="0">
                    <a:pos x="T2" y="T3"/>
                  </a:cxn>
                  <a:cxn ang="0">
                    <a:pos x="T4" y="T5"/>
                  </a:cxn>
                  <a:cxn ang="0">
                    <a:pos x="T6" y="T7"/>
                  </a:cxn>
                </a:cxnLst>
                <a:rect l="0" t="0" r="r" b="b"/>
                <a:pathLst>
                  <a:path w="120" h="210">
                    <a:moveTo>
                      <a:pt x="90" y="0"/>
                    </a:moveTo>
                    <a:lnTo>
                      <a:pt x="0" y="210"/>
                    </a:lnTo>
                    <a:lnTo>
                      <a:pt x="120" y="18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0" name="Freeform 2564">
                <a:extLst>
                  <a:ext uri="{FF2B5EF4-FFF2-40B4-BE49-F238E27FC236}">
                    <a16:creationId xmlns:a16="http://schemas.microsoft.com/office/drawing/2014/main" id="{DC575706-257C-49E2-B66C-9BE19728CB6B}"/>
                  </a:ext>
                </a:extLst>
              </p:cNvPr>
              <p:cNvSpPr>
                <a:spLocks/>
              </p:cNvSpPr>
              <p:nvPr/>
            </p:nvSpPr>
            <p:spPr bwMode="auto">
              <a:xfrm>
                <a:off x="3195" y="240"/>
                <a:ext cx="480" cy="270"/>
              </a:xfrm>
              <a:custGeom>
                <a:avLst/>
                <a:gdLst>
                  <a:gd name="T0" fmla="*/ 0 w 480"/>
                  <a:gd name="T1" fmla="*/ 0 h 270"/>
                  <a:gd name="T2" fmla="*/ 90 w 480"/>
                  <a:gd name="T3" fmla="*/ 240 h 270"/>
                  <a:gd name="T4" fmla="*/ 300 w 480"/>
                  <a:gd name="T5" fmla="*/ 150 h 270"/>
                  <a:gd name="T6" fmla="*/ 480 w 480"/>
                  <a:gd name="T7" fmla="*/ 210 h 270"/>
                  <a:gd name="T8" fmla="*/ 270 w 480"/>
                  <a:gd name="T9" fmla="*/ 270 h 270"/>
                  <a:gd name="T10" fmla="*/ 120 w 480"/>
                  <a:gd name="T11" fmla="*/ 60 h 270"/>
                </a:gdLst>
                <a:ahLst/>
                <a:cxnLst>
                  <a:cxn ang="0">
                    <a:pos x="T0" y="T1"/>
                  </a:cxn>
                  <a:cxn ang="0">
                    <a:pos x="T2" y="T3"/>
                  </a:cxn>
                  <a:cxn ang="0">
                    <a:pos x="T4" y="T5"/>
                  </a:cxn>
                  <a:cxn ang="0">
                    <a:pos x="T6" y="T7"/>
                  </a:cxn>
                  <a:cxn ang="0">
                    <a:pos x="T8" y="T9"/>
                  </a:cxn>
                  <a:cxn ang="0">
                    <a:pos x="T10" y="T11"/>
                  </a:cxn>
                </a:cxnLst>
                <a:rect l="0" t="0" r="r" b="b"/>
                <a:pathLst>
                  <a:path w="480" h="270">
                    <a:moveTo>
                      <a:pt x="0" y="0"/>
                    </a:moveTo>
                    <a:lnTo>
                      <a:pt x="90" y="240"/>
                    </a:lnTo>
                    <a:lnTo>
                      <a:pt x="300" y="150"/>
                    </a:lnTo>
                    <a:lnTo>
                      <a:pt x="480" y="210"/>
                    </a:lnTo>
                    <a:lnTo>
                      <a:pt x="270" y="270"/>
                    </a:lnTo>
                    <a:lnTo>
                      <a:pt x="1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1" name="Freeform 2565">
                <a:extLst>
                  <a:ext uri="{FF2B5EF4-FFF2-40B4-BE49-F238E27FC236}">
                    <a16:creationId xmlns:a16="http://schemas.microsoft.com/office/drawing/2014/main" id="{0FD44618-A4FD-488B-BDF9-A392A4F18609}"/>
                  </a:ext>
                </a:extLst>
              </p:cNvPr>
              <p:cNvSpPr>
                <a:spLocks/>
              </p:cNvSpPr>
              <p:nvPr/>
            </p:nvSpPr>
            <p:spPr bwMode="auto">
              <a:xfrm>
                <a:off x="2805" y="60"/>
                <a:ext cx="1289" cy="300"/>
              </a:xfrm>
              <a:custGeom>
                <a:avLst/>
                <a:gdLst>
                  <a:gd name="T0" fmla="*/ 1169 w 1289"/>
                  <a:gd name="T1" fmla="*/ 210 h 300"/>
                  <a:gd name="T2" fmla="*/ 1169 w 1289"/>
                  <a:gd name="T3" fmla="*/ 0 h 300"/>
                  <a:gd name="T4" fmla="*/ 1049 w 1289"/>
                  <a:gd name="T5" fmla="*/ 90 h 300"/>
                  <a:gd name="T6" fmla="*/ 1169 w 1289"/>
                  <a:gd name="T7" fmla="*/ 210 h 300"/>
                  <a:gd name="T8" fmla="*/ 1289 w 1289"/>
                  <a:gd name="T9" fmla="*/ 60 h 300"/>
                  <a:gd name="T10" fmla="*/ 1259 w 1289"/>
                  <a:gd name="T11" fmla="*/ 240 h 300"/>
                  <a:gd name="T12" fmla="*/ 1169 w 1289"/>
                  <a:gd name="T13" fmla="*/ 0 h 300"/>
                  <a:gd name="T14" fmla="*/ 870 w 1289"/>
                  <a:gd name="T15" fmla="*/ 30 h 300"/>
                  <a:gd name="T16" fmla="*/ 780 w 1289"/>
                  <a:gd name="T17" fmla="*/ 240 h 300"/>
                  <a:gd name="T18" fmla="*/ 660 w 1289"/>
                  <a:gd name="T19" fmla="*/ 90 h 300"/>
                  <a:gd name="T20" fmla="*/ 450 w 1289"/>
                  <a:gd name="T21" fmla="*/ 90 h 300"/>
                  <a:gd name="T22" fmla="*/ 630 w 1289"/>
                  <a:gd name="T23" fmla="*/ 210 h 300"/>
                  <a:gd name="T24" fmla="*/ 390 w 1289"/>
                  <a:gd name="T25" fmla="*/ 180 h 300"/>
                  <a:gd name="T26" fmla="*/ 270 w 1289"/>
                  <a:gd name="T27" fmla="*/ 30 h 300"/>
                  <a:gd name="T28" fmla="*/ 210 w 1289"/>
                  <a:gd name="T29" fmla="*/ 150 h 300"/>
                  <a:gd name="T30" fmla="*/ 90 w 1289"/>
                  <a:gd name="T31" fmla="*/ 210 h 300"/>
                  <a:gd name="T32" fmla="*/ 0 w 1289"/>
                  <a:gd name="T33" fmla="*/ 60 h 300"/>
                  <a:gd name="T34" fmla="*/ 150 w 1289"/>
                  <a:gd name="T35" fmla="*/ 30 h 300"/>
                  <a:gd name="T36" fmla="*/ 150 w 1289"/>
                  <a:gd name="T3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9" h="300">
                    <a:moveTo>
                      <a:pt x="1169" y="210"/>
                    </a:moveTo>
                    <a:lnTo>
                      <a:pt x="1169" y="0"/>
                    </a:lnTo>
                    <a:lnTo>
                      <a:pt x="1049" y="90"/>
                    </a:lnTo>
                    <a:lnTo>
                      <a:pt x="1169" y="210"/>
                    </a:lnTo>
                    <a:lnTo>
                      <a:pt x="1289" y="60"/>
                    </a:lnTo>
                    <a:lnTo>
                      <a:pt x="1259" y="240"/>
                    </a:lnTo>
                    <a:lnTo>
                      <a:pt x="1169" y="0"/>
                    </a:lnTo>
                    <a:lnTo>
                      <a:pt x="870" y="30"/>
                    </a:lnTo>
                    <a:lnTo>
                      <a:pt x="780" y="240"/>
                    </a:lnTo>
                    <a:lnTo>
                      <a:pt x="660" y="90"/>
                    </a:lnTo>
                    <a:lnTo>
                      <a:pt x="450" y="90"/>
                    </a:lnTo>
                    <a:lnTo>
                      <a:pt x="630" y="210"/>
                    </a:lnTo>
                    <a:lnTo>
                      <a:pt x="390" y="180"/>
                    </a:lnTo>
                    <a:lnTo>
                      <a:pt x="270" y="30"/>
                    </a:lnTo>
                    <a:lnTo>
                      <a:pt x="210" y="150"/>
                    </a:lnTo>
                    <a:lnTo>
                      <a:pt x="90" y="210"/>
                    </a:lnTo>
                    <a:lnTo>
                      <a:pt x="0" y="60"/>
                    </a:lnTo>
                    <a:lnTo>
                      <a:pt x="150" y="3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2" name="Freeform 2566">
                <a:extLst>
                  <a:ext uri="{FF2B5EF4-FFF2-40B4-BE49-F238E27FC236}">
                    <a16:creationId xmlns:a16="http://schemas.microsoft.com/office/drawing/2014/main" id="{63D3F7E8-4D11-435D-9990-694F758FDFF6}"/>
                  </a:ext>
                </a:extLst>
              </p:cNvPr>
              <p:cNvSpPr>
                <a:spLocks/>
              </p:cNvSpPr>
              <p:nvPr/>
            </p:nvSpPr>
            <p:spPr bwMode="auto">
              <a:xfrm>
                <a:off x="3675" y="90"/>
                <a:ext cx="269" cy="270"/>
              </a:xfrm>
              <a:custGeom>
                <a:avLst/>
                <a:gdLst>
                  <a:gd name="T0" fmla="*/ 0 w 269"/>
                  <a:gd name="T1" fmla="*/ 0 h 270"/>
                  <a:gd name="T2" fmla="*/ 179 w 269"/>
                  <a:gd name="T3" fmla="*/ 60 h 270"/>
                  <a:gd name="T4" fmla="*/ 269 w 269"/>
                  <a:gd name="T5" fmla="*/ 270 h 270"/>
                </a:gdLst>
                <a:ahLst/>
                <a:cxnLst>
                  <a:cxn ang="0">
                    <a:pos x="T0" y="T1"/>
                  </a:cxn>
                  <a:cxn ang="0">
                    <a:pos x="T2" y="T3"/>
                  </a:cxn>
                  <a:cxn ang="0">
                    <a:pos x="T4" y="T5"/>
                  </a:cxn>
                </a:cxnLst>
                <a:rect l="0" t="0" r="r" b="b"/>
                <a:pathLst>
                  <a:path w="269" h="270">
                    <a:moveTo>
                      <a:pt x="0" y="0"/>
                    </a:moveTo>
                    <a:lnTo>
                      <a:pt x="179" y="60"/>
                    </a:lnTo>
                    <a:lnTo>
                      <a:pt x="26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3" name="Freeform 2567">
                <a:extLst>
                  <a:ext uri="{FF2B5EF4-FFF2-40B4-BE49-F238E27FC236}">
                    <a16:creationId xmlns:a16="http://schemas.microsoft.com/office/drawing/2014/main" id="{227976E7-12C3-48C6-B679-F2AF872E5B5E}"/>
                  </a:ext>
                </a:extLst>
              </p:cNvPr>
              <p:cNvSpPr>
                <a:spLocks/>
              </p:cNvSpPr>
              <p:nvPr/>
            </p:nvSpPr>
            <p:spPr bwMode="auto">
              <a:xfrm>
                <a:off x="3195" y="30"/>
                <a:ext cx="360" cy="60"/>
              </a:xfrm>
              <a:custGeom>
                <a:avLst/>
                <a:gdLst>
                  <a:gd name="T0" fmla="*/ 360 w 360"/>
                  <a:gd name="T1" fmla="*/ 0 h 60"/>
                  <a:gd name="T2" fmla="*/ 150 w 360"/>
                  <a:gd name="T3" fmla="*/ 60 h 60"/>
                  <a:gd name="T4" fmla="*/ 0 w 360"/>
                  <a:gd name="T5" fmla="*/ 0 h 60"/>
                </a:gdLst>
                <a:ahLst/>
                <a:cxnLst>
                  <a:cxn ang="0">
                    <a:pos x="T0" y="T1"/>
                  </a:cxn>
                  <a:cxn ang="0">
                    <a:pos x="T2" y="T3"/>
                  </a:cxn>
                  <a:cxn ang="0">
                    <a:pos x="T4" y="T5"/>
                  </a:cxn>
                </a:cxnLst>
                <a:rect l="0" t="0" r="r" b="b"/>
                <a:pathLst>
                  <a:path w="360" h="60">
                    <a:moveTo>
                      <a:pt x="360" y="0"/>
                    </a:moveTo>
                    <a:lnTo>
                      <a:pt x="15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4" name="Freeform 2568">
                <a:extLst>
                  <a:ext uri="{FF2B5EF4-FFF2-40B4-BE49-F238E27FC236}">
                    <a16:creationId xmlns:a16="http://schemas.microsoft.com/office/drawing/2014/main" id="{53876A7A-DDDB-493A-9698-929B49B89147}"/>
                  </a:ext>
                </a:extLst>
              </p:cNvPr>
              <p:cNvSpPr>
                <a:spLocks/>
              </p:cNvSpPr>
              <p:nvPr/>
            </p:nvSpPr>
            <p:spPr bwMode="auto">
              <a:xfrm>
                <a:off x="1846" y="210"/>
                <a:ext cx="389" cy="300"/>
              </a:xfrm>
              <a:custGeom>
                <a:avLst/>
                <a:gdLst>
                  <a:gd name="T0" fmla="*/ 120 w 389"/>
                  <a:gd name="T1" fmla="*/ 150 h 300"/>
                  <a:gd name="T2" fmla="*/ 0 w 389"/>
                  <a:gd name="T3" fmla="*/ 90 h 300"/>
                  <a:gd name="T4" fmla="*/ 60 w 389"/>
                  <a:gd name="T5" fmla="*/ 300 h 300"/>
                  <a:gd name="T6" fmla="*/ 269 w 389"/>
                  <a:gd name="T7" fmla="*/ 120 h 300"/>
                  <a:gd name="T8" fmla="*/ 389 w 389"/>
                  <a:gd name="T9" fmla="*/ 180 h 300"/>
                  <a:gd name="T10" fmla="*/ 210 w 389"/>
                  <a:gd name="T11" fmla="*/ 0 h 300"/>
                  <a:gd name="T12" fmla="*/ 0 w 389"/>
                  <a:gd name="T13" fmla="*/ 90 h 300"/>
                </a:gdLst>
                <a:ahLst/>
                <a:cxnLst>
                  <a:cxn ang="0">
                    <a:pos x="T0" y="T1"/>
                  </a:cxn>
                  <a:cxn ang="0">
                    <a:pos x="T2" y="T3"/>
                  </a:cxn>
                  <a:cxn ang="0">
                    <a:pos x="T4" y="T5"/>
                  </a:cxn>
                  <a:cxn ang="0">
                    <a:pos x="T6" y="T7"/>
                  </a:cxn>
                  <a:cxn ang="0">
                    <a:pos x="T8" y="T9"/>
                  </a:cxn>
                  <a:cxn ang="0">
                    <a:pos x="T10" y="T11"/>
                  </a:cxn>
                  <a:cxn ang="0">
                    <a:pos x="T12" y="T13"/>
                  </a:cxn>
                </a:cxnLst>
                <a:rect l="0" t="0" r="r" b="b"/>
                <a:pathLst>
                  <a:path w="389" h="300">
                    <a:moveTo>
                      <a:pt x="120" y="150"/>
                    </a:moveTo>
                    <a:lnTo>
                      <a:pt x="0" y="90"/>
                    </a:lnTo>
                    <a:lnTo>
                      <a:pt x="60" y="300"/>
                    </a:lnTo>
                    <a:lnTo>
                      <a:pt x="269" y="120"/>
                    </a:lnTo>
                    <a:lnTo>
                      <a:pt x="389" y="180"/>
                    </a:lnTo>
                    <a:lnTo>
                      <a:pt x="210" y="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5" name="Freeform 2569">
                <a:extLst>
                  <a:ext uri="{FF2B5EF4-FFF2-40B4-BE49-F238E27FC236}">
                    <a16:creationId xmlns:a16="http://schemas.microsoft.com/office/drawing/2014/main" id="{9CC15AA7-2132-4BDB-A665-20B1D3C1A501}"/>
                  </a:ext>
                </a:extLst>
              </p:cNvPr>
              <p:cNvSpPr>
                <a:spLocks/>
              </p:cNvSpPr>
              <p:nvPr/>
            </p:nvSpPr>
            <p:spPr bwMode="auto">
              <a:xfrm>
                <a:off x="1966" y="60"/>
                <a:ext cx="149" cy="150"/>
              </a:xfrm>
              <a:custGeom>
                <a:avLst/>
                <a:gdLst>
                  <a:gd name="T0" fmla="*/ 0 w 149"/>
                  <a:gd name="T1" fmla="*/ 0 h 150"/>
                  <a:gd name="T2" fmla="*/ 90 w 149"/>
                  <a:gd name="T3" fmla="*/ 150 h 150"/>
                  <a:gd name="T4" fmla="*/ 149 w 149"/>
                  <a:gd name="T5" fmla="*/ 30 h 150"/>
                </a:gdLst>
                <a:ahLst/>
                <a:cxnLst>
                  <a:cxn ang="0">
                    <a:pos x="T0" y="T1"/>
                  </a:cxn>
                  <a:cxn ang="0">
                    <a:pos x="T2" y="T3"/>
                  </a:cxn>
                  <a:cxn ang="0">
                    <a:pos x="T4" y="T5"/>
                  </a:cxn>
                </a:cxnLst>
                <a:rect l="0" t="0" r="r" b="b"/>
                <a:pathLst>
                  <a:path w="149" h="150">
                    <a:moveTo>
                      <a:pt x="0" y="0"/>
                    </a:moveTo>
                    <a:lnTo>
                      <a:pt x="90" y="150"/>
                    </a:lnTo>
                    <a:lnTo>
                      <a:pt x="14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6" name="Freeform 2570">
                <a:extLst>
                  <a:ext uri="{FF2B5EF4-FFF2-40B4-BE49-F238E27FC236}">
                    <a16:creationId xmlns:a16="http://schemas.microsoft.com/office/drawing/2014/main" id="{8C0E38B8-553C-41E5-B4A5-0C5654F5BBC1}"/>
                  </a:ext>
                </a:extLst>
              </p:cNvPr>
              <p:cNvSpPr>
                <a:spLocks/>
              </p:cNvSpPr>
              <p:nvPr/>
            </p:nvSpPr>
            <p:spPr bwMode="auto">
              <a:xfrm>
                <a:off x="2056" y="210"/>
                <a:ext cx="1649" cy="1050"/>
              </a:xfrm>
              <a:custGeom>
                <a:avLst/>
                <a:gdLst>
                  <a:gd name="T0" fmla="*/ 0 w 1649"/>
                  <a:gd name="T1" fmla="*/ 0 h 1050"/>
                  <a:gd name="T2" fmla="*/ 179 w 1649"/>
                  <a:gd name="T3" fmla="*/ 30 h 1050"/>
                  <a:gd name="T4" fmla="*/ 299 w 1649"/>
                  <a:gd name="T5" fmla="*/ 120 h 1050"/>
                  <a:gd name="T6" fmla="*/ 269 w 1649"/>
                  <a:gd name="T7" fmla="*/ 240 h 1050"/>
                  <a:gd name="T8" fmla="*/ 479 w 1649"/>
                  <a:gd name="T9" fmla="*/ 180 h 1050"/>
                  <a:gd name="T10" fmla="*/ 449 w 1649"/>
                  <a:gd name="T11" fmla="*/ 300 h 1050"/>
                  <a:gd name="T12" fmla="*/ 269 w 1649"/>
                  <a:gd name="T13" fmla="*/ 240 h 1050"/>
                  <a:gd name="T14" fmla="*/ 359 w 1649"/>
                  <a:gd name="T15" fmla="*/ 360 h 1050"/>
                  <a:gd name="T16" fmla="*/ 449 w 1649"/>
                  <a:gd name="T17" fmla="*/ 300 h 1050"/>
                  <a:gd name="T18" fmla="*/ 839 w 1649"/>
                  <a:gd name="T19" fmla="*/ 240 h 1050"/>
                  <a:gd name="T20" fmla="*/ 749 w 1649"/>
                  <a:gd name="T21" fmla="*/ 330 h 1050"/>
                  <a:gd name="T22" fmla="*/ 689 w 1649"/>
                  <a:gd name="T23" fmla="*/ 420 h 1050"/>
                  <a:gd name="T24" fmla="*/ 539 w 1649"/>
                  <a:gd name="T25" fmla="*/ 510 h 1050"/>
                  <a:gd name="T26" fmla="*/ 539 w 1649"/>
                  <a:gd name="T27" fmla="*/ 660 h 1050"/>
                  <a:gd name="T28" fmla="*/ 659 w 1649"/>
                  <a:gd name="T29" fmla="*/ 570 h 1050"/>
                  <a:gd name="T30" fmla="*/ 809 w 1649"/>
                  <a:gd name="T31" fmla="*/ 450 h 1050"/>
                  <a:gd name="T32" fmla="*/ 1049 w 1649"/>
                  <a:gd name="T33" fmla="*/ 300 h 1050"/>
                  <a:gd name="T34" fmla="*/ 1139 w 1649"/>
                  <a:gd name="T35" fmla="*/ 360 h 1050"/>
                  <a:gd name="T36" fmla="*/ 1229 w 1649"/>
                  <a:gd name="T37" fmla="*/ 480 h 1050"/>
                  <a:gd name="T38" fmla="*/ 1319 w 1649"/>
                  <a:gd name="T39" fmla="*/ 360 h 1050"/>
                  <a:gd name="T40" fmla="*/ 1139 w 1649"/>
                  <a:gd name="T41" fmla="*/ 360 h 1050"/>
                  <a:gd name="T42" fmla="*/ 1139 w 1649"/>
                  <a:gd name="T43" fmla="*/ 511 h 1050"/>
                  <a:gd name="T44" fmla="*/ 1049 w 1649"/>
                  <a:gd name="T45" fmla="*/ 480 h 1050"/>
                  <a:gd name="T46" fmla="*/ 1019 w 1649"/>
                  <a:gd name="T47" fmla="*/ 570 h 1050"/>
                  <a:gd name="T48" fmla="*/ 1019 w 1649"/>
                  <a:gd name="T49" fmla="*/ 810 h 1050"/>
                  <a:gd name="T50" fmla="*/ 1139 w 1649"/>
                  <a:gd name="T51" fmla="*/ 720 h 1050"/>
                  <a:gd name="T52" fmla="*/ 1227 w 1649"/>
                  <a:gd name="T53" fmla="*/ 812 h 1050"/>
                  <a:gd name="T54" fmla="*/ 1199 w 1649"/>
                  <a:gd name="T55" fmla="*/ 630 h 1050"/>
                  <a:gd name="T56" fmla="*/ 1289 w 1649"/>
                  <a:gd name="T57" fmla="*/ 570 h 1050"/>
                  <a:gd name="T58" fmla="*/ 1409 w 1649"/>
                  <a:gd name="T59" fmla="*/ 630 h 1050"/>
                  <a:gd name="T60" fmla="*/ 1289 w 1649"/>
                  <a:gd name="T61" fmla="*/ 690 h 1050"/>
                  <a:gd name="T62" fmla="*/ 1379 w 1649"/>
                  <a:gd name="T63" fmla="*/ 750 h 1050"/>
                  <a:gd name="T64" fmla="*/ 1649 w 1649"/>
                  <a:gd name="T65" fmla="*/ 720 h 1050"/>
                  <a:gd name="T66" fmla="*/ 1529 w 1649"/>
                  <a:gd name="T67" fmla="*/ 780 h 1050"/>
                  <a:gd name="T68" fmla="*/ 1559 w 1649"/>
                  <a:gd name="T69" fmla="*/ 1050 h 1050"/>
                  <a:gd name="T70" fmla="*/ 1349 w 1649"/>
                  <a:gd name="T71" fmla="*/ 87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1050">
                    <a:moveTo>
                      <a:pt x="0" y="0"/>
                    </a:moveTo>
                    <a:lnTo>
                      <a:pt x="179" y="30"/>
                    </a:lnTo>
                    <a:lnTo>
                      <a:pt x="299" y="120"/>
                    </a:lnTo>
                    <a:lnTo>
                      <a:pt x="269" y="240"/>
                    </a:lnTo>
                    <a:lnTo>
                      <a:pt x="479" y="180"/>
                    </a:lnTo>
                    <a:lnTo>
                      <a:pt x="449" y="300"/>
                    </a:lnTo>
                    <a:lnTo>
                      <a:pt x="269" y="240"/>
                    </a:lnTo>
                    <a:lnTo>
                      <a:pt x="359" y="360"/>
                    </a:lnTo>
                    <a:lnTo>
                      <a:pt x="449" y="300"/>
                    </a:lnTo>
                    <a:lnTo>
                      <a:pt x="839" y="240"/>
                    </a:lnTo>
                    <a:lnTo>
                      <a:pt x="749" y="330"/>
                    </a:lnTo>
                    <a:lnTo>
                      <a:pt x="689" y="420"/>
                    </a:lnTo>
                    <a:lnTo>
                      <a:pt x="539" y="510"/>
                    </a:lnTo>
                    <a:lnTo>
                      <a:pt x="539" y="660"/>
                    </a:lnTo>
                    <a:lnTo>
                      <a:pt x="659" y="570"/>
                    </a:lnTo>
                    <a:lnTo>
                      <a:pt x="809" y="450"/>
                    </a:lnTo>
                    <a:lnTo>
                      <a:pt x="1049" y="300"/>
                    </a:lnTo>
                    <a:lnTo>
                      <a:pt x="1139" y="360"/>
                    </a:lnTo>
                    <a:lnTo>
                      <a:pt x="1229" y="480"/>
                    </a:lnTo>
                    <a:lnTo>
                      <a:pt x="1319" y="360"/>
                    </a:lnTo>
                    <a:lnTo>
                      <a:pt x="1139" y="360"/>
                    </a:lnTo>
                    <a:lnTo>
                      <a:pt x="1139" y="511"/>
                    </a:lnTo>
                    <a:lnTo>
                      <a:pt x="1049" y="480"/>
                    </a:lnTo>
                    <a:lnTo>
                      <a:pt x="1019" y="570"/>
                    </a:lnTo>
                    <a:lnTo>
                      <a:pt x="1019" y="810"/>
                    </a:lnTo>
                    <a:lnTo>
                      <a:pt x="1139" y="720"/>
                    </a:lnTo>
                    <a:lnTo>
                      <a:pt x="1227" y="812"/>
                    </a:lnTo>
                    <a:lnTo>
                      <a:pt x="1199" y="630"/>
                    </a:lnTo>
                    <a:lnTo>
                      <a:pt x="1289" y="570"/>
                    </a:lnTo>
                    <a:lnTo>
                      <a:pt x="1409" y="630"/>
                    </a:lnTo>
                    <a:lnTo>
                      <a:pt x="1289" y="690"/>
                    </a:lnTo>
                    <a:lnTo>
                      <a:pt x="1379" y="750"/>
                    </a:lnTo>
                    <a:lnTo>
                      <a:pt x="1649" y="720"/>
                    </a:lnTo>
                    <a:lnTo>
                      <a:pt x="1529" y="780"/>
                    </a:lnTo>
                    <a:lnTo>
                      <a:pt x="1559" y="1050"/>
                    </a:lnTo>
                    <a:lnTo>
                      <a:pt x="1349" y="8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7" name="Freeform 2571">
                <a:extLst>
                  <a:ext uri="{FF2B5EF4-FFF2-40B4-BE49-F238E27FC236}">
                    <a16:creationId xmlns:a16="http://schemas.microsoft.com/office/drawing/2014/main" id="{30E96AD4-A3BC-412D-8856-F76AD27A8B3D}"/>
                  </a:ext>
                </a:extLst>
              </p:cNvPr>
              <p:cNvSpPr>
                <a:spLocks/>
              </p:cNvSpPr>
              <p:nvPr/>
            </p:nvSpPr>
            <p:spPr bwMode="auto">
              <a:xfrm>
                <a:off x="2505" y="300"/>
                <a:ext cx="270" cy="210"/>
              </a:xfrm>
              <a:custGeom>
                <a:avLst/>
                <a:gdLst>
                  <a:gd name="T0" fmla="*/ 120 w 270"/>
                  <a:gd name="T1" fmla="*/ 0 h 210"/>
                  <a:gd name="T2" fmla="*/ 270 w 270"/>
                  <a:gd name="T3" fmla="*/ 60 h 210"/>
                  <a:gd name="T4" fmla="*/ 0 w 270"/>
                  <a:gd name="T5" fmla="*/ 210 h 210"/>
                </a:gdLst>
                <a:ahLst/>
                <a:cxnLst>
                  <a:cxn ang="0">
                    <a:pos x="T0" y="T1"/>
                  </a:cxn>
                  <a:cxn ang="0">
                    <a:pos x="T2" y="T3"/>
                  </a:cxn>
                  <a:cxn ang="0">
                    <a:pos x="T4" y="T5"/>
                  </a:cxn>
                </a:cxnLst>
                <a:rect l="0" t="0" r="r" b="b"/>
                <a:pathLst>
                  <a:path w="270" h="210">
                    <a:moveTo>
                      <a:pt x="120" y="0"/>
                    </a:move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8" name="Freeform 2572">
                <a:extLst>
                  <a:ext uri="{FF2B5EF4-FFF2-40B4-BE49-F238E27FC236}">
                    <a16:creationId xmlns:a16="http://schemas.microsoft.com/office/drawing/2014/main" id="{0D7CDB19-E77E-4992-A8C8-012ECF49F28B}"/>
                  </a:ext>
                </a:extLst>
              </p:cNvPr>
              <p:cNvSpPr>
                <a:spLocks/>
              </p:cNvSpPr>
              <p:nvPr/>
            </p:nvSpPr>
            <p:spPr bwMode="auto">
              <a:xfrm>
                <a:off x="2775" y="360"/>
                <a:ext cx="180" cy="90"/>
              </a:xfrm>
              <a:custGeom>
                <a:avLst/>
                <a:gdLst>
                  <a:gd name="T0" fmla="*/ 120 w 180"/>
                  <a:gd name="T1" fmla="*/ 90 h 90"/>
                  <a:gd name="T2" fmla="*/ 0 w 180"/>
                  <a:gd name="T3" fmla="*/ 0 h 90"/>
                  <a:gd name="T4" fmla="*/ 180 w 180"/>
                  <a:gd name="T5" fmla="*/ 0 h 90"/>
                  <a:gd name="T6" fmla="*/ 120 w 180"/>
                  <a:gd name="T7" fmla="*/ 90 h 90"/>
                </a:gdLst>
                <a:ahLst/>
                <a:cxnLst>
                  <a:cxn ang="0">
                    <a:pos x="T0" y="T1"/>
                  </a:cxn>
                  <a:cxn ang="0">
                    <a:pos x="T2" y="T3"/>
                  </a:cxn>
                  <a:cxn ang="0">
                    <a:pos x="T4" y="T5"/>
                  </a:cxn>
                  <a:cxn ang="0">
                    <a:pos x="T6" y="T7"/>
                  </a:cxn>
                </a:cxnLst>
                <a:rect l="0" t="0" r="r" b="b"/>
                <a:pathLst>
                  <a:path w="180" h="90">
                    <a:moveTo>
                      <a:pt x="120" y="90"/>
                    </a:moveTo>
                    <a:lnTo>
                      <a:pt x="0" y="0"/>
                    </a:lnTo>
                    <a:lnTo>
                      <a:pt x="180" y="0"/>
                    </a:lnTo>
                    <a:lnTo>
                      <a:pt x="12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9" name="Freeform 2573">
                <a:extLst>
                  <a:ext uri="{FF2B5EF4-FFF2-40B4-BE49-F238E27FC236}">
                    <a16:creationId xmlns:a16="http://schemas.microsoft.com/office/drawing/2014/main" id="{51C5185B-F323-48DD-AAA4-37C51C6BB380}"/>
                  </a:ext>
                </a:extLst>
              </p:cNvPr>
              <p:cNvSpPr>
                <a:spLocks/>
              </p:cNvSpPr>
              <p:nvPr/>
            </p:nvSpPr>
            <p:spPr bwMode="auto">
              <a:xfrm>
                <a:off x="2595" y="30"/>
                <a:ext cx="210" cy="150"/>
              </a:xfrm>
              <a:custGeom>
                <a:avLst/>
                <a:gdLst>
                  <a:gd name="T0" fmla="*/ 120 w 210"/>
                  <a:gd name="T1" fmla="*/ 60 h 150"/>
                  <a:gd name="T2" fmla="*/ 210 w 210"/>
                  <a:gd name="T3" fmla="*/ 90 h 150"/>
                  <a:gd name="T4" fmla="*/ 0 w 210"/>
                  <a:gd name="T5" fmla="*/ 150 h 150"/>
                  <a:gd name="T6" fmla="*/ 0 w 210"/>
                  <a:gd name="T7" fmla="*/ 0 h 150"/>
                  <a:gd name="T8" fmla="*/ 120 w 210"/>
                  <a:gd name="T9" fmla="*/ 60 h 150"/>
                </a:gdLst>
                <a:ahLst/>
                <a:cxnLst>
                  <a:cxn ang="0">
                    <a:pos x="T0" y="T1"/>
                  </a:cxn>
                  <a:cxn ang="0">
                    <a:pos x="T2" y="T3"/>
                  </a:cxn>
                  <a:cxn ang="0">
                    <a:pos x="T4" y="T5"/>
                  </a:cxn>
                  <a:cxn ang="0">
                    <a:pos x="T6" y="T7"/>
                  </a:cxn>
                  <a:cxn ang="0">
                    <a:pos x="T8" y="T9"/>
                  </a:cxn>
                </a:cxnLst>
                <a:rect l="0" t="0" r="r" b="b"/>
                <a:pathLst>
                  <a:path w="210" h="150">
                    <a:moveTo>
                      <a:pt x="120" y="60"/>
                    </a:moveTo>
                    <a:lnTo>
                      <a:pt x="210" y="90"/>
                    </a:lnTo>
                    <a:lnTo>
                      <a:pt x="0" y="150"/>
                    </a:lnTo>
                    <a:lnTo>
                      <a:pt x="0" y="0"/>
                    </a:lnTo>
                    <a:lnTo>
                      <a:pt x="120" y="6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0" name="Line 2574">
                <a:extLst>
                  <a:ext uri="{FF2B5EF4-FFF2-40B4-BE49-F238E27FC236}">
                    <a16:creationId xmlns:a16="http://schemas.microsoft.com/office/drawing/2014/main" id="{BA5B93E6-4B50-4E24-A4AE-93F030B6AAF6}"/>
                  </a:ext>
                </a:extLst>
              </p:cNvPr>
              <p:cNvSpPr>
                <a:spLocks noChangeShapeType="1"/>
              </p:cNvSpPr>
              <p:nvPr/>
            </p:nvSpPr>
            <p:spPr bwMode="auto">
              <a:xfrm flipH="1">
                <a:off x="2385" y="1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1" name="Freeform 2575">
                <a:extLst>
                  <a:ext uri="{FF2B5EF4-FFF2-40B4-BE49-F238E27FC236}">
                    <a16:creationId xmlns:a16="http://schemas.microsoft.com/office/drawing/2014/main" id="{31D94363-294E-44E7-8EDF-82A79BC928E5}"/>
                  </a:ext>
                </a:extLst>
              </p:cNvPr>
              <p:cNvSpPr>
                <a:spLocks/>
              </p:cNvSpPr>
              <p:nvPr/>
            </p:nvSpPr>
            <p:spPr bwMode="auto">
              <a:xfrm>
                <a:off x="1876" y="30"/>
                <a:ext cx="2398" cy="390"/>
              </a:xfrm>
              <a:custGeom>
                <a:avLst/>
                <a:gdLst>
                  <a:gd name="T0" fmla="*/ 509 w 2398"/>
                  <a:gd name="T1" fmla="*/ 60 h 390"/>
                  <a:gd name="T2" fmla="*/ 419 w 2398"/>
                  <a:gd name="T3" fmla="*/ 120 h 390"/>
                  <a:gd name="T4" fmla="*/ 239 w 2398"/>
                  <a:gd name="T5" fmla="*/ 60 h 390"/>
                  <a:gd name="T6" fmla="*/ 90 w 2398"/>
                  <a:gd name="T7" fmla="*/ 30 h 390"/>
                  <a:gd name="T8" fmla="*/ 0 w 2398"/>
                  <a:gd name="T9" fmla="*/ 120 h 390"/>
                  <a:gd name="T10" fmla="*/ 180 w 2398"/>
                  <a:gd name="T11" fmla="*/ 180 h 390"/>
                  <a:gd name="T12" fmla="*/ 90 w 2398"/>
                  <a:gd name="T13" fmla="*/ 330 h 390"/>
                  <a:gd name="T14" fmla="*/ 239 w 2398"/>
                  <a:gd name="T15" fmla="*/ 300 h 390"/>
                  <a:gd name="T16" fmla="*/ 239 w 2398"/>
                  <a:gd name="T17" fmla="*/ 60 h 390"/>
                  <a:gd name="T18" fmla="*/ 359 w 2398"/>
                  <a:gd name="T19" fmla="*/ 210 h 390"/>
                  <a:gd name="T20" fmla="*/ 359 w 2398"/>
                  <a:gd name="T21" fmla="*/ 360 h 390"/>
                  <a:gd name="T22" fmla="*/ 479 w 2398"/>
                  <a:gd name="T23" fmla="*/ 300 h 390"/>
                  <a:gd name="T24" fmla="*/ 419 w 2398"/>
                  <a:gd name="T25" fmla="*/ 120 h 390"/>
                  <a:gd name="T26" fmla="*/ 509 w 2398"/>
                  <a:gd name="T27" fmla="*/ 180 h 390"/>
                  <a:gd name="T28" fmla="*/ 509 w 2398"/>
                  <a:gd name="T29" fmla="*/ 60 h 390"/>
                  <a:gd name="T30" fmla="*/ 629 w 2398"/>
                  <a:gd name="T31" fmla="*/ 30 h 390"/>
                  <a:gd name="T32" fmla="*/ 719 w 2398"/>
                  <a:gd name="T33" fmla="*/ 0 h 390"/>
                  <a:gd name="T34" fmla="*/ 629 w 2398"/>
                  <a:gd name="T35" fmla="*/ 120 h 390"/>
                  <a:gd name="T36" fmla="*/ 719 w 2398"/>
                  <a:gd name="T37" fmla="*/ 150 h 390"/>
                  <a:gd name="T38" fmla="*/ 599 w 2398"/>
                  <a:gd name="T39" fmla="*/ 240 h 390"/>
                  <a:gd name="T40" fmla="*/ 659 w 2398"/>
                  <a:gd name="T41" fmla="*/ 360 h 390"/>
                  <a:gd name="T42" fmla="*/ 749 w 2398"/>
                  <a:gd name="T43" fmla="*/ 270 h 390"/>
                  <a:gd name="T44" fmla="*/ 839 w 2398"/>
                  <a:gd name="T45" fmla="*/ 60 h 390"/>
                  <a:gd name="T46" fmla="*/ 869 w 2398"/>
                  <a:gd name="T47" fmla="*/ 210 h 390"/>
                  <a:gd name="T48" fmla="*/ 929 w 2398"/>
                  <a:gd name="T49" fmla="*/ 90 h 390"/>
                  <a:gd name="T50" fmla="*/ 899 w 2398"/>
                  <a:gd name="T51" fmla="*/ 330 h 390"/>
                  <a:gd name="T52" fmla="*/ 1019 w 2398"/>
                  <a:gd name="T53" fmla="*/ 240 h 390"/>
                  <a:gd name="T54" fmla="*/ 1079 w 2398"/>
                  <a:gd name="T55" fmla="*/ 330 h 390"/>
                  <a:gd name="T56" fmla="*/ 1139 w 2398"/>
                  <a:gd name="T57" fmla="*/ 180 h 390"/>
                  <a:gd name="T58" fmla="*/ 1079 w 2398"/>
                  <a:gd name="T59" fmla="*/ 60 h 390"/>
                  <a:gd name="T60" fmla="*/ 1199 w 2398"/>
                  <a:gd name="T61" fmla="*/ 60 h 390"/>
                  <a:gd name="T62" fmla="*/ 1319 w 2398"/>
                  <a:gd name="T63" fmla="*/ 0 h 390"/>
                  <a:gd name="T64" fmla="*/ 1319 w 2398"/>
                  <a:gd name="T65" fmla="*/ 210 h 390"/>
                  <a:gd name="T66" fmla="*/ 1199 w 2398"/>
                  <a:gd name="T67" fmla="*/ 300 h 390"/>
                  <a:gd name="T68" fmla="*/ 1319 w 2398"/>
                  <a:gd name="T69" fmla="*/ 360 h 390"/>
                  <a:gd name="T70" fmla="*/ 1439 w 2398"/>
                  <a:gd name="T71" fmla="*/ 270 h 390"/>
                  <a:gd name="T72" fmla="*/ 1379 w 2398"/>
                  <a:gd name="T73" fmla="*/ 120 h 390"/>
                  <a:gd name="T74" fmla="*/ 1469 w 2398"/>
                  <a:gd name="T75" fmla="*/ 60 h 390"/>
                  <a:gd name="T76" fmla="*/ 1589 w 2398"/>
                  <a:gd name="T77" fmla="*/ 120 h 390"/>
                  <a:gd name="T78" fmla="*/ 1559 w 2398"/>
                  <a:gd name="T79" fmla="*/ 240 h 390"/>
                  <a:gd name="T80" fmla="*/ 1619 w 2398"/>
                  <a:gd name="T81" fmla="*/ 360 h 390"/>
                  <a:gd name="T82" fmla="*/ 1709 w 2398"/>
                  <a:gd name="T83" fmla="*/ 270 h 390"/>
                  <a:gd name="T84" fmla="*/ 1679 w 2398"/>
                  <a:gd name="T85" fmla="*/ 150 h 390"/>
                  <a:gd name="T86" fmla="*/ 1679 w 2398"/>
                  <a:gd name="T87" fmla="*/ 0 h 390"/>
                  <a:gd name="T88" fmla="*/ 1799 w 2398"/>
                  <a:gd name="T89" fmla="*/ 60 h 390"/>
                  <a:gd name="T90" fmla="*/ 1829 w 2398"/>
                  <a:gd name="T91" fmla="*/ 210 h 390"/>
                  <a:gd name="T92" fmla="*/ 1978 w 2398"/>
                  <a:gd name="T93" fmla="*/ 120 h 390"/>
                  <a:gd name="T94" fmla="*/ 1948 w 2398"/>
                  <a:gd name="T95" fmla="*/ 240 h 390"/>
                  <a:gd name="T96" fmla="*/ 1888 w 2398"/>
                  <a:gd name="T97" fmla="*/ 360 h 390"/>
                  <a:gd name="T98" fmla="*/ 2068 w 2398"/>
                  <a:gd name="T99" fmla="*/ 330 h 390"/>
                  <a:gd name="T100" fmla="*/ 2248 w 2398"/>
                  <a:gd name="T101" fmla="*/ 390 h 390"/>
                  <a:gd name="T102" fmla="*/ 2398 w 2398"/>
                  <a:gd name="T103" fmla="*/ 270 h 390"/>
                  <a:gd name="T104" fmla="*/ 2278 w 2398"/>
                  <a:gd name="T105" fmla="*/ 240 h 390"/>
                  <a:gd name="T106" fmla="*/ 2368 w 2398"/>
                  <a:gd name="T107" fmla="*/ 12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8" h="390">
                    <a:moveTo>
                      <a:pt x="509" y="60"/>
                    </a:moveTo>
                    <a:lnTo>
                      <a:pt x="419" y="120"/>
                    </a:lnTo>
                    <a:lnTo>
                      <a:pt x="239" y="60"/>
                    </a:lnTo>
                    <a:lnTo>
                      <a:pt x="90" y="30"/>
                    </a:lnTo>
                    <a:lnTo>
                      <a:pt x="0" y="120"/>
                    </a:lnTo>
                    <a:lnTo>
                      <a:pt x="180" y="180"/>
                    </a:lnTo>
                    <a:lnTo>
                      <a:pt x="90" y="330"/>
                    </a:lnTo>
                    <a:lnTo>
                      <a:pt x="239" y="300"/>
                    </a:lnTo>
                    <a:lnTo>
                      <a:pt x="239" y="60"/>
                    </a:lnTo>
                    <a:lnTo>
                      <a:pt x="359" y="210"/>
                    </a:lnTo>
                    <a:lnTo>
                      <a:pt x="359" y="360"/>
                    </a:lnTo>
                    <a:lnTo>
                      <a:pt x="479" y="300"/>
                    </a:lnTo>
                    <a:lnTo>
                      <a:pt x="419" y="120"/>
                    </a:lnTo>
                    <a:lnTo>
                      <a:pt x="509" y="180"/>
                    </a:lnTo>
                    <a:lnTo>
                      <a:pt x="509" y="60"/>
                    </a:lnTo>
                    <a:lnTo>
                      <a:pt x="629" y="30"/>
                    </a:lnTo>
                    <a:lnTo>
                      <a:pt x="719" y="0"/>
                    </a:lnTo>
                    <a:lnTo>
                      <a:pt x="629" y="120"/>
                    </a:lnTo>
                    <a:lnTo>
                      <a:pt x="719" y="150"/>
                    </a:lnTo>
                    <a:lnTo>
                      <a:pt x="599" y="240"/>
                    </a:lnTo>
                    <a:lnTo>
                      <a:pt x="659" y="360"/>
                    </a:lnTo>
                    <a:lnTo>
                      <a:pt x="749" y="270"/>
                    </a:lnTo>
                    <a:lnTo>
                      <a:pt x="839" y="60"/>
                    </a:lnTo>
                    <a:lnTo>
                      <a:pt x="869" y="210"/>
                    </a:lnTo>
                    <a:lnTo>
                      <a:pt x="929" y="90"/>
                    </a:lnTo>
                    <a:lnTo>
                      <a:pt x="899" y="330"/>
                    </a:lnTo>
                    <a:lnTo>
                      <a:pt x="1019" y="240"/>
                    </a:lnTo>
                    <a:lnTo>
                      <a:pt x="1079" y="330"/>
                    </a:lnTo>
                    <a:lnTo>
                      <a:pt x="1139" y="180"/>
                    </a:lnTo>
                    <a:lnTo>
                      <a:pt x="1079" y="60"/>
                    </a:lnTo>
                    <a:lnTo>
                      <a:pt x="1199" y="60"/>
                    </a:lnTo>
                    <a:lnTo>
                      <a:pt x="1319" y="0"/>
                    </a:lnTo>
                    <a:lnTo>
                      <a:pt x="1319" y="210"/>
                    </a:lnTo>
                    <a:lnTo>
                      <a:pt x="1199" y="300"/>
                    </a:lnTo>
                    <a:lnTo>
                      <a:pt x="1319" y="360"/>
                    </a:lnTo>
                    <a:lnTo>
                      <a:pt x="1439" y="270"/>
                    </a:lnTo>
                    <a:lnTo>
                      <a:pt x="1379" y="120"/>
                    </a:lnTo>
                    <a:lnTo>
                      <a:pt x="1469" y="60"/>
                    </a:lnTo>
                    <a:lnTo>
                      <a:pt x="1589" y="120"/>
                    </a:lnTo>
                    <a:lnTo>
                      <a:pt x="1559" y="240"/>
                    </a:lnTo>
                    <a:lnTo>
                      <a:pt x="1619" y="360"/>
                    </a:lnTo>
                    <a:lnTo>
                      <a:pt x="1709" y="270"/>
                    </a:lnTo>
                    <a:lnTo>
                      <a:pt x="1679" y="150"/>
                    </a:lnTo>
                    <a:lnTo>
                      <a:pt x="1679" y="0"/>
                    </a:lnTo>
                    <a:lnTo>
                      <a:pt x="1799" y="60"/>
                    </a:lnTo>
                    <a:lnTo>
                      <a:pt x="1829" y="210"/>
                    </a:lnTo>
                    <a:lnTo>
                      <a:pt x="1978" y="120"/>
                    </a:lnTo>
                    <a:lnTo>
                      <a:pt x="1948" y="240"/>
                    </a:lnTo>
                    <a:lnTo>
                      <a:pt x="1888" y="360"/>
                    </a:lnTo>
                    <a:lnTo>
                      <a:pt x="2068" y="330"/>
                    </a:lnTo>
                    <a:lnTo>
                      <a:pt x="2248" y="390"/>
                    </a:lnTo>
                    <a:lnTo>
                      <a:pt x="2398" y="270"/>
                    </a:lnTo>
                    <a:lnTo>
                      <a:pt x="2278" y="240"/>
                    </a:lnTo>
                    <a:lnTo>
                      <a:pt x="2368"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2" name="Line 2576">
                <a:extLst>
                  <a:ext uri="{FF2B5EF4-FFF2-40B4-BE49-F238E27FC236}">
                    <a16:creationId xmlns:a16="http://schemas.microsoft.com/office/drawing/2014/main" id="{5839E011-6068-48EB-8FA5-55D45E3823EA}"/>
                  </a:ext>
                </a:extLst>
              </p:cNvPr>
              <p:cNvSpPr>
                <a:spLocks noChangeShapeType="1"/>
              </p:cNvSpPr>
              <p:nvPr/>
            </p:nvSpPr>
            <p:spPr bwMode="auto">
              <a:xfrm flipV="1">
                <a:off x="2235" y="15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3" name="Freeform 2577">
                <a:extLst>
                  <a:ext uri="{FF2B5EF4-FFF2-40B4-BE49-F238E27FC236}">
                    <a16:creationId xmlns:a16="http://schemas.microsoft.com/office/drawing/2014/main" id="{9B7C29E2-58D2-428B-94B7-BCA998F2F783}"/>
                  </a:ext>
                </a:extLst>
              </p:cNvPr>
              <p:cNvSpPr>
                <a:spLocks/>
              </p:cNvSpPr>
              <p:nvPr/>
            </p:nvSpPr>
            <p:spPr bwMode="auto">
              <a:xfrm>
                <a:off x="2355" y="210"/>
                <a:ext cx="180" cy="360"/>
              </a:xfrm>
              <a:custGeom>
                <a:avLst/>
                <a:gdLst>
                  <a:gd name="T0" fmla="*/ 180 w 180"/>
                  <a:gd name="T1" fmla="*/ 180 h 360"/>
                  <a:gd name="T2" fmla="*/ 0 w 180"/>
                  <a:gd name="T3" fmla="*/ 120 h 360"/>
                  <a:gd name="T4" fmla="*/ 30 w 180"/>
                  <a:gd name="T5" fmla="*/ 0 h 360"/>
                  <a:gd name="T6" fmla="*/ 120 w 180"/>
                  <a:gd name="T7" fmla="*/ 60 h 360"/>
                  <a:gd name="T8" fmla="*/ 60 w 180"/>
                  <a:gd name="T9" fmla="*/ 360 h 360"/>
                </a:gdLst>
                <a:ahLst/>
                <a:cxnLst>
                  <a:cxn ang="0">
                    <a:pos x="T0" y="T1"/>
                  </a:cxn>
                  <a:cxn ang="0">
                    <a:pos x="T2" y="T3"/>
                  </a:cxn>
                  <a:cxn ang="0">
                    <a:pos x="T4" y="T5"/>
                  </a:cxn>
                  <a:cxn ang="0">
                    <a:pos x="T6" y="T7"/>
                  </a:cxn>
                  <a:cxn ang="0">
                    <a:pos x="T8" y="T9"/>
                  </a:cxn>
                </a:cxnLst>
                <a:rect l="0" t="0" r="r" b="b"/>
                <a:pathLst>
                  <a:path w="180" h="360">
                    <a:moveTo>
                      <a:pt x="180" y="180"/>
                    </a:moveTo>
                    <a:lnTo>
                      <a:pt x="0" y="120"/>
                    </a:lnTo>
                    <a:lnTo>
                      <a:pt x="30" y="0"/>
                    </a:lnTo>
                    <a:lnTo>
                      <a:pt x="120" y="60"/>
                    </a:lnTo>
                    <a:lnTo>
                      <a:pt x="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4" name="Line 2578">
                <a:extLst>
                  <a:ext uri="{FF2B5EF4-FFF2-40B4-BE49-F238E27FC236}">
                    <a16:creationId xmlns:a16="http://schemas.microsoft.com/office/drawing/2014/main" id="{0C12757D-AB37-4E74-BDC5-9B5F865D90E9}"/>
                  </a:ext>
                </a:extLst>
              </p:cNvPr>
              <p:cNvSpPr>
                <a:spLocks noChangeShapeType="1"/>
              </p:cNvSpPr>
              <p:nvPr/>
            </p:nvSpPr>
            <p:spPr bwMode="auto">
              <a:xfrm>
                <a:off x="2235" y="390"/>
                <a:ext cx="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5" name="Freeform 2579">
                <a:extLst>
                  <a:ext uri="{FF2B5EF4-FFF2-40B4-BE49-F238E27FC236}">
                    <a16:creationId xmlns:a16="http://schemas.microsoft.com/office/drawing/2014/main" id="{67314A82-2761-4115-8F01-E7FF69659BD6}"/>
                  </a:ext>
                </a:extLst>
              </p:cNvPr>
              <p:cNvSpPr>
                <a:spLocks/>
              </p:cNvSpPr>
              <p:nvPr/>
            </p:nvSpPr>
            <p:spPr bwMode="auto">
              <a:xfrm>
                <a:off x="2625" y="300"/>
                <a:ext cx="180" cy="330"/>
              </a:xfrm>
              <a:custGeom>
                <a:avLst/>
                <a:gdLst>
                  <a:gd name="T0" fmla="*/ 180 w 180"/>
                  <a:gd name="T1" fmla="*/ 240 h 330"/>
                  <a:gd name="T2" fmla="*/ 0 w 180"/>
                  <a:gd name="T3" fmla="*/ 0 h 330"/>
                  <a:gd name="T4" fmla="*/ 120 w 180"/>
                  <a:gd name="T5" fmla="*/ 330 h 330"/>
                </a:gdLst>
                <a:ahLst/>
                <a:cxnLst>
                  <a:cxn ang="0">
                    <a:pos x="T0" y="T1"/>
                  </a:cxn>
                  <a:cxn ang="0">
                    <a:pos x="T2" y="T3"/>
                  </a:cxn>
                  <a:cxn ang="0">
                    <a:pos x="T4" y="T5"/>
                  </a:cxn>
                </a:cxnLst>
                <a:rect l="0" t="0" r="r" b="b"/>
                <a:pathLst>
                  <a:path w="180" h="330">
                    <a:moveTo>
                      <a:pt x="180" y="240"/>
                    </a:moveTo>
                    <a:lnTo>
                      <a:pt x="0" y="0"/>
                    </a:lnTo>
                    <a:lnTo>
                      <a:pt x="12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96" name="Line 2580">
                <a:extLst>
                  <a:ext uri="{FF2B5EF4-FFF2-40B4-BE49-F238E27FC236}">
                    <a16:creationId xmlns:a16="http://schemas.microsoft.com/office/drawing/2014/main" id="{D6EE9666-A495-4997-B1C3-2580ADBF7108}"/>
                  </a:ext>
                </a:extLst>
              </p:cNvPr>
              <p:cNvSpPr>
                <a:spLocks noChangeShapeType="1"/>
              </p:cNvSpPr>
              <p:nvPr/>
            </p:nvSpPr>
            <p:spPr bwMode="auto">
              <a:xfrm>
                <a:off x="2595" y="18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0" name="Group 2782">
              <a:extLst>
                <a:ext uri="{FF2B5EF4-FFF2-40B4-BE49-F238E27FC236}">
                  <a16:creationId xmlns:a16="http://schemas.microsoft.com/office/drawing/2014/main" id="{785A3362-B51B-485E-AB6E-C03C3E4910F0}"/>
                </a:ext>
              </a:extLst>
            </p:cNvPr>
            <p:cNvGrpSpPr>
              <a:grpSpLocks/>
            </p:cNvGrpSpPr>
            <p:nvPr/>
          </p:nvGrpSpPr>
          <p:grpSpPr bwMode="auto">
            <a:xfrm>
              <a:off x="1246" y="0"/>
              <a:ext cx="3268" cy="3210"/>
              <a:chOff x="1246" y="0"/>
              <a:chExt cx="3268" cy="3210"/>
            </a:xfrm>
          </p:grpSpPr>
          <p:sp>
            <p:nvSpPr>
              <p:cNvPr id="397" name="Freeform 2582">
                <a:extLst>
                  <a:ext uri="{FF2B5EF4-FFF2-40B4-BE49-F238E27FC236}">
                    <a16:creationId xmlns:a16="http://schemas.microsoft.com/office/drawing/2014/main" id="{A38E53EB-5BF8-44E9-BE48-54D20AD59F0D}"/>
                  </a:ext>
                </a:extLst>
              </p:cNvPr>
              <p:cNvSpPr>
                <a:spLocks/>
              </p:cNvSpPr>
              <p:nvPr/>
            </p:nvSpPr>
            <p:spPr bwMode="auto">
              <a:xfrm>
                <a:off x="2895" y="90"/>
                <a:ext cx="180" cy="240"/>
              </a:xfrm>
              <a:custGeom>
                <a:avLst/>
                <a:gdLst>
                  <a:gd name="T0" fmla="*/ 180 w 180"/>
                  <a:gd name="T1" fmla="*/ 0 h 240"/>
                  <a:gd name="T2" fmla="*/ 180 w 180"/>
                  <a:gd name="T3" fmla="*/ 240 h 240"/>
                  <a:gd name="T4" fmla="*/ 0 w 180"/>
                  <a:gd name="T5" fmla="*/ 180 h 240"/>
                </a:gdLst>
                <a:ahLst/>
                <a:cxnLst>
                  <a:cxn ang="0">
                    <a:pos x="T0" y="T1"/>
                  </a:cxn>
                  <a:cxn ang="0">
                    <a:pos x="T2" y="T3"/>
                  </a:cxn>
                  <a:cxn ang="0">
                    <a:pos x="T4" y="T5"/>
                  </a:cxn>
                </a:cxnLst>
                <a:rect l="0" t="0" r="r" b="b"/>
                <a:pathLst>
                  <a:path w="180" h="240">
                    <a:moveTo>
                      <a:pt x="180" y="0"/>
                    </a:moveTo>
                    <a:lnTo>
                      <a:pt x="180" y="24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8" name="Freeform 2583">
                <a:extLst>
                  <a:ext uri="{FF2B5EF4-FFF2-40B4-BE49-F238E27FC236}">
                    <a16:creationId xmlns:a16="http://schemas.microsoft.com/office/drawing/2014/main" id="{66D8973D-BD42-4FEC-884F-50FE07286068}"/>
                  </a:ext>
                </a:extLst>
              </p:cNvPr>
              <p:cNvSpPr>
                <a:spLocks/>
              </p:cNvSpPr>
              <p:nvPr/>
            </p:nvSpPr>
            <p:spPr bwMode="auto">
              <a:xfrm>
                <a:off x="2805" y="120"/>
                <a:ext cx="450" cy="90"/>
              </a:xfrm>
              <a:custGeom>
                <a:avLst/>
                <a:gdLst>
                  <a:gd name="T0" fmla="*/ 0 w 450"/>
                  <a:gd name="T1" fmla="*/ 0 h 90"/>
                  <a:gd name="T2" fmla="*/ 210 w 450"/>
                  <a:gd name="T3" fmla="*/ 90 h 90"/>
                  <a:gd name="T4" fmla="*/ 450 w 450"/>
                  <a:gd name="T5" fmla="*/ 30 h 90"/>
                </a:gdLst>
                <a:ahLst/>
                <a:cxnLst>
                  <a:cxn ang="0">
                    <a:pos x="T0" y="T1"/>
                  </a:cxn>
                  <a:cxn ang="0">
                    <a:pos x="T2" y="T3"/>
                  </a:cxn>
                  <a:cxn ang="0">
                    <a:pos x="T4" y="T5"/>
                  </a:cxn>
                </a:cxnLst>
                <a:rect l="0" t="0" r="r" b="b"/>
                <a:pathLst>
                  <a:path w="450" h="90">
                    <a:moveTo>
                      <a:pt x="0" y="0"/>
                    </a:moveTo>
                    <a:lnTo>
                      <a:pt x="210" y="90"/>
                    </a:lnTo>
                    <a:lnTo>
                      <a:pt x="45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9" name="Freeform 2584">
                <a:extLst>
                  <a:ext uri="{FF2B5EF4-FFF2-40B4-BE49-F238E27FC236}">
                    <a16:creationId xmlns:a16="http://schemas.microsoft.com/office/drawing/2014/main" id="{E961C200-2599-4F20-B7CB-6FB6267D2511}"/>
                  </a:ext>
                </a:extLst>
              </p:cNvPr>
              <p:cNvSpPr>
                <a:spLocks/>
              </p:cNvSpPr>
              <p:nvPr/>
            </p:nvSpPr>
            <p:spPr bwMode="auto">
              <a:xfrm>
                <a:off x="2955" y="270"/>
                <a:ext cx="480" cy="240"/>
              </a:xfrm>
              <a:custGeom>
                <a:avLst/>
                <a:gdLst>
                  <a:gd name="T0" fmla="*/ 480 w 480"/>
                  <a:gd name="T1" fmla="*/ 0 h 240"/>
                  <a:gd name="T2" fmla="*/ 330 w 480"/>
                  <a:gd name="T3" fmla="*/ 210 h 240"/>
                  <a:gd name="T4" fmla="*/ 0 w 480"/>
                  <a:gd name="T5" fmla="*/ 90 h 240"/>
                  <a:gd name="T6" fmla="*/ 150 w 480"/>
                  <a:gd name="T7" fmla="*/ 240 h 240"/>
                </a:gdLst>
                <a:ahLst/>
                <a:cxnLst>
                  <a:cxn ang="0">
                    <a:pos x="T0" y="T1"/>
                  </a:cxn>
                  <a:cxn ang="0">
                    <a:pos x="T2" y="T3"/>
                  </a:cxn>
                  <a:cxn ang="0">
                    <a:pos x="T4" y="T5"/>
                  </a:cxn>
                  <a:cxn ang="0">
                    <a:pos x="T6" y="T7"/>
                  </a:cxn>
                </a:cxnLst>
                <a:rect l="0" t="0" r="r" b="b"/>
                <a:pathLst>
                  <a:path w="480" h="240">
                    <a:moveTo>
                      <a:pt x="480" y="0"/>
                    </a:moveTo>
                    <a:lnTo>
                      <a:pt x="330" y="210"/>
                    </a:lnTo>
                    <a:lnTo>
                      <a:pt x="0" y="9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0" name="Line 2585">
                <a:extLst>
                  <a:ext uri="{FF2B5EF4-FFF2-40B4-BE49-F238E27FC236}">
                    <a16:creationId xmlns:a16="http://schemas.microsoft.com/office/drawing/2014/main" id="{70799D87-2D0B-40CD-80DD-0AA40881628F}"/>
                  </a:ext>
                </a:extLst>
              </p:cNvPr>
              <p:cNvSpPr>
                <a:spLocks noChangeShapeType="1"/>
              </p:cNvSpPr>
              <p:nvPr/>
            </p:nvSpPr>
            <p:spPr bwMode="auto">
              <a:xfrm flipV="1">
                <a:off x="3465" y="39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1" name="Freeform 2586">
                <a:extLst>
                  <a:ext uri="{FF2B5EF4-FFF2-40B4-BE49-F238E27FC236}">
                    <a16:creationId xmlns:a16="http://schemas.microsoft.com/office/drawing/2014/main" id="{CB8486A4-CF25-4480-86EA-F201C29099CA}"/>
                  </a:ext>
                </a:extLst>
              </p:cNvPr>
              <p:cNvSpPr>
                <a:spLocks/>
              </p:cNvSpPr>
              <p:nvPr/>
            </p:nvSpPr>
            <p:spPr bwMode="auto">
              <a:xfrm>
                <a:off x="3585" y="240"/>
                <a:ext cx="209" cy="270"/>
              </a:xfrm>
              <a:custGeom>
                <a:avLst/>
                <a:gdLst>
                  <a:gd name="T0" fmla="*/ 0 w 209"/>
                  <a:gd name="T1" fmla="*/ 60 h 270"/>
                  <a:gd name="T2" fmla="*/ 90 w 209"/>
                  <a:gd name="T3" fmla="*/ 210 h 270"/>
                  <a:gd name="T4" fmla="*/ 120 w 209"/>
                  <a:gd name="T5" fmla="*/ 0 h 270"/>
                  <a:gd name="T6" fmla="*/ 179 w 209"/>
                  <a:gd name="T7" fmla="*/ 150 h 270"/>
                  <a:gd name="T8" fmla="*/ 209 w 209"/>
                  <a:gd name="T9" fmla="*/ 270 h 270"/>
                </a:gdLst>
                <a:ahLst/>
                <a:cxnLst>
                  <a:cxn ang="0">
                    <a:pos x="T0" y="T1"/>
                  </a:cxn>
                  <a:cxn ang="0">
                    <a:pos x="T2" y="T3"/>
                  </a:cxn>
                  <a:cxn ang="0">
                    <a:pos x="T4" y="T5"/>
                  </a:cxn>
                  <a:cxn ang="0">
                    <a:pos x="T6" y="T7"/>
                  </a:cxn>
                  <a:cxn ang="0">
                    <a:pos x="T8" y="T9"/>
                  </a:cxn>
                </a:cxnLst>
                <a:rect l="0" t="0" r="r" b="b"/>
                <a:pathLst>
                  <a:path w="209" h="270">
                    <a:moveTo>
                      <a:pt x="0" y="60"/>
                    </a:moveTo>
                    <a:lnTo>
                      <a:pt x="90" y="210"/>
                    </a:lnTo>
                    <a:lnTo>
                      <a:pt x="120" y="0"/>
                    </a:lnTo>
                    <a:lnTo>
                      <a:pt x="179" y="150"/>
                    </a:lnTo>
                    <a:lnTo>
                      <a:pt x="20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2" name="Freeform 2587">
                <a:extLst>
                  <a:ext uri="{FF2B5EF4-FFF2-40B4-BE49-F238E27FC236}">
                    <a16:creationId xmlns:a16="http://schemas.microsoft.com/office/drawing/2014/main" id="{08F84276-6113-4515-B4BF-4D6A7EBAD2A1}"/>
                  </a:ext>
                </a:extLst>
              </p:cNvPr>
              <p:cNvSpPr>
                <a:spLocks/>
              </p:cNvSpPr>
              <p:nvPr/>
            </p:nvSpPr>
            <p:spPr bwMode="auto">
              <a:xfrm>
                <a:off x="3555" y="90"/>
                <a:ext cx="389" cy="270"/>
              </a:xfrm>
              <a:custGeom>
                <a:avLst/>
                <a:gdLst>
                  <a:gd name="T0" fmla="*/ 150 w 389"/>
                  <a:gd name="T1" fmla="*/ 150 h 270"/>
                  <a:gd name="T2" fmla="*/ 0 w 389"/>
                  <a:gd name="T3" fmla="*/ 90 h 270"/>
                  <a:gd name="T4" fmla="*/ 120 w 389"/>
                  <a:gd name="T5" fmla="*/ 0 h 270"/>
                  <a:gd name="T6" fmla="*/ 269 w 389"/>
                  <a:gd name="T7" fmla="*/ 180 h 270"/>
                  <a:gd name="T8" fmla="*/ 389 w 389"/>
                  <a:gd name="T9" fmla="*/ 270 h 270"/>
                </a:gdLst>
                <a:ahLst/>
                <a:cxnLst>
                  <a:cxn ang="0">
                    <a:pos x="T0" y="T1"/>
                  </a:cxn>
                  <a:cxn ang="0">
                    <a:pos x="T2" y="T3"/>
                  </a:cxn>
                  <a:cxn ang="0">
                    <a:pos x="T4" y="T5"/>
                  </a:cxn>
                  <a:cxn ang="0">
                    <a:pos x="T6" y="T7"/>
                  </a:cxn>
                  <a:cxn ang="0">
                    <a:pos x="T8" y="T9"/>
                  </a:cxn>
                </a:cxnLst>
                <a:rect l="0" t="0" r="r" b="b"/>
                <a:pathLst>
                  <a:path w="389" h="270">
                    <a:moveTo>
                      <a:pt x="150" y="150"/>
                    </a:moveTo>
                    <a:lnTo>
                      <a:pt x="0" y="90"/>
                    </a:lnTo>
                    <a:lnTo>
                      <a:pt x="120" y="0"/>
                    </a:lnTo>
                    <a:lnTo>
                      <a:pt x="269" y="180"/>
                    </a:lnTo>
                    <a:lnTo>
                      <a:pt x="38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3" name="Freeform 2588">
                <a:extLst>
                  <a:ext uri="{FF2B5EF4-FFF2-40B4-BE49-F238E27FC236}">
                    <a16:creationId xmlns:a16="http://schemas.microsoft.com/office/drawing/2014/main" id="{BEB24055-519A-4BA3-BEA1-EBC425449AB7}"/>
                  </a:ext>
                </a:extLst>
              </p:cNvPr>
              <p:cNvSpPr>
                <a:spLocks/>
              </p:cNvSpPr>
              <p:nvPr/>
            </p:nvSpPr>
            <p:spPr bwMode="auto">
              <a:xfrm>
                <a:off x="3764" y="390"/>
                <a:ext cx="360" cy="360"/>
              </a:xfrm>
              <a:custGeom>
                <a:avLst/>
                <a:gdLst>
                  <a:gd name="T0" fmla="*/ 0 w 360"/>
                  <a:gd name="T1" fmla="*/ 0 h 360"/>
                  <a:gd name="T2" fmla="*/ 180 w 360"/>
                  <a:gd name="T3" fmla="*/ 90 h 360"/>
                  <a:gd name="T4" fmla="*/ 360 w 360"/>
                  <a:gd name="T5" fmla="*/ 360 h 360"/>
                </a:gdLst>
                <a:ahLst/>
                <a:cxnLst>
                  <a:cxn ang="0">
                    <a:pos x="T0" y="T1"/>
                  </a:cxn>
                  <a:cxn ang="0">
                    <a:pos x="T2" y="T3"/>
                  </a:cxn>
                  <a:cxn ang="0">
                    <a:pos x="T4" y="T5"/>
                  </a:cxn>
                </a:cxnLst>
                <a:rect l="0" t="0" r="r" b="b"/>
                <a:pathLst>
                  <a:path w="360" h="360">
                    <a:moveTo>
                      <a:pt x="0" y="0"/>
                    </a:moveTo>
                    <a:lnTo>
                      <a:pt x="180" y="90"/>
                    </a:lnTo>
                    <a:lnTo>
                      <a:pt x="3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4" name="Freeform 2589">
                <a:extLst>
                  <a:ext uri="{FF2B5EF4-FFF2-40B4-BE49-F238E27FC236}">
                    <a16:creationId xmlns:a16="http://schemas.microsoft.com/office/drawing/2014/main" id="{65184E9D-5272-4018-BC72-E95E37BD086A}"/>
                  </a:ext>
                </a:extLst>
              </p:cNvPr>
              <p:cNvSpPr>
                <a:spLocks/>
              </p:cNvSpPr>
              <p:nvPr/>
            </p:nvSpPr>
            <p:spPr bwMode="auto">
              <a:xfrm>
                <a:off x="3824" y="60"/>
                <a:ext cx="600" cy="240"/>
              </a:xfrm>
              <a:custGeom>
                <a:avLst/>
                <a:gdLst>
                  <a:gd name="T0" fmla="*/ 600 w 600"/>
                  <a:gd name="T1" fmla="*/ 0 h 240"/>
                  <a:gd name="T2" fmla="*/ 450 w 600"/>
                  <a:gd name="T3" fmla="*/ 240 h 240"/>
                  <a:gd name="T4" fmla="*/ 270 w 600"/>
                  <a:gd name="T5" fmla="*/ 60 h 240"/>
                  <a:gd name="T6" fmla="*/ 0 w 600"/>
                  <a:gd name="T7" fmla="*/ 210 h 240"/>
                </a:gdLst>
                <a:ahLst/>
                <a:cxnLst>
                  <a:cxn ang="0">
                    <a:pos x="T0" y="T1"/>
                  </a:cxn>
                  <a:cxn ang="0">
                    <a:pos x="T2" y="T3"/>
                  </a:cxn>
                  <a:cxn ang="0">
                    <a:pos x="T4" y="T5"/>
                  </a:cxn>
                  <a:cxn ang="0">
                    <a:pos x="T6" y="T7"/>
                  </a:cxn>
                </a:cxnLst>
                <a:rect l="0" t="0" r="r" b="b"/>
                <a:pathLst>
                  <a:path w="600" h="240">
                    <a:moveTo>
                      <a:pt x="600" y="0"/>
                    </a:moveTo>
                    <a:lnTo>
                      <a:pt x="450" y="240"/>
                    </a:ln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5" name="Freeform 2590">
                <a:extLst>
                  <a:ext uri="{FF2B5EF4-FFF2-40B4-BE49-F238E27FC236}">
                    <a16:creationId xmlns:a16="http://schemas.microsoft.com/office/drawing/2014/main" id="{F0FC279B-EDD9-47B1-82DF-3B4BA0F8B8EC}"/>
                  </a:ext>
                </a:extLst>
              </p:cNvPr>
              <p:cNvSpPr>
                <a:spLocks/>
              </p:cNvSpPr>
              <p:nvPr/>
            </p:nvSpPr>
            <p:spPr bwMode="auto">
              <a:xfrm>
                <a:off x="1576" y="2550"/>
                <a:ext cx="2338" cy="660"/>
              </a:xfrm>
              <a:custGeom>
                <a:avLst/>
                <a:gdLst>
                  <a:gd name="T0" fmla="*/ 30 w 2338"/>
                  <a:gd name="T1" fmla="*/ 420 h 660"/>
                  <a:gd name="T2" fmla="*/ 0 w 2338"/>
                  <a:gd name="T3" fmla="*/ 270 h 660"/>
                  <a:gd name="T4" fmla="*/ 150 w 2338"/>
                  <a:gd name="T5" fmla="*/ 510 h 660"/>
                  <a:gd name="T6" fmla="*/ 210 w 2338"/>
                  <a:gd name="T7" fmla="*/ 420 h 660"/>
                  <a:gd name="T8" fmla="*/ 210 w 2338"/>
                  <a:gd name="T9" fmla="*/ 120 h 660"/>
                  <a:gd name="T10" fmla="*/ 60 w 2338"/>
                  <a:gd name="T11" fmla="*/ 150 h 660"/>
                  <a:gd name="T12" fmla="*/ 120 w 2338"/>
                  <a:gd name="T13" fmla="*/ 0 h 660"/>
                  <a:gd name="T14" fmla="*/ 330 w 2338"/>
                  <a:gd name="T15" fmla="*/ 90 h 660"/>
                  <a:gd name="T16" fmla="*/ 420 w 2338"/>
                  <a:gd name="T17" fmla="*/ 210 h 660"/>
                  <a:gd name="T18" fmla="*/ 210 w 2338"/>
                  <a:gd name="T19" fmla="*/ 120 h 660"/>
                  <a:gd name="T20" fmla="*/ 270 w 2338"/>
                  <a:gd name="T21" fmla="*/ 240 h 660"/>
                  <a:gd name="T22" fmla="*/ 420 w 2338"/>
                  <a:gd name="T23" fmla="*/ 210 h 660"/>
                  <a:gd name="T24" fmla="*/ 510 w 2338"/>
                  <a:gd name="T25" fmla="*/ 120 h 660"/>
                  <a:gd name="T26" fmla="*/ 599 w 2338"/>
                  <a:gd name="T27" fmla="*/ 210 h 660"/>
                  <a:gd name="T28" fmla="*/ 809 w 2338"/>
                  <a:gd name="T29" fmla="*/ 150 h 660"/>
                  <a:gd name="T30" fmla="*/ 719 w 2338"/>
                  <a:gd name="T31" fmla="*/ 240 h 660"/>
                  <a:gd name="T32" fmla="*/ 510 w 2338"/>
                  <a:gd name="T33" fmla="*/ 480 h 660"/>
                  <a:gd name="T34" fmla="*/ 689 w 2338"/>
                  <a:gd name="T35" fmla="*/ 510 h 660"/>
                  <a:gd name="T36" fmla="*/ 689 w 2338"/>
                  <a:gd name="T37" fmla="*/ 660 h 660"/>
                  <a:gd name="T38" fmla="*/ 569 w 2338"/>
                  <a:gd name="T39" fmla="*/ 600 h 660"/>
                  <a:gd name="T40" fmla="*/ 300 w 2338"/>
                  <a:gd name="T41" fmla="*/ 570 h 660"/>
                  <a:gd name="T42" fmla="*/ 420 w 2338"/>
                  <a:gd name="T43" fmla="*/ 330 h 660"/>
                  <a:gd name="T44" fmla="*/ 569 w 2338"/>
                  <a:gd name="T45" fmla="*/ 360 h 660"/>
                  <a:gd name="T46" fmla="*/ 599 w 2338"/>
                  <a:gd name="T47" fmla="*/ 210 h 660"/>
                  <a:gd name="T48" fmla="*/ 749 w 2338"/>
                  <a:gd name="T49" fmla="*/ 420 h 660"/>
                  <a:gd name="T50" fmla="*/ 689 w 2338"/>
                  <a:gd name="T51" fmla="*/ 510 h 660"/>
                  <a:gd name="T52" fmla="*/ 809 w 2338"/>
                  <a:gd name="T53" fmla="*/ 600 h 660"/>
                  <a:gd name="T54" fmla="*/ 929 w 2338"/>
                  <a:gd name="T55" fmla="*/ 540 h 660"/>
                  <a:gd name="T56" fmla="*/ 1079 w 2338"/>
                  <a:gd name="T57" fmla="*/ 570 h 660"/>
                  <a:gd name="T58" fmla="*/ 1049 w 2338"/>
                  <a:gd name="T59" fmla="*/ 450 h 660"/>
                  <a:gd name="T60" fmla="*/ 959 w 2338"/>
                  <a:gd name="T61" fmla="*/ 420 h 660"/>
                  <a:gd name="T62" fmla="*/ 1049 w 2338"/>
                  <a:gd name="T63" fmla="*/ 300 h 660"/>
                  <a:gd name="T64" fmla="*/ 1169 w 2338"/>
                  <a:gd name="T65" fmla="*/ 360 h 660"/>
                  <a:gd name="T66" fmla="*/ 1259 w 2338"/>
                  <a:gd name="T67" fmla="*/ 390 h 660"/>
                  <a:gd name="T68" fmla="*/ 1199 w 2338"/>
                  <a:gd name="T69" fmla="*/ 510 h 660"/>
                  <a:gd name="T70" fmla="*/ 1349 w 2338"/>
                  <a:gd name="T71" fmla="*/ 540 h 660"/>
                  <a:gd name="T72" fmla="*/ 1409 w 2338"/>
                  <a:gd name="T73" fmla="*/ 360 h 660"/>
                  <a:gd name="T74" fmla="*/ 1469 w 2338"/>
                  <a:gd name="T75" fmla="*/ 480 h 660"/>
                  <a:gd name="T76" fmla="*/ 1529 w 2338"/>
                  <a:gd name="T77" fmla="*/ 360 h 660"/>
                  <a:gd name="T78" fmla="*/ 1529 w 2338"/>
                  <a:gd name="T79" fmla="*/ 600 h 660"/>
                  <a:gd name="T80" fmla="*/ 1409 w 2338"/>
                  <a:gd name="T81" fmla="*/ 630 h 660"/>
                  <a:gd name="T82" fmla="*/ 1649 w 2338"/>
                  <a:gd name="T83" fmla="*/ 300 h 660"/>
                  <a:gd name="T84" fmla="*/ 1649 w 2338"/>
                  <a:gd name="T85" fmla="*/ 510 h 660"/>
                  <a:gd name="T86" fmla="*/ 1709 w 2338"/>
                  <a:gd name="T87" fmla="*/ 420 h 660"/>
                  <a:gd name="T88" fmla="*/ 1799 w 2338"/>
                  <a:gd name="T89" fmla="*/ 360 h 660"/>
                  <a:gd name="T90" fmla="*/ 1799 w 2338"/>
                  <a:gd name="T91" fmla="*/ 480 h 660"/>
                  <a:gd name="T92" fmla="*/ 1739 w 2338"/>
                  <a:gd name="T93" fmla="*/ 600 h 660"/>
                  <a:gd name="T94" fmla="*/ 1889 w 2338"/>
                  <a:gd name="T95" fmla="*/ 540 h 660"/>
                  <a:gd name="T96" fmla="*/ 1949 w 2338"/>
                  <a:gd name="T97" fmla="*/ 660 h 660"/>
                  <a:gd name="T98" fmla="*/ 2039 w 2338"/>
                  <a:gd name="T99" fmla="*/ 570 h 660"/>
                  <a:gd name="T100" fmla="*/ 2009 w 2338"/>
                  <a:gd name="T101" fmla="*/ 450 h 660"/>
                  <a:gd name="T102" fmla="*/ 1919 w 2338"/>
                  <a:gd name="T103" fmla="*/ 420 h 660"/>
                  <a:gd name="T104" fmla="*/ 2009 w 2338"/>
                  <a:gd name="T105" fmla="*/ 300 h 660"/>
                  <a:gd name="T106" fmla="*/ 2129 w 2338"/>
                  <a:gd name="T107" fmla="*/ 360 h 660"/>
                  <a:gd name="T108" fmla="*/ 2159 w 2338"/>
                  <a:gd name="T109" fmla="*/ 510 h 660"/>
                  <a:gd name="T110" fmla="*/ 2338 w 2338"/>
                  <a:gd name="T111" fmla="*/ 540 h 660"/>
                  <a:gd name="T112" fmla="*/ 2218 w 2338"/>
                  <a:gd name="T113" fmla="*/ 660 h 660"/>
                  <a:gd name="T114" fmla="*/ 2248 w 2338"/>
                  <a:gd name="T115" fmla="*/ 390 h 660"/>
                  <a:gd name="T116" fmla="*/ 2069 w 2338"/>
                  <a:gd name="T117" fmla="*/ 24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8" h="660">
                    <a:moveTo>
                      <a:pt x="30" y="420"/>
                    </a:moveTo>
                    <a:lnTo>
                      <a:pt x="0" y="270"/>
                    </a:lnTo>
                    <a:lnTo>
                      <a:pt x="150" y="510"/>
                    </a:lnTo>
                    <a:lnTo>
                      <a:pt x="210" y="420"/>
                    </a:lnTo>
                    <a:lnTo>
                      <a:pt x="210" y="120"/>
                    </a:lnTo>
                    <a:lnTo>
                      <a:pt x="60" y="150"/>
                    </a:lnTo>
                    <a:lnTo>
                      <a:pt x="120" y="0"/>
                    </a:lnTo>
                    <a:lnTo>
                      <a:pt x="330" y="90"/>
                    </a:lnTo>
                    <a:lnTo>
                      <a:pt x="420" y="210"/>
                    </a:lnTo>
                    <a:lnTo>
                      <a:pt x="210" y="120"/>
                    </a:lnTo>
                    <a:lnTo>
                      <a:pt x="270" y="240"/>
                    </a:lnTo>
                    <a:lnTo>
                      <a:pt x="420" y="210"/>
                    </a:lnTo>
                    <a:lnTo>
                      <a:pt x="510" y="120"/>
                    </a:lnTo>
                    <a:lnTo>
                      <a:pt x="599" y="210"/>
                    </a:lnTo>
                    <a:lnTo>
                      <a:pt x="809" y="150"/>
                    </a:lnTo>
                    <a:lnTo>
                      <a:pt x="719" y="240"/>
                    </a:lnTo>
                    <a:lnTo>
                      <a:pt x="510" y="480"/>
                    </a:lnTo>
                    <a:lnTo>
                      <a:pt x="689" y="510"/>
                    </a:lnTo>
                    <a:lnTo>
                      <a:pt x="689" y="660"/>
                    </a:lnTo>
                    <a:lnTo>
                      <a:pt x="569" y="600"/>
                    </a:lnTo>
                    <a:lnTo>
                      <a:pt x="300" y="570"/>
                    </a:lnTo>
                    <a:lnTo>
                      <a:pt x="420" y="330"/>
                    </a:lnTo>
                    <a:lnTo>
                      <a:pt x="569" y="360"/>
                    </a:lnTo>
                    <a:lnTo>
                      <a:pt x="599" y="210"/>
                    </a:lnTo>
                    <a:lnTo>
                      <a:pt x="749" y="420"/>
                    </a:lnTo>
                    <a:lnTo>
                      <a:pt x="689" y="510"/>
                    </a:lnTo>
                    <a:lnTo>
                      <a:pt x="809" y="600"/>
                    </a:lnTo>
                    <a:lnTo>
                      <a:pt x="929" y="540"/>
                    </a:lnTo>
                    <a:lnTo>
                      <a:pt x="1079" y="570"/>
                    </a:lnTo>
                    <a:lnTo>
                      <a:pt x="1049" y="450"/>
                    </a:lnTo>
                    <a:lnTo>
                      <a:pt x="959" y="420"/>
                    </a:lnTo>
                    <a:lnTo>
                      <a:pt x="1049" y="300"/>
                    </a:lnTo>
                    <a:lnTo>
                      <a:pt x="1169" y="360"/>
                    </a:lnTo>
                    <a:lnTo>
                      <a:pt x="1259" y="390"/>
                    </a:lnTo>
                    <a:lnTo>
                      <a:pt x="1199" y="510"/>
                    </a:lnTo>
                    <a:lnTo>
                      <a:pt x="1349" y="540"/>
                    </a:lnTo>
                    <a:lnTo>
                      <a:pt x="1409" y="360"/>
                    </a:lnTo>
                    <a:lnTo>
                      <a:pt x="1469" y="480"/>
                    </a:lnTo>
                    <a:lnTo>
                      <a:pt x="1529" y="360"/>
                    </a:lnTo>
                    <a:lnTo>
                      <a:pt x="1529" y="600"/>
                    </a:lnTo>
                    <a:lnTo>
                      <a:pt x="1409" y="630"/>
                    </a:lnTo>
                    <a:lnTo>
                      <a:pt x="1649" y="300"/>
                    </a:lnTo>
                    <a:lnTo>
                      <a:pt x="1649" y="510"/>
                    </a:lnTo>
                    <a:lnTo>
                      <a:pt x="1709" y="420"/>
                    </a:lnTo>
                    <a:lnTo>
                      <a:pt x="1799" y="360"/>
                    </a:lnTo>
                    <a:lnTo>
                      <a:pt x="1799" y="480"/>
                    </a:lnTo>
                    <a:lnTo>
                      <a:pt x="1739" y="600"/>
                    </a:lnTo>
                    <a:lnTo>
                      <a:pt x="1889" y="540"/>
                    </a:lnTo>
                    <a:lnTo>
                      <a:pt x="1949" y="660"/>
                    </a:lnTo>
                    <a:lnTo>
                      <a:pt x="2039" y="570"/>
                    </a:lnTo>
                    <a:lnTo>
                      <a:pt x="2009" y="450"/>
                    </a:lnTo>
                    <a:lnTo>
                      <a:pt x="1919" y="420"/>
                    </a:lnTo>
                    <a:lnTo>
                      <a:pt x="2009" y="300"/>
                    </a:lnTo>
                    <a:lnTo>
                      <a:pt x="2129" y="360"/>
                    </a:lnTo>
                    <a:lnTo>
                      <a:pt x="2159" y="510"/>
                    </a:lnTo>
                    <a:lnTo>
                      <a:pt x="2338" y="540"/>
                    </a:lnTo>
                    <a:lnTo>
                      <a:pt x="2218" y="660"/>
                    </a:lnTo>
                    <a:lnTo>
                      <a:pt x="2248" y="390"/>
                    </a:lnTo>
                    <a:lnTo>
                      <a:pt x="2069"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6" name="Freeform 2591">
                <a:extLst>
                  <a:ext uri="{FF2B5EF4-FFF2-40B4-BE49-F238E27FC236}">
                    <a16:creationId xmlns:a16="http://schemas.microsoft.com/office/drawing/2014/main" id="{5E53CBE0-47E7-4693-8C51-E828AFCA8C8B}"/>
                  </a:ext>
                </a:extLst>
              </p:cNvPr>
              <p:cNvSpPr>
                <a:spLocks/>
              </p:cNvSpPr>
              <p:nvPr/>
            </p:nvSpPr>
            <p:spPr bwMode="auto">
              <a:xfrm>
                <a:off x="3585" y="2760"/>
                <a:ext cx="269" cy="300"/>
              </a:xfrm>
              <a:custGeom>
                <a:avLst/>
                <a:gdLst>
                  <a:gd name="T0" fmla="*/ 269 w 269"/>
                  <a:gd name="T1" fmla="*/ 0 h 300"/>
                  <a:gd name="T2" fmla="*/ 120 w 269"/>
                  <a:gd name="T3" fmla="*/ 150 h 300"/>
                  <a:gd name="T4" fmla="*/ 0 w 269"/>
                  <a:gd name="T5" fmla="*/ 240 h 300"/>
                  <a:gd name="T6" fmla="*/ 150 w 269"/>
                  <a:gd name="T7" fmla="*/ 300 h 300"/>
                </a:gdLst>
                <a:ahLst/>
                <a:cxnLst>
                  <a:cxn ang="0">
                    <a:pos x="T0" y="T1"/>
                  </a:cxn>
                  <a:cxn ang="0">
                    <a:pos x="T2" y="T3"/>
                  </a:cxn>
                  <a:cxn ang="0">
                    <a:pos x="T4" y="T5"/>
                  </a:cxn>
                  <a:cxn ang="0">
                    <a:pos x="T6" y="T7"/>
                  </a:cxn>
                </a:cxnLst>
                <a:rect l="0" t="0" r="r" b="b"/>
                <a:pathLst>
                  <a:path w="269" h="300">
                    <a:moveTo>
                      <a:pt x="269" y="0"/>
                    </a:moveTo>
                    <a:lnTo>
                      <a:pt x="120" y="150"/>
                    </a:lnTo>
                    <a:lnTo>
                      <a:pt x="0" y="24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7" name="Freeform 2592">
                <a:extLst>
                  <a:ext uri="{FF2B5EF4-FFF2-40B4-BE49-F238E27FC236}">
                    <a16:creationId xmlns:a16="http://schemas.microsoft.com/office/drawing/2014/main" id="{0B0C83CF-ED40-4E16-BDFC-6E35ECFAC21E}"/>
                  </a:ext>
                </a:extLst>
              </p:cNvPr>
              <p:cNvSpPr>
                <a:spLocks/>
              </p:cNvSpPr>
              <p:nvPr/>
            </p:nvSpPr>
            <p:spPr bwMode="auto">
              <a:xfrm>
                <a:off x="2835" y="2790"/>
                <a:ext cx="1289" cy="420"/>
              </a:xfrm>
              <a:custGeom>
                <a:avLst/>
                <a:gdLst>
                  <a:gd name="T0" fmla="*/ 210 w 1289"/>
                  <a:gd name="T1" fmla="*/ 240 h 420"/>
                  <a:gd name="T2" fmla="*/ 150 w 1289"/>
                  <a:gd name="T3" fmla="*/ 390 h 420"/>
                  <a:gd name="T4" fmla="*/ 90 w 1289"/>
                  <a:gd name="T5" fmla="*/ 300 h 420"/>
                  <a:gd name="T6" fmla="*/ 0 w 1289"/>
                  <a:gd name="T7" fmla="*/ 150 h 420"/>
                  <a:gd name="T8" fmla="*/ 150 w 1289"/>
                  <a:gd name="T9" fmla="*/ 120 h 420"/>
                  <a:gd name="T10" fmla="*/ 300 w 1289"/>
                  <a:gd name="T11" fmla="*/ 30 h 420"/>
                  <a:gd name="T12" fmla="*/ 390 w 1289"/>
                  <a:gd name="T13" fmla="*/ 60 h 420"/>
                  <a:gd name="T14" fmla="*/ 450 w 1289"/>
                  <a:gd name="T15" fmla="*/ 180 h 420"/>
                  <a:gd name="T16" fmla="*/ 480 w 1289"/>
                  <a:gd name="T17" fmla="*/ 30 h 420"/>
                  <a:gd name="T18" fmla="*/ 600 w 1289"/>
                  <a:gd name="T19" fmla="*/ 0 h 420"/>
                  <a:gd name="T20" fmla="*/ 540 w 1289"/>
                  <a:gd name="T21" fmla="*/ 120 h 420"/>
                  <a:gd name="T22" fmla="*/ 660 w 1289"/>
                  <a:gd name="T23" fmla="*/ 180 h 420"/>
                  <a:gd name="T24" fmla="*/ 630 w 1289"/>
                  <a:gd name="T25" fmla="*/ 300 h 420"/>
                  <a:gd name="T26" fmla="*/ 780 w 1289"/>
                  <a:gd name="T27" fmla="*/ 330 h 420"/>
                  <a:gd name="T28" fmla="*/ 959 w 1289"/>
                  <a:gd name="T29" fmla="*/ 420 h 420"/>
                  <a:gd name="T30" fmla="*/ 1289 w 1289"/>
                  <a:gd name="T3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9" h="420">
                    <a:moveTo>
                      <a:pt x="210" y="240"/>
                    </a:moveTo>
                    <a:lnTo>
                      <a:pt x="150" y="390"/>
                    </a:lnTo>
                    <a:lnTo>
                      <a:pt x="90" y="300"/>
                    </a:lnTo>
                    <a:lnTo>
                      <a:pt x="0" y="150"/>
                    </a:lnTo>
                    <a:lnTo>
                      <a:pt x="150" y="120"/>
                    </a:lnTo>
                    <a:lnTo>
                      <a:pt x="300" y="30"/>
                    </a:lnTo>
                    <a:lnTo>
                      <a:pt x="390" y="60"/>
                    </a:lnTo>
                    <a:lnTo>
                      <a:pt x="450" y="180"/>
                    </a:lnTo>
                    <a:lnTo>
                      <a:pt x="480" y="30"/>
                    </a:lnTo>
                    <a:lnTo>
                      <a:pt x="600" y="0"/>
                    </a:lnTo>
                    <a:lnTo>
                      <a:pt x="540" y="120"/>
                    </a:lnTo>
                    <a:lnTo>
                      <a:pt x="660" y="180"/>
                    </a:lnTo>
                    <a:lnTo>
                      <a:pt x="630" y="300"/>
                    </a:lnTo>
                    <a:lnTo>
                      <a:pt x="780" y="330"/>
                    </a:lnTo>
                    <a:lnTo>
                      <a:pt x="959" y="420"/>
                    </a:lnTo>
                    <a:lnTo>
                      <a:pt x="1289"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8" name="Freeform 2593">
                <a:extLst>
                  <a:ext uri="{FF2B5EF4-FFF2-40B4-BE49-F238E27FC236}">
                    <a16:creationId xmlns:a16="http://schemas.microsoft.com/office/drawing/2014/main" id="{8341C45E-7503-4B86-B3C4-92A408E7978D}"/>
                  </a:ext>
                </a:extLst>
              </p:cNvPr>
              <p:cNvSpPr>
                <a:spLocks/>
              </p:cNvSpPr>
              <p:nvPr/>
            </p:nvSpPr>
            <p:spPr bwMode="auto">
              <a:xfrm>
                <a:off x="1996" y="2130"/>
                <a:ext cx="629" cy="720"/>
              </a:xfrm>
              <a:custGeom>
                <a:avLst/>
                <a:gdLst>
                  <a:gd name="T0" fmla="*/ 629 w 629"/>
                  <a:gd name="T1" fmla="*/ 720 h 720"/>
                  <a:gd name="T2" fmla="*/ 479 w 629"/>
                  <a:gd name="T3" fmla="*/ 690 h 720"/>
                  <a:gd name="T4" fmla="*/ 599 w 629"/>
                  <a:gd name="T5" fmla="*/ 510 h 720"/>
                  <a:gd name="T6" fmla="*/ 389 w 629"/>
                  <a:gd name="T7" fmla="*/ 570 h 720"/>
                  <a:gd name="T8" fmla="*/ 269 w 629"/>
                  <a:gd name="T9" fmla="*/ 510 h 720"/>
                  <a:gd name="T10" fmla="*/ 90 w 629"/>
                  <a:gd name="T11" fmla="*/ 540 h 720"/>
                  <a:gd name="T12" fmla="*/ 0 w 629"/>
                  <a:gd name="T13" fmla="*/ 390 h 720"/>
                  <a:gd name="T14" fmla="*/ 0 w 629"/>
                  <a:gd name="T15" fmla="*/ 630 h 720"/>
                  <a:gd name="T16" fmla="*/ 90 w 629"/>
                  <a:gd name="T17" fmla="*/ 300 h 720"/>
                  <a:gd name="T18" fmla="*/ 0 w 629"/>
                  <a:gd name="T19" fmla="*/ 210 h 720"/>
                  <a:gd name="T20" fmla="*/ 0 w 629"/>
                  <a:gd name="T21" fmla="*/ 60 h 720"/>
                  <a:gd name="T22" fmla="*/ 60 w 629"/>
                  <a:gd name="T23" fmla="*/ 0 h 720"/>
                  <a:gd name="T24" fmla="*/ 149 w 629"/>
                  <a:gd name="T25" fmla="*/ 180 h 720"/>
                  <a:gd name="T26" fmla="*/ 329 w 629"/>
                  <a:gd name="T27" fmla="*/ 240 h 720"/>
                  <a:gd name="T28" fmla="*/ 359 w 629"/>
                  <a:gd name="T29" fmla="*/ 9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9" h="720">
                    <a:moveTo>
                      <a:pt x="629" y="720"/>
                    </a:moveTo>
                    <a:lnTo>
                      <a:pt x="479" y="690"/>
                    </a:lnTo>
                    <a:lnTo>
                      <a:pt x="599" y="510"/>
                    </a:ln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9" name="Freeform 2594">
                <a:extLst>
                  <a:ext uri="{FF2B5EF4-FFF2-40B4-BE49-F238E27FC236}">
                    <a16:creationId xmlns:a16="http://schemas.microsoft.com/office/drawing/2014/main" id="{44E0A960-B758-42FD-A2F8-D30DF9364AF5}"/>
                  </a:ext>
                </a:extLst>
              </p:cNvPr>
              <p:cNvSpPr>
                <a:spLocks/>
              </p:cNvSpPr>
              <p:nvPr/>
            </p:nvSpPr>
            <p:spPr bwMode="auto">
              <a:xfrm>
                <a:off x="2295" y="2640"/>
                <a:ext cx="780" cy="480"/>
              </a:xfrm>
              <a:custGeom>
                <a:avLst/>
                <a:gdLst>
                  <a:gd name="T0" fmla="*/ 330 w 780"/>
                  <a:gd name="T1" fmla="*/ 360 h 480"/>
                  <a:gd name="T2" fmla="*/ 210 w 780"/>
                  <a:gd name="T3" fmla="*/ 450 h 480"/>
                  <a:gd name="T4" fmla="*/ 120 w 780"/>
                  <a:gd name="T5" fmla="*/ 390 h 480"/>
                  <a:gd name="T6" fmla="*/ 120 w 780"/>
                  <a:gd name="T7" fmla="*/ 270 h 480"/>
                  <a:gd name="T8" fmla="*/ 180 w 780"/>
                  <a:gd name="T9" fmla="*/ 180 h 480"/>
                  <a:gd name="T10" fmla="*/ 0 w 780"/>
                  <a:gd name="T11" fmla="*/ 150 h 480"/>
                  <a:gd name="T12" fmla="*/ 30 w 780"/>
                  <a:gd name="T13" fmla="*/ 330 h 480"/>
                  <a:gd name="T14" fmla="*/ 120 w 780"/>
                  <a:gd name="T15" fmla="*/ 270 h 480"/>
                  <a:gd name="T16" fmla="*/ 240 w 780"/>
                  <a:gd name="T17" fmla="*/ 330 h 480"/>
                  <a:gd name="T18" fmla="*/ 360 w 780"/>
                  <a:gd name="T19" fmla="*/ 480 h 480"/>
                  <a:gd name="T20" fmla="*/ 480 w 780"/>
                  <a:gd name="T21" fmla="*/ 420 h 480"/>
                  <a:gd name="T22" fmla="*/ 330 w 780"/>
                  <a:gd name="T23" fmla="*/ 360 h 480"/>
                  <a:gd name="T24" fmla="*/ 450 w 780"/>
                  <a:gd name="T25" fmla="*/ 270 h 480"/>
                  <a:gd name="T26" fmla="*/ 510 w 780"/>
                  <a:gd name="T27" fmla="*/ 90 h 480"/>
                  <a:gd name="T28" fmla="*/ 690 w 780"/>
                  <a:gd name="T29" fmla="*/ 0 h 480"/>
                  <a:gd name="T30" fmla="*/ 450 w 780"/>
                  <a:gd name="T31" fmla="*/ 0 h 480"/>
                  <a:gd name="T32" fmla="*/ 780 w 780"/>
                  <a:gd name="T33" fmla="*/ 9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80">
                    <a:moveTo>
                      <a:pt x="330" y="360"/>
                    </a:moveTo>
                    <a:lnTo>
                      <a:pt x="210" y="450"/>
                    </a:lnTo>
                    <a:lnTo>
                      <a:pt x="120" y="390"/>
                    </a:lnTo>
                    <a:lnTo>
                      <a:pt x="120" y="270"/>
                    </a:lnTo>
                    <a:lnTo>
                      <a:pt x="180" y="180"/>
                    </a:lnTo>
                    <a:lnTo>
                      <a:pt x="0" y="150"/>
                    </a:lnTo>
                    <a:lnTo>
                      <a:pt x="30" y="330"/>
                    </a:lnTo>
                    <a:lnTo>
                      <a:pt x="120" y="270"/>
                    </a:lnTo>
                    <a:lnTo>
                      <a:pt x="240" y="330"/>
                    </a:lnTo>
                    <a:lnTo>
                      <a:pt x="360" y="480"/>
                    </a:lnTo>
                    <a:lnTo>
                      <a:pt x="480" y="420"/>
                    </a:lnTo>
                    <a:lnTo>
                      <a:pt x="330" y="360"/>
                    </a:lnTo>
                    <a:lnTo>
                      <a:pt x="450" y="270"/>
                    </a:lnTo>
                    <a:lnTo>
                      <a:pt x="510" y="90"/>
                    </a:lnTo>
                    <a:lnTo>
                      <a:pt x="690" y="0"/>
                    </a:lnTo>
                    <a:lnTo>
                      <a:pt x="450" y="0"/>
                    </a:lnTo>
                    <a:lnTo>
                      <a:pt x="7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0" name="Line 2595">
                <a:extLst>
                  <a:ext uri="{FF2B5EF4-FFF2-40B4-BE49-F238E27FC236}">
                    <a16:creationId xmlns:a16="http://schemas.microsoft.com/office/drawing/2014/main" id="{C5264984-1E81-4BCD-A7F1-5BDD838F897E}"/>
                  </a:ext>
                </a:extLst>
              </p:cNvPr>
              <p:cNvSpPr>
                <a:spLocks noChangeShapeType="1"/>
              </p:cNvSpPr>
              <p:nvPr/>
            </p:nvSpPr>
            <p:spPr bwMode="auto">
              <a:xfrm flipH="1" flipV="1">
                <a:off x="2325"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1" name="Freeform 2596">
                <a:extLst>
                  <a:ext uri="{FF2B5EF4-FFF2-40B4-BE49-F238E27FC236}">
                    <a16:creationId xmlns:a16="http://schemas.microsoft.com/office/drawing/2014/main" id="{1BF41D78-4FA8-43F4-A6C1-D8EBF57C6589}"/>
                  </a:ext>
                </a:extLst>
              </p:cNvPr>
              <p:cNvSpPr>
                <a:spLocks/>
              </p:cNvSpPr>
              <p:nvPr/>
            </p:nvSpPr>
            <p:spPr bwMode="auto">
              <a:xfrm>
                <a:off x="2086" y="2820"/>
                <a:ext cx="449" cy="390"/>
              </a:xfrm>
              <a:custGeom>
                <a:avLst/>
                <a:gdLst>
                  <a:gd name="T0" fmla="*/ 179 w 449"/>
                  <a:gd name="T1" fmla="*/ 390 h 390"/>
                  <a:gd name="T2" fmla="*/ 329 w 449"/>
                  <a:gd name="T3" fmla="*/ 210 h 390"/>
                  <a:gd name="T4" fmla="*/ 449 w 449"/>
                  <a:gd name="T5" fmla="*/ 150 h 390"/>
                  <a:gd name="T6" fmla="*/ 389 w 449"/>
                  <a:gd name="T7" fmla="*/ 0 h 390"/>
                  <a:gd name="T8" fmla="*/ 0 w 449"/>
                  <a:gd name="T9" fmla="*/ 210 h 390"/>
                </a:gdLst>
                <a:ahLst/>
                <a:cxnLst>
                  <a:cxn ang="0">
                    <a:pos x="T0" y="T1"/>
                  </a:cxn>
                  <a:cxn ang="0">
                    <a:pos x="T2" y="T3"/>
                  </a:cxn>
                  <a:cxn ang="0">
                    <a:pos x="T4" y="T5"/>
                  </a:cxn>
                  <a:cxn ang="0">
                    <a:pos x="T6" y="T7"/>
                  </a:cxn>
                  <a:cxn ang="0">
                    <a:pos x="T8" y="T9"/>
                  </a:cxn>
                </a:cxnLst>
                <a:rect l="0" t="0" r="r" b="b"/>
                <a:pathLst>
                  <a:path w="449" h="390">
                    <a:moveTo>
                      <a:pt x="179" y="390"/>
                    </a:moveTo>
                    <a:lnTo>
                      <a:pt x="329" y="210"/>
                    </a:lnTo>
                    <a:lnTo>
                      <a:pt x="449" y="150"/>
                    </a:lnTo>
                    <a:lnTo>
                      <a:pt x="389" y="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2" name="Freeform 2597">
                <a:extLst>
                  <a:ext uri="{FF2B5EF4-FFF2-40B4-BE49-F238E27FC236}">
                    <a16:creationId xmlns:a16="http://schemas.microsoft.com/office/drawing/2014/main" id="{3ECC2B7E-F032-4F80-9805-F5C161351F3F}"/>
                  </a:ext>
                </a:extLst>
              </p:cNvPr>
              <p:cNvSpPr>
                <a:spLocks/>
              </p:cNvSpPr>
              <p:nvPr/>
            </p:nvSpPr>
            <p:spPr bwMode="auto">
              <a:xfrm>
                <a:off x="2685" y="2310"/>
                <a:ext cx="870" cy="600"/>
              </a:xfrm>
              <a:custGeom>
                <a:avLst/>
                <a:gdLst>
                  <a:gd name="T0" fmla="*/ 0 w 870"/>
                  <a:gd name="T1" fmla="*/ 480 h 600"/>
                  <a:gd name="T2" fmla="*/ 60 w 870"/>
                  <a:gd name="T3" fmla="*/ 600 h 600"/>
                  <a:gd name="T4" fmla="*/ 270 w 870"/>
                  <a:gd name="T5" fmla="*/ 480 h 600"/>
                  <a:gd name="T6" fmla="*/ 390 w 870"/>
                  <a:gd name="T7" fmla="*/ 420 h 600"/>
                  <a:gd name="T8" fmla="*/ 540 w 870"/>
                  <a:gd name="T9" fmla="*/ 420 h 600"/>
                  <a:gd name="T10" fmla="*/ 750 w 870"/>
                  <a:gd name="T11" fmla="*/ 480 h 600"/>
                  <a:gd name="T12" fmla="*/ 870 w 870"/>
                  <a:gd name="T13" fmla="*/ 330 h 600"/>
                  <a:gd name="T14" fmla="*/ 660 w 870"/>
                  <a:gd name="T15" fmla="*/ 390 h 600"/>
                  <a:gd name="T16" fmla="*/ 540 w 870"/>
                  <a:gd name="T17" fmla="*/ 330 h 600"/>
                  <a:gd name="T18" fmla="*/ 420 w 870"/>
                  <a:gd name="T1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600">
                    <a:moveTo>
                      <a:pt x="0" y="480"/>
                    </a:moveTo>
                    <a:lnTo>
                      <a:pt x="60" y="600"/>
                    </a:lnTo>
                    <a:lnTo>
                      <a:pt x="270" y="480"/>
                    </a:lnTo>
                    <a:lnTo>
                      <a:pt x="390" y="420"/>
                    </a:lnTo>
                    <a:lnTo>
                      <a:pt x="540" y="420"/>
                    </a:lnTo>
                    <a:lnTo>
                      <a:pt x="750" y="480"/>
                    </a:lnTo>
                    <a:lnTo>
                      <a:pt x="870" y="330"/>
                    </a:lnTo>
                    <a:lnTo>
                      <a:pt x="660" y="390"/>
                    </a:lnTo>
                    <a:lnTo>
                      <a:pt x="540" y="33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3" name="Line 2598">
                <a:extLst>
                  <a:ext uri="{FF2B5EF4-FFF2-40B4-BE49-F238E27FC236}">
                    <a16:creationId xmlns:a16="http://schemas.microsoft.com/office/drawing/2014/main" id="{0F0179BD-86C1-403C-83FF-4E72B4046EC9}"/>
                  </a:ext>
                </a:extLst>
              </p:cNvPr>
              <p:cNvSpPr>
                <a:spLocks noChangeShapeType="1"/>
              </p:cNvSpPr>
              <p:nvPr/>
            </p:nvSpPr>
            <p:spPr bwMode="auto">
              <a:xfrm flipH="1" flipV="1">
                <a:off x="2745" y="2910"/>
                <a:ext cx="3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4" name="Freeform 2599">
                <a:extLst>
                  <a:ext uri="{FF2B5EF4-FFF2-40B4-BE49-F238E27FC236}">
                    <a16:creationId xmlns:a16="http://schemas.microsoft.com/office/drawing/2014/main" id="{9A62BFBF-9AF6-450A-9D1E-3E4503B2026C}"/>
                  </a:ext>
                </a:extLst>
              </p:cNvPr>
              <p:cNvSpPr>
                <a:spLocks/>
              </p:cNvSpPr>
              <p:nvPr/>
            </p:nvSpPr>
            <p:spPr bwMode="auto">
              <a:xfrm>
                <a:off x="3105" y="3060"/>
                <a:ext cx="210" cy="90"/>
              </a:xfrm>
              <a:custGeom>
                <a:avLst/>
                <a:gdLst>
                  <a:gd name="T0" fmla="*/ 0 w 210"/>
                  <a:gd name="T1" fmla="*/ 90 h 90"/>
                  <a:gd name="T2" fmla="*/ 120 w 210"/>
                  <a:gd name="T3" fmla="*/ 0 h 90"/>
                  <a:gd name="T4" fmla="*/ 210 w 210"/>
                  <a:gd name="T5" fmla="*/ 90 h 90"/>
                </a:gdLst>
                <a:ahLst/>
                <a:cxnLst>
                  <a:cxn ang="0">
                    <a:pos x="T0" y="T1"/>
                  </a:cxn>
                  <a:cxn ang="0">
                    <a:pos x="T2" y="T3"/>
                  </a:cxn>
                  <a:cxn ang="0">
                    <a:pos x="T4" y="T5"/>
                  </a:cxn>
                </a:cxnLst>
                <a:rect l="0" t="0" r="r" b="b"/>
                <a:pathLst>
                  <a:path w="210" h="90">
                    <a:moveTo>
                      <a:pt x="0" y="90"/>
                    </a:moveTo>
                    <a:lnTo>
                      <a:pt x="120" y="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5" name="Line 2600">
                <a:extLst>
                  <a:ext uri="{FF2B5EF4-FFF2-40B4-BE49-F238E27FC236}">
                    <a16:creationId xmlns:a16="http://schemas.microsoft.com/office/drawing/2014/main" id="{E59C5D6C-6D72-4076-901E-656EE8B2BE76}"/>
                  </a:ext>
                </a:extLst>
              </p:cNvPr>
              <p:cNvSpPr>
                <a:spLocks noChangeShapeType="1"/>
              </p:cNvSpPr>
              <p:nvPr/>
            </p:nvSpPr>
            <p:spPr bwMode="auto">
              <a:xfrm flipH="1" flipV="1">
                <a:off x="2805" y="2730"/>
                <a:ext cx="30"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6" name="Freeform 2601">
                <a:extLst>
                  <a:ext uri="{FF2B5EF4-FFF2-40B4-BE49-F238E27FC236}">
                    <a16:creationId xmlns:a16="http://schemas.microsoft.com/office/drawing/2014/main" id="{D3A73BDC-FA85-4BED-A570-BE8B721526FC}"/>
                  </a:ext>
                </a:extLst>
              </p:cNvPr>
              <p:cNvSpPr>
                <a:spLocks/>
              </p:cNvSpPr>
              <p:nvPr/>
            </p:nvSpPr>
            <p:spPr bwMode="auto">
              <a:xfrm>
                <a:off x="3225" y="2730"/>
                <a:ext cx="90" cy="120"/>
              </a:xfrm>
              <a:custGeom>
                <a:avLst/>
                <a:gdLst>
                  <a:gd name="T0" fmla="*/ 0 w 90"/>
                  <a:gd name="T1" fmla="*/ 0 h 120"/>
                  <a:gd name="T2" fmla="*/ 90 w 90"/>
                  <a:gd name="T3" fmla="*/ 90 h 120"/>
                  <a:gd name="T4" fmla="*/ 0 w 90"/>
                  <a:gd name="T5" fmla="*/ 120 h 120"/>
                  <a:gd name="T6" fmla="*/ 0 w 90"/>
                  <a:gd name="T7" fmla="*/ 0 h 120"/>
                </a:gdLst>
                <a:ahLst/>
                <a:cxnLst>
                  <a:cxn ang="0">
                    <a:pos x="T0" y="T1"/>
                  </a:cxn>
                  <a:cxn ang="0">
                    <a:pos x="T2" y="T3"/>
                  </a:cxn>
                  <a:cxn ang="0">
                    <a:pos x="T4" y="T5"/>
                  </a:cxn>
                  <a:cxn ang="0">
                    <a:pos x="T6" y="T7"/>
                  </a:cxn>
                </a:cxnLst>
                <a:rect l="0" t="0" r="r" b="b"/>
                <a:pathLst>
                  <a:path w="90" h="120">
                    <a:moveTo>
                      <a:pt x="0" y="0"/>
                    </a:moveTo>
                    <a:lnTo>
                      <a:pt x="90" y="90"/>
                    </a:lnTo>
                    <a:lnTo>
                      <a:pt x="0" y="120"/>
                    </a:lnTo>
                    <a:lnTo>
                      <a:pt x="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7" name="Freeform 2602">
                <a:extLst>
                  <a:ext uri="{FF2B5EF4-FFF2-40B4-BE49-F238E27FC236}">
                    <a16:creationId xmlns:a16="http://schemas.microsoft.com/office/drawing/2014/main" id="{8C23AB40-DD0F-4D70-BAAE-95C18BD71BA7}"/>
                  </a:ext>
                </a:extLst>
              </p:cNvPr>
              <p:cNvSpPr>
                <a:spLocks/>
              </p:cNvSpPr>
              <p:nvPr/>
            </p:nvSpPr>
            <p:spPr bwMode="auto">
              <a:xfrm>
                <a:off x="3315" y="2820"/>
                <a:ext cx="270" cy="90"/>
              </a:xfrm>
              <a:custGeom>
                <a:avLst/>
                <a:gdLst>
                  <a:gd name="T0" fmla="*/ 60 w 270"/>
                  <a:gd name="T1" fmla="*/ 90 h 90"/>
                  <a:gd name="T2" fmla="*/ 0 w 270"/>
                  <a:gd name="T3" fmla="*/ 0 h 90"/>
                  <a:gd name="T4" fmla="*/ 270 w 270"/>
                  <a:gd name="T5" fmla="*/ 30 h 90"/>
                </a:gdLst>
                <a:ahLst/>
                <a:cxnLst>
                  <a:cxn ang="0">
                    <a:pos x="T0" y="T1"/>
                  </a:cxn>
                  <a:cxn ang="0">
                    <a:pos x="T2" y="T3"/>
                  </a:cxn>
                  <a:cxn ang="0">
                    <a:pos x="T4" y="T5"/>
                  </a:cxn>
                </a:cxnLst>
                <a:rect l="0" t="0" r="r" b="b"/>
                <a:pathLst>
                  <a:path w="270" h="90">
                    <a:moveTo>
                      <a:pt x="60" y="90"/>
                    </a:moveTo>
                    <a:lnTo>
                      <a:pt x="0" y="0"/>
                    </a:lnTo>
                    <a:lnTo>
                      <a:pt x="27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8" name="Freeform 2603">
                <a:extLst>
                  <a:ext uri="{FF2B5EF4-FFF2-40B4-BE49-F238E27FC236}">
                    <a16:creationId xmlns:a16="http://schemas.microsoft.com/office/drawing/2014/main" id="{E7900B12-920C-4409-86A1-E01267306B74}"/>
                  </a:ext>
                </a:extLst>
              </p:cNvPr>
              <p:cNvSpPr>
                <a:spLocks/>
              </p:cNvSpPr>
              <p:nvPr/>
            </p:nvSpPr>
            <p:spPr bwMode="auto">
              <a:xfrm>
                <a:off x="2955" y="2730"/>
                <a:ext cx="540" cy="330"/>
              </a:xfrm>
              <a:custGeom>
                <a:avLst/>
                <a:gdLst>
                  <a:gd name="T0" fmla="*/ 540 w 540"/>
                  <a:gd name="T1" fmla="*/ 240 h 330"/>
                  <a:gd name="T2" fmla="*/ 420 w 540"/>
                  <a:gd name="T3" fmla="*/ 300 h 330"/>
                  <a:gd name="T4" fmla="*/ 270 w 540"/>
                  <a:gd name="T5" fmla="*/ 330 h 330"/>
                  <a:gd name="T6" fmla="*/ 150 w 540"/>
                  <a:gd name="T7" fmla="*/ 180 h 330"/>
                  <a:gd name="T8" fmla="*/ 180 w 540"/>
                  <a:gd name="T9" fmla="*/ 90 h 330"/>
                  <a:gd name="T10" fmla="*/ 120 w 540"/>
                  <a:gd name="T11" fmla="*/ 0 h 330"/>
                  <a:gd name="T12" fmla="*/ 30 w 540"/>
                  <a:gd name="T13" fmla="*/ 180 h 330"/>
                  <a:gd name="T14" fmla="*/ 0 w 540"/>
                  <a:gd name="T15" fmla="*/ 60 h 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330">
                    <a:moveTo>
                      <a:pt x="540" y="240"/>
                    </a:moveTo>
                    <a:lnTo>
                      <a:pt x="420" y="300"/>
                    </a:lnTo>
                    <a:lnTo>
                      <a:pt x="270" y="330"/>
                    </a:lnTo>
                    <a:lnTo>
                      <a:pt x="150" y="180"/>
                    </a:lnTo>
                    <a:lnTo>
                      <a:pt x="180" y="90"/>
                    </a:lnTo>
                    <a:lnTo>
                      <a:pt x="120" y="0"/>
                    </a:lnTo>
                    <a:lnTo>
                      <a:pt x="30" y="18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9" name="Line 2604">
                <a:extLst>
                  <a:ext uri="{FF2B5EF4-FFF2-40B4-BE49-F238E27FC236}">
                    <a16:creationId xmlns:a16="http://schemas.microsoft.com/office/drawing/2014/main" id="{4447E057-CAC7-4B73-902C-F849DE1AFE6D}"/>
                  </a:ext>
                </a:extLst>
              </p:cNvPr>
              <p:cNvSpPr>
                <a:spLocks noChangeShapeType="1"/>
              </p:cNvSpPr>
              <p:nvPr/>
            </p:nvSpPr>
            <p:spPr bwMode="auto">
              <a:xfrm>
                <a:off x="3195" y="15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0" name="Freeform 2605">
                <a:extLst>
                  <a:ext uri="{FF2B5EF4-FFF2-40B4-BE49-F238E27FC236}">
                    <a16:creationId xmlns:a16="http://schemas.microsoft.com/office/drawing/2014/main" id="{72D3FC30-9EDB-4FA7-8AF5-9CCFE21B73F0}"/>
                  </a:ext>
                </a:extLst>
              </p:cNvPr>
              <p:cNvSpPr>
                <a:spLocks/>
              </p:cNvSpPr>
              <p:nvPr/>
            </p:nvSpPr>
            <p:spPr bwMode="auto">
              <a:xfrm>
                <a:off x="2865" y="1620"/>
                <a:ext cx="180" cy="150"/>
              </a:xfrm>
              <a:custGeom>
                <a:avLst/>
                <a:gdLst>
                  <a:gd name="T0" fmla="*/ 0 w 180"/>
                  <a:gd name="T1" fmla="*/ 0 h 150"/>
                  <a:gd name="T2" fmla="*/ 180 w 180"/>
                  <a:gd name="T3" fmla="*/ 150 h 150"/>
                  <a:gd name="T4" fmla="*/ 120 w 180"/>
                  <a:gd name="T5" fmla="*/ 30 h 150"/>
                </a:gdLst>
                <a:ahLst/>
                <a:cxnLst>
                  <a:cxn ang="0">
                    <a:pos x="T0" y="T1"/>
                  </a:cxn>
                  <a:cxn ang="0">
                    <a:pos x="T2" y="T3"/>
                  </a:cxn>
                  <a:cxn ang="0">
                    <a:pos x="T4" y="T5"/>
                  </a:cxn>
                </a:cxnLst>
                <a:rect l="0" t="0" r="r" b="b"/>
                <a:pathLst>
                  <a:path w="180" h="150">
                    <a:moveTo>
                      <a:pt x="0" y="0"/>
                    </a:moveTo>
                    <a:lnTo>
                      <a:pt x="180" y="150"/>
                    </a:lnTo>
                    <a:lnTo>
                      <a:pt x="12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1" name="Line 2606">
                <a:extLst>
                  <a:ext uri="{FF2B5EF4-FFF2-40B4-BE49-F238E27FC236}">
                    <a16:creationId xmlns:a16="http://schemas.microsoft.com/office/drawing/2014/main" id="{78378E19-78BD-43A5-BAC6-8CEAB6A02489}"/>
                  </a:ext>
                </a:extLst>
              </p:cNvPr>
              <p:cNvSpPr>
                <a:spLocks noChangeShapeType="1"/>
              </p:cNvSpPr>
              <p:nvPr/>
            </p:nvSpPr>
            <p:spPr bwMode="auto">
              <a:xfrm flipH="1" flipV="1">
                <a:off x="2985" y="16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2" name="Line 2607">
                <a:extLst>
                  <a:ext uri="{FF2B5EF4-FFF2-40B4-BE49-F238E27FC236}">
                    <a16:creationId xmlns:a16="http://schemas.microsoft.com/office/drawing/2014/main" id="{4DD99E60-2050-4C6B-AC46-F9C013C1A58B}"/>
                  </a:ext>
                </a:extLst>
              </p:cNvPr>
              <p:cNvSpPr>
                <a:spLocks noChangeShapeType="1"/>
              </p:cNvSpPr>
              <p:nvPr/>
            </p:nvSpPr>
            <p:spPr bwMode="auto">
              <a:xfrm>
                <a:off x="2715"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3" name="Line 2608">
                <a:extLst>
                  <a:ext uri="{FF2B5EF4-FFF2-40B4-BE49-F238E27FC236}">
                    <a16:creationId xmlns:a16="http://schemas.microsoft.com/office/drawing/2014/main" id="{8DA4C1D7-0CE3-4414-B744-935AE2E95402}"/>
                  </a:ext>
                </a:extLst>
              </p:cNvPr>
              <p:cNvSpPr>
                <a:spLocks noChangeShapeType="1"/>
              </p:cNvSpPr>
              <p:nvPr/>
            </p:nvSpPr>
            <p:spPr bwMode="auto">
              <a:xfrm>
                <a:off x="2685" y="150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4" name="Freeform 2609">
                <a:extLst>
                  <a:ext uri="{FF2B5EF4-FFF2-40B4-BE49-F238E27FC236}">
                    <a16:creationId xmlns:a16="http://schemas.microsoft.com/office/drawing/2014/main" id="{80EB1087-DC45-4095-B809-0171C67E9B40}"/>
                  </a:ext>
                </a:extLst>
              </p:cNvPr>
              <p:cNvSpPr>
                <a:spLocks/>
              </p:cNvSpPr>
              <p:nvPr/>
            </p:nvSpPr>
            <p:spPr bwMode="auto">
              <a:xfrm>
                <a:off x="2715" y="1470"/>
                <a:ext cx="330" cy="210"/>
              </a:xfrm>
              <a:custGeom>
                <a:avLst/>
                <a:gdLst>
                  <a:gd name="T0" fmla="*/ 0 w 330"/>
                  <a:gd name="T1" fmla="*/ 150 h 210"/>
                  <a:gd name="T2" fmla="*/ 60 w 330"/>
                  <a:gd name="T3" fmla="*/ 210 h 210"/>
                  <a:gd name="T4" fmla="*/ 150 w 330"/>
                  <a:gd name="T5" fmla="*/ 150 h 210"/>
                  <a:gd name="T6" fmla="*/ 210 w 330"/>
                  <a:gd name="T7" fmla="*/ 60 h 210"/>
                  <a:gd name="T8" fmla="*/ 330 w 330"/>
                  <a:gd name="T9" fmla="*/ 0 h 210"/>
                </a:gdLst>
                <a:ahLst/>
                <a:cxnLst>
                  <a:cxn ang="0">
                    <a:pos x="T0" y="T1"/>
                  </a:cxn>
                  <a:cxn ang="0">
                    <a:pos x="T2" y="T3"/>
                  </a:cxn>
                  <a:cxn ang="0">
                    <a:pos x="T4" y="T5"/>
                  </a:cxn>
                  <a:cxn ang="0">
                    <a:pos x="T6" y="T7"/>
                  </a:cxn>
                  <a:cxn ang="0">
                    <a:pos x="T8" y="T9"/>
                  </a:cxn>
                </a:cxnLst>
                <a:rect l="0" t="0" r="r" b="b"/>
                <a:pathLst>
                  <a:path w="330" h="210">
                    <a:moveTo>
                      <a:pt x="0" y="150"/>
                    </a:moveTo>
                    <a:lnTo>
                      <a:pt x="60" y="210"/>
                    </a:lnTo>
                    <a:lnTo>
                      <a:pt x="150" y="150"/>
                    </a:lnTo>
                    <a:lnTo>
                      <a:pt x="210" y="60"/>
                    </a:lnTo>
                    <a:lnTo>
                      <a:pt x="3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5" name="Freeform 2610">
                <a:extLst>
                  <a:ext uri="{FF2B5EF4-FFF2-40B4-BE49-F238E27FC236}">
                    <a16:creationId xmlns:a16="http://schemas.microsoft.com/office/drawing/2014/main" id="{24C43D64-F46B-407A-944F-6B0F7B7ED545}"/>
                  </a:ext>
                </a:extLst>
              </p:cNvPr>
              <p:cNvSpPr>
                <a:spLocks/>
              </p:cNvSpPr>
              <p:nvPr/>
            </p:nvSpPr>
            <p:spPr bwMode="auto">
              <a:xfrm>
                <a:off x="2835" y="1500"/>
                <a:ext cx="270" cy="150"/>
              </a:xfrm>
              <a:custGeom>
                <a:avLst/>
                <a:gdLst>
                  <a:gd name="T0" fmla="*/ 270 w 270"/>
                  <a:gd name="T1" fmla="*/ 90 h 150"/>
                  <a:gd name="T2" fmla="*/ 150 w 270"/>
                  <a:gd name="T3" fmla="*/ 150 h 150"/>
                  <a:gd name="T4" fmla="*/ 30 w 270"/>
                  <a:gd name="T5" fmla="*/ 120 h 150"/>
                  <a:gd name="T6" fmla="*/ 0 w 270"/>
                  <a:gd name="T7" fmla="*/ 0 h 150"/>
                </a:gdLst>
                <a:ahLst/>
                <a:cxnLst>
                  <a:cxn ang="0">
                    <a:pos x="T0" y="T1"/>
                  </a:cxn>
                  <a:cxn ang="0">
                    <a:pos x="T2" y="T3"/>
                  </a:cxn>
                  <a:cxn ang="0">
                    <a:pos x="T4" y="T5"/>
                  </a:cxn>
                  <a:cxn ang="0">
                    <a:pos x="T6" y="T7"/>
                  </a:cxn>
                </a:cxnLst>
                <a:rect l="0" t="0" r="r" b="b"/>
                <a:pathLst>
                  <a:path w="270" h="150">
                    <a:moveTo>
                      <a:pt x="270" y="90"/>
                    </a:moveTo>
                    <a:lnTo>
                      <a:pt x="150" y="150"/>
                    </a:lnTo>
                    <a:lnTo>
                      <a:pt x="3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6" name="Line 2611">
                <a:extLst>
                  <a:ext uri="{FF2B5EF4-FFF2-40B4-BE49-F238E27FC236}">
                    <a16:creationId xmlns:a16="http://schemas.microsoft.com/office/drawing/2014/main" id="{1727FC6B-43EE-4998-BDC7-91F0BB89600F}"/>
                  </a:ext>
                </a:extLst>
              </p:cNvPr>
              <p:cNvSpPr>
                <a:spLocks noChangeShapeType="1"/>
              </p:cNvSpPr>
              <p:nvPr/>
            </p:nvSpPr>
            <p:spPr bwMode="auto">
              <a:xfrm>
                <a:off x="3045" y="14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7" name="Line 2612">
                <a:extLst>
                  <a:ext uri="{FF2B5EF4-FFF2-40B4-BE49-F238E27FC236}">
                    <a16:creationId xmlns:a16="http://schemas.microsoft.com/office/drawing/2014/main" id="{BE04F2C5-0542-4A99-901C-E9E7718CEDAD}"/>
                  </a:ext>
                </a:extLst>
              </p:cNvPr>
              <p:cNvSpPr>
                <a:spLocks noChangeShapeType="1"/>
              </p:cNvSpPr>
              <p:nvPr/>
            </p:nvSpPr>
            <p:spPr bwMode="auto">
              <a:xfrm>
                <a:off x="2775" y="141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8" name="Line 2613">
                <a:extLst>
                  <a:ext uri="{FF2B5EF4-FFF2-40B4-BE49-F238E27FC236}">
                    <a16:creationId xmlns:a16="http://schemas.microsoft.com/office/drawing/2014/main" id="{2287376F-E8A3-4562-B502-5088BEC028DB}"/>
                  </a:ext>
                </a:extLst>
              </p:cNvPr>
              <p:cNvSpPr>
                <a:spLocks noChangeShapeType="1"/>
              </p:cNvSpPr>
              <p:nvPr/>
            </p:nvSpPr>
            <p:spPr bwMode="auto">
              <a:xfrm flipV="1">
                <a:off x="2865" y="15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9" name="Freeform 2614">
                <a:extLst>
                  <a:ext uri="{FF2B5EF4-FFF2-40B4-BE49-F238E27FC236}">
                    <a16:creationId xmlns:a16="http://schemas.microsoft.com/office/drawing/2014/main" id="{5F37B1A3-CE79-4C50-9F58-A539317046C5}"/>
                  </a:ext>
                </a:extLst>
              </p:cNvPr>
              <p:cNvSpPr>
                <a:spLocks/>
              </p:cNvSpPr>
              <p:nvPr/>
            </p:nvSpPr>
            <p:spPr bwMode="auto">
              <a:xfrm>
                <a:off x="2685" y="1500"/>
                <a:ext cx="180" cy="120"/>
              </a:xfrm>
              <a:custGeom>
                <a:avLst/>
                <a:gdLst>
                  <a:gd name="T0" fmla="*/ 150 w 180"/>
                  <a:gd name="T1" fmla="*/ 0 h 120"/>
                  <a:gd name="T2" fmla="*/ 0 w 180"/>
                  <a:gd name="T3" fmla="*/ 0 h 120"/>
                  <a:gd name="T4" fmla="*/ 30 w 180"/>
                  <a:gd name="T5" fmla="*/ 120 h 120"/>
                  <a:gd name="T6" fmla="*/ 180 w 180"/>
                  <a:gd name="T7" fmla="*/ 120 h 120"/>
                </a:gdLst>
                <a:ahLst/>
                <a:cxnLst>
                  <a:cxn ang="0">
                    <a:pos x="T0" y="T1"/>
                  </a:cxn>
                  <a:cxn ang="0">
                    <a:pos x="T2" y="T3"/>
                  </a:cxn>
                  <a:cxn ang="0">
                    <a:pos x="T4" y="T5"/>
                  </a:cxn>
                  <a:cxn ang="0">
                    <a:pos x="T6" y="T7"/>
                  </a:cxn>
                </a:cxnLst>
                <a:rect l="0" t="0" r="r" b="b"/>
                <a:pathLst>
                  <a:path w="180" h="120">
                    <a:moveTo>
                      <a:pt x="150" y="0"/>
                    </a:moveTo>
                    <a:lnTo>
                      <a:pt x="0" y="0"/>
                    </a:lnTo>
                    <a:lnTo>
                      <a:pt x="30" y="120"/>
                    </a:lnTo>
                    <a:lnTo>
                      <a:pt x="180"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0" name="Freeform 2615">
                <a:extLst>
                  <a:ext uri="{FF2B5EF4-FFF2-40B4-BE49-F238E27FC236}">
                    <a16:creationId xmlns:a16="http://schemas.microsoft.com/office/drawing/2014/main" id="{FCB1E67A-E7F0-4432-9478-DA2CD8FE0CEE}"/>
                  </a:ext>
                </a:extLst>
              </p:cNvPr>
              <p:cNvSpPr>
                <a:spLocks/>
              </p:cNvSpPr>
              <p:nvPr/>
            </p:nvSpPr>
            <p:spPr bwMode="auto">
              <a:xfrm>
                <a:off x="2554" y="125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2616">
                <a:extLst>
                  <a:ext uri="{FF2B5EF4-FFF2-40B4-BE49-F238E27FC236}">
                    <a16:creationId xmlns:a16="http://schemas.microsoft.com/office/drawing/2014/main" id="{E3DCA41D-0AD2-4143-BB75-75C76A3EE1D1}"/>
                  </a:ext>
                </a:extLst>
              </p:cNvPr>
              <p:cNvSpPr>
                <a:spLocks/>
              </p:cNvSpPr>
              <p:nvPr/>
            </p:nvSpPr>
            <p:spPr bwMode="auto">
              <a:xfrm>
                <a:off x="2284"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2617">
                <a:extLst>
                  <a:ext uri="{FF2B5EF4-FFF2-40B4-BE49-F238E27FC236}">
                    <a16:creationId xmlns:a16="http://schemas.microsoft.com/office/drawing/2014/main" id="{AE757A60-FD28-4DFC-86A0-4BF3538FE6FD}"/>
                  </a:ext>
                </a:extLst>
              </p:cNvPr>
              <p:cNvSpPr>
                <a:spLocks/>
              </p:cNvSpPr>
              <p:nvPr/>
            </p:nvSpPr>
            <p:spPr bwMode="auto">
              <a:xfrm>
                <a:off x="3243"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2618">
                <a:extLst>
                  <a:ext uri="{FF2B5EF4-FFF2-40B4-BE49-F238E27FC236}">
                    <a16:creationId xmlns:a16="http://schemas.microsoft.com/office/drawing/2014/main" id="{859CA085-4D1D-404E-BE7C-05CC4A718C62}"/>
                  </a:ext>
                </a:extLst>
              </p:cNvPr>
              <p:cNvSpPr>
                <a:spLocks/>
              </p:cNvSpPr>
              <p:nvPr/>
            </p:nvSpPr>
            <p:spPr bwMode="auto">
              <a:xfrm>
                <a:off x="2254"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2619">
                <a:extLst>
                  <a:ext uri="{FF2B5EF4-FFF2-40B4-BE49-F238E27FC236}">
                    <a16:creationId xmlns:a16="http://schemas.microsoft.com/office/drawing/2014/main" id="{228E4109-BEB8-49BB-9D5D-1E47E047E96A}"/>
                  </a:ext>
                </a:extLst>
              </p:cNvPr>
              <p:cNvSpPr>
                <a:spLocks/>
              </p:cNvSpPr>
              <p:nvPr/>
            </p:nvSpPr>
            <p:spPr bwMode="auto">
              <a:xfrm>
                <a:off x="3213"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Oval 2620">
                <a:extLst>
                  <a:ext uri="{FF2B5EF4-FFF2-40B4-BE49-F238E27FC236}">
                    <a16:creationId xmlns:a16="http://schemas.microsoft.com/office/drawing/2014/main" id="{7AAF18FC-2E21-4A96-A307-08105C652694}"/>
                  </a:ext>
                </a:extLst>
              </p:cNvPr>
              <p:cNvSpPr>
                <a:spLocks noChangeArrowheads="1"/>
              </p:cNvSpPr>
              <p:nvPr/>
            </p:nvSpPr>
            <p:spPr bwMode="auto">
              <a:xfrm>
                <a:off x="4334"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Oval 2621">
                <a:extLst>
                  <a:ext uri="{FF2B5EF4-FFF2-40B4-BE49-F238E27FC236}">
                    <a16:creationId xmlns:a16="http://schemas.microsoft.com/office/drawing/2014/main" id="{A559E0E4-10C5-440D-A275-6681B5115304}"/>
                  </a:ext>
                </a:extLst>
              </p:cNvPr>
              <p:cNvSpPr>
                <a:spLocks noChangeArrowheads="1"/>
              </p:cNvSpPr>
              <p:nvPr/>
            </p:nvSpPr>
            <p:spPr bwMode="auto">
              <a:xfrm>
                <a:off x="427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Oval 2622">
                <a:extLst>
                  <a:ext uri="{FF2B5EF4-FFF2-40B4-BE49-F238E27FC236}">
                    <a16:creationId xmlns:a16="http://schemas.microsoft.com/office/drawing/2014/main" id="{30900F75-1439-464D-8ECB-7F66FA7844AA}"/>
                  </a:ext>
                </a:extLst>
              </p:cNvPr>
              <p:cNvSpPr>
                <a:spLocks noChangeArrowheads="1"/>
              </p:cNvSpPr>
              <p:nvPr/>
            </p:nvSpPr>
            <p:spPr bwMode="auto">
              <a:xfrm>
                <a:off x="4394"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Oval 2623">
                <a:extLst>
                  <a:ext uri="{FF2B5EF4-FFF2-40B4-BE49-F238E27FC236}">
                    <a16:creationId xmlns:a16="http://schemas.microsoft.com/office/drawing/2014/main" id="{E95AD63D-998C-4463-B945-A20C7EC9B7A1}"/>
                  </a:ext>
                </a:extLst>
              </p:cNvPr>
              <p:cNvSpPr>
                <a:spLocks noChangeArrowheads="1"/>
              </p:cNvSpPr>
              <p:nvPr/>
            </p:nvSpPr>
            <p:spPr bwMode="auto">
              <a:xfrm>
                <a:off x="436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Oval 2624">
                <a:extLst>
                  <a:ext uri="{FF2B5EF4-FFF2-40B4-BE49-F238E27FC236}">
                    <a16:creationId xmlns:a16="http://schemas.microsoft.com/office/drawing/2014/main" id="{DB263609-60A3-4690-91DF-31F27DB4181D}"/>
                  </a:ext>
                </a:extLst>
              </p:cNvPr>
              <p:cNvSpPr>
                <a:spLocks noChangeArrowheads="1"/>
              </p:cNvSpPr>
              <p:nvPr/>
            </p:nvSpPr>
            <p:spPr bwMode="auto">
              <a:xfrm>
                <a:off x="445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Oval 2625">
                <a:extLst>
                  <a:ext uri="{FF2B5EF4-FFF2-40B4-BE49-F238E27FC236}">
                    <a16:creationId xmlns:a16="http://schemas.microsoft.com/office/drawing/2014/main" id="{AE25005D-B2A1-4B39-A7A2-143592E6B686}"/>
                  </a:ext>
                </a:extLst>
              </p:cNvPr>
              <p:cNvSpPr>
                <a:spLocks noChangeArrowheads="1"/>
              </p:cNvSpPr>
              <p:nvPr/>
            </p:nvSpPr>
            <p:spPr bwMode="auto">
              <a:xfrm>
                <a:off x="442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Oval 2626">
                <a:extLst>
                  <a:ext uri="{FF2B5EF4-FFF2-40B4-BE49-F238E27FC236}">
                    <a16:creationId xmlns:a16="http://schemas.microsoft.com/office/drawing/2014/main" id="{BD2B11AD-1FAD-4257-ACB4-5AF0C8D1A16D}"/>
                  </a:ext>
                </a:extLst>
              </p:cNvPr>
              <p:cNvSpPr>
                <a:spLocks noChangeArrowheads="1"/>
              </p:cNvSpPr>
              <p:nvPr/>
            </p:nvSpPr>
            <p:spPr bwMode="auto">
              <a:xfrm>
                <a:off x="442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Oval 2627">
                <a:extLst>
                  <a:ext uri="{FF2B5EF4-FFF2-40B4-BE49-F238E27FC236}">
                    <a16:creationId xmlns:a16="http://schemas.microsoft.com/office/drawing/2014/main" id="{93D59A25-CF33-4508-94AF-AFCB0F53A54F}"/>
                  </a:ext>
                </a:extLst>
              </p:cNvPr>
              <p:cNvSpPr>
                <a:spLocks noChangeArrowheads="1"/>
              </p:cNvSpPr>
              <p:nvPr/>
            </p:nvSpPr>
            <p:spPr bwMode="auto">
              <a:xfrm>
                <a:off x="433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Oval 2628">
                <a:extLst>
                  <a:ext uri="{FF2B5EF4-FFF2-40B4-BE49-F238E27FC236}">
                    <a16:creationId xmlns:a16="http://schemas.microsoft.com/office/drawing/2014/main" id="{F8CBEC9A-CCD9-42F3-9945-9EB2558AA7E9}"/>
                  </a:ext>
                </a:extLst>
              </p:cNvPr>
              <p:cNvSpPr>
                <a:spLocks noChangeArrowheads="1"/>
              </p:cNvSpPr>
              <p:nvPr/>
            </p:nvSpPr>
            <p:spPr bwMode="auto">
              <a:xfrm>
                <a:off x="4274"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Oval 2629">
                <a:extLst>
                  <a:ext uri="{FF2B5EF4-FFF2-40B4-BE49-F238E27FC236}">
                    <a16:creationId xmlns:a16="http://schemas.microsoft.com/office/drawing/2014/main" id="{147D9A96-A75F-4943-8AC1-DC3AA7035EA6}"/>
                  </a:ext>
                </a:extLst>
              </p:cNvPr>
              <p:cNvSpPr>
                <a:spLocks noChangeArrowheads="1"/>
              </p:cNvSpPr>
              <p:nvPr/>
            </p:nvSpPr>
            <p:spPr bwMode="auto">
              <a:xfrm>
                <a:off x="406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Oval 2630">
                <a:extLst>
                  <a:ext uri="{FF2B5EF4-FFF2-40B4-BE49-F238E27FC236}">
                    <a16:creationId xmlns:a16="http://schemas.microsoft.com/office/drawing/2014/main" id="{64E182BC-218B-4D70-B25B-C23A6A9B41F2}"/>
                  </a:ext>
                </a:extLst>
              </p:cNvPr>
              <p:cNvSpPr>
                <a:spLocks noChangeArrowheads="1"/>
              </p:cNvSpPr>
              <p:nvPr/>
            </p:nvSpPr>
            <p:spPr bwMode="auto">
              <a:xfrm>
                <a:off x="409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Oval 2631">
                <a:extLst>
                  <a:ext uri="{FF2B5EF4-FFF2-40B4-BE49-F238E27FC236}">
                    <a16:creationId xmlns:a16="http://schemas.microsoft.com/office/drawing/2014/main" id="{C5221C7E-2554-4612-9B51-A2160EF29C0A}"/>
                  </a:ext>
                </a:extLst>
              </p:cNvPr>
              <p:cNvSpPr>
                <a:spLocks noChangeArrowheads="1"/>
              </p:cNvSpPr>
              <p:nvPr/>
            </p:nvSpPr>
            <p:spPr bwMode="auto">
              <a:xfrm>
                <a:off x="3974"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Oval 2632">
                <a:extLst>
                  <a:ext uri="{FF2B5EF4-FFF2-40B4-BE49-F238E27FC236}">
                    <a16:creationId xmlns:a16="http://schemas.microsoft.com/office/drawing/2014/main" id="{6D65643F-0D76-4A60-B017-7CFE08238862}"/>
                  </a:ext>
                </a:extLst>
              </p:cNvPr>
              <p:cNvSpPr>
                <a:spLocks noChangeArrowheads="1"/>
              </p:cNvSpPr>
              <p:nvPr/>
            </p:nvSpPr>
            <p:spPr bwMode="auto">
              <a:xfrm>
                <a:off x="3824"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Oval 2633">
                <a:extLst>
                  <a:ext uri="{FF2B5EF4-FFF2-40B4-BE49-F238E27FC236}">
                    <a16:creationId xmlns:a16="http://schemas.microsoft.com/office/drawing/2014/main" id="{D6F129C9-A142-4AC4-92AF-E4C450C572F3}"/>
                  </a:ext>
                </a:extLst>
              </p:cNvPr>
              <p:cNvSpPr>
                <a:spLocks noChangeArrowheads="1"/>
              </p:cNvSpPr>
              <p:nvPr/>
            </p:nvSpPr>
            <p:spPr bwMode="auto">
              <a:xfrm>
                <a:off x="409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Oval 2634">
                <a:extLst>
                  <a:ext uri="{FF2B5EF4-FFF2-40B4-BE49-F238E27FC236}">
                    <a16:creationId xmlns:a16="http://schemas.microsoft.com/office/drawing/2014/main" id="{F86966DC-8B0D-421B-873B-BFE64A575B81}"/>
                  </a:ext>
                </a:extLst>
              </p:cNvPr>
              <p:cNvSpPr>
                <a:spLocks noChangeArrowheads="1"/>
              </p:cNvSpPr>
              <p:nvPr/>
            </p:nvSpPr>
            <p:spPr bwMode="auto">
              <a:xfrm>
                <a:off x="4334"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Oval 2635">
                <a:extLst>
                  <a:ext uri="{FF2B5EF4-FFF2-40B4-BE49-F238E27FC236}">
                    <a16:creationId xmlns:a16="http://schemas.microsoft.com/office/drawing/2014/main" id="{875DF222-2E11-4856-8E1C-724017254FC1}"/>
                  </a:ext>
                </a:extLst>
              </p:cNvPr>
              <p:cNvSpPr>
                <a:spLocks noChangeArrowheads="1"/>
              </p:cNvSpPr>
              <p:nvPr/>
            </p:nvSpPr>
            <p:spPr bwMode="auto">
              <a:xfrm>
                <a:off x="439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Oval 2636">
                <a:extLst>
                  <a:ext uri="{FF2B5EF4-FFF2-40B4-BE49-F238E27FC236}">
                    <a16:creationId xmlns:a16="http://schemas.microsoft.com/office/drawing/2014/main" id="{826DE954-BCC3-4D4E-8B41-199DB3390C93}"/>
                  </a:ext>
                </a:extLst>
              </p:cNvPr>
              <p:cNvSpPr>
                <a:spLocks noChangeArrowheads="1"/>
              </p:cNvSpPr>
              <p:nvPr/>
            </p:nvSpPr>
            <p:spPr bwMode="auto">
              <a:xfrm>
                <a:off x="42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Oval 2637">
                <a:extLst>
                  <a:ext uri="{FF2B5EF4-FFF2-40B4-BE49-F238E27FC236}">
                    <a16:creationId xmlns:a16="http://schemas.microsoft.com/office/drawing/2014/main" id="{BDD84DF5-9341-4300-B5B7-38E06743C7F6}"/>
                  </a:ext>
                </a:extLst>
              </p:cNvPr>
              <p:cNvSpPr>
                <a:spLocks noChangeArrowheads="1"/>
              </p:cNvSpPr>
              <p:nvPr/>
            </p:nvSpPr>
            <p:spPr bwMode="auto">
              <a:xfrm>
                <a:off x="415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Oval 2638">
                <a:extLst>
                  <a:ext uri="{FF2B5EF4-FFF2-40B4-BE49-F238E27FC236}">
                    <a16:creationId xmlns:a16="http://schemas.microsoft.com/office/drawing/2014/main" id="{137BD1E2-8D63-4F7C-A850-9BE874378373}"/>
                  </a:ext>
                </a:extLst>
              </p:cNvPr>
              <p:cNvSpPr>
                <a:spLocks noChangeArrowheads="1"/>
              </p:cNvSpPr>
              <p:nvPr/>
            </p:nvSpPr>
            <p:spPr bwMode="auto">
              <a:xfrm>
                <a:off x="4364"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Oval 2639">
                <a:extLst>
                  <a:ext uri="{FF2B5EF4-FFF2-40B4-BE49-F238E27FC236}">
                    <a16:creationId xmlns:a16="http://schemas.microsoft.com/office/drawing/2014/main" id="{86135355-4687-4247-9752-88966B15448A}"/>
                  </a:ext>
                </a:extLst>
              </p:cNvPr>
              <p:cNvSpPr>
                <a:spLocks noChangeArrowheads="1"/>
              </p:cNvSpPr>
              <p:nvPr/>
            </p:nvSpPr>
            <p:spPr bwMode="auto">
              <a:xfrm>
                <a:off x="439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Oval 2640">
                <a:extLst>
                  <a:ext uri="{FF2B5EF4-FFF2-40B4-BE49-F238E27FC236}">
                    <a16:creationId xmlns:a16="http://schemas.microsoft.com/office/drawing/2014/main" id="{D26B5AFE-B19F-4B78-8B89-D6177BA98AD4}"/>
                  </a:ext>
                </a:extLst>
              </p:cNvPr>
              <p:cNvSpPr>
                <a:spLocks noChangeArrowheads="1"/>
              </p:cNvSpPr>
              <p:nvPr/>
            </p:nvSpPr>
            <p:spPr bwMode="auto">
              <a:xfrm>
                <a:off x="427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Oval 2641">
                <a:extLst>
                  <a:ext uri="{FF2B5EF4-FFF2-40B4-BE49-F238E27FC236}">
                    <a16:creationId xmlns:a16="http://schemas.microsoft.com/office/drawing/2014/main" id="{C3B7E6F2-8F53-4EDE-8E19-23E7820FF4BB}"/>
                  </a:ext>
                </a:extLst>
              </p:cNvPr>
              <p:cNvSpPr>
                <a:spLocks noChangeArrowheads="1"/>
              </p:cNvSpPr>
              <p:nvPr/>
            </p:nvSpPr>
            <p:spPr bwMode="auto">
              <a:xfrm>
                <a:off x="415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Oval 2642">
                <a:extLst>
                  <a:ext uri="{FF2B5EF4-FFF2-40B4-BE49-F238E27FC236}">
                    <a16:creationId xmlns:a16="http://schemas.microsoft.com/office/drawing/2014/main" id="{E891011F-3B2F-497E-86C7-F96BBC131108}"/>
                  </a:ext>
                </a:extLst>
              </p:cNvPr>
              <p:cNvSpPr>
                <a:spLocks noChangeArrowheads="1"/>
              </p:cNvSpPr>
              <p:nvPr/>
            </p:nvSpPr>
            <p:spPr bwMode="auto">
              <a:xfrm>
                <a:off x="412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Oval 2643">
                <a:extLst>
                  <a:ext uri="{FF2B5EF4-FFF2-40B4-BE49-F238E27FC236}">
                    <a16:creationId xmlns:a16="http://schemas.microsoft.com/office/drawing/2014/main" id="{0987F0F7-5EE5-478B-B094-E82A812FA25A}"/>
                  </a:ext>
                </a:extLst>
              </p:cNvPr>
              <p:cNvSpPr>
                <a:spLocks noChangeArrowheads="1"/>
              </p:cNvSpPr>
              <p:nvPr/>
            </p:nvSpPr>
            <p:spPr bwMode="auto">
              <a:xfrm>
                <a:off x="4364"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Oval 2644">
                <a:extLst>
                  <a:ext uri="{FF2B5EF4-FFF2-40B4-BE49-F238E27FC236}">
                    <a16:creationId xmlns:a16="http://schemas.microsoft.com/office/drawing/2014/main" id="{0FB7FC37-4BCB-43E2-83DE-9E797F9B3609}"/>
                  </a:ext>
                </a:extLst>
              </p:cNvPr>
              <p:cNvSpPr>
                <a:spLocks noChangeArrowheads="1"/>
              </p:cNvSpPr>
              <p:nvPr/>
            </p:nvSpPr>
            <p:spPr bwMode="auto">
              <a:xfrm>
                <a:off x="430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Oval 2645">
                <a:extLst>
                  <a:ext uri="{FF2B5EF4-FFF2-40B4-BE49-F238E27FC236}">
                    <a16:creationId xmlns:a16="http://schemas.microsoft.com/office/drawing/2014/main" id="{6B0451CE-CBE2-48AD-AE62-FF87B8096646}"/>
                  </a:ext>
                </a:extLst>
              </p:cNvPr>
              <p:cNvSpPr>
                <a:spLocks noChangeArrowheads="1"/>
              </p:cNvSpPr>
              <p:nvPr/>
            </p:nvSpPr>
            <p:spPr bwMode="auto">
              <a:xfrm>
                <a:off x="427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Oval 2646">
                <a:extLst>
                  <a:ext uri="{FF2B5EF4-FFF2-40B4-BE49-F238E27FC236}">
                    <a16:creationId xmlns:a16="http://schemas.microsoft.com/office/drawing/2014/main" id="{9C562BDC-A2ED-487D-AA0A-DF92019F5941}"/>
                  </a:ext>
                </a:extLst>
              </p:cNvPr>
              <p:cNvSpPr>
                <a:spLocks noChangeArrowheads="1"/>
              </p:cNvSpPr>
              <p:nvPr/>
            </p:nvSpPr>
            <p:spPr bwMode="auto">
              <a:xfrm>
                <a:off x="433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Oval 2647">
                <a:extLst>
                  <a:ext uri="{FF2B5EF4-FFF2-40B4-BE49-F238E27FC236}">
                    <a16:creationId xmlns:a16="http://schemas.microsoft.com/office/drawing/2014/main" id="{A87171A5-0ED7-4229-B573-44617A63EA01}"/>
                  </a:ext>
                </a:extLst>
              </p:cNvPr>
              <p:cNvSpPr>
                <a:spLocks noChangeArrowheads="1"/>
              </p:cNvSpPr>
              <p:nvPr/>
            </p:nvSpPr>
            <p:spPr bwMode="auto">
              <a:xfrm>
                <a:off x="418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Oval 2648">
                <a:extLst>
                  <a:ext uri="{FF2B5EF4-FFF2-40B4-BE49-F238E27FC236}">
                    <a16:creationId xmlns:a16="http://schemas.microsoft.com/office/drawing/2014/main" id="{624E2FC6-8333-42F1-A975-D47C3D3457FB}"/>
                  </a:ext>
                </a:extLst>
              </p:cNvPr>
              <p:cNvSpPr>
                <a:spLocks noChangeArrowheads="1"/>
              </p:cNvSpPr>
              <p:nvPr/>
            </p:nvSpPr>
            <p:spPr bwMode="auto">
              <a:xfrm>
                <a:off x="4124"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Oval 2649">
                <a:extLst>
                  <a:ext uri="{FF2B5EF4-FFF2-40B4-BE49-F238E27FC236}">
                    <a16:creationId xmlns:a16="http://schemas.microsoft.com/office/drawing/2014/main" id="{7A516EC9-D4AC-4F55-ACF2-81D8420236EF}"/>
                  </a:ext>
                </a:extLst>
              </p:cNvPr>
              <p:cNvSpPr>
                <a:spLocks noChangeArrowheads="1"/>
              </p:cNvSpPr>
              <p:nvPr/>
            </p:nvSpPr>
            <p:spPr bwMode="auto">
              <a:xfrm>
                <a:off x="42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Oval 2650">
                <a:extLst>
                  <a:ext uri="{FF2B5EF4-FFF2-40B4-BE49-F238E27FC236}">
                    <a16:creationId xmlns:a16="http://schemas.microsoft.com/office/drawing/2014/main" id="{0AC5004B-3296-48F6-9786-531FABBECA43}"/>
                  </a:ext>
                </a:extLst>
              </p:cNvPr>
              <p:cNvSpPr>
                <a:spLocks noChangeArrowheads="1"/>
              </p:cNvSpPr>
              <p:nvPr/>
            </p:nvSpPr>
            <p:spPr bwMode="auto">
              <a:xfrm>
                <a:off x="4184"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Oval 2651">
                <a:extLst>
                  <a:ext uri="{FF2B5EF4-FFF2-40B4-BE49-F238E27FC236}">
                    <a16:creationId xmlns:a16="http://schemas.microsoft.com/office/drawing/2014/main" id="{9F1AA085-D8ED-4918-ACC6-8E3D2F208B34}"/>
                  </a:ext>
                </a:extLst>
              </p:cNvPr>
              <p:cNvSpPr>
                <a:spLocks noChangeArrowheads="1"/>
              </p:cNvSpPr>
              <p:nvPr/>
            </p:nvSpPr>
            <p:spPr bwMode="auto">
              <a:xfrm>
                <a:off x="436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Oval 2652">
                <a:extLst>
                  <a:ext uri="{FF2B5EF4-FFF2-40B4-BE49-F238E27FC236}">
                    <a16:creationId xmlns:a16="http://schemas.microsoft.com/office/drawing/2014/main" id="{EAAC4986-C66F-4989-90D5-664D8754E60A}"/>
                  </a:ext>
                </a:extLst>
              </p:cNvPr>
              <p:cNvSpPr>
                <a:spLocks noChangeArrowheads="1"/>
              </p:cNvSpPr>
              <p:nvPr/>
            </p:nvSpPr>
            <p:spPr bwMode="auto">
              <a:xfrm>
                <a:off x="439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Oval 2653">
                <a:extLst>
                  <a:ext uri="{FF2B5EF4-FFF2-40B4-BE49-F238E27FC236}">
                    <a16:creationId xmlns:a16="http://schemas.microsoft.com/office/drawing/2014/main" id="{6459456E-B148-4FB3-8DDD-955C66B27E1D}"/>
                  </a:ext>
                </a:extLst>
              </p:cNvPr>
              <p:cNvSpPr>
                <a:spLocks noChangeArrowheads="1"/>
              </p:cNvSpPr>
              <p:nvPr/>
            </p:nvSpPr>
            <p:spPr bwMode="auto">
              <a:xfrm>
                <a:off x="436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Oval 2654">
                <a:extLst>
                  <a:ext uri="{FF2B5EF4-FFF2-40B4-BE49-F238E27FC236}">
                    <a16:creationId xmlns:a16="http://schemas.microsoft.com/office/drawing/2014/main" id="{8E2DC2A8-F87A-498F-9538-B8EF22D50276}"/>
                  </a:ext>
                </a:extLst>
              </p:cNvPr>
              <p:cNvSpPr>
                <a:spLocks noChangeArrowheads="1"/>
              </p:cNvSpPr>
              <p:nvPr/>
            </p:nvSpPr>
            <p:spPr bwMode="auto">
              <a:xfrm>
                <a:off x="4394"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Oval 2655">
                <a:extLst>
                  <a:ext uri="{FF2B5EF4-FFF2-40B4-BE49-F238E27FC236}">
                    <a16:creationId xmlns:a16="http://schemas.microsoft.com/office/drawing/2014/main" id="{7C697090-87CE-4A17-9832-EEC25E260AD8}"/>
                  </a:ext>
                </a:extLst>
              </p:cNvPr>
              <p:cNvSpPr>
                <a:spLocks noChangeArrowheads="1"/>
              </p:cNvSpPr>
              <p:nvPr/>
            </p:nvSpPr>
            <p:spPr bwMode="auto">
              <a:xfrm>
                <a:off x="433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Oval 2656">
                <a:extLst>
                  <a:ext uri="{FF2B5EF4-FFF2-40B4-BE49-F238E27FC236}">
                    <a16:creationId xmlns:a16="http://schemas.microsoft.com/office/drawing/2014/main" id="{2D7AD320-773A-4779-A493-B7680EF05650}"/>
                  </a:ext>
                </a:extLst>
              </p:cNvPr>
              <p:cNvSpPr>
                <a:spLocks noChangeArrowheads="1"/>
              </p:cNvSpPr>
              <p:nvPr/>
            </p:nvSpPr>
            <p:spPr bwMode="auto">
              <a:xfrm>
                <a:off x="436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Oval 2657">
                <a:extLst>
                  <a:ext uri="{FF2B5EF4-FFF2-40B4-BE49-F238E27FC236}">
                    <a16:creationId xmlns:a16="http://schemas.microsoft.com/office/drawing/2014/main" id="{92B17FC4-D26C-4747-BA02-3EFF88A31439}"/>
                  </a:ext>
                </a:extLst>
              </p:cNvPr>
              <p:cNvSpPr>
                <a:spLocks noChangeArrowheads="1"/>
              </p:cNvSpPr>
              <p:nvPr/>
            </p:nvSpPr>
            <p:spPr bwMode="auto">
              <a:xfrm>
                <a:off x="439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Oval 2658">
                <a:extLst>
                  <a:ext uri="{FF2B5EF4-FFF2-40B4-BE49-F238E27FC236}">
                    <a16:creationId xmlns:a16="http://schemas.microsoft.com/office/drawing/2014/main" id="{DBC1CFA2-6B91-4C76-912A-7C0603A57587}"/>
                  </a:ext>
                </a:extLst>
              </p:cNvPr>
              <p:cNvSpPr>
                <a:spLocks noChangeArrowheads="1"/>
              </p:cNvSpPr>
              <p:nvPr/>
            </p:nvSpPr>
            <p:spPr bwMode="auto">
              <a:xfrm>
                <a:off x="421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Oval 2659">
                <a:extLst>
                  <a:ext uri="{FF2B5EF4-FFF2-40B4-BE49-F238E27FC236}">
                    <a16:creationId xmlns:a16="http://schemas.microsoft.com/office/drawing/2014/main" id="{270C25DD-613B-4448-9231-ACC876B1C2A1}"/>
                  </a:ext>
                </a:extLst>
              </p:cNvPr>
              <p:cNvSpPr>
                <a:spLocks noChangeArrowheads="1"/>
              </p:cNvSpPr>
              <p:nvPr/>
            </p:nvSpPr>
            <p:spPr bwMode="auto">
              <a:xfrm>
                <a:off x="424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Oval 2660">
                <a:extLst>
                  <a:ext uri="{FF2B5EF4-FFF2-40B4-BE49-F238E27FC236}">
                    <a16:creationId xmlns:a16="http://schemas.microsoft.com/office/drawing/2014/main" id="{0D2A618F-58DC-4154-B974-F3F3639FF12D}"/>
                  </a:ext>
                </a:extLst>
              </p:cNvPr>
              <p:cNvSpPr>
                <a:spLocks noChangeArrowheads="1"/>
              </p:cNvSpPr>
              <p:nvPr/>
            </p:nvSpPr>
            <p:spPr bwMode="auto">
              <a:xfrm>
                <a:off x="412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Oval 2661">
                <a:extLst>
                  <a:ext uri="{FF2B5EF4-FFF2-40B4-BE49-F238E27FC236}">
                    <a16:creationId xmlns:a16="http://schemas.microsoft.com/office/drawing/2014/main" id="{696D8137-539B-4838-AE39-8684528B18C6}"/>
                  </a:ext>
                </a:extLst>
              </p:cNvPr>
              <p:cNvSpPr>
                <a:spLocks noChangeArrowheads="1"/>
              </p:cNvSpPr>
              <p:nvPr/>
            </p:nvSpPr>
            <p:spPr bwMode="auto">
              <a:xfrm>
                <a:off x="409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Oval 2662">
                <a:extLst>
                  <a:ext uri="{FF2B5EF4-FFF2-40B4-BE49-F238E27FC236}">
                    <a16:creationId xmlns:a16="http://schemas.microsoft.com/office/drawing/2014/main" id="{CACF9277-0BF1-4C78-BE12-27868469812F}"/>
                  </a:ext>
                </a:extLst>
              </p:cNvPr>
              <p:cNvSpPr>
                <a:spLocks noChangeArrowheads="1"/>
              </p:cNvSpPr>
              <p:nvPr/>
            </p:nvSpPr>
            <p:spPr bwMode="auto">
              <a:xfrm>
                <a:off x="4124"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Oval 2663">
                <a:extLst>
                  <a:ext uri="{FF2B5EF4-FFF2-40B4-BE49-F238E27FC236}">
                    <a16:creationId xmlns:a16="http://schemas.microsoft.com/office/drawing/2014/main" id="{5B9E1857-46B5-46B4-8245-0B65EED399C1}"/>
                  </a:ext>
                </a:extLst>
              </p:cNvPr>
              <p:cNvSpPr>
                <a:spLocks noChangeArrowheads="1"/>
              </p:cNvSpPr>
              <p:nvPr/>
            </p:nvSpPr>
            <p:spPr bwMode="auto">
              <a:xfrm>
                <a:off x="403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Oval 2664">
                <a:extLst>
                  <a:ext uri="{FF2B5EF4-FFF2-40B4-BE49-F238E27FC236}">
                    <a16:creationId xmlns:a16="http://schemas.microsoft.com/office/drawing/2014/main" id="{7EAF2A81-0DCC-4FCC-8777-501386108AEC}"/>
                  </a:ext>
                </a:extLst>
              </p:cNvPr>
              <p:cNvSpPr>
                <a:spLocks noChangeArrowheads="1"/>
              </p:cNvSpPr>
              <p:nvPr/>
            </p:nvSpPr>
            <p:spPr bwMode="auto">
              <a:xfrm>
                <a:off x="4064"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Oval 2665">
                <a:extLst>
                  <a:ext uri="{FF2B5EF4-FFF2-40B4-BE49-F238E27FC236}">
                    <a16:creationId xmlns:a16="http://schemas.microsoft.com/office/drawing/2014/main" id="{6F609C9C-06C5-4F31-AC49-ADB815C54003}"/>
                  </a:ext>
                </a:extLst>
              </p:cNvPr>
              <p:cNvSpPr>
                <a:spLocks noChangeArrowheads="1"/>
              </p:cNvSpPr>
              <p:nvPr/>
            </p:nvSpPr>
            <p:spPr bwMode="auto">
              <a:xfrm>
                <a:off x="394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Oval 2666">
                <a:extLst>
                  <a:ext uri="{FF2B5EF4-FFF2-40B4-BE49-F238E27FC236}">
                    <a16:creationId xmlns:a16="http://schemas.microsoft.com/office/drawing/2014/main" id="{385753E7-24D4-49A4-B2C9-828FCB7D3BB6}"/>
                  </a:ext>
                </a:extLst>
              </p:cNvPr>
              <p:cNvSpPr>
                <a:spLocks noChangeArrowheads="1"/>
              </p:cNvSpPr>
              <p:nvPr/>
            </p:nvSpPr>
            <p:spPr bwMode="auto">
              <a:xfrm>
                <a:off x="382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Oval 2667">
                <a:extLst>
                  <a:ext uri="{FF2B5EF4-FFF2-40B4-BE49-F238E27FC236}">
                    <a16:creationId xmlns:a16="http://schemas.microsoft.com/office/drawing/2014/main" id="{B571EA91-5C41-449C-BD5F-183544DF3B55}"/>
                  </a:ext>
                </a:extLst>
              </p:cNvPr>
              <p:cNvSpPr>
                <a:spLocks noChangeArrowheads="1"/>
              </p:cNvSpPr>
              <p:nvPr/>
            </p:nvSpPr>
            <p:spPr bwMode="auto">
              <a:xfrm>
                <a:off x="36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Oval 2668">
                <a:extLst>
                  <a:ext uri="{FF2B5EF4-FFF2-40B4-BE49-F238E27FC236}">
                    <a16:creationId xmlns:a16="http://schemas.microsoft.com/office/drawing/2014/main" id="{5B2FB416-14C6-45B3-B827-1AB1FD27C705}"/>
                  </a:ext>
                </a:extLst>
              </p:cNvPr>
              <p:cNvSpPr>
                <a:spLocks noChangeArrowheads="1"/>
              </p:cNvSpPr>
              <p:nvPr/>
            </p:nvSpPr>
            <p:spPr bwMode="auto">
              <a:xfrm>
                <a:off x="367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Oval 2669">
                <a:extLst>
                  <a:ext uri="{FF2B5EF4-FFF2-40B4-BE49-F238E27FC236}">
                    <a16:creationId xmlns:a16="http://schemas.microsoft.com/office/drawing/2014/main" id="{BD145D2B-95B0-4565-AD31-565CDD19FE5B}"/>
                  </a:ext>
                </a:extLst>
              </p:cNvPr>
              <p:cNvSpPr>
                <a:spLocks noChangeArrowheads="1"/>
              </p:cNvSpPr>
              <p:nvPr/>
            </p:nvSpPr>
            <p:spPr bwMode="auto">
              <a:xfrm>
                <a:off x="379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Oval 2670">
                <a:extLst>
                  <a:ext uri="{FF2B5EF4-FFF2-40B4-BE49-F238E27FC236}">
                    <a16:creationId xmlns:a16="http://schemas.microsoft.com/office/drawing/2014/main" id="{716DDDC0-44AD-42B0-9504-F50D77AADE39}"/>
                  </a:ext>
                </a:extLst>
              </p:cNvPr>
              <p:cNvSpPr>
                <a:spLocks noChangeArrowheads="1"/>
              </p:cNvSpPr>
              <p:nvPr/>
            </p:nvSpPr>
            <p:spPr bwMode="auto">
              <a:xfrm>
                <a:off x="3735" y="3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Oval 2671">
                <a:extLst>
                  <a:ext uri="{FF2B5EF4-FFF2-40B4-BE49-F238E27FC236}">
                    <a16:creationId xmlns:a16="http://schemas.microsoft.com/office/drawing/2014/main" id="{CB5FF835-4CAF-4E81-80F9-5F4EA134BDD9}"/>
                  </a:ext>
                </a:extLst>
              </p:cNvPr>
              <p:cNvSpPr>
                <a:spLocks noChangeArrowheads="1"/>
              </p:cNvSpPr>
              <p:nvPr/>
            </p:nvSpPr>
            <p:spPr bwMode="auto">
              <a:xfrm>
                <a:off x="376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Oval 2672">
                <a:extLst>
                  <a:ext uri="{FF2B5EF4-FFF2-40B4-BE49-F238E27FC236}">
                    <a16:creationId xmlns:a16="http://schemas.microsoft.com/office/drawing/2014/main" id="{266E4A22-57E9-40D5-93B2-C99337267AB5}"/>
                  </a:ext>
                </a:extLst>
              </p:cNvPr>
              <p:cNvSpPr>
                <a:spLocks noChangeArrowheads="1"/>
              </p:cNvSpPr>
              <p:nvPr/>
            </p:nvSpPr>
            <p:spPr bwMode="auto">
              <a:xfrm>
                <a:off x="379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Oval 2673">
                <a:extLst>
                  <a:ext uri="{FF2B5EF4-FFF2-40B4-BE49-F238E27FC236}">
                    <a16:creationId xmlns:a16="http://schemas.microsoft.com/office/drawing/2014/main" id="{8B904A09-C06A-4C9D-AF3D-7E7D0E3585A2}"/>
                  </a:ext>
                </a:extLst>
              </p:cNvPr>
              <p:cNvSpPr>
                <a:spLocks noChangeArrowheads="1"/>
              </p:cNvSpPr>
              <p:nvPr/>
            </p:nvSpPr>
            <p:spPr bwMode="auto">
              <a:xfrm>
                <a:off x="3735" y="7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Oval 2674">
                <a:extLst>
                  <a:ext uri="{FF2B5EF4-FFF2-40B4-BE49-F238E27FC236}">
                    <a16:creationId xmlns:a16="http://schemas.microsoft.com/office/drawing/2014/main" id="{1AC19FEB-23C3-4BED-9A6C-5C8A835359EE}"/>
                  </a:ext>
                </a:extLst>
              </p:cNvPr>
              <p:cNvSpPr>
                <a:spLocks noChangeArrowheads="1"/>
              </p:cNvSpPr>
              <p:nvPr/>
            </p:nvSpPr>
            <p:spPr bwMode="auto">
              <a:xfrm>
                <a:off x="36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Oval 2675">
                <a:extLst>
                  <a:ext uri="{FF2B5EF4-FFF2-40B4-BE49-F238E27FC236}">
                    <a16:creationId xmlns:a16="http://schemas.microsoft.com/office/drawing/2014/main" id="{098B9364-2027-45AA-9199-49857769D443}"/>
                  </a:ext>
                </a:extLst>
              </p:cNvPr>
              <p:cNvSpPr>
                <a:spLocks noChangeArrowheads="1"/>
              </p:cNvSpPr>
              <p:nvPr/>
            </p:nvSpPr>
            <p:spPr bwMode="auto">
              <a:xfrm>
                <a:off x="352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Oval 2676">
                <a:extLst>
                  <a:ext uri="{FF2B5EF4-FFF2-40B4-BE49-F238E27FC236}">
                    <a16:creationId xmlns:a16="http://schemas.microsoft.com/office/drawing/2014/main" id="{AC438A9E-6154-48CC-B513-D5780E5CDEA9}"/>
                  </a:ext>
                </a:extLst>
              </p:cNvPr>
              <p:cNvSpPr>
                <a:spLocks noChangeArrowheads="1"/>
              </p:cNvSpPr>
              <p:nvPr/>
            </p:nvSpPr>
            <p:spPr bwMode="auto">
              <a:xfrm>
                <a:off x="343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Oval 2677">
                <a:extLst>
                  <a:ext uri="{FF2B5EF4-FFF2-40B4-BE49-F238E27FC236}">
                    <a16:creationId xmlns:a16="http://schemas.microsoft.com/office/drawing/2014/main" id="{6F1ED348-69FF-4377-A993-F8F3ED8AAF51}"/>
                  </a:ext>
                </a:extLst>
              </p:cNvPr>
              <p:cNvSpPr>
                <a:spLocks noChangeArrowheads="1"/>
              </p:cNvSpPr>
              <p:nvPr/>
            </p:nvSpPr>
            <p:spPr bwMode="auto">
              <a:xfrm>
                <a:off x="331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Oval 2678">
                <a:extLst>
                  <a:ext uri="{FF2B5EF4-FFF2-40B4-BE49-F238E27FC236}">
                    <a16:creationId xmlns:a16="http://schemas.microsoft.com/office/drawing/2014/main" id="{B27F9A48-08F1-4518-A0E5-E14A2DB192DF}"/>
                  </a:ext>
                </a:extLst>
              </p:cNvPr>
              <p:cNvSpPr>
                <a:spLocks noChangeArrowheads="1"/>
              </p:cNvSpPr>
              <p:nvPr/>
            </p:nvSpPr>
            <p:spPr bwMode="auto">
              <a:xfrm>
                <a:off x="325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Oval 2679">
                <a:extLst>
                  <a:ext uri="{FF2B5EF4-FFF2-40B4-BE49-F238E27FC236}">
                    <a16:creationId xmlns:a16="http://schemas.microsoft.com/office/drawing/2014/main" id="{1E3777A6-5778-4BA8-8EC9-983293D30C80}"/>
                  </a:ext>
                </a:extLst>
              </p:cNvPr>
              <p:cNvSpPr>
                <a:spLocks noChangeArrowheads="1"/>
              </p:cNvSpPr>
              <p:nvPr/>
            </p:nvSpPr>
            <p:spPr bwMode="auto">
              <a:xfrm>
                <a:off x="337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Oval 2680">
                <a:extLst>
                  <a:ext uri="{FF2B5EF4-FFF2-40B4-BE49-F238E27FC236}">
                    <a16:creationId xmlns:a16="http://schemas.microsoft.com/office/drawing/2014/main" id="{52FF395A-1E38-402B-97BA-FF1E84689DED}"/>
                  </a:ext>
                </a:extLst>
              </p:cNvPr>
              <p:cNvSpPr>
                <a:spLocks noChangeArrowheads="1"/>
              </p:cNvSpPr>
              <p:nvPr/>
            </p:nvSpPr>
            <p:spPr bwMode="auto">
              <a:xfrm>
                <a:off x="367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Oval 2681">
                <a:extLst>
                  <a:ext uri="{FF2B5EF4-FFF2-40B4-BE49-F238E27FC236}">
                    <a16:creationId xmlns:a16="http://schemas.microsoft.com/office/drawing/2014/main" id="{F8A69DC0-FD9A-464B-9135-99F25EE98063}"/>
                  </a:ext>
                </a:extLst>
              </p:cNvPr>
              <p:cNvSpPr>
                <a:spLocks noChangeArrowheads="1"/>
              </p:cNvSpPr>
              <p:nvPr/>
            </p:nvSpPr>
            <p:spPr bwMode="auto">
              <a:xfrm>
                <a:off x="349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Oval 2682">
                <a:extLst>
                  <a:ext uri="{FF2B5EF4-FFF2-40B4-BE49-F238E27FC236}">
                    <a16:creationId xmlns:a16="http://schemas.microsoft.com/office/drawing/2014/main" id="{5EE5E598-FD40-4EA8-AF40-A226FBD3A33C}"/>
                  </a:ext>
                </a:extLst>
              </p:cNvPr>
              <p:cNvSpPr>
                <a:spLocks noChangeArrowheads="1"/>
              </p:cNvSpPr>
              <p:nvPr/>
            </p:nvSpPr>
            <p:spPr bwMode="auto">
              <a:xfrm>
                <a:off x="35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Oval 2683">
                <a:extLst>
                  <a:ext uri="{FF2B5EF4-FFF2-40B4-BE49-F238E27FC236}">
                    <a16:creationId xmlns:a16="http://schemas.microsoft.com/office/drawing/2014/main" id="{D581C553-446D-4E7A-8C3F-35E7DD725C9A}"/>
                  </a:ext>
                </a:extLst>
              </p:cNvPr>
              <p:cNvSpPr>
                <a:spLocks noChangeArrowheads="1"/>
              </p:cNvSpPr>
              <p:nvPr/>
            </p:nvSpPr>
            <p:spPr bwMode="auto">
              <a:xfrm>
                <a:off x="343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Oval 2684">
                <a:extLst>
                  <a:ext uri="{FF2B5EF4-FFF2-40B4-BE49-F238E27FC236}">
                    <a16:creationId xmlns:a16="http://schemas.microsoft.com/office/drawing/2014/main" id="{0A1ED11A-CF25-44BA-91A1-F148DD3D9363}"/>
                  </a:ext>
                </a:extLst>
              </p:cNvPr>
              <p:cNvSpPr>
                <a:spLocks noChangeArrowheads="1"/>
              </p:cNvSpPr>
              <p:nvPr/>
            </p:nvSpPr>
            <p:spPr bwMode="auto">
              <a:xfrm>
                <a:off x="364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Oval 2685">
                <a:extLst>
                  <a:ext uri="{FF2B5EF4-FFF2-40B4-BE49-F238E27FC236}">
                    <a16:creationId xmlns:a16="http://schemas.microsoft.com/office/drawing/2014/main" id="{93E8B384-6961-4183-A71B-D449B7D49389}"/>
                  </a:ext>
                </a:extLst>
              </p:cNvPr>
              <p:cNvSpPr>
                <a:spLocks noChangeArrowheads="1"/>
              </p:cNvSpPr>
              <p:nvPr/>
            </p:nvSpPr>
            <p:spPr bwMode="auto">
              <a:xfrm>
                <a:off x="355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Oval 2686">
                <a:extLst>
                  <a:ext uri="{FF2B5EF4-FFF2-40B4-BE49-F238E27FC236}">
                    <a16:creationId xmlns:a16="http://schemas.microsoft.com/office/drawing/2014/main" id="{6F629EE3-004F-4FB9-AB6D-E1DDEB572C09}"/>
                  </a:ext>
                </a:extLst>
              </p:cNvPr>
              <p:cNvSpPr>
                <a:spLocks noChangeArrowheads="1"/>
              </p:cNvSpPr>
              <p:nvPr/>
            </p:nvSpPr>
            <p:spPr bwMode="auto">
              <a:xfrm>
                <a:off x="34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Oval 2687">
                <a:extLst>
                  <a:ext uri="{FF2B5EF4-FFF2-40B4-BE49-F238E27FC236}">
                    <a16:creationId xmlns:a16="http://schemas.microsoft.com/office/drawing/2014/main" id="{0BC425A5-8E66-4C92-B578-665CB192E4D3}"/>
                  </a:ext>
                </a:extLst>
              </p:cNvPr>
              <p:cNvSpPr>
                <a:spLocks noChangeArrowheads="1"/>
              </p:cNvSpPr>
              <p:nvPr/>
            </p:nvSpPr>
            <p:spPr bwMode="auto">
              <a:xfrm>
                <a:off x="31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Oval 2688">
                <a:extLst>
                  <a:ext uri="{FF2B5EF4-FFF2-40B4-BE49-F238E27FC236}">
                    <a16:creationId xmlns:a16="http://schemas.microsoft.com/office/drawing/2014/main" id="{C1AD77E8-D7CA-4C38-9198-38DD1CEABD3F}"/>
                  </a:ext>
                </a:extLst>
              </p:cNvPr>
              <p:cNvSpPr>
                <a:spLocks noChangeArrowheads="1"/>
              </p:cNvSpPr>
              <p:nvPr/>
            </p:nvSpPr>
            <p:spPr bwMode="auto">
              <a:xfrm>
                <a:off x="304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Oval 2689">
                <a:extLst>
                  <a:ext uri="{FF2B5EF4-FFF2-40B4-BE49-F238E27FC236}">
                    <a16:creationId xmlns:a16="http://schemas.microsoft.com/office/drawing/2014/main" id="{994C1383-0232-4A91-8881-285D13CCEB20}"/>
                  </a:ext>
                </a:extLst>
              </p:cNvPr>
              <p:cNvSpPr>
                <a:spLocks noChangeArrowheads="1"/>
              </p:cNvSpPr>
              <p:nvPr/>
            </p:nvSpPr>
            <p:spPr bwMode="auto">
              <a:xfrm>
                <a:off x="29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Oval 2690">
                <a:extLst>
                  <a:ext uri="{FF2B5EF4-FFF2-40B4-BE49-F238E27FC236}">
                    <a16:creationId xmlns:a16="http://schemas.microsoft.com/office/drawing/2014/main" id="{9D1D68A1-BE9E-410B-93D5-84116CDCECB5}"/>
                  </a:ext>
                </a:extLst>
              </p:cNvPr>
              <p:cNvSpPr>
                <a:spLocks noChangeArrowheads="1"/>
              </p:cNvSpPr>
              <p:nvPr/>
            </p:nvSpPr>
            <p:spPr bwMode="auto">
              <a:xfrm>
                <a:off x="30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Oval 2691">
                <a:extLst>
                  <a:ext uri="{FF2B5EF4-FFF2-40B4-BE49-F238E27FC236}">
                    <a16:creationId xmlns:a16="http://schemas.microsoft.com/office/drawing/2014/main" id="{9A391276-D9C8-40A0-9292-56F1C7398FE7}"/>
                  </a:ext>
                </a:extLst>
              </p:cNvPr>
              <p:cNvSpPr>
                <a:spLocks noChangeArrowheads="1"/>
              </p:cNvSpPr>
              <p:nvPr/>
            </p:nvSpPr>
            <p:spPr bwMode="auto">
              <a:xfrm>
                <a:off x="316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Oval 2692">
                <a:extLst>
                  <a:ext uri="{FF2B5EF4-FFF2-40B4-BE49-F238E27FC236}">
                    <a16:creationId xmlns:a16="http://schemas.microsoft.com/office/drawing/2014/main" id="{1BDED39E-299F-4252-8F0C-791F33412001}"/>
                  </a:ext>
                </a:extLst>
              </p:cNvPr>
              <p:cNvSpPr>
                <a:spLocks noChangeArrowheads="1"/>
              </p:cNvSpPr>
              <p:nvPr/>
            </p:nvSpPr>
            <p:spPr bwMode="auto">
              <a:xfrm>
                <a:off x="334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Oval 2693">
                <a:extLst>
                  <a:ext uri="{FF2B5EF4-FFF2-40B4-BE49-F238E27FC236}">
                    <a16:creationId xmlns:a16="http://schemas.microsoft.com/office/drawing/2014/main" id="{DF5F27D5-2F56-463D-9CBC-C29778196FAA}"/>
                  </a:ext>
                </a:extLst>
              </p:cNvPr>
              <p:cNvSpPr>
                <a:spLocks noChangeArrowheads="1"/>
              </p:cNvSpPr>
              <p:nvPr/>
            </p:nvSpPr>
            <p:spPr bwMode="auto">
              <a:xfrm>
                <a:off x="31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Oval 2694">
                <a:extLst>
                  <a:ext uri="{FF2B5EF4-FFF2-40B4-BE49-F238E27FC236}">
                    <a16:creationId xmlns:a16="http://schemas.microsoft.com/office/drawing/2014/main" id="{20A9579E-FFBD-450A-87AD-EFD56997F87F}"/>
                  </a:ext>
                </a:extLst>
              </p:cNvPr>
              <p:cNvSpPr>
                <a:spLocks noChangeArrowheads="1"/>
              </p:cNvSpPr>
              <p:nvPr/>
            </p:nvSpPr>
            <p:spPr bwMode="auto">
              <a:xfrm>
                <a:off x="307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Oval 2695">
                <a:extLst>
                  <a:ext uri="{FF2B5EF4-FFF2-40B4-BE49-F238E27FC236}">
                    <a16:creationId xmlns:a16="http://schemas.microsoft.com/office/drawing/2014/main" id="{D42FC889-822A-4B44-80D8-EF66C2773A2C}"/>
                  </a:ext>
                </a:extLst>
              </p:cNvPr>
              <p:cNvSpPr>
                <a:spLocks noChangeArrowheads="1"/>
              </p:cNvSpPr>
              <p:nvPr/>
            </p:nvSpPr>
            <p:spPr bwMode="auto">
              <a:xfrm>
                <a:off x="30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Oval 2696">
                <a:extLst>
                  <a:ext uri="{FF2B5EF4-FFF2-40B4-BE49-F238E27FC236}">
                    <a16:creationId xmlns:a16="http://schemas.microsoft.com/office/drawing/2014/main" id="{9DD8D825-87F7-48F3-A47A-925DA0774609}"/>
                  </a:ext>
                </a:extLst>
              </p:cNvPr>
              <p:cNvSpPr>
                <a:spLocks noChangeArrowheads="1"/>
              </p:cNvSpPr>
              <p:nvPr/>
            </p:nvSpPr>
            <p:spPr bwMode="auto">
              <a:xfrm>
                <a:off x="292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Oval 2697">
                <a:extLst>
                  <a:ext uri="{FF2B5EF4-FFF2-40B4-BE49-F238E27FC236}">
                    <a16:creationId xmlns:a16="http://schemas.microsoft.com/office/drawing/2014/main" id="{25D9C884-E421-4994-9020-3AD0FEE51BDE}"/>
                  </a:ext>
                </a:extLst>
              </p:cNvPr>
              <p:cNvSpPr>
                <a:spLocks noChangeArrowheads="1"/>
              </p:cNvSpPr>
              <p:nvPr/>
            </p:nvSpPr>
            <p:spPr bwMode="auto">
              <a:xfrm>
                <a:off x="298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Oval 2698">
                <a:extLst>
                  <a:ext uri="{FF2B5EF4-FFF2-40B4-BE49-F238E27FC236}">
                    <a16:creationId xmlns:a16="http://schemas.microsoft.com/office/drawing/2014/main" id="{82DE3424-E4EB-455E-ABDF-CD0D37F29112}"/>
                  </a:ext>
                </a:extLst>
              </p:cNvPr>
              <p:cNvSpPr>
                <a:spLocks noChangeArrowheads="1"/>
              </p:cNvSpPr>
              <p:nvPr/>
            </p:nvSpPr>
            <p:spPr bwMode="auto">
              <a:xfrm>
                <a:off x="316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Oval 2699">
                <a:extLst>
                  <a:ext uri="{FF2B5EF4-FFF2-40B4-BE49-F238E27FC236}">
                    <a16:creationId xmlns:a16="http://schemas.microsoft.com/office/drawing/2014/main" id="{CBB6FA95-D0BD-45FF-BC06-8BD054E930CF}"/>
                  </a:ext>
                </a:extLst>
              </p:cNvPr>
              <p:cNvSpPr>
                <a:spLocks noChangeArrowheads="1"/>
              </p:cNvSpPr>
              <p:nvPr/>
            </p:nvSpPr>
            <p:spPr bwMode="auto">
              <a:xfrm>
                <a:off x="316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Oval 2700">
                <a:extLst>
                  <a:ext uri="{FF2B5EF4-FFF2-40B4-BE49-F238E27FC236}">
                    <a16:creationId xmlns:a16="http://schemas.microsoft.com/office/drawing/2014/main" id="{70B06BEC-A675-4FD1-9F8F-87AF3ADFB82B}"/>
                  </a:ext>
                </a:extLst>
              </p:cNvPr>
              <p:cNvSpPr>
                <a:spLocks noChangeArrowheads="1"/>
              </p:cNvSpPr>
              <p:nvPr/>
            </p:nvSpPr>
            <p:spPr bwMode="auto">
              <a:xfrm>
                <a:off x="316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Oval 2701">
                <a:extLst>
                  <a:ext uri="{FF2B5EF4-FFF2-40B4-BE49-F238E27FC236}">
                    <a16:creationId xmlns:a16="http://schemas.microsoft.com/office/drawing/2014/main" id="{99A04173-4152-49EA-A842-402ECC2C46D1}"/>
                  </a:ext>
                </a:extLst>
              </p:cNvPr>
              <p:cNvSpPr>
                <a:spLocks noChangeArrowheads="1"/>
              </p:cNvSpPr>
              <p:nvPr/>
            </p:nvSpPr>
            <p:spPr bwMode="auto">
              <a:xfrm>
                <a:off x="316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Oval 2702">
                <a:extLst>
                  <a:ext uri="{FF2B5EF4-FFF2-40B4-BE49-F238E27FC236}">
                    <a16:creationId xmlns:a16="http://schemas.microsoft.com/office/drawing/2014/main" id="{AD046532-BA66-4481-A559-1149C2F42782}"/>
                  </a:ext>
                </a:extLst>
              </p:cNvPr>
              <p:cNvSpPr>
                <a:spLocks noChangeArrowheads="1"/>
              </p:cNvSpPr>
              <p:nvPr/>
            </p:nvSpPr>
            <p:spPr bwMode="auto">
              <a:xfrm>
                <a:off x="29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Oval 2703">
                <a:extLst>
                  <a:ext uri="{FF2B5EF4-FFF2-40B4-BE49-F238E27FC236}">
                    <a16:creationId xmlns:a16="http://schemas.microsoft.com/office/drawing/2014/main" id="{06D27BA4-43B3-45C4-ABBC-839A85CA8290}"/>
                  </a:ext>
                </a:extLst>
              </p:cNvPr>
              <p:cNvSpPr>
                <a:spLocks noChangeArrowheads="1"/>
              </p:cNvSpPr>
              <p:nvPr/>
            </p:nvSpPr>
            <p:spPr bwMode="auto">
              <a:xfrm>
                <a:off x="289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Oval 2704">
                <a:extLst>
                  <a:ext uri="{FF2B5EF4-FFF2-40B4-BE49-F238E27FC236}">
                    <a16:creationId xmlns:a16="http://schemas.microsoft.com/office/drawing/2014/main" id="{825185D5-D907-45AC-8D8A-C853CB409724}"/>
                  </a:ext>
                </a:extLst>
              </p:cNvPr>
              <p:cNvSpPr>
                <a:spLocks noChangeArrowheads="1"/>
              </p:cNvSpPr>
              <p:nvPr/>
            </p:nvSpPr>
            <p:spPr bwMode="auto">
              <a:xfrm>
                <a:off x="289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Oval 2705">
                <a:extLst>
                  <a:ext uri="{FF2B5EF4-FFF2-40B4-BE49-F238E27FC236}">
                    <a16:creationId xmlns:a16="http://schemas.microsoft.com/office/drawing/2014/main" id="{8FEDCD68-0D03-49EA-BCE4-7BB6E2845A86}"/>
                  </a:ext>
                </a:extLst>
              </p:cNvPr>
              <p:cNvSpPr>
                <a:spLocks noChangeArrowheads="1"/>
              </p:cNvSpPr>
              <p:nvPr/>
            </p:nvSpPr>
            <p:spPr bwMode="auto">
              <a:xfrm>
                <a:off x="289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Oval 2706">
                <a:extLst>
                  <a:ext uri="{FF2B5EF4-FFF2-40B4-BE49-F238E27FC236}">
                    <a16:creationId xmlns:a16="http://schemas.microsoft.com/office/drawing/2014/main" id="{C5CC83A2-5AC7-418C-8D26-C21D3E3F4734}"/>
                  </a:ext>
                </a:extLst>
              </p:cNvPr>
              <p:cNvSpPr>
                <a:spLocks noChangeArrowheads="1"/>
              </p:cNvSpPr>
              <p:nvPr/>
            </p:nvSpPr>
            <p:spPr bwMode="auto">
              <a:xfrm>
                <a:off x="277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Oval 2707">
                <a:extLst>
                  <a:ext uri="{FF2B5EF4-FFF2-40B4-BE49-F238E27FC236}">
                    <a16:creationId xmlns:a16="http://schemas.microsoft.com/office/drawing/2014/main" id="{F72B99DB-FFAC-4594-85DE-F0EB2224F279}"/>
                  </a:ext>
                </a:extLst>
              </p:cNvPr>
              <p:cNvSpPr>
                <a:spLocks noChangeArrowheads="1"/>
              </p:cNvSpPr>
              <p:nvPr/>
            </p:nvSpPr>
            <p:spPr bwMode="auto">
              <a:xfrm>
                <a:off x="2805"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Oval 2708">
                <a:extLst>
                  <a:ext uri="{FF2B5EF4-FFF2-40B4-BE49-F238E27FC236}">
                    <a16:creationId xmlns:a16="http://schemas.microsoft.com/office/drawing/2014/main" id="{888ADD28-C7E5-4E23-BBB9-F704AE163F70}"/>
                  </a:ext>
                </a:extLst>
              </p:cNvPr>
              <p:cNvSpPr>
                <a:spLocks noChangeArrowheads="1"/>
              </p:cNvSpPr>
              <p:nvPr/>
            </p:nvSpPr>
            <p:spPr bwMode="auto">
              <a:xfrm>
                <a:off x="286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Oval 2709">
                <a:extLst>
                  <a:ext uri="{FF2B5EF4-FFF2-40B4-BE49-F238E27FC236}">
                    <a16:creationId xmlns:a16="http://schemas.microsoft.com/office/drawing/2014/main" id="{0B123D8D-5E3D-44D1-AE4F-427BD1FFF0E2}"/>
                  </a:ext>
                </a:extLst>
              </p:cNvPr>
              <p:cNvSpPr>
                <a:spLocks noChangeArrowheads="1"/>
              </p:cNvSpPr>
              <p:nvPr/>
            </p:nvSpPr>
            <p:spPr bwMode="auto">
              <a:xfrm>
                <a:off x="2775"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Oval 2710">
                <a:extLst>
                  <a:ext uri="{FF2B5EF4-FFF2-40B4-BE49-F238E27FC236}">
                    <a16:creationId xmlns:a16="http://schemas.microsoft.com/office/drawing/2014/main" id="{01A033DC-339B-48FC-87A1-B3DBD7454F8C}"/>
                  </a:ext>
                </a:extLst>
              </p:cNvPr>
              <p:cNvSpPr>
                <a:spLocks noChangeArrowheads="1"/>
              </p:cNvSpPr>
              <p:nvPr/>
            </p:nvSpPr>
            <p:spPr bwMode="auto">
              <a:xfrm>
                <a:off x="283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Oval 2711">
                <a:extLst>
                  <a:ext uri="{FF2B5EF4-FFF2-40B4-BE49-F238E27FC236}">
                    <a16:creationId xmlns:a16="http://schemas.microsoft.com/office/drawing/2014/main" id="{0B5A68D5-AD77-4751-ADAD-89E479E25E3B}"/>
                  </a:ext>
                </a:extLst>
              </p:cNvPr>
              <p:cNvSpPr>
                <a:spLocks noChangeArrowheads="1"/>
              </p:cNvSpPr>
              <p:nvPr/>
            </p:nvSpPr>
            <p:spPr bwMode="auto">
              <a:xfrm>
                <a:off x="286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Oval 2712">
                <a:extLst>
                  <a:ext uri="{FF2B5EF4-FFF2-40B4-BE49-F238E27FC236}">
                    <a16:creationId xmlns:a16="http://schemas.microsoft.com/office/drawing/2014/main" id="{11106ABA-052A-4A2B-8AE1-ADBB8A88A3E0}"/>
                  </a:ext>
                </a:extLst>
              </p:cNvPr>
              <p:cNvSpPr>
                <a:spLocks noChangeArrowheads="1"/>
              </p:cNvSpPr>
              <p:nvPr/>
            </p:nvSpPr>
            <p:spPr bwMode="auto">
              <a:xfrm>
                <a:off x="2775"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Oval 2713">
                <a:extLst>
                  <a:ext uri="{FF2B5EF4-FFF2-40B4-BE49-F238E27FC236}">
                    <a16:creationId xmlns:a16="http://schemas.microsoft.com/office/drawing/2014/main" id="{02AD6CBC-1D9B-4F18-9738-F92FB5A7788C}"/>
                  </a:ext>
                </a:extLst>
              </p:cNvPr>
              <p:cNvSpPr>
                <a:spLocks noChangeArrowheads="1"/>
              </p:cNvSpPr>
              <p:nvPr/>
            </p:nvSpPr>
            <p:spPr bwMode="auto">
              <a:xfrm>
                <a:off x="25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Oval 2714">
                <a:extLst>
                  <a:ext uri="{FF2B5EF4-FFF2-40B4-BE49-F238E27FC236}">
                    <a16:creationId xmlns:a16="http://schemas.microsoft.com/office/drawing/2014/main" id="{F864E49B-2A6C-407F-A1D1-B9035FC03640}"/>
                  </a:ext>
                </a:extLst>
              </p:cNvPr>
              <p:cNvSpPr>
                <a:spLocks noChangeArrowheads="1"/>
              </p:cNvSpPr>
              <p:nvPr/>
            </p:nvSpPr>
            <p:spPr bwMode="auto">
              <a:xfrm>
                <a:off x="256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Oval 2715">
                <a:extLst>
                  <a:ext uri="{FF2B5EF4-FFF2-40B4-BE49-F238E27FC236}">
                    <a16:creationId xmlns:a16="http://schemas.microsoft.com/office/drawing/2014/main" id="{69DDE30E-6363-4E55-B591-7689E2537C3B}"/>
                  </a:ext>
                </a:extLst>
              </p:cNvPr>
              <p:cNvSpPr>
                <a:spLocks noChangeArrowheads="1"/>
              </p:cNvSpPr>
              <p:nvPr/>
            </p:nvSpPr>
            <p:spPr bwMode="auto">
              <a:xfrm>
                <a:off x="259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Oval 2716">
                <a:extLst>
                  <a:ext uri="{FF2B5EF4-FFF2-40B4-BE49-F238E27FC236}">
                    <a16:creationId xmlns:a16="http://schemas.microsoft.com/office/drawing/2014/main" id="{9133E79E-3537-4852-B2D1-7E73AD3C61E7}"/>
                  </a:ext>
                </a:extLst>
              </p:cNvPr>
              <p:cNvSpPr>
                <a:spLocks noChangeArrowheads="1"/>
              </p:cNvSpPr>
              <p:nvPr/>
            </p:nvSpPr>
            <p:spPr bwMode="auto">
              <a:xfrm>
                <a:off x="244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Oval 2717">
                <a:extLst>
                  <a:ext uri="{FF2B5EF4-FFF2-40B4-BE49-F238E27FC236}">
                    <a16:creationId xmlns:a16="http://schemas.microsoft.com/office/drawing/2014/main" id="{92A51A2B-5D3D-4721-9842-1506984E82E7}"/>
                  </a:ext>
                </a:extLst>
              </p:cNvPr>
              <p:cNvSpPr>
                <a:spLocks noChangeArrowheads="1"/>
              </p:cNvSpPr>
              <p:nvPr/>
            </p:nvSpPr>
            <p:spPr bwMode="auto">
              <a:xfrm>
                <a:off x="24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Oval 2718">
                <a:extLst>
                  <a:ext uri="{FF2B5EF4-FFF2-40B4-BE49-F238E27FC236}">
                    <a16:creationId xmlns:a16="http://schemas.microsoft.com/office/drawing/2014/main" id="{9CF1BB29-4BFB-4888-90B3-24A60F8E95A1}"/>
                  </a:ext>
                </a:extLst>
              </p:cNvPr>
              <p:cNvSpPr>
                <a:spLocks noChangeArrowheads="1"/>
              </p:cNvSpPr>
              <p:nvPr/>
            </p:nvSpPr>
            <p:spPr bwMode="auto">
              <a:xfrm>
                <a:off x="247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Oval 2719">
                <a:extLst>
                  <a:ext uri="{FF2B5EF4-FFF2-40B4-BE49-F238E27FC236}">
                    <a16:creationId xmlns:a16="http://schemas.microsoft.com/office/drawing/2014/main" id="{C4AFBAEA-3F8F-44C3-8E44-7204E6EB685A}"/>
                  </a:ext>
                </a:extLst>
              </p:cNvPr>
              <p:cNvSpPr>
                <a:spLocks noChangeArrowheads="1"/>
              </p:cNvSpPr>
              <p:nvPr/>
            </p:nvSpPr>
            <p:spPr bwMode="auto">
              <a:xfrm>
                <a:off x="2475"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Oval 2720">
                <a:extLst>
                  <a:ext uri="{FF2B5EF4-FFF2-40B4-BE49-F238E27FC236}">
                    <a16:creationId xmlns:a16="http://schemas.microsoft.com/office/drawing/2014/main" id="{7F99E6FA-011F-45BB-BAF5-650FE8512597}"/>
                  </a:ext>
                </a:extLst>
              </p:cNvPr>
              <p:cNvSpPr>
                <a:spLocks noChangeArrowheads="1"/>
              </p:cNvSpPr>
              <p:nvPr/>
            </p:nvSpPr>
            <p:spPr bwMode="auto">
              <a:xfrm>
                <a:off x="286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Oval 2721">
                <a:extLst>
                  <a:ext uri="{FF2B5EF4-FFF2-40B4-BE49-F238E27FC236}">
                    <a16:creationId xmlns:a16="http://schemas.microsoft.com/office/drawing/2014/main" id="{00E12BDA-CB21-4277-B770-DA938FAF3FFD}"/>
                  </a:ext>
                </a:extLst>
              </p:cNvPr>
              <p:cNvSpPr>
                <a:spLocks noChangeArrowheads="1"/>
              </p:cNvSpPr>
              <p:nvPr/>
            </p:nvSpPr>
            <p:spPr bwMode="auto">
              <a:xfrm>
                <a:off x="268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Oval 2722">
                <a:extLst>
                  <a:ext uri="{FF2B5EF4-FFF2-40B4-BE49-F238E27FC236}">
                    <a16:creationId xmlns:a16="http://schemas.microsoft.com/office/drawing/2014/main" id="{634B3ED7-C238-410D-BA13-A33CC9E2F243}"/>
                  </a:ext>
                </a:extLst>
              </p:cNvPr>
              <p:cNvSpPr>
                <a:spLocks noChangeArrowheads="1"/>
              </p:cNvSpPr>
              <p:nvPr/>
            </p:nvSpPr>
            <p:spPr bwMode="auto">
              <a:xfrm>
                <a:off x="235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Oval 2723">
                <a:extLst>
                  <a:ext uri="{FF2B5EF4-FFF2-40B4-BE49-F238E27FC236}">
                    <a16:creationId xmlns:a16="http://schemas.microsoft.com/office/drawing/2014/main" id="{EEAB58E9-0144-4ADE-9C6C-4C65B857E1B0}"/>
                  </a:ext>
                </a:extLst>
              </p:cNvPr>
              <p:cNvSpPr>
                <a:spLocks noChangeArrowheads="1"/>
              </p:cNvSpPr>
              <p:nvPr/>
            </p:nvSpPr>
            <p:spPr bwMode="auto">
              <a:xfrm>
                <a:off x="235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Oval 2724">
                <a:extLst>
                  <a:ext uri="{FF2B5EF4-FFF2-40B4-BE49-F238E27FC236}">
                    <a16:creationId xmlns:a16="http://schemas.microsoft.com/office/drawing/2014/main" id="{D8D865A7-DEC3-4F65-A732-3284370C9D1B}"/>
                  </a:ext>
                </a:extLst>
              </p:cNvPr>
              <p:cNvSpPr>
                <a:spLocks noChangeArrowheads="1"/>
              </p:cNvSpPr>
              <p:nvPr/>
            </p:nvSpPr>
            <p:spPr bwMode="auto">
              <a:xfrm>
                <a:off x="25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Oval 2725">
                <a:extLst>
                  <a:ext uri="{FF2B5EF4-FFF2-40B4-BE49-F238E27FC236}">
                    <a16:creationId xmlns:a16="http://schemas.microsoft.com/office/drawing/2014/main" id="{F139A54F-04C3-4B92-B96E-AF5B93B56ED3}"/>
                  </a:ext>
                </a:extLst>
              </p:cNvPr>
              <p:cNvSpPr>
                <a:spLocks noChangeArrowheads="1"/>
              </p:cNvSpPr>
              <p:nvPr/>
            </p:nvSpPr>
            <p:spPr bwMode="auto">
              <a:xfrm>
                <a:off x="259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Oval 2726">
                <a:extLst>
                  <a:ext uri="{FF2B5EF4-FFF2-40B4-BE49-F238E27FC236}">
                    <a16:creationId xmlns:a16="http://schemas.microsoft.com/office/drawing/2014/main" id="{F621F4D6-D60F-40DD-8529-06083F117115}"/>
                  </a:ext>
                </a:extLst>
              </p:cNvPr>
              <p:cNvSpPr>
                <a:spLocks noChangeArrowheads="1"/>
              </p:cNvSpPr>
              <p:nvPr/>
            </p:nvSpPr>
            <p:spPr bwMode="auto">
              <a:xfrm>
                <a:off x="25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Oval 2727">
                <a:extLst>
                  <a:ext uri="{FF2B5EF4-FFF2-40B4-BE49-F238E27FC236}">
                    <a16:creationId xmlns:a16="http://schemas.microsoft.com/office/drawing/2014/main" id="{4DC68A42-3684-4AA2-9B0A-2D84D36D3840}"/>
                  </a:ext>
                </a:extLst>
              </p:cNvPr>
              <p:cNvSpPr>
                <a:spLocks noChangeArrowheads="1"/>
              </p:cNvSpPr>
              <p:nvPr/>
            </p:nvSpPr>
            <p:spPr bwMode="auto">
              <a:xfrm>
                <a:off x="256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Oval 2728">
                <a:extLst>
                  <a:ext uri="{FF2B5EF4-FFF2-40B4-BE49-F238E27FC236}">
                    <a16:creationId xmlns:a16="http://schemas.microsoft.com/office/drawing/2014/main" id="{4E996689-6573-4172-8748-509110AE2753}"/>
                  </a:ext>
                </a:extLst>
              </p:cNvPr>
              <p:cNvSpPr>
                <a:spLocks noChangeArrowheads="1"/>
              </p:cNvSpPr>
              <p:nvPr/>
            </p:nvSpPr>
            <p:spPr bwMode="auto">
              <a:xfrm>
                <a:off x="247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Oval 2729">
                <a:extLst>
                  <a:ext uri="{FF2B5EF4-FFF2-40B4-BE49-F238E27FC236}">
                    <a16:creationId xmlns:a16="http://schemas.microsoft.com/office/drawing/2014/main" id="{DE33641C-6B71-4EEC-8907-EC0C3BF09FEB}"/>
                  </a:ext>
                </a:extLst>
              </p:cNvPr>
              <p:cNvSpPr>
                <a:spLocks noChangeArrowheads="1"/>
              </p:cNvSpPr>
              <p:nvPr/>
            </p:nvSpPr>
            <p:spPr bwMode="auto">
              <a:xfrm>
                <a:off x="235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Oval 2730">
                <a:extLst>
                  <a:ext uri="{FF2B5EF4-FFF2-40B4-BE49-F238E27FC236}">
                    <a16:creationId xmlns:a16="http://schemas.microsoft.com/office/drawing/2014/main" id="{D0756A43-0E9A-4A76-91B2-6C34801B379F}"/>
                  </a:ext>
                </a:extLst>
              </p:cNvPr>
              <p:cNvSpPr>
                <a:spLocks noChangeArrowheads="1"/>
              </p:cNvSpPr>
              <p:nvPr/>
            </p:nvSpPr>
            <p:spPr bwMode="auto">
              <a:xfrm>
                <a:off x="229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Oval 2731">
                <a:extLst>
                  <a:ext uri="{FF2B5EF4-FFF2-40B4-BE49-F238E27FC236}">
                    <a16:creationId xmlns:a16="http://schemas.microsoft.com/office/drawing/2014/main" id="{F27A513C-F0F9-494E-90C2-600136D7B974}"/>
                  </a:ext>
                </a:extLst>
              </p:cNvPr>
              <p:cNvSpPr>
                <a:spLocks noChangeArrowheads="1"/>
              </p:cNvSpPr>
              <p:nvPr/>
            </p:nvSpPr>
            <p:spPr bwMode="auto">
              <a:xfrm>
                <a:off x="226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Oval 2732">
                <a:extLst>
                  <a:ext uri="{FF2B5EF4-FFF2-40B4-BE49-F238E27FC236}">
                    <a16:creationId xmlns:a16="http://schemas.microsoft.com/office/drawing/2014/main" id="{1AEF89EC-C7F4-4767-BE87-EC39E76B5CEE}"/>
                  </a:ext>
                </a:extLst>
              </p:cNvPr>
              <p:cNvSpPr>
                <a:spLocks noChangeArrowheads="1"/>
              </p:cNvSpPr>
              <p:nvPr/>
            </p:nvSpPr>
            <p:spPr bwMode="auto">
              <a:xfrm>
                <a:off x="229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Oval 2733">
                <a:extLst>
                  <a:ext uri="{FF2B5EF4-FFF2-40B4-BE49-F238E27FC236}">
                    <a16:creationId xmlns:a16="http://schemas.microsoft.com/office/drawing/2014/main" id="{19A9529C-1C7E-4E10-B7A1-794F768E7936}"/>
                  </a:ext>
                </a:extLst>
              </p:cNvPr>
              <p:cNvSpPr>
                <a:spLocks noChangeArrowheads="1"/>
              </p:cNvSpPr>
              <p:nvPr/>
            </p:nvSpPr>
            <p:spPr bwMode="auto">
              <a:xfrm>
                <a:off x="235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Oval 2734">
                <a:extLst>
                  <a:ext uri="{FF2B5EF4-FFF2-40B4-BE49-F238E27FC236}">
                    <a16:creationId xmlns:a16="http://schemas.microsoft.com/office/drawing/2014/main" id="{4F675FD2-6B90-49ED-AD3F-0FEAAC0C14EE}"/>
                  </a:ext>
                </a:extLst>
              </p:cNvPr>
              <p:cNvSpPr>
                <a:spLocks noChangeArrowheads="1"/>
              </p:cNvSpPr>
              <p:nvPr/>
            </p:nvSpPr>
            <p:spPr bwMode="auto">
              <a:xfrm>
                <a:off x="244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Oval 2735">
                <a:extLst>
                  <a:ext uri="{FF2B5EF4-FFF2-40B4-BE49-F238E27FC236}">
                    <a16:creationId xmlns:a16="http://schemas.microsoft.com/office/drawing/2014/main" id="{F70E6307-4686-4367-9E9E-8EFF9424899F}"/>
                  </a:ext>
                </a:extLst>
              </p:cNvPr>
              <p:cNvSpPr>
                <a:spLocks noChangeArrowheads="1"/>
              </p:cNvSpPr>
              <p:nvPr/>
            </p:nvSpPr>
            <p:spPr bwMode="auto">
              <a:xfrm>
                <a:off x="268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Oval 2736">
                <a:extLst>
                  <a:ext uri="{FF2B5EF4-FFF2-40B4-BE49-F238E27FC236}">
                    <a16:creationId xmlns:a16="http://schemas.microsoft.com/office/drawing/2014/main" id="{2A61AADD-960D-465F-AB8C-CDCBC221793F}"/>
                  </a:ext>
                </a:extLst>
              </p:cNvPr>
              <p:cNvSpPr>
                <a:spLocks noChangeArrowheads="1"/>
              </p:cNvSpPr>
              <p:nvPr/>
            </p:nvSpPr>
            <p:spPr bwMode="auto">
              <a:xfrm>
                <a:off x="253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Oval 2737">
                <a:extLst>
                  <a:ext uri="{FF2B5EF4-FFF2-40B4-BE49-F238E27FC236}">
                    <a16:creationId xmlns:a16="http://schemas.microsoft.com/office/drawing/2014/main" id="{C3428BB4-3B2B-4A9E-90C3-ACB19DA35333}"/>
                  </a:ext>
                </a:extLst>
              </p:cNvPr>
              <p:cNvSpPr>
                <a:spLocks noChangeArrowheads="1"/>
              </p:cNvSpPr>
              <p:nvPr/>
            </p:nvSpPr>
            <p:spPr bwMode="auto">
              <a:xfrm>
                <a:off x="25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Oval 2738">
                <a:extLst>
                  <a:ext uri="{FF2B5EF4-FFF2-40B4-BE49-F238E27FC236}">
                    <a16:creationId xmlns:a16="http://schemas.microsoft.com/office/drawing/2014/main" id="{2C19BBBC-FA00-4B6C-A1BE-98D3A86B1EBF}"/>
                  </a:ext>
                </a:extLst>
              </p:cNvPr>
              <p:cNvSpPr>
                <a:spLocks noChangeArrowheads="1"/>
              </p:cNvSpPr>
              <p:nvPr/>
            </p:nvSpPr>
            <p:spPr bwMode="auto">
              <a:xfrm>
                <a:off x="247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Oval 2739">
                <a:extLst>
                  <a:ext uri="{FF2B5EF4-FFF2-40B4-BE49-F238E27FC236}">
                    <a16:creationId xmlns:a16="http://schemas.microsoft.com/office/drawing/2014/main" id="{81DF304F-3698-4D04-B655-0B964E62D820}"/>
                  </a:ext>
                </a:extLst>
              </p:cNvPr>
              <p:cNvSpPr>
                <a:spLocks noChangeArrowheads="1"/>
              </p:cNvSpPr>
              <p:nvPr/>
            </p:nvSpPr>
            <p:spPr bwMode="auto">
              <a:xfrm>
                <a:off x="250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Oval 2740">
                <a:extLst>
                  <a:ext uri="{FF2B5EF4-FFF2-40B4-BE49-F238E27FC236}">
                    <a16:creationId xmlns:a16="http://schemas.microsoft.com/office/drawing/2014/main" id="{F25114D6-910F-4B82-AA3B-9948ACC356A1}"/>
                  </a:ext>
                </a:extLst>
              </p:cNvPr>
              <p:cNvSpPr>
                <a:spLocks noChangeArrowheads="1"/>
              </p:cNvSpPr>
              <p:nvPr/>
            </p:nvSpPr>
            <p:spPr bwMode="auto">
              <a:xfrm>
                <a:off x="232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Oval 2741">
                <a:extLst>
                  <a:ext uri="{FF2B5EF4-FFF2-40B4-BE49-F238E27FC236}">
                    <a16:creationId xmlns:a16="http://schemas.microsoft.com/office/drawing/2014/main" id="{948E74D9-1F85-4CBC-9D06-5F267216924B}"/>
                  </a:ext>
                </a:extLst>
              </p:cNvPr>
              <p:cNvSpPr>
                <a:spLocks noChangeArrowheads="1"/>
              </p:cNvSpPr>
              <p:nvPr/>
            </p:nvSpPr>
            <p:spPr bwMode="auto">
              <a:xfrm>
                <a:off x="232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Oval 2742">
                <a:extLst>
                  <a:ext uri="{FF2B5EF4-FFF2-40B4-BE49-F238E27FC236}">
                    <a16:creationId xmlns:a16="http://schemas.microsoft.com/office/drawing/2014/main" id="{33D22FA9-D4B5-4619-981A-D3B36E6AB224}"/>
                  </a:ext>
                </a:extLst>
              </p:cNvPr>
              <p:cNvSpPr>
                <a:spLocks noChangeArrowheads="1"/>
              </p:cNvSpPr>
              <p:nvPr/>
            </p:nvSpPr>
            <p:spPr bwMode="auto">
              <a:xfrm>
                <a:off x="220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Oval 2743">
                <a:extLst>
                  <a:ext uri="{FF2B5EF4-FFF2-40B4-BE49-F238E27FC236}">
                    <a16:creationId xmlns:a16="http://schemas.microsoft.com/office/drawing/2014/main" id="{E0534C1B-288E-4777-B92C-5882443B0D3C}"/>
                  </a:ext>
                </a:extLst>
              </p:cNvPr>
              <p:cNvSpPr>
                <a:spLocks noChangeArrowheads="1"/>
              </p:cNvSpPr>
              <p:nvPr/>
            </p:nvSpPr>
            <p:spPr bwMode="auto">
              <a:xfrm>
                <a:off x="220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Oval 2744">
                <a:extLst>
                  <a:ext uri="{FF2B5EF4-FFF2-40B4-BE49-F238E27FC236}">
                    <a16:creationId xmlns:a16="http://schemas.microsoft.com/office/drawing/2014/main" id="{651926E8-3D1F-4376-9423-CA7056441CAE}"/>
                  </a:ext>
                </a:extLst>
              </p:cNvPr>
              <p:cNvSpPr>
                <a:spLocks noChangeArrowheads="1"/>
              </p:cNvSpPr>
              <p:nvPr/>
            </p:nvSpPr>
            <p:spPr bwMode="auto">
              <a:xfrm>
                <a:off x="20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Oval 2745">
                <a:extLst>
                  <a:ext uri="{FF2B5EF4-FFF2-40B4-BE49-F238E27FC236}">
                    <a16:creationId xmlns:a16="http://schemas.microsoft.com/office/drawing/2014/main" id="{69FE7F99-FBBA-46FF-A7B9-A39148A57DF0}"/>
                  </a:ext>
                </a:extLst>
              </p:cNvPr>
              <p:cNvSpPr>
                <a:spLocks noChangeArrowheads="1"/>
              </p:cNvSpPr>
              <p:nvPr/>
            </p:nvSpPr>
            <p:spPr bwMode="auto">
              <a:xfrm>
                <a:off x="2086" y="9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Oval 2746">
                <a:extLst>
                  <a:ext uri="{FF2B5EF4-FFF2-40B4-BE49-F238E27FC236}">
                    <a16:creationId xmlns:a16="http://schemas.microsoft.com/office/drawing/2014/main" id="{47B9CB14-4B6B-4508-8E31-A4270EB5796B}"/>
                  </a:ext>
                </a:extLst>
              </p:cNvPr>
              <p:cNvSpPr>
                <a:spLocks noChangeArrowheads="1"/>
              </p:cNvSpPr>
              <p:nvPr/>
            </p:nvSpPr>
            <p:spPr bwMode="auto">
              <a:xfrm>
                <a:off x="1936"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Oval 2747">
                <a:extLst>
                  <a:ext uri="{FF2B5EF4-FFF2-40B4-BE49-F238E27FC236}">
                    <a16:creationId xmlns:a16="http://schemas.microsoft.com/office/drawing/2014/main" id="{FAE30DD7-FAB5-4D06-BB28-8BA5BF7E5471}"/>
                  </a:ext>
                </a:extLst>
              </p:cNvPr>
              <p:cNvSpPr>
                <a:spLocks noChangeArrowheads="1"/>
              </p:cNvSpPr>
              <p:nvPr/>
            </p:nvSpPr>
            <p:spPr bwMode="auto">
              <a:xfrm>
                <a:off x="1936"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Oval 2748">
                <a:extLst>
                  <a:ext uri="{FF2B5EF4-FFF2-40B4-BE49-F238E27FC236}">
                    <a16:creationId xmlns:a16="http://schemas.microsoft.com/office/drawing/2014/main" id="{F01F8584-0FF3-4D57-B094-46C9BB86E0A3}"/>
                  </a:ext>
                </a:extLst>
              </p:cNvPr>
              <p:cNvSpPr>
                <a:spLocks noChangeArrowheads="1"/>
              </p:cNvSpPr>
              <p:nvPr/>
            </p:nvSpPr>
            <p:spPr bwMode="auto">
              <a:xfrm>
                <a:off x="193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Oval 2749">
                <a:extLst>
                  <a:ext uri="{FF2B5EF4-FFF2-40B4-BE49-F238E27FC236}">
                    <a16:creationId xmlns:a16="http://schemas.microsoft.com/office/drawing/2014/main" id="{8E608C19-6ADE-4515-A901-B473B7CFEFA9}"/>
                  </a:ext>
                </a:extLst>
              </p:cNvPr>
              <p:cNvSpPr>
                <a:spLocks noChangeArrowheads="1"/>
              </p:cNvSpPr>
              <p:nvPr/>
            </p:nvSpPr>
            <p:spPr bwMode="auto">
              <a:xfrm>
                <a:off x="1876"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Oval 2750">
                <a:extLst>
                  <a:ext uri="{FF2B5EF4-FFF2-40B4-BE49-F238E27FC236}">
                    <a16:creationId xmlns:a16="http://schemas.microsoft.com/office/drawing/2014/main" id="{8E224B2F-2BA9-443D-87AE-469D629F76F3}"/>
                  </a:ext>
                </a:extLst>
              </p:cNvPr>
              <p:cNvSpPr>
                <a:spLocks noChangeArrowheads="1"/>
              </p:cNvSpPr>
              <p:nvPr/>
            </p:nvSpPr>
            <p:spPr bwMode="auto">
              <a:xfrm>
                <a:off x="2056" y="4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Oval 2751">
                <a:extLst>
                  <a:ext uri="{FF2B5EF4-FFF2-40B4-BE49-F238E27FC236}">
                    <a16:creationId xmlns:a16="http://schemas.microsoft.com/office/drawing/2014/main" id="{B351734A-811C-44F8-9B1E-814F7684728E}"/>
                  </a:ext>
                </a:extLst>
              </p:cNvPr>
              <p:cNvSpPr>
                <a:spLocks noChangeArrowheads="1"/>
              </p:cNvSpPr>
              <p:nvPr/>
            </p:nvSpPr>
            <p:spPr bwMode="auto">
              <a:xfrm>
                <a:off x="2086" y="3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Oval 2752">
                <a:extLst>
                  <a:ext uri="{FF2B5EF4-FFF2-40B4-BE49-F238E27FC236}">
                    <a16:creationId xmlns:a16="http://schemas.microsoft.com/office/drawing/2014/main" id="{B0342130-8EDD-400C-91F8-993A7F02EA8E}"/>
                  </a:ext>
                </a:extLst>
              </p:cNvPr>
              <p:cNvSpPr>
                <a:spLocks noChangeArrowheads="1"/>
              </p:cNvSpPr>
              <p:nvPr/>
            </p:nvSpPr>
            <p:spPr bwMode="auto">
              <a:xfrm>
                <a:off x="193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Oval 2753">
                <a:extLst>
                  <a:ext uri="{FF2B5EF4-FFF2-40B4-BE49-F238E27FC236}">
                    <a16:creationId xmlns:a16="http://schemas.microsoft.com/office/drawing/2014/main" id="{51B9B659-A8B6-43E2-AC18-26E99D74FCCF}"/>
                  </a:ext>
                </a:extLst>
              </p:cNvPr>
              <p:cNvSpPr>
                <a:spLocks noChangeArrowheads="1"/>
              </p:cNvSpPr>
              <p:nvPr/>
            </p:nvSpPr>
            <p:spPr bwMode="auto">
              <a:xfrm>
                <a:off x="2026"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Oval 2754">
                <a:extLst>
                  <a:ext uri="{FF2B5EF4-FFF2-40B4-BE49-F238E27FC236}">
                    <a16:creationId xmlns:a16="http://schemas.microsoft.com/office/drawing/2014/main" id="{9B77445A-A8FF-4EA3-928D-317F74989782}"/>
                  </a:ext>
                </a:extLst>
              </p:cNvPr>
              <p:cNvSpPr>
                <a:spLocks noChangeArrowheads="1"/>
              </p:cNvSpPr>
              <p:nvPr/>
            </p:nvSpPr>
            <p:spPr bwMode="auto">
              <a:xfrm>
                <a:off x="2086" y="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Oval 2755">
                <a:extLst>
                  <a:ext uri="{FF2B5EF4-FFF2-40B4-BE49-F238E27FC236}">
                    <a16:creationId xmlns:a16="http://schemas.microsoft.com/office/drawing/2014/main" id="{AE6B612B-21B1-4CD8-9E12-019FFA6ECCF6}"/>
                  </a:ext>
                </a:extLst>
              </p:cNvPr>
              <p:cNvSpPr>
                <a:spLocks noChangeArrowheads="1"/>
              </p:cNvSpPr>
              <p:nvPr/>
            </p:nvSpPr>
            <p:spPr bwMode="auto">
              <a:xfrm>
                <a:off x="193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Oval 2756">
                <a:extLst>
                  <a:ext uri="{FF2B5EF4-FFF2-40B4-BE49-F238E27FC236}">
                    <a16:creationId xmlns:a16="http://schemas.microsoft.com/office/drawing/2014/main" id="{602A2A8E-B825-4511-AA2C-1894BBD35553}"/>
                  </a:ext>
                </a:extLst>
              </p:cNvPr>
              <p:cNvSpPr>
                <a:spLocks noChangeArrowheads="1"/>
              </p:cNvSpPr>
              <p:nvPr/>
            </p:nvSpPr>
            <p:spPr bwMode="auto">
              <a:xfrm>
                <a:off x="172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Oval 2757">
                <a:extLst>
                  <a:ext uri="{FF2B5EF4-FFF2-40B4-BE49-F238E27FC236}">
                    <a16:creationId xmlns:a16="http://schemas.microsoft.com/office/drawing/2014/main" id="{0981DA12-E2A7-4A39-8DE0-2780457F42E3}"/>
                  </a:ext>
                </a:extLst>
              </p:cNvPr>
              <p:cNvSpPr>
                <a:spLocks noChangeArrowheads="1"/>
              </p:cNvSpPr>
              <p:nvPr/>
            </p:nvSpPr>
            <p:spPr bwMode="auto">
              <a:xfrm>
                <a:off x="157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Oval 2758">
                <a:extLst>
                  <a:ext uri="{FF2B5EF4-FFF2-40B4-BE49-F238E27FC236}">
                    <a16:creationId xmlns:a16="http://schemas.microsoft.com/office/drawing/2014/main" id="{DBEAF7BC-4730-4D94-AA2C-F1077F673C7E}"/>
                  </a:ext>
                </a:extLst>
              </p:cNvPr>
              <p:cNvSpPr>
                <a:spLocks noChangeArrowheads="1"/>
              </p:cNvSpPr>
              <p:nvPr/>
            </p:nvSpPr>
            <p:spPr bwMode="auto">
              <a:xfrm>
                <a:off x="154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Oval 2759">
                <a:extLst>
                  <a:ext uri="{FF2B5EF4-FFF2-40B4-BE49-F238E27FC236}">
                    <a16:creationId xmlns:a16="http://schemas.microsoft.com/office/drawing/2014/main" id="{5E3C018B-B2CA-44AF-8904-1C0DABC70E0E}"/>
                  </a:ext>
                </a:extLst>
              </p:cNvPr>
              <p:cNvSpPr>
                <a:spLocks noChangeArrowheads="1"/>
              </p:cNvSpPr>
              <p:nvPr/>
            </p:nvSpPr>
            <p:spPr bwMode="auto">
              <a:xfrm>
                <a:off x="142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Oval 2760">
                <a:extLst>
                  <a:ext uri="{FF2B5EF4-FFF2-40B4-BE49-F238E27FC236}">
                    <a16:creationId xmlns:a16="http://schemas.microsoft.com/office/drawing/2014/main" id="{2088F027-A34C-422C-8542-7E14D577DD57}"/>
                  </a:ext>
                </a:extLst>
              </p:cNvPr>
              <p:cNvSpPr>
                <a:spLocks noChangeArrowheads="1"/>
              </p:cNvSpPr>
              <p:nvPr/>
            </p:nvSpPr>
            <p:spPr bwMode="auto">
              <a:xfrm>
                <a:off x="130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Oval 2761">
                <a:extLst>
                  <a:ext uri="{FF2B5EF4-FFF2-40B4-BE49-F238E27FC236}">
                    <a16:creationId xmlns:a16="http://schemas.microsoft.com/office/drawing/2014/main" id="{08137203-B7AF-4D8E-AC7E-F4E28892FE60}"/>
                  </a:ext>
                </a:extLst>
              </p:cNvPr>
              <p:cNvSpPr>
                <a:spLocks noChangeArrowheads="1"/>
              </p:cNvSpPr>
              <p:nvPr/>
            </p:nvSpPr>
            <p:spPr bwMode="auto">
              <a:xfrm>
                <a:off x="1246"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Oval 2762">
                <a:extLst>
                  <a:ext uri="{FF2B5EF4-FFF2-40B4-BE49-F238E27FC236}">
                    <a16:creationId xmlns:a16="http://schemas.microsoft.com/office/drawing/2014/main" id="{9D79315D-1BB5-4D02-A3FE-41454CD390F2}"/>
                  </a:ext>
                </a:extLst>
              </p:cNvPr>
              <p:cNvSpPr>
                <a:spLocks noChangeArrowheads="1"/>
              </p:cNvSpPr>
              <p:nvPr/>
            </p:nvSpPr>
            <p:spPr bwMode="auto">
              <a:xfrm>
                <a:off x="139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Oval 2763">
                <a:extLst>
                  <a:ext uri="{FF2B5EF4-FFF2-40B4-BE49-F238E27FC236}">
                    <a16:creationId xmlns:a16="http://schemas.microsoft.com/office/drawing/2014/main" id="{BD82854C-4DBB-4B56-8FB8-E3A882114F62}"/>
                  </a:ext>
                </a:extLst>
              </p:cNvPr>
              <p:cNvSpPr>
                <a:spLocks noChangeArrowheads="1"/>
              </p:cNvSpPr>
              <p:nvPr/>
            </p:nvSpPr>
            <p:spPr bwMode="auto">
              <a:xfrm>
                <a:off x="172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Oval 2764">
                <a:extLst>
                  <a:ext uri="{FF2B5EF4-FFF2-40B4-BE49-F238E27FC236}">
                    <a16:creationId xmlns:a16="http://schemas.microsoft.com/office/drawing/2014/main" id="{D7CC9A60-715D-451D-8774-1AFD0C0CDA55}"/>
                  </a:ext>
                </a:extLst>
              </p:cNvPr>
              <p:cNvSpPr>
                <a:spLocks noChangeArrowheads="1"/>
              </p:cNvSpPr>
              <p:nvPr/>
            </p:nvSpPr>
            <p:spPr bwMode="auto">
              <a:xfrm>
                <a:off x="169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Oval 2765">
                <a:extLst>
                  <a:ext uri="{FF2B5EF4-FFF2-40B4-BE49-F238E27FC236}">
                    <a16:creationId xmlns:a16="http://schemas.microsoft.com/office/drawing/2014/main" id="{BE17D053-F77A-408F-942E-734D916B4A98}"/>
                  </a:ext>
                </a:extLst>
              </p:cNvPr>
              <p:cNvSpPr>
                <a:spLocks noChangeArrowheads="1"/>
              </p:cNvSpPr>
              <p:nvPr/>
            </p:nvSpPr>
            <p:spPr bwMode="auto">
              <a:xfrm>
                <a:off x="1696"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Oval 2766">
                <a:extLst>
                  <a:ext uri="{FF2B5EF4-FFF2-40B4-BE49-F238E27FC236}">
                    <a16:creationId xmlns:a16="http://schemas.microsoft.com/office/drawing/2014/main" id="{37E1E06B-09FC-4DEA-AF1D-91C5E3532967}"/>
                  </a:ext>
                </a:extLst>
              </p:cNvPr>
              <p:cNvSpPr>
                <a:spLocks noChangeArrowheads="1"/>
              </p:cNvSpPr>
              <p:nvPr/>
            </p:nvSpPr>
            <p:spPr bwMode="auto">
              <a:xfrm>
                <a:off x="151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Oval 2767">
                <a:extLst>
                  <a:ext uri="{FF2B5EF4-FFF2-40B4-BE49-F238E27FC236}">
                    <a16:creationId xmlns:a16="http://schemas.microsoft.com/office/drawing/2014/main" id="{C6F3B11A-39C5-42AD-B7DC-19D76465A8EF}"/>
                  </a:ext>
                </a:extLst>
              </p:cNvPr>
              <p:cNvSpPr>
                <a:spLocks noChangeArrowheads="1"/>
              </p:cNvSpPr>
              <p:nvPr/>
            </p:nvSpPr>
            <p:spPr bwMode="auto">
              <a:xfrm>
                <a:off x="1576"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Oval 2768">
                <a:extLst>
                  <a:ext uri="{FF2B5EF4-FFF2-40B4-BE49-F238E27FC236}">
                    <a16:creationId xmlns:a16="http://schemas.microsoft.com/office/drawing/2014/main" id="{1988AD61-7B05-43C0-8CE4-0C854F223D2B}"/>
                  </a:ext>
                </a:extLst>
              </p:cNvPr>
              <p:cNvSpPr>
                <a:spLocks noChangeArrowheads="1"/>
              </p:cNvSpPr>
              <p:nvPr/>
            </p:nvSpPr>
            <p:spPr bwMode="auto">
              <a:xfrm>
                <a:off x="154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Oval 2769">
                <a:extLst>
                  <a:ext uri="{FF2B5EF4-FFF2-40B4-BE49-F238E27FC236}">
                    <a16:creationId xmlns:a16="http://schemas.microsoft.com/office/drawing/2014/main" id="{162AA4E0-9FCF-4782-8DBA-AC40D85D0ECB}"/>
                  </a:ext>
                </a:extLst>
              </p:cNvPr>
              <p:cNvSpPr>
                <a:spLocks noChangeArrowheads="1"/>
              </p:cNvSpPr>
              <p:nvPr/>
            </p:nvSpPr>
            <p:spPr bwMode="auto">
              <a:xfrm>
                <a:off x="163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Oval 2770">
                <a:extLst>
                  <a:ext uri="{FF2B5EF4-FFF2-40B4-BE49-F238E27FC236}">
                    <a16:creationId xmlns:a16="http://schemas.microsoft.com/office/drawing/2014/main" id="{4D592EAF-8EFF-4003-AF56-39E0418D338D}"/>
                  </a:ext>
                </a:extLst>
              </p:cNvPr>
              <p:cNvSpPr>
                <a:spLocks noChangeArrowheads="1"/>
              </p:cNvSpPr>
              <p:nvPr/>
            </p:nvSpPr>
            <p:spPr bwMode="auto">
              <a:xfrm>
                <a:off x="1546"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Oval 2771">
                <a:extLst>
                  <a:ext uri="{FF2B5EF4-FFF2-40B4-BE49-F238E27FC236}">
                    <a16:creationId xmlns:a16="http://schemas.microsoft.com/office/drawing/2014/main" id="{F52A6FF3-9438-4AB0-A8DA-99B84E9E1901}"/>
                  </a:ext>
                </a:extLst>
              </p:cNvPr>
              <p:cNvSpPr>
                <a:spLocks noChangeArrowheads="1"/>
              </p:cNvSpPr>
              <p:nvPr/>
            </p:nvSpPr>
            <p:spPr bwMode="auto">
              <a:xfrm>
                <a:off x="160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Oval 2772">
                <a:extLst>
                  <a:ext uri="{FF2B5EF4-FFF2-40B4-BE49-F238E27FC236}">
                    <a16:creationId xmlns:a16="http://schemas.microsoft.com/office/drawing/2014/main" id="{4993886F-09B3-4B5E-804B-A4326A331D74}"/>
                  </a:ext>
                </a:extLst>
              </p:cNvPr>
              <p:cNvSpPr>
                <a:spLocks noChangeArrowheads="1"/>
              </p:cNvSpPr>
              <p:nvPr/>
            </p:nvSpPr>
            <p:spPr bwMode="auto">
              <a:xfrm>
                <a:off x="17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Oval 2773">
                <a:extLst>
                  <a:ext uri="{FF2B5EF4-FFF2-40B4-BE49-F238E27FC236}">
                    <a16:creationId xmlns:a16="http://schemas.microsoft.com/office/drawing/2014/main" id="{CB5D827E-8E20-4AC3-BFA6-A5B29EA7FFB8}"/>
                  </a:ext>
                </a:extLst>
              </p:cNvPr>
              <p:cNvSpPr>
                <a:spLocks noChangeArrowheads="1"/>
              </p:cNvSpPr>
              <p:nvPr/>
            </p:nvSpPr>
            <p:spPr bwMode="auto">
              <a:xfrm>
                <a:off x="1756"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Oval 2774">
                <a:extLst>
                  <a:ext uri="{FF2B5EF4-FFF2-40B4-BE49-F238E27FC236}">
                    <a16:creationId xmlns:a16="http://schemas.microsoft.com/office/drawing/2014/main" id="{257C1A52-4A5E-4908-8A02-3AFFA92F5199}"/>
                  </a:ext>
                </a:extLst>
              </p:cNvPr>
              <p:cNvSpPr>
                <a:spLocks noChangeArrowheads="1"/>
              </p:cNvSpPr>
              <p:nvPr/>
            </p:nvSpPr>
            <p:spPr bwMode="auto">
              <a:xfrm>
                <a:off x="1756"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Oval 2775">
                <a:extLst>
                  <a:ext uri="{FF2B5EF4-FFF2-40B4-BE49-F238E27FC236}">
                    <a16:creationId xmlns:a16="http://schemas.microsoft.com/office/drawing/2014/main" id="{A672F8E5-F6AF-4680-A4FA-ECE095532FB2}"/>
                  </a:ext>
                </a:extLst>
              </p:cNvPr>
              <p:cNvSpPr>
                <a:spLocks noChangeArrowheads="1"/>
              </p:cNvSpPr>
              <p:nvPr/>
            </p:nvSpPr>
            <p:spPr bwMode="auto">
              <a:xfrm>
                <a:off x="184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Oval 2776">
                <a:extLst>
                  <a:ext uri="{FF2B5EF4-FFF2-40B4-BE49-F238E27FC236}">
                    <a16:creationId xmlns:a16="http://schemas.microsoft.com/office/drawing/2014/main" id="{CE6245EE-5243-45A9-AD5B-72C125429929}"/>
                  </a:ext>
                </a:extLst>
              </p:cNvPr>
              <p:cNvSpPr>
                <a:spLocks noChangeArrowheads="1"/>
              </p:cNvSpPr>
              <p:nvPr/>
            </p:nvSpPr>
            <p:spPr bwMode="auto">
              <a:xfrm>
                <a:off x="1726"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Oval 2777">
                <a:extLst>
                  <a:ext uri="{FF2B5EF4-FFF2-40B4-BE49-F238E27FC236}">
                    <a16:creationId xmlns:a16="http://schemas.microsoft.com/office/drawing/2014/main" id="{927009A8-4D1F-47B0-B5C8-4F88F682DD3C}"/>
                  </a:ext>
                </a:extLst>
              </p:cNvPr>
              <p:cNvSpPr>
                <a:spLocks noChangeArrowheads="1"/>
              </p:cNvSpPr>
              <p:nvPr/>
            </p:nvSpPr>
            <p:spPr bwMode="auto">
              <a:xfrm>
                <a:off x="163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Oval 2778">
                <a:extLst>
                  <a:ext uri="{FF2B5EF4-FFF2-40B4-BE49-F238E27FC236}">
                    <a16:creationId xmlns:a16="http://schemas.microsoft.com/office/drawing/2014/main" id="{8F2F4E72-B52B-4CC3-A556-A7369BA451EF}"/>
                  </a:ext>
                </a:extLst>
              </p:cNvPr>
              <p:cNvSpPr>
                <a:spLocks noChangeArrowheads="1"/>
              </p:cNvSpPr>
              <p:nvPr/>
            </p:nvSpPr>
            <p:spPr bwMode="auto">
              <a:xfrm>
                <a:off x="148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Oval 2779">
                <a:extLst>
                  <a:ext uri="{FF2B5EF4-FFF2-40B4-BE49-F238E27FC236}">
                    <a16:creationId xmlns:a16="http://schemas.microsoft.com/office/drawing/2014/main" id="{2FB756A9-F047-4966-9F66-E5740F362426}"/>
                  </a:ext>
                </a:extLst>
              </p:cNvPr>
              <p:cNvSpPr>
                <a:spLocks noChangeArrowheads="1"/>
              </p:cNvSpPr>
              <p:nvPr/>
            </p:nvSpPr>
            <p:spPr bwMode="auto">
              <a:xfrm>
                <a:off x="124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Oval 2780">
                <a:extLst>
                  <a:ext uri="{FF2B5EF4-FFF2-40B4-BE49-F238E27FC236}">
                    <a16:creationId xmlns:a16="http://schemas.microsoft.com/office/drawing/2014/main" id="{88A521D9-3405-4899-8A66-72FF87457A77}"/>
                  </a:ext>
                </a:extLst>
              </p:cNvPr>
              <p:cNvSpPr>
                <a:spLocks noChangeArrowheads="1"/>
              </p:cNvSpPr>
              <p:nvPr/>
            </p:nvSpPr>
            <p:spPr bwMode="auto">
              <a:xfrm>
                <a:off x="1306"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Oval 2781">
                <a:extLst>
                  <a:ext uri="{FF2B5EF4-FFF2-40B4-BE49-F238E27FC236}">
                    <a16:creationId xmlns:a16="http://schemas.microsoft.com/office/drawing/2014/main" id="{FD40587E-633A-417B-A0CF-5AE0B00C043C}"/>
                  </a:ext>
                </a:extLst>
              </p:cNvPr>
              <p:cNvSpPr>
                <a:spLocks noChangeArrowheads="1"/>
              </p:cNvSpPr>
              <p:nvPr/>
            </p:nvSpPr>
            <p:spPr bwMode="auto">
              <a:xfrm>
                <a:off x="14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2983">
              <a:extLst>
                <a:ext uri="{FF2B5EF4-FFF2-40B4-BE49-F238E27FC236}">
                  <a16:creationId xmlns:a16="http://schemas.microsoft.com/office/drawing/2014/main" id="{EA56343E-61AD-4F37-9027-814418529CA9}"/>
                </a:ext>
              </a:extLst>
            </p:cNvPr>
            <p:cNvGrpSpPr>
              <a:grpSpLocks/>
            </p:cNvGrpSpPr>
            <p:nvPr/>
          </p:nvGrpSpPr>
          <p:grpSpPr bwMode="auto">
            <a:xfrm>
              <a:off x="1246" y="120"/>
              <a:ext cx="1979" cy="3120"/>
              <a:chOff x="1246" y="120"/>
              <a:chExt cx="1979" cy="3120"/>
            </a:xfrm>
          </p:grpSpPr>
          <p:sp>
            <p:nvSpPr>
              <p:cNvPr id="197" name="Oval 2783">
                <a:extLst>
                  <a:ext uri="{FF2B5EF4-FFF2-40B4-BE49-F238E27FC236}">
                    <a16:creationId xmlns:a16="http://schemas.microsoft.com/office/drawing/2014/main" id="{91F4D02C-C0D9-4E46-AD32-391FCA2EB5B9}"/>
                  </a:ext>
                </a:extLst>
              </p:cNvPr>
              <p:cNvSpPr>
                <a:spLocks noChangeArrowheads="1"/>
              </p:cNvSpPr>
              <p:nvPr/>
            </p:nvSpPr>
            <p:spPr bwMode="auto">
              <a:xfrm>
                <a:off x="142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2784">
                <a:extLst>
                  <a:ext uri="{FF2B5EF4-FFF2-40B4-BE49-F238E27FC236}">
                    <a16:creationId xmlns:a16="http://schemas.microsoft.com/office/drawing/2014/main" id="{E12B967F-C654-44B8-A7A7-98FD6364C9B4}"/>
                  </a:ext>
                </a:extLst>
              </p:cNvPr>
              <p:cNvSpPr>
                <a:spLocks noChangeArrowheads="1"/>
              </p:cNvSpPr>
              <p:nvPr/>
            </p:nvSpPr>
            <p:spPr bwMode="auto">
              <a:xfrm>
                <a:off x="1396"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2785">
                <a:extLst>
                  <a:ext uri="{FF2B5EF4-FFF2-40B4-BE49-F238E27FC236}">
                    <a16:creationId xmlns:a16="http://schemas.microsoft.com/office/drawing/2014/main" id="{D73F0D5E-4640-42F3-8B72-1026BC93A4F8}"/>
                  </a:ext>
                </a:extLst>
              </p:cNvPr>
              <p:cNvSpPr>
                <a:spLocks noChangeArrowheads="1"/>
              </p:cNvSpPr>
              <p:nvPr/>
            </p:nvSpPr>
            <p:spPr bwMode="auto">
              <a:xfrm>
                <a:off x="145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2786">
                <a:extLst>
                  <a:ext uri="{FF2B5EF4-FFF2-40B4-BE49-F238E27FC236}">
                    <a16:creationId xmlns:a16="http://schemas.microsoft.com/office/drawing/2014/main" id="{6DE1D0E1-D86B-4CFE-934F-ADEC8C7E7959}"/>
                  </a:ext>
                </a:extLst>
              </p:cNvPr>
              <p:cNvSpPr>
                <a:spLocks noChangeArrowheads="1"/>
              </p:cNvSpPr>
              <p:nvPr/>
            </p:nvSpPr>
            <p:spPr bwMode="auto">
              <a:xfrm>
                <a:off x="1366"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2787">
                <a:extLst>
                  <a:ext uri="{FF2B5EF4-FFF2-40B4-BE49-F238E27FC236}">
                    <a16:creationId xmlns:a16="http://schemas.microsoft.com/office/drawing/2014/main" id="{4B14BEF1-9DEC-44D2-840F-AA3835EFE77E}"/>
                  </a:ext>
                </a:extLst>
              </p:cNvPr>
              <p:cNvSpPr>
                <a:spLocks noChangeArrowheads="1"/>
              </p:cNvSpPr>
              <p:nvPr/>
            </p:nvSpPr>
            <p:spPr bwMode="auto">
              <a:xfrm>
                <a:off x="127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2788">
                <a:extLst>
                  <a:ext uri="{FF2B5EF4-FFF2-40B4-BE49-F238E27FC236}">
                    <a16:creationId xmlns:a16="http://schemas.microsoft.com/office/drawing/2014/main" id="{AD19615C-30E5-4C43-9557-7DFA24CAC8B7}"/>
                  </a:ext>
                </a:extLst>
              </p:cNvPr>
              <p:cNvSpPr>
                <a:spLocks noChangeArrowheads="1"/>
              </p:cNvSpPr>
              <p:nvPr/>
            </p:nvSpPr>
            <p:spPr bwMode="auto">
              <a:xfrm>
                <a:off x="1306"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2789">
                <a:extLst>
                  <a:ext uri="{FF2B5EF4-FFF2-40B4-BE49-F238E27FC236}">
                    <a16:creationId xmlns:a16="http://schemas.microsoft.com/office/drawing/2014/main" id="{766C43C6-9B5E-4338-8ED1-DE022D2D3FA3}"/>
                  </a:ext>
                </a:extLst>
              </p:cNvPr>
              <p:cNvSpPr>
                <a:spLocks noChangeArrowheads="1"/>
              </p:cNvSpPr>
              <p:nvPr/>
            </p:nvSpPr>
            <p:spPr bwMode="auto">
              <a:xfrm>
                <a:off x="1276"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2790">
                <a:extLst>
                  <a:ext uri="{FF2B5EF4-FFF2-40B4-BE49-F238E27FC236}">
                    <a16:creationId xmlns:a16="http://schemas.microsoft.com/office/drawing/2014/main" id="{343E5B46-E07A-4E3F-B362-5DC8A338708C}"/>
                  </a:ext>
                </a:extLst>
              </p:cNvPr>
              <p:cNvSpPr>
                <a:spLocks noChangeArrowheads="1"/>
              </p:cNvSpPr>
              <p:nvPr/>
            </p:nvSpPr>
            <p:spPr bwMode="auto">
              <a:xfrm>
                <a:off x="124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2791">
                <a:extLst>
                  <a:ext uri="{FF2B5EF4-FFF2-40B4-BE49-F238E27FC236}">
                    <a16:creationId xmlns:a16="http://schemas.microsoft.com/office/drawing/2014/main" id="{58287BF2-894C-4252-8A95-33357A4D664A}"/>
                  </a:ext>
                </a:extLst>
              </p:cNvPr>
              <p:cNvSpPr>
                <a:spLocks noChangeArrowheads="1"/>
              </p:cNvSpPr>
              <p:nvPr/>
            </p:nvSpPr>
            <p:spPr bwMode="auto">
              <a:xfrm>
                <a:off x="1306"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2792">
                <a:extLst>
                  <a:ext uri="{FF2B5EF4-FFF2-40B4-BE49-F238E27FC236}">
                    <a16:creationId xmlns:a16="http://schemas.microsoft.com/office/drawing/2014/main" id="{62C183BF-1A0C-4381-BD19-5514D1E137DC}"/>
                  </a:ext>
                </a:extLst>
              </p:cNvPr>
              <p:cNvSpPr>
                <a:spLocks noChangeArrowheads="1"/>
              </p:cNvSpPr>
              <p:nvPr/>
            </p:nvSpPr>
            <p:spPr bwMode="auto">
              <a:xfrm>
                <a:off x="1576"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2793">
                <a:extLst>
                  <a:ext uri="{FF2B5EF4-FFF2-40B4-BE49-F238E27FC236}">
                    <a16:creationId xmlns:a16="http://schemas.microsoft.com/office/drawing/2014/main" id="{B9654B34-4FFA-4F37-870A-4D7383E86EB3}"/>
                  </a:ext>
                </a:extLst>
              </p:cNvPr>
              <p:cNvSpPr>
                <a:spLocks noChangeArrowheads="1"/>
              </p:cNvSpPr>
              <p:nvPr/>
            </p:nvSpPr>
            <p:spPr bwMode="auto">
              <a:xfrm>
                <a:off x="16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2794">
                <a:extLst>
                  <a:ext uri="{FF2B5EF4-FFF2-40B4-BE49-F238E27FC236}">
                    <a16:creationId xmlns:a16="http://schemas.microsoft.com/office/drawing/2014/main" id="{F8E649C2-D566-4B63-A904-E046201D6EDF}"/>
                  </a:ext>
                </a:extLst>
              </p:cNvPr>
              <p:cNvSpPr>
                <a:spLocks noChangeArrowheads="1"/>
              </p:cNvSpPr>
              <p:nvPr/>
            </p:nvSpPr>
            <p:spPr bwMode="auto">
              <a:xfrm>
                <a:off x="1756"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2795">
                <a:extLst>
                  <a:ext uri="{FF2B5EF4-FFF2-40B4-BE49-F238E27FC236}">
                    <a16:creationId xmlns:a16="http://schemas.microsoft.com/office/drawing/2014/main" id="{51494D10-AF5C-40D2-8A41-416D66FCDC87}"/>
                  </a:ext>
                </a:extLst>
              </p:cNvPr>
              <p:cNvSpPr>
                <a:spLocks noChangeArrowheads="1"/>
              </p:cNvSpPr>
              <p:nvPr/>
            </p:nvSpPr>
            <p:spPr bwMode="auto">
              <a:xfrm>
                <a:off x="172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2796">
                <a:extLst>
                  <a:ext uri="{FF2B5EF4-FFF2-40B4-BE49-F238E27FC236}">
                    <a16:creationId xmlns:a16="http://schemas.microsoft.com/office/drawing/2014/main" id="{C5407477-18D6-468B-A99D-1E8DE90D2C0D}"/>
                  </a:ext>
                </a:extLst>
              </p:cNvPr>
              <p:cNvSpPr>
                <a:spLocks noChangeArrowheads="1"/>
              </p:cNvSpPr>
              <p:nvPr/>
            </p:nvSpPr>
            <p:spPr bwMode="auto">
              <a:xfrm>
                <a:off x="1726"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2797">
                <a:extLst>
                  <a:ext uri="{FF2B5EF4-FFF2-40B4-BE49-F238E27FC236}">
                    <a16:creationId xmlns:a16="http://schemas.microsoft.com/office/drawing/2014/main" id="{BCC5F0A9-2F13-4BBB-B05E-90B82DF59991}"/>
                  </a:ext>
                </a:extLst>
              </p:cNvPr>
              <p:cNvSpPr>
                <a:spLocks noChangeArrowheads="1"/>
              </p:cNvSpPr>
              <p:nvPr/>
            </p:nvSpPr>
            <p:spPr bwMode="auto">
              <a:xfrm>
                <a:off x="163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2798">
                <a:extLst>
                  <a:ext uri="{FF2B5EF4-FFF2-40B4-BE49-F238E27FC236}">
                    <a16:creationId xmlns:a16="http://schemas.microsoft.com/office/drawing/2014/main" id="{983CD9D5-C39D-490A-ABA2-160BCF3FAA3F}"/>
                  </a:ext>
                </a:extLst>
              </p:cNvPr>
              <p:cNvSpPr>
                <a:spLocks noChangeArrowheads="1"/>
              </p:cNvSpPr>
              <p:nvPr/>
            </p:nvSpPr>
            <p:spPr bwMode="auto">
              <a:xfrm>
                <a:off x="16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Oval 2799">
                <a:extLst>
                  <a:ext uri="{FF2B5EF4-FFF2-40B4-BE49-F238E27FC236}">
                    <a16:creationId xmlns:a16="http://schemas.microsoft.com/office/drawing/2014/main" id="{F08440AA-D483-4CDD-8272-CE4291BC80A8}"/>
                  </a:ext>
                </a:extLst>
              </p:cNvPr>
              <p:cNvSpPr>
                <a:spLocks noChangeArrowheads="1"/>
              </p:cNvSpPr>
              <p:nvPr/>
            </p:nvSpPr>
            <p:spPr bwMode="auto">
              <a:xfrm>
                <a:off x="175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Oval 2800">
                <a:extLst>
                  <a:ext uri="{FF2B5EF4-FFF2-40B4-BE49-F238E27FC236}">
                    <a16:creationId xmlns:a16="http://schemas.microsoft.com/office/drawing/2014/main" id="{2474050D-AB26-4710-A9CD-8F80D05E4A79}"/>
                  </a:ext>
                </a:extLst>
              </p:cNvPr>
              <p:cNvSpPr>
                <a:spLocks noChangeArrowheads="1"/>
              </p:cNvSpPr>
              <p:nvPr/>
            </p:nvSpPr>
            <p:spPr bwMode="auto">
              <a:xfrm>
                <a:off x="154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Oval 2801">
                <a:extLst>
                  <a:ext uri="{FF2B5EF4-FFF2-40B4-BE49-F238E27FC236}">
                    <a16:creationId xmlns:a16="http://schemas.microsoft.com/office/drawing/2014/main" id="{A7F54910-CD0D-4A02-A119-82A0A96278DB}"/>
                  </a:ext>
                </a:extLst>
              </p:cNvPr>
              <p:cNvSpPr>
                <a:spLocks noChangeArrowheads="1"/>
              </p:cNvSpPr>
              <p:nvPr/>
            </p:nvSpPr>
            <p:spPr bwMode="auto">
              <a:xfrm>
                <a:off x="15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Oval 2802">
                <a:extLst>
                  <a:ext uri="{FF2B5EF4-FFF2-40B4-BE49-F238E27FC236}">
                    <a16:creationId xmlns:a16="http://schemas.microsoft.com/office/drawing/2014/main" id="{BACDFF33-C9BF-4AB0-8967-E98DABC11F5B}"/>
                  </a:ext>
                </a:extLst>
              </p:cNvPr>
              <p:cNvSpPr>
                <a:spLocks noChangeArrowheads="1"/>
              </p:cNvSpPr>
              <p:nvPr/>
            </p:nvSpPr>
            <p:spPr bwMode="auto">
              <a:xfrm>
                <a:off x="160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Oval 2803">
                <a:extLst>
                  <a:ext uri="{FF2B5EF4-FFF2-40B4-BE49-F238E27FC236}">
                    <a16:creationId xmlns:a16="http://schemas.microsoft.com/office/drawing/2014/main" id="{BD1C21F3-2A50-49C6-B3CB-9B26BC65359D}"/>
                  </a:ext>
                </a:extLst>
              </p:cNvPr>
              <p:cNvSpPr>
                <a:spLocks noChangeArrowheads="1"/>
              </p:cNvSpPr>
              <p:nvPr/>
            </p:nvSpPr>
            <p:spPr bwMode="auto">
              <a:xfrm>
                <a:off x="1666"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Oval 2804">
                <a:extLst>
                  <a:ext uri="{FF2B5EF4-FFF2-40B4-BE49-F238E27FC236}">
                    <a16:creationId xmlns:a16="http://schemas.microsoft.com/office/drawing/2014/main" id="{AAC4C762-9280-4A87-9ADF-88D6232F0992}"/>
                  </a:ext>
                </a:extLst>
              </p:cNvPr>
              <p:cNvSpPr>
                <a:spLocks noChangeArrowheads="1"/>
              </p:cNvSpPr>
              <p:nvPr/>
            </p:nvSpPr>
            <p:spPr bwMode="auto">
              <a:xfrm>
                <a:off x="175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2805">
                <a:extLst>
                  <a:ext uri="{FF2B5EF4-FFF2-40B4-BE49-F238E27FC236}">
                    <a16:creationId xmlns:a16="http://schemas.microsoft.com/office/drawing/2014/main" id="{C24974E1-B9FD-4A2E-B85F-F77324F7A673}"/>
                  </a:ext>
                </a:extLst>
              </p:cNvPr>
              <p:cNvSpPr>
                <a:spLocks noChangeArrowheads="1"/>
              </p:cNvSpPr>
              <p:nvPr/>
            </p:nvSpPr>
            <p:spPr bwMode="auto">
              <a:xfrm>
                <a:off x="169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2806">
                <a:extLst>
                  <a:ext uri="{FF2B5EF4-FFF2-40B4-BE49-F238E27FC236}">
                    <a16:creationId xmlns:a16="http://schemas.microsoft.com/office/drawing/2014/main" id="{42D5A0FB-8B31-4670-B736-3BD5695111DE}"/>
                  </a:ext>
                </a:extLst>
              </p:cNvPr>
              <p:cNvSpPr>
                <a:spLocks noChangeArrowheads="1"/>
              </p:cNvSpPr>
              <p:nvPr/>
            </p:nvSpPr>
            <p:spPr bwMode="auto">
              <a:xfrm>
                <a:off x="1456"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2807">
                <a:extLst>
                  <a:ext uri="{FF2B5EF4-FFF2-40B4-BE49-F238E27FC236}">
                    <a16:creationId xmlns:a16="http://schemas.microsoft.com/office/drawing/2014/main" id="{A8920B77-D23C-4E6E-8D5E-DFF73C905ADB}"/>
                  </a:ext>
                </a:extLst>
              </p:cNvPr>
              <p:cNvSpPr>
                <a:spLocks noChangeArrowheads="1"/>
              </p:cNvSpPr>
              <p:nvPr/>
            </p:nvSpPr>
            <p:spPr bwMode="auto">
              <a:xfrm>
                <a:off x="142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2808">
                <a:extLst>
                  <a:ext uri="{FF2B5EF4-FFF2-40B4-BE49-F238E27FC236}">
                    <a16:creationId xmlns:a16="http://schemas.microsoft.com/office/drawing/2014/main" id="{882869CB-85C7-4E99-9E6B-6058DB3E7186}"/>
                  </a:ext>
                </a:extLst>
              </p:cNvPr>
              <p:cNvSpPr>
                <a:spLocks noChangeArrowheads="1"/>
              </p:cNvSpPr>
              <p:nvPr/>
            </p:nvSpPr>
            <p:spPr bwMode="auto">
              <a:xfrm>
                <a:off x="127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2809">
                <a:extLst>
                  <a:ext uri="{FF2B5EF4-FFF2-40B4-BE49-F238E27FC236}">
                    <a16:creationId xmlns:a16="http://schemas.microsoft.com/office/drawing/2014/main" id="{28AF8D30-F474-444E-A5C8-42A665A1DAD7}"/>
                  </a:ext>
                </a:extLst>
              </p:cNvPr>
              <p:cNvSpPr>
                <a:spLocks noChangeArrowheads="1"/>
              </p:cNvSpPr>
              <p:nvPr/>
            </p:nvSpPr>
            <p:spPr bwMode="auto">
              <a:xfrm>
                <a:off x="130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2810">
                <a:extLst>
                  <a:ext uri="{FF2B5EF4-FFF2-40B4-BE49-F238E27FC236}">
                    <a16:creationId xmlns:a16="http://schemas.microsoft.com/office/drawing/2014/main" id="{194FFDED-BC96-4DF2-9046-908B95D6D9AF}"/>
                  </a:ext>
                </a:extLst>
              </p:cNvPr>
              <p:cNvSpPr>
                <a:spLocks noChangeArrowheads="1"/>
              </p:cNvSpPr>
              <p:nvPr/>
            </p:nvSpPr>
            <p:spPr bwMode="auto">
              <a:xfrm>
                <a:off x="127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Oval 2811">
                <a:extLst>
                  <a:ext uri="{FF2B5EF4-FFF2-40B4-BE49-F238E27FC236}">
                    <a16:creationId xmlns:a16="http://schemas.microsoft.com/office/drawing/2014/main" id="{FB48950A-14CE-4059-A273-D6E284D5D2F8}"/>
                  </a:ext>
                </a:extLst>
              </p:cNvPr>
              <p:cNvSpPr>
                <a:spLocks noChangeArrowheads="1"/>
              </p:cNvSpPr>
              <p:nvPr/>
            </p:nvSpPr>
            <p:spPr bwMode="auto">
              <a:xfrm>
                <a:off x="127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Oval 2812">
                <a:extLst>
                  <a:ext uri="{FF2B5EF4-FFF2-40B4-BE49-F238E27FC236}">
                    <a16:creationId xmlns:a16="http://schemas.microsoft.com/office/drawing/2014/main" id="{4E227A48-B498-4B79-9D0F-E36E239F3B7F}"/>
                  </a:ext>
                </a:extLst>
              </p:cNvPr>
              <p:cNvSpPr>
                <a:spLocks noChangeArrowheads="1"/>
              </p:cNvSpPr>
              <p:nvPr/>
            </p:nvSpPr>
            <p:spPr bwMode="auto">
              <a:xfrm>
                <a:off x="1246"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Oval 2813">
                <a:extLst>
                  <a:ext uri="{FF2B5EF4-FFF2-40B4-BE49-F238E27FC236}">
                    <a16:creationId xmlns:a16="http://schemas.microsoft.com/office/drawing/2014/main" id="{2BC04569-BD9D-4887-8A1A-2DF6CD99D198}"/>
                  </a:ext>
                </a:extLst>
              </p:cNvPr>
              <p:cNvSpPr>
                <a:spLocks noChangeArrowheads="1"/>
              </p:cNvSpPr>
              <p:nvPr/>
            </p:nvSpPr>
            <p:spPr bwMode="auto">
              <a:xfrm>
                <a:off x="12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Oval 2814">
                <a:extLst>
                  <a:ext uri="{FF2B5EF4-FFF2-40B4-BE49-F238E27FC236}">
                    <a16:creationId xmlns:a16="http://schemas.microsoft.com/office/drawing/2014/main" id="{B087B0A5-2D9C-406D-B5CC-71E4C226020E}"/>
                  </a:ext>
                </a:extLst>
              </p:cNvPr>
              <p:cNvSpPr>
                <a:spLocks noChangeArrowheads="1"/>
              </p:cNvSpPr>
              <p:nvPr/>
            </p:nvSpPr>
            <p:spPr bwMode="auto">
              <a:xfrm>
                <a:off x="133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Oval 2815">
                <a:extLst>
                  <a:ext uri="{FF2B5EF4-FFF2-40B4-BE49-F238E27FC236}">
                    <a16:creationId xmlns:a16="http://schemas.microsoft.com/office/drawing/2014/main" id="{BA8CA904-432F-482D-A516-D659675CA3F7}"/>
                  </a:ext>
                </a:extLst>
              </p:cNvPr>
              <p:cNvSpPr>
                <a:spLocks noChangeArrowheads="1"/>
              </p:cNvSpPr>
              <p:nvPr/>
            </p:nvSpPr>
            <p:spPr bwMode="auto">
              <a:xfrm>
                <a:off x="130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Oval 2816">
                <a:extLst>
                  <a:ext uri="{FF2B5EF4-FFF2-40B4-BE49-F238E27FC236}">
                    <a16:creationId xmlns:a16="http://schemas.microsoft.com/office/drawing/2014/main" id="{A402D2EB-0632-494B-8800-B84EE8E95696}"/>
                  </a:ext>
                </a:extLst>
              </p:cNvPr>
              <p:cNvSpPr>
                <a:spLocks noChangeArrowheads="1"/>
              </p:cNvSpPr>
              <p:nvPr/>
            </p:nvSpPr>
            <p:spPr bwMode="auto">
              <a:xfrm>
                <a:off x="145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Oval 2817">
                <a:extLst>
                  <a:ext uri="{FF2B5EF4-FFF2-40B4-BE49-F238E27FC236}">
                    <a16:creationId xmlns:a16="http://schemas.microsoft.com/office/drawing/2014/main" id="{93C505BC-1F6B-4356-A929-8190858B9EDB}"/>
                  </a:ext>
                </a:extLst>
              </p:cNvPr>
              <p:cNvSpPr>
                <a:spLocks noChangeArrowheads="1"/>
              </p:cNvSpPr>
              <p:nvPr/>
            </p:nvSpPr>
            <p:spPr bwMode="auto">
              <a:xfrm>
                <a:off x="133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Oval 2818">
                <a:extLst>
                  <a:ext uri="{FF2B5EF4-FFF2-40B4-BE49-F238E27FC236}">
                    <a16:creationId xmlns:a16="http://schemas.microsoft.com/office/drawing/2014/main" id="{6DB237CB-434F-462F-B35B-534D77AB0C51}"/>
                  </a:ext>
                </a:extLst>
              </p:cNvPr>
              <p:cNvSpPr>
                <a:spLocks noChangeArrowheads="1"/>
              </p:cNvSpPr>
              <p:nvPr/>
            </p:nvSpPr>
            <p:spPr bwMode="auto">
              <a:xfrm>
                <a:off x="1516"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Oval 2819">
                <a:extLst>
                  <a:ext uri="{FF2B5EF4-FFF2-40B4-BE49-F238E27FC236}">
                    <a16:creationId xmlns:a16="http://schemas.microsoft.com/office/drawing/2014/main" id="{99FE79A1-2846-4BE1-B92B-CED6BE132D05}"/>
                  </a:ext>
                </a:extLst>
              </p:cNvPr>
              <p:cNvSpPr>
                <a:spLocks noChangeArrowheads="1"/>
              </p:cNvSpPr>
              <p:nvPr/>
            </p:nvSpPr>
            <p:spPr bwMode="auto">
              <a:xfrm>
                <a:off x="178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Oval 2820">
                <a:extLst>
                  <a:ext uri="{FF2B5EF4-FFF2-40B4-BE49-F238E27FC236}">
                    <a16:creationId xmlns:a16="http://schemas.microsoft.com/office/drawing/2014/main" id="{78C6F55F-B178-4FCB-8658-347B0A27CFA1}"/>
                  </a:ext>
                </a:extLst>
              </p:cNvPr>
              <p:cNvSpPr>
                <a:spLocks noChangeArrowheads="1"/>
              </p:cNvSpPr>
              <p:nvPr/>
            </p:nvSpPr>
            <p:spPr bwMode="auto">
              <a:xfrm>
                <a:off x="15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Oval 2821">
                <a:extLst>
                  <a:ext uri="{FF2B5EF4-FFF2-40B4-BE49-F238E27FC236}">
                    <a16:creationId xmlns:a16="http://schemas.microsoft.com/office/drawing/2014/main" id="{920F99E2-9F90-4135-BAC0-9B9E71AD807F}"/>
                  </a:ext>
                </a:extLst>
              </p:cNvPr>
              <p:cNvSpPr>
                <a:spLocks noChangeArrowheads="1"/>
              </p:cNvSpPr>
              <p:nvPr/>
            </p:nvSpPr>
            <p:spPr bwMode="auto">
              <a:xfrm>
                <a:off x="154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2822">
                <a:extLst>
                  <a:ext uri="{FF2B5EF4-FFF2-40B4-BE49-F238E27FC236}">
                    <a16:creationId xmlns:a16="http://schemas.microsoft.com/office/drawing/2014/main" id="{D4ED5D71-978D-4FEF-BC8B-6542AFC401E7}"/>
                  </a:ext>
                </a:extLst>
              </p:cNvPr>
              <p:cNvSpPr>
                <a:spLocks noChangeArrowheads="1"/>
              </p:cNvSpPr>
              <p:nvPr/>
            </p:nvSpPr>
            <p:spPr bwMode="auto">
              <a:xfrm>
                <a:off x="1666"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2823">
                <a:extLst>
                  <a:ext uri="{FF2B5EF4-FFF2-40B4-BE49-F238E27FC236}">
                    <a16:creationId xmlns:a16="http://schemas.microsoft.com/office/drawing/2014/main" id="{3C10EF27-504D-4EA9-9EA2-268648BBE43C}"/>
                  </a:ext>
                </a:extLst>
              </p:cNvPr>
              <p:cNvSpPr>
                <a:spLocks noChangeArrowheads="1"/>
              </p:cNvSpPr>
              <p:nvPr/>
            </p:nvSpPr>
            <p:spPr bwMode="auto">
              <a:xfrm>
                <a:off x="151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2824">
                <a:extLst>
                  <a:ext uri="{FF2B5EF4-FFF2-40B4-BE49-F238E27FC236}">
                    <a16:creationId xmlns:a16="http://schemas.microsoft.com/office/drawing/2014/main" id="{F15E8A5E-357F-4A98-9BC0-08A1ABE3F0F9}"/>
                  </a:ext>
                </a:extLst>
              </p:cNvPr>
              <p:cNvSpPr>
                <a:spLocks noChangeArrowheads="1"/>
              </p:cNvSpPr>
              <p:nvPr/>
            </p:nvSpPr>
            <p:spPr bwMode="auto">
              <a:xfrm>
                <a:off x="145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2825">
                <a:extLst>
                  <a:ext uri="{FF2B5EF4-FFF2-40B4-BE49-F238E27FC236}">
                    <a16:creationId xmlns:a16="http://schemas.microsoft.com/office/drawing/2014/main" id="{1376D8E5-47CC-4C20-8C14-DDC8DCDD9FD8}"/>
                  </a:ext>
                </a:extLst>
              </p:cNvPr>
              <p:cNvSpPr>
                <a:spLocks noChangeArrowheads="1"/>
              </p:cNvSpPr>
              <p:nvPr/>
            </p:nvSpPr>
            <p:spPr bwMode="auto">
              <a:xfrm>
                <a:off x="139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2826">
                <a:extLst>
                  <a:ext uri="{FF2B5EF4-FFF2-40B4-BE49-F238E27FC236}">
                    <a16:creationId xmlns:a16="http://schemas.microsoft.com/office/drawing/2014/main" id="{5466B37C-030F-48BE-94D6-4FA3E3825145}"/>
                  </a:ext>
                </a:extLst>
              </p:cNvPr>
              <p:cNvSpPr>
                <a:spLocks noChangeArrowheads="1"/>
              </p:cNvSpPr>
              <p:nvPr/>
            </p:nvSpPr>
            <p:spPr bwMode="auto">
              <a:xfrm>
                <a:off x="1456"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Oval 2827">
                <a:extLst>
                  <a:ext uri="{FF2B5EF4-FFF2-40B4-BE49-F238E27FC236}">
                    <a16:creationId xmlns:a16="http://schemas.microsoft.com/office/drawing/2014/main" id="{D59F3355-1EDF-4620-8E6D-A2BB98DD4C75}"/>
                  </a:ext>
                </a:extLst>
              </p:cNvPr>
              <p:cNvSpPr>
                <a:spLocks noChangeArrowheads="1"/>
              </p:cNvSpPr>
              <p:nvPr/>
            </p:nvSpPr>
            <p:spPr bwMode="auto">
              <a:xfrm>
                <a:off x="151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Oval 2828">
                <a:extLst>
                  <a:ext uri="{FF2B5EF4-FFF2-40B4-BE49-F238E27FC236}">
                    <a16:creationId xmlns:a16="http://schemas.microsoft.com/office/drawing/2014/main" id="{E1CA2106-A1A2-4B2A-8FAA-7AE9DA0AC776}"/>
                  </a:ext>
                </a:extLst>
              </p:cNvPr>
              <p:cNvSpPr>
                <a:spLocks noChangeArrowheads="1"/>
              </p:cNvSpPr>
              <p:nvPr/>
            </p:nvSpPr>
            <p:spPr bwMode="auto">
              <a:xfrm>
                <a:off x="145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Oval 2829">
                <a:extLst>
                  <a:ext uri="{FF2B5EF4-FFF2-40B4-BE49-F238E27FC236}">
                    <a16:creationId xmlns:a16="http://schemas.microsoft.com/office/drawing/2014/main" id="{B2DFC50C-5CF4-4E4B-A084-F64A1B67DEC9}"/>
                  </a:ext>
                </a:extLst>
              </p:cNvPr>
              <p:cNvSpPr>
                <a:spLocks noChangeArrowheads="1"/>
              </p:cNvSpPr>
              <p:nvPr/>
            </p:nvSpPr>
            <p:spPr bwMode="auto">
              <a:xfrm>
                <a:off x="1426"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Oval 2830">
                <a:extLst>
                  <a:ext uri="{FF2B5EF4-FFF2-40B4-BE49-F238E27FC236}">
                    <a16:creationId xmlns:a16="http://schemas.microsoft.com/office/drawing/2014/main" id="{7C298239-791C-40EB-9976-B67D8B194120}"/>
                  </a:ext>
                </a:extLst>
              </p:cNvPr>
              <p:cNvSpPr>
                <a:spLocks noChangeArrowheads="1"/>
              </p:cNvSpPr>
              <p:nvPr/>
            </p:nvSpPr>
            <p:spPr bwMode="auto">
              <a:xfrm>
                <a:off x="1336"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Oval 2831">
                <a:extLst>
                  <a:ext uri="{FF2B5EF4-FFF2-40B4-BE49-F238E27FC236}">
                    <a16:creationId xmlns:a16="http://schemas.microsoft.com/office/drawing/2014/main" id="{E1914709-52AE-42BE-8C83-3EC7A2E0ACA5}"/>
                  </a:ext>
                </a:extLst>
              </p:cNvPr>
              <p:cNvSpPr>
                <a:spLocks noChangeArrowheads="1"/>
              </p:cNvSpPr>
              <p:nvPr/>
            </p:nvSpPr>
            <p:spPr bwMode="auto">
              <a:xfrm>
                <a:off x="130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Oval 2832">
                <a:extLst>
                  <a:ext uri="{FF2B5EF4-FFF2-40B4-BE49-F238E27FC236}">
                    <a16:creationId xmlns:a16="http://schemas.microsoft.com/office/drawing/2014/main" id="{8B123277-1B03-48D7-AAC5-D48CC98E14D5}"/>
                  </a:ext>
                </a:extLst>
              </p:cNvPr>
              <p:cNvSpPr>
                <a:spLocks noChangeArrowheads="1"/>
              </p:cNvSpPr>
              <p:nvPr/>
            </p:nvSpPr>
            <p:spPr bwMode="auto">
              <a:xfrm>
                <a:off x="1366"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Oval 2833">
                <a:extLst>
                  <a:ext uri="{FF2B5EF4-FFF2-40B4-BE49-F238E27FC236}">
                    <a16:creationId xmlns:a16="http://schemas.microsoft.com/office/drawing/2014/main" id="{348055E5-266A-46FB-9125-B11E9BBA4900}"/>
                  </a:ext>
                </a:extLst>
              </p:cNvPr>
              <p:cNvSpPr>
                <a:spLocks noChangeArrowheads="1"/>
              </p:cNvSpPr>
              <p:nvPr/>
            </p:nvSpPr>
            <p:spPr bwMode="auto">
              <a:xfrm>
                <a:off x="1246"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Oval 2834">
                <a:extLst>
                  <a:ext uri="{FF2B5EF4-FFF2-40B4-BE49-F238E27FC236}">
                    <a16:creationId xmlns:a16="http://schemas.microsoft.com/office/drawing/2014/main" id="{22B7C0D3-A91B-4835-B178-E0054ECFFD0C}"/>
                  </a:ext>
                </a:extLst>
              </p:cNvPr>
              <p:cNvSpPr>
                <a:spLocks noChangeArrowheads="1"/>
              </p:cNvSpPr>
              <p:nvPr/>
            </p:nvSpPr>
            <p:spPr bwMode="auto">
              <a:xfrm>
                <a:off x="142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Oval 2835">
                <a:extLst>
                  <a:ext uri="{FF2B5EF4-FFF2-40B4-BE49-F238E27FC236}">
                    <a16:creationId xmlns:a16="http://schemas.microsoft.com/office/drawing/2014/main" id="{4397A5B0-14D0-41BC-9CF4-261A6C4014AD}"/>
                  </a:ext>
                </a:extLst>
              </p:cNvPr>
              <p:cNvSpPr>
                <a:spLocks noChangeArrowheads="1"/>
              </p:cNvSpPr>
              <p:nvPr/>
            </p:nvSpPr>
            <p:spPr bwMode="auto">
              <a:xfrm>
                <a:off x="1306"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Oval 2836">
                <a:extLst>
                  <a:ext uri="{FF2B5EF4-FFF2-40B4-BE49-F238E27FC236}">
                    <a16:creationId xmlns:a16="http://schemas.microsoft.com/office/drawing/2014/main" id="{5B3D03C4-EE5E-4411-9184-C326C31BB155}"/>
                  </a:ext>
                </a:extLst>
              </p:cNvPr>
              <p:cNvSpPr>
                <a:spLocks noChangeArrowheads="1"/>
              </p:cNvSpPr>
              <p:nvPr/>
            </p:nvSpPr>
            <p:spPr bwMode="auto">
              <a:xfrm>
                <a:off x="142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Oval 2837">
                <a:extLst>
                  <a:ext uri="{FF2B5EF4-FFF2-40B4-BE49-F238E27FC236}">
                    <a16:creationId xmlns:a16="http://schemas.microsoft.com/office/drawing/2014/main" id="{EC1281AE-8756-4AF6-9C57-10FCE6CDBDF5}"/>
                  </a:ext>
                </a:extLst>
              </p:cNvPr>
              <p:cNvSpPr>
                <a:spLocks noChangeArrowheads="1"/>
              </p:cNvSpPr>
              <p:nvPr/>
            </p:nvSpPr>
            <p:spPr bwMode="auto">
              <a:xfrm>
                <a:off x="12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Oval 2838">
                <a:extLst>
                  <a:ext uri="{FF2B5EF4-FFF2-40B4-BE49-F238E27FC236}">
                    <a16:creationId xmlns:a16="http://schemas.microsoft.com/office/drawing/2014/main" id="{39A394CC-8719-4F18-A325-875DF86C151C}"/>
                  </a:ext>
                </a:extLst>
              </p:cNvPr>
              <p:cNvSpPr>
                <a:spLocks noChangeArrowheads="1"/>
              </p:cNvSpPr>
              <p:nvPr/>
            </p:nvSpPr>
            <p:spPr bwMode="auto">
              <a:xfrm>
                <a:off x="166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Oval 2839">
                <a:extLst>
                  <a:ext uri="{FF2B5EF4-FFF2-40B4-BE49-F238E27FC236}">
                    <a16:creationId xmlns:a16="http://schemas.microsoft.com/office/drawing/2014/main" id="{448C8547-6E92-4FAF-A657-8AE7555DE00D}"/>
                  </a:ext>
                </a:extLst>
              </p:cNvPr>
              <p:cNvSpPr>
                <a:spLocks noChangeArrowheads="1"/>
              </p:cNvSpPr>
              <p:nvPr/>
            </p:nvSpPr>
            <p:spPr bwMode="auto">
              <a:xfrm>
                <a:off x="172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Oval 2840">
                <a:extLst>
                  <a:ext uri="{FF2B5EF4-FFF2-40B4-BE49-F238E27FC236}">
                    <a16:creationId xmlns:a16="http://schemas.microsoft.com/office/drawing/2014/main" id="{375DE420-FC2B-44E5-A3B1-B19EF8B2565E}"/>
                  </a:ext>
                </a:extLst>
              </p:cNvPr>
              <p:cNvSpPr>
                <a:spLocks noChangeArrowheads="1"/>
              </p:cNvSpPr>
              <p:nvPr/>
            </p:nvSpPr>
            <p:spPr bwMode="auto">
              <a:xfrm>
                <a:off x="1576"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Oval 2841">
                <a:extLst>
                  <a:ext uri="{FF2B5EF4-FFF2-40B4-BE49-F238E27FC236}">
                    <a16:creationId xmlns:a16="http://schemas.microsoft.com/office/drawing/2014/main" id="{510DDFB0-1689-4270-92E8-414C0E4B7404}"/>
                  </a:ext>
                </a:extLst>
              </p:cNvPr>
              <p:cNvSpPr>
                <a:spLocks noChangeArrowheads="1"/>
              </p:cNvSpPr>
              <p:nvPr/>
            </p:nvSpPr>
            <p:spPr bwMode="auto">
              <a:xfrm>
                <a:off x="184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Oval 2842">
                <a:extLst>
                  <a:ext uri="{FF2B5EF4-FFF2-40B4-BE49-F238E27FC236}">
                    <a16:creationId xmlns:a16="http://schemas.microsoft.com/office/drawing/2014/main" id="{E1BA8D2A-6043-4CD5-AD49-6C12E21186FB}"/>
                  </a:ext>
                </a:extLst>
              </p:cNvPr>
              <p:cNvSpPr>
                <a:spLocks noChangeArrowheads="1"/>
              </p:cNvSpPr>
              <p:nvPr/>
            </p:nvSpPr>
            <p:spPr bwMode="auto">
              <a:xfrm>
                <a:off x="181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Oval 2843">
                <a:extLst>
                  <a:ext uri="{FF2B5EF4-FFF2-40B4-BE49-F238E27FC236}">
                    <a16:creationId xmlns:a16="http://schemas.microsoft.com/office/drawing/2014/main" id="{42E39CD6-6EB5-49DD-9FAF-09F54FAE265B}"/>
                  </a:ext>
                </a:extLst>
              </p:cNvPr>
              <p:cNvSpPr>
                <a:spLocks noChangeArrowheads="1"/>
              </p:cNvSpPr>
              <p:nvPr/>
            </p:nvSpPr>
            <p:spPr bwMode="auto">
              <a:xfrm>
                <a:off x="1816"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Oval 2844">
                <a:extLst>
                  <a:ext uri="{FF2B5EF4-FFF2-40B4-BE49-F238E27FC236}">
                    <a16:creationId xmlns:a16="http://schemas.microsoft.com/office/drawing/2014/main" id="{D4A42F51-EEAE-4A8D-836E-24A15C503BF5}"/>
                  </a:ext>
                </a:extLst>
              </p:cNvPr>
              <p:cNvSpPr>
                <a:spLocks noChangeArrowheads="1"/>
              </p:cNvSpPr>
              <p:nvPr/>
            </p:nvSpPr>
            <p:spPr bwMode="auto">
              <a:xfrm>
                <a:off x="193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Oval 2845">
                <a:extLst>
                  <a:ext uri="{FF2B5EF4-FFF2-40B4-BE49-F238E27FC236}">
                    <a16:creationId xmlns:a16="http://schemas.microsoft.com/office/drawing/2014/main" id="{09F66D26-F52C-430A-92D9-D916966BE73F}"/>
                  </a:ext>
                </a:extLst>
              </p:cNvPr>
              <p:cNvSpPr>
                <a:spLocks noChangeArrowheads="1"/>
              </p:cNvSpPr>
              <p:nvPr/>
            </p:nvSpPr>
            <p:spPr bwMode="auto">
              <a:xfrm>
                <a:off x="2086" y="7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Oval 2846">
                <a:extLst>
                  <a:ext uri="{FF2B5EF4-FFF2-40B4-BE49-F238E27FC236}">
                    <a16:creationId xmlns:a16="http://schemas.microsoft.com/office/drawing/2014/main" id="{9BDA394F-ECE4-4BC1-9942-4456CACF23F4}"/>
                  </a:ext>
                </a:extLst>
              </p:cNvPr>
              <p:cNvSpPr>
                <a:spLocks noChangeArrowheads="1"/>
              </p:cNvSpPr>
              <p:nvPr/>
            </p:nvSpPr>
            <p:spPr bwMode="auto">
              <a:xfrm>
                <a:off x="211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Oval 2847">
                <a:extLst>
                  <a:ext uri="{FF2B5EF4-FFF2-40B4-BE49-F238E27FC236}">
                    <a16:creationId xmlns:a16="http://schemas.microsoft.com/office/drawing/2014/main" id="{CF9E1CDC-8F22-447C-B385-46F8B2E2B432}"/>
                  </a:ext>
                </a:extLst>
              </p:cNvPr>
              <p:cNvSpPr>
                <a:spLocks noChangeArrowheads="1"/>
              </p:cNvSpPr>
              <p:nvPr/>
            </p:nvSpPr>
            <p:spPr bwMode="auto">
              <a:xfrm>
                <a:off x="199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Oval 2848">
                <a:extLst>
                  <a:ext uri="{FF2B5EF4-FFF2-40B4-BE49-F238E27FC236}">
                    <a16:creationId xmlns:a16="http://schemas.microsoft.com/office/drawing/2014/main" id="{C4C2229A-C0B0-421E-A0A9-7A514968C779}"/>
                  </a:ext>
                </a:extLst>
              </p:cNvPr>
              <p:cNvSpPr>
                <a:spLocks noChangeArrowheads="1"/>
              </p:cNvSpPr>
              <p:nvPr/>
            </p:nvSpPr>
            <p:spPr bwMode="auto">
              <a:xfrm>
                <a:off x="202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Oval 2849">
                <a:extLst>
                  <a:ext uri="{FF2B5EF4-FFF2-40B4-BE49-F238E27FC236}">
                    <a16:creationId xmlns:a16="http://schemas.microsoft.com/office/drawing/2014/main" id="{0C47ACF9-D18D-4EAD-BD27-FEDA90492CE8}"/>
                  </a:ext>
                </a:extLst>
              </p:cNvPr>
              <p:cNvSpPr>
                <a:spLocks noChangeArrowheads="1"/>
              </p:cNvSpPr>
              <p:nvPr/>
            </p:nvSpPr>
            <p:spPr bwMode="auto">
              <a:xfrm>
                <a:off x="184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Oval 2850">
                <a:extLst>
                  <a:ext uri="{FF2B5EF4-FFF2-40B4-BE49-F238E27FC236}">
                    <a16:creationId xmlns:a16="http://schemas.microsoft.com/office/drawing/2014/main" id="{45708906-2C68-4A61-BF41-2D895D54A08D}"/>
                  </a:ext>
                </a:extLst>
              </p:cNvPr>
              <p:cNvSpPr>
                <a:spLocks noChangeArrowheads="1"/>
              </p:cNvSpPr>
              <p:nvPr/>
            </p:nvSpPr>
            <p:spPr bwMode="auto">
              <a:xfrm>
                <a:off x="1846"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Oval 2851">
                <a:extLst>
                  <a:ext uri="{FF2B5EF4-FFF2-40B4-BE49-F238E27FC236}">
                    <a16:creationId xmlns:a16="http://schemas.microsoft.com/office/drawing/2014/main" id="{DCF7F581-CC74-41C4-8314-69179789DF82}"/>
                  </a:ext>
                </a:extLst>
              </p:cNvPr>
              <p:cNvSpPr>
                <a:spLocks noChangeArrowheads="1"/>
              </p:cNvSpPr>
              <p:nvPr/>
            </p:nvSpPr>
            <p:spPr bwMode="auto">
              <a:xfrm>
                <a:off x="241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Oval 2852">
                <a:extLst>
                  <a:ext uri="{FF2B5EF4-FFF2-40B4-BE49-F238E27FC236}">
                    <a16:creationId xmlns:a16="http://schemas.microsoft.com/office/drawing/2014/main" id="{3ECFE1BC-3136-4C12-80B2-9D57344197FE}"/>
                  </a:ext>
                </a:extLst>
              </p:cNvPr>
              <p:cNvSpPr>
                <a:spLocks noChangeArrowheads="1"/>
              </p:cNvSpPr>
              <p:nvPr/>
            </p:nvSpPr>
            <p:spPr bwMode="auto">
              <a:xfrm>
                <a:off x="259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Oval 2853">
                <a:extLst>
                  <a:ext uri="{FF2B5EF4-FFF2-40B4-BE49-F238E27FC236}">
                    <a16:creationId xmlns:a16="http://schemas.microsoft.com/office/drawing/2014/main" id="{29D3C8C8-D4F2-43A3-A316-A21C4AA4F197}"/>
                  </a:ext>
                </a:extLst>
              </p:cNvPr>
              <p:cNvSpPr>
                <a:spLocks noChangeArrowheads="1"/>
              </p:cNvSpPr>
              <p:nvPr/>
            </p:nvSpPr>
            <p:spPr bwMode="auto">
              <a:xfrm>
                <a:off x="220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Oval 2854">
                <a:extLst>
                  <a:ext uri="{FF2B5EF4-FFF2-40B4-BE49-F238E27FC236}">
                    <a16:creationId xmlns:a16="http://schemas.microsoft.com/office/drawing/2014/main" id="{796D56F3-55FE-4240-B065-986A7B3FA9CA}"/>
                  </a:ext>
                </a:extLst>
              </p:cNvPr>
              <p:cNvSpPr>
                <a:spLocks noChangeArrowheads="1"/>
              </p:cNvSpPr>
              <p:nvPr/>
            </p:nvSpPr>
            <p:spPr bwMode="auto">
              <a:xfrm>
                <a:off x="253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Oval 2855">
                <a:extLst>
                  <a:ext uri="{FF2B5EF4-FFF2-40B4-BE49-F238E27FC236}">
                    <a16:creationId xmlns:a16="http://schemas.microsoft.com/office/drawing/2014/main" id="{F278A1F4-F8E1-4CB0-A0BA-9BA55D9FFFEB}"/>
                  </a:ext>
                </a:extLst>
              </p:cNvPr>
              <p:cNvSpPr>
                <a:spLocks noChangeArrowheads="1"/>
              </p:cNvSpPr>
              <p:nvPr/>
            </p:nvSpPr>
            <p:spPr bwMode="auto">
              <a:xfrm>
                <a:off x="238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Oval 2856">
                <a:extLst>
                  <a:ext uri="{FF2B5EF4-FFF2-40B4-BE49-F238E27FC236}">
                    <a16:creationId xmlns:a16="http://schemas.microsoft.com/office/drawing/2014/main" id="{D19857CC-8B78-44CC-9BCC-7CB8B9A831EE}"/>
                  </a:ext>
                </a:extLst>
              </p:cNvPr>
              <p:cNvSpPr>
                <a:spLocks noChangeArrowheads="1"/>
              </p:cNvSpPr>
              <p:nvPr/>
            </p:nvSpPr>
            <p:spPr bwMode="auto">
              <a:xfrm>
                <a:off x="241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Oval 2857">
                <a:extLst>
                  <a:ext uri="{FF2B5EF4-FFF2-40B4-BE49-F238E27FC236}">
                    <a16:creationId xmlns:a16="http://schemas.microsoft.com/office/drawing/2014/main" id="{B6067C13-DEE2-4462-BF62-94664E416D3A}"/>
                  </a:ext>
                </a:extLst>
              </p:cNvPr>
              <p:cNvSpPr>
                <a:spLocks noChangeArrowheads="1"/>
              </p:cNvSpPr>
              <p:nvPr/>
            </p:nvSpPr>
            <p:spPr bwMode="auto">
              <a:xfrm>
                <a:off x="232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Oval 2858">
                <a:extLst>
                  <a:ext uri="{FF2B5EF4-FFF2-40B4-BE49-F238E27FC236}">
                    <a16:creationId xmlns:a16="http://schemas.microsoft.com/office/drawing/2014/main" id="{04918AC9-5BA1-4DB5-A5C9-CD3942B6B65E}"/>
                  </a:ext>
                </a:extLst>
              </p:cNvPr>
              <p:cNvSpPr>
                <a:spLocks noChangeArrowheads="1"/>
              </p:cNvSpPr>
              <p:nvPr/>
            </p:nvSpPr>
            <p:spPr bwMode="auto">
              <a:xfrm>
                <a:off x="229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Oval 2859">
                <a:extLst>
                  <a:ext uri="{FF2B5EF4-FFF2-40B4-BE49-F238E27FC236}">
                    <a16:creationId xmlns:a16="http://schemas.microsoft.com/office/drawing/2014/main" id="{795EF7DF-75BC-4E52-A164-E6000FAAFFC6}"/>
                  </a:ext>
                </a:extLst>
              </p:cNvPr>
              <p:cNvSpPr>
                <a:spLocks noChangeArrowheads="1"/>
              </p:cNvSpPr>
              <p:nvPr/>
            </p:nvSpPr>
            <p:spPr bwMode="auto">
              <a:xfrm>
                <a:off x="220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Oval 2860">
                <a:extLst>
                  <a:ext uri="{FF2B5EF4-FFF2-40B4-BE49-F238E27FC236}">
                    <a16:creationId xmlns:a16="http://schemas.microsoft.com/office/drawing/2014/main" id="{B62D9913-2400-4E01-9DA9-DC4E8030D0CF}"/>
                  </a:ext>
                </a:extLst>
              </p:cNvPr>
              <p:cNvSpPr>
                <a:spLocks noChangeArrowheads="1"/>
              </p:cNvSpPr>
              <p:nvPr/>
            </p:nvSpPr>
            <p:spPr bwMode="auto">
              <a:xfrm>
                <a:off x="22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Oval 2861">
                <a:extLst>
                  <a:ext uri="{FF2B5EF4-FFF2-40B4-BE49-F238E27FC236}">
                    <a16:creationId xmlns:a16="http://schemas.microsoft.com/office/drawing/2014/main" id="{BDACF247-ADE8-42AF-9774-FA8D6179C70A}"/>
                  </a:ext>
                </a:extLst>
              </p:cNvPr>
              <p:cNvSpPr>
                <a:spLocks noChangeArrowheads="1"/>
              </p:cNvSpPr>
              <p:nvPr/>
            </p:nvSpPr>
            <p:spPr bwMode="auto">
              <a:xfrm>
                <a:off x="220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Oval 2862">
                <a:extLst>
                  <a:ext uri="{FF2B5EF4-FFF2-40B4-BE49-F238E27FC236}">
                    <a16:creationId xmlns:a16="http://schemas.microsoft.com/office/drawing/2014/main" id="{C684C532-2BA6-46DB-AEB8-4A9B848F7C6C}"/>
                  </a:ext>
                </a:extLst>
              </p:cNvPr>
              <p:cNvSpPr>
                <a:spLocks noChangeArrowheads="1"/>
              </p:cNvSpPr>
              <p:nvPr/>
            </p:nvSpPr>
            <p:spPr bwMode="auto">
              <a:xfrm>
                <a:off x="220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2863">
                <a:extLst>
                  <a:ext uri="{FF2B5EF4-FFF2-40B4-BE49-F238E27FC236}">
                    <a16:creationId xmlns:a16="http://schemas.microsoft.com/office/drawing/2014/main" id="{078E7009-3070-4827-8D43-3239EC30F289}"/>
                  </a:ext>
                </a:extLst>
              </p:cNvPr>
              <p:cNvSpPr>
                <a:spLocks noChangeArrowheads="1"/>
              </p:cNvSpPr>
              <p:nvPr/>
            </p:nvSpPr>
            <p:spPr bwMode="auto">
              <a:xfrm>
                <a:off x="226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Oval 2864">
                <a:extLst>
                  <a:ext uri="{FF2B5EF4-FFF2-40B4-BE49-F238E27FC236}">
                    <a16:creationId xmlns:a16="http://schemas.microsoft.com/office/drawing/2014/main" id="{F18A63CE-FDBF-4B14-BD19-1F10D7DF3D0A}"/>
                  </a:ext>
                </a:extLst>
              </p:cNvPr>
              <p:cNvSpPr>
                <a:spLocks noChangeArrowheads="1"/>
              </p:cNvSpPr>
              <p:nvPr/>
            </p:nvSpPr>
            <p:spPr bwMode="auto">
              <a:xfrm>
                <a:off x="271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Oval 2865">
                <a:extLst>
                  <a:ext uri="{FF2B5EF4-FFF2-40B4-BE49-F238E27FC236}">
                    <a16:creationId xmlns:a16="http://schemas.microsoft.com/office/drawing/2014/main" id="{6EBCB0D3-187D-48AC-AE55-C1BC45929757}"/>
                  </a:ext>
                </a:extLst>
              </p:cNvPr>
              <p:cNvSpPr>
                <a:spLocks noChangeArrowheads="1"/>
              </p:cNvSpPr>
              <p:nvPr/>
            </p:nvSpPr>
            <p:spPr bwMode="auto">
              <a:xfrm>
                <a:off x="274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Oval 2866">
                <a:extLst>
                  <a:ext uri="{FF2B5EF4-FFF2-40B4-BE49-F238E27FC236}">
                    <a16:creationId xmlns:a16="http://schemas.microsoft.com/office/drawing/2014/main" id="{98D23ABB-DC02-4D00-8686-28B09F8FBE6D}"/>
                  </a:ext>
                </a:extLst>
              </p:cNvPr>
              <p:cNvSpPr>
                <a:spLocks noChangeArrowheads="1"/>
              </p:cNvSpPr>
              <p:nvPr/>
            </p:nvSpPr>
            <p:spPr bwMode="auto">
              <a:xfrm>
                <a:off x="277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Oval 2867">
                <a:extLst>
                  <a:ext uri="{FF2B5EF4-FFF2-40B4-BE49-F238E27FC236}">
                    <a16:creationId xmlns:a16="http://schemas.microsoft.com/office/drawing/2014/main" id="{B14E99B2-FEB9-4A3A-8BB7-B85EE236A8EB}"/>
                  </a:ext>
                </a:extLst>
              </p:cNvPr>
              <p:cNvSpPr>
                <a:spLocks noChangeArrowheads="1"/>
              </p:cNvSpPr>
              <p:nvPr/>
            </p:nvSpPr>
            <p:spPr bwMode="auto">
              <a:xfrm>
                <a:off x="271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Oval 2868">
                <a:extLst>
                  <a:ext uri="{FF2B5EF4-FFF2-40B4-BE49-F238E27FC236}">
                    <a16:creationId xmlns:a16="http://schemas.microsoft.com/office/drawing/2014/main" id="{AEFDF30B-1DCC-460B-8A75-9419C9951283}"/>
                  </a:ext>
                </a:extLst>
              </p:cNvPr>
              <p:cNvSpPr>
                <a:spLocks noChangeArrowheads="1"/>
              </p:cNvSpPr>
              <p:nvPr/>
            </p:nvSpPr>
            <p:spPr bwMode="auto">
              <a:xfrm>
                <a:off x="268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Oval 2869">
                <a:extLst>
                  <a:ext uri="{FF2B5EF4-FFF2-40B4-BE49-F238E27FC236}">
                    <a16:creationId xmlns:a16="http://schemas.microsoft.com/office/drawing/2014/main" id="{D3D8966A-A530-49AF-AD93-971E5BE4AD8C}"/>
                  </a:ext>
                </a:extLst>
              </p:cNvPr>
              <p:cNvSpPr>
                <a:spLocks noChangeArrowheads="1"/>
              </p:cNvSpPr>
              <p:nvPr/>
            </p:nvSpPr>
            <p:spPr bwMode="auto">
              <a:xfrm>
                <a:off x="271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Oval 2870">
                <a:extLst>
                  <a:ext uri="{FF2B5EF4-FFF2-40B4-BE49-F238E27FC236}">
                    <a16:creationId xmlns:a16="http://schemas.microsoft.com/office/drawing/2014/main" id="{B3579EBD-8911-4659-8D44-1F96A6E1F82E}"/>
                  </a:ext>
                </a:extLst>
              </p:cNvPr>
              <p:cNvSpPr>
                <a:spLocks noChangeArrowheads="1"/>
              </p:cNvSpPr>
              <p:nvPr/>
            </p:nvSpPr>
            <p:spPr bwMode="auto">
              <a:xfrm>
                <a:off x="292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2871">
                <a:extLst>
                  <a:ext uri="{FF2B5EF4-FFF2-40B4-BE49-F238E27FC236}">
                    <a16:creationId xmlns:a16="http://schemas.microsoft.com/office/drawing/2014/main" id="{112FDCD1-E357-4D49-8CEE-9698A34BE705}"/>
                  </a:ext>
                </a:extLst>
              </p:cNvPr>
              <p:cNvSpPr>
                <a:spLocks noChangeArrowheads="1"/>
              </p:cNvSpPr>
              <p:nvPr/>
            </p:nvSpPr>
            <p:spPr bwMode="auto">
              <a:xfrm>
                <a:off x="268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Oval 2872">
                <a:extLst>
                  <a:ext uri="{FF2B5EF4-FFF2-40B4-BE49-F238E27FC236}">
                    <a16:creationId xmlns:a16="http://schemas.microsoft.com/office/drawing/2014/main" id="{421E3860-D48C-4C0E-BF7A-79F126E402FA}"/>
                  </a:ext>
                </a:extLst>
              </p:cNvPr>
              <p:cNvSpPr>
                <a:spLocks noChangeArrowheads="1"/>
              </p:cNvSpPr>
              <p:nvPr/>
            </p:nvSpPr>
            <p:spPr bwMode="auto">
              <a:xfrm>
                <a:off x="280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Oval 2873">
                <a:extLst>
                  <a:ext uri="{FF2B5EF4-FFF2-40B4-BE49-F238E27FC236}">
                    <a16:creationId xmlns:a16="http://schemas.microsoft.com/office/drawing/2014/main" id="{8B2CFAC1-8CF6-4206-93DA-580B1997DC65}"/>
                  </a:ext>
                </a:extLst>
              </p:cNvPr>
              <p:cNvSpPr>
                <a:spLocks noChangeArrowheads="1"/>
              </p:cNvSpPr>
              <p:nvPr/>
            </p:nvSpPr>
            <p:spPr bwMode="auto">
              <a:xfrm>
                <a:off x="301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2874">
                <a:extLst>
                  <a:ext uri="{FF2B5EF4-FFF2-40B4-BE49-F238E27FC236}">
                    <a16:creationId xmlns:a16="http://schemas.microsoft.com/office/drawing/2014/main" id="{75F59936-0A5F-41A6-98E4-AABB39D23039}"/>
                  </a:ext>
                </a:extLst>
              </p:cNvPr>
              <p:cNvSpPr>
                <a:spLocks noChangeArrowheads="1"/>
              </p:cNvSpPr>
              <p:nvPr/>
            </p:nvSpPr>
            <p:spPr bwMode="auto">
              <a:xfrm>
                <a:off x="316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Oval 2875">
                <a:extLst>
                  <a:ext uri="{FF2B5EF4-FFF2-40B4-BE49-F238E27FC236}">
                    <a16:creationId xmlns:a16="http://schemas.microsoft.com/office/drawing/2014/main" id="{BA25C199-CEFE-4512-8E67-8A72DBD2955F}"/>
                  </a:ext>
                </a:extLst>
              </p:cNvPr>
              <p:cNvSpPr>
                <a:spLocks noChangeArrowheads="1"/>
              </p:cNvSpPr>
              <p:nvPr/>
            </p:nvSpPr>
            <p:spPr bwMode="auto">
              <a:xfrm>
                <a:off x="307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2876">
                <a:extLst>
                  <a:ext uri="{FF2B5EF4-FFF2-40B4-BE49-F238E27FC236}">
                    <a16:creationId xmlns:a16="http://schemas.microsoft.com/office/drawing/2014/main" id="{BDCDC9AC-A244-41D8-85D2-4873547A2A26}"/>
                  </a:ext>
                </a:extLst>
              </p:cNvPr>
              <p:cNvSpPr>
                <a:spLocks noChangeArrowheads="1"/>
              </p:cNvSpPr>
              <p:nvPr/>
            </p:nvSpPr>
            <p:spPr bwMode="auto">
              <a:xfrm>
                <a:off x="295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Oval 2877">
                <a:extLst>
                  <a:ext uri="{FF2B5EF4-FFF2-40B4-BE49-F238E27FC236}">
                    <a16:creationId xmlns:a16="http://schemas.microsoft.com/office/drawing/2014/main" id="{E7D3A70B-897A-4836-84A3-652DCFD13A25}"/>
                  </a:ext>
                </a:extLst>
              </p:cNvPr>
              <p:cNvSpPr>
                <a:spLocks noChangeArrowheads="1"/>
              </p:cNvSpPr>
              <p:nvPr/>
            </p:nvSpPr>
            <p:spPr bwMode="auto">
              <a:xfrm>
                <a:off x="301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Oval 2878">
                <a:extLst>
                  <a:ext uri="{FF2B5EF4-FFF2-40B4-BE49-F238E27FC236}">
                    <a16:creationId xmlns:a16="http://schemas.microsoft.com/office/drawing/2014/main" id="{B3056C8B-1FDD-4DD4-8522-8FDB947FD1A0}"/>
                  </a:ext>
                </a:extLst>
              </p:cNvPr>
              <p:cNvSpPr>
                <a:spLocks noChangeArrowheads="1"/>
              </p:cNvSpPr>
              <p:nvPr/>
            </p:nvSpPr>
            <p:spPr bwMode="auto">
              <a:xfrm>
                <a:off x="298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Oval 2879">
                <a:extLst>
                  <a:ext uri="{FF2B5EF4-FFF2-40B4-BE49-F238E27FC236}">
                    <a16:creationId xmlns:a16="http://schemas.microsoft.com/office/drawing/2014/main" id="{9CF31676-9B22-4A09-9951-D44C8D78B089}"/>
                  </a:ext>
                </a:extLst>
              </p:cNvPr>
              <p:cNvSpPr>
                <a:spLocks noChangeArrowheads="1"/>
              </p:cNvSpPr>
              <p:nvPr/>
            </p:nvSpPr>
            <p:spPr bwMode="auto">
              <a:xfrm>
                <a:off x="30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Oval 2880">
                <a:extLst>
                  <a:ext uri="{FF2B5EF4-FFF2-40B4-BE49-F238E27FC236}">
                    <a16:creationId xmlns:a16="http://schemas.microsoft.com/office/drawing/2014/main" id="{93F4908A-B9A1-4D9B-BBF8-9549C80BBA59}"/>
                  </a:ext>
                </a:extLst>
              </p:cNvPr>
              <p:cNvSpPr>
                <a:spLocks noChangeArrowheads="1"/>
              </p:cNvSpPr>
              <p:nvPr/>
            </p:nvSpPr>
            <p:spPr bwMode="auto">
              <a:xfrm>
                <a:off x="310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Oval 2881">
                <a:extLst>
                  <a:ext uri="{FF2B5EF4-FFF2-40B4-BE49-F238E27FC236}">
                    <a16:creationId xmlns:a16="http://schemas.microsoft.com/office/drawing/2014/main" id="{E7C7F290-2158-414C-8EDA-837E98BE895B}"/>
                  </a:ext>
                </a:extLst>
              </p:cNvPr>
              <p:cNvSpPr>
                <a:spLocks noChangeArrowheads="1"/>
              </p:cNvSpPr>
              <p:nvPr/>
            </p:nvSpPr>
            <p:spPr bwMode="auto">
              <a:xfrm>
                <a:off x="310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Oval 2882">
                <a:extLst>
                  <a:ext uri="{FF2B5EF4-FFF2-40B4-BE49-F238E27FC236}">
                    <a16:creationId xmlns:a16="http://schemas.microsoft.com/office/drawing/2014/main" id="{AA6AACAD-CB3D-4728-AF0E-C43AB877957F}"/>
                  </a:ext>
                </a:extLst>
              </p:cNvPr>
              <p:cNvSpPr>
                <a:spLocks noChangeArrowheads="1"/>
              </p:cNvSpPr>
              <p:nvPr/>
            </p:nvSpPr>
            <p:spPr bwMode="auto">
              <a:xfrm>
                <a:off x="29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Oval 2883">
                <a:extLst>
                  <a:ext uri="{FF2B5EF4-FFF2-40B4-BE49-F238E27FC236}">
                    <a16:creationId xmlns:a16="http://schemas.microsoft.com/office/drawing/2014/main" id="{B529E0F2-9283-4148-B33E-67C51A94BD73}"/>
                  </a:ext>
                </a:extLst>
              </p:cNvPr>
              <p:cNvSpPr>
                <a:spLocks noChangeArrowheads="1"/>
              </p:cNvSpPr>
              <p:nvPr/>
            </p:nvSpPr>
            <p:spPr bwMode="auto">
              <a:xfrm>
                <a:off x="280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2884">
                <a:extLst>
                  <a:ext uri="{FF2B5EF4-FFF2-40B4-BE49-F238E27FC236}">
                    <a16:creationId xmlns:a16="http://schemas.microsoft.com/office/drawing/2014/main" id="{BEDECA92-5598-4312-B961-ABDD64944CAD}"/>
                  </a:ext>
                </a:extLst>
              </p:cNvPr>
              <p:cNvSpPr>
                <a:spLocks noChangeArrowheads="1"/>
              </p:cNvSpPr>
              <p:nvPr/>
            </p:nvSpPr>
            <p:spPr bwMode="auto">
              <a:xfrm>
                <a:off x="289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Oval 2885">
                <a:extLst>
                  <a:ext uri="{FF2B5EF4-FFF2-40B4-BE49-F238E27FC236}">
                    <a16:creationId xmlns:a16="http://schemas.microsoft.com/office/drawing/2014/main" id="{27D7A7A2-41BC-4F05-930D-BADF048AC52F}"/>
                  </a:ext>
                </a:extLst>
              </p:cNvPr>
              <p:cNvSpPr>
                <a:spLocks noChangeArrowheads="1"/>
              </p:cNvSpPr>
              <p:nvPr/>
            </p:nvSpPr>
            <p:spPr bwMode="auto">
              <a:xfrm>
                <a:off x="292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2886">
                <a:extLst>
                  <a:ext uri="{FF2B5EF4-FFF2-40B4-BE49-F238E27FC236}">
                    <a16:creationId xmlns:a16="http://schemas.microsoft.com/office/drawing/2014/main" id="{E8EB5354-0F62-46D4-AB85-B155B9D1E71D}"/>
                  </a:ext>
                </a:extLst>
              </p:cNvPr>
              <p:cNvSpPr>
                <a:spLocks noChangeArrowheads="1"/>
              </p:cNvSpPr>
              <p:nvPr/>
            </p:nvSpPr>
            <p:spPr bwMode="auto">
              <a:xfrm>
                <a:off x="283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Oval 2887">
                <a:extLst>
                  <a:ext uri="{FF2B5EF4-FFF2-40B4-BE49-F238E27FC236}">
                    <a16:creationId xmlns:a16="http://schemas.microsoft.com/office/drawing/2014/main" id="{53F2613D-4414-4A00-8BB2-5A0603B55901}"/>
                  </a:ext>
                </a:extLst>
              </p:cNvPr>
              <p:cNvSpPr>
                <a:spLocks noChangeArrowheads="1"/>
              </p:cNvSpPr>
              <p:nvPr/>
            </p:nvSpPr>
            <p:spPr bwMode="auto">
              <a:xfrm>
                <a:off x="286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2888">
                <a:extLst>
                  <a:ext uri="{FF2B5EF4-FFF2-40B4-BE49-F238E27FC236}">
                    <a16:creationId xmlns:a16="http://schemas.microsoft.com/office/drawing/2014/main" id="{455C3C85-4056-456A-9C9B-69ED6AB38EAC}"/>
                  </a:ext>
                </a:extLst>
              </p:cNvPr>
              <p:cNvSpPr>
                <a:spLocks noChangeArrowheads="1"/>
              </p:cNvSpPr>
              <p:nvPr/>
            </p:nvSpPr>
            <p:spPr bwMode="auto">
              <a:xfrm>
                <a:off x="30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Oval 2889">
                <a:extLst>
                  <a:ext uri="{FF2B5EF4-FFF2-40B4-BE49-F238E27FC236}">
                    <a16:creationId xmlns:a16="http://schemas.microsoft.com/office/drawing/2014/main" id="{7DE60504-81DF-4358-B29A-84D8850C99AC}"/>
                  </a:ext>
                </a:extLst>
              </p:cNvPr>
              <p:cNvSpPr>
                <a:spLocks noChangeArrowheads="1"/>
              </p:cNvSpPr>
              <p:nvPr/>
            </p:nvSpPr>
            <p:spPr bwMode="auto">
              <a:xfrm>
                <a:off x="295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Oval 2890">
                <a:extLst>
                  <a:ext uri="{FF2B5EF4-FFF2-40B4-BE49-F238E27FC236}">
                    <a16:creationId xmlns:a16="http://schemas.microsoft.com/office/drawing/2014/main" id="{DF8C9944-6067-45DF-AFAE-99FC84FCA8F7}"/>
                  </a:ext>
                </a:extLst>
              </p:cNvPr>
              <p:cNvSpPr>
                <a:spLocks noChangeArrowheads="1"/>
              </p:cNvSpPr>
              <p:nvPr/>
            </p:nvSpPr>
            <p:spPr bwMode="auto">
              <a:xfrm>
                <a:off x="295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Oval 2891">
                <a:extLst>
                  <a:ext uri="{FF2B5EF4-FFF2-40B4-BE49-F238E27FC236}">
                    <a16:creationId xmlns:a16="http://schemas.microsoft.com/office/drawing/2014/main" id="{1580C79C-17A5-49C8-9BB3-598E7A920D98}"/>
                  </a:ext>
                </a:extLst>
              </p:cNvPr>
              <p:cNvSpPr>
                <a:spLocks noChangeArrowheads="1"/>
              </p:cNvSpPr>
              <p:nvPr/>
            </p:nvSpPr>
            <p:spPr bwMode="auto">
              <a:xfrm>
                <a:off x="301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Oval 2892">
                <a:extLst>
                  <a:ext uri="{FF2B5EF4-FFF2-40B4-BE49-F238E27FC236}">
                    <a16:creationId xmlns:a16="http://schemas.microsoft.com/office/drawing/2014/main" id="{90A88E9F-F511-47CB-91C9-6B19632A1D38}"/>
                  </a:ext>
                </a:extLst>
              </p:cNvPr>
              <p:cNvSpPr>
                <a:spLocks noChangeArrowheads="1"/>
              </p:cNvSpPr>
              <p:nvPr/>
            </p:nvSpPr>
            <p:spPr bwMode="auto">
              <a:xfrm>
                <a:off x="289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Oval 2893">
                <a:extLst>
                  <a:ext uri="{FF2B5EF4-FFF2-40B4-BE49-F238E27FC236}">
                    <a16:creationId xmlns:a16="http://schemas.microsoft.com/office/drawing/2014/main" id="{88E69365-0E0F-41EC-88C7-A6C60C732A52}"/>
                  </a:ext>
                </a:extLst>
              </p:cNvPr>
              <p:cNvSpPr>
                <a:spLocks noChangeArrowheads="1"/>
              </p:cNvSpPr>
              <p:nvPr/>
            </p:nvSpPr>
            <p:spPr bwMode="auto">
              <a:xfrm>
                <a:off x="307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Oval 2894">
                <a:extLst>
                  <a:ext uri="{FF2B5EF4-FFF2-40B4-BE49-F238E27FC236}">
                    <a16:creationId xmlns:a16="http://schemas.microsoft.com/office/drawing/2014/main" id="{C8641205-04D1-46DA-9B64-5CFB5E55AE44}"/>
                  </a:ext>
                </a:extLst>
              </p:cNvPr>
              <p:cNvSpPr>
                <a:spLocks noChangeArrowheads="1"/>
              </p:cNvSpPr>
              <p:nvPr/>
            </p:nvSpPr>
            <p:spPr bwMode="auto">
              <a:xfrm>
                <a:off x="310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Oval 2895">
                <a:extLst>
                  <a:ext uri="{FF2B5EF4-FFF2-40B4-BE49-F238E27FC236}">
                    <a16:creationId xmlns:a16="http://schemas.microsoft.com/office/drawing/2014/main" id="{15809880-760B-4F84-BAE2-684C05CAB22B}"/>
                  </a:ext>
                </a:extLst>
              </p:cNvPr>
              <p:cNvSpPr>
                <a:spLocks noChangeArrowheads="1"/>
              </p:cNvSpPr>
              <p:nvPr/>
            </p:nvSpPr>
            <p:spPr bwMode="auto">
              <a:xfrm>
                <a:off x="30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Oval 2896">
                <a:extLst>
                  <a:ext uri="{FF2B5EF4-FFF2-40B4-BE49-F238E27FC236}">
                    <a16:creationId xmlns:a16="http://schemas.microsoft.com/office/drawing/2014/main" id="{35AE2FB9-3761-4194-84BA-E914F856DC8D}"/>
                  </a:ext>
                </a:extLst>
              </p:cNvPr>
              <p:cNvSpPr>
                <a:spLocks noChangeArrowheads="1"/>
              </p:cNvSpPr>
              <p:nvPr/>
            </p:nvSpPr>
            <p:spPr bwMode="auto">
              <a:xfrm>
                <a:off x="295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Oval 2897">
                <a:extLst>
                  <a:ext uri="{FF2B5EF4-FFF2-40B4-BE49-F238E27FC236}">
                    <a16:creationId xmlns:a16="http://schemas.microsoft.com/office/drawing/2014/main" id="{A7461C29-230E-43C5-80A3-4E03C02C7AF8}"/>
                  </a:ext>
                </a:extLst>
              </p:cNvPr>
              <p:cNvSpPr>
                <a:spLocks noChangeArrowheads="1"/>
              </p:cNvSpPr>
              <p:nvPr/>
            </p:nvSpPr>
            <p:spPr bwMode="auto">
              <a:xfrm>
                <a:off x="292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Oval 2898">
                <a:extLst>
                  <a:ext uri="{FF2B5EF4-FFF2-40B4-BE49-F238E27FC236}">
                    <a16:creationId xmlns:a16="http://schemas.microsoft.com/office/drawing/2014/main" id="{C7171D62-A0CE-4B9D-9D42-8DF5A44CB777}"/>
                  </a:ext>
                </a:extLst>
              </p:cNvPr>
              <p:cNvSpPr>
                <a:spLocks noChangeArrowheads="1"/>
              </p:cNvSpPr>
              <p:nvPr/>
            </p:nvSpPr>
            <p:spPr bwMode="auto">
              <a:xfrm>
                <a:off x="2835"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Oval 2899">
                <a:extLst>
                  <a:ext uri="{FF2B5EF4-FFF2-40B4-BE49-F238E27FC236}">
                    <a16:creationId xmlns:a16="http://schemas.microsoft.com/office/drawing/2014/main" id="{F89BB97E-063F-47B0-8B59-7131D50EDD05}"/>
                  </a:ext>
                </a:extLst>
              </p:cNvPr>
              <p:cNvSpPr>
                <a:spLocks noChangeArrowheads="1"/>
              </p:cNvSpPr>
              <p:nvPr/>
            </p:nvSpPr>
            <p:spPr bwMode="auto">
              <a:xfrm>
                <a:off x="277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Oval 2900">
                <a:extLst>
                  <a:ext uri="{FF2B5EF4-FFF2-40B4-BE49-F238E27FC236}">
                    <a16:creationId xmlns:a16="http://schemas.microsoft.com/office/drawing/2014/main" id="{E2C980F1-6B81-488E-AFBB-F42EE7B5041E}"/>
                  </a:ext>
                </a:extLst>
              </p:cNvPr>
              <p:cNvSpPr>
                <a:spLocks noChangeArrowheads="1"/>
              </p:cNvSpPr>
              <p:nvPr/>
            </p:nvSpPr>
            <p:spPr bwMode="auto">
              <a:xfrm>
                <a:off x="271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Oval 2901">
                <a:extLst>
                  <a:ext uri="{FF2B5EF4-FFF2-40B4-BE49-F238E27FC236}">
                    <a16:creationId xmlns:a16="http://schemas.microsoft.com/office/drawing/2014/main" id="{B215359A-4156-4899-AB87-165D8AD34EF3}"/>
                  </a:ext>
                </a:extLst>
              </p:cNvPr>
              <p:cNvSpPr>
                <a:spLocks noChangeArrowheads="1"/>
              </p:cNvSpPr>
              <p:nvPr/>
            </p:nvSpPr>
            <p:spPr bwMode="auto">
              <a:xfrm>
                <a:off x="274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Oval 2902">
                <a:extLst>
                  <a:ext uri="{FF2B5EF4-FFF2-40B4-BE49-F238E27FC236}">
                    <a16:creationId xmlns:a16="http://schemas.microsoft.com/office/drawing/2014/main" id="{6FDD74E9-3638-4B19-A200-CEADB482E2C0}"/>
                  </a:ext>
                </a:extLst>
              </p:cNvPr>
              <p:cNvSpPr>
                <a:spLocks noChangeArrowheads="1"/>
              </p:cNvSpPr>
              <p:nvPr/>
            </p:nvSpPr>
            <p:spPr bwMode="auto">
              <a:xfrm>
                <a:off x="2805"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Oval 2903">
                <a:extLst>
                  <a:ext uri="{FF2B5EF4-FFF2-40B4-BE49-F238E27FC236}">
                    <a16:creationId xmlns:a16="http://schemas.microsoft.com/office/drawing/2014/main" id="{6D3A4A2B-F45E-4663-A670-E3EECD02FB3A}"/>
                  </a:ext>
                </a:extLst>
              </p:cNvPr>
              <p:cNvSpPr>
                <a:spLocks noChangeArrowheads="1"/>
              </p:cNvSpPr>
              <p:nvPr/>
            </p:nvSpPr>
            <p:spPr bwMode="auto">
              <a:xfrm>
                <a:off x="27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Oval 2904">
                <a:extLst>
                  <a:ext uri="{FF2B5EF4-FFF2-40B4-BE49-F238E27FC236}">
                    <a16:creationId xmlns:a16="http://schemas.microsoft.com/office/drawing/2014/main" id="{57A5F6E9-3DC5-426A-BF49-25B4141290A7}"/>
                  </a:ext>
                </a:extLst>
              </p:cNvPr>
              <p:cNvSpPr>
                <a:spLocks noChangeArrowheads="1"/>
              </p:cNvSpPr>
              <p:nvPr/>
            </p:nvSpPr>
            <p:spPr bwMode="auto">
              <a:xfrm>
                <a:off x="2745"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Oval 2905">
                <a:extLst>
                  <a:ext uri="{FF2B5EF4-FFF2-40B4-BE49-F238E27FC236}">
                    <a16:creationId xmlns:a16="http://schemas.microsoft.com/office/drawing/2014/main" id="{6363F10A-DC33-4B64-A2FA-A5B91FDCCC71}"/>
                  </a:ext>
                </a:extLst>
              </p:cNvPr>
              <p:cNvSpPr>
                <a:spLocks noChangeArrowheads="1"/>
              </p:cNvSpPr>
              <p:nvPr/>
            </p:nvSpPr>
            <p:spPr bwMode="auto">
              <a:xfrm>
                <a:off x="25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Oval 2906">
                <a:extLst>
                  <a:ext uri="{FF2B5EF4-FFF2-40B4-BE49-F238E27FC236}">
                    <a16:creationId xmlns:a16="http://schemas.microsoft.com/office/drawing/2014/main" id="{09C21686-E346-4CAF-BF69-45983F9DA781}"/>
                  </a:ext>
                </a:extLst>
              </p:cNvPr>
              <p:cNvSpPr>
                <a:spLocks noChangeArrowheads="1"/>
              </p:cNvSpPr>
              <p:nvPr/>
            </p:nvSpPr>
            <p:spPr bwMode="auto">
              <a:xfrm>
                <a:off x="259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Oval 2907">
                <a:extLst>
                  <a:ext uri="{FF2B5EF4-FFF2-40B4-BE49-F238E27FC236}">
                    <a16:creationId xmlns:a16="http://schemas.microsoft.com/office/drawing/2014/main" id="{7A22FA28-6744-479A-AEA2-13361471C99B}"/>
                  </a:ext>
                </a:extLst>
              </p:cNvPr>
              <p:cNvSpPr>
                <a:spLocks noChangeArrowheads="1"/>
              </p:cNvSpPr>
              <p:nvPr/>
            </p:nvSpPr>
            <p:spPr bwMode="auto">
              <a:xfrm>
                <a:off x="262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Oval 2908">
                <a:extLst>
                  <a:ext uri="{FF2B5EF4-FFF2-40B4-BE49-F238E27FC236}">
                    <a16:creationId xmlns:a16="http://schemas.microsoft.com/office/drawing/2014/main" id="{21D39261-5FC7-4D29-9DB2-9AC8B3EC376D}"/>
                  </a:ext>
                </a:extLst>
              </p:cNvPr>
              <p:cNvSpPr>
                <a:spLocks noChangeArrowheads="1"/>
              </p:cNvSpPr>
              <p:nvPr/>
            </p:nvSpPr>
            <p:spPr bwMode="auto">
              <a:xfrm>
                <a:off x="2655"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Oval 2909">
                <a:extLst>
                  <a:ext uri="{FF2B5EF4-FFF2-40B4-BE49-F238E27FC236}">
                    <a16:creationId xmlns:a16="http://schemas.microsoft.com/office/drawing/2014/main" id="{962668EE-E2B2-445C-9FBF-C9E94FAEB600}"/>
                  </a:ext>
                </a:extLst>
              </p:cNvPr>
              <p:cNvSpPr>
                <a:spLocks noChangeArrowheads="1"/>
              </p:cNvSpPr>
              <p:nvPr/>
            </p:nvSpPr>
            <p:spPr bwMode="auto">
              <a:xfrm>
                <a:off x="271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Oval 2910">
                <a:extLst>
                  <a:ext uri="{FF2B5EF4-FFF2-40B4-BE49-F238E27FC236}">
                    <a16:creationId xmlns:a16="http://schemas.microsoft.com/office/drawing/2014/main" id="{A8C88345-BAA9-40F0-9D68-5F76D0896015}"/>
                  </a:ext>
                </a:extLst>
              </p:cNvPr>
              <p:cNvSpPr>
                <a:spLocks noChangeArrowheads="1"/>
              </p:cNvSpPr>
              <p:nvPr/>
            </p:nvSpPr>
            <p:spPr bwMode="auto">
              <a:xfrm>
                <a:off x="262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Oval 2911">
                <a:extLst>
                  <a:ext uri="{FF2B5EF4-FFF2-40B4-BE49-F238E27FC236}">
                    <a16:creationId xmlns:a16="http://schemas.microsoft.com/office/drawing/2014/main" id="{C732D858-7502-4B1B-861B-D120C69658E1}"/>
                  </a:ext>
                </a:extLst>
              </p:cNvPr>
              <p:cNvSpPr>
                <a:spLocks noChangeArrowheads="1"/>
              </p:cNvSpPr>
              <p:nvPr/>
            </p:nvSpPr>
            <p:spPr bwMode="auto">
              <a:xfrm>
                <a:off x="256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Oval 2912">
                <a:extLst>
                  <a:ext uri="{FF2B5EF4-FFF2-40B4-BE49-F238E27FC236}">
                    <a16:creationId xmlns:a16="http://schemas.microsoft.com/office/drawing/2014/main" id="{535E6ADC-0693-4A54-84EE-221CF57289A3}"/>
                  </a:ext>
                </a:extLst>
              </p:cNvPr>
              <p:cNvSpPr>
                <a:spLocks noChangeArrowheads="1"/>
              </p:cNvSpPr>
              <p:nvPr/>
            </p:nvSpPr>
            <p:spPr bwMode="auto">
              <a:xfrm>
                <a:off x="27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Oval 2913">
                <a:extLst>
                  <a:ext uri="{FF2B5EF4-FFF2-40B4-BE49-F238E27FC236}">
                    <a16:creationId xmlns:a16="http://schemas.microsoft.com/office/drawing/2014/main" id="{50817147-AACA-443A-959A-D2D60DFCB7CC}"/>
                  </a:ext>
                </a:extLst>
              </p:cNvPr>
              <p:cNvSpPr>
                <a:spLocks noChangeArrowheads="1"/>
              </p:cNvSpPr>
              <p:nvPr/>
            </p:nvSpPr>
            <p:spPr bwMode="auto">
              <a:xfrm>
                <a:off x="265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Oval 2914">
                <a:extLst>
                  <a:ext uri="{FF2B5EF4-FFF2-40B4-BE49-F238E27FC236}">
                    <a16:creationId xmlns:a16="http://schemas.microsoft.com/office/drawing/2014/main" id="{2090208E-56E0-46DB-ACA4-69158BB38135}"/>
                  </a:ext>
                </a:extLst>
              </p:cNvPr>
              <p:cNvSpPr>
                <a:spLocks noChangeArrowheads="1"/>
              </p:cNvSpPr>
              <p:nvPr/>
            </p:nvSpPr>
            <p:spPr bwMode="auto">
              <a:xfrm>
                <a:off x="25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Oval 2915">
                <a:extLst>
                  <a:ext uri="{FF2B5EF4-FFF2-40B4-BE49-F238E27FC236}">
                    <a16:creationId xmlns:a16="http://schemas.microsoft.com/office/drawing/2014/main" id="{0D6E099A-F618-44A1-9F4B-409F84D62998}"/>
                  </a:ext>
                </a:extLst>
              </p:cNvPr>
              <p:cNvSpPr>
                <a:spLocks noChangeArrowheads="1"/>
              </p:cNvSpPr>
              <p:nvPr/>
            </p:nvSpPr>
            <p:spPr bwMode="auto">
              <a:xfrm>
                <a:off x="2805"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Oval 2916">
                <a:extLst>
                  <a:ext uri="{FF2B5EF4-FFF2-40B4-BE49-F238E27FC236}">
                    <a16:creationId xmlns:a16="http://schemas.microsoft.com/office/drawing/2014/main" id="{894BEA7F-DA3E-4DB9-80BF-476E5E5250C2}"/>
                  </a:ext>
                </a:extLst>
              </p:cNvPr>
              <p:cNvSpPr>
                <a:spLocks noChangeArrowheads="1"/>
              </p:cNvSpPr>
              <p:nvPr/>
            </p:nvSpPr>
            <p:spPr bwMode="auto">
              <a:xfrm>
                <a:off x="307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Oval 2917">
                <a:extLst>
                  <a:ext uri="{FF2B5EF4-FFF2-40B4-BE49-F238E27FC236}">
                    <a16:creationId xmlns:a16="http://schemas.microsoft.com/office/drawing/2014/main" id="{0FBCA07F-9B02-4D36-95A6-5368964F8CB1}"/>
                  </a:ext>
                </a:extLst>
              </p:cNvPr>
              <p:cNvSpPr>
                <a:spLocks noChangeArrowheads="1"/>
              </p:cNvSpPr>
              <p:nvPr/>
            </p:nvSpPr>
            <p:spPr bwMode="auto">
              <a:xfrm>
                <a:off x="301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Oval 2918">
                <a:extLst>
                  <a:ext uri="{FF2B5EF4-FFF2-40B4-BE49-F238E27FC236}">
                    <a16:creationId xmlns:a16="http://schemas.microsoft.com/office/drawing/2014/main" id="{8F6D476F-64EB-48DD-9003-8F1B316ED36B}"/>
                  </a:ext>
                </a:extLst>
              </p:cNvPr>
              <p:cNvSpPr>
                <a:spLocks noChangeArrowheads="1"/>
              </p:cNvSpPr>
              <p:nvPr/>
            </p:nvSpPr>
            <p:spPr bwMode="auto">
              <a:xfrm>
                <a:off x="289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Oval 2919">
                <a:extLst>
                  <a:ext uri="{FF2B5EF4-FFF2-40B4-BE49-F238E27FC236}">
                    <a16:creationId xmlns:a16="http://schemas.microsoft.com/office/drawing/2014/main" id="{ACC2EE52-4360-4682-AD13-A7494D378DCE}"/>
                  </a:ext>
                </a:extLst>
              </p:cNvPr>
              <p:cNvSpPr>
                <a:spLocks noChangeArrowheads="1"/>
              </p:cNvSpPr>
              <p:nvPr/>
            </p:nvSpPr>
            <p:spPr bwMode="auto">
              <a:xfrm>
                <a:off x="274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Oval 2920">
                <a:extLst>
                  <a:ext uri="{FF2B5EF4-FFF2-40B4-BE49-F238E27FC236}">
                    <a16:creationId xmlns:a16="http://schemas.microsoft.com/office/drawing/2014/main" id="{75C4BBE8-A9AF-43CC-973C-735B9D0829B1}"/>
                  </a:ext>
                </a:extLst>
              </p:cNvPr>
              <p:cNvSpPr>
                <a:spLocks noChangeArrowheads="1"/>
              </p:cNvSpPr>
              <p:nvPr/>
            </p:nvSpPr>
            <p:spPr bwMode="auto">
              <a:xfrm>
                <a:off x="259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Oval 2921">
                <a:extLst>
                  <a:ext uri="{FF2B5EF4-FFF2-40B4-BE49-F238E27FC236}">
                    <a16:creationId xmlns:a16="http://schemas.microsoft.com/office/drawing/2014/main" id="{2A746822-631D-4130-8894-98F79E42EDC7}"/>
                  </a:ext>
                </a:extLst>
              </p:cNvPr>
              <p:cNvSpPr>
                <a:spLocks noChangeArrowheads="1"/>
              </p:cNvSpPr>
              <p:nvPr/>
            </p:nvSpPr>
            <p:spPr bwMode="auto">
              <a:xfrm>
                <a:off x="262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Oval 2922">
                <a:extLst>
                  <a:ext uri="{FF2B5EF4-FFF2-40B4-BE49-F238E27FC236}">
                    <a16:creationId xmlns:a16="http://schemas.microsoft.com/office/drawing/2014/main" id="{C17BD411-C804-430C-A5F2-DCA778BF2CDE}"/>
                  </a:ext>
                </a:extLst>
              </p:cNvPr>
              <p:cNvSpPr>
                <a:spLocks noChangeArrowheads="1"/>
              </p:cNvSpPr>
              <p:nvPr/>
            </p:nvSpPr>
            <p:spPr bwMode="auto">
              <a:xfrm>
                <a:off x="2955" y="3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Oval 2923">
                <a:extLst>
                  <a:ext uri="{FF2B5EF4-FFF2-40B4-BE49-F238E27FC236}">
                    <a16:creationId xmlns:a16="http://schemas.microsoft.com/office/drawing/2014/main" id="{18D317F2-221F-4EA0-8CFF-69AF281B0036}"/>
                  </a:ext>
                </a:extLst>
              </p:cNvPr>
              <p:cNvSpPr>
                <a:spLocks noChangeArrowheads="1"/>
              </p:cNvSpPr>
              <p:nvPr/>
            </p:nvSpPr>
            <p:spPr bwMode="auto">
              <a:xfrm>
                <a:off x="304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Oval 2924">
                <a:extLst>
                  <a:ext uri="{FF2B5EF4-FFF2-40B4-BE49-F238E27FC236}">
                    <a16:creationId xmlns:a16="http://schemas.microsoft.com/office/drawing/2014/main" id="{26ECF951-1BAF-44E9-BF23-3D2CEC96F415}"/>
                  </a:ext>
                </a:extLst>
              </p:cNvPr>
              <p:cNvSpPr>
                <a:spLocks noChangeArrowheads="1"/>
              </p:cNvSpPr>
              <p:nvPr/>
            </p:nvSpPr>
            <p:spPr bwMode="auto">
              <a:xfrm>
                <a:off x="286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Oval 2925">
                <a:extLst>
                  <a:ext uri="{FF2B5EF4-FFF2-40B4-BE49-F238E27FC236}">
                    <a16:creationId xmlns:a16="http://schemas.microsoft.com/office/drawing/2014/main" id="{C1F6BB94-005B-438F-B357-2E95398234FC}"/>
                  </a:ext>
                </a:extLst>
              </p:cNvPr>
              <p:cNvSpPr>
                <a:spLocks noChangeArrowheads="1"/>
              </p:cNvSpPr>
              <p:nvPr/>
            </p:nvSpPr>
            <p:spPr bwMode="auto">
              <a:xfrm>
                <a:off x="274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Oval 2926">
                <a:extLst>
                  <a:ext uri="{FF2B5EF4-FFF2-40B4-BE49-F238E27FC236}">
                    <a16:creationId xmlns:a16="http://schemas.microsoft.com/office/drawing/2014/main" id="{BBE0731B-3C00-4C74-833B-0D2DDC561704}"/>
                  </a:ext>
                </a:extLst>
              </p:cNvPr>
              <p:cNvSpPr>
                <a:spLocks noChangeArrowheads="1"/>
              </p:cNvSpPr>
              <p:nvPr/>
            </p:nvSpPr>
            <p:spPr bwMode="auto">
              <a:xfrm>
                <a:off x="283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Oval 2927">
                <a:extLst>
                  <a:ext uri="{FF2B5EF4-FFF2-40B4-BE49-F238E27FC236}">
                    <a16:creationId xmlns:a16="http://schemas.microsoft.com/office/drawing/2014/main" id="{535A6C73-ED50-4A66-9FFB-A3E57CA801D2}"/>
                  </a:ext>
                </a:extLst>
              </p:cNvPr>
              <p:cNvSpPr>
                <a:spLocks noChangeArrowheads="1"/>
              </p:cNvSpPr>
              <p:nvPr/>
            </p:nvSpPr>
            <p:spPr bwMode="auto">
              <a:xfrm>
                <a:off x="277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Oval 2928">
                <a:extLst>
                  <a:ext uri="{FF2B5EF4-FFF2-40B4-BE49-F238E27FC236}">
                    <a16:creationId xmlns:a16="http://schemas.microsoft.com/office/drawing/2014/main" id="{840B9700-1F9B-42BD-A0A4-10E75D9F4837}"/>
                  </a:ext>
                </a:extLst>
              </p:cNvPr>
              <p:cNvSpPr>
                <a:spLocks noChangeArrowheads="1"/>
              </p:cNvSpPr>
              <p:nvPr/>
            </p:nvSpPr>
            <p:spPr bwMode="auto">
              <a:xfrm>
                <a:off x="301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Oval 2929">
                <a:extLst>
                  <a:ext uri="{FF2B5EF4-FFF2-40B4-BE49-F238E27FC236}">
                    <a16:creationId xmlns:a16="http://schemas.microsoft.com/office/drawing/2014/main" id="{53C6F5C6-94F8-4AA3-AE62-853DDF18D3F5}"/>
                  </a:ext>
                </a:extLst>
              </p:cNvPr>
              <p:cNvSpPr>
                <a:spLocks noChangeArrowheads="1"/>
              </p:cNvSpPr>
              <p:nvPr/>
            </p:nvSpPr>
            <p:spPr bwMode="auto">
              <a:xfrm>
                <a:off x="3015"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Oval 2930">
                <a:extLst>
                  <a:ext uri="{FF2B5EF4-FFF2-40B4-BE49-F238E27FC236}">
                    <a16:creationId xmlns:a16="http://schemas.microsoft.com/office/drawing/2014/main" id="{6A64982B-7C98-41E0-AD56-7E1FD2370FAE}"/>
                  </a:ext>
                </a:extLst>
              </p:cNvPr>
              <p:cNvSpPr>
                <a:spLocks noChangeArrowheads="1"/>
              </p:cNvSpPr>
              <p:nvPr/>
            </p:nvSpPr>
            <p:spPr bwMode="auto">
              <a:xfrm>
                <a:off x="283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Oval 2931">
                <a:extLst>
                  <a:ext uri="{FF2B5EF4-FFF2-40B4-BE49-F238E27FC236}">
                    <a16:creationId xmlns:a16="http://schemas.microsoft.com/office/drawing/2014/main" id="{79D36256-7327-4F2F-B111-933374B3309D}"/>
                  </a:ext>
                </a:extLst>
              </p:cNvPr>
              <p:cNvSpPr>
                <a:spLocks noChangeArrowheads="1"/>
              </p:cNvSpPr>
              <p:nvPr/>
            </p:nvSpPr>
            <p:spPr bwMode="auto">
              <a:xfrm>
                <a:off x="274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Oval 2932">
                <a:extLst>
                  <a:ext uri="{FF2B5EF4-FFF2-40B4-BE49-F238E27FC236}">
                    <a16:creationId xmlns:a16="http://schemas.microsoft.com/office/drawing/2014/main" id="{03E053E1-C360-430F-BA76-F80A73514087}"/>
                  </a:ext>
                </a:extLst>
              </p:cNvPr>
              <p:cNvSpPr>
                <a:spLocks noChangeArrowheads="1"/>
              </p:cNvSpPr>
              <p:nvPr/>
            </p:nvSpPr>
            <p:spPr bwMode="auto">
              <a:xfrm>
                <a:off x="25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Oval 2933">
                <a:extLst>
                  <a:ext uri="{FF2B5EF4-FFF2-40B4-BE49-F238E27FC236}">
                    <a16:creationId xmlns:a16="http://schemas.microsoft.com/office/drawing/2014/main" id="{8E7833C2-5A08-4288-A9DA-15FEC03FA8F5}"/>
                  </a:ext>
                </a:extLst>
              </p:cNvPr>
              <p:cNvSpPr>
                <a:spLocks noChangeArrowheads="1"/>
              </p:cNvSpPr>
              <p:nvPr/>
            </p:nvSpPr>
            <p:spPr bwMode="auto">
              <a:xfrm>
                <a:off x="24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Oval 2934">
                <a:extLst>
                  <a:ext uri="{FF2B5EF4-FFF2-40B4-BE49-F238E27FC236}">
                    <a16:creationId xmlns:a16="http://schemas.microsoft.com/office/drawing/2014/main" id="{4A031C5D-7E47-407C-84FC-70D93AF0F7C6}"/>
                  </a:ext>
                </a:extLst>
              </p:cNvPr>
              <p:cNvSpPr>
                <a:spLocks noChangeArrowheads="1"/>
              </p:cNvSpPr>
              <p:nvPr/>
            </p:nvSpPr>
            <p:spPr bwMode="auto">
              <a:xfrm>
                <a:off x="238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Oval 2935">
                <a:extLst>
                  <a:ext uri="{FF2B5EF4-FFF2-40B4-BE49-F238E27FC236}">
                    <a16:creationId xmlns:a16="http://schemas.microsoft.com/office/drawing/2014/main" id="{7BDB65D5-DDEE-40F4-8A4B-8C84A0D5899F}"/>
                  </a:ext>
                </a:extLst>
              </p:cNvPr>
              <p:cNvSpPr>
                <a:spLocks noChangeArrowheads="1"/>
              </p:cNvSpPr>
              <p:nvPr/>
            </p:nvSpPr>
            <p:spPr bwMode="auto">
              <a:xfrm>
                <a:off x="256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Oval 2936">
                <a:extLst>
                  <a:ext uri="{FF2B5EF4-FFF2-40B4-BE49-F238E27FC236}">
                    <a16:creationId xmlns:a16="http://schemas.microsoft.com/office/drawing/2014/main" id="{5D9367E7-BC26-4345-B1E8-3CA42CF36A29}"/>
                  </a:ext>
                </a:extLst>
              </p:cNvPr>
              <p:cNvSpPr>
                <a:spLocks noChangeArrowheads="1"/>
              </p:cNvSpPr>
              <p:nvPr/>
            </p:nvSpPr>
            <p:spPr bwMode="auto">
              <a:xfrm>
                <a:off x="232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Oval 2937">
                <a:extLst>
                  <a:ext uri="{FF2B5EF4-FFF2-40B4-BE49-F238E27FC236}">
                    <a16:creationId xmlns:a16="http://schemas.microsoft.com/office/drawing/2014/main" id="{007F53EF-DC0B-4428-BB4E-95392C9BE2B4}"/>
                  </a:ext>
                </a:extLst>
              </p:cNvPr>
              <p:cNvSpPr>
                <a:spLocks noChangeArrowheads="1"/>
              </p:cNvSpPr>
              <p:nvPr/>
            </p:nvSpPr>
            <p:spPr bwMode="auto">
              <a:xfrm>
                <a:off x="250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Oval 2938">
                <a:extLst>
                  <a:ext uri="{FF2B5EF4-FFF2-40B4-BE49-F238E27FC236}">
                    <a16:creationId xmlns:a16="http://schemas.microsoft.com/office/drawing/2014/main" id="{CDFB961D-4604-4EC7-87F8-99EFCCC817C5}"/>
                  </a:ext>
                </a:extLst>
              </p:cNvPr>
              <p:cNvSpPr>
                <a:spLocks noChangeArrowheads="1"/>
              </p:cNvSpPr>
              <p:nvPr/>
            </p:nvSpPr>
            <p:spPr bwMode="auto">
              <a:xfrm>
                <a:off x="238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Oval 2939">
                <a:extLst>
                  <a:ext uri="{FF2B5EF4-FFF2-40B4-BE49-F238E27FC236}">
                    <a16:creationId xmlns:a16="http://schemas.microsoft.com/office/drawing/2014/main" id="{70C1AB44-7716-4A0E-B1C3-D6F4A863A340}"/>
                  </a:ext>
                </a:extLst>
              </p:cNvPr>
              <p:cNvSpPr>
                <a:spLocks noChangeArrowheads="1"/>
              </p:cNvSpPr>
              <p:nvPr/>
            </p:nvSpPr>
            <p:spPr bwMode="auto">
              <a:xfrm>
                <a:off x="244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Oval 2940">
                <a:extLst>
                  <a:ext uri="{FF2B5EF4-FFF2-40B4-BE49-F238E27FC236}">
                    <a16:creationId xmlns:a16="http://schemas.microsoft.com/office/drawing/2014/main" id="{E5F10C23-5914-4F5E-A55E-C592AD3940BC}"/>
                  </a:ext>
                </a:extLst>
              </p:cNvPr>
              <p:cNvSpPr>
                <a:spLocks noChangeArrowheads="1"/>
              </p:cNvSpPr>
              <p:nvPr/>
            </p:nvSpPr>
            <p:spPr bwMode="auto">
              <a:xfrm>
                <a:off x="250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Oval 2941">
                <a:extLst>
                  <a:ext uri="{FF2B5EF4-FFF2-40B4-BE49-F238E27FC236}">
                    <a16:creationId xmlns:a16="http://schemas.microsoft.com/office/drawing/2014/main" id="{E20BC217-B1F5-412E-8D28-0C32F6DA0845}"/>
                  </a:ext>
                </a:extLst>
              </p:cNvPr>
              <p:cNvSpPr>
                <a:spLocks noChangeArrowheads="1"/>
              </p:cNvSpPr>
              <p:nvPr/>
            </p:nvSpPr>
            <p:spPr bwMode="auto">
              <a:xfrm>
                <a:off x="256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Oval 2942">
                <a:extLst>
                  <a:ext uri="{FF2B5EF4-FFF2-40B4-BE49-F238E27FC236}">
                    <a16:creationId xmlns:a16="http://schemas.microsoft.com/office/drawing/2014/main" id="{6333250F-96ED-419D-847E-20A7B3AF5186}"/>
                  </a:ext>
                </a:extLst>
              </p:cNvPr>
              <p:cNvSpPr>
                <a:spLocks noChangeArrowheads="1"/>
              </p:cNvSpPr>
              <p:nvPr/>
            </p:nvSpPr>
            <p:spPr bwMode="auto">
              <a:xfrm>
                <a:off x="244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Oval 2943">
                <a:extLst>
                  <a:ext uri="{FF2B5EF4-FFF2-40B4-BE49-F238E27FC236}">
                    <a16:creationId xmlns:a16="http://schemas.microsoft.com/office/drawing/2014/main" id="{B84AE878-AE2E-4AC0-9A3B-D0A25724FC29}"/>
                  </a:ext>
                </a:extLst>
              </p:cNvPr>
              <p:cNvSpPr>
                <a:spLocks noChangeArrowheads="1"/>
              </p:cNvSpPr>
              <p:nvPr/>
            </p:nvSpPr>
            <p:spPr bwMode="auto">
              <a:xfrm>
                <a:off x="238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Oval 2944">
                <a:extLst>
                  <a:ext uri="{FF2B5EF4-FFF2-40B4-BE49-F238E27FC236}">
                    <a16:creationId xmlns:a16="http://schemas.microsoft.com/office/drawing/2014/main" id="{5B7350C0-B339-4137-A2F0-CB6AABA6AD17}"/>
                  </a:ext>
                </a:extLst>
              </p:cNvPr>
              <p:cNvSpPr>
                <a:spLocks noChangeArrowheads="1"/>
              </p:cNvSpPr>
              <p:nvPr/>
            </p:nvSpPr>
            <p:spPr bwMode="auto">
              <a:xfrm>
                <a:off x="238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Oval 2945">
                <a:extLst>
                  <a:ext uri="{FF2B5EF4-FFF2-40B4-BE49-F238E27FC236}">
                    <a16:creationId xmlns:a16="http://schemas.microsoft.com/office/drawing/2014/main" id="{B9335976-CB74-4EFC-8250-493FDB73A749}"/>
                  </a:ext>
                </a:extLst>
              </p:cNvPr>
              <p:cNvSpPr>
                <a:spLocks noChangeArrowheads="1"/>
              </p:cNvSpPr>
              <p:nvPr/>
            </p:nvSpPr>
            <p:spPr bwMode="auto">
              <a:xfrm>
                <a:off x="250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Oval 2946">
                <a:extLst>
                  <a:ext uri="{FF2B5EF4-FFF2-40B4-BE49-F238E27FC236}">
                    <a16:creationId xmlns:a16="http://schemas.microsoft.com/office/drawing/2014/main" id="{D400857F-BE3B-453D-B96E-DEC65F6296B6}"/>
                  </a:ext>
                </a:extLst>
              </p:cNvPr>
              <p:cNvSpPr>
                <a:spLocks noChangeArrowheads="1"/>
              </p:cNvSpPr>
              <p:nvPr/>
            </p:nvSpPr>
            <p:spPr bwMode="auto">
              <a:xfrm>
                <a:off x="232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Oval 2947">
                <a:extLst>
                  <a:ext uri="{FF2B5EF4-FFF2-40B4-BE49-F238E27FC236}">
                    <a16:creationId xmlns:a16="http://schemas.microsoft.com/office/drawing/2014/main" id="{BA5C0F6A-0D73-40EB-BD7E-62505D43951D}"/>
                  </a:ext>
                </a:extLst>
              </p:cNvPr>
              <p:cNvSpPr>
                <a:spLocks noChangeArrowheads="1"/>
              </p:cNvSpPr>
              <p:nvPr/>
            </p:nvSpPr>
            <p:spPr bwMode="auto">
              <a:xfrm>
                <a:off x="247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Oval 2948">
                <a:extLst>
                  <a:ext uri="{FF2B5EF4-FFF2-40B4-BE49-F238E27FC236}">
                    <a16:creationId xmlns:a16="http://schemas.microsoft.com/office/drawing/2014/main" id="{F5C5D7E9-CE23-4A3C-BC11-91D34AA0CE2E}"/>
                  </a:ext>
                </a:extLst>
              </p:cNvPr>
              <p:cNvSpPr>
                <a:spLocks noChangeArrowheads="1"/>
              </p:cNvSpPr>
              <p:nvPr/>
            </p:nvSpPr>
            <p:spPr bwMode="auto">
              <a:xfrm>
                <a:off x="244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Oval 2949">
                <a:extLst>
                  <a:ext uri="{FF2B5EF4-FFF2-40B4-BE49-F238E27FC236}">
                    <a16:creationId xmlns:a16="http://schemas.microsoft.com/office/drawing/2014/main" id="{813AD230-3CF8-4AAC-ADEB-5E35CA4D4041}"/>
                  </a:ext>
                </a:extLst>
              </p:cNvPr>
              <p:cNvSpPr>
                <a:spLocks noChangeArrowheads="1"/>
              </p:cNvSpPr>
              <p:nvPr/>
            </p:nvSpPr>
            <p:spPr bwMode="auto">
              <a:xfrm>
                <a:off x="223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Oval 2950">
                <a:extLst>
                  <a:ext uri="{FF2B5EF4-FFF2-40B4-BE49-F238E27FC236}">
                    <a16:creationId xmlns:a16="http://schemas.microsoft.com/office/drawing/2014/main" id="{33B76E41-F424-4556-B666-0514FE097572}"/>
                  </a:ext>
                </a:extLst>
              </p:cNvPr>
              <p:cNvSpPr>
                <a:spLocks noChangeArrowheads="1"/>
              </p:cNvSpPr>
              <p:nvPr/>
            </p:nvSpPr>
            <p:spPr bwMode="auto">
              <a:xfrm>
                <a:off x="223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Oval 2951">
                <a:extLst>
                  <a:ext uri="{FF2B5EF4-FFF2-40B4-BE49-F238E27FC236}">
                    <a16:creationId xmlns:a16="http://schemas.microsoft.com/office/drawing/2014/main" id="{A4C61ACB-9542-4924-8D33-EC1C86499294}"/>
                  </a:ext>
                </a:extLst>
              </p:cNvPr>
              <p:cNvSpPr>
                <a:spLocks noChangeArrowheads="1"/>
              </p:cNvSpPr>
              <p:nvPr/>
            </p:nvSpPr>
            <p:spPr bwMode="auto">
              <a:xfrm>
                <a:off x="235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Oval 2952">
                <a:extLst>
                  <a:ext uri="{FF2B5EF4-FFF2-40B4-BE49-F238E27FC236}">
                    <a16:creationId xmlns:a16="http://schemas.microsoft.com/office/drawing/2014/main" id="{B676065F-47B3-46E0-ABCA-462AF6C07EE9}"/>
                  </a:ext>
                </a:extLst>
              </p:cNvPr>
              <p:cNvSpPr>
                <a:spLocks noChangeArrowheads="1"/>
              </p:cNvSpPr>
              <p:nvPr/>
            </p:nvSpPr>
            <p:spPr bwMode="auto">
              <a:xfrm>
                <a:off x="244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Oval 2953">
                <a:extLst>
                  <a:ext uri="{FF2B5EF4-FFF2-40B4-BE49-F238E27FC236}">
                    <a16:creationId xmlns:a16="http://schemas.microsoft.com/office/drawing/2014/main" id="{2571D461-B79B-462E-AC2F-D30945DC8AD2}"/>
                  </a:ext>
                </a:extLst>
              </p:cNvPr>
              <p:cNvSpPr>
                <a:spLocks noChangeArrowheads="1"/>
              </p:cNvSpPr>
              <p:nvPr/>
            </p:nvSpPr>
            <p:spPr bwMode="auto">
              <a:xfrm>
                <a:off x="250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Oval 2954">
                <a:extLst>
                  <a:ext uri="{FF2B5EF4-FFF2-40B4-BE49-F238E27FC236}">
                    <a16:creationId xmlns:a16="http://schemas.microsoft.com/office/drawing/2014/main" id="{8FAEA4AC-2E0B-4E47-89B6-B8C44E1327AE}"/>
                  </a:ext>
                </a:extLst>
              </p:cNvPr>
              <p:cNvSpPr>
                <a:spLocks noChangeArrowheads="1"/>
              </p:cNvSpPr>
              <p:nvPr/>
            </p:nvSpPr>
            <p:spPr bwMode="auto">
              <a:xfrm>
                <a:off x="247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Oval 2955">
                <a:extLst>
                  <a:ext uri="{FF2B5EF4-FFF2-40B4-BE49-F238E27FC236}">
                    <a16:creationId xmlns:a16="http://schemas.microsoft.com/office/drawing/2014/main" id="{7AC81E8C-E769-444D-AEF1-EDBFFF6CB9C3}"/>
                  </a:ext>
                </a:extLst>
              </p:cNvPr>
              <p:cNvSpPr>
                <a:spLocks noChangeArrowheads="1"/>
              </p:cNvSpPr>
              <p:nvPr/>
            </p:nvSpPr>
            <p:spPr bwMode="auto">
              <a:xfrm>
                <a:off x="235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Oval 2956">
                <a:extLst>
                  <a:ext uri="{FF2B5EF4-FFF2-40B4-BE49-F238E27FC236}">
                    <a16:creationId xmlns:a16="http://schemas.microsoft.com/office/drawing/2014/main" id="{C6B4251C-221B-44C7-8B39-E80098A15FB7}"/>
                  </a:ext>
                </a:extLst>
              </p:cNvPr>
              <p:cNvSpPr>
                <a:spLocks noChangeArrowheads="1"/>
              </p:cNvSpPr>
              <p:nvPr/>
            </p:nvSpPr>
            <p:spPr bwMode="auto">
              <a:xfrm>
                <a:off x="229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Oval 2957">
                <a:extLst>
                  <a:ext uri="{FF2B5EF4-FFF2-40B4-BE49-F238E27FC236}">
                    <a16:creationId xmlns:a16="http://schemas.microsoft.com/office/drawing/2014/main" id="{01A4ABC1-C25C-49F1-916E-B453331004A5}"/>
                  </a:ext>
                </a:extLst>
              </p:cNvPr>
              <p:cNvSpPr>
                <a:spLocks noChangeArrowheads="1"/>
              </p:cNvSpPr>
              <p:nvPr/>
            </p:nvSpPr>
            <p:spPr bwMode="auto">
              <a:xfrm>
                <a:off x="223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Oval 2958">
                <a:extLst>
                  <a:ext uri="{FF2B5EF4-FFF2-40B4-BE49-F238E27FC236}">
                    <a16:creationId xmlns:a16="http://schemas.microsoft.com/office/drawing/2014/main" id="{EA6E6519-6688-4E57-8D67-A14514AC8DEE}"/>
                  </a:ext>
                </a:extLst>
              </p:cNvPr>
              <p:cNvSpPr>
                <a:spLocks noChangeArrowheads="1"/>
              </p:cNvSpPr>
              <p:nvPr/>
            </p:nvSpPr>
            <p:spPr bwMode="auto">
              <a:xfrm>
                <a:off x="223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Oval 2959">
                <a:extLst>
                  <a:ext uri="{FF2B5EF4-FFF2-40B4-BE49-F238E27FC236}">
                    <a16:creationId xmlns:a16="http://schemas.microsoft.com/office/drawing/2014/main" id="{521BC910-0DE7-40B0-8FE6-170ABC49F532}"/>
                  </a:ext>
                </a:extLst>
              </p:cNvPr>
              <p:cNvSpPr>
                <a:spLocks noChangeArrowheads="1"/>
              </p:cNvSpPr>
              <p:nvPr/>
            </p:nvSpPr>
            <p:spPr bwMode="auto">
              <a:xfrm>
                <a:off x="211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Oval 2960">
                <a:extLst>
                  <a:ext uri="{FF2B5EF4-FFF2-40B4-BE49-F238E27FC236}">
                    <a16:creationId xmlns:a16="http://schemas.microsoft.com/office/drawing/2014/main" id="{6634A09A-DE1D-49DF-9711-F0144F99D898}"/>
                  </a:ext>
                </a:extLst>
              </p:cNvPr>
              <p:cNvSpPr>
                <a:spLocks noChangeArrowheads="1"/>
              </p:cNvSpPr>
              <p:nvPr/>
            </p:nvSpPr>
            <p:spPr bwMode="auto">
              <a:xfrm>
                <a:off x="21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Oval 2961">
                <a:extLst>
                  <a:ext uri="{FF2B5EF4-FFF2-40B4-BE49-F238E27FC236}">
                    <a16:creationId xmlns:a16="http://schemas.microsoft.com/office/drawing/2014/main" id="{6F632774-FFB3-4F60-9898-2120EC58FBC6}"/>
                  </a:ext>
                </a:extLst>
              </p:cNvPr>
              <p:cNvSpPr>
                <a:spLocks noChangeArrowheads="1"/>
              </p:cNvSpPr>
              <p:nvPr/>
            </p:nvSpPr>
            <p:spPr bwMode="auto">
              <a:xfrm>
                <a:off x="238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Oval 2962">
                <a:extLst>
                  <a:ext uri="{FF2B5EF4-FFF2-40B4-BE49-F238E27FC236}">
                    <a16:creationId xmlns:a16="http://schemas.microsoft.com/office/drawing/2014/main" id="{F4F97578-29EB-41CD-A258-2FD82874C67F}"/>
                  </a:ext>
                </a:extLst>
              </p:cNvPr>
              <p:cNvSpPr>
                <a:spLocks noChangeArrowheads="1"/>
              </p:cNvSpPr>
              <p:nvPr/>
            </p:nvSpPr>
            <p:spPr bwMode="auto">
              <a:xfrm>
                <a:off x="238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Oval 2963">
                <a:extLst>
                  <a:ext uri="{FF2B5EF4-FFF2-40B4-BE49-F238E27FC236}">
                    <a16:creationId xmlns:a16="http://schemas.microsoft.com/office/drawing/2014/main" id="{4DEDD640-EAF3-48B4-B5F7-7DC0D745FA4E}"/>
                  </a:ext>
                </a:extLst>
              </p:cNvPr>
              <p:cNvSpPr>
                <a:spLocks noChangeArrowheads="1"/>
              </p:cNvSpPr>
              <p:nvPr/>
            </p:nvSpPr>
            <p:spPr bwMode="auto">
              <a:xfrm>
                <a:off x="226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Oval 2964">
                <a:extLst>
                  <a:ext uri="{FF2B5EF4-FFF2-40B4-BE49-F238E27FC236}">
                    <a16:creationId xmlns:a16="http://schemas.microsoft.com/office/drawing/2014/main" id="{EB8248D2-E166-43E6-8FD9-B4236E6CD339}"/>
                  </a:ext>
                </a:extLst>
              </p:cNvPr>
              <p:cNvSpPr>
                <a:spLocks noChangeArrowheads="1"/>
              </p:cNvSpPr>
              <p:nvPr/>
            </p:nvSpPr>
            <p:spPr bwMode="auto">
              <a:xfrm>
                <a:off x="2145"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Oval 2965">
                <a:extLst>
                  <a:ext uri="{FF2B5EF4-FFF2-40B4-BE49-F238E27FC236}">
                    <a16:creationId xmlns:a16="http://schemas.microsoft.com/office/drawing/2014/main" id="{D7CD4624-23E6-4422-9500-C7D8609780B1}"/>
                  </a:ext>
                </a:extLst>
              </p:cNvPr>
              <p:cNvSpPr>
                <a:spLocks noChangeArrowheads="1"/>
              </p:cNvSpPr>
              <p:nvPr/>
            </p:nvSpPr>
            <p:spPr bwMode="auto">
              <a:xfrm>
                <a:off x="2056" y="30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Oval 2966">
                <a:extLst>
                  <a:ext uri="{FF2B5EF4-FFF2-40B4-BE49-F238E27FC236}">
                    <a16:creationId xmlns:a16="http://schemas.microsoft.com/office/drawing/2014/main" id="{30E33389-6523-4C46-B7AD-A9A24F86851F}"/>
                  </a:ext>
                </a:extLst>
              </p:cNvPr>
              <p:cNvSpPr>
                <a:spLocks noChangeArrowheads="1"/>
              </p:cNvSpPr>
              <p:nvPr/>
            </p:nvSpPr>
            <p:spPr bwMode="auto">
              <a:xfrm>
                <a:off x="1966" y="28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Oval 2967">
                <a:extLst>
                  <a:ext uri="{FF2B5EF4-FFF2-40B4-BE49-F238E27FC236}">
                    <a16:creationId xmlns:a16="http://schemas.microsoft.com/office/drawing/2014/main" id="{0064FDFD-EAC5-48E5-9D7D-786E354F234E}"/>
                  </a:ext>
                </a:extLst>
              </p:cNvPr>
              <p:cNvSpPr>
                <a:spLocks noChangeArrowheads="1"/>
              </p:cNvSpPr>
              <p:nvPr/>
            </p:nvSpPr>
            <p:spPr bwMode="auto">
              <a:xfrm>
                <a:off x="1966"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Oval 2968">
                <a:extLst>
                  <a:ext uri="{FF2B5EF4-FFF2-40B4-BE49-F238E27FC236}">
                    <a16:creationId xmlns:a16="http://schemas.microsoft.com/office/drawing/2014/main" id="{AD63C13D-8244-4730-9AEF-D09AB12C5993}"/>
                  </a:ext>
                </a:extLst>
              </p:cNvPr>
              <p:cNvSpPr>
                <a:spLocks noChangeArrowheads="1"/>
              </p:cNvSpPr>
              <p:nvPr/>
            </p:nvSpPr>
            <p:spPr bwMode="auto">
              <a:xfrm>
                <a:off x="2056" y="264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Oval 2969">
                <a:extLst>
                  <a:ext uri="{FF2B5EF4-FFF2-40B4-BE49-F238E27FC236}">
                    <a16:creationId xmlns:a16="http://schemas.microsoft.com/office/drawing/2014/main" id="{63ED1D62-C1EB-444F-B56A-744B318AA98B}"/>
                  </a:ext>
                </a:extLst>
              </p:cNvPr>
              <p:cNvSpPr>
                <a:spLocks noChangeArrowheads="1"/>
              </p:cNvSpPr>
              <p:nvPr/>
            </p:nvSpPr>
            <p:spPr bwMode="auto">
              <a:xfrm>
                <a:off x="211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Oval 2970">
                <a:extLst>
                  <a:ext uri="{FF2B5EF4-FFF2-40B4-BE49-F238E27FC236}">
                    <a16:creationId xmlns:a16="http://schemas.microsoft.com/office/drawing/2014/main" id="{DAC9B837-6683-4BA6-9A76-9083498EC9B1}"/>
                  </a:ext>
                </a:extLst>
              </p:cNvPr>
              <p:cNvSpPr>
                <a:spLocks noChangeArrowheads="1"/>
              </p:cNvSpPr>
              <p:nvPr/>
            </p:nvSpPr>
            <p:spPr bwMode="auto">
              <a:xfrm>
                <a:off x="196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2971">
                <a:extLst>
                  <a:ext uri="{FF2B5EF4-FFF2-40B4-BE49-F238E27FC236}">
                    <a16:creationId xmlns:a16="http://schemas.microsoft.com/office/drawing/2014/main" id="{77CA008B-101A-4E6D-86F7-943E4CC96598}"/>
                  </a:ext>
                </a:extLst>
              </p:cNvPr>
              <p:cNvSpPr>
                <a:spLocks noChangeArrowheads="1"/>
              </p:cNvSpPr>
              <p:nvPr/>
            </p:nvSpPr>
            <p:spPr bwMode="auto">
              <a:xfrm>
                <a:off x="2056" y="24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2972">
                <a:extLst>
                  <a:ext uri="{FF2B5EF4-FFF2-40B4-BE49-F238E27FC236}">
                    <a16:creationId xmlns:a16="http://schemas.microsoft.com/office/drawing/2014/main" id="{6D7FD997-C98E-447E-82FC-40717CD450E5}"/>
                  </a:ext>
                </a:extLst>
              </p:cNvPr>
              <p:cNvSpPr>
                <a:spLocks noChangeArrowheads="1"/>
              </p:cNvSpPr>
              <p:nvPr/>
            </p:nvSpPr>
            <p:spPr bwMode="auto">
              <a:xfrm>
                <a:off x="21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Oval 2973">
                <a:extLst>
                  <a:ext uri="{FF2B5EF4-FFF2-40B4-BE49-F238E27FC236}">
                    <a16:creationId xmlns:a16="http://schemas.microsoft.com/office/drawing/2014/main" id="{68042273-2364-4557-B5C8-BD6E749548B4}"/>
                  </a:ext>
                </a:extLst>
              </p:cNvPr>
              <p:cNvSpPr>
                <a:spLocks noChangeArrowheads="1"/>
              </p:cNvSpPr>
              <p:nvPr/>
            </p:nvSpPr>
            <p:spPr bwMode="auto">
              <a:xfrm>
                <a:off x="196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2974">
                <a:extLst>
                  <a:ext uri="{FF2B5EF4-FFF2-40B4-BE49-F238E27FC236}">
                    <a16:creationId xmlns:a16="http://schemas.microsoft.com/office/drawing/2014/main" id="{D7790109-342F-4303-AF83-B5EC0B7C2F01}"/>
                  </a:ext>
                </a:extLst>
              </p:cNvPr>
              <p:cNvSpPr>
                <a:spLocks noChangeArrowheads="1"/>
              </p:cNvSpPr>
              <p:nvPr/>
            </p:nvSpPr>
            <p:spPr bwMode="auto">
              <a:xfrm>
                <a:off x="187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2975">
                <a:extLst>
                  <a:ext uri="{FF2B5EF4-FFF2-40B4-BE49-F238E27FC236}">
                    <a16:creationId xmlns:a16="http://schemas.microsoft.com/office/drawing/2014/main" id="{69044413-9060-4903-8568-2B735496DDA9}"/>
                  </a:ext>
                </a:extLst>
              </p:cNvPr>
              <p:cNvSpPr>
                <a:spLocks noChangeArrowheads="1"/>
              </p:cNvSpPr>
              <p:nvPr/>
            </p:nvSpPr>
            <p:spPr bwMode="auto">
              <a:xfrm>
                <a:off x="178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Oval 2976">
                <a:extLst>
                  <a:ext uri="{FF2B5EF4-FFF2-40B4-BE49-F238E27FC236}">
                    <a16:creationId xmlns:a16="http://schemas.microsoft.com/office/drawing/2014/main" id="{B5FC25B4-D4BF-41D9-833A-E4C6A78F6B64}"/>
                  </a:ext>
                </a:extLst>
              </p:cNvPr>
              <p:cNvSpPr>
                <a:spLocks noChangeArrowheads="1"/>
              </p:cNvSpPr>
              <p:nvPr/>
            </p:nvSpPr>
            <p:spPr bwMode="auto">
              <a:xfrm>
                <a:off x="1756"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Oval 2977">
                <a:extLst>
                  <a:ext uri="{FF2B5EF4-FFF2-40B4-BE49-F238E27FC236}">
                    <a16:creationId xmlns:a16="http://schemas.microsoft.com/office/drawing/2014/main" id="{B98E4AB9-BB3D-4133-93C2-88B1DEF3BAFC}"/>
                  </a:ext>
                </a:extLst>
              </p:cNvPr>
              <p:cNvSpPr>
                <a:spLocks noChangeArrowheads="1"/>
              </p:cNvSpPr>
              <p:nvPr/>
            </p:nvSpPr>
            <p:spPr bwMode="auto">
              <a:xfrm>
                <a:off x="187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Oval 2978">
                <a:extLst>
                  <a:ext uri="{FF2B5EF4-FFF2-40B4-BE49-F238E27FC236}">
                    <a16:creationId xmlns:a16="http://schemas.microsoft.com/office/drawing/2014/main" id="{2AEADBF4-552E-4CC2-AE01-1416E603AB43}"/>
                  </a:ext>
                </a:extLst>
              </p:cNvPr>
              <p:cNvSpPr>
                <a:spLocks noChangeArrowheads="1"/>
              </p:cNvSpPr>
              <p:nvPr/>
            </p:nvSpPr>
            <p:spPr bwMode="auto">
              <a:xfrm>
                <a:off x="1816"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Oval 2979">
                <a:extLst>
                  <a:ext uri="{FF2B5EF4-FFF2-40B4-BE49-F238E27FC236}">
                    <a16:creationId xmlns:a16="http://schemas.microsoft.com/office/drawing/2014/main" id="{92BBB966-8D1E-4979-8423-4FADDC597B13}"/>
                  </a:ext>
                </a:extLst>
              </p:cNvPr>
              <p:cNvSpPr>
                <a:spLocks noChangeArrowheads="1"/>
              </p:cNvSpPr>
              <p:nvPr/>
            </p:nvSpPr>
            <p:spPr bwMode="auto">
              <a:xfrm>
                <a:off x="18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Oval 2980">
                <a:extLst>
                  <a:ext uri="{FF2B5EF4-FFF2-40B4-BE49-F238E27FC236}">
                    <a16:creationId xmlns:a16="http://schemas.microsoft.com/office/drawing/2014/main" id="{016D6A60-5B45-43C8-B31C-D283E1B9364A}"/>
                  </a:ext>
                </a:extLst>
              </p:cNvPr>
              <p:cNvSpPr>
                <a:spLocks noChangeArrowheads="1"/>
              </p:cNvSpPr>
              <p:nvPr/>
            </p:nvSpPr>
            <p:spPr bwMode="auto">
              <a:xfrm>
                <a:off x="184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Oval 2981">
                <a:extLst>
                  <a:ext uri="{FF2B5EF4-FFF2-40B4-BE49-F238E27FC236}">
                    <a16:creationId xmlns:a16="http://schemas.microsoft.com/office/drawing/2014/main" id="{7749B50E-295A-49B4-A8C0-64EF0C5F22C6}"/>
                  </a:ext>
                </a:extLst>
              </p:cNvPr>
              <p:cNvSpPr>
                <a:spLocks noChangeArrowheads="1"/>
              </p:cNvSpPr>
              <p:nvPr/>
            </p:nvSpPr>
            <p:spPr bwMode="auto">
              <a:xfrm>
                <a:off x="229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Oval 2982">
                <a:extLst>
                  <a:ext uri="{FF2B5EF4-FFF2-40B4-BE49-F238E27FC236}">
                    <a16:creationId xmlns:a16="http://schemas.microsoft.com/office/drawing/2014/main" id="{AA003ED7-A514-4E68-9A77-4A9EF9B025A6}"/>
                  </a:ext>
                </a:extLst>
              </p:cNvPr>
              <p:cNvSpPr>
                <a:spLocks noChangeArrowheads="1"/>
              </p:cNvSpPr>
              <p:nvPr/>
            </p:nvSpPr>
            <p:spPr bwMode="auto">
              <a:xfrm>
                <a:off x="232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Oval 2984">
              <a:extLst>
                <a:ext uri="{FF2B5EF4-FFF2-40B4-BE49-F238E27FC236}">
                  <a16:creationId xmlns:a16="http://schemas.microsoft.com/office/drawing/2014/main" id="{99CBCAC9-2774-40DE-A502-59A958BF43C0}"/>
                </a:ext>
              </a:extLst>
            </p:cNvPr>
            <p:cNvSpPr>
              <a:spLocks noChangeArrowheads="1"/>
            </p:cNvSpPr>
            <p:nvPr/>
          </p:nvSpPr>
          <p:spPr bwMode="auto">
            <a:xfrm>
              <a:off x="232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Oval 2985">
              <a:extLst>
                <a:ext uri="{FF2B5EF4-FFF2-40B4-BE49-F238E27FC236}">
                  <a16:creationId xmlns:a16="http://schemas.microsoft.com/office/drawing/2014/main" id="{9E709CD9-024E-4DDC-BB5F-5498137E54F3}"/>
                </a:ext>
              </a:extLst>
            </p:cNvPr>
            <p:cNvSpPr>
              <a:spLocks noChangeArrowheads="1"/>
            </p:cNvSpPr>
            <p:nvPr/>
          </p:nvSpPr>
          <p:spPr bwMode="auto">
            <a:xfrm>
              <a:off x="214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Oval 2986">
              <a:extLst>
                <a:ext uri="{FF2B5EF4-FFF2-40B4-BE49-F238E27FC236}">
                  <a16:creationId xmlns:a16="http://schemas.microsoft.com/office/drawing/2014/main" id="{AD13E149-AB86-44A1-9026-FDAC0C028055}"/>
                </a:ext>
              </a:extLst>
            </p:cNvPr>
            <p:cNvSpPr>
              <a:spLocks noChangeArrowheads="1"/>
            </p:cNvSpPr>
            <p:nvPr/>
          </p:nvSpPr>
          <p:spPr bwMode="auto">
            <a:xfrm>
              <a:off x="2026"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Oval 2987">
              <a:extLst>
                <a:ext uri="{FF2B5EF4-FFF2-40B4-BE49-F238E27FC236}">
                  <a16:creationId xmlns:a16="http://schemas.microsoft.com/office/drawing/2014/main" id="{EAF8A41B-863B-434C-952F-22A7EA2D5A11}"/>
                </a:ext>
              </a:extLst>
            </p:cNvPr>
            <p:cNvSpPr>
              <a:spLocks noChangeArrowheads="1"/>
            </p:cNvSpPr>
            <p:nvPr/>
          </p:nvSpPr>
          <p:spPr bwMode="auto">
            <a:xfrm>
              <a:off x="18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2988">
              <a:extLst>
                <a:ext uri="{FF2B5EF4-FFF2-40B4-BE49-F238E27FC236}">
                  <a16:creationId xmlns:a16="http://schemas.microsoft.com/office/drawing/2014/main" id="{FD49F3EF-342D-41B1-BBD2-C53F5E668F87}"/>
                </a:ext>
              </a:extLst>
            </p:cNvPr>
            <p:cNvSpPr>
              <a:spLocks noChangeArrowheads="1"/>
            </p:cNvSpPr>
            <p:nvPr/>
          </p:nvSpPr>
          <p:spPr bwMode="auto">
            <a:xfrm>
              <a:off x="2056" y="19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Oval 2989">
              <a:extLst>
                <a:ext uri="{FF2B5EF4-FFF2-40B4-BE49-F238E27FC236}">
                  <a16:creationId xmlns:a16="http://schemas.microsoft.com/office/drawing/2014/main" id="{3126D52C-3589-43C9-8DF9-E4E2A898A01C}"/>
                </a:ext>
              </a:extLst>
            </p:cNvPr>
            <p:cNvSpPr>
              <a:spLocks noChangeArrowheads="1"/>
            </p:cNvSpPr>
            <p:nvPr/>
          </p:nvSpPr>
          <p:spPr bwMode="auto">
            <a:xfrm>
              <a:off x="199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2990">
              <a:extLst>
                <a:ext uri="{FF2B5EF4-FFF2-40B4-BE49-F238E27FC236}">
                  <a16:creationId xmlns:a16="http://schemas.microsoft.com/office/drawing/2014/main" id="{9FFB40C4-5450-473E-A374-DC9871775D67}"/>
                </a:ext>
              </a:extLst>
            </p:cNvPr>
            <p:cNvSpPr>
              <a:spLocks noChangeArrowheads="1"/>
            </p:cNvSpPr>
            <p:nvPr/>
          </p:nvSpPr>
          <p:spPr bwMode="auto">
            <a:xfrm>
              <a:off x="21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Oval 2991">
              <a:extLst>
                <a:ext uri="{FF2B5EF4-FFF2-40B4-BE49-F238E27FC236}">
                  <a16:creationId xmlns:a16="http://schemas.microsoft.com/office/drawing/2014/main" id="{9DFA0572-DE38-43E2-8108-AD7660D0445E}"/>
                </a:ext>
              </a:extLst>
            </p:cNvPr>
            <p:cNvSpPr>
              <a:spLocks noChangeArrowheads="1"/>
            </p:cNvSpPr>
            <p:nvPr/>
          </p:nvSpPr>
          <p:spPr bwMode="auto">
            <a:xfrm>
              <a:off x="2145"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2992">
              <a:extLst>
                <a:ext uri="{FF2B5EF4-FFF2-40B4-BE49-F238E27FC236}">
                  <a16:creationId xmlns:a16="http://schemas.microsoft.com/office/drawing/2014/main" id="{DE01796A-DB78-4956-9FBC-A73AF33BA191}"/>
                </a:ext>
              </a:extLst>
            </p:cNvPr>
            <p:cNvSpPr>
              <a:spLocks noChangeArrowheads="1"/>
            </p:cNvSpPr>
            <p:nvPr/>
          </p:nvSpPr>
          <p:spPr bwMode="auto">
            <a:xfrm>
              <a:off x="220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2993">
              <a:extLst>
                <a:ext uri="{FF2B5EF4-FFF2-40B4-BE49-F238E27FC236}">
                  <a16:creationId xmlns:a16="http://schemas.microsoft.com/office/drawing/2014/main" id="{AFAB0371-545B-47AB-A2B7-44E7CC834703}"/>
                </a:ext>
              </a:extLst>
            </p:cNvPr>
            <p:cNvSpPr>
              <a:spLocks noChangeArrowheads="1"/>
            </p:cNvSpPr>
            <p:nvPr/>
          </p:nvSpPr>
          <p:spPr bwMode="auto">
            <a:xfrm>
              <a:off x="2086"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2994">
              <a:extLst>
                <a:ext uri="{FF2B5EF4-FFF2-40B4-BE49-F238E27FC236}">
                  <a16:creationId xmlns:a16="http://schemas.microsoft.com/office/drawing/2014/main" id="{94DF091A-633B-476B-9978-5F7AE36F569B}"/>
                </a:ext>
              </a:extLst>
            </p:cNvPr>
            <p:cNvSpPr>
              <a:spLocks noChangeArrowheads="1"/>
            </p:cNvSpPr>
            <p:nvPr/>
          </p:nvSpPr>
          <p:spPr bwMode="auto">
            <a:xfrm>
              <a:off x="2205"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2995">
              <a:extLst>
                <a:ext uri="{FF2B5EF4-FFF2-40B4-BE49-F238E27FC236}">
                  <a16:creationId xmlns:a16="http://schemas.microsoft.com/office/drawing/2014/main" id="{E7196DAB-02F5-4FD8-928E-B52B89743C6F}"/>
                </a:ext>
              </a:extLst>
            </p:cNvPr>
            <p:cNvSpPr>
              <a:spLocks noChangeArrowheads="1"/>
            </p:cNvSpPr>
            <p:nvPr/>
          </p:nvSpPr>
          <p:spPr bwMode="auto">
            <a:xfrm>
              <a:off x="21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2996">
              <a:extLst>
                <a:ext uri="{FF2B5EF4-FFF2-40B4-BE49-F238E27FC236}">
                  <a16:creationId xmlns:a16="http://schemas.microsoft.com/office/drawing/2014/main" id="{6E3F25B1-2DF1-4038-9FD9-1DA82C353CE6}"/>
                </a:ext>
              </a:extLst>
            </p:cNvPr>
            <p:cNvSpPr>
              <a:spLocks noChangeArrowheads="1"/>
            </p:cNvSpPr>
            <p:nvPr/>
          </p:nvSpPr>
          <p:spPr bwMode="auto">
            <a:xfrm>
              <a:off x="2026"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Oval 2997">
              <a:extLst>
                <a:ext uri="{FF2B5EF4-FFF2-40B4-BE49-F238E27FC236}">
                  <a16:creationId xmlns:a16="http://schemas.microsoft.com/office/drawing/2014/main" id="{76636D4A-4D94-4089-922C-C9F6E686FC84}"/>
                </a:ext>
              </a:extLst>
            </p:cNvPr>
            <p:cNvSpPr>
              <a:spLocks noChangeArrowheads="1"/>
            </p:cNvSpPr>
            <p:nvPr/>
          </p:nvSpPr>
          <p:spPr bwMode="auto">
            <a:xfrm>
              <a:off x="199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Oval 2998">
              <a:extLst>
                <a:ext uri="{FF2B5EF4-FFF2-40B4-BE49-F238E27FC236}">
                  <a16:creationId xmlns:a16="http://schemas.microsoft.com/office/drawing/2014/main" id="{A138E22E-848A-4FF4-B539-D94F1B06E700}"/>
                </a:ext>
              </a:extLst>
            </p:cNvPr>
            <p:cNvSpPr>
              <a:spLocks noChangeArrowheads="1"/>
            </p:cNvSpPr>
            <p:nvPr/>
          </p:nvSpPr>
          <p:spPr bwMode="auto">
            <a:xfrm>
              <a:off x="19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2999">
              <a:extLst>
                <a:ext uri="{FF2B5EF4-FFF2-40B4-BE49-F238E27FC236}">
                  <a16:creationId xmlns:a16="http://schemas.microsoft.com/office/drawing/2014/main" id="{DEF33E37-7B06-4D91-89FA-299004ECDA17}"/>
                </a:ext>
              </a:extLst>
            </p:cNvPr>
            <p:cNvSpPr>
              <a:spLocks noChangeArrowheads="1"/>
            </p:cNvSpPr>
            <p:nvPr/>
          </p:nvSpPr>
          <p:spPr bwMode="auto">
            <a:xfrm>
              <a:off x="190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Oval 3000">
              <a:extLst>
                <a:ext uri="{FF2B5EF4-FFF2-40B4-BE49-F238E27FC236}">
                  <a16:creationId xmlns:a16="http://schemas.microsoft.com/office/drawing/2014/main" id="{9BAFBE99-C452-420A-A565-4635732CB442}"/>
                </a:ext>
              </a:extLst>
            </p:cNvPr>
            <p:cNvSpPr>
              <a:spLocks noChangeArrowheads="1"/>
            </p:cNvSpPr>
            <p:nvPr/>
          </p:nvSpPr>
          <p:spPr bwMode="auto">
            <a:xfrm>
              <a:off x="2026"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Oval 3001">
              <a:extLst>
                <a:ext uri="{FF2B5EF4-FFF2-40B4-BE49-F238E27FC236}">
                  <a16:creationId xmlns:a16="http://schemas.microsoft.com/office/drawing/2014/main" id="{449B4914-FD5F-4DE8-8240-FD72348A6151}"/>
                </a:ext>
              </a:extLst>
            </p:cNvPr>
            <p:cNvSpPr>
              <a:spLocks noChangeArrowheads="1"/>
            </p:cNvSpPr>
            <p:nvPr/>
          </p:nvSpPr>
          <p:spPr bwMode="auto">
            <a:xfrm>
              <a:off x="1846"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3002">
              <a:extLst>
                <a:ext uri="{FF2B5EF4-FFF2-40B4-BE49-F238E27FC236}">
                  <a16:creationId xmlns:a16="http://schemas.microsoft.com/office/drawing/2014/main" id="{D801864C-F8E6-43B0-8F22-1AB2A362EECC}"/>
                </a:ext>
              </a:extLst>
            </p:cNvPr>
            <p:cNvSpPr>
              <a:spLocks noChangeArrowheads="1"/>
            </p:cNvSpPr>
            <p:nvPr/>
          </p:nvSpPr>
          <p:spPr bwMode="auto">
            <a:xfrm>
              <a:off x="157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3003">
              <a:extLst>
                <a:ext uri="{FF2B5EF4-FFF2-40B4-BE49-F238E27FC236}">
                  <a16:creationId xmlns:a16="http://schemas.microsoft.com/office/drawing/2014/main" id="{79C33C9E-1E15-4439-80D8-1C61908A838E}"/>
                </a:ext>
              </a:extLst>
            </p:cNvPr>
            <p:cNvSpPr>
              <a:spLocks noChangeArrowheads="1"/>
            </p:cNvSpPr>
            <p:nvPr/>
          </p:nvSpPr>
          <p:spPr bwMode="auto">
            <a:xfrm>
              <a:off x="154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3004">
              <a:extLst>
                <a:ext uri="{FF2B5EF4-FFF2-40B4-BE49-F238E27FC236}">
                  <a16:creationId xmlns:a16="http://schemas.microsoft.com/office/drawing/2014/main" id="{77C23087-B6B5-448E-82CB-08CB7043CFB2}"/>
                </a:ext>
              </a:extLst>
            </p:cNvPr>
            <p:cNvSpPr>
              <a:spLocks noChangeArrowheads="1"/>
            </p:cNvSpPr>
            <p:nvPr/>
          </p:nvSpPr>
          <p:spPr bwMode="auto">
            <a:xfrm>
              <a:off x="187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3005">
              <a:extLst>
                <a:ext uri="{FF2B5EF4-FFF2-40B4-BE49-F238E27FC236}">
                  <a16:creationId xmlns:a16="http://schemas.microsoft.com/office/drawing/2014/main" id="{5BA51177-2C58-4C95-BB74-D8D654562928}"/>
                </a:ext>
              </a:extLst>
            </p:cNvPr>
            <p:cNvSpPr>
              <a:spLocks noChangeArrowheads="1"/>
            </p:cNvSpPr>
            <p:nvPr/>
          </p:nvSpPr>
          <p:spPr bwMode="auto">
            <a:xfrm>
              <a:off x="19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3006">
              <a:extLst>
                <a:ext uri="{FF2B5EF4-FFF2-40B4-BE49-F238E27FC236}">
                  <a16:creationId xmlns:a16="http://schemas.microsoft.com/office/drawing/2014/main" id="{BE506AEE-A63F-4128-A1D1-91B6F139CED4}"/>
                </a:ext>
              </a:extLst>
            </p:cNvPr>
            <p:cNvSpPr>
              <a:spLocks noChangeArrowheads="1"/>
            </p:cNvSpPr>
            <p:nvPr/>
          </p:nvSpPr>
          <p:spPr bwMode="auto">
            <a:xfrm>
              <a:off x="226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3007">
              <a:extLst>
                <a:ext uri="{FF2B5EF4-FFF2-40B4-BE49-F238E27FC236}">
                  <a16:creationId xmlns:a16="http://schemas.microsoft.com/office/drawing/2014/main" id="{94A60A45-F086-4233-B065-81BC6DE94577}"/>
                </a:ext>
              </a:extLst>
            </p:cNvPr>
            <p:cNvSpPr>
              <a:spLocks noChangeArrowheads="1"/>
            </p:cNvSpPr>
            <p:nvPr/>
          </p:nvSpPr>
          <p:spPr bwMode="auto">
            <a:xfrm>
              <a:off x="223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3008">
              <a:extLst>
                <a:ext uri="{FF2B5EF4-FFF2-40B4-BE49-F238E27FC236}">
                  <a16:creationId xmlns:a16="http://schemas.microsoft.com/office/drawing/2014/main" id="{52600514-0E7E-439E-B921-750005A536FD}"/>
                </a:ext>
              </a:extLst>
            </p:cNvPr>
            <p:cNvSpPr>
              <a:spLocks noChangeArrowheads="1"/>
            </p:cNvSpPr>
            <p:nvPr/>
          </p:nvSpPr>
          <p:spPr bwMode="auto">
            <a:xfrm>
              <a:off x="223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3009">
              <a:extLst>
                <a:ext uri="{FF2B5EF4-FFF2-40B4-BE49-F238E27FC236}">
                  <a16:creationId xmlns:a16="http://schemas.microsoft.com/office/drawing/2014/main" id="{7F365928-12F9-4D5A-AA5E-AF6A9FF8B4C2}"/>
                </a:ext>
              </a:extLst>
            </p:cNvPr>
            <p:cNvSpPr>
              <a:spLocks noChangeArrowheads="1"/>
            </p:cNvSpPr>
            <p:nvPr/>
          </p:nvSpPr>
          <p:spPr bwMode="auto">
            <a:xfrm>
              <a:off x="241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3010">
              <a:extLst>
                <a:ext uri="{FF2B5EF4-FFF2-40B4-BE49-F238E27FC236}">
                  <a16:creationId xmlns:a16="http://schemas.microsoft.com/office/drawing/2014/main" id="{0B71736C-6C26-46EA-AC8D-0E077FED4218}"/>
                </a:ext>
              </a:extLst>
            </p:cNvPr>
            <p:cNvSpPr>
              <a:spLocks noChangeArrowheads="1"/>
            </p:cNvSpPr>
            <p:nvPr/>
          </p:nvSpPr>
          <p:spPr bwMode="auto">
            <a:xfrm>
              <a:off x="274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3011">
              <a:extLst>
                <a:ext uri="{FF2B5EF4-FFF2-40B4-BE49-F238E27FC236}">
                  <a16:creationId xmlns:a16="http://schemas.microsoft.com/office/drawing/2014/main" id="{7E4E8A59-32AD-4E02-B909-777A7C5E565E}"/>
                </a:ext>
              </a:extLst>
            </p:cNvPr>
            <p:cNvSpPr>
              <a:spLocks noChangeArrowheads="1"/>
            </p:cNvSpPr>
            <p:nvPr/>
          </p:nvSpPr>
          <p:spPr bwMode="auto">
            <a:xfrm>
              <a:off x="265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3012">
              <a:extLst>
                <a:ext uri="{FF2B5EF4-FFF2-40B4-BE49-F238E27FC236}">
                  <a16:creationId xmlns:a16="http://schemas.microsoft.com/office/drawing/2014/main" id="{95EEB6A0-8958-4AAA-A5EF-BDF4F36F96DB}"/>
                </a:ext>
              </a:extLst>
            </p:cNvPr>
            <p:cNvSpPr>
              <a:spLocks noChangeArrowheads="1"/>
            </p:cNvSpPr>
            <p:nvPr/>
          </p:nvSpPr>
          <p:spPr bwMode="auto">
            <a:xfrm>
              <a:off x="268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Oval 3013">
              <a:extLst>
                <a:ext uri="{FF2B5EF4-FFF2-40B4-BE49-F238E27FC236}">
                  <a16:creationId xmlns:a16="http://schemas.microsoft.com/office/drawing/2014/main" id="{552ED6B1-23BF-4956-90D5-5CBB3EACB002}"/>
                </a:ext>
              </a:extLst>
            </p:cNvPr>
            <p:cNvSpPr>
              <a:spLocks noChangeArrowheads="1"/>
            </p:cNvSpPr>
            <p:nvPr/>
          </p:nvSpPr>
          <p:spPr bwMode="auto">
            <a:xfrm>
              <a:off x="262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3014">
              <a:extLst>
                <a:ext uri="{FF2B5EF4-FFF2-40B4-BE49-F238E27FC236}">
                  <a16:creationId xmlns:a16="http://schemas.microsoft.com/office/drawing/2014/main" id="{F59576C2-90CC-44EA-9CC1-A9C8E5D71AE9}"/>
                </a:ext>
              </a:extLst>
            </p:cNvPr>
            <p:cNvSpPr>
              <a:spLocks noChangeArrowheads="1"/>
            </p:cNvSpPr>
            <p:nvPr/>
          </p:nvSpPr>
          <p:spPr bwMode="auto">
            <a:xfrm>
              <a:off x="262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Oval 3015">
              <a:extLst>
                <a:ext uri="{FF2B5EF4-FFF2-40B4-BE49-F238E27FC236}">
                  <a16:creationId xmlns:a16="http://schemas.microsoft.com/office/drawing/2014/main" id="{64D90D30-5F60-4870-99D0-F1444A3B47A9}"/>
                </a:ext>
              </a:extLst>
            </p:cNvPr>
            <p:cNvSpPr>
              <a:spLocks noChangeArrowheads="1"/>
            </p:cNvSpPr>
            <p:nvPr/>
          </p:nvSpPr>
          <p:spPr bwMode="auto">
            <a:xfrm>
              <a:off x="304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3016">
              <a:extLst>
                <a:ext uri="{FF2B5EF4-FFF2-40B4-BE49-F238E27FC236}">
                  <a16:creationId xmlns:a16="http://schemas.microsoft.com/office/drawing/2014/main" id="{48D7F783-3B2A-447A-9F64-528D21C0BC14}"/>
                </a:ext>
              </a:extLst>
            </p:cNvPr>
            <p:cNvSpPr>
              <a:spLocks noChangeArrowheads="1"/>
            </p:cNvSpPr>
            <p:nvPr/>
          </p:nvSpPr>
          <p:spPr bwMode="auto">
            <a:xfrm>
              <a:off x="343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3017">
              <a:extLst>
                <a:ext uri="{FF2B5EF4-FFF2-40B4-BE49-F238E27FC236}">
                  <a16:creationId xmlns:a16="http://schemas.microsoft.com/office/drawing/2014/main" id="{20F6BBD3-8578-40F4-9971-DC51A7EBA76E}"/>
                </a:ext>
              </a:extLst>
            </p:cNvPr>
            <p:cNvSpPr>
              <a:spLocks noChangeArrowheads="1"/>
            </p:cNvSpPr>
            <p:nvPr/>
          </p:nvSpPr>
          <p:spPr bwMode="auto">
            <a:xfrm>
              <a:off x="352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Oval 3018">
              <a:extLst>
                <a:ext uri="{FF2B5EF4-FFF2-40B4-BE49-F238E27FC236}">
                  <a16:creationId xmlns:a16="http://schemas.microsoft.com/office/drawing/2014/main" id="{CF1F0E6C-C604-41C3-9C66-69C1BBD06102}"/>
                </a:ext>
              </a:extLst>
            </p:cNvPr>
            <p:cNvSpPr>
              <a:spLocks noChangeArrowheads="1"/>
            </p:cNvSpPr>
            <p:nvPr/>
          </p:nvSpPr>
          <p:spPr bwMode="auto">
            <a:xfrm>
              <a:off x="352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3019">
              <a:extLst>
                <a:ext uri="{FF2B5EF4-FFF2-40B4-BE49-F238E27FC236}">
                  <a16:creationId xmlns:a16="http://schemas.microsoft.com/office/drawing/2014/main" id="{453EA479-857B-4596-8038-EA395E638F5C}"/>
                </a:ext>
              </a:extLst>
            </p:cNvPr>
            <p:cNvSpPr>
              <a:spLocks noChangeArrowheads="1"/>
            </p:cNvSpPr>
            <p:nvPr/>
          </p:nvSpPr>
          <p:spPr bwMode="auto">
            <a:xfrm>
              <a:off x="331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3020">
              <a:extLst>
                <a:ext uri="{FF2B5EF4-FFF2-40B4-BE49-F238E27FC236}">
                  <a16:creationId xmlns:a16="http://schemas.microsoft.com/office/drawing/2014/main" id="{F5A973BA-ACD6-4046-9D9B-FA218ABC1F46}"/>
                </a:ext>
              </a:extLst>
            </p:cNvPr>
            <p:cNvSpPr>
              <a:spLocks noChangeArrowheads="1"/>
            </p:cNvSpPr>
            <p:nvPr/>
          </p:nvSpPr>
          <p:spPr bwMode="auto">
            <a:xfrm>
              <a:off x="30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Oval 3021">
              <a:extLst>
                <a:ext uri="{FF2B5EF4-FFF2-40B4-BE49-F238E27FC236}">
                  <a16:creationId xmlns:a16="http://schemas.microsoft.com/office/drawing/2014/main" id="{F5AA153B-C2FF-47D2-944F-05332B1E7C30}"/>
                </a:ext>
              </a:extLst>
            </p:cNvPr>
            <p:cNvSpPr>
              <a:spLocks noChangeArrowheads="1"/>
            </p:cNvSpPr>
            <p:nvPr/>
          </p:nvSpPr>
          <p:spPr bwMode="auto">
            <a:xfrm>
              <a:off x="292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Oval 3022">
              <a:extLst>
                <a:ext uri="{FF2B5EF4-FFF2-40B4-BE49-F238E27FC236}">
                  <a16:creationId xmlns:a16="http://schemas.microsoft.com/office/drawing/2014/main" id="{147A33BD-27CB-4453-ABA6-7CD7BE0AE0CE}"/>
                </a:ext>
              </a:extLst>
            </p:cNvPr>
            <p:cNvSpPr>
              <a:spLocks noChangeArrowheads="1"/>
            </p:cNvSpPr>
            <p:nvPr/>
          </p:nvSpPr>
          <p:spPr bwMode="auto">
            <a:xfrm>
              <a:off x="298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Oval 3023">
              <a:extLst>
                <a:ext uri="{FF2B5EF4-FFF2-40B4-BE49-F238E27FC236}">
                  <a16:creationId xmlns:a16="http://schemas.microsoft.com/office/drawing/2014/main" id="{AE862B0E-326F-4736-9025-43D562471BC8}"/>
                </a:ext>
              </a:extLst>
            </p:cNvPr>
            <p:cNvSpPr>
              <a:spLocks noChangeArrowheads="1"/>
            </p:cNvSpPr>
            <p:nvPr/>
          </p:nvSpPr>
          <p:spPr bwMode="auto">
            <a:xfrm>
              <a:off x="292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Oval 3024">
              <a:extLst>
                <a:ext uri="{FF2B5EF4-FFF2-40B4-BE49-F238E27FC236}">
                  <a16:creationId xmlns:a16="http://schemas.microsoft.com/office/drawing/2014/main" id="{22046606-DBFD-4E78-A226-10B46AB93928}"/>
                </a:ext>
              </a:extLst>
            </p:cNvPr>
            <p:cNvSpPr>
              <a:spLocks noChangeArrowheads="1"/>
            </p:cNvSpPr>
            <p:nvPr/>
          </p:nvSpPr>
          <p:spPr bwMode="auto">
            <a:xfrm>
              <a:off x="328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Oval 3025">
              <a:extLst>
                <a:ext uri="{FF2B5EF4-FFF2-40B4-BE49-F238E27FC236}">
                  <a16:creationId xmlns:a16="http://schemas.microsoft.com/office/drawing/2014/main" id="{7337236F-18CA-4EA0-B01A-2269964084A2}"/>
                </a:ext>
              </a:extLst>
            </p:cNvPr>
            <p:cNvSpPr>
              <a:spLocks noChangeArrowheads="1"/>
            </p:cNvSpPr>
            <p:nvPr/>
          </p:nvSpPr>
          <p:spPr bwMode="auto">
            <a:xfrm>
              <a:off x="3255"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Oval 3026">
              <a:extLst>
                <a:ext uri="{FF2B5EF4-FFF2-40B4-BE49-F238E27FC236}">
                  <a16:creationId xmlns:a16="http://schemas.microsoft.com/office/drawing/2014/main" id="{379A36AF-B7BD-4F11-9368-32F5BE89E514}"/>
                </a:ext>
              </a:extLst>
            </p:cNvPr>
            <p:cNvSpPr>
              <a:spLocks noChangeArrowheads="1"/>
            </p:cNvSpPr>
            <p:nvPr/>
          </p:nvSpPr>
          <p:spPr bwMode="auto">
            <a:xfrm>
              <a:off x="340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3027">
              <a:extLst>
                <a:ext uri="{FF2B5EF4-FFF2-40B4-BE49-F238E27FC236}">
                  <a16:creationId xmlns:a16="http://schemas.microsoft.com/office/drawing/2014/main" id="{50440C4C-95F6-443C-ACD8-C6A49AC5E837}"/>
                </a:ext>
              </a:extLst>
            </p:cNvPr>
            <p:cNvSpPr>
              <a:spLocks noChangeArrowheads="1"/>
            </p:cNvSpPr>
            <p:nvPr/>
          </p:nvSpPr>
          <p:spPr bwMode="auto">
            <a:xfrm>
              <a:off x="322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Oval 3028">
              <a:extLst>
                <a:ext uri="{FF2B5EF4-FFF2-40B4-BE49-F238E27FC236}">
                  <a16:creationId xmlns:a16="http://schemas.microsoft.com/office/drawing/2014/main" id="{21A9F44F-A9D9-49B3-935A-C413AE9E5A42}"/>
                </a:ext>
              </a:extLst>
            </p:cNvPr>
            <p:cNvSpPr>
              <a:spLocks noChangeArrowheads="1"/>
            </p:cNvSpPr>
            <p:nvPr/>
          </p:nvSpPr>
          <p:spPr bwMode="auto">
            <a:xfrm>
              <a:off x="316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3029">
              <a:extLst>
                <a:ext uri="{FF2B5EF4-FFF2-40B4-BE49-F238E27FC236}">
                  <a16:creationId xmlns:a16="http://schemas.microsoft.com/office/drawing/2014/main" id="{8E47F487-DEF4-4FE8-99F0-8F8734F48F46}"/>
                </a:ext>
              </a:extLst>
            </p:cNvPr>
            <p:cNvSpPr>
              <a:spLocks noChangeArrowheads="1"/>
            </p:cNvSpPr>
            <p:nvPr/>
          </p:nvSpPr>
          <p:spPr bwMode="auto">
            <a:xfrm>
              <a:off x="31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Oval 3030">
              <a:extLst>
                <a:ext uri="{FF2B5EF4-FFF2-40B4-BE49-F238E27FC236}">
                  <a16:creationId xmlns:a16="http://schemas.microsoft.com/office/drawing/2014/main" id="{084338F5-A0D9-4BCE-BE5C-05F1A86D6D3F}"/>
                </a:ext>
              </a:extLst>
            </p:cNvPr>
            <p:cNvSpPr>
              <a:spLocks noChangeArrowheads="1"/>
            </p:cNvSpPr>
            <p:nvPr/>
          </p:nvSpPr>
          <p:spPr bwMode="auto">
            <a:xfrm>
              <a:off x="394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Oval 3031">
              <a:extLst>
                <a:ext uri="{FF2B5EF4-FFF2-40B4-BE49-F238E27FC236}">
                  <a16:creationId xmlns:a16="http://schemas.microsoft.com/office/drawing/2014/main" id="{C669E382-14D9-42DF-BE0C-A32FF8C633F8}"/>
                </a:ext>
              </a:extLst>
            </p:cNvPr>
            <p:cNvSpPr>
              <a:spLocks noChangeArrowheads="1"/>
            </p:cNvSpPr>
            <p:nvPr/>
          </p:nvSpPr>
          <p:spPr bwMode="auto">
            <a:xfrm>
              <a:off x="3914"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Oval 3032">
              <a:extLst>
                <a:ext uri="{FF2B5EF4-FFF2-40B4-BE49-F238E27FC236}">
                  <a16:creationId xmlns:a16="http://schemas.microsoft.com/office/drawing/2014/main" id="{C3D58DB7-A21E-4769-ADBE-1F9544CADFC1}"/>
                </a:ext>
              </a:extLst>
            </p:cNvPr>
            <p:cNvSpPr>
              <a:spLocks noChangeArrowheads="1"/>
            </p:cNvSpPr>
            <p:nvPr/>
          </p:nvSpPr>
          <p:spPr bwMode="auto">
            <a:xfrm>
              <a:off x="403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Oval 3033">
              <a:extLst>
                <a:ext uri="{FF2B5EF4-FFF2-40B4-BE49-F238E27FC236}">
                  <a16:creationId xmlns:a16="http://schemas.microsoft.com/office/drawing/2014/main" id="{D90EC7B9-3FAD-4E89-8A33-8C002A501260}"/>
                </a:ext>
              </a:extLst>
            </p:cNvPr>
            <p:cNvSpPr>
              <a:spLocks noChangeArrowheads="1"/>
            </p:cNvSpPr>
            <p:nvPr/>
          </p:nvSpPr>
          <p:spPr bwMode="auto">
            <a:xfrm>
              <a:off x="3914"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3034">
              <a:extLst>
                <a:ext uri="{FF2B5EF4-FFF2-40B4-BE49-F238E27FC236}">
                  <a16:creationId xmlns:a16="http://schemas.microsoft.com/office/drawing/2014/main" id="{1B5CBEB9-D723-4829-9044-DEC6573A7E4D}"/>
                </a:ext>
              </a:extLst>
            </p:cNvPr>
            <p:cNvSpPr>
              <a:spLocks noChangeArrowheads="1"/>
            </p:cNvSpPr>
            <p:nvPr/>
          </p:nvSpPr>
          <p:spPr bwMode="auto">
            <a:xfrm>
              <a:off x="400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3035">
              <a:extLst>
                <a:ext uri="{FF2B5EF4-FFF2-40B4-BE49-F238E27FC236}">
                  <a16:creationId xmlns:a16="http://schemas.microsoft.com/office/drawing/2014/main" id="{BF08AC09-AFFC-46CD-A7B5-9CB0CCCFB704}"/>
                </a:ext>
              </a:extLst>
            </p:cNvPr>
            <p:cNvSpPr>
              <a:spLocks noChangeArrowheads="1"/>
            </p:cNvSpPr>
            <p:nvPr/>
          </p:nvSpPr>
          <p:spPr bwMode="auto">
            <a:xfrm>
              <a:off x="388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3036">
              <a:extLst>
                <a:ext uri="{FF2B5EF4-FFF2-40B4-BE49-F238E27FC236}">
                  <a16:creationId xmlns:a16="http://schemas.microsoft.com/office/drawing/2014/main" id="{9135BF76-E1D0-4AD2-AF2F-799B04CA71D0}"/>
                </a:ext>
              </a:extLst>
            </p:cNvPr>
            <p:cNvSpPr>
              <a:spLocks noChangeArrowheads="1"/>
            </p:cNvSpPr>
            <p:nvPr/>
          </p:nvSpPr>
          <p:spPr bwMode="auto">
            <a:xfrm>
              <a:off x="367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3037">
              <a:extLst>
                <a:ext uri="{FF2B5EF4-FFF2-40B4-BE49-F238E27FC236}">
                  <a16:creationId xmlns:a16="http://schemas.microsoft.com/office/drawing/2014/main" id="{089A142E-FF81-44CF-897F-2DB73B0687F8}"/>
                </a:ext>
              </a:extLst>
            </p:cNvPr>
            <p:cNvSpPr>
              <a:spLocks noChangeArrowheads="1"/>
            </p:cNvSpPr>
            <p:nvPr/>
          </p:nvSpPr>
          <p:spPr bwMode="auto">
            <a:xfrm>
              <a:off x="364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Oval 3038">
              <a:extLst>
                <a:ext uri="{FF2B5EF4-FFF2-40B4-BE49-F238E27FC236}">
                  <a16:creationId xmlns:a16="http://schemas.microsoft.com/office/drawing/2014/main" id="{D00F2122-9229-4947-9F5D-60E14A4B4F07}"/>
                </a:ext>
              </a:extLst>
            </p:cNvPr>
            <p:cNvSpPr>
              <a:spLocks noChangeArrowheads="1"/>
            </p:cNvSpPr>
            <p:nvPr/>
          </p:nvSpPr>
          <p:spPr bwMode="auto">
            <a:xfrm>
              <a:off x="364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3039">
              <a:extLst>
                <a:ext uri="{FF2B5EF4-FFF2-40B4-BE49-F238E27FC236}">
                  <a16:creationId xmlns:a16="http://schemas.microsoft.com/office/drawing/2014/main" id="{B2517A11-BECA-452D-B948-DA785519C1ED}"/>
                </a:ext>
              </a:extLst>
            </p:cNvPr>
            <p:cNvSpPr>
              <a:spLocks noChangeArrowheads="1"/>
            </p:cNvSpPr>
            <p:nvPr/>
          </p:nvSpPr>
          <p:spPr bwMode="auto">
            <a:xfrm>
              <a:off x="394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3040">
              <a:extLst>
                <a:ext uri="{FF2B5EF4-FFF2-40B4-BE49-F238E27FC236}">
                  <a16:creationId xmlns:a16="http://schemas.microsoft.com/office/drawing/2014/main" id="{78C3E46A-ABAF-4AC6-B681-949778495FE7}"/>
                </a:ext>
              </a:extLst>
            </p:cNvPr>
            <p:cNvSpPr>
              <a:spLocks noChangeArrowheads="1"/>
            </p:cNvSpPr>
            <p:nvPr/>
          </p:nvSpPr>
          <p:spPr bwMode="auto">
            <a:xfrm>
              <a:off x="3824"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3041">
              <a:extLst>
                <a:ext uri="{FF2B5EF4-FFF2-40B4-BE49-F238E27FC236}">
                  <a16:creationId xmlns:a16="http://schemas.microsoft.com/office/drawing/2014/main" id="{4579F27F-87A1-4A75-9337-1A157262445A}"/>
                </a:ext>
              </a:extLst>
            </p:cNvPr>
            <p:cNvSpPr>
              <a:spLocks noChangeArrowheads="1"/>
            </p:cNvSpPr>
            <p:nvPr/>
          </p:nvSpPr>
          <p:spPr bwMode="auto">
            <a:xfrm>
              <a:off x="391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3042">
              <a:extLst>
                <a:ext uri="{FF2B5EF4-FFF2-40B4-BE49-F238E27FC236}">
                  <a16:creationId xmlns:a16="http://schemas.microsoft.com/office/drawing/2014/main" id="{229F1060-C4C4-484C-B9E1-4B1E9966E377}"/>
                </a:ext>
              </a:extLst>
            </p:cNvPr>
            <p:cNvSpPr>
              <a:spLocks noChangeArrowheads="1"/>
            </p:cNvSpPr>
            <p:nvPr/>
          </p:nvSpPr>
          <p:spPr bwMode="auto">
            <a:xfrm>
              <a:off x="376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3043">
              <a:extLst>
                <a:ext uri="{FF2B5EF4-FFF2-40B4-BE49-F238E27FC236}">
                  <a16:creationId xmlns:a16="http://schemas.microsoft.com/office/drawing/2014/main" id="{D56BD8DA-F2BF-4F22-8CA9-76033134E293}"/>
                </a:ext>
              </a:extLst>
            </p:cNvPr>
            <p:cNvSpPr>
              <a:spLocks noChangeArrowheads="1"/>
            </p:cNvSpPr>
            <p:nvPr/>
          </p:nvSpPr>
          <p:spPr bwMode="auto">
            <a:xfrm>
              <a:off x="403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3044">
              <a:extLst>
                <a:ext uri="{FF2B5EF4-FFF2-40B4-BE49-F238E27FC236}">
                  <a16:creationId xmlns:a16="http://schemas.microsoft.com/office/drawing/2014/main" id="{81F5D780-6216-4C4C-A33A-E44E467D5807}"/>
                </a:ext>
              </a:extLst>
            </p:cNvPr>
            <p:cNvSpPr>
              <a:spLocks noChangeArrowheads="1"/>
            </p:cNvSpPr>
            <p:nvPr/>
          </p:nvSpPr>
          <p:spPr bwMode="auto">
            <a:xfrm>
              <a:off x="39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3045">
              <a:extLst>
                <a:ext uri="{FF2B5EF4-FFF2-40B4-BE49-F238E27FC236}">
                  <a16:creationId xmlns:a16="http://schemas.microsoft.com/office/drawing/2014/main" id="{875E8225-2303-41E4-851A-B223EFF4A5BA}"/>
                </a:ext>
              </a:extLst>
            </p:cNvPr>
            <p:cNvSpPr>
              <a:spLocks noChangeArrowheads="1"/>
            </p:cNvSpPr>
            <p:nvPr/>
          </p:nvSpPr>
          <p:spPr bwMode="auto">
            <a:xfrm>
              <a:off x="3794"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3046">
              <a:extLst>
                <a:ext uri="{FF2B5EF4-FFF2-40B4-BE49-F238E27FC236}">
                  <a16:creationId xmlns:a16="http://schemas.microsoft.com/office/drawing/2014/main" id="{E2AD4366-3206-40D4-BF61-E48DDCEDB174}"/>
                </a:ext>
              </a:extLst>
            </p:cNvPr>
            <p:cNvSpPr>
              <a:spLocks noChangeArrowheads="1"/>
            </p:cNvSpPr>
            <p:nvPr/>
          </p:nvSpPr>
          <p:spPr bwMode="auto">
            <a:xfrm>
              <a:off x="376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3047">
              <a:extLst>
                <a:ext uri="{FF2B5EF4-FFF2-40B4-BE49-F238E27FC236}">
                  <a16:creationId xmlns:a16="http://schemas.microsoft.com/office/drawing/2014/main" id="{578F0E4F-962E-4B58-9E10-3A0490C23769}"/>
                </a:ext>
              </a:extLst>
            </p:cNvPr>
            <p:cNvSpPr>
              <a:spLocks noChangeArrowheads="1"/>
            </p:cNvSpPr>
            <p:nvPr/>
          </p:nvSpPr>
          <p:spPr bwMode="auto">
            <a:xfrm>
              <a:off x="367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3048">
              <a:extLst>
                <a:ext uri="{FF2B5EF4-FFF2-40B4-BE49-F238E27FC236}">
                  <a16:creationId xmlns:a16="http://schemas.microsoft.com/office/drawing/2014/main" id="{B4ABEC1B-B1DD-4440-A668-0B1FC10E2CD0}"/>
                </a:ext>
              </a:extLst>
            </p:cNvPr>
            <p:cNvSpPr>
              <a:spLocks noChangeArrowheads="1"/>
            </p:cNvSpPr>
            <p:nvPr/>
          </p:nvSpPr>
          <p:spPr bwMode="auto">
            <a:xfrm>
              <a:off x="355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3049">
              <a:extLst>
                <a:ext uri="{FF2B5EF4-FFF2-40B4-BE49-F238E27FC236}">
                  <a16:creationId xmlns:a16="http://schemas.microsoft.com/office/drawing/2014/main" id="{2938FA4E-078B-4AEE-A260-98AFB3E72A31}"/>
                </a:ext>
              </a:extLst>
            </p:cNvPr>
            <p:cNvSpPr>
              <a:spLocks noChangeArrowheads="1"/>
            </p:cNvSpPr>
            <p:nvPr/>
          </p:nvSpPr>
          <p:spPr bwMode="auto">
            <a:xfrm>
              <a:off x="34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3050">
              <a:extLst>
                <a:ext uri="{FF2B5EF4-FFF2-40B4-BE49-F238E27FC236}">
                  <a16:creationId xmlns:a16="http://schemas.microsoft.com/office/drawing/2014/main" id="{9EA70D2F-1539-42C7-97E4-2305317049EF}"/>
                </a:ext>
              </a:extLst>
            </p:cNvPr>
            <p:cNvSpPr>
              <a:spLocks noChangeArrowheads="1"/>
            </p:cNvSpPr>
            <p:nvPr/>
          </p:nvSpPr>
          <p:spPr bwMode="auto">
            <a:xfrm>
              <a:off x="349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Oval 3051">
              <a:extLst>
                <a:ext uri="{FF2B5EF4-FFF2-40B4-BE49-F238E27FC236}">
                  <a16:creationId xmlns:a16="http://schemas.microsoft.com/office/drawing/2014/main" id="{4A23932E-E13B-4E23-8538-075B999F8992}"/>
                </a:ext>
              </a:extLst>
            </p:cNvPr>
            <p:cNvSpPr>
              <a:spLocks noChangeArrowheads="1"/>
            </p:cNvSpPr>
            <p:nvPr/>
          </p:nvSpPr>
          <p:spPr bwMode="auto">
            <a:xfrm>
              <a:off x="3285" y="18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3052">
              <a:extLst>
                <a:ext uri="{FF2B5EF4-FFF2-40B4-BE49-F238E27FC236}">
                  <a16:creationId xmlns:a16="http://schemas.microsoft.com/office/drawing/2014/main" id="{B2682926-16CA-44C0-8699-440FD91D2D1D}"/>
                </a:ext>
              </a:extLst>
            </p:cNvPr>
            <p:cNvSpPr>
              <a:spLocks noChangeArrowheads="1"/>
            </p:cNvSpPr>
            <p:nvPr/>
          </p:nvSpPr>
          <p:spPr bwMode="auto">
            <a:xfrm>
              <a:off x="331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3053">
              <a:extLst>
                <a:ext uri="{FF2B5EF4-FFF2-40B4-BE49-F238E27FC236}">
                  <a16:creationId xmlns:a16="http://schemas.microsoft.com/office/drawing/2014/main" id="{983970F0-B66C-4F0B-8688-F60FCB34ADD6}"/>
                </a:ext>
              </a:extLst>
            </p:cNvPr>
            <p:cNvSpPr>
              <a:spLocks noChangeArrowheads="1"/>
            </p:cNvSpPr>
            <p:nvPr/>
          </p:nvSpPr>
          <p:spPr bwMode="auto">
            <a:xfrm>
              <a:off x="32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Oval 3054">
              <a:extLst>
                <a:ext uri="{FF2B5EF4-FFF2-40B4-BE49-F238E27FC236}">
                  <a16:creationId xmlns:a16="http://schemas.microsoft.com/office/drawing/2014/main" id="{76460C34-92A8-4C1E-A902-12476B5E6DD4}"/>
                </a:ext>
              </a:extLst>
            </p:cNvPr>
            <p:cNvSpPr>
              <a:spLocks noChangeArrowheads="1"/>
            </p:cNvSpPr>
            <p:nvPr/>
          </p:nvSpPr>
          <p:spPr bwMode="auto">
            <a:xfrm>
              <a:off x="325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3055">
              <a:extLst>
                <a:ext uri="{FF2B5EF4-FFF2-40B4-BE49-F238E27FC236}">
                  <a16:creationId xmlns:a16="http://schemas.microsoft.com/office/drawing/2014/main" id="{55DAC8F6-C1B7-417F-A6FB-5B13F597A29F}"/>
                </a:ext>
              </a:extLst>
            </p:cNvPr>
            <p:cNvSpPr>
              <a:spLocks noChangeArrowheads="1"/>
            </p:cNvSpPr>
            <p:nvPr/>
          </p:nvSpPr>
          <p:spPr bwMode="auto">
            <a:xfrm>
              <a:off x="337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Oval 3056">
              <a:extLst>
                <a:ext uri="{FF2B5EF4-FFF2-40B4-BE49-F238E27FC236}">
                  <a16:creationId xmlns:a16="http://schemas.microsoft.com/office/drawing/2014/main" id="{DC997B9B-584E-4604-9243-1AEB31F2A15B}"/>
                </a:ext>
              </a:extLst>
            </p:cNvPr>
            <p:cNvSpPr>
              <a:spLocks noChangeArrowheads="1"/>
            </p:cNvSpPr>
            <p:nvPr/>
          </p:nvSpPr>
          <p:spPr bwMode="auto">
            <a:xfrm>
              <a:off x="340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Oval 3057">
              <a:extLst>
                <a:ext uri="{FF2B5EF4-FFF2-40B4-BE49-F238E27FC236}">
                  <a16:creationId xmlns:a16="http://schemas.microsoft.com/office/drawing/2014/main" id="{955DC055-56BD-45A0-B281-5A01958FD6CC}"/>
                </a:ext>
              </a:extLst>
            </p:cNvPr>
            <p:cNvSpPr>
              <a:spLocks noChangeArrowheads="1"/>
            </p:cNvSpPr>
            <p:nvPr/>
          </p:nvSpPr>
          <p:spPr bwMode="auto">
            <a:xfrm>
              <a:off x="337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3058">
              <a:extLst>
                <a:ext uri="{FF2B5EF4-FFF2-40B4-BE49-F238E27FC236}">
                  <a16:creationId xmlns:a16="http://schemas.microsoft.com/office/drawing/2014/main" id="{97EE7F8E-C9DA-4845-B6D7-55E1B8607A41}"/>
                </a:ext>
              </a:extLst>
            </p:cNvPr>
            <p:cNvSpPr>
              <a:spLocks noChangeArrowheads="1"/>
            </p:cNvSpPr>
            <p:nvPr/>
          </p:nvSpPr>
          <p:spPr bwMode="auto">
            <a:xfrm>
              <a:off x="34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Oval 3059">
              <a:extLst>
                <a:ext uri="{FF2B5EF4-FFF2-40B4-BE49-F238E27FC236}">
                  <a16:creationId xmlns:a16="http://schemas.microsoft.com/office/drawing/2014/main" id="{BDE8EEB2-7AE8-4C14-A7A9-D67A0A10B737}"/>
                </a:ext>
              </a:extLst>
            </p:cNvPr>
            <p:cNvSpPr>
              <a:spLocks noChangeArrowheads="1"/>
            </p:cNvSpPr>
            <p:nvPr/>
          </p:nvSpPr>
          <p:spPr bwMode="auto">
            <a:xfrm>
              <a:off x="313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3060">
              <a:extLst>
                <a:ext uri="{FF2B5EF4-FFF2-40B4-BE49-F238E27FC236}">
                  <a16:creationId xmlns:a16="http://schemas.microsoft.com/office/drawing/2014/main" id="{CAB70022-AA4C-48E6-8218-5EA02EDB2ACF}"/>
                </a:ext>
              </a:extLst>
            </p:cNvPr>
            <p:cNvSpPr>
              <a:spLocks noChangeArrowheads="1"/>
            </p:cNvSpPr>
            <p:nvPr/>
          </p:nvSpPr>
          <p:spPr bwMode="auto">
            <a:xfrm>
              <a:off x="313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3061">
              <a:extLst>
                <a:ext uri="{FF2B5EF4-FFF2-40B4-BE49-F238E27FC236}">
                  <a16:creationId xmlns:a16="http://schemas.microsoft.com/office/drawing/2014/main" id="{8AF59646-8C05-423C-814D-D8C95C5647EB}"/>
                </a:ext>
              </a:extLst>
            </p:cNvPr>
            <p:cNvSpPr>
              <a:spLocks noChangeArrowheads="1"/>
            </p:cNvSpPr>
            <p:nvPr/>
          </p:nvSpPr>
          <p:spPr bwMode="auto">
            <a:xfrm>
              <a:off x="307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3062">
              <a:extLst>
                <a:ext uri="{FF2B5EF4-FFF2-40B4-BE49-F238E27FC236}">
                  <a16:creationId xmlns:a16="http://schemas.microsoft.com/office/drawing/2014/main" id="{6B6A7474-C32C-47BD-932D-AE89D18B3223}"/>
                </a:ext>
              </a:extLst>
            </p:cNvPr>
            <p:cNvSpPr>
              <a:spLocks noChangeArrowheads="1"/>
            </p:cNvSpPr>
            <p:nvPr/>
          </p:nvSpPr>
          <p:spPr bwMode="auto">
            <a:xfrm>
              <a:off x="328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3063">
              <a:extLst>
                <a:ext uri="{FF2B5EF4-FFF2-40B4-BE49-F238E27FC236}">
                  <a16:creationId xmlns:a16="http://schemas.microsoft.com/office/drawing/2014/main" id="{DEB40DD4-62A2-4C89-8308-0E2082678AF6}"/>
                </a:ext>
              </a:extLst>
            </p:cNvPr>
            <p:cNvSpPr>
              <a:spLocks noChangeArrowheads="1"/>
            </p:cNvSpPr>
            <p:nvPr/>
          </p:nvSpPr>
          <p:spPr bwMode="auto">
            <a:xfrm>
              <a:off x="337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3064">
              <a:extLst>
                <a:ext uri="{FF2B5EF4-FFF2-40B4-BE49-F238E27FC236}">
                  <a16:creationId xmlns:a16="http://schemas.microsoft.com/office/drawing/2014/main" id="{F5CD61E1-706D-4F6C-A9AF-6FB6EDD2D873}"/>
                </a:ext>
              </a:extLst>
            </p:cNvPr>
            <p:cNvSpPr>
              <a:spLocks noChangeArrowheads="1"/>
            </p:cNvSpPr>
            <p:nvPr/>
          </p:nvSpPr>
          <p:spPr bwMode="auto">
            <a:xfrm>
              <a:off x="3735"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3065">
              <a:extLst>
                <a:ext uri="{FF2B5EF4-FFF2-40B4-BE49-F238E27FC236}">
                  <a16:creationId xmlns:a16="http://schemas.microsoft.com/office/drawing/2014/main" id="{B567455C-88A2-478A-B6EA-BB8D81F5930C}"/>
                </a:ext>
              </a:extLst>
            </p:cNvPr>
            <p:cNvSpPr>
              <a:spLocks noChangeArrowheads="1"/>
            </p:cNvSpPr>
            <p:nvPr/>
          </p:nvSpPr>
          <p:spPr bwMode="auto">
            <a:xfrm>
              <a:off x="358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3066">
              <a:extLst>
                <a:ext uri="{FF2B5EF4-FFF2-40B4-BE49-F238E27FC236}">
                  <a16:creationId xmlns:a16="http://schemas.microsoft.com/office/drawing/2014/main" id="{42EB66B3-0244-4E0C-AF7A-7B292EB3745D}"/>
                </a:ext>
              </a:extLst>
            </p:cNvPr>
            <p:cNvSpPr>
              <a:spLocks noChangeArrowheads="1"/>
            </p:cNvSpPr>
            <p:nvPr/>
          </p:nvSpPr>
          <p:spPr bwMode="auto">
            <a:xfrm>
              <a:off x="355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3067">
              <a:extLst>
                <a:ext uri="{FF2B5EF4-FFF2-40B4-BE49-F238E27FC236}">
                  <a16:creationId xmlns:a16="http://schemas.microsoft.com/office/drawing/2014/main" id="{404A49B0-BDE8-4C31-AFEA-1385CF4154E1}"/>
                </a:ext>
              </a:extLst>
            </p:cNvPr>
            <p:cNvSpPr>
              <a:spLocks noChangeArrowheads="1"/>
            </p:cNvSpPr>
            <p:nvPr/>
          </p:nvSpPr>
          <p:spPr bwMode="auto">
            <a:xfrm>
              <a:off x="349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3068">
              <a:extLst>
                <a:ext uri="{FF2B5EF4-FFF2-40B4-BE49-F238E27FC236}">
                  <a16:creationId xmlns:a16="http://schemas.microsoft.com/office/drawing/2014/main" id="{8B8138BA-13A0-407E-89DD-7B09EA79EF61}"/>
                </a:ext>
              </a:extLst>
            </p:cNvPr>
            <p:cNvSpPr>
              <a:spLocks noChangeArrowheads="1"/>
            </p:cNvSpPr>
            <p:nvPr/>
          </p:nvSpPr>
          <p:spPr bwMode="auto">
            <a:xfrm>
              <a:off x="337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3069">
              <a:extLst>
                <a:ext uri="{FF2B5EF4-FFF2-40B4-BE49-F238E27FC236}">
                  <a16:creationId xmlns:a16="http://schemas.microsoft.com/office/drawing/2014/main" id="{ABF5B9E0-12B4-46BC-BFBD-D30BE03E64E8}"/>
                </a:ext>
              </a:extLst>
            </p:cNvPr>
            <p:cNvSpPr>
              <a:spLocks noChangeArrowheads="1"/>
            </p:cNvSpPr>
            <p:nvPr/>
          </p:nvSpPr>
          <p:spPr bwMode="auto">
            <a:xfrm>
              <a:off x="340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Oval 3070">
              <a:extLst>
                <a:ext uri="{FF2B5EF4-FFF2-40B4-BE49-F238E27FC236}">
                  <a16:creationId xmlns:a16="http://schemas.microsoft.com/office/drawing/2014/main" id="{68815A90-AD5F-464E-9B11-44A35D0DDB6A}"/>
                </a:ext>
              </a:extLst>
            </p:cNvPr>
            <p:cNvSpPr>
              <a:spLocks noChangeArrowheads="1"/>
            </p:cNvSpPr>
            <p:nvPr/>
          </p:nvSpPr>
          <p:spPr bwMode="auto">
            <a:xfrm>
              <a:off x="325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3071">
              <a:extLst>
                <a:ext uri="{FF2B5EF4-FFF2-40B4-BE49-F238E27FC236}">
                  <a16:creationId xmlns:a16="http://schemas.microsoft.com/office/drawing/2014/main" id="{CFB1E209-1E6A-4322-A64D-D3AFF2F2B685}"/>
                </a:ext>
              </a:extLst>
            </p:cNvPr>
            <p:cNvSpPr>
              <a:spLocks noChangeArrowheads="1"/>
            </p:cNvSpPr>
            <p:nvPr/>
          </p:nvSpPr>
          <p:spPr bwMode="auto">
            <a:xfrm>
              <a:off x="322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Oval 3072">
              <a:extLst>
                <a:ext uri="{FF2B5EF4-FFF2-40B4-BE49-F238E27FC236}">
                  <a16:creationId xmlns:a16="http://schemas.microsoft.com/office/drawing/2014/main" id="{9D6FBB7D-DFA9-4675-9839-F8BBB5B19EE8}"/>
                </a:ext>
              </a:extLst>
            </p:cNvPr>
            <p:cNvSpPr>
              <a:spLocks noChangeArrowheads="1"/>
            </p:cNvSpPr>
            <p:nvPr/>
          </p:nvSpPr>
          <p:spPr bwMode="auto">
            <a:xfrm>
              <a:off x="331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Oval 3073">
              <a:extLst>
                <a:ext uri="{FF2B5EF4-FFF2-40B4-BE49-F238E27FC236}">
                  <a16:creationId xmlns:a16="http://schemas.microsoft.com/office/drawing/2014/main" id="{73963FCE-BABE-47E8-A0FE-7F0E9F98A997}"/>
                </a:ext>
              </a:extLst>
            </p:cNvPr>
            <p:cNvSpPr>
              <a:spLocks noChangeArrowheads="1"/>
            </p:cNvSpPr>
            <p:nvPr/>
          </p:nvSpPr>
          <p:spPr bwMode="auto">
            <a:xfrm>
              <a:off x="352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3074">
              <a:extLst>
                <a:ext uri="{FF2B5EF4-FFF2-40B4-BE49-F238E27FC236}">
                  <a16:creationId xmlns:a16="http://schemas.microsoft.com/office/drawing/2014/main" id="{2D61DE45-F76A-45AD-A929-6CBFC8397A3C}"/>
                </a:ext>
              </a:extLst>
            </p:cNvPr>
            <p:cNvSpPr>
              <a:spLocks noChangeArrowheads="1"/>
            </p:cNvSpPr>
            <p:nvPr/>
          </p:nvSpPr>
          <p:spPr bwMode="auto">
            <a:xfrm>
              <a:off x="3914"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Oval 3075">
              <a:extLst>
                <a:ext uri="{FF2B5EF4-FFF2-40B4-BE49-F238E27FC236}">
                  <a16:creationId xmlns:a16="http://schemas.microsoft.com/office/drawing/2014/main" id="{F3276934-97D7-4E4C-AAD3-6D4E826D7CB3}"/>
                </a:ext>
              </a:extLst>
            </p:cNvPr>
            <p:cNvSpPr>
              <a:spLocks noChangeArrowheads="1"/>
            </p:cNvSpPr>
            <p:nvPr/>
          </p:nvSpPr>
          <p:spPr bwMode="auto">
            <a:xfrm>
              <a:off x="4274"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Oval 3076">
              <a:extLst>
                <a:ext uri="{FF2B5EF4-FFF2-40B4-BE49-F238E27FC236}">
                  <a16:creationId xmlns:a16="http://schemas.microsoft.com/office/drawing/2014/main" id="{4D09355D-31A2-4FEE-B4ED-18EF295318F5}"/>
                </a:ext>
              </a:extLst>
            </p:cNvPr>
            <p:cNvSpPr>
              <a:spLocks noChangeArrowheads="1"/>
            </p:cNvSpPr>
            <p:nvPr/>
          </p:nvSpPr>
          <p:spPr bwMode="auto">
            <a:xfrm>
              <a:off x="4184"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3077">
              <a:extLst>
                <a:ext uri="{FF2B5EF4-FFF2-40B4-BE49-F238E27FC236}">
                  <a16:creationId xmlns:a16="http://schemas.microsoft.com/office/drawing/2014/main" id="{DA28AA1F-7BED-4948-A9EF-C7B41660397B}"/>
                </a:ext>
              </a:extLst>
            </p:cNvPr>
            <p:cNvSpPr>
              <a:spLocks noChangeArrowheads="1"/>
            </p:cNvSpPr>
            <p:nvPr/>
          </p:nvSpPr>
          <p:spPr bwMode="auto">
            <a:xfrm>
              <a:off x="421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Oval 3078">
              <a:extLst>
                <a:ext uri="{FF2B5EF4-FFF2-40B4-BE49-F238E27FC236}">
                  <a16:creationId xmlns:a16="http://schemas.microsoft.com/office/drawing/2014/main" id="{90725A13-258E-49FE-AF09-B0BC707B31B0}"/>
                </a:ext>
              </a:extLst>
            </p:cNvPr>
            <p:cNvSpPr>
              <a:spLocks noChangeArrowheads="1"/>
            </p:cNvSpPr>
            <p:nvPr/>
          </p:nvSpPr>
          <p:spPr bwMode="auto">
            <a:xfrm>
              <a:off x="4244"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Oval 3079">
              <a:extLst>
                <a:ext uri="{FF2B5EF4-FFF2-40B4-BE49-F238E27FC236}">
                  <a16:creationId xmlns:a16="http://schemas.microsoft.com/office/drawing/2014/main" id="{7F7EE36C-EC04-4EAC-8858-F6699B0CE0CF}"/>
                </a:ext>
              </a:extLst>
            </p:cNvPr>
            <p:cNvSpPr>
              <a:spLocks noChangeArrowheads="1"/>
            </p:cNvSpPr>
            <p:nvPr/>
          </p:nvSpPr>
          <p:spPr bwMode="auto">
            <a:xfrm>
              <a:off x="4094"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Oval 3080">
              <a:extLst>
                <a:ext uri="{FF2B5EF4-FFF2-40B4-BE49-F238E27FC236}">
                  <a16:creationId xmlns:a16="http://schemas.microsoft.com/office/drawing/2014/main" id="{6368EBCE-DB3E-486B-92A5-57C1E26204DD}"/>
                </a:ext>
              </a:extLst>
            </p:cNvPr>
            <p:cNvSpPr>
              <a:spLocks noChangeArrowheads="1"/>
            </p:cNvSpPr>
            <p:nvPr/>
          </p:nvSpPr>
          <p:spPr bwMode="auto">
            <a:xfrm>
              <a:off x="406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Oval 3081">
              <a:extLst>
                <a:ext uri="{FF2B5EF4-FFF2-40B4-BE49-F238E27FC236}">
                  <a16:creationId xmlns:a16="http://schemas.microsoft.com/office/drawing/2014/main" id="{20C6A567-CC01-4CB0-85D7-A536D22954EB}"/>
                </a:ext>
              </a:extLst>
            </p:cNvPr>
            <p:cNvSpPr>
              <a:spLocks noChangeArrowheads="1"/>
            </p:cNvSpPr>
            <p:nvPr/>
          </p:nvSpPr>
          <p:spPr bwMode="auto">
            <a:xfrm>
              <a:off x="4004"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3082">
              <a:extLst>
                <a:ext uri="{FF2B5EF4-FFF2-40B4-BE49-F238E27FC236}">
                  <a16:creationId xmlns:a16="http://schemas.microsoft.com/office/drawing/2014/main" id="{73F3825F-9632-4A8A-8538-B62A05A3859A}"/>
                </a:ext>
              </a:extLst>
            </p:cNvPr>
            <p:cNvSpPr>
              <a:spLocks noChangeArrowheads="1"/>
            </p:cNvSpPr>
            <p:nvPr/>
          </p:nvSpPr>
          <p:spPr bwMode="auto">
            <a:xfrm>
              <a:off x="385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3083">
              <a:extLst>
                <a:ext uri="{FF2B5EF4-FFF2-40B4-BE49-F238E27FC236}">
                  <a16:creationId xmlns:a16="http://schemas.microsoft.com/office/drawing/2014/main" id="{1461D895-C352-4447-AA40-DEC5D57C2585}"/>
                </a:ext>
              </a:extLst>
            </p:cNvPr>
            <p:cNvSpPr>
              <a:spLocks noChangeArrowheads="1"/>
            </p:cNvSpPr>
            <p:nvPr/>
          </p:nvSpPr>
          <p:spPr bwMode="auto">
            <a:xfrm>
              <a:off x="4184"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3084">
              <a:extLst>
                <a:ext uri="{FF2B5EF4-FFF2-40B4-BE49-F238E27FC236}">
                  <a16:creationId xmlns:a16="http://schemas.microsoft.com/office/drawing/2014/main" id="{759546A7-9B35-4C30-990C-FF2D92132965}"/>
                </a:ext>
              </a:extLst>
            </p:cNvPr>
            <p:cNvSpPr>
              <a:spLocks noChangeArrowheads="1"/>
            </p:cNvSpPr>
            <p:nvPr/>
          </p:nvSpPr>
          <p:spPr bwMode="auto">
            <a:xfrm>
              <a:off x="412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3085">
              <a:extLst>
                <a:ext uri="{FF2B5EF4-FFF2-40B4-BE49-F238E27FC236}">
                  <a16:creationId xmlns:a16="http://schemas.microsoft.com/office/drawing/2014/main" id="{32F0C3DE-9F73-4CCC-AF97-9834F43CAAD4}"/>
                </a:ext>
              </a:extLst>
            </p:cNvPr>
            <p:cNvSpPr>
              <a:spLocks noChangeArrowheads="1"/>
            </p:cNvSpPr>
            <p:nvPr/>
          </p:nvSpPr>
          <p:spPr bwMode="auto">
            <a:xfrm>
              <a:off x="4064"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3086">
              <a:extLst>
                <a:ext uri="{FF2B5EF4-FFF2-40B4-BE49-F238E27FC236}">
                  <a16:creationId xmlns:a16="http://schemas.microsoft.com/office/drawing/2014/main" id="{38B40BF0-0463-4E20-AAE5-BE8A1B1C510A}"/>
                </a:ext>
              </a:extLst>
            </p:cNvPr>
            <p:cNvSpPr>
              <a:spLocks noChangeArrowheads="1"/>
            </p:cNvSpPr>
            <p:nvPr/>
          </p:nvSpPr>
          <p:spPr bwMode="auto">
            <a:xfrm>
              <a:off x="3974"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Oval 3087">
              <a:extLst>
                <a:ext uri="{FF2B5EF4-FFF2-40B4-BE49-F238E27FC236}">
                  <a16:creationId xmlns:a16="http://schemas.microsoft.com/office/drawing/2014/main" id="{8F7E04EF-A52B-41E3-9560-DBCF586BB83F}"/>
                </a:ext>
              </a:extLst>
            </p:cNvPr>
            <p:cNvSpPr>
              <a:spLocks noChangeArrowheads="1"/>
            </p:cNvSpPr>
            <p:nvPr/>
          </p:nvSpPr>
          <p:spPr bwMode="auto">
            <a:xfrm>
              <a:off x="385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3088">
              <a:extLst>
                <a:ext uri="{FF2B5EF4-FFF2-40B4-BE49-F238E27FC236}">
                  <a16:creationId xmlns:a16="http://schemas.microsoft.com/office/drawing/2014/main" id="{81CDC098-01BF-439E-84D0-83F1B7397785}"/>
                </a:ext>
              </a:extLst>
            </p:cNvPr>
            <p:cNvSpPr>
              <a:spLocks noChangeArrowheads="1"/>
            </p:cNvSpPr>
            <p:nvPr/>
          </p:nvSpPr>
          <p:spPr bwMode="auto">
            <a:xfrm>
              <a:off x="367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3089">
              <a:extLst>
                <a:ext uri="{FF2B5EF4-FFF2-40B4-BE49-F238E27FC236}">
                  <a16:creationId xmlns:a16="http://schemas.microsoft.com/office/drawing/2014/main" id="{DCBEB01F-F4CC-4DBA-863E-F0223DA69ACB}"/>
                </a:ext>
              </a:extLst>
            </p:cNvPr>
            <p:cNvSpPr>
              <a:spLocks noChangeArrowheads="1"/>
            </p:cNvSpPr>
            <p:nvPr/>
          </p:nvSpPr>
          <p:spPr bwMode="auto">
            <a:xfrm>
              <a:off x="367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3090">
              <a:extLst>
                <a:ext uri="{FF2B5EF4-FFF2-40B4-BE49-F238E27FC236}">
                  <a16:creationId xmlns:a16="http://schemas.microsoft.com/office/drawing/2014/main" id="{D27348CE-7486-40EC-92C8-EC629B49ACDA}"/>
                </a:ext>
              </a:extLst>
            </p:cNvPr>
            <p:cNvSpPr>
              <a:spLocks noChangeArrowheads="1"/>
            </p:cNvSpPr>
            <p:nvPr/>
          </p:nvSpPr>
          <p:spPr bwMode="auto">
            <a:xfrm>
              <a:off x="35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3091">
              <a:extLst>
                <a:ext uri="{FF2B5EF4-FFF2-40B4-BE49-F238E27FC236}">
                  <a16:creationId xmlns:a16="http://schemas.microsoft.com/office/drawing/2014/main" id="{F0488894-DC16-4E9B-92E4-CE3ABF9C5246}"/>
                </a:ext>
              </a:extLst>
            </p:cNvPr>
            <p:cNvSpPr>
              <a:spLocks noChangeArrowheads="1"/>
            </p:cNvSpPr>
            <p:nvPr/>
          </p:nvSpPr>
          <p:spPr bwMode="auto">
            <a:xfrm>
              <a:off x="355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3092">
              <a:extLst>
                <a:ext uri="{FF2B5EF4-FFF2-40B4-BE49-F238E27FC236}">
                  <a16:creationId xmlns:a16="http://schemas.microsoft.com/office/drawing/2014/main" id="{81CB97E6-1DB4-4848-B5F6-C8B19D880ADC}"/>
                </a:ext>
              </a:extLst>
            </p:cNvPr>
            <p:cNvSpPr>
              <a:spLocks noChangeArrowheads="1"/>
            </p:cNvSpPr>
            <p:nvPr/>
          </p:nvSpPr>
          <p:spPr bwMode="auto">
            <a:xfrm>
              <a:off x="355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3093">
              <a:extLst>
                <a:ext uri="{FF2B5EF4-FFF2-40B4-BE49-F238E27FC236}">
                  <a16:creationId xmlns:a16="http://schemas.microsoft.com/office/drawing/2014/main" id="{189D386E-B715-465B-A598-615C20D62327}"/>
                </a:ext>
              </a:extLst>
            </p:cNvPr>
            <p:cNvSpPr>
              <a:spLocks noChangeArrowheads="1"/>
            </p:cNvSpPr>
            <p:nvPr/>
          </p:nvSpPr>
          <p:spPr bwMode="auto">
            <a:xfrm>
              <a:off x="358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3094">
              <a:extLst>
                <a:ext uri="{FF2B5EF4-FFF2-40B4-BE49-F238E27FC236}">
                  <a16:creationId xmlns:a16="http://schemas.microsoft.com/office/drawing/2014/main" id="{52F180F1-D04E-4055-951C-8FA646A84FB1}"/>
                </a:ext>
              </a:extLst>
            </p:cNvPr>
            <p:cNvSpPr>
              <a:spLocks noChangeArrowheads="1"/>
            </p:cNvSpPr>
            <p:nvPr/>
          </p:nvSpPr>
          <p:spPr bwMode="auto">
            <a:xfrm>
              <a:off x="343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3095">
              <a:extLst>
                <a:ext uri="{FF2B5EF4-FFF2-40B4-BE49-F238E27FC236}">
                  <a16:creationId xmlns:a16="http://schemas.microsoft.com/office/drawing/2014/main" id="{9EEBFAA9-F3B4-45D4-AD04-A97BA70C547C}"/>
                </a:ext>
              </a:extLst>
            </p:cNvPr>
            <p:cNvSpPr>
              <a:spLocks noChangeArrowheads="1"/>
            </p:cNvSpPr>
            <p:nvPr/>
          </p:nvSpPr>
          <p:spPr bwMode="auto">
            <a:xfrm>
              <a:off x="340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3096">
              <a:extLst>
                <a:ext uri="{FF2B5EF4-FFF2-40B4-BE49-F238E27FC236}">
                  <a16:creationId xmlns:a16="http://schemas.microsoft.com/office/drawing/2014/main" id="{5EC2549D-F8BD-46B7-8E35-8FD67DDA98B7}"/>
                </a:ext>
              </a:extLst>
            </p:cNvPr>
            <p:cNvSpPr>
              <a:spLocks noChangeArrowheads="1"/>
            </p:cNvSpPr>
            <p:nvPr/>
          </p:nvSpPr>
          <p:spPr bwMode="auto">
            <a:xfrm>
              <a:off x="331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3097">
              <a:extLst>
                <a:ext uri="{FF2B5EF4-FFF2-40B4-BE49-F238E27FC236}">
                  <a16:creationId xmlns:a16="http://schemas.microsoft.com/office/drawing/2014/main" id="{1F5192DD-F468-4E29-9C4E-DB5A70C401AD}"/>
                </a:ext>
              </a:extLst>
            </p:cNvPr>
            <p:cNvSpPr>
              <a:spLocks noChangeArrowheads="1"/>
            </p:cNvSpPr>
            <p:nvPr/>
          </p:nvSpPr>
          <p:spPr bwMode="auto">
            <a:xfrm>
              <a:off x="340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Oval 3098">
              <a:extLst>
                <a:ext uri="{FF2B5EF4-FFF2-40B4-BE49-F238E27FC236}">
                  <a16:creationId xmlns:a16="http://schemas.microsoft.com/office/drawing/2014/main" id="{C523C88B-4736-49FF-8FFB-1C5966D1C4B6}"/>
                </a:ext>
              </a:extLst>
            </p:cNvPr>
            <p:cNvSpPr>
              <a:spLocks noChangeArrowheads="1"/>
            </p:cNvSpPr>
            <p:nvPr/>
          </p:nvSpPr>
          <p:spPr bwMode="auto">
            <a:xfrm>
              <a:off x="328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3099">
              <a:extLst>
                <a:ext uri="{FF2B5EF4-FFF2-40B4-BE49-F238E27FC236}">
                  <a16:creationId xmlns:a16="http://schemas.microsoft.com/office/drawing/2014/main" id="{C1AF59EE-B741-4F76-88F4-C5FD5EAF40A0}"/>
                </a:ext>
              </a:extLst>
            </p:cNvPr>
            <p:cNvSpPr>
              <a:spLocks noChangeArrowheads="1"/>
            </p:cNvSpPr>
            <p:nvPr/>
          </p:nvSpPr>
          <p:spPr bwMode="auto">
            <a:xfrm>
              <a:off x="334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3100">
              <a:extLst>
                <a:ext uri="{FF2B5EF4-FFF2-40B4-BE49-F238E27FC236}">
                  <a16:creationId xmlns:a16="http://schemas.microsoft.com/office/drawing/2014/main" id="{D9350580-11F9-4134-85C7-B01F82E535B7}"/>
                </a:ext>
              </a:extLst>
            </p:cNvPr>
            <p:cNvSpPr>
              <a:spLocks noChangeArrowheads="1"/>
            </p:cNvSpPr>
            <p:nvPr/>
          </p:nvSpPr>
          <p:spPr bwMode="auto">
            <a:xfrm>
              <a:off x="334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3101">
              <a:extLst>
                <a:ext uri="{FF2B5EF4-FFF2-40B4-BE49-F238E27FC236}">
                  <a16:creationId xmlns:a16="http://schemas.microsoft.com/office/drawing/2014/main" id="{06E5BC0E-3F72-402A-8751-68B9F3D216C5}"/>
                </a:ext>
              </a:extLst>
            </p:cNvPr>
            <p:cNvSpPr>
              <a:spLocks noChangeArrowheads="1"/>
            </p:cNvSpPr>
            <p:nvPr/>
          </p:nvSpPr>
          <p:spPr bwMode="auto">
            <a:xfrm>
              <a:off x="325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3102">
              <a:extLst>
                <a:ext uri="{FF2B5EF4-FFF2-40B4-BE49-F238E27FC236}">
                  <a16:creationId xmlns:a16="http://schemas.microsoft.com/office/drawing/2014/main" id="{7AA3611B-BEFE-45FC-B446-CF32BD8BF27A}"/>
                </a:ext>
              </a:extLst>
            </p:cNvPr>
            <p:cNvSpPr>
              <a:spLocks noChangeArrowheads="1"/>
            </p:cNvSpPr>
            <p:nvPr/>
          </p:nvSpPr>
          <p:spPr bwMode="auto">
            <a:xfrm>
              <a:off x="319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3103">
              <a:extLst>
                <a:ext uri="{FF2B5EF4-FFF2-40B4-BE49-F238E27FC236}">
                  <a16:creationId xmlns:a16="http://schemas.microsoft.com/office/drawing/2014/main" id="{BABAD6A8-70C2-47F7-AA4E-6C7121AAC0A9}"/>
                </a:ext>
              </a:extLst>
            </p:cNvPr>
            <p:cNvSpPr>
              <a:spLocks noChangeArrowheads="1"/>
            </p:cNvSpPr>
            <p:nvPr/>
          </p:nvSpPr>
          <p:spPr bwMode="auto">
            <a:xfrm>
              <a:off x="31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3104">
              <a:extLst>
                <a:ext uri="{FF2B5EF4-FFF2-40B4-BE49-F238E27FC236}">
                  <a16:creationId xmlns:a16="http://schemas.microsoft.com/office/drawing/2014/main" id="{08402F9E-66E3-45F5-AAE7-63BE504AACA0}"/>
                </a:ext>
              </a:extLst>
            </p:cNvPr>
            <p:cNvSpPr>
              <a:spLocks noChangeArrowheads="1"/>
            </p:cNvSpPr>
            <p:nvPr/>
          </p:nvSpPr>
          <p:spPr bwMode="auto">
            <a:xfrm>
              <a:off x="319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3105">
              <a:extLst>
                <a:ext uri="{FF2B5EF4-FFF2-40B4-BE49-F238E27FC236}">
                  <a16:creationId xmlns:a16="http://schemas.microsoft.com/office/drawing/2014/main" id="{CD13E24D-75C8-482F-8EBF-174D5A9CA813}"/>
                </a:ext>
              </a:extLst>
            </p:cNvPr>
            <p:cNvSpPr>
              <a:spLocks noChangeArrowheads="1"/>
            </p:cNvSpPr>
            <p:nvPr/>
          </p:nvSpPr>
          <p:spPr bwMode="auto">
            <a:xfrm>
              <a:off x="319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Oval 3106">
              <a:extLst>
                <a:ext uri="{FF2B5EF4-FFF2-40B4-BE49-F238E27FC236}">
                  <a16:creationId xmlns:a16="http://schemas.microsoft.com/office/drawing/2014/main" id="{5D5C3FE7-265B-4E47-8983-5C91DBDC2DC3}"/>
                </a:ext>
              </a:extLst>
            </p:cNvPr>
            <p:cNvSpPr>
              <a:spLocks noChangeArrowheads="1"/>
            </p:cNvSpPr>
            <p:nvPr/>
          </p:nvSpPr>
          <p:spPr bwMode="auto">
            <a:xfrm>
              <a:off x="319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3107">
              <a:extLst>
                <a:ext uri="{FF2B5EF4-FFF2-40B4-BE49-F238E27FC236}">
                  <a16:creationId xmlns:a16="http://schemas.microsoft.com/office/drawing/2014/main" id="{C22031A4-FFD2-43B4-82B5-E0AF35D26ABE}"/>
                </a:ext>
              </a:extLst>
            </p:cNvPr>
            <p:cNvSpPr>
              <a:spLocks noChangeArrowheads="1"/>
            </p:cNvSpPr>
            <p:nvPr/>
          </p:nvSpPr>
          <p:spPr bwMode="auto">
            <a:xfrm>
              <a:off x="31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3108">
              <a:extLst>
                <a:ext uri="{FF2B5EF4-FFF2-40B4-BE49-F238E27FC236}">
                  <a16:creationId xmlns:a16="http://schemas.microsoft.com/office/drawing/2014/main" id="{1B858622-5DE0-4FCE-9382-1952AAFD4F4A}"/>
                </a:ext>
              </a:extLst>
            </p:cNvPr>
            <p:cNvSpPr>
              <a:spLocks noChangeArrowheads="1"/>
            </p:cNvSpPr>
            <p:nvPr/>
          </p:nvSpPr>
          <p:spPr bwMode="auto">
            <a:xfrm>
              <a:off x="319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3109">
              <a:extLst>
                <a:ext uri="{FF2B5EF4-FFF2-40B4-BE49-F238E27FC236}">
                  <a16:creationId xmlns:a16="http://schemas.microsoft.com/office/drawing/2014/main" id="{A0FE37F8-C9B1-437C-90CE-57206DFC17A4}"/>
                </a:ext>
              </a:extLst>
            </p:cNvPr>
            <p:cNvSpPr>
              <a:spLocks noChangeArrowheads="1"/>
            </p:cNvSpPr>
            <p:nvPr/>
          </p:nvSpPr>
          <p:spPr bwMode="auto">
            <a:xfrm>
              <a:off x="319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3110">
              <a:extLst>
                <a:ext uri="{FF2B5EF4-FFF2-40B4-BE49-F238E27FC236}">
                  <a16:creationId xmlns:a16="http://schemas.microsoft.com/office/drawing/2014/main" id="{86FCFEEE-0618-4B0E-B3AD-7D3DF095C453}"/>
                </a:ext>
              </a:extLst>
            </p:cNvPr>
            <p:cNvSpPr>
              <a:spLocks noChangeArrowheads="1"/>
            </p:cNvSpPr>
            <p:nvPr/>
          </p:nvSpPr>
          <p:spPr bwMode="auto">
            <a:xfrm>
              <a:off x="316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3111">
              <a:extLst>
                <a:ext uri="{FF2B5EF4-FFF2-40B4-BE49-F238E27FC236}">
                  <a16:creationId xmlns:a16="http://schemas.microsoft.com/office/drawing/2014/main" id="{1A943F17-BB1D-441D-B146-2804B2F14FFD}"/>
                </a:ext>
              </a:extLst>
            </p:cNvPr>
            <p:cNvSpPr>
              <a:spLocks noChangeArrowheads="1"/>
            </p:cNvSpPr>
            <p:nvPr/>
          </p:nvSpPr>
          <p:spPr bwMode="auto">
            <a:xfrm>
              <a:off x="328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3112">
              <a:extLst>
                <a:ext uri="{FF2B5EF4-FFF2-40B4-BE49-F238E27FC236}">
                  <a16:creationId xmlns:a16="http://schemas.microsoft.com/office/drawing/2014/main" id="{E3180A88-34F5-47AE-8077-DD8E2C30BAD3}"/>
                </a:ext>
              </a:extLst>
            </p:cNvPr>
            <p:cNvSpPr>
              <a:spLocks noChangeArrowheads="1"/>
            </p:cNvSpPr>
            <p:nvPr/>
          </p:nvSpPr>
          <p:spPr bwMode="auto">
            <a:xfrm>
              <a:off x="325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3113">
              <a:extLst>
                <a:ext uri="{FF2B5EF4-FFF2-40B4-BE49-F238E27FC236}">
                  <a16:creationId xmlns:a16="http://schemas.microsoft.com/office/drawing/2014/main" id="{8E7CCCF1-D72B-45BA-A604-7FFB6C2C4698}"/>
                </a:ext>
              </a:extLst>
            </p:cNvPr>
            <p:cNvSpPr>
              <a:spLocks noChangeArrowheads="1"/>
            </p:cNvSpPr>
            <p:nvPr/>
          </p:nvSpPr>
          <p:spPr bwMode="auto">
            <a:xfrm>
              <a:off x="328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3114">
              <a:extLst>
                <a:ext uri="{FF2B5EF4-FFF2-40B4-BE49-F238E27FC236}">
                  <a16:creationId xmlns:a16="http://schemas.microsoft.com/office/drawing/2014/main" id="{E8462FCB-E835-4F58-8FBF-FF7DB3305792}"/>
                </a:ext>
              </a:extLst>
            </p:cNvPr>
            <p:cNvSpPr>
              <a:spLocks noChangeArrowheads="1"/>
            </p:cNvSpPr>
            <p:nvPr/>
          </p:nvSpPr>
          <p:spPr bwMode="auto">
            <a:xfrm>
              <a:off x="352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3115">
              <a:extLst>
                <a:ext uri="{FF2B5EF4-FFF2-40B4-BE49-F238E27FC236}">
                  <a16:creationId xmlns:a16="http://schemas.microsoft.com/office/drawing/2014/main" id="{925DB842-B8B4-4DE5-B87D-786755C86A0E}"/>
                </a:ext>
              </a:extLst>
            </p:cNvPr>
            <p:cNvSpPr>
              <a:spLocks noChangeArrowheads="1"/>
            </p:cNvSpPr>
            <p:nvPr/>
          </p:nvSpPr>
          <p:spPr bwMode="auto">
            <a:xfrm>
              <a:off x="352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3116">
              <a:extLst>
                <a:ext uri="{FF2B5EF4-FFF2-40B4-BE49-F238E27FC236}">
                  <a16:creationId xmlns:a16="http://schemas.microsoft.com/office/drawing/2014/main" id="{E9B4DB4A-3A77-49C7-AD4D-AAE27CC55FF2}"/>
                </a:ext>
              </a:extLst>
            </p:cNvPr>
            <p:cNvSpPr>
              <a:spLocks noChangeArrowheads="1"/>
            </p:cNvSpPr>
            <p:nvPr/>
          </p:nvSpPr>
          <p:spPr bwMode="auto">
            <a:xfrm>
              <a:off x="346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3117">
              <a:extLst>
                <a:ext uri="{FF2B5EF4-FFF2-40B4-BE49-F238E27FC236}">
                  <a16:creationId xmlns:a16="http://schemas.microsoft.com/office/drawing/2014/main" id="{0CC3A816-83F5-4B66-9B1E-2AD8A605A27B}"/>
                </a:ext>
              </a:extLst>
            </p:cNvPr>
            <p:cNvSpPr>
              <a:spLocks noChangeArrowheads="1"/>
            </p:cNvSpPr>
            <p:nvPr/>
          </p:nvSpPr>
          <p:spPr bwMode="auto">
            <a:xfrm>
              <a:off x="346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3118">
              <a:extLst>
                <a:ext uri="{FF2B5EF4-FFF2-40B4-BE49-F238E27FC236}">
                  <a16:creationId xmlns:a16="http://schemas.microsoft.com/office/drawing/2014/main" id="{F4375130-7121-4B76-B72E-EFE2D91C5EBC}"/>
                </a:ext>
              </a:extLst>
            </p:cNvPr>
            <p:cNvSpPr>
              <a:spLocks noChangeArrowheads="1"/>
            </p:cNvSpPr>
            <p:nvPr/>
          </p:nvSpPr>
          <p:spPr bwMode="auto">
            <a:xfrm>
              <a:off x="334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3119">
              <a:extLst>
                <a:ext uri="{FF2B5EF4-FFF2-40B4-BE49-F238E27FC236}">
                  <a16:creationId xmlns:a16="http://schemas.microsoft.com/office/drawing/2014/main" id="{0460DA8A-9E29-4D6C-9EA1-16C0AEE4C94D}"/>
                </a:ext>
              </a:extLst>
            </p:cNvPr>
            <p:cNvSpPr>
              <a:spLocks noChangeArrowheads="1"/>
            </p:cNvSpPr>
            <p:nvPr/>
          </p:nvSpPr>
          <p:spPr bwMode="auto">
            <a:xfrm>
              <a:off x="334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3120">
              <a:extLst>
                <a:ext uri="{FF2B5EF4-FFF2-40B4-BE49-F238E27FC236}">
                  <a16:creationId xmlns:a16="http://schemas.microsoft.com/office/drawing/2014/main" id="{42164578-499C-4DC5-9816-39AF3F5B59F5}"/>
                </a:ext>
              </a:extLst>
            </p:cNvPr>
            <p:cNvSpPr>
              <a:spLocks noChangeArrowheads="1"/>
            </p:cNvSpPr>
            <p:nvPr/>
          </p:nvSpPr>
          <p:spPr bwMode="auto">
            <a:xfrm>
              <a:off x="328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3121">
              <a:extLst>
                <a:ext uri="{FF2B5EF4-FFF2-40B4-BE49-F238E27FC236}">
                  <a16:creationId xmlns:a16="http://schemas.microsoft.com/office/drawing/2014/main" id="{B0E1B1F3-DD73-4F3C-B72E-CE8D2E8B3439}"/>
                </a:ext>
              </a:extLst>
            </p:cNvPr>
            <p:cNvSpPr>
              <a:spLocks noChangeArrowheads="1"/>
            </p:cNvSpPr>
            <p:nvPr/>
          </p:nvSpPr>
          <p:spPr bwMode="auto">
            <a:xfrm>
              <a:off x="337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3122">
              <a:extLst>
                <a:ext uri="{FF2B5EF4-FFF2-40B4-BE49-F238E27FC236}">
                  <a16:creationId xmlns:a16="http://schemas.microsoft.com/office/drawing/2014/main" id="{1AF1E062-F0CA-4596-B68A-FD811E5A5940}"/>
                </a:ext>
              </a:extLst>
            </p:cNvPr>
            <p:cNvSpPr>
              <a:spLocks noChangeArrowheads="1"/>
            </p:cNvSpPr>
            <p:nvPr/>
          </p:nvSpPr>
          <p:spPr bwMode="auto">
            <a:xfrm>
              <a:off x="340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3123">
              <a:extLst>
                <a:ext uri="{FF2B5EF4-FFF2-40B4-BE49-F238E27FC236}">
                  <a16:creationId xmlns:a16="http://schemas.microsoft.com/office/drawing/2014/main" id="{E26FAA68-8642-4DD8-AB35-FC387FECA12B}"/>
                </a:ext>
              </a:extLst>
            </p:cNvPr>
            <p:cNvSpPr>
              <a:spLocks noChangeArrowheads="1"/>
            </p:cNvSpPr>
            <p:nvPr/>
          </p:nvSpPr>
          <p:spPr bwMode="auto">
            <a:xfrm>
              <a:off x="36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3124">
              <a:extLst>
                <a:ext uri="{FF2B5EF4-FFF2-40B4-BE49-F238E27FC236}">
                  <a16:creationId xmlns:a16="http://schemas.microsoft.com/office/drawing/2014/main" id="{7CEA03B6-C4A6-42DE-A55F-0704B22E89F5}"/>
                </a:ext>
              </a:extLst>
            </p:cNvPr>
            <p:cNvSpPr>
              <a:spLocks noChangeArrowheads="1"/>
            </p:cNvSpPr>
            <p:nvPr/>
          </p:nvSpPr>
          <p:spPr bwMode="auto">
            <a:xfrm>
              <a:off x="355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3125">
              <a:extLst>
                <a:ext uri="{FF2B5EF4-FFF2-40B4-BE49-F238E27FC236}">
                  <a16:creationId xmlns:a16="http://schemas.microsoft.com/office/drawing/2014/main" id="{917D21C1-7EA2-4639-832C-4E1EA6C63D30}"/>
                </a:ext>
              </a:extLst>
            </p:cNvPr>
            <p:cNvSpPr>
              <a:spLocks noChangeArrowheads="1"/>
            </p:cNvSpPr>
            <p:nvPr/>
          </p:nvSpPr>
          <p:spPr bwMode="auto">
            <a:xfrm>
              <a:off x="397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3126">
              <a:extLst>
                <a:ext uri="{FF2B5EF4-FFF2-40B4-BE49-F238E27FC236}">
                  <a16:creationId xmlns:a16="http://schemas.microsoft.com/office/drawing/2014/main" id="{359A4E15-0781-4C9A-A663-AAED88140EFE}"/>
                </a:ext>
              </a:extLst>
            </p:cNvPr>
            <p:cNvSpPr>
              <a:spLocks noChangeArrowheads="1"/>
            </p:cNvSpPr>
            <p:nvPr/>
          </p:nvSpPr>
          <p:spPr bwMode="auto">
            <a:xfrm>
              <a:off x="379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3127">
              <a:extLst>
                <a:ext uri="{FF2B5EF4-FFF2-40B4-BE49-F238E27FC236}">
                  <a16:creationId xmlns:a16="http://schemas.microsoft.com/office/drawing/2014/main" id="{96B8D5A9-DE09-43E1-A788-AA98B3A4B771}"/>
                </a:ext>
              </a:extLst>
            </p:cNvPr>
            <p:cNvSpPr>
              <a:spLocks noChangeArrowheads="1"/>
            </p:cNvSpPr>
            <p:nvPr/>
          </p:nvSpPr>
          <p:spPr bwMode="auto">
            <a:xfrm>
              <a:off x="3914"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3128">
              <a:extLst>
                <a:ext uri="{FF2B5EF4-FFF2-40B4-BE49-F238E27FC236}">
                  <a16:creationId xmlns:a16="http://schemas.microsoft.com/office/drawing/2014/main" id="{B101C526-3B19-483D-822B-661377D2DABC}"/>
                </a:ext>
              </a:extLst>
            </p:cNvPr>
            <p:cNvSpPr>
              <a:spLocks noChangeArrowheads="1"/>
            </p:cNvSpPr>
            <p:nvPr/>
          </p:nvSpPr>
          <p:spPr bwMode="auto">
            <a:xfrm>
              <a:off x="391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3129">
              <a:extLst>
                <a:ext uri="{FF2B5EF4-FFF2-40B4-BE49-F238E27FC236}">
                  <a16:creationId xmlns:a16="http://schemas.microsoft.com/office/drawing/2014/main" id="{846BB30E-3DFE-40C6-A94B-C0C8F137241F}"/>
                </a:ext>
              </a:extLst>
            </p:cNvPr>
            <p:cNvSpPr>
              <a:spLocks noChangeArrowheads="1"/>
            </p:cNvSpPr>
            <p:nvPr/>
          </p:nvSpPr>
          <p:spPr bwMode="auto">
            <a:xfrm>
              <a:off x="379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Oval 3130">
              <a:extLst>
                <a:ext uri="{FF2B5EF4-FFF2-40B4-BE49-F238E27FC236}">
                  <a16:creationId xmlns:a16="http://schemas.microsoft.com/office/drawing/2014/main" id="{1FBD597E-7181-466F-A95C-C48CDD81D20C}"/>
                </a:ext>
              </a:extLst>
            </p:cNvPr>
            <p:cNvSpPr>
              <a:spLocks noChangeArrowheads="1"/>
            </p:cNvSpPr>
            <p:nvPr/>
          </p:nvSpPr>
          <p:spPr bwMode="auto">
            <a:xfrm>
              <a:off x="3794"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3131">
              <a:extLst>
                <a:ext uri="{FF2B5EF4-FFF2-40B4-BE49-F238E27FC236}">
                  <a16:creationId xmlns:a16="http://schemas.microsoft.com/office/drawing/2014/main" id="{7558BB36-E6AB-4667-AEC0-C88A2E03CDD6}"/>
                </a:ext>
              </a:extLst>
            </p:cNvPr>
            <p:cNvSpPr>
              <a:spLocks noChangeArrowheads="1"/>
            </p:cNvSpPr>
            <p:nvPr/>
          </p:nvSpPr>
          <p:spPr bwMode="auto">
            <a:xfrm>
              <a:off x="415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3132">
              <a:extLst>
                <a:ext uri="{FF2B5EF4-FFF2-40B4-BE49-F238E27FC236}">
                  <a16:creationId xmlns:a16="http://schemas.microsoft.com/office/drawing/2014/main" id="{173969D9-195C-490A-879F-A7495D20F739}"/>
                </a:ext>
              </a:extLst>
            </p:cNvPr>
            <p:cNvSpPr>
              <a:spLocks noChangeArrowheads="1"/>
            </p:cNvSpPr>
            <p:nvPr/>
          </p:nvSpPr>
          <p:spPr bwMode="auto">
            <a:xfrm>
              <a:off x="406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3133">
              <a:extLst>
                <a:ext uri="{FF2B5EF4-FFF2-40B4-BE49-F238E27FC236}">
                  <a16:creationId xmlns:a16="http://schemas.microsoft.com/office/drawing/2014/main" id="{2CABD0C7-CB77-461E-8C15-7481581AA7F9}"/>
                </a:ext>
              </a:extLst>
            </p:cNvPr>
            <p:cNvSpPr>
              <a:spLocks noChangeArrowheads="1"/>
            </p:cNvSpPr>
            <p:nvPr/>
          </p:nvSpPr>
          <p:spPr bwMode="auto">
            <a:xfrm>
              <a:off x="4034"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Oval 3134">
              <a:extLst>
                <a:ext uri="{FF2B5EF4-FFF2-40B4-BE49-F238E27FC236}">
                  <a16:creationId xmlns:a16="http://schemas.microsoft.com/office/drawing/2014/main" id="{AD56B41E-0B1A-48CB-B7BE-F1CC416D71B0}"/>
                </a:ext>
              </a:extLst>
            </p:cNvPr>
            <p:cNvSpPr>
              <a:spLocks noChangeArrowheads="1"/>
            </p:cNvSpPr>
            <p:nvPr/>
          </p:nvSpPr>
          <p:spPr bwMode="auto">
            <a:xfrm>
              <a:off x="3974"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3135">
              <a:extLst>
                <a:ext uri="{FF2B5EF4-FFF2-40B4-BE49-F238E27FC236}">
                  <a16:creationId xmlns:a16="http://schemas.microsoft.com/office/drawing/2014/main" id="{4F46000D-29E5-46D7-A540-987157934853}"/>
                </a:ext>
              </a:extLst>
            </p:cNvPr>
            <p:cNvSpPr>
              <a:spLocks noChangeArrowheads="1"/>
            </p:cNvSpPr>
            <p:nvPr/>
          </p:nvSpPr>
          <p:spPr bwMode="auto">
            <a:xfrm>
              <a:off x="394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3136">
              <a:extLst>
                <a:ext uri="{FF2B5EF4-FFF2-40B4-BE49-F238E27FC236}">
                  <a16:creationId xmlns:a16="http://schemas.microsoft.com/office/drawing/2014/main" id="{5002D72F-1C49-41DF-8054-84E9E34D9621}"/>
                </a:ext>
              </a:extLst>
            </p:cNvPr>
            <p:cNvSpPr>
              <a:spLocks noChangeArrowheads="1"/>
            </p:cNvSpPr>
            <p:nvPr/>
          </p:nvSpPr>
          <p:spPr bwMode="auto">
            <a:xfrm>
              <a:off x="379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3137">
              <a:extLst>
                <a:ext uri="{FF2B5EF4-FFF2-40B4-BE49-F238E27FC236}">
                  <a16:creationId xmlns:a16="http://schemas.microsoft.com/office/drawing/2014/main" id="{B93F91E4-18FC-4A32-BF8B-0D30D52B9A56}"/>
                </a:ext>
              </a:extLst>
            </p:cNvPr>
            <p:cNvSpPr>
              <a:spLocks noChangeArrowheads="1"/>
            </p:cNvSpPr>
            <p:nvPr/>
          </p:nvSpPr>
          <p:spPr bwMode="auto">
            <a:xfrm>
              <a:off x="385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3138">
              <a:extLst>
                <a:ext uri="{FF2B5EF4-FFF2-40B4-BE49-F238E27FC236}">
                  <a16:creationId xmlns:a16="http://schemas.microsoft.com/office/drawing/2014/main" id="{69C874FB-E2DE-4EAF-A5F9-1A637B691C5F}"/>
                </a:ext>
              </a:extLst>
            </p:cNvPr>
            <p:cNvSpPr>
              <a:spLocks noChangeArrowheads="1"/>
            </p:cNvSpPr>
            <p:nvPr/>
          </p:nvSpPr>
          <p:spPr bwMode="auto">
            <a:xfrm>
              <a:off x="3764"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Oval 3139">
              <a:extLst>
                <a:ext uri="{FF2B5EF4-FFF2-40B4-BE49-F238E27FC236}">
                  <a16:creationId xmlns:a16="http://schemas.microsoft.com/office/drawing/2014/main" id="{D80A22B5-A62C-428A-94B6-92980D59036A}"/>
                </a:ext>
              </a:extLst>
            </p:cNvPr>
            <p:cNvSpPr>
              <a:spLocks noChangeArrowheads="1"/>
            </p:cNvSpPr>
            <p:nvPr/>
          </p:nvSpPr>
          <p:spPr bwMode="auto">
            <a:xfrm>
              <a:off x="3705" y="24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3140">
              <a:extLst>
                <a:ext uri="{FF2B5EF4-FFF2-40B4-BE49-F238E27FC236}">
                  <a16:creationId xmlns:a16="http://schemas.microsoft.com/office/drawing/2014/main" id="{5F56AF93-7381-490A-B3B6-99C7B92D0BAA}"/>
                </a:ext>
              </a:extLst>
            </p:cNvPr>
            <p:cNvSpPr>
              <a:spLocks noChangeArrowheads="1"/>
            </p:cNvSpPr>
            <p:nvPr/>
          </p:nvSpPr>
          <p:spPr bwMode="auto">
            <a:xfrm>
              <a:off x="367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3141">
              <a:extLst>
                <a:ext uri="{FF2B5EF4-FFF2-40B4-BE49-F238E27FC236}">
                  <a16:creationId xmlns:a16="http://schemas.microsoft.com/office/drawing/2014/main" id="{A56238BF-4DBA-4775-B4A9-D87272BBB551}"/>
                </a:ext>
              </a:extLst>
            </p:cNvPr>
            <p:cNvSpPr>
              <a:spLocks noChangeArrowheads="1"/>
            </p:cNvSpPr>
            <p:nvPr/>
          </p:nvSpPr>
          <p:spPr bwMode="auto">
            <a:xfrm>
              <a:off x="361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3142">
              <a:extLst>
                <a:ext uri="{FF2B5EF4-FFF2-40B4-BE49-F238E27FC236}">
                  <a16:creationId xmlns:a16="http://schemas.microsoft.com/office/drawing/2014/main" id="{CF87C266-1868-4A2A-8A9E-CCE8D9E543F3}"/>
                </a:ext>
              </a:extLst>
            </p:cNvPr>
            <p:cNvSpPr>
              <a:spLocks noChangeArrowheads="1"/>
            </p:cNvSpPr>
            <p:nvPr/>
          </p:nvSpPr>
          <p:spPr bwMode="auto">
            <a:xfrm>
              <a:off x="355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3143">
              <a:extLst>
                <a:ext uri="{FF2B5EF4-FFF2-40B4-BE49-F238E27FC236}">
                  <a16:creationId xmlns:a16="http://schemas.microsoft.com/office/drawing/2014/main" id="{54A381E2-A23A-4792-A5FC-25713F97AD0F}"/>
                </a:ext>
              </a:extLst>
            </p:cNvPr>
            <p:cNvSpPr>
              <a:spLocks noChangeArrowheads="1"/>
            </p:cNvSpPr>
            <p:nvPr/>
          </p:nvSpPr>
          <p:spPr bwMode="auto">
            <a:xfrm>
              <a:off x="346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3144">
              <a:extLst>
                <a:ext uri="{FF2B5EF4-FFF2-40B4-BE49-F238E27FC236}">
                  <a16:creationId xmlns:a16="http://schemas.microsoft.com/office/drawing/2014/main" id="{E7811110-02C2-4AC8-B51A-95EDB4C8A1BA}"/>
                </a:ext>
              </a:extLst>
            </p:cNvPr>
            <p:cNvSpPr>
              <a:spLocks noChangeArrowheads="1"/>
            </p:cNvSpPr>
            <p:nvPr/>
          </p:nvSpPr>
          <p:spPr bwMode="auto">
            <a:xfrm>
              <a:off x="343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Oval 3145">
              <a:extLst>
                <a:ext uri="{FF2B5EF4-FFF2-40B4-BE49-F238E27FC236}">
                  <a16:creationId xmlns:a16="http://schemas.microsoft.com/office/drawing/2014/main" id="{5ABAA963-15AF-4CD3-B2D5-9D7942049B45}"/>
                </a:ext>
              </a:extLst>
            </p:cNvPr>
            <p:cNvSpPr>
              <a:spLocks noChangeArrowheads="1"/>
            </p:cNvSpPr>
            <p:nvPr/>
          </p:nvSpPr>
          <p:spPr bwMode="auto">
            <a:xfrm>
              <a:off x="39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3146">
              <a:extLst>
                <a:ext uri="{FF2B5EF4-FFF2-40B4-BE49-F238E27FC236}">
                  <a16:creationId xmlns:a16="http://schemas.microsoft.com/office/drawing/2014/main" id="{5781C060-C347-4DF1-97C4-649A83AAB199}"/>
                </a:ext>
              </a:extLst>
            </p:cNvPr>
            <p:cNvSpPr>
              <a:spLocks noChangeArrowheads="1"/>
            </p:cNvSpPr>
            <p:nvPr/>
          </p:nvSpPr>
          <p:spPr bwMode="auto">
            <a:xfrm>
              <a:off x="382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3147">
              <a:extLst>
                <a:ext uri="{FF2B5EF4-FFF2-40B4-BE49-F238E27FC236}">
                  <a16:creationId xmlns:a16="http://schemas.microsoft.com/office/drawing/2014/main" id="{D93747EC-EBC5-4770-9479-D2C424D8098F}"/>
                </a:ext>
              </a:extLst>
            </p:cNvPr>
            <p:cNvSpPr>
              <a:spLocks noChangeArrowheads="1"/>
            </p:cNvSpPr>
            <p:nvPr/>
          </p:nvSpPr>
          <p:spPr bwMode="auto">
            <a:xfrm>
              <a:off x="3705" y="21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3148">
              <a:extLst>
                <a:ext uri="{FF2B5EF4-FFF2-40B4-BE49-F238E27FC236}">
                  <a16:creationId xmlns:a16="http://schemas.microsoft.com/office/drawing/2014/main" id="{353C523D-12B2-4E33-933D-D500103198C0}"/>
                </a:ext>
              </a:extLst>
            </p:cNvPr>
            <p:cNvSpPr>
              <a:spLocks noChangeArrowheads="1"/>
            </p:cNvSpPr>
            <p:nvPr/>
          </p:nvSpPr>
          <p:spPr bwMode="auto">
            <a:xfrm>
              <a:off x="36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3149">
              <a:extLst>
                <a:ext uri="{FF2B5EF4-FFF2-40B4-BE49-F238E27FC236}">
                  <a16:creationId xmlns:a16="http://schemas.microsoft.com/office/drawing/2014/main" id="{A0D11C82-4836-4C3D-AB5F-A0FC983F4B89}"/>
                </a:ext>
              </a:extLst>
            </p:cNvPr>
            <p:cNvSpPr>
              <a:spLocks noChangeArrowheads="1"/>
            </p:cNvSpPr>
            <p:nvPr/>
          </p:nvSpPr>
          <p:spPr bwMode="auto">
            <a:xfrm>
              <a:off x="4154"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3150">
              <a:extLst>
                <a:ext uri="{FF2B5EF4-FFF2-40B4-BE49-F238E27FC236}">
                  <a16:creationId xmlns:a16="http://schemas.microsoft.com/office/drawing/2014/main" id="{5441C87D-9D2D-4931-8CB5-A756390C9ED1}"/>
                </a:ext>
              </a:extLst>
            </p:cNvPr>
            <p:cNvSpPr>
              <a:spLocks noChangeArrowheads="1"/>
            </p:cNvSpPr>
            <p:nvPr/>
          </p:nvSpPr>
          <p:spPr bwMode="auto">
            <a:xfrm>
              <a:off x="4274"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3151">
              <a:extLst>
                <a:ext uri="{FF2B5EF4-FFF2-40B4-BE49-F238E27FC236}">
                  <a16:creationId xmlns:a16="http://schemas.microsoft.com/office/drawing/2014/main" id="{E17DB5FA-A503-4E6B-AF3B-B5DCCC0B357F}"/>
                </a:ext>
              </a:extLst>
            </p:cNvPr>
            <p:cNvSpPr>
              <a:spLocks noChangeArrowheads="1"/>
            </p:cNvSpPr>
            <p:nvPr/>
          </p:nvSpPr>
          <p:spPr bwMode="auto">
            <a:xfrm>
              <a:off x="409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3152">
              <a:extLst>
                <a:ext uri="{FF2B5EF4-FFF2-40B4-BE49-F238E27FC236}">
                  <a16:creationId xmlns:a16="http://schemas.microsoft.com/office/drawing/2014/main" id="{F01EB203-ACEE-48FD-AE15-FB6A8E6164D7}"/>
                </a:ext>
              </a:extLst>
            </p:cNvPr>
            <p:cNvSpPr>
              <a:spLocks noChangeArrowheads="1"/>
            </p:cNvSpPr>
            <p:nvPr/>
          </p:nvSpPr>
          <p:spPr bwMode="auto">
            <a:xfrm>
              <a:off x="397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3153">
              <a:extLst>
                <a:ext uri="{FF2B5EF4-FFF2-40B4-BE49-F238E27FC236}">
                  <a16:creationId xmlns:a16="http://schemas.microsoft.com/office/drawing/2014/main" id="{E97693D6-64C4-4059-A2C2-EFCA43E7FCCB}"/>
                </a:ext>
              </a:extLst>
            </p:cNvPr>
            <p:cNvSpPr>
              <a:spLocks noChangeArrowheads="1"/>
            </p:cNvSpPr>
            <p:nvPr/>
          </p:nvSpPr>
          <p:spPr bwMode="auto">
            <a:xfrm>
              <a:off x="385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3154">
              <a:extLst>
                <a:ext uri="{FF2B5EF4-FFF2-40B4-BE49-F238E27FC236}">
                  <a16:creationId xmlns:a16="http://schemas.microsoft.com/office/drawing/2014/main" id="{DB8B5D5B-3754-4874-9CCF-4B4DA3E898A4}"/>
                </a:ext>
              </a:extLst>
            </p:cNvPr>
            <p:cNvSpPr>
              <a:spLocks noChangeArrowheads="1"/>
            </p:cNvSpPr>
            <p:nvPr/>
          </p:nvSpPr>
          <p:spPr bwMode="auto">
            <a:xfrm>
              <a:off x="3794"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3155">
              <a:extLst>
                <a:ext uri="{FF2B5EF4-FFF2-40B4-BE49-F238E27FC236}">
                  <a16:creationId xmlns:a16="http://schemas.microsoft.com/office/drawing/2014/main" id="{72F1B8D1-D80A-4F4B-90CC-4687187F1E03}"/>
                </a:ext>
              </a:extLst>
            </p:cNvPr>
            <p:cNvSpPr>
              <a:spLocks noChangeArrowheads="1"/>
            </p:cNvSpPr>
            <p:nvPr/>
          </p:nvSpPr>
          <p:spPr bwMode="auto">
            <a:xfrm>
              <a:off x="36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3156">
              <a:extLst>
                <a:ext uri="{FF2B5EF4-FFF2-40B4-BE49-F238E27FC236}">
                  <a16:creationId xmlns:a16="http://schemas.microsoft.com/office/drawing/2014/main" id="{C5DB0107-4647-4726-B196-12F8AEAB6A3C}"/>
                </a:ext>
              </a:extLst>
            </p:cNvPr>
            <p:cNvSpPr>
              <a:spLocks noChangeArrowheads="1"/>
            </p:cNvSpPr>
            <p:nvPr/>
          </p:nvSpPr>
          <p:spPr bwMode="auto">
            <a:xfrm>
              <a:off x="409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3157">
              <a:extLst>
                <a:ext uri="{FF2B5EF4-FFF2-40B4-BE49-F238E27FC236}">
                  <a16:creationId xmlns:a16="http://schemas.microsoft.com/office/drawing/2014/main" id="{3E79BA6D-6041-4A12-B6E2-CE78DAF76911}"/>
                </a:ext>
              </a:extLst>
            </p:cNvPr>
            <p:cNvSpPr>
              <a:spLocks noChangeArrowheads="1"/>
            </p:cNvSpPr>
            <p:nvPr/>
          </p:nvSpPr>
          <p:spPr bwMode="auto">
            <a:xfrm>
              <a:off x="400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3158">
              <a:extLst>
                <a:ext uri="{FF2B5EF4-FFF2-40B4-BE49-F238E27FC236}">
                  <a16:creationId xmlns:a16="http://schemas.microsoft.com/office/drawing/2014/main" id="{81ABFBFD-A33D-4E61-B9AF-BAEBC98AAFFC}"/>
                </a:ext>
              </a:extLst>
            </p:cNvPr>
            <p:cNvSpPr>
              <a:spLocks noChangeArrowheads="1"/>
            </p:cNvSpPr>
            <p:nvPr/>
          </p:nvSpPr>
          <p:spPr bwMode="auto">
            <a:xfrm>
              <a:off x="415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3159">
              <a:extLst>
                <a:ext uri="{FF2B5EF4-FFF2-40B4-BE49-F238E27FC236}">
                  <a16:creationId xmlns:a16="http://schemas.microsoft.com/office/drawing/2014/main" id="{8DC3D354-6DAF-4BD2-852A-CE7C4A75E62E}"/>
                </a:ext>
              </a:extLst>
            </p:cNvPr>
            <p:cNvSpPr>
              <a:spLocks noChangeArrowheads="1"/>
            </p:cNvSpPr>
            <p:nvPr/>
          </p:nvSpPr>
          <p:spPr bwMode="auto">
            <a:xfrm>
              <a:off x="424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3160">
              <a:extLst>
                <a:ext uri="{FF2B5EF4-FFF2-40B4-BE49-F238E27FC236}">
                  <a16:creationId xmlns:a16="http://schemas.microsoft.com/office/drawing/2014/main" id="{33A89BD1-ADDB-46FC-B663-C031005D739B}"/>
                </a:ext>
              </a:extLst>
            </p:cNvPr>
            <p:cNvSpPr>
              <a:spLocks noChangeArrowheads="1"/>
            </p:cNvSpPr>
            <p:nvPr/>
          </p:nvSpPr>
          <p:spPr bwMode="auto">
            <a:xfrm>
              <a:off x="427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3161">
              <a:extLst>
                <a:ext uri="{FF2B5EF4-FFF2-40B4-BE49-F238E27FC236}">
                  <a16:creationId xmlns:a16="http://schemas.microsoft.com/office/drawing/2014/main" id="{83233BA9-9FCD-40A5-B9EB-AB88CF3CA54B}"/>
                </a:ext>
              </a:extLst>
            </p:cNvPr>
            <p:cNvSpPr>
              <a:spLocks noChangeArrowheads="1"/>
            </p:cNvSpPr>
            <p:nvPr/>
          </p:nvSpPr>
          <p:spPr bwMode="auto">
            <a:xfrm>
              <a:off x="4124"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3162">
              <a:extLst>
                <a:ext uri="{FF2B5EF4-FFF2-40B4-BE49-F238E27FC236}">
                  <a16:creationId xmlns:a16="http://schemas.microsoft.com/office/drawing/2014/main" id="{A465CD93-1634-4622-9894-D63EA45304DE}"/>
                </a:ext>
              </a:extLst>
            </p:cNvPr>
            <p:cNvSpPr>
              <a:spLocks noChangeArrowheads="1"/>
            </p:cNvSpPr>
            <p:nvPr/>
          </p:nvSpPr>
          <p:spPr bwMode="auto">
            <a:xfrm>
              <a:off x="394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3163">
              <a:extLst>
                <a:ext uri="{FF2B5EF4-FFF2-40B4-BE49-F238E27FC236}">
                  <a16:creationId xmlns:a16="http://schemas.microsoft.com/office/drawing/2014/main" id="{96F010A8-53D7-4051-9C45-95F52952C15A}"/>
                </a:ext>
              </a:extLst>
            </p:cNvPr>
            <p:cNvSpPr>
              <a:spLocks noChangeArrowheads="1"/>
            </p:cNvSpPr>
            <p:nvPr/>
          </p:nvSpPr>
          <p:spPr bwMode="auto">
            <a:xfrm>
              <a:off x="3884"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3164">
              <a:extLst>
                <a:ext uri="{FF2B5EF4-FFF2-40B4-BE49-F238E27FC236}">
                  <a16:creationId xmlns:a16="http://schemas.microsoft.com/office/drawing/2014/main" id="{52E66BE7-F81E-455E-A8D8-AA7596DF5888}"/>
                </a:ext>
              </a:extLst>
            </p:cNvPr>
            <p:cNvSpPr>
              <a:spLocks noChangeArrowheads="1"/>
            </p:cNvSpPr>
            <p:nvPr/>
          </p:nvSpPr>
          <p:spPr bwMode="auto">
            <a:xfrm>
              <a:off x="376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3165">
              <a:extLst>
                <a:ext uri="{FF2B5EF4-FFF2-40B4-BE49-F238E27FC236}">
                  <a16:creationId xmlns:a16="http://schemas.microsoft.com/office/drawing/2014/main" id="{A8E74A10-5F5C-4270-860A-871504F589E6}"/>
                </a:ext>
              </a:extLst>
            </p:cNvPr>
            <p:cNvSpPr>
              <a:spLocks noChangeArrowheads="1"/>
            </p:cNvSpPr>
            <p:nvPr/>
          </p:nvSpPr>
          <p:spPr bwMode="auto">
            <a:xfrm>
              <a:off x="3705" y="30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3166">
              <a:extLst>
                <a:ext uri="{FF2B5EF4-FFF2-40B4-BE49-F238E27FC236}">
                  <a16:creationId xmlns:a16="http://schemas.microsoft.com/office/drawing/2014/main" id="{A24ED07F-3F27-407D-8489-4FF0C3EC4192}"/>
                </a:ext>
              </a:extLst>
            </p:cNvPr>
            <p:cNvSpPr>
              <a:spLocks noChangeArrowheads="1"/>
            </p:cNvSpPr>
            <p:nvPr/>
          </p:nvSpPr>
          <p:spPr bwMode="auto">
            <a:xfrm>
              <a:off x="349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3167">
              <a:extLst>
                <a:ext uri="{FF2B5EF4-FFF2-40B4-BE49-F238E27FC236}">
                  <a16:creationId xmlns:a16="http://schemas.microsoft.com/office/drawing/2014/main" id="{C4CDA581-9397-4C96-92F9-343ACE7A9965}"/>
                </a:ext>
              </a:extLst>
            </p:cNvPr>
            <p:cNvSpPr>
              <a:spLocks noChangeArrowheads="1"/>
            </p:cNvSpPr>
            <p:nvPr/>
          </p:nvSpPr>
          <p:spPr bwMode="auto">
            <a:xfrm>
              <a:off x="358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3168">
              <a:extLst>
                <a:ext uri="{FF2B5EF4-FFF2-40B4-BE49-F238E27FC236}">
                  <a16:creationId xmlns:a16="http://schemas.microsoft.com/office/drawing/2014/main" id="{3F8067B2-BDC0-45DA-BE98-28C83E65EC85}"/>
                </a:ext>
              </a:extLst>
            </p:cNvPr>
            <p:cNvSpPr>
              <a:spLocks noChangeArrowheads="1"/>
            </p:cNvSpPr>
            <p:nvPr/>
          </p:nvSpPr>
          <p:spPr bwMode="auto">
            <a:xfrm>
              <a:off x="355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5" name="Straight Connector 4"/>
          <p:cNvCxnSpPr>
            <a:cxnSpLocks/>
          </p:cNvCxnSpPr>
          <p:nvPr/>
        </p:nvCxnSpPr>
        <p:spPr>
          <a:xfrm>
            <a:off x="2616614" y="2755813"/>
            <a:ext cx="3988179"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itle 1"/>
          <p:cNvSpPr>
            <a:spLocks noGrp="1"/>
          </p:cNvSpPr>
          <p:nvPr>
            <p:ph type="title"/>
          </p:nvPr>
        </p:nvSpPr>
        <p:spPr>
          <a:xfrm>
            <a:off x="1764807" y="2028422"/>
            <a:ext cx="6006705" cy="812357"/>
          </a:xfrm>
        </p:spPr>
        <p:txBody>
          <a:bodyPr>
            <a:noAutofit/>
          </a:bodyPr>
          <a:lstStyle/>
          <a:p>
            <a:pPr algn="l"/>
            <a:r>
              <a:rPr lang="en-US" sz="4000" b="1" dirty="0"/>
              <a:t>Cisco </a:t>
            </a:r>
            <a:r>
              <a:rPr lang="en-US" sz="4000" b="1" dirty="0" err="1"/>
              <a:t>Stealthwatch</a:t>
            </a:r>
            <a:r>
              <a:rPr lang="en-US" sz="4000" b="1" dirty="0"/>
              <a:t> Demo</a:t>
            </a:r>
            <a:endParaRPr lang="en-US" sz="4000" b="1" i="1" dirty="0"/>
          </a:p>
        </p:txBody>
      </p:sp>
      <p:pic>
        <p:nvPicPr>
          <p:cNvPr id="7" name="Picture 2" descr="C:\Users\spius\Pictures\cisco logo blue gradient.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1996646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812800" y="2921356"/>
            <a:ext cx="4604453"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itle 1"/>
          <p:cNvSpPr>
            <a:spLocks noGrp="1"/>
          </p:cNvSpPr>
          <p:nvPr>
            <p:ph type="title"/>
          </p:nvPr>
        </p:nvSpPr>
        <p:spPr>
          <a:xfrm>
            <a:off x="711200" y="2028422"/>
            <a:ext cx="4706052" cy="812357"/>
          </a:xfrm>
        </p:spPr>
        <p:txBody>
          <a:bodyPr>
            <a:normAutofit fontScale="90000"/>
          </a:bodyPr>
          <a:lstStyle/>
          <a:p>
            <a:pPr algn="l"/>
            <a:r>
              <a:rPr lang="en-US" sz="3200" b="1" dirty="0"/>
              <a:t>Cisco </a:t>
            </a:r>
            <a:r>
              <a:rPr lang="en-US" sz="3200" b="1" dirty="0" err="1"/>
              <a:t>Tetration</a:t>
            </a:r>
            <a:r>
              <a:rPr lang="en-US" sz="3200" b="1" dirty="0"/>
              <a:t> Analytic Engine</a:t>
            </a:r>
            <a:endParaRPr lang="en-US" sz="3200" b="1" i="1" dirty="0"/>
          </a:p>
        </p:txBody>
      </p:sp>
      <p:pic>
        <p:nvPicPr>
          <p:cNvPr id="3" name="Picture 2"/>
          <p:cNvPicPr>
            <a:picLocks noChangeAspect="1"/>
          </p:cNvPicPr>
          <p:nvPr/>
        </p:nvPicPr>
        <p:blipFill>
          <a:blip r:embed="rId3"/>
          <a:stretch>
            <a:fillRect/>
          </a:stretch>
        </p:blipFill>
        <p:spPr>
          <a:xfrm>
            <a:off x="5935995" y="1351142"/>
            <a:ext cx="2153906" cy="1570215"/>
          </a:xfrm>
          <a:prstGeom prst="rect">
            <a:avLst/>
          </a:prstGeom>
        </p:spPr>
      </p:pic>
      <p:pic>
        <p:nvPicPr>
          <p:cNvPr id="7" name="Picture 2" descr="C:\Users\spius\Pictures\cisco logo blue gradient.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5240077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2105" y="168786"/>
            <a:ext cx="8345488" cy="731837"/>
          </a:xfrm>
        </p:spPr>
        <p:txBody>
          <a:bodyPr/>
          <a:lstStyle/>
          <a:p>
            <a:r>
              <a:rPr lang="en-AU" dirty="0"/>
              <a:t>Introducing Tetration</a:t>
            </a:r>
          </a:p>
        </p:txBody>
      </p:sp>
      <p:grpSp>
        <p:nvGrpSpPr>
          <p:cNvPr id="3" name="Group 2"/>
          <p:cNvGrpSpPr/>
          <p:nvPr/>
        </p:nvGrpSpPr>
        <p:grpSpPr>
          <a:xfrm>
            <a:off x="4915344" y="1014870"/>
            <a:ext cx="3932137" cy="3752746"/>
            <a:chOff x="4915343" y="1014869"/>
            <a:chExt cx="3932137" cy="3752746"/>
          </a:xfrm>
        </p:grpSpPr>
        <p:sp>
          <p:nvSpPr>
            <p:cNvPr id="7" name="Rounded Rectangle 49"/>
            <p:cNvSpPr/>
            <p:nvPr/>
          </p:nvSpPr>
          <p:spPr>
            <a:xfrm>
              <a:off x="4915343" y="3813692"/>
              <a:ext cx="3932137" cy="585107"/>
            </a:xfrm>
            <a:prstGeom prst="round2SameRect">
              <a:avLst>
                <a:gd name="adj1" fmla="val 0"/>
                <a:gd name="adj2" fmla="val 0"/>
              </a:avLst>
            </a:prstGeom>
            <a:solidFill>
              <a:srgbClr val="FFFFFF">
                <a:lumMod val="85000"/>
              </a:srgbClr>
            </a:solidFill>
            <a:ln w="6350" cap="flat" cmpd="sng" algn="ctr">
              <a:noFill/>
              <a:prstDash val="solid"/>
            </a:ln>
            <a:effectLst/>
          </p:spPr>
          <p:txBody>
            <a:bodyPr lIns="73152" tIns="36576" rIns="73152" bIns="36576" rtlCol="0" anchor="t">
              <a:noAutofit/>
            </a:bodyP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39393B"/>
                </a:solidFill>
                <a:effectLst/>
                <a:uLnTx/>
                <a:uFillTx/>
                <a:latin typeface="Arial"/>
                <a:ea typeface=""/>
                <a:cs typeface=""/>
              </a:endParaRPr>
            </a:p>
          </p:txBody>
        </p:sp>
        <p:grpSp>
          <p:nvGrpSpPr>
            <p:cNvPr id="230" name="Group 229"/>
            <p:cNvGrpSpPr/>
            <p:nvPr/>
          </p:nvGrpSpPr>
          <p:grpSpPr>
            <a:xfrm>
              <a:off x="5142236" y="3402618"/>
              <a:ext cx="3420000" cy="695760"/>
              <a:chOff x="5627762" y="3288371"/>
              <a:chExt cx="3420000" cy="695760"/>
            </a:xfrm>
          </p:grpSpPr>
          <p:sp>
            <p:nvSpPr>
              <p:cNvPr id="86" name="Trapezoid 85"/>
              <p:cNvSpPr/>
              <p:nvPr/>
            </p:nvSpPr>
            <p:spPr>
              <a:xfrm>
                <a:off x="5627762" y="3288371"/>
                <a:ext cx="3420000" cy="282211"/>
              </a:xfrm>
              <a:prstGeom prst="trapezoid">
                <a:avLst>
                  <a:gd name="adj" fmla="val 102192"/>
                </a:avLst>
              </a:prstGeom>
              <a:solidFill>
                <a:srgbClr val="FFFFFF">
                  <a:lumMod val="75000"/>
                </a:srgbClr>
              </a:solidFill>
              <a:ln w="25400" cap="flat" cmpd="sng" algn="ctr">
                <a:noFill/>
                <a:prstDash val="solid"/>
              </a:ln>
              <a:effectLst/>
            </p:spPr>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
                  <a:cs typeface=""/>
                </a:endParaRPr>
              </a:p>
            </p:txBody>
          </p:sp>
          <p:sp>
            <p:nvSpPr>
              <p:cNvPr id="84" name="Rectangle 83"/>
              <p:cNvSpPr/>
              <p:nvPr/>
            </p:nvSpPr>
            <p:spPr>
              <a:xfrm>
                <a:off x="5741164" y="3590162"/>
                <a:ext cx="71002" cy="393969"/>
              </a:xfrm>
              <a:prstGeom prst="rect">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85" name="Rectangle 84"/>
              <p:cNvSpPr/>
              <p:nvPr/>
            </p:nvSpPr>
            <p:spPr>
              <a:xfrm>
                <a:off x="8845187" y="3590162"/>
                <a:ext cx="71002" cy="393969"/>
              </a:xfrm>
              <a:prstGeom prst="rect">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229" name="Rectangle 228"/>
              <p:cNvSpPr/>
              <p:nvPr/>
            </p:nvSpPr>
            <p:spPr>
              <a:xfrm>
                <a:off x="5627762" y="3567448"/>
                <a:ext cx="3420000" cy="36000"/>
              </a:xfrm>
              <a:prstGeom prst="rect">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6" name="Rectangle 5"/>
            <p:cNvSpPr/>
            <p:nvPr/>
          </p:nvSpPr>
          <p:spPr>
            <a:xfrm>
              <a:off x="4915343" y="1014869"/>
              <a:ext cx="3932137" cy="3383930"/>
            </a:xfrm>
            <a:prstGeom prst="rect">
              <a:avLst/>
            </a:prstGeom>
            <a:noFill/>
            <a:ln>
              <a:solidFill>
                <a:srgbClr val="FFFFFF">
                  <a:lumMod val="75000"/>
                </a:srgbClr>
              </a:solidFill>
            </a:ln>
          </p:spPr>
          <p:txBody>
            <a:bodyPr wrap="square" rtlCol="0" anchor="t">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9393B"/>
                </a:solidFill>
                <a:effectLst/>
                <a:uLnTx/>
                <a:uFillTx/>
                <a:latin typeface="Calibri"/>
                <a:ea typeface="ＭＳ Ｐゴシック" charset="0"/>
                <a:cs typeface="+mn-cs"/>
              </a:endParaRPr>
            </a:p>
          </p:txBody>
        </p:sp>
        <p:sp>
          <p:nvSpPr>
            <p:cNvPr id="72" name="Rounded Rectangle 358"/>
            <p:cNvSpPr/>
            <p:nvPr/>
          </p:nvSpPr>
          <p:spPr>
            <a:xfrm>
              <a:off x="5071833" y="2763349"/>
              <a:ext cx="1090868" cy="672040"/>
            </a:xfrm>
            <a:prstGeom prst="roundRect">
              <a:avLst/>
            </a:prstGeom>
            <a:solidFill>
              <a:srgbClr val="FFFFFF"/>
            </a:solidFill>
            <a:ln w="25400" cap="flat" cmpd="sng" algn="ctr">
              <a:noFill/>
              <a:prstDash val="solid"/>
            </a:ln>
            <a:effectLst/>
          </p:spPr>
          <p:txBody>
            <a:bodyPr tIns="274320"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55558"/>
                  </a:solidFill>
                  <a:effectLst/>
                  <a:uLnTx/>
                  <a:uFillTx/>
                  <a:latin typeface="Arial"/>
                  <a:ea typeface="ＭＳ Ｐゴシック" charset="0"/>
                  <a:cs typeface="ＭＳ Ｐゴシック" charset="0"/>
                </a:rPr>
                <a:t>APPLICATION</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55558"/>
                  </a:solidFill>
                  <a:effectLst/>
                  <a:uLnTx/>
                  <a:uFillTx/>
                  <a:latin typeface="Arial"/>
                  <a:ea typeface="ＭＳ Ｐゴシック" charset="0"/>
                  <a:cs typeface="ＭＳ Ｐゴシック" charset="0"/>
                </a:rPr>
                <a:t>INSIGHT</a:t>
              </a:r>
              <a:endParaRPr kumimoji="0" lang="en-US" sz="800" b="1" i="0" u="none" strike="noStrike" kern="1200" cap="none" spc="0" normalizeH="0" baseline="0" noProof="0" dirty="0">
                <a:ln>
                  <a:noFill/>
                </a:ln>
                <a:solidFill>
                  <a:srgbClr val="555558"/>
                </a:solidFill>
                <a:effectLst/>
                <a:uLnTx/>
                <a:uFillTx/>
                <a:latin typeface="Arial"/>
                <a:ea typeface=""/>
                <a:cs typeface=""/>
              </a:endParaRPr>
            </a:p>
          </p:txBody>
        </p:sp>
        <p:sp>
          <p:nvSpPr>
            <p:cNvPr id="73" name="Freeform 21"/>
            <p:cNvSpPr>
              <a:spLocks noEditPoints="1"/>
            </p:cNvSpPr>
            <p:nvPr/>
          </p:nvSpPr>
          <p:spPr bwMode="auto">
            <a:xfrm>
              <a:off x="5032247" y="2699415"/>
              <a:ext cx="1173296" cy="885371"/>
            </a:xfrm>
            <a:custGeom>
              <a:avLst/>
              <a:gdLst>
                <a:gd name="T0" fmla="*/ 130 w 138"/>
                <a:gd name="T1" fmla="*/ 0 h 104"/>
                <a:gd name="T2" fmla="*/ 8 w 138"/>
                <a:gd name="T3" fmla="*/ 0 h 104"/>
                <a:gd name="T4" fmla="*/ 0 w 138"/>
                <a:gd name="T5" fmla="*/ 9 h 104"/>
                <a:gd name="T6" fmla="*/ 0 w 138"/>
                <a:gd name="T7" fmla="*/ 84 h 104"/>
                <a:gd name="T8" fmla="*/ 8 w 138"/>
                <a:gd name="T9" fmla="*/ 92 h 104"/>
                <a:gd name="T10" fmla="*/ 57 w 138"/>
                <a:gd name="T11" fmla="*/ 92 h 104"/>
                <a:gd name="T12" fmla="*/ 57 w 138"/>
                <a:gd name="T13" fmla="*/ 94 h 104"/>
                <a:gd name="T14" fmla="*/ 57 w 138"/>
                <a:gd name="T15" fmla="*/ 98 h 104"/>
                <a:gd name="T16" fmla="*/ 36 w 138"/>
                <a:gd name="T17" fmla="*/ 98 h 104"/>
                <a:gd name="T18" fmla="*/ 33 w 138"/>
                <a:gd name="T19" fmla="*/ 101 h 104"/>
                <a:gd name="T20" fmla="*/ 36 w 138"/>
                <a:gd name="T21" fmla="*/ 104 h 104"/>
                <a:gd name="T22" fmla="*/ 102 w 138"/>
                <a:gd name="T23" fmla="*/ 104 h 104"/>
                <a:gd name="T24" fmla="*/ 105 w 138"/>
                <a:gd name="T25" fmla="*/ 101 h 104"/>
                <a:gd name="T26" fmla="*/ 102 w 138"/>
                <a:gd name="T27" fmla="*/ 98 h 104"/>
                <a:gd name="T28" fmla="*/ 81 w 138"/>
                <a:gd name="T29" fmla="*/ 98 h 104"/>
                <a:gd name="T30" fmla="*/ 81 w 138"/>
                <a:gd name="T31" fmla="*/ 94 h 104"/>
                <a:gd name="T32" fmla="*/ 81 w 138"/>
                <a:gd name="T33" fmla="*/ 92 h 104"/>
                <a:gd name="T34" fmla="*/ 130 w 138"/>
                <a:gd name="T35" fmla="*/ 92 h 104"/>
                <a:gd name="T36" fmla="*/ 138 w 138"/>
                <a:gd name="T37" fmla="*/ 84 h 104"/>
                <a:gd name="T38" fmla="*/ 138 w 138"/>
                <a:gd name="T39" fmla="*/ 9 h 104"/>
                <a:gd name="T40" fmla="*/ 130 w 138"/>
                <a:gd name="T41" fmla="*/ 0 h 104"/>
                <a:gd name="T42" fmla="*/ 131 w 138"/>
                <a:gd name="T43" fmla="*/ 74 h 104"/>
                <a:gd name="T44" fmla="*/ 124 w 138"/>
                <a:gd name="T45" fmla="*/ 80 h 104"/>
                <a:gd name="T46" fmla="*/ 14 w 138"/>
                <a:gd name="T47" fmla="*/ 80 h 104"/>
                <a:gd name="T48" fmla="*/ 7 w 138"/>
                <a:gd name="T49" fmla="*/ 74 h 104"/>
                <a:gd name="T50" fmla="*/ 7 w 138"/>
                <a:gd name="T51" fmla="*/ 15 h 104"/>
                <a:gd name="T52" fmla="*/ 14 w 138"/>
                <a:gd name="T53" fmla="*/ 8 h 104"/>
                <a:gd name="T54" fmla="*/ 124 w 138"/>
                <a:gd name="T55" fmla="*/ 8 h 104"/>
                <a:gd name="T56" fmla="*/ 131 w 138"/>
                <a:gd name="T57" fmla="*/ 15 h 104"/>
                <a:gd name="T58" fmla="*/ 131 w 138"/>
                <a:gd name="T59"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8" h="104">
                  <a:moveTo>
                    <a:pt x="130" y="0"/>
                  </a:moveTo>
                  <a:cubicBezTo>
                    <a:pt x="8" y="0"/>
                    <a:pt x="8" y="0"/>
                    <a:pt x="8" y="0"/>
                  </a:cubicBezTo>
                  <a:cubicBezTo>
                    <a:pt x="4" y="0"/>
                    <a:pt x="0" y="4"/>
                    <a:pt x="0" y="9"/>
                  </a:cubicBezTo>
                  <a:cubicBezTo>
                    <a:pt x="0" y="84"/>
                    <a:pt x="0" y="84"/>
                    <a:pt x="0" y="84"/>
                  </a:cubicBezTo>
                  <a:cubicBezTo>
                    <a:pt x="0" y="88"/>
                    <a:pt x="4" y="92"/>
                    <a:pt x="8" y="92"/>
                  </a:cubicBezTo>
                  <a:cubicBezTo>
                    <a:pt x="57" y="92"/>
                    <a:pt x="57" y="92"/>
                    <a:pt x="57" y="92"/>
                  </a:cubicBezTo>
                  <a:cubicBezTo>
                    <a:pt x="57" y="93"/>
                    <a:pt x="57" y="94"/>
                    <a:pt x="57" y="94"/>
                  </a:cubicBezTo>
                  <a:cubicBezTo>
                    <a:pt x="57" y="96"/>
                    <a:pt x="57" y="97"/>
                    <a:pt x="57" y="98"/>
                  </a:cubicBezTo>
                  <a:cubicBezTo>
                    <a:pt x="36" y="98"/>
                    <a:pt x="36" y="98"/>
                    <a:pt x="36" y="98"/>
                  </a:cubicBezTo>
                  <a:cubicBezTo>
                    <a:pt x="35" y="98"/>
                    <a:pt x="33" y="99"/>
                    <a:pt x="33" y="101"/>
                  </a:cubicBezTo>
                  <a:cubicBezTo>
                    <a:pt x="33" y="103"/>
                    <a:pt x="35" y="104"/>
                    <a:pt x="36" y="104"/>
                  </a:cubicBezTo>
                  <a:cubicBezTo>
                    <a:pt x="102" y="104"/>
                    <a:pt x="102" y="104"/>
                    <a:pt x="102" y="104"/>
                  </a:cubicBezTo>
                  <a:cubicBezTo>
                    <a:pt x="103" y="104"/>
                    <a:pt x="105" y="103"/>
                    <a:pt x="105" y="101"/>
                  </a:cubicBezTo>
                  <a:cubicBezTo>
                    <a:pt x="105" y="99"/>
                    <a:pt x="103" y="98"/>
                    <a:pt x="102" y="98"/>
                  </a:cubicBezTo>
                  <a:cubicBezTo>
                    <a:pt x="81" y="98"/>
                    <a:pt x="81" y="98"/>
                    <a:pt x="81" y="98"/>
                  </a:cubicBezTo>
                  <a:cubicBezTo>
                    <a:pt x="81" y="97"/>
                    <a:pt x="81" y="96"/>
                    <a:pt x="81" y="94"/>
                  </a:cubicBezTo>
                  <a:cubicBezTo>
                    <a:pt x="81" y="94"/>
                    <a:pt x="81" y="93"/>
                    <a:pt x="81" y="92"/>
                  </a:cubicBezTo>
                  <a:cubicBezTo>
                    <a:pt x="130" y="92"/>
                    <a:pt x="130" y="92"/>
                    <a:pt x="130" y="92"/>
                  </a:cubicBezTo>
                  <a:cubicBezTo>
                    <a:pt x="134" y="92"/>
                    <a:pt x="138" y="88"/>
                    <a:pt x="138" y="84"/>
                  </a:cubicBezTo>
                  <a:cubicBezTo>
                    <a:pt x="138" y="39"/>
                    <a:pt x="138" y="18"/>
                    <a:pt x="138" y="9"/>
                  </a:cubicBezTo>
                  <a:cubicBezTo>
                    <a:pt x="138" y="4"/>
                    <a:pt x="134" y="0"/>
                    <a:pt x="130" y="0"/>
                  </a:cubicBezTo>
                  <a:close/>
                  <a:moveTo>
                    <a:pt x="131" y="74"/>
                  </a:moveTo>
                  <a:cubicBezTo>
                    <a:pt x="131" y="77"/>
                    <a:pt x="128" y="80"/>
                    <a:pt x="124" y="80"/>
                  </a:cubicBezTo>
                  <a:cubicBezTo>
                    <a:pt x="14" y="80"/>
                    <a:pt x="14" y="80"/>
                    <a:pt x="14" y="80"/>
                  </a:cubicBezTo>
                  <a:cubicBezTo>
                    <a:pt x="10" y="80"/>
                    <a:pt x="7" y="77"/>
                    <a:pt x="7" y="74"/>
                  </a:cubicBezTo>
                  <a:cubicBezTo>
                    <a:pt x="7" y="15"/>
                    <a:pt x="7" y="15"/>
                    <a:pt x="7" y="15"/>
                  </a:cubicBezTo>
                  <a:cubicBezTo>
                    <a:pt x="7" y="11"/>
                    <a:pt x="10" y="8"/>
                    <a:pt x="14" y="8"/>
                  </a:cubicBezTo>
                  <a:cubicBezTo>
                    <a:pt x="124" y="8"/>
                    <a:pt x="124" y="8"/>
                    <a:pt x="124" y="8"/>
                  </a:cubicBezTo>
                  <a:cubicBezTo>
                    <a:pt x="128" y="8"/>
                    <a:pt x="131" y="11"/>
                    <a:pt x="131" y="15"/>
                  </a:cubicBezTo>
                  <a:lnTo>
                    <a:pt x="131" y="74"/>
                  </a:lnTo>
                  <a:close/>
                </a:path>
              </a:pathLst>
            </a:custGeom>
            <a:solidFill>
              <a:srgbClr val="049CD4"/>
            </a:solidFill>
            <a:ln>
              <a:noFill/>
            </a:ln>
            <a:extLst/>
          </p:spPr>
          <p:txBody>
            <a:bodyPr vert="horz" wrap="square" lIns="91436" tIns="45718" rIns="91436" bIns="45718"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74"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
                <a:cs typeface=""/>
              </a:endParaRPr>
            </a:p>
          </p:txBody>
        </p:sp>
        <p:sp>
          <p:nvSpPr>
            <p:cNvPr id="74" name="Rounded Rectangle 358"/>
            <p:cNvSpPr/>
            <p:nvPr/>
          </p:nvSpPr>
          <p:spPr>
            <a:xfrm>
              <a:off x="6317044" y="2763349"/>
              <a:ext cx="1090868" cy="672040"/>
            </a:xfrm>
            <a:prstGeom prst="roundRect">
              <a:avLst/>
            </a:prstGeom>
            <a:solidFill>
              <a:srgbClr val="FFFFFF"/>
            </a:solidFill>
            <a:ln w="25400" cap="flat" cmpd="sng" algn="ctr">
              <a:noFill/>
              <a:prstDash val="solid"/>
            </a:ln>
            <a:effectLst/>
          </p:spPr>
          <p:txBody>
            <a:bodyPr tIns="27432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555558"/>
                  </a:solidFill>
                  <a:effectLst/>
                  <a:uLnTx/>
                  <a:uFillTx/>
                  <a:latin typeface="Arial"/>
                  <a:ea typeface="ＭＳ Ｐゴシック" charset="0"/>
                  <a:cs typeface="+mn-cs"/>
                </a:rPr>
                <a:t>FLOW SEARCH &amp; </a:t>
              </a:r>
              <a:r>
                <a:rPr kumimoji="0" lang="en-US" sz="800" b="1" i="0" u="none" strike="noStrike" kern="0" cap="none" spc="0" normalizeH="0" baseline="0" noProof="0" dirty="0">
                  <a:ln>
                    <a:noFill/>
                  </a:ln>
                  <a:solidFill>
                    <a:srgbClr val="555558"/>
                  </a:solidFill>
                  <a:effectLst/>
                  <a:uLnTx/>
                  <a:uFillTx/>
                  <a:latin typeface="Arial"/>
                  <a:ea typeface="ＭＳ Ｐゴシック" charset="0"/>
                </a:rPr>
                <a:t>FORENSICS</a:t>
              </a:r>
            </a:p>
          </p:txBody>
        </p:sp>
        <p:sp>
          <p:nvSpPr>
            <p:cNvPr id="75" name="Freeform 21"/>
            <p:cNvSpPr>
              <a:spLocks noEditPoints="1"/>
            </p:cNvSpPr>
            <p:nvPr/>
          </p:nvSpPr>
          <p:spPr bwMode="auto">
            <a:xfrm>
              <a:off x="6277458" y="2699415"/>
              <a:ext cx="1173296" cy="885371"/>
            </a:xfrm>
            <a:custGeom>
              <a:avLst/>
              <a:gdLst>
                <a:gd name="T0" fmla="*/ 130 w 138"/>
                <a:gd name="T1" fmla="*/ 0 h 104"/>
                <a:gd name="T2" fmla="*/ 8 w 138"/>
                <a:gd name="T3" fmla="*/ 0 h 104"/>
                <a:gd name="T4" fmla="*/ 0 w 138"/>
                <a:gd name="T5" fmla="*/ 9 h 104"/>
                <a:gd name="T6" fmla="*/ 0 w 138"/>
                <a:gd name="T7" fmla="*/ 84 h 104"/>
                <a:gd name="T8" fmla="*/ 8 w 138"/>
                <a:gd name="T9" fmla="*/ 92 h 104"/>
                <a:gd name="T10" fmla="*/ 57 w 138"/>
                <a:gd name="T11" fmla="*/ 92 h 104"/>
                <a:gd name="T12" fmla="*/ 57 w 138"/>
                <a:gd name="T13" fmla="*/ 94 h 104"/>
                <a:gd name="T14" fmla="*/ 57 w 138"/>
                <a:gd name="T15" fmla="*/ 98 h 104"/>
                <a:gd name="T16" fmla="*/ 36 w 138"/>
                <a:gd name="T17" fmla="*/ 98 h 104"/>
                <a:gd name="T18" fmla="*/ 33 w 138"/>
                <a:gd name="T19" fmla="*/ 101 h 104"/>
                <a:gd name="T20" fmla="*/ 36 w 138"/>
                <a:gd name="T21" fmla="*/ 104 h 104"/>
                <a:gd name="T22" fmla="*/ 102 w 138"/>
                <a:gd name="T23" fmla="*/ 104 h 104"/>
                <a:gd name="T24" fmla="*/ 105 w 138"/>
                <a:gd name="T25" fmla="*/ 101 h 104"/>
                <a:gd name="T26" fmla="*/ 102 w 138"/>
                <a:gd name="T27" fmla="*/ 98 h 104"/>
                <a:gd name="T28" fmla="*/ 81 w 138"/>
                <a:gd name="T29" fmla="*/ 98 h 104"/>
                <a:gd name="T30" fmla="*/ 81 w 138"/>
                <a:gd name="T31" fmla="*/ 94 h 104"/>
                <a:gd name="T32" fmla="*/ 81 w 138"/>
                <a:gd name="T33" fmla="*/ 92 h 104"/>
                <a:gd name="T34" fmla="*/ 130 w 138"/>
                <a:gd name="T35" fmla="*/ 92 h 104"/>
                <a:gd name="T36" fmla="*/ 138 w 138"/>
                <a:gd name="T37" fmla="*/ 84 h 104"/>
                <a:gd name="T38" fmla="*/ 138 w 138"/>
                <a:gd name="T39" fmla="*/ 9 h 104"/>
                <a:gd name="T40" fmla="*/ 130 w 138"/>
                <a:gd name="T41" fmla="*/ 0 h 104"/>
                <a:gd name="T42" fmla="*/ 131 w 138"/>
                <a:gd name="T43" fmla="*/ 74 h 104"/>
                <a:gd name="T44" fmla="*/ 124 w 138"/>
                <a:gd name="T45" fmla="*/ 80 h 104"/>
                <a:gd name="T46" fmla="*/ 14 w 138"/>
                <a:gd name="T47" fmla="*/ 80 h 104"/>
                <a:gd name="T48" fmla="*/ 7 w 138"/>
                <a:gd name="T49" fmla="*/ 74 h 104"/>
                <a:gd name="T50" fmla="*/ 7 w 138"/>
                <a:gd name="T51" fmla="*/ 15 h 104"/>
                <a:gd name="T52" fmla="*/ 14 w 138"/>
                <a:gd name="T53" fmla="*/ 8 h 104"/>
                <a:gd name="T54" fmla="*/ 124 w 138"/>
                <a:gd name="T55" fmla="*/ 8 h 104"/>
                <a:gd name="T56" fmla="*/ 131 w 138"/>
                <a:gd name="T57" fmla="*/ 15 h 104"/>
                <a:gd name="T58" fmla="*/ 131 w 138"/>
                <a:gd name="T59"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8" h="104">
                  <a:moveTo>
                    <a:pt x="130" y="0"/>
                  </a:moveTo>
                  <a:cubicBezTo>
                    <a:pt x="8" y="0"/>
                    <a:pt x="8" y="0"/>
                    <a:pt x="8" y="0"/>
                  </a:cubicBezTo>
                  <a:cubicBezTo>
                    <a:pt x="4" y="0"/>
                    <a:pt x="0" y="4"/>
                    <a:pt x="0" y="9"/>
                  </a:cubicBezTo>
                  <a:cubicBezTo>
                    <a:pt x="0" y="84"/>
                    <a:pt x="0" y="84"/>
                    <a:pt x="0" y="84"/>
                  </a:cubicBezTo>
                  <a:cubicBezTo>
                    <a:pt x="0" y="88"/>
                    <a:pt x="4" y="92"/>
                    <a:pt x="8" y="92"/>
                  </a:cubicBezTo>
                  <a:cubicBezTo>
                    <a:pt x="57" y="92"/>
                    <a:pt x="57" y="92"/>
                    <a:pt x="57" y="92"/>
                  </a:cubicBezTo>
                  <a:cubicBezTo>
                    <a:pt x="57" y="93"/>
                    <a:pt x="57" y="94"/>
                    <a:pt x="57" y="94"/>
                  </a:cubicBezTo>
                  <a:cubicBezTo>
                    <a:pt x="57" y="96"/>
                    <a:pt x="57" y="97"/>
                    <a:pt x="57" y="98"/>
                  </a:cubicBezTo>
                  <a:cubicBezTo>
                    <a:pt x="36" y="98"/>
                    <a:pt x="36" y="98"/>
                    <a:pt x="36" y="98"/>
                  </a:cubicBezTo>
                  <a:cubicBezTo>
                    <a:pt x="35" y="98"/>
                    <a:pt x="33" y="99"/>
                    <a:pt x="33" y="101"/>
                  </a:cubicBezTo>
                  <a:cubicBezTo>
                    <a:pt x="33" y="103"/>
                    <a:pt x="35" y="104"/>
                    <a:pt x="36" y="104"/>
                  </a:cubicBezTo>
                  <a:cubicBezTo>
                    <a:pt x="102" y="104"/>
                    <a:pt x="102" y="104"/>
                    <a:pt x="102" y="104"/>
                  </a:cubicBezTo>
                  <a:cubicBezTo>
                    <a:pt x="103" y="104"/>
                    <a:pt x="105" y="103"/>
                    <a:pt x="105" y="101"/>
                  </a:cubicBezTo>
                  <a:cubicBezTo>
                    <a:pt x="105" y="99"/>
                    <a:pt x="103" y="98"/>
                    <a:pt x="102" y="98"/>
                  </a:cubicBezTo>
                  <a:cubicBezTo>
                    <a:pt x="81" y="98"/>
                    <a:pt x="81" y="98"/>
                    <a:pt x="81" y="98"/>
                  </a:cubicBezTo>
                  <a:cubicBezTo>
                    <a:pt x="81" y="97"/>
                    <a:pt x="81" y="96"/>
                    <a:pt x="81" y="94"/>
                  </a:cubicBezTo>
                  <a:cubicBezTo>
                    <a:pt x="81" y="94"/>
                    <a:pt x="81" y="93"/>
                    <a:pt x="81" y="92"/>
                  </a:cubicBezTo>
                  <a:cubicBezTo>
                    <a:pt x="130" y="92"/>
                    <a:pt x="130" y="92"/>
                    <a:pt x="130" y="92"/>
                  </a:cubicBezTo>
                  <a:cubicBezTo>
                    <a:pt x="134" y="92"/>
                    <a:pt x="138" y="88"/>
                    <a:pt x="138" y="84"/>
                  </a:cubicBezTo>
                  <a:cubicBezTo>
                    <a:pt x="138" y="39"/>
                    <a:pt x="138" y="18"/>
                    <a:pt x="138" y="9"/>
                  </a:cubicBezTo>
                  <a:cubicBezTo>
                    <a:pt x="138" y="4"/>
                    <a:pt x="134" y="0"/>
                    <a:pt x="130" y="0"/>
                  </a:cubicBezTo>
                  <a:close/>
                  <a:moveTo>
                    <a:pt x="131" y="74"/>
                  </a:moveTo>
                  <a:cubicBezTo>
                    <a:pt x="131" y="77"/>
                    <a:pt x="128" y="80"/>
                    <a:pt x="124" y="80"/>
                  </a:cubicBezTo>
                  <a:cubicBezTo>
                    <a:pt x="14" y="80"/>
                    <a:pt x="14" y="80"/>
                    <a:pt x="14" y="80"/>
                  </a:cubicBezTo>
                  <a:cubicBezTo>
                    <a:pt x="10" y="80"/>
                    <a:pt x="7" y="77"/>
                    <a:pt x="7" y="74"/>
                  </a:cubicBezTo>
                  <a:cubicBezTo>
                    <a:pt x="7" y="15"/>
                    <a:pt x="7" y="15"/>
                    <a:pt x="7" y="15"/>
                  </a:cubicBezTo>
                  <a:cubicBezTo>
                    <a:pt x="7" y="11"/>
                    <a:pt x="10" y="8"/>
                    <a:pt x="14" y="8"/>
                  </a:cubicBezTo>
                  <a:cubicBezTo>
                    <a:pt x="124" y="8"/>
                    <a:pt x="124" y="8"/>
                    <a:pt x="124" y="8"/>
                  </a:cubicBezTo>
                  <a:cubicBezTo>
                    <a:pt x="128" y="8"/>
                    <a:pt x="131" y="11"/>
                    <a:pt x="131" y="15"/>
                  </a:cubicBezTo>
                  <a:lnTo>
                    <a:pt x="131" y="74"/>
                  </a:lnTo>
                  <a:close/>
                </a:path>
              </a:pathLst>
            </a:custGeom>
            <a:solidFill>
              <a:srgbClr val="049CD4"/>
            </a:solidFill>
            <a:ln>
              <a:noFill/>
            </a:ln>
            <a:extLst/>
          </p:spPr>
          <p:txBody>
            <a:bodyPr vert="horz" wrap="square" lIns="91436" tIns="45718" rIns="91436" bIns="45718"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74"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
                <a:cs typeface=""/>
              </a:endParaRPr>
            </a:p>
          </p:txBody>
        </p:sp>
        <p:grpSp>
          <p:nvGrpSpPr>
            <p:cNvPr id="16" name="Group 15"/>
            <p:cNvGrpSpPr/>
            <p:nvPr/>
          </p:nvGrpSpPr>
          <p:grpSpPr>
            <a:xfrm>
              <a:off x="6650789" y="2851953"/>
              <a:ext cx="339580" cy="177447"/>
              <a:chOff x="7474249" y="3051016"/>
              <a:chExt cx="723661" cy="378148"/>
            </a:xfrm>
            <a:solidFill>
              <a:srgbClr val="555558"/>
            </a:solidFill>
          </p:grpSpPr>
          <p:sp>
            <p:nvSpPr>
              <p:cNvPr id="69" name="Freeform 18"/>
              <p:cNvSpPr>
                <a:spLocks noEditPoints="1"/>
              </p:cNvSpPr>
              <p:nvPr/>
            </p:nvSpPr>
            <p:spPr bwMode="auto">
              <a:xfrm>
                <a:off x="7583019" y="3051016"/>
                <a:ext cx="202482" cy="202886"/>
              </a:xfrm>
              <a:custGeom>
                <a:avLst/>
                <a:gdLst>
                  <a:gd name="T0" fmla="*/ 0 w 376"/>
                  <a:gd name="T1" fmla="*/ 188 h 377"/>
                  <a:gd name="T2" fmla="*/ 376 w 376"/>
                  <a:gd name="T3" fmla="*/ 188 h 377"/>
                  <a:gd name="T4" fmla="*/ 274 w 376"/>
                  <a:gd name="T5" fmla="*/ 90 h 377"/>
                  <a:gd name="T6" fmla="*/ 306 w 376"/>
                  <a:gd name="T7" fmla="*/ 70 h 377"/>
                  <a:gd name="T8" fmla="*/ 285 w 376"/>
                  <a:gd name="T9" fmla="*/ 103 h 377"/>
                  <a:gd name="T10" fmla="*/ 274 w 376"/>
                  <a:gd name="T11" fmla="*/ 90 h 377"/>
                  <a:gd name="T12" fmla="*/ 189 w 376"/>
                  <a:gd name="T13" fmla="*/ 22 h 377"/>
                  <a:gd name="T14" fmla="*/ 198 w 376"/>
                  <a:gd name="T15" fmla="*/ 60 h 377"/>
                  <a:gd name="T16" fmla="*/ 177 w 376"/>
                  <a:gd name="T17" fmla="*/ 60 h 377"/>
                  <a:gd name="T18" fmla="*/ 59 w 376"/>
                  <a:gd name="T19" fmla="*/ 198 h 377"/>
                  <a:gd name="T20" fmla="*/ 22 w 376"/>
                  <a:gd name="T21" fmla="*/ 188 h 377"/>
                  <a:gd name="T22" fmla="*/ 59 w 376"/>
                  <a:gd name="T23" fmla="*/ 179 h 377"/>
                  <a:gd name="T24" fmla="*/ 59 w 376"/>
                  <a:gd name="T25" fmla="*/ 198 h 377"/>
                  <a:gd name="T26" fmla="*/ 85 w 376"/>
                  <a:gd name="T27" fmla="*/ 305 h 377"/>
                  <a:gd name="T28" fmla="*/ 71 w 376"/>
                  <a:gd name="T29" fmla="*/ 292 h 377"/>
                  <a:gd name="T30" fmla="*/ 103 w 376"/>
                  <a:gd name="T31" fmla="*/ 273 h 377"/>
                  <a:gd name="T32" fmla="*/ 103 w 376"/>
                  <a:gd name="T33" fmla="*/ 103 h 377"/>
                  <a:gd name="T34" fmla="*/ 71 w 376"/>
                  <a:gd name="T35" fmla="*/ 85 h 377"/>
                  <a:gd name="T36" fmla="*/ 85 w 376"/>
                  <a:gd name="T37" fmla="*/ 70 h 377"/>
                  <a:gd name="T38" fmla="*/ 103 w 376"/>
                  <a:gd name="T39" fmla="*/ 103 h 377"/>
                  <a:gd name="T40" fmla="*/ 189 w 376"/>
                  <a:gd name="T41" fmla="*/ 354 h 377"/>
                  <a:gd name="T42" fmla="*/ 177 w 376"/>
                  <a:gd name="T43" fmla="*/ 318 h 377"/>
                  <a:gd name="T44" fmla="*/ 198 w 376"/>
                  <a:gd name="T45" fmla="*/ 318 h 377"/>
                  <a:gd name="T46" fmla="*/ 256 w 376"/>
                  <a:gd name="T47" fmla="*/ 329 h 377"/>
                  <a:gd name="T48" fmla="*/ 190 w 376"/>
                  <a:gd name="T49" fmla="*/ 225 h 377"/>
                  <a:gd name="T50" fmla="*/ 149 w 376"/>
                  <a:gd name="T51" fmla="*/ 188 h 377"/>
                  <a:gd name="T52" fmla="*/ 172 w 376"/>
                  <a:gd name="T53" fmla="*/ 101 h 377"/>
                  <a:gd name="T54" fmla="*/ 202 w 376"/>
                  <a:gd name="T55" fmla="*/ 101 h 377"/>
                  <a:gd name="T56" fmla="*/ 226 w 376"/>
                  <a:gd name="T57" fmla="*/ 188 h 377"/>
                  <a:gd name="T58" fmla="*/ 262 w 376"/>
                  <a:gd name="T59" fmla="*/ 313 h 377"/>
                  <a:gd name="T60" fmla="*/ 306 w 376"/>
                  <a:gd name="T61" fmla="*/ 305 h 377"/>
                  <a:gd name="T62" fmla="*/ 274 w 376"/>
                  <a:gd name="T63" fmla="*/ 287 h 377"/>
                  <a:gd name="T64" fmla="*/ 285 w 376"/>
                  <a:gd name="T65" fmla="*/ 273 h 377"/>
                  <a:gd name="T66" fmla="*/ 306 w 376"/>
                  <a:gd name="T67" fmla="*/ 305 h 377"/>
                  <a:gd name="T68" fmla="*/ 316 w 376"/>
                  <a:gd name="T69" fmla="*/ 198 h 377"/>
                  <a:gd name="T70" fmla="*/ 316 w 376"/>
                  <a:gd name="T71" fmla="*/ 179 h 377"/>
                  <a:gd name="T72" fmla="*/ 354 w 376"/>
                  <a:gd name="T73"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6" h="377">
                    <a:moveTo>
                      <a:pt x="189" y="0"/>
                    </a:moveTo>
                    <a:cubicBezTo>
                      <a:pt x="85" y="0"/>
                      <a:pt x="0" y="85"/>
                      <a:pt x="0" y="188"/>
                    </a:cubicBezTo>
                    <a:cubicBezTo>
                      <a:pt x="0" y="292"/>
                      <a:pt x="85" y="377"/>
                      <a:pt x="189" y="377"/>
                    </a:cubicBezTo>
                    <a:cubicBezTo>
                      <a:pt x="292" y="377"/>
                      <a:pt x="376" y="292"/>
                      <a:pt x="376" y="188"/>
                    </a:cubicBezTo>
                    <a:cubicBezTo>
                      <a:pt x="376" y="85"/>
                      <a:pt x="292" y="0"/>
                      <a:pt x="189" y="0"/>
                    </a:cubicBezTo>
                    <a:close/>
                    <a:moveTo>
                      <a:pt x="274" y="90"/>
                    </a:moveTo>
                    <a:cubicBezTo>
                      <a:pt x="292" y="70"/>
                      <a:pt x="292" y="70"/>
                      <a:pt x="292" y="70"/>
                    </a:cubicBezTo>
                    <a:cubicBezTo>
                      <a:pt x="294" y="67"/>
                      <a:pt x="302" y="67"/>
                      <a:pt x="306" y="70"/>
                    </a:cubicBezTo>
                    <a:cubicBezTo>
                      <a:pt x="309" y="74"/>
                      <a:pt x="309" y="81"/>
                      <a:pt x="306" y="85"/>
                    </a:cubicBezTo>
                    <a:cubicBezTo>
                      <a:pt x="285" y="103"/>
                      <a:pt x="285" y="103"/>
                      <a:pt x="285" y="103"/>
                    </a:cubicBezTo>
                    <a:cubicBezTo>
                      <a:pt x="283" y="107"/>
                      <a:pt x="276" y="107"/>
                      <a:pt x="274" y="103"/>
                    </a:cubicBezTo>
                    <a:cubicBezTo>
                      <a:pt x="267" y="99"/>
                      <a:pt x="267" y="94"/>
                      <a:pt x="274" y="90"/>
                    </a:cubicBezTo>
                    <a:close/>
                    <a:moveTo>
                      <a:pt x="177" y="33"/>
                    </a:moveTo>
                    <a:cubicBezTo>
                      <a:pt x="177" y="27"/>
                      <a:pt x="184" y="22"/>
                      <a:pt x="189" y="22"/>
                    </a:cubicBezTo>
                    <a:cubicBezTo>
                      <a:pt x="193" y="22"/>
                      <a:pt x="198" y="27"/>
                      <a:pt x="198" y="33"/>
                    </a:cubicBezTo>
                    <a:cubicBezTo>
                      <a:pt x="198" y="60"/>
                      <a:pt x="198" y="60"/>
                      <a:pt x="198" y="60"/>
                    </a:cubicBezTo>
                    <a:cubicBezTo>
                      <a:pt x="198" y="63"/>
                      <a:pt x="193" y="69"/>
                      <a:pt x="189" y="69"/>
                    </a:cubicBezTo>
                    <a:cubicBezTo>
                      <a:pt x="184" y="69"/>
                      <a:pt x="177" y="63"/>
                      <a:pt x="177" y="60"/>
                    </a:cubicBezTo>
                    <a:cubicBezTo>
                      <a:pt x="177" y="33"/>
                      <a:pt x="177" y="33"/>
                      <a:pt x="177" y="33"/>
                    </a:cubicBezTo>
                    <a:close/>
                    <a:moveTo>
                      <a:pt x="59" y="198"/>
                    </a:moveTo>
                    <a:cubicBezTo>
                      <a:pt x="32" y="198"/>
                      <a:pt x="32" y="198"/>
                      <a:pt x="32" y="198"/>
                    </a:cubicBezTo>
                    <a:cubicBezTo>
                      <a:pt x="27" y="198"/>
                      <a:pt x="22" y="193"/>
                      <a:pt x="22" y="188"/>
                    </a:cubicBezTo>
                    <a:cubicBezTo>
                      <a:pt x="22" y="182"/>
                      <a:pt x="27" y="179"/>
                      <a:pt x="32" y="179"/>
                    </a:cubicBezTo>
                    <a:cubicBezTo>
                      <a:pt x="59" y="179"/>
                      <a:pt x="59" y="179"/>
                      <a:pt x="59" y="179"/>
                    </a:cubicBezTo>
                    <a:cubicBezTo>
                      <a:pt x="64" y="179"/>
                      <a:pt x="68" y="182"/>
                      <a:pt x="68" y="188"/>
                    </a:cubicBezTo>
                    <a:cubicBezTo>
                      <a:pt x="68" y="193"/>
                      <a:pt x="64" y="198"/>
                      <a:pt x="59" y="198"/>
                    </a:cubicBezTo>
                    <a:close/>
                    <a:moveTo>
                      <a:pt x="103" y="287"/>
                    </a:moveTo>
                    <a:cubicBezTo>
                      <a:pt x="85" y="305"/>
                      <a:pt x="85" y="305"/>
                      <a:pt x="85" y="305"/>
                    </a:cubicBezTo>
                    <a:cubicBezTo>
                      <a:pt x="81" y="310"/>
                      <a:pt x="76" y="310"/>
                      <a:pt x="71" y="305"/>
                    </a:cubicBezTo>
                    <a:cubicBezTo>
                      <a:pt x="67" y="301"/>
                      <a:pt x="67" y="296"/>
                      <a:pt x="71" y="292"/>
                    </a:cubicBezTo>
                    <a:cubicBezTo>
                      <a:pt x="90" y="273"/>
                      <a:pt x="90" y="273"/>
                      <a:pt x="90" y="273"/>
                    </a:cubicBezTo>
                    <a:cubicBezTo>
                      <a:pt x="94" y="269"/>
                      <a:pt x="99" y="269"/>
                      <a:pt x="103" y="273"/>
                    </a:cubicBezTo>
                    <a:cubicBezTo>
                      <a:pt x="108" y="276"/>
                      <a:pt x="108" y="283"/>
                      <a:pt x="103" y="287"/>
                    </a:cubicBezTo>
                    <a:close/>
                    <a:moveTo>
                      <a:pt x="103" y="103"/>
                    </a:moveTo>
                    <a:cubicBezTo>
                      <a:pt x="99" y="107"/>
                      <a:pt x="94" y="107"/>
                      <a:pt x="90" y="103"/>
                    </a:cubicBezTo>
                    <a:cubicBezTo>
                      <a:pt x="71" y="85"/>
                      <a:pt x="71" y="85"/>
                      <a:pt x="71" y="85"/>
                    </a:cubicBezTo>
                    <a:cubicBezTo>
                      <a:pt x="67" y="81"/>
                      <a:pt x="67" y="74"/>
                      <a:pt x="71" y="70"/>
                    </a:cubicBezTo>
                    <a:cubicBezTo>
                      <a:pt x="73" y="67"/>
                      <a:pt x="81" y="67"/>
                      <a:pt x="85" y="70"/>
                    </a:cubicBezTo>
                    <a:cubicBezTo>
                      <a:pt x="103" y="90"/>
                      <a:pt x="103" y="90"/>
                      <a:pt x="103" y="90"/>
                    </a:cubicBezTo>
                    <a:cubicBezTo>
                      <a:pt x="108" y="94"/>
                      <a:pt x="108" y="99"/>
                      <a:pt x="103" y="103"/>
                    </a:cubicBezTo>
                    <a:close/>
                    <a:moveTo>
                      <a:pt x="198" y="345"/>
                    </a:moveTo>
                    <a:cubicBezTo>
                      <a:pt x="198" y="350"/>
                      <a:pt x="193" y="354"/>
                      <a:pt x="189" y="354"/>
                    </a:cubicBezTo>
                    <a:cubicBezTo>
                      <a:pt x="184" y="354"/>
                      <a:pt x="177" y="350"/>
                      <a:pt x="177" y="345"/>
                    </a:cubicBezTo>
                    <a:cubicBezTo>
                      <a:pt x="177" y="318"/>
                      <a:pt x="177" y="318"/>
                      <a:pt x="177" y="318"/>
                    </a:cubicBezTo>
                    <a:cubicBezTo>
                      <a:pt x="177" y="313"/>
                      <a:pt x="184" y="309"/>
                      <a:pt x="189" y="309"/>
                    </a:cubicBezTo>
                    <a:cubicBezTo>
                      <a:pt x="193" y="309"/>
                      <a:pt x="198" y="313"/>
                      <a:pt x="198" y="318"/>
                    </a:cubicBezTo>
                    <a:cubicBezTo>
                      <a:pt x="198" y="345"/>
                      <a:pt x="198" y="345"/>
                      <a:pt x="198" y="345"/>
                    </a:cubicBezTo>
                    <a:close/>
                    <a:moveTo>
                      <a:pt x="256" y="329"/>
                    </a:moveTo>
                    <a:cubicBezTo>
                      <a:pt x="249" y="333"/>
                      <a:pt x="240" y="329"/>
                      <a:pt x="238" y="324"/>
                    </a:cubicBezTo>
                    <a:cubicBezTo>
                      <a:pt x="190" y="225"/>
                      <a:pt x="190" y="225"/>
                      <a:pt x="190" y="225"/>
                    </a:cubicBezTo>
                    <a:cubicBezTo>
                      <a:pt x="189" y="225"/>
                      <a:pt x="189" y="225"/>
                      <a:pt x="189" y="225"/>
                    </a:cubicBezTo>
                    <a:cubicBezTo>
                      <a:pt x="167" y="225"/>
                      <a:pt x="149" y="210"/>
                      <a:pt x="149" y="188"/>
                    </a:cubicBezTo>
                    <a:cubicBezTo>
                      <a:pt x="149" y="173"/>
                      <a:pt x="159" y="159"/>
                      <a:pt x="172" y="153"/>
                    </a:cubicBezTo>
                    <a:cubicBezTo>
                      <a:pt x="172" y="101"/>
                      <a:pt x="172" y="101"/>
                      <a:pt x="172" y="101"/>
                    </a:cubicBezTo>
                    <a:cubicBezTo>
                      <a:pt x="172" y="94"/>
                      <a:pt x="180" y="87"/>
                      <a:pt x="186" y="87"/>
                    </a:cubicBezTo>
                    <a:cubicBezTo>
                      <a:pt x="194" y="87"/>
                      <a:pt x="202" y="94"/>
                      <a:pt x="202" y="101"/>
                    </a:cubicBezTo>
                    <a:cubicBezTo>
                      <a:pt x="202" y="152"/>
                      <a:pt x="202" y="152"/>
                      <a:pt x="202" y="152"/>
                    </a:cubicBezTo>
                    <a:cubicBezTo>
                      <a:pt x="216" y="157"/>
                      <a:pt x="226" y="171"/>
                      <a:pt x="226" y="188"/>
                    </a:cubicBezTo>
                    <a:cubicBezTo>
                      <a:pt x="226" y="198"/>
                      <a:pt x="221" y="207"/>
                      <a:pt x="216" y="215"/>
                    </a:cubicBezTo>
                    <a:cubicBezTo>
                      <a:pt x="262" y="313"/>
                      <a:pt x="262" y="313"/>
                      <a:pt x="262" y="313"/>
                    </a:cubicBezTo>
                    <a:cubicBezTo>
                      <a:pt x="266" y="319"/>
                      <a:pt x="262" y="327"/>
                      <a:pt x="256" y="329"/>
                    </a:cubicBezTo>
                    <a:close/>
                    <a:moveTo>
                      <a:pt x="306" y="305"/>
                    </a:moveTo>
                    <a:cubicBezTo>
                      <a:pt x="302" y="310"/>
                      <a:pt x="294" y="310"/>
                      <a:pt x="292" y="305"/>
                    </a:cubicBezTo>
                    <a:cubicBezTo>
                      <a:pt x="274" y="287"/>
                      <a:pt x="274" y="287"/>
                      <a:pt x="274" y="287"/>
                    </a:cubicBezTo>
                    <a:cubicBezTo>
                      <a:pt x="267" y="283"/>
                      <a:pt x="267" y="276"/>
                      <a:pt x="274" y="273"/>
                    </a:cubicBezTo>
                    <a:cubicBezTo>
                      <a:pt x="276" y="269"/>
                      <a:pt x="283" y="269"/>
                      <a:pt x="285" y="273"/>
                    </a:cubicBezTo>
                    <a:cubicBezTo>
                      <a:pt x="306" y="292"/>
                      <a:pt x="306" y="292"/>
                      <a:pt x="306" y="292"/>
                    </a:cubicBezTo>
                    <a:cubicBezTo>
                      <a:pt x="309" y="296"/>
                      <a:pt x="309" y="301"/>
                      <a:pt x="306" y="305"/>
                    </a:cubicBezTo>
                    <a:close/>
                    <a:moveTo>
                      <a:pt x="343" y="198"/>
                    </a:moveTo>
                    <a:cubicBezTo>
                      <a:pt x="316" y="198"/>
                      <a:pt x="316" y="198"/>
                      <a:pt x="316" y="198"/>
                    </a:cubicBezTo>
                    <a:cubicBezTo>
                      <a:pt x="311" y="198"/>
                      <a:pt x="307" y="193"/>
                      <a:pt x="307" y="188"/>
                    </a:cubicBezTo>
                    <a:cubicBezTo>
                      <a:pt x="307" y="182"/>
                      <a:pt x="311" y="179"/>
                      <a:pt x="316" y="179"/>
                    </a:cubicBezTo>
                    <a:cubicBezTo>
                      <a:pt x="343" y="179"/>
                      <a:pt x="343" y="179"/>
                      <a:pt x="343" y="179"/>
                    </a:cubicBezTo>
                    <a:cubicBezTo>
                      <a:pt x="349" y="179"/>
                      <a:pt x="354" y="182"/>
                      <a:pt x="354" y="188"/>
                    </a:cubicBezTo>
                    <a:cubicBezTo>
                      <a:pt x="354" y="193"/>
                      <a:pt x="349" y="198"/>
                      <a:pt x="343" y="198"/>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3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
                  <a:cs typeface=""/>
                </a:endParaRPr>
              </a:p>
            </p:txBody>
          </p:sp>
          <p:sp>
            <p:nvSpPr>
              <p:cNvPr id="70" name="Freeform 7"/>
              <p:cNvSpPr>
                <a:spLocks noEditPoints="1"/>
              </p:cNvSpPr>
              <p:nvPr/>
            </p:nvSpPr>
            <p:spPr bwMode="auto">
              <a:xfrm rot="18000000">
                <a:off x="7647093" y="2878346"/>
                <a:ext cx="377974" cy="723661"/>
              </a:xfrm>
              <a:custGeom>
                <a:avLst/>
                <a:gdLst>
                  <a:gd name="T0" fmla="*/ 155 w 155"/>
                  <a:gd name="T1" fmla="*/ 78 h 296"/>
                  <a:gd name="T2" fmla="*/ 78 w 155"/>
                  <a:gd name="T3" fmla="*/ 0 h 296"/>
                  <a:gd name="T4" fmla="*/ 0 w 155"/>
                  <a:gd name="T5" fmla="*/ 78 h 296"/>
                  <a:gd name="T6" fmla="*/ 66 w 155"/>
                  <a:gd name="T7" fmla="*/ 155 h 296"/>
                  <a:gd name="T8" fmla="*/ 65 w 155"/>
                  <a:gd name="T9" fmla="*/ 177 h 296"/>
                  <a:gd name="T10" fmla="*/ 56 w 155"/>
                  <a:gd name="T11" fmla="*/ 177 h 296"/>
                  <a:gd name="T12" fmla="*/ 55 w 155"/>
                  <a:gd name="T13" fmla="*/ 273 h 296"/>
                  <a:gd name="T14" fmla="*/ 77 w 155"/>
                  <a:gd name="T15" fmla="*/ 295 h 296"/>
                  <a:gd name="T16" fmla="*/ 99 w 155"/>
                  <a:gd name="T17" fmla="*/ 274 h 296"/>
                  <a:gd name="T18" fmla="*/ 100 w 155"/>
                  <a:gd name="T19" fmla="*/ 178 h 296"/>
                  <a:gd name="T20" fmla="*/ 90 w 155"/>
                  <a:gd name="T21" fmla="*/ 178 h 296"/>
                  <a:gd name="T22" fmla="*/ 90 w 155"/>
                  <a:gd name="T23" fmla="*/ 155 h 296"/>
                  <a:gd name="T24" fmla="*/ 155 w 155"/>
                  <a:gd name="T25" fmla="*/ 78 h 296"/>
                  <a:gd name="T26" fmla="*/ 23 w 155"/>
                  <a:gd name="T27" fmla="*/ 78 h 296"/>
                  <a:gd name="T28" fmla="*/ 78 w 155"/>
                  <a:gd name="T29" fmla="*/ 23 h 296"/>
                  <a:gd name="T30" fmla="*/ 133 w 155"/>
                  <a:gd name="T31" fmla="*/ 78 h 296"/>
                  <a:gd name="T32" fmla="*/ 78 w 155"/>
                  <a:gd name="T33" fmla="*/ 134 h 296"/>
                  <a:gd name="T34" fmla="*/ 23 w 155"/>
                  <a:gd name="T3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296">
                    <a:moveTo>
                      <a:pt x="155" y="78"/>
                    </a:moveTo>
                    <a:cubicBezTo>
                      <a:pt x="155" y="35"/>
                      <a:pt x="120" y="0"/>
                      <a:pt x="78" y="0"/>
                    </a:cubicBezTo>
                    <a:cubicBezTo>
                      <a:pt x="35" y="0"/>
                      <a:pt x="0" y="35"/>
                      <a:pt x="0" y="78"/>
                    </a:cubicBezTo>
                    <a:cubicBezTo>
                      <a:pt x="0" y="117"/>
                      <a:pt x="29" y="149"/>
                      <a:pt x="66" y="155"/>
                    </a:cubicBezTo>
                    <a:cubicBezTo>
                      <a:pt x="65" y="177"/>
                      <a:pt x="65" y="177"/>
                      <a:pt x="65" y="177"/>
                    </a:cubicBezTo>
                    <a:cubicBezTo>
                      <a:pt x="56" y="177"/>
                      <a:pt x="56" y="177"/>
                      <a:pt x="56" y="177"/>
                    </a:cubicBezTo>
                    <a:cubicBezTo>
                      <a:pt x="55" y="273"/>
                      <a:pt x="55" y="273"/>
                      <a:pt x="55" y="273"/>
                    </a:cubicBezTo>
                    <a:cubicBezTo>
                      <a:pt x="55" y="285"/>
                      <a:pt x="65" y="295"/>
                      <a:pt x="77" y="295"/>
                    </a:cubicBezTo>
                    <a:cubicBezTo>
                      <a:pt x="89" y="296"/>
                      <a:pt x="99" y="286"/>
                      <a:pt x="99" y="274"/>
                    </a:cubicBezTo>
                    <a:cubicBezTo>
                      <a:pt x="100" y="178"/>
                      <a:pt x="100" y="178"/>
                      <a:pt x="100" y="178"/>
                    </a:cubicBezTo>
                    <a:cubicBezTo>
                      <a:pt x="90" y="178"/>
                      <a:pt x="90" y="178"/>
                      <a:pt x="90" y="178"/>
                    </a:cubicBezTo>
                    <a:cubicBezTo>
                      <a:pt x="90" y="155"/>
                      <a:pt x="90" y="155"/>
                      <a:pt x="90" y="155"/>
                    </a:cubicBezTo>
                    <a:cubicBezTo>
                      <a:pt x="127" y="149"/>
                      <a:pt x="155" y="117"/>
                      <a:pt x="155" y="78"/>
                    </a:cubicBezTo>
                    <a:close/>
                    <a:moveTo>
                      <a:pt x="23" y="78"/>
                    </a:moveTo>
                    <a:cubicBezTo>
                      <a:pt x="23" y="48"/>
                      <a:pt x="47" y="23"/>
                      <a:pt x="78" y="23"/>
                    </a:cubicBezTo>
                    <a:cubicBezTo>
                      <a:pt x="108" y="23"/>
                      <a:pt x="133" y="48"/>
                      <a:pt x="133" y="78"/>
                    </a:cubicBezTo>
                    <a:cubicBezTo>
                      <a:pt x="133" y="109"/>
                      <a:pt x="108" y="134"/>
                      <a:pt x="78" y="134"/>
                    </a:cubicBezTo>
                    <a:cubicBezTo>
                      <a:pt x="47" y="134"/>
                      <a:pt x="23" y="109"/>
                      <a:pt x="23" y="78"/>
                    </a:cubicBezTo>
                    <a:close/>
                  </a:path>
                </a:pathLst>
              </a:custGeom>
              <a:grpFill/>
              <a:ln>
                <a:noFill/>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96D6"/>
                  </a:solidFill>
                  <a:effectLst/>
                  <a:uLnTx/>
                  <a:uFillTx/>
                  <a:latin typeface="Arial"/>
                  <a:ea typeface=""/>
                  <a:cs typeface=""/>
                </a:endParaRPr>
              </a:p>
            </p:txBody>
          </p:sp>
        </p:grpSp>
        <p:sp>
          <p:nvSpPr>
            <p:cNvPr id="17" name="Freeform: Shape 288"/>
            <p:cNvSpPr>
              <a:spLocks/>
            </p:cNvSpPr>
            <p:nvPr/>
          </p:nvSpPr>
          <p:spPr bwMode="auto">
            <a:xfrm>
              <a:off x="5497996" y="2827046"/>
              <a:ext cx="231762" cy="242664"/>
            </a:xfrm>
            <a:custGeom>
              <a:avLst/>
              <a:gdLst>
                <a:gd name="connsiteX0" fmla="*/ 2839174 w 3074739"/>
                <a:gd name="connsiteY0" fmla="*/ 819099 h 3219384"/>
                <a:gd name="connsiteX1" fmla="*/ 2792210 w 3074739"/>
                <a:gd name="connsiteY1" fmla="*/ 826938 h 3219384"/>
                <a:gd name="connsiteX2" fmla="*/ 2161987 w 3074739"/>
                <a:gd name="connsiteY2" fmla="*/ 963769 h 3219384"/>
                <a:gd name="connsiteX3" fmla="*/ 1716588 w 3074739"/>
                <a:gd name="connsiteY3" fmla="*/ 1058031 h 3219384"/>
                <a:gd name="connsiteX4" fmla="*/ 1256040 w 3074739"/>
                <a:gd name="connsiteY4" fmla="*/ 1158374 h 3219384"/>
                <a:gd name="connsiteX5" fmla="*/ 1159082 w 3074739"/>
                <a:gd name="connsiteY5" fmla="*/ 1280001 h 3219384"/>
                <a:gd name="connsiteX6" fmla="*/ 1183322 w 3074739"/>
                <a:gd name="connsiteY6" fmla="*/ 2021930 h 3219384"/>
                <a:gd name="connsiteX7" fmla="*/ 1207561 w 3074739"/>
                <a:gd name="connsiteY7" fmla="*/ 2897649 h 3219384"/>
                <a:gd name="connsiteX8" fmla="*/ 1310578 w 3074739"/>
                <a:gd name="connsiteY8" fmla="*/ 2973666 h 3219384"/>
                <a:gd name="connsiteX9" fmla="*/ 2180166 w 3074739"/>
                <a:gd name="connsiteY9" fmla="*/ 2736492 h 3219384"/>
                <a:gd name="connsiteX10" fmla="*/ 2646774 w 3074739"/>
                <a:gd name="connsiteY10" fmla="*/ 2608783 h 3219384"/>
                <a:gd name="connsiteX11" fmla="*/ 2686163 w 3074739"/>
                <a:gd name="connsiteY11" fmla="*/ 2584458 h 3219384"/>
                <a:gd name="connsiteX12" fmla="*/ 2686163 w 3074739"/>
                <a:gd name="connsiteY12" fmla="*/ 2572390 h 3219384"/>
                <a:gd name="connsiteX13" fmla="*/ 2679961 w 3074739"/>
                <a:gd name="connsiteY13" fmla="*/ 2564004 h 3219384"/>
                <a:gd name="connsiteX14" fmla="*/ 2676091 w 3074739"/>
                <a:gd name="connsiteY14" fmla="*/ 2561237 h 3219384"/>
                <a:gd name="connsiteX15" fmla="*/ 2658894 w 3074739"/>
                <a:gd name="connsiteY15" fmla="*/ 2551010 h 3219384"/>
                <a:gd name="connsiteX16" fmla="*/ 2534667 w 3074739"/>
                <a:gd name="connsiteY16" fmla="*/ 2462830 h 3219384"/>
                <a:gd name="connsiteX17" fmla="*/ 2500812 w 3074739"/>
                <a:gd name="connsiteY17" fmla="*/ 2438415 h 3219384"/>
                <a:gd name="connsiteX18" fmla="*/ 2479864 w 3074739"/>
                <a:gd name="connsiteY18" fmla="*/ 2421483 h 3219384"/>
                <a:gd name="connsiteX19" fmla="*/ 2347852 w 3074739"/>
                <a:gd name="connsiteY19" fmla="*/ 2327654 h 3219384"/>
                <a:gd name="connsiteX20" fmla="*/ 1949177 w 3074739"/>
                <a:gd name="connsiteY20" fmla="*/ 2043327 h 3219384"/>
                <a:gd name="connsiteX21" fmla="*/ 1815780 w 3074739"/>
                <a:gd name="connsiteY21" fmla="*/ 2015958 h 3219384"/>
                <a:gd name="connsiteX22" fmla="*/ 1533828 w 3074739"/>
                <a:gd name="connsiteY22" fmla="*/ 2088941 h 3219384"/>
                <a:gd name="connsiteX23" fmla="*/ 1270066 w 3074739"/>
                <a:gd name="connsiteY23" fmla="*/ 2058531 h 3219384"/>
                <a:gd name="connsiteX24" fmla="*/ 1270066 w 3074739"/>
                <a:gd name="connsiteY24" fmla="*/ 2003795 h 3219384"/>
                <a:gd name="connsiteX25" fmla="*/ 1324637 w 3074739"/>
                <a:gd name="connsiteY25" fmla="*/ 1942976 h 3219384"/>
                <a:gd name="connsiteX26" fmla="*/ 1724828 w 3074739"/>
                <a:gd name="connsiteY26" fmla="*/ 1839584 h 3219384"/>
                <a:gd name="connsiteX27" fmla="*/ 1812749 w 3074739"/>
                <a:gd name="connsiteY27" fmla="*/ 1727070 h 3219384"/>
                <a:gd name="connsiteX28" fmla="*/ 1812749 w 3074739"/>
                <a:gd name="connsiteY28" fmla="*/ 1161457 h 3219384"/>
                <a:gd name="connsiteX29" fmla="*/ 1879447 w 3074739"/>
                <a:gd name="connsiteY29" fmla="*/ 1079352 h 3219384"/>
                <a:gd name="connsiteX30" fmla="*/ 1961304 w 3074739"/>
                <a:gd name="connsiteY30" fmla="*/ 1064147 h 3219384"/>
                <a:gd name="connsiteX31" fmla="*/ 2006780 w 3074739"/>
                <a:gd name="connsiteY31" fmla="*/ 1161457 h 3219384"/>
                <a:gd name="connsiteX32" fmla="*/ 2006780 w 3074739"/>
                <a:gd name="connsiteY32" fmla="*/ 1769643 h 3219384"/>
                <a:gd name="connsiteX33" fmla="*/ 2067415 w 3074739"/>
                <a:gd name="connsiteY33" fmla="*/ 1888239 h 3219384"/>
                <a:gd name="connsiteX34" fmla="*/ 2779211 w 3074739"/>
                <a:gd name="connsiteY34" fmla="*/ 2391839 h 3219384"/>
                <a:gd name="connsiteX35" fmla="*/ 2814283 w 3074739"/>
                <a:gd name="connsiteY35" fmla="*/ 2416639 h 3219384"/>
                <a:gd name="connsiteX36" fmla="*/ 2822747 w 3074739"/>
                <a:gd name="connsiteY36" fmla="*/ 2419500 h 3219384"/>
                <a:gd name="connsiteX37" fmla="*/ 2837659 w 3074739"/>
                <a:gd name="connsiteY37" fmla="*/ 2417220 h 3219384"/>
                <a:gd name="connsiteX38" fmla="*/ 2855839 w 3074739"/>
                <a:gd name="connsiteY38" fmla="*/ 2362487 h 3219384"/>
                <a:gd name="connsiteX39" fmla="*/ 2877048 w 3074739"/>
                <a:gd name="connsiteY39" fmla="*/ 1015461 h 3219384"/>
                <a:gd name="connsiteX40" fmla="*/ 2880078 w 3074739"/>
                <a:gd name="connsiteY40" fmla="*/ 1015461 h 3219384"/>
                <a:gd name="connsiteX41" fmla="*/ 2880078 w 3074739"/>
                <a:gd name="connsiteY41" fmla="*/ 899915 h 3219384"/>
                <a:gd name="connsiteX42" fmla="*/ 2839174 w 3074739"/>
                <a:gd name="connsiteY42" fmla="*/ 819099 h 3219384"/>
                <a:gd name="connsiteX43" fmla="*/ 233436 w 3074739"/>
                <a:gd name="connsiteY43" fmla="*/ 654256 h 3219384"/>
                <a:gd name="connsiteX44" fmla="*/ 218564 w 3074739"/>
                <a:gd name="connsiteY44" fmla="*/ 657345 h 3219384"/>
                <a:gd name="connsiteX45" fmla="*/ 212501 w 3074739"/>
                <a:gd name="connsiteY45" fmla="*/ 709040 h 3219384"/>
                <a:gd name="connsiteX46" fmla="*/ 264032 w 3074739"/>
                <a:gd name="connsiteY46" fmla="*/ 1855462 h 3219384"/>
                <a:gd name="connsiteX47" fmla="*/ 276157 w 3074739"/>
                <a:gd name="connsiteY47" fmla="*/ 2104816 h 3219384"/>
                <a:gd name="connsiteX48" fmla="*/ 361031 w 3074739"/>
                <a:gd name="connsiteY48" fmla="*/ 2168675 h 3219384"/>
                <a:gd name="connsiteX49" fmla="*/ 830872 w 3074739"/>
                <a:gd name="connsiteY49" fmla="*/ 2059202 h 3219384"/>
                <a:gd name="connsiteX50" fmla="*/ 912715 w 3074739"/>
                <a:gd name="connsiteY50" fmla="*/ 2153471 h 3219384"/>
                <a:gd name="connsiteX51" fmla="*/ 697498 w 3074739"/>
                <a:gd name="connsiteY51" fmla="*/ 2293352 h 3219384"/>
                <a:gd name="connsiteX52" fmla="*/ 485312 w 3074739"/>
                <a:gd name="connsiteY52" fmla="*/ 2345048 h 3219384"/>
                <a:gd name="connsiteX53" fmla="*/ 427718 w 3074739"/>
                <a:gd name="connsiteY53" fmla="*/ 2372416 h 3219384"/>
                <a:gd name="connsiteX54" fmla="*/ 467124 w 3074739"/>
                <a:gd name="connsiteY54" fmla="*/ 2430193 h 3219384"/>
                <a:gd name="connsiteX55" fmla="*/ 551999 w 3074739"/>
                <a:gd name="connsiteY55" fmla="*/ 2506216 h 3219384"/>
                <a:gd name="connsiteX56" fmla="*/ 943028 w 3074739"/>
                <a:gd name="connsiteY56" fmla="*/ 2849838 h 3219384"/>
                <a:gd name="connsiteX57" fmla="*/ 985465 w 3074739"/>
                <a:gd name="connsiteY57" fmla="*/ 2868083 h 3219384"/>
                <a:gd name="connsiteX58" fmla="*/ 1000621 w 3074739"/>
                <a:gd name="connsiteY58" fmla="*/ 2825511 h 3219384"/>
                <a:gd name="connsiteX59" fmla="*/ 1000621 w 3074739"/>
                <a:gd name="connsiteY59" fmla="*/ 2649138 h 3219384"/>
                <a:gd name="connsiteX60" fmla="*/ 988496 w 3074739"/>
                <a:gd name="connsiteY60" fmla="*/ 2393702 h 3219384"/>
                <a:gd name="connsiteX61" fmla="*/ 964246 w 3074739"/>
                <a:gd name="connsiteY61" fmla="*/ 1247281 h 3219384"/>
                <a:gd name="connsiteX62" fmla="*/ 888465 w 3074739"/>
                <a:gd name="connsiteY62" fmla="*/ 1107399 h 3219384"/>
                <a:gd name="connsiteX63" fmla="*/ 270094 w 3074739"/>
                <a:gd name="connsiteY63" fmla="*/ 678631 h 3219384"/>
                <a:gd name="connsiteX64" fmla="*/ 233436 w 3074739"/>
                <a:gd name="connsiteY64" fmla="*/ 654256 h 3219384"/>
                <a:gd name="connsiteX65" fmla="*/ 1762476 w 3074739"/>
                <a:gd name="connsiteY65" fmla="*/ 221356 h 3219384"/>
                <a:gd name="connsiteX66" fmla="*/ 1728112 w 3074739"/>
                <a:gd name="connsiteY66" fmla="*/ 222495 h 3219384"/>
                <a:gd name="connsiteX67" fmla="*/ 434584 w 3074739"/>
                <a:gd name="connsiteY67" fmla="*/ 474652 h 3219384"/>
                <a:gd name="connsiteX68" fmla="*/ 389143 w 3074739"/>
                <a:gd name="connsiteY68" fmla="*/ 501995 h 3219384"/>
                <a:gd name="connsiteX69" fmla="*/ 422466 w 3074739"/>
                <a:gd name="connsiteY69" fmla="*/ 541489 h 3219384"/>
                <a:gd name="connsiteX70" fmla="*/ 1028334 w 3074739"/>
                <a:gd name="connsiteY70" fmla="*/ 960739 h 3219384"/>
                <a:gd name="connsiteX71" fmla="*/ 1101038 w 3074739"/>
                <a:gd name="connsiteY71" fmla="*/ 988081 h 3219384"/>
                <a:gd name="connsiteX72" fmla="*/ 1113156 w 3074739"/>
                <a:gd name="connsiteY72" fmla="*/ 985043 h 3219384"/>
                <a:gd name="connsiteX73" fmla="*/ 1755376 w 3074739"/>
                <a:gd name="connsiteY73" fmla="*/ 848331 h 3219384"/>
                <a:gd name="connsiteX74" fmla="*/ 2061339 w 3074739"/>
                <a:gd name="connsiteY74" fmla="*/ 784533 h 3219384"/>
                <a:gd name="connsiteX75" fmla="*/ 2618738 w 3074739"/>
                <a:gd name="connsiteY75" fmla="*/ 663011 h 3219384"/>
                <a:gd name="connsiteX76" fmla="*/ 2661149 w 3074739"/>
                <a:gd name="connsiteY76" fmla="*/ 638707 h 3219384"/>
                <a:gd name="connsiteX77" fmla="*/ 2624797 w 3074739"/>
                <a:gd name="connsiteY77" fmla="*/ 602250 h 3219384"/>
                <a:gd name="connsiteX78" fmla="*/ 2094662 w 3074739"/>
                <a:gd name="connsiteY78" fmla="*/ 310599 h 3219384"/>
                <a:gd name="connsiteX79" fmla="*/ 1994694 w 3074739"/>
                <a:gd name="connsiteY79" fmla="*/ 371359 h 3219384"/>
                <a:gd name="connsiteX80" fmla="*/ 1994694 w 3074739"/>
                <a:gd name="connsiteY80" fmla="*/ 711620 h 3219384"/>
                <a:gd name="connsiteX81" fmla="*/ 1800816 w 3074739"/>
                <a:gd name="connsiteY81" fmla="*/ 742000 h 3219384"/>
                <a:gd name="connsiteX82" fmla="*/ 1800816 w 3074739"/>
                <a:gd name="connsiteY82" fmla="*/ 286294 h 3219384"/>
                <a:gd name="connsiteX83" fmla="*/ 1762476 w 3074739"/>
                <a:gd name="connsiteY83" fmla="*/ 221356 h 3219384"/>
                <a:gd name="connsiteX84" fmla="*/ 1860962 w 3074739"/>
                <a:gd name="connsiteY84" fmla="*/ 64 h 3219384"/>
                <a:gd name="connsiteX85" fmla="*/ 2019116 w 3074739"/>
                <a:gd name="connsiteY85" fmla="*/ 42826 h 3219384"/>
                <a:gd name="connsiteX86" fmla="*/ 2974004 w 3074739"/>
                <a:gd name="connsiteY86" fmla="*/ 568892 h 3219384"/>
                <a:gd name="connsiteX87" fmla="*/ 3074040 w 3074739"/>
                <a:gd name="connsiteY87" fmla="*/ 736138 h 3219384"/>
                <a:gd name="connsiteX88" fmla="*/ 3074040 w 3074739"/>
                <a:gd name="connsiteY88" fmla="*/ 997651 h 3219384"/>
                <a:gd name="connsiteX89" fmla="*/ 3058883 w 3074739"/>
                <a:gd name="connsiteY89" fmla="*/ 1867333 h 3219384"/>
                <a:gd name="connsiteX90" fmla="*/ 3049789 w 3074739"/>
                <a:gd name="connsiteY90" fmla="*/ 2521114 h 3219384"/>
                <a:gd name="connsiteX91" fmla="*/ 3049789 w 3074739"/>
                <a:gd name="connsiteY91" fmla="*/ 2545441 h 3219384"/>
                <a:gd name="connsiteX92" fmla="*/ 2895188 w 3074739"/>
                <a:gd name="connsiteY92" fmla="*/ 2746137 h 3219384"/>
                <a:gd name="connsiteX93" fmla="*/ 1212765 w 3074739"/>
                <a:gd name="connsiteY93" fmla="*/ 3208345 h 3219384"/>
                <a:gd name="connsiteX94" fmla="*/ 991473 w 3074739"/>
                <a:gd name="connsiteY94" fmla="*/ 3159692 h 3219384"/>
                <a:gd name="connsiteX95" fmla="*/ 136620 w 3074739"/>
                <a:gd name="connsiteY95" fmla="*/ 2399480 h 3219384"/>
                <a:gd name="connsiteX96" fmla="*/ 91149 w 3074739"/>
                <a:gd name="connsiteY96" fmla="*/ 2308255 h 3219384"/>
                <a:gd name="connsiteX97" fmla="*/ 66898 w 3074739"/>
                <a:gd name="connsiteY97" fmla="*/ 1870373 h 3219384"/>
                <a:gd name="connsiteX98" fmla="*/ 21427 w 3074739"/>
                <a:gd name="connsiteY98" fmla="*/ 918589 h 3219384"/>
                <a:gd name="connsiteX99" fmla="*/ 208 w 3074739"/>
                <a:gd name="connsiteY99" fmla="*/ 453340 h 3219384"/>
                <a:gd name="connsiteX100" fmla="*/ 79024 w 3074739"/>
                <a:gd name="connsiteY100" fmla="*/ 343869 h 3219384"/>
                <a:gd name="connsiteX101" fmla="*/ 276064 w 3074739"/>
                <a:gd name="connsiteY101" fmla="*/ 304338 h 3219384"/>
                <a:gd name="connsiteX102" fmla="*/ 1803887 w 3074739"/>
                <a:gd name="connsiteY102" fmla="*/ 6335 h 3219384"/>
                <a:gd name="connsiteX103" fmla="*/ 1860962 w 3074739"/>
                <a:gd name="connsiteY103" fmla="*/ 64 h 3219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074739" h="3219384">
                  <a:moveTo>
                    <a:pt x="2839174" y="819099"/>
                  </a:moveTo>
                  <a:cubicBezTo>
                    <a:pt x="2827244" y="819527"/>
                    <a:pt x="2811905" y="822377"/>
                    <a:pt x="2792210" y="826938"/>
                  </a:cubicBezTo>
                  <a:cubicBezTo>
                    <a:pt x="2583146" y="872549"/>
                    <a:pt x="2374081" y="918159"/>
                    <a:pt x="2161987" y="963769"/>
                  </a:cubicBezTo>
                  <a:cubicBezTo>
                    <a:pt x="1986251" y="1000258"/>
                    <a:pt x="1792336" y="1042827"/>
                    <a:pt x="1716588" y="1058031"/>
                  </a:cubicBezTo>
                  <a:cubicBezTo>
                    <a:pt x="1565092" y="1091478"/>
                    <a:pt x="1410566" y="1124926"/>
                    <a:pt x="1256040" y="1158374"/>
                  </a:cubicBezTo>
                  <a:cubicBezTo>
                    <a:pt x="1165142" y="1179658"/>
                    <a:pt x="1156052" y="1185740"/>
                    <a:pt x="1159082" y="1280001"/>
                  </a:cubicBezTo>
                  <a:cubicBezTo>
                    <a:pt x="1165142" y="1529338"/>
                    <a:pt x="1177262" y="1775634"/>
                    <a:pt x="1183322" y="2021930"/>
                  </a:cubicBezTo>
                  <a:cubicBezTo>
                    <a:pt x="1186351" y="2313836"/>
                    <a:pt x="1192411" y="2605742"/>
                    <a:pt x="1207561" y="2897649"/>
                  </a:cubicBezTo>
                  <a:cubicBezTo>
                    <a:pt x="1210591" y="2994951"/>
                    <a:pt x="1216651" y="3001032"/>
                    <a:pt x="1310578" y="2973666"/>
                  </a:cubicBezTo>
                  <a:cubicBezTo>
                    <a:pt x="1601451" y="2894608"/>
                    <a:pt x="1889294" y="2815550"/>
                    <a:pt x="2180166" y="2736492"/>
                  </a:cubicBezTo>
                  <a:cubicBezTo>
                    <a:pt x="2337722" y="2693922"/>
                    <a:pt x="2492248" y="2651353"/>
                    <a:pt x="2646774" y="2608783"/>
                  </a:cubicBezTo>
                  <a:cubicBezTo>
                    <a:pt x="2661924" y="2602702"/>
                    <a:pt x="2683133" y="2602702"/>
                    <a:pt x="2686163" y="2584458"/>
                  </a:cubicBezTo>
                  <a:cubicBezTo>
                    <a:pt x="2687678" y="2579897"/>
                    <a:pt x="2687489" y="2575906"/>
                    <a:pt x="2686163" y="2572390"/>
                  </a:cubicBezTo>
                  <a:lnTo>
                    <a:pt x="2679961" y="2564004"/>
                  </a:lnTo>
                  <a:lnTo>
                    <a:pt x="2676091" y="2561237"/>
                  </a:lnTo>
                  <a:lnTo>
                    <a:pt x="2658894" y="2551010"/>
                  </a:lnTo>
                  <a:cubicBezTo>
                    <a:pt x="2616475" y="2520603"/>
                    <a:pt x="2574056" y="2493237"/>
                    <a:pt x="2534667" y="2462830"/>
                  </a:cubicBezTo>
                  <a:cubicBezTo>
                    <a:pt x="2521790" y="2453708"/>
                    <a:pt x="2510523" y="2445679"/>
                    <a:pt x="2500812" y="2438415"/>
                  </a:cubicBezTo>
                  <a:lnTo>
                    <a:pt x="2479864" y="2421483"/>
                  </a:lnTo>
                  <a:lnTo>
                    <a:pt x="2347852" y="2327654"/>
                  </a:lnTo>
                  <a:cubicBezTo>
                    <a:pt x="2160642" y="2194613"/>
                    <a:pt x="1973431" y="2061573"/>
                    <a:pt x="1949177" y="2043327"/>
                  </a:cubicBezTo>
                  <a:cubicBezTo>
                    <a:pt x="1909764" y="2009877"/>
                    <a:pt x="1867320" y="2003795"/>
                    <a:pt x="1815780" y="2015958"/>
                  </a:cubicBezTo>
                  <a:cubicBezTo>
                    <a:pt x="1721796" y="2043327"/>
                    <a:pt x="1627812" y="2064613"/>
                    <a:pt x="1533828" y="2088941"/>
                  </a:cubicBezTo>
                  <a:cubicBezTo>
                    <a:pt x="1264002" y="2134555"/>
                    <a:pt x="1270066" y="2143678"/>
                    <a:pt x="1270066" y="2058531"/>
                  </a:cubicBezTo>
                  <a:cubicBezTo>
                    <a:pt x="1270066" y="2040286"/>
                    <a:pt x="1270066" y="2022040"/>
                    <a:pt x="1270066" y="2003795"/>
                  </a:cubicBezTo>
                  <a:cubicBezTo>
                    <a:pt x="1270066" y="1961222"/>
                    <a:pt x="1297351" y="1949058"/>
                    <a:pt x="1324637" y="1942976"/>
                  </a:cubicBezTo>
                  <a:cubicBezTo>
                    <a:pt x="1412558" y="1921690"/>
                    <a:pt x="1636907" y="1857830"/>
                    <a:pt x="1724828" y="1839584"/>
                  </a:cubicBezTo>
                  <a:cubicBezTo>
                    <a:pt x="1791526" y="1827421"/>
                    <a:pt x="1818812" y="1790930"/>
                    <a:pt x="1812749" y="1727070"/>
                  </a:cubicBezTo>
                  <a:cubicBezTo>
                    <a:pt x="1809717" y="1693620"/>
                    <a:pt x="1812749" y="1191866"/>
                    <a:pt x="1812749" y="1161457"/>
                  </a:cubicBezTo>
                  <a:cubicBezTo>
                    <a:pt x="1812749" y="1115843"/>
                    <a:pt x="1837003" y="1091515"/>
                    <a:pt x="1879447" y="1079352"/>
                  </a:cubicBezTo>
                  <a:cubicBezTo>
                    <a:pt x="1900669" y="1073270"/>
                    <a:pt x="1943114" y="1064147"/>
                    <a:pt x="1961304" y="1064147"/>
                  </a:cubicBezTo>
                  <a:cubicBezTo>
                    <a:pt x="2006780" y="1061106"/>
                    <a:pt x="2006780" y="1118884"/>
                    <a:pt x="2006780" y="1161457"/>
                  </a:cubicBezTo>
                  <a:cubicBezTo>
                    <a:pt x="2006780" y="1210112"/>
                    <a:pt x="2009812" y="1724029"/>
                    <a:pt x="2006780" y="1769643"/>
                  </a:cubicBezTo>
                  <a:cubicBezTo>
                    <a:pt x="2003749" y="1821339"/>
                    <a:pt x="2024971" y="1857830"/>
                    <a:pt x="2067415" y="1888239"/>
                  </a:cubicBezTo>
                  <a:cubicBezTo>
                    <a:pt x="2109291" y="1912947"/>
                    <a:pt x="2577472" y="2248815"/>
                    <a:pt x="2779211" y="2391839"/>
                  </a:cubicBezTo>
                  <a:lnTo>
                    <a:pt x="2814283" y="2416639"/>
                  </a:lnTo>
                  <a:lnTo>
                    <a:pt x="2822747" y="2419500"/>
                  </a:lnTo>
                  <a:cubicBezTo>
                    <a:pt x="2827433" y="2420071"/>
                    <a:pt x="2832357" y="2419501"/>
                    <a:pt x="2837659" y="2417220"/>
                  </a:cubicBezTo>
                  <a:cubicBezTo>
                    <a:pt x="2861899" y="2408097"/>
                    <a:pt x="2855839" y="2383772"/>
                    <a:pt x="2855839" y="2362487"/>
                  </a:cubicBezTo>
                  <a:cubicBezTo>
                    <a:pt x="2861899" y="1912465"/>
                    <a:pt x="2867958" y="1465483"/>
                    <a:pt x="2877048" y="1015461"/>
                  </a:cubicBezTo>
                  <a:cubicBezTo>
                    <a:pt x="2877048" y="1015461"/>
                    <a:pt x="2880078" y="1015461"/>
                    <a:pt x="2880078" y="1015461"/>
                  </a:cubicBezTo>
                  <a:cubicBezTo>
                    <a:pt x="2880078" y="975932"/>
                    <a:pt x="2880078" y="936403"/>
                    <a:pt x="2880078" y="899915"/>
                  </a:cubicBezTo>
                  <a:cubicBezTo>
                    <a:pt x="2880078" y="838341"/>
                    <a:pt x="2874965" y="817816"/>
                    <a:pt x="2839174" y="819099"/>
                  </a:cubicBezTo>
                  <a:close/>
                  <a:moveTo>
                    <a:pt x="233436" y="654256"/>
                  </a:moveTo>
                  <a:cubicBezTo>
                    <a:pt x="228794" y="653544"/>
                    <a:pt x="223868" y="654304"/>
                    <a:pt x="218564" y="657345"/>
                  </a:cubicBezTo>
                  <a:cubicBezTo>
                    <a:pt x="200376" y="669508"/>
                    <a:pt x="212501" y="693836"/>
                    <a:pt x="212501" y="709040"/>
                  </a:cubicBezTo>
                  <a:cubicBezTo>
                    <a:pt x="227657" y="1092194"/>
                    <a:pt x="242813" y="1475348"/>
                    <a:pt x="264032" y="1855462"/>
                  </a:cubicBezTo>
                  <a:cubicBezTo>
                    <a:pt x="267063" y="1940607"/>
                    <a:pt x="270094" y="2022712"/>
                    <a:pt x="276157" y="2104816"/>
                  </a:cubicBezTo>
                  <a:cubicBezTo>
                    <a:pt x="279188" y="2171716"/>
                    <a:pt x="297375" y="2183880"/>
                    <a:pt x="361031" y="2168675"/>
                  </a:cubicBezTo>
                  <a:cubicBezTo>
                    <a:pt x="458031" y="2147389"/>
                    <a:pt x="736904" y="2080489"/>
                    <a:pt x="830872" y="2059202"/>
                  </a:cubicBezTo>
                  <a:cubicBezTo>
                    <a:pt x="903622" y="2040957"/>
                    <a:pt x="915746" y="2065284"/>
                    <a:pt x="912715" y="2153471"/>
                  </a:cubicBezTo>
                  <a:cubicBezTo>
                    <a:pt x="912715" y="2244698"/>
                    <a:pt x="912715" y="2244698"/>
                    <a:pt x="697498" y="2293352"/>
                  </a:cubicBezTo>
                  <a:cubicBezTo>
                    <a:pt x="624748" y="2308557"/>
                    <a:pt x="555030" y="2326802"/>
                    <a:pt x="485312" y="2345048"/>
                  </a:cubicBezTo>
                  <a:cubicBezTo>
                    <a:pt x="464093" y="2348089"/>
                    <a:pt x="433781" y="2348089"/>
                    <a:pt x="427718" y="2372416"/>
                  </a:cubicBezTo>
                  <a:cubicBezTo>
                    <a:pt x="421656" y="2399784"/>
                    <a:pt x="448937" y="2411948"/>
                    <a:pt x="467124" y="2430193"/>
                  </a:cubicBezTo>
                  <a:cubicBezTo>
                    <a:pt x="494405" y="2454520"/>
                    <a:pt x="521687" y="2478848"/>
                    <a:pt x="551999" y="2506216"/>
                  </a:cubicBezTo>
                  <a:cubicBezTo>
                    <a:pt x="682342" y="2618729"/>
                    <a:pt x="812685" y="2734284"/>
                    <a:pt x="943028" y="2849838"/>
                  </a:cubicBezTo>
                  <a:cubicBezTo>
                    <a:pt x="955152" y="2858961"/>
                    <a:pt x="967277" y="2877206"/>
                    <a:pt x="985465" y="2868083"/>
                  </a:cubicBezTo>
                  <a:cubicBezTo>
                    <a:pt x="1003652" y="2862002"/>
                    <a:pt x="1000621" y="2840715"/>
                    <a:pt x="1000621" y="2825511"/>
                  </a:cubicBezTo>
                  <a:cubicBezTo>
                    <a:pt x="1000621" y="2770774"/>
                    <a:pt x="1000621" y="2716038"/>
                    <a:pt x="1000621" y="2649138"/>
                  </a:cubicBezTo>
                  <a:cubicBezTo>
                    <a:pt x="1003652" y="2573116"/>
                    <a:pt x="991527" y="2481888"/>
                    <a:pt x="988496" y="2393702"/>
                  </a:cubicBezTo>
                  <a:cubicBezTo>
                    <a:pt x="979402" y="2010548"/>
                    <a:pt x="970309" y="1630435"/>
                    <a:pt x="964246" y="1247281"/>
                  </a:cubicBezTo>
                  <a:cubicBezTo>
                    <a:pt x="964246" y="1183422"/>
                    <a:pt x="943028" y="1140849"/>
                    <a:pt x="888465" y="1107399"/>
                  </a:cubicBezTo>
                  <a:cubicBezTo>
                    <a:pt x="682342" y="964476"/>
                    <a:pt x="476218" y="821554"/>
                    <a:pt x="270094" y="678631"/>
                  </a:cubicBezTo>
                  <a:cubicBezTo>
                    <a:pt x="258727" y="671789"/>
                    <a:pt x="247360" y="656394"/>
                    <a:pt x="233436" y="654256"/>
                  </a:cubicBezTo>
                  <a:close/>
                  <a:moveTo>
                    <a:pt x="1762476" y="221356"/>
                  </a:moveTo>
                  <a:cubicBezTo>
                    <a:pt x="1753104" y="219837"/>
                    <a:pt x="1741744" y="220217"/>
                    <a:pt x="1728112" y="222495"/>
                  </a:cubicBezTo>
                  <a:cubicBezTo>
                    <a:pt x="1297946" y="307560"/>
                    <a:pt x="864750" y="389587"/>
                    <a:pt x="434584" y="474652"/>
                  </a:cubicBezTo>
                  <a:cubicBezTo>
                    <a:pt x="416408" y="477690"/>
                    <a:pt x="392173" y="474652"/>
                    <a:pt x="389143" y="501995"/>
                  </a:cubicBezTo>
                  <a:cubicBezTo>
                    <a:pt x="386114" y="523261"/>
                    <a:pt x="407320" y="532375"/>
                    <a:pt x="422466" y="541489"/>
                  </a:cubicBezTo>
                  <a:cubicBezTo>
                    <a:pt x="622403" y="681239"/>
                    <a:pt x="825369" y="820989"/>
                    <a:pt x="1028334" y="960739"/>
                  </a:cubicBezTo>
                  <a:cubicBezTo>
                    <a:pt x="1052569" y="978967"/>
                    <a:pt x="1073774" y="988081"/>
                    <a:pt x="1101038" y="988081"/>
                  </a:cubicBezTo>
                  <a:cubicBezTo>
                    <a:pt x="1107097" y="988081"/>
                    <a:pt x="1110127" y="988081"/>
                    <a:pt x="1113156" y="985043"/>
                  </a:cubicBezTo>
                  <a:cubicBezTo>
                    <a:pt x="1328239" y="939473"/>
                    <a:pt x="1540293" y="893902"/>
                    <a:pt x="1755376" y="848331"/>
                  </a:cubicBezTo>
                  <a:cubicBezTo>
                    <a:pt x="1785669" y="842255"/>
                    <a:pt x="2031046" y="790609"/>
                    <a:pt x="2061339" y="784533"/>
                  </a:cubicBezTo>
                  <a:cubicBezTo>
                    <a:pt x="2246129" y="742000"/>
                    <a:pt x="2433948" y="702505"/>
                    <a:pt x="2618738" y="663011"/>
                  </a:cubicBezTo>
                  <a:cubicBezTo>
                    <a:pt x="2636914" y="659973"/>
                    <a:pt x="2661149" y="659973"/>
                    <a:pt x="2661149" y="638707"/>
                  </a:cubicBezTo>
                  <a:cubicBezTo>
                    <a:pt x="2664178" y="617440"/>
                    <a:pt x="2639943" y="611364"/>
                    <a:pt x="2624797" y="602250"/>
                  </a:cubicBezTo>
                  <a:cubicBezTo>
                    <a:pt x="2449095" y="505033"/>
                    <a:pt x="2270364" y="407816"/>
                    <a:pt x="2094662" y="310599"/>
                  </a:cubicBezTo>
                  <a:cubicBezTo>
                    <a:pt x="1997723" y="258952"/>
                    <a:pt x="1994694" y="258952"/>
                    <a:pt x="1994694" y="371359"/>
                  </a:cubicBezTo>
                  <a:cubicBezTo>
                    <a:pt x="1994694" y="389587"/>
                    <a:pt x="1994694" y="693391"/>
                    <a:pt x="1994694" y="711620"/>
                  </a:cubicBezTo>
                  <a:cubicBezTo>
                    <a:pt x="1991665" y="748076"/>
                    <a:pt x="1800816" y="784533"/>
                    <a:pt x="1800816" y="742000"/>
                  </a:cubicBezTo>
                  <a:cubicBezTo>
                    <a:pt x="1800816" y="699467"/>
                    <a:pt x="1800816" y="328827"/>
                    <a:pt x="1800816" y="286294"/>
                  </a:cubicBezTo>
                  <a:cubicBezTo>
                    <a:pt x="1800816" y="247559"/>
                    <a:pt x="1790592" y="225913"/>
                    <a:pt x="1762476" y="221356"/>
                  </a:cubicBezTo>
                  <a:close/>
                  <a:moveTo>
                    <a:pt x="1860962" y="64"/>
                  </a:moveTo>
                  <a:cubicBezTo>
                    <a:pt x="1916238" y="-1077"/>
                    <a:pt x="1966824" y="13177"/>
                    <a:pt x="2019116" y="42826"/>
                  </a:cubicBezTo>
                  <a:cubicBezTo>
                    <a:pt x="2334380" y="222235"/>
                    <a:pt x="2652677" y="395564"/>
                    <a:pt x="2974004" y="568892"/>
                  </a:cubicBezTo>
                  <a:cubicBezTo>
                    <a:pt x="3046758" y="605382"/>
                    <a:pt x="3080103" y="654035"/>
                    <a:pt x="3074040" y="736138"/>
                  </a:cubicBezTo>
                  <a:cubicBezTo>
                    <a:pt x="3071009" y="824323"/>
                    <a:pt x="3074040" y="909466"/>
                    <a:pt x="3074040" y="997651"/>
                  </a:cubicBezTo>
                  <a:cubicBezTo>
                    <a:pt x="3074040" y="1286531"/>
                    <a:pt x="3064946" y="1575411"/>
                    <a:pt x="3058883" y="1867333"/>
                  </a:cubicBezTo>
                  <a:cubicBezTo>
                    <a:pt x="3052821" y="2086273"/>
                    <a:pt x="3052821" y="2302173"/>
                    <a:pt x="3049789" y="2521114"/>
                  </a:cubicBezTo>
                  <a:cubicBezTo>
                    <a:pt x="3049789" y="2530237"/>
                    <a:pt x="3049789" y="2539359"/>
                    <a:pt x="3049789" y="2545441"/>
                  </a:cubicBezTo>
                  <a:cubicBezTo>
                    <a:pt x="3043726" y="2691402"/>
                    <a:pt x="3031601" y="2709647"/>
                    <a:pt x="2895188" y="2746137"/>
                  </a:cubicBezTo>
                  <a:cubicBezTo>
                    <a:pt x="2334380" y="2901220"/>
                    <a:pt x="1773573" y="3050221"/>
                    <a:pt x="1212765" y="3208345"/>
                  </a:cubicBezTo>
                  <a:cubicBezTo>
                    <a:pt x="1127886" y="3229631"/>
                    <a:pt x="1061195" y="3223549"/>
                    <a:pt x="991473" y="3159692"/>
                  </a:cubicBezTo>
                  <a:cubicBezTo>
                    <a:pt x="709554" y="2901220"/>
                    <a:pt x="421571" y="2651871"/>
                    <a:pt x="136620" y="2399480"/>
                  </a:cubicBezTo>
                  <a:cubicBezTo>
                    <a:pt x="109338" y="2375154"/>
                    <a:pt x="94181" y="2344745"/>
                    <a:pt x="91149" y="2308255"/>
                  </a:cubicBezTo>
                  <a:cubicBezTo>
                    <a:pt x="85087" y="2162295"/>
                    <a:pt x="75992" y="2016334"/>
                    <a:pt x="66898" y="1870373"/>
                  </a:cubicBezTo>
                  <a:cubicBezTo>
                    <a:pt x="51741" y="1554126"/>
                    <a:pt x="36584" y="1237878"/>
                    <a:pt x="21427" y="918589"/>
                  </a:cubicBezTo>
                  <a:cubicBezTo>
                    <a:pt x="12333" y="763506"/>
                    <a:pt x="6270" y="608423"/>
                    <a:pt x="208" y="453340"/>
                  </a:cubicBezTo>
                  <a:cubicBezTo>
                    <a:pt x="-2824" y="395564"/>
                    <a:pt x="27490" y="359073"/>
                    <a:pt x="79024" y="343869"/>
                  </a:cubicBezTo>
                  <a:cubicBezTo>
                    <a:pt x="145714" y="328665"/>
                    <a:pt x="209374" y="316502"/>
                    <a:pt x="276064" y="304338"/>
                  </a:cubicBezTo>
                  <a:cubicBezTo>
                    <a:pt x="785338" y="203990"/>
                    <a:pt x="1294613" y="106683"/>
                    <a:pt x="1803887" y="6335"/>
                  </a:cubicBezTo>
                  <a:cubicBezTo>
                    <a:pt x="1823591" y="2534"/>
                    <a:pt x="1842537" y="444"/>
                    <a:pt x="1860962" y="64"/>
                  </a:cubicBezTo>
                  <a:close/>
                </a:path>
              </a:pathLst>
            </a:custGeom>
            <a:solidFill>
              <a:srgbClr val="555558"/>
            </a:solidFill>
            <a:ln>
              <a:noFill/>
            </a:ln>
          </p:spPr>
          <p:txBody>
            <a:bodyPr vert="horz" wrap="square" lIns="91440" tIns="45720" rIns="91440" bIns="45720" numCol="1" anchor="t" anchorCtr="0" compatLnSpc="1">
              <a:prstTxWarp prst="textNoShape">
                <a:avLst/>
              </a:prstTxWarp>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9393B"/>
                </a:solidFill>
                <a:effectLst/>
                <a:uLnTx/>
                <a:uFillTx/>
                <a:latin typeface="Calibri"/>
                <a:ea typeface="ＭＳ Ｐゴシック" pitchFamily="34" charset="-128"/>
                <a:cs typeface=""/>
              </a:endParaRPr>
            </a:p>
          </p:txBody>
        </p:sp>
        <p:sp>
          <p:nvSpPr>
            <p:cNvPr id="231" name="Trapezoid 230"/>
            <p:cNvSpPr/>
            <p:nvPr/>
          </p:nvSpPr>
          <p:spPr>
            <a:xfrm>
              <a:off x="5295414" y="3681976"/>
              <a:ext cx="2450599" cy="28401"/>
            </a:xfrm>
            <a:prstGeom prst="trapezoid">
              <a:avLst>
                <a:gd name="adj" fmla="val 0"/>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232" name="Rounded Rectangle 358"/>
            <p:cNvSpPr/>
            <p:nvPr/>
          </p:nvSpPr>
          <p:spPr>
            <a:xfrm>
              <a:off x="7548935" y="2763349"/>
              <a:ext cx="1090868" cy="672040"/>
            </a:xfrm>
            <a:prstGeom prst="roundRect">
              <a:avLst/>
            </a:prstGeom>
            <a:solidFill>
              <a:srgbClr val="FFFFFF"/>
            </a:solidFill>
            <a:ln w="25400" cap="flat" cmpd="sng" algn="ctr">
              <a:noFill/>
              <a:prstDash val="solid"/>
            </a:ln>
            <a:effectLst/>
          </p:spPr>
          <p:txBody>
            <a:bodyPr tIns="274320"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55558"/>
                  </a:solidFill>
                  <a:effectLst/>
                  <a:uLnTx/>
                  <a:uFillTx/>
                  <a:latin typeface="Arial"/>
                  <a:ea typeface="ＭＳ Ｐゴシック" charset="0"/>
                  <a:cs typeface="ＭＳ Ｐゴシック" charset="0"/>
                </a:rPr>
                <a:t>SEGMENTATION</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55558"/>
                  </a:solidFill>
                  <a:effectLst/>
                  <a:uLnTx/>
                  <a:uFillTx/>
                  <a:latin typeface="Arial"/>
                  <a:ea typeface="ＭＳ Ｐゴシック" charset="0"/>
                  <a:cs typeface="ＭＳ Ｐゴシック" charset="0"/>
                </a:rPr>
                <a:t>&amp; COMPLIANCE</a:t>
              </a:r>
              <a:endParaRPr kumimoji="0" lang="en-US" sz="800" b="1" i="0" u="none" strike="noStrike" kern="1200" cap="none" spc="0" normalizeH="0" baseline="0" noProof="0" dirty="0">
                <a:ln>
                  <a:noFill/>
                </a:ln>
                <a:solidFill>
                  <a:srgbClr val="555558"/>
                </a:solidFill>
                <a:effectLst/>
                <a:uLnTx/>
                <a:uFillTx/>
                <a:latin typeface="Arial"/>
                <a:ea typeface=""/>
                <a:cs typeface=""/>
              </a:endParaRPr>
            </a:p>
          </p:txBody>
        </p:sp>
        <p:sp>
          <p:nvSpPr>
            <p:cNvPr id="233" name="Freeform 21"/>
            <p:cNvSpPr>
              <a:spLocks noEditPoints="1"/>
            </p:cNvSpPr>
            <p:nvPr/>
          </p:nvSpPr>
          <p:spPr bwMode="auto">
            <a:xfrm>
              <a:off x="7509349" y="2693168"/>
              <a:ext cx="1173296" cy="885371"/>
            </a:xfrm>
            <a:custGeom>
              <a:avLst/>
              <a:gdLst>
                <a:gd name="T0" fmla="*/ 130 w 138"/>
                <a:gd name="T1" fmla="*/ 0 h 104"/>
                <a:gd name="T2" fmla="*/ 8 w 138"/>
                <a:gd name="T3" fmla="*/ 0 h 104"/>
                <a:gd name="T4" fmla="*/ 0 w 138"/>
                <a:gd name="T5" fmla="*/ 9 h 104"/>
                <a:gd name="T6" fmla="*/ 0 w 138"/>
                <a:gd name="T7" fmla="*/ 84 h 104"/>
                <a:gd name="T8" fmla="*/ 8 w 138"/>
                <a:gd name="T9" fmla="*/ 92 h 104"/>
                <a:gd name="T10" fmla="*/ 57 w 138"/>
                <a:gd name="T11" fmla="*/ 92 h 104"/>
                <a:gd name="T12" fmla="*/ 57 w 138"/>
                <a:gd name="T13" fmla="*/ 94 h 104"/>
                <a:gd name="T14" fmla="*/ 57 w 138"/>
                <a:gd name="T15" fmla="*/ 98 h 104"/>
                <a:gd name="T16" fmla="*/ 36 w 138"/>
                <a:gd name="T17" fmla="*/ 98 h 104"/>
                <a:gd name="T18" fmla="*/ 33 w 138"/>
                <a:gd name="T19" fmla="*/ 101 h 104"/>
                <a:gd name="T20" fmla="*/ 36 w 138"/>
                <a:gd name="T21" fmla="*/ 104 h 104"/>
                <a:gd name="T22" fmla="*/ 102 w 138"/>
                <a:gd name="T23" fmla="*/ 104 h 104"/>
                <a:gd name="T24" fmla="*/ 105 w 138"/>
                <a:gd name="T25" fmla="*/ 101 h 104"/>
                <a:gd name="T26" fmla="*/ 102 w 138"/>
                <a:gd name="T27" fmla="*/ 98 h 104"/>
                <a:gd name="T28" fmla="*/ 81 w 138"/>
                <a:gd name="T29" fmla="*/ 98 h 104"/>
                <a:gd name="T30" fmla="*/ 81 w 138"/>
                <a:gd name="T31" fmla="*/ 94 h 104"/>
                <a:gd name="T32" fmla="*/ 81 w 138"/>
                <a:gd name="T33" fmla="*/ 92 h 104"/>
                <a:gd name="T34" fmla="*/ 130 w 138"/>
                <a:gd name="T35" fmla="*/ 92 h 104"/>
                <a:gd name="T36" fmla="*/ 138 w 138"/>
                <a:gd name="T37" fmla="*/ 84 h 104"/>
                <a:gd name="T38" fmla="*/ 138 w 138"/>
                <a:gd name="T39" fmla="*/ 9 h 104"/>
                <a:gd name="T40" fmla="*/ 130 w 138"/>
                <a:gd name="T41" fmla="*/ 0 h 104"/>
                <a:gd name="T42" fmla="*/ 131 w 138"/>
                <a:gd name="T43" fmla="*/ 74 h 104"/>
                <a:gd name="T44" fmla="*/ 124 w 138"/>
                <a:gd name="T45" fmla="*/ 80 h 104"/>
                <a:gd name="T46" fmla="*/ 14 w 138"/>
                <a:gd name="T47" fmla="*/ 80 h 104"/>
                <a:gd name="T48" fmla="*/ 7 w 138"/>
                <a:gd name="T49" fmla="*/ 74 h 104"/>
                <a:gd name="T50" fmla="*/ 7 w 138"/>
                <a:gd name="T51" fmla="*/ 15 h 104"/>
                <a:gd name="T52" fmla="*/ 14 w 138"/>
                <a:gd name="T53" fmla="*/ 8 h 104"/>
                <a:gd name="T54" fmla="*/ 124 w 138"/>
                <a:gd name="T55" fmla="*/ 8 h 104"/>
                <a:gd name="T56" fmla="*/ 131 w 138"/>
                <a:gd name="T57" fmla="*/ 15 h 104"/>
                <a:gd name="T58" fmla="*/ 131 w 138"/>
                <a:gd name="T59"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8" h="104">
                  <a:moveTo>
                    <a:pt x="130" y="0"/>
                  </a:moveTo>
                  <a:cubicBezTo>
                    <a:pt x="8" y="0"/>
                    <a:pt x="8" y="0"/>
                    <a:pt x="8" y="0"/>
                  </a:cubicBezTo>
                  <a:cubicBezTo>
                    <a:pt x="4" y="0"/>
                    <a:pt x="0" y="4"/>
                    <a:pt x="0" y="9"/>
                  </a:cubicBezTo>
                  <a:cubicBezTo>
                    <a:pt x="0" y="84"/>
                    <a:pt x="0" y="84"/>
                    <a:pt x="0" y="84"/>
                  </a:cubicBezTo>
                  <a:cubicBezTo>
                    <a:pt x="0" y="88"/>
                    <a:pt x="4" y="92"/>
                    <a:pt x="8" y="92"/>
                  </a:cubicBezTo>
                  <a:cubicBezTo>
                    <a:pt x="57" y="92"/>
                    <a:pt x="57" y="92"/>
                    <a:pt x="57" y="92"/>
                  </a:cubicBezTo>
                  <a:cubicBezTo>
                    <a:pt x="57" y="93"/>
                    <a:pt x="57" y="94"/>
                    <a:pt x="57" y="94"/>
                  </a:cubicBezTo>
                  <a:cubicBezTo>
                    <a:pt x="57" y="96"/>
                    <a:pt x="57" y="97"/>
                    <a:pt x="57" y="98"/>
                  </a:cubicBezTo>
                  <a:cubicBezTo>
                    <a:pt x="36" y="98"/>
                    <a:pt x="36" y="98"/>
                    <a:pt x="36" y="98"/>
                  </a:cubicBezTo>
                  <a:cubicBezTo>
                    <a:pt x="35" y="98"/>
                    <a:pt x="33" y="99"/>
                    <a:pt x="33" y="101"/>
                  </a:cubicBezTo>
                  <a:cubicBezTo>
                    <a:pt x="33" y="103"/>
                    <a:pt x="35" y="104"/>
                    <a:pt x="36" y="104"/>
                  </a:cubicBezTo>
                  <a:cubicBezTo>
                    <a:pt x="102" y="104"/>
                    <a:pt x="102" y="104"/>
                    <a:pt x="102" y="104"/>
                  </a:cubicBezTo>
                  <a:cubicBezTo>
                    <a:pt x="103" y="104"/>
                    <a:pt x="105" y="103"/>
                    <a:pt x="105" y="101"/>
                  </a:cubicBezTo>
                  <a:cubicBezTo>
                    <a:pt x="105" y="99"/>
                    <a:pt x="103" y="98"/>
                    <a:pt x="102" y="98"/>
                  </a:cubicBezTo>
                  <a:cubicBezTo>
                    <a:pt x="81" y="98"/>
                    <a:pt x="81" y="98"/>
                    <a:pt x="81" y="98"/>
                  </a:cubicBezTo>
                  <a:cubicBezTo>
                    <a:pt x="81" y="97"/>
                    <a:pt x="81" y="96"/>
                    <a:pt x="81" y="94"/>
                  </a:cubicBezTo>
                  <a:cubicBezTo>
                    <a:pt x="81" y="94"/>
                    <a:pt x="81" y="93"/>
                    <a:pt x="81" y="92"/>
                  </a:cubicBezTo>
                  <a:cubicBezTo>
                    <a:pt x="130" y="92"/>
                    <a:pt x="130" y="92"/>
                    <a:pt x="130" y="92"/>
                  </a:cubicBezTo>
                  <a:cubicBezTo>
                    <a:pt x="134" y="92"/>
                    <a:pt x="138" y="88"/>
                    <a:pt x="138" y="84"/>
                  </a:cubicBezTo>
                  <a:cubicBezTo>
                    <a:pt x="138" y="39"/>
                    <a:pt x="138" y="18"/>
                    <a:pt x="138" y="9"/>
                  </a:cubicBezTo>
                  <a:cubicBezTo>
                    <a:pt x="138" y="4"/>
                    <a:pt x="134" y="0"/>
                    <a:pt x="130" y="0"/>
                  </a:cubicBezTo>
                  <a:close/>
                  <a:moveTo>
                    <a:pt x="131" y="74"/>
                  </a:moveTo>
                  <a:cubicBezTo>
                    <a:pt x="131" y="77"/>
                    <a:pt x="128" y="80"/>
                    <a:pt x="124" y="80"/>
                  </a:cubicBezTo>
                  <a:cubicBezTo>
                    <a:pt x="14" y="80"/>
                    <a:pt x="14" y="80"/>
                    <a:pt x="14" y="80"/>
                  </a:cubicBezTo>
                  <a:cubicBezTo>
                    <a:pt x="10" y="80"/>
                    <a:pt x="7" y="77"/>
                    <a:pt x="7" y="74"/>
                  </a:cubicBezTo>
                  <a:cubicBezTo>
                    <a:pt x="7" y="15"/>
                    <a:pt x="7" y="15"/>
                    <a:pt x="7" y="15"/>
                  </a:cubicBezTo>
                  <a:cubicBezTo>
                    <a:pt x="7" y="11"/>
                    <a:pt x="10" y="8"/>
                    <a:pt x="14" y="8"/>
                  </a:cubicBezTo>
                  <a:cubicBezTo>
                    <a:pt x="124" y="8"/>
                    <a:pt x="124" y="8"/>
                    <a:pt x="124" y="8"/>
                  </a:cubicBezTo>
                  <a:cubicBezTo>
                    <a:pt x="128" y="8"/>
                    <a:pt x="131" y="11"/>
                    <a:pt x="131" y="15"/>
                  </a:cubicBezTo>
                  <a:lnTo>
                    <a:pt x="131" y="74"/>
                  </a:lnTo>
                  <a:close/>
                </a:path>
              </a:pathLst>
            </a:custGeom>
            <a:solidFill>
              <a:srgbClr val="049CD4"/>
            </a:solidFill>
            <a:ln>
              <a:noFill/>
            </a:ln>
            <a:extLst/>
          </p:spPr>
          <p:txBody>
            <a:bodyPr vert="horz" wrap="square" lIns="91436" tIns="45718" rIns="91436" bIns="45718" numCol="1" anchor="t" anchorCtr="0" compatLnSpc="1">
              <a:prstTxWarp prst="textNoShape">
                <a:avLst/>
              </a:prstTxWarp>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74"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
                <a:cs typeface=""/>
              </a:endParaRPr>
            </a:p>
          </p:txBody>
        </p:sp>
        <p:grpSp>
          <p:nvGrpSpPr>
            <p:cNvPr id="300" name="Group 299"/>
            <p:cNvGrpSpPr/>
            <p:nvPr/>
          </p:nvGrpSpPr>
          <p:grpSpPr>
            <a:xfrm>
              <a:off x="5613877" y="1111963"/>
              <a:ext cx="2511715" cy="1450211"/>
              <a:chOff x="863632" y="1274153"/>
              <a:chExt cx="2746234" cy="1585615"/>
            </a:xfrm>
          </p:grpSpPr>
          <p:sp>
            <p:nvSpPr>
              <p:cNvPr id="301" name="TextBox 436"/>
              <p:cNvSpPr txBox="1"/>
              <p:nvPr/>
            </p:nvSpPr>
            <p:spPr>
              <a:xfrm rot="5400000">
                <a:off x="1206079" y="2447715"/>
                <a:ext cx="597663" cy="117780"/>
              </a:xfrm>
              <a:prstGeom prst="rect">
                <a:avLst/>
              </a:prstGeom>
              <a:noFill/>
            </p:spPr>
            <p:txBody>
              <a:bodyPr wrap="non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39393B">
                            <a:alpha val="0"/>
                          </a:srgbClr>
                        </a:gs>
                        <a:gs pos="85000">
                          <a:srgbClr val="39393B"/>
                        </a:gs>
                      </a:gsLst>
                      <a:lin ang="0" scaled="1"/>
                    </a:gradFill>
                    <a:effectLst/>
                    <a:uLnTx/>
                    <a:uFillTx/>
                    <a:latin typeface="Arial"/>
                    <a:ea typeface=""/>
                    <a:cs typeface=""/>
                  </a:rPr>
                  <a:t>01010010110</a:t>
                </a:r>
              </a:p>
            </p:txBody>
          </p:sp>
          <p:sp>
            <p:nvSpPr>
              <p:cNvPr id="302" name="TextBox 436"/>
              <p:cNvSpPr txBox="1"/>
              <p:nvPr/>
            </p:nvSpPr>
            <p:spPr>
              <a:xfrm rot="5400000">
                <a:off x="796635" y="2498142"/>
                <a:ext cx="597663" cy="117780"/>
              </a:xfrm>
              <a:prstGeom prst="rect">
                <a:avLst/>
              </a:prstGeom>
              <a:noFill/>
            </p:spPr>
            <p:txBody>
              <a:bodyPr wrap="non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39393B">
                            <a:alpha val="0"/>
                          </a:srgbClr>
                        </a:gs>
                        <a:gs pos="85000">
                          <a:srgbClr val="39393B"/>
                        </a:gs>
                      </a:gsLst>
                      <a:lin ang="0" scaled="1"/>
                    </a:gradFill>
                    <a:effectLst/>
                    <a:uLnTx/>
                    <a:uFillTx/>
                    <a:latin typeface="Arial"/>
                    <a:ea typeface=""/>
                    <a:cs typeface=""/>
                  </a:rPr>
                  <a:t>01010010110</a:t>
                </a:r>
              </a:p>
            </p:txBody>
          </p:sp>
          <p:sp>
            <p:nvSpPr>
              <p:cNvPr id="303" name="TextBox 436"/>
              <p:cNvSpPr txBox="1"/>
              <p:nvPr/>
            </p:nvSpPr>
            <p:spPr>
              <a:xfrm rot="5400000">
                <a:off x="1603284" y="2491575"/>
                <a:ext cx="597663" cy="117780"/>
              </a:xfrm>
              <a:prstGeom prst="rect">
                <a:avLst/>
              </a:prstGeom>
              <a:noFill/>
            </p:spPr>
            <p:txBody>
              <a:bodyPr wrap="non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39393B">
                            <a:alpha val="0"/>
                          </a:srgbClr>
                        </a:gs>
                        <a:gs pos="85000">
                          <a:srgbClr val="39393B"/>
                        </a:gs>
                      </a:gsLst>
                      <a:lin ang="0" scaled="1"/>
                    </a:gradFill>
                    <a:effectLst/>
                    <a:uLnTx/>
                    <a:uFillTx/>
                    <a:latin typeface="Arial"/>
                    <a:ea typeface=""/>
                    <a:cs typeface=""/>
                  </a:rPr>
                  <a:t>01011010110</a:t>
                </a:r>
              </a:p>
            </p:txBody>
          </p:sp>
          <p:sp>
            <p:nvSpPr>
              <p:cNvPr id="304" name="TextBox 436"/>
              <p:cNvSpPr txBox="1"/>
              <p:nvPr/>
            </p:nvSpPr>
            <p:spPr>
              <a:xfrm rot="5400000">
                <a:off x="2200998" y="2447714"/>
                <a:ext cx="651994" cy="117780"/>
              </a:xfrm>
              <a:prstGeom prst="rect">
                <a:avLst/>
              </a:prstGeom>
              <a:noFill/>
            </p:spPr>
            <p:txBody>
              <a:bodyPr wrap="non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39393B">
                            <a:alpha val="0"/>
                          </a:srgbClr>
                        </a:gs>
                        <a:gs pos="85000">
                          <a:srgbClr val="39393B"/>
                        </a:gs>
                      </a:gsLst>
                      <a:lin ang="0" scaled="1"/>
                    </a:gradFill>
                    <a:effectLst/>
                    <a:uLnTx/>
                    <a:uFillTx/>
                    <a:latin typeface="Arial"/>
                    <a:ea typeface=""/>
                    <a:cs typeface=""/>
                  </a:rPr>
                  <a:t>010010110110</a:t>
                </a:r>
              </a:p>
            </p:txBody>
          </p:sp>
          <p:sp>
            <p:nvSpPr>
              <p:cNvPr id="305" name="TextBox 436"/>
              <p:cNvSpPr txBox="1"/>
              <p:nvPr/>
            </p:nvSpPr>
            <p:spPr>
              <a:xfrm rot="5400000">
                <a:off x="3013478" y="2447714"/>
                <a:ext cx="706328" cy="117780"/>
              </a:xfrm>
              <a:prstGeom prst="rect">
                <a:avLst/>
              </a:prstGeom>
              <a:noFill/>
            </p:spPr>
            <p:txBody>
              <a:bodyPr wrap="non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39393B">
                            <a:alpha val="0"/>
                          </a:srgbClr>
                        </a:gs>
                        <a:gs pos="85000">
                          <a:srgbClr val="39393B"/>
                        </a:gs>
                      </a:gsLst>
                      <a:lin ang="0" scaled="1"/>
                    </a:gradFill>
                    <a:effectLst/>
                    <a:uLnTx/>
                    <a:uFillTx/>
                    <a:latin typeface="Arial"/>
                    <a:ea typeface=""/>
                    <a:cs typeface=""/>
                  </a:rPr>
                  <a:t>0101010010110</a:t>
                </a:r>
              </a:p>
            </p:txBody>
          </p:sp>
          <p:sp>
            <p:nvSpPr>
              <p:cNvPr id="306" name="TextBox 436"/>
              <p:cNvSpPr txBox="1"/>
              <p:nvPr/>
            </p:nvSpPr>
            <p:spPr>
              <a:xfrm rot="5400000">
                <a:off x="2593653" y="2447713"/>
                <a:ext cx="706328" cy="117780"/>
              </a:xfrm>
              <a:prstGeom prst="rect">
                <a:avLst/>
              </a:prstGeom>
              <a:noFill/>
            </p:spPr>
            <p:txBody>
              <a:bodyPr wrap="non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39393B">
                            <a:alpha val="0"/>
                          </a:srgbClr>
                        </a:gs>
                        <a:gs pos="85000">
                          <a:srgbClr val="39393B"/>
                        </a:gs>
                      </a:gsLst>
                      <a:lin ang="0" scaled="1"/>
                    </a:gradFill>
                    <a:effectLst/>
                    <a:uLnTx/>
                    <a:uFillTx/>
                    <a:latin typeface="Arial"/>
                    <a:ea typeface=""/>
                    <a:cs typeface=""/>
                  </a:rPr>
                  <a:t>0101011011110</a:t>
                </a:r>
              </a:p>
            </p:txBody>
          </p:sp>
          <p:grpSp>
            <p:nvGrpSpPr>
              <p:cNvPr id="307" name="Group 306"/>
              <p:cNvGrpSpPr/>
              <p:nvPr/>
            </p:nvGrpSpPr>
            <p:grpSpPr>
              <a:xfrm>
                <a:off x="2594612" y="1274153"/>
                <a:ext cx="325018" cy="325016"/>
                <a:chOff x="7184891" y="1318056"/>
                <a:chExt cx="325018" cy="325016"/>
              </a:xfrm>
            </p:grpSpPr>
            <p:sp>
              <p:nvSpPr>
                <p:cNvPr id="353" name="Oval 352"/>
                <p:cNvSpPr/>
                <p:nvPr/>
              </p:nvSpPr>
              <p:spPr>
                <a:xfrm>
                  <a:off x="7184891" y="1318056"/>
                  <a:ext cx="325018" cy="325016"/>
                </a:xfrm>
                <a:prstGeom prst="ellipse">
                  <a:avLst/>
                </a:prstGeom>
                <a:solidFill>
                  <a:srgbClr val="FFFFFF"/>
                </a:solidFill>
                <a:ln w="3175">
                  <a:solidFill>
                    <a:srgbClr val="FFFFFF">
                      <a:lumMod val="50000"/>
                    </a:srgbClr>
                  </a:solidFill>
                </a:ln>
              </p:spPr>
              <p:txBody>
                <a:bodyPr wrap="square" rtlCol="0" anchor="t">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9393B"/>
                    </a:solidFill>
                    <a:effectLst/>
                    <a:uLnTx/>
                    <a:uFillTx/>
                    <a:latin typeface="Calibri"/>
                    <a:ea typeface="ＭＳ Ｐゴシック" charset="0"/>
                    <a:cs typeface="+mn-cs"/>
                  </a:endParaRPr>
                </a:p>
              </p:txBody>
            </p:sp>
            <p:grpSp>
              <p:nvGrpSpPr>
                <p:cNvPr id="354" name="Group 353"/>
                <p:cNvGrpSpPr/>
                <p:nvPr/>
              </p:nvGrpSpPr>
              <p:grpSpPr>
                <a:xfrm>
                  <a:off x="7255436" y="1388323"/>
                  <a:ext cx="183930" cy="171167"/>
                  <a:chOff x="6766513" y="3527478"/>
                  <a:chExt cx="381848" cy="355353"/>
                </a:xfrm>
                <a:solidFill>
                  <a:srgbClr val="0498D1"/>
                </a:solidFill>
              </p:grpSpPr>
              <p:sp>
                <p:nvSpPr>
                  <p:cNvPr id="355" name="Oval 3"/>
                  <p:cNvSpPr/>
                  <p:nvPr/>
                </p:nvSpPr>
                <p:spPr>
                  <a:xfrm>
                    <a:off x="6785867" y="3527478"/>
                    <a:ext cx="349703" cy="355353"/>
                  </a:xfrm>
                  <a:custGeom>
                    <a:avLst/>
                    <a:gdLst/>
                    <a:ahLst/>
                    <a:cxnLst/>
                    <a:rect l="l" t="t" r="r" b="b"/>
                    <a:pathLst>
                      <a:path w="3135080" h="3185726">
                        <a:moveTo>
                          <a:pt x="2701501" y="2552282"/>
                        </a:moveTo>
                        <a:cubicBezTo>
                          <a:pt x="2591342" y="2552282"/>
                          <a:pt x="2502040" y="2641585"/>
                          <a:pt x="2502041" y="2751743"/>
                        </a:cubicBezTo>
                        <a:cubicBezTo>
                          <a:pt x="2502040" y="2861903"/>
                          <a:pt x="2591343" y="2951204"/>
                          <a:pt x="2701501" y="2951204"/>
                        </a:cubicBezTo>
                        <a:cubicBezTo>
                          <a:pt x="2811660" y="2951204"/>
                          <a:pt x="2900962" y="2861902"/>
                          <a:pt x="2900962" y="2751744"/>
                        </a:cubicBezTo>
                        <a:cubicBezTo>
                          <a:pt x="2900963" y="2641584"/>
                          <a:pt x="2811660" y="2552283"/>
                          <a:pt x="2701501" y="2552282"/>
                        </a:cubicBezTo>
                        <a:close/>
                        <a:moveTo>
                          <a:pt x="752121" y="0"/>
                        </a:moveTo>
                        <a:cubicBezTo>
                          <a:pt x="1167506" y="0"/>
                          <a:pt x="1504242" y="336736"/>
                          <a:pt x="1504242" y="752121"/>
                        </a:cubicBezTo>
                        <a:cubicBezTo>
                          <a:pt x="1504242" y="812575"/>
                          <a:pt x="1497110" y="871364"/>
                          <a:pt x="1481661" y="927218"/>
                        </a:cubicBezTo>
                        <a:lnTo>
                          <a:pt x="2996658" y="2400787"/>
                        </a:lnTo>
                        <a:cubicBezTo>
                          <a:pt x="3177663" y="2576843"/>
                          <a:pt x="3181675" y="2866298"/>
                          <a:pt x="3005619" y="3047303"/>
                        </a:cubicBezTo>
                        <a:cubicBezTo>
                          <a:pt x="2829563" y="3228309"/>
                          <a:pt x="2540109" y="3232321"/>
                          <a:pt x="2359103" y="3056265"/>
                        </a:cubicBezTo>
                        <a:lnTo>
                          <a:pt x="762889" y="1503698"/>
                        </a:lnTo>
                        <a:cubicBezTo>
                          <a:pt x="759310" y="1504217"/>
                          <a:pt x="755719" y="1504242"/>
                          <a:pt x="752121" y="1504242"/>
                        </a:cubicBezTo>
                        <a:cubicBezTo>
                          <a:pt x="336736" y="1504242"/>
                          <a:pt x="0" y="1167506"/>
                          <a:pt x="0" y="752121"/>
                        </a:cubicBezTo>
                        <a:cubicBezTo>
                          <a:pt x="0" y="656205"/>
                          <a:pt x="17955" y="564482"/>
                          <a:pt x="52447" y="480814"/>
                        </a:cubicBezTo>
                        <a:lnTo>
                          <a:pt x="487026" y="920673"/>
                        </a:lnTo>
                        <a:cubicBezTo>
                          <a:pt x="554414" y="988880"/>
                          <a:pt x="664335" y="989544"/>
                          <a:pt x="732542" y="922156"/>
                        </a:cubicBezTo>
                        <a:lnTo>
                          <a:pt x="879355" y="777105"/>
                        </a:lnTo>
                        <a:cubicBezTo>
                          <a:pt x="947562" y="709717"/>
                          <a:pt x="948226" y="599796"/>
                          <a:pt x="880838" y="531589"/>
                        </a:cubicBezTo>
                        <a:lnTo>
                          <a:pt x="429851" y="75123"/>
                        </a:lnTo>
                        <a:cubicBezTo>
                          <a:pt x="526725" y="26148"/>
                          <a:pt x="636369" y="0"/>
                          <a:pt x="752121" y="0"/>
                        </a:cubicBezTo>
                        <a:close/>
                      </a:path>
                    </a:pathLst>
                  </a:custGeom>
                  <a:solidFill>
                    <a:srgbClr val="049CD4"/>
                  </a:solidFill>
                  <a:ln w="25400" cap="flat" cmpd="sng" algn="ctr">
                    <a:noFill/>
                    <a:prstDash val="solid"/>
                  </a:ln>
                  <a:effectLst/>
                </p:spPr>
                <p:txBody>
                  <a:bodyPr wrap="square"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39393B"/>
                      </a:solidFill>
                      <a:effectLst/>
                      <a:uLnTx/>
                      <a:uFillTx/>
                      <a:latin typeface="Arial"/>
                      <a:ea typeface=""/>
                      <a:cs typeface=""/>
                    </a:endParaRPr>
                  </a:p>
                </p:txBody>
              </p:sp>
              <p:sp>
                <p:nvSpPr>
                  <p:cNvPr id="356" name="Rounded Rectangle 10"/>
                  <p:cNvSpPr/>
                  <p:nvPr/>
                </p:nvSpPr>
                <p:spPr>
                  <a:xfrm rot="8100025">
                    <a:off x="6978896" y="3560981"/>
                    <a:ext cx="169465" cy="81064"/>
                  </a:xfrm>
                  <a:custGeom>
                    <a:avLst/>
                    <a:gdLst/>
                    <a:ahLst/>
                    <a:cxnLst/>
                    <a:rect l="l" t="t" r="r" b="b"/>
                    <a:pathLst>
                      <a:path w="1519250" h="726732">
                        <a:moveTo>
                          <a:pt x="106427" y="620303"/>
                        </a:moveTo>
                        <a:cubicBezTo>
                          <a:pt x="40671" y="554548"/>
                          <a:pt x="1" y="463706"/>
                          <a:pt x="0" y="363365"/>
                        </a:cubicBezTo>
                        <a:lnTo>
                          <a:pt x="0" y="363366"/>
                        </a:lnTo>
                        <a:cubicBezTo>
                          <a:pt x="0" y="162684"/>
                          <a:pt x="162684" y="0"/>
                          <a:pt x="363366" y="0"/>
                        </a:cubicBezTo>
                        <a:lnTo>
                          <a:pt x="1519244" y="0"/>
                        </a:lnTo>
                        <a:lnTo>
                          <a:pt x="1519246" y="164518"/>
                        </a:lnTo>
                        <a:lnTo>
                          <a:pt x="320998" y="171800"/>
                        </a:lnTo>
                        <a:cubicBezTo>
                          <a:pt x="298274" y="171938"/>
                          <a:pt x="279963" y="190473"/>
                          <a:pt x="280101" y="213197"/>
                        </a:cubicBezTo>
                        <a:cubicBezTo>
                          <a:pt x="280170" y="224560"/>
                          <a:pt x="284838" y="234819"/>
                          <a:pt x="292330" y="242220"/>
                        </a:cubicBezTo>
                        <a:cubicBezTo>
                          <a:pt x="299821" y="249621"/>
                          <a:pt x="310136" y="254164"/>
                          <a:pt x="321498" y="254095"/>
                        </a:cubicBezTo>
                        <a:lnTo>
                          <a:pt x="1519246" y="246816"/>
                        </a:lnTo>
                        <a:lnTo>
                          <a:pt x="1519248" y="455150"/>
                        </a:lnTo>
                        <a:lnTo>
                          <a:pt x="327393" y="462393"/>
                        </a:lnTo>
                        <a:cubicBezTo>
                          <a:pt x="304668" y="462531"/>
                          <a:pt x="286357" y="481065"/>
                          <a:pt x="286496" y="503790"/>
                        </a:cubicBezTo>
                        <a:cubicBezTo>
                          <a:pt x="286565" y="515152"/>
                          <a:pt x="291233" y="525411"/>
                          <a:pt x="298724" y="532812"/>
                        </a:cubicBezTo>
                        <a:cubicBezTo>
                          <a:pt x="306216" y="540213"/>
                          <a:pt x="316531" y="544756"/>
                          <a:pt x="327893" y="544687"/>
                        </a:cubicBezTo>
                        <a:lnTo>
                          <a:pt x="1519248" y="537447"/>
                        </a:lnTo>
                        <a:lnTo>
                          <a:pt x="1519250" y="726732"/>
                        </a:lnTo>
                        <a:lnTo>
                          <a:pt x="363366" y="726731"/>
                        </a:lnTo>
                        <a:cubicBezTo>
                          <a:pt x="263025" y="726731"/>
                          <a:pt x="172184" y="686060"/>
                          <a:pt x="106427" y="620303"/>
                        </a:cubicBezTo>
                        <a:close/>
                      </a:path>
                    </a:pathLst>
                  </a:custGeom>
                  <a:solidFill>
                    <a:srgbClr val="049CD4"/>
                  </a:solidFill>
                  <a:ln w="25400" cap="flat" cmpd="sng" algn="ctr">
                    <a:noFill/>
                    <a:prstDash val="solid"/>
                  </a:ln>
                  <a:effectLst/>
                </p:spPr>
                <p:txBody>
                  <a:bodyPr wrap="square"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39393B"/>
                      </a:solidFill>
                      <a:effectLst/>
                      <a:uLnTx/>
                      <a:uFillTx/>
                      <a:latin typeface="Arial"/>
                      <a:ea typeface=""/>
                      <a:cs typeface=""/>
                    </a:endParaRPr>
                  </a:p>
                </p:txBody>
              </p:sp>
              <p:sp>
                <p:nvSpPr>
                  <p:cNvPr id="357" name="Rectangle 5"/>
                  <p:cNvSpPr/>
                  <p:nvPr/>
                </p:nvSpPr>
                <p:spPr>
                  <a:xfrm rot="2816113">
                    <a:off x="6824772" y="3726485"/>
                    <a:ext cx="55482" cy="172000"/>
                  </a:xfrm>
                  <a:custGeom>
                    <a:avLst/>
                    <a:gdLst/>
                    <a:ahLst/>
                    <a:cxnLst/>
                    <a:rect l="l" t="t" r="r" b="b"/>
                    <a:pathLst>
                      <a:path w="497395" h="1541975">
                        <a:moveTo>
                          <a:pt x="106394" y="0"/>
                        </a:moveTo>
                        <a:lnTo>
                          <a:pt x="367651" y="0"/>
                        </a:lnTo>
                        <a:lnTo>
                          <a:pt x="367651" y="662785"/>
                        </a:lnTo>
                        <a:lnTo>
                          <a:pt x="497395" y="872857"/>
                        </a:lnTo>
                        <a:lnTo>
                          <a:pt x="384631" y="1531430"/>
                        </a:lnTo>
                        <a:lnTo>
                          <a:pt x="171916" y="1541975"/>
                        </a:lnTo>
                        <a:lnTo>
                          <a:pt x="0" y="873292"/>
                        </a:lnTo>
                        <a:lnTo>
                          <a:pt x="106394" y="700350"/>
                        </a:lnTo>
                        <a:close/>
                      </a:path>
                    </a:pathLst>
                  </a:custGeom>
                  <a:solidFill>
                    <a:srgbClr val="049CD4"/>
                  </a:solidFill>
                  <a:ln w="25400" cap="flat" cmpd="sng" algn="ctr">
                    <a:noFill/>
                    <a:prstDash val="solid"/>
                  </a:ln>
                  <a:effectLst/>
                </p:spPr>
                <p:txBody>
                  <a:bodyPr wrap="square"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39393B"/>
                      </a:solidFill>
                      <a:effectLst/>
                      <a:uLnTx/>
                      <a:uFillTx/>
                      <a:latin typeface="Arial"/>
                      <a:ea typeface=""/>
                      <a:cs typeface=""/>
                    </a:endParaRPr>
                  </a:p>
                </p:txBody>
              </p:sp>
            </p:grpSp>
          </p:grpSp>
          <p:grpSp>
            <p:nvGrpSpPr>
              <p:cNvPr id="308" name="Group 307"/>
              <p:cNvGrpSpPr/>
              <p:nvPr/>
            </p:nvGrpSpPr>
            <p:grpSpPr>
              <a:xfrm>
                <a:off x="863632" y="1338779"/>
                <a:ext cx="328396" cy="328395"/>
                <a:chOff x="6305388" y="1563653"/>
                <a:chExt cx="328396" cy="328395"/>
              </a:xfrm>
            </p:grpSpPr>
            <p:sp>
              <p:nvSpPr>
                <p:cNvPr id="348" name="Oval 347"/>
                <p:cNvSpPr/>
                <p:nvPr/>
              </p:nvSpPr>
              <p:spPr>
                <a:xfrm>
                  <a:off x="6305388" y="1563653"/>
                  <a:ext cx="328396" cy="328395"/>
                </a:xfrm>
                <a:prstGeom prst="ellipse">
                  <a:avLst/>
                </a:prstGeom>
                <a:solidFill>
                  <a:srgbClr val="FFFFFF"/>
                </a:solidFill>
                <a:ln w="3175">
                  <a:solidFill>
                    <a:srgbClr val="FFFFFF">
                      <a:lumMod val="50000"/>
                    </a:srgbClr>
                  </a:solidFill>
                </a:ln>
              </p:spPr>
              <p:txBody>
                <a:bodyPr wrap="square" rtlCol="0" anchor="t">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9393B"/>
                    </a:solidFill>
                    <a:effectLst/>
                    <a:uLnTx/>
                    <a:uFillTx/>
                    <a:latin typeface="Calibri"/>
                    <a:ea typeface="ＭＳ Ｐゴシック" charset="0"/>
                    <a:cs typeface="+mn-cs"/>
                  </a:endParaRPr>
                </a:p>
              </p:txBody>
            </p:sp>
            <p:grpSp>
              <p:nvGrpSpPr>
                <p:cNvPr id="349" name="Group 348"/>
                <p:cNvGrpSpPr/>
                <p:nvPr/>
              </p:nvGrpSpPr>
              <p:grpSpPr>
                <a:xfrm>
                  <a:off x="6365451" y="1641573"/>
                  <a:ext cx="215160" cy="216353"/>
                  <a:chOff x="1257300" y="-3558624"/>
                  <a:chExt cx="3443288" cy="3462372"/>
                </a:xfrm>
                <a:solidFill>
                  <a:srgbClr val="0498D1"/>
                </a:solidFill>
              </p:grpSpPr>
              <p:sp>
                <p:nvSpPr>
                  <p:cNvPr id="350" name="Freeform: Shape 130"/>
                  <p:cNvSpPr/>
                  <p:nvPr/>
                </p:nvSpPr>
                <p:spPr>
                  <a:xfrm>
                    <a:off x="1257300" y="-3558624"/>
                    <a:ext cx="3443288" cy="2825230"/>
                  </a:xfrm>
                  <a:custGeom>
                    <a:avLst/>
                    <a:gdLst>
                      <a:gd name="connsiteX0" fmla="*/ 268628 w 3443288"/>
                      <a:gd name="connsiteY0" fmla="*/ 317469 h 2825230"/>
                      <a:gd name="connsiteX1" fmla="*/ 268628 w 3443288"/>
                      <a:gd name="connsiteY1" fmla="*/ 2507766 h 2825230"/>
                      <a:gd name="connsiteX2" fmla="*/ 3174660 w 3443288"/>
                      <a:gd name="connsiteY2" fmla="*/ 2507766 h 2825230"/>
                      <a:gd name="connsiteX3" fmla="*/ 3174660 w 3443288"/>
                      <a:gd name="connsiteY3" fmla="*/ 317469 h 2825230"/>
                      <a:gd name="connsiteX4" fmla="*/ 326738 w 3443288"/>
                      <a:gd name="connsiteY4" fmla="*/ 0 h 2825230"/>
                      <a:gd name="connsiteX5" fmla="*/ 3116550 w 3443288"/>
                      <a:gd name="connsiteY5" fmla="*/ 0 h 2825230"/>
                      <a:gd name="connsiteX6" fmla="*/ 3443288 w 3443288"/>
                      <a:gd name="connsiteY6" fmla="*/ 326738 h 2825230"/>
                      <a:gd name="connsiteX7" fmla="*/ 3443288 w 3443288"/>
                      <a:gd name="connsiteY7" fmla="*/ 2498492 h 2825230"/>
                      <a:gd name="connsiteX8" fmla="*/ 3116550 w 3443288"/>
                      <a:gd name="connsiteY8" fmla="*/ 2825230 h 2825230"/>
                      <a:gd name="connsiteX9" fmla="*/ 326738 w 3443288"/>
                      <a:gd name="connsiteY9" fmla="*/ 2825230 h 2825230"/>
                      <a:gd name="connsiteX10" fmla="*/ 0 w 3443288"/>
                      <a:gd name="connsiteY10" fmla="*/ 2498492 h 2825230"/>
                      <a:gd name="connsiteX11" fmla="*/ 0 w 3443288"/>
                      <a:gd name="connsiteY11" fmla="*/ 326738 h 2825230"/>
                      <a:gd name="connsiteX12" fmla="*/ 326738 w 3443288"/>
                      <a:gd name="connsiteY12" fmla="*/ 0 h 282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43288" h="2825230">
                        <a:moveTo>
                          <a:pt x="268628" y="317469"/>
                        </a:moveTo>
                        <a:lnTo>
                          <a:pt x="268628" y="2507766"/>
                        </a:lnTo>
                        <a:lnTo>
                          <a:pt x="3174660" y="2507766"/>
                        </a:lnTo>
                        <a:lnTo>
                          <a:pt x="3174660" y="317469"/>
                        </a:lnTo>
                        <a:close/>
                        <a:moveTo>
                          <a:pt x="326738" y="0"/>
                        </a:moveTo>
                        <a:lnTo>
                          <a:pt x="3116550" y="0"/>
                        </a:lnTo>
                        <a:cubicBezTo>
                          <a:pt x="3297002" y="0"/>
                          <a:pt x="3443288" y="146286"/>
                          <a:pt x="3443288" y="326738"/>
                        </a:cubicBezTo>
                        <a:lnTo>
                          <a:pt x="3443288" y="2498492"/>
                        </a:lnTo>
                        <a:cubicBezTo>
                          <a:pt x="3443288" y="2678944"/>
                          <a:pt x="3297002" y="2825230"/>
                          <a:pt x="3116550" y="2825230"/>
                        </a:cubicBezTo>
                        <a:lnTo>
                          <a:pt x="326738" y="2825230"/>
                        </a:lnTo>
                        <a:cubicBezTo>
                          <a:pt x="146286" y="2825230"/>
                          <a:pt x="0" y="2678944"/>
                          <a:pt x="0" y="2498492"/>
                        </a:cubicBezTo>
                        <a:lnTo>
                          <a:pt x="0" y="326738"/>
                        </a:lnTo>
                        <a:cubicBezTo>
                          <a:pt x="0" y="146286"/>
                          <a:pt x="146286" y="0"/>
                          <a:pt x="326738" y="0"/>
                        </a:cubicBezTo>
                        <a:close/>
                      </a:path>
                    </a:pathLst>
                  </a:custGeom>
                  <a:solidFill>
                    <a:srgbClr val="049CD4"/>
                  </a:solidFill>
                  <a:ln w="25400" cap="flat" cmpd="sng" algn="ctr">
                    <a:noFill/>
                    <a:prstDash val="solid"/>
                  </a:ln>
                  <a:effectLst/>
                </p:spPr>
                <p:txBody>
                  <a:bodyPr wrap="square"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39393B"/>
                      </a:solidFill>
                      <a:effectLst/>
                      <a:uLnTx/>
                      <a:uFillTx/>
                      <a:latin typeface="Arial"/>
                      <a:ea typeface=""/>
                      <a:cs typeface=""/>
                    </a:endParaRPr>
                  </a:p>
                </p:txBody>
              </p:sp>
              <p:sp>
                <p:nvSpPr>
                  <p:cNvPr id="351" name="Freeform: Shape 131"/>
                  <p:cNvSpPr/>
                  <p:nvPr/>
                </p:nvSpPr>
                <p:spPr>
                  <a:xfrm>
                    <a:off x="1372854" y="-944881"/>
                    <a:ext cx="3167272" cy="848629"/>
                  </a:xfrm>
                  <a:custGeom>
                    <a:avLst/>
                    <a:gdLst>
                      <a:gd name="connsiteX0" fmla="*/ 1469867 w 3167277"/>
                      <a:gd name="connsiteY0" fmla="*/ 0 h 848628"/>
                      <a:gd name="connsiteX1" fmla="*/ 1469871 w 3167277"/>
                      <a:gd name="connsiteY1" fmla="*/ 8 h 848628"/>
                      <a:gd name="connsiteX2" fmla="*/ 1698960 w 3167277"/>
                      <a:gd name="connsiteY2" fmla="*/ 8 h 848628"/>
                      <a:gd name="connsiteX3" fmla="*/ 1698576 w 3167277"/>
                      <a:gd name="connsiteY3" fmla="*/ 673 h 848628"/>
                      <a:gd name="connsiteX4" fmla="*/ 3167277 w 3167277"/>
                      <a:gd name="connsiteY4" fmla="*/ 848628 h 848628"/>
                      <a:gd name="connsiteX5" fmla="*/ 2698413 w 3167277"/>
                      <a:gd name="connsiteY5" fmla="*/ 848628 h 848628"/>
                      <a:gd name="connsiteX6" fmla="*/ 1583639 w 3167277"/>
                      <a:gd name="connsiteY6" fmla="*/ 205013 h 848628"/>
                      <a:gd name="connsiteX7" fmla="*/ 468864 w 3167277"/>
                      <a:gd name="connsiteY7" fmla="*/ 848628 h 848628"/>
                      <a:gd name="connsiteX8" fmla="*/ 0 w 3167277"/>
                      <a:gd name="connsiteY8" fmla="*/ 848628 h 848628"/>
                      <a:gd name="connsiteX9" fmla="*/ 1468449 w 3167277"/>
                      <a:gd name="connsiteY9" fmla="*/ 819 h 848628"/>
                      <a:gd name="connsiteX10" fmla="*/ 1467980 w 3167277"/>
                      <a:gd name="connsiteY10" fmla="*/ 8 h 848628"/>
                      <a:gd name="connsiteX11" fmla="*/ 1469854 w 3167277"/>
                      <a:gd name="connsiteY11" fmla="*/ 8 h 84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67277" h="848628">
                        <a:moveTo>
                          <a:pt x="1469867" y="0"/>
                        </a:moveTo>
                        <a:lnTo>
                          <a:pt x="1469871" y="8"/>
                        </a:lnTo>
                        <a:lnTo>
                          <a:pt x="1698960" y="8"/>
                        </a:lnTo>
                        <a:lnTo>
                          <a:pt x="1698576" y="673"/>
                        </a:lnTo>
                        <a:lnTo>
                          <a:pt x="3167277" y="848628"/>
                        </a:lnTo>
                        <a:lnTo>
                          <a:pt x="2698413" y="848628"/>
                        </a:lnTo>
                        <a:lnTo>
                          <a:pt x="1583639" y="205013"/>
                        </a:lnTo>
                        <a:lnTo>
                          <a:pt x="468864" y="848628"/>
                        </a:lnTo>
                        <a:lnTo>
                          <a:pt x="0" y="848628"/>
                        </a:lnTo>
                        <a:lnTo>
                          <a:pt x="1468449" y="819"/>
                        </a:lnTo>
                        <a:lnTo>
                          <a:pt x="1467980" y="8"/>
                        </a:lnTo>
                        <a:lnTo>
                          <a:pt x="1469854" y="8"/>
                        </a:lnTo>
                        <a:close/>
                      </a:path>
                    </a:pathLst>
                  </a:custGeom>
                  <a:solidFill>
                    <a:srgbClr val="049CD4"/>
                  </a:solidFill>
                  <a:ln w="25400" cap="flat" cmpd="sng" algn="ctr">
                    <a:noFill/>
                    <a:prstDash val="solid"/>
                  </a:ln>
                  <a:effectLst/>
                </p:spPr>
                <p:txBody>
                  <a:bodyPr wrap="square"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39393B"/>
                      </a:solidFill>
                      <a:effectLst/>
                      <a:uLnTx/>
                      <a:uFillTx/>
                      <a:latin typeface="Arial"/>
                      <a:ea typeface=""/>
                      <a:cs typeface=""/>
                    </a:endParaRPr>
                  </a:p>
                </p:txBody>
              </p:sp>
              <p:sp>
                <p:nvSpPr>
                  <p:cNvPr id="352" name="Isosceles Triangle 132"/>
                  <p:cNvSpPr/>
                  <p:nvPr/>
                </p:nvSpPr>
                <p:spPr>
                  <a:xfrm rot="5400000">
                    <a:off x="2459134" y="-2718503"/>
                    <a:ext cx="1314524" cy="1133208"/>
                  </a:xfrm>
                  <a:prstGeom prst="triangle">
                    <a:avLst/>
                  </a:prstGeom>
                  <a:solidFill>
                    <a:srgbClr val="049CD4"/>
                  </a:solidFill>
                  <a:ln w="25400" cap="flat" cmpd="sng" algn="ctr">
                    <a:noFill/>
                    <a:prstDash val="solid"/>
                  </a:ln>
                  <a:effectLst/>
                </p:spPr>
                <p:txBody>
                  <a:bodyPr wrap="square" rtlCol="0" anchor="ctr">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39393B"/>
                      </a:solidFill>
                      <a:effectLst/>
                      <a:uLnTx/>
                      <a:uFillTx/>
                      <a:latin typeface="Arial"/>
                      <a:ea typeface=""/>
                      <a:cs typeface=""/>
                    </a:endParaRPr>
                  </a:p>
                </p:txBody>
              </p:sp>
            </p:grpSp>
          </p:grpSp>
          <p:grpSp>
            <p:nvGrpSpPr>
              <p:cNvPr id="309" name="Group 308"/>
              <p:cNvGrpSpPr/>
              <p:nvPr/>
            </p:nvGrpSpPr>
            <p:grpSpPr>
              <a:xfrm>
                <a:off x="871490" y="1927788"/>
                <a:ext cx="328396" cy="328395"/>
                <a:chOff x="6437071" y="2048280"/>
                <a:chExt cx="328396" cy="328395"/>
              </a:xfrm>
            </p:grpSpPr>
            <p:sp>
              <p:nvSpPr>
                <p:cNvPr id="346" name="Oval 345"/>
                <p:cNvSpPr/>
                <p:nvPr/>
              </p:nvSpPr>
              <p:spPr>
                <a:xfrm>
                  <a:off x="6437071" y="2048280"/>
                  <a:ext cx="328396" cy="328395"/>
                </a:xfrm>
                <a:prstGeom prst="ellipse">
                  <a:avLst/>
                </a:prstGeom>
                <a:solidFill>
                  <a:srgbClr val="FFFFFF"/>
                </a:solidFill>
                <a:ln w="3175">
                  <a:solidFill>
                    <a:srgbClr val="FFFFFF">
                      <a:lumMod val="50000"/>
                    </a:srgbClr>
                  </a:solidFill>
                </a:ln>
              </p:spPr>
              <p:txBody>
                <a:bodyPr wrap="square" rtlCol="0" anchor="t">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9393B"/>
                    </a:solidFill>
                    <a:effectLst/>
                    <a:uLnTx/>
                    <a:uFillTx/>
                    <a:latin typeface="Calibri"/>
                    <a:ea typeface="ＭＳ Ｐゴシック" charset="0"/>
                    <a:cs typeface="+mn-cs"/>
                  </a:endParaRPr>
                </a:p>
              </p:txBody>
            </p:sp>
            <p:sp>
              <p:nvSpPr>
                <p:cNvPr id="347" name="Freeform 7"/>
                <p:cNvSpPr>
                  <a:spLocks noEditPoints="1"/>
                </p:cNvSpPr>
                <p:nvPr/>
              </p:nvSpPr>
              <p:spPr bwMode="auto">
                <a:xfrm>
                  <a:off x="6548180" y="2126198"/>
                  <a:ext cx="106180" cy="172561"/>
                </a:xfrm>
                <a:custGeom>
                  <a:avLst/>
                  <a:gdLst/>
                  <a:ahLst/>
                  <a:cxnLst>
                    <a:cxn ang="0">
                      <a:pos x="132" y="0"/>
                    </a:cxn>
                    <a:cxn ang="0">
                      <a:pos x="130" y="0"/>
                    </a:cxn>
                    <a:cxn ang="0">
                      <a:pos x="0" y="124"/>
                    </a:cxn>
                    <a:cxn ang="0">
                      <a:pos x="46" y="224"/>
                    </a:cxn>
                    <a:cxn ang="0">
                      <a:pos x="55" y="248"/>
                    </a:cxn>
                    <a:cxn ang="0">
                      <a:pos x="60" y="272"/>
                    </a:cxn>
                    <a:cxn ang="0">
                      <a:pos x="76" y="310"/>
                    </a:cxn>
                    <a:cxn ang="0">
                      <a:pos x="185" y="310"/>
                    </a:cxn>
                    <a:cxn ang="0">
                      <a:pos x="202" y="272"/>
                    </a:cxn>
                    <a:cxn ang="0">
                      <a:pos x="216" y="224"/>
                    </a:cxn>
                    <a:cxn ang="0">
                      <a:pos x="239" y="185"/>
                    </a:cxn>
                    <a:cxn ang="0">
                      <a:pos x="262" y="124"/>
                    </a:cxn>
                    <a:cxn ang="0">
                      <a:pos x="132" y="0"/>
                    </a:cxn>
                    <a:cxn ang="0">
                      <a:pos x="94" y="74"/>
                    </a:cxn>
                    <a:cxn ang="0">
                      <a:pos x="94" y="74"/>
                    </a:cxn>
                    <a:cxn ang="0">
                      <a:pos x="70" y="111"/>
                    </a:cxn>
                    <a:cxn ang="0">
                      <a:pos x="70" y="111"/>
                    </a:cxn>
                    <a:cxn ang="0">
                      <a:pos x="54" y="127"/>
                    </a:cxn>
                    <a:cxn ang="0">
                      <a:pos x="38" y="111"/>
                    </a:cxn>
                    <a:cxn ang="0">
                      <a:pos x="38" y="108"/>
                    </a:cxn>
                    <a:cxn ang="0">
                      <a:pos x="85" y="43"/>
                    </a:cxn>
                    <a:cxn ang="0">
                      <a:pos x="89" y="43"/>
                    </a:cxn>
                    <a:cxn ang="0">
                      <a:pos x="105" y="59"/>
                    </a:cxn>
                    <a:cxn ang="0">
                      <a:pos x="94" y="74"/>
                    </a:cxn>
                    <a:cxn ang="0">
                      <a:pos x="170" y="370"/>
                    </a:cxn>
                    <a:cxn ang="0">
                      <a:pos x="92" y="370"/>
                    </a:cxn>
                    <a:cxn ang="0">
                      <a:pos x="74" y="384"/>
                    </a:cxn>
                    <a:cxn ang="0">
                      <a:pos x="92" y="399"/>
                    </a:cxn>
                    <a:cxn ang="0">
                      <a:pos x="170" y="399"/>
                    </a:cxn>
                    <a:cxn ang="0">
                      <a:pos x="187" y="384"/>
                    </a:cxn>
                    <a:cxn ang="0">
                      <a:pos x="170" y="370"/>
                    </a:cxn>
                    <a:cxn ang="0">
                      <a:pos x="119" y="426"/>
                    </a:cxn>
                    <a:cxn ang="0">
                      <a:pos x="143" y="426"/>
                    </a:cxn>
                    <a:cxn ang="0">
                      <a:pos x="158" y="414"/>
                    </a:cxn>
                    <a:cxn ang="0">
                      <a:pos x="103" y="414"/>
                    </a:cxn>
                    <a:cxn ang="0">
                      <a:pos x="119" y="426"/>
                    </a:cxn>
                    <a:cxn ang="0">
                      <a:pos x="172" y="326"/>
                    </a:cxn>
                    <a:cxn ang="0">
                      <a:pos x="90" y="326"/>
                    </a:cxn>
                    <a:cxn ang="0">
                      <a:pos x="72" y="341"/>
                    </a:cxn>
                    <a:cxn ang="0">
                      <a:pos x="90" y="356"/>
                    </a:cxn>
                    <a:cxn ang="0">
                      <a:pos x="172" y="356"/>
                    </a:cxn>
                    <a:cxn ang="0">
                      <a:pos x="190" y="341"/>
                    </a:cxn>
                    <a:cxn ang="0">
                      <a:pos x="172" y="326"/>
                    </a:cxn>
                  </a:cxnLst>
                  <a:rect l="0" t="0" r="r" b="b"/>
                  <a:pathLst>
                    <a:path w="262" h="426">
                      <a:moveTo>
                        <a:pt x="132" y="0"/>
                      </a:moveTo>
                      <a:cubicBezTo>
                        <a:pt x="131" y="0"/>
                        <a:pt x="131" y="0"/>
                        <a:pt x="130" y="0"/>
                      </a:cubicBezTo>
                      <a:cubicBezTo>
                        <a:pt x="58" y="0"/>
                        <a:pt x="0" y="56"/>
                        <a:pt x="0" y="124"/>
                      </a:cubicBezTo>
                      <a:cubicBezTo>
                        <a:pt x="0" y="163"/>
                        <a:pt x="30" y="190"/>
                        <a:pt x="46" y="224"/>
                      </a:cubicBezTo>
                      <a:cubicBezTo>
                        <a:pt x="51" y="233"/>
                        <a:pt x="53" y="241"/>
                        <a:pt x="55" y="248"/>
                      </a:cubicBezTo>
                      <a:cubicBezTo>
                        <a:pt x="58" y="257"/>
                        <a:pt x="59" y="264"/>
                        <a:pt x="60" y="272"/>
                      </a:cubicBezTo>
                      <a:cubicBezTo>
                        <a:pt x="62" y="287"/>
                        <a:pt x="63" y="301"/>
                        <a:pt x="76" y="310"/>
                      </a:cubicBezTo>
                      <a:cubicBezTo>
                        <a:pt x="185" y="310"/>
                        <a:pt x="185" y="310"/>
                        <a:pt x="185" y="310"/>
                      </a:cubicBezTo>
                      <a:cubicBezTo>
                        <a:pt x="199" y="301"/>
                        <a:pt x="200" y="287"/>
                        <a:pt x="202" y="272"/>
                      </a:cubicBezTo>
                      <a:cubicBezTo>
                        <a:pt x="204" y="258"/>
                        <a:pt x="206" y="245"/>
                        <a:pt x="216" y="224"/>
                      </a:cubicBezTo>
                      <a:cubicBezTo>
                        <a:pt x="222" y="210"/>
                        <a:pt x="231" y="198"/>
                        <a:pt x="239" y="185"/>
                      </a:cubicBezTo>
                      <a:cubicBezTo>
                        <a:pt x="251" y="166"/>
                        <a:pt x="262" y="147"/>
                        <a:pt x="262" y="124"/>
                      </a:cubicBezTo>
                      <a:cubicBezTo>
                        <a:pt x="262" y="56"/>
                        <a:pt x="203" y="0"/>
                        <a:pt x="132" y="0"/>
                      </a:cubicBezTo>
                      <a:close/>
                      <a:moveTo>
                        <a:pt x="94" y="74"/>
                      </a:moveTo>
                      <a:cubicBezTo>
                        <a:pt x="94" y="74"/>
                        <a:pt x="94" y="74"/>
                        <a:pt x="94" y="74"/>
                      </a:cubicBezTo>
                      <a:cubicBezTo>
                        <a:pt x="78" y="78"/>
                        <a:pt x="71" y="97"/>
                        <a:pt x="70" y="111"/>
                      </a:cubicBezTo>
                      <a:cubicBezTo>
                        <a:pt x="70" y="111"/>
                        <a:pt x="70" y="111"/>
                        <a:pt x="70" y="111"/>
                      </a:cubicBezTo>
                      <a:cubicBezTo>
                        <a:pt x="70" y="119"/>
                        <a:pt x="63" y="127"/>
                        <a:pt x="54" y="127"/>
                      </a:cubicBezTo>
                      <a:cubicBezTo>
                        <a:pt x="45" y="127"/>
                        <a:pt x="38" y="119"/>
                        <a:pt x="38" y="111"/>
                      </a:cubicBezTo>
                      <a:cubicBezTo>
                        <a:pt x="38" y="110"/>
                        <a:pt x="38" y="108"/>
                        <a:pt x="38" y="108"/>
                      </a:cubicBezTo>
                      <a:cubicBezTo>
                        <a:pt x="40" y="76"/>
                        <a:pt x="59" y="51"/>
                        <a:pt x="85" y="43"/>
                      </a:cubicBezTo>
                      <a:cubicBezTo>
                        <a:pt x="85" y="43"/>
                        <a:pt x="88" y="43"/>
                        <a:pt x="89" y="43"/>
                      </a:cubicBezTo>
                      <a:cubicBezTo>
                        <a:pt x="98" y="43"/>
                        <a:pt x="105" y="50"/>
                        <a:pt x="105" y="59"/>
                      </a:cubicBezTo>
                      <a:cubicBezTo>
                        <a:pt x="105" y="66"/>
                        <a:pt x="101" y="71"/>
                        <a:pt x="94" y="74"/>
                      </a:cubicBezTo>
                      <a:close/>
                      <a:moveTo>
                        <a:pt x="170" y="370"/>
                      </a:moveTo>
                      <a:cubicBezTo>
                        <a:pt x="92" y="370"/>
                        <a:pt x="92" y="370"/>
                        <a:pt x="92" y="370"/>
                      </a:cubicBezTo>
                      <a:cubicBezTo>
                        <a:pt x="82" y="370"/>
                        <a:pt x="74" y="376"/>
                        <a:pt x="74" y="384"/>
                      </a:cubicBezTo>
                      <a:cubicBezTo>
                        <a:pt x="74" y="392"/>
                        <a:pt x="82" y="399"/>
                        <a:pt x="92" y="399"/>
                      </a:cubicBezTo>
                      <a:cubicBezTo>
                        <a:pt x="170" y="399"/>
                        <a:pt x="170" y="399"/>
                        <a:pt x="170" y="399"/>
                      </a:cubicBezTo>
                      <a:cubicBezTo>
                        <a:pt x="180" y="399"/>
                        <a:pt x="187" y="392"/>
                        <a:pt x="187" y="384"/>
                      </a:cubicBezTo>
                      <a:cubicBezTo>
                        <a:pt x="187" y="376"/>
                        <a:pt x="180" y="370"/>
                        <a:pt x="170" y="370"/>
                      </a:cubicBezTo>
                      <a:close/>
                      <a:moveTo>
                        <a:pt x="119" y="426"/>
                      </a:moveTo>
                      <a:cubicBezTo>
                        <a:pt x="143" y="426"/>
                        <a:pt x="143" y="426"/>
                        <a:pt x="143" y="426"/>
                      </a:cubicBezTo>
                      <a:cubicBezTo>
                        <a:pt x="151" y="426"/>
                        <a:pt x="158" y="421"/>
                        <a:pt x="158" y="414"/>
                      </a:cubicBezTo>
                      <a:cubicBezTo>
                        <a:pt x="103" y="414"/>
                        <a:pt x="103" y="414"/>
                        <a:pt x="103" y="414"/>
                      </a:cubicBezTo>
                      <a:cubicBezTo>
                        <a:pt x="104" y="421"/>
                        <a:pt x="111" y="426"/>
                        <a:pt x="119" y="426"/>
                      </a:cubicBezTo>
                      <a:close/>
                      <a:moveTo>
                        <a:pt x="172" y="326"/>
                      </a:moveTo>
                      <a:cubicBezTo>
                        <a:pt x="90" y="326"/>
                        <a:pt x="90" y="326"/>
                        <a:pt x="90" y="326"/>
                      </a:cubicBezTo>
                      <a:cubicBezTo>
                        <a:pt x="80" y="326"/>
                        <a:pt x="72" y="333"/>
                        <a:pt x="72" y="341"/>
                      </a:cubicBezTo>
                      <a:cubicBezTo>
                        <a:pt x="72" y="349"/>
                        <a:pt x="80" y="356"/>
                        <a:pt x="90" y="356"/>
                      </a:cubicBezTo>
                      <a:cubicBezTo>
                        <a:pt x="172" y="356"/>
                        <a:pt x="172" y="356"/>
                        <a:pt x="172" y="356"/>
                      </a:cubicBezTo>
                      <a:cubicBezTo>
                        <a:pt x="182" y="356"/>
                        <a:pt x="190" y="349"/>
                        <a:pt x="190" y="341"/>
                      </a:cubicBezTo>
                      <a:cubicBezTo>
                        <a:pt x="190" y="333"/>
                        <a:pt x="182" y="326"/>
                        <a:pt x="172" y="326"/>
                      </a:cubicBezTo>
                      <a:close/>
                    </a:path>
                  </a:pathLst>
                </a:custGeom>
                <a:solidFill>
                  <a:srgbClr val="049CD4"/>
                </a:solidFill>
                <a:ln w="9525">
                  <a:no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solidFill>
                      <a:srgbClr val="000000"/>
                    </a:solidFill>
                    <a:effectLst/>
                    <a:uLnTx/>
                    <a:uFillTx/>
                    <a:latin typeface="Arial"/>
                    <a:ea typeface=""/>
                    <a:cs typeface=""/>
                  </a:endParaRPr>
                </a:p>
              </p:txBody>
            </p:sp>
          </p:grpSp>
          <p:grpSp>
            <p:nvGrpSpPr>
              <p:cNvPr id="310" name="Group 309"/>
              <p:cNvGrpSpPr/>
              <p:nvPr/>
            </p:nvGrpSpPr>
            <p:grpSpPr>
              <a:xfrm>
                <a:off x="2129806" y="2063335"/>
                <a:ext cx="328396" cy="328395"/>
                <a:chOff x="6765467" y="2388013"/>
                <a:chExt cx="328396" cy="328395"/>
              </a:xfrm>
            </p:grpSpPr>
            <p:sp>
              <p:nvSpPr>
                <p:cNvPr id="341" name="Oval 340"/>
                <p:cNvSpPr/>
                <p:nvPr/>
              </p:nvSpPr>
              <p:spPr>
                <a:xfrm>
                  <a:off x="6765467" y="2388013"/>
                  <a:ext cx="328396" cy="328395"/>
                </a:xfrm>
                <a:prstGeom prst="ellipse">
                  <a:avLst/>
                </a:prstGeom>
                <a:solidFill>
                  <a:srgbClr val="FFFFFF"/>
                </a:solidFill>
                <a:ln w="3175">
                  <a:solidFill>
                    <a:srgbClr val="FFFFFF">
                      <a:lumMod val="50000"/>
                    </a:srgbClr>
                  </a:solidFill>
                </a:ln>
              </p:spPr>
              <p:txBody>
                <a:bodyPr wrap="square" rtlCol="0" anchor="t">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gradFill>
                      <a:gsLst>
                        <a:gs pos="0">
                          <a:srgbClr val="39393B">
                            <a:alpha val="0"/>
                          </a:srgbClr>
                        </a:gs>
                        <a:gs pos="85000">
                          <a:srgbClr val="39393B"/>
                        </a:gs>
                      </a:gsLst>
                      <a:lin ang="0" scaled="1"/>
                    </a:gradFill>
                    <a:effectLst/>
                    <a:uLnTx/>
                    <a:uFillTx/>
                    <a:latin typeface="Calibri"/>
                    <a:ea typeface="ＭＳ Ｐゴシック" charset="0"/>
                    <a:cs typeface="+mn-cs"/>
                  </a:endParaRPr>
                </a:p>
              </p:txBody>
            </p:sp>
            <p:grpSp>
              <p:nvGrpSpPr>
                <p:cNvPr id="342" name="Group 341"/>
                <p:cNvGrpSpPr>
                  <a:grpSpLocks noChangeAspect="1"/>
                </p:cNvGrpSpPr>
                <p:nvPr/>
              </p:nvGrpSpPr>
              <p:grpSpPr>
                <a:xfrm>
                  <a:off x="6836353" y="2464884"/>
                  <a:ext cx="186625" cy="174652"/>
                  <a:chOff x="8327232" y="4395788"/>
                  <a:chExt cx="420688" cy="393700"/>
                </a:xfrm>
                <a:solidFill>
                  <a:srgbClr val="0498D1"/>
                </a:solidFill>
              </p:grpSpPr>
              <p:sp>
                <p:nvSpPr>
                  <p:cNvPr id="343" name="Freeform 245"/>
                  <p:cNvSpPr>
                    <a:spLocks noEditPoints="1"/>
                  </p:cNvSpPr>
                  <p:nvPr/>
                </p:nvSpPr>
                <p:spPr bwMode="auto">
                  <a:xfrm>
                    <a:off x="8403432" y="4446588"/>
                    <a:ext cx="266700" cy="342900"/>
                  </a:xfrm>
                  <a:custGeom>
                    <a:avLst/>
                    <a:gdLst>
                      <a:gd name="T0" fmla="*/ 1074 w 1176"/>
                      <a:gd name="T1" fmla="*/ 908 h 1512"/>
                      <a:gd name="T2" fmla="*/ 1017 w 1176"/>
                      <a:gd name="T3" fmla="*/ 1062 h 1512"/>
                      <a:gd name="T4" fmla="*/ 796 w 1176"/>
                      <a:gd name="T5" fmla="*/ 1059 h 1512"/>
                      <a:gd name="T6" fmla="*/ 826 w 1176"/>
                      <a:gd name="T7" fmla="*/ 896 h 1512"/>
                      <a:gd name="T8" fmla="*/ 1018 w 1176"/>
                      <a:gd name="T9" fmla="*/ 735 h 1512"/>
                      <a:gd name="T10" fmla="*/ 810 w 1176"/>
                      <a:gd name="T11" fmla="*/ 733 h 1512"/>
                      <a:gd name="T12" fmla="*/ 739 w 1176"/>
                      <a:gd name="T13" fmla="*/ 735 h 1512"/>
                      <a:gd name="T14" fmla="*/ 443 w 1176"/>
                      <a:gd name="T15" fmla="*/ 537 h 1512"/>
                      <a:gd name="T16" fmla="*/ 379 w 1176"/>
                      <a:gd name="T17" fmla="*/ 436 h 1512"/>
                      <a:gd name="T18" fmla="*/ 166 w 1176"/>
                      <a:gd name="T19" fmla="*/ 365 h 1512"/>
                      <a:gd name="T20" fmla="*/ 223 w 1176"/>
                      <a:gd name="T21" fmla="*/ 262 h 1512"/>
                      <a:gd name="T22" fmla="*/ 283 w 1176"/>
                      <a:gd name="T23" fmla="*/ 185 h 1512"/>
                      <a:gd name="T24" fmla="*/ 335 w 1176"/>
                      <a:gd name="T25" fmla="*/ 105 h 1512"/>
                      <a:gd name="T26" fmla="*/ 360 w 1176"/>
                      <a:gd name="T27" fmla="*/ 17 h 1512"/>
                      <a:gd name="T28" fmla="*/ 302 w 1176"/>
                      <a:gd name="T29" fmla="*/ 39 h 1512"/>
                      <a:gd name="T30" fmla="*/ 214 w 1176"/>
                      <a:gd name="T31" fmla="*/ 117 h 1512"/>
                      <a:gd name="T32" fmla="*/ 137 w 1176"/>
                      <a:gd name="T33" fmla="*/ 215 h 1512"/>
                      <a:gd name="T34" fmla="*/ 69 w 1176"/>
                      <a:gd name="T35" fmla="*/ 350 h 1512"/>
                      <a:gd name="T36" fmla="*/ 19 w 1176"/>
                      <a:gd name="T37" fmla="*/ 524 h 1512"/>
                      <a:gd name="T38" fmla="*/ 0 w 1176"/>
                      <a:gd name="T39" fmla="*/ 744 h 1512"/>
                      <a:gd name="T40" fmla="*/ 16 w 1176"/>
                      <a:gd name="T41" fmla="*/ 947 h 1512"/>
                      <a:gd name="T42" fmla="*/ 71 w 1176"/>
                      <a:gd name="T43" fmla="*/ 1149 h 1512"/>
                      <a:gd name="T44" fmla="*/ 149 w 1176"/>
                      <a:gd name="T45" fmla="*/ 1299 h 1512"/>
                      <a:gd name="T46" fmla="*/ 236 w 1176"/>
                      <a:gd name="T47" fmla="*/ 1403 h 1512"/>
                      <a:gd name="T48" fmla="*/ 313 w 1176"/>
                      <a:gd name="T49" fmla="*/ 1469 h 1512"/>
                      <a:gd name="T50" fmla="*/ 380 w 1176"/>
                      <a:gd name="T51" fmla="*/ 1507 h 1512"/>
                      <a:gd name="T52" fmla="*/ 437 w 1176"/>
                      <a:gd name="T53" fmla="*/ 1512 h 1512"/>
                      <a:gd name="T54" fmla="*/ 571 w 1176"/>
                      <a:gd name="T55" fmla="*/ 1500 h 1512"/>
                      <a:gd name="T56" fmla="*/ 728 w 1176"/>
                      <a:gd name="T57" fmla="*/ 1453 h 1512"/>
                      <a:gd name="T58" fmla="*/ 869 w 1176"/>
                      <a:gd name="T59" fmla="*/ 1375 h 1512"/>
                      <a:gd name="T60" fmla="*/ 988 w 1176"/>
                      <a:gd name="T61" fmla="*/ 1268 h 1512"/>
                      <a:gd name="T62" fmla="*/ 1084 w 1176"/>
                      <a:gd name="T63" fmla="*/ 1138 h 1512"/>
                      <a:gd name="T64" fmla="*/ 1152 w 1176"/>
                      <a:gd name="T65" fmla="*/ 989 h 1512"/>
                      <a:gd name="T66" fmla="*/ 1172 w 1176"/>
                      <a:gd name="T67" fmla="*/ 888 h 1512"/>
                      <a:gd name="T68" fmla="*/ 354 w 1176"/>
                      <a:gd name="T69" fmla="*/ 1379 h 1512"/>
                      <a:gd name="T70" fmla="*/ 271 w 1176"/>
                      <a:gd name="T71" fmla="*/ 1299 h 1512"/>
                      <a:gd name="T72" fmla="*/ 197 w 1176"/>
                      <a:gd name="T73" fmla="*/ 1192 h 1512"/>
                      <a:gd name="T74" fmla="*/ 378 w 1176"/>
                      <a:gd name="T75" fmla="*/ 1395 h 1512"/>
                      <a:gd name="T76" fmla="*/ 125 w 1176"/>
                      <a:gd name="T77" fmla="*/ 998 h 1512"/>
                      <a:gd name="T78" fmla="*/ 99 w 1176"/>
                      <a:gd name="T79" fmla="*/ 823 h 1512"/>
                      <a:gd name="T80" fmla="*/ 97 w 1176"/>
                      <a:gd name="T81" fmla="*/ 735 h 1512"/>
                      <a:gd name="T82" fmla="*/ 107 w 1176"/>
                      <a:gd name="T83" fmla="*/ 588 h 1512"/>
                      <a:gd name="T84" fmla="*/ 378 w 1176"/>
                      <a:gd name="T85" fmla="*/ 463 h 1512"/>
                      <a:gd name="T86" fmla="*/ 737 w 1176"/>
                      <a:gd name="T87" fmla="*/ 824 h 1512"/>
                      <a:gd name="T88" fmla="*/ 710 w 1176"/>
                      <a:gd name="T89" fmla="*/ 998 h 1512"/>
                      <a:gd name="T90" fmla="*/ 473 w 1176"/>
                      <a:gd name="T91" fmla="*/ 1378 h 1512"/>
                      <a:gd name="T92" fmla="*/ 654 w 1176"/>
                      <a:gd name="T93" fmla="*/ 1159 h 1512"/>
                      <a:gd name="T94" fmla="*/ 588 w 1176"/>
                      <a:gd name="T95" fmla="*/ 1267 h 1512"/>
                      <a:gd name="T96" fmla="*/ 521 w 1176"/>
                      <a:gd name="T97" fmla="*/ 1340 h 1512"/>
                      <a:gd name="T98" fmla="*/ 605 w 1176"/>
                      <a:gd name="T99" fmla="*/ 1393 h 1512"/>
                      <a:gd name="T100" fmla="*/ 710 w 1176"/>
                      <a:gd name="T101" fmla="*/ 1259 h 1512"/>
                      <a:gd name="T102" fmla="*/ 762 w 1176"/>
                      <a:gd name="T103" fmla="*/ 1155 h 1512"/>
                      <a:gd name="T104" fmla="*/ 973 w 1176"/>
                      <a:gd name="T105" fmla="*/ 1132 h 1512"/>
                      <a:gd name="T106" fmla="*/ 872 w 1176"/>
                      <a:gd name="T107" fmla="*/ 1247 h 1512"/>
                      <a:gd name="T108" fmla="*/ 749 w 1176"/>
                      <a:gd name="T109" fmla="*/ 1335 h 1512"/>
                      <a:gd name="T110" fmla="*/ 605 w 1176"/>
                      <a:gd name="T111" fmla="*/ 1393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6" h="1512">
                        <a:moveTo>
                          <a:pt x="1090" y="808"/>
                        </a:moveTo>
                        <a:lnTo>
                          <a:pt x="1090" y="808"/>
                        </a:lnTo>
                        <a:lnTo>
                          <a:pt x="1086" y="841"/>
                        </a:lnTo>
                        <a:lnTo>
                          <a:pt x="1081" y="875"/>
                        </a:lnTo>
                        <a:lnTo>
                          <a:pt x="1074" y="908"/>
                        </a:lnTo>
                        <a:lnTo>
                          <a:pt x="1066" y="939"/>
                        </a:lnTo>
                        <a:lnTo>
                          <a:pt x="1056" y="971"/>
                        </a:lnTo>
                        <a:lnTo>
                          <a:pt x="1045" y="1001"/>
                        </a:lnTo>
                        <a:lnTo>
                          <a:pt x="1031" y="1032"/>
                        </a:lnTo>
                        <a:lnTo>
                          <a:pt x="1017" y="1062"/>
                        </a:lnTo>
                        <a:lnTo>
                          <a:pt x="1017" y="1062"/>
                        </a:lnTo>
                        <a:lnTo>
                          <a:pt x="1011" y="1059"/>
                        </a:lnTo>
                        <a:lnTo>
                          <a:pt x="1006" y="1059"/>
                        </a:lnTo>
                        <a:lnTo>
                          <a:pt x="796" y="1059"/>
                        </a:lnTo>
                        <a:lnTo>
                          <a:pt x="796" y="1059"/>
                        </a:lnTo>
                        <a:lnTo>
                          <a:pt x="803" y="1028"/>
                        </a:lnTo>
                        <a:lnTo>
                          <a:pt x="810" y="997"/>
                        </a:lnTo>
                        <a:lnTo>
                          <a:pt x="817" y="965"/>
                        </a:lnTo>
                        <a:lnTo>
                          <a:pt x="822" y="931"/>
                        </a:lnTo>
                        <a:lnTo>
                          <a:pt x="826" y="896"/>
                        </a:lnTo>
                        <a:lnTo>
                          <a:pt x="830" y="861"/>
                        </a:lnTo>
                        <a:lnTo>
                          <a:pt x="833" y="823"/>
                        </a:lnTo>
                        <a:lnTo>
                          <a:pt x="834" y="784"/>
                        </a:lnTo>
                        <a:lnTo>
                          <a:pt x="1066" y="784"/>
                        </a:lnTo>
                        <a:lnTo>
                          <a:pt x="1018" y="735"/>
                        </a:lnTo>
                        <a:lnTo>
                          <a:pt x="835" y="735"/>
                        </a:lnTo>
                        <a:lnTo>
                          <a:pt x="835" y="735"/>
                        </a:lnTo>
                        <a:lnTo>
                          <a:pt x="835" y="734"/>
                        </a:lnTo>
                        <a:lnTo>
                          <a:pt x="835" y="734"/>
                        </a:lnTo>
                        <a:lnTo>
                          <a:pt x="810" y="733"/>
                        </a:lnTo>
                        <a:lnTo>
                          <a:pt x="785" y="730"/>
                        </a:lnTo>
                        <a:lnTo>
                          <a:pt x="762" y="727"/>
                        </a:lnTo>
                        <a:lnTo>
                          <a:pt x="738" y="722"/>
                        </a:lnTo>
                        <a:lnTo>
                          <a:pt x="738" y="722"/>
                        </a:lnTo>
                        <a:lnTo>
                          <a:pt x="739" y="735"/>
                        </a:lnTo>
                        <a:lnTo>
                          <a:pt x="473" y="735"/>
                        </a:lnTo>
                        <a:lnTo>
                          <a:pt x="473" y="573"/>
                        </a:lnTo>
                        <a:lnTo>
                          <a:pt x="473" y="573"/>
                        </a:lnTo>
                        <a:lnTo>
                          <a:pt x="458" y="555"/>
                        </a:lnTo>
                        <a:lnTo>
                          <a:pt x="443" y="537"/>
                        </a:lnTo>
                        <a:lnTo>
                          <a:pt x="428" y="518"/>
                        </a:lnTo>
                        <a:lnTo>
                          <a:pt x="414" y="499"/>
                        </a:lnTo>
                        <a:lnTo>
                          <a:pt x="402" y="478"/>
                        </a:lnTo>
                        <a:lnTo>
                          <a:pt x="390" y="458"/>
                        </a:lnTo>
                        <a:lnTo>
                          <a:pt x="379" y="436"/>
                        </a:lnTo>
                        <a:lnTo>
                          <a:pt x="368" y="415"/>
                        </a:lnTo>
                        <a:lnTo>
                          <a:pt x="148" y="415"/>
                        </a:lnTo>
                        <a:lnTo>
                          <a:pt x="148" y="415"/>
                        </a:lnTo>
                        <a:lnTo>
                          <a:pt x="157" y="389"/>
                        </a:lnTo>
                        <a:lnTo>
                          <a:pt x="166" y="365"/>
                        </a:lnTo>
                        <a:lnTo>
                          <a:pt x="178" y="342"/>
                        </a:lnTo>
                        <a:lnTo>
                          <a:pt x="188" y="320"/>
                        </a:lnTo>
                        <a:lnTo>
                          <a:pt x="199" y="300"/>
                        </a:lnTo>
                        <a:lnTo>
                          <a:pt x="210" y="280"/>
                        </a:lnTo>
                        <a:lnTo>
                          <a:pt x="223" y="262"/>
                        </a:lnTo>
                        <a:lnTo>
                          <a:pt x="235" y="245"/>
                        </a:lnTo>
                        <a:lnTo>
                          <a:pt x="246" y="228"/>
                        </a:lnTo>
                        <a:lnTo>
                          <a:pt x="258" y="213"/>
                        </a:lnTo>
                        <a:lnTo>
                          <a:pt x="271" y="199"/>
                        </a:lnTo>
                        <a:lnTo>
                          <a:pt x="283" y="185"/>
                        </a:lnTo>
                        <a:lnTo>
                          <a:pt x="306" y="162"/>
                        </a:lnTo>
                        <a:lnTo>
                          <a:pt x="330" y="141"/>
                        </a:lnTo>
                        <a:lnTo>
                          <a:pt x="330" y="141"/>
                        </a:lnTo>
                        <a:lnTo>
                          <a:pt x="332" y="123"/>
                        </a:lnTo>
                        <a:lnTo>
                          <a:pt x="335" y="105"/>
                        </a:lnTo>
                        <a:lnTo>
                          <a:pt x="339" y="86"/>
                        </a:lnTo>
                        <a:lnTo>
                          <a:pt x="343" y="69"/>
                        </a:lnTo>
                        <a:lnTo>
                          <a:pt x="348" y="52"/>
                        </a:lnTo>
                        <a:lnTo>
                          <a:pt x="354" y="34"/>
                        </a:lnTo>
                        <a:lnTo>
                          <a:pt x="360" y="17"/>
                        </a:lnTo>
                        <a:lnTo>
                          <a:pt x="366" y="0"/>
                        </a:lnTo>
                        <a:lnTo>
                          <a:pt x="366" y="0"/>
                        </a:lnTo>
                        <a:lnTo>
                          <a:pt x="349" y="10"/>
                        </a:lnTo>
                        <a:lnTo>
                          <a:pt x="327" y="23"/>
                        </a:lnTo>
                        <a:lnTo>
                          <a:pt x="302" y="39"/>
                        </a:lnTo>
                        <a:lnTo>
                          <a:pt x="275" y="61"/>
                        </a:lnTo>
                        <a:lnTo>
                          <a:pt x="259" y="73"/>
                        </a:lnTo>
                        <a:lnTo>
                          <a:pt x="245" y="86"/>
                        </a:lnTo>
                        <a:lnTo>
                          <a:pt x="230" y="101"/>
                        </a:lnTo>
                        <a:lnTo>
                          <a:pt x="214" y="117"/>
                        </a:lnTo>
                        <a:lnTo>
                          <a:pt x="198" y="134"/>
                        </a:lnTo>
                        <a:lnTo>
                          <a:pt x="183" y="153"/>
                        </a:lnTo>
                        <a:lnTo>
                          <a:pt x="168" y="172"/>
                        </a:lnTo>
                        <a:lnTo>
                          <a:pt x="152" y="192"/>
                        </a:lnTo>
                        <a:lnTo>
                          <a:pt x="137" y="215"/>
                        </a:lnTo>
                        <a:lnTo>
                          <a:pt x="123" y="239"/>
                        </a:lnTo>
                        <a:lnTo>
                          <a:pt x="108" y="265"/>
                        </a:lnTo>
                        <a:lnTo>
                          <a:pt x="94" y="291"/>
                        </a:lnTo>
                        <a:lnTo>
                          <a:pt x="81" y="320"/>
                        </a:lnTo>
                        <a:lnTo>
                          <a:pt x="69" y="350"/>
                        </a:lnTo>
                        <a:lnTo>
                          <a:pt x="56" y="381"/>
                        </a:lnTo>
                        <a:lnTo>
                          <a:pt x="45" y="415"/>
                        </a:lnTo>
                        <a:lnTo>
                          <a:pt x="36" y="450"/>
                        </a:lnTo>
                        <a:lnTo>
                          <a:pt x="27" y="486"/>
                        </a:lnTo>
                        <a:lnTo>
                          <a:pt x="19" y="524"/>
                        </a:lnTo>
                        <a:lnTo>
                          <a:pt x="12" y="565"/>
                        </a:lnTo>
                        <a:lnTo>
                          <a:pt x="6" y="607"/>
                        </a:lnTo>
                        <a:lnTo>
                          <a:pt x="3" y="650"/>
                        </a:lnTo>
                        <a:lnTo>
                          <a:pt x="0" y="696"/>
                        </a:lnTo>
                        <a:lnTo>
                          <a:pt x="0" y="744"/>
                        </a:lnTo>
                        <a:lnTo>
                          <a:pt x="0" y="744"/>
                        </a:lnTo>
                        <a:lnTo>
                          <a:pt x="1" y="798"/>
                        </a:lnTo>
                        <a:lnTo>
                          <a:pt x="4" y="850"/>
                        </a:lnTo>
                        <a:lnTo>
                          <a:pt x="8" y="900"/>
                        </a:lnTo>
                        <a:lnTo>
                          <a:pt x="16" y="947"/>
                        </a:lnTo>
                        <a:lnTo>
                          <a:pt x="24" y="992"/>
                        </a:lnTo>
                        <a:lnTo>
                          <a:pt x="34" y="1034"/>
                        </a:lnTo>
                        <a:lnTo>
                          <a:pt x="44" y="1075"/>
                        </a:lnTo>
                        <a:lnTo>
                          <a:pt x="57" y="1113"/>
                        </a:lnTo>
                        <a:lnTo>
                          <a:pt x="71" y="1149"/>
                        </a:lnTo>
                        <a:lnTo>
                          <a:pt x="85" y="1183"/>
                        </a:lnTo>
                        <a:lnTo>
                          <a:pt x="100" y="1215"/>
                        </a:lnTo>
                        <a:lnTo>
                          <a:pt x="115" y="1245"/>
                        </a:lnTo>
                        <a:lnTo>
                          <a:pt x="132" y="1273"/>
                        </a:lnTo>
                        <a:lnTo>
                          <a:pt x="149" y="1299"/>
                        </a:lnTo>
                        <a:lnTo>
                          <a:pt x="166" y="1324"/>
                        </a:lnTo>
                        <a:lnTo>
                          <a:pt x="184" y="1346"/>
                        </a:lnTo>
                        <a:lnTo>
                          <a:pt x="201" y="1367"/>
                        </a:lnTo>
                        <a:lnTo>
                          <a:pt x="218" y="1386"/>
                        </a:lnTo>
                        <a:lnTo>
                          <a:pt x="236" y="1403"/>
                        </a:lnTo>
                        <a:lnTo>
                          <a:pt x="252" y="1420"/>
                        </a:lnTo>
                        <a:lnTo>
                          <a:pt x="268" y="1434"/>
                        </a:lnTo>
                        <a:lnTo>
                          <a:pt x="285" y="1447"/>
                        </a:lnTo>
                        <a:lnTo>
                          <a:pt x="299" y="1458"/>
                        </a:lnTo>
                        <a:lnTo>
                          <a:pt x="313" y="1469"/>
                        </a:lnTo>
                        <a:lnTo>
                          <a:pt x="339" y="1486"/>
                        </a:lnTo>
                        <a:lnTo>
                          <a:pt x="358" y="1497"/>
                        </a:lnTo>
                        <a:lnTo>
                          <a:pt x="372" y="1504"/>
                        </a:lnTo>
                        <a:lnTo>
                          <a:pt x="380" y="1507"/>
                        </a:lnTo>
                        <a:lnTo>
                          <a:pt x="380" y="1507"/>
                        </a:lnTo>
                        <a:lnTo>
                          <a:pt x="388" y="1510"/>
                        </a:lnTo>
                        <a:lnTo>
                          <a:pt x="397" y="1511"/>
                        </a:lnTo>
                        <a:lnTo>
                          <a:pt x="436" y="1512"/>
                        </a:lnTo>
                        <a:lnTo>
                          <a:pt x="436" y="1512"/>
                        </a:lnTo>
                        <a:lnTo>
                          <a:pt x="437" y="1512"/>
                        </a:lnTo>
                        <a:lnTo>
                          <a:pt x="437" y="1512"/>
                        </a:lnTo>
                        <a:lnTo>
                          <a:pt x="471" y="1511"/>
                        </a:lnTo>
                        <a:lnTo>
                          <a:pt x="505" y="1509"/>
                        </a:lnTo>
                        <a:lnTo>
                          <a:pt x="539" y="1505"/>
                        </a:lnTo>
                        <a:lnTo>
                          <a:pt x="571" y="1500"/>
                        </a:lnTo>
                        <a:lnTo>
                          <a:pt x="604" y="1494"/>
                        </a:lnTo>
                        <a:lnTo>
                          <a:pt x="636" y="1486"/>
                        </a:lnTo>
                        <a:lnTo>
                          <a:pt x="667" y="1476"/>
                        </a:lnTo>
                        <a:lnTo>
                          <a:pt x="698" y="1465"/>
                        </a:lnTo>
                        <a:lnTo>
                          <a:pt x="728" y="1453"/>
                        </a:lnTo>
                        <a:lnTo>
                          <a:pt x="758" y="1440"/>
                        </a:lnTo>
                        <a:lnTo>
                          <a:pt x="787" y="1425"/>
                        </a:lnTo>
                        <a:lnTo>
                          <a:pt x="815" y="1409"/>
                        </a:lnTo>
                        <a:lnTo>
                          <a:pt x="842" y="1392"/>
                        </a:lnTo>
                        <a:lnTo>
                          <a:pt x="869" y="1375"/>
                        </a:lnTo>
                        <a:lnTo>
                          <a:pt x="895" y="1355"/>
                        </a:lnTo>
                        <a:lnTo>
                          <a:pt x="919" y="1335"/>
                        </a:lnTo>
                        <a:lnTo>
                          <a:pt x="944" y="1314"/>
                        </a:lnTo>
                        <a:lnTo>
                          <a:pt x="967" y="1291"/>
                        </a:lnTo>
                        <a:lnTo>
                          <a:pt x="988" y="1268"/>
                        </a:lnTo>
                        <a:lnTo>
                          <a:pt x="1010" y="1243"/>
                        </a:lnTo>
                        <a:lnTo>
                          <a:pt x="1030" y="1219"/>
                        </a:lnTo>
                        <a:lnTo>
                          <a:pt x="1050" y="1192"/>
                        </a:lnTo>
                        <a:lnTo>
                          <a:pt x="1068" y="1166"/>
                        </a:lnTo>
                        <a:lnTo>
                          <a:pt x="1084" y="1138"/>
                        </a:lnTo>
                        <a:lnTo>
                          <a:pt x="1101" y="1110"/>
                        </a:lnTo>
                        <a:lnTo>
                          <a:pt x="1115" y="1081"/>
                        </a:lnTo>
                        <a:lnTo>
                          <a:pt x="1128" y="1050"/>
                        </a:lnTo>
                        <a:lnTo>
                          <a:pt x="1140" y="1021"/>
                        </a:lnTo>
                        <a:lnTo>
                          <a:pt x="1152" y="989"/>
                        </a:lnTo>
                        <a:lnTo>
                          <a:pt x="1162" y="958"/>
                        </a:lnTo>
                        <a:lnTo>
                          <a:pt x="1170" y="925"/>
                        </a:lnTo>
                        <a:lnTo>
                          <a:pt x="1176" y="892"/>
                        </a:lnTo>
                        <a:lnTo>
                          <a:pt x="1176" y="892"/>
                        </a:lnTo>
                        <a:lnTo>
                          <a:pt x="1172" y="888"/>
                        </a:lnTo>
                        <a:lnTo>
                          <a:pt x="1167" y="884"/>
                        </a:lnTo>
                        <a:lnTo>
                          <a:pt x="1090" y="808"/>
                        </a:lnTo>
                        <a:close/>
                        <a:moveTo>
                          <a:pt x="378" y="1395"/>
                        </a:moveTo>
                        <a:lnTo>
                          <a:pt x="378" y="1395"/>
                        </a:lnTo>
                        <a:lnTo>
                          <a:pt x="354" y="1379"/>
                        </a:lnTo>
                        <a:lnTo>
                          <a:pt x="329" y="1358"/>
                        </a:lnTo>
                        <a:lnTo>
                          <a:pt x="314" y="1345"/>
                        </a:lnTo>
                        <a:lnTo>
                          <a:pt x="300" y="1332"/>
                        </a:lnTo>
                        <a:lnTo>
                          <a:pt x="286" y="1317"/>
                        </a:lnTo>
                        <a:lnTo>
                          <a:pt x="271" y="1299"/>
                        </a:lnTo>
                        <a:lnTo>
                          <a:pt x="256" y="1281"/>
                        </a:lnTo>
                        <a:lnTo>
                          <a:pt x="241" y="1261"/>
                        </a:lnTo>
                        <a:lnTo>
                          <a:pt x="226" y="1240"/>
                        </a:lnTo>
                        <a:lnTo>
                          <a:pt x="211" y="1217"/>
                        </a:lnTo>
                        <a:lnTo>
                          <a:pt x="197" y="1192"/>
                        </a:lnTo>
                        <a:lnTo>
                          <a:pt x="184" y="1166"/>
                        </a:lnTo>
                        <a:lnTo>
                          <a:pt x="171" y="1137"/>
                        </a:lnTo>
                        <a:lnTo>
                          <a:pt x="158" y="1106"/>
                        </a:lnTo>
                        <a:lnTo>
                          <a:pt x="378" y="1106"/>
                        </a:lnTo>
                        <a:lnTo>
                          <a:pt x="378" y="1395"/>
                        </a:lnTo>
                        <a:close/>
                        <a:moveTo>
                          <a:pt x="378" y="1059"/>
                        </a:moveTo>
                        <a:lnTo>
                          <a:pt x="141" y="1059"/>
                        </a:lnTo>
                        <a:lnTo>
                          <a:pt x="141" y="1059"/>
                        </a:lnTo>
                        <a:lnTo>
                          <a:pt x="133" y="1029"/>
                        </a:lnTo>
                        <a:lnTo>
                          <a:pt x="125" y="998"/>
                        </a:lnTo>
                        <a:lnTo>
                          <a:pt x="118" y="967"/>
                        </a:lnTo>
                        <a:lnTo>
                          <a:pt x="111" y="933"/>
                        </a:lnTo>
                        <a:lnTo>
                          <a:pt x="106" y="898"/>
                        </a:lnTo>
                        <a:lnTo>
                          <a:pt x="102" y="862"/>
                        </a:lnTo>
                        <a:lnTo>
                          <a:pt x="99" y="823"/>
                        </a:lnTo>
                        <a:lnTo>
                          <a:pt x="97" y="784"/>
                        </a:lnTo>
                        <a:lnTo>
                          <a:pt x="378" y="784"/>
                        </a:lnTo>
                        <a:lnTo>
                          <a:pt x="378" y="1059"/>
                        </a:lnTo>
                        <a:close/>
                        <a:moveTo>
                          <a:pt x="378" y="735"/>
                        </a:moveTo>
                        <a:lnTo>
                          <a:pt x="97" y="735"/>
                        </a:lnTo>
                        <a:lnTo>
                          <a:pt x="97" y="735"/>
                        </a:lnTo>
                        <a:lnTo>
                          <a:pt x="98" y="696"/>
                        </a:lnTo>
                        <a:lnTo>
                          <a:pt x="100" y="659"/>
                        </a:lnTo>
                        <a:lnTo>
                          <a:pt x="103" y="623"/>
                        </a:lnTo>
                        <a:lnTo>
                          <a:pt x="107" y="588"/>
                        </a:lnTo>
                        <a:lnTo>
                          <a:pt x="112" y="555"/>
                        </a:lnTo>
                        <a:lnTo>
                          <a:pt x="119" y="523"/>
                        </a:lnTo>
                        <a:lnTo>
                          <a:pt x="125" y="492"/>
                        </a:lnTo>
                        <a:lnTo>
                          <a:pt x="133" y="463"/>
                        </a:lnTo>
                        <a:lnTo>
                          <a:pt x="378" y="463"/>
                        </a:lnTo>
                        <a:lnTo>
                          <a:pt x="378" y="735"/>
                        </a:lnTo>
                        <a:close/>
                        <a:moveTo>
                          <a:pt x="473" y="784"/>
                        </a:moveTo>
                        <a:lnTo>
                          <a:pt x="738" y="784"/>
                        </a:lnTo>
                        <a:lnTo>
                          <a:pt x="738" y="784"/>
                        </a:lnTo>
                        <a:lnTo>
                          <a:pt x="737" y="824"/>
                        </a:lnTo>
                        <a:lnTo>
                          <a:pt x="733" y="862"/>
                        </a:lnTo>
                        <a:lnTo>
                          <a:pt x="728" y="898"/>
                        </a:lnTo>
                        <a:lnTo>
                          <a:pt x="723" y="933"/>
                        </a:lnTo>
                        <a:lnTo>
                          <a:pt x="717" y="967"/>
                        </a:lnTo>
                        <a:lnTo>
                          <a:pt x="710" y="998"/>
                        </a:lnTo>
                        <a:lnTo>
                          <a:pt x="703" y="1029"/>
                        </a:lnTo>
                        <a:lnTo>
                          <a:pt x="694" y="1059"/>
                        </a:lnTo>
                        <a:lnTo>
                          <a:pt x="473" y="1059"/>
                        </a:lnTo>
                        <a:lnTo>
                          <a:pt x="473" y="784"/>
                        </a:lnTo>
                        <a:close/>
                        <a:moveTo>
                          <a:pt x="473" y="1378"/>
                        </a:moveTo>
                        <a:lnTo>
                          <a:pt x="473" y="1106"/>
                        </a:lnTo>
                        <a:lnTo>
                          <a:pt x="677" y="1106"/>
                        </a:lnTo>
                        <a:lnTo>
                          <a:pt x="677" y="1106"/>
                        </a:lnTo>
                        <a:lnTo>
                          <a:pt x="665" y="1134"/>
                        </a:lnTo>
                        <a:lnTo>
                          <a:pt x="654" y="1159"/>
                        </a:lnTo>
                        <a:lnTo>
                          <a:pt x="642" y="1184"/>
                        </a:lnTo>
                        <a:lnTo>
                          <a:pt x="628" y="1206"/>
                        </a:lnTo>
                        <a:lnTo>
                          <a:pt x="615" y="1228"/>
                        </a:lnTo>
                        <a:lnTo>
                          <a:pt x="602" y="1248"/>
                        </a:lnTo>
                        <a:lnTo>
                          <a:pt x="588" y="1267"/>
                        </a:lnTo>
                        <a:lnTo>
                          <a:pt x="574" y="1284"/>
                        </a:lnTo>
                        <a:lnTo>
                          <a:pt x="561" y="1299"/>
                        </a:lnTo>
                        <a:lnTo>
                          <a:pt x="547" y="1315"/>
                        </a:lnTo>
                        <a:lnTo>
                          <a:pt x="534" y="1328"/>
                        </a:lnTo>
                        <a:lnTo>
                          <a:pt x="521" y="1340"/>
                        </a:lnTo>
                        <a:lnTo>
                          <a:pt x="496" y="1360"/>
                        </a:lnTo>
                        <a:lnTo>
                          <a:pt x="473" y="1378"/>
                        </a:lnTo>
                        <a:lnTo>
                          <a:pt x="473" y="1378"/>
                        </a:lnTo>
                        <a:close/>
                        <a:moveTo>
                          <a:pt x="605" y="1393"/>
                        </a:moveTo>
                        <a:lnTo>
                          <a:pt x="605" y="1393"/>
                        </a:lnTo>
                        <a:lnTo>
                          <a:pt x="628" y="1369"/>
                        </a:lnTo>
                        <a:lnTo>
                          <a:pt x="652" y="1342"/>
                        </a:lnTo>
                        <a:lnTo>
                          <a:pt x="675" y="1311"/>
                        </a:lnTo>
                        <a:lnTo>
                          <a:pt x="699" y="1278"/>
                        </a:lnTo>
                        <a:lnTo>
                          <a:pt x="710" y="1259"/>
                        </a:lnTo>
                        <a:lnTo>
                          <a:pt x="721" y="1240"/>
                        </a:lnTo>
                        <a:lnTo>
                          <a:pt x="731" y="1221"/>
                        </a:lnTo>
                        <a:lnTo>
                          <a:pt x="743" y="1199"/>
                        </a:lnTo>
                        <a:lnTo>
                          <a:pt x="753" y="1178"/>
                        </a:lnTo>
                        <a:lnTo>
                          <a:pt x="762" y="1155"/>
                        </a:lnTo>
                        <a:lnTo>
                          <a:pt x="771" y="1131"/>
                        </a:lnTo>
                        <a:lnTo>
                          <a:pt x="780" y="1106"/>
                        </a:lnTo>
                        <a:lnTo>
                          <a:pt x="990" y="1106"/>
                        </a:lnTo>
                        <a:lnTo>
                          <a:pt x="990" y="1106"/>
                        </a:lnTo>
                        <a:lnTo>
                          <a:pt x="973" y="1132"/>
                        </a:lnTo>
                        <a:lnTo>
                          <a:pt x="956" y="1157"/>
                        </a:lnTo>
                        <a:lnTo>
                          <a:pt x="936" y="1181"/>
                        </a:lnTo>
                        <a:lnTo>
                          <a:pt x="916" y="1204"/>
                        </a:lnTo>
                        <a:lnTo>
                          <a:pt x="895" y="1226"/>
                        </a:lnTo>
                        <a:lnTo>
                          <a:pt x="872" y="1247"/>
                        </a:lnTo>
                        <a:lnTo>
                          <a:pt x="850" y="1267"/>
                        </a:lnTo>
                        <a:lnTo>
                          <a:pt x="825" y="1286"/>
                        </a:lnTo>
                        <a:lnTo>
                          <a:pt x="801" y="1303"/>
                        </a:lnTo>
                        <a:lnTo>
                          <a:pt x="775" y="1320"/>
                        </a:lnTo>
                        <a:lnTo>
                          <a:pt x="749" y="1335"/>
                        </a:lnTo>
                        <a:lnTo>
                          <a:pt x="721" y="1349"/>
                        </a:lnTo>
                        <a:lnTo>
                          <a:pt x="694" y="1362"/>
                        </a:lnTo>
                        <a:lnTo>
                          <a:pt x="664" y="1374"/>
                        </a:lnTo>
                        <a:lnTo>
                          <a:pt x="636" y="1384"/>
                        </a:lnTo>
                        <a:lnTo>
                          <a:pt x="605" y="1393"/>
                        </a:lnTo>
                        <a:lnTo>
                          <a:pt x="605" y="1393"/>
                        </a:lnTo>
                        <a:close/>
                      </a:path>
                    </a:pathLst>
                  </a:custGeom>
                  <a:solidFill>
                    <a:srgbClr val="049CD4"/>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39393B">
                              <a:alpha val="0"/>
                            </a:srgbClr>
                          </a:gs>
                          <a:gs pos="85000">
                            <a:srgbClr val="39393B"/>
                          </a:gs>
                        </a:gsLst>
                        <a:lin ang="0" scaled="1"/>
                      </a:gradFill>
                      <a:effectLst/>
                      <a:uLnTx/>
                      <a:uFillTx/>
                      <a:latin typeface="Arial"/>
                      <a:ea typeface=""/>
                      <a:cs typeface=""/>
                    </a:endParaRPr>
                  </a:p>
                </p:txBody>
              </p:sp>
              <p:sp>
                <p:nvSpPr>
                  <p:cNvPr id="344" name="Freeform 246"/>
                  <p:cNvSpPr>
                    <a:spLocks/>
                  </p:cNvSpPr>
                  <p:nvPr/>
                </p:nvSpPr>
                <p:spPr bwMode="auto">
                  <a:xfrm>
                    <a:off x="8327232" y="4452938"/>
                    <a:ext cx="120650" cy="327025"/>
                  </a:xfrm>
                  <a:custGeom>
                    <a:avLst/>
                    <a:gdLst>
                      <a:gd name="T0" fmla="*/ 529 w 529"/>
                      <a:gd name="T1" fmla="*/ 0 h 1446"/>
                      <a:gd name="T2" fmla="*/ 473 w 529"/>
                      <a:gd name="T3" fmla="*/ 21 h 1446"/>
                      <a:gd name="T4" fmla="*/ 418 w 529"/>
                      <a:gd name="T5" fmla="*/ 46 h 1446"/>
                      <a:gd name="T6" fmla="*/ 367 w 529"/>
                      <a:gd name="T7" fmla="*/ 75 h 1446"/>
                      <a:gd name="T8" fmla="*/ 317 w 529"/>
                      <a:gd name="T9" fmla="*/ 107 h 1446"/>
                      <a:gd name="T10" fmla="*/ 271 w 529"/>
                      <a:gd name="T11" fmla="*/ 144 h 1446"/>
                      <a:gd name="T12" fmla="*/ 227 w 529"/>
                      <a:gd name="T13" fmla="*/ 184 h 1446"/>
                      <a:gd name="T14" fmla="*/ 186 w 529"/>
                      <a:gd name="T15" fmla="*/ 227 h 1446"/>
                      <a:gd name="T16" fmla="*/ 150 w 529"/>
                      <a:gd name="T17" fmla="*/ 273 h 1446"/>
                      <a:gd name="T18" fmla="*/ 116 w 529"/>
                      <a:gd name="T19" fmla="*/ 321 h 1446"/>
                      <a:gd name="T20" fmla="*/ 86 w 529"/>
                      <a:gd name="T21" fmla="*/ 374 h 1446"/>
                      <a:gd name="T22" fmla="*/ 61 w 529"/>
                      <a:gd name="T23" fmla="*/ 427 h 1446"/>
                      <a:gd name="T24" fmla="*/ 40 w 529"/>
                      <a:gd name="T25" fmla="*/ 483 h 1446"/>
                      <a:gd name="T26" fmla="*/ 23 w 529"/>
                      <a:gd name="T27" fmla="*/ 541 h 1446"/>
                      <a:gd name="T28" fmla="*/ 10 w 529"/>
                      <a:gd name="T29" fmla="*/ 601 h 1446"/>
                      <a:gd name="T30" fmla="*/ 3 w 529"/>
                      <a:gd name="T31" fmla="*/ 662 h 1446"/>
                      <a:gd name="T32" fmla="*/ 0 w 529"/>
                      <a:gd name="T33" fmla="*/ 725 h 1446"/>
                      <a:gd name="T34" fmla="*/ 1 w 529"/>
                      <a:gd name="T35" fmla="*/ 757 h 1446"/>
                      <a:gd name="T36" fmla="*/ 6 w 529"/>
                      <a:gd name="T37" fmla="*/ 817 h 1446"/>
                      <a:gd name="T38" fmla="*/ 16 w 529"/>
                      <a:gd name="T39" fmla="*/ 877 h 1446"/>
                      <a:gd name="T40" fmla="*/ 30 w 529"/>
                      <a:gd name="T41" fmla="*/ 936 h 1446"/>
                      <a:gd name="T42" fmla="*/ 50 w 529"/>
                      <a:gd name="T43" fmla="*/ 992 h 1446"/>
                      <a:gd name="T44" fmla="*/ 73 w 529"/>
                      <a:gd name="T45" fmla="*/ 1046 h 1446"/>
                      <a:gd name="T46" fmla="*/ 101 w 529"/>
                      <a:gd name="T47" fmla="*/ 1098 h 1446"/>
                      <a:gd name="T48" fmla="*/ 132 w 529"/>
                      <a:gd name="T49" fmla="*/ 1148 h 1446"/>
                      <a:gd name="T50" fmla="*/ 167 w 529"/>
                      <a:gd name="T51" fmla="*/ 1195 h 1446"/>
                      <a:gd name="T52" fmla="*/ 206 w 529"/>
                      <a:gd name="T53" fmla="*/ 1239 h 1446"/>
                      <a:gd name="T54" fmla="*/ 248 w 529"/>
                      <a:gd name="T55" fmla="*/ 1280 h 1446"/>
                      <a:gd name="T56" fmla="*/ 291 w 529"/>
                      <a:gd name="T57" fmla="*/ 1318 h 1446"/>
                      <a:gd name="T58" fmla="*/ 338 w 529"/>
                      <a:gd name="T59" fmla="*/ 1353 h 1446"/>
                      <a:gd name="T60" fmla="*/ 388 w 529"/>
                      <a:gd name="T61" fmla="*/ 1384 h 1446"/>
                      <a:gd name="T62" fmla="*/ 440 w 529"/>
                      <a:gd name="T63" fmla="*/ 1411 h 1446"/>
                      <a:gd name="T64" fmla="*/ 494 w 529"/>
                      <a:gd name="T65" fmla="*/ 1435 h 1446"/>
                      <a:gd name="T66" fmla="*/ 522 w 529"/>
                      <a:gd name="T67" fmla="*/ 1446 h 1446"/>
                      <a:gd name="T68" fmla="*/ 460 w 529"/>
                      <a:gd name="T69" fmla="*/ 1377 h 1446"/>
                      <a:gd name="T70" fmla="*/ 404 w 529"/>
                      <a:gd name="T71" fmla="*/ 1303 h 1446"/>
                      <a:gd name="T72" fmla="*/ 354 w 529"/>
                      <a:gd name="T73" fmla="*/ 1220 h 1446"/>
                      <a:gd name="T74" fmla="*/ 311 w 529"/>
                      <a:gd name="T75" fmla="*/ 1132 h 1446"/>
                      <a:gd name="T76" fmla="*/ 284 w 529"/>
                      <a:gd name="T77" fmla="*/ 1062 h 1446"/>
                      <a:gd name="T78" fmla="*/ 269 w 529"/>
                      <a:gd name="T79" fmla="*/ 1014 h 1446"/>
                      <a:gd name="T80" fmla="*/ 256 w 529"/>
                      <a:gd name="T81" fmla="*/ 965 h 1446"/>
                      <a:gd name="T82" fmla="*/ 246 w 529"/>
                      <a:gd name="T83" fmla="*/ 914 h 1446"/>
                      <a:gd name="T84" fmla="*/ 237 w 529"/>
                      <a:gd name="T85" fmla="*/ 863 h 1446"/>
                      <a:gd name="T86" fmla="*/ 232 w 529"/>
                      <a:gd name="T87" fmla="*/ 811 h 1446"/>
                      <a:gd name="T88" fmla="*/ 229 w 529"/>
                      <a:gd name="T89" fmla="*/ 758 h 1446"/>
                      <a:gd name="T90" fmla="*/ 229 w 529"/>
                      <a:gd name="T91" fmla="*/ 731 h 1446"/>
                      <a:gd name="T92" fmla="*/ 230 w 529"/>
                      <a:gd name="T93" fmla="*/ 675 h 1446"/>
                      <a:gd name="T94" fmla="*/ 234 w 529"/>
                      <a:gd name="T95" fmla="*/ 621 h 1446"/>
                      <a:gd name="T96" fmla="*/ 241 w 529"/>
                      <a:gd name="T97" fmla="*/ 567 h 1446"/>
                      <a:gd name="T98" fmla="*/ 251 w 529"/>
                      <a:gd name="T99" fmla="*/ 515 h 1446"/>
                      <a:gd name="T100" fmla="*/ 262 w 529"/>
                      <a:gd name="T101" fmla="*/ 464 h 1446"/>
                      <a:gd name="T102" fmla="*/ 276 w 529"/>
                      <a:gd name="T103" fmla="*/ 414 h 1446"/>
                      <a:gd name="T104" fmla="*/ 292 w 529"/>
                      <a:gd name="T105" fmla="*/ 365 h 1446"/>
                      <a:gd name="T106" fmla="*/ 311 w 529"/>
                      <a:gd name="T107" fmla="*/ 317 h 1446"/>
                      <a:gd name="T108" fmla="*/ 331 w 529"/>
                      <a:gd name="T109" fmla="*/ 272 h 1446"/>
                      <a:gd name="T110" fmla="*/ 354 w 529"/>
                      <a:gd name="T111" fmla="*/ 228 h 1446"/>
                      <a:gd name="T112" fmla="*/ 379 w 529"/>
                      <a:gd name="T113" fmla="*/ 185 h 1446"/>
                      <a:gd name="T114" fmla="*/ 406 w 529"/>
                      <a:gd name="T115" fmla="*/ 144 h 1446"/>
                      <a:gd name="T116" fmla="*/ 434 w 529"/>
                      <a:gd name="T117" fmla="*/ 105 h 1446"/>
                      <a:gd name="T118" fmla="*/ 464 w 529"/>
                      <a:gd name="T119" fmla="*/ 69 h 1446"/>
                      <a:gd name="T120" fmla="*/ 495 w 529"/>
                      <a:gd name="T121" fmla="*/ 33 h 1446"/>
                      <a:gd name="T122" fmla="*/ 529 w 529"/>
                      <a:gd name="T123" fmla="*/ 0 h 1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9" h="1446">
                        <a:moveTo>
                          <a:pt x="529" y="0"/>
                        </a:moveTo>
                        <a:lnTo>
                          <a:pt x="529" y="0"/>
                        </a:lnTo>
                        <a:lnTo>
                          <a:pt x="500" y="10"/>
                        </a:lnTo>
                        <a:lnTo>
                          <a:pt x="473" y="21"/>
                        </a:lnTo>
                        <a:lnTo>
                          <a:pt x="445" y="33"/>
                        </a:lnTo>
                        <a:lnTo>
                          <a:pt x="418" y="46"/>
                        </a:lnTo>
                        <a:lnTo>
                          <a:pt x="392" y="59"/>
                        </a:lnTo>
                        <a:lnTo>
                          <a:pt x="367" y="75"/>
                        </a:lnTo>
                        <a:lnTo>
                          <a:pt x="341" y="91"/>
                        </a:lnTo>
                        <a:lnTo>
                          <a:pt x="317" y="107"/>
                        </a:lnTo>
                        <a:lnTo>
                          <a:pt x="293" y="126"/>
                        </a:lnTo>
                        <a:lnTo>
                          <a:pt x="271" y="144"/>
                        </a:lnTo>
                        <a:lnTo>
                          <a:pt x="249" y="163"/>
                        </a:lnTo>
                        <a:lnTo>
                          <a:pt x="227" y="184"/>
                        </a:lnTo>
                        <a:lnTo>
                          <a:pt x="207" y="205"/>
                        </a:lnTo>
                        <a:lnTo>
                          <a:pt x="186" y="227"/>
                        </a:lnTo>
                        <a:lnTo>
                          <a:pt x="168" y="249"/>
                        </a:lnTo>
                        <a:lnTo>
                          <a:pt x="150" y="273"/>
                        </a:lnTo>
                        <a:lnTo>
                          <a:pt x="132" y="297"/>
                        </a:lnTo>
                        <a:lnTo>
                          <a:pt x="116" y="321"/>
                        </a:lnTo>
                        <a:lnTo>
                          <a:pt x="101" y="347"/>
                        </a:lnTo>
                        <a:lnTo>
                          <a:pt x="86" y="374"/>
                        </a:lnTo>
                        <a:lnTo>
                          <a:pt x="73" y="400"/>
                        </a:lnTo>
                        <a:lnTo>
                          <a:pt x="61" y="427"/>
                        </a:lnTo>
                        <a:lnTo>
                          <a:pt x="50" y="455"/>
                        </a:lnTo>
                        <a:lnTo>
                          <a:pt x="40" y="483"/>
                        </a:lnTo>
                        <a:lnTo>
                          <a:pt x="30" y="512"/>
                        </a:lnTo>
                        <a:lnTo>
                          <a:pt x="23" y="541"/>
                        </a:lnTo>
                        <a:lnTo>
                          <a:pt x="16" y="571"/>
                        </a:lnTo>
                        <a:lnTo>
                          <a:pt x="10" y="601"/>
                        </a:lnTo>
                        <a:lnTo>
                          <a:pt x="6" y="632"/>
                        </a:lnTo>
                        <a:lnTo>
                          <a:pt x="3" y="662"/>
                        </a:lnTo>
                        <a:lnTo>
                          <a:pt x="1" y="694"/>
                        </a:lnTo>
                        <a:lnTo>
                          <a:pt x="0" y="725"/>
                        </a:lnTo>
                        <a:lnTo>
                          <a:pt x="0" y="725"/>
                        </a:lnTo>
                        <a:lnTo>
                          <a:pt x="1" y="757"/>
                        </a:lnTo>
                        <a:lnTo>
                          <a:pt x="3" y="788"/>
                        </a:lnTo>
                        <a:lnTo>
                          <a:pt x="6" y="817"/>
                        </a:lnTo>
                        <a:lnTo>
                          <a:pt x="10" y="848"/>
                        </a:lnTo>
                        <a:lnTo>
                          <a:pt x="16" y="877"/>
                        </a:lnTo>
                        <a:lnTo>
                          <a:pt x="23" y="907"/>
                        </a:lnTo>
                        <a:lnTo>
                          <a:pt x="30" y="936"/>
                        </a:lnTo>
                        <a:lnTo>
                          <a:pt x="40" y="964"/>
                        </a:lnTo>
                        <a:lnTo>
                          <a:pt x="50" y="992"/>
                        </a:lnTo>
                        <a:lnTo>
                          <a:pt x="61" y="1019"/>
                        </a:lnTo>
                        <a:lnTo>
                          <a:pt x="73" y="1046"/>
                        </a:lnTo>
                        <a:lnTo>
                          <a:pt x="86" y="1072"/>
                        </a:lnTo>
                        <a:lnTo>
                          <a:pt x="101" y="1098"/>
                        </a:lnTo>
                        <a:lnTo>
                          <a:pt x="116" y="1123"/>
                        </a:lnTo>
                        <a:lnTo>
                          <a:pt x="132" y="1148"/>
                        </a:lnTo>
                        <a:lnTo>
                          <a:pt x="150" y="1171"/>
                        </a:lnTo>
                        <a:lnTo>
                          <a:pt x="167" y="1195"/>
                        </a:lnTo>
                        <a:lnTo>
                          <a:pt x="186" y="1217"/>
                        </a:lnTo>
                        <a:lnTo>
                          <a:pt x="206" y="1239"/>
                        </a:lnTo>
                        <a:lnTo>
                          <a:pt x="226" y="1260"/>
                        </a:lnTo>
                        <a:lnTo>
                          <a:pt x="248" y="1280"/>
                        </a:lnTo>
                        <a:lnTo>
                          <a:pt x="269" y="1300"/>
                        </a:lnTo>
                        <a:lnTo>
                          <a:pt x="291" y="1318"/>
                        </a:lnTo>
                        <a:lnTo>
                          <a:pt x="315" y="1335"/>
                        </a:lnTo>
                        <a:lnTo>
                          <a:pt x="338" y="1353"/>
                        </a:lnTo>
                        <a:lnTo>
                          <a:pt x="363" y="1369"/>
                        </a:lnTo>
                        <a:lnTo>
                          <a:pt x="388" y="1384"/>
                        </a:lnTo>
                        <a:lnTo>
                          <a:pt x="414" y="1398"/>
                        </a:lnTo>
                        <a:lnTo>
                          <a:pt x="440" y="1411"/>
                        </a:lnTo>
                        <a:lnTo>
                          <a:pt x="467" y="1423"/>
                        </a:lnTo>
                        <a:lnTo>
                          <a:pt x="494" y="1435"/>
                        </a:lnTo>
                        <a:lnTo>
                          <a:pt x="522" y="1446"/>
                        </a:lnTo>
                        <a:lnTo>
                          <a:pt x="522" y="1446"/>
                        </a:lnTo>
                        <a:lnTo>
                          <a:pt x="490" y="1412"/>
                        </a:lnTo>
                        <a:lnTo>
                          <a:pt x="460" y="1377"/>
                        </a:lnTo>
                        <a:lnTo>
                          <a:pt x="431" y="1341"/>
                        </a:lnTo>
                        <a:lnTo>
                          <a:pt x="404" y="1303"/>
                        </a:lnTo>
                        <a:lnTo>
                          <a:pt x="377" y="1262"/>
                        </a:lnTo>
                        <a:lnTo>
                          <a:pt x="354" y="1220"/>
                        </a:lnTo>
                        <a:lnTo>
                          <a:pt x="331" y="1177"/>
                        </a:lnTo>
                        <a:lnTo>
                          <a:pt x="311" y="1132"/>
                        </a:lnTo>
                        <a:lnTo>
                          <a:pt x="292" y="1086"/>
                        </a:lnTo>
                        <a:lnTo>
                          <a:pt x="284" y="1062"/>
                        </a:lnTo>
                        <a:lnTo>
                          <a:pt x="276" y="1039"/>
                        </a:lnTo>
                        <a:lnTo>
                          <a:pt x="269" y="1014"/>
                        </a:lnTo>
                        <a:lnTo>
                          <a:pt x="262" y="990"/>
                        </a:lnTo>
                        <a:lnTo>
                          <a:pt x="256" y="965"/>
                        </a:lnTo>
                        <a:lnTo>
                          <a:pt x="251" y="940"/>
                        </a:lnTo>
                        <a:lnTo>
                          <a:pt x="246" y="914"/>
                        </a:lnTo>
                        <a:lnTo>
                          <a:pt x="241" y="889"/>
                        </a:lnTo>
                        <a:lnTo>
                          <a:pt x="237" y="863"/>
                        </a:lnTo>
                        <a:lnTo>
                          <a:pt x="234" y="837"/>
                        </a:lnTo>
                        <a:lnTo>
                          <a:pt x="232" y="811"/>
                        </a:lnTo>
                        <a:lnTo>
                          <a:pt x="230" y="785"/>
                        </a:lnTo>
                        <a:lnTo>
                          <a:pt x="229" y="758"/>
                        </a:lnTo>
                        <a:lnTo>
                          <a:pt x="229" y="731"/>
                        </a:lnTo>
                        <a:lnTo>
                          <a:pt x="229" y="731"/>
                        </a:lnTo>
                        <a:lnTo>
                          <a:pt x="229" y="703"/>
                        </a:lnTo>
                        <a:lnTo>
                          <a:pt x="230" y="675"/>
                        </a:lnTo>
                        <a:lnTo>
                          <a:pt x="232" y="648"/>
                        </a:lnTo>
                        <a:lnTo>
                          <a:pt x="234" y="621"/>
                        </a:lnTo>
                        <a:lnTo>
                          <a:pt x="237" y="595"/>
                        </a:lnTo>
                        <a:lnTo>
                          <a:pt x="241" y="567"/>
                        </a:lnTo>
                        <a:lnTo>
                          <a:pt x="246" y="542"/>
                        </a:lnTo>
                        <a:lnTo>
                          <a:pt x="251" y="515"/>
                        </a:lnTo>
                        <a:lnTo>
                          <a:pt x="256" y="490"/>
                        </a:lnTo>
                        <a:lnTo>
                          <a:pt x="262" y="464"/>
                        </a:lnTo>
                        <a:lnTo>
                          <a:pt x="269" y="439"/>
                        </a:lnTo>
                        <a:lnTo>
                          <a:pt x="276" y="414"/>
                        </a:lnTo>
                        <a:lnTo>
                          <a:pt x="284" y="390"/>
                        </a:lnTo>
                        <a:lnTo>
                          <a:pt x="292" y="365"/>
                        </a:lnTo>
                        <a:lnTo>
                          <a:pt x="302" y="341"/>
                        </a:lnTo>
                        <a:lnTo>
                          <a:pt x="311" y="317"/>
                        </a:lnTo>
                        <a:lnTo>
                          <a:pt x="321" y="295"/>
                        </a:lnTo>
                        <a:lnTo>
                          <a:pt x="331" y="272"/>
                        </a:lnTo>
                        <a:lnTo>
                          <a:pt x="342" y="250"/>
                        </a:lnTo>
                        <a:lnTo>
                          <a:pt x="354" y="228"/>
                        </a:lnTo>
                        <a:lnTo>
                          <a:pt x="366" y="206"/>
                        </a:lnTo>
                        <a:lnTo>
                          <a:pt x="379" y="185"/>
                        </a:lnTo>
                        <a:lnTo>
                          <a:pt x="391" y="164"/>
                        </a:lnTo>
                        <a:lnTo>
                          <a:pt x="406" y="144"/>
                        </a:lnTo>
                        <a:lnTo>
                          <a:pt x="419" y="125"/>
                        </a:lnTo>
                        <a:lnTo>
                          <a:pt x="434" y="105"/>
                        </a:lnTo>
                        <a:lnTo>
                          <a:pt x="448" y="87"/>
                        </a:lnTo>
                        <a:lnTo>
                          <a:pt x="464" y="69"/>
                        </a:lnTo>
                        <a:lnTo>
                          <a:pt x="479" y="50"/>
                        </a:lnTo>
                        <a:lnTo>
                          <a:pt x="495" y="33"/>
                        </a:lnTo>
                        <a:lnTo>
                          <a:pt x="512" y="17"/>
                        </a:lnTo>
                        <a:lnTo>
                          <a:pt x="529" y="0"/>
                        </a:lnTo>
                        <a:lnTo>
                          <a:pt x="529" y="0"/>
                        </a:lnTo>
                        <a:close/>
                      </a:path>
                    </a:pathLst>
                  </a:custGeom>
                  <a:solidFill>
                    <a:srgbClr val="049CD4"/>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gradFill>
                        <a:gsLst>
                          <a:gs pos="0">
                            <a:srgbClr val="39393B">
                              <a:alpha val="0"/>
                            </a:srgbClr>
                          </a:gs>
                          <a:gs pos="85000">
                            <a:srgbClr val="39393B"/>
                          </a:gs>
                        </a:gsLst>
                        <a:lin ang="0" scaled="1"/>
                      </a:gradFill>
                      <a:effectLst/>
                      <a:uLnTx/>
                      <a:uFillTx/>
                      <a:latin typeface="Arial"/>
                      <a:ea typeface=""/>
                      <a:cs typeface=""/>
                    </a:endParaRPr>
                  </a:p>
                </p:txBody>
              </p:sp>
              <p:sp>
                <p:nvSpPr>
                  <p:cNvPr id="345" name="Freeform 247"/>
                  <p:cNvSpPr>
                    <a:spLocks noEditPoints="1"/>
                  </p:cNvSpPr>
                  <p:nvPr/>
                </p:nvSpPr>
                <p:spPr bwMode="auto">
                  <a:xfrm>
                    <a:off x="8498682" y="4395788"/>
                    <a:ext cx="249238" cy="247650"/>
                  </a:xfrm>
                  <a:custGeom>
                    <a:avLst/>
                    <a:gdLst>
                      <a:gd name="T0" fmla="*/ 842 w 1096"/>
                      <a:gd name="T1" fmla="*/ 566 h 1096"/>
                      <a:gd name="T2" fmla="*/ 863 w 1096"/>
                      <a:gd name="T3" fmla="*/ 455 h 1096"/>
                      <a:gd name="T4" fmla="*/ 859 w 1096"/>
                      <a:gd name="T5" fmla="*/ 366 h 1096"/>
                      <a:gd name="T6" fmla="*/ 829 w 1096"/>
                      <a:gd name="T7" fmla="*/ 264 h 1096"/>
                      <a:gd name="T8" fmla="*/ 777 w 1096"/>
                      <a:gd name="T9" fmla="*/ 174 h 1096"/>
                      <a:gd name="T10" fmla="*/ 706 w 1096"/>
                      <a:gd name="T11" fmla="*/ 99 h 1096"/>
                      <a:gd name="T12" fmla="*/ 619 w 1096"/>
                      <a:gd name="T13" fmla="*/ 43 h 1096"/>
                      <a:gd name="T14" fmla="*/ 518 w 1096"/>
                      <a:gd name="T15" fmla="*/ 9 h 1096"/>
                      <a:gd name="T16" fmla="*/ 432 w 1096"/>
                      <a:gd name="T17" fmla="*/ 0 h 1096"/>
                      <a:gd name="T18" fmla="*/ 324 w 1096"/>
                      <a:gd name="T19" fmla="*/ 13 h 1096"/>
                      <a:gd name="T20" fmla="*/ 227 w 1096"/>
                      <a:gd name="T21" fmla="*/ 52 h 1096"/>
                      <a:gd name="T22" fmla="*/ 142 w 1096"/>
                      <a:gd name="T23" fmla="*/ 112 h 1096"/>
                      <a:gd name="T24" fmla="*/ 74 w 1096"/>
                      <a:gd name="T25" fmla="*/ 191 h 1096"/>
                      <a:gd name="T26" fmla="*/ 27 w 1096"/>
                      <a:gd name="T27" fmla="*/ 284 h 1096"/>
                      <a:gd name="T28" fmla="*/ 2 w 1096"/>
                      <a:gd name="T29" fmla="*/ 388 h 1096"/>
                      <a:gd name="T30" fmla="*/ 2 w 1096"/>
                      <a:gd name="T31" fmla="*/ 476 h 1096"/>
                      <a:gd name="T32" fmla="*/ 27 w 1096"/>
                      <a:gd name="T33" fmla="*/ 581 h 1096"/>
                      <a:gd name="T34" fmla="*/ 74 w 1096"/>
                      <a:gd name="T35" fmla="*/ 673 h 1096"/>
                      <a:gd name="T36" fmla="*/ 142 w 1096"/>
                      <a:gd name="T37" fmla="*/ 751 h 1096"/>
                      <a:gd name="T38" fmla="*/ 227 w 1096"/>
                      <a:gd name="T39" fmla="*/ 811 h 1096"/>
                      <a:gd name="T40" fmla="*/ 324 w 1096"/>
                      <a:gd name="T41" fmla="*/ 850 h 1096"/>
                      <a:gd name="T42" fmla="*/ 432 w 1096"/>
                      <a:gd name="T43" fmla="*/ 864 h 1096"/>
                      <a:gd name="T44" fmla="*/ 524 w 1096"/>
                      <a:gd name="T45" fmla="*/ 854 h 1096"/>
                      <a:gd name="T46" fmla="*/ 833 w 1096"/>
                      <a:gd name="T47" fmla="*/ 1051 h 1096"/>
                      <a:gd name="T48" fmla="*/ 884 w 1096"/>
                      <a:gd name="T49" fmla="*/ 1084 h 1096"/>
                      <a:gd name="T50" fmla="*/ 942 w 1096"/>
                      <a:gd name="T51" fmla="*/ 1096 h 1096"/>
                      <a:gd name="T52" fmla="*/ 1013 w 1096"/>
                      <a:gd name="T53" fmla="*/ 1078 h 1096"/>
                      <a:gd name="T54" fmla="*/ 1061 w 1096"/>
                      <a:gd name="T55" fmla="*/ 1039 h 1096"/>
                      <a:gd name="T56" fmla="*/ 1093 w 1096"/>
                      <a:gd name="T57" fmla="*/ 971 h 1096"/>
                      <a:gd name="T58" fmla="*/ 1093 w 1096"/>
                      <a:gd name="T59" fmla="*/ 912 h 1096"/>
                      <a:gd name="T60" fmla="*/ 1061 w 1096"/>
                      <a:gd name="T61" fmla="*/ 845 h 1096"/>
                      <a:gd name="T62" fmla="*/ 417 w 1096"/>
                      <a:gd name="T63" fmla="*/ 712 h 1096"/>
                      <a:gd name="T64" fmla="*/ 348 w 1096"/>
                      <a:gd name="T65" fmla="*/ 700 h 1096"/>
                      <a:gd name="T66" fmla="*/ 287 w 1096"/>
                      <a:gd name="T67" fmla="*/ 672 h 1096"/>
                      <a:gd name="T68" fmla="*/ 234 w 1096"/>
                      <a:gd name="T69" fmla="*/ 631 h 1096"/>
                      <a:gd name="T70" fmla="*/ 192 w 1096"/>
                      <a:gd name="T71" fmla="*/ 578 h 1096"/>
                      <a:gd name="T72" fmla="*/ 164 w 1096"/>
                      <a:gd name="T73" fmla="*/ 515 h 1096"/>
                      <a:gd name="T74" fmla="*/ 151 w 1096"/>
                      <a:gd name="T75" fmla="*/ 446 h 1096"/>
                      <a:gd name="T76" fmla="*/ 154 w 1096"/>
                      <a:gd name="T77" fmla="*/ 389 h 1096"/>
                      <a:gd name="T78" fmla="*/ 174 w 1096"/>
                      <a:gd name="T79" fmla="*/ 323 h 1096"/>
                      <a:gd name="T80" fmla="*/ 207 w 1096"/>
                      <a:gd name="T81" fmla="*/ 264 h 1096"/>
                      <a:gd name="T82" fmla="*/ 253 w 1096"/>
                      <a:gd name="T83" fmla="*/ 215 h 1096"/>
                      <a:gd name="T84" fmla="*/ 310 w 1096"/>
                      <a:gd name="T85" fmla="*/ 179 h 1096"/>
                      <a:gd name="T86" fmla="*/ 376 w 1096"/>
                      <a:gd name="T87" fmla="*/ 156 h 1096"/>
                      <a:gd name="T88" fmla="*/ 432 w 1096"/>
                      <a:gd name="T89" fmla="*/ 151 h 1096"/>
                      <a:gd name="T90" fmla="*/ 502 w 1096"/>
                      <a:gd name="T91" fmla="*/ 160 h 1096"/>
                      <a:gd name="T92" fmla="*/ 565 w 1096"/>
                      <a:gd name="T93" fmla="*/ 185 h 1096"/>
                      <a:gd name="T94" fmla="*/ 620 w 1096"/>
                      <a:gd name="T95" fmla="*/ 224 h 1096"/>
                      <a:gd name="T96" fmla="*/ 665 w 1096"/>
                      <a:gd name="T97" fmla="*/ 275 h 1096"/>
                      <a:gd name="T98" fmla="*/ 696 w 1096"/>
                      <a:gd name="T99" fmla="*/ 336 h 1096"/>
                      <a:gd name="T100" fmla="*/ 712 w 1096"/>
                      <a:gd name="T101" fmla="*/ 403 h 1096"/>
                      <a:gd name="T102" fmla="*/ 712 w 1096"/>
                      <a:gd name="T103" fmla="*/ 460 h 1096"/>
                      <a:gd name="T104" fmla="*/ 696 w 1096"/>
                      <a:gd name="T105" fmla="*/ 529 h 1096"/>
                      <a:gd name="T106" fmla="*/ 665 w 1096"/>
                      <a:gd name="T107" fmla="*/ 589 h 1096"/>
                      <a:gd name="T108" fmla="*/ 620 w 1096"/>
                      <a:gd name="T109" fmla="*/ 640 h 1096"/>
                      <a:gd name="T110" fmla="*/ 565 w 1096"/>
                      <a:gd name="T111" fmla="*/ 679 h 1096"/>
                      <a:gd name="T112" fmla="*/ 502 w 1096"/>
                      <a:gd name="T113" fmla="*/ 704 h 1096"/>
                      <a:gd name="T114" fmla="*/ 432 w 1096"/>
                      <a:gd name="T115" fmla="*/ 713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96" h="1096">
                        <a:moveTo>
                          <a:pt x="1051" y="833"/>
                        </a:moveTo>
                        <a:lnTo>
                          <a:pt x="825" y="608"/>
                        </a:lnTo>
                        <a:lnTo>
                          <a:pt x="825" y="608"/>
                        </a:lnTo>
                        <a:lnTo>
                          <a:pt x="835" y="588"/>
                        </a:lnTo>
                        <a:lnTo>
                          <a:pt x="842" y="566"/>
                        </a:lnTo>
                        <a:lnTo>
                          <a:pt x="849" y="545"/>
                        </a:lnTo>
                        <a:lnTo>
                          <a:pt x="854" y="523"/>
                        </a:lnTo>
                        <a:lnTo>
                          <a:pt x="858" y="501"/>
                        </a:lnTo>
                        <a:lnTo>
                          <a:pt x="861" y="479"/>
                        </a:lnTo>
                        <a:lnTo>
                          <a:pt x="863" y="455"/>
                        </a:lnTo>
                        <a:lnTo>
                          <a:pt x="864" y="432"/>
                        </a:lnTo>
                        <a:lnTo>
                          <a:pt x="864" y="432"/>
                        </a:lnTo>
                        <a:lnTo>
                          <a:pt x="863" y="409"/>
                        </a:lnTo>
                        <a:lnTo>
                          <a:pt x="862" y="388"/>
                        </a:lnTo>
                        <a:lnTo>
                          <a:pt x="859" y="366"/>
                        </a:lnTo>
                        <a:lnTo>
                          <a:pt x="855" y="345"/>
                        </a:lnTo>
                        <a:lnTo>
                          <a:pt x="850" y="324"/>
                        </a:lnTo>
                        <a:lnTo>
                          <a:pt x="845" y="303"/>
                        </a:lnTo>
                        <a:lnTo>
                          <a:pt x="838" y="284"/>
                        </a:lnTo>
                        <a:lnTo>
                          <a:pt x="829" y="264"/>
                        </a:lnTo>
                        <a:lnTo>
                          <a:pt x="821" y="245"/>
                        </a:lnTo>
                        <a:lnTo>
                          <a:pt x="812" y="227"/>
                        </a:lnTo>
                        <a:lnTo>
                          <a:pt x="801" y="208"/>
                        </a:lnTo>
                        <a:lnTo>
                          <a:pt x="790" y="191"/>
                        </a:lnTo>
                        <a:lnTo>
                          <a:pt x="777" y="174"/>
                        </a:lnTo>
                        <a:lnTo>
                          <a:pt x="765" y="157"/>
                        </a:lnTo>
                        <a:lnTo>
                          <a:pt x="752" y="142"/>
                        </a:lnTo>
                        <a:lnTo>
                          <a:pt x="738" y="127"/>
                        </a:lnTo>
                        <a:lnTo>
                          <a:pt x="722" y="112"/>
                        </a:lnTo>
                        <a:lnTo>
                          <a:pt x="706" y="99"/>
                        </a:lnTo>
                        <a:lnTo>
                          <a:pt x="690" y="86"/>
                        </a:lnTo>
                        <a:lnTo>
                          <a:pt x="673" y="74"/>
                        </a:lnTo>
                        <a:lnTo>
                          <a:pt x="656" y="62"/>
                        </a:lnTo>
                        <a:lnTo>
                          <a:pt x="638" y="52"/>
                        </a:lnTo>
                        <a:lnTo>
                          <a:pt x="619" y="43"/>
                        </a:lnTo>
                        <a:lnTo>
                          <a:pt x="600" y="34"/>
                        </a:lnTo>
                        <a:lnTo>
                          <a:pt x="581" y="27"/>
                        </a:lnTo>
                        <a:lnTo>
                          <a:pt x="560" y="20"/>
                        </a:lnTo>
                        <a:lnTo>
                          <a:pt x="540" y="13"/>
                        </a:lnTo>
                        <a:lnTo>
                          <a:pt x="518" y="9"/>
                        </a:lnTo>
                        <a:lnTo>
                          <a:pt x="498" y="5"/>
                        </a:lnTo>
                        <a:lnTo>
                          <a:pt x="476" y="2"/>
                        </a:lnTo>
                        <a:lnTo>
                          <a:pt x="454" y="0"/>
                        </a:lnTo>
                        <a:lnTo>
                          <a:pt x="432" y="0"/>
                        </a:lnTo>
                        <a:lnTo>
                          <a:pt x="432" y="0"/>
                        </a:lnTo>
                        <a:lnTo>
                          <a:pt x="409" y="0"/>
                        </a:lnTo>
                        <a:lnTo>
                          <a:pt x="388" y="2"/>
                        </a:lnTo>
                        <a:lnTo>
                          <a:pt x="367" y="5"/>
                        </a:lnTo>
                        <a:lnTo>
                          <a:pt x="345" y="9"/>
                        </a:lnTo>
                        <a:lnTo>
                          <a:pt x="324" y="13"/>
                        </a:lnTo>
                        <a:lnTo>
                          <a:pt x="303" y="20"/>
                        </a:lnTo>
                        <a:lnTo>
                          <a:pt x="284" y="27"/>
                        </a:lnTo>
                        <a:lnTo>
                          <a:pt x="265" y="34"/>
                        </a:lnTo>
                        <a:lnTo>
                          <a:pt x="245" y="43"/>
                        </a:lnTo>
                        <a:lnTo>
                          <a:pt x="227" y="52"/>
                        </a:lnTo>
                        <a:lnTo>
                          <a:pt x="208" y="62"/>
                        </a:lnTo>
                        <a:lnTo>
                          <a:pt x="191" y="74"/>
                        </a:lnTo>
                        <a:lnTo>
                          <a:pt x="174" y="86"/>
                        </a:lnTo>
                        <a:lnTo>
                          <a:pt x="157" y="99"/>
                        </a:lnTo>
                        <a:lnTo>
                          <a:pt x="142" y="112"/>
                        </a:lnTo>
                        <a:lnTo>
                          <a:pt x="127" y="127"/>
                        </a:lnTo>
                        <a:lnTo>
                          <a:pt x="113" y="142"/>
                        </a:lnTo>
                        <a:lnTo>
                          <a:pt x="99" y="157"/>
                        </a:lnTo>
                        <a:lnTo>
                          <a:pt x="86" y="174"/>
                        </a:lnTo>
                        <a:lnTo>
                          <a:pt x="74" y="191"/>
                        </a:lnTo>
                        <a:lnTo>
                          <a:pt x="63" y="208"/>
                        </a:lnTo>
                        <a:lnTo>
                          <a:pt x="52" y="227"/>
                        </a:lnTo>
                        <a:lnTo>
                          <a:pt x="43" y="245"/>
                        </a:lnTo>
                        <a:lnTo>
                          <a:pt x="34" y="264"/>
                        </a:lnTo>
                        <a:lnTo>
                          <a:pt x="27" y="284"/>
                        </a:lnTo>
                        <a:lnTo>
                          <a:pt x="20" y="303"/>
                        </a:lnTo>
                        <a:lnTo>
                          <a:pt x="14" y="324"/>
                        </a:lnTo>
                        <a:lnTo>
                          <a:pt x="10" y="345"/>
                        </a:lnTo>
                        <a:lnTo>
                          <a:pt x="6" y="366"/>
                        </a:lnTo>
                        <a:lnTo>
                          <a:pt x="2" y="388"/>
                        </a:lnTo>
                        <a:lnTo>
                          <a:pt x="1" y="409"/>
                        </a:lnTo>
                        <a:lnTo>
                          <a:pt x="0" y="432"/>
                        </a:lnTo>
                        <a:lnTo>
                          <a:pt x="0" y="432"/>
                        </a:lnTo>
                        <a:lnTo>
                          <a:pt x="1" y="454"/>
                        </a:lnTo>
                        <a:lnTo>
                          <a:pt x="2" y="476"/>
                        </a:lnTo>
                        <a:lnTo>
                          <a:pt x="6" y="498"/>
                        </a:lnTo>
                        <a:lnTo>
                          <a:pt x="10" y="518"/>
                        </a:lnTo>
                        <a:lnTo>
                          <a:pt x="14" y="540"/>
                        </a:lnTo>
                        <a:lnTo>
                          <a:pt x="20" y="560"/>
                        </a:lnTo>
                        <a:lnTo>
                          <a:pt x="27" y="581"/>
                        </a:lnTo>
                        <a:lnTo>
                          <a:pt x="34" y="600"/>
                        </a:lnTo>
                        <a:lnTo>
                          <a:pt x="43" y="619"/>
                        </a:lnTo>
                        <a:lnTo>
                          <a:pt x="52" y="638"/>
                        </a:lnTo>
                        <a:lnTo>
                          <a:pt x="63" y="656"/>
                        </a:lnTo>
                        <a:lnTo>
                          <a:pt x="74" y="673"/>
                        </a:lnTo>
                        <a:lnTo>
                          <a:pt x="86" y="690"/>
                        </a:lnTo>
                        <a:lnTo>
                          <a:pt x="99" y="706"/>
                        </a:lnTo>
                        <a:lnTo>
                          <a:pt x="113" y="722"/>
                        </a:lnTo>
                        <a:lnTo>
                          <a:pt x="127" y="737"/>
                        </a:lnTo>
                        <a:lnTo>
                          <a:pt x="142" y="751"/>
                        </a:lnTo>
                        <a:lnTo>
                          <a:pt x="157" y="765"/>
                        </a:lnTo>
                        <a:lnTo>
                          <a:pt x="174" y="777"/>
                        </a:lnTo>
                        <a:lnTo>
                          <a:pt x="191" y="790"/>
                        </a:lnTo>
                        <a:lnTo>
                          <a:pt x="208" y="801"/>
                        </a:lnTo>
                        <a:lnTo>
                          <a:pt x="227" y="811"/>
                        </a:lnTo>
                        <a:lnTo>
                          <a:pt x="245" y="821"/>
                        </a:lnTo>
                        <a:lnTo>
                          <a:pt x="265" y="829"/>
                        </a:lnTo>
                        <a:lnTo>
                          <a:pt x="284" y="838"/>
                        </a:lnTo>
                        <a:lnTo>
                          <a:pt x="303" y="844"/>
                        </a:lnTo>
                        <a:lnTo>
                          <a:pt x="324" y="850"/>
                        </a:lnTo>
                        <a:lnTo>
                          <a:pt x="345" y="855"/>
                        </a:lnTo>
                        <a:lnTo>
                          <a:pt x="367" y="859"/>
                        </a:lnTo>
                        <a:lnTo>
                          <a:pt x="388" y="861"/>
                        </a:lnTo>
                        <a:lnTo>
                          <a:pt x="409" y="863"/>
                        </a:lnTo>
                        <a:lnTo>
                          <a:pt x="432" y="864"/>
                        </a:lnTo>
                        <a:lnTo>
                          <a:pt x="432" y="864"/>
                        </a:lnTo>
                        <a:lnTo>
                          <a:pt x="455" y="863"/>
                        </a:lnTo>
                        <a:lnTo>
                          <a:pt x="479" y="861"/>
                        </a:lnTo>
                        <a:lnTo>
                          <a:pt x="501" y="858"/>
                        </a:lnTo>
                        <a:lnTo>
                          <a:pt x="524" y="854"/>
                        </a:lnTo>
                        <a:lnTo>
                          <a:pt x="545" y="848"/>
                        </a:lnTo>
                        <a:lnTo>
                          <a:pt x="566" y="842"/>
                        </a:lnTo>
                        <a:lnTo>
                          <a:pt x="588" y="835"/>
                        </a:lnTo>
                        <a:lnTo>
                          <a:pt x="608" y="825"/>
                        </a:lnTo>
                        <a:lnTo>
                          <a:pt x="833" y="1051"/>
                        </a:lnTo>
                        <a:lnTo>
                          <a:pt x="833" y="1051"/>
                        </a:lnTo>
                        <a:lnTo>
                          <a:pt x="845" y="1061"/>
                        </a:lnTo>
                        <a:lnTo>
                          <a:pt x="857" y="1070"/>
                        </a:lnTo>
                        <a:lnTo>
                          <a:pt x="870" y="1078"/>
                        </a:lnTo>
                        <a:lnTo>
                          <a:pt x="884" y="1084"/>
                        </a:lnTo>
                        <a:lnTo>
                          <a:pt x="898" y="1090"/>
                        </a:lnTo>
                        <a:lnTo>
                          <a:pt x="912" y="1093"/>
                        </a:lnTo>
                        <a:lnTo>
                          <a:pt x="927" y="1095"/>
                        </a:lnTo>
                        <a:lnTo>
                          <a:pt x="942" y="1096"/>
                        </a:lnTo>
                        <a:lnTo>
                          <a:pt x="942" y="1096"/>
                        </a:lnTo>
                        <a:lnTo>
                          <a:pt x="957" y="1095"/>
                        </a:lnTo>
                        <a:lnTo>
                          <a:pt x="971" y="1093"/>
                        </a:lnTo>
                        <a:lnTo>
                          <a:pt x="986" y="1090"/>
                        </a:lnTo>
                        <a:lnTo>
                          <a:pt x="1000" y="1084"/>
                        </a:lnTo>
                        <a:lnTo>
                          <a:pt x="1013" y="1078"/>
                        </a:lnTo>
                        <a:lnTo>
                          <a:pt x="1026" y="1070"/>
                        </a:lnTo>
                        <a:lnTo>
                          <a:pt x="1039" y="1061"/>
                        </a:lnTo>
                        <a:lnTo>
                          <a:pt x="1051" y="1051"/>
                        </a:lnTo>
                        <a:lnTo>
                          <a:pt x="1051" y="1051"/>
                        </a:lnTo>
                        <a:lnTo>
                          <a:pt x="1061" y="1039"/>
                        </a:lnTo>
                        <a:lnTo>
                          <a:pt x="1070" y="1026"/>
                        </a:lnTo>
                        <a:lnTo>
                          <a:pt x="1078" y="1013"/>
                        </a:lnTo>
                        <a:lnTo>
                          <a:pt x="1084" y="1000"/>
                        </a:lnTo>
                        <a:lnTo>
                          <a:pt x="1090" y="986"/>
                        </a:lnTo>
                        <a:lnTo>
                          <a:pt x="1093" y="971"/>
                        </a:lnTo>
                        <a:lnTo>
                          <a:pt x="1095" y="956"/>
                        </a:lnTo>
                        <a:lnTo>
                          <a:pt x="1096" y="942"/>
                        </a:lnTo>
                        <a:lnTo>
                          <a:pt x="1096" y="942"/>
                        </a:lnTo>
                        <a:lnTo>
                          <a:pt x="1095" y="927"/>
                        </a:lnTo>
                        <a:lnTo>
                          <a:pt x="1093" y="912"/>
                        </a:lnTo>
                        <a:lnTo>
                          <a:pt x="1090" y="898"/>
                        </a:lnTo>
                        <a:lnTo>
                          <a:pt x="1084" y="884"/>
                        </a:lnTo>
                        <a:lnTo>
                          <a:pt x="1078" y="870"/>
                        </a:lnTo>
                        <a:lnTo>
                          <a:pt x="1070" y="857"/>
                        </a:lnTo>
                        <a:lnTo>
                          <a:pt x="1061" y="845"/>
                        </a:lnTo>
                        <a:lnTo>
                          <a:pt x="1051" y="833"/>
                        </a:lnTo>
                        <a:lnTo>
                          <a:pt x="1051" y="833"/>
                        </a:lnTo>
                        <a:close/>
                        <a:moveTo>
                          <a:pt x="432" y="713"/>
                        </a:moveTo>
                        <a:lnTo>
                          <a:pt x="432" y="713"/>
                        </a:lnTo>
                        <a:lnTo>
                          <a:pt x="417" y="712"/>
                        </a:lnTo>
                        <a:lnTo>
                          <a:pt x="403" y="711"/>
                        </a:lnTo>
                        <a:lnTo>
                          <a:pt x="389" y="709"/>
                        </a:lnTo>
                        <a:lnTo>
                          <a:pt x="376" y="707"/>
                        </a:lnTo>
                        <a:lnTo>
                          <a:pt x="361" y="704"/>
                        </a:lnTo>
                        <a:lnTo>
                          <a:pt x="348" y="700"/>
                        </a:lnTo>
                        <a:lnTo>
                          <a:pt x="336" y="696"/>
                        </a:lnTo>
                        <a:lnTo>
                          <a:pt x="323" y="691"/>
                        </a:lnTo>
                        <a:lnTo>
                          <a:pt x="310" y="685"/>
                        </a:lnTo>
                        <a:lnTo>
                          <a:pt x="298" y="679"/>
                        </a:lnTo>
                        <a:lnTo>
                          <a:pt x="287" y="672"/>
                        </a:lnTo>
                        <a:lnTo>
                          <a:pt x="275" y="664"/>
                        </a:lnTo>
                        <a:lnTo>
                          <a:pt x="265" y="657"/>
                        </a:lnTo>
                        <a:lnTo>
                          <a:pt x="253" y="649"/>
                        </a:lnTo>
                        <a:lnTo>
                          <a:pt x="243" y="640"/>
                        </a:lnTo>
                        <a:lnTo>
                          <a:pt x="234" y="631"/>
                        </a:lnTo>
                        <a:lnTo>
                          <a:pt x="225" y="620"/>
                        </a:lnTo>
                        <a:lnTo>
                          <a:pt x="216" y="610"/>
                        </a:lnTo>
                        <a:lnTo>
                          <a:pt x="207" y="600"/>
                        </a:lnTo>
                        <a:lnTo>
                          <a:pt x="199" y="589"/>
                        </a:lnTo>
                        <a:lnTo>
                          <a:pt x="192" y="578"/>
                        </a:lnTo>
                        <a:lnTo>
                          <a:pt x="185" y="565"/>
                        </a:lnTo>
                        <a:lnTo>
                          <a:pt x="179" y="553"/>
                        </a:lnTo>
                        <a:lnTo>
                          <a:pt x="174" y="541"/>
                        </a:lnTo>
                        <a:lnTo>
                          <a:pt x="169" y="529"/>
                        </a:lnTo>
                        <a:lnTo>
                          <a:pt x="164" y="515"/>
                        </a:lnTo>
                        <a:lnTo>
                          <a:pt x="161" y="502"/>
                        </a:lnTo>
                        <a:lnTo>
                          <a:pt x="156" y="489"/>
                        </a:lnTo>
                        <a:lnTo>
                          <a:pt x="154" y="475"/>
                        </a:lnTo>
                        <a:lnTo>
                          <a:pt x="152" y="460"/>
                        </a:lnTo>
                        <a:lnTo>
                          <a:pt x="151" y="446"/>
                        </a:lnTo>
                        <a:lnTo>
                          <a:pt x="151" y="432"/>
                        </a:lnTo>
                        <a:lnTo>
                          <a:pt x="151" y="432"/>
                        </a:lnTo>
                        <a:lnTo>
                          <a:pt x="151" y="417"/>
                        </a:lnTo>
                        <a:lnTo>
                          <a:pt x="152" y="403"/>
                        </a:lnTo>
                        <a:lnTo>
                          <a:pt x="154" y="389"/>
                        </a:lnTo>
                        <a:lnTo>
                          <a:pt x="156" y="376"/>
                        </a:lnTo>
                        <a:lnTo>
                          <a:pt x="161" y="361"/>
                        </a:lnTo>
                        <a:lnTo>
                          <a:pt x="164" y="348"/>
                        </a:lnTo>
                        <a:lnTo>
                          <a:pt x="169" y="336"/>
                        </a:lnTo>
                        <a:lnTo>
                          <a:pt x="174" y="323"/>
                        </a:lnTo>
                        <a:lnTo>
                          <a:pt x="179" y="310"/>
                        </a:lnTo>
                        <a:lnTo>
                          <a:pt x="185" y="298"/>
                        </a:lnTo>
                        <a:lnTo>
                          <a:pt x="192" y="287"/>
                        </a:lnTo>
                        <a:lnTo>
                          <a:pt x="199" y="275"/>
                        </a:lnTo>
                        <a:lnTo>
                          <a:pt x="207" y="264"/>
                        </a:lnTo>
                        <a:lnTo>
                          <a:pt x="216" y="253"/>
                        </a:lnTo>
                        <a:lnTo>
                          <a:pt x="225" y="243"/>
                        </a:lnTo>
                        <a:lnTo>
                          <a:pt x="234" y="234"/>
                        </a:lnTo>
                        <a:lnTo>
                          <a:pt x="243" y="224"/>
                        </a:lnTo>
                        <a:lnTo>
                          <a:pt x="253" y="215"/>
                        </a:lnTo>
                        <a:lnTo>
                          <a:pt x="265" y="207"/>
                        </a:lnTo>
                        <a:lnTo>
                          <a:pt x="275" y="199"/>
                        </a:lnTo>
                        <a:lnTo>
                          <a:pt x="287" y="192"/>
                        </a:lnTo>
                        <a:lnTo>
                          <a:pt x="298" y="185"/>
                        </a:lnTo>
                        <a:lnTo>
                          <a:pt x="310" y="179"/>
                        </a:lnTo>
                        <a:lnTo>
                          <a:pt x="323" y="174"/>
                        </a:lnTo>
                        <a:lnTo>
                          <a:pt x="336" y="169"/>
                        </a:lnTo>
                        <a:lnTo>
                          <a:pt x="348" y="163"/>
                        </a:lnTo>
                        <a:lnTo>
                          <a:pt x="361" y="160"/>
                        </a:lnTo>
                        <a:lnTo>
                          <a:pt x="376" y="156"/>
                        </a:lnTo>
                        <a:lnTo>
                          <a:pt x="389" y="154"/>
                        </a:lnTo>
                        <a:lnTo>
                          <a:pt x="403" y="152"/>
                        </a:lnTo>
                        <a:lnTo>
                          <a:pt x="417" y="151"/>
                        </a:lnTo>
                        <a:lnTo>
                          <a:pt x="432" y="151"/>
                        </a:lnTo>
                        <a:lnTo>
                          <a:pt x="432" y="151"/>
                        </a:lnTo>
                        <a:lnTo>
                          <a:pt x="446" y="151"/>
                        </a:lnTo>
                        <a:lnTo>
                          <a:pt x="460" y="152"/>
                        </a:lnTo>
                        <a:lnTo>
                          <a:pt x="475" y="154"/>
                        </a:lnTo>
                        <a:lnTo>
                          <a:pt x="489" y="156"/>
                        </a:lnTo>
                        <a:lnTo>
                          <a:pt x="502" y="160"/>
                        </a:lnTo>
                        <a:lnTo>
                          <a:pt x="515" y="163"/>
                        </a:lnTo>
                        <a:lnTo>
                          <a:pt x="529" y="169"/>
                        </a:lnTo>
                        <a:lnTo>
                          <a:pt x="541" y="174"/>
                        </a:lnTo>
                        <a:lnTo>
                          <a:pt x="554" y="179"/>
                        </a:lnTo>
                        <a:lnTo>
                          <a:pt x="565" y="185"/>
                        </a:lnTo>
                        <a:lnTo>
                          <a:pt x="578" y="192"/>
                        </a:lnTo>
                        <a:lnTo>
                          <a:pt x="589" y="199"/>
                        </a:lnTo>
                        <a:lnTo>
                          <a:pt x="600" y="207"/>
                        </a:lnTo>
                        <a:lnTo>
                          <a:pt x="610" y="215"/>
                        </a:lnTo>
                        <a:lnTo>
                          <a:pt x="620" y="224"/>
                        </a:lnTo>
                        <a:lnTo>
                          <a:pt x="631" y="234"/>
                        </a:lnTo>
                        <a:lnTo>
                          <a:pt x="640" y="243"/>
                        </a:lnTo>
                        <a:lnTo>
                          <a:pt x="649" y="253"/>
                        </a:lnTo>
                        <a:lnTo>
                          <a:pt x="657" y="264"/>
                        </a:lnTo>
                        <a:lnTo>
                          <a:pt x="665" y="275"/>
                        </a:lnTo>
                        <a:lnTo>
                          <a:pt x="672" y="287"/>
                        </a:lnTo>
                        <a:lnTo>
                          <a:pt x="680" y="298"/>
                        </a:lnTo>
                        <a:lnTo>
                          <a:pt x="686" y="310"/>
                        </a:lnTo>
                        <a:lnTo>
                          <a:pt x="691" y="323"/>
                        </a:lnTo>
                        <a:lnTo>
                          <a:pt x="696" y="336"/>
                        </a:lnTo>
                        <a:lnTo>
                          <a:pt x="701" y="348"/>
                        </a:lnTo>
                        <a:lnTo>
                          <a:pt x="704" y="361"/>
                        </a:lnTo>
                        <a:lnTo>
                          <a:pt x="707" y="376"/>
                        </a:lnTo>
                        <a:lnTo>
                          <a:pt x="710" y="389"/>
                        </a:lnTo>
                        <a:lnTo>
                          <a:pt x="712" y="403"/>
                        </a:lnTo>
                        <a:lnTo>
                          <a:pt x="713" y="417"/>
                        </a:lnTo>
                        <a:lnTo>
                          <a:pt x="713" y="432"/>
                        </a:lnTo>
                        <a:lnTo>
                          <a:pt x="713" y="432"/>
                        </a:lnTo>
                        <a:lnTo>
                          <a:pt x="713" y="446"/>
                        </a:lnTo>
                        <a:lnTo>
                          <a:pt x="712" y="460"/>
                        </a:lnTo>
                        <a:lnTo>
                          <a:pt x="710" y="475"/>
                        </a:lnTo>
                        <a:lnTo>
                          <a:pt x="707" y="489"/>
                        </a:lnTo>
                        <a:lnTo>
                          <a:pt x="704" y="502"/>
                        </a:lnTo>
                        <a:lnTo>
                          <a:pt x="701" y="515"/>
                        </a:lnTo>
                        <a:lnTo>
                          <a:pt x="696" y="529"/>
                        </a:lnTo>
                        <a:lnTo>
                          <a:pt x="691" y="541"/>
                        </a:lnTo>
                        <a:lnTo>
                          <a:pt x="686" y="553"/>
                        </a:lnTo>
                        <a:lnTo>
                          <a:pt x="680" y="565"/>
                        </a:lnTo>
                        <a:lnTo>
                          <a:pt x="672" y="578"/>
                        </a:lnTo>
                        <a:lnTo>
                          <a:pt x="665" y="589"/>
                        </a:lnTo>
                        <a:lnTo>
                          <a:pt x="657" y="600"/>
                        </a:lnTo>
                        <a:lnTo>
                          <a:pt x="649" y="610"/>
                        </a:lnTo>
                        <a:lnTo>
                          <a:pt x="640" y="620"/>
                        </a:lnTo>
                        <a:lnTo>
                          <a:pt x="631" y="631"/>
                        </a:lnTo>
                        <a:lnTo>
                          <a:pt x="620" y="640"/>
                        </a:lnTo>
                        <a:lnTo>
                          <a:pt x="610" y="649"/>
                        </a:lnTo>
                        <a:lnTo>
                          <a:pt x="600" y="657"/>
                        </a:lnTo>
                        <a:lnTo>
                          <a:pt x="589" y="664"/>
                        </a:lnTo>
                        <a:lnTo>
                          <a:pt x="578" y="672"/>
                        </a:lnTo>
                        <a:lnTo>
                          <a:pt x="565" y="679"/>
                        </a:lnTo>
                        <a:lnTo>
                          <a:pt x="554" y="685"/>
                        </a:lnTo>
                        <a:lnTo>
                          <a:pt x="541" y="691"/>
                        </a:lnTo>
                        <a:lnTo>
                          <a:pt x="529" y="696"/>
                        </a:lnTo>
                        <a:lnTo>
                          <a:pt x="515" y="700"/>
                        </a:lnTo>
                        <a:lnTo>
                          <a:pt x="502" y="704"/>
                        </a:lnTo>
                        <a:lnTo>
                          <a:pt x="489" y="707"/>
                        </a:lnTo>
                        <a:lnTo>
                          <a:pt x="475" y="709"/>
                        </a:lnTo>
                        <a:lnTo>
                          <a:pt x="460" y="711"/>
                        </a:lnTo>
                        <a:lnTo>
                          <a:pt x="446" y="712"/>
                        </a:lnTo>
                        <a:lnTo>
                          <a:pt x="432" y="713"/>
                        </a:lnTo>
                        <a:lnTo>
                          <a:pt x="432" y="713"/>
                        </a:lnTo>
                        <a:close/>
                      </a:path>
                    </a:pathLst>
                  </a:custGeom>
                  <a:solidFill>
                    <a:srgbClr val="049CD4"/>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gradFill>
                        <a:gsLst>
                          <a:gs pos="0">
                            <a:srgbClr val="39393B">
                              <a:alpha val="0"/>
                            </a:srgbClr>
                          </a:gs>
                          <a:gs pos="85000">
                            <a:srgbClr val="39393B"/>
                          </a:gs>
                        </a:gsLst>
                        <a:lin ang="0" scaled="1"/>
                      </a:gradFill>
                      <a:effectLst/>
                      <a:uLnTx/>
                      <a:uFillTx/>
                      <a:latin typeface="Arial"/>
                      <a:ea typeface=""/>
                      <a:cs typeface=""/>
                    </a:endParaRPr>
                  </a:p>
                </p:txBody>
              </p:sp>
            </p:grpSp>
          </p:grpSp>
          <p:grpSp>
            <p:nvGrpSpPr>
              <p:cNvPr id="311" name="Group 310"/>
              <p:cNvGrpSpPr/>
              <p:nvPr/>
            </p:nvGrpSpPr>
            <p:grpSpPr>
              <a:xfrm>
                <a:off x="1714530" y="1276325"/>
                <a:ext cx="328396" cy="328395"/>
                <a:chOff x="6705958" y="1222777"/>
                <a:chExt cx="328396" cy="328395"/>
              </a:xfrm>
            </p:grpSpPr>
            <p:sp>
              <p:nvSpPr>
                <p:cNvPr id="339" name="Oval 338"/>
                <p:cNvSpPr/>
                <p:nvPr/>
              </p:nvSpPr>
              <p:spPr>
                <a:xfrm>
                  <a:off x="6705958" y="1222777"/>
                  <a:ext cx="328396" cy="328395"/>
                </a:xfrm>
                <a:prstGeom prst="ellipse">
                  <a:avLst/>
                </a:prstGeom>
                <a:solidFill>
                  <a:srgbClr val="FFFFFF"/>
                </a:solidFill>
                <a:ln w="3175">
                  <a:solidFill>
                    <a:srgbClr val="FFFFFF">
                      <a:lumMod val="50000"/>
                    </a:srgbClr>
                  </a:solidFill>
                </a:ln>
              </p:spPr>
              <p:txBody>
                <a:bodyPr wrap="square" rtlCol="0" anchor="t">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9393B"/>
                    </a:solidFill>
                    <a:effectLst/>
                    <a:uLnTx/>
                    <a:uFillTx/>
                    <a:latin typeface="Calibri"/>
                    <a:ea typeface="ＭＳ Ｐゴシック" charset="0"/>
                    <a:cs typeface="+mn-cs"/>
                  </a:endParaRPr>
                </a:p>
              </p:txBody>
            </p:sp>
            <p:sp>
              <p:nvSpPr>
                <p:cNvPr id="340" name="Oval 46"/>
                <p:cNvSpPr/>
                <p:nvPr/>
              </p:nvSpPr>
              <p:spPr>
                <a:xfrm>
                  <a:off x="6788821" y="1305800"/>
                  <a:ext cx="162671" cy="162349"/>
                </a:xfrm>
                <a:custGeom>
                  <a:avLst/>
                  <a:gdLst/>
                  <a:ahLst/>
                  <a:cxnLst/>
                  <a:rect l="l" t="t" r="r" b="b"/>
                  <a:pathLst>
                    <a:path w="3893062" h="3885378">
                      <a:moveTo>
                        <a:pt x="1257971" y="2179459"/>
                      </a:moveTo>
                      <a:lnTo>
                        <a:pt x="770851" y="2249233"/>
                      </a:lnTo>
                      <a:cubicBezTo>
                        <a:pt x="767528" y="2352254"/>
                        <a:pt x="723562" y="2444927"/>
                        <a:pt x="654423" y="2511881"/>
                      </a:cubicBezTo>
                      <a:lnTo>
                        <a:pt x="1861568" y="3326111"/>
                      </a:lnTo>
                      <a:cubicBezTo>
                        <a:pt x="1899424" y="3248918"/>
                        <a:pt x="1962681" y="3186692"/>
                        <a:pt x="2041980" y="3153125"/>
                      </a:cubicBezTo>
                      <a:lnTo>
                        <a:pt x="1703804" y="2393570"/>
                      </a:lnTo>
                      <a:cubicBezTo>
                        <a:pt x="1673698" y="2402446"/>
                        <a:pt x="1641844" y="2406537"/>
                        <a:pt x="1609035" y="2406537"/>
                      </a:cubicBezTo>
                      <a:cubicBezTo>
                        <a:pt x="1452610" y="2406537"/>
                        <a:pt x="1317907" y="2313534"/>
                        <a:pt x="1257971" y="2179459"/>
                      </a:cubicBezTo>
                      <a:close/>
                      <a:moveTo>
                        <a:pt x="1973445" y="2143042"/>
                      </a:moveTo>
                      <a:cubicBezTo>
                        <a:pt x="1952315" y="2208194"/>
                        <a:pt x="1914102" y="2265531"/>
                        <a:pt x="1861545" y="2307073"/>
                      </a:cubicBezTo>
                      <a:lnTo>
                        <a:pt x="2221097" y="3114639"/>
                      </a:lnTo>
                      <a:cubicBezTo>
                        <a:pt x="2301768" y="3117443"/>
                        <a:pt x="2376050" y="3145180"/>
                        <a:pt x="2436089" y="3191021"/>
                      </a:cubicBezTo>
                      <a:lnTo>
                        <a:pt x="3241281" y="2515384"/>
                      </a:lnTo>
                      <a:cubicBezTo>
                        <a:pt x="3168709" y="2447047"/>
                        <a:pt x="3123192" y="2350608"/>
                        <a:pt x="3121471" y="2243481"/>
                      </a:cubicBezTo>
                      <a:close/>
                      <a:moveTo>
                        <a:pt x="3301689" y="829469"/>
                      </a:moveTo>
                      <a:cubicBezTo>
                        <a:pt x="3270843" y="839047"/>
                        <a:pt x="3238085" y="843382"/>
                        <a:pt x="3204314" y="843382"/>
                      </a:cubicBezTo>
                      <a:cubicBezTo>
                        <a:pt x="3172960" y="843382"/>
                        <a:pt x="3142479" y="839646"/>
                        <a:pt x="3113605" y="831319"/>
                      </a:cubicBezTo>
                      <a:lnTo>
                        <a:pt x="1931716" y="1808964"/>
                      </a:lnTo>
                      <a:cubicBezTo>
                        <a:pt x="1962241" y="1854824"/>
                        <a:pt x="1982962" y="1907684"/>
                        <a:pt x="1991087" y="1964615"/>
                      </a:cubicBezTo>
                      <a:lnTo>
                        <a:pt x="3161262" y="2066992"/>
                      </a:lnTo>
                      <a:cubicBezTo>
                        <a:pt x="3216276" y="1951252"/>
                        <a:pt x="3328377" y="1868693"/>
                        <a:pt x="3461198" y="1854297"/>
                      </a:cubicBezTo>
                      <a:close/>
                      <a:moveTo>
                        <a:pt x="957252" y="759133"/>
                      </a:moveTo>
                      <a:cubicBezTo>
                        <a:pt x="926543" y="768102"/>
                        <a:pt x="894074" y="772358"/>
                        <a:pt x="860610" y="772358"/>
                      </a:cubicBezTo>
                      <a:lnTo>
                        <a:pt x="836144" y="769892"/>
                      </a:lnTo>
                      <a:lnTo>
                        <a:pt x="475295" y="1859454"/>
                      </a:lnTo>
                      <a:cubicBezTo>
                        <a:pt x="591806" y="1886355"/>
                        <a:pt x="687848" y="1966347"/>
                        <a:pt x="735741" y="2073147"/>
                      </a:cubicBezTo>
                      <a:lnTo>
                        <a:pt x="1224995" y="2003068"/>
                      </a:lnTo>
                      <a:cubicBezTo>
                        <a:pt x="1228713" y="1879350"/>
                        <a:pt x="1292338" y="1770840"/>
                        <a:pt x="1387747" y="1704564"/>
                      </a:cubicBezTo>
                      <a:close/>
                      <a:moveTo>
                        <a:pt x="1218093" y="531176"/>
                      </a:moveTo>
                      <a:cubicBezTo>
                        <a:pt x="1195805" y="586605"/>
                        <a:pt x="1160978" y="635612"/>
                        <a:pt x="1114448" y="671725"/>
                      </a:cubicBezTo>
                      <a:lnTo>
                        <a:pt x="1555167" y="1639610"/>
                      </a:lnTo>
                      <a:cubicBezTo>
                        <a:pt x="1572611" y="1635461"/>
                        <a:pt x="1590673" y="1634179"/>
                        <a:pt x="1609035" y="1634179"/>
                      </a:cubicBezTo>
                      <a:cubicBezTo>
                        <a:pt x="1678449" y="1634179"/>
                        <a:pt x="1743585" y="1652493"/>
                        <a:pt x="1799019" y="1686057"/>
                      </a:cubicBezTo>
                      <a:lnTo>
                        <a:pt x="2943085" y="739698"/>
                      </a:lnTo>
                      <a:cubicBezTo>
                        <a:pt x="2886968" y="689349"/>
                        <a:pt x="2846872" y="622014"/>
                        <a:pt x="2829379" y="545979"/>
                      </a:cubicBezTo>
                      <a:lnTo>
                        <a:pt x="1218093" y="545979"/>
                      </a:lnTo>
                      <a:close/>
                      <a:moveTo>
                        <a:pt x="860610" y="0"/>
                      </a:moveTo>
                      <a:cubicBezTo>
                        <a:pt x="1067920" y="0"/>
                        <a:pt x="1237076" y="163352"/>
                        <a:pt x="1244999" y="368426"/>
                      </a:cubicBezTo>
                      <a:lnTo>
                        <a:pt x="2829379" y="368426"/>
                      </a:lnTo>
                      <a:cubicBezTo>
                        <a:pt x="2868629" y="197827"/>
                        <a:pt x="3021663" y="71024"/>
                        <a:pt x="3204314" y="71024"/>
                      </a:cubicBezTo>
                      <a:cubicBezTo>
                        <a:pt x="3417595" y="71024"/>
                        <a:pt x="3590493" y="243922"/>
                        <a:pt x="3590493" y="457203"/>
                      </a:cubicBezTo>
                      <a:cubicBezTo>
                        <a:pt x="3590493" y="567840"/>
                        <a:pt x="3543969" y="667610"/>
                        <a:pt x="3468796" y="737359"/>
                      </a:cubicBezTo>
                      <a:lnTo>
                        <a:pt x="3646113" y="1876597"/>
                      </a:lnTo>
                      <a:cubicBezTo>
                        <a:pt x="3790759" y="1931645"/>
                        <a:pt x="3893062" y="2071810"/>
                        <a:pt x="3893062" y="2235870"/>
                      </a:cubicBezTo>
                      <a:cubicBezTo>
                        <a:pt x="3893062" y="2449151"/>
                        <a:pt x="3720164" y="2622049"/>
                        <a:pt x="3506883" y="2622049"/>
                      </a:cubicBezTo>
                      <a:cubicBezTo>
                        <a:pt x="3473157" y="2622049"/>
                        <a:pt x="3440440" y="2617726"/>
                        <a:pt x="3409637" y="2608157"/>
                      </a:cubicBezTo>
                      <a:lnTo>
                        <a:pt x="2550166" y="3329340"/>
                      </a:lnTo>
                      <a:cubicBezTo>
                        <a:pt x="2576964" y="3380048"/>
                        <a:pt x="2591219" y="3437959"/>
                        <a:pt x="2591219" y="3499199"/>
                      </a:cubicBezTo>
                      <a:cubicBezTo>
                        <a:pt x="2591219" y="3712480"/>
                        <a:pt x="2418321" y="3885378"/>
                        <a:pt x="2205040" y="3885378"/>
                      </a:cubicBezTo>
                      <a:cubicBezTo>
                        <a:pt x="1996937" y="3885378"/>
                        <a:pt x="1827279" y="3720773"/>
                        <a:pt x="1820415" y="3514609"/>
                      </a:cubicBezTo>
                      <a:lnTo>
                        <a:pt x="477038" y="2608490"/>
                      </a:lnTo>
                      <a:cubicBezTo>
                        <a:pt x="448098" y="2616715"/>
                        <a:pt x="417576" y="2620462"/>
                        <a:pt x="386179" y="2620462"/>
                      </a:cubicBezTo>
                      <a:cubicBezTo>
                        <a:pt x="172898" y="2620462"/>
                        <a:pt x="0" y="2447564"/>
                        <a:pt x="0" y="2234283"/>
                      </a:cubicBezTo>
                      <a:cubicBezTo>
                        <a:pt x="0" y="2055343"/>
                        <a:pt x="121703" y="1904829"/>
                        <a:pt x="287249" y="1862500"/>
                      </a:cubicBezTo>
                      <a:lnTo>
                        <a:pt x="666256" y="718109"/>
                      </a:lnTo>
                      <a:cubicBezTo>
                        <a:pt x="551163" y="652425"/>
                        <a:pt x="474431" y="528263"/>
                        <a:pt x="474431" y="386179"/>
                      </a:cubicBezTo>
                      <a:cubicBezTo>
                        <a:pt x="474431" y="172898"/>
                        <a:pt x="647329" y="0"/>
                        <a:pt x="860610" y="0"/>
                      </a:cubicBezTo>
                      <a:close/>
                    </a:path>
                  </a:pathLst>
                </a:custGeom>
                <a:solidFill>
                  <a:srgbClr val="049CD4"/>
                </a:solidFill>
                <a:ln w="9525">
                  <a:noFill/>
                  <a:round/>
                  <a:headEnd/>
                  <a:tailEnd/>
                </a:ln>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
                    <a:cs typeface=""/>
                  </a:endParaRPr>
                </a:p>
              </p:txBody>
            </p:sp>
          </p:grpSp>
          <p:grpSp>
            <p:nvGrpSpPr>
              <p:cNvPr id="312" name="Group 311"/>
              <p:cNvGrpSpPr/>
              <p:nvPr/>
            </p:nvGrpSpPr>
            <p:grpSpPr>
              <a:xfrm>
                <a:off x="3281470" y="1443881"/>
                <a:ext cx="328396" cy="328395"/>
                <a:chOff x="7395738" y="1740081"/>
                <a:chExt cx="328396" cy="328395"/>
              </a:xfrm>
            </p:grpSpPr>
            <p:sp>
              <p:nvSpPr>
                <p:cNvPr id="337" name="Oval 336"/>
                <p:cNvSpPr/>
                <p:nvPr/>
              </p:nvSpPr>
              <p:spPr>
                <a:xfrm>
                  <a:off x="7395738" y="1740081"/>
                  <a:ext cx="328396" cy="328395"/>
                </a:xfrm>
                <a:prstGeom prst="ellipse">
                  <a:avLst/>
                </a:prstGeom>
                <a:solidFill>
                  <a:srgbClr val="FFFFFF"/>
                </a:solidFill>
                <a:ln w="3175">
                  <a:solidFill>
                    <a:srgbClr val="FFFFFF">
                      <a:lumMod val="50000"/>
                    </a:srgbClr>
                  </a:solidFill>
                </a:ln>
              </p:spPr>
              <p:txBody>
                <a:bodyPr wrap="square" rtlCol="0" anchor="t">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9393B"/>
                    </a:solidFill>
                    <a:effectLst/>
                    <a:uLnTx/>
                    <a:uFillTx/>
                    <a:latin typeface="Calibri"/>
                    <a:ea typeface="ＭＳ Ｐゴシック" charset="0"/>
                    <a:cs typeface="+mn-cs"/>
                  </a:endParaRPr>
                </a:p>
              </p:txBody>
            </p:sp>
            <p:sp>
              <p:nvSpPr>
                <p:cNvPr id="338" name="Freeform 337"/>
                <p:cNvSpPr>
                  <a:spLocks noEditPoints="1"/>
                </p:cNvSpPr>
                <p:nvPr/>
              </p:nvSpPr>
              <p:spPr bwMode="auto">
                <a:xfrm>
                  <a:off x="7480911" y="1842485"/>
                  <a:ext cx="158051" cy="123588"/>
                </a:xfrm>
                <a:custGeom>
                  <a:avLst/>
                  <a:gdLst/>
                  <a:ahLst/>
                  <a:cxnLst>
                    <a:cxn ang="0">
                      <a:pos x="189" y="0"/>
                    </a:cxn>
                    <a:cxn ang="0">
                      <a:pos x="34" y="0"/>
                    </a:cxn>
                    <a:cxn ang="0">
                      <a:pos x="0" y="33"/>
                    </a:cxn>
                    <a:cxn ang="0">
                      <a:pos x="0" y="111"/>
                    </a:cxn>
                    <a:cxn ang="0">
                      <a:pos x="34" y="144"/>
                    </a:cxn>
                    <a:cxn ang="0">
                      <a:pos x="147" y="144"/>
                    </a:cxn>
                    <a:cxn ang="0">
                      <a:pos x="147" y="144"/>
                    </a:cxn>
                    <a:cxn ang="0">
                      <a:pos x="204" y="174"/>
                    </a:cxn>
                    <a:cxn ang="0">
                      <a:pos x="188" y="144"/>
                    </a:cxn>
                    <a:cxn ang="0">
                      <a:pos x="189" y="144"/>
                    </a:cxn>
                    <a:cxn ang="0">
                      <a:pos x="223" y="111"/>
                    </a:cxn>
                    <a:cxn ang="0">
                      <a:pos x="223" y="33"/>
                    </a:cxn>
                    <a:cxn ang="0">
                      <a:pos x="189" y="0"/>
                    </a:cxn>
                    <a:cxn ang="0">
                      <a:pos x="189" y="104"/>
                    </a:cxn>
                    <a:cxn ang="0">
                      <a:pos x="34" y="104"/>
                    </a:cxn>
                    <a:cxn ang="0">
                      <a:pos x="28" y="97"/>
                    </a:cxn>
                    <a:cxn ang="0">
                      <a:pos x="34" y="90"/>
                    </a:cxn>
                    <a:cxn ang="0">
                      <a:pos x="189" y="90"/>
                    </a:cxn>
                    <a:cxn ang="0">
                      <a:pos x="195" y="97"/>
                    </a:cxn>
                    <a:cxn ang="0">
                      <a:pos x="189" y="104"/>
                    </a:cxn>
                    <a:cxn ang="0">
                      <a:pos x="189" y="53"/>
                    </a:cxn>
                    <a:cxn ang="0">
                      <a:pos x="34" y="53"/>
                    </a:cxn>
                    <a:cxn ang="0">
                      <a:pos x="28" y="47"/>
                    </a:cxn>
                    <a:cxn ang="0">
                      <a:pos x="34" y="40"/>
                    </a:cxn>
                    <a:cxn ang="0">
                      <a:pos x="189" y="40"/>
                    </a:cxn>
                    <a:cxn ang="0">
                      <a:pos x="195" y="47"/>
                    </a:cxn>
                    <a:cxn ang="0">
                      <a:pos x="189" y="53"/>
                    </a:cxn>
                  </a:cxnLst>
                  <a:rect l="0" t="0" r="r" b="b"/>
                  <a:pathLst>
                    <a:path w="223" h="174">
                      <a:moveTo>
                        <a:pt x="189" y="0"/>
                      </a:moveTo>
                      <a:cubicBezTo>
                        <a:pt x="34" y="0"/>
                        <a:pt x="34" y="0"/>
                        <a:pt x="34" y="0"/>
                      </a:cubicBezTo>
                      <a:cubicBezTo>
                        <a:pt x="15" y="0"/>
                        <a:pt x="0" y="15"/>
                        <a:pt x="0" y="33"/>
                      </a:cubicBezTo>
                      <a:cubicBezTo>
                        <a:pt x="0" y="111"/>
                        <a:pt x="0" y="111"/>
                        <a:pt x="0" y="111"/>
                      </a:cubicBezTo>
                      <a:cubicBezTo>
                        <a:pt x="0" y="129"/>
                        <a:pt x="15" y="144"/>
                        <a:pt x="34" y="144"/>
                      </a:cubicBezTo>
                      <a:cubicBezTo>
                        <a:pt x="147" y="144"/>
                        <a:pt x="147" y="144"/>
                        <a:pt x="147" y="144"/>
                      </a:cubicBezTo>
                      <a:cubicBezTo>
                        <a:pt x="147" y="144"/>
                        <a:pt x="147" y="144"/>
                        <a:pt x="147" y="144"/>
                      </a:cubicBezTo>
                      <a:cubicBezTo>
                        <a:pt x="204" y="174"/>
                        <a:pt x="204" y="174"/>
                        <a:pt x="204" y="174"/>
                      </a:cubicBezTo>
                      <a:cubicBezTo>
                        <a:pt x="188" y="144"/>
                        <a:pt x="188" y="144"/>
                        <a:pt x="188" y="144"/>
                      </a:cubicBezTo>
                      <a:cubicBezTo>
                        <a:pt x="189" y="144"/>
                        <a:pt x="189" y="144"/>
                        <a:pt x="189" y="144"/>
                      </a:cubicBezTo>
                      <a:cubicBezTo>
                        <a:pt x="208" y="144"/>
                        <a:pt x="223" y="129"/>
                        <a:pt x="223" y="111"/>
                      </a:cubicBezTo>
                      <a:cubicBezTo>
                        <a:pt x="223" y="33"/>
                        <a:pt x="223" y="33"/>
                        <a:pt x="223" y="33"/>
                      </a:cubicBezTo>
                      <a:cubicBezTo>
                        <a:pt x="223" y="15"/>
                        <a:pt x="208" y="0"/>
                        <a:pt x="189" y="0"/>
                      </a:cubicBezTo>
                      <a:close/>
                      <a:moveTo>
                        <a:pt x="189" y="104"/>
                      </a:moveTo>
                      <a:cubicBezTo>
                        <a:pt x="34" y="104"/>
                        <a:pt x="34" y="104"/>
                        <a:pt x="34" y="104"/>
                      </a:cubicBezTo>
                      <a:cubicBezTo>
                        <a:pt x="31" y="104"/>
                        <a:pt x="28" y="101"/>
                        <a:pt x="28" y="97"/>
                      </a:cubicBezTo>
                      <a:cubicBezTo>
                        <a:pt x="28" y="93"/>
                        <a:pt x="31" y="90"/>
                        <a:pt x="34" y="90"/>
                      </a:cubicBezTo>
                      <a:cubicBezTo>
                        <a:pt x="189" y="90"/>
                        <a:pt x="189" y="90"/>
                        <a:pt x="189" y="90"/>
                      </a:cubicBezTo>
                      <a:cubicBezTo>
                        <a:pt x="192" y="90"/>
                        <a:pt x="195" y="93"/>
                        <a:pt x="195" y="97"/>
                      </a:cubicBezTo>
                      <a:cubicBezTo>
                        <a:pt x="195" y="101"/>
                        <a:pt x="192" y="104"/>
                        <a:pt x="189" y="104"/>
                      </a:cubicBezTo>
                      <a:close/>
                      <a:moveTo>
                        <a:pt x="189" y="53"/>
                      </a:moveTo>
                      <a:cubicBezTo>
                        <a:pt x="34" y="53"/>
                        <a:pt x="34" y="53"/>
                        <a:pt x="34" y="53"/>
                      </a:cubicBezTo>
                      <a:cubicBezTo>
                        <a:pt x="31" y="53"/>
                        <a:pt x="28" y="50"/>
                        <a:pt x="28" y="47"/>
                      </a:cubicBezTo>
                      <a:cubicBezTo>
                        <a:pt x="28" y="43"/>
                        <a:pt x="31" y="40"/>
                        <a:pt x="34" y="40"/>
                      </a:cubicBezTo>
                      <a:cubicBezTo>
                        <a:pt x="189" y="40"/>
                        <a:pt x="189" y="40"/>
                        <a:pt x="189" y="40"/>
                      </a:cubicBezTo>
                      <a:cubicBezTo>
                        <a:pt x="192" y="40"/>
                        <a:pt x="195" y="43"/>
                        <a:pt x="195" y="47"/>
                      </a:cubicBezTo>
                      <a:cubicBezTo>
                        <a:pt x="195" y="50"/>
                        <a:pt x="192" y="53"/>
                        <a:pt x="189" y="53"/>
                      </a:cubicBezTo>
                      <a:close/>
                    </a:path>
                  </a:pathLst>
                </a:custGeom>
                <a:solidFill>
                  <a:srgbClr val="049CD4"/>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srgbClr val="000000"/>
                    </a:solidFill>
                    <a:effectLst/>
                    <a:uLnTx/>
                    <a:uFillTx/>
                    <a:latin typeface="Arial"/>
                    <a:ea typeface=""/>
                    <a:cs typeface=""/>
                  </a:endParaRPr>
                </a:p>
              </p:txBody>
            </p:sp>
          </p:grpSp>
          <p:grpSp>
            <p:nvGrpSpPr>
              <p:cNvPr id="313" name="Group 312"/>
              <p:cNvGrpSpPr/>
              <p:nvPr/>
            </p:nvGrpSpPr>
            <p:grpSpPr>
              <a:xfrm>
                <a:off x="3171388" y="2017344"/>
                <a:ext cx="328396" cy="328395"/>
                <a:chOff x="7093863" y="2069777"/>
                <a:chExt cx="328396" cy="328395"/>
              </a:xfrm>
            </p:grpSpPr>
            <p:sp>
              <p:nvSpPr>
                <p:cNvPr id="333" name="Oval 332"/>
                <p:cNvSpPr/>
                <p:nvPr/>
              </p:nvSpPr>
              <p:spPr>
                <a:xfrm>
                  <a:off x="7093863" y="2069777"/>
                  <a:ext cx="328396" cy="328395"/>
                </a:xfrm>
                <a:prstGeom prst="ellipse">
                  <a:avLst/>
                </a:prstGeom>
                <a:solidFill>
                  <a:srgbClr val="FFFFFF"/>
                </a:solidFill>
                <a:ln w="3175">
                  <a:solidFill>
                    <a:srgbClr val="FFFFFF">
                      <a:lumMod val="50000"/>
                    </a:srgbClr>
                  </a:solidFill>
                </a:ln>
              </p:spPr>
              <p:txBody>
                <a:bodyPr wrap="square" rtlCol="0" anchor="t">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9393B"/>
                      </a:solidFill>
                      <a:effectLst/>
                      <a:uLnTx/>
                      <a:uFillTx/>
                      <a:latin typeface="Calibri"/>
                      <a:ea typeface="ＭＳ Ｐゴシック" charset="0"/>
                      <a:cs typeface="+mn-cs"/>
                    </a:rPr>
                    <a:t>v</a:t>
                  </a:r>
                </a:p>
              </p:txBody>
            </p:sp>
            <p:grpSp>
              <p:nvGrpSpPr>
                <p:cNvPr id="334" name="Group 333"/>
                <p:cNvGrpSpPr/>
                <p:nvPr/>
              </p:nvGrpSpPr>
              <p:grpSpPr>
                <a:xfrm>
                  <a:off x="7158242" y="2167908"/>
                  <a:ext cx="199639" cy="132130"/>
                  <a:chOff x="9536772" y="2409182"/>
                  <a:chExt cx="1243362" cy="822920"/>
                </a:xfrm>
              </p:grpSpPr>
              <p:sp>
                <p:nvSpPr>
                  <p:cNvPr id="335" name="Freeform 120"/>
                  <p:cNvSpPr>
                    <a:spLocks/>
                  </p:cNvSpPr>
                  <p:nvPr/>
                </p:nvSpPr>
                <p:spPr bwMode="auto">
                  <a:xfrm>
                    <a:off x="9536772" y="2409182"/>
                    <a:ext cx="1243362" cy="822920"/>
                  </a:xfrm>
                  <a:custGeom>
                    <a:avLst/>
                    <a:gdLst>
                      <a:gd name="T0" fmla="*/ 611 w 690"/>
                      <a:gd name="T1" fmla="*/ 231 h 460"/>
                      <a:gd name="T2" fmla="*/ 613 w 690"/>
                      <a:gd name="T3" fmla="*/ 210 h 460"/>
                      <a:gd name="T4" fmla="*/ 612 w 690"/>
                      <a:gd name="T5" fmla="*/ 198 h 460"/>
                      <a:gd name="T6" fmla="*/ 608 w 690"/>
                      <a:gd name="T7" fmla="*/ 178 h 460"/>
                      <a:gd name="T8" fmla="*/ 600 w 690"/>
                      <a:gd name="T9" fmla="*/ 158 h 460"/>
                      <a:gd name="T10" fmla="*/ 588 w 690"/>
                      <a:gd name="T11" fmla="*/ 140 h 460"/>
                      <a:gd name="T12" fmla="*/ 573 w 690"/>
                      <a:gd name="T13" fmla="*/ 125 h 460"/>
                      <a:gd name="T14" fmla="*/ 555 w 690"/>
                      <a:gd name="T15" fmla="*/ 115 h 460"/>
                      <a:gd name="T16" fmla="*/ 537 w 690"/>
                      <a:gd name="T17" fmla="*/ 107 h 460"/>
                      <a:gd name="T18" fmla="*/ 515 w 690"/>
                      <a:gd name="T19" fmla="*/ 101 h 460"/>
                      <a:gd name="T20" fmla="*/ 504 w 690"/>
                      <a:gd name="T21" fmla="*/ 101 h 460"/>
                      <a:gd name="T22" fmla="*/ 487 w 690"/>
                      <a:gd name="T23" fmla="*/ 103 h 460"/>
                      <a:gd name="T24" fmla="*/ 481 w 690"/>
                      <a:gd name="T25" fmla="*/ 92 h 460"/>
                      <a:gd name="T26" fmla="*/ 466 w 690"/>
                      <a:gd name="T27" fmla="*/ 71 h 460"/>
                      <a:gd name="T28" fmla="*/ 449 w 690"/>
                      <a:gd name="T29" fmla="*/ 53 h 460"/>
                      <a:gd name="T30" fmla="*/ 430 w 690"/>
                      <a:gd name="T31" fmla="*/ 36 h 460"/>
                      <a:gd name="T32" fmla="*/ 408 w 690"/>
                      <a:gd name="T33" fmla="*/ 23 h 460"/>
                      <a:gd name="T34" fmla="*/ 386 w 690"/>
                      <a:gd name="T35" fmla="*/ 12 h 460"/>
                      <a:gd name="T36" fmla="*/ 361 w 690"/>
                      <a:gd name="T37" fmla="*/ 4 h 460"/>
                      <a:gd name="T38" fmla="*/ 334 w 690"/>
                      <a:gd name="T39" fmla="*/ 1 h 460"/>
                      <a:gd name="T40" fmla="*/ 321 w 690"/>
                      <a:gd name="T41" fmla="*/ 0 h 460"/>
                      <a:gd name="T42" fmla="*/ 288 w 690"/>
                      <a:gd name="T43" fmla="*/ 3 h 460"/>
                      <a:gd name="T44" fmla="*/ 257 w 690"/>
                      <a:gd name="T45" fmla="*/ 12 h 460"/>
                      <a:gd name="T46" fmla="*/ 229 w 690"/>
                      <a:gd name="T47" fmla="*/ 26 h 460"/>
                      <a:gd name="T48" fmla="*/ 203 w 690"/>
                      <a:gd name="T49" fmla="*/ 43 h 460"/>
                      <a:gd name="T50" fmla="*/ 181 w 690"/>
                      <a:gd name="T51" fmla="*/ 65 h 460"/>
                      <a:gd name="T52" fmla="*/ 163 w 690"/>
                      <a:gd name="T53" fmla="*/ 90 h 460"/>
                      <a:gd name="T54" fmla="*/ 150 w 690"/>
                      <a:gd name="T55" fmla="*/ 117 h 460"/>
                      <a:gd name="T56" fmla="*/ 140 w 690"/>
                      <a:gd name="T57" fmla="*/ 148 h 460"/>
                      <a:gd name="T58" fmla="*/ 125 w 690"/>
                      <a:gd name="T59" fmla="*/ 151 h 460"/>
                      <a:gd name="T60" fmla="*/ 98 w 690"/>
                      <a:gd name="T61" fmla="*/ 159 h 460"/>
                      <a:gd name="T62" fmla="*/ 73 w 690"/>
                      <a:gd name="T63" fmla="*/ 171 h 460"/>
                      <a:gd name="T64" fmla="*/ 50 w 690"/>
                      <a:gd name="T65" fmla="*/ 189 h 460"/>
                      <a:gd name="T66" fmla="*/ 31 w 690"/>
                      <a:gd name="T67" fmla="*/ 209 h 460"/>
                      <a:gd name="T68" fmla="*/ 16 w 690"/>
                      <a:gd name="T69" fmla="*/ 233 h 460"/>
                      <a:gd name="T70" fmla="*/ 7 w 690"/>
                      <a:gd name="T71" fmla="*/ 260 h 460"/>
                      <a:gd name="T72" fmla="*/ 1 w 690"/>
                      <a:gd name="T73" fmla="*/ 289 h 460"/>
                      <a:gd name="T74" fmla="*/ 0 w 690"/>
                      <a:gd name="T75" fmla="*/ 303 h 460"/>
                      <a:gd name="T76" fmla="*/ 3 w 690"/>
                      <a:gd name="T77" fmla="*/ 336 h 460"/>
                      <a:gd name="T78" fmla="*/ 12 w 690"/>
                      <a:gd name="T79" fmla="*/ 364 h 460"/>
                      <a:gd name="T80" fmla="*/ 27 w 690"/>
                      <a:gd name="T81" fmla="*/ 391 h 460"/>
                      <a:gd name="T82" fmla="*/ 46 w 690"/>
                      <a:gd name="T83" fmla="*/ 414 h 460"/>
                      <a:gd name="T84" fmla="*/ 69 w 690"/>
                      <a:gd name="T85" fmla="*/ 433 h 460"/>
                      <a:gd name="T86" fmla="*/ 96 w 690"/>
                      <a:gd name="T87" fmla="*/ 448 h 460"/>
                      <a:gd name="T88" fmla="*/ 124 w 690"/>
                      <a:gd name="T89" fmla="*/ 457 h 460"/>
                      <a:gd name="T90" fmla="*/ 156 w 690"/>
                      <a:gd name="T91" fmla="*/ 460 h 460"/>
                      <a:gd name="T92" fmla="*/ 248 w 690"/>
                      <a:gd name="T93" fmla="*/ 460 h 460"/>
                      <a:gd name="T94" fmla="*/ 573 w 690"/>
                      <a:gd name="T95" fmla="*/ 460 h 460"/>
                      <a:gd name="T96" fmla="*/ 596 w 690"/>
                      <a:gd name="T97" fmla="*/ 457 h 460"/>
                      <a:gd name="T98" fmla="*/ 619 w 690"/>
                      <a:gd name="T99" fmla="*/ 450 h 460"/>
                      <a:gd name="T100" fmla="*/ 638 w 690"/>
                      <a:gd name="T101" fmla="*/ 440 h 460"/>
                      <a:gd name="T102" fmla="*/ 655 w 690"/>
                      <a:gd name="T103" fmla="*/ 425 h 460"/>
                      <a:gd name="T104" fmla="*/ 670 w 690"/>
                      <a:gd name="T105" fmla="*/ 407 h 460"/>
                      <a:gd name="T106" fmla="*/ 681 w 690"/>
                      <a:gd name="T107" fmla="*/ 387 h 460"/>
                      <a:gd name="T108" fmla="*/ 688 w 690"/>
                      <a:gd name="T109" fmla="*/ 365 h 460"/>
                      <a:gd name="T110" fmla="*/ 690 w 690"/>
                      <a:gd name="T111" fmla="*/ 341 h 460"/>
                      <a:gd name="T112" fmla="*/ 689 w 690"/>
                      <a:gd name="T113" fmla="*/ 322 h 460"/>
                      <a:gd name="T114" fmla="*/ 678 w 690"/>
                      <a:gd name="T115" fmla="*/ 289 h 460"/>
                      <a:gd name="T116" fmla="*/ 657 w 690"/>
                      <a:gd name="T117" fmla="*/ 259 h 460"/>
                      <a:gd name="T118" fmla="*/ 627 w 690"/>
                      <a:gd name="T119" fmla="*/ 237 h 460"/>
                      <a:gd name="T120" fmla="*/ 611 w 690"/>
                      <a:gd name="T121" fmla="*/ 231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0" h="460">
                        <a:moveTo>
                          <a:pt x="611" y="231"/>
                        </a:moveTo>
                        <a:lnTo>
                          <a:pt x="611" y="231"/>
                        </a:lnTo>
                        <a:lnTo>
                          <a:pt x="612" y="220"/>
                        </a:lnTo>
                        <a:lnTo>
                          <a:pt x="613" y="210"/>
                        </a:lnTo>
                        <a:lnTo>
                          <a:pt x="613" y="210"/>
                        </a:lnTo>
                        <a:lnTo>
                          <a:pt x="612" y="198"/>
                        </a:lnTo>
                        <a:lnTo>
                          <a:pt x="611" y="187"/>
                        </a:lnTo>
                        <a:lnTo>
                          <a:pt x="608" y="178"/>
                        </a:lnTo>
                        <a:lnTo>
                          <a:pt x="604" y="167"/>
                        </a:lnTo>
                        <a:lnTo>
                          <a:pt x="600" y="158"/>
                        </a:lnTo>
                        <a:lnTo>
                          <a:pt x="595" y="150"/>
                        </a:lnTo>
                        <a:lnTo>
                          <a:pt x="588" y="140"/>
                        </a:lnTo>
                        <a:lnTo>
                          <a:pt x="581" y="134"/>
                        </a:lnTo>
                        <a:lnTo>
                          <a:pt x="573" y="125"/>
                        </a:lnTo>
                        <a:lnTo>
                          <a:pt x="565" y="120"/>
                        </a:lnTo>
                        <a:lnTo>
                          <a:pt x="555" y="115"/>
                        </a:lnTo>
                        <a:lnTo>
                          <a:pt x="546" y="109"/>
                        </a:lnTo>
                        <a:lnTo>
                          <a:pt x="537" y="107"/>
                        </a:lnTo>
                        <a:lnTo>
                          <a:pt x="526" y="104"/>
                        </a:lnTo>
                        <a:lnTo>
                          <a:pt x="515" y="101"/>
                        </a:lnTo>
                        <a:lnTo>
                          <a:pt x="504" y="101"/>
                        </a:lnTo>
                        <a:lnTo>
                          <a:pt x="504" y="101"/>
                        </a:lnTo>
                        <a:lnTo>
                          <a:pt x="496" y="101"/>
                        </a:lnTo>
                        <a:lnTo>
                          <a:pt x="487" y="103"/>
                        </a:lnTo>
                        <a:lnTo>
                          <a:pt x="487" y="103"/>
                        </a:lnTo>
                        <a:lnTo>
                          <a:pt x="481" y="92"/>
                        </a:lnTo>
                        <a:lnTo>
                          <a:pt x="475" y="81"/>
                        </a:lnTo>
                        <a:lnTo>
                          <a:pt x="466" y="71"/>
                        </a:lnTo>
                        <a:lnTo>
                          <a:pt x="458" y="61"/>
                        </a:lnTo>
                        <a:lnTo>
                          <a:pt x="449" y="53"/>
                        </a:lnTo>
                        <a:lnTo>
                          <a:pt x="441" y="43"/>
                        </a:lnTo>
                        <a:lnTo>
                          <a:pt x="430" y="36"/>
                        </a:lnTo>
                        <a:lnTo>
                          <a:pt x="419" y="28"/>
                        </a:lnTo>
                        <a:lnTo>
                          <a:pt x="408" y="23"/>
                        </a:lnTo>
                        <a:lnTo>
                          <a:pt x="398" y="16"/>
                        </a:lnTo>
                        <a:lnTo>
                          <a:pt x="386" y="12"/>
                        </a:lnTo>
                        <a:lnTo>
                          <a:pt x="373" y="8"/>
                        </a:lnTo>
                        <a:lnTo>
                          <a:pt x="361" y="4"/>
                        </a:lnTo>
                        <a:lnTo>
                          <a:pt x="348" y="3"/>
                        </a:lnTo>
                        <a:lnTo>
                          <a:pt x="334" y="1"/>
                        </a:lnTo>
                        <a:lnTo>
                          <a:pt x="321" y="0"/>
                        </a:lnTo>
                        <a:lnTo>
                          <a:pt x="321" y="0"/>
                        </a:lnTo>
                        <a:lnTo>
                          <a:pt x="305" y="1"/>
                        </a:lnTo>
                        <a:lnTo>
                          <a:pt x="288" y="3"/>
                        </a:lnTo>
                        <a:lnTo>
                          <a:pt x="272" y="7"/>
                        </a:lnTo>
                        <a:lnTo>
                          <a:pt x="257" y="12"/>
                        </a:lnTo>
                        <a:lnTo>
                          <a:pt x="243" y="18"/>
                        </a:lnTo>
                        <a:lnTo>
                          <a:pt x="229" y="26"/>
                        </a:lnTo>
                        <a:lnTo>
                          <a:pt x="216" y="34"/>
                        </a:lnTo>
                        <a:lnTo>
                          <a:pt x="203" y="43"/>
                        </a:lnTo>
                        <a:lnTo>
                          <a:pt x="191" y="53"/>
                        </a:lnTo>
                        <a:lnTo>
                          <a:pt x="181" y="65"/>
                        </a:lnTo>
                        <a:lnTo>
                          <a:pt x="171" y="77"/>
                        </a:lnTo>
                        <a:lnTo>
                          <a:pt x="163" y="90"/>
                        </a:lnTo>
                        <a:lnTo>
                          <a:pt x="155" y="104"/>
                        </a:lnTo>
                        <a:lnTo>
                          <a:pt x="150" y="117"/>
                        </a:lnTo>
                        <a:lnTo>
                          <a:pt x="144" y="134"/>
                        </a:lnTo>
                        <a:lnTo>
                          <a:pt x="140" y="148"/>
                        </a:lnTo>
                        <a:lnTo>
                          <a:pt x="140" y="148"/>
                        </a:lnTo>
                        <a:lnTo>
                          <a:pt x="125" y="151"/>
                        </a:lnTo>
                        <a:lnTo>
                          <a:pt x="112" y="154"/>
                        </a:lnTo>
                        <a:lnTo>
                          <a:pt x="98" y="159"/>
                        </a:lnTo>
                        <a:lnTo>
                          <a:pt x="85" y="165"/>
                        </a:lnTo>
                        <a:lnTo>
                          <a:pt x="73" y="171"/>
                        </a:lnTo>
                        <a:lnTo>
                          <a:pt x="61" y="179"/>
                        </a:lnTo>
                        <a:lnTo>
                          <a:pt x="50" y="189"/>
                        </a:lnTo>
                        <a:lnTo>
                          <a:pt x="40" y="198"/>
                        </a:lnTo>
                        <a:lnTo>
                          <a:pt x="31" y="209"/>
                        </a:lnTo>
                        <a:lnTo>
                          <a:pt x="23" y="221"/>
                        </a:lnTo>
                        <a:lnTo>
                          <a:pt x="16" y="233"/>
                        </a:lnTo>
                        <a:lnTo>
                          <a:pt x="11" y="247"/>
                        </a:lnTo>
                        <a:lnTo>
                          <a:pt x="7" y="260"/>
                        </a:lnTo>
                        <a:lnTo>
                          <a:pt x="3" y="274"/>
                        </a:lnTo>
                        <a:lnTo>
                          <a:pt x="1" y="289"/>
                        </a:lnTo>
                        <a:lnTo>
                          <a:pt x="0" y="303"/>
                        </a:lnTo>
                        <a:lnTo>
                          <a:pt x="0" y="303"/>
                        </a:lnTo>
                        <a:lnTo>
                          <a:pt x="1" y="320"/>
                        </a:lnTo>
                        <a:lnTo>
                          <a:pt x="3" y="336"/>
                        </a:lnTo>
                        <a:lnTo>
                          <a:pt x="7" y="351"/>
                        </a:lnTo>
                        <a:lnTo>
                          <a:pt x="12" y="364"/>
                        </a:lnTo>
                        <a:lnTo>
                          <a:pt x="19" y="378"/>
                        </a:lnTo>
                        <a:lnTo>
                          <a:pt x="27" y="391"/>
                        </a:lnTo>
                        <a:lnTo>
                          <a:pt x="35" y="403"/>
                        </a:lnTo>
                        <a:lnTo>
                          <a:pt x="46" y="414"/>
                        </a:lnTo>
                        <a:lnTo>
                          <a:pt x="57" y="425"/>
                        </a:lnTo>
                        <a:lnTo>
                          <a:pt x="69" y="433"/>
                        </a:lnTo>
                        <a:lnTo>
                          <a:pt x="82" y="441"/>
                        </a:lnTo>
                        <a:lnTo>
                          <a:pt x="96" y="448"/>
                        </a:lnTo>
                        <a:lnTo>
                          <a:pt x="109" y="453"/>
                        </a:lnTo>
                        <a:lnTo>
                          <a:pt x="124" y="457"/>
                        </a:lnTo>
                        <a:lnTo>
                          <a:pt x="140" y="458"/>
                        </a:lnTo>
                        <a:lnTo>
                          <a:pt x="156" y="460"/>
                        </a:lnTo>
                        <a:lnTo>
                          <a:pt x="187" y="460"/>
                        </a:lnTo>
                        <a:lnTo>
                          <a:pt x="248" y="460"/>
                        </a:lnTo>
                        <a:lnTo>
                          <a:pt x="573" y="460"/>
                        </a:lnTo>
                        <a:lnTo>
                          <a:pt x="573" y="460"/>
                        </a:lnTo>
                        <a:lnTo>
                          <a:pt x="585" y="458"/>
                        </a:lnTo>
                        <a:lnTo>
                          <a:pt x="596" y="457"/>
                        </a:lnTo>
                        <a:lnTo>
                          <a:pt x="608" y="454"/>
                        </a:lnTo>
                        <a:lnTo>
                          <a:pt x="619" y="450"/>
                        </a:lnTo>
                        <a:lnTo>
                          <a:pt x="628" y="445"/>
                        </a:lnTo>
                        <a:lnTo>
                          <a:pt x="638" y="440"/>
                        </a:lnTo>
                        <a:lnTo>
                          <a:pt x="647" y="433"/>
                        </a:lnTo>
                        <a:lnTo>
                          <a:pt x="655" y="425"/>
                        </a:lnTo>
                        <a:lnTo>
                          <a:pt x="663" y="417"/>
                        </a:lnTo>
                        <a:lnTo>
                          <a:pt x="670" y="407"/>
                        </a:lnTo>
                        <a:lnTo>
                          <a:pt x="677" y="398"/>
                        </a:lnTo>
                        <a:lnTo>
                          <a:pt x="681" y="387"/>
                        </a:lnTo>
                        <a:lnTo>
                          <a:pt x="685" y="376"/>
                        </a:lnTo>
                        <a:lnTo>
                          <a:pt x="688" y="365"/>
                        </a:lnTo>
                        <a:lnTo>
                          <a:pt x="690" y="353"/>
                        </a:lnTo>
                        <a:lnTo>
                          <a:pt x="690" y="341"/>
                        </a:lnTo>
                        <a:lnTo>
                          <a:pt x="690" y="341"/>
                        </a:lnTo>
                        <a:lnTo>
                          <a:pt x="689" y="322"/>
                        </a:lnTo>
                        <a:lnTo>
                          <a:pt x="685" y="305"/>
                        </a:lnTo>
                        <a:lnTo>
                          <a:pt x="678" y="289"/>
                        </a:lnTo>
                        <a:lnTo>
                          <a:pt x="667" y="272"/>
                        </a:lnTo>
                        <a:lnTo>
                          <a:pt x="657" y="259"/>
                        </a:lnTo>
                        <a:lnTo>
                          <a:pt x="643" y="247"/>
                        </a:lnTo>
                        <a:lnTo>
                          <a:pt x="627" y="237"/>
                        </a:lnTo>
                        <a:lnTo>
                          <a:pt x="611" y="231"/>
                        </a:lnTo>
                        <a:lnTo>
                          <a:pt x="611" y="231"/>
                        </a:lnTo>
                        <a:close/>
                      </a:path>
                    </a:pathLst>
                  </a:custGeom>
                  <a:solidFill>
                    <a:srgbClr val="049CD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Arial"/>
                      <a:ea typeface=""/>
                      <a:cs typeface=""/>
                    </a:endParaRPr>
                  </a:p>
                </p:txBody>
              </p:sp>
              <p:sp>
                <p:nvSpPr>
                  <p:cNvPr id="336" name="icon 4"/>
                  <p:cNvSpPr>
                    <a:spLocks noChangeAspect="1"/>
                  </p:cNvSpPr>
                  <p:nvPr/>
                </p:nvSpPr>
                <p:spPr bwMode="auto">
                  <a:xfrm>
                    <a:off x="9859694" y="2593900"/>
                    <a:ext cx="543941" cy="543352"/>
                  </a:xfrm>
                  <a:custGeom>
                    <a:avLst/>
                    <a:gdLst>
                      <a:gd name="T0" fmla="*/ 408782 w 21600"/>
                      <a:gd name="T1" fmla="*/ 407194 h 21600"/>
                      <a:gd name="T2" fmla="*/ 0 60000 65536"/>
                      <a:gd name="T3" fmla="*/ 0 w 21600"/>
                      <a:gd name="T4" fmla="*/ 0 h 21600"/>
                      <a:gd name="T5" fmla="*/ 21600 w 21600"/>
                      <a:gd name="T6" fmla="*/ 21600 h 21600"/>
                      <a:gd name="connsiteX0" fmla="*/ 10830 w 21600"/>
                      <a:gd name="connsiteY0" fmla="*/ 10203 h 21600"/>
                      <a:gd name="connsiteX1" fmla="*/ 10175 w 21600"/>
                      <a:gd name="connsiteY1" fmla="*/ 10800 h 21600"/>
                      <a:gd name="connsiteX2" fmla="*/ 10830 w 21600"/>
                      <a:gd name="connsiteY2" fmla="*/ 11397 h 21600"/>
                      <a:gd name="connsiteX3" fmla="*/ 11425 w 21600"/>
                      <a:gd name="connsiteY3" fmla="*/ 10800 h 21600"/>
                      <a:gd name="connsiteX4" fmla="*/ 10830 w 21600"/>
                      <a:gd name="connsiteY4" fmla="*/ 10203 h 21600"/>
                      <a:gd name="connsiteX5" fmla="*/ 10830 w 21600"/>
                      <a:gd name="connsiteY5" fmla="*/ 0 h 21600"/>
                      <a:gd name="connsiteX6" fmla="*/ 0 w 21600"/>
                      <a:gd name="connsiteY6" fmla="*/ 10800 h 21600"/>
                      <a:gd name="connsiteX7" fmla="*/ 10830 w 21600"/>
                      <a:gd name="connsiteY7" fmla="*/ 21600 h 21600"/>
                      <a:gd name="connsiteX8" fmla="*/ 21600 w 21600"/>
                      <a:gd name="connsiteY8" fmla="*/ 10800 h 21600"/>
                      <a:gd name="connsiteX9" fmla="*/ 10830 w 21600"/>
                      <a:gd name="connsiteY9" fmla="*/ 0 h 21600"/>
                      <a:gd name="connsiteX10" fmla="*/ 10830 w 21600"/>
                      <a:gd name="connsiteY10" fmla="*/ 20168 h 21600"/>
                      <a:gd name="connsiteX11" fmla="*/ 1488 w 21600"/>
                      <a:gd name="connsiteY11" fmla="*/ 10800 h 21600"/>
                      <a:gd name="connsiteX12" fmla="*/ 20112 w 21600"/>
                      <a:gd name="connsiteY12" fmla="*/ 10800 h 21600"/>
                      <a:gd name="connsiteX13" fmla="*/ 10830 w 21600"/>
                      <a:gd name="connsiteY13" fmla="*/ 20168 h 21600"/>
                      <a:gd name="connsiteX14" fmla="*/ 10830 w 21600"/>
                      <a:gd name="connsiteY14" fmla="*/ 4594 h 21600"/>
                      <a:gd name="connsiteX15" fmla="*/ 4582 w 21600"/>
                      <a:gd name="connsiteY15" fmla="*/ 10800 h 21600"/>
                      <a:gd name="connsiteX16" fmla="*/ 10830 w 21600"/>
                      <a:gd name="connsiteY16" fmla="*/ 17065 h 21600"/>
                      <a:gd name="connsiteX17" fmla="*/ 17018 w 21600"/>
                      <a:gd name="connsiteY17" fmla="*/ 10800 h 21600"/>
                      <a:gd name="connsiteX18" fmla="*/ 10830 w 21600"/>
                      <a:gd name="connsiteY18" fmla="*/ 4594 h 21600"/>
                      <a:gd name="connsiteX19" fmla="*/ 13626 w 21600"/>
                      <a:gd name="connsiteY19" fmla="*/ 7578 h 21600"/>
                      <a:gd name="connsiteX20" fmla="*/ 14221 w 21600"/>
                      <a:gd name="connsiteY20" fmla="*/ 6922 h 21600"/>
                      <a:gd name="connsiteX21" fmla="*/ 14698 w 21600"/>
                      <a:gd name="connsiteY21" fmla="*/ 6922 h 21600"/>
                      <a:gd name="connsiteX22" fmla="*/ 14698 w 21600"/>
                      <a:gd name="connsiteY22" fmla="*/ 7399 h 21600"/>
                      <a:gd name="connsiteX23" fmla="*/ 14043 w 21600"/>
                      <a:gd name="connsiteY23" fmla="*/ 7996 h 21600"/>
                      <a:gd name="connsiteX24" fmla="*/ 13626 w 21600"/>
                      <a:gd name="connsiteY24" fmla="*/ 7996 h 21600"/>
                      <a:gd name="connsiteX25" fmla="*/ 13626 w 21600"/>
                      <a:gd name="connsiteY25" fmla="*/ 7578 h 21600"/>
                      <a:gd name="connsiteX26" fmla="*/ 10473 w 21600"/>
                      <a:gd name="connsiteY26" fmla="*/ 5669 h 21600"/>
                      <a:gd name="connsiteX27" fmla="*/ 10830 w 21600"/>
                      <a:gd name="connsiteY27" fmla="*/ 5310 h 21600"/>
                      <a:gd name="connsiteX28" fmla="*/ 11127 w 21600"/>
                      <a:gd name="connsiteY28" fmla="*/ 5669 h 21600"/>
                      <a:gd name="connsiteX29" fmla="*/ 11127 w 21600"/>
                      <a:gd name="connsiteY29" fmla="*/ 6564 h 21600"/>
                      <a:gd name="connsiteX30" fmla="*/ 10830 w 21600"/>
                      <a:gd name="connsiteY30" fmla="*/ 6862 h 21600"/>
                      <a:gd name="connsiteX31" fmla="*/ 10473 w 21600"/>
                      <a:gd name="connsiteY31" fmla="*/ 6564 h 21600"/>
                      <a:gd name="connsiteX32" fmla="*/ 10473 w 21600"/>
                      <a:gd name="connsiteY32" fmla="*/ 5669 h 21600"/>
                      <a:gd name="connsiteX33" fmla="*/ 6545 w 21600"/>
                      <a:gd name="connsiteY33" fmla="*/ 11158 h 21600"/>
                      <a:gd name="connsiteX34" fmla="*/ 5653 w 21600"/>
                      <a:gd name="connsiteY34" fmla="*/ 11158 h 21600"/>
                      <a:gd name="connsiteX35" fmla="*/ 5296 w 21600"/>
                      <a:gd name="connsiteY35" fmla="*/ 10800 h 21600"/>
                      <a:gd name="connsiteX36" fmla="*/ 5653 w 21600"/>
                      <a:gd name="connsiteY36" fmla="*/ 10502 h 21600"/>
                      <a:gd name="connsiteX37" fmla="*/ 6545 w 21600"/>
                      <a:gd name="connsiteY37" fmla="*/ 10502 h 21600"/>
                      <a:gd name="connsiteX38" fmla="*/ 6843 w 21600"/>
                      <a:gd name="connsiteY38" fmla="*/ 10800 h 21600"/>
                      <a:gd name="connsiteX39" fmla="*/ 6545 w 21600"/>
                      <a:gd name="connsiteY39" fmla="*/ 11158 h 21600"/>
                      <a:gd name="connsiteX40" fmla="*/ 7974 w 21600"/>
                      <a:gd name="connsiteY40" fmla="*/ 14082 h 21600"/>
                      <a:gd name="connsiteX41" fmla="*/ 7379 w 21600"/>
                      <a:gd name="connsiteY41" fmla="*/ 14678 h 21600"/>
                      <a:gd name="connsiteX42" fmla="*/ 6902 w 21600"/>
                      <a:gd name="connsiteY42" fmla="*/ 14678 h 21600"/>
                      <a:gd name="connsiteX43" fmla="*/ 6902 w 21600"/>
                      <a:gd name="connsiteY43" fmla="*/ 14261 h 21600"/>
                      <a:gd name="connsiteX44" fmla="*/ 7557 w 21600"/>
                      <a:gd name="connsiteY44" fmla="*/ 13604 h 21600"/>
                      <a:gd name="connsiteX45" fmla="*/ 7974 w 21600"/>
                      <a:gd name="connsiteY45" fmla="*/ 13604 h 21600"/>
                      <a:gd name="connsiteX46" fmla="*/ 7974 w 21600"/>
                      <a:gd name="connsiteY46" fmla="*/ 14082 h 21600"/>
                      <a:gd name="connsiteX47" fmla="*/ 7974 w 21600"/>
                      <a:gd name="connsiteY47" fmla="*/ 7996 h 21600"/>
                      <a:gd name="connsiteX48" fmla="*/ 7557 w 21600"/>
                      <a:gd name="connsiteY48" fmla="*/ 7996 h 21600"/>
                      <a:gd name="connsiteX49" fmla="*/ 6902 w 21600"/>
                      <a:gd name="connsiteY49" fmla="*/ 7399 h 21600"/>
                      <a:gd name="connsiteX50" fmla="*/ 6902 w 21600"/>
                      <a:gd name="connsiteY50" fmla="*/ 6922 h 21600"/>
                      <a:gd name="connsiteX51" fmla="*/ 7379 w 21600"/>
                      <a:gd name="connsiteY51" fmla="*/ 6922 h 21600"/>
                      <a:gd name="connsiteX52" fmla="*/ 7974 w 21600"/>
                      <a:gd name="connsiteY52" fmla="*/ 7578 h 21600"/>
                      <a:gd name="connsiteX53" fmla="*/ 7974 w 21600"/>
                      <a:gd name="connsiteY53" fmla="*/ 7996 h 21600"/>
                      <a:gd name="connsiteX54" fmla="*/ 11127 w 21600"/>
                      <a:gd name="connsiteY54" fmla="*/ 15991 h 21600"/>
                      <a:gd name="connsiteX55" fmla="*/ 10830 w 21600"/>
                      <a:gd name="connsiteY55" fmla="*/ 16290 h 21600"/>
                      <a:gd name="connsiteX56" fmla="*/ 10473 w 21600"/>
                      <a:gd name="connsiteY56" fmla="*/ 15991 h 21600"/>
                      <a:gd name="connsiteX57" fmla="*/ 10473 w 21600"/>
                      <a:gd name="connsiteY57" fmla="*/ 15096 h 21600"/>
                      <a:gd name="connsiteX58" fmla="*/ 10830 w 21600"/>
                      <a:gd name="connsiteY58" fmla="*/ 14798 h 21600"/>
                      <a:gd name="connsiteX59" fmla="*/ 11127 w 21600"/>
                      <a:gd name="connsiteY59" fmla="*/ 15096 h 21600"/>
                      <a:gd name="connsiteX60" fmla="*/ 11127 w 21600"/>
                      <a:gd name="connsiteY60" fmla="*/ 15991 h 21600"/>
                      <a:gd name="connsiteX61" fmla="*/ 13031 w 21600"/>
                      <a:gd name="connsiteY61" fmla="*/ 15514 h 21600"/>
                      <a:gd name="connsiteX62" fmla="*/ 12436 w 21600"/>
                      <a:gd name="connsiteY62" fmla="*/ 15335 h 21600"/>
                      <a:gd name="connsiteX63" fmla="*/ 10889 w 21600"/>
                      <a:gd name="connsiteY63" fmla="*/ 12053 h 21600"/>
                      <a:gd name="connsiteX64" fmla="*/ 10830 w 21600"/>
                      <a:gd name="connsiteY64" fmla="*/ 12053 h 21600"/>
                      <a:gd name="connsiteX65" fmla="*/ 9521 w 21600"/>
                      <a:gd name="connsiteY65" fmla="*/ 10800 h 21600"/>
                      <a:gd name="connsiteX66" fmla="*/ 10294 w 21600"/>
                      <a:gd name="connsiteY66" fmla="*/ 9666 h 21600"/>
                      <a:gd name="connsiteX67" fmla="*/ 10294 w 21600"/>
                      <a:gd name="connsiteY67" fmla="*/ 7936 h 21600"/>
                      <a:gd name="connsiteX68" fmla="*/ 10770 w 21600"/>
                      <a:gd name="connsiteY68" fmla="*/ 7459 h 21600"/>
                      <a:gd name="connsiteX69" fmla="*/ 11246 w 21600"/>
                      <a:gd name="connsiteY69" fmla="*/ 7936 h 21600"/>
                      <a:gd name="connsiteX70" fmla="*/ 11246 w 21600"/>
                      <a:gd name="connsiteY70" fmla="*/ 9607 h 21600"/>
                      <a:gd name="connsiteX71" fmla="*/ 12079 w 21600"/>
                      <a:gd name="connsiteY71" fmla="*/ 10800 h 21600"/>
                      <a:gd name="connsiteX72" fmla="*/ 11722 w 21600"/>
                      <a:gd name="connsiteY72" fmla="*/ 11695 h 21600"/>
                      <a:gd name="connsiteX73" fmla="*/ 13269 w 21600"/>
                      <a:gd name="connsiteY73" fmla="*/ 14917 h 21600"/>
                      <a:gd name="connsiteX74" fmla="*/ 13031 w 21600"/>
                      <a:gd name="connsiteY74" fmla="*/ 15514 h 21600"/>
                      <a:gd name="connsiteX75" fmla="*/ 14698 w 21600"/>
                      <a:gd name="connsiteY75" fmla="*/ 14678 h 21600"/>
                      <a:gd name="connsiteX76" fmla="*/ 14221 w 21600"/>
                      <a:gd name="connsiteY76" fmla="*/ 14678 h 21600"/>
                      <a:gd name="connsiteX77" fmla="*/ 13626 w 21600"/>
                      <a:gd name="connsiteY77" fmla="*/ 14082 h 21600"/>
                      <a:gd name="connsiteX78" fmla="*/ 13626 w 21600"/>
                      <a:gd name="connsiteY78" fmla="*/ 13604 h 21600"/>
                      <a:gd name="connsiteX79" fmla="*/ 14043 w 21600"/>
                      <a:gd name="connsiteY79" fmla="*/ 13604 h 21600"/>
                      <a:gd name="connsiteX80" fmla="*/ 14698 w 21600"/>
                      <a:gd name="connsiteY80" fmla="*/ 14261 h 21600"/>
                      <a:gd name="connsiteX81" fmla="*/ 14698 w 21600"/>
                      <a:gd name="connsiteY81" fmla="*/ 14678 h 21600"/>
                      <a:gd name="connsiteX82" fmla="*/ 16304 w 21600"/>
                      <a:gd name="connsiteY82" fmla="*/ 10800 h 21600"/>
                      <a:gd name="connsiteX83" fmla="*/ 15947 w 21600"/>
                      <a:gd name="connsiteY83" fmla="*/ 11158 h 21600"/>
                      <a:gd name="connsiteX84" fmla="*/ 15055 w 21600"/>
                      <a:gd name="connsiteY84" fmla="*/ 11158 h 21600"/>
                      <a:gd name="connsiteX85" fmla="*/ 14757 w 21600"/>
                      <a:gd name="connsiteY85" fmla="*/ 10800 h 21600"/>
                      <a:gd name="connsiteX86" fmla="*/ 15055 w 21600"/>
                      <a:gd name="connsiteY86" fmla="*/ 10502 h 21600"/>
                      <a:gd name="connsiteX87" fmla="*/ 15947 w 21600"/>
                      <a:gd name="connsiteY87" fmla="*/ 10502 h 21600"/>
                      <a:gd name="connsiteX88" fmla="*/ 16304 w 21600"/>
                      <a:gd name="connsiteY88" fmla="*/ 10800 h 21600"/>
                      <a:gd name="connsiteX89" fmla="*/ 16304 w 21600"/>
                      <a:gd name="connsiteY89" fmla="*/ 10800 h 21600"/>
                      <a:gd name="connsiteX0" fmla="*/ 10830 w 21900"/>
                      <a:gd name="connsiteY0" fmla="*/ 5609 h 17006"/>
                      <a:gd name="connsiteX1" fmla="*/ 10175 w 21900"/>
                      <a:gd name="connsiteY1" fmla="*/ 6206 h 17006"/>
                      <a:gd name="connsiteX2" fmla="*/ 10830 w 21900"/>
                      <a:gd name="connsiteY2" fmla="*/ 6803 h 17006"/>
                      <a:gd name="connsiteX3" fmla="*/ 11425 w 21900"/>
                      <a:gd name="connsiteY3" fmla="*/ 6206 h 17006"/>
                      <a:gd name="connsiteX4" fmla="*/ 10830 w 21900"/>
                      <a:gd name="connsiteY4" fmla="*/ 5609 h 17006"/>
                      <a:gd name="connsiteX5" fmla="*/ 21600 w 21900"/>
                      <a:gd name="connsiteY5" fmla="*/ 6206 h 17006"/>
                      <a:gd name="connsiteX6" fmla="*/ 0 w 21900"/>
                      <a:gd name="connsiteY6" fmla="*/ 6206 h 17006"/>
                      <a:gd name="connsiteX7" fmla="*/ 10830 w 21900"/>
                      <a:gd name="connsiteY7" fmla="*/ 17006 h 17006"/>
                      <a:gd name="connsiteX8" fmla="*/ 21600 w 21900"/>
                      <a:gd name="connsiteY8" fmla="*/ 6206 h 17006"/>
                      <a:gd name="connsiteX9" fmla="*/ 10830 w 21900"/>
                      <a:gd name="connsiteY9" fmla="*/ 15574 h 17006"/>
                      <a:gd name="connsiteX10" fmla="*/ 1488 w 21900"/>
                      <a:gd name="connsiteY10" fmla="*/ 6206 h 17006"/>
                      <a:gd name="connsiteX11" fmla="*/ 20112 w 21900"/>
                      <a:gd name="connsiteY11" fmla="*/ 6206 h 17006"/>
                      <a:gd name="connsiteX12" fmla="*/ 10830 w 21900"/>
                      <a:gd name="connsiteY12" fmla="*/ 15574 h 17006"/>
                      <a:gd name="connsiteX13" fmla="*/ 10830 w 21900"/>
                      <a:gd name="connsiteY13" fmla="*/ 0 h 17006"/>
                      <a:gd name="connsiteX14" fmla="*/ 4582 w 21900"/>
                      <a:gd name="connsiteY14" fmla="*/ 6206 h 17006"/>
                      <a:gd name="connsiteX15" fmla="*/ 10830 w 21900"/>
                      <a:gd name="connsiteY15" fmla="*/ 12471 h 17006"/>
                      <a:gd name="connsiteX16" fmla="*/ 17018 w 21900"/>
                      <a:gd name="connsiteY16" fmla="*/ 6206 h 17006"/>
                      <a:gd name="connsiteX17" fmla="*/ 10830 w 21900"/>
                      <a:gd name="connsiteY17" fmla="*/ 0 h 17006"/>
                      <a:gd name="connsiteX18" fmla="*/ 13626 w 21900"/>
                      <a:gd name="connsiteY18" fmla="*/ 2984 h 17006"/>
                      <a:gd name="connsiteX19" fmla="*/ 14221 w 21900"/>
                      <a:gd name="connsiteY19" fmla="*/ 2328 h 17006"/>
                      <a:gd name="connsiteX20" fmla="*/ 14698 w 21900"/>
                      <a:gd name="connsiteY20" fmla="*/ 2328 h 17006"/>
                      <a:gd name="connsiteX21" fmla="*/ 14698 w 21900"/>
                      <a:gd name="connsiteY21" fmla="*/ 2805 h 17006"/>
                      <a:gd name="connsiteX22" fmla="*/ 14043 w 21900"/>
                      <a:gd name="connsiteY22" fmla="*/ 3402 h 17006"/>
                      <a:gd name="connsiteX23" fmla="*/ 13626 w 21900"/>
                      <a:gd name="connsiteY23" fmla="*/ 3402 h 17006"/>
                      <a:gd name="connsiteX24" fmla="*/ 13626 w 21900"/>
                      <a:gd name="connsiteY24" fmla="*/ 2984 h 17006"/>
                      <a:gd name="connsiteX25" fmla="*/ 10473 w 21900"/>
                      <a:gd name="connsiteY25" fmla="*/ 1075 h 17006"/>
                      <a:gd name="connsiteX26" fmla="*/ 10830 w 21900"/>
                      <a:gd name="connsiteY26" fmla="*/ 716 h 17006"/>
                      <a:gd name="connsiteX27" fmla="*/ 11127 w 21900"/>
                      <a:gd name="connsiteY27" fmla="*/ 1075 h 17006"/>
                      <a:gd name="connsiteX28" fmla="*/ 11127 w 21900"/>
                      <a:gd name="connsiteY28" fmla="*/ 1970 h 17006"/>
                      <a:gd name="connsiteX29" fmla="*/ 10830 w 21900"/>
                      <a:gd name="connsiteY29" fmla="*/ 2268 h 17006"/>
                      <a:gd name="connsiteX30" fmla="*/ 10473 w 21900"/>
                      <a:gd name="connsiteY30" fmla="*/ 1970 h 17006"/>
                      <a:gd name="connsiteX31" fmla="*/ 10473 w 21900"/>
                      <a:gd name="connsiteY31" fmla="*/ 1075 h 17006"/>
                      <a:gd name="connsiteX32" fmla="*/ 6545 w 21900"/>
                      <a:gd name="connsiteY32" fmla="*/ 6564 h 17006"/>
                      <a:gd name="connsiteX33" fmla="*/ 5653 w 21900"/>
                      <a:gd name="connsiteY33" fmla="*/ 6564 h 17006"/>
                      <a:gd name="connsiteX34" fmla="*/ 5296 w 21900"/>
                      <a:gd name="connsiteY34" fmla="*/ 6206 h 17006"/>
                      <a:gd name="connsiteX35" fmla="*/ 5653 w 21900"/>
                      <a:gd name="connsiteY35" fmla="*/ 5908 h 17006"/>
                      <a:gd name="connsiteX36" fmla="*/ 6545 w 21900"/>
                      <a:gd name="connsiteY36" fmla="*/ 5908 h 17006"/>
                      <a:gd name="connsiteX37" fmla="*/ 6843 w 21900"/>
                      <a:gd name="connsiteY37" fmla="*/ 6206 h 17006"/>
                      <a:gd name="connsiteX38" fmla="*/ 6545 w 21900"/>
                      <a:gd name="connsiteY38" fmla="*/ 6564 h 17006"/>
                      <a:gd name="connsiteX39" fmla="*/ 7974 w 21900"/>
                      <a:gd name="connsiteY39" fmla="*/ 9488 h 17006"/>
                      <a:gd name="connsiteX40" fmla="*/ 7379 w 21900"/>
                      <a:gd name="connsiteY40" fmla="*/ 10084 h 17006"/>
                      <a:gd name="connsiteX41" fmla="*/ 6902 w 21900"/>
                      <a:gd name="connsiteY41" fmla="*/ 10084 h 17006"/>
                      <a:gd name="connsiteX42" fmla="*/ 6902 w 21900"/>
                      <a:gd name="connsiteY42" fmla="*/ 9667 h 17006"/>
                      <a:gd name="connsiteX43" fmla="*/ 7557 w 21900"/>
                      <a:gd name="connsiteY43" fmla="*/ 9010 h 17006"/>
                      <a:gd name="connsiteX44" fmla="*/ 7974 w 21900"/>
                      <a:gd name="connsiteY44" fmla="*/ 9010 h 17006"/>
                      <a:gd name="connsiteX45" fmla="*/ 7974 w 21900"/>
                      <a:gd name="connsiteY45" fmla="*/ 9488 h 17006"/>
                      <a:gd name="connsiteX46" fmla="*/ 7974 w 21900"/>
                      <a:gd name="connsiteY46" fmla="*/ 3402 h 17006"/>
                      <a:gd name="connsiteX47" fmla="*/ 7557 w 21900"/>
                      <a:gd name="connsiteY47" fmla="*/ 3402 h 17006"/>
                      <a:gd name="connsiteX48" fmla="*/ 6902 w 21900"/>
                      <a:gd name="connsiteY48" fmla="*/ 2805 h 17006"/>
                      <a:gd name="connsiteX49" fmla="*/ 6902 w 21900"/>
                      <a:gd name="connsiteY49" fmla="*/ 2328 h 17006"/>
                      <a:gd name="connsiteX50" fmla="*/ 7379 w 21900"/>
                      <a:gd name="connsiteY50" fmla="*/ 2328 h 17006"/>
                      <a:gd name="connsiteX51" fmla="*/ 7974 w 21900"/>
                      <a:gd name="connsiteY51" fmla="*/ 2984 h 17006"/>
                      <a:gd name="connsiteX52" fmla="*/ 7974 w 21900"/>
                      <a:gd name="connsiteY52" fmla="*/ 3402 h 17006"/>
                      <a:gd name="connsiteX53" fmla="*/ 11127 w 21900"/>
                      <a:gd name="connsiteY53" fmla="*/ 11397 h 17006"/>
                      <a:gd name="connsiteX54" fmla="*/ 10830 w 21900"/>
                      <a:gd name="connsiteY54" fmla="*/ 11696 h 17006"/>
                      <a:gd name="connsiteX55" fmla="*/ 10473 w 21900"/>
                      <a:gd name="connsiteY55" fmla="*/ 11397 h 17006"/>
                      <a:gd name="connsiteX56" fmla="*/ 10473 w 21900"/>
                      <a:gd name="connsiteY56" fmla="*/ 10502 h 17006"/>
                      <a:gd name="connsiteX57" fmla="*/ 10830 w 21900"/>
                      <a:gd name="connsiteY57" fmla="*/ 10204 h 17006"/>
                      <a:gd name="connsiteX58" fmla="*/ 11127 w 21900"/>
                      <a:gd name="connsiteY58" fmla="*/ 10502 h 17006"/>
                      <a:gd name="connsiteX59" fmla="*/ 11127 w 21900"/>
                      <a:gd name="connsiteY59" fmla="*/ 11397 h 17006"/>
                      <a:gd name="connsiteX60" fmla="*/ 13031 w 21900"/>
                      <a:gd name="connsiteY60" fmla="*/ 10920 h 17006"/>
                      <a:gd name="connsiteX61" fmla="*/ 12436 w 21900"/>
                      <a:gd name="connsiteY61" fmla="*/ 10741 h 17006"/>
                      <a:gd name="connsiteX62" fmla="*/ 10889 w 21900"/>
                      <a:gd name="connsiteY62" fmla="*/ 7459 h 17006"/>
                      <a:gd name="connsiteX63" fmla="*/ 10830 w 21900"/>
                      <a:gd name="connsiteY63" fmla="*/ 7459 h 17006"/>
                      <a:gd name="connsiteX64" fmla="*/ 9521 w 21900"/>
                      <a:gd name="connsiteY64" fmla="*/ 6206 h 17006"/>
                      <a:gd name="connsiteX65" fmla="*/ 10294 w 21900"/>
                      <a:gd name="connsiteY65" fmla="*/ 5072 h 17006"/>
                      <a:gd name="connsiteX66" fmla="*/ 10294 w 21900"/>
                      <a:gd name="connsiteY66" fmla="*/ 3342 h 17006"/>
                      <a:gd name="connsiteX67" fmla="*/ 10770 w 21900"/>
                      <a:gd name="connsiteY67" fmla="*/ 2865 h 17006"/>
                      <a:gd name="connsiteX68" fmla="*/ 11246 w 21900"/>
                      <a:gd name="connsiteY68" fmla="*/ 3342 h 17006"/>
                      <a:gd name="connsiteX69" fmla="*/ 11246 w 21900"/>
                      <a:gd name="connsiteY69" fmla="*/ 5013 h 17006"/>
                      <a:gd name="connsiteX70" fmla="*/ 12079 w 21900"/>
                      <a:gd name="connsiteY70" fmla="*/ 6206 h 17006"/>
                      <a:gd name="connsiteX71" fmla="*/ 11722 w 21900"/>
                      <a:gd name="connsiteY71" fmla="*/ 7101 h 17006"/>
                      <a:gd name="connsiteX72" fmla="*/ 13269 w 21900"/>
                      <a:gd name="connsiteY72" fmla="*/ 10323 h 17006"/>
                      <a:gd name="connsiteX73" fmla="*/ 13031 w 21900"/>
                      <a:gd name="connsiteY73" fmla="*/ 10920 h 17006"/>
                      <a:gd name="connsiteX74" fmla="*/ 14698 w 21900"/>
                      <a:gd name="connsiteY74" fmla="*/ 10084 h 17006"/>
                      <a:gd name="connsiteX75" fmla="*/ 14221 w 21900"/>
                      <a:gd name="connsiteY75" fmla="*/ 10084 h 17006"/>
                      <a:gd name="connsiteX76" fmla="*/ 13626 w 21900"/>
                      <a:gd name="connsiteY76" fmla="*/ 9488 h 17006"/>
                      <a:gd name="connsiteX77" fmla="*/ 13626 w 21900"/>
                      <a:gd name="connsiteY77" fmla="*/ 9010 h 17006"/>
                      <a:gd name="connsiteX78" fmla="*/ 14043 w 21900"/>
                      <a:gd name="connsiteY78" fmla="*/ 9010 h 17006"/>
                      <a:gd name="connsiteX79" fmla="*/ 14698 w 21900"/>
                      <a:gd name="connsiteY79" fmla="*/ 9667 h 17006"/>
                      <a:gd name="connsiteX80" fmla="*/ 14698 w 21900"/>
                      <a:gd name="connsiteY80" fmla="*/ 10084 h 17006"/>
                      <a:gd name="connsiteX81" fmla="*/ 16304 w 21900"/>
                      <a:gd name="connsiteY81" fmla="*/ 6206 h 17006"/>
                      <a:gd name="connsiteX82" fmla="*/ 15947 w 21900"/>
                      <a:gd name="connsiteY82" fmla="*/ 6564 h 17006"/>
                      <a:gd name="connsiteX83" fmla="*/ 15055 w 21900"/>
                      <a:gd name="connsiteY83" fmla="*/ 6564 h 17006"/>
                      <a:gd name="connsiteX84" fmla="*/ 14757 w 21900"/>
                      <a:gd name="connsiteY84" fmla="*/ 6206 h 17006"/>
                      <a:gd name="connsiteX85" fmla="*/ 15055 w 21900"/>
                      <a:gd name="connsiteY85" fmla="*/ 5908 h 17006"/>
                      <a:gd name="connsiteX86" fmla="*/ 15947 w 21900"/>
                      <a:gd name="connsiteY86" fmla="*/ 5908 h 17006"/>
                      <a:gd name="connsiteX87" fmla="*/ 16304 w 21900"/>
                      <a:gd name="connsiteY87" fmla="*/ 6206 h 17006"/>
                      <a:gd name="connsiteX88" fmla="*/ 16304 w 21900"/>
                      <a:gd name="connsiteY88" fmla="*/ 6206 h 17006"/>
                      <a:gd name="connsiteX0" fmla="*/ 10830 w 21900"/>
                      <a:gd name="connsiteY0" fmla="*/ 5609 h 17006"/>
                      <a:gd name="connsiteX1" fmla="*/ 10175 w 21900"/>
                      <a:gd name="connsiteY1" fmla="*/ 6206 h 17006"/>
                      <a:gd name="connsiteX2" fmla="*/ 10830 w 21900"/>
                      <a:gd name="connsiteY2" fmla="*/ 6803 h 17006"/>
                      <a:gd name="connsiteX3" fmla="*/ 11425 w 21900"/>
                      <a:gd name="connsiteY3" fmla="*/ 6206 h 17006"/>
                      <a:gd name="connsiteX4" fmla="*/ 10830 w 21900"/>
                      <a:gd name="connsiteY4" fmla="*/ 5609 h 17006"/>
                      <a:gd name="connsiteX5" fmla="*/ 21600 w 21900"/>
                      <a:gd name="connsiteY5" fmla="*/ 6206 h 17006"/>
                      <a:gd name="connsiteX6" fmla="*/ 0 w 21900"/>
                      <a:gd name="connsiteY6" fmla="*/ 6206 h 17006"/>
                      <a:gd name="connsiteX7" fmla="*/ 10830 w 21900"/>
                      <a:gd name="connsiteY7" fmla="*/ 17006 h 17006"/>
                      <a:gd name="connsiteX8" fmla="*/ 21600 w 21900"/>
                      <a:gd name="connsiteY8" fmla="*/ 6206 h 17006"/>
                      <a:gd name="connsiteX9" fmla="*/ 10830 w 21900"/>
                      <a:gd name="connsiteY9" fmla="*/ 15574 h 17006"/>
                      <a:gd name="connsiteX10" fmla="*/ 1488 w 21900"/>
                      <a:gd name="connsiteY10" fmla="*/ 6206 h 17006"/>
                      <a:gd name="connsiteX11" fmla="*/ 10830 w 21900"/>
                      <a:gd name="connsiteY11" fmla="*/ 15574 h 17006"/>
                      <a:gd name="connsiteX12" fmla="*/ 10830 w 21900"/>
                      <a:gd name="connsiteY12" fmla="*/ 0 h 17006"/>
                      <a:gd name="connsiteX13" fmla="*/ 4582 w 21900"/>
                      <a:gd name="connsiteY13" fmla="*/ 6206 h 17006"/>
                      <a:gd name="connsiteX14" fmla="*/ 10830 w 21900"/>
                      <a:gd name="connsiteY14" fmla="*/ 12471 h 17006"/>
                      <a:gd name="connsiteX15" fmla="*/ 17018 w 21900"/>
                      <a:gd name="connsiteY15" fmla="*/ 6206 h 17006"/>
                      <a:gd name="connsiteX16" fmla="*/ 10830 w 21900"/>
                      <a:gd name="connsiteY16" fmla="*/ 0 h 17006"/>
                      <a:gd name="connsiteX17" fmla="*/ 13626 w 21900"/>
                      <a:gd name="connsiteY17" fmla="*/ 2984 h 17006"/>
                      <a:gd name="connsiteX18" fmla="*/ 14221 w 21900"/>
                      <a:gd name="connsiteY18" fmla="*/ 2328 h 17006"/>
                      <a:gd name="connsiteX19" fmla="*/ 14698 w 21900"/>
                      <a:gd name="connsiteY19" fmla="*/ 2328 h 17006"/>
                      <a:gd name="connsiteX20" fmla="*/ 14698 w 21900"/>
                      <a:gd name="connsiteY20" fmla="*/ 2805 h 17006"/>
                      <a:gd name="connsiteX21" fmla="*/ 14043 w 21900"/>
                      <a:gd name="connsiteY21" fmla="*/ 3402 h 17006"/>
                      <a:gd name="connsiteX22" fmla="*/ 13626 w 21900"/>
                      <a:gd name="connsiteY22" fmla="*/ 3402 h 17006"/>
                      <a:gd name="connsiteX23" fmla="*/ 13626 w 21900"/>
                      <a:gd name="connsiteY23" fmla="*/ 2984 h 17006"/>
                      <a:gd name="connsiteX24" fmla="*/ 10473 w 21900"/>
                      <a:gd name="connsiteY24" fmla="*/ 1075 h 17006"/>
                      <a:gd name="connsiteX25" fmla="*/ 10830 w 21900"/>
                      <a:gd name="connsiteY25" fmla="*/ 716 h 17006"/>
                      <a:gd name="connsiteX26" fmla="*/ 11127 w 21900"/>
                      <a:gd name="connsiteY26" fmla="*/ 1075 h 17006"/>
                      <a:gd name="connsiteX27" fmla="*/ 11127 w 21900"/>
                      <a:gd name="connsiteY27" fmla="*/ 1970 h 17006"/>
                      <a:gd name="connsiteX28" fmla="*/ 10830 w 21900"/>
                      <a:gd name="connsiteY28" fmla="*/ 2268 h 17006"/>
                      <a:gd name="connsiteX29" fmla="*/ 10473 w 21900"/>
                      <a:gd name="connsiteY29" fmla="*/ 1970 h 17006"/>
                      <a:gd name="connsiteX30" fmla="*/ 10473 w 21900"/>
                      <a:gd name="connsiteY30" fmla="*/ 1075 h 17006"/>
                      <a:gd name="connsiteX31" fmla="*/ 6545 w 21900"/>
                      <a:gd name="connsiteY31" fmla="*/ 6564 h 17006"/>
                      <a:gd name="connsiteX32" fmla="*/ 5653 w 21900"/>
                      <a:gd name="connsiteY32" fmla="*/ 6564 h 17006"/>
                      <a:gd name="connsiteX33" fmla="*/ 5296 w 21900"/>
                      <a:gd name="connsiteY33" fmla="*/ 6206 h 17006"/>
                      <a:gd name="connsiteX34" fmla="*/ 5653 w 21900"/>
                      <a:gd name="connsiteY34" fmla="*/ 5908 h 17006"/>
                      <a:gd name="connsiteX35" fmla="*/ 6545 w 21900"/>
                      <a:gd name="connsiteY35" fmla="*/ 5908 h 17006"/>
                      <a:gd name="connsiteX36" fmla="*/ 6843 w 21900"/>
                      <a:gd name="connsiteY36" fmla="*/ 6206 h 17006"/>
                      <a:gd name="connsiteX37" fmla="*/ 6545 w 21900"/>
                      <a:gd name="connsiteY37" fmla="*/ 6564 h 17006"/>
                      <a:gd name="connsiteX38" fmla="*/ 7974 w 21900"/>
                      <a:gd name="connsiteY38" fmla="*/ 9488 h 17006"/>
                      <a:gd name="connsiteX39" fmla="*/ 7379 w 21900"/>
                      <a:gd name="connsiteY39" fmla="*/ 10084 h 17006"/>
                      <a:gd name="connsiteX40" fmla="*/ 6902 w 21900"/>
                      <a:gd name="connsiteY40" fmla="*/ 10084 h 17006"/>
                      <a:gd name="connsiteX41" fmla="*/ 6902 w 21900"/>
                      <a:gd name="connsiteY41" fmla="*/ 9667 h 17006"/>
                      <a:gd name="connsiteX42" fmla="*/ 7557 w 21900"/>
                      <a:gd name="connsiteY42" fmla="*/ 9010 h 17006"/>
                      <a:gd name="connsiteX43" fmla="*/ 7974 w 21900"/>
                      <a:gd name="connsiteY43" fmla="*/ 9010 h 17006"/>
                      <a:gd name="connsiteX44" fmla="*/ 7974 w 21900"/>
                      <a:gd name="connsiteY44" fmla="*/ 9488 h 17006"/>
                      <a:gd name="connsiteX45" fmla="*/ 7974 w 21900"/>
                      <a:gd name="connsiteY45" fmla="*/ 3402 h 17006"/>
                      <a:gd name="connsiteX46" fmla="*/ 7557 w 21900"/>
                      <a:gd name="connsiteY46" fmla="*/ 3402 h 17006"/>
                      <a:gd name="connsiteX47" fmla="*/ 6902 w 21900"/>
                      <a:gd name="connsiteY47" fmla="*/ 2805 h 17006"/>
                      <a:gd name="connsiteX48" fmla="*/ 6902 w 21900"/>
                      <a:gd name="connsiteY48" fmla="*/ 2328 h 17006"/>
                      <a:gd name="connsiteX49" fmla="*/ 7379 w 21900"/>
                      <a:gd name="connsiteY49" fmla="*/ 2328 h 17006"/>
                      <a:gd name="connsiteX50" fmla="*/ 7974 w 21900"/>
                      <a:gd name="connsiteY50" fmla="*/ 2984 h 17006"/>
                      <a:gd name="connsiteX51" fmla="*/ 7974 w 21900"/>
                      <a:gd name="connsiteY51" fmla="*/ 3402 h 17006"/>
                      <a:gd name="connsiteX52" fmla="*/ 11127 w 21900"/>
                      <a:gd name="connsiteY52" fmla="*/ 11397 h 17006"/>
                      <a:gd name="connsiteX53" fmla="*/ 10830 w 21900"/>
                      <a:gd name="connsiteY53" fmla="*/ 11696 h 17006"/>
                      <a:gd name="connsiteX54" fmla="*/ 10473 w 21900"/>
                      <a:gd name="connsiteY54" fmla="*/ 11397 h 17006"/>
                      <a:gd name="connsiteX55" fmla="*/ 10473 w 21900"/>
                      <a:gd name="connsiteY55" fmla="*/ 10502 h 17006"/>
                      <a:gd name="connsiteX56" fmla="*/ 10830 w 21900"/>
                      <a:gd name="connsiteY56" fmla="*/ 10204 h 17006"/>
                      <a:gd name="connsiteX57" fmla="*/ 11127 w 21900"/>
                      <a:gd name="connsiteY57" fmla="*/ 10502 h 17006"/>
                      <a:gd name="connsiteX58" fmla="*/ 11127 w 21900"/>
                      <a:gd name="connsiteY58" fmla="*/ 11397 h 17006"/>
                      <a:gd name="connsiteX59" fmla="*/ 13031 w 21900"/>
                      <a:gd name="connsiteY59" fmla="*/ 10920 h 17006"/>
                      <a:gd name="connsiteX60" fmla="*/ 12436 w 21900"/>
                      <a:gd name="connsiteY60" fmla="*/ 10741 h 17006"/>
                      <a:gd name="connsiteX61" fmla="*/ 10889 w 21900"/>
                      <a:gd name="connsiteY61" fmla="*/ 7459 h 17006"/>
                      <a:gd name="connsiteX62" fmla="*/ 10830 w 21900"/>
                      <a:gd name="connsiteY62" fmla="*/ 7459 h 17006"/>
                      <a:gd name="connsiteX63" fmla="*/ 9521 w 21900"/>
                      <a:gd name="connsiteY63" fmla="*/ 6206 h 17006"/>
                      <a:gd name="connsiteX64" fmla="*/ 10294 w 21900"/>
                      <a:gd name="connsiteY64" fmla="*/ 5072 h 17006"/>
                      <a:gd name="connsiteX65" fmla="*/ 10294 w 21900"/>
                      <a:gd name="connsiteY65" fmla="*/ 3342 h 17006"/>
                      <a:gd name="connsiteX66" fmla="*/ 10770 w 21900"/>
                      <a:gd name="connsiteY66" fmla="*/ 2865 h 17006"/>
                      <a:gd name="connsiteX67" fmla="*/ 11246 w 21900"/>
                      <a:gd name="connsiteY67" fmla="*/ 3342 h 17006"/>
                      <a:gd name="connsiteX68" fmla="*/ 11246 w 21900"/>
                      <a:gd name="connsiteY68" fmla="*/ 5013 h 17006"/>
                      <a:gd name="connsiteX69" fmla="*/ 12079 w 21900"/>
                      <a:gd name="connsiteY69" fmla="*/ 6206 h 17006"/>
                      <a:gd name="connsiteX70" fmla="*/ 11722 w 21900"/>
                      <a:gd name="connsiteY70" fmla="*/ 7101 h 17006"/>
                      <a:gd name="connsiteX71" fmla="*/ 13269 w 21900"/>
                      <a:gd name="connsiteY71" fmla="*/ 10323 h 17006"/>
                      <a:gd name="connsiteX72" fmla="*/ 13031 w 21900"/>
                      <a:gd name="connsiteY72" fmla="*/ 10920 h 17006"/>
                      <a:gd name="connsiteX73" fmla="*/ 14698 w 21900"/>
                      <a:gd name="connsiteY73" fmla="*/ 10084 h 17006"/>
                      <a:gd name="connsiteX74" fmla="*/ 14221 w 21900"/>
                      <a:gd name="connsiteY74" fmla="*/ 10084 h 17006"/>
                      <a:gd name="connsiteX75" fmla="*/ 13626 w 21900"/>
                      <a:gd name="connsiteY75" fmla="*/ 9488 h 17006"/>
                      <a:gd name="connsiteX76" fmla="*/ 13626 w 21900"/>
                      <a:gd name="connsiteY76" fmla="*/ 9010 h 17006"/>
                      <a:gd name="connsiteX77" fmla="*/ 14043 w 21900"/>
                      <a:gd name="connsiteY77" fmla="*/ 9010 h 17006"/>
                      <a:gd name="connsiteX78" fmla="*/ 14698 w 21900"/>
                      <a:gd name="connsiteY78" fmla="*/ 9667 h 17006"/>
                      <a:gd name="connsiteX79" fmla="*/ 14698 w 21900"/>
                      <a:gd name="connsiteY79" fmla="*/ 10084 h 17006"/>
                      <a:gd name="connsiteX80" fmla="*/ 16304 w 21900"/>
                      <a:gd name="connsiteY80" fmla="*/ 6206 h 17006"/>
                      <a:gd name="connsiteX81" fmla="*/ 15947 w 21900"/>
                      <a:gd name="connsiteY81" fmla="*/ 6564 h 17006"/>
                      <a:gd name="connsiteX82" fmla="*/ 15055 w 21900"/>
                      <a:gd name="connsiteY82" fmla="*/ 6564 h 17006"/>
                      <a:gd name="connsiteX83" fmla="*/ 14757 w 21900"/>
                      <a:gd name="connsiteY83" fmla="*/ 6206 h 17006"/>
                      <a:gd name="connsiteX84" fmla="*/ 15055 w 21900"/>
                      <a:gd name="connsiteY84" fmla="*/ 5908 h 17006"/>
                      <a:gd name="connsiteX85" fmla="*/ 15947 w 21900"/>
                      <a:gd name="connsiteY85" fmla="*/ 5908 h 17006"/>
                      <a:gd name="connsiteX86" fmla="*/ 16304 w 21900"/>
                      <a:gd name="connsiteY86" fmla="*/ 6206 h 17006"/>
                      <a:gd name="connsiteX87" fmla="*/ 16304 w 21900"/>
                      <a:gd name="connsiteY87" fmla="*/ 6206 h 17006"/>
                      <a:gd name="connsiteX0" fmla="*/ 10830 w 17018"/>
                      <a:gd name="connsiteY0" fmla="*/ 5609 h 17006"/>
                      <a:gd name="connsiteX1" fmla="*/ 10175 w 17018"/>
                      <a:gd name="connsiteY1" fmla="*/ 6206 h 17006"/>
                      <a:gd name="connsiteX2" fmla="*/ 10830 w 17018"/>
                      <a:gd name="connsiteY2" fmla="*/ 6803 h 17006"/>
                      <a:gd name="connsiteX3" fmla="*/ 11425 w 17018"/>
                      <a:gd name="connsiteY3" fmla="*/ 6206 h 17006"/>
                      <a:gd name="connsiteX4" fmla="*/ 10830 w 17018"/>
                      <a:gd name="connsiteY4" fmla="*/ 5609 h 17006"/>
                      <a:gd name="connsiteX5" fmla="*/ 10830 w 17018"/>
                      <a:gd name="connsiteY5" fmla="*/ 17006 h 17006"/>
                      <a:gd name="connsiteX6" fmla="*/ 0 w 17018"/>
                      <a:gd name="connsiteY6" fmla="*/ 6206 h 17006"/>
                      <a:gd name="connsiteX7" fmla="*/ 10830 w 17018"/>
                      <a:gd name="connsiteY7" fmla="*/ 17006 h 17006"/>
                      <a:gd name="connsiteX8" fmla="*/ 10830 w 17018"/>
                      <a:gd name="connsiteY8" fmla="*/ 15574 h 17006"/>
                      <a:gd name="connsiteX9" fmla="*/ 1488 w 17018"/>
                      <a:gd name="connsiteY9" fmla="*/ 6206 h 17006"/>
                      <a:gd name="connsiteX10" fmla="*/ 10830 w 17018"/>
                      <a:gd name="connsiteY10" fmla="*/ 15574 h 17006"/>
                      <a:gd name="connsiteX11" fmla="*/ 10830 w 17018"/>
                      <a:gd name="connsiteY11" fmla="*/ 0 h 17006"/>
                      <a:gd name="connsiteX12" fmla="*/ 4582 w 17018"/>
                      <a:gd name="connsiteY12" fmla="*/ 6206 h 17006"/>
                      <a:gd name="connsiteX13" fmla="*/ 10830 w 17018"/>
                      <a:gd name="connsiteY13" fmla="*/ 12471 h 17006"/>
                      <a:gd name="connsiteX14" fmla="*/ 17018 w 17018"/>
                      <a:gd name="connsiteY14" fmla="*/ 6206 h 17006"/>
                      <a:gd name="connsiteX15" fmla="*/ 10830 w 17018"/>
                      <a:gd name="connsiteY15" fmla="*/ 0 h 17006"/>
                      <a:gd name="connsiteX16" fmla="*/ 13626 w 17018"/>
                      <a:gd name="connsiteY16" fmla="*/ 2984 h 17006"/>
                      <a:gd name="connsiteX17" fmla="*/ 14221 w 17018"/>
                      <a:gd name="connsiteY17" fmla="*/ 2328 h 17006"/>
                      <a:gd name="connsiteX18" fmla="*/ 14698 w 17018"/>
                      <a:gd name="connsiteY18" fmla="*/ 2328 h 17006"/>
                      <a:gd name="connsiteX19" fmla="*/ 14698 w 17018"/>
                      <a:gd name="connsiteY19" fmla="*/ 2805 h 17006"/>
                      <a:gd name="connsiteX20" fmla="*/ 14043 w 17018"/>
                      <a:gd name="connsiteY20" fmla="*/ 3402 h 17006"/>
                      <a:gd name="connsiteX21" fmla="*/ 13626 w 17018"/>
                      <a:gd name="connsiteY21" fmla="*/ 3402 h 17006"/>
                      <a:gd name="connsiteX22" fmla="*/ 13626 w 17018"/>
                      <a:gd name="connsiteY22" fmla="*/ 2984 h 17006"/>
                      <a:gd name="connsiteX23" fmla="*/ 10473 w 17018"/>
                      <a:gd name="connsiteY23" fmla="*/ 1075 h 17006"/>
                      <a:gd name="connsiteX24" fmla="*/ 10830 w 17018"/>
                      <a:gd name="connsiteY24" fmla="*/ 716 h 17006"/>
                      <a:gd name="connsiteX25" fmla="*/ 11127 w 17018"/>
                      <a:gd name="connsiteY25" fmla="*/ 1075 h 17006"/>
                      <a:gd name="connsiteX26" fmla="*/ 11127 w 17018"/>
                      <a:gd name="connsiteY26" fmla="*/ 1970 h 17006"/>
                      <a:gd name="connsiteX27" fmla="*/ 10830 w 17018"/>
                      <a:gd name="connsiteY27" fmla="*/ 2268 h 17006"/>
                      <a:gd name="connsiteX28" fmla="*/ 10473 w 17018"/>
                      <a:gd name="connsiteY28" fmla="*/ 1970 h 17006"/>
                      <a:gd name="connsiteX29" fmla="*/ 10473 w 17018"/>
                      <a:gd name="connsiteY29" fmla="*/ 1075 h 17006"/>
                      <a:gd name="connsiteX30" fmla="*/ 6545 w 17018"/>
                      <a:gd name="connsiteY30" fmla="*/ 6564 h 17006"/>
                      <a:gd name="connsiteX31" fmla="*/ 5653 w 17018"/>
                      <a:gd name="connsiteY31" fmla="*/ 6564 h 17006"/>
                      <a:gd name="connsiteX32" fmla="*/ 5296 w 17018"/>
                      <a:gd name="connsiteY32" fmla="*/ 6206 h 17006"/>
                      <a:gd name="connsiteX33" fmla="*/ 5653 w 17018"/>
                      <a:gd name="connsiteY33" fmla="*/ 5908 h 17006"/>
                      <a:gd name="connsiteX34" fmla="*/ 6545 w 17018"/>
                      <a:gd name="connsiteY34" fmla="*/ 5908 h 17006"/>
                      <a:gd name="connsiteX35" fmla="*/ 6843 w 17018"/>
                      <a:gd name="connsiteY35" fmla="*/ 6206 h 17006"/>
                      <a:gd name="connsiteX36" fmla="*/ 6545 w 17018"/>
                      <a:gd name="connsiteY36" fmla="*/ 6564 h 17006"/>
                      <a:gd name="connsiteX37" fmla="*/ 7974 w 17018"/>
                      <a:gd name="connsiteY37" fmla="*/ 9488 h 17006"/>
                      <a:gd name="connsiteX38" fmla="*/ 7379 w 17018"/>
                      <a:gd name="connsiteY38" fmla="*/ 10084 h 17006"/>
                      <a:gd name="connsiteX39" fmla="*/ 6902 w 17018"/>
                      <a:gd name="connsiteY39" fmla="*/ 10084 h 17006"/>
                      <a:gd name="connsiteX40" fmla="*/ 6902 w 17018"/>
                      <a:gd name="connsiteY40" fmla="*/ 9667 h 17006"/>
                      <a:gd name="connsiteX41" fmla="*/ 7557 w 17018"/>
                      <a:gd name="connsiteY41" fmla="*/ 9010 h 17006"/>
                      <a:gd name="connsiteX42" fmla="*/ 7974 w 17018"/>
                      <a:gd name="connsiteY42" fmla="*/ 9010 h 17006"/>
                      <a:gd name="connsiteX43" fmla="*/ 7974 w 17018"/>
                      <a:gd name="connsiteY43" fmla="*/ 9488 h 17006"/>
                      <a:gd name="connsiteX44" fmla="*/ 7974 w 17018"/>
                      <a:gd name="connsiteY44" fmla="*/ 3402 h 17006"/>
                      <a:gd name="connsiteX45" fmla="*/ 7557 w 17018"/>
                      <a:gd name="connsiteY45" fmla="*/ 3402 h 17006"/>
                      <a:gd name="connsiteX46" fmla="*/ 6902 w 17018"/>
                      <a:gd name="connsiteY46" fmla="*/ 2805 h 17006"/>
                      <a:gd name="connsiteX47" fmla="*/ 6902 w 17018"/>
                      <a:gd name="connsiteY47" fmla="*/ 2328 h 17006"/>
                      <a:gd name="connsiteX48" fmla="*/ 7379 w 17018"/>
                      <a:gd name="connsiteY48" fmla="*/ 2328 h 17006"/>
                      <a:gd name="connsiteX49" fmla="*/ 7974 w 17018"/>
                      <a:gd name="connsiteY49" fmla="*/ 2984 h 17006"/>
                      <a:gd name="connsiteX50" fmla="*/ 7974 w 17018"/>
                      <a:gd name="connsiteY50" fmla="*/ 3402 h 17006"/>
                      <a:gd name="connsiteX51" fmla="*/ 11127 w 17018"/>
                      <a:gd name="connsiteY51" fmla="*/ 11397 h 17006"/>
                      <a:gd name="connsiteX52" fmla="*/ 10830 w 17018"/>
                      <a:gd name="connsiteY52" fmla="*/ 11696 h 17006"/>
                      <a:gd name="connsiteX53" fmla="*/ 10473 w 17018"/>
                      <a:gd name="connsiteY53" fmla="*/ 11397 h 17006"/>
                      <a:gd name="connsiteX54" fmla="*/ 10473 w 17018"/>
                      <a:gd name="connsiteY54" fmla="*/ 10502 h 17006"/>
                      <a:gd name="connsiteX55" fmla="*/ 10830 w 17018"/>
                      <a:gd name="connsiteY55" fmla="*/ 10204 h 17006"/>
                      <a:gd name="connsiteX56" fmla="*/ 11127 w 17018"/>
                      <a:gd name="connsiteY56" fmla="*/ 10502 h 17006"/>
                      <a:gd name="connsiteX57" fmla="*/ 11127 w 17018"/>
                      <a:gd name="connsiteY57" fmla="*/ 11397 h 17006"/>
                      <a:gd name="connsiteX58" fmla="*/ 13031 w 17018"/>
                      <a:gd name="connsiteY58" fmla="*/ 10920 h 17006"/>
                      <a:gd name="connsiteX59" fmla="*/ 12436 w 17018"/>
                      <a:gd name="connsiteY59" fmla="*/ 10741 h 17006"/>
                      <a:gd name="connsiteX60" fmla="*/ 10889 w 17018"/>
                      <a:gd name="connsiteY60" fmla="*/ 7459 h 17006"/>
                      <a:gd name="connsiteX61" fmla="*/ 10830 w 17018"/>
                      <a:gd name="connsiteY61" fmla="*/ 7459 h 17006"/>
                      <a:gd name="connsiteX62" fmla="*/ 9521 w 17018"/>
                      <a:gd name="connsiteY62" fmla="*/ 6206 h 17006"/>
                      <a:gd name="connsiteX63" fmla="*/ 10294 w 17018"/>
                      <a:gd name="connsiteY63" fmla="*/ 5072 h 17006"/>
                      <a:gd name="connsiteX64" fmla="*/ 10294 w 17018"/>
                      <a:gd name="connsiteY64" fmla="*/ 3342 h 17006"/>
                      <a:gd name="connsiteX65" fmla="*/ 10770 w 17018"/>
                      <a:gd name="connsiteY65" fmla="*/ 2865 h 17006"/>
                      <a:gd name="connsiteX66" fmla="*/ 11246 w 17018"/>
                      <a:gd name="connsiteY66" fmla="*/ 3342 h 17006"/>
                      <a:gd name="connsiteX67" fmla="*/ 11246 w 17018"/>
                      <a:gd name="connsiteY67" fmla="*/ 5013 h 17006"/>
                      <a:gd name="connsiteX68" fmla="*/ 12079 w 17018"/>
                      <a:gd name="connsiteY68" fmla="*/ 6206 h 17006"/>
                      <a:gd name="connsiteX69" fmla="*/ 11722 w 17018"/>
                      <a:gd name="connsiteY69" fmla="*/ 7101 h 17006"/>
                      <a:gd name="connsiteX70" fmla="*/ 13269 w 17018"/>
                      <a:gd name="connsiteY70" fmla="*/ 10323 h 17006"/>
                      <a:gd name="connsiteX71" fmla="*/ 13031 w 17018"/>
                      <a:gd name="connsiteY71" fmla="*/ 10920 h 17006"/>
                      <a:gd name="connsiteX72" fmla="*/ 14698 w 17018"/>
                      <a:gd name="connsiteY72" fmla="*/ 10084 h 17006"/>
                      <a:gd name="connsiteX73" fmla="*/ 14221 w 17018"/>
                      <a:gd name="connsiteY73" fmla="*/ 10084 h 17006"/>
                      <a:gd name="connsiteX74" fmla="*/ 13626 w 17018"/>
                      <a:gd name="connsiteY74" fmla="*/ 9488 h 17006"/>
                      <a:gd name="connsiteX75" fmla="*/ 13626 w 17018"/>
                      <a:gd name="connsiteY75" fmla="*/ 9010 h 17006"/>
                      <a:gd name="connsiteX76" fmla="*/ 14043 w 17018"/>
                      <a:gd name="connsiteY76" fmla="*/ 9010 h 17006"/>
                      <a:gd name="connsiteX77" fmla="*/ 14698 w 17018"/>
                      <a:gd name="connsiteY77" fmla="*/ 9667 h 17006"/>
                      <a:gd name="connsiteX78" fmla="*/ 14698 w 17018"/>
                      <a:gd name="connsiteY78" fmla="*/ 10084 h 17006"/>
                      <a:gd name="connsiteX79" fmla="*/ 16304 w 17018"/>
                      <a:gd name="connsiteY79" fmla="*/ 6206 h 17006"/>
                      <a:gd name="connsiteX80" fmla="*/ 15947 w 17018"/>
                      <a:gd name="connsiteY80" fmla="*/ 6564 h 17006"/>
                      <a:gd name="connsiteX81" fmla="*/ 15055 w 17018"/>
                      <a:gd name="connsiteY81" fmla="*/ 6564 h 17006"/>
                      <a:gd name="connsiteX82" fmla="*/ 14757 w 17018"/>
                      <a:gd name="connsiteY82" fmla="*/ 6206 h 17006"/>
                      <a:gd name="connsiteX83" fmla="*/ 15055 w 17018"/>
                      <a:gd name="connsiteY83" fmla="*/ 5908 h 17006"/>
                      <a:gd name="connsiteX84" fmla="*/ 15947 w 17018"/>
                      <a:gd name="connsiteY84" fmla="*/ 5908 h 17006"/>
                      <a:gd name="connsiteX85" fmla="*/ 16304 w 17018"/>
                      <a:gd name="connsiteY85" fmla="*/ 6206 h 17006"/>
                      <a:gd name="connsiteX86" fmla="*/ 16304 w 17018"/>
                      <a:gd name="connsiteY86" fmla="*/ 6206 h 17006"/>
                      <a:gd name="connsiteX0" fmla="*/ 10830 w 17018"/>
                      <a:gd name="connsiteY0" fmla="*/ 5609 h 17006"/>
                      <a:gd name="connsiteX1" fmla="*/ 10175 w 17018"/>
                      <a:gd name="connsiteY1" fmla="*/ 6206 h 17006"/>
                      <a:gd name="connsiteX2" fmla="*/ 10830 w 17018"/>
                      <a:gd name="connsiteY2" fmla="*/ 6803 h 17006"/>
                      <a:gd name="connsiteX3" fmla="*/ 11425 w 17018"/>
                      <a:gd name="connsiteY3" fmla="*/ 6206 h 17006"/>
                      <a:gd name="connsiteX4" fmla="*/ 10830 w 17018"/>
                      <a:gd name="connsiteY4" fmla="*/ 5609 h 17006"/>
                      <a:gd name="connsiteX5" fmla="*/ 10830 w 17018"/>
                      <a:gd name="connsiteY5" fmla="*/ 17006 h 17006"/>
                      <a:gd name="connsiteX6" fmla="*/ 0 w 17018"/>
                      <a:gd name="connsiteY6" fmla="*/ 6206 h 17006"/>
                      <a:gd name="connsiteX7" fmla="*/ 10830 w 17018"/>
                      <a:gd name="connsiteY7" fmla="*/ 17006 h 17006"/>
                      <a:gd name="connsiteX8" fmla="*/ 10830 w 17018"/>
                      <a:gd name="connsiteY8" fmla="*/ 0 h 17006"/>
                      <a:gd name="connsiteX9" fmla="*/ 4582 w 17018"/>
                      <a:gd name="connsiteY9" fmla="*/ 6206 h 17006"/>
                      <a:gd name="connsiteX10" fmla="*/ 10830 w 17018"/>
                      <a:gd name="connsiteY10" fmla="*/ 12471 h 17006"/>
                      <a:gd name="connsiteX11" fmla="*/ 17018 w 17018"/>
                      <a:gd name="connsiteY11" fmla="*/ 6206 h 17006"/>
                      <a:gd name="connsiteX12" fmla="*/ 10830 w 17018"/>
                      <a:gd name="connsiteY12" fmla="*/ 0 h 17006"/>
                      <a:gd name="connsiteX13" fmla="*/ 13626 w 17018"/>
                      <a:gd name="connsiteY13" fmla="*/ 2984 h 17006"/>
                      <a:gd name="connsiteX14" fmla="*/ 14221 w 17018"/>
                      <a:gd name="connsiteY14" fmla="*/ 2328 h 17006"/>
                      <a:gd name="connsiteX15" fmla="*/ 14698 w 17018"/>
                      <a:gd name="connsiteY15" fmla="*/ 2328 h 17006"/>
                      <a:gd name="connsiteX16" fmla="*/ 14698 w 17018"/>
                      <a:gd name="connsiteY16" fmla="*/ 2805 h 17006"/>
                      <a:gd name="connsiteX17" fmla="*/ 14043 w 17018"/>
                      <a:gd name="connsiteY17" fmla="*/ 3402 h 17006"/>
                      <a:gd name="connsiteX18" fmla="*/ 13626 w 17018"/>
                      <a:gd name="connsiteY18" fmla="*/ 3402 h 17006"/>
                      <a:gd name="connsiteX19" fmla="*/ 13626 w 17018"/>
                      <a:gd name="connsiteY19" fmla="*/ 2984 h 17006"/>
                      <a:gd name="connsiteX20" fmla="*/ 10473 w 17018"/>
                      <a:gd name="connsiteY20" fmla="*/ 1075 h 17006"/>
                      <a:gd name="connsiteX21" fmla="*/ 10830 w 17018"/>
                      <a:gd name="connsiteY21" fmla="*/ 716 h 17006"/>
                      <a:gd name="connsiteX22" fmla="*/ 11127 w 17018"/>
                      <a:gd name="connsiteY22" fmla="*/ 1075 h 17006"/>
                      <a:gd name="connsiteX23" fmla="*/ 11127 w 17018"/>
                      <a:gd name="connsiteY23" fmla="*/ 1970 h 17006"/>
                      <a:gd name="connsiteX24" fmla="*/ 10830 w 17018"/>
                      <a:gd name="connsiteY24" fmla="*/ 2268 h 17006"/>
                      <a:gd name="connsiteX25" fmla="*/ 10473 w 17018"/>
                      <a:gd name="connsiteY25" fmla="*/ 1970 h 17006"/>
                      <a:gd name="connsiteX26" fmla="*/ 10473 w 17018"/>
                      <a:gd name="connsiteY26" fmla="*/ 1075 h 17006"/>
                      <a:gd name="connsiteX27" fmla="*/ 6545 w 17018"/>
                      <a:gd name="connsiteY27" fmla="*/ 6564 h 17006"/>
                      <a:gd name="connsiteX28" fmla="*/ 5653 w 17018"/>
                      <a:gd name="connsiteY28" fmla="*/ 6564 h 17006"/>
                      <a:gd name="connsiteX29" fmla="*/ 5296 w 17018"/>
                      <a:gd name="connsiteY29" fmla="*/ 6206 h 17006"/>
                      <a:gd name="connsiteX30" fmla="*/ 5653 w 17018"/>
                      <a:gd name="connsiteY30" fmla="*/ 5908 h 17006"/>
                      <a:gd name="connsiteX31" fmla="*/ 6545 w 17018"/>
                      <a:gd name="connsiteY31" fmla="*/ 5908 h 17006"/>
                      <a:gd name="connsiteX32" fmla="*/ 6843 w 17018"/>
                      <a:gd name="connsiteY32" fmla="*/ 6206 h 17006"/>
                      <a:gd name="connsiteX33" fmla="*/ 6545 w 17018"/>
                      <a:gd name="connsiteY33" fmla="*/ 6564 h 17006"/>
                      <a:gd name="connsiteX34" fmla="*/ 7974 w 17018"/>
                      <a:gd name="connsiteY34" fmla="*/ 9488 h 17006"/>
                      <a:gd name="connsiteX35" fmla="*/ 7379 w 17018"/>
                      <a:gd name="connsiteY35" fmla="*/ 10084 h 17006"/>
                      <a:gd name="connsiteX36" fmla="*/ 6902 w 17018"/>
                      <a:gd name="connsiteY36" fmla="*/ 10084 h 17006"/>
                      <a:gd name="connsiteX37" fmla="*/ 6902 w 17018"/>
                      <a:gd name="connsiteY37" fmla="*/ 9667 h 17006"/>
                      <a:gd name="connsiteX38" fmla="*/ 7557 w 17018"/>
                      <a:gd name="connsiteY38" fmla="*/ 9010 h 17006"/>
                      <a:gd name="connsiteX39" fmla="*/ 7974 w 17018"/>
                      <a:gd name="connsiteY39" fmla="*/ 9010 h 17006"/>
                      <a:gd name="connsiteX40" fmla="*/ 7974 w 17018"/>
                      <a:gd name="connsiteY40" fmla="*/ 9488 h 17006"/>
                      <a:gd name="connsiteX41" fmla="*/ 7974 w 17018"/>
                      <a:gd name="connsiteY41" fmla="*/ 3402 h 17006"/>
                      <a:gd name="connsiteX42" fmla="*/ 7557 w 17018"/>
                      <a:gd name="connsiteY42" fmla="*/ 3402 h 17006"/>
                      <a:gd name="connsiteX43" fmla="*/ 6902 w 17018"/>
                      <a:gd name="connsiteY43" fmla="*/ 2805 h 17006"/>
                      <a:gd name="connsiteX44" fmla="*/ 6902 w 17018"/>
                      <a:gd name="connsiteY44" fmla="*/ 2328 h 17006"/>
                      <a:gd name="connsiteX45" fmla="*/ 7379 w 17018"/>
                      <a:gd name="connsiteY45" fmla="*/ 2328 h 17006"/>
                      <a:gd name="connsiteX46" fmla="*/ 7974 w 17018"/>
                      <a:gd name="connsiteY46" fmla="*/ 2984 h 17006"/>
                      <a:gd name="connsiteX47" fmla="*/ 7974 w 17018"/>
                      <a:gd name="connsiteY47" fmla="*/ 3402 h 17006"/>
                      <a:gd name="connsiteX48" fmla="*/ 11127 w 17018"/>
                      <a:gd name="connsiteY48" fmla="*/ 11397 h 17006"/>
                      <a:gd name="connsiteX49" fmla="*/ 10830 w 17018"/>
                      <a:gd name="connsiteY49" fmla="*/ 11696 h 17006"/>
                      <a:gd name="connsiteX50" fmla="*/ 10473 w 17018"/>
                      <a:gd name="connsiteY50" fmla="*/ 11397 h 17006"/>
                      <a:gd name="connsiteX51" fmla="*/ 10473 w 17018"/>
                      <a:gd name="connsiteY51" fmla="*/ 10502 h 17006"/>
                      <a:gd name="connsiteX52" fmla="*/ 10830 w 17018"/>
                      <a:gd name="connsiteY52" fmla="*/ 10204 h 17006"/>
                      <a:gd name="connsiteX53" fmla="*/ 11127 w 17018"/>
                      <a:gd name="connsiteY53" fmla="*/ 10502 h 17006"/>
                      <a:gd name="connsiteX54" fmla="*/ 11127 w 17018"/>
                      <a:gd name="connsiteY54" fmla="*/ 11397 h 17006"/>
                      <a:gd name="connsiteX55" fmla="*/ 13031 w 17018"/>
                      <a:gd name="connsiteY55" fmla="*/ 10920 h 17006"/>
                      <a:gd name="connsiteX56" fmla="*/ 12436 w 17018"/>
                      <a:gd name="connsiteY56" fmla="*/ 10741 h 17006"/>
                      <a:gd name="connsiteX57" fmla="*/ 10889 w 17018"/>
                      <a:gd name="connsiteY57" fmla="*/ 7459 h 17006"/>
                      <a:gd name="connsiteX58" fmla="*/ 10830 w 17018"/>
                      <a:gd name="connsiteY58" fmla="*/ 7459 h 17006"/>
                      <a:gd name="connsiteX59" fmla="*/ 9521 w 17018"/>
                      <a:gd name="connsiteY59" fmla="*/ 6206 h 17006"/>
                      <a:gd name="connsiteX60" fmla="*/ 10294 w 17018"/>
                      <a:gd name="connsiteY60" fmla="*/ 5072 h 17006"/>
                      <a:gd name="connsiteX61" fmla="*/ 10294 w 17018"/>
                      <a:gd name="connsiteY61" fmla="*/ 3342 h 17006"/>
                      <a:gd name="connsiteX62" fmla="*/ 10770 w 17018"/>
                      <a:gd name="connsiteY62" fmla="*/ 2865 h 17006"/>
                      <a:gd name="connsiteX63" fmla="*/ 11246 w 17018"/>
                      <a:gd name="connsiteY63" fmla="*/ 3342 h 17006"/>
                      <a:gd name="connsiteX64" fmla="*/ 11246 w 17018"/>
                      <a:gd name="connsiteY64" fmla="*/ 5013 h 17006"/>
                      <a:gd name="connsiteX65" fmla="*/ 12079 w 17018"/>
                      <a:gd name="connsiteY65" fmla="*/ 6206 h 17006"/>
                      <a:gd name="connsiteX66" fmla="*/ 11722 w 17018"/>
                      <a:gd name="connsiteY66" fmla="*/ 7101 h 17006"/>
                      <a:gd name="connsiteX67" fmla="*/ 13269 w 17018"/>
                      <a:gd name="connsiteY67" fmla="*/ 10323 h 17006"/>
                      <a:gd name="connsiteX68" fmla="*/ 13031 w 17018"/>
                      <a:gd name="connsiteY68" fmla="*/ 10920 h 17006"/>
                      <a:gd name="connsiteX69" fmla="*/ 14698 w 17018"/>
                      <a:gd name="connsiteY69" fmla="*/ 10084 h 17006"/>
                      <a:gd name="connsiteX70" fmla="*/ 14221 w 17018"/>
                      <a:gd name="connsiteY70" fmla="*/ 10084 h 17006"/>
                      <a:gd name="connsiteX71" fmla="*/ 13626 w 17018"/>
                      <a:gd name="connsiteY71" fmla="*/ 9488 h 17006"/>
                      <a:gd name="connsiteX72" fmla="*/ 13626 w 17018"/>
                      <a:gd name="connsiteY72" fmla="*/ 9010 h 17006"/>
                      <a:gd name="connsiteX73" fmla="*/ 14043 w 17018"/>
                      <a:gd name="connsiteY73" fmla="*/ 9010 h 17006"/>
                      <a:gd name="connsiteX74" fmla="*/ 14698 w 17018"/>
                      <a:gd name="connsiteY74" fmla="*/ 9667 h 17006"/>
                      <a:gd name="connsiteX75" fmla="*/ 14698 w 17018"/>
                      <a:gd name="connsiteY75" fmla="*/ 10084 h 17006"/>
                      <a:gd name="connsiteX76" fmla="*/ 16304 w 17018"/>
                      <a:gd name="connsiteY76" fmla="*/ 6206 h 17006"/>
                      <a:gd name="connsiteX77" fmla="*/ 15947 w 17018"/>
                      <a:gd name="connsiteY77" fmla="*/ 6564 h 17006"/>
                      <a:gd name="connsiteX78" fmla="*/ 15055 w 17018"/>
                      <a:gd name="connsiteY78" fmla="*/ 6564 h 17006"/>
                      <a:gd name="connsiteX79" fmla="*/ 14757 w 17018"/>
                      <a:gd name="connsiteY79" fmla="*/ 6206 h 17006"/>
                      <a:gd name="connsiteX80" fmla="*/ 15055 w 17018"/>
                      <a:gd name="connsiteY80" fmla="*/ 5908 h 17006"/>
                      <a:gd name="connsiteX81" fmla="*/ 15947 w 17018"/>
                      <a:gd name="connsiteY81" fmla="*/ 5908 h 17006"/>
                      <a:gd name="connsiteX82" fmla="*/ 16304 w 17018"/>
                      <a:gd name="connsiteY82" fmla="*/ 6206 h 17006"/>
                      <a:gd name="connsiteX83" fmla="*/ 16304 w 17018"/>
                      <a:gd name="connsiteY83" fmla="*/ 6206 h 17006"/>
                      <a:gd name="connsiteX0" fmla="*/ 6248 w 12436"/>
                      <a:gd name="connsiteY0" fmla="*/ 5609 h 12471"/>
                      <a:gd name="connsiteX1" fmla="*/ 5593 w 12436"/>
                      <a:gd name="connsiteY1" fmla="*/ 6206 h 12471"/>
                      <a:gd name="connsiteX2" fmla="*/ 6248 w 12436"/>
                      <a:gd name="connsiteY2" fmla="*/ 6803 h 12471"/>
                      <a:gd name="connsiteX3" fmla="*/ 6843 w 12436"/>
                      <a:gd name="connsiteY3" fmla="*/ 6206 h 12471"/>
                      <a:gd name="connsiteX4" fmla="*/ 6248 w 12436"/>
                      <a:gd name="connsiteY4" fmla="*/ 5609 h 12471"/>
                      <a:gd name="connsiteX5" fmla="*/ 6248 w 12436"/>
                      <a:gd name="connsiteY5" fmla="*/ 0 h 12471"/>
                      <a:gd name="connsiteX6" fmla="*/ 0 w 12436"/>
                      <a:gd name="connsiteY6" fmla="*/ 6206 h 12471"/>
                      <a:gd name="connsiteX7" fmla="*/ 6248 w 12436"/>
                      <a:gd name="connsiteY7" fmla="*/ 12471 h 12471"/>
                      <a:gd name="connsiteX8" fmla="*/ 12436 w 12436"/>
                      <a:gd name="connsiteY8" fmla="*/ 6206 h 12471"/>
                      <a:gd name="connsiteX9" fmla="*/ 6248 w 12436"/>
                      <a:gd name="connsiteY9" fmla="*/ 0 h 12471"/>
                      <a:gd name="connsiteX10" fmla="*/ 9044 w 12436"/>
                      <a:gd name="connsiteY10" fmla="*/ 2984 h 12471"/>
                      <a:gd name="connsiteX11" fmla="*/ 9639 w 12436"/>
                      <a:gd name="connsiteY11" fmla="*/ 2328 h 12471"/>
                      <a:gd name="connsiteX12" fmla="*/ 10116 w 12436"/>
                      <a:gd name="connsiteY12" fmla="*/ 2328 h 12471"/>
                      <a:gd name="connsiteX13" fmla="*/ 10116 w 12436"/>
                      <a:gd name="connsiteY13" fmla="*/ 2805 h 12471"/>
                      <a:gd name="connsiteX14" fmla="*/ 9461 w 12436"/>
                      <a:gd name="connsiteY14" fmla="*/ 3402 h 12471"/>
                      <a:gd name="connsiteX15" fmla="*/ 9044 w 12436"/>
                      <a:gd name="connsiteY15" fmla="*/ 3402 h 12471"/>
                      <a:gd name="connsiteX16" fmla="*/ 9044 w 12436"/>
                      <a:gd name="connsiteY16" fmla="*/ 2984 h 12471"/>
                      <a:gd name="connsiteX17" fmla="*/ 5891 w 12436"/>
                      <a:gd name="connsiteY17" fmla="*/ 1075 h 12471"/>
                      <a:gd name="connsiteX18" fmla="*/ 6248 w 12436"/>
                      <a:gd name="connsiteY18" fmla="*/ 716 h 12471"/>
                      <a:gd name="connsiteX19" fmla="*/ 6545 w 12436"/>
                      <a:gd name="connsiteY19" fmla="*/ 1075 h 12471"/>
                      <a:gd name="connsiteX20" fmla="*/ 6545 w 12436"/>
                      <a:gd name="connsiteY20" fmla="*/ 1970 h 12471"/>
                      <a:gd name="connsiteX21" fmla="*/ 6248 w 12436"/>
                      <a:gd name="connsiteY21" fmla="*/ 2268 h 12471"/>
                      <a:gd name="connsiteX22" fmla="*/ 5891 w 12436"/>
                      <a:gd name="connsiteY22" fmla="*/ 1970 h 12471"/>
                      <a:gd name="connsiteX23" fmla="*/ 5891 w 12436"/>
                      <a:gd name="connsiteY23" fmla="*/ 1075 h 12471"/>
                      <a:gd name="connsiteX24" fmla="*/ 1963 w 12436"/>
                      <a:gd name="connsiteY24" fmla="*/ 6564 h 12471"/>
                      <a:gd name="connsiteX25" fmla="*/ 1071 w 12436"/>
                      <a:gd name="connsiteY25" fmla="*/ 6564 h 12471"/>
                      <a:gd name="connsiteX26" fmla="*/ 714 w 12436"/>
                      <a:gd name="connsiteY26" fmla="*/ 6206 h 12471"/>
                      <a:gd name="connsiteX27" fmla="*/ 1071 w 12436"/>
                      <a:gd name="connsiteY27" fmla="*/ 5908 h 12471"/>
                      <a:gd name="connsiteX28" fmla="*/ 1963 w 12436"/>
                      <a:gd name="connsiteY28" fmla="*/ 5908 h 12471"/>
                      <a:gd name="connsiteX29" fmla="*/ 2261 w 12436"/>
                      <a:gd name="connsiteY29" fmla="*/ 6206 h 12471"/>
                      <a:gd name="connsiteX30" fmla="*/ 1963 w 12436"/>
                      <a:gd name="connsiteY30" fmla="*/ 6564 h 12471"/>
                      <a:gd name="connsiteX31" fmla="*/ 3392 w 12436"/>
                      <a:gd name="connsiteY31" fmla="*/ 9488 h 12471"/>
                      <a:gd name="connsiteX32" fmla="*/ 2797 w 12436"/>
                      <a:gd name="connsiteY32" fmla="*/ 10084 h 12471"/>
                      <a:gd name="connsiteX33" fmla="*/ 2320 w 12436"/>
                      <a:gd name="connsiteY33" fmla="*/ 10084 h 12471"/>
                      <a:gd name="connsiteX34" fmla="*/ 2320 w 12436"/>
                      <a:gd name="connsiteY34" fmla="*/ 9667 h 12471"/>
                      <a:gd name="connsiteX35" fmla="*/ 2975 w 12436"/>
                      <a:gd name="connsiteY35" fmla="*/ 9010 h 12471"/>
                      <a:gd name="connsiteX36" fmla="*/ 3392 w 12436"/>
                      <a:gd name="connsiteY36" fmla="*/ 9010 h 12471"/>
                      <a:gd name="connsiteX37" fmla="*/ 3392 w 12436"/>
                      <a:gd name="connsiteY37" fmla="*/ 9488 h 12471"/>
                      <a:gd name="connsiteX38" fmla="*/ 3392 w 12436"/>
                      <a:gd name="connsiteY38" fmla="*/ 3402 h 12471"/>
                      <a:gd name="connsiteX39" fmla="*/ 2975 w 12436"/>
                      <a:gd name="connsiteY39" fmla="*/ 3402 h 12471"/>
                      <a:gd name="connsiteX40" fmla="*/ 2320 w 12436"/>
                      <a:gd name="connsiteY40" fmla="*/ 2805 h 12471"/>
                      <a:gd name="connsiteX41" fmla="*/ 2320 w 12436"/>
                      <a:gd name="connsiteY41" fmla="*/ 2328 h 12471"/>
                      <a:gd name="connsiteX42" fmla="*/ 2797 w 12436"/>
                      <a:gd name="connsiteY42" fmla="*/ 2328 h 12471"/>
                      <a:gd name="connsiteX43" fmla="*/ 3392 w 12436"/>
                      <a:gd name="connsiteY43" fmla="*/ 2984 h 12471"/>
                      <a:gd name="connsiteX44" fmla="*/ 3392 w 12436"/>
                      <a:gd name="connsiteY44" fmla="*/ 3402 h 12471"/>
                      <a:gd name="connsiteX45" fmla="*/ 6545 w 12436"/>
                      <a:gd name="connsiteY45" fmla="*/ 11397 h 12471"/>
                      <a:gd name="connsiteX46" fmla="*/ 6248 w 12436"/>
                      <a:gd name="connsiteY46" fmla="*/ 11696 h 12471"/>
                      <a:gd name="connsiteX47" fmla="*/ 5891 w 12436"/>
                      <a:gd name="connsiteY47" fmla="*/ 11397 h 12471"/>
                      <a:gd name="connsiteX48" fmla="*/ 5891 w 12436"/>
                      <a:gd name="connsiteY48" fmla="*/ 10502 h 12471"/>
                      <a:gd name="connsiteX49" fmla="*/ 6248 w 12436"/>
                      <a:gd name="connsiteY49" fmla="*/ 10204 h 12471"/>
                      <a:gd name="connsiteX50" fmla="*/ 6545 w 12436"/>
                      <a:gd name="connsiteY50" fmla="*/ 10502 h 12471"/>
                      <a:gd name="connsiteX51" fmla="*/ 6545 w 12436"/>
                      <a:gd name="connsiteY51" fmla="*/ 11397 h 12471"/>
                      <a:gd name="connsiteX52" fmla="*/ 8449 w 12436"/>
                      <a:gd name="connsiteY52" fmla="*/ 10920 h 12471"/>
                      <a:gd name="connsiteX53" fmla="*/ 7854 w 12436"/>
                      <a:gd name="connsiteY53" fmla="*/ 10741 h 12471"/>
                      <a:gd name="connsiteX54" fmla="*/ 6307 w 12436"/>
                      <a:gd name="connsiteY54" fmla="*/ 7459 h 12471"/>
                      <a:gd name="connsiteX55" fmla="*/ 6248 w 12436"/>
                      <a:gd name="connsiteY55" fmla="*/ 7459 h 12471"/>
                      <a:gd name="connsiteX56" fmla="*/ 4939 w 12436"/>
                      <a:gd name="connsiteY56" fmla="*/ 6206 h 12471"/>
                      <a:gd name="connsiteX57" fmla="*/ 5712 w 12436"/>
                      <a:gd name="connsiteY57" fmla="*/ 5072 h 12471"/>
                      <a:gd name="connsiteX58" fmla="*/ 5712 w 12436"/>
                      <a:gd name="connsiteY58" fmla="*/ 3342 h 12471"/>
                      <a:gd name="connsiteX59" fmla="*/ 6188 w 12436"/>
                      <a:gd name="connsiteY59" fmla="*/ 2865 h 12471"/>
                      <a:gd name="connsiteX60" fmla="*/ 6664 w 12436"/>
                      <a:gd name="connsiteY60" fmla="*/ 3342 h 12471"/>
                      <a:gd name="connsiteX61" fmla="*/ 6664 w 12436"/>
                      <a:gd name="connsiteY61" fmla="*/ 5013 h 12471"/>
                      <a:gd name="connsiteX62" fmla="*/ 7497 w 12436"/>
                      <a:gd name="connsiteY62" fmla="*/ 6206 h 12471"/>
                      <a:gd name="connsiteX63" fmla="*/ 7140 w 12436"/>
                      <a:gd name="connsiteY63" fmla="*/ 7101 h 12471"/>
                      <a:gd name="connsiteX64" fmla="*/ 8687 w 12436"/>
                      <a:gd name="connsiteY64" fmla="*/ 10323 h 12471"/>
                      <a:gd name="connsiteX65" fmla="*/ 8449 w 12436"/>
                      <a:gd name="connsiteY65" fmla="*/ 10920 h 12471"/>
                      <a:gd name="connsiteX66" fmla="*/ 10116 w 12436"/>
                      <a:gd name="connsiteY66" fmla="*/ 10084 h 12471"/>
                      <a:gd name="connsiteX67" fmla="*/ 9639 w 12436"/>
                      <a:gd name="connsiteY67" fmla="*/ 10084 h 12471"/>
                      <a:gd name="connsiteX68" fmla="*/ 9044 w 12436"/>
                      <a:gd name="connsiteY68" fmla="*/ 9488 h 12471"/>
                      <a:gd name="connsiteX69" fmla="*/ 9044 w 12436"/>
                      <a:gd name="connsiteY69" fmla="*/ 9010 h 12471"/>
                      <a:gd name="connsiteX70" fmla="*/ 9461 w 12436"/>
                      <a:gd name="connsiteY70" fmla="*/ 9010 h 12471"/>
                      <a:gd name="connsiteX71" fmla="*/ 10116 w 12436"/>
                      <a:gd name="connsiteY71" fmla="*/ 9667 h 12471"/>
                      <a:gd name="connsiteX72" fmla="*/ 10116 w 12436"/>
                      <a:gd name="connsiteY72" fmla="*/ 10084 h 12471"/>
                      <a:gd name="connsiteX73" fmla="*/ 11722 w 12436"/>
                      <a:gd name="connsiteY73" fmla="*/ 6206 h 12471"/>
                      <a:gd name="connsiteX74" fmla="*/ 11365 w 12436"/>
                      <a:gd name="connsiteY74" fmla="*/ 6564 h 12471"/>
                      <a:gd name="connsiteX75" fmla="*/ 10473 w 12436"/>
                      <a:gd name="connsiteY75" fmla="*/ 6564 h 12471"/>
                      <a:gd name="connsiteX76" fmla="*/ 10175 w 12436"/>
                      <a:gd name="connsiteY76" fmla="*/ 6206 h 12471"/>
                      <a:gd name="connsiteX77" fmla="*/ 10473 w 12436"/>
                      <a:gd name="connsiteY77" fmla="*/ 5908 h 12471"/>
                      <a:gd name="connsiteX78" fmla="*/ 11365 w 12436"/>
                      <a:gd name="connsiteY78" fmla="*/ 5908 h 12471"/>
                      <a:gd name="connsiteX79" fmla="*/ 11722 w 12436"/>
                      <a:gd name="connsiteY79" fmla="*/ 6206 h 12471"/>
                      <a:gd name="connsiteX80" fmla="*/ 11722 w 12436"/>
                      <a:gd name="connsiteY80" fmla="*/ 6206 h 12471"/>
                      <a:gd name="connsiteX0" fmla="*/ 6248 w 12436"/>
                      <a:gd name="connsiteY0" fmla="*/ 5609 h 12471"/>
                      <a:gd name="connsiteX1" fmla="*/ 5593 w 12436"/>
                      <a:gd name="connsiteY1" fmla="*/ 6206 h 12471"/>
                      <a:gd name="connsiteX2" fmla="*/ 6248 w 12436"/>
                      <a:gd name="connsiteY2" fmla="*/ 6803 h 12471"/>
                      <a:gd name="connsiteX3" fmla="*/ 6843 w 12436"/>
                      <a:gd name="connsiteY3" fmla="*/ 6206 h 12471"/>
                      <a:gd name="connsiteX4" fmla="*/ 6248 w 12436"/>
                      <a:gd name="connsiteY4" fmla="*/ 5609 h 12471"/>
                      <a:gd name="connsiteX5" fmla="*/ 6248 w 12436"/>
                      <a:gd name="connsiteY5" fmla="*/ 0 h 12471"/>
                      <a:gd name="connsiteX6" fmla="*/ 0 w 12436"/>
                      <a:gd name="connsiteY6" fmla="*/ 6206 h 12471"/>
                      <a:gd name="connsiteX7" fmla="*/ 6248 w 12436"/>
                      <a:gd name="connsiteY7" fmla="*/ 12471 h 12471"/>
                      <a:gd name="connsiteX8" fmla="*/ 12436 w 12436"/>
                      <a:gd name="connsiteY8" fmla="*/ 6206 h 12471"/>
                      <a:gd name="connsiteX9" fmla="*/ 6248 w 12436"/>
                      <a:gd name="connsiteY9" fmla="*/ 0 h 12471"/>
                      <a:gd name="connsiteX10" fmla="*/ 9044 w 12436"/>
                      <a:gd name="connsiteY10" fmla="*/ 2984 h 12471"/>
                      <a:gd name="connsiteX11" fmla="*/ 9639 w 12436"/>
                      <a:gd name="connsiteY11" fmla="*/ 2328 h 12471"/>
                      <a:gd name="connsiteX12" fmla="*/ 10116 w 12436"/>
                      <a:gd name="connsiteY12" fmla="*/ 2328 h 12471"/>
                      <a:gd name="connsiteX13" fmla="*/ 10116 w 12436"/>
                      <a:gd name="connsiteY13" fmla="*/ 2805 h 12471"/>
                      <a:gd name="connsiteX14" fmla="*/ 9461 w 12436"/>
                      <a:gd name="connsiteY14" fmla="*/ 3402 h 12471"/>
                      <a:gd name="connsiteX15" fmla="*/ 9044 w 12436"/>
                      <a:gd name="connsiteY15" fmla="*/ 3402 h 12471"/>
                      <a:gd name="connsiteX16" fmla="*/ 9044 w 12436"/>
                      <a:gd name="connsiteY16" fmla="*/ 2984 h 12471"/>
                      <a:gd name="connsiteX17" fmla="*/ 5891 w 12436"/>
                      <a:gd name="connsiteY17" fmla="*/ 1075 h 12471"/>
                      <a:gd name="connsiteX18" fmla="*/ 6248 w 12436"/>
                      <a:gd name="connsiteY18" fmla="*/ 716 h 12471"/>
                      <a:gd name="connsiteX19" fmla="*/ 6545 w 12436"/>
                      <a:gd name="connsiteY19" fmla="*/ 1075 h 12471"/>
                      <a:gd name="connsiteX20" fmla="*/ 6545 w 12436"/>
                      <a:gd name="connsiteY20" fmla="*/ 1970 h 12471"/>
                      <a:gd name="connsiteX21" fmla="*/ 6248 w 12436"/>
                      <a:gd name="connsiteY21" fmla="*/ 2268 h 12471"/>
                      <a:gd name="connsiteX22" fmla="*/ 5891 w 12436"/>
                      <a:gd name="connsiteY22" fmla="*/ 1970 h 12471"/>
                      <a:gd name="connsiteX23" fmla="*/ 5891 w 12436"/>
                      <a:gd name="connsiteY23" fmla="*/ 1075 h 12471"/>
                      <a:gd name="connsiteX24" fmla="*/ 1963 w 12436"/>
                      <a:gd name="connsiteY24" fmla="*/ 6564 h 12471"/>
                      <a:gd name="connsiteX25" fmla="*/ 1071 w 12436"/>
                      <a:gd name="connsiteY25" fmla="*/ 6564 h 12471"/>
                      <a:gd name="connsiteX26" fmla="*/ 714 w 12436"/>
                      <a:gd name="connsiteY26" fmla="*/ 6206 h 12471"/>
                      <a:gd name="connsiteX27" fmla="*/ 1071 w 12436"/>
                      <a:gd name="connsiteY27" fmla="*/ 5908 h 12471"/>
                      <a:gd name="connsiteX28" fmla="*/ 1963 w 12436"/>
                      <a:gd name="connsiteY28" fmla="*/ 5908 h 12471"/>
                      <a:gd name="connsiteX29" fmla="*/ 2261 w 12436"/>
                      <a:gd name="connsiteY29" fmla="*/ 6206 h 12471"/>
                      <a:gd name="connsiteX30" fmla="*/ 1963 w 12436"/>
                      <a:gd name="connsiteY30" fmla="*/ 6564 h 12471"/>
                      <a:gd name="connsiteX31" fmla="*/ 3392 w 12436"/>
                      <a:gd name="connsiteY31" fmla="*/ 9488 h 12471"/>
                      <a:gd name="connsiteX32" fmla="*/ 2797 w 12436"/>
                      <a:gd name="connsiteY32" fmla="*/ 10084 h 12471"/>
                      <a:gd name="connsiteX33" fmla="*/ 2320 w 12436"/>
                      <a:gd name="connsiteY33" fmla="*/ 10084 h 12471"/>
                      <a:gd name="connsiteX34" fmla="*/ 2320 w 12436"/>
                      <a:gd name="connsiteY34" fmla="*/ 9667 h 12471"/>
                      <a:gd name="connsiteX35" fmla="*/ 2975 w 12436"/>
                      <a:gd name="connsiteY35" fmla="*/ 9010 h 12471"/>
                      <a:gd name="connsiteX36" fmla="*/ 3392 w 12436"/>
                      <a:gd name="connsiteY36" fmla="*/ 9010 h 12471"/>
                      <a:gd name="connsiteX37" fmla="*/ 3392 w 12436"/>
                      <a:gd name="connsiteY37" fmla="*/ 9488 h 12471"/>
                      <a:gd name="connsiteX38" fmla="*/ 3392 w 12436"/>
                      <a:gd name="connsiteY38" fmla="*/ 3402 h 12471"/>
                      <a:gd name="connsiteX39" fmla="*/ 2975 w 12436"/>
                      <a:gd name="connsiteY39" fmla="*/ 3402 h 12471"/>
                      <a:gd name="connsiteX40" fmla="*/ 2320 w 12436"/>
                      <a:gd name="connsiteY40" fmla="*/ 2805 h 12471"/>
                      <a:gd name="connsiteX41" fmla="*/ 2320 w 12436"/>
                      <a:gd name="connsiteY41" fmla="*/ 2328 h 12471"/>
                      <a:gd name="connsiteX42" fmla="*/ 2797 w 12436"/>
                      <a:gd name="connsiteY42" fmla="*/ 2328 h 12471"/>
                      <a:gd name="connsiteX43" fmla="*/ 3392 w 12436"/>
                      <a:gd name="connsiteY43" fmla="*/ 2984 h 12471"/>
                      <a:gd name="connsiteX44" fmla="*/ 3392 w 12436"/>
                      <a:gd name="connsiteY44" fmla="*/ 3402 h 12471"/>
                      <a:gd name="connsiteX45" fmla="*/ 6545 w 12436"/>
                      <a:gd name="connsiteY45" fmla="*/ 11397 h 12471"/>
                      <a:gd name="connsiteX46" fmla="*/ 6248 w 12436"/>
                      <a:gd name="connsiteY46" fmla="*/ 11696 h 12471"/>
                      <a:gd name="connsiteX47" fmla="*/ 5891 w 12436"/>
                      <a:gd name="connsiteY47" fmla="*/ 11397 h 12471"/>
                      <a:gd name="connsiteX48" fmla="*/ 5891 w 12436"/>
                      <a:gd name="connsiteY48" fmla="*/ 10502 h 12471"/>
                      <a:gd name="connsiteX49" fmla="*/ 6248 w 12436"/>
                      <a:gd name="connsiteY49" fmla="*/ 10204 h 12471"/>
                      <a:gd name="connsiteX50" fmla="*/ 6545 w 12436"/>
                      <a:gd name="connsiteY50" fmla="*/ 10502 h 12471"/>
                      <a:gd name="connsiteX51" fmla="*/ 6545 w 12436"/>
                      <a:gd name="connsiteY51" fmla="*/ 11397 h 12471"/>
                      <a:gd name="connsiteX52" fmla="*/ 8449 w 12436"/>
                      <a:gd name="connsiteY52" fmla="*/ 10920 h 12471"/>
                      <a:gd name="connsiteX53" fmla="*/ 7854 w 12436"/>
                      <a:gd name="connsiteY53" fmla="*/ 10741 h 12471"/>
                      <a:gd name="connsiteX54" fmla="*/ 6307 w 12436"/>
                      <a:gd name="connsiteY54" fmla="*/ 7459 h 12471"/>
                      <a:gd name="connsiteX55" fmla="*/ 6248 w 12436"/>
                      <a:gd name="connsiteY55" fmla="*/ 7459 h 12471"/>
                      <a:gd name="connsiteX56" fmla="*/ 4939 w 12436"/>
                      <a:gd name="connsiteY56" fmla="*/ 6206 h 12471"/>
                      <a:gd name="connsiteX57" fmla="*/ 5712 w 12436"/>
                      <a:gd name="connsiteY57" fmla="*/ 5072 h 12471"/>
                      <a:gd name="connsiteX58" fmla="*/ 5712 w 12436"/>
                      <a:gd name="connsiteY58" fmla="*/ 3342 h 12471"/>
                      <a:gd name="connsiteX59" fmla="*/ 6188 w 12436"/>
                      <a:gd name="connsiteY59" fmla="*/ 2865 h 12471"/>
                      <a:gd name="connsiteX60" fmla="*/ 6664 w 12436"/>
                      <a:gd name="connsiteY60" fmla="*/ 3342 h 12471"/>
                      <a:gd name="connsiteX61" fmla="*/ 6664 w 12436"/>
                      <a:gd name="connsiteY61" fmla="*/ 5013 h 12471"/>
                      <a:gd name="connsiteX62" fmla="*/ 7497 w 12436"/>
                      <a:gd name="connsiteY62" fmla="*/ 6206 h 12471"/>
                      <a:gd name="connsiteX63" fmla="*/ 7140 w 12436"/>
                      <a:gd name="connsiteY63" fmla="*/ 7101 h 12471"/>
                      <a:gd name="connsiteX64" fmla="*/ 8449 w 12436"/>
                      <a:gd name="connsiteY64" fmla="*/ 10920 h 12471"/>
                      <a:gd name="connsiteX65" fmla="*/ 10116 w 12436"/>
                      <a:gd name="connsiteY65" fmla="*/ 10084 h 12471"/>
                      <a:gd name="connsiteX66" fmla="*/ 9639 w 12436"/>
                      <a:gd name="connsiteY66" fmla="*/ 10084 h 12471"/>
                      <a:gd name="connsiteX67" fmla="*/ 9044 w 12436"/>
                      <a:gd name="connsiteY67" fmla="*/ 9488 h 12471"/>
                      <a:gd name="connsiteX68" fmla="*/ 9044 w 12436"/>
                      <a:gd name="connsiteY68" fmla="*/ 9010 h 12471"/>
                      <a:gd name="connsiteX69" fmla="*/ 9461 w 12436"/>
                      <a:gd name="connsiteY69" fmla="*/ 9010 h 12471"/>
                      <a:gd name="connsiteX70" fmla="*/ 10116 w 12436"/>
                      <a:gd name="connsiteY70" fmla="*/ 9667 h 12471"/>
                      <a:gd name="connsiteX71" fmla="*/ 10116 w 12436"/>
                      <a:gd name="connsiteY71" fmla="*/ 10084 h 12471"/>
                      <a:gd name="connsiteX72" fmla="*/ 11722 w 12436"/>
                      <a:gd name="connsiteY72" fmla="*/ 6206 h 12471"/>
                      <a:gd name="connsiteX73" fmla="*/ 11365 w 12436"/>
                      <a:gd name="connsiteY73" fmla="*/ 6564 h 12471"/>
                      <a:gd name="connsiteX74" fmla="*/ 10473 w 12436"/>
                      <a:gd name="connsiteY74" fmla="*/ 6564 h 12471"/>
                      <a:gd name="connsiteX75" fmla="*/ 10175 w 12436"/>
                      <a:gd name="connsiteY75" fmla="*/ 6206 h 12471"/>
                      <a:gd name="connsiteX76" fmla="*/ 10473 w 12436"/>
                      <a:gd name="connsiteY76" fmla="*/ 5908 h 12471"/>
                      <a:gd name="connsiteX77" fmla="*/ 11365 w 12436"/>
                      <a:gd name="connsiteY77" fmla="*/ 5908 h 12471"/>
                      <a:gd name="connsiteX78" fmla="*/ 11722 w 12436"/>
                      <a:gd name="connsiteY78" fmla="*/ 6206 h 12471"/>
                      <a:gd name="connsiteX79" fmla="*/ 11722 w 12436"/>
                      <a:gd name="connsiteY79" fmla="*/ 6206 h 12471"/>
                      <a:gd name="connsiteX0" fmla="*/ 6248 w 12436"/>
                      <a:gd name="connsiteY0" fmla="*/ 5609 h 12471"/>
                      <a:gd name="connsiteX1" fmla="*/ 5593 w 12436"/>
                      <a:gd name="connsiteY1" fmla="*/ 6206 h 12471"/>
                      <a:gd name="connsiteX2" fmla="*/ 6248 w 12436"/>
                      <a:gd name="connsiteY2" fmla="*/ 6803 h 12471"/>
                      <a:gd name="connsiteX3" fmla="*/ 6843 w 12436"/>
                      <a:gd name="connsiteY3" fmla="*/ 6206 h 12471"/>
                      <a:gd name="connsiteX4" fmla="*/ 6248 w 12436"/>
                      <a:gd name="connsiteY4" fmla="*/ 5609 h 12471"/>
                      <a:gd name="connsiteX5" fmla="*/ 6248 w 12436"/>
                      <a:gd name="connsiteY5" fmla="*/ 0 h 12471"/>
                      <a:gd name="connsiteX6" fmla="*/ 0 w 12436"/>
                      <a:gd name="connsiteY6" fmla="*/ 6206 h 12471"/>
                      <a:gd name="connsiteX7" fmla="*/ 6248 w 12436"/>
                      <a:gd name="connsiteY7" fmla="*/ 12471 h 12471"/>
                      <a:gd name="connsiteX8" fmla="*/ 12436 w 12436"/>
                      <a:gd name="connsiteY8" fmla="*/ 6206 h 12471"/>
                      <a:gd name="connsiteX9" fmla="*/ 6248 w 12436"/>
                      <a:gd name="connsiteY9" fmla="*/ 0 h 12471"/>
                      <a:gd name="connsiteX10" fmla="*/ 9044 w 12436"/>
                      <a:gd name="connsiteY10" fmla="*/ 2984 h 12471"/>
                      <a:gd name="connsiteX11" fmla="*/ 9639 w 12436"/>
                      <a:gd name="connsiteY11" fmla="*/ 2328 h 12471"/>
                      <a:gd name="connsiteX12" fmla="*/ 10116 w 12436"/>
                      <a:gd name="connsiteY12" fmla="*/ 2328 h 12471"/>
                      <a:gd name="connsiteX13" fmla="*/ 10116 w 12436"/>
                      <a:gd name="connsiteY13" fmla="*/ 2805 h 12471"/>
                      <a:gd name="connsiteX14" fmla="*/ 9461 w 12436"/>
                      <a:gd name="connsiteY14" fmla="*/ 3402 h 12471"/>
                      <a:gd name="connsiteX15" fmla="*/ 9044 w 12436"/>
                      <a:gd name="connsiteY15" fmla="*/ 3402 h 12471"/>
                      <a:gd name="connsiteX16" fmla="*/ 9044 w 12436"/>
                      <a:gd name="connsiteY16" fmla="*/ 2984 h 12471"/>
                      <a:gd name="connsiteX17" fmla="*/ 5891 w 12436"/>
                      <a:gd name="connsiteY17" fmla="*/ 1075 h 12471"/>
                      <a:gd name="connsiteX18" fmla="*/ 6248 w 12436"/>
                      <a:gd name="connsiteY18" fmla="*/ 716 h 12471"/>
                      <a:gd name="connsiteX19" fmla="*/ 6545 w 12436"/>
                      <a:gd name="connsiteY19" fmla="*/ 1075 h 12471"/>
                      <a:gd name="connsiteX20" fmla="*/ 6545 w 12436"/>
                      <a:gd name="connsiteY20" fmla="*/ 1970 h 12471"/>
                      <a:gd name="connsiteX21" fmla="*/ 6248 w 12436"/>
                      <a:gd name="connsiteY21" fmla="*/ 2268 h 12471"/>
                      <a:gd name="connsiteX22" fmla="*/ 5891 w 12436"/>
                      <a:gd name="connsiteY22" fmla="*/ 1970 h 12471"/>
                      <a:gd name="connsiteX23" fmla="*/ 5891 w 12436"/>
                      <a:gd name="connsiteY23" fmla="*/ 1075 h 12471"/>
                      <a:gd name="connsiteX24" fmla="*/ 1963 w 12436"/>
                      <a:gd name="connsiteY24" fmla="*/ 6564 h 12471"/>
                      <a:gd name="connsiteX25" fmla="*/ 1071 w 12436"/>
                      <a:gd name="connsiteY25" fmla="*/ 6564 h 12471"/>
                      <a:gd name="connsiteX26" fmla="*/ 714 w 12436"/>
                      <a:gd name="connsiteY26" fmla="*/ 6206 h 12471"/>
                      <a:gd name="connsiteX27" fmla="*/ 1071 w 12436"/>
                      <a:gd name="connsiteY27" fmla="*/ 5908 h 12471"/>
                      <a:gd name="connsiteX28" fmla="*/ 1963 w 12436"/>
                      <a:gd name="connsiteY28" fmla="*/ 5908 h 12471"/>
                      <a:gd name="connsiteX29" fmla="*/ 2261 w 12436"/>
                      <a:gd name="connsiteY29" fmla="*/ 6206 h 12471"/>
                      <a:gd name="connsiteX30" fmla="*/ 1963 w 12436"/>
                      <a:gd name="connsiteY30" fmla="*/ 6564 h 12471"/>
                      <a:gd name="connsiteX31" fmla="*/ 3392 w 12436"/>
                      <a:gd name="connsiteY31" fmla="*/ 9488 h 12471"/>
                      <a:gd name="connsiteX32" fmla="*/ 2797 w 12436"/>
                      <a:gd name="connsiteY32" fmla="*/ 10084 h 12471"/>
                      <a:gd name="connsiteX33" fmla="*/ 2320 w 12436"/>
                      <a:gd name="connsiteY33" fmla="*/ 10084 h 12471"/>
                      <a:gd name="connsiteX34" fmla="*/ 2320 w 12436"/>
                      <a:gd name="connsiteY34" fmla="*/ 9667 h 12471"/>
                      <a:gd name="connsiteX35" fmla="*/ 2975 w 12436"/>
                      <a:gd name="connsiteY35" fmla="*/ 9010 h 12471"/>
                      <a:gd name="connsiteX36" fmla="*/ 3392 w 12436"/>
                      <a:gd name="connsiteY36" fmla="*/ 9010 h 12471"/>
                      <a:gd name="connsiteX37" fmla="*/ 3392 w 12436"/>
                      <a:gd name="connsiteY37" fmla="*/ 9488 h 12471"/>
                      <a:gd name="connsiteX38" fmla="*/ 3392 w 12436"/>
                      <a:gd name="connsiteY38" fmla="*/ 3402 h 12471"/>
                      <a:gd name="connsiteX39" fmla="*/ 2975 w 12436"/>
                      <a:gd name="connsiteY39" fmla="*/ 3402 h 12471"/>
                      <a:gd name="connsiteX40" fmla="*/ 2320 w 12436"/>
                      <a:gd name="connsiteY40" fmla="*/ 2805 h 12471"/>
                      <a:gd name="connsiteX41" fmla="*/ 2320 w 12436"/>
                      <a:gd name="connsiteY41" fmla="*/ 2328 h 12471"/>
                      <a:gd name="connsiteX42" fmla="*/ 2797 w 12436"/>
                      <a:gd name="connsiteY42" fmla="*/ 2328 h 12471"/>
                      <a:gd name="connsiteX43" fmla="*/ 3392 w 12436"/>
                      <a:gd name="connsiteY43" fmla="*/ 2984 h 12471"/>
                      <a:gd name="connsiteX44" fmla="*/ 3392 w 12436"/>
                      <a:gd name="connsiteY44" fmla="*/ 3402 h 12471"/>
                      <a:gd name="connsiteX45" fmla="*/ 6545 w 12436"/>
                      <a:gd name="connsiteY45" fmla="*/ 11397 h 12471"/>
                      <a:gd name="connsiteX46" fmla="*/ 6248 w 12436"/>
                      <a:gd name="connsiteY46" fmla="*/ 11696 h 12471"/>
                      <a:gd name="connsiteX47" fmla="*/ 5891 w 12436"/>
                      <a:gd name="connsiteY47" fmla="*/ 11397 h 12471"/>
                      <a:gd name="connsiteX48" fmla="*/ 5891 w 12436"/>
                      <a:gd name="connsiteY48" fmla="*/ 10502 h 12471"/>
                      <a:gd name="connsiteX49" fmla="*/ 6248 w 12436"/>
                      <a:gd name="connsiteY49" fmla="*/ 10204 h 12471"/>
                      <a:gd name="connsiteX50" fmla="*/ 6545 w 12436"/>
                      <a:gd name="connsiteY50" fmla="*/ 10502 h 12471"/>
                      <a:gd name="connsiteX51" fmla="*/ 6545 w 12436"/>
                      <a:gd name="connsiteY51" fmla="*/ 11397 h 12471"/>
                      <a:gd name="connsiteX52" fmla="*/ 7140 w 12436"/>
                      <a:gd name="connsiteY52" fmla="*/ 7101 h 12471"/>
                      <a:gd name="connsiteX53" fmla="*/ 7854 w 12436"/>
                      <a:gd name="connsiteY53" fmla="*/ 10741 h 12471"/>
                      <a:gd name="connsiteX54" fmla="*/ 6307 w 12436"/>
                      <a:gd name="connsiteY54" fmla="*/ 7459 h 12471"/>
                      <a:gd name="connsiteX55" fmla="*/ 6248 w 12436"/>
                      <a:gd name="connsiteY55" fmla="*/ 7459 h 12471"/>
                      <a:gd name="connsiteX56" fmla="*/ 4939 w 12436"/>
                      <a:gd name="connsiteY56" fmla="*/ 6206 h 12471"/>
                      <a:gd name="connsiteX57" fmla="*/ 5712 w 12436"/>
                      <a:gd name="connsiteY57" fmla="*/ 5072 h 12471"/>
                      <a:gd name="connsiteX58" fmla="*/ 5712 w 12436"/>
                      <a:gd name="connsiteY58" fmla="*/ 3342 h 12471"/>
                      <a:gd name="connsiteX59" fmla="*/ 6188 w 12436"/>
                      <a:gd name="connsiteY59" fmla="*/ 2865 h 12471"/>
                      <a:gd name="connsiteX60" fmla="*/ 6664 w 12436"/>
                      <a:gd name="connsiteY60" fmla="*/ 3342 h 12471"/>
                      <a:gd name="connsiteX61" fmla="*/ 6664 w 12436"/>
                      <a:gd name="connsiteY61" fmla="*/ 5013 h 12471"/>
                      <a:gd name="connsiteX62" fmla="*/ 7497 w 12436"/>
                      <a:gd name="connsiteY62" fmla="*/ 6206 h 12471"/>
                      <a:gd name="connsiteX63" fmla="*/ 7140 w 12436"/>
                      <a:gd name="connsiteY63" fmla="*/ 7101 h 12471"/>
                      <a:gd name="connsiteX64" fmla="*/ 10116 w 12436"/>
                      <a:gd name="connsiteY64" fmla="*/ 10084 h 12471"/>
                      <a:gd name="connsiteX65" fmla="*/ 9639 w 12436"/>
                      <a:gd name="connsiteY65" fmla="*/ 10084 h 12471"/>
                      <a:gd name="connsiteX66" fmla="*/ 9044 w 12436"/>
                      <a:gd name="connsiteY66" fmla="*/ 9488 h 12471"/>
                      <a:gd name="connsiteX67" fmla="*/ 9044 w 12436"/>
                      <a:gd name="connsiteY67" fmla="*/ 9010 h 12471"/>
                      <a:gd name="connsiteX68" fmla="*/ 9461 w 12436"/>
                      <a:gd name="connsiteY68" fmla="*/ 9010 h 12471"/>
                      <a:gd name="connsiteX69" fmla="*/ 10116 w 12436"/>
                      <a:gd name="connsiteY69" fmla="*/ 9667 h 12471"/>
                      <a:gd name="connsiteX70" fmla="*/ 10116 w 12436"/>
                      <a:gd name="connsiteY70" fmla="*/ 10084 h 12471"/>
                      <a:gd name="connsiteX71" fmla="*/ 11722 w 12436"/>
                      <a:gd name="connsiteY71" fmla="*/ 6206 h 12471"/>
                      <a:gd name="connsiteX72" fmla="*/ 11365 w 12436"/>
                      <a:gd name="connsiteY72" fmla="*/ 6564 h 12471"/>
                      <a:gd name="connsiteX73" fmla="*/ 10473 w 12436"/>
                      <a:gd name="connsiteY73" fmla="*/ 6564 h 12471"/>
                      <a:gd name="connsiteX74" fmla="*/ 10175 w 12436"/>
                      <a:gd name="connsiteY74" fmla="*/ 6206 h 12471"/>
                      <a:gd name="connsiteX75" fmla="*/ 10473 w 12436"/>
                      <a:gd name="connsiteY75" fmla="*/ 5908 h 12471"/>
                      <a:gd name="connsiteX76" fmla="*/ 11365 w 12436"/>
                      <a:gd name="connsiteY76" fmla="*/ 5908 h 12471"/>
                      <a:gd name="connsiteX77" fmla="*/ 11722 w 12436"/>
                      <a:gd name="connsiteY77" fmla="*/ 6206 h 12471"/>
                      <a:gd name="connsiteX78" fmla="*/ 11722 w 12436"/>
                      <a:gd name="connsiteY78" fmla="*/ 6206 h 12471"/>
                      <a:gd name="connsiteX0" fmla="*/ 6248 w 12436"/>
                      <a:gd name="connsiteY0" fmla="*/ 5609 h 12471"/>
                      <a:gd name="connsiteX1" fmla="*/ 5593 w 12436"/>
                      <a:gd name="connsiteY1" fmla="*/ 6206 h 12471"/>
                      <a:gd name="connsiteX2" fmla="*/ 6248 w 12436"/>
                      <a:gd name="connsiteY2" fmla="*/ 6803 h 12471"/>
                      <a:gd name="connsiteX3" fmla="*/ 6843 w 12436"/>
                      <a:gd name="connsiteY3" fmla="*/ 6206 h 12471"/>
                      <a:gd name="connsiteX4" fmla="*/ 6248 w 12436"/>
                      <a:gd name="connsiteY4" fmla="*/ 5609 h 12471"/>
                      <a:gd name="connsiteX5" fmla="*/ 6248 w 12436"/>
                      <a:gd name="connsiteY5" fmla="*/ 0 h 12471"/>
                      <a:gd name="connsiteX6" fmla="*/ 0 w 12436"/>
                      <a:gd name="connsiteY6" fmla="*/ 6206 h 12471"/>
                      <a:gd name="connsiteX7" fmla="*/ 6248 w 12436"/>
                      <a:gd name="connsiteY7" fmla="*/ 12471 h 12471"/>
                      <a:gd name="connsiteX8" fmla="*/ 12436 w 12436"/>
                      <a:gd name="connsiteY8" fmla="*/ 6206 h 12471"/>
                      <a:gd name="connsiteX9" fmla="*/ 6248 w 12436"/>
                      <a:gd name="connsiteY9" fmla="*/ 0 h 12471"/>
                      <a:gd name="connsiteX10" fmla="*/ 9044 w 12436"/>
                      <a:gd name="connsiteY10" fmla="*/ 2984 h 12471"/>
                      <a:gd name="connsiteX11" fmla="*/ 9639 w 12436"/>
                      <a:gd name="connsiteY11" fmla="*/ 2328 h 12471"/>
                      <a:gd name="connsiteX12" fmla="*/ 10116 w 12436"/>
                      <a:gd name="connsiteY12" fmla="*/ 2328 h 12471"/>
                      <a:gd name="connsiteX13" fmla="*/ 10116 w 12436"/>
                      <a:gd name="connsiteY13" fmla="*/ 2805 h 12471"/>
                      <a:gd name="connsiteX14" fmla="*/ 9461 w 12436"/>
                      <a:gd name="connsiteY14" fmla="*/ 3402 h 12471"/>
                      <a:gd name="connsiteX15" fmla="*/ 9044 w 12436"/>
                      <a:gd name="connsiteY15" fmla="*/ 3402 h 12471"/>
                      <a:gd name="connsiteX16" fmla="*/ 9044 w 12436"/>
                      <a:gd name="connsiteY16" fmla="*/ 2984 h 12471"/>
                      <a:gd name="connsiteX17" fmla="*/ 5891 w 12436"/>
                      <a:gd name="connsiteY17" fmla="*/ 1075 h 12471"/>
                      <a:gd name="connsiteX18" fmla="*/ 6248 w 12436"/>
                      <a:gd name="connsiteY18" fmla="*/ 716 h 12471"/>
                      <a:gd name="connsiteX19" fmla="*/ 6545 w 12436"/>
                      <a:gd name="connsiteY19" fmla="*/ 1075 h 12471"/>
                      <a:gd name="connsiteX20" fmla="*/ 6545 w 12436"/>
                      <a:gd name="connsiteY20" fmla="*/ 1970 h 12471"/>
                      <a:gd name="connsiteX21" fmla="*/ 6248 w 12436"/>
                      <a:gd name="connsiteY21" fmla="*/ 2268 h 12471"/>
                      <a:gd name="connsiteX22" fmla="*/ 5891 w 12436"/>
                      <a:gd name="connsiteY22" fmla="*/ 1970 h 12471"/>
                      <a:gd name="connsiteX23" fmla="*/ 5891 w 12436"/>
                      <a:gd name="connsiteY23" fmla="*/ 1075 h 12471"/>
                      <a:gd name="connsiteX24" fmla="*/ 1963 w 12436"/>
                      <a:gd name="connsiteY24" fmla="*/ 6564 h 12471"/>
                      <a:gd name="connsiteX25" fmla="*/ 1071 w 12436"/>
                      <a:gd name="connsiteY25" fmla="*/ 6564 h 12471"/>
                      <a:gd name="connsiteX26" fmla="*/ 714 w 12436"/>
                      <a:gd name="connsiteY26" fmla="*/ 6206 h 12471"/>
                      <a:gd name="connsiteX27" fmla="*/ 1071 w 12436"/>
                      <a:gd name="connsiteY27" fmla="*/ 5908 h 12471"/>
                      <a:gd name="connsiteX28" fmla="*/ 1963 w 12436"/>
                      <a:gd name="connsiteY28" fmla="*/ 5908 h 12471"/>
                      <a:gd name="connsiteX29" fmla="*/ 2261 w 12436"/>
                      <a:gd name="connsiteY29" fmla="*/ 6206 h 12471"/>
                      <a:gd name="connsiteX30" fmla="*/ 1963 w 12436"/>
                      <a:gd name="connsiteY30" fmla="*/ 6564 h 12471"/>
                      <a:gd name="connsiteX31" fmla="*/ 3392 w 12436"/>
                      <a:gd name="connsiteY31" fmla="*/ 9488 h 12471"/>
                      <a:gd name="connsiteX32" fmla="*/ 2797 w 12436"/>
                      <a:gd name="connsiteY32" fmla="*/ 10084 h 12471"/>
                      <a:gd name="connsiteX33" fmla="*/ 2320 w 12436"/>
                      <a:gd name="connsiteY33" fmla="*/ 10084 h 12471"/>
                      <a:gd name="connsiteX34" fmla="*/ 2320 w 12436"/>
                      <a:gd name="connsiteY34" fmla="*/ 9667 h 12471"/>
                      <a:gd name="connsiteX35" fmla="*/ 2975 w 12436"/>
                      <a:gd name="connsiteY35" fmla="*/ 9010 h 12471"/>
                      <a:gd name="connsiteX36" fmla="*/ 3392 w 12436"/>
                      <a:gd name="connsiteY36" fmla="*/ 9010 h 12471"/>
                      <a:gd name="connsiteX37" fmla="*/ 3392 w 12436"/>
                      <a:gd name="connsiteY37" fmla="*/ 9488 h 12471"/>
                      <a:gd name="connsiteX38" fmla="*/ 3392 w 12436"/>
                      <a:gd name="connsiteY38" fmla="*/ 3402 h 12471"/>
                      <a:gd name="connsiteX39" fmla="*/ 2975 w 12436"/>
                      <a:gd name="connsiteY39" fmla="*/ 3402 h 12471"/>
                      <a:gd name="connsiteX40" fmla="*/ 2320 w 12436"/>
                      <a:gd name="connsiteY40" fmla="*/ 2805 h 12471"/>
                      <a:gd name="connsiteX41" fmla="*/ 2320 w 12436"/>
                      <a:gd name="connsiteY41" fmla="*/ 2328 h 12471"/>
                      <a:gd name="connsiteX42" fmla="*/ 2797 w 12436"/>
                      <a:gd name="connsiteY42" fmla="*/ 2328 h 12471"/>
                      <a:gd name="connsiteX43" fmla="*/ 3392 w 12436"/>
                      <a:gd name="connsiteY43" fmla="*/ 2984 h 12471"/>
                      <a:gd name="connsiteX44" fmla="*/ 3392 w 12436"/>
                      <a:gd name="connsiteY44" fmla="*/ 3402 h 12471"/>
                      <a:gd name="connsiteX45" fmla="*/ 6545 w 12436"/>
                      <a:gd name="connsiteY45" fmla="*/ 11397 h 12471"/>
                      <a:gd name="connsiteX46" fmla="*/ 6248 w 12436"/>
                      <a:gd name="connsiteY46" fmla="*/ 11696 h 12471"/>
                      <a:gd name="connsiteX47" fmla="*/ 5891 w 12436"/>
                      <a:gd name="connsiteY47" fmla="*/ 11397 h 12471"/>
                      <a:gd name="connsiteX48" fmla="*/ 5891 w 12436"/>
                      <a:gd name="connsiteY48" fmla="*/ 10502 h 12471"/>
                      <a:gd name="connsiteX49" fmla="*/ 6248 w 12436"/>
                      <a:gd name="connsiteY49" fmla="*/ 10204 h 12471"/>
                      <a:gd name="connsiteX50" fmla="*/ 6545 w 12436"/>
                      <a:gd name="connsiteY50" fmla="*/ 10502 h 12471"/>
                      <a:gd name="connsiteX51" fmla="*/ 6545 w 12436"/>
                      <a:gd name="connsiteY51" fmla="*/ 11397 h 12471"/>
                      <a:gd name="connsiteX52" fmla="*/ 7140 w 12436"/>
                      <a:gd name="connsiteY52" fmla="*/ 7101 h 12471"/>
                      <a:gd name="connsiteX53" fmla="*/ 6307 w 12436"/>
                      <a:gd name="connsiteY53" fmla="*/ 7459 h 12471"/>
                      <a:gd name="connsiteX54" fmla="*/ 6248 w 12436"/>
                      <a:gd name="connsiteY54" fmla="*/ 7459 h 12471"/>
                      <a:gd name="connsiteX55" fmla="*/ 4939 w 12436"/>
                      <a:gd name="connsiteY55" fmla="*/ 6206 h 12471"/>
                      <a:gd name="connsiteX56" fmla="*/ 5712 w 12436"/>
                      <a:gd name="connsiteY56" fmla="*/ 5072 h 12471"/>
                      <a:gd name="connsiteX57" fmla="*/ 5712 w 12436"/>
                      <a:gd name="connsiteY57" fmla="*/ 3342 h 12471"/>
                      <a:gd name="connsiteX58" fmla="*/ 6188 w 12436"/>
                      <a:gd name="connsiteY58" fmla="*/ 2865 h 12471"/>
                      <a:gd name="connsiteX59" fmla="*/ 6664 w 12436"/>
                      <a:gd name="connsiteY59" fmla="*/ 3342 h 12471"/>
                      <a:gd name="connsiteX60" fmla="*/ 6664 w 12436"/>
                      <a:gd name="connsiteY60" fmla="*/ 5013 h 12471"/>
                      <a:gd name="connsiteX61" fmla="*/ 7497 w 12436"/>
                      <a:gd name="connsiteY61" fmla="*/ 6206 h 12471"/>
                      <a:gd name="connsiteX62" fmla="*/ 7140 w 12436"/>
                      <a:gd name="connsiteY62" fmla="*/ 7101 h 12471"/>
                      <a:gd name="connsiteX63" fmla="*/ 10116 w 12436"/>
                      <a:gd name="connsiteY63" fmla="*/ 10084 h 12471"/>
                      <a:gd name="connsiteX64" fmla="*/ 9639 w 12436"/>
                      <a:gd name="connsiteY64" fmla="*/ 10084 h 12471"/>
                      <a:gd name="connsiteX65" fmla="*/ 9044 w 12436"/>
                      <a:gd name="connsiteY65" fmla="*/ 9488 h 12471"/>
                      <a:gd name="connsiteX66" fmla="*/ 9044 w 12436"/>
                      <a:gd name="connsiteY66" fmla="*/ 9010 h 12471"/>
                      <a:gd name="connsiteX67" fmla="*/ 9461 w 12436"/>
                      <a:gd name="connsiteY67" fmla="*/ 9010 h 12471"/>
                      <a:gd name="connsiteX68" fmla="*/ 10116 w 12436"/>
                      <a:gd name="connsiteY68" fmla="*/ 9667 h 12471"/>
                      <a:gd name="connsiteX69" fmla="*/ 10116 w 12436"/>
                      <a:gd name="connsiteY69" fmla="*/ 10084 h 12471"/>
                      <a:gd name="connsiteX70" fmla="*/ 11722 w 12436"/>
                      <a:gd name="connsiteY70" fmla="*/ 6206 h 12471"/>
                      <a:gd name="connsiteX71" fmla="*/ 11365 w 12436"/>
                      <a:gd name="connsiteY71" fmla="*/ 6564 h 12471"/>
                      <a:gd name="connsiteX72" fmla="*/ 10473 w 12436"/>
                      <a:gd name="connsiteY72" fmla="*/ 6564 h 12471"/>
                      <a:gd name="connsiteX73" fmla="*/ 10175 w 12436"/>
                      <a:gd name="connsiteY73" fmla="*/ 6206 h 12471"/>
                      <a:gd name="connsiteX74" fmla="*/ 10473 w 12436"/>
                      <a:gd name="connsiteY74" fmla="*/ 5908 h 12471"/>
                      <a:gd name="connsiteX75" fmla="*/ 11365 w 12436"/>
                      <a:gd name="connsiteY75" fmla="*/ 5908 h 12471"/>
                      <a:gd name="connsiteX76" fmla="*/ 11722 w 12436"/>
                      <a:gd name="connsiteY76" fmla="*/ 6206 h 12471"/>
                      <a:gd name="connsiteX77" fmla="*/ 11722 w 12436"/>
                      <a:gd name="connsiteY77" fmla="*/ 6206 h 12471"/>
                      <a:gd name="connsiteX0" fmla="*/ 6248 w 12436"/>
                      <a:gd name="connsiteY0" fmla="*/ 5609 h 12471"/>
                      <a:gd name="connsiteX1" fmla="*/ 5593 w 12436"/>
                      <a:gd name="connsiteY1" fmla="*/ 6206 h 12471"/>
                      <a:gd name="connsiteX2" fmla="*/ 6248 w 12436"/>
                      <a:gd name="connsiteY2" fmla="*/ 6803 h 12471"/>
                      <a:gd name="connsiteX3" fmla="*/ 6843 w 12436"/>
                      <a:gd name="connsiteY3" fmla="*/ 6206 h 12471"/>
                      <a:gd name="connsiteX4" fmla="*/ 6248 w 12436"/>
                      <a:gd name="connsiteY4" fmla="*/ 5609 h 12471"/>
                      <a:gd name="connsiteX5" fmla="*/ 6248 w 12436"/>
                      <a:gd name="connsiteY5" fmla="*/ 0 h 12471"/>
                      <a:gd name="connsiteX6" fmla="*/ 0 w 12436"/>
                      <a:gd name="connsiteY6" fmla="*/ 6206 h 12471"/>
                      <a:gd name="connsiteX7" fmla="*/ 6248 w 12436"/>
                      <a:gd name="connsiteY7" fmla="*/ 12471 h 12471"/>
                      <a:gd name="connsiteX8" fmla="*/ 12436 w 12436"/>
                      <a:gd name="connsiteY8" fmla="*/ 6206 h 12471"/>
                      <a:gd name="connsiteX9" fmla="*/ 6248 w 12436"/>
                      <a:gd name="connsiteY9" fmla="*/ 0 h 12471"/>
                      <a:gd name="connsiteX10" fmla="*/ 9044 w 12436"/>
                      <a:gd name="connsiteY10" fmla="*/ 2984 h 12471"/>
                      <a:gd name="connsiteX11" fmla="*/ 9639 w 12436"/>
                      <a:gd name="connsiteY11" fmla="*/ 2328 h 12471"/>
                      <a:gd name="connsiteX12" fmla="*/ 10116 w 12436"/>
                      <a:gd name="connsiteY12" fmla="*/ 2328 h 12471"/>
                      <a:gd name="connsiteX13" fmla="*/ 10116 w 12436"/>
                      <a:gd name="connsiteY13" fmla="*/ 2805 h 12471"/>
                      <a:gd name="connsiteX14" fmla="*/ 9461 w 12436"/>
                      <a:gd name="connsiteY14" fmla="*/ 3402 h 12471"/>
                      <a:gd name="connsiteX15" fmla="*/ 9044 w 12436"/>
                      <a:gd name="connsiteY15" fmla="*/ 3402 h 12471"/>
                      <a:gd name="connsiteX16" fmla="*/ 9044 w 12436"/>
                      <a:gd name="connsiteY16" fmla="*/ 2984 h 12471"/>
                      <a:gd name="connsiteX17" fmla="*/ 5891 w 12436"/>
                      <a:gd name="connsiteY17" fmla="*/ 1075 h 12471"/>
                      <a:gd name="connsiteX18" fmla="*/ 6248 w 12436"/>
                      <a:gd name="connsiteY18" fmla="*/ 716 h 12471"/>
                      <a:gd name="connsiteX19" fmla="*/ 6545 w 12436"/>
                      <a:gd name="connsiteY19" fmla="*/ 1075 h 12471"/>
                      <a:gd name="connsiteX20" fmla="*/ 6545 w 12436"/>
                      <a:gd name="connsiteY20" fmla="*/ 1970 h 12471"/>
                      <a:gd name="connsiteX21" fmla="*/ 6248 w 12436"/>
                      <a:gd name="connsiteY21" fmla="*/ 2268 h 12471"/>
                      <a:gd name="connsiteX22" fmla="*/ 5891 w 12436"/>
                      <a:gd name="connsiteY22" fmla="*/ 1970 h 12471"/>
                      <a:gd name="connsiteX23" fmla="*/ 5891 w 12436"/>
                      <a:gd name="connsiteY23" fmla="*/ 1075 h 12471"/>
                      <a:gd name="connsiteX24" fmla="*/ 1963 w 12436"/>
                      <a:gd name="connsiteY24" fmla="*/ 6564 h 12471"/>
                      <a:gd name="connsiteX25" fmla="*/ 1071 w 12436"/>
                      <a:gd name="connsiteY25" fmla="*/ 6564 h 12471"/>
                      <a:gd name="connsiteX26" fmla="*/ 714 w 12436"/>
                      <a:gd name="connsiteY26" fmla="*/ 6206 h 12471"/>
                      <a:gd name="connsiteX27" fmla="*/ 1071 w 12436"/>
                      <a:gd name="connsiteY27" fmla="*/ 5908 h 12471"/>
                      <a:gd name="connsiteX28" fmla="*/ 1963 w 12436"/>
                      <a:gd name="connsiteY28" fmla="*/ 5908 h 12471"/>
                      <a:gd name="connsiteX29" fmla="*/ 2261 w 12436"/>
                      <a:gd name="connsiteY29" fmla="*/ 6206 h 12471"/>
                      <a:gd name="connsiteX30" fmla="*/ 1963 w 12436"/>
                      <a:gd name="connsiteY30" fmla="*/ 6564 h 12471"/>
                      <a:gd name="connsiteX31" fmla="*/ 3392 w 12436"/>
                      <a:gd name="connsiteY31" fmla="*/ 9488 h 12471"/>
                      <a:gd name="connsiteX32" fmla="*/ 2797 w 12436"/>
                      <a:gd name="connsiteY32" fmla="*/ 10084 h 12471"/>
                      <a:gd name="connsiteX33" fmla="*/ 2320 w 12436"/>
                      <a:gd name="connsiteY33" fmla="*/ 10084 h 12471"/>
                      <a:gd name="connsiteX34" fmla="*/ 2320 w 12436"/>
                      <a:gd name="connsiteY34" fmla="*/ 9667 h 12471"/>
                      <a:gd name="connsiteX35" fmla="*/ 2975 w 12436"/>
                      <a:gd name="connsiteY35" fmla="*/ 9010 h 12471"/>
                      <a:gd name="connsiteX36" fmla="*/ 3392 w 12436"/>
                      <a:gd name="connsiteY36" fmla="*/ 9010 h 12471"/>
                      <a:gd name="connsiteX37" fmla="*/ 3392 w 12436"/>
                      <a:gd name="connsiteY37" fmla="*/ 9488 h 12471"/>
                      <a:gd name="connsiteX38" fmla="*/ 3392 w 12436"/>
                      <a:gd name="connsiteY38" fmla="*/ 3402 h 12471"/>
                      <a:gd name="connsiteX39" fmla="*/ 2975 w 12436"/>
                      <a:gd name="connsiteY39" fmla="*/ 3402 h 12471"/>
                      <a:gd name="connsiteX40" fmla="*/ 2320 w 12436"/>
                      <a:gd name="connsiteY40" fmla="*/ 2805 h 12471"/>
                      <a:gd name="connsiteX41" fmla="*/ 2320 w 12436"/>
                      <a:gd name="connsiteY41" fmla="*/ 2328 h 12471"/>
                      <a:gd name="connsiteX42" fmla="*/ 2797 w 12436"/>
                      <a:gd name="connsiteY42" fmla="*/ 2328 h 12471"/>
                      <a:gd name="connsiteX43" fmla="*/ 3392 w 12436"/>
                      <a:gd name="connsiteY43" fmla="*/ 2984 h 12471"/>
                      <a:gd name="connsiteX44" fmla="*/ 3392 w 12436"/>
                      <a:gd name="connsiteY44" fmla="*/ 3402 h 12471"/>
                      <a:gd name="connsiteX45" fmla="*/ 6545 w 12436"/>
                      <a:gd name="connsiteY45" fmla="*/ 11397 h 12471"/>
                      <a:gd name="connsiteX46" fmla="*/ 6248 w 12436"/>
                      <a:gd name="connsiteY46" fmla="*/ 11696 h 12471"/>
                      <a:gd name="connsiteX47" fmla="*/ 5891 w 12436"/>
                      <a:gd name="connsiteY47" fmla="*/ 11397 h 12471"/>
                      <a:gd name="connsiteX48" fmla="*/ 5891 w 12436"/>
                      <a:gd name="connsiteY48" fmla="*/ 10502 h 12471"/>
                      <a:gd name="connsiteX49" fmla="*/ 6248 w 12436"/>
                      <a:gd name="connsiteY49" fmla="*/ 10204 h 12471"/>
                      <a:gd name="connsiteX50" fmla="*/ 6545 w 12436"/>
                      <a:gd name="connsiteY50" fmla="*/ 10502 h 12471"/>
                      <a:gd name="connsiteX51" fmla="*/ 6545 w 12436"/>
                      <a:gd name="connsiteY51" fmla="*/ 11397 h 12471"/>
                      <a:gd name="connsiteX52" fmla="*/ 7140 w 12436"/>
                      <a:gd name="connsiteY52" fmla="*/ 7101 h 12471"/>
                      <a:gd name="connsiteX53" fmla="*/ 6307 w 12436"/>
                      <a:gd name="connsiteY53" fmla="*/ 7459 h 12471"/>
                      <a:gd name="connsiteX54" fmla="*/ 6248 w 12436"/>
                      <a:gd name="connsiteY54" fmla="*/ 7459 h 12471"/>
                      <a:gd name="connsiteX55" fmla="*/ 4939 w 12436"/>
                      <a:gd name="connsiteY55" fmla="*/ 6206 h 12471"/>
                      <a:gd name="connsiteX56" fmla="*/ 5712 w 12436"/>
                      <a:gd name="connsiteY56" fmla="*/ 5072 h 12471"/>
                      <a:gd name="connsiteX57" fmla="*/ 5712 w 12436"/>
                      <a:gd name="connsiteY57" fmla="*/ 3342 h 12471"/>
                      <a:gd name="connsiteX58" fmla="*/ 6188 w 12436"/>
                      <a:gd name="connsiteY58" fmla="*/ 2865 h 12471"/>
                      <a:gd name="connsiteX59" fmla="*/ 6664 w 12436"/>
                      <a:gd name="connsiteY59" fmla="*/ 3342 h 12471"/>
                      <a:gd name="connsiteX60" fmla="*/ 6664 w 12436"/>
                      <a:gd name="connsiteY60" fmla="*/ 5013 h 12471"/>
                      <a:gd name="connsiteX61" fmla="*/ 7497 w 12436"/>
                      <a:gd name="connsiteY61" fmla="*/ 6206 h 12471"/>
                      <a:gd name="connsiteX62" fmla="*/ 7140 w 12436"/>
                      <a:gd name="connsiteY62" fmla="*/ 7101 h 12471"/>
                      <a:gd name="connsiteX63" fmla="*/ 10116 w 12436"/>
                      <a:gd name="connsiteY63" fmla="*/ 10084 h 12471"/>
                      <a:gd name="connsiteX64" fmla="*/ 9639 w 12436"/>
                      <a:gd name="connsiteY64" fmla="*/ 10084 h 12471"/>
                      <a:gd name="connsiteX65" fmla="*/ 9044 w 12436"/>
                      <a:gd name="connsiteY65" fmla="*/ 9488 h 12471"/>
                      <a:gd name="connsiteX66" fmla="*/ 9044 w 12436"/>
                      <a:gd name="connsiteY66" fmla="*/ 9010 h 12471"/>
                      <a:gd name="connsiteX67" fmla="*/ 9461 w 12436"/>
                      <a:gd name="connsiteY67" fmla="*/ 9010 h 12471"/>
                      <a:gd name="connsiteX68" fmla="*/ 10116 w 12436"/>
                      <a:gd name="connsiteY68" fmla="*/ 9667 h 12471"/>
                      <a:gd name="connsiteX69" fmla="*/ 10116 w 12436"/>
                      <a:gd name="connsiteY69" fmla="*/ 10084 h 12471"/>
                      <a:gd name="connsiteX70" fmla="*/ 11722 w 12436"/>
                      <a:gd name="connsiteY70" fmla="*/ 6206 h 12471"/>
                      <a:gd name="connsiteX71" fmla="*/ 11365 w 12436"/>
                      <a:gd name="connsiteY71" fmla="*/ 6564 h 12471"/>
                      <a:gd name="connsiteX72" fmla="*/ 10473 w 12436"/>
                      <a:gd name="connsiteY72" fmla="*/ 6564 h 12471"/>
                      <a:gd name="connsiteX73" fmla="*/ 10175 w 12436"/>
                      <a:gd name="connsiteY73" fmla="*/ 6206 h 12471"/>
                      <a:gd name="connsiteX74" fmla="*/ 10473 w 12436"/>
                      <a:gd name="connsiteY74" fmla="*/ 5908 h 12471"/>
                      <a:gd name="connsiteX75" fmla="*/ 11365 w 12436"/>
                      <a:gd name="connsiteY75" fmla="*/ 5908 h 12471"/>
                      <a:gd name="connsiteX76" fmla="*/ 11722 w 12436"/>
                      <a:gd name="connsiteY76" fmla="*/ 6206 h 12471"/>
                      <a:gd name="connsiteX77" fmla="*/ 11722 w 12436"/>
                      <a:gd name="connsiteY77" fmla="*/ 6206 h 12471"/>
                      <a:gd name="connsiteX0" fmla="*/ 6248 w 12436"/>
                      <a:gd name="connsiteY0" fmla="*/ 5609 h 12471"/>
                      <a:gd name="connsiteX1" fmla="*/ 5593 w 12436"/>
                      <a:gd name="connsiteY1" fmla="*/ 6206 h 12471"/>
                      <a:gd name="connsiteX2" fmla="*/ 6248 w 12436"/>
                      <a:gd name="connsiteY2" fmla="*/ 6803 h 12471"/>
                      <a:gd name="connsiteX3" fmla="*/ 6843 w 12436"/>
                      <a:gd name="connsiteY3" fmla="*/ 6206 h 12471"/>
                      <a:gd name="connsiteX4" fmla="*/ 6248 w 12436"/>
                      <a:gd name="connsiteY4" fmla="*/ 5609 h 12471"/>
                      <a:gd name="connsiteX5" fmla="*/ 6248 w 12436"/>
                      <a:gd name="connsiteY5" fmla="*/ 0 h 12471"/>
                      <a:gd name="connsiteX6" fmla="*/ 0 w 12436"/>
                      <a:gd name="connsiteY6" fmla="*/ 6206 h 12471"/>
                      <a:gd name="connsiteX7" fmla="*/ 6248 w 12436"/>
                      <a:gd name="connsiteY7" fmla="*/ 12471 h 12471"/>
                      <a:gd name="connsiteX8" fmla="*/ 12436 w 12436"/>
                      <a:gd name="connsiteY8" fmla="*/ 6206 h 12471"/>
                      <a:gd name="connsiteX9" fmla="*/ 6248 w 12436"/>
                      <a:gd name="connsiteY9" fmla="*/ 0 h 12471"/>
                      <a:gd name="connsiteX10" fmla="*/ 9044 w 12436"/>
                      <a:gd name="connsiteY10" fmla="*/ 2984 h 12471"/>
                      <a:gd name="connsiteX11" fmla="*/ 9639 w 12436"/>
                      <a:gd name="connsiteY11" fmla="*/ 2328 h 12471"/>
                      <a:gd name="connsiteX12" fmla="*/ 10116 w 12436"/>
                      <a:gd name="connsiteY12" fmla="*/ 2328 h 12471"/>
                      <a:gd name="connsiteX13" fmla="*/ 10116 w 12436"/>
                      <a:gd name="connsiteY13" fmla="*/ 2805 h 12471"/>
                      <a:gd name="connsiteX14" fmla="*/ 9461 w 12436"/>
                      <a:gd name="connsiteY14" fmla="*/ 3402 h 12471"/>
                      <a:gd name="connsiteX15" fmla="*/ 9044 w 12436"/>
                      <a:gd name="connsiteY15" fmla="*/ 3402 h 12471"/>
                      <a:gd name="connsiteX16" fmla="*/ 9044 w 12436"/>
                      <a:gd name="connsiteY16" fmla="*/ 2984 h 12471"/>
                      <a:gd name="connsiteX17" fmla="*/ 5891 w 12436"/>
                      <a:gd name="connsiteY17" fmla="*/ 1075 h 12471"/>
                      <a:gd name="connsiteX18" fmla="*/ 6248 w 12436"/>
                      <a:gd name="connsiteY18" fmla="*/ 716 h 12471"/>
                      <a:gd name="connsiteX19" fmla="*/ 6545 w 12436"/>
                      <a:gd name="connsiteY19" fmla="*/ 1075 h 12471"/>
                      <a:gd name="connsiteX20" fmla="*/ 6545 w 12436"/>
                      <a:gd name="connsiteY20" fmla="*/ 1970 h 12471"/>
                      <a:gd name="connsiteX21" fmla="*/ 6248 w 12436"/>
                      <a:gd name="connsiteY21" fmla="*/ 2268 h 12471"/>
                      <a:gd name="connsiteX22" fmla="*/ 5891 w 12436"/>
                      <a:gd name="connsiteY22" fmla="*/ 1970 h 12471"/>
                      <a:gd name="connsiteX23" fmla="*/ 5891 w 12436"/>
                      <a:gd name="connsiteY23" fmla="*/ 1075 h 12471"/>
                      <a:gd name="connsiteX24" fmla="*/ 1963 w 12436"/>
                      <a:gd name="connsiteY24" fmla="*/ 6564 h 12471"/>
                      <a:gd name="connsiteX25" fmla="*/ 1071 w 12436"/>
                      <a:gd name="connsiteY25" fmla="*/ 6564 h 12471"/>
                      <a:gd name="connsiteX26" fmla="*/ 714 w 12436"/>
                      <a:gd name="connsiteY26" fmla="*/ 6206 h 12471"/>
                      <a:gd name="connsiteX27" fmla="*/ 1071 w 12436"/>
                      <a:gd name="connsiteY27" fmla="*/ 5908 h 12471"/>
                      <a:gd name="connsiteX28" fmla="*/ 1963 w 12436"/>
                      <a:gd name="connsiteY28" fmla="*/ 5908 h 12471"/>
                      <a:gd name="connsiteX29" fmla="*/ 2261 w 12436"/>
                      <a:gd name="connsiteY29" fmla="*/ 6206 h 12471"/>
                      <a:gd name="connsiteX30" fmla="*/ 1963 w 12436"/>
                      <a:gd name="connsiteY30" fmla="*/ 6564 h 12471"/>
                      <a:gd name="connsiteX31" fmla="*/ 3392 w 12436"/>
                      <a:gd name="connsiteY31" fmla="*/ 9488 h 12471"/>
                      <a:gd name="connsiteX32" fmla="*/ 2797 w 12436"/>
                      <a:gd name="connsiteY32" fmla="*/ 10084 h 12471"/>
                      <a:gd name="connsiteX33" fmla="*/ 2320 w 12436"/>
                      <a:gd name="connsiteY33" fmla="*/ 10084 h 12471"/>
                      <a:gd name="connsiteX34" fmla="*/ 2320 w 12436"/>
                      <a:gd name="connsiteY34" fmla="*/ 9667 h 12471"/>
                      <a:gd name="connsiteX35" fmla="*/ 2975 w 12436"/>
                      <a:gd name="connsiteY35" fmla="*/ 9010 h 12471"/>
                      <a:gd name="connsiteX36" fmla="*/ 3392 w 12436"/>
                      <a:gd name="connsiteY36" fmla="*/ 9010 h 12471"/>
                      <a:gd name="connsiteX37" fmla="*/ 3392 w 12436"/>
                      <a:gd name="connsiteY37" fmla="*/ 9488 h 12471"/>
                      <a:gd name="connsiteX38" fmla="*/ 3392 w 12436"/>
                      <a:gd name="connsiteY38" fmla="*/ 3402 h 12471"/>
                      <a:gd name="connsiteX39" fmla="*/ 2975 w 12436"/>
                      <a:gd name="connsiteY39" fmla="*/ 3402 h 12471"/>
                      <a:gd name="connsiteX40" fmla="*/ 2320 w 12436"/>
                      <a:gd name="connsiteY40" fmla="*/ 2805 h 12471"/>
                      <a:gd name="connsiteX41" fmla="*/ 2320 w 12436"/>
                      <a:gd name="connsiteY41" fmla="*/ 2328 h 12471"/>
                      <a:gd name="connsiteX42" fmla="*/ 2797 w 12436"/>
                      <a:gd name="connsiteY42" fmla="*/ 2328 h 12471"/>
                      <a:gd name="connsiteX43" fmla="*/ 3392 w 12436"/>
                      <a:gd name="connsiteY43" fmla="*/ 2984 h 12471"/>
                      <a:gd name="connsiteX44" fmla="*/ 3392 w 12436"/>
                      <a:gd name="connsiteY44" fmla="*/ 3402 h 12471"/>
                      <a:gd name="connsiteX45" fmla="*/ 6545 w 12436"/>
                      <a:gd name="connsiteY45" fmla="*/ 11397 h 12471"/>
                      <a:gd name="connsiteX46" fmla="*/ 6248 w 12436"/>
                      <a:gd name="connsiteY46" fmla="*/ 11696 h 12471"/>
                      <a:gd name="connsiteX47" fmla="*/ 5891 w 12436"/>
                      <a:gd name="connsiteY47" fmla="*/ 11397 h 12471"/>
                      <a:gd name="connsiteX48" fmla="*/ 5891 w 12436"/>
                      <a:gd name="connsiteY48" fmla="*/ 10502 h 12471"/>
                      <a:gd name="connsiteX49" fmla="*/ 6248 w 12436"/>
                      <a:gd name="connsiteY49" fmla="*/ 10204 h 12471"/>
                      <a:gd name="connsiteX50" fmla="*/ 6545 w 12436"/>
                      <a:gd name="connsiteY50" fmla="*/ 10502 h 12471"/>
                      <a:gd name="connsiteX51" fmla="*/ 6545 w 12436"/>
                      <a:gd name="connsiteY51" fmla="*/ 11397 h 12471"/>
                      <a:gd name="connsiteX52" fmla="*/ 7140 w 12436"/>
                      <a:gd name="connsiteY52" fmla="*/ 7101 h 12471"/>
                      <a:gd name="connsiteX53" fmla="*/ 6307 w 12436"/>
                      <a:gd name="connsiteY53" fmla="*/ 7459 h 12471"/>
                      <a:gd name="connsiteX54" fmla="*/ 6248 w 12436"/>
                      <a:gd name="connsiteY54" fmla="*/ 7459 h 12471"/>
                      <a:gd name="connsiteX55" fmla="*/ 4939 w 12436"/>
                      <a:gd name="connsiteY55" fmla="*/ 6206 h 12471"/>
                      <a:gd name="connsiteX56" fmla="*/ 5712 w 12436"/>
                      <a:gd name="connsiteY56" fmla="*/ 5072 h 12471"/>
                      <a:gd name="connsiteX57" fmla="*/ 5712 w 12436"/>
                      <a:gd name="connsiteY57" fmla="*/ 3342 h 12471"/>
                      <a:gd name="connsiteX58" fmla="*/ 6188 w 12436"/>
                      <a:gd name="connsiteY58" fmla="*/ 2865 h 12471"/>
                      <a:gd name="connsiteX59" fmla="*/ 6664 w 12436"/>
                      <a:gd name="connsiteY59" fmla="*/ 3342 h 12471"/>
                      <a:gd name="connsiteX60" fmla="*/ 6664 w 12436"/>
                      <a:gd name="connsiteY60" fmla="*/ 5013 h 12471"/>
                      <a:gd name="connsiteX61" fmla="*/ 7497 w 12436"/>
                      <a:gd name="connsiteY61" fmla="*/ 6206 h 12471"/>
                      <a:gd name="connsiteX62" fmla="*/ 7140 w 12436"/>
                      <a:gd name="connsiteY62" fmla="*/ 7101 h 12471"/>
                      <a:gd name="connsiteX63" fmla="*/ 10116 w 12436"/>
                      <a:gd name="connsiteY63" fmla="*/ 10084 h 12471"/>
                      <a:gd name="connsiteX64" fmla="*/ 9639 w 12436"/>
                      <a:gd name="connsiteY64" fmla="*/ 10084 h 12471"/>
                      <a:gd name="connsiteX65" fmla="*/ 9044 w 12436"/>
                      <a:gd name="connsiteY65" fmla="*/ 9488 h 12471"/>
                      <a:gd name="connsiteX66" fmla="*/ 9044 w 12436"/>
                      <a:gd name="connsiteY66" fmla="*/ 9010 h 12471"/>
                      <a:gd name="connsiteX67" fmla="*/ 9461 w 12436"/>
                      <a:gd name="connsiteY67" fmla="*/ 9010 h 12471"/>
                      <a:gd name="connsiteX68" fmla="*/ 10116 w 12436"/>
                      <a:gd name="connsiteY68" fmla="*/ 9667 h 12471"/>
                      <a:gd name="connsiteX69" fmla="*/ 10116 w 12436"/>
                      <a:gd name="connsiteY69" fmla="*/ 10084 h 12471"/>
                      <a:gd name="connsiteX70" fmla="*/ 11722 w 12436"/>
                      <a:gd name="connsiteY70" fmla="*/ 6206 h 12471"/>
                      <a:gd name="connsiteX71" fmla="*/ 11365 w 12436"/>
                      <a:gd name="connsiteY71" fmla="*/ 6564 h 12471"/>
                      <a:gd name="connsiteX72" fmla="*/ 10473 w 12436"/>
                      <a:gd name="connsiteY72" fmla="*/ 6564 h 12471"/>
                      <a:gd name="connsiteX73" fmla="*/ 10175 w 12436"/>
                      <a:gd name="connsiteY73" fmla="*/ 6206 h 12471"/>
                      <a:gd name="connsiteX74" fmla="*/ 10473 w 12436"/>
                      <a:gd name="connsiteY74" fmla="*/ 5908 h 12471"/>
                      <a:gd name="connsiteX75" fmla="*/ 11365 w 12436"/>
                      <a:gd name="connsiteY75" fmla="*/ 5908 h 12471"/>
                      <a:gd name="connsiteX76" fmla="*/ 11722 w 12436"/>
                      <a:gd name="connsiteY76" fmla="*/ 6206 h 12471"/>
                      <a:gd name="connsiteX77" fmla="*/ 11722 w 12436"/>
                      <a:gd name="connsiteY77" fmla="*/ 6206 h 12471"/>
                      <a:gd name="connsiteX0" fmla="*/ 6248 w 12436"/>
                      <a:gd name="connsiteY0" fmla="*/ 5609 h 12471"/>
                      <a:gd name="connsiteX1" fmla="*/ 5593 w 12436"/>
                      <a:gd name="connsiteY1" fmla="*/ 6206 h 12471"/>
                      <a:gd name="connsiteX2" fmla="*/ 6248 w 12436"/>
                      <a:gd name="connsiteY2" fmla="*/ 6803 h 12471"/>
                      <a:gd name="connsiteX3" fmla="*/ 6843 w 12436"/>
                      <a:gd name="connsiteY3" fmla="*/ 6206 h 12471"/>
                      <a:gd name="connsiteX4" fmla="*/ 6248 w 12436"/>
                      <a:gd name="connsiteY4" fmla="*/ 5609 h 12471"/>
                      <a:gd name="connsiteX5" fmla="*/ 6248 w 12436"/>
                      <a:gd name="connsiteY5" fmla="*/ 0 h 12471"/>
                      <a:gd name="connsiteX6" fmla="*/ 0 w 12436"/>
                      <a:gd name="connsiteY6" fmla="*/ 6206 h 12471"/>
                      <a:gd name="connsiteX7" fmla="*/ 6248 w 12436"/>
                      <a:gd name="connsiteY7" fmla="*/ 12471 h 12471"/>
                      <a:gd name="connsiteX8" fmla="*/ 12436 w 12436"/>
                      <a:gd name="connsiteY8" fmla="*/ 6206 h 12471"/>
                      <a:gd name="connsiteX9" fmla="*/ 6248 w 12436"/>
                      <a:gd name="connsiteY9" fmla="*/ 0 h 12471"/>
                      <a:gd name="connsiteX10" fmla="*/ 9044 w 12436"/>
                      <a:gd name="connsiteY10" fmla="*/ 2984 h 12471"/>
                      <a:gd name="connsiteX11" fmla="*/ 9639 w 12436"/>
                      <a:gd name="connsiteY11" fmla="*/ 2328 h 12471"/>
                      <a:gd name="connsiteX12" fmla="*/ 10116 w 12436"/>
                      <a:gd name="connsiteY12" fmla="*/ 2328 h 12471"/>
                      <a:gd name="connsiteX13" fmla="*/ 10116 w 12436"/>
                      <a:gd name="connsiteY13" fmla="*/ 2805 h 12471"/>
                      <a:gd name="connsiteX14" fmla="*/ 9461 w 12436"/>
                      <a:gd name="connsiteY14" fmla="*/ 3402 h 12471"/>
                      <a:gd name="connsiteX15" fmla="*/ 9044 w 12436"/>
                      <a:gd name="connsiteY15" fmla="*/ 3402 h 12471"/>
                      <a:gd name="connsiteX16" fmla="*/ 9044 w 12436"/>
                      <a:gd name="connsiteY16" fmla="*/ 2984 h 12471"/>
                      <a:gd name="connsiteX17" fmla="*/ 5891 w 12436"/>
                      <a:gd name="connsiteY17" fmla="*/ 1075 h 12471"/>
                      <a:gd name="connsiteX18" fmla="*/ 6248 w 12436"/>
                      <a:gd name="connsiteY18" fmla="*/ 716 h 12471"/>
                      <a:gd name="connsiteX19" fmla="*/ 6545 w 12436"/>
                      <a:gd name="connsiteY19" fmla="*/ 1075 h 12471"/>
                      <a:gd name="connsiteX20" fmla="*/ 6545 w 12436"/>
                      <a:gd name="connsiteY20" fmla="*/ 1970 h 12471"/>
                      <a:gd name="connsiteX21" fmla="*/ 6248 w 12436"/>
                      <a:gd name="connsiteY21" fmla="*/ 2268 h 12471"/>
                      <a:gd name="connsiteX22" fmla="*/ 5891 w 12436"/>
                      <a:gd name="connsiteY22" fmla="*/ 1970 h 12471"/>
                      <a:gd name="connsiteX23" fmla="*/ 5891 w 12436"/>
                      <a:gd name="connsiteY23" fmla="*/ 1075 h 12471"/>
                      <a:gd name="connsiteX24" fmla="*/ 1963 w 12436"/>
                      <a:gd name="connsiteY24" fmla="*/ 6564 h 12471"/>
                      <a:gd name="connsiteX25" fmla="*/ 1071 w 12436"/>
                      <a:gd name="connsiteY25" fmla="*/ 6564 h 12471"/>
                      <a:gd name="connsiteX26" fmla="*/ 714 w 12436"/>
                      <a:gd name="connsiteY26" fmla="*/ 6206 h 12471"/>
                      <a:gd name="connsiteX27" fmla="*/ 1071 w 12436"/>
                      <a:gd name="connsiteY27" fmla="*/ 5908 h 12471"/>
                      <a:gd name="connsiteX28" fmla="*/ 1963 w 12436"/>
                      <a:gd name="connsiteY28" fmla="*/ 5908 h 12471"/>
                      <a:gd name="connsiteX29" fmla="*/ 2261 w 12436"/>
                      <a:gd name="connsiteY29" fmla="*/ 6206 h 12471"/>
                      <a:gd name="connsiteX30" fmla="*/ 1963 w 12436"/>
                      <a:gd name="connsiteY30" fmla="*/ 6564 h 12471"/>
                      <a:gd name="connsiteX31" fmla="*/ 3392 w 12436"/>
                      <a:gd name="connsiteY31" fmla="*/ 9488 h 12471"/>
                      <a:gd name="connsiteX32" fmla="*/ 2797 w 12436"/>
                      <a:gd name="connsiteY32" fmla="*/ 10084 h 12471"/>
                      <a:gd name="connsiteX33" fmla="*/ 2320 w 12436"/>
                      <a:gd name="connsiteY33" fmla="*/ 10084 h 12471"/>
                      <a:gd name="connsiteX34" fmla="*/ 2320 w 12436"/>
                      <a:gd name="connsiteY34" fmla="*/ 9667 h 12471"/>
                      <a:gd name="connsiteX35" fmla="*/ 2975 w 12436"/>
                      <a:gd name="connsiteY35" fmla="*/ 9010 h 12471"/>
                      <a:gd name="connsiteX36" fmla="*/ 3392 w 12436"/>
                      <a:gd name="connsiteY36" fmla="*/ 9010 h 12471"/>
                      <a:gd name="connsiteX37" fmla="*/ 3392 w 12436"/>
                      <a:gd name="connsiteY37" fmla="*/ 9488 h 12471"/>
                      <a:gd name="connsiteX38" fmla="*/ 3392 w 12436"/>
                      <a:gd name="connsiteY38" fmla="*/ 3402 h 12471"/>
                      <a:gd name="connsiteX39" fmla="*/ 2975 w 12436"/>
                      <a:gd name="connsiteY39" fmla="*/ 3402 h 12471"/>
                      <a:gd name="connsiteX40" fmla="*/ 2320 w 12436"/>
                      <a:gd name="connsiteY40" fmla="*/ 2805 h 12471"/>
                      <a:gd name="connsiteX41" fmla="*/ 2320 w 12436"/>
                      <a:gd name="connsiteY41" fmla="*/ 2328 h 12471"/>
                      <a:gd name="connsiteX42" fmla="*/ 2797 w 12436"/>
                      <a:gd name="connsiteY42" fmla="*/ 2328 h 12471"/>
                      <a:gd name="connsiteX43" fmla="*/ 3392 w 12436"/>
                      <a:gd name="connsiteY43" fmla="*/ 2984 h 12471"/>
                      <a:gd name="connsiteX44" fmla="*/ 3392 w 12436"/>
                      <a:gd name="connsiteY44" fmla="*/ 3402 h 12471"/>
                      <a:gd name="connsiteX45" fmla="*/ 6545 w 12436"/>
                      <a:gd name="connsiteY45" fmla="*/ 11397 h 12471"/>
                      <a:gd name="connsiteX46" fmla="*/ 6248 w 12436"/>
                      <a:gd name="connsiteY46" fmla="*/ 11696 h 12471"/>
                      <a:gd name="connsiteX47" fmla="*/ 5891 w 12436"/>
                      <a:gd name="connsiteY47" fmla="*/ 11397 h 12471"/>
                      <a:gd name="connsiteX48" fmla="*/ 5891 w 12436"/>
                      <a:gd name="connsiteY48" fmla="*/ 10502 h 12471"/>
                      <a:gd name="connsiteX49" fmla="*/ 6248 w 12436"/>
                      <a:gd name="connsiteY49" fmla="*/ 10204 h 12471"/>
                      <a:gd name="connsiteX50" fmla="*/ 6545 w 12436"/>
                      <a:gd name="connsiteY50" fmla="*/ 10502 h 12471"/>
                      <a:gd name="connsiteX51" fmla="*/ 6545 w 12436"/>
                      <a:gd name="connsiteY51" fmla="*/ 11397 h 12471"/>
                      <a:gd name="connsiteX52" fmla="*/ 7140 w 12436"/>
                      <a:gd name="connsiteY52" fmla="*/ 7101 h 12471"/>
                      <a:gd name="connsiteX53" fmla="*/ 6307 w 12436"/>
                      <a:gd name="connsiteY53" fmla="*/ 7459 h 12471"/>
                      <a:gd name="connsiteX54" fmla="*/ 6248 w 12436"/>
                      <a:gd name="connsiteY54" fmla="*/ 7459 h 12471"/>
                      <a:gd name="connsiteX55" fmla="*/ 4939 w 12436"/>
                      <a:gd name="connsiteY55" fmla="*/ 6206 h 12471"/>
                      <a:gd name="connsiteX56" fmla="*/ 5712 w 12436"/>
                      <a:gd name="connsiteY56" fmla="*/ 5072 h 12471"/>
                      <a:gd name="connsiteX57" fmla="*/ 5712 w 12436"/>
                      <a:gd name="connsiteY57" fmla="*/ 3342 h 12471"/>
                      <a:gd name="connsiteX58" fmla="*/ 6188 w 12436"/>
                      <a:gd name="connsiteY58" fmla="*/ 2865 h 12471"/>
                      <a:gd name="connsiteX59" fmla="*/ 6664 w 12436"/>
                      <a:gd name="connsiteY59" fmla="*/ 3342 h 12471"/>
                      <a:gd name="connsiteX60" fmla="*/ 6664 w 12436"/>
                      <a:gd name="connsiteY60" fmla="*/ 5013 h 12471"/>
                      <a:gd name="connsiteX61" fmla="*/ 7497 w 12436"/>
                      <a:gd name="connsiteY61" fmla="*/ 6206 h 12471"/>
                      <a:gd name="connsiteX62" fmla="*/ 7140 w 12436"/>
                      <a:gd name="connsiteY62" fmla="*/ 7101 h 12471"/>
                      <a:gd name="connsiteX63" fmla="*/ 10116 w 12436"/>
                      <a:gd name="connsiteY63" fmla="*/ 10084 h 12471"/>
                      <a:gd name="connsiteX64" fmla="*/ 9639 w 12436"/>
                      <a:gd name="connsiteY64" fmla="*/ 10084 h 12471"/>
                      <a:gd name="connsiteX65" fmla="*/ 9044 w 12436"/>
                      <a:gd name="connsiteY65" fmla="*/ 9488 h 12471"/>
                      <a:gd name="connsiteX66" fmla="*/ 9044 w 12436"/>
                      <a:gd name="connsiteY66" fmla="*/ 9010 h 12471"/>
                      <a:gd name="connsiteX67" fmla="*/ 9461 w 12436"/>
                      <a:gd name="connsiteY67" fmla="*/ 9010 h 12471"/>
                      <a:gd name="connsiteX68" fmla="*/ 10116 w 12436"/>
                      <a:gd name="connsiteY68" fmla="*/ 9667 h 12471"/>
                      <a:gd name="connsiteX69" fmla="*/ 10116 w 12436"/>
                      <a:gd name="connsiteY69" fmla="*/ 10084 h 12471"/>
                      <a:gd name="connsiteX70" fmla="*/ 11722 w 12436"/>
                      <a:gd name="connsiteY70" fmla="*/ 6206 h 12471"/>
                      <a:gd name="connsiteX71" fmla="*/ 11365 w 12436"/>
                      <a:gd name="connsiteY71" fmla="*/ 6564 h 12471"/>
                      <a:gd name="connsiteX72" fmla="*/ 10473 w 12436"/>
                      <a:gd name="connsiteY72" fmla="*/ 6564 h 12471"/>
                      <a:gd name="connsiteX73" fmla="*/ 10175 w 12436"/>
                      <a:gd name="connsiteY73" fmla="*/ 6206 h 12471"/>
                      <a:gd name="connsiteX74" fmla="*/ 10473 w 12436"/>
                      <a:gd name="connsiteY74" fmla="*/ 5908 h 12471"/>
                      <a:gd name="connsiteX75" fmla="*/ 11365 w 12436"/>
                      <a:gd name="connsiteY75" fmla="*/ 5908 h 12471"/>
                      <a:gd name="connsiteX76" fmla="*/ 11722 w 12436"/>
                      <a:gd name="connsiteY76" fmla="*/ 6206 h 12471"/>
                      <a:gd name="connsiteX77" fmla="*/ 11722 w 12436"/>
                      <a:gd name="connsiteY77" fmla="*/ 6206 h 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2436" h="12471">
                        <a:moveTo>
                          <a:pt x="6248" y="5609"/>
                        </a:moveTo>
                        <a:cubicBezTo>
                          <a:pt x="5891" y="5609"/>
                          <a:pt x="5593" y="5908"/>
                          <a:pt x="5593" y="6206"/>
                        </a:cubicBezTo>
                        <a:cubicBezTo>
                          <a:pt x="5593" y="6564"/>
                          <a:pt x="5891" y="6803"/>
                          <a:pt x="6248" y="6803"/>
                        </a:cubicBezTo>
                        <a:cubicBezTo>
                          <a:pt x="6545" y="6803"/>
                          <a:pt x="6843" y="6564"/>
                          <a:pt x="6843" y="6206"/>
                        </a:cubicBezTo>
                        <a:cubicBezTo>
                          <a:pt x="6843" y="5908"/>
                          <a:pt x="6545" y="5609"/>
                          <a:pt x="6248" y="5609"/>
                        </a:cubicBezTo>
                        <a:close/>
                        <a:moveTo>
                          <a:pt x="6248" y="0"/>
                        </a:moveTo>
                        <a:cubicBezTo>
                          <a:pt x="2797" y="0"/>
                          <a:pt x="0" y="2805"/>
                          <a:pt x="0" y="6206"/>
                        </a:cubicBezTo>
                        <a:cubicBezTo>
                          <a:pt x="0" y="9667"/>
                          <a:pt x="2797" y="12471"/>
                          <a:pt x="6248" y="12471"/>
                        </a:cubicBezTo>
                        <a:cubicBezTo>
                          <a:pt x="9639" y="12471"/>
                          <a:pt x="12436" y="9667"/>
                          <a:pt x="12436" y="6206"/>
                        </a:cubicBezTo>
                        <a:cubicBezTo>
                          <a:pt x="12436" y="2805"/>
                          <a:pt x="9639" y="0"/>
                          <a:pt x="6248" y="0"/>
                        </a:cubicBezTo>
                        <a:close/>
                        <a:moveTo>
                          <a:pt x="9044" y="2984"/>
                        </a:moveTo>
                        <a:lnTo>
                          <a:pt x="9639" y="2328"/>
                        </a:lnTo>
                        <a:cubicBezTo>
                          <a:pt x="9759" y="2208"/>
                          <a:pt x="9997" y="2208"/>
                          <a:pt x="10116" y="2328"/>
                        </a:cubicBezTo>
                        <a:cubicBezTo>
                          <a:pt x="10235" y="2447"/>
                          <a:pt x="10235" y="2686"/>
                          <a:pt x="10116" y="2805"/>
                        </a:cubicBezTo>
                        <a:lnTo>
                          <a:pt x="9461" y="3402"/>
                        </a:lnTo>
                        <a:cubicBezTo>
                          <a:pt x="9342" y="3521"/>
                          <a:pt x="9163" y="3521"/>
                          <a:pt x="9044" y="3402"/>
                        </a:cubicBezTo>
                        <a:cubicBezTo>
                          <a:pt x="8866" y="3282"/>
                          <a:pt x="8866" y="3103"/>
                          <a:pt x="9044" y="2984"/>
                        </a:cubicBezTo>
                        <a:close/>
                        <a:moveTo>
                          <a:pt x="5891" y="1075"/>
                        </a:moveTo>
                        <a:cubicBezTo>
                          <a:pt x="5891" y="896"/>
                          <a:pt x="6069" y="716"/>
                          <a:pt x="6248" y="716"/>
                        </a:cubicBezTo>
                        <a:cubicBezTo>
                          <a:pt x="6367" y="716"/>
                          <a:pt x="6545" y="896"/>
                          <a:pt x="6545" y="1075"/>
                        </a:cubicBezTo>
                        <a:lnTo>
                          <a:pt x="6545" y="1970"/>
                        </a:lnTo>
                        <a:cubicBezTo>
                          <a:pt x="6545" y="2089"/>
                          <a:pt x="6367" y="2268"/>
                          <a:pt x="6248" y="2268"/>
                        </a:cubicBezTo>
                        <a:cubicBezTo>
                          <a:pt x="6069" y="2268"/>
                          <a:pt x="5891" y="2089"/>
                          <a:pt x="5891" y="1970"/>
                        </a:cubicBezTo>
                        <a:lnTo>
                          <a:pt x="5891" y="1075"/>
                        </a:lnTo>
                        <a:close/>
                        <a:moveTo>
                          <a:pt x="1963" y="6564"/>
                        </a:moveTo>
                        <a:lnTo>
                          <a:pt x="1071" y="6564"/>
                        </a:lnTo>
                        <a:cubicBezTo>
                          <a:pt x="892" y="6564"/>
                          <a:pt x="714" y="6385"/>
                          <a:pt x="714" y="6206"/>
                        </a:cubicBezTo>
                        <a:cubicBezTo>
                          <a:pt x="714" y="6027"/>
                          <a:pt x="892" y="5908"/>
                          <a:pt x="1071" y="5908"/>
                        </a:cubicBezTo>
                        <a:lnTo>
                          <a:pt x="1963" y="5908"/>
                        </a:lnTo>
                        <a:cubicBezTo>
                          <a:pt x="2142" y="5908"/>
                          <a:pt x="2261" y="6027"/>
                          <a:pt x="2261" y="6206"/>
                        </a:cubicBezTo>
                        <a:cubicBezTo>
                          <a:pt x="2261" y="6385"/>
                          <a:pt x="2142" y="6564"/>
                          <a:pt x="1963" y="6564"/>
                        </a:cubicBezTo>
                        <a:close/>
                        <a:moveTo>
                          <a:pt x="3392" y="9488"/>
                        </a:moveTo>
                        <a:lnTo>
                          <a:pt x="2797" y="10084"/>
                        </a:lnTo>
                        <a:cubicBezTo>
                          <a:pt x="2678" y="10263"/>
                          <a:pt x="2499" y="10263"/>
                          <a:pt x="2320" y="10084"/>
                        </a:cubicBezTo>
                        <a:cubicBezTo>
                          <a:pt x="2201" y="9965"/>
                          <a:pt x="2201" y="9786"/>
                          <a:pt x="2320" y="9667"/>
                        </a:cubicBezTo>
                        <a:lnTo>
                          <a:pt x="2975" y="9010"/>
                        </a:lnTo>
                        <a:cubicBezTo>
                          <a:pt x="3094" y="8891"/>
                          <a:pt x="3273" y="8891"/>
                          <a:pt x="3392" y="9010"/>
                        </a:cubicBezTo>
                        <a:cubicBezTo>
                          <a:pt x="3570" y="9130"/>
                          <a:pt x="3570" y="9368"/>
                          <a:pt x="3392" y="9488"/>
                        </a:cubicBezTo>
                        <a:close/>
                        <a:moveTo>
                          <a:pt x="3392" y="3402"/>
                        </a:moveTo>
                        <a:cubicBezTo>
                          <a:pt x="3273" y="3521"/>
                          <a:pt x="3094" y="3521"/>
                          <a:pt x="2975" y="3402"/>
                        </a:cubicBezTo>
                        <a:lnTo>
                          <a:pt x="2320" y="2805"/>
                        </a:lnTo>
                        <a:cubicBezTo>
                          <a:pt x="2201" y="2686"/>
                          <a:pt x="2201" y="2447"/>
                          <a:pt x="2320" y="2328"/>
                        </a:cubicBezTo>
                        <a:cubicBezTo>
                          <a:pt x="2439" y="2208"/>
                          <a:pt x="2678" y="2208"/>
                          <a:pt x="2797" y="2328"/>
                        </a:cubicBezTo>
                        <a:lnTo>
                          <a:pt x="3392" y="2984"/>
                        </a:lnTo>
                        <a:cubicBezTo>
                          <a:pt x="3570" y="3103"/>
                          <a:pt x="3570" y="3282"/>
                          <a:pt x="3392" y="3402"/>
                        </a:cubicBezTo>
                        <a:close/>
                        <a:moveTo>
                          <a:pt x="6545" y="11397"/>
                        </a:moveTo>
                        <a:cubicBezTo>
                          <a:pt x="6545" y="11576"/>
                          <a:pt x="6367" y="11696"/>
                          <a:pt x="6248" y="11696"/>
                        </a:cubicBezTo>
                        <a:cubicBezTo>
                          <a:pt x="6069" y="11696"/>
                          <a:pt x="5891" y="11576"/>
                          <a:pt x="5891" y="11397"/>
                        </a:cubicBezTo>
                        <a:lnTo>
                          <a:pt x="5891" y="10502"/>
                        </a:lnTo>
                        <a:cubicBezTo>
                          <a:pt x="5891" y="10323"/>
                          <a:pt x="6069" y="10204"/>
                          <a:pt x="6248" y="10204"/>
                        </a:cubicBezTo>
                        <a:cubicBezTo>
                          <a:pt x="6367" y="10204"/>
                          <a:pt x="6545" y="10323"/>
                          <a:pt x="6545" y="10502"/>
                        </a:cubicBezTo>
                        <a:lnTo>
                          <a:pt x="6545" y="11397"/>
                        </a:lnTo>
                        <a:close/>
                        <a:moveTo>
                          <a:pt x="7140" y="7101"/>
                        </a:moveTo>
                        <a:cubicBezTo>
                          <a:pt x="6818" y="7428"/>
                          <a:pt x="6766" y="7418"/>
                          <a:pt x="6307" y="7459"/>
                        </a:cubicBezTo>
                        <a:lnTo>
                          <a:pt x="6248" y="7459"/>
                        </a:lnTo>
                        <a:cubicBezTo>
                          <a:pt x="5534" y="7459"/>
                          <a:pt x="4939" y="6922"/>
                          <a:pt x="4939" y="6206"/>
                        </a:cubicBezTo>
                        <a:cubicBezTo>
                          <a:pt x="4939" y="5729"/>
                          <a:pt x="5296" y="5251"/>
                          <a:pt x="5712" y="5072"/>
                        </a:cubicBezTo>
                        <a:lnTo>
                          <a:pt x="5712" y="3342"/>
                        </a:lnTo>
                        <a:cubicBezTo>
                          <a:pt x="5712" y="3103"/>
                          <a:pt x="5950" y="2865"/>
                          <a:pt x="6188" y="2865"/>
                        </a:cubicBezTo>
                        <a:cubicBezTo>
                          <a:pt x="6426" y="2865"/>
                          <a:pt x="6664" y="3103"/>
                          <a:pt x="6664" y="3342"/>
                        </a:cubicBezTo>
                        <a:lnTo>
                          <a:pt x="6664" y="5013"/>
                        </a:lnTo>
                        <a:cubicBezTo>
                          <a:pt x="7140" y="5192"/>
                          <a:pt x="7497" y="5669"/>
                          <a:pt x="7497" y="6206"/>
                        </a:cubicBezTo>
                        <a:cubicBezTo>
                          <a:pt x="7497" y="6564"/>
                          <a:pt x="7319" y="6862"/>
                          <a:pt x="7140" y="7101"/>
                        </a:cubicBezTo>
                        <a:close/>
                        <a:moveTo>
                          <a:pt x="10116" y="10084"/>
                        </a:moveTo>
                        <a:cubicBezTo>
                          <a:pt x="9997" y="10263"/>
                          <a:pt x="9759" y="10263"/>
                          <a:pt x="9639" y="10084"/>
                        </a:cubicBezTo>
                        <a:lnTo>
                          <a:pt x="9044" y="9488"/>
                        </a:lnTo>
                        <a:cubicBezTo>
                          <a:pt x="8866" y="9368"/>
                          <a:pt x="8866" y="9130"/>
                          <a:pt x="9044" y="9010"/>
                        </a:cubicBezTo>
                        <a:cubicBezTo>
                          <a:pt x="9163" y="8891"/>
                          <a:pt x="9342" y="8891"/>
                          <a:pt x="9461" y="9010"/>
                        </a:cubicBezTo>
                        <a:lnTo>
                          <a:pt x="10116" y="9667"/>
                        </a:lnTo>
                        <a:cubicBezTo>
                          <a:pt x="10235" y="9786"/>
                          <a:pt x="10235" y="9965"/>
                          <a:pt x="10116" y="10084"/>
                        </a:cubicBezTo>
                        <a:close/>
                        <a:moveTo>
                          <a:pt x="11722" y="6206"/>
                        </a:moveTo>
                        <a:cubicBezTo>
                          <a:pt x="11722" y="6385"/>
                          <a:pt x="11544" y="6564"/>
                          <a:pt x="11365" y="6564"/>
                        </a:cubicBezTo>
                        <a:lnTo>
                          <a:pt x="10473" y="6564"/>
                        </a:lnTo>
                        <a:cubicBezTo>
                          <a:pt x="10294" y="6564"/>
                          <a:pt x="10175" y="6385"/>
                          <a:pt x="10175" y="6206"/>
                        </a:cubicBezTo>
                        <a:cubicBezTo>
                          <a:pt x="10175" y="6027"/>
                          <a:pt x="10294" y="5908"/>
                          <a:pt x="10473" y="5908"/>
                        </a:cubicBezTo>
                        <a:lnTo>
                          <a:pt x="11365" y="5908"/>
                        </a:lnTo>
                        <a:cubicBezTo>
                          <a:pt x="11544" y="5908"/>
                          <a:pt x="11722" y="6027"/>
                          <a:pt x="11722" y="6206"/>
                        </a:cubicBezTo>
                        <a:close/>
                        <a:moveTo>
                          <a:pt x="11722" y="6206"/>
                        </a:moveTo>
                      </a:path>
                    </a:pathLst>
                  </a:custGeom>
                  <a:solidFill>
                    <a:srgbClr val="FFFFFF"/>
                  </a:solidFill>
                  <a:ln w="9525">
                    <a:noFill/>
                    <a:round/>
                    <a:headEnd/>
                    <a:tailEnd/>
                  </a:ln>
                  <a:effectLst/>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273"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96D6"/>
                      </a:solidFill>
                      <a:effectLst/>
                      <a:uLnTx/>
                      <a:uFillTx/>
                      <a:latin typeface="Arial"/>
                      <a:ea typeface=""/>
                      <a:cs typeface=""/>
                    </a:endParaRPr>
                  </a:p>
                </p:txBody>
              </p:sp>
            </p:grpSp>
          </p:grpSp>
          <p:cxnSp>
            <p:nvCxnSpPr>
              <p:cNvPr id="314" name="Straight Connector 313"/>
              <p:cNvCxnSpPr/>
              <p:nvPr/>
            </p:nvCxnSpPr>
            <p:spPr>
              <a:xfrm>
                <a:off x="1143936" y="1386871"/>
                <a:ext cx="570594" cy="53652"/>
              </a:xfrm>
              <a:prstGeom prst="line">
                <a:avLst/>
              </a:prstGeom>
              <a:noFill/>
              <a:ln w="6350" cap="rnd" cmpd="sng" algn="ctr">
                <a:solidFill>
                  <a:srgbClr val="FFFFFF">
                    <a:lumMod val="50000"/>
                  </a:srgbClr>
                </a:solidFill>
                <a:prstDash val="sysDash"/>
              </a:ln>
              <a:effectLst/>
            </p:spPr>
          </p:cxnSp>
          <p:cxnSp>
            <p:nvCxnSpPr>
              <p:cNvPr id="315" name="Straight Connector 314"/>
              <p:cNvCxnSpPr/>
              <p:nvPr/>
            </p:nvCxnSpPr>
            <p:spPr>
              <a:xfrm>
                <a:off x="1192028" y="1502977"/>
                <a:ext cx="860651" cy="288827"/>
              </a:xfrm>
              <a:prstGeom prst="line">
                <a:avLst/>
              </a:prstGeom>
              <a:noFill/>
              <a:ln w="6350" cap="rnd" cmpd="sng" algn="ctr">
                <a:solidFill>
                  <a:srgbClr val="FFFFFF">
                    <a:lumMod val="50000"/>
                  </a:srgbClr>
                </a:solidFill>
                <a:prstDash val="sysDash"/>
              </a:ln>
              <a:effectLst/>
            </p:spPr>
          </p:cxnSp>
          <p:cxnSp>
            <p:nvCxnSpPr>
              <p:cNvPr id="316" name="Straight Connector 315"/>
              <p:cNvCxnSpPr/>
              <p:nvPr/>
            </p:nvCxnSpPr>
            <p:spPr>
              <a:xfrm flipH="1" flipV="1">
                <a:off x="1027830" y="1667174"/>
                <a:ext cx="7858" cy="260614"/>
              </a:xfrm>
              <a:prstGeom prst="line">
                <a:avLst/>
              </a:prstGeom>
              <a:noFill/>
              <a:ln w="6350" cap="rnd" cmpd="sng" algn="ctr">
                <a:solidFill>
                  <a:srgbClr val="FFFFFF">
                    <a:lumMod val="50000"/>
                  </a:srgbClr>
                </a:solidFill>
                <a:prstDash val="sysDash"/>
              </a:ln>
              <a:effectLst/>
            </p:spPr>
          </p:cxnSp>
          <p:cxnSp>
            <p:nvCxnSpPr>
              <p:cNvPr id="317" name="Straight Connector 316"/>
              <p:cNvCxnSpPr/>
              <p:nvPr/>
            </p:nvCxnSpPr>
            <p:spPr>
              <a:xfrm flipV="1">
                <a:off x="2332983" y="1551572"/>
                <a:ext cx="309227" cy="124126"/>
              </a:xfrm>
              <a:prstGeom prst="line">
                <a:avLst/>
              </a:prstGeom>
              <a:noFill/>
              <a:ln w="6350" cap="rnd" cmpd="sng" algn="ctr">
                <a:solidFill>
                  <a:srgbClr val="FFFFFF">
                    <a:lumMod val="50000"/>
                  </a:srgbClr>
                </a:solidFill>
                <a:prstDash val="sysDash"/>
              </a:ln>
              <a:effectLst/>
            </p:spPr>
          </p:cxnSp>
          <p:cxnSp>
            <p:nvCxnSpPr>
              <p:cNvPr id="318" name="Straight Connector 317"/>
              <p:cNvCxnSpPr/>
              <p:nvPr/>
            </p:nvCxnSpPr>
            <p:spPr>
              <a:xfrm>
                <a:off x="2216877" y="1956001"/>
                <a:ext cx="77127" cy="107334"/>
              </a:xfrm>
              <a:prstGeom prst="line">
                <a:avLst/>
              </a:prstGeom>
              <a:noFill/>
              <a:ln w="6350" cap="rnd" cmpd="sng" algn="ctr">
                <a:solidFill>
                  <a:srgbClr val="FFFFFF">
                    <a:lumMod val="50000"/>
                  </a:srgbClr>
                </a:solidFill>
                <a:prstDash val="sysDash"/>
              </a:ln>
              <a:effectLst/>
            </p:spPr>
          </p:cxnSp>
          <p:cxnSp>
            <p:nvCxnSpPr>
              <p:cNvPr id="319" name="Straight Connector 318"/>
              <p:cNvCxnSpPr/>
              <p:nvPr/>
            </p:nvCxnSpPr>
            <p:spPr>
              <a:xfrm>
                <a:off x="2332983" y="1907909"/>
                <a:ext cx="886497" cy="157527"/>
              </a:xfrm>
              <a:prstGeom prst="line">
                <a:avLst/>
              </a:prstGeom>
              <a:noFill/>
              <a:ln w="6350" cap="rnd" cmpd="sng" algn="ctr">
                <a:solidFill>
                  <a:srgbClr val="FFFFFF">
                    <a:lumMod val="50000"/>
                  </a:srgbClr>
                </a:solidFill>
                <a:prstDash val="sysDash"/>
              </a:ln>
              <a:effectLst/>
            </p:spPr>
          </p:cxnSp>
          <p:cxnSp>
            <p:nvCxnSpPr>
              <p:cNvPr id="320" name="Straight Connector 319"/>
              <p:cNvCxnSpPr/>
              <p:nvPr/>
            </p:nvCxnSpPr>
            <p:spPr>
              <a:xfrm flipV="1">
                <a:off x="2381075" y="1608079"/>
                <a:ext cx="900395" cy="183725"/>
              </a:xfrm>
              <a:prstGeom prst="line">
                <a:avLst/>
              </a:prstGeom>
              <a:noFill/>
              <a:ln w="6350" cap="rnd" cmpd="sng" algn="ctr">
                <a:solidFill>
                  <a:srgbClr val="FFFFFF">
                    <a:lumMod val="50000"/>
                  </a:srgbClr>
                </a:solidFill>
                <a:prstDash val="sysDash"/>
              </a:ln>
              <a:effectLst/>
            </p:spPr>
          </p:cxnSp>
          <p:cxnSp>
            <p:nvCxnSpPr>
              <p:cNvPr id="321" name="Straight Connector 320"/>
              <p:cNvCxnSpPr/>
              <p:nvPr/>
            </p:nvCxnSpPr>
            <p:spPr>
              <a:xfrm flipH="1" flipV="1">
                <a:off x="1878728" y="1604720"/>
                <a:ext cx="222043" cy="70978"/>
              </a:xfrm>
              <a:prstGeom prst="line">
                <a:avLst/>
              </a:prstGeom>
              <a:noFill/>
              <a:ln w="6350" cap="rnd" cmpd="sng" algn="ctr">
                <a:solidFill>
                  <a:srgbClr val="FFFFFF">
                    <a:lumMod val="50000"/>
                  </a:srgbClr>
                </a:solidFill>
                <a:prstDash val="sysDash"/>
              </a:ln>
              <a:effectLst/>
            </p:spPr>
          </p:cxnSp>
          <p:grpSp>
            <p:nvGrpSpPr>
              <p:cNvPr id="322" name="Group 321"/>
              <p:cNvGrpSpPr/>
              <p:nvPr/>
            </p:nvGrpSpPr>
            <p:grpSpPr>
              <a:xfrm>
                <a:off x="2052679" y="1627606"/>
                <a:ext cx="328396" cy="328395"/>
                <a:chOff x="6799866" y="1659372"/>
                <a:chExt cx="328396" cy="328395"/>
              </a:xfrm>
            </p:grpSpPr>
            <p:sp>
              <p:nvSpPr>
                <p:cNvPr id="329" name="Oval 328"/>
                <p:cNvSpPr/>
                <p:nvPr/>
              </p:nvSpPr>
              <p:spPr>
                <a:xfrm>
                  <a:off x="6799866" y="1659372"/>
                  <a:ext cx="328396" cy="328395"/>
                </a:xfrm>
                <a:prstGeom prst="ellipse">
                  <a:avLst/>
                </a:prstGeom>
                <a:solidFill>
                  <a:srgbClr val="FFFFFF"/>
                </a:solidFill>
                <a:ln w="3175">
                  <a:solidFill>
                    <a:srgbClr val="FFFFFF">
                      <a:lumMod val="50000"/>
                    </a:srgbClr>
                  </a:solidFill>
                </a:ln>
              </p:spPr>
              <p:txBody>
                <a:bodyPr wrap="square" rtlCol="0" anchor="t">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9393B"/>
                    </a:solidFill>
                    <a:effectLst/>
                    <a:uLnTx/>
                    <a:uFillTx/>
                    <a:latin typeface="Calibri"/>
                    <a:ea typeface="ＭＳ Ｐゴシック" charset="0"/>
                    <a:cs typeface="+mn-cs"/>
                  </a:endParaRPr>
                </a:p>
              </p:txBody>
            </p:sp>
            <p:grpSp>
              <p:nvGrpSpPr>
                <p:cNvPr id="330" name="Group 329"/>
                <p:cNvGrpSpPr/>
                <p:nvPr/>
              </p:nvGrpSpPr>
              <p:grpSpPr>
                <a:xfrm>
                  <a:off x="6898471" y="1740081"/>
                  <a:ext cx="131185" cy="166976"/>
                  <a:chOff x="854043" y="3974589"/>
                  <a:chExt cx="590637" cy="751783"/>
                </a:xfrm>
                <a:solidFill>
                  <a:srgbClr val="0498D1"/>
                </a:solidFill>
              </p:grpSpPr>
              <p:sp>
                <p:nvSpPr>
                  <p:cNvPr id="331" name="Freeform 5"/>
                  <p:cNvSpPr>
                    <a:spLocks/>
                  </p:cNvSpPr>
                  <p:nvPr/>
                </p:nvSpPr>
                <p:spPr bwMode="auto">
                  <a:xfrm>
                    <a:off x="854043" y="3974589"/>
                    <a:ext cx="214571" cy="214920"/>
                  </a:xfrm>
                  <a:custGeom>
                    <a:avLst/>
                    <a:gdLst>
                      <a:gd name="T0" fmla="*/ 1233 w 1233"/>
                      <a:gd name="T1" fmla="*/ 0 h 1235"/>
                      <a:gd name="T2" fmla="*/ 1225 w 1233"/>
                      <a:gd name="T3" fmla="*/ 0 h 1235"/>
                      <a:gd name="T4" fmla="*/ 1225 w 1233"/>
                      <a:gd name="T5" fmla="*/ 0 h 1235"/>
                      <a:gd name="T6" fmla="*/ 1212 w 1233"/>
                      <a:gd name="T7" fmla="*/ 14 h 1235"/>
                      <a:gd name="T8" fmla="*/ 1174 w 1233"/>
                      <a:gd name="T9" fmla="*/ 55 h 1235"/>
                      <a:gd name="T10" fmla="*/ 1037 w 1233"/>
                      <a:gd name="T11" fmla="*/ 194 h 1235"/>
                      <a:gd name="T12" fmla="*/ 841 w 1233"/>
                      <a:gd name="T13" fmla="*/ 391 h 1235"/>
                      <a:gd name="T14" fmla="*/ 617 w 1233"/>
                      <a:gd name="T15" fmla="*/ 617 h 1235"/>
                      <a:gd name="T16" fmla="*/ 392 w 1233"/>
                      <a:gd name="T17" fmla="*/ 840 h 1235"/>
                      <a:gd name="T18" fmla="*/ 195 w 1233"/>
                      <a:gd name="T19" fmla="*/ 1037 h 1235"/>
                      <a:gd name="T20" fmla="*/ 55 w 1233"/>
                      <a:gd name="T21" fmla="*/ 1174 h 1235"/>
                      <a:gd name="T22" fmla="*/ 14 w 1233"/>
                      <a:gd name="T23" fmla="*/ 1212 h 1235"/>
                      <a:gd name="T24" fmla="*/ 0 w 1233"/>
                      <a:gd name="T25" fmla="*/ 1225 h 1235"/>
                      <a:gd name="T26" fmla="*/ 0 w 1233"/>
                      <a:gd name="T27" fmla="*/ 1235 h 1235"/>
                      <a:gd name="T28" fmla="*/ 1233 w 1233"/>
                      <a:gd name="T29" fmla="*/ 1235 h 1235"/>
                      <a:gd name="T30" fmla="*/ 1233 w 1233"/>
                      <a:gd name="T31"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3" h="1235">
                        <a:moveTo>
                          <a:pt x="1233" y="0"/>
                        </a:moveTo>
                        <a:lnTo>
                          <a:pt x="1225" y="0"/>
                        </a:lnTo>
                        <a:lnTo>
                          <a:pt x="1225" y="0"/>
                        </a:lnTo>
                        <a:lnTo>
                          <a:pt x="1212" y="14"/>
                        </a:lnTo>
                        <a:lnTo>
                          <a:pt x="1174" y="55"/>
                        </a:lnTo>
                        <a:lnTo>
                          <a:pt x="1037" y="194"/>
                        </a:lnTo>
                        <a:lnTo>
                          <a:pt x="841" y="391"/>
                        </a:lnTo>
                        <a:lnTo>
                          <a:pt x="617" y="617"/>
                        </a:lnTo>
                        <a:lnTo>
                          <a:pt x="392" y="840"/>
                        </a:lnTo>
                        <a:lnTo>
                          <a:pt x="195" y="1037"/>
                        </a:lnTo>
                        <a:lnTo>
                          <a:pt x="55" y="1174"/>
                        </a:lnTo>
                        <a:lnTo>
                          <a:pt x="14" y="1212"/>
                        </a:lnTo>
                        <a:lnTo>
                          <a:pt x="0" y="1225"/>
                        </a:lnTo>
                        <a:lnTo>
                          <a:pt x="0" y="1235"/>
                        </a:lnTo>
                        <a:lnTo>
                          <a:pt x="1233" y="1235"/>
                        </a:lnTo>
                        <a:lnTo>
                          <a:pt x="1233" y="0"/>
                        </a:lnTo>
                        <a:close/>
                      </a:path>
                    </a:pathLst>
                  </a:custGeom>
                  <a:solidFill>
                    <a:srgbClr val="049CD4"/>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Arial"/>
                      <a:ea typeface=""/>
                      <a:cs typeface=""/>
                    </a:endParaRPr>
                  </a:p>
                </p:txBody>
              </p:sp>
              <p:sp>
                <p:nvSpPr>
                  <p:cNvPr id="332" name="Freeform 6"/>
                  <p:cNvSpPr>
                    <a:spLocks noEditPoints="1"/>
                  </p:cNvSpPr>
                  <p:nvPr/>
                </p:nvSpPr>
                <p:spPr bwMode="auto">
                  <a:xfrm>
                    <a:off x="854043" y="3974589"/>
                    <a:ext cx="590637" cy="751783"/>
                  </a:xfrm>
                  <a:custGeom>
                    <a:avLst/>
                    <a:gdLst>
                      <a:gd name="T0" fmla="*/ 0 w 3394"/>
                      <a:gd name="T1" fmla="*/ 1543 h 4320"/>
                      <a:gd name="T2" fmla="*/ 6 w 3394"/>
                      <a:gd name="T3" fmla="*/ 4074 h 4320"/>
                      <a:gd name="T4" fmla="*/ 52 w 3394"/>
                      <a:gd name="T5" fmla="*/ 4184 h 4320"/>
                      <a:gd name="T6" fmla="*/ 136 w 3394"/>
                      <a:gd name="T7" fmla="*/ 4268 h 4320"/>
                      <a:gd name="T8" fmla="*/ 246 w 3394"/>
                      <a:gd name="T9" fmla="*/ 4314 h 4320"/>
                      <a:gd name="T10" fmla="*/ 3086 w 3394"/>
                      <a:gd name="T11" fmla="*/ 4320 h 4320"/>
                      <a:gd name="T12" fmla="*/ 3206 w 3394"/>
                      <a:gd name="T13" fmla="*/ 4296 h 4320"/>
                      <a:gd name="T14" fmla="*/ 3304 w 3394"/>
                      <a:gd name="T15" fmla="*/ 4230 h 4320"/>
                      <a:gd name="T16" fmla="*/ 3370 w 3394"/>
                      <a:gd name="T17" fmla="*/ 4132 h 4320"/>
                      <a:gd name="T18" fmla="*/ 3394 w 3394"/>
                      <a:gd name="T19" fmla="*/ 4011 h 4320"/>
                      <a:gd name="T20" fmla="*/ 3388 w 3394"/>
                      <a:gd name="T21" fmla="*/ 246 h 4320"/>
                      <a:gd name="T22" fmla="*/ 3342 w 3394"/>
                      <a:gd name="T23" fmla="*/ 136 h 4320"/>
                      <a:gd name="T24" fmla="*/ 3258 w 3394"/>
                      <a:gd name="T25" fmla="*/ 52 h 4320"/>
                      <a:gd name="T26" fmla="*/ 3148 w 3394"/>
                      <a:gd name="T27" fmla="*/ 6 h 4320"/>
                      <a:gd name="T28" fmla="*/ 1006 w 3394"/>
                      <a:gd name="T29" fmla="*/ 1867 h 4320"/>
                      <a:gd name="T30" fmla="*/ 1089 w 3394"/>
                      <a:gd name="T31" fmla="*/ 1895 h 4320"/>
                      <a:gd name="T32" fmla="*/ 1186 w 3394"/>
                      <a:gd name="T33" fmla="*/ 1951 h 4320"/>
                      <a:gd name="T34" fmla="*/ 1267 w 3394"/>
                      <a:gd name="T35" fmla="*/ 2024 h 4320"/>
                      <a:gd name="T36" fmla="*/ 1333 w 3394"/>
                      <a:gd name="T37" fmla="*/ 2114 h 4320"/>
                      <a:gd name="T38" fmla="*/ 486 w 3394"/>
                      <a:gd name="T39" fmla="*/ 1994 h 4320"/>
                      <a:gd name="T40" fmla="*/ 568 w 3394"/>
                      <a:gd name="T41" fmla="*/ 1932 h 4320"/>
                      <a:gd name="T42" fmla="*/ 691 w 3394"/>
                      <a:gd name="T43" fmla="*/ 1874 h 4320"/>
                      <a:gd name="T44" fmla="*/ 827 w 3394"/>
                      <a:gd name="T45" fmla="*/ 1849 h 4320"/>
                      <a:gd name="T46" fmla="*/ 969 w 3394"/>
                      <a:gd name="T47" fmla="*/ 1859 h 4320"/>
                      <a:gd name="T48" fmla="*/ 693 w 3394"/>
                      <a:gd name="T49" fmla="*/ 2976 h 4320"/>
                      <a:gd name="T50" fmla="*/ 584 w 3394"/>
                      <a:gd name="T51" fmla="*/ 2931 h 4320"/>
                      <a:gd name="T52" fmla="*/ 490 w 3394"/>
                      <a:gd name="T53" fmla="*/ 2869 h 4320"/>
                      <a:gd name="T54" fmla="*/ 412 w 3394"/>
                      <a:gd name="T55" fmla="*/ 2791 h 4320"/>
                      <a:gd name="T56" fmla="*/ 351 w 3394"/>
                      <a:gd name="T57" fmla="*/ 2700 h 4320"/>
                      <a:gd name="T58" fmla="*/ 308 w 3394"/>
                      <a:gd name="T59" fmla="*/ 2600 h 4320"/>
                      <a:gd name="T60" fmla="*/ 285 w 3394"/>
                      <a:gd name="T61" fmla="*/ 2494 h 4320"/>
                      <a:gd name="T62" fmla="*/ 284 w 3394"/>
                      <a:gd name="T63" fmla="*/ 2381 h 4320"/>
                      <a:gd name="T64" fmla="*/ 303 w 3394"/>
                      <a:gd name="T65" fmla="*/ 2269 h 4320"/>
                      <a:gd name="T66" fmla="*/ 348 w 3394"/>
                      <a:gd name="T67" fmla="*/ 2165 h 4320"/>
                      <a:gd name="T68" fmla="*/ 435 w 3394"/>
                      <a:gd name="T69" fmla="*/ 2046 h 4320"/>
                      <a:gd name="T70" fmla="*/ 1350 w 3394"/>
                      <a:gd name="T71" fmla="*/ 2723 h 4320"/>
                      <a:gd name="T72" fmla="*/ 1311 w 3394"/>
                      <a:gd name="T73" fmla="*/ 2782 h 4320"/>
                      <a:gd name="T74" fmla="*/ 1246 w 3394"/>
                      <a:gd name="T75" fmla="*/ 2849 h 4320"/>
                      <a:gd name="T76" fmla="*/ 1173 w 3394"/>
                      <a:gd name="T77" fmla="*/ 2907 h 4320"/>
                      <a:gd name="T78" fmla="*/ 1090 w 3394"/>
                      <a:gd name="T79" fmla="*/ 2952 h 4320"/>
                      <a:gd name="T80" fmla="*/ 1002 w 3394"/>
                      <a:gd name="T81" fmla="*/ 2983 h 4320"/>
                      <a:gd name="T82" fmla="*/ 909 w 3394"/>
                      <a:gd name="T83" fmla="*/ 2998 h 4320"/>
                      <a:gd name="T84" fmla="*/ 813 w 3394"/>
                      <a:gd name="T85" fmla="*/ 2998 h 4320"/>
                      <a:gd name="T86" fmla="*/ 716 w 3394"/>
                      <a:gd name="T87" fmla="*/ 2983 h 4320"/>
                      <a:gd name="T88" fmla="*/ 1419 w 3394"/>
                      <a:gd name="T89" fmla="*/ 2579 h 4320"/>
                      <a:gd name="T90" fmla="*/ 1371 w 3394"/>
                      <a:gd name="T91" fmla="*/ 2689 h 4320"/>
                      <a:gd name="T92" fmla="*/ 1375 w 3394"/>
                      <a:gd name="T93" fmla="*/ 2161 h 4320"/>
                      <a:gd name="T94" fmla="*/ 1416 w 3394"/>
                      <a:gd name="T95" fmla="*/ 2259 h 4320"/>
                      <a:gd name="T96" fmla="*/ 1439 w 3394"/>
                      <a:gd name="T97" fmla="*/ 2363 h 4320"/>
                      <a:gd name="T98" fmla="*/ 1440 w 3394"/>
                      <a:gd name="T99" fmla="*/ 2471 h 4320"/>
                      <a:gd name="T100" fmla="*/ 1419 w 3394"/>
                      <a:gd name="T101" fmla="*/ 2579 h 4320"/>
                      <a:gd name="T102" fmla="*/ 1559 w 3394"/>
                      <a:gd name="T103" fmla="*/ 3001 h 4320"/>
                      <a:gd name="T104" fmla="*/ 1919 w 3394"/>
                      <a:gd name="T105" fmla="*/ 3963 h 4320"/>
                      <a:gd name="T106" fmla="*/ 2501 w 3394"/>
                      <a:gd name="T107" fmla="*/ 3963 h 4320"/>
                      <a:gd name="T108" fmla="*/ 2501 w 3394"/>
                      <a:gd name="T109" fmla="*/ 3963 h 4320"/>
                      <a:gd name="T110" fmla="*/ 2855 w 3394"/>
                      <a:gd name="T111" fmla="*/ 3023 h 4320"/>
                      <a:gd name="T112" fmla="*/ 2988 w 3394"/>
                      <a:gd name="T113" fmla="*/ 280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4" h="4320">
                        <a:moveTo>
                          <a:pt x="3086" y="0"/>
                        </a:moveTo>
                        <a:lnTo>
                          <a:pt x="1542" y="0"/>
                        </a:lnTo>
                        <a:lnTo>
                          <a:pt x="1542" y="1543"/>
                        </a:lnTo>
                        <a:lnTo>
                          <a:pt x="0" y="1543"/>
                        </a:lnTo>
                        <a:lnTo>
                          <a:pt x="0" y="4011"/>
                        </a:lnTo>
                        <a:lnTo>
                          <a:pt x="0" y="4011"/>
                        </a:lnTo>
                        <a:lnTo>
                          <a:pt x="1" y="4043"/>
                        </a:lnTo>
                        <a:lnTo>
                          <a:pt x="6" y="4074"/>
                        </a:lnTo>
                        <a:lnTo>
                          <a:pt x="14" y="4104"/>
                        </a:lnTo>
                        <a:lnTo>
                          <a:pt x="24" y="4132"/>
                        </a:lnTo>
                        <a:lnTo>
                          <a:pt x="37" y="4158"/>
                        </a:lnTo>
                        <a:lnTo>
                          <a:pt x="52" y="4184"/>
                        </a:lnTo>
                        <a:lnTo>
                          <a:pt x="70" y="4208"/>
                        </a:lnTo>
                        <a:lnTo>
                          <a:pt x="90" y="4230"/>
                        </a:lnTo>
                        <a:lnTo>
                          <a:pt x="112" y="4250"/>
                        </a:lnTo>
                        <a:lnTo>
                          <a:pt x="136" y="4268"/>
                        </a:lnTo>
                        <a:lnTo>
                          <a:pt x="162" y="4283"/>
                        </a:lnTo>
                        <a:lnTo>
                          <a:pt x="188" y="4296"/>
                        </a:lnTo>
                        <a:lnTo>
                          <a:pt x="216" y="4306"/>
                        </a:lnTo>
                        <a:lnTo>
                          <a:pt x="246" y="4314"/>
                        </a:lnTo>
                        <a:lnTo>
                          <a:pt x="277" y="4319"/>
                        </a:lnTo>
                        <a:lnTo>
                          <a:pt x="308" y="4320"/>
                        </a:lnTo>
                        <a:lnTo>
                          <a:pt x="3086" y="4320"/>
                        </a:lnTo>
                        <a:lnTo>
                          <a:pt x="3086" y="4320"/>
                        </a:lnTo>
                        <a:lnTo>
                          <a:pt x="3117" y="4319"/>
                        </a:lnTo>
                        <a:lnTo>
                          <a:pt x="3148" y="4314"/>
                        </a:lnTo>
                        <a:lnTo>
                          <a:pt x="3178" y="4306"/>
                        </a:lnTo>
                        <a:lnTo>
                          <a:pt x="3206" y="4296"/>
                        </a:lnTo>
                        <a:lnTo>
                          <a:pt x="3232" y="4283"/>
                        </a:lnTo>
                        <a:lnTo>
                          <a:pt x="3258" y="4268"/>
                        </a:lnTo>
                        <a:lnTo>
                          <a:pt x="3282" y="4250"/>
                        </a:lnTo>
                        <a:lnTo>
                          <a:pt x="3304" y="4230"/>
                        </a:lnTo>
                        <a:lnTo>
                          <a:pt x="3324" y="4208"/>
                        </a:lnTo>
                        <a:lnTo>
                          <a:pt x="3342" y="4184"/>
                        </a:lnTo>
                        <a:lnTo>
                          <a:pt x="3357" y="4158"/>
                        </a:lnTo>
                        <a:lnTo>
                          <a:pt x="3370" y="4132"/>
                        </a:lnTo>
                        <a:lnTo>
                          <a:pt x="3380" y="4104"/>
                        </a:lnTo>
                        <a:lnTo>
                          <a:pt x="3388" y="4074"/>
                        </a:lnTo>
                        <a:lnTo>
                          <a:pt x="3393" y="4043"/>
                        </a:lnTo>
                        <a:lnTo>
                          <a:pt x="3394" y="4011"/>
                        </a:lnTo>
                        <a:lnTo>
                          <a:pt x="3394" y="308"/>
                        </a:lnTo>
                        <a:lnTo>
                          <a:pt x="3394" y="308"/>
                        </a:lnTo>
                        <a:lnTo>
                          <a:pt x="3393" y="277"/>
                        </a:lnTo>
                        <a:lnTo>
                          <a:pt x="3388" y="246"/>
                        </a:lnTo>
                        <a:lnTo>
                          <a:pt x="3380" y="216"/>
                        </a:lnTo>
                        <a:lnTo>
                          <a:pt x="3370" y="188"/>
                        </a:lnTo>
                        <a:lnTo>
                          <a:pt x="3357" y="162"/>
                        </a:lnTo>
                        <a:lnTo>
                          <a:pt x="3342" y="136"/>
                        </a:lnTo>
                        <a:lnTo>
                          <a:pt x="3324" y="112"/>
                        </a:lnTo>
                        <a:lnTo>
                          <a:pt x="3304" y="90"/>
                        </a:lnTo>
                        <a:lnTo>
                          <a:pt x="3282" y="70"/>
                        </a:lnTo>
                        <a:lnTo>
                          <a:pt x="3258" y="52"/>
                        </a:lnTo>
                        <a:lnTo>
                          <a:pt x="3232" y="37"/>
                        </a:lnTo>
                        <a:lnTo>
                          <a:pt x="3206" y="24"/>
                        </a:lnTo>
                        <a:lnTo>
                          <a:pt x="3178" y="14"/>
                        </a:lnTo>
                        <a:lnTo>
                          <a:pt x="3148" y="6"/>
                        </a:lnTo>
                        <a:lnTo>
                          <a:pt x="3117" y="1"/>
                        </a:lnTo>
                        <a:lnTo>
                          <a:pt x="3086" y="0"/>
                        </a:lnTo>
                        <a:lnTo>
                          <a:pt x="3086" y="0"/>
                        </a:lnTo>
                        <a:close/>
                        <a:moveTo>
                          <a:pt x="1006" y="1867"/>
                        </a:moveTo>
                        <a:lnTo>
                          <a:pt x="1006" y="1867"/>
                        </a:lnTo>
                        <a:lnTo>
                          <a:pt x="1034" y="1876"/>
                        </a:lnTo>
                        <a:lnTo>
                          <a:pt x="1062" y="1884"/>
                        </a:lnTo>
                        <a:lnTo>
                          <a:pt x="1089" y="1895"/>
                        </a:lnTo>
                        <a:lnTo>
                          <a:pt x="1114" y="1908"/>
                        </a:lnTo>
                        <a:lnTo>
                          <a:pt x="1138" y="1920"/>
                        </a:lnTo>
                        <a:lnTo>
                          <a:pt x="1162" y="1936"/>
                        </a:lnTo>
                        <a:lnTo>
                          <a:pt x="1186" y="1951"/>
                        </a:lnTo>
                        <a:lnTo>
                          <a:pt x="1207" y="1968"/>
                        </a:lnTo>
                        <a:lnTo>
                          <a:pt x="1228" y="1986"/>
                        </a:lnTo>
                        <a:lnTo>
                          <a:pt x="1249" y="2005"/>
                        </a:lnTo>
                        <a:lnTo>
                          <a:pt x="1267" y="2024"/>
                        </a:lnTo>
                        <a:lnTo>
                          <a:pt x="1285" y="2046"/>
                        </a:lnTo>
                        <a:lnTo>
                          <a:pt x="1302" y="2068"/>
                        </a:lnTo>
                        <a:lnTo>
                          <a:pt x="1318" y="2090"/>
                        </a:lnTo>
                        <a:lnTo>
                          <a:pt x="1333" y="2114"/>
                        </a:lnTo>
                        <a:lnTo>
                          <a:pt x="1347" y="2138"/>
                        </a:lnTo>
                        <a:lnTo>
                          <a:pt x="1347" y="2138"/>
                        </a:lnTo>
                        <a:lnTo>
                          <a:pt x="861" y="2401"/>
                        </a:lnTo>
                        <a:lnTo>
                          <a:pt x="486" y="1994"/>
                        </a:lnTo>
                        <a:lnTo>
                          <a:pt x="486" y="1994"/>
                        </a:lnTo>
                        <a:lnTo>
                          <a:pt x="513" y="1971"/>
                        </a:lnTo>
                        <a:lnTo>
                          <a:pt x="539" y="1951"/>
                        </a:lnTo>
                        <a:lnTo>
                          <a:pt x="568" y="1932"/>
                        </a:lnTo>
                        <a:lnTo>
                          <a:pt x="597" y="1915"/>
                        </a:lnTo>
                        <a:lnTo>
                          <a:pt x="628" y="1899"/>
                        </a:lnTo>
                        <a:lnTo>
                          <a:pt x="659" y="1887"/>
                        </a:lnTo>
                        <a:lnTo>
                          <a:pt x="691" y="1874"/>
                        </a:lnTo>
                        <a:lnTo>
                          <a:pt x="725" y="1864"/>
                        </a:lnTo>
                        <a:lnTo>
                          <a:pt x="759" y="1857"/>
                        </a:lnTo>
                        <a:lnTo>
                          <a:pt x="792" y="1852"/>
                        </a:lnTo>
                        <a:lnTo>
                          <a:pt x="827" y="1849"/>
                        </a:lnTo>
                        <a:lnTo>
                          <a:pt x="863" y="1847"/>
                        </a:lnTo>
                        <a:lnTo>
                          <a:pt x="898" y="1849"/>
                        </a:lnTo>
                        <a:lnTo>
                          <a:pt x="934" y="1853"/>
                        </a:lnTo>
                        <a:lnTo>
                          <a:pt x="969" y="1859"/>
                        </a:lnTo>
                        <a:lnTo>
                          <a:pt x="1006" y="1867"/>
                        </a:lnTo>
                        <a:lnTo>
                          <a:pt x="1006" y="1867"/>
                        </a:lnTo>
                        <a:close/>
                        <a:moveTo>
                          <a:pt x="693" y="2976"/>
                        </a:moveTo>
                        <a:lnTo>
                          <a:pt x="693" y="2976"/>
                        </a:lnTo>
                        <a:lnTo>
                          <a:pt x="664" y="2966"/>
                        </a:lnTo>
                        <a:lnTo>
                          <a:pt x="636" y="2956"/>
                        </a:lnTo>
                        <a:lnTo>
                          <a:pt x="610" y="2945"/>
                        </a:lnTo>
                        <a:lnTo>
                          <a:pt x="584" y="2931"/>
                        </a:lnTo>
                        <a:lnTo>
                          <a:pt x="559" y="2917"/>
                        </a:lnTo>
                        <a:lnTo>
                          <a:pt x="535" y="2902"/>
                        </a:lnTo>
                        <a:lnTo>
                          <a:pt x="513" y="2886"/>
                        </a:lnTo>
                        <a:lnTo>
                          <a:pt x="490" y="2869"/>
                        </a:lnTo>
                        <a:lnTo>
                          <a:pt x="469" y="2850"/>
                        </a:lnTo>
                        <a:lnTo>
                          <a:pt x="450" y="2832"/>
                        </a:lnTo>
                        <a:lnTo>
                          <a:pt x="430" y="2811"/>
                        </a:lnTo>
                        <a:lnTo>
                          <a:pt x="412" y="2791"/>
                        </a:lnTo>
                        <a:lnTo>
                          <a:pt x="395" y="2769"/>
                        </a:lnTo>
                        <a:lnTo>
                          <a:pt x="379" y="2748"/>
                        </a:lnTo>
                        <a:lnTo>
                          <a:pt x="364" y="2724"/>
                        </a:lnTo>
                        <a:lnTo>
                          <a:pt x="351" y="2700"/>
                        </a:lnTo>
                        <a:lnTo>
                          <a:pt x="339" y="2676"/>
                        </a:lnTo>
                        <a:lnTo>
                          <a:pt x="327" y="2651"/>
                        </a:lnTo>
                        <a:lnTo>
                          <a:pt x="317" y="2626"/>
                        </a:lnTo>
                        <a:lnTo>
                          <a:pt x="308" y="2600"/>
                        </a:lnTo>
                        <a:lnTo>
                          <a:pt x="301" y="2574"/>
                        </a:lnTo>
                        <a:lnTo>
                          <a:pt x="294" y="2547"/>
                        </a:lnTo>
                        <a:lnTo>
                          <a:pt x="289" y="2520"/>
                        </a:lnTo>
                        <a:lnTo>
                          <a:pt x="285" y="2494"/>
                        </a:lnTo>
                        <a:lnTo>
                          <a:pt x="282" y="2466"/>
                        </a:lnTo>
                        <a:lnTo>
                          <a:pt x="281" y="2437"/>
                        </a:lnTo>
                        <a:lnTo>
                          <a:pt x="281" y="2409"/>
                        </a:lnTo>
                        <a:lnTo>
                          <a:pt x="284" y="2381"/>
                        </a:lnTo>
                        <a:lnTo>
                          <a:pt x="287" y="2353"/>
                        </a:lnTo>
                        <a:lnTo>
                          <a:pt x="291" y="2325"/>
                        </a:lnTo>
                        <a:lnTo>
                          <a:pt x="296" y="2297"/>
                        </a:lnTo>
                        <a:lnTo>
                          <a:pt x="303" y="2269"/>
                        </a:lnTo>
                        <a:lnTo>
                          <a:pt x="303" y="2269"/>
                        </a:lnTo>
                        <a:lnTo>
                          <a:pt x="316" y="2234"/>
                        </a:lnTo>
                        <a:lnTo>
                          <a:pt x="332" y="2199"/>
                        </a:lnTo>
                        <a:lnTo>
                          <a:pt x="348" y="2165"/>
                        </a:lnTo>
                        <a:lnTo>
                          <a:pt x="368" y="2133"/>
                        </a:lnTo>
                        <a:lnTo>
                          <a:pt x="389" y="2102"/>
                        </a:lnTo>
                        <a:lnTo>
                          <a:pt x="412" y="2074"/>
                        </a:lnTo>
                        <a:lnTo>
                          <a:pt x="435" y="2046"/>
                        </a:lnTo>
                        <a:lnTo>
                          <a:pt x="461" y="2020"/>
                        </a:lnTo>
                        <a:lnTo>
                          <a:pt x="461" y="2020"/>
                        </a:lnTo>
                        <a:lnTo>
                          <a:pt x="849" y="2447"/>
                        </a:lnTo>
                        <a:lnTo>
                          <a:pt x="1350" y="2723"/>
                        </a:lnTo>
                        <a:lnTo>
                          <a:pt x="1350" y="2723"/>
                        </a:lnTo>
                        <a:lnTo>
                          <a:pt x="1337" y="2742"/>
                        </a:lnTo>
                        <a:lnTo>
                          <a:pt x="1325" y="2762"/>
                        </a:lnTo>
                        <a:lnTo>
                          <a:pt x="1311" y="2782"/>
                        </a:lnTo>
                        <a:lnTo>
                          <a:pt x="1295" y="2800"/>
                        </a:lnTo>
                        <a:lnTo>
                          <a:pt x="1280" y="2817"/>
                        </a:lnTo>
                        <a:lnTo>
                          <a:pt x="1263" y="2834"/>
                        </a:lnTo>
                        <a:lnTo>
                          <a:pt x="1246" y="2849"/>
                        </a:lnTo>
                        <a:lnTo>
                          <a:pt x="1229" y="2865"/>
                        </a:lnTo>
                        <a:lnTo>
                          <a:pt x="1211" y="2880"/>
                        </a:lnTo>
                        <a:lnTo>
                          <a:pt x="1191" y="2894"/>
                        </a:lnTo>
                        <a:lnTo>
                          <a:pt x="1173" y="2907"/>
                        </a:lnTo>
                        <a:lnTo>
                          <a:pt x="1152" y="2919"/>
                        </a:lnTo>
                        <a:lnTo>
                          <a:pt x="1132" y="2931"/>
                        </a:lnTo>
                        <a:lnTo>
                          <a:pt x="1111" y="2942"/>
                        </a:lnTo>
                        <a:lnTo>
                          <a:pt x="1090" y="2952"/>
                        </a:lnTo>
                        <a:lnTo>
                          <a:pt x="1069" y="2960"/>
                        </a:lnTo>
                        <a:lnTo>
                          <a:pt x="1047" y="2969"/>
                        </a:lnTo>
                        <a:lnTo>
                          <a:pt x="1024" y="2976"/>
                        </a:lnTo>
                        <a:lnTo>
                          <a:pt x="1002" y="2983"/>
                        </a:lnTo>
                        <a:lnTo>
                          <a:pt x="979" y="2988"/>
                        </a:lnTo>
                        <a:lnTo>
                          <a:pt x="955" y="2992"/>
                        </a:lnTo>
                        <a:lnTo>
                          <a:pt x="933" y="2995"/>
                        </a:lnTo>
                        <a:lnTo>
                          <a:pt x="909" y="2998"/>
                        </a:lnTo>
                        <a:lnTo>
                          <a:pt x="885" y="2999"/>
                        </a:lnTo>
                        <a:lnTo>
                          <a:pt x="861" y="3001"/>
                        </a:lnTo>
                        <a:lnTo>
                          <a:pt x="837" y="2999"/>
                        </a:lnTo>
                        <a:lnTo>
                          <a:pt x="813" y="2998"/>
                        </a:lnTo>
                        <a:lnTo>
                          <a:pt x="789" y="2997"/>
                        </a:lnTo>
                        <a:lnTo>
                          <a:pt x="764" y="2992"/>
                        </a:lnTo>
                        <a:lnTo>
                          <a:pt x="740" y="2988"/>
                        </a:lnTo>
                        <a:lnTo>
                          <a:pt x="716" y="2983"/>
                        </a:lnTo>
                        <a:lnTo>
                          <a:pt x="693" y="2976"/>
                        </a:lnTo>
                        <a:lnTo>
                          <a:pt x="693" y="2976"/>
                        </a:lnTo>
                        <a:close/>
                        <a:moveTo>
                          <a:pt x="1419" y="2579"/>
                        </a:moveTo>
                        <a:lnTo>
                          <a:pt x="1419" y="2579"/>
                        </a:lnTo>
                        <a:lnTo>
                          <a:pt x="1409" y="2607"/>
                        </a:lnTo>
                        <a:lnTo>
                          <a:pt x="1399" y="2636"/>
                        </a:lnTo>
                        <a:lnTo>
                          <a:pt x="1387" y="2662"/>
                        </a:lnTo>
                        <a:lnTo>
                          <a:pt x="1371" y="2689"/>
                        </a:lnTo>
                        <a:lnTo>
                          <a:pt x="1371" y="2689"/>
                        </a:lnTo>
                        <a:lnTo>
                          <a:pt x="892" y="2422"/>
                        </a:lnTo>
                        <a:lnTo>
                          <a:pt x="1375" y="2161"/>
                        </a:lnTo>
                        <a:lnTo>
                          <a:pt x="1375" y="2161"/>
                        </a:lnTo>
                        <a:lnTo>
                          <a:pt x="1388" y="2185"/>
                        </a:lnTo>
                        <a:lnTo>
                          <a:pt x="1398" y="2208"/>
                        </a:lnTo>
                        <a:lnTo>
                          <a:pt x="1408" y="2234"/>
                        </a:lnTo>
                        <a:lnTo>
                          <a:pt x="1416" y="2259"/>
                        </a:lnTo>
                        <a:lnTo>
                          <a:pt x="1424" y="2284"/>
                        </a:lnTo>
                        <a:lnTo>
                          <a:pt x="1430" y="2311"/>
                        </a:lnTo>
                        <a:lnTo>
                          <a:pt x="1434" y="2336"/>
                        </a:lnTo>
                        <a:lnTo>
                          <a:pt x="1439" y="2363"/>
                        </a:lnTo>
                        <a:lnTo>
                          <a:pt x="1441" y="2390"/>
                        </a:lnTo>
                        <a:lnTo>
                          <a:pt x="1443" y="2416"/>
                        </a:lnTo>
                        <a:lnTo>
                          <a:pt x="1441" y="2443"/>
                        </a:lnTo>
                        <a:lnTo>
                          <a:pt x="1440" y="2471"/>
                        </a:lnTo>
                        <a:lnTo>
                          <a:pt x="1437" y="2498"/>
                        </a:lnTo>
                        <a:lnTo>
                          <a:pt x="1433" y="2525"/>
                        </a:lnTo>
                        <a:lnTo>
                          <a:pt x="1427" y="2553"/>
                        </a:lnTo>
                        <a:lnTo>
                          <a:pt x="1419" y="2579"/>
                        </a:lnTo>
                        <a:lnTo>
                          <a:pt x="1419" y="2579"/>
                        </a:lnTo>
                        <a:close/>
                        <a:moveTo>
                          <a:pt x="1786" y="3963"/>
                        </a:moveTo>
                        <a:lnTo>
                          <a:pt x="1559" y="3963"/>
                        </a:lnTo>
                        <a:lnTo>
                          <a:pt x="1559" y="3001"/>
                        </a:lnTo>
                        <a:lnTo>
                          <a:pt x="1786" y="3001"/>
                        </a:lnTo>
                        <a:lnTo>
                          <a:pt x="1786" y="3963"/>
                        </a:lnTo>
                        <a:close/>
                        <a:moveTo>
                          <a:pt x="2142" y="3963"/>
                        </a:moveTo>
                        <a:lnTo>
                          <a:pt x="1919" y="3963"/>
                        </a:lnTo>
                        <a:lnTo>
                          <a:pt x="1919" y="2606"/>
                        </a:lnTo>
                        <a:lnTo>
                          <a:pt x="2142" y="2606"/>
                        </a:lnTo>
                        <a:lnTo>
                          <a:pt x="2142" y="3963"/>
                        </a:lnTo>
                        <a:close/>
                        <a:moveTo>
                          <a:pt x="2501" y="3963"/>
                        </a:moveTo>
                        <a:lnTo>
                          <a:pt x="2274" y="3963"/>
                        </a:lnTo>
                        <a:lnTo>
                          <a:pt x="2274" y="3512"/>
                        </a:lnTo>
                        <a:lnTo>
                          <a:pt x="2501" y="3512"/>
                        </a:lnTo>
                        <a:lnTo>
                          <a:pt x="2501" y="3963"/>
                        </a:lnTo>
                        <a:close/>
                        <a:moveTo>
                          <a:pt x="2855" y="3963"/>
                        </a:moveTo>
                        <a:lnTo>
                          <a:pt x="2633" y="3963"/>
                        </a:lnTo>
                        <a:lnTo>
                          <a:pt x="2633" y="3023"/>
                        </a:lnTo>
                        <a:lnTo>
                          <a:pt x="2855" y="3023"/>
                        </a:lnTo>
                        <a:lnTo>
                          <a:pt x="2855" y="3963"/>
                        </a:lnTo>
                        <a:close/>
                        <a:moveTo>
                          <a:pt x="3216" y="3963"/>
                        </a:moveTo>
                        <a:lnTo>
                          <a:pt x="2988" y="3963"/>
                        </a:lnTo>
                        <a:lnTo>
                          <a:pt x="2988" y="2803"/>
                        </a:lnTo>
                        <a:lnTo>
                          <a:pt x="3216" y="2803"/>
                        </a:lnTo>
                        <a:lnTo>
                          <a:pt x="3216" y="3963"/>
                        </a:lnTo>
                        <a:close/>
                      </a:path>
                    </a:pathLst>
                  </a:custGeom>
                  <a:solidFill>
                    <a:srgbClr val="049CD4"/>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latin typeface="Arial"/>
                      <a:ea typeface=""/>
                      <a:cs typeface=""/>
                    </a:endParaRPr>
                  </a:p>
                </p:txBody>
              </p:sp>
            </p:grpSp>
          </p:grpSp>
          <p:cxnSp>
            <p:nvCxnSpPr>
              <p:cNvPr id="323" name="Straight Connector 322"/>
              <p:cNvCxnSpPr/>
              <p:nvPr/>
            </p:nvCxnSpPr>
            <p:spPr>
              <a:xfrm flipH="1">
                <a:off x="2042926" y="1436661"/>
                <a:ext cx="551686" cy="3862"/>
              </a:xfrm>
              <a:prstGeom prst="line">
                <a:avLst/>
              </a:prstGeom>
              <a:noFill/>
              <a:ln w="6350" cap="rnd" cmpd="sng" algn="ctr">
                <a:solidFill>
                  <a:srgbClr val="FFFFFF">
                    <a:lumMod val="50000"/>
                  </a:srgbClr>
                </a:solidFill>
                <a:prstDash val="sysDash"/>
              </a:ln>
              <a:effectLst/>
            </p:spPr>
          </p:cxnSp>
          <p:cxnSp>
            <p:nvCxnSpPr>
              <p:cNvPr id="324" name="Straight Connector 323"/>
              <p:cNvCxnSpPr/>
              <p:nvPr/>
            </p:nvCxnSpPr>
            <p:spPr>
              <a:xfrm flipV="1">
                <a:off x="1151794" y="1907909"/>
                <a:ext cx="948977" cy="67971"/>
              </a:xfrm>
              <a:prstGeom prst="line">
                <a:avLst/>
              </a:prstGeom>
              <a:noFill/>
              <a:ln w="6350" cap="rnd" cmpd="sng" algn="ctr">
                <a:solidFill>
                  <a:srgbClr val="FFFFFF">
                    <a:lumMod val="50000"/>
                  </a:srgbClr>
                </a:solidFill>
                <a:prstDash val="sysDash"/>
              </a:ln>
              <a:effectLst/>
            </p:spPr>
          </p:cxnSp>
          <p:cxnSp>
            <p:nvCxnSpPr>
              <p:cNvPr id="325" name="Straight Connector 324"/>
              <p:cNvCxnSpPr/>
              <p:nvPr/>
            </p:nvCxnSpPr>
            <p:spPr>
              <a:xfrm>
                <a:off x="1151794" y="2116830"/>
                <a:ext cx="978012" cy="110703"/>
              </a:xfrm>
              <a:prstGeom prst="line">
                <a:avLst/>
              </a:prstGeom>
              <a:noFill/>
              <a:ln w="6350" cap="rnd" cmpd="sng" algn="ctr">
                <a:solidFill>
                  <a:srgbClr val="FFFFFF">
                    <a:lumMod val="50000"/>
                  </a:srgbClr>
                </a:solidFill>
                <a:prstDash val="sysDash"/>
              </a:ln>
              <a:effectLst/>
            </p:spPr>
          </p:cxnSp>
          <p:cxnSp>
            <p:nvCxnSpPr>
              <p:cNvPr id="326" name="Straight Connector 325"/>
              <p:cNvCxnSpPr/>
              <p:nvPr/>
            </p:nvCxnSpPr>
            <p:spPr>
              <a:xfrm>
                <a:off x="2919630" y="1436661"/>
                <a:ext cx="409932" cy="55312"/>
              </a:xfrm>
              <a:prstGeom prst="line">
                <a:avLst/>
              </a:prstGeom>
              <a:noFill/>
              <a:ln w="6350" cap="rnd" cmpd="sng" algn="ctr">
                <a:solidFill>
                  <a:srgbClr val="FFFFFF">
                    <a:lumMod val="50000"/>
                  </a:srgbClr>
                </a:solidFill>
                <a:prstDash val="sysDash"/>
              </a:ln>
              <a:effectLst/>
            </p:spPr>
          </p:cxnSp>
          <p:cxnSp>
            <p:nvCxnSpPr>
              <p:cNvPr id="327" name="Straight Connector 326"/>
              <p:cNvCxnSpPr/>
              <p:nvPr/>
            </p:nvCxnSpPr>
            <p:spPr>
              <a:xfrm flipV="1">
                <a:off x="3335586" y="1772276"/>
                <a:ext cx="110082" cy="245068"/>
              </a:xfrm>
              <a:prstGeom prst="line">
                <a:avLst/>
              </a:prstGeom>
              <a:noFill/>
              <a:ln w="6350" cap="rnd" cmpd="sng" algn="ctr">
                <a:solidFill>
                  <a:srgbClr val="FFFFFF">
                    <a:lumMod val="50000"/>
                  </a:srgbClr>
                </a:solidFill>
                <a:prstDash val="sysDash"/>
              </a:ln>
              <a:effectLst/>
            </p:spPr>
          </p:cxnSp>
          <p:cxnSp>
            <p:nvCxnSpPr>
              <p:cNvPr id="328" name="Straight Connector 327"/>
              <p:cNvCxnSpPr/>
              <p:nvPr/>
            </p:nvCxnSpPr>
            <p:spPr>
              <a:xfrm flipV="1">
                <a:off x="2458202" y="2206386"/>
                <a:ext cx="761278" cy="21147"/>
              </a:xfrm>
              <a:prstGeom prst="line">
                <a:avLst/>
              </a:prstGeom>
              <a:noFill/>
              <a:ln w="6350" cap="rnd" cmpd="sng" algn="ctr">
                <a:solidFill>
                  <a:srgbClr val="FFFFFF">
                    <a:lumMod val="50000"/>
                  </a:srgbClr>
                </a:solidFill>
                <a:prstDash val="sysDash"/>
              </a:ln>
              <a:effectLst/>
            </p:spPr>
          </p:cxnSp>
        </p:grpSp>
        <p:grpSp>
          <p:nvGrpSpPr>
            <p:cNvPr id="76" name="Group 75"/>
            <p:cNvGrpSpPr/>
            <p:nvPr/>
          </p:nvGrpSpPr>
          <p:grpSpPr>
            <a:xfrm>
              <a:off x="5852572" y="3272963"/>
              <a:ext cx="735112" cy="1324330"/>
              <a:chOff x="3742840" y="3888864"/>
              <a:chExt cx="323389" cy="582596"/>
            </a:xfrm>
          </p:grpSpPr>
          <p:sp>
            <p:nvSpPr>
              <p:cNvPr id="77" name="Oval 76"/>
              <p:cNvSpPr/>
              <p:nvPr/>
            </p:nvSpPr>
            <p:spPr bwMode="auto">
              <a:xfrm>
                <a:off x="3845654" y="3888864"/>
                <a:ext cx="125052" cy="137638"/>
              </a:xfrm>
              <a:prstGeom prst="ellipse">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78" name="Rounded Rectangle 937"/>
              <p:cNvSpPr/>
              <p:nvPr/>
            </p:nvSpPr>
            <p:spPr bwMode="auto">
              <a:xfrm>
                <a:off x="3776667" y="4041211"/>
                <a:ext cx="254522" cy="116089"/>
              </a:xfrm>
              <a:custGeom>
                <a:avLst/>
                <a:gdLst>
                  <a:gd name="connsiteX0" fmla="*/ 0 w 2324706"/>
                  <a:gd name="connsiteY0" fmla="*/ 160805 h 964811"/>
                  <a:gd name="connsiteX1" fmla="*/ 160805 w 2324706"/>
                  <a:gd name="connsiteY1" fmla="*/ 0 h 964811"/>
                  <a:gd name="connsiteX2" fmla="*/ 2163901 w 2324706"/>
                  <a:gd name="connsiteY2" fmla="*/ 0 h 964811"/>
                  <a:gd name="connsiteX3" fmla="*/ 2324706 w 2324706"/>
                  <a:gd name="connsiteY3" fmla="*/ 16080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160805 w 2324706"/>
                  <a:gd name="connsiteY1" fmla="*/ 0 h 964811"/>
                  <a:gd name="connsiteX2" fmla="*/ 2102941 w 2324706"/>
                  <a:gd name="connsiteY2" fmla="*/ 0 h 964811"/>
                  <a:gd name="connsiteX3" fmla="*/ 2324706 w 2324706"/>
                  <a:gd name="connsiteY3" fmla="*/ 16080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160805 w 2324706"/>
                  <a:gd name="connsiteY1" fmla="*/ 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252245 w 2324706"/>
                  <a:gd name="connsiteY1" fmla="*/ 762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91440 w 2324706"/>
                  <a:gd name="connsiteY0" fmla="*/ 168425 h 964811"/>
                  <a:gd name="connsiteX1" fmla="*/ 252245 w 2324706"/>
                  <a:gd name="connsiteY1" fmla="*/ 762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91440 w 2324706"/>
                  <a:gd name="connsiteY8" fmla="*/ 168425 h 964811"/>
                  <a:gd name="connsiteX0" fmla="*/ 129540 w 2362806"/>
                  <a:gd name="connsiteY0" fmla="*/ 168425 h 964811"/>
                  <a:gd name="connsiteX1" fmla="*/ 290345 w 2362806"/>
                  <a:gd name="connsiteY1" fmla="*/ 7620 h 964811"/>
                  <a:gd name="connsiteX2" fmla="*/ 2141041 w 2362806"/>
                  <a:gd name="connsiteY2" fmla="*/ 0 h 964811"/>
                  <a:gd name="connsiteX3" fmla="*/ 2271366 w 2362806"/>
                  <a:gd name="connsiteY3" fmla="*/ 153185 h 964811"/>
                  <a:gd name="connsiteX4" fmla="*/ 2362806 w 2362806"/>
                  <a:gd name="connsiteY4" fmla="*/ 804006 h 964811"/>
                  <a:gd name="connsiteX5" fmla="*/ 2202001 w 2362806"/>
                  <a:gd name="connsiteY5" fmla="*/ 964811 h 964811"/>
                  <a:gd name="connsiteX6" fmla="*/ 198905 w 2362806"/>
                  <a:gd name="connsiteY6" fmla="*/ 964811 h 964811"/>
                  <a:gd name="connsiteX7" fmla="*/ 0 w 2362806"/>
                  <a:gd name="connsiteY7" fmla="*/ 796386 h 964811"/>
                  <a:gd name="connsiteX8" fmla="*/ 129540 w 2362806"/>
                  <a:gd name="connsiteY8" fmla="*/ 168425 h 964811"/>
                  <a:gd name="connsiteX0" fmla="*/ 129540 w 2408526"/>
                  <a:gd name="connsiteY0" fmla="*/ 168425 h 964811"/>
                  <a:gd name="connsiteX1" fmla="*/ 290345 w 2408526"/>
                  <a:gd name="connsiteY1" fmla="*/ 7620 h 964811"/>
                  <a:gd name="connsiteX2" fmla="*/ 2141041 w 2408526"/>
                  <a:gd name="connsiteY2" fmla="*/ 0 h 964811"/>
                  <a:gd name="connsiteX3" fmla="*/ 2271366 w 2408526"/>
                  <a:gd name="connsiteY3" fmla="*/ 153185 h 964811"/>
                  <a:gd name="connsiteX4" fmla="*/ 2408526 w 2408526"/>
                  <a:gd name="connsiteY4" fmla="*/ 796386 h 964811"/>
                  <a:gd name="connsiteX5" fmla="*/ 2202001 w 2408526"/>
                  <a:gd name="connsiteY5" fmla="*/ 964811 h 964811"/>
                  <a:gd name="connsiteX6" fmla="*/ 198905 w 2408526"/>
                  <a:gd name="connsiteY6" fmla="*/ 964811 h 964811"/>
                  <a:gd name="connsiteX7" fmla="*/ 0 w 2408526"/>
                  <a:gd name="connsiteY7" fmla="*/ 796386 h 964811"/>
                  <a:gd name="connsiteX8" fmla="*/ 129540 w 2408526"/>
                  <a:gd name="connsiteY8" fmla="*/ 168425 h 964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8526" h="964811">
                    <a:moveTo>
                      <a:pt x="129540" y="168425"/>
                    </a:moveTo>
                    <a:cubicBezTo>
                      <a:pt x="129540" y="79615"/>
                      <a:pt x="201535" y="7620"/>
                      <a:pt x="290345" y="7620"/>
                    </a:cubicBezTo>
                    <a:lnTo>
                      <a:pt x="2141041" y="0"/>
                    </a:lnTo>
                    <a:cubicBezTo>
                      <a:pt x="2229851" y="0"/>
                      <a:pt x="2271366" y="64375"/>
                      <a:pt x="2271366" y="153185"/>
                    </a:cubicBezTo>
                    <a:lnTo>
                      <a:pt x="2408526" y="796386"/>
                    </a:lnTo>
                    <a:cubicBezTo>
                      <a:pt x="2408526" y="885196"/>
                      <a:pt x="2290811" y="964811"/>
                      <a:pt x="2202001" y="964811"/>
                    </a:cubicBezTo>
                    <a:lnTo>
                      <a:pt x="198905" y="964811"/>
                    </a:lnTo>
                    <a:cubicBezTo>
                      <a:pt x="110095" y="964811"/>
                      <a:pt x="0" y="885196"/>
                      <a:pt x="0" y="796386"/>
                    </a:cubicBezTo>
                    <a:lnTo>
                      <a:pt x="129540" y="168425"/>
                    </a:lnTo>
                    <a:close/>
                  </a:path>
                </a:pathLst>
              </a:custGeom>
              <a:solidFill>
                <a:srgbClr val="FFFFFF">
                  <a:lumMod val="85000"/>
                </a:srgbClr>
              </a:solidFill>
              <a:ln w="6350">
                <a:solidFill>
                  <a:srgbClr val="FFFFFF">
                    <a:lumMod val="65000"/>
                  </a:srgbClr>
                </a:solidFill>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505050"/>
                  </a:solidFill>
                  <a:effectLst/>
                  <a:uLnTx/>
                  <a:uFillTx/>
                  <a:latin typeface="Arial"/>
                  <a:ea typeface=""/>
                  <a:cs typeface=""/>
                </a:endParaRPr>
              </a:p>
            </p:txBody>
          </p:sp>
          <p:sp>
            <p:nvSpPr>
              <p:cNvPr id="79" name="Freeform 929"/>
              <p:cNvSpPr>
                <a:spLocks/>
              </p:cNvSpPr>
              <p:nvPr/>
            </p:nvSpPr>
            <p:spPr bwMode="auto">
              <a:xfrm>
                <a:off x="3794414" y="4028495"/>
                <a:ext cx="217281" cy="218760"/>
              </a:xfrm>
              <a:custGeom>
                <a:avLst/>
                <a:gdLst>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29379 w 553405"/>
                  <a:gd name="connsiteY52" fmla="*/ 17047 h 551547"/>
                  <a:gd name="connsiteX53" fmla="*/ 142943 w 553405"/>
                  <a:gd name="connsiteY53" fmla="*/ 13520 h 551547"/>
                  <a:gd name="connsiteX54" fmla="*/ 157028 w 553405"/>
                  <a:gd name="connsiteY54" fmla="*/ 10581 h 551547"/>
                  <a:gd name="connsiteX55" fmla="*/ 171114 w 553405"/>
                  <a:gd name="connsiteY55" fmla="*/ 8230 h 551547"/>
                  <a:gd name="connsiteX56" fmla="*/ 189894 w 553405"/>
                  <a:gd name="connsiteY56" fmla="*/ 5291 h 551547"/>
                  <a:gd name="connsiteX57" fmla="*/ 209197 w 553405"/>
                  <a:gd name="connsiteY57" fmla="*/ 3527 h 551547"/>
                  <a:gd name="connsiteX58" fmla="*/ 227977 w 553405"/>
                  <a:gd name="connsiteY58" fmla="*/ 1764 h 551547"/>
                  <a:gd name="connsiteX59" fmla="*/ 246758 w 553405"/>
                  <a:gd name="connsiteY59" fmla="*/ 588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42943 w 553405"/>
                  <a:gd name="connsiteY52" fmla="*/ 13520 h 551547"/>
                  <a:gd name="connsiteX53" fmla="*/ 157028 w 553405"/>
                  <a:gd name="connsiteY53" fmla="*/ 10581 h 551547"/>
                  <a:gd name="connsiteX54" fmla="*/ 171114 w 553405"/>
                  <a:gd name="connsiteY54" fmla="*/ 8230 h 551547"/>
                  <a:gd name="connsiteX55" fmla="*/ 189894 w 553405"/>
                  <a:gd name="connsiteY55" fmla="*/ 5291 h 551547"/>
                  <a:gd name="connsiteX56" fmla="*/ 209197 w 553405"/>
                  <a:gd name="connsiteY56" fmla="*/ 3527 h 551547"/>
                  <a:gd name="connsiteX57" fmla="*/ 227977 w 553405"/>
                  <a:gd name="connsiteY57" fmla="*/ 1764 h 551547"/>
                  <a:gd name="connsiteX58" fmla="*/ 246758 w 553405"/>
                  <a:gd name="connsiteY58" fmla="*/ 588 h 551547"/>
                  <a:gd name="connsiteX59" fmla="*/ 265539 w 553405"/>
                  <a:gd name="connsiteY59"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57028 w 553405"/>
                  <a:gd name="connsiteY52" fmla="*/ 10581 h 551547"/>
                  <a:gd name="connsiteX53" fmla="*/ 171114 w 553405"/>
                  <a:gd name="connsiteY53" fmla="*/ 8230 h 551547"/>
                  <a:gd name="connsiteX54" fmla="*/ 189894 w 553405"/>
                  <a:gd name="connsiteY54" fmla="*/ 5291 h 551547"/>
                  <a:gd name="connsiteX55" fmla="*/ 209197 w 553405"/>
                  <a:gd name="connsiteY55" fmla="*/ 3527 h 551547"/>
                  <a:gd name="connsiteX56" fmla="*/ 227977 w 553405"/>
                  <a:gd name="connsiteY56" fmla="*/ 1764 h 551547"/>
                  <a:gd name="connsiteX57" fmla="*/ 246758 w 553405"/>
                  <a:gd name="connsiteY57" fmla="*/ 588 h 551547"/>
                  <a:gd name="connsiteX58" fmla="*/ 265539 w 553405"/>
                  <a:gd name="connsiteY58"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71114 w 553405"/>
                  <a:gd name="connsiteY52" fmla="*/ 8230 h 551547"/>
                  <a:gd name="connsiteX53" fmla="*/ 189894 w 553405"/>
                  <a:gd name="connsiteY53" fmla="*/ 5291 h 551547"/>
                  <a:gd name="connsiteX54" fmla="*/ 209197 w 553405"/>
                  <a:gd name="connsiteY54" fmla="*/ 3527 h 551547"/>
                  <a:gd name="connsiteX55" fmla="*/ 227977 w 553405"/>
                  <a:gd name="connsiteY55" fmla="*/ 1764 h 551547"/>
                  <a:gd name="connsiteX56" fmla="*/ 246758 w 553405"/>
                  <a:gd name="connsiteY56" fmla="*/ 588 h 551547"/>
                  <a:gd name="connsiteX57" fmla="*/ 265539 w 553405"/>
                  <a:gd name="connsiteY57"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89894 w 553405"/>
                  <a:gd name="connsiteY52" fmla="*/ 5291 h 551547"/>
                  <a:gd name="connsiteX53" fmla="*/ 209197 w 553405"/>
                  <a:gd name="connsiteY53" fmla="*/ 3527 h 551547"/>
                  <a:gd name="connsiteX54" fmla="*/ 227977 w 553405"/>
                  <a:gd name="connsiteY54" fmla="*/ 1764 h 551547"/>
                  <a:gd name="connsiteX55" fmla="*/ 246758 w 553405"/>
                  <a:gd name="connsiteY55" fmla="*/ 588 h 551547"/>
                  <a:gd name="connsiteX56" fmla="*/ 265539 w 553405"/>
                  <a:gd name="connsiteY56"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09197 w 553405"/>
                  <a:gd name="connsiteY52" fmla="*/ 3527 h 551547"/>
                  <a:gd name="connsiteX53" fmla="*/ 227977 w 553405"/>
                  <a:gd name="connsiteY53" fmla="*/ 1764 h 551547"/>
                  <a:gd name="connsiteX54" fmla="*/ 246758 w 553405"/>
                  <a:gd name="connsiteY54" fmla="*/ 588 h 551547"/>
                  <a:gd name="connsiteX55" fmla="*/ 265539 w 553405"/>
                  <a:gd name="connsiteY55"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27977 w 553405"/>
                  <a:gd name="connsiteY52" fmla="*/ 1764 h 551547"/>
                  <a:gd name="connsiteX53" fmla="*/ 246758 w 553405"/>
                  <a:gd name="connsiteY53" fmla="*/ 588 h 551547"/>
                  <a:gd name="connsiteX54" fmla="*/ 265539 w 553405"/>
                  <a:gd name="connsiteY54"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46758 w 553405"/>
                  <a:gd name="connsiteY52" fmla="*/ 588 h 551547"/>
                  <a:gd name="connsiteX53" fmla="*/ 265539 w 553405"/>
                  <a:gd name="connsiteY53"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65539 w 553405"/>
                  <a:gd name="connsiteY52" fmla="*/ 0 h 551547"/>
                  <a:gd name="connsiteX0" fmla="*/ 115293 w 553405"/>
                  <a:gd name="connsiteY0" fmla="*/ 20574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0" fmla="*/ 115293 w 553405"/>
                  <a:gd name="connsiteY0" fmla="*/ 19986 h 550959"/>
                  <a:gd name="connsiteX1" fmla="*/ 303622 w 553405"/>
                  <a:gd name="connsiteY1" fmla="*/ 0 h 550959"/>
                  <a:gd name="connsiteX2" fmla="*/ 322925 w 553405"/>
                  <a:gd name="connsiteY2" fmla="*/ 1176 h 550959"/>
                  <a:gd name="connsiteX3" fmla="*/ 344835 w 553405"/>
                  <a:gd name="connsiteY3" fmla="*/ 2939 h 550959"/>
                  <a:gd name="connsiteX4" fmla="*/ 366746 w 553405"/>
                  <a:gd name="connsiteY4" fmla="*/ 5290 h 550959"/>
                  <a:gd name="connsiteX5" fmla="*/ 388657 w 553405"/>
                  <a:gd name="connsiteY5" fmla="*/ 8230 h 550959"/>
                  <a:gd name="connsiteX6" fmla="*/ 411090 w 553405"/>
                  <a:gd name="connsiteY6" fmla="*/ 12932 h 550959"/>
                  <a:gd name="connsiteX7" fmla="*/ 432479 w 553405"/>
                  <a:gd name="connsiteY7" fmla="*/ 18223 h 550959"/>
                  <a:gd name="connsiteX8" fmla="*/ 453868 w 553405"/>
                  <a:gd name="connsiteY8" fmla="*/ 24101 h 550959"/>
                  <a:gd name="connsiteX9" fmla="*/ 474735 w 553405"/>
                  <a:gd name="connsiteY9" fmla="*/ 31743 h 550959"/>
                  <a:gd name="connsiteX10" fmla="*/ 495603 w 553405"/>
                  <a:gd name="connsiteY10" fmla="*/ 40560 h 550959"/>
                  <a:gd name="connsiteX11" fmla="*/ 499776 w 553405"/>
                  <a:gd name="connsiteY11" fmla="*/ 42912 h 550959"/>
                  <a:gd name="connsiteX12" fmla="*/ 502907 w 553405"/>
                  <a:gd name="connsiteY12" fmla="*/ 45851 h 550959"/>
                  <a:gd name="connsiteX13" fmla="*/ 503950 w 553405"/>
                  <a:gd name="connsiteY13" fmla="*/ 47614 h 550959"/>
                  <a:gd name="connsiteX14" fmla="*/ 504993 w 553405"/>
                  <a:gd name="connsiteY14" fmla="*/ 49378 h 550959"/>
                  <a:gd name="connsiteX15" fmla="*/ 505515 w 553405"/>
                  <a:gd name="connsiteY15" fmla="*/ 51729 h 550959"/>
                  <a:gd name="connsiteX16" fmla="*/ 506037 w 553405"/>
                  <a:gd name="connsiteY16" fmla="*/ 55256 h 550959"/>
                  <a:gd name="connsiteX17" fmla="*/ 520122 w 553405"/>
                  <a:gd name="connsiteY17" fmla="*/ 170471 h 550959"/>
                  <a:gd name="connsiteX18" fmla="*/ 526904 w 553405"/>
                  <a:gd name="connsiteY18" fmla="*/ 228079 h 550959"/>
                  <a:gd name="connsiteX19" fmla="*/ 534208 w 553405"/>
                  <a:gd name="connsiteY19" fmla="*/ 286274 h 550959"/>
                  <a:gd name="connsiteX20" fmla="*/ 540990 w 553405"/>
                  <a:gd name="connsiteY20" fmla="*/ 352699 h 550959"/>
                  <a:gd name="connsiteX21" fmla="*/ 544120 w 553405"/>
                  <a:gd name="connsiteY21" fmla="*/ 386793 h 550959"/>
                  <a:gd name="connsiteX22" fmla="*/ 546728 w 553405"/>
                  <a:gd name="connsiteY22" fmla="*/ 419712 h 550959"/>
                  <a:gd name="connsiteX23" fmla="*/ 548815 w 553405"/>
                  <a:gd name="connsiteY23" fmla="*/ 453806 h 550959"/>
                  <a:gd name="connsiteX24" fmla="*/ 550902 w 553405"/>
                  <a:gd name="connsiteY24" fmla="*/ 486725 h 550959"/>
                  <a:gd name="connsiteX25" fmla="*/ 552467 w 553405"/>
                  <a:gd name="connsiteY25" fmla="*/ 520819 h 550959"/>
                  <a:gd name="connsiteX26" fmla="*/ 553405 w 553405"/>
                  <a:gd name="connsiteY26" fmla="*/ 550959 h 550959"/>
                  <a:gd name="connsiteX27" fmla="*/ 0 w 553405"/>
                  <a:gd name="connsiteY27" fmla="*/ 550959 h 550959"/>
                  <a:gd name="connsiteX28" fmla="*/ 0 w 553405"/>
                  <a:gd name="connsiteY28" fmla="*/ 536690 h 550959"/>
                  <a:gd name="connsiteX29" fmla="*/ 1044 w 553405"/>
                  <a:gd name="connsiteY29" fmla="*/ 512589 h 550959"/>
                  <a:gd name="connsiteX30" fmla="*/ 2609 w 553405"/>
                  <a:gd name="connsiteY30" fmla="*/ 479083 h 550959"/>
                  <a:gd name="connsiteX31" fmla="*/ 5217 w 553405"/>
                  <a:gd name="connsiteY31" fmla="*/ 444988 h 550959"/>
                  <a:gd name="connsiteX32" fmla="*/ 10434 w 553405"/>
                  <a:gd name="connsiteY32" fmla="*/ 377976 h 550959"/>
                  <a:gd name="connsiteX33" fmla="*/ 17216 w 553405"/>
                  <a:gd name="connsiteY33" fmla="*/ 305672 h 550959"/>
                  <a:gd name="connsiteX34" fmla="*/ 25041 w 553405"/>
                  <a:gd name="connsiteY34" fmla="*/ 233369 h 550959"/>
                  <a:gd name="connsiteX35" fmla="*/ 34432 w 553405"/>
                  <a:gd name="connsiteY35" fmla="*/ 155188 h 550959"/>
                  <a:gd name="connsiteX36" fmla="*/ 44344 w 553405"/>
                  <a:gd name="connsiteY36" fmla="*/ 75830 h 550959"/>
                  <a:gd name="connsiteX37" fmla="*/ 45909 w 553405"/>
                  <a:gd name="connsiteY37" fmla="*/ 67601 h 550959"/>
                  <a:gd name="connsiteX38" fmla="*/ 46430 w 553405"/>
                  <a:gd name="connsiteY38" fmla="*/ 64074 h 550959"/>
                  <a:gd name="connsiteX39" fmla="*/ 46430 w 553405"/>
                  <a:gd name="connsiteY39" fmla="*/ 59959 h 550959"/>
                  <a:gd name="connsiteX40" fmla="*/ 46952 w 553405"/>
                  <a:gd name="connsiteY40" fmla="*/ 54668 h 550959"/>
                  <a:gd name="connsiteX41" fmla="*/ 47995 w 553405"/>
                  <a:gd name="connsiteY41" fmla="*/ 51141 h 550959"/>
                  <a:gd name="connsiteX42" fmla="*/ 49561 w 553405"/>
                  <a:gd name="connsiteY42" fmla="*/ 48202 h 550959"/>
                  <a:gd name="connsiteX43" fmla="*/ 51126 w 553405"/>
                  <a:gd name="connsiteY43" fmla="*/ 45851 h 550959"/>
                  <a:gd name="connsiteX44" fmla="*/ 53212 w 553405"/>
                  <a:gd name="connsiteY44" fmla="*/ 43499 h 550959"/>
                  <a:gd name="connsiteX45" fmla="*/ 55299 w 553405"/>
                  <a:gd name="connsiteY45" fmla="*/ 41736 h 550959"/>
                  <a:gd name="connsiteX46" fmla="*/ 61038 w 553405"/>
                  <a:gd name="connsiteY46" fmla="*/ 38797 h 550959"/>
                  <a:gd name="connsiteX47" fmla="*/ 74601 w 553405"/>
                  <a:gd name="connsiteY47" fmla="*/ 32919 h 550959"/>
                  <a:gd name="connsiteX48" fmla="*/ 88165 w 553405"/>
                  <a:gd name="connsiteY48" fmla="*/ 28216 h 550959"/>
                  <a:gd name="connsiteX49" fmla="*/ 101208 w 553405"/>
                  <a:gd name="connsiteY49" fmla="*/ 23513 h 550959"/>
                  <a:gd name="connsiteX50" fmla="*/ 115293 w 553405"/>
                  <a:gd name="connsiteY50" fmla="*/ 19986 h 550959"/>
                  <a:gd name="connsiteX0" fmla="*/ 115293 w 553405"/>
                  <a:gd name="connsiteY0" fmla="*/ 18810 h 549783"/>
                  <a:gd name="connsiteX1" fmla="*/ 322925 w 553405"/>
                  <a:gd name="connsiteY1" fmla="*/ 0 h 549783"/>
                  <a:gd name="connsiteX2" fmla="*/ 344835 w 553405"/>
                  <a:gd name="connsiteY2" fmla="*/ 1763 h 549783"/>
                  <a:gd name="connsiteX3" fmla="*/ 366746 w 553405"/>
                  <a:gd name="connsiteY3" fmla="*/ 4114 h 549783"/>
                  <a:gd name="connsiteX4" fmla="*/ 388657 w 553405"/>
                  <a:gd name="connsiteY4" fmla="*/ 7054 h 549783"/>
                  <a:gd name="connsiteX5" fmla="*/ 411090 w 553405"/>
                  <a:gd name="connsiteY5" fmla="*/ 11756 h 549783"/>
                  <a:gd name="connsiteX6" fmla="*/ 432479 w 553405"/>
                  <a:gd name="connsiteY6" fmla="*/ 17047 h 549783"/>
                  <a:gd name="connsiteX7" fmla="*/ 453868 w 553405"/>
                  <a:gd name="connsiteY7" fmla="*/ 22925 h 549783"/>
                  <a:gd name="connsiteX8" fmla="*/ 474735 w 553405"/>
                  <a:gd name="connsiteY8" fmla="*/ 30567 h 549783"/>
                  <a:gd name="connsiteX9" fmla="*/ 495603 w 553405"/>
                  <a:gd name="connsiteY9" fmla="*/ 39384 h 549783"/>
                  <a:gd name="connsiteX10" fmla="*/ 499776 w 553405"/>
                  <a:gd name="connsiteY10" fmla="*/ 41736 h 549783"/>
                  <a:gd name="connsiteX11" fmla="*/ 502907 w 553405"/>
                  <a:gd name="connsiteY11" fmla="*/ 44675 h 549783"/>
                  <a:gd name="connsiteX12" fmla="*/ 503950 w 553405"/>
                  <a:gd name="connsiteY12" fmla="*/ 46438 h 549783"/>
                  <a:gd name="connsiteX13" fmla="*/ 504993 w 553405"/>
                  <a:gd name="connsiteY13" fmla="*/ 48202 h 549783"/>
                  <a:gd name="connsiteX14" fmla="*/ 505515 w 553405"/>
                  <a:gd name="connsiteY14" fmla="*/ 50553 h 549783"/>
                  <a:gd name="connsiteX15" fmla="*/ 506037 w 553405"/>
                  <a:gd name="connsiteY15" fmla="*/ 54080 h 549783"/>
                  <a:gd name="connsiteX16" fmla="*/ 520122 w 553405"/>
                  <a:gd name="connsiteY16" fmla="*/ 169295 h 549783"/>
                  <a:gd name="connsiteX17" fmla="*/ 526904 w 553405"/>
                  <a:gd name="connsiteY17" fmla="*/ 226903 h 549783"/>
                  <a:gd name="connsiteX18" fmla="*/ 534208 w 553405"/>
                  <a:gd name="connsiteY18" fmla="*/ 285098 h 549783"/>
                  <a:gd name="connsiteX19" fmla="*/ 540990 w 553405"/>
                  <a:gd name="connsiteY19" fmla="*/ 351523 h 549783"/>
                  <a:gd name="connsiteX20" fmla="*/ 544120 w 553405"/>
                  <a:gd name="connsiteY20" fmla="*/ 385617 h 549783"/>
                  <a:gd name="connsiteX21" fmla="*/ 546728 w 553405"/>
                  <a:gd name="connsiteY21" fmla="*/ 418536 h 549783"/>
                  <a:gd name="connsiteX22" fmla="*/ 548815 w 553405"/>
                  <a:gd name="connsiteY22" fmla="*/ 452630 h 549783"/>
                  <a:gd name="connsiteX23" fmla="*/ 550902 w 553405"/>
                  <a:gd name="connsiteY23" fmla="*/ 485549 h 549783"/>
                  <a:gd name="connsiteX24" fmla="*/ 552467 w 553405"/>
                  <a:gd name="connsiteY24" fmla="*/ 519643 h 549783"/>
                  <a:gd name="connsiteX25" fmla="*/ 553405 w 553405"/>
                  <a:gd name="connsiteY25" fmla="*/ 549783 h 549783"/>
                  <a:gd name="connsiteX26" fmla="*/ 0 w 553405"/>
                  <a:gd name="connsiteY26" fmla="*/ 549783 h 549783"/>
                  <a:gd name="connsiteX27" fmla="*/ 0 w 553405"/>
                  <a:gd name="connsiteY27" fmla="*/ 535514 h 549783"/>
                  <a:gd name="connsiteX28" fmla="*/ 1044 w 553405"/>
                  <a:gd name="connsiteY28" fmla="*/ 511413 h 549783"/>
                  <a:gd name="connsiteX29" fmla="*/ 2609 w 553405"/>
                  <a:gd name="connsiteY29" fmla="*/ 477907 h 549783"/>
                  <a:gd name="connsiteX30" fmla="*/ 5217 w 553405"/>
                  <a:gd name="connsiteY30" fmla="*/ 443812 h 549783"/>
                  <a:gd name="connsiteX31" fmla="*/ 10434 w 553405"/>
                  <a:gd name="connsiteY31" fmla="*/ 376800 h 549783"/>
                  <a:gd name="connsiteX32" fmla="*/ 17216 w 553405"/>
                  <a:gd name="connsiteY32" fmla="*/ 304496 h 549783"/>
                  <a:gd name="connsiteX33" fmla="*/ 25041 w 553405"/>
                  <a:gd name="connsiteY33" fmla="*/ 232193 h 549783"/>
                  <a:gd name="connsiteX34" fmla="*/ 34432 w 553405"/>
                  <a:gd name="connsiteY34" fmla="*/ 154012 h 549783"/>
                  <a:gd name="connsiteX35" fmla="*/ 44344 w 553405"/>
                  <a:gd name="connsiteY35" fmla="*/ 74654 h 549783"/>
                  <a:gd name="connsiteX36" fmla="*/ 45909 w 553405"/>
                  <a:gd name="connsiteY36" fmla="*/ 66425 h 549783"/>
                  <a:gd name="connsiteX37" fmla="*/ 46430 w 553405"/>
                  <a:gd name="connsiteY37" fmla="*/ 62898 h 549783"/>
                  <a:gd name="connsiteX38" fmla="*/ 46430 w 553405"/>
                  <a:gd name="connsiteY38" fmla="*/ 58783 h 549783"/>
                  <a:gd name="connsiteX39" fmla="*/ 46952 w 553405"/>
                  <a:gd name="connsiteY39" fmla="*/ 53492 h 549783"/>
                  <a:gd name="connsiteX40" fmla="*/ 47995 w 553405"/>
                  <a:gd name="connsiteY40" fmla="*/ 49965 h 549783"/>
                  <a:gd name="connsiteX41" fmla="*/ 49561 w 553405"/>
                  <a:gd name="connsiteY41" fmla="*/ 47026 h 549783"/>
                  <a:gd name="connsiteX42" fmla="*/ 51126 w 553405"/>
                  <a:gd name="connsiteY42" fmla="*/ 44675 h 549783"/>
                  <a:gd name="connsiteX43" fmla="*/ 53212 w 553405"/>
                  <a:gd name="connsiteY43" fmla="*/ 42323 h 549783"/>
                  <a:gd name="connsiteX44" fmla="*/ 55299 w 553405"/>
                  <a:gd name="connsiteY44" fmla="*/ 40560 h 549783"/>
                  <a:gd name="connsiteX45" fmla="*/ 61038 w 553405"/>
                  <a:gd name="connsiteY45" fmla="*/ 37621 h 549783"/>
                  <a:gd name="connsiteX46" fmla="*/ 74601 w 553405"/>
                  <a:gd name="connsiteY46" fmla="*/ 31743 h 549783"/>
                  <a:gd name="connsiteX47" fmla="*/ 88165 w 553405"/>
                  <a:gd name="connsiteY47" fmla="*/ 27040 h 549783"/>
                  <a:gd name="connsiteX48" fmla="*/ 101208 w 553405"/>
                  <a:gd name="connsiteY48" fmla="*/ 22337 h 549783"/>
                  <a:gd name="connsiteX49" fmla="*/ 115293 w 553405"/>
                  <a:gd name="connsiteY49" fmla="*/ 18810 h 549783"/>
                  <a:gd name="connsiteX0" fmla="*/ 115293 w 553405"/>
                  <a:gd name="connsiteY0" fmla="*/ 17047 h 548020"/>
                  <a:gd name="connsiteX1" fmla="*/ 344835 w 553405"/>
                  <a:gd name="connsiteY1" fmla="*/ 0 h 548020"/>
                  <a:gd name="connsiteX2" fmla="*/ 366746 w 553405"/>
                  <a:gd name="connsiteY2" fmla="*/ 2351 h 548020"/>
                  <a:gd name="connsiteX3" fmla="*/ 388657 w 553405"/>
                  <a:gd name="connsiteY3" fmla="*/ 5291 h 548020"/>
                  <a:gd name="connsiteX4" fmla="*/ 411090 w 553405"/>
                  <a:gd name="connsiteY4" fmla="*/ 9993 h 548020"/>
                  <a:gd name="connsiteX5" fmla="*/ 432479 w 553405"/>
                  <a:gd name="connsiteY5" fmla="*/ 15284 h 548020"/>
                  <a:gd name="connsiteX6" fmla="*/ 453868 w 553405"/>
                  <a:gd name="connsiteY6" fmla="*/ 21162 h 548020"/>
                  <a:gd name="connsiteX7" fmla="*/ 474735 w 553405"/>
                  <a:gd name="connsiteY7" fmla="*/ 28804 h 548020"/>
                  <a:gd name="connsiteX8" fmla="*/ 495603 w 553405"/>
                  <a:gd name="connsiteY8" fmla="*/ 37621 h 548020"/>
                  <a:gd name="connsiteX9" fmla="*/ 499776 w 553405"/>
                  <a:gd name="connsiteY9" fmla="*/ 39973 h 548020"/>
                  <a:gd name="connsiteX10" fmla="*/ 502907 w 553405"/>
                  <a:gd name="connsiteY10" fmla="*/ 42912 h 548020"/>
                  <a:gd name="connsiteX11" fmla="*/ 503950 w 553405"/>
                  <a:gd name="connsiteY11" fmla="*/ 44675 h 548020"/>
                  <a:gd name="connsiteX12" fmla="*/ 504993 w 553405"/>
                  <a:gd name="connsiteY12" fmla="*/ 46439 h 548020"/>
                  <a:gd name="connsiteX13" fmla="*/ 505515 w 553405"/>
                  <a:gd name="connsiteY13" fmla="*/ 48790 h 548020"/>
                  <a:gd name="connsiteX14" fmla="*/ 506037 w 553405"/>
                  <a:gd name="connsiteY14" fmla="*/ 52317 h 548020"/>
                  <a:gd name="connsiteX15" fmla="*/ 520122 w 553405"/>
                  <a:gd name="connsiteY15" fmla="*/ 167532 h 548020"/>
                  <a:gd name="connsiteX16" fmla="*/ 526904 w 553405"/>
                  <a:gd name="connsiteY16" fmla="*/ 225140 h 548020"/>
                  <a:gd name="connsiteX17" fmla="*/ 534208 w 553405"/>
                  <a:gd name="connsiteY17" fmla="*/ 283335 h 548020"/>
                  <a:gd name="connsiteX18" fmla="*/ 540990 w 553405"/>
                  <a:gd name="connsiteY18" fmla="*/ 349760 h 548020"/>
                  <a:gd name="connsiteX19" fmla="*/ 544120 w 553405"/>
                  <a:gd name="connsiteY19" fmla="*/ 383854 h 548020"/>
                  <a:gd name="connsiteX20" fmla="*/ 546728 w 553405"/>
                  <a:gd name="connsiteY20" fmla="*/ 416773 h 548020"/>
                  <a:gd name="connsiteX21" fmla="*/ 548815 w 553405"/>
                  <a:gd name="connsiteY21" fmla="*/ 450867 h 548020"/>
                  <a:gd name="connsiteX22" fmla="*/ 550902 w 553405"/>
                  <a:gd name="connsiteY22" fmla="*/ 483786 h 548020"/>
                  <a:gd name="connsiteX23" fmla="*/ 552467 w 553405"/>
                  <a:gd name="connsiteY23" fmla="*/ 517880 h 548020"/>
                  <a:gd name="connsiteX24" fmla="*/ 553405 w 553405"/>
                  <a:gd name="connsiteY24" fmla="*/ 548020 h 548020"/>
                  <a:gd name="connsiteX25" fmla="*/ 0 w 553405"/>
                  <a:gd name="connsiteY25" fmla="*/ 548020 h 548020"/>
                  <a:gd name="connsiteX26" fmla="*/ 0 w 553405"/>
                  <a:gd name="connsiteY26" fmla="*/ 533751 h 548020"/>
                  <a:gd name="connsiteX27" fmla="*/ 1044 w 553405"/>
                  <a:gd name="connsiteY27" fmla="*/ 509650 h 548020"/>
                  <a:gd name="connsiteX28" fmla="*/ 2609 w 553405"/>
                  <a:gd name="connsiteY28" fmla="*/ 476144 h 548020"/>
                  <a:gd name="connsiteX29" fmla="*/ 5217 w 553405"/>
                  <a:gd name="connsiteY29" fmla="*/ 442049 h 548020"/>
                  <a:gd name="connsiteX30" fmla="*/ 10434 w 553405"/>
                  <a:gd name="connsiteY30" fmla="*/ 375037 h 548020"/>
                  <a:gd name="connsiteX31" fmla="*/ 17216 w 553405"/>
                  <a:gd name="connsiteY31" fmla="*/ 302733 h 548020"/>
                  <a:gd name="connsiteX32" fmla="*/ 25041 w 553405"/>
                  <a:gd name="connsiteY32" fmla="*/ 230430 h 548020"/>
                  <a:gd name="connsiteX33" fmla="*/ 34432 w 553405"/>
                  <a:gd name="connsiteY33" fmla="*/ 152249 h 548020"/>
                  <a:gd name="connsiteX34" fmla="*/ 44344 w 553405"/>
                  <a:gd name="connsiteY34" fmla="*/ 72891 h 548020"/>
                  <a:gd name="connsiteX35" fmla="*/ 45909 w 553405"/>
                  <a:gd name="connsiteY35" fmla="*/ 64662 h 548020"/>
                  <a:gd name="connsiteX36" fmla="*/ 46430 w 553405"/>
                  <a:gd name="connsiteY36" fmla="*/ 61135 h 548020"/>
                  <a:gd name="connsiteX37" fmla="*/ 46430 w 553405"/>
                  <a:gd name="connsiteY37" fmla="*/ 57020 h 548020"/>
                  <a:gd name="connsiteX38" fmla="*/ 46952 w 553405"/>
                  <a:gd name="connsiteY38" fmla="*/ 51729 h 548020"/>
                  <a:gd name="connsiteX39" fmla="*/ 47995 w 553405"/>
                  <a:gd name="connsiteY39" fmla="*/ 48202 h 548020"/>
                  <a:gd name="connsiteX40" fmla="*/ 49561 w 553405"/>
                  <a:gd name="connsiteY40" fmla="*/ 45263 h 548020"/>
                  <a:gd name="connsiteX41" fmla="*/ 51126 w 553405"/>
                  <a:gd name="connsiteY41" fmla="*/ 42912 h 548020"/>
                  <a:gd name="connsiteX42" fmla="*/ 53212 w 553405"/>
                  <a:gd name="connsiteY42" fmla="*/ 40560 h 548020"/>
                  <a:gd name="connsiteX43" fmla="*/ 55299 w 553405"/>
                  <a:gd name="connsiteY43" fmla="*/ 38797 h 548020"/>
                  <a:gd name="connsiteX44" fmla="*/ 61038 w 553405"/>
                  <a:gd name="connsiteY44" fmla="*/ 35858 h 548020"/>
                  <a:gd name="connsiteX45" fmla="*/ 74601 w 553405"/>
                  <a:gd name="connsiteY45" fmla="*/ 29980 h 548020"/>
                  <a:gd name="connsiteX46" fmla="*/ 88165 w 553405"/>
                  <a:gd name="connsiteY46" fmla="*/ 25277 h 548020"/>
                  <a:gd name="connsiteX47" fmla="*/ 101208 w 553405"/>
                  <a:gd name="connsiteY47" fmla="*/ 20574 h 548020"/>
                  <a:gd name="connsiteX48" fmla="*/ 115293 w 553405"/>
                  <a:gd name="connsiteY48" fmla="*/ 17047 h 548020"/>
                  <a:gd name="connsiteX0" fmla="*/ 115293 w 553405"/>
                  <a:gd name="connsiteY0" fmla="*/ 14696 h 545669"/>
                  <a:gd name="connsiteX1" fmla="*/ 366746 w 553405"/>
                  <a:gd name="connsiteY1" fmla="*/ 0 h 545669"/>
                  <a:gd name="connsiteX2" fmla="*/ 388657 w 553405"/>
                  <a:gd name="connsiteY2" fmla="*/ 2940 h 545669"/>
                  <a:gd name="connsiteX3" fmla="*/ 411090 w 553405"/>
                  <a:gd name="connsiteY3" fmla="*/ 7642 h 545669"/>
                  <a:gd name="connsiteX4" fmla="*/ 432479 w 553405"/>
                  <a:gd name="connsiteY4" fmla="*/ 12933 h 545669"/>
                  <a:gd name="connsiteX5" fmla="*/ 453868 w 553405"/>
                  <a:gd name="connsiteY5" fmla="*/ 18811 h 545669"/>
                  <a:gd name="connsiteX6" fmla="*/ 474735 w 553405"/>
                  <a:gd name="connsiteY6" fmla="*/ 26453 h 545669"/>
                  <a:gd name="connsiteX7" fmla="*/ 495603 w 553405"/>
                  <a:gd name="connsiteY7" fmla="*/ 35270 h 545669"/>
                  <a:gd name="connsiteX8" fmla="*/ 499776 w 553405"/>
                  <a:gd name="connsiteY8" fmla="*/ 37622 h 545669"/>
                  <a:gd name="connsiteX9" fmla="*/ 502907 w 553405"/>
                  <a:gd name="connsiteY9" fmla="*/ 40561 h 545669"/>
                  <a:gd name="connsiteX10" fmla="*/ 503950 w 553405"/>
                  <a:gd name="connsiteY10" fmla="*/ 42324 h 545669"/>
                  <a:gd name="connsiteX11" fmla="*/ 504993 w 553405"/>
                  <a:gd name="connsiteY11" fmla="*/ 44088 h 545669"/>
                  <a:gd name="connsiteX12" fmla="*/ 505515 w 553405"/>
                  <a:gd name="connsiteY12" fmla="*/ 46439 h 545669"/>
                  <a:gd name="connsiteX13" fmla="*/ 506037 w 553405"/>
                  <a:gd name="connsiteY13" fmla="*/ 49966 h 545669"/>
                  <a:gd name="connsiteX14" fmla="*/ 520122 w 553405"/>
                  <a:gd name="connsiteY14" fmla="*/ 165181 h 545669"/>
                  <a:gd name="connsiteX15" fmla="*/ 526904 w 553405"/>
                  <a:gd name="connsiteY15" fmla="*/ 222789 h 545669"/>
                  <a:gd name="connsiteX16" fmla="*/ 534208 w 553405"/>
                  <a:gd name="connsiteY16" fmla="*/ 280984 h 545669"/>
                  <a:gd name="connsiteX17" fmla="*/ 540990 w 553405"/>
                  <a:gd name="connsiteY17" fmla="*/ 347409 h 545669"/>
                  <a:gd name="connsiteX18" fmla="*/ 544120 w 553405"/>
                  <a:gd name="connsiteY18" fmla="*/ 381503 h 545669"/>
                  <a:gd name="connsiteX19" fmla="*/ 546728 w 553405"/>
                  <a:gd name="connsiteY19" fmla="*/ 414422 h 545669"/>
                  <a:gd name="connsiteX20" fmla="*/ 548815 w 553405"/>
                  <a:gd name="connsiteY20" fmla="*/ 448516 h 545669"/>
                  <a:gd name="connsiteX21" fmla="*/ 550902 w 553405"/>
                  <a:gd name="connsiteY21" fmla="*/ 481435 h 545669"/>
                  <a:gd name="connsiteX22" fmla="*/ 552467 w 553405"/>
                  <a:gd name="connsiteY22" fmla="*/ 515529 h 545669"/>
                  <a:gd name="connsiteX23" fmla="*/ 553405 w 553405"/>
                  <a:gd name="connsiteY23" fmla="*/ 545669 h 545669"/>
                  <a:gd name="connsiteX24" fmla="*/ 0 w 553405"/>
                  <a:gd name="connsiteY24" fmla="*/ 545669 h 545669"/>
                  <a:gd name="connsiteX25" fmla="*/ 0 w 553405"/>
                  <a:gd name="connsiteY25" fmla="*/ 531400 h 545669"/>
                  <a:gd name="connsiteX26" fmla="*/ 1044 w 553405"/>
                  <a:gd name="connsiteY26" fmla="*/ 507299 h 545669"/>
                  <a:gd name="connsiteX27" fmla="*/ 2609 w 553405"/>
                  <a:gd name="connsiteY27" fmla="*/ 473793 h 545669"/>
                  <a:gd name="connsiteX28" fmla="*/ 5217 w 553405"/>
                  <a:gd name="connsiteY28" fmla="*/ 439698 h 545669"/>
                  <a:gd name="connsiteX29" fmla="*/ 10434 w 553405"/>
                  <a:gd name="connsiteY29" fmla="*/ 372686 h 545669"/>
                  <a:gd name="connsiteX30" fmla="*/ 17216 w 553405"/>
                  <a:gd name="connsiteY30" fmla="*/ 300382 h 545669"/>
                  <a:gd name="connsiteX31" fmla="*/ 25041 w 553405"/>
                  <a:gd name="connsiteY31" fmla="*/ 228079 h 545669"/>
                  <a:gd name="connsiteX32" fmla="*/ 34432 w 553405"/>
                  <a:gd name="connsiteY32" fmla="*/ 149898 h 545669"/>
                  <a:gd name="connsiteX33" fmla="*/ 44344 w 553405"/>
                  <a:gd name="connsiteY33" fmla="*/ 70540 h 545669"/>
                  <a:gd name="connsiteX34" fmla="*/ 45909 w 553405"/>
                  <a:gd name="connsiteY34" fmla="*/ 62311 h 545669"/>
                  <a:gd name="connsiteX35" fmla="*/ 46430 w 553405"/>
                  <a:gd name="connsiteY35" fmla="*/ 58784 h 545669"/>
                  <a:gd name="connsiteX36" fmla="*/ 46430 w 553405"/>
                  <a:gd name="connsiteY36" fmla="*/ 54669 h 545669"/>
                  <a:gd name="connsiteX37" fmla="*/ 46952 w 553405"/>
                  <a:gd name="connsiteY37" fmla="*/ 49378 h 545669"/>
                  <a:gd name="connsiteX38" fmla="*/ 47995 w 553405"/>
                  <a:gd name="connsiteY38" fmla="*/ 45851 h 545669"/>
                  <a:gd name="connsiteX39" fmla="*/ 49561 w 553405"/>
                  <a:gd name="connsiteY39" fmla="*/ 42912 h 545669"/>
                  <a:gd name="connsiteX40" fmla="*/ 51126 w 553405"/>
                  <a:gd name="connsiteY40" fmla="*/ 40561 h 545669"/>
                  <a:gd name="connsiteX41" fmla="*/ 53212 w 553405"/>
                  <a:gd name="connsiteY41" fmla="*/ 38209 h 545669"/>
                  <a:gd name="connsiteX42" fmla="*/ 55299 w 553405"/>
                  <a:gd name="connsiteY42" fmla="*/ 36446 h 545669"/>
                  <a:gd name="connsiteX43" fmla="*/ 61038 w 553405"/>
                  <a:gd name="connsiteY43" fmla="*/ 33507 h 545669"/>
                  <a:gd name="connsiteX44" fmla="*/ 74601 w 553405"/>
                  <a:gd name="connsiteY44" fmla="*/ 27629 h 545669"/>
                  <a:gd name="connsiteX45" fmla="*/ 88165 w 553405"/>
                  <a:gd name="connsiteY45" fmla="*/ 22926 h 545669"/>
                  <a:gd name="connsiteX46" fmla="*/ 101208 w 553405"/>
                  <a:gd name="connsiteY46" fmla="*/ 18223 h 545669"/>
                  <a:gd name="connsiteX47" fmla="*/ 115293 w 553405"/>
                  <a:gd name="connsiteY47" fmla="*/ 14696 h 545669"/>
                  <a:gd name="connsiteX0" fmla="*/ 115293 w 553405"/>
                  <a:gd name="connsiteY0" fmla="*/ 11756 h 542729"/>
                  <a:gd name="connsiteX1" fmla="*/ 388657 w 553405"/>
                  <a:gd name="connsiteY1" fmla="*/ 0 h 542729"/>
                  <a:gd name="connsiteX2" fmla="*/ 411090 w 553405"/>
                  <a:gd name="connsiteY2" fmla="*/ 4702 h 542729"/>
                  <a:gd name="connsiteX3" fmla="*/ 432479 w 553405"/>
                  <a:gd name="connsiteY3" fmla="*/ 9993 h 542729"/>
                  <a:gd name="connsiteX4" fmla="*/ 453868 w 553405"/>
                  <a:gd name="connsiteY4" fmla="*/ 15871 h 542729"/>
                  <a:gd name="connsiteX5" fmla="*/ 474735 w 553405"/>
                  <a:gd name="connsiteY5" fmla="*/ 23513 h 542729"/>
                  <a:gd name="connsiteX6" fmla="*/ 495603 w 553405"/>
                  <a:gd name="connsiteY6" fmla="*/ 32330 h 542729"/>
                  <a:gd name="connsiteX7" fmla="*/ 499776 w 553405"/>
                  <a:gd name="connsiteY7" fmla="*/ 34682 h 542729"/>
                  <a:gd name="connsiteX8" fmla="*/ 502907 w 553405"/>
                  <a:gd name="connsiteY8" fmla="*/ 37621 h 542729"/>
                  <a:gd name="connsiteX9" fmla="*/ 503950 w 553405"/>
                  <a:gd name="connsiteY9" fmla="*/ 39384 h 542729"/>
                  <a:gd name="connsiteX10" fmla="*/ 504993 w 553405"/>
                  <a:gd name="connsiteY10" fmla="*/ 41148 h 542729"/>
                  <a:gd name="connsiteX11" fmla="*/ 505515 w 553405"/>
                  <a:gd name="connsiteY11" fmla="*/ 43499 h 542729"/>
                  <a:gd name="connsiteX12" fmla="*/ 506037 w 553405"/>
                  <a:gd name="connsiteY12" fmla="*/ 47026 h 542729"/>
                  <a:gd name="connsiteX13" fmla="*/ 520122 w 553405"/>
                  <a:gd name="connsiteY13" fmla="*/ 162241 h 542729"/>
                  <a:gd name="connsiteX14" fmla="*/ 526904 w 553405"/>
                  <a:gd name="connsiteY14" fmla="*/ 219849 h 542729"/>
                  <a:gd name="connsiteX15" fmla="*/ 534208 w 553405"/>
                  <a:gd name="connsiteY15" fmla="*/ 278044 h 542729"/>
                  <a:gd name="connsiteX16" fmla="*/ 540990 w 553405"/>
                  <a:gd name="connsiteY16" fmla="*/ 344469 h 542729"/>
                  <a:gd name="connsiteX17" fmla="*/ 544120 w 553405"/>
                  <a:gd name="connsiteY17" fmla="*/ 378563 h 542729"/>
                  <a:gd name="connsiteX18" fmla="*/ 546728 w 553405"/>
                  <a:gd name="connsiteY18" fmla="*/ 411482 h 542729"/>
                  <a:gd name="connsiteX19" fmla="*/ 548815 w 553405"/>
                  <a:gd name="connsiteY19" fmla="*/ 445576 h 542729"/>
                  <a:gd name="connsiteX20" fmla="*/ 550902 w 553405"/>
                  <a:gd name="connsiteY20" fmla="*/ 478495 h 542729"/>
                  <a:gd name="connsiteX21" fmla="*/ 552467 w 553405"/>
                  <a:gd name="connsiteY21" fmla="*/ 512589 h 542729"/>
                  <a:gd name="connsiteX22" fmla="*/ 553405 w 553405"/>
                  <a:gd name="connsiteY22" fmla="*/ 542729 h 542729"/>
                  <a:gd name="connsiteX23" fmla="*/ 0 w 553405"/>
                  <a:gd name="connsiteY23" fmla="*/ 542729 h 542729"/>
                  <a:gd name="connsiteX24" fmla="*/ 0 w 553405"/>
                  <a:gd name="connsiteY24" fmla="*/ 528460 h 542729"/>
                  <a:gd name="connsiteX25" fmla="*/ 1044 w 553405"/>
                  <a:gd name="connsiteY25" fmla="*/ 504359 h 542729"/>
                  <a:gd name="connsiteX26" fmla="*/ 2609 w 553405"/>
                  <a:gd name="connsiteY26" fmla="*/ 470853 h 542729"/>
                  <a:gd name="connsiteX27" fmla="*/ 5217 w 553405"/>
                  <a:gd name="connsiteY27" fmla="*/ 436758 h 542729"/>
                  <a:gd name="connsiteX28" fmla="*/ 10434 w 553405"/>
                  <a:gd name="connsiteY28" fmla="*/ 369746 h 542729"/>
                  <a:gd name="connsiteX29" fmla="*/ 17216 w 553405"/>
                  <a:gd name="connsiteY29" fmla="*/ 297442 h 542729"/>
                  <a:gd name="connsiteX30" fmla="*/ 25041 w 553405"/>
                  <a:gd name="connsiteY30" fmla="*/ 225139 h 542729"/>
                  <a:gd name="connsiteX31" fmla="*/ 34432 w 553405"/>
                  <a:gd name="connsiteY31" fmla="*/ 146958 h 542729"/>
                  <a:gd name="connsiteX32" fmla="*/ 44344 w 553405"/>
                  <a:gd name="connsiteY32" fmla="*/ 67600 h 542729"/>
                  <a:gd name="connsiteX33" fmla="*/ 45909 w 553405"/>
                  <a:gd name="connsiteY33" fmla="*/ 59371 h 542729"/>
                  <a:gd name="connsiteX34" fmla="*/ 46430 w 553405"/>
                  <a:gd name="connsiteY34" fmla="*/ 55844 h 542729"/>
                  <a:gd name="connsiteX35" fmla="*/ 46430 w 553405"/>
                  <a:gd name="connsiteY35" fmla="*/ 51729 h 542729"/>
                  <a:gd name="connsiteX36" fmla="*/ 46952 w 553405"/>
                  <a:gd name="connsiteY36" fmla="*/ 46438 h 542729"/>
                  <a:gd name="connsiteX37" fmla="*/ 47995 w 553405"/>
                  <a:gd name="connsiteY37" fmla="*/ 42911 h 542729"/>
                  <a:gd name="connsiteX38" fmla="*/ 49561 w 553405"/>
                  <a:gd name="connsiteY38" fmla="*/ 39972 h 542729"/>
                  <a:gd name="connsiteX39" fmla="*/ 51126 w 553405"/>
                  <a:gd name="connsiteY39" fmla="*/ 37621 h 542729"/>
                  <a:gd name="connsiteX40" fmla="*/ 53212 w 553405"/>
                  <a:gd name="connsiteY40" fmla="*/ 35269 h 542729"/>
                  <a:gd name="connsiteX41" fmla="*/ 55299 w 553405"/>
                  <a:gd name="connsiteY41" fmla="*/ 33506 h 542729"/>
                  <a:gd name="connsiteX42" fmla="*/ 61038 w 553405"/>
                  <a:gd name="connsiteY42" fmla="*/ 30567 h 542729"/>
                  <a:gd name="connsiteX43" fmla="*/ 74601 w 553405"/>
                  <a:gd name="connsiteY43" fmla="*/ 24689 h 542729"/>
                  <a:gd name="connsiteX44" fmla="*/ 88165 w 553405"/>
                  <a:gd name="connsiteY44" fmla="*/ 19986 h 542729"/>
                  <a:gd name="connsiteX45" fmla="*/ 101208 w 553405"/>
                  <a:gd name="connsiteY45" fmla="*/ 15283 h 542729"/>
                  <a:gd name="connsiteX46" fmla="*/ 115293 w 553405"/>
                  <a:gd name="connsiteY46" fmla="*/ 11756 h 542729"/>
                  <a:gd name="connsiteX0" fmla="*/ 115293 w 553405"/>
                  <a:gd name="connsiteY0" fmla="*/ 7054 h 538027"/>
                  <a:gd name="connsiteX1" fmla="*/ 411090 w 553405"/>
                  <a:gd name="connsiteY1" fmla="*/ 0 h 538027"/>
                  <a:gd name="connsiteX2" fmla="*/ 432479 w 553405"/>
                  <a:gd name="connsiteY2" fmla="*/ 5291 h 538027"/>
                  <a:gd name="connsiteX3" fmla="*/ 453868 w 553405"/>
                  <a:gd name="connsiteY3" fmla="*/ 11169 h 538027"/>
                  <a:gd name="connsiteX4" fmla="*/ 474735 w 553405"/>
                  <a:gd name="connsiteY4" fmla="*/ 18811 h 538027"/>
                  <a:gd name="connsiteX5" fmla="*/ 495603 w 553405"/>
                  <a:gd name="connsiteY5" fmla="*/ 27628 h 538027"/>
                  <a:gd name="connsiteX6" fmla="*/ 499776 w 553405"/>
                  <a:gd name="connsiteY6" fmla="*/ 29980 h 538027"/>
                  <a:gd name="connsiteX7" fmla="*/ 502907 w 553405"/>
                  <a:gd name="connsiteY7" fmla="*/ 32919 h 538027"/>
                  <a:gd name="connsiteX8" fmla="*/ 503950 w 553405"/>
                  <a:gd name="connsiteY8" fmla="*/ 34682 h 538027"/>
                  <a:gd name="connsiteX9" fmla="*/ 504993 w 553405"/>
                  <a:gd name="connsiteY9" fmla="*/ 36446 h 538027"/>
                  <a:gd name="connsiteX10" fmla="*/ 505515 w 553405"/>
                  <a:gd name="connsiteY10" fmla="*/ 38797 h 538027"/>
                  <a:gd name="connsiteX11" fmla="*/ 506037 w 553405"/>
                  <a:gd name="connsiteY11" fmla="*/ 42324 h 538027"/>
                  <a:gd name="connsiteX12" fmla="*/ 520122 w 553405"/>
                  <a:gd name="connsiteY12" fmla="*/ 157539 h 538027"/>
                  <a:gd name="connsiteX13" fmla="*/ 526904 w 553405"/>
                  <a:gd name="connsiteY13" fmla="*/ 215147 h 538027"/>
                  <a:gd name="connsiteX14" fmla="*/ 534208 w 553405"/>
                  <a:gd name="connsiteY14" fmla="*/ 273342 h 538027"/>
                  <a:gd name="connsiteX15" fmla="*/ 540990 w 553405"/>
                  <a:gd name="connsiteY15" fmla="*/ 339767 h 538027"/>
                  <a:gd name="connsiteX16" fmla="*/ 544120 w 553405"/>
                  <a:gd name="connsiteY16" fmla="*/ 373861 h 538027"/>
                  <a:gd name="connsiteX17" fmla="*/ 546728 w 553405"/>
                  <a:gd name="connsiteY17" fmla="*/ 406780 h 538027"/>
                  <a:gd name="connsiteX18" fmla="*/ 548815 w 553405"/>
                  <a:gd name="connsiteY18" fmla="*/ 440874 h 538027"/>
                  <a:gd name="connsiteX19" fmla="*/ 550902 w 553405"/>
                  <a:gd name="connsiteY19" fmla="*/ 473793 h 538027"/>
                  <a:gd name="connsiteX20" fmla="*/ 552467 w 553405"/>
                  <a:gd name="connsiteY20" fmla="*/ 507887 h 538027"/>
                  <a:gd name="connsiteX21" fmla="*/ 553405 w 553405"/>
                  <a:gd name="connsiteY21" fmla="*/ 538027 h 538027"/>
                  <a:gd name="connsiteX22" fmla="*/ 0 w 553405"/>
                  <a:gd name="connsiteY22" fmla="*/ 538027 h 538027"/>
                  <a:gd name="connsiteX23" fmla="*/ 0 w 553405"/>
                  <a:gd name="connsiteY23" fmla="*/ 523758 h 538027"/>
                  <a:gd name="connsiteX24" fmla="*/ 1044 w 553405"/>
                  <a:gd name="connsiteY24" fmla="*/ 499657 h 538027"/>
                  <a:gd name="connsiteX25" fmla="*/ 2609 w 553405"/>
                  <a:gd name="connsiteY25" fmla="*/ 466151 h 538027"/>
                  <a:gd name="connsiteX26" fmla="*/ 5217 w 553405"/>
                  <a:gd name="connsiteY26" fmla="*/ 432056 h 538027"/>
                  <a:gd name="connsiteX27" fmla="*/ 10434 w 553405"/>
                  <a:gd name="connsiteY27" fmla="*/ 365044 h 538027"/>
                  <a:gd name="connsiteX28" fmla="*/ 17216 w 553405"/>
                  <a:gd name="connsiteY28" fmla="*/ 292740 h 538027"/>
                  <a:gd name="connsiteX29" fmla="*/ 25041 w 553405"/>
                  <a:gd name="connsiteY29" fmla="*/ 220437 h 538027"/>
                  <a:gd name="connsiteX30" fmla="*/ 34432 w 553405"/>
                  <a:gd name="connsiteY30" fmla="*/ 142256 h 538027"/>
                  <a:gd name="connsiteX31" fmla="*/ 44344 w 553405"/>
                  <a:gd name="connsiteY31" fmla="*/ 62898 h 538027"/>
                  <a:gd name="connsiteX32" fmla="*/ 45909 w 553405"/>
                  <a:gd name="connsiteY32" fmla="*/ 54669 h 538027"/>
                  <a:gd name="connsiteX33" fmla="*/ 46430 w 553405"/>
                  <a:gd name="connsiteY33" fmla="*/ 51142 h 538027"/>
                  <a:gd name="connsiteX34" fmla="*/ 46430 w 553405"/>
                  <a:gd name="connsiteY34" fmla="*/ 47027 h 538027"/>
                  <a:gd name="connsiteX35" fmla="*/ 46952 w 553405"/>
                  <a:gd name="connsiteY35" fmla="*/ 41736 h 538027"/>
                  <a:gd name="connsiteX36" fmla="*/ 47995 w 553405"/>
                  <a:gd name="connsiteY36" fmla="*/ 38209 h 538027"/>
                  <a:gd name="connsiteX37" fmla="*/ 49561 w 553405"/>
                  <a:gd name="connsiteY37" fmla="*/ 35270 h 538027"/>
                  <a:gd name="connsiteX38" fmla="*/ 51126 w 553405"/>
                  <a:gd name="connsiteY38" fmla="*/ 32919 h 538027"/>
                  <a:gd name="connsiteX39" fmla="*/ 53212 w 553405"/>
                  <a:gd name="connsiteY39" fmla="*/ 30567 h 538027"/>
                  <a:gd name="connsiteX40" fmla="*/ 55299 w 553405"/>
                  <a:gd name="connsiteY40" fmla="*/ 28804 h 538027"/>
                  <a:gd name="connsiteX41" fmla="*/ 61038 w 553405"/>
                  <a:gd name="connsiteY41" fmla="*/ 25865 h 538027"/>
                  <a:gd name="connsiteX42" fmla="*/ 74601 w 553405"/>
                  <a:gd name="connsiteY42" fmla="*/ 19987 h 538027"/>
                  <a:gd name="connsiteX43" fmla="*/ 88165 w 553405"/>
                  <a:gd name="connsiteY43" fmla="*/ 15284 h 538027"/>
                  <a:gd name="connsiteX44" fmla="*/ 101208 w 553405"/>
                  <a:gd name="connsiteY44" fmla="*/ 10581 h 538027"/>
                  <a:gd name="connsiteX45" fmla="*/ 115293 w 553405"/>
                  <a:gd name="connsiteY45" fmla="*/ 7054 h 538027"/>
                  <a:gd name="connsiteX0" fmla="*/ 115293 w 553405"/>
                  <a:gd name="connsiteY0" fmla="*/ 1763 h 532736"/>
                  <a:gd name="connsiteX1" fmla="*/ 432479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5293 w 553405"/>
                  <a:gd name="connsiteY44" fmla="*/ 1763 h 532736"/>
                  <a:gd name="connsiteX0" fmla="*/ 115293 w 553405"/>
                  <a:gd name="connsiteY0" fmla="*/ 1763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5293 w 553405"/>
                  <a:gd name="connsiteY44" fmla="*/ 1763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75309 w 553405"/>
                  <a:gd name="connsiteY0" fmla="*/ 5208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75309 w 553405"/>
                  <a:gd name="connsiteY44" fmla="*/ 5208 h 532736"/>
                  <a:gd name="connsiteX0" fmla="*/ 175309 w 553405"/>
                  <a:gd name="connsiteY0" fmla="*/ 11938 h 539466"/>
                  <a:gd name="connsiteX1" fmla="*/ 382458 w 553405"/>
                  <a:gd name="connsiteY1" fmla="*/ 0 h 539466"/>
                  <a:gd name="connsiteX2" fmla="*/ 453868 w 553405"/>
                  <a:gd name="connsiteY2" fmla="*/ 12608 h 539466"/>
                  <a:gd name="connsiteX3" fmla="*/ 474735 w 553405"/>
                  <a:gd name="connsiteY3" fmla="*/ 20250 h 539466"/>
                  <a:gd name="connsiteX4" fmla="*/ 495603 w 553405"/>
                  <a:gd name="connsiteY4" fmla="*/ 29067 h 539466"/>
                  <a:gd name="connsiteX5" fmla="*/ 499776 w 553405"/>
                  <a:gd name="connsiteY5" fmla="*/ 31419 h 539466"/>
                  <a:gd name="connsiteX6" fmla="*/ 502907 w 553405"/>
                  <a:gd name="connsiteY6" fmla="*/ 34358 h 539466"/>
                  <a:gd name="connsiteX7" fmla="*/ 503950 w 553405"/>
                  <a:gd name="connsiteY7" fmla="*/ 36121 h 539466"/>
                  <a:gd name="connsiteX8" fmla="*/ 504993 w 553405"/>
                  <a:gd name="connsiteY8" fmla="*/ 37885 h 539466"/>
                  <a:gd name="connsiteX9" fmla="*/ 505515 w 553405"/>
                  <a:gd name="connsiteY9" fmla="*/ 40236 h 539466"/>
                  <a:gd name="connsiteX10" fmla="*/ 506037 w 553405"/>
                  <a:gd name="connsiteY10" fmla="*/ 43763 h 539466"/>
                  <a:gd name="connsiteX11" fmla="*/ 520122 w 553405"/>
                  <a:gd name="connsiteY11" fmla="*/ 158978 h 539466"/>
                  <a:gd name="connsiteX12" fmla="*/ 526904 w 553405"/>
                  <a:gd name="connsiteY12" fmla="*/ 216586 h 539466"/>
                  <a:gd name="connsiteX13" fmla="*/ 534208 w 553405"/>
                  <a:gd name="connsiteY13" fmla="*/ 274781 h 539466"/>
                  <a:gd name="connsiteX14" fmla="*/ 540990 w 553405"/>
                  <a:gd name="connsiteY14" fmla="*/ 341206 h 539466"/>
                  <a:gd name="connsiteX15" fmla="*/ 544120 w 553405"/>
                  <a:gd name="connsiteY15" fmla="*/ 375300 h 539466"/>
                  <a:gd name="connsiteX16" fmla="*/ 546728 w 553405"/>
                  <a:gd name="connsiteY16" fmla="*/ 408219 h 539466"/>
                  <a:gd name="connsiteX17" fmla="*/ 548815 w 553405"/>
                  <a:gd name="connsiteY17" fmla="*/ 442313 h 539466"/>
                  <a:gd name="connsiteX18" fmla="*/ 550902 w 553405"/>
                  <a:gd name="connsiteY18" fmla="*/ 475232 h 539466"/>
                  <a:gd name="connsiteX19" fmla="*/ 552467 w 553405"/>
                  <a:gd name="connsiteY19" fmla="*/ 509326 h 539466"/>
                  <a:gd name="connsiteX20" fmla="*/ 553405 w 553405"/>
                  <a:gd name="connsiteY20" fmla="*/ 539466 h 539466"/>
                  <a:gd name="connsiteX21" fmla="*/ 0 w 553405"/>
                  <a:gd name="connsiteY21" fmla="*/ 539466 h 539466"/>
                  <a:gd name="connsiteX22" fmla="*/ 0 w 553405"/>
                  <a:gd name="connsiteY22" fmla="*/ 525197 h 539466"/>
                  <a:gd name="connsiteX23" fmla="*/ 1044 w 553405"/>
                  <a:gd name="connsiteY23" fmla="*/ 501096 h 539466"/>
                  <a:gd name="connsiteX24" fmla="*/ 2609 w 553405"/>
                  <a:gd name="connsiteY24" fmla="*/ 467590 h 539466"/>
                  <a:gd name="connsiteX25" fmla="*/ 5217 w 553405"/>
                  <a:gd name="connsiteY25" fmla="*/ 433495 h 539466"/>
                  <a:gd name="connsiteX26" fmla="*/ 10434 w 553405"/>
                  <a:gd name="connsiteY26" fmla="*/ 366483 h 539466"/>
                  <a:gd name="connsiteX27" fmla="*/ 17216 w 553405"/>
                  <a:gd name="connsiteY27" fmla="*/ 294179 h 539466"/>
                  <a:gd name="connsiteX28" fmla="*/ 25041 w 553405"/>
                  <a:gd name="connsiteY28" fmla="*/ 221876 h 539466"/>
                  <a:gd name="connsiteX29" fmla="*/ 34432 w 553405"/>
                  <a:gd name="connsiteY29" fmla="*/ 143695 h 539466"/>
                  <a:gd name="connsiteX30" fmla="*/ 44344 w 553405"/>
                  <a:gd name="connsiteY30" fmla="*/ 64337 h 539466"/>
                  <a:gd name="connsiteX31" fmla="*/ 45909 w 553405"/>
                  <a:gd name="connsiteY31" fmla="*/ 56108 h 539466"/>
                  <a:gd name="connsiteX32" fmla="*/ 46430 w 553405"/>
                  <a:gd name="connsiteY32" fmla="*/ 52581 h 539466"/>
                  <a:gd name="connsiteX33" fmla="*/ 46430 w 553405"/>
                  <a:gd name="connsiteY33" fmla="*/ 48466 h 539466"/>
                  <a:gd name="connsiteX34" fmla="*/ 46952 w 553405"/>
                  <a:gd name="connsiteY34" fmla="*/ 43175 h 539466"/>
                  <a:gd name="connsiteX35" fmla="*/ 47995 w 553405"/>
                  <a:gd name="connsiteY35" fmla="*/ 39648 h 539466"/>
                  <a:gd name="connsiteX36" fmla="*/ 49561 w 553405"/>
                  <a:gd name="connsiteY36" fmla="*/ 36709 h 539466"/>
                  <a:gd name="connsiteX37" fmla="*/ 51126 w 553405"/>
                  <a:gd name="connsiteY37" fmla="*/ 34358 h 539466"/>
                  <a:gd name="connsiteX38" fmla="*/ 53212 w 553405"/>
                  <a:gd name="connsiteY38" fmla="*/ 32006 h 539466"/>
                  <a:gd name="connsiteX39" fmla="*/ 55299 w 553405"/>
                  <a:gd name="connsiteY39" fmla="*/ 30243 h 539466"/>
                  <a:gd name="connsiteX40" fmla="*/ 61038 w 553405"/>
                  <a:gd name="connsiteY40" fmla="*/ 27304 h 539466"/>
                  <a:gd name="connsiteX41" fmla="*/ 74601 w 553405"/>
                  <a:gd name="connsiteY41" fmla="*/ 21426 h 539466"/>
                  <a:gd name="connsiteX42" fmla="*/ 88165 w 553405"/>
                  <a:gd name="connsiteY42" fmla="*/ 16723 h 539466"/>
                  <a:gd name="connsiteX43" fmla="*/ 101208 w 553405"/>
                  <a:gd name="connsiteY43" fmla="*/ 12020 h 539466"/>
                  <a:gd name="connsiteX44" fmla="*/ 175309 w 553405"/>
                  <a:gd name="connsiteY44" fmla="*/ 11938 h 539466"/>
                  <a:gd name="connsiteX0" fmla="*/ 187497 w 553405"/>
                  <a:gd name="connsiteY0" fmla="*/ 0 h 539641"/>
                  <a:gd name="connsiteX1" fmla="*/ 382458 w 553405"/>
                  <a:gd name="connsiteY1" fmla="*/ 175 h 539641"/>
                  <a:gd name="connsiteX2" fmla="*/ 453868 w 553405"/>
                  <a:gd name="connsiteY2" fmla="*/ 12783 h 539641"/>
                  <a:gd name="connsiteX3" fmla="*/ 474735 w 553405"/>
                  <a:gd name="connsiteY3" fmla="*/ 20425 h 539641"/>
                  <a:gd name="connsiteX4" fmla="*/ 495603 w 553405"/>
                  <a:gd name="connsiteY4" fmla="*/ 29242 h 539641"/>
                  <a:gd name="connsiteX5" fmla="*/ 499776 w 553405"/>
                  <a:gd name="connsiteY5" fmla="*/ 31594 h 539641"/>
                  <a:gd name="connsiteX6" fmla="*/ 502907 w 553405"/>
                  <a:gd name="connsiteY6" fmla="*/ 34533 h 539641"/>
                  <a:gd name="connsiteX7" fmla="*/ 503950 w 553405"/>
                  <a:gd name="connsiteY7" fmla="*/ 36296 h 539641"/>
                  <a:gd name="connsiteX8" fmla="*/ 504993 w 553405"/>
                  <a:gd name="connsiteY8" fmla="*/ 38060 h 539641"/>
                  <a:gd name="connsiteX9" fmla="*/ 505515 w 553405"/>
                  <a:gd name="connsiteY9" fmla="*/ 40411 h 539641"/>
                  <a:gd name="connsiteX10" fmla="*/ 506037 w 553405"/>
                  <a:gd name="connsiteY10" fmla="*/ 43938 h 539641"/>
                  <a:gd name="connsiteX11" fmla="*/ 520122 w 553405"/>
                  <a:gd name="connsiteY11" fmla="*/ 159153 h 539641"/>
                  <a:gd name="connsiteX12" fmla="*/ 526904 w 553405"/>
                  <a:gd name="connsiteY12" fmla="*/ 216761 h 539641"/>
                  <a:gd name="connsiteX13" fmla="*/ 534208 w 553405"/>
                  <a:gd name="connsiteY13" fmla="*/ 274956 h 539641"/>
                  <a:gd name="connsiteX14" fmla="*/ 540990 w 553405"/>
                  <a:gd name="connsiteY14" fmla="*/ 341381 h 539641"/>
                  <a:gd name="connsiteX15" fmla="*/ 544120 w 553405"/>
                  <a:gd name="connsiteY15" fmla="*/ 375475 h 539641"/>
                  <a:gd name="connsiteX16" fmla="*/ 546728 w 553405"/>
                  <a:gd name="connsiteY16" fmla="*/ 408394 h 539641"/>
                  <a:gd name="connsiteX17" fmla="*/ 548815 w 553405"/>
                  <a:gd name="connsiteY17" fmla="*/ 442488 h 539641"/>
                  <a:gd name="connsiteX18" fmla="*/ 550902 w 553405"/>
                  <a:gd name="connsiteY18" fmla="*/ 475407 h 539641"/>
                  <a:gd name="connsiteX19" fmla="*/ 552467 w 553405"/>
                  <a:gd name="connsiteY19" fmla="*/ 509501 h 539641"/>
                  <a:gd name="connsiteX20" fmla="*/ 553405 w 553405"/>
                  <a:gd name="connsiteY20" fmla="*/ 539641 h 539641"/>
                  <a:gd name="connsiteX21" fmla="*/ 0 w 553405"/>
                  <a:gd name="connsiteY21" fmla="*/ 539641 h 539641"/>
                  <a:gd name="connsiteX22" fmla="*/ 0 w 553405"/>
                  <a:gd name="connsiteY22" fmla="*/ 525372 h 539641"/>
                  <a:gd name="connsiteX23" fmla="*/ 1044 w 553405"/>
                  <a:gd name="connsiteY23" fmla="*/ 501271 h 539641"/>
                  <a:gd name="connsiteX24" fmla="*/ 2609 w 553405"/>
                  <a:gd name="connsiteY24" fmla="*/ 467765 h 539641"/>
                  <a:gd name="connsiteX25" fmla="*/ 5217 w 553405"/>
                  <a:gd name="connsiteY25" fmla="*/ 433670 h 539641"/>
                  <a:gd name="connsiteX26" fmla="*/ 10434 w 553405"/>
                  <a:gd name="connsiteY26" fmla="*/ 366658 h 539641"/>
                  <a:gd name="connsiteX27" fmla="*/ 17216 w 553405"/>
                  <a:gd name="connsiteY27" fmla="*/ 294354 h 539641"/>
                  <a:gd name="connsiteX28" fmla="*/ 25041 w 553405"/>
                  <a:gd name="connsiteY28" fmla="*/ 222051 h 539641"/>
                  <a:gd name="connsiteX29" fmla="*/ 34432 w 553405"/>
                  <a:gd name="connsiteY29" fmla="*/ 143870 h 539641"/>
                  <a:gd name="connsiteX30" fmla="*/ 44344 w 553405"/>
                  <a:gd name="connsiteY30" fmla="*/ 64512 h 539641"/>
                  <a:gd name="connsiteX31" fmla="*/ 45909 w 553405"/>
                  <a:gd name="connsiteY31" fmla="*/ 56283 h 539641"/>
                  <a:gd name="connsiteX32" fmla="*/ 46430 w 553405"/>
                  <a:gd name="connsiteY32" fmla="*/ 52756 h 539641"/>
                  <a:gd name="connsiteX33" fmla="*/ 46430 w 553405"/>
                  <a:gd name="connsiteY33" fmla="*/ 48641 h 539641"/>
                  <a:gd name="connsiteX34" fmla="*/ 46952 w 553405"/>
                  <a:gd name="connsiteY34" fmla="*/ 43350 h 539641"/>
                  <a:gd name="connsiteX35" fmla="*/ 47995 w 553405"/>
                  <a:gd name="connsiteY35" fmla="*/ 39823 h 539641"/>
                  <a:gd name="connsiteX36" fmla="*/ 49561 w 553405"/>
                  <a:gd name="connsiteY36" fmla="*/ 36884 h 539641"/>
                  <a:gd name="connsiteX37" fmla="*/ 51126 w 553405"/>
                  <a:gd name="connsiteY37" fmla="*/ 34533 h 539641"/>
                  <a:gd name="connsiteX38" fmla="*/ 53212 w 553405"/>
                  <a:gd name="connsiteY38" fmla="*/ 32181 h 539641"/>
                  <a:gd name="connsiteX39" fmla="*/ 55299 w 553405"/>
                  <a:gd name="connsiteY39" fmla="*/ 30418 h 539641"/>
                  <a:gd name="connsiteX40" fmla="*/ 61038 w 553405"/>
                  <a:gd name="connsiteY40" fmla="*/ 27479 h 539641"/>
                  <a:gd name="connsiteX41" fmla="*/ 74601 w 553405"/>
                  <a:gd name="connsiteY41" fmla="*/ 21601 h 539641"/>
                  <a:gd name="connsiteX42" fmla="*/ 88165 w 553405"/>
                  <a:gd name="connsiteY42" fmla="*/ 16898 h 539641"/>
                  <a:gd name="connsiteX43" fmla="*/ 101208 w 553405"/>
                  <a:gd name="connsiteY43" fmla="*/ 12195 h 539641"/>
                  <a:gd name="connsiteX44" fmla="*/ 187497 w 553405"/>
                  <a:gd name="connsiteY44" fmla="*/ 0 h 539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53405" h="539641">
                    <a:moveTo>
                      <a:pt x="187497" y="0"/>
                    </a:moveTo>
                    <a:cubicBezTo>
                      <a:pt x="276619" y="37593"/>
                      <a:pt x="304938" y="37939"/>
                      <a:pt x="382458" y="175"/>
                    </a:cubicBezTo>
                    <a:lnTo>
                      <a:pt x="453868" y="12783"/>
                    </a:lnTo>
                    <a:lnTo>
                      <a:pt x="474735" y="20425"/>
                    </a:lnTo>
                    <a:lnTo>
                      <a:pt x="495603" y="29242"/>
                    </a:lnTo>
                    <a:lnTo>
                      <a:pt x="499776" y="31594"/>
                    </a:lnTo>
                    <a:lnTo>
                      <a:pt x="502907" y="34533"/>
                    </a:lnTo>
                    <a:lnTo>
                      <a:pt x="503950" y="36296"/>
                    </a:lnTo>
                    <a:lnTo>
                      <a:pt x="504993" y="38060"/>
                    </a:lnTo>
                    <a:lnTo>
                      <a:pt x="505515" y="40411"/>
                    </a:lnTo>
                    <a:lnTo>
                      <a:pt x="506037" y="43938"/>
                    </a:lnTo>
                    <a:lnTo>
                      <a:pt x="520122" y="159153"/>
                    </a:lnTo>
                    <a:lnTo>
                      <a:pt x="526904" y="216761"/>
                    </a:lnTo>
                    <a:lnTo>
                      <a:pt x="534208" y="274956"/>
                    </a:lnTo>
                    <a:lnTo>
                      <a:pt x="540990" y="341381"/>
                    </a:lnTo>
                    <a:lnTo>
                      <a:pt x="544120" y="375475"/>
                    </a:lnTo>
                    <a:lnTo>
                      <a:pt x="546728" y="408394"/>
                    </a:lnTo>
                    <a:lnTo>
                      <a:pt x="548815" y="442488"/>
                    </a:lnTo>
                    <a:lnTo>
                      <a:pt x="550902" y="475407"/>
                    </a:lnTo>
                    <a:cubicBezTo>
                      <a:pt x="551424" y="486772"/>
                      <a:pt x="551945" y="498136"/>
                      <a:pt x="552467" y="509501"/>
                    </a:cubicBezTo>
                    <a:cubicBezTo>
                      <a:pt x="552780" y="519548"/>
                      <a:pt x="553092" y="529594"/>
                      <a:pt x="553405" y="539641"/>
                    </a:cubicBezTo>
                    <a:lnTo>
                      <a:pt x="0" y="539641"/>
                    </a:lnTo>
                    <a:lnTo>
                      <a:pt x="0" y="525372"/>
                    </a:lnTo>
                    <a:lnTo>
                      <a:pt x="1044" y="501271"/>
                    </a:lnTo>
                    <a:cubicBezTo>
                      <a:pt x="1566" y="490102"/>
                      <a:pt x="2087" y="478934"/>
                      <a:pt x="2609" y="467765"/>
                    </a:cubicBezTo>
                    <a:lnTo>
                      <a:pt x="5217" y="433670"/>
                    </a:lnTo>
                    <a:lnTo>
                      <a:pt x="10434" y="366658"/>
                    </a:lnTo>
                    <a:lnTo>
                      <a:pt x="17216" y="294354"/>
                    </a:lnTo>
                    <a:lnTo>
                      <a:pt x="25041" y="222051"/>
                    </a:lnTo>
                    <a:lnTo>
                      <a:pt x="34432" y="143870"/>
                    </a:lnTo>
                    <a:lnTo>
                      <a:pt x="44344" y="64512"/>
                    </a:lnTo>
                    <a:lnTo>
                      <a:pt x="45909" y="56283"/>
                    </a:lnTo>
                    <a:cubicBezTo>
                      <a:pt x="46083" y="55107"/>
                      <a:pt x="46256" y="53932"/>
                      <a:pt x="46430" y="52756"/>
                    </a:cubicBezTo>
                    <a:lnTo>
                      <a:pt x="46430" y="48641"/>
                    </a:lnTo>
                    <a:lnTo>
                      <a:pt x="46952" y="43350"/>
                    </a:lnTo>
                    <a:lnTo>
                      <a:pt x="47995" y="39823"/>
                    </a:lnTo>
                    <a:lnTo>
                      <a:pt x="49561" y="36884"/>
                    </a:lnTo>
                    <a:lnTo>
                      <a:pt x="51126" y="34533"/>
                    </a:lnTo>
                    <a:lnTo>
                      <a:pt x="53212" y="32181"/>
                    </a:lnTo>
                    <a:lnTo>
                      <a:pt x="55299" y="30418"/>
                    </a:lnTo>
                    <a:lnTo>
                      <a:pt x="61038" y="27479"/>
                    </a:lnTo>
                    <a:lnTo>
                      <a:pt x="74601" y="21601"/>
                    </a:lnTo>
                    <a:lnTo>
                      <a:pt x="88165" y="16898"/>
                    </a:lnTo>
                    <a:lnTo>
                      <a:pt x="101208" y="12195"/>
                    </a:lnTo>
                    <a:lnTo>
                      <a:pt x="187497" y="0"/>
                    </a:lnTo>
                    <a:close/>
                  </a:path>
                </a:pathLst>
              </a:custGeom>
              <a:solidFill>
                <a:srgbClr val="FFFFFF">
                  <a:lumMod val="85000"/>
                </a:srgbClr>
              </a:solidFill>
              <a:ln w="6350">
                <a:solidFill>
                  <a:srgbClr val="FFFFFF">
                    <a:lumMod val="65000"/>
                  </a:srgbClr>
                </a:solidFill>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Arial"/>
                  <a:ea typeface=""/>
                  <a:cs typeface=""/>
                </a:endParaRPr>
              </a:p>
            </p:txBody>
          </p:sp>
          <p:sp>
            <p:nvSpPr>
              <p:cNvPr id="80" name="Rectangle: Rounded Corners 119"/>
              <p:cNvSpPr/>
              <p:nvPr/>
            </p:nvSpPr>
            <p:spPr>
              <a:xfrm>
                <a:off x="3823827" y="4269274"/>
                <a:ext cx="62293" cy="145564"/>
              </a:xfrm>
              <a:prstGeom prst="roundRect">
                <a:avLst>
                  <a:gd name="adj" fmla="val 50000"/>
                </a:avLst>
              </a:prstGeom>
              <a:solidFill>
                <a:srgbClr val="FFFFFF">
                  <a:lumMod val="75000"/>
                </a:srgbClr>
              </a:solidFill>
              <a:ln w="6350">
                <a:solidFill>
                  <a:srgbClr val="FFFFFF">
                    <a:lumMod val="65000"/>
                  </a:srgbClr>
                </a:solidFill>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Arial"/>
                  <a:ea typeface=""/>
                  <a:cs typeface=""/>
                </a:endParaRPr>
              </a:p>
            </p:txBody>
          </p:sp>
          <p:sp>
            <p:nvSpPr>
              <p:cNvPr id="81" name="Rectangle: Rounded Corners 120"/>
              <p:cNvSpPr/>
              <p:nvPr/>
            </p:nvSpPr>
            <p:spPr>
              <a:xfrm>
                <a:off x="3930983" y="4269274"/>
                <a:ext cx="62293" cy="145564"/>
              </a:xfrm>
              <a:prstGeom prst="roundRect">
                <a:avLst>
                  <a:gd name="adj" fmla="val 50000"/>
                </a:avLst>
              </a:prstGeom>
              <a:solidFill>
                <a:srgbClr val="FFFFFF">
                  <a:lumMod val="75000"/>
                </a:srgbClr>
              </a:solidFill>
              <a:ln w="6350">
                <a:solidFill>
                  <a:srgbClr val="FFFFFF">
                    <a:lumMod val="65000"/>
                  </a:srgbClr>
                </a:solidFill>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Arial"/>
                  <a:ea typeface=""/>
                  <a:cs typeface=""/>
                </a:endParaRPr>
              </a:p>
            </p:txBody>
          </p:sp>
          <p:sp>
            <p:nvSpPr>
              <p:cNvPr id="82" name="Freeform: Shape 121"/>
              <p:cNvSpPr/>
              <p:nvPr/>
            </p:nvSpPr>
            <p:spPr>
              <a:xfrm>
                <a:off x="3742840" y="4062427"/>
                <a:ext cx="323389" cy="409033"/>
              </a:xfrm>
              <a:custGeom>
                <a:avLst/>
                <a:gdLst>
                  <a:gd name="connsiteX0" fmla="*/ 54634 w 323389"/>
                  <a:gd name="connsiteY0" fmla="*/ 197003 h 409033"/>
                  <a:gd name="connsiteX1" fmla="*/ 275793 w 323389"/>
                  <a:gd name="connsiteY1" fmla="*/ 197003 h 409033"/>
                  <a:gd name="connsiteX2" fmla="*/ 295281 w 323389"/>
                  <a:gd name="connsiteY2" fmla="*/ 216491 h 409033"/>
                  <a:gd name="connsiteX3" fmla="*/ 275793 w 323389"/>
                  <a:gd name="connsiteY3" fmla="*/ 235979 h 409033"/>
                  <a:gd name="connsiteX4" fmla="*/ 178192 w 323389"/>
                  <a:gd name="connsiteY4" fmla="*/ 235979 h 409033"/>
                  <a:gd name="connsiteX5" fmla="*/ 178813 w 323389"/>
                  <a:gd name="connsiteY5" fmla="*/ 236600 h 409033"/>
                  <a:gd name="connsiteX6" fmla="*/ 178813 w 323389"/>
                  <a:gd name="connsiteY6" fmla="*/ 312624 h 409033"/>
                  <a:gd name="connsiteX7" fmla="*/ 317240 w 323389"/>
                  <a:gd name="connsiteY7" fmla="*/ 363485 h 409033"/>
                  <a:gd name="connsiteX8" fmla="*/ 322811 w 323389"/>
                  <a:gd name="connsiteY8" fmla="*/ 375529 h 409033"/>
                  <a:gd name="connsiteX9" fmla="*/ 319701 w 323389"/>
                  <a:gd name="connsiteY9" fmla="*/ 383994 h 409033"/>
                  <a:gd name="connsiteX10" fmla="*/ 319426 w 323389"/>
                  <a:gd name="connsiteY10" fmla="*/ 384121 h 409033"/>
                  <a:gd name="connsiteX11" fmla="*/ 321494 w 323389"/>
                  <a:gd name="connsiteY11" fmla="*/ 389114 h 409033"/>
                  <a:gd name="connsiteX12" fmla="*/ 301575 w 323389"/>
                  <a:gd name="connsiteY12" fmla="*/ 409033 h 409033"/>
                  <a:gd name="connsiteX13" fmla="*/ 281656 w 323389"/>
                  <a:gd name="connsiteY13" fmla="*/ 389114 h 409033"/>
                  <a:gd name="connsiteX14" fmla="*/ 284929 w 323389"/>
                  <a:gd name="connsiteY14" fmla="*/ 381214 h 409033"/>
                  <a:gd name="connsiteX15" fmla="*/ 163366 w 323389"/>
                  <a:gd name="connsiteY15" fmla="*/ 336548 h 409033"/>
                  <a:gd name="connsiteX16" fmla="*/ 37257 w 323389"/>
                  <a:gd name="connsiteY16" fmla="*/ 382884 h 409033"/>
                  <a:gd name="connsiteX17" fmla="*/ 39838 w 323389"/>
                  <a:gd name="connsiteY17" fmla="*/ 389114 h 409033"/>
                  <a:gd name="connsiteX18" fmla="*/ 19919 w 323389"/>
                  <a:gd name="connsiteY18" fmla="*/ 409033 h 409033"/>
                  <a:gd name="connsiteX19" fmla="*/ 0 w 323389"/>
                  <a:gd name="connsiteY19" fmla="*/ 389114 h 409033"/>
                  <a:gd name="connsiteX20" fmla="*/ 4723 w 323389"/>
                  <a:gd name="connsiteY20" fmla="*/ 377713 h 409033"/>
                  <a:gd name="connsiteX21" fmla="*/ 3920 w 323389"/>
                  <a:gd name="connsiteY21" fmla="*/ 375529 h 409033"/>
                  <a:gd name="connsiteX22" fmla="*/ 9492 w 323389"/>
                  <a:gd name="connsiteY22" fmla="*/ 363485 h 409033"/>
                  <a:gd name="connsiteX23" fmla="*/ 151615 w 323389"/>
                  <a:gd name="connsiteY23" fmla="*/ 311265 h 409033"/>
                  <a:gd name="connsiteX24" fmla="*/ 151615 w 323389"/>
                  <a:gd name="connsiteY24" fmla="*/ 236600 h 409033"/>
                  <a:gd name="connsiteX25" fmla="*/ 152236 w 323389"/>
                  <a:gd name="connsiteY25" fmla="*/ 235979 h 409033"/>
                  <a:gd name="connsiteX26" fmla="*/ 54634 w 323389"/>
                  <a:gd name="connsiteY26" fmla="*/ 235979 h 409033"/>
                  <a:gd name="connsiteX27" fmla="*/ 35146 w 323389"/>
                  <a:gd name="connsiteY27" fmla="*/ 216491 h 409033"/>
                  <a:gd name="connsiteX28" fmla="*/ 54634 w 323389"/>
                  <a:gd name="connsiteY28" fmla="*/ 197003 h 409033"/>
                  <a:gd name="connsiteX29" fmla="*/ 161115 w 323389"/>
                  <a:gd name="connsiteY29" fmla="*/ 3 h 409033"/>
                  <a:gd name="connsiteX30" fmla="*/ 251492 w 323389"/>
                  <a:gd name="connsiteY30" fmla="*/ 46977 h 409033"/>
                  <a:gd name="connsiteX31" fmla="*/ 278829 w 323389"/>
                  <a:gd name="connsiteY31" fmla="*/ 176649 h 409033"/>
                  <a:gd name="connsiteX32" fmla="*/ 270084 w 323389"/>
                  <a:gd name="connsiteY32" fmla="*/ 190251 h 409033"/>
                  <a:gd name="connsiteX33" fmla="*/ 55357 w 323389"/>
                  <a:gd name="connsiteY33" fmla="*/ 190737 h 409033"/>
                  <a:gd name="connsiteX34" fmla="*/ 45155 w 323389"/>
                  <a:gd name="connsiteY34" fmla="*/ 180535 h 409033"/>
                  <a:gd name="connsiteX35" fmla="*/ 70188 w 323389"/>
                  <a:gd name="connsiteY35" fmla="*/ 46977 h 409033"/>
                  <a:gd name="connsiteX36" fmla="*/ 161115 w 323389"/>
                  <a:gd name="connsiteY36" fmla="*/ 3 h 40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23389" h="409033">
                    <a:moveTo>
                      <a:pt x="54634" y="197003"/>
                    </a:moveTo>
                    <a:lnTo>
                      <a:pt x="275793" y="197003"/>
                    </a:lnTo>
                    <a:cubicBezTo>
                      <a:pt x="286556" y="197003"/>
                      <a:pt x="295281" y="205728"/>
                      <a:pt x="295281" y="216491"/>
                    </a:cubicBezTo>
                    <a:cubicBezTo>
                      <a:pt x="295281" y="227254"/>
                      <a:pt x="286556" y="235979"/>
                      <a:pt x="275793" y="235979"/>
                    </a:cubicBezTo>
                    <a:lnTo>
                      <a:pt x="178192" y="235979"/>
                    </a:lnTo>
                    <a:lnTo>
                      <a:pt x="178813" y="236600"/>
                    </a:lnTo>
                    <a:lnTo>
                      <a:pt x="178813" y="312624"/>
                    </a:lnTo>
                    <a:lnTo>
                      <a:pt x="317240" y="363485"/>
                    </a:lnTo>
                    <a:cubicBezTo>
                      <a:pt x="322104" y="365272"/>
                      <a:pt x="324598" y="370665"/>
                      <a:pt x="322811" y="375529"/>
                    </a:cubicBezTo>
                    <a:lnTo>
                      <a:pt x="319701" y="383994"/>
                    </a:lnTo>
                    <a:lnTo>
                      <a:pt x="319426" y="384121"/>
                    </a:lnTo>
                    <a:lnTo>
                      <a:pt x="321494" y="389114"/>
                    </a:lnTo>
                    <a:cubicBezTo>
                      <a:pt x="321494" y="400115"/>
                      <a:pt x="312576" y="409033"/>
                      <a:pt x="301575" y="409033"/>
                    </a:cubicBezTo>
                    <a:cubicBezTo>
                      <a:pt x="290574" y="409033"/>
                      <a:pt x="281656" y="400115"/>
                      <a:pt x="281656" y="389114"/>
                    </a:cubicBezTo>
                    <a:lnTo>
                      <a:pt x="284929" y="381214"/>
                    </a:lnTo>
                    <a:lnTo>
                      <a:pt x="163366" y="336548"/>
                    </a:lnTo>
                    <a:lnTo>
                      <a:pt x="37257" y="382884"/>
                    </a:lnTo>
                    <a:lnTo>
                      <a:pt x="39838" y="389114"/>
                    </a:lnTo>
                    <a:cubicBezTo>
                      <a:pt x="39838" y="400115"/>
                      <a:pt x="30920" y="409033"/>
                      <a:pt x="19919" y="409033"/>
                    </a:cubicBezTo>
                    <a:cubicBezTo>
                      <a:pt x="8918" y="409033"/>
                      <a:pt x="0" y="400115"/>
                      <a:pt x="0" y="389114"/>
                    </a:cubicBezTo>
                    <a:lnTo>
                      <a:pt x="4723" y="377713"/>
                    </a:lnTo>
                    <a:lnTo>
                      <a:pt x="3920" y="375529"/>
                    </a:lnTo>
                    <a:cubicBezTo>
                      <a:pt x="2133" y="370665"/>
                      <a:pt x="4627" y="365272"/>
                      <a:pt x="9492" y="363485"/>
                    </a:cubicBezTo>
                    <a:lnTo>
                      <a:pt x="151615" y="311265"/>
                    </a:lnTo>
                    <a:lnTo>
                      <a:pt x="151615" y="236600"/>
                    </a:lnTo>
                    <a:lnTo>
                      <a:pt x="152236" y="235979"/>
                    </a:lnTo>
                    <a:lnTo>
                      <a:pt x="54634" y="235979"/>
                    </a:lnTo>
                    <a:cubicBezTo>
                      <a:pt x="43871" y="235979"/>
                      <a:pt x="35146" y="227254"/>
                      <a:pt x="35146" y="216491"/>
                    </a:cubicBezTo>
                    <a:cubicBezTo>
                      <a:pt x="35146" y="205728"/>
                      <a:pt x="43871" y="197003"/>
                      <a:pt x="54634" y="197003"/>
                    </a:cubicBezTo>
                    <a:close/>
                    <a:moveTo>
                      <a:pt x="161115" y="3"/>
                    </a:moveTo>
                    <a:cubicBezTo>
                      <a:pt x="198297" y="-283"/>
                      <a:pt x="235387" y="15089"/>
                      <a:pt x="251492" y="46977"/>
                    </a:cubicBezTo>
                    <a:lnTo>
                      <a:pt x="278829" y="176649"/>
                    </a:lnTo>
                    <a:cubicBezTo>
                      <a:pt x="279800" y="182640"/>
                      <a:pt x="278343" y="189117"/>
                      <a:pt x="270084" y="190251"/>
                    </a:cubicBezTo>
                    <a:lnTo>
                      <a:pt x="55357" y="190737"/>
                    </a:lnTo>
                    <a:cubicBezTo>
                      <a:pt x="49527" y="189279"/>
                      <a:pt x="44669" y="190737"/>
                      <a:pt x="45155" y="180535"/>
                    </a:cubicBezTo>
                    <a:lnTo>
                      <a:pt x="70188" y="46977"/>
                    </a:lnTo>
                    <a:cubicBezTo>
                      <a:pt x="86660" y="16233"/>
                      <a:pt x="123934" y="289"/>
                      <a:pt x="161115" y="3"/>
                    </a:cubicBezTo>
                    <a:close/>
                  </a:path>
                </a:pathLst>
              </a:cu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grpSp>
        <p:grpSp>
          <p:nvGrpSpPr>
            <p:cNvPr id="358" name="Group 357"/>
            <p:cNvGrpSpPr/>
            <p:nvPr/>
          </p:nvGrpSpPr>
          <p:grpSpPr>
            <a:xfrm>
              <a:off x="7170385" y="3443285"/>
              <a:ext cx="735112" cy="1324330"/>
              <a:chOff x="3742840" y="3888864"/>
              <a:chExt cx="323389" cy="582596"/>
            </a:xfrm>
          </p:grpSpPr>
          <p:sp>
            <p:nvSpPr>
              <p:cNvPr id="359" name="Oval 358"/>
              <p:cNvSpPr/>
              <p:nvPr/>
            </p:nvSpPr>
            <p:spPr bwMode="auto">
              <a:xfrm>
                <a:off x="3845654" y="3888864"/>
                <a:ext cx="125052" cy="137638"/>
              </a:xfrm>
              <a:prstGeom prst="ellipse">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360" name="Rounded Rectangle 937"/>
              <p:cNvSpPr/>
              <p:nvPr/>
            </p:nvSpPr>
            <p:spPr bwMode="auto">
              <a:xfrm>
                <a:off x="3776667" y="4041211"/>
                <a:ext cx="254522" cy="116089"/>
              </a:xfrm>
              <a:custGeom>
                <a:avLst/>
                <a:gdLst>
                  <a:gd name="connsiteX0" fmla="*/ 0 w 2324706"/>
                  <a:gd name="connsiteY0" fmla="*/ 160805 h 964811"/>
                  <a:gd name="connsiteX1" fmla="*/ 160805 w 2324706"/>
                  <a:gd name="connsiteY1" fmla="*/ 0 h 964811"/>
                  <a:gd name="connsiteX2" fmla="*/ 2163901 w 2324706"/>
                  <a:gd name="connsiteY2" fmla="*/ 0 h 964811"/>
                  <a:gd name="connsiteX3" fmla="*/ 2324706 w 2324706"/>
                  <a:gd name="connsiteY3" fmla="*/ 16080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160805 w 2324706"/>
                  <a:gd name="connsiteY1" fmla="*/ 0 h 964811"/>
                  <a:gd name="connsiteX2" fmla="*/ 2102941 w 2324706"/>
                  <a:gd name="connsiteY2" fmla="*/ 0 h 964811"/>
                  <a:gd name="connsiteX3" fmla="*/ 2324706 w 2324706"/>
                  <a:gd name="connsiteY3" fmla="*/ 16080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160805 w 2324706"/>
                  <a:gd name="connsiteY1" fmla="*/ 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252245 w 2324706"/>
                  <a:gd name="connsiteY1" fmla="*/ 762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91440 w 2324706"/>
                  <a:gd name="connsiteY0" fmla="*/ 168425 h 964811"/>
                  <a:gd name="connsiteX1" fmla="*/ 252245 w 2324706"/>
                  <a:gd name="connsiteY1" fmla="*/ 762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91440 w 2324706"/>
                  <a:gd name="connsiteY8" fmla="*/ 168425 h 964811"/>
                  <a:gd name="connsiteX0" fmla="*/ 129540 w 2362806"/>
                  <a:gd name="connsiteY0" fmla="*/ 168425 h 964811"/>
                  <a:gd name="connsiteX1" fmla="*/ 290345 w 2362806"/>
                  <a:gd name="connsiteY1" fmla="*/ 7620 h 964811"/>
                  <a:gd name="connsiteX2" fmla="*/ 2141041 w 2362806"/>
                  <a:gd name="connsiteY2" fmla="*/ 0 h 964811"/>
                  <a:gd name="connsiteX3" fmla="*/ 2271366 w 2362806"/>
                  <a:gd name="connsiteY3" fmla="*/ 153185 h 964811"/>
                  <a:gd name="connsiteX4" fmla="*/ 2362806 w 2362806"/>
                  <a:gd name="connsiteY4" fmla="*/ 804006 h 964811"/>
                  <a:gd name="connsiteX5" fmla="*/ 2202001 w 2362806"/>
                  <a:gd name="connsiteY5" fmla="*/ 964811 h 964811"/>
                  <a:gd name="connsiteX6" fmla="*/ 198905 w 2362806"/>
                  <a:gd name="connsiteY6" fmla="*/ 964811 h 964811"/>
                  <a:gd name="connsiteX7" fmla="*/ 0 w 2362806"/>
                  <a:gd name="connsiteY7" fmla="*/ 796386 h 964811"/>
                  <a:gd name="connsiteX8" fmla="*/ 129540 w 2362806"/>
                  <a:gd name="connsiteY8" fmla="*/ 168425 h 964811"/>
                  <a:gd name="connsiteX0" fmla="*/ 129540 w 2408526"/>
                  <a:gd name="connsiteY0" fmla="*/ 168425 h 964811"/>
                  <a:gd name="connsiteX1" fmla="*/ 290345 w 2408526"/>
                  <a:gd name="connsiteY1" fmla="*/ 7620 h 964811"/>
                  <a:gd name="connsiteX2" fmla="*/ 2141041 w 2408526"/>
                  <a:gd name="connsiteY2" fmla="*/ 0 h 964811"/>
                  <a:gd name="connsiteX3" fmla="*/ 2271366 w 2408526"/>
                  <a:gd name="connsiteY3" fmla="*/ 153185 h 964811"/>
                  <a:gd name="connsiteX4" fmla="*/ 2408526 w 2408526"/>
                  <a:gd name="connsiteY4" fmla="*/ 796386 h 964811"/>
                  <a:gd name="connsiteX5" fmla="*/ 2202001 w 2408526"/>
                  <a:gd name="connsiteY5" fmla="*/ 964811 h 964811"/>
                  <a:gd name="connsiteX6" fmla="*/ 198905 w 2408526"/>
                  <a:gd name="connsiteY6" fmla="*/ 964811 h 964811"/>
                  <a:gd name="connsiteX7" fmla="*/ 0 w 2408526"/>
                  <a:gd name="connsiteY7" fmla="*/ 796386 h 964811"/>
                  <a:gd name="connsiteX8" fmla="*/ 129540 w 2408526"/>
                  <a:gd name="connsiteY8" fmla="*/ 168425 h 964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8526" h="964811">
                    <a:moveTo>
                      <a:pt x="129540" y="168425"/>
                    </a:moveTo>
                    <a:cubicBezTo>
                      <a:pt x="129540" y="79615"/>
                      <a:pt x="201535" y="7620"/>
                      <a:pt x="290345" y="7620"/>
                    </a:cubicBezTo>
                    <a:lnTo>
                      <a:pt x="2141041" y="0"/>
                    </a:lnTo>
                    <a:cubicBezTo>
                      <a:pt x="2229851" y="0"/>
                      <a:pt x="2271366" y="64375"/>
                      <a:pt x="2271366" y="153185"/>
                    </a:cubicBezTo>
                    <a:lnTo>
                      <a:pt x="2408526" y="796386"/>
                    </a:lnTo>
                    <a:cubicBezTo>
                      <a:pt x="2408526" y="885196"/>
                      <a:pt x="2290811" y="964811"/>
                      <a:pt x="2202001" y="964811"/>
                    </a:cubicBezTo>
                    <a:lnTo>
                      <a:pt x="198905" y="964811"/>
                    </a:lnTo>
                    <a:cubicBezTo>
                      <a:pt x="110095" y="964811"/>
                      <a:pt x="0" y="885196"/>
                      <a:pt x="0" y="796386"/>
                    </a:cubicBezTo>
                    <a:lnTo>
                      <a:pt x="129540" y="168425"/>
                    </a:lnTo>
                    <a:close/>
                  </a:path>
                </a:pathLst>
              </a:custGeom>
              <a:solidFill>
                <a:srgbClr val="FFFFFF">
                  <a:lumMod val="85000"/>
                </a:srgbClr>
              </a:solidFill>
              <a:ln w="6350">
                <a:solidFill>
                  <a:srgbClr val="FFFFFF">
                    <a:lumMod val="65000"/>
                  </a:srgbClr>
                </a:solidFill>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a:ln>
                    <a:noFill/>
                  </a:ln>
                  <a:solidFill>
                    <a:srgbClr val="505050"/>
                  </a:solidFill>
                  <a:effectLst/>
                  <a:uLnTx/>
                  <a:uFillTx/>
                  <a:latin typeface="Arial"/>
                  <a:ea typeface=""/>
                  <a:cs typeface=""/>
                </a:endParaRPr>
              </a:p>
            </p:txBody>
          </p:sp>
          <p:sp>
            <p:nvSpPr>
              <p:cNvPr id="361" name="Freeform 929"/>
              <p:cNvSpPr>
                <a:spLocks/>
              </p:cNvSpPr>
              <p:nvPr/>
            </p:nvSpPr>
            <p:spPr bwMode="auto">
              <a:xfrm>
                <a:off x="3794414" y="4028495"/>
                <a:ext cx="217281" cy="218760"/>
              </a:xfrm>
              <a:custGeom>
                <a:avLst/>
                <a:gdLst>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29379 w 553405"/>
                  <a:gd name="connsiteY52" fmla="*/ 17047 h 551547"/>
                  <a:gd name="connsiteX53" fmla="*/ 142943 w 553405"/>
                  <a:gd name="connsiteY53" fmla="*/ 13520 h 551547"/>
                  <a:gd name="connsiteX54" fmla="*/ 157028 w 553405"/>
                  <a:gd name="connsiteY54" fmla="*/ 10581 h 551547"/>
                  <a:gd name="connsiteX55" fmla="*/ 171114 w 553405"/>
                  <a:gd name="connsiteY55" fmla="*/ 8230 h 551547"/>
                  <a:gd name="connsiteX56" fmla="*/ 189894 w 553405"/>
                  <a:gd name="connsiteY56" fmla="*/ 5291 h 551547"/>
                  <a:gd name="connsiteX57" fmla="*/ 209197 w 553405"/>
                  <a:gd name="connsiteY57" fmla="*/ 3527 h 551547"/>
                  <a:gd name="connsiteX58" fmla="*/ 227977 w 553405"/>
                  <a:gd name="connsiteY58" fmla="*/ 1764 h 551547"/>
                  <a:gd name="connsiteX59" fmla="*/ 246758 w 553405"/>
                  <a:gd name="connsiteY59" fmla="*/ 588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42943 w 553405"/>
                  <a:gd name="connsiteY52" fmla="*/ 13520 h 551547"/>
                  <a:gd name="connsiteX53" fmla="*/ 157028 w 553405"/>
                  <a:gd name="connsiteY53" fmla="*/ 10581 h 551547"/>
                  <a:gd name="connsiteX54" fmla="*/ 171114 w 553405"/>
                  <a:gd name="connsiteY54" fmla="*/ 8230 h 551547"/>
                  <a:gd name="connsiteX55" fmla="*/ 189894 w 553405"/>
                  <a:gd name="connsiteY55" fmla="*/ 5291 h 551547"/>
                  <a:gd name="connsiteX56" fmla="*/ 209197 w 553405"/>
                  <a:gd name="connsiteY56" fmla="*/ 3527 h 551547"/>
                  <a:gd name="connsiteX57" fmla="*/ 227977 w 553405"/>
                  <a:gd name="connsiteY57" fmla="*/ 1764 h 551547"/>
                  <a:gd name="connsiteX58" fmla="*/ 246758 w 553405"/>
                  <a:gd name="connsiteY58" fmla="*/ 588 h 551547"/>
                  <a:gd name="connsiteX59" fmla="*/ 265539 w 553405"/>
                  <a:gd name="connsiteY59"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57028 w 553405"/>
                  <a:gd name="connsiteY52" fmla="*/ 10581 h 551547"/>
                  <a:gd name="connsiteX53" fmla="*/ 171114 w 553405"/>
                  <a:gd name="connsiteY53" fmla="*/ 8230 h 551547"/>
                  <a:gd name="connsiteX54" fmla="*/ 189894 w 553405"/>
                  <a:gd name="connsiteY54" fmla="*/ 5291 h 551547"/>
                  <a:gd name="connsiteX55" fmla="*/ 209197 w 553405"/>
                  <a:gd name="connsiteY55" fmla="*/ 3527 h 551547"/>
                  <a:gd name="connsiteX56" fmla="*/ 227977 w 553405"/>
                  <a:gd name="connsiteY56" fmla="*/ 1764 h 551547"/>
                  <a:gd name="connsiteX57" fmla="*/ 246758 w 553405"/>
                  <a:gd name="connsiteY57" fmla="*/ 588 h 551547"/>
                  <a:gd name="connsiteX58" fmla="*/ 265539 w 553405"/>
                  <a:gd name="connsiteY58"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71114 w 553405"/>
                  <a:gd name="connsiteY52" fmla="*/ 8230 h 551547"/>
                  <a:gd name="connsiteX53" fmla="*/ 189894 w 553405"/>
                  <a:gd name="connsiteY53" fmla="*/ 5291 h 551547"/>
                  <a:gd name="connsiteX54" fmla="*/ 209197 w 553405"/>
                  <a:gd name="connsiteY54" fmla="*/ 3527 h 551547"/>
                  <a:gd name="connsiteX55" fmla="*/ 227977 w 553405"/>
                  <a:gd name="connsiteY55" fmla="*/ 1764 h 551547"/>
                  <a:gd name="connsiteX56" fmla="*/ 246758 w 553405"/>
                  <a:gd name="connsiteY56" fmla="*/ 588 h 551547"/>
                  <a:gd name="connsiteX57" fmla="*/ 265539 w 553405"/>
                  <a:gd name="connsiteY57"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89894 w 553405"/>
                  <a:gd name="connsiteY52" fmla="*/ 5291 h 551547"/>
                  <a:gd name="connsiteX53" fmla="*/ 209197 w 553405"/>
                  <a:gd name="connsiteY53" fmla="*/ 3527 h 551547"/>
                  <a:gd name="connsiteX54" fmla="*/ 227977 w 553405"/>
                  <a:gd name="connsiteY54" fmla="*/ 1764 h 551547"/>
                  <a:gd name="connsiteX55" fmla="*/ 246758 w 553405"/>
                  <a:gd name="connsiteY55" fmla="*/ 588 h 551547"/>
                  <a:gd name="connsiteX56" fmla="*/ 265539 w 553405"/>
                  <a:gd name="connsiteY56"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09197 w 553405"/>
                  <a:gd name="connsiteY52" fmla="*/ 3527 h 551547"/>
                  <a:gd name="connsiteX53" fmla="*/ 227977 w 553405"/>
                  <a:gd name="connsiteY53" fmla="*/ 1764 h 551547"/>
                  <a:gd name="connsiteX54" fmla="*/ 246758 w 553405"/>
                  <a:gd name="connsiteY54" fmla="*/ 588 h 551547"/>
                  <a:gd name="connsiteX55" fmla="*/ 265539 w 553405"/>
                  <a:gd name="connsiteY55"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27977 w 553405"/>
                  <a:gd name="connsiteY52" fmla="*/ 1764 h 551547"/>
                  <a:gd name="connsiteX53" fmla="*/ 246758 w 553405"/>
                  <a:gd name="connsiteY53" fmla="*/ 588 h 551547"/>
                  <a:gd name="connsiteX54" fmla="*/ 265539 w 553405"/>
                  <a:gd name="connsiteY54"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46758 w 553405"/>
                  <a:gd name="connsiteY52" fmla="*/ 588 h 551547"/>
                  <a:gd name="connsiteX53" fmla="*/ 265539 w 553405"/>
                  <a:gd name="connsiteY53"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65539 w 553405"/>
                  <a:gd name="connsiteY52" fmla="*/ 0 h 551547"/>
                  <a:gd name="connsiteX0" fmla="*/ 115293 w 553405"/>
                  <a:gd name="connsiteY0" fmla="*/ 20574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0" fmla="*/ 115293 w 553405"/>
                  <a:gd name="connsiteY0" fmla="*/ 19986 h 550959"/>
                  <a:gd name="connsiteX1" fmla="*/ 303622 w 553405"/>
                  <a:gd name="connsiteY1" fmla="*/ 0 h 550959"/>
                  <a:gd name="connsiteX2" fmla="*/ 322925 w 553405"/>
                  <a:gd name="connsiteY2" fmla="*/ 1176 h 550959"/>
                  <a:gd name="connsiteX3" fmla="*/ 344835 w 553405"/>
                  <a:gd name="connsiteY3" fmla="*/ 2939 h 550959"/>
                  <a:gd name="connsiteX4" fmla="*/ 366746 w 553405"/>
                  <a:gd name="connsiteY4" fmla="*/ 5290 h 550959"/>
                  <a:gd name="connsiteX5" fmla="*/ 388657 w 553405"/>
                  <a:gd name="connsiteY5" fmla="*/ 8230 h 550959"/>
                  <a:gd name="connsiteX6" fmla="*/ 411090 w 553405"/>
                  <a:gd name="connsiteY6" fmla="*/ 12932 h 550959"/>
                  <a:gd name="connsiteX7" fmla="*/ 432479 w 553405"/>
                  <a:gd name="connsiteY7" fmla="*/ 18223 h 550959"/>
                  <a:gd name="connsiteX8" fmla="*/ 453868 w 553405"/>
                  <a:gd name="connsiteY8" fmla="*/ 24101 h 550959"/>
                  <a:gd name="connsiteX9" fmla="*/ 474735 w 553405"/>
                  <a:gd name="connsiteY9" fmla="*/ 31743 h 550959"/>
                  <a:gd name="connsiteX10" fmla="*/ 495603 w 553405"/>
                  <a:gd name="connsiteY10" fmla="*/ 40560 h 550959"/>
                  <a:gd name="connsiteX11" fmla="*/ 499776 w 553405"/>
                  <a:gd name="connsiteY11" fmla="*/ 42912 h 550959"/>
                  <a:gd name="connsiteX12" fmla="*/ 502907 w 553405"/>
                  <a:gd name="connsiteY12" fmla="*/ 45851 h 550959"/>
                  <a:gd name="connsiteX13" fmla="*/ 503950 w 553405"/>
                  <a:gd name="connsiteY13" fmla="*/ 47614 h 550959"/>
                  <a:gd name="connsiteX14" fmla="*/ 504993 w 553405"/>
                  <a:gd name="connsiteY14" fmla="*/ 49378 h 550959"/>
                  <a:gd name="connsiteX15" fmla="*/ 505515 w 553405"/>
                  <a:gd name="connsiteY15" fmla="*/ 51729 h 550959"/>
                  <a:gd name="connsiteX16" fmla="*/ 506037 w 553405"/>
                  <a:gd name="connsiteY16" fmla="*/ 55256 h 550959"/>
                  <a:gd name="connsiteX17" fmla="*/ 520122 w 553405"/>
                  <a:gd name="connsiteY17" fmla="*/ 170471 h 550959"/>
                  <a:gd name="connsiteX18" fmla="*/ 526904 w 553405"/>
                  <a:gd name="connsiteY18" fmla="*/ 228079 h 550959"/>
                  <a:gd name="connsiteX19" fmla="*/ 534208 w 553405"/>
                  <a:gd name="connsiteY19" fmla="*/ 286274 h 550959"/>
                  <a:gd name="connsiteX20" fmla="*/ 540990 w 553405"/>
                  <a:gd name="connsiteY20" fmla="*/ 352699 h 550959"/>
                  <a:gd name="connsiteX21" fmla="*/ 544120 w 553405"/>
                  <a:gd name="connsiteY21" fmla="*/ 386793 h 550959"/>
                  <a:gd name="connsiteX22" fmla="*/ 546728 w 553405"/>
                  <a:gd name="connsiteY22" fmla="*/ 419712 h 550959"/>
                  <a:gd name="connsiteX23" fmla="*/ 548815 w 553405"/>
                  <a:gd name="connsiteY23" fmla="*/ 453806 h 550959"/>
                  <a:gd name="connsiteX24" fmla="*/ 550902 w 553405"/>
                  <a:gd name="connsiteY24" fmla="*/ 486725 h 550959"/>
                  <a:gd name="connsiteX25" fmla="*/ 552467 w 553405"/>
                  <a:gd name="connsiteY25" fmla="*/ 520819 h 550959"/>
                  <a:gd name="connsiteX26" fmla="*/ 553405 w 553405"/>
                  <a:gd name="connsiteY26" fmla="*/ 550959 h 550959"/>
                  <a:gd name="connsiteX27" fmla="*/ 0 w 553405"/>
                  <a:gd name="connsiteY27" fmla="*/ 550959 h 550959"/>
                  <a:gd name="connsiteX28" fmla="*/ 0 w 553405"/>
                  <a:gd name="connsiteY28" fmla="*/ 536690 h 550959"/>
                  <a:gd name="connsiteX29" fmla="*/ 1044 w 553405"/>
                  <a:gd name="connsiteY29" fmla="*/ 512589 h 550959"/>
                  <a:gd name="connsiteX30" fmla="*/ 2609 w 553405"/>
                  <a:gd name="connsiteY30" fmla="*/ 479083 h 550959"/>
                  <a:gd name="connsiteX31" fmla="*/ 5217 w 553405"/>
                  <a:gd name="connsiteY31" fmla="*/ 444988 h 550959"/>
                  <a:gd name="connsiteX32" fmla="*/ 10434 w 553405"/>
                  <a:gd name="connsiteY32" fmla="*/ 377976 h 550959"/>
                  <a:gd name="connsiteX33" fmla="*/ 17216 w 553405"/>
                  <a:gd name="connsiteY33" fmla="*/ 305672 h 550959"/>
                  <a:gd name="connsiteX34" fmla="*/ 25041 w 553405"/>
                  <a:gd name="connsiteY34" fmla="*/ 233369 h 550959"/>
                  <a:gd name="connsiteX35" fmla="*/ 34432 w 553405"/>
                  <a:gd name="connsiteY35" fmla="*/ 155188 h 550959"/>
                  <a:gd name="connsiteX36" fmla="*/ 44344 w 553405"/>
                  <a:gd name="connsiteY36" fmla="*/ 75830 h 550959"/>
                  <a:gd name="connsiteX37" fmla="*/ 45909 w 553405"/>
                  <a:gd name="connsiteY37" fmla="*/ 67601 h 550959"/>
                  <a:gd name="connsiteX38" fmla="*/ 46430 w 553405"/>
                  <a:gd name="connsiteY38" fmla="*/ 64074 h 550959"/>
                  <a:gd name="connsiteX39" fmla="*/ 46430 w 553405"/>
                  <a:gd name="connsiteY39" fmla="*/ 59959 h 550959"/>
                  <a:gd name="connsiteX40" fmla="*/ 46952 w 553405"/>
                  <a:gd name="connsiteY40" fmla="*/ 54668 h 550959"/>
                  <a:gd name="connsiteX41" fmla="*/ 47995 w 553405"/>
                  <a:gd name="connsiteY41" fmla="*/ 51141 h 550959"/>
                  <a:gd name="connsiteX42" fmla="*/ 49561 w 553405"/>
                  <a:gd name="connsiteY42" fmla="*/ 48202 h 550959"/>
                  <a:gd name="connsiteX43" fmla="*/ 51126 w 553405"/>
                  <a:gd name="connsiteY43" fmla="*/ 45851 h 550959"/>
                  <a:gd name="connsiteX44" fmla="*/ 53212 w 553405"/>
                  <a:gd name="connsiteY44" fmla="*/ 43499 h 550959"/>
                  <a:gd name="connsiteX45" fmla="*/ 55299 w 553405"/>
                  <a:gd name="connsiteY45" fmla="*/ 41736 h 550959"/>
                  <a:gd name="connsiteX46" fmla="*/ 61038 w 553405"/>
                  <a:gd name="connsiteY46" fmla="*/ 38797 h 550959"/>
                  <a:gd name="connsiteX47" fmla="*/ 74601 w 553405"/>
                  <a:gd name="connsiteY47" fmla="*/ 32919 h 550959"/>
                  <a:gd name="connsiteX48" fmla="*/ 88165 w 553405"/>
                  <a:gd name="connsiteY48" fmla="*/ 28216 h 550959"/>
                  <a:gd name="connsiteX49" fmla="*/ 101208 w 553405"/>
                  <a:gd name="connsiteY49" fmla="*/ 23513 h 550959"/>
                  <a:gd name="connsiteX50" fmla="*/ 115293 w 553405"/>
                  <a:gd name="connsiteY50" fmla="*/ 19986 h 550959"/>
                  <a:gd name="connsiteX0" fmla="*/ 115293 w 553405"/>
                  <a:gd name="connsiteY0" fmla="*/ 18810 h 549783"/>
                  <a:gd name="connsiteX1" fmla="*/ 322925 w 553405"/>
                  <a:gd name="connsiteY1" fmla="*/ 0 h 549783"/>
                  <a:gd name="connsiteX2" fmla="*/ 344835 w 553405"/>
                  <a:gd name="connsiteY2" fmla="*/ 1763 h 549783"/>
                  <a:gd name="connsiteX3" fmla="*/ 366746 w 553405"/>
                  <a:gd name="connsiteY3" fmla="*/ 4114 h 549783"/>
                  <a:gd name="connsiteX4" fmla="*/ 388657 w 553405"/>
                  <a:gd name="connsiteY4" fmla="*/ 7054 h 549783"/>
                  <a:gd name="connsiteX5" fmla="*/ 411090 w 553405"/>
                  <a:gd name="connsiteY5" fmla="*/ 11756 h 549783"/>
                  <a:gd name="connsiteX6" fmla="*/ 432479 w 553405"/>
                  <a:gd name="connsiteY6" fmla="*/ 17047 h 549783"/>
                  <a:gd name="connsiteX7" fmla="*/ 453868 w 553405"/>
                  <a:gd name="connsiteY7" fmla="*/ 22925 h 549783"/>
                  <a:gd name="connsiteX8" fmla="*/ 474735 w 553405"/>
                  <a:gd name="connsiteY8" fmla="*/ 30567 h 549783"/>
                  <a:gd name="connsiteX9" fmla="*/ 495603 w 553405"/>
                  <a:gd name="connsiteY9" fmla="*/ 39384 h 549783"/>
                  <a:gd name="connsiteX10" fmla="*/ 499776 w 553405"/>
                  <a:gd name="connsiteY10" fmla="*/ 41736 h 549783"/>
                  <a:gd name="connsiteX11" fmla="*/ 502907 w 553405"/>
                  <a:gd name="connsiteY11" fmla="*/ 44675 h 549783"/>
                  <a:gd name="connsiteX12" fmla="*/ 503950 w 553405"/>
                  <a:gd name="connsiteY12" fmla="*/ 46438 h 549783"/>
                  <a:gd name="connsiteX13" fmla="*/ 504993 w 553405"/>
                  <a:gd name="connsiteY13" fmla="*/ 48202 h 549783"/>
                  <a:gd name="connsiteX14" fmla="*/ 505515 w 553405"/>
                  <a:gd name="connsiteY14" fmla="*/ 50553 h 549783"/>
                  <a:gd name="connsiteX15" fmla="*/ 506037 w 553405"/>
                  <a:gd name="connsiteY15" fmla="*/ 54080 h 549783"/>
                  <a:gd name="connsiteX16" fmla="*/ 520122 w 553405"/>
                  <a:gd name="connsiteY16" fmla="*/ 169295 h 549783"/>
                  <a:gd name="connsiteX17" fmla="*/ 526904 w 553405"/>
                  <a:gd name="connsiteY17" fmla="*/ 226903 h 549783"/>
                  <a:gd name="connsiteX18" fmla="*/ 534208 w 553405"/>
                  <a:gd name="connsiteY18" fmla="*/ 285098 h 549783"/>
                  <a:gd name="connsiteX19" fmla="*/ 540990 w 553405"/>
                  <a:gd name="connsiteY19" fmla="*/ 351523 h 549783"/>
                  <a:gd name="connsiteX20" fmla="*/ 544120 w 553405"/>
                  <a:gd name="connsiteY20" fmla="*/ 385617 h 549783"/>
                  <a:gd name="connsiteX21" fmla="*/ 546728 w 553405"/>
                  <a:gd name="connsiteY21" fmla="*/ 418536 h 549783"/>
                  <a:gd name="connsiteX22" fmla="*/ 548815 w 553405"/>
                  <a:gd name="connsiteY22" fmla="*/ 452630 h 549783"/>
                  <a:gd name="connsiteX23" fmla="*/ 550902 w 553405"/>
                  <a:gd name="connsiteY23" fmla="*/ 485549 h 549783"/>
                  <a:gd name="connsiteX24" fmla="*/ 552467 w 553405"/>
                  <a:gd name="connsiteY24" fmla="*/ 519643 h 549783"/>
                  <a:gd name="connsiteX25" fmla="*/ 553405 w 553405"/>
                  <a:gd name="connsiteY25" fmla="*/ 549783 h 549783"/>
                  <a:gd name="connsiteX26" fmla="*/ 0 w 553405"/>
                  <a:gd name="connsiteY26" fmla="*/ 549783 h 549783"/>
                  <a:gd name="connsiteX27" fmla="*/ 0 w 553405"/>
                  <a:gd name="connsiteY27" fmla="*/ 535514 h 549783"/>
                  <a:gd name="connsiteX28" fmla="*/ 1044 w 553405"/>
                  <a:gd name="connsiteY28" fmla="*/ 511413 h 549783"/>
                  <a:gd name="connsiteX29" fmla="*/ 2609 w 553405"/>
                  <a:gd name="connsiteY29" fmla="*/ 477907 h 549783"/>
                  <a:gd name="connsiteX30" fmla="*/ 5217 w 553405"/>
                  <a:gd name="connsiteY30" fmla="*/ 443812 h 549783"/>
                  <a:gd name="connsiteX31" fmla="*/ 10434 w 553405"/>
                  <a:gd name="connsiteY31" fmla="*/ 376800 h 549783"/>
                  <a:gd name="connsiteX32" fmla="*/ 17216 w 553405"/>
                  <a:gd name="connsiteY32" fmla="*/ 304496 h 549783"/>
                  <a:gd name="connsiteX33" fmla="*/ 25041 w 553405"/>
                  <a:gd name="connsiteY33" fmla="*/ 232193 h 549783"/>
                  <a:gd name="connsiteX34" fmla="*/ 34432 w 553405"/>
                  <a:gd name="connsiteY34" fmla="*/ 154012 h 549783"/>
                  <a:gd name="connsiteX35" fmla="*/ 44344 w 553405"/>
                  <a:gd name="connsiteY35" fmla="*/ 74654 h 549783"/>
                  <a:gd name="connsiteX36" fmla="*/ 45909 w 553405"/>
                  <a:gd name="connsiteY36" fmla="*/ 66425 h 549783"/>
                  <a:gd name="connsiteX37" fmla="*/ 46430 w 553405"/>
                  <a:gd name="connsiteY37" fmla="*/ 62898 h 549783"/>
                  <a:gd name="connsiteX38" fmla="*/ 46430 w 553405"/>
                  <a:gd name="connsiteY38" fmla="*/ 58783 h 549783"/>
                  <a:gd name="connsiteX39" fmla="*/ 46952 w 553405"/>
                  <a:gd name="connsiteY39" fmla="*/ 53492 h 549783"/>
                  <a:gd name="connsiteX40" fmla="*/ 47995 w 553405"/>
                  <a:gd name="connsiteY40" fmla="*/ 49965 h 549783"/>
                  <a:gd name="connsiteX41" fmla="*/ 49561 w 553405"/>
                  <a:gd name="connsiteY41" fmla="*/ 47026 h 549783"/>
                  <a:gd name="connsiteX42" fmla="*/ 51126 w 553405"/>
                  <a:gd name="connsiteY42" fmla="*/ 44675 h 549783"/>
                  <a:gd name="connsiteX43" fmla="*/ 53212 w 553405"/>
                  <a:gd name="connsiteY43" fmla="*/ 42323 h 549783"/>
                  <a:gd name="connsiteX44" fmla="*/ 55299 w 553405"/>
                  <a:gd name="connsiteY44" fmla="*/ 40560 h 549783"/>
                  <a:gd name="connsiteX45" fmla="*/ 61038 w 553405"/>
                  <a:gd name="connsiteY45" fmla="*/ 37621 h 549783"/>
                  <a:gd name="connsiteX46" fmla="*/ 74601 w 553405"/>
                  <a:gd name="connsiteY46" fmla="*/ 31743 h 549783"/>
                  <a:gd name="connsiteX47" fmla="*/ 88165 w 553405"/>
                  <a:gd name="connsiteY47" fmla="*/ 27040 h 549783"/>
                  <a:gd name="connsiteX48" fmla="*/ 101208 w 553405"/>
                  <a:gd name="connsiteY48" fmla="*/ 22337 h 549783"/>
                  <a:gd name="connsiteX49" fmla="*/ 115293 w 553405"/>
                  <a:gd name="connsiteY49" fmla="*/ 18810 h 549783"/>
                  <a:gd name="connsiteX0" fmla="*/ 115293 w 553405"/>
                  <a:gd name="connsiteY0" fmla="*/ 17047 h 548020"/>
                  <a:gd name="connsiteX1" fmla="*/ 344835 w 553405"/>
                  <a:gd name="connsiteY1" fmla="*/ 0 h 548020"/>
                  <a:gd name="connsiteX2" fmla="*/ 366746 w 553405"/>
                  <a:gd name="connsiteY2" fmla="*/ 2351 h 548020"/>
                  <a:gd name="connsiteX3" fmla="*/ 388657 w 553405"/>
                  <a:gd name="connsiteY3" fmla="*/ 5291 h 548020"/>
                  <a:gd name="connsiteX4" fmla="*/ 411090 w 553405"/>
                  <a:gd name="connsiteY4" fmla="*/ 9993 h 548020"/>
                  <a:gd name="connsiteX5" fmla="*/ 432479 w 553405"/>
                  <a:gd name="connsiteY5" fmla="*/ 15284 h 548020"/>
                  <a:gd name="connsiteX6" fmla="*/ 453868 w 553405"/>
                  <a:gd name="connsiteY6" fmla="*/ 21162 h 548020"/>
                  <a:gd name="connsiteX7" fmla="*/ 474735 w 553405"/>
                  <a:gd name="connsiteY7" fmla="*/ 28804 h 548020"/>
                  <a:gd name="connsiteX8" fmla="*/ 495603 w 553405"/>
                  <a:gd name="connsiteY8" fmla="*/ 37621 h 548020"/>
                  <a:gd name="connsiteX9" fmla="*/ 499776 w 553405"/>
                  <a:gd name="connsiteY9" fmla="*/ 39973 h 548020"/>
                  <a:gd name="connsiteX10" fmla="*/ 502907 w 553405"/>
                  <a:gd name="connsiteY10" fmla="*/ 42912 h 548020"/>
                  <a:gd name="connsiteX11" fmla="*/ 503950 w 553405"/>
                  <a:gd name="connsiteY11" fmla="*/ 44675 h 548020"/>
                  <a:gd name="connsiteX12" fmla="*/ 504993 w 553405"/>
                  <a:gd name="connsiteY12" fmla="*/ 46439 h 548020"/>
                  <a:gd name="connsiteX13" fmla="*/ 505515 w 553405"/>
                  <a:gd name="connsiteY13" fmla="*/ 48790 h 548020"/>
                  <a:gd name="connsiteX14" fmla="*/ 506037 w 553405"/>
                  <a:gd name="connsiteY14" fmla="*/ 52317 h 548020"/>
                  <a:gd name="connsiteX15" fmla="*/ 520122 w 553405"/>
                  <a:gd name="connsiteY15" fmla="*/ 167532 h 548020"/>
                  <a:gd name="connsiteX16" fmla="*/ 526904 w 553405"/>
                  <a:gd name="connsiteY16" fmla="*/ 225140 h 548020"/>
                  <a:gd name="connsiteX17" fmla="*/ 534208 w 553405"/>
                  <a:gd name="connsiteY17" fmla="*/ 283335 h 548020"/>
                  <a:gd name="connsiteX18" fmla="*/ 540990 w 553405"/>
                  <a:gd name="connsiteY18" fmla="*/ 349760 h 548020"/>
                  <a:gd name="connsiteX19" fmla="*/ 544120 w 553405"/>
                  <a:gd name="connsiteY19" fmla="*/ 383854 h 548020"/>
                  <a:gd name="connsiteX20" fmla="*/ 546728 w 553405"/>
                  <a:gd name="connsiteY20" fmla="*/ 416773 h 548020"/>
                  <a:gd name="connsiteX21" fmla="*/ 548815 w 553405"/>
                  <a:gd name="connsiteY21" fmla="*/ 450867 h 548020"/>
                  <a:gd name="connsiteX22" fmla="*/ 550902 w 553405"/>
                  <a:gd name="connsiteY22" fmla="*/ 483786 h 548020"/>
                  <a:gd name="connsiteX23" fmla="*/ 552467 w 553405"/>
                  <a:gd name="connsiteY23" fmla="*/ 517880 h 548020"/>
                  <a:gd name="connsiteX24" fmla="*/ 553405 w 553405"/>
                  <a:gd name="connsiteY24" fmla="*/ 548020 h 548020"/>
                  <a:gd name="connsiteX25" fmla="*/ 0 w 553405"/>
                  <a:gd name="connsiteY25" fmla="*/ 548020 h 548020"/>
                  <a:gd name="connsiteX26" fmla="*/ 0 w 553405"/>
                  <a:gd name="connsiteY26" fmla="*/ 533751 h 548020"/>
                  <a:gd name="connsiteX27" fmla="*/ 1044 w 553405"/>
                  <a:gd name="connsiteY27" fmla="*/ 509650 h 548020"/>
                  <a:gd name="connsiteX28" fmla="*/ 2609 w 553405"/>
                  <a:gd name="connsiteY28" fmla="*/ 476144 h 548020"/>
                  <a:gd name="connsiteX29" fmla="*/ 5217 w 553405"/>
                  <a:gd name="connsiteY29" fmla="*/ 442049 h 548020"/>
                  <a:gd name="connsiteX30" fmla="*/ 10434 w 553405"/>
                  <a:gd name="connsiteY30" fmla="*/ 375037 h 548020"/>
                  <a:gd name="connsiteX31" fmla="*/ 17216 w 553405"/>
                  <a:gd name="connsiteY31" fmla="*/ 302733 h 548020"/>
                  <a:gd name="connsiteX32" fmla="*/ 25041 w 553405"/>
                  <a:gd name="connsiteY32" fmla="*/ 230430 h 548020"/>
                  <a:gd name="connsiteX33" fmla="*/ 34432 w 553405"/>
                  <a:gd name="connsiteY33" fmla="*/ 152249 h 548020"/>
                  <a:gd name="connsiteX34" fmla="*/ 44344 w 553405"/>
                  <a:gd name="connsiteY34" fmla="*/ 72891 h 548020"/>
                  <a:gd name="connsiteX35" fmla="*/ 45909 w 553405"/>
                  <a:gd name="connsiteY35" fmla="*/ 64662 h 548020"/>
                  <a:gd name="connsiteX36" fmla="*/ 46430 w 553405"/>
                  <a:gd name="connsiteY36" fmla="*/ 61135 h 548020"/>
                  <a:gd name="connsiteX37" fmla="*/ 46430 w 553405"/>
                  <a:gd name="connsiteY37" fmla="*/ 57020 h 548020"/>
                  <a:gd name="connsiteX38" fmla="*/ 46952 w 553405"/>
                  <a:gd name="connsiteY38" fmla="*/ 51729 h 548020"/>
                  <a:gd name="connsiteX39" fmla="*/ 47995 w 553405"/>
                  <a:gd name="connsiteY39" fmla="*/ 48202 h 548020"/>
                  <a:gd name="connsiteX40" fmla="*/ 49561 w 553405"/>
                  <a:gd name="connsiteY40" fmla="*/ 45263 h 548020"/>
                  <a:gd name="connsiteX41" fmla="*/ 51126 w 553405"/>
                  <a:gd name="connsiteY41" fmla="*/ 42912 h 548020"/>
                  <a:gd name="connsiteX42" fmla="*/ 53212 w 553405"/>
                  <a:gd name="connsiteY42" fmla="*/ 40560 h 548020"/>
                  <a:gd name="connsiteX43" fmla="*/ 55299 w 553405"/>
                  <a:gd name="connsiteY43" fmla="*/ 38797 h 548020"/>
                  <a:gd name="connsiteX44" fmla="*/ 61038 w 553405"/>
                  <a:gd name="connsiteY44" fmla="*/ 35858 h 548020"/>
                  <a:gd name="connsiteX45" fmla="*/ 74601 w 553405"/>
                  <a:gd name="connsiteY45" fmla="*/ 29980 h 548020"/>
                  <a:gd name="connsiteX46" fmla="*/ 88165 w 553405"/>
                  <a:gd name="connsiteY46" fmla="*/ 25277 h 548020"/>
                  <a:gd name="connsiteX47" fmla="*/ 101208 w 553405"/>
                  <a:gd name="connsiteY47" fmla="*/ 20574 h 548020"/>
                  <a:gd name="connsiteX48" fmla="*/ 115293 w 553405"/>
                  <a:gd name="connsiteY48" fmla="*/ 17047 h 548020"/>
                  <a:gd name="connsiteX0" fmla="*/ 115293 w 553405"/>
                  <a:gd name="connsiteY0" fmla="*/ 14696 h 545669"/>
                  <a:gd name="connsiteX1" fmla="*/ 366746 w 553405"/>
                  <a:gd name="connsiteY1" fmla="*/ 0 h 545669"/>
                  <a:gd name="connsiteX2" fmla="*/ 388657 w 553405"/>
                  <a:gd name="connsiteY2" fmla="*/ 2940 h 545669"/>
                  <a:gd name="connsiteX3" fmla="*/ 411090 w 553405"/>
                  <a:gd name="connsiteY3" fmla="*/ 7642 h 545669"/>
                  <a:gd name="connsiteX4" fmla="*/ 432479 w 553405"/>
                  <a:gd name="connsiteY4" fmla="*/ 12933 h 545669"/>
                  <a:gd name="connsiteX5" fmla="*/ 453868 w 553405"/>
                  <a:gd name="connsiteY5" fmla="*/ 18811 h 545669"/>
                  <a:gd name="connsiteX6" fmla="*/ 474735 w 553405"/>
                  <a:gd name="connsiteY6" fmla="*/ 26453 h 545669"/>
                  <a:gd name="connsiteX7" fmla="*/ 495603 w 553405"/>
                  <a:gd name="connsiteY7" fmla="*/ 35270 h 545669"/>
                  <a:gd name="connsiteX8" fmla="*/ 499776 w 553405"/>
                  <a:gd name="connsiteY8" fmla="*/ 37622 h 545669"/>
                  <a:gd name="connsiteX9" fmla="*/ 502907 w 553405"/>
                  <a:gd name="connsiteY9" fmla="*/ 40561 h 545669"/>
                  <a:gd name="connsiteX10" fmla="*/ 503950 w 553405"/>
                  <a:gd name="connsiteY10" fmla="*/ 42324 h 545669"/>
                  <a:gd name="connsiteX11" fmla="*/ 504993 w 553405"/>
                  <a:gd name="connsiteY11" fmla="*/ 44088 h 545669"/>
                  <a:gd name="connsiteX12" fmla="*/ 505515 w 553405"/>
                  <a:gd name="connsiteY12" fmla="*/ 46439 h 545669"/>
                  <a:gd name="connsiteX13" fmla="*/ 506037 w 553405"/>
                  <a:gd name="connsiteY13" fmla="*/ 49966 h 545669"/>
                  <a:gd name="connsiteX14" fmla="*/ 520122 w 553405"/>
                  <a:gd name="connsiteY14" fmla="*/ 165181 h 545669"/>
                  <a:gd name="connsiteX15" fmla="*/ 526904 w 553405"/>
                  <a:gd name="connsiteY15" fmla="*/ 222789 h 545669"/>
                  <a:gd name="connsiteX16" fmla="*/ 534208 w 553405"/>
                  <a:gd name="connsiteY16" fmla="*/ 280984 h 545669"/>
                  <a:gd name="connsiteX17" fmla="*/ 540990 w 553405"/>
                  <a:gd name="connsiteY17" fmla="*/ 347409 h 545669"/>
                  <a:gd name="connsiteX18" fmla="*/ 544120 w 553405"/>
                  <a:gd name="connsiteY18" fmla="*/ 381503 h 545669"/>
                  <a:gd name="connsiteX19" fmla="*/ 546728 w 553405"/>
                  <a:gd name="connsiteY19" fmla="*/ 414422 h 545669"/>
                  <a:gd name="connsiteX20" fmla="*/ 548815 w 553405"/>
                  <a:gd name="connsiteY20" fmla="*/ 448516 h 545669"/>
                  <a:gd name="connsiteX21" fmla="*/ 550902 w 553405"/>
                  <a:gd name="connsiteY21" fmla="*/ 481435 h 545669"/>
                  <a:gd name="connsiteX22" fmla="*/ 552467 w 553405"/>
                  <a:gd name="connsiteY22" fmla="*/ 515529 h 545669"/>
                  <a:gd name="connsiteX23" fmla="*/ 553405 w 553405"/>
                  <a:gd name="connsiteY23" fmla="*/ 545669 h 545669"/>
                  <a:gd name="connsiteX24" fmla="*/ 0 w 553405"/>
                  <a:gd name="connsiteY24" fmla="*/ 545669 h 545669"/>
                  <a:gd name="connsiteX25" fmla="*/ 0 w 553405"/>
                  <a:gd name="connsiteY25" fmla="*/ 531400 h 545669"/>
                  <a:gd name="connsiteX26" fmla="*/ 1044 w 553405"/>
                  <a:gd name="connsiteY26" fmla="*/ 507299 h 545669"/>
                  <a:gd name="connsiteX27" fmla="*/ 2609 w 553405"/>
                  <a:gd name="connsiteY27" fmla="*/ 473793 h 545669"/>
                  <a:gd name="connsiteX28" fmla="*/ 5217 w 553405"/>
                  <a:gd name="connsiteY28" fmla="*/ 439698 h 545669"/>
                  <a:gd name="connsiteX29" fmla="*/ 10434 w 553405"/>
                  <a:gd name="connsiteY29" fmla="*/ 372686 h 545669"/>
                  <a:gd name="connsiteX30" fmla="*/ 17216 w 553405"/>
                  <a:gd name="connsiteY30" fmla="*/ 300382 h 545669"/>
                  <a:gd name="connsiteX31" fmla="*/ 25041 w 553405"/>
                  <a:gd name="connsiteY31" fmla="*/ 228079 h 545669"/>
                  <a:gd name="connsiteX32" fmla="*/ 34432 w 553405"/>
                  <a:gd name="connsiteY32" fmla="*/ 149898 h 545669"/>
                  <a:gd name="connsiteX33" fmla="*/ 44344 w 553405"/>
                  <a:gd name="connsiteY33" fmla="*/ 70540 h 545669"/>
                  <a:gd name="connsiteX34" fmla="*/ 45909 w 553405"/>
                  <a:gd name="connsiteY34" fmla="*/ 62311 h 545669"/>
                  <a:gd name="connsiteX35" fmla="*/ 46430 w 553405"/>
                  <a:gd name="connsiteY35" fmla="*/ 58784 h 545669"/>
                  <a:gd name="connsiteX36" fmla="*/ 46430 w 553405"/>
                  <a:gd name="connsiteY36" fmla="*/ 54669 h 545669"/>
                  <a:gd name="connsiteX37" fmla="*/ 46952 w 553405"/>
                  <a:gd name="connsiteY37" fmla="*/ 49378 h 545669"/>
                  <a:gd name="connsiteX38" fmla="*/ 47995 w 553405"/>
                  <a:gd name="connsiteY38" fmla="*/ 45851 h 545669"/>
                  <a:gd name="connsiteX39" fmla="*/ 49561 w 553405"/>
                  <a:gd name="connsiteY39" fmla="*/ 42912 h 545669"/>
                  <a:gd name="connsiteX40" fmla="*/ 51126 w 553405"/>
                  <a:gd name="connsiteY40" fmla="*/ 40561 h 545669"/>
                  <a:gd name="connsiteX41" fmla="*/ 53212 w 553405"/>
                  <a:gd name="connsiteY41" fmla="*/ 38209 h 545669"/>
                  <a:gd name="connsiteX42" fmla="*/ 55299 w 553405"/>
                  <a:gd name="connsiteY42" fmla="*/ 36446 h 545669"/>
                  <a:gd name="connsiteX43" fmla="*/ 61038 w 553405"/>
                  <a:gd name="connsiteY43" fmla="*/ 33507 h 545669"/>
                  <a:gd name="connsiteX44" fmla="*/ 74601 w 553405"/>
                  <a:gd name="connsiteY44" fmla="*/ 27629 h 545669"/>
                  <a:gd name="connsiteX45" fmla="*/ 88165 w 553405"/>
                  <a:gd name="connsiteY45" fmla="*/ 22926 h 545669"/>
                  <a:gd name="connsiteX46" fmla="*/ 101208 w 553405"/>
                  <a:gd name="connsiteY46" fmla="*/ 18223 h 545669"/>
                  <a:gd name="connsiteX47" fmla="*/ 115293 w 553405"/>
                  <a:gd name="connsiteY47" fmla="*/ 14696 h 545669"/>
                  <a:gd name="connsiteX0" fmla="*/ 115293 w 553405"/>
                  <a:gd name="connsiteY0" fmla="*/ 11756 h 542729"/>
                  <a:gd name="connsiteX1" fmla="*/ 388657 w 553405"/>
                  <a:gd name="connsiteY1" fmla="*/ 0 h 542729"/>
                  <a:gd name="connsiteX2" fmla="*/ 411090 w 553405"/>
                  <a:gd name="connsiteY2" fmla="*/ 4702 h 542729"/>
                  <a:gd name="connsiteX3" fmla="*/ 432479 w 553405"/>
                  <a:gd name="connsiteY3" fmla="*/ 9993 h 542729"/>
                  <a:gd name="connsiteX4" fmla="*/ 453868 w 553405"/>
                  <a:gd name="connsiteY4" fmla="*/ 15871 h 542729"/>
                  <a:gd name="connsiteX5" fmla="*/ 474735 w 553405"/>
                  <a:gd name="connsiteY5" fmla="*/ 23513 h 542729"/>
                  <a:gd name="connsiteX6" fmla="*/ 495603 w 553405"/>
                  <a:gd name="connsiteY6" fmla="*/ 32330 h 542729"/>
                  <a:gd name="connsiteX7" fmla="*/ 499776 w 553405"/>
                  <a:gd name="connsiteY7" fmla="*/ 34682 h 542729"/>
                  <a:gd name="connsiteX8" fmla="*/ 502907 w 553405"/>
                  <a:gd name="connsiteY8" fmla="*/ 37621 h 542729"/>
                  <a:gd name="connsiteX9" fmla="*/ 503950 w 553405"/>
                  <a:gd name="connsiteY9" fmla="*/ 39384 h 542729"/>
                  <a:gd name="connsiteX10" fmla="*/ 504993 w 553405"/>
                  <a:gd name="connsiteY10" fmla="*/ 41148 h 542729"/>
                  <a:gd name="connsiteX11" fmla="*/ 505515 w 553405"/>
                  <a:gd name="connsiteY11" fmla="*/ 43499 h 542729"/>
                  <a:gd name="connsiteX12" fmla="*/ 506037 w 553405"/>
                  <a:gd name="connsiteY12" fmla="*/ 47026 h 542729"/>
                  <a:gd name="connsiteX13" fmla="*/ 520122 w 553405"/>
                  <a:gd name="connsiteY13" fmla="*/ 162241 h 542729"/>
                  <a:gd name="connsiteX14" fmla="*/ 526904 w 553405"/>
                  <a:gd name="connsiteY14" fmla="*/ 219849 h 542729"/>
                  <a:gd name="connsiteX15" fmla="*/ 534208 w 553405"/>
                  <a:gd name="connsiteY15" fmla="*/ 278044 h 542729"/>
                  <a:gd name="connsiteX16" fmla="*/ 540990 w 553405"/>
                  <a:gd name="connsiteY16" fmla="*/ 344469 h 542729"/>
                  <a:gd name="connsiteX17" fmla="*/ 544120 w 553405"/>
                  <a:gd name="connsiteY17" fmla="*/ 378563 h 542729"/>
                  <a:gd name="connsiteX18" fmla="*/ 546728 w 553405"/>
                  <a:gd name="connsiteY18" fmla="*/ 411482 h 542729"/>
                  <a:gd name="connsiteX19" fmla="*/ 548815 w 553405"/>
                  <a:gd name="connsiteY19" fmla="*/ 445576 h 542729"/>
                  <a:gd name="connsiteX20" fmla="*/ 550902 w 553405"/>
                  <a:gd name="connsiteY20" fmla="*/ 478495 h 542729"/>
                  <a:gd name="connsiteX21" fmla="*/ 552467 w 553405"/>
                  <a:gd name="connsiteY21" fmla="*/ 512589 h 542729"/>
                  <a:gd name="connsiteX22" fmla="*/ 553405 w 553405"/>
                  <a:gd name="connsiteY22" fmla="*/ 542729 h 542729"/>
                  <a:gd name="connsiteX23" fmla="*/ 0 w 553405"/>
                  <a:gd name="connsiteY23" fmla="*/ 542729 h 542729"/>
                  <a:gd name="connsiteX24" fmla="*/ 0 w 553405"/>
                  <a:gd name="connsiteY24" fmla="*/ 528460 h 542729"/>
                  <a:gd name="connsiteX25" fmla="*/ 1044 w 553405"/>
                  <a:gd name="connsiteY25" fmla="*/ 504359 h 542729"/>
                  <a:gd name="connsiteX26" fmla="*/ 2609 w 553405"/>
                  <a:gd name="connsiteY26" fmla="*/ 470853 h 542729"/>
                  <a:gd name="connsiteX27" fmla="*/ 5217 w 553405"/>
                  <a:gd name="connsiteY27" fmla="*/ 436758 h 542729"/>
                  <a:gd name="connsiteX28" fmla="*/ 10434 w 553405"/>
                  <a:gd name="connsiteY28" fmla="*/ 369746 h 542729"/>
                  <a:gd name="connsiteX29" fmla="*/ 17216 w 553405"/>
                  <a:gd name="connsiteY29" fmla="*/ 297442 h 542729"/>
                  <a:gd name="connsiteX30" fmla="*/ 25041 w 553405"/>
                  <a:gd name="connsiteY30" fmla="*/ 225139 h 542729"/>
                  <a:gd name="connsiteX31" fmla="*/ 34432 w 553405"/>
                  <a:gd name="connsiteY31" fmla="*/ 146958 h 542729"/>
                  <a:gd name="connsiteX32" fmla="*/ 44344 w 553405"/>
                  <a:gd name="connsiteY32" fmla="*/ 67600 h 542729"/>
                  <a:gd name="connsiteX33" fmla="*/ 45909 w 553405"/>
                  <a:gd name="connsiteY33" fmla="*/ 59371 h 542729"/>
                  <a:gd name="connsiteX34" fmla="*/ 46430 w 553405"/>
                  <a:gd name="connsiteY34" fmla="*/ 55844 h 542729"/>
                  <a:gd name="connsiteX35" fmla="*/ 46430 w 553405"/>
                  <a:gd name="connsiteY35" fmla="*/ 51729 h 542729"/>
                  <a:gd name="connsiteX36" fmla="*/ 46952 w 553405"/>
                  <a:gd name="connsiteY36" fmla="*/ 46438 h 542729"/>
                  <a:gd name="connsiteX37" fmla="*/ 47995 w 553405"/>
                  <a:gd name="connsiteY37" fmla="*/ 42911 h 542729"/>
                  <a:gd name="connsiteX38" fmla="*/ 49561 w 553405"/>
                  <a:gd name="connsiteY38" fmla="*/ 39972 h 542729"/>
                  <a:gd name="connsiteX39" fmla="*/ 51126 w 553405"/>
                  <a:gd name="connsiteY39" fmla="*/ 37621 h 542729"/>
                  <a:gd name="connsiteX40" fmla="*/ 53212 w 553405"/>
                  <a:gd name="connsiteY40" fmla="*/ 35269 h 542729"/>
                  <a:gd name="connsiteX41" fmla="*/ 55299 w 553405"/>
                  <a:gd name="connsiteY41" fmla="*/ 33506 h 542729"/>
                  <a:gd name="connsiteX42" fmla="*/ 61038 w 553405"/>
                  <a:gd name="connsiteY42" fmla="*/ 30567 h 542729"/>
                  <a:gd name="connsiteX43" fmla="*/ 74601 w 553405"/>
                  <a:gd name="connsiteY43" fmla="*/ 24689 h 542729"/>
                  <a:gd name="connsiteX44" fmla="*/ 88165 w 553405"/>
                  <a:gd name="connsiteY44" fmla="*/ 19986 h 542729"/>
                  <a:gd name="connsiteX45" fmla="*/ 101208 w 553405"/>
                  <a:gd name="connsiteY45" fmla="*/ 15283 h 542729"/>
                  <a:gd name="connsiteX46" fmla="*/ 115293 w 553405"/>
                  <a:gd name="connsiteY46" fmla="*/ 11756 h 542729"/>
                  <a:gd name="connsiteX0" fmla="*/ 115293 w 553405"/>
                  <a:gd name="connsiteY0" fmla="*/ 7054 h 538027"/>
                  <a:gd name="connsiteX1" fmla="*/ 411090 w 553405"/>
                  <a:gd name="connsiteY1" fmla="*/ 0 h 538027"/>
                  <a:gd name="connsiteX2" fmla="*/ 432479 w 553405"/>
                  <a:gd name="connsiteY2" fmla="*/ 5291 h 538027"/>
                  <a:gd name="connsiteX3" fmla="*/ 453868 w 553405"/>
                  <a:gd name="connsiteY3" fmla="*/ 11169 h 538027"/>
                  <a:gd name="connsiteX4" fmla="*/ 474735 w 553405"/>
                  <a:gd name="connsiteY4" fmla="*/ 18811 h 538027"/>
                  <a:gd name="connsiteX5" fmla="*/ 495603 w 553405"/>
                  <a:gd name="connsiteY5" fmla="*/ 27628 h 538027"/>
                  <a:gd name="connsiteX6" fmla="*/ 499776 w 553405"/>
                  <a:gd name="connsiteY6" fmla="*/ 29980 h 538027"/>
                  <a:gd name="connsiteX7" fmla="*/ 502907 w 553405"/>
                  <a:gd name="connsiteY7" fmla="*/ 32919 h 538027"/>
                  <a:gd name="connsiteX8" fmla="*/ 503950 w 553405"/>
                  <a:gd name="connsiteY8" fmla="*/ 34682 h 538027"/>
                  <a:gd name="connsiteX9" fmla="*/ 504993 w 553405"/>
                  <a:gd name="connsiteY9" fmla="*/ 36446 h 538027"/>
                  <a:gd name="connsiteX10" fmla="*/ 505515 w 553405"/>
                  <a:gd name="connsiteY10" fmla="*/ 38797 h 538027"/>
                  <a:gd name="connsiteX11" fmla="*/ 506037 w 553405"/>
                  <a:gd name="connsiteY11" fmla="*/ 42324 h 538027"/>
                  <a:gd name="connsiteX12" fmla="*/ 520122 w 553405"/>
                  <a:gd name="connsiteY12" fmla="*/ 157539 h 538027"/>
                  <a:gd name="connsiteX13" fmla="*/ 526904 w 553405"/>
                  <a:gd name="connsiteY13" fmla="*/ 215147 h 538027"/>
                  <a:gd name="connsiteX14" fmla="*/ 534208 w 553405"/>
                  <a:gd name="connsiteY14" fmla="*/ 273342 h 538027"/>
                  <a:gd name="connsiteX15" fmla="*/ 540990 w 553405"/>
                  <a:gd name="connsiteY15" fmla="*/ 339767 h 538027"/>
                  <a:gd name="connsiteX16" fmla="*/ 544120 w 553405"/>
                  <a:gd name="connsiteY16" fmla="*/ 373861 h 538027"/>
                  <a:gd name="connsiteX17" fmla="*/ 546728 w 553405"/>
                  <a:gd name="connsiteY17" fmla="*/ 406780 h 538027"/>
                  <a:gd name="connsiteX18" fmla="*/ 548815 w 553405"/>
                  <a:gd name="connsiteY18" fmla="*/ 440874 h 538027"/>
                  <a:gd name="connsiteX19" fmla="*/ 550902 w 553405"/>
                  <a:gd name="connsiteY19" fmla="*/ 473793 h 538027"/>
                  <a:gd name="connsiteX20" fmla="*/ 552467 w 553405"/>
                  <a:gd name="connsiteY20" fmla="*/ 507887 h 538027"/>
                  <a:gd name="connsiteX21" fmla="*/ 553405 w 553405"/>
                  <a:gd name="connsiteY21" fmla="*/ 538027 h 538027"/>
                  <a:gd name="connsiteX22" fmla="*/ 0 w 553405"/>
                  <a:gd name="connsiteY22" fmla="*/ 538027 h 538027"/>
                  <a:gd name="connsiteX23" fmla="*/ 0 w 553405"/>
                  <a:gd name="connsiteY23" fmla="*/ 523758 h 538027"/>
                  <a:gd name="connsiteX24" fmla="*/ 1044 w 553405"/>
                  <a:gd name="connsiteY24" fmla="*/ 499657 h 538027"/>
                  <a:gd name="connsiteX25" fmla="*/ 2609 w 553405"/>
                  <a:gd name="connsiteY25" fmla="*/ 466151 h 538027"/>
                  <a:gd name="connsiteX26" fmla="*/ 5217 w 553405"/>
                  <a:gd name="connsiteY26" fmla="*/ 432056 h 538027"/>
                  <a:gd name="connsiteX27" fmla="*/ 10434 w 553405"/>
                  <a:gd name="connsiteY27" fmla="*/ 365044 h 538027"/>
                  <a:gd name="connsiteX28" fmla="*/ 17216 w 553405"/>
                  <a:gd name="connsiteY28" fmla="*/ 292740 h 538027"/>
                  <a:gd name="connsiteX29" fmla="*/ 25041 w 553405"/>
                  <a:gd name="connsiteY29" fmla="*/ 220437 h 538027"/>
                  <a:gd name="connsiteX30" fmla="*/ 34432 w 553405"/>
                  <a:gd name="connsiteY30" fmla="*/ 142256 h 538027"/>
                  <a:gd name="connsiteX31" fmla="*/ 44344 w 553405"/>
                  <a:gd name="connsiteY31" fmla="*/ 62898 h 538027"/>
                  <a:gd name="connsiteX32" fmla="*/ 45909 w 553405"/>
                  <a:gd name="connsiteY32" fmla="*/ 54669 h 538027"/>
                  <a:gd name="connsiteX33" fmla="*/ 46430 w 553405"/>
                  <a:gd name="connsiteY33" fmla="*/ 51142 h 538027"/>
                  <a:gd name="connsiteX34" fmla="*/ 46430 w 553405"/>
                  <a:gd name="connsiteY34" fmla="*/ 47027 h 538027"/>
                  <a:gd name="connsiteX35" fmla="*/ 46952 w 553405"/>
                  <a:gd name="connsiteY35" fmla="*/ 41736 h 538027"/>
                  <a:gd name="connsiteX36" fmla="*/ 47995 w 553405"/>
                  <a:gd name="connsiteY36" fmla="*/ 38209 h 538027"/>
                  <a:gd name="connsiteX37" fmla="*/ 49561 w 553405"/>
                  <a:gd name="connsiteY37" fmla="*/ 35270 h 538027"/>
                  <a:gd name="connsiteX38" fmla="*/ 51126 w 553405"/>
                  <a:gd name="connsiteY38" fmla="*/ 32919 h 538027"/>
                  <a:gd name="connsiteX39" fmla="*/ 53212 w 553405"/>
                  <a:gd name="connsiteY39" fmla="*/ 30567 h 538027"/>
                  <a:gd name="connsiteX40" fmla="*/ 55299 w 553405"/>
                  <a:gd name="connsiteY40" fmla="*/ 28804 h 538027"/>
                  <a:gd name="connsiteX41" fmla="*/ 61038 w 553405"/>
                  <a:gd name="connsiteY41" fmla="*/ 25865 h 538027"/>
                  <a:gd name="connsiteX42" fmla="*/ 74601 w 553405"/>
                  <a:gd name="connsiteY42" fmla="*/ 19987 h 538027"/>
                  <a:gd name="connsiteX43" fmla="*/ 88165 w 553405"/>
                  <a:gd name="connsiteY43" fmla="*/ 15284 h 538027"/>
                  <a:gd name="connsiteX44" fmla="*/ 101208 w 553405"/>
                  <a:gd name="connsiteY44" fmla="*/ 10581 h 538027"/>
                  <a:gd name="connsiteX45" fmla="*/ 115293 w 553405"/>
                  <a:gd name="connsiteY45" fmla="*/ 7054 h 538027"/>
                  <a:gd name="connsiteX0" fmla="*/ 115293 w 553405"/>
                  <a:gd name="connsiteY0" fmla="*/ 1763 h 532736"/>
                  <a:gd name="connsiteX1" fmla="*/ 432479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5293 w 553405"/>
                  <a:gd name="connsiteY44" fmla="*/ 1763 h 532736"/>
                  <a:gd name="connsiteX0" fmla="*/ 115293 w 553405"/>
                  <a:gd name="connsiteY0" fmla="*/ 1763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5293 w 553405"/>
                  <a:gd name="connsiteY44" fmla="*/ 1763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75309 w 553405"/>
                  <a:gd name="connsiteY0" fmla="*/ 5208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75309 w 553405"/>
                  <a:gd name="connsiteY44" fmla="*/ 5208 h 532736"/>
                  <a:gd name="connsiteX0" fmla="*/ 175309 w 553405"/>
                  <a:gd name="connsiteY0" fmla="*/ 11938 h 539466"/>
                  <a:gd name="connsiteX1" fmla="*/ 382458 w 553405"/>
                  <a:gd name="connsiteY1" fmla="*/ 0 h 539466"/>
                  <a:gd name="connsiteX2" fmla="*/ 453868 w 553405"/>
                  <a:gd name="connsiteY2" fmla="*/ 12608 h 539466"/>
                  <a:gd name="connsiteX3" fmla="*/ 474735 w 553405"/>
                  <a:gd name="connsiteY3" fmla="*/ 20250 h 539466"/>
                  <a:gd name="connsiteX4" fmla="*/ 495603 w 553405"/>
                  <a:gd name="connsiteY4" fmla="*/ 29067 h 539466"/>
                  <a:gd name="connsiteX5" fmla="*/ 499776 w 553405"/>
                  <a:gd name="connsiteY5" fmla="*/ 31419 h 539466"/>
                  <a:gd name="connsiteX6" fmla="*/ 502907 w 553405"/>
                  <a:gd name="connsiteY6" fmla="*/ 34358 h 539466"/>
                  <a:gd name="connsiteX7" fmla="*/ 503950 w 553405"/>
                  <a:gd name="connsiteY7" fmla="*/ 36121 h 539466"/>
                  <a:gd name="connsiteX8" fmla="*/ 504993 w 553405"/>
                  <a:gd name="connsiteY8" fmla="*/ 37885 h 539466"/>
                  <a:gd name="connsiteX9" fmla="*/ 505515 w 553405"/>
                  <a:gd name="connsiteY9" fmla="*/ 40236 h 539466"/>
                  <a:gd name="connsiteX10" fmla="*/ 506037 w 553405"/>
                  <a:gd name="connsiteY10" fmla="*/ 43763 h 539466"/>
                  <a:gd name="connsiteX11" fmla="*/ 520122 w 553405"/>
                  <a:gd name="connsiteY11" fmla="*/ 158978 h 539466"/>
                  <a:gd name="connsiteX12" fmla="*/ 526904 w 553405"/>
                  <a:gd name="connsiteY12" fmla="*/ 216586 h 539466"/>
                  <a:gd name="connsiteX13" fmla="*/ 534208 w 553405"/>
                  <a:gd name="connsiteY13" fmla="*/ 274781 h 539466"/>
                  <a:gd name="connsiteX14" fmla="*/ 540990 w 553405"/>
                  <a:gd name="connsiteY14" fmla="*/ 341206 h 539466"/>
                  <a:gd name="connsiteX15" fmla="*/ 544120 w 553405"/>
                  <a:gd name="connsiteY15" fmla="*/ 375300 h 539466"/>
                  <a:gd name="connsiteX16" fmla="*/ 546728 w 553405"/>
                  <a:gd name="connsiteY16" fmla="*/ 408219 h 539466"/>
                  <a:gd name="connsiteX17" fmla="*/ 548815 w 553405"/>
                  <a:gd name="connsiteY17" fmla="*/ 442313 h 539466"/>
                  <a:gd name="connsiteX18" fmla="*/ 550902 w 553405"/>
                  <a:gd name="connsiteY18" fmla="*/ 475232 h 539466"/>
                  <a:gd name="connsiteX19" fmla="*/ 552467 w 553405"/>
                  <a:gd name="connsiteY19" fmla="*/ 509326 h 539466"/>
                  <a:gd name="connsiteX20" fmla="*/ 553405 w 553405"/>
                  <a:gd name="connsiteY20" fmla="*/ 539466 h 539466"/>
                  <a:gd name="connsiteX21" fmla="*/ 0 w 553405"/>
                  <a:gd name="connsiteY21" fmla="*/ 539466 h 539466"/>
                  <a:gd name="connsiteX22" fmla="*/ 0 w 553405"/>
                  <a:gd name="connsiteY22" fmla="*/ 525197 h 539466"/>
                  <a:gd name="connsiteX23" fmla="*/ 1044 w 553405"/>
                  <a:gd name="connsiteY23" fmla="*/ 501096 h 539466"/>
                  <a:gd name="connsiteX24" fmla="*/ 2609 w 553405"/>
                  <a:gd name="connsiteY24" fmla="*/ 467590 h 539466"/>
                  <a:gd name="connsiteX25" fmla="*/ 5217 w 553405"/>
                  <a:gd name="connsiteY25" fmla="*/ 433495 h 539466"/>
                  <a:gd name="connsiteX26" fmla="*/ 10434 w 553405"/>
                  <a:gd name="connsiteY26" fmla="*/ 366483 h 539466"/>
                  <a:gd name="connsiteX27" fmla="*/ 17216 w 553405"/>
                  <a:gd name="connsiteY27" fmla="*/ 294179 h 539466"/>
                  <a:gd name="connsiteX28" fmla="*/ 25041 w 553405"/>
                  <a:gd name="connsiteY28" fmla="*/ 221876 h 539466"/>
                  <a:gd name="connsiteX29" fmla="*/ 34432 w 553405"/>
                  <a:gd name="connsiteY29" fmla="*/ 143695 h 539466"/>
                  <a:gd name="connsiteX30" fmla="*/ 44344 w 553405"/>
                  <a:gd name="connsiteY30" fmla="*/ 64337 h 539466"/>
                  <a:gd name="connsiteX31" fmla="*/ 45909 w 553405"/>
                  <a:gd name="connsiteY31" fmla="*/ 56108 h 539466"/>
                  <a:gd name="connsiteX32" fmla="*/ 46430 w 553405"/>
                  <a:gd name="connsiteY32" fmla="*/ 52581 h 539466"/>
                  <a:gd name="connsiteX33" fmla="*/ 46430 w 553405"/>
                  <a:gd name="connsiteY33" fmla="*/ 48466 h 539466"/>
                  <a:gd name="connsiteX34" fmla="*/ 46952 w 553405"/>
                  <a:gd name="connsiteY34" fmla="*/ 43175 h 539466"/>
                  <a:gd name="connsiteX35" fmla="*/ 47995 w 553405"/>
                  <a:gd name="connsiteY35" fmla="*/ 39648 h 539466"/>
                  <a:gd name="connsiteX36" fmla="*/ 49561 w 553405"/>
                  <a:gd name="connsiteY36" fmla="*/ 36709 h 539466"/>
                  <a:gd name="connsiteX37" fmla="*/ 51126 w 553405"/>
                  <a:gd name="connsiteY37" fmla="*/ 34358 h 539466"/>
                  <a:gd name="connsiteX38" fmla="*/ 53212 w 553405"/>
                  <a:gd name="connsiteY38" fmla="*/ 32006 h 539466"/>
                  <a:gd name="connsiteX39" fmla="*/ 55299 w 553405"/>
                  <a:gd name="connsiteY39" fmla="*/ 30243 h 539466"/>
                  <a:gd name="connsiteX40" fmla="*/ 61038 w 553405"/>
                  <a:gd name="connsiteY40" fmla="*/ 27304 h 539466"/>
                  <a:gd name="connsiteX41" fmla="*/ 74601 w 553405"/>
                  <a:gd name="connsiteY41" fmla="*/ 21426 h 539466"/>
                  <a:gd name="connsiteX42" fmla="*/ 88165 w 553405"/>
                  <a:gd name="connsiteY42" fmla="*/ 16723 h 539466"/>
                  <a:gd name="connsiteX43" fmla="*/ 101208 w 553405"/>
                  <a:gd name="connsiteY43" fmla="*/ 12020 h 539466"/>
                  <a:gd name="connsiteX44" fmla="*/ 175309 w 553405"/>
                  <a:gd name="connsiteY44" fmla="*/ 11938 h 539466"/>
                  <a:gd name="connsiteX0" fmla="*/ 187497 w 553405"/>
                  <a:gd name="connsiteY0" fmla="*/ 0 h 539641"/>
                  <a:gd name="connsiteX1" fmla="*/ 382458 w 553405"/>
                  <a:gd name="connsiteY1" fmla="*/ 175 h 539641"/>
                  <a:gd name="connsiteX2" fmla="*/ 453868 w 553405"/>
                  <a:gd name="connsiteY2" fmla="*/ 12783 h 539641"/>
                  <a:gd name="connsiteX3" fmla="*/ 474735 w 553405"/>
                  <a:gd name="connsiteY3" fmla="*/ 20425 h 539641"/>
                  <a:gd name="connsiteX4" fmla="*/ 495603 w 553405"/>
                  <a:gd name="connsiteY4" fmla="*/ 29242 h 539641"/>
                  <a:gd name="connsiteX5" fmla="*/ 499776 w 553405"/>
                  <a:gd name="connsiteY5" fmla="*/ 31594 h 539641"/>
                  <a:gd name="connsiteX6" fmla="*/ 502907 w 553405"/>
                  <a:gd name="connsiteY6" fmla="*/ 34533 h 539641"/>
                  <a:gd name="connsiteX7" fmla="*/ 503950 w 553405"/>
                  <a:gd name="connsiteY7" fmla="*/ 36296 h 539641"/>
                  <a:gd name="connsiteX8" fmla="*/ 504993 w 553405"/>
                  <a:gd name="connsiteY8" fmla="*/ 38060 h 539641"/>
                  <a:gd name="connsiteX9" fmla="*/ 505515 w 553405"/>
                  <a:gd name="connsiteY9" fmla="*/ 40411 h 539641"/>
                  <a:gd name="connsiteX10" fmla="*/ 506037 w 553405"/>
                  <a:gd name="connsiteY10" fmla="*/ 43938 h 539641"/>
                  <a:gd name="connsiteX11" fmla="*/ 520122 w 553405"/>
                  <a:gd name="connsiteY11" fmla="*/ 159153 h 539641"/>
                  <a:gd name="connsiteX12" fmla="*/ 526904 w 553405"/>
                  <a:gd name="connsiteY12" fmla="*/ 216761 h 539641"/>
                  <a:gd name="connsiteX13" fmla="*/ 534208 w 553405"/>
                  <a:gd name="connsiteY13" fmla="*/ 274956 h 539641"/>
                  <a:gd name="connsiteX14" fmla="*/ 540990 w 553405"/>
                  <a:gd name="connsiteY14" fmla="*/ 341381 h 539641"/>
                  <a:gd name="connsiteX15" fmla="*/ 544120 w 553405"/>
                  <a:gd name="connsiteY15" fmla="*/ 375475 h 539641"/>
                  <a:gd name="connsiteX16" fmla="*/ 546728 w 553405"/>
                  <a:gd name="connsiteY16" fmla="*/ 408394 h 539641"/>
                  <a:gd name="connsiteX17" fmla="*/ 548815 w 553405"/>
                  <a:gd name="connsiteY17" fmla="*/ 442488 h 539641"/>
                  <a:gd name="connsiteX18" fmla="*/ 550902 w 553405"/>
                  <a:gd name="connsiteY18" fmla="*/ 475407 h 539641"/>
                  <a:gd name="connsiteX19" fmla="*/ 552467 w 553405"/>
                  <a:gd name="connsiteY19" fmla="*/ 509501 h 539641"/>
                  <a:gd name="connsiteX20" fmla="*/ 553405 w 553405"/>
                  <a:gd name="connsiteY20" fmla="*/ 539641 h 539641"/>
                  <a:gd name="connsiteX21" fmla="*/ 0 w 553405"/>
                  <a:gd name="connsiteY21" fmla="*/ 539641 h 539641"/>
                  <a:gd name="connsiteX22" fmla="*/ 0 w 553405"/>
                  <a:gd name="connsiteY22" fmla="*/ 525372 h 539641"/>
                  <a:gd name="connsiteX23" fmla="*/ 1044 w 553405"/>
                  <a:gd name="connsiteY23" fmla="*/ 501271 h 539641"/>
                  <a:gd name="connsiteX24" fmla="*/ 2609 w 553405"/>
                  <a:gd name="connsiteY24" fmla="*/ 467765 h 539641"/>
                  <a:gd name="connsiteX25" fmla="*/ 5217 w 553405"/>
                  <a:gd name="connsiteY25" fmla="*/ 433670 h 539641"/>
                  <a:gd name="connsiteX26" fmla="*/ 10434 w 553405"/>
                  <a:gd name="connsiteY26" fmla="*/ 366658 h 539641"/>
                  <a:gd name="connsiteX27" fmla="*/ 17216 w 553405"/>
                  <a:gd name="connsiteY27" fmla="*/ 294354 h 539641"/>
                  <a:gd name="connsiteX28" fmla="*/ 25041 w 553405"/>
                  <a:gd name="connsiteY28" fmla="*/ 222051 h 539641"/>
                  <a:gd name="connsiteX29" fmla="*/ 34432 w 553405"/>
                  <a:gd name="connsiteY29" fmla="*/ 143870 h 539641"/>
                  <a:gd name="connsiteX30" fmla="*/ 44344 w 553405"/>
                  <a:gd name="connsiteY30" fmla="*/ 64512 h 539641"/>
                  <a:gd name="connsiteX31" fmla="*/ 45909 w 553405"/>
                  <a:gd name="connsiteY31" fmla="*/ 56283 h 539641"/>
                  <a:gd name="connsiteX32" fmla="*/ 46430 w 553405"/>
                  <a:gd name="connsiteY32" fmla="*/ 52756 h 539641"/>
                  <a:gd name="connsiteX33" fmla="*/ 46430 w 553405"/>
                  <a:gd name="connsiteY33" fmla="*/ 48641 h 539641"/>
                  <a:gd name="connsiteX34" fmla="*/ 46952 w 553405"/>
                  <a:gd name="connsiteY34" fmla="*/ 43350 h 539641"/>
                  <a:gd name="connsiteX35" fmla="*/ 47995 w 553405"/>
                  <a:gd name="connsiteY35" fmla="*/ 39823 h 539641"/>
                  <a:gd name="connsiteX36" fmla="*/ 49561 w 553405"/>
                  <a:gd name="connsiteY36" fmla="*/ 36884 h 539641"/>
                  <a:gd name="connsiteX37" fmla="*/ 51126 w 553405"/>
                  <a:gd name="connsiteY37" fmla="*/ 34533 h 539641"/>
                  <a:gd name="connsiteX38" fmla="*/ 53212 w 553405"/>
                  <a:gd name="connsiteY38" fmla="*/ 32181 h 539641"/>
                  <a:gd name="connsiteX39" fmla="*/ 55299 w 553405"/>
                  <a:gd name="connsiteY39" fmla="*/ 30418 h 539641"/>
                  <a:gd name="connsiteX40" fmla="*/ 61038 w 553405"/>
                  <a:gd name="connsiteY40" fmla="*/ 27479 h 539641"/>
                  <a:gd name="connsiteX41" fmla="*/ 74601 w 553405"/>
                  <a:gd name="connsiteY41" fmla="*/ 21601 h 539641"/>
                  <a:gd name="connsiteX42" fmla="*/ 88165 w 553405"/>
                  <a:gd name="connsiteY42" fmla="*/ 16898 h 539641"/>
                  <a:gd name="connsiteX43" fmla="*/ 101208 w 553405"/>
                  <a:gd name="connsiteY43" fmla="*/ 12195 h 539641"/>
                  <a:gd name="connsiteX44" fmla="*/ 187497 w 553405"/>
                  <a:gd name="connsiteY44" fmla="*/ 0 h 539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53405" h="539641">
                    <a:moveTo>
                      <a:pt x="187497" y="0"/>
                    </a:moveTo>
                    <a:cubicBezTo>
                      <a:pt x="276619" y="37593"/>
                      <a:pt x="304938" y="37939"/>
                      <a:pt x="382458" y="175"/>
                    </a:cubicBezTo>
                    <a:lnTo>
                      <a:pt x="453868" y="12783"/>
                    </a:lnTo>
                    <a:lnTo>
                      <a:pt x="474735" y="20425"/>
                    </a:lnTo>
                    <a:lnTo>
                      <a:pt x="495603" y="29242"/>
                    </a:lnTo>
                    <a:lnTo>
                      <a:pt x="499776" y="31594"/>
                    </a:lnTo>
                    <a:lnTo>
                      <a:pt x="502907" y="34533"/>
                    </a:lnTo>
                    <a:lnTo>
                      <a:pt x="503950" y="36296"/>
                    </a:lnTo>
                    <a:lnTo>
                      <a:pt x="504993" y="38060"/>
                    </a:lnTo>
                    <a:lnTo>
                      <a:pt x="505515" y="40411"/>
                    </a:lnTo>
                    <a:lnTo>
                      <a:pt x="506037" y="43938"/>
                    </a:lnTo>
                    <a:lnTo>
                      <a:pt x="520122" y="159153"/>
                    </a:lnTo>
                    <a:lnTo>
                      <a:pt x="526904" y="216761"/>
                    </a:lnTo>
                    <a:lnTo>
                      <a:pt x="534208" y="274956"/>
                    </a:lnTo>
                    <a:lnTo>
                      <a:pt x="540990" y="341381"/>
                    </a:lnTo>
                    <a:lnTo>
                      <a:pt x="544120" y="375475"/>
                    </a:lnTo>
                    <a:lnTo>
                      <a:pt x="546728" y="408394"/>
                    </a:lnTo>
                    <a:lnTo>
                      <a:pt x="548815" y="442488"/>
                    </a:lnTo>
                    <a:lnTo>
                      <a:pt x="550902" y="475407"/>
                    </a:lnTo>
                    <a:cubicBezTo>
                      <a:pt x="551424" y="486772"/>
                      <a:pt x="551945" y="498136"/>
                      <a:pt x="552467" y="509501"/>
                    </a:cubicBezTo>
                    <a:cubicBezTo>
                      <a:pt x="552780" y="519548"/>
                      <a:pt x="553092" y="529594"/>
                      <a:pt x="553405" y="539641"/>
                    </a:cubicBezTo>
                    <a:lnTo>
                      <a:pt x="0" y="539641"/>
                    </a:lnTo>
                    <a:lnTo>
                      <a:pt x="0" y="525372"/>
                    </a:lnTo>
                    <a:lnTo>
                      <a:pt x="1044" y="501271"/>
                    </a:lnTo>
                    <a:cubicBezTo>
                      <a:pt x="1566" y="490102"/>
                      <a:pt x="2087" y="478934"/>
                      <a:pt x="2609" y="467765"/>
                    </a:cubicBezTo>
                    <a:lnTo>
                      <a:pt x="5217" y="433670"/>
                    </a:lnTo>
                    <a:lnTo>
                      <a:pt x="10434" y="366658"/>
                    </a:lnTo>
                    <a:lnTo>
                      <a:pt x="17216" y="294354"/>
                    </a:lnTo>
                    <a:lnTo>
                      <a:pt x="25041" y="222051"/>
                    </a:lnTo>
                    <a:lnTo>
                      <a:pt x="34432" y="143870"/>
                    </a:lnTo>
                    <a:lnTo>
                      <a:pt x="44344" y="64512"/>
                    </a:lnTo>
                    <a:lnTo>
                      <a:pt x="45909" y="56283"/>
                    </a:lnTo>
                    <a:cubicBezTo>
                      <a:pt x="46083" y="55107"/>
                      <a:pt x="46256" y="53932"/>
                      <a:pt x="46430" y="52756"/>
                    </a:cubicBezTo>
                    <a:lnTo>
                      <a:pt x="46430" y="48641"/>
                    </a:lnTo>
                    <a:lnTo>
                      <a:pt x="46952" y="43350"/>
                    </a:lnTo>
                    <a:lnTo>
                      <a:pt x="47995" y="39823"/>
                    </a:lnTo>
                    <a:lnTo>
                      <a:pt x="49561" y="36884"/>
                    </a:lnTo>
                    <a:lnTo>
                      <a:pt x="51126" y="34533"/>
                    </a:lnTo>
                    <a:lnTo>
                      <a:pt x="53212" y="32181"/>
                    </a:lnTo>
                    <a:lnTo>
                      <a:pt x="55299" y="30418"/>
                    </a:lnTo>
                    <a:lnTo>
                      <a:pt x="61038" y="27479"/>
                    </a:lnTo>
                    <a:lnTo>
                      <a:pt x="74601" y="21601"/>
                    </a:lnTo>
                    <a:lnTo>
                      <a:pt x="88165" y="16898"/>
                    </a:lnTo>
                    <a:lnTo>
                      <a:pt x="101208" y="12195"/>
                    </a:lnTo>
                    <a:lnTo>
                      <a:pt x="187497" y="0"/>
                    </a:lnTo>
                    <a:close/>
                  </a:path>
                </a:pathLst>
              </a:custGeom>
              <a:solidFill>
                <a:srgbClr val="FFFFFF">
                  <a:lumMod val="85000"/>
                </a:srgbClr>
              </a:solidFill>
              <a:ln w="6350">
                <a:solidFill>
                  <a:srgbClr val="FFFFFF">
                    <a:lumMod val="65000"/>
                  </a:srgbClr>
                </a:solidFill>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Arial"/>
                  <a:ea typeface=""/>
                  <a:cs typeface=""/>
                </a:endParaRPr>
              </a:p>
            </p:txBody>
          </p:sp>
          <p:sp>
            <p:nvSpPr>
              <p:cNvPr id="362" name="Rectangle: Rounded Corners 119"/>
              <p:cNvSpPr/>
              <p:nvPr/>
            </p:nvSpPr>
            <p:spPr>
              <a:xfrm>
                <a:off x="3823827" y="4269274"/>
                <a:ext cx="62293" cy="145564"/>
              </a:xfrm>
              <a:prstGeom prst="roundRect">
                <a:avLst>
                  <a:gd name="adj" fmla="val 50000"/>
                </a:avLst>
              </a:prstGeom>
              <a:solidFill>
                <a:srgbClr val="FFFFFF">
                  <a:lumMod val="75000"/>
                </a:srgbClr>
              </a:solidFill>
              <a:ln w="6350">
                <a:solidFill>
                  <a:srgbClr val="FFFFFF">
                    <a:lumMod val="65000"/>
                  </a:srgbClr>
                </a:solidFill>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Arial"/>
                  <a:ea typeface=""/>
                  <a:cs typeface=""/>
                </a:endParaRPr>
              </a:p>
            </p:txBody>
          </p:sp>
          <p:sp>
            <p:nvSpPr>
              <p:cNvPr id="363" name="Rectangle: Rounded Corners 120"/>
              <p:cNvSpPr/>
              <p:nvPr/>
            </p:nvSpPr>
            <p:spPr>
              <a:xfrm>
                <a:off x="3930983" y="4269274"/>
                <a:ext cx="62293" cy="145564"/>
              </a:xfrm>
              <a:prstGeom prst="roundRect">
                <a:avLst>
                  <a:gd name="adj" fmla="val 50000"/>
                </a:avLst>
              </a:prstGeom>
              <a:solidFill>
                <a:srgbClr val="FFFFFF">
                  <a:lumMod val="75000"/>
                </a:srgbClr>
              </a:solidFill>
              <a:ln w="6350">
                <a:solidFill>
                  <a:srgbClr val="FFFFFF">
                    <a:lumMod val="65000"/>
                  </a:srgbClr>
                </a:solidFill>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Arial"/>
                  <a:ea typeface=""/>
                  <a:cs typeface=""/>
                </a:endParaRPr>
              </a:p>
            </p:txBody>
          </p:sp>
          <p:sp>
            <p:nvSpPr>
              <p:cNvPr id="364" name="Freeform: Shape 121"/>
              <p:cNvSpPr/>
              <p:nvPr/>
            </p:nvSpPr>
            <p:spPr>
              <a:xfrm>
                <a:off x="3742840" y="4062427"/>
                <a:ext cx="323389" cy="409033"/>
              </a:xfrm>
              <a:custGeom>
                <a:avLst/>
                <a:gdLst>
                  <a:gd name="connsiteX0" fmla="*/ 54634 w 323389"/>
                  <a:gd name="connsiteY0" fmla="*/ 197003 h 409033"/>
                  <a:gd name="connsiteX1" fmla="*/ 275793 w 323389"/>
                  <a:gd name="connsiteY1" fmla="*/ 197003 h 409033"/>
                  <a:gd name="connsiteX2" fmla="*/ 295281 w 323389"/>
                  <a:gd name="connsiteY2" fmla="*/ 216491 h 409033"/>
                  <a:gd name="connsiteX3" fmla="*/ 275793 w 323389"/>
                  <a:gd name="connsiteY3" fmla="*/ 235979 h 409033"/>
                  <a:gd name="connsiteX4" fmla="*/ 178192 w 323389"/>
                  <a:gd name="connsiteY4" fmla="*/ 235979 h 409033"/>
                  <a:gd name="connsiteX5" fmla="*/ 178813 w 323389"/>
                  <a:gd name="connsiteY5" fmla="*/ 236600 h 409033"/>
                  <a:gd name="connsiteX6" fmla="*/ 178813 w 323389"/>
                  <a:gd name="connsiteY6" fmla="*/ 312624 h 409033"/>
                  <a:gd name="connsiteX7" fmla="*/ 317240 w 323389"/>
                  <a:gd name="connsiteY7" fmla="*/ 363485 h 409033"/>
                  <a:gd name="connsiteX8" fmla="*/ 322811 w 323389"/>
                  <a:gd name="connsiteY8" fmla="*/ 375529 h 409033"/>
                  <a:gd name="connsiteX9" fmla="*/ 319701 w 323389"/>
                  <a:gd name="connsiteY9" fmla="*/ 383994 h 409033"/>
                  <a:gd name="connsiteX10" fmla="*/ 319426 w 323389"/>
                  <a:gd name="connsiteY10" fmla="*/ 384121 h 409033"/>
                  <a:gd name="connsiteX11" fmla="*/ 321494 w 323389"/>
                  <a:gd name="connsiteY11" fmla="*/ 389114 h 409033"/>
                  <a:gd name="connsiteX12" fmla="*/ 301575 w 323389"/>
                  <a:gd name="connsiteY12" fmla="*/ 409033 h 409033"/>
                  <a:gd name="connsiteX13" fmla="*/ 281656 w 323389"/>
                  <a:gd name="connsiteY13" fmla="*/ 389114 h 409033"/>
                  <a:gd name="connsiteX14" fmla="*/ 284929 w 323389"/>
                  <a:gd name="connsiteY14" fmla="*/ 381214 h 409033"/>
                  <a:gd name="connsiteX15" fmla="*/ 163366 w 323389"/>
                  <a:gd name="connsiteY15" fmla="*/ 336548 h 409033"/>
                  <a:gd name="connsiteX16" fmla="*/ 37257 w 323389"/>
                  <a:gd name="connsiteY16" fmla="*/ 382884 h 409033"/>
                  <a:gd name="connsiteX17" fmla="*/ 39838 w 323389"/>
                  <a:gd name="connsiteY17" fmla="*/ 389114 h 409033"/>
                  <a:gd name="connsiteX18" fmla="*/ 19919 w 323389"/>
                  <a:gd name="connsiteY18" fmla="*/ 409033 h 409033"/>
                  <a:gd name="connsiteX19" fmla="*/ 0 w 323389"/>
                  <a:gd name="connsiteY19" fmla="*/ 389114 h 409033"/>
                  <a:gd name="connsiteX20" fmla="*/ 4723 w 323389"/>
                  <a:gd name="connsiteY20" fmla="*/ 377713 h 409033"/>
                  <a:gd name="connsiteX21" fmla="*/ 3920 w 323389"/>
                  <a:gd name="connsiteY21" fmla="*/ 375529 h 409033"/>
                  <a:gd name="connsiteX22" fmla="*/ 9492 w 323389"/>
                  <a:gd name="connsiteY22" fmla="*/ 363485 h 409033"/>
                  <a:gd name="connsiteX23" fmla="*/ 151615 w 323389"/>
                  <a:gd name="connsiteY23" fmla="*/ 311265 h 409033"/>
                  <a:gd name="connsiteX24" fmla="*/ 151615 w 323389"/>
                  <a:gd name="connsiteY24" fmla="*/ 236600 h 409033"/>
                  <a:gd name="connsiteX25" fmla="*/ 152236 w 323389"/>
                  <a:gd name="connsiteY25" fmla="*/ 235979 h 409033"/>
                  <a:gd name="connsiteX26" fmla="*/ 54634 w 323389"/>
                  <a:gd name="connsiteY26" fmla="*/ 235979 h 409033"/>
                  <a:gd name="connsiteX27" fmla="*/ 35146 w 323389"/>
                  <a:gd name="connsiteY27" fmla="*/ 216491 h 409033"/>
                  <a:gd name="connsiteX28" fmla="*/ 54634 w 323389"/>
                  <a:gd name="connsiteY28" fmla="*/ 197003 h 409033"/>
                  <a:gd name="connsiteX29" fmla="*/ 161115 w 323389"/>
                  <a:gd name="connsiteY29" fmla="*/ 3 h 409033"/>
                  <a:gd name="connsiteX30" fmla="*/ 251492 w 323389"/>
                  <a:gd name="connsiteY30" fmla="*/ 46977 h 409033"/>
                  <a:gd name="connsiteX31" fmla="*/ 278829 w 323389"/>
                  <a:gd name="connsiteY31" fmla="*/ 176649 h 409033"/>
                  <a:gd name="connsiteX32" fmla="*/ 270084 w 323389"/>
                  <a:gd name="connsiteY32" fmla="*/ 190251 h 409033"/>
                  <a:gd name="connsiteX33" fmla="*/ 55357 w 323389"/>
                  <a:gd name="connsiteY33" fmla="*/ 190737 h 409033"/>
                  <a:gd name="connsiteX34" fmla="*/ 45155 w 323389"/>
                  <a:gd name="connsiteY34" fmla="*/ 180535 h 409033"/>
                  <a:gd name="connsiteX35" fmla="*/ 70188 w 323389"/>
                  <a:gd name="connsiteY35" fmla="*/ 46977 h 409033"/>
                  <a:gd name="connsiteX36" fmla="*/ 161115 w 323389"/>
                  <a:gd name="connsiteY36" fmla="*/ 3 h 40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23389" h="409033">
                    <a:moveTo>
                      <a:pt x="54634" y="197003"/>
                    </a:moveTo>
                    <a:lnTo>
                      <a:pt x="275793" y="197003"/>
                    </a:lnTo>
                    <a:cubicBezTo>
                      <a:pt x="286556" y="197003"/>
                      <a:pt x="295281" y="205728"/>
                      <a:pt x="295281" y="216491"/>
                    </a:cubicBezTo>
                    <a:cubicBezTo>
                      <a:pt x="295281" y="227254"/>
                      <a:pt x="286556" y="235979"/>
                      <a:pt x="275793" y="235979"/>
                    </a:cubicBezTo>
                    <a:lnTo>
                      <a:pt x="178192" y="235979"/>
                    </a:lnTo>
                    <a:lnTo>
                      <a:pt x="178813" y="236600"/>
                    </a:lnTo>
                    <a:lnTo>
                      <a:pt x="178813" y="312624"/>
                    </a:lnTo>
                    <a:lnTo>
                      <a:pt x="317240" y="363485"/>
                    </a:lnTo>
                    <a:cubicBezTo>
                      <a:pt x="322104" y="365272"/>
                      <a:pt x="324598" y="370665"/>
                      <a:pt x="322811" y="375529"/>
                    </a:cubicBezTo>
                    <a:lnTo>
                      <a:pt x="319701" y="383994"/>
                    </a:lnTo>
                    <a:lnTo>
                      <a:pt x="319426" y="384121"/>
                    </a:lnTo>
                    <a:lnTo>
                      <a:pt x="321494" y="389114"/>
                    </a:lnTo>
                    <a:cubicBezTo>
                      <a:pt x="321494" y="400115"/>
                      <a:pt x="312576" y="409033"/>
                      <a:pt x="301575" y="409033"/>
                    </a:cubicBezTo>
                    <a:cubicBezTo>
                      <a:pt x="290574" y="409033"/>
                      <a:pt x="281656" y="400115"/>
                      <a:pt x="281656" y="389114"/>
                    </a:cubicBezTo>
                    <a:lnTo>
                      <a:pt x="284929" y="381214"/>
                    </a:lnTo>
                    <a:lnTo>
                      <a:pt x="163366" y="336548"/>
                    </a:lnTo>
                    <a:lnTo>
                      <a:pt x="37257" y="382884"/>
                    </a:lnTo>
                    <a:lnTo>
                      <a:pt x="39838" y="389114"/>
                    </a:lnTo>
                    <a:cubicBezTo>
                      <a:pt x="39838" y="400115"/>
                      <a:pt x="30920" y="409033"/>
                      <a:pt x="19919" y="409033"/>
                    </a:cubicBezTo>
                    <a:cubicBezTo>
                      <a:pt x="8918" y="409033"/>
                      <a:pt x="0" y="400115"/>
                      <a:pt x="0" y="389114"/>
                    </a:cubicBezTo>
                    <a:lnTo>
                      <a:pt x="4723" y="377713"/>
                    </a:lnTo>
                    <a:lnTo>
                      <a:pt x="3920" y="375529"/>
                    </a:lnTo>
                    <a:cubicBezTo>
                      <a:pt x="2133" y="370665"/>
                      <a:pt x="4627" y="365272"/>
                      <a:pt x="9492" y="363485"/>
                    </a:cubicBezTo>
                    <a:lnTo>
                      <a:pt x="151615" y="311265"/>
                    </a:lnTo>
                    <a:lnTo>
                      <a:pt x="151615" y="236600"/>
                    </a:lnTo>
                    <a:lnTo>
                      <a:pt x="152236" y="235979"/>
                    </a:lnTo>
                    <a:lnTo>
                      <a:pt x="54634" y="235979"/>
                    </a:lnTo>
                    <a:cubicBezTo>
                      <a:pt x="43871" y="235979"/>
                      <a:pt x="35146" y="227254"/>
                      <a:pt x="35146" y="216491"/>
                    </a:cubicBezTo>
                    <a:cubicBezTo>
                      <a:pt x="35146" y="205728"/>
                      <a:pt x="43871" y="197003"/>
                      <a:pt x="54634" y="197003"/>
                    </a:cubicBezTo>
                    <a:close/>
                    <a:moveTo>
                      <a:pt x="161115" y="3"/>
                    </a:moveTo>
                    <a:cubicBezTo>
                      <a:pt x="198297" y="-283"/>
                      <a:pt x="235387" y="15089"/>
                      <a:pt x="251492" y="46977"/>
                    </a:cubicBezTo>
                    <a:lnTo>
                      <a:pt x="278829" y="176649"/>
                    </a:lnTo>
                    <a:cubicBezTo>
                      <a:pt x="279800" y="182640"/>
                      <a:pt x="278343" y="189117"/>
                      <a:pt x="270084" y="190251"/>
                    </a:cubicBezTo>
                    <a:lnTo>
                      <a:pt x="55357" y="190737"/>
                    </a:lnTo>
                    <a:cubicBezTo>
                      <a:pt x="49527" y="189279"/>
                      <a:pt x="44669" y="190737"/>
                      <a:pt x="45155" y="180535"/>
                    </a:cubicBezTo>
                    <a:lnTo>
                      <a:pt x="70188" y="46977"/>
                    </a:lnTo>
                    <a:cubicBezTo>
                      <a:pt x="86660" y="16233"/>
                      <a:pt x="123934" y="289"/>
                      <a:pt x="161115" y="3"/>
                    </a:cubicBezTo>
                    <a:close/>
                  </a:path>
                </a:pathLst>
              </a:cu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932449"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grpSp>
        <p:sp>
          <p:nvSpPr>
            <p:cNvPr id="366" name="Freeform 18"/>
            <p:cNvSpPr>
              <a:spLocks noChangeAspect="1" noEditPoints="1"/>
            </p:cNvSpPr>
            <p:nvPr/>
          </p:nvSpPr>
          <p:spPr bwMode="auto">
            <a:xfrm>
              <a:off x="7910994" y="2819054"/>
              <a:ext cx="332186" cy="231930"/>
            </a:xfrm>
            <a:custGeom>
              <a:avLst/>
              <a:gdLst>
                <a:gd name="T0" fmla="*/ 885 w 1591"/>
                <a:gd name="T1" fmla="*/ 606 h 1109"/>
                <a:gd name="T2" fmla="*/ 493 w 1591"/>
                <a:gd name="T3" fmla="*/ 606 h 1109"/>
                <a:gd name="T4" fmla="*/ 483 w 1591"/>
                <a:gd name="T5" fmla="*/ 592 h 1109"/>
                <a:gd name="T6" fmla="*/ 424 w 1591"/>
                <a:gd name="T7" fmla="*/ 501 h 1109"/>
                <a:gd name="T8" fmla="*/ 310 w 1591"/>
                <a:gd name="T9" fmla="*/ 842 h 1109"/>
                <a:gd name="T10" fmla="*/ 147 w 1591"/>
                <a:gd name="T11" fmla="*/ 606 h 1109"/>
                <a:gd name="T12" fmla="*/ 0 w 1591"/>
                <a:gd name="T13" fmla="*/ 606 h 1109"/>
                <a:gd name="T14" fmla="*/ 0 w 1591"/>
                <a:gd name="T15" fmla="*/ 502 h 1109"/>
                <a:gd name="T16" fmla="*/ 201 w 1591"/>
                <a:gd name="T17" fmla="*/ 502 h 1109"/>
                <a:gd name="T18" fmla="*/ 278 w 1591"/>
                <a:gd name="T19" fmla="*/ 612 h 1109"/>
                <a:gd name="T20" fmla="*/ 394 w 1591"/>
                <a:gd name="T21" fmla="*/ 265 h 1109"/>
                <a:gd name="T22" fmla="*/ 497 w 1591"/>
                <a:gd name="T23" fmla="*/ 424 h 1109"/>
                <a:gd name="T24" fmla="*/ 549 w 1591"/>
                <a:gd name="T25" fmla="*/ 502 h 1109"/>
                <a:gd name="T26" fmla="*/ 885 w 1591"/>
                <a:gd name="T27" fmla="*/ 502 h 1109"/>
                <a:gd name="T28" fmla="*/ 904 w 1591"/>
                <a:gd name="T29" fmla="*/ 464 h 1109"/>
                <a:gd name="T30" fmla="*/ 923 w 1591"/>
                <a:gd name="T31" fmla="*/ 441 h 1109"/>
                <a:gd name="T32" fmla="*/ 940 w 1591"/>
                <a:gd name="T33" fmla="*/ 426 h 1109"/>
                <a:gd name="T34" fmla="*/ 1036 w 1591"/>
                <a:gd name="T35" fmla="*/ 394 h 1109"/>
                <a:gd name="T36" fmla="*/ 1157 w 1591"/>
                <a:gd name="T37" fmla="*/ 448 h 1109"/>
                <a:gd name="T38" fmla="*/ 1196 w 1591"/>
                <a:gd name="T39" fmla="*/ 554 h 1109"/>
                <a:gd name="T40" fmla="*/ 1036 w 1591"/>
                <a:gd name="T41" fmla="*/ 714 h 1109"/>
                <a:gd name="T42" fmla="*/ 940 w 1591"/>
                <a:gd name="T43" fmla="*/ 682 h 1109"/>
                <a:gd name="T44" fmla="*/ 904 w 1591"/>
                <a:gd name="T45" fmla="*/ 644 h 1109"/>
                <a:gd name="T46" fmla="*/ 885 w 1591"/>
                <a:gd name="T47" fmla="*/ 606 h 1109"/>
                <a:gd name="T48" fmla="*/ 1036 w 1591"/>
                <a:gd name="T49" fmla="*/ 809 h 1109"/>
                <a:gd name="T50" fmla="*/ 816 w 1591"/>
                <a:gd name="T51" fmla="*/ 682 h 1109"/>
                <a:gd name="T52" fmla="*/ 701 w 1591"/>
                <a:gd name="T53" fmla="*/ 682 h 1109"/>
                <a:gd name="T54" fmla="*/ 1036 w 1591"/>
                <a:gd name="T55" fmla="*/ 913 h 1109"/>
                <a:gd name="T56" fmla="*/ 1396 w 1591"/>
                <a:gd name="T57" fmla="*/ 554 h 1109"/>
                <a:gd name="T58" fmla="*/ 1036 w 1591"/>
                <a:gd name="T59" fmla="*/ 195 h 1109"/>
                <a:gd name="T60" fmla="*/ 701 w 1591"/>
                <a:gd name="T61" fmla="*/ 426 h 1109"/>
                <a:gd name="T62" fmla="*/ 816 w 1591"/>
                <a:gd name="T63" fmla="*/ 426 h 1109"/>
                <a:gd name="T64" fmla="*/ 1036 w 1591"/>
                <a:gd name="T65" fmla="*/ 299 h 1109"/>
                <a:gd name="T66" fmla="*/ 1292 w 1591"/>
                <a:gd name="T67" fmla="*/ 554 h 1109"/>
                <a:gd name="T68" fmla="*/ 1036 w 1591"/>
                <a:gd name="T69" fmla="*/ 809 h 1109"/>
                <a:gd name="T70" fmla="*/ 1036 w 1591"/>
                <a:gd name="T71" fmla="*/ 0 h 1109"/>
                <a:gd name="T72" fmla="*/ 528 w 1591"/>
                <a:gd name="T73" fmla="*/ 332 h 1109"/>
                <a:gd name="T74" fmla="*/ 590 w 1591"/>
                <a:gd name="T75" fmla="*/ 426 h 1109"/>
                <a:gd name="T76" fmla="*/ 605 w 1591"/>
                <a:gd name="T77" fmla="*/ 426 h 1109"/>
                <a:gd name="T78" fmla="*/ 1036 w 1591"/>
                <a:gd name="T79" fmla="*/ 104 h 1109"/>
                <a:gd name="T80" fmla="*/ 1487 w 1591"/>
                <a:gd name="T81" fmla="*/ 554 h 1109"/>
                <a:gd name="T82" fmla="*/ 1036 w 1591"/>
                <a:gd name="T83" fmla="*/ 1005 h 1109"/>
                <a:gd name="T84" fmla="*/ 605 w 1591"/>
                <a:gd name="T85" fmla="*/ 682 h 1109"/>
                <a:gd name="T86" fmla="*/ 497 w 1591"/>
                <a:gd name="T87" fmla="*/ 682 h 1109"/>
                <a:gd name="T88" fmla="*/ 1036 w 1591"/>
                <a:gd name="T89" fmla="*/ 1109 h 1109"/>
                <a:gd name="T90" fmla="*/ 1591 w 1591"/>
                <a:gd name="T91" fmla="*/ 554 h 1109"/>
                <a:gd name="T92" fmla="*/ 1036 w 1591"/>
                <a:gd name="T93"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91" h="1109">
                  <a:moveTo>
                    <a:pt x="885" y="606"/>
                  </a:moveTo>
                  <a:cubicBezTo>
                    <a:pt x="493" y="606"/>
                    <a:pt x="493" y="606"/>
                    <a:pt x="493" y="606"/>
                  </a:cubicBezTo>
                  <a:cubicBezTo>
                    <a:pt x="483" y="592"/>
                    <a:pt x="483" y="592"/>
                    <a:pt x="483" y="592"/>
                  </a:cubicBezTo>
                  <a:cubicBezTo>
                    <a:pt x="424" y="501"/>
                    <a:pt x="424" y="501"/>
                    <a:pt x="424" y="501"/>
                  </a:cubicBezTo>
                  <a:cubicBezTo>
                    <a:pt x="310" y="842"/>
                    <a:pt x="310" y="842"/>
                    <a:pt x="310" y="842"/>
                  </a:cubicBezTo>
                  <a:cubicBezTo>
                    <a:pt x="147" y="606"/>
                    <a:pt x="147" y="606"/>
                    <a:pt x="147" y="606"/>
                  </a:cubicBezTo>
                  <a:cubicBezTo>
                    <a:pt x="0" y="606"/>
                    <a:pt x="0" y="606"/>
                    <a:pt x="0" y="606"/>
                  </a:cubicBezTo>
                  <a:cubicBezTo>
                    <a:pt x="0" y="502"/>
                    <a:pt x="0" y="502"/>
                    <a:pt x="0" y="502"/>
                  </a:cubicBezTo>
                  <a:cubicBezTo>
                    <a:pt x="201" y="502"/>
                    <a:pt x="201" y="502"/>
                    <a:pt x="201" y="502"/>
                  </a:cubicBezTo>
                  <a:cubicBezTo>
                    <a:pt x="278" y="612"/>
                    <a:pt x="278" y="612"/>
                    <a:pt x="278" y="612"/>
                  </a:cubicBezTo>
                  <a:cubicBezTo>
                    <a:pt x="394" y="265"/>
                    <a:pt x="394" y="265"/>
                    <a:pt x="394" y="265"/>
                  </a:cubicBezTo>
                  <a:cubicBezTo>
                    <a:pt x="497" y="424"/>
                    <a:pt x="497" y="424"/>
                    <a:pt x="497" y="424"/>
                  </a:cubicBezTo>
                  <a:cubicBezTo>
                    <a:pt x="549" y="502"/>
                    <a:pt x="549" y="502"/>
                    <a:pt x="549" y="502"/>
                  </a:cubicBezTo>
                  <a:cubicBezTo>
                    <a:pt x="885" y="502"/>
                    <a:pt x="885" y="502"/>
                    <a:pt x="885" y="502"/>
                  </a:cubicBezTo>
                  <a:cubicBezTo>
                    <a:pt x="890" y="488"/>
                    <a:pt x="896" y="476"/>
                    <a:pt x="904" y="464"/>
                  </a:cubicBezTo>
                  <a:cubicBezTo>
                    <a:pt x="910" y="456"/>
                    <a:pt x="916" y="448"/>
                    <a:pt x="923" y="441"/>
                  </a:cubicBezTo>
                  <a:cubicBezTo>
                    <a:pt x="929" y="436"/>
                    <a:pt x="934" y="431"/>
                    <a:pt x="940" y="426"/>
                  </a:cubicBezTo>
                  <a:cubicBezTo>
                    <a:pt x="967" y="406"/>
                    <a:pt x="1000" y="394"/>
                    <a:pt x="1036" y="394"/>
                  </a:cubicBezTo>
                  <a:cubicBezTo>
                    <a:pt x="1084" y="394"/>
                    <a:pt x="1127" y="415"/>
                    <a:pt x="1157" y="448"/>
                  </a:cubicBezTo>
                  <a:cubicBezTo>
                    <a:pt x="1181" y="477"/>
                    <a:pt x="1196" y="514"/>
                    <a:pt x="1196" y="554"/>
                  </a:cubicBezTo>
                  <a:cubicBezTo>
                    <a:pt x="1196" y="642"/>
                    <a:pt x="1125" y="714"/>
                    <a:pt x="1036" y="714"/>
                  </a:cubicBezTo>
                  <a:cubicBezTo>
                    <a:pt x="1000" y="714"/>
                    <a:pt x="967" y="702"/>
                    <a:pt x="940" y="682"/>
                  </a:cubicBezTo>
                  <a:cubicBezTo>
                    <a:pt x="926" y="671"/>
                    <a:pt x="914" y="659"/>
                    <a:pt x="904" y="644"/>
                  </a:cubicBezTo>
                  <a:cubicBezTo>
                    <a:pt x="896" y="632"/>
                    <a:pt x="890" y="620"/>
                    <a:pt x="885" y="606"/>
                  </a:cubicBezTo>
                  <a:close/>
                  <a:moveTo>
                    <a:pt x="1036" y="809"/>
                  </a:moveTo>
                  <a:cubicBezTo>
                    <a:pt x="942" y="809"/>
                    <a:pt x="860" y="758"/>
                    <a:pt x="816" y="682"/>
                  </a:cubicBezTo>
                  <a:cubicBezTo>
                    <a:pt x="701" y="682"/>
                    <a:pt x="701" y="682"/>
                    <a:pt x="701" y="682"/>
                  </a:cubicBezTo>
                  <a:cubicBezTo>
                    <a:pt x="753" y="817"/>
                    <a:pt x="884" y="913"/>
                    <a:pt x="1036" y="913"/>
                  </a:cubicBezTo>
                  <a:cubicBezTo>
                    <a:pt x="1234" y="913"/>
                    <a:pt x="1396" y="752"/>
                    <a:pt x="1396" y="554"/>
                  </a:cubicBezTo>
                  <a:cubicBezTo>
                    <a:pt x="1396" y="356"/>
                    <a:pt x="1234" y="195"/>
                    <a:pt x="1036" y="195"/>
                  </a:cubicBezTo>
                  <a:cubicBezTo>
                    <a:pt x="884" y="195"/>
                    <a:pt x="753" y="291"/>
                    <a:pt x="701" y="426"/>
                  </a:cubicBezTo>
                  <a:cubicBezTo>
                    <a:pt x="816" y="426"/>
                    <a:pt x="816" y="426"/>
                    <a:pt x="816" y="426"/>
                  </a:cubicBezTo>
                  <a:cubicBezTo>
                    <a:pt x="860" y="350"/>
                    <a:pt x="942" y="299"/>
                    <a:pt x="1036" y="299"/>
                  </a:cubicBezTo>
                  <a:cubicBezTo>
                    <a:pt x="1177" y="299"/>
                    <a:pt x="1292" y="413"/>
                    <a:pt x="1292" y="554"/>
                  </a:cubicBezTo>
                  <a:cubicBezTo>
                    <a:pt x="1292" y="695"/>
                    <a:pt x="1177" y="809"/>
                    <a:pt x="1036" y="809"/>
                  </a:cubicBezTo>
                  <a:close/>
                  <a:moveTo>
                    <a:pt x="1036" y="0"/>
                  </a:moveTo>
                  <a:cubicBezTo>
                    <a:pt x="810" y="0"/>
                    <a:pt x="614" y="136"/>
                    <a:pt x="528" y="332"/>
                  </a:cubicBezTo>
                  <a:cubicBezTo>
                    <a:pt x="590" y="426"/>
                    <a:pt x="590" y="426"/>
                    <a:pt x="590" y="426"/>
                  </a:cubicBezTo>
                  <a:cubicBezTo>
                    <a:pt x="605" y="426"/>
                    <a:pt x="605" y="426"/>
                    <a:pt x="605" y="426"/>
                  </a:cubicBezTo>
                  <a:cubicBezTo>
                    <a:pt x="660" y="240"/>
                    <a:pt x="833" y="104"/>
                    <a:pt x="1036" y="104"/>
                  </a:cubicBezTo>
                  <a:cubicBezTo>
                    <a:pt x="1285" y="104"/>
                    <a:pt x="1487" y="306"/>
                    <a:pt x="1487" y="554"/>
                  </a:cubicBezTo>
                  <a:cubicBezTo>
                    <a:pt x="1487" y="802"/>
                    <a:pt x="1285" y="1005"/>
                    <a:pt x="1036" y="1005"/>
                  </a:cubicBezTo>
                  <a:cubicBezTo>
                    <a:pt x="833" y="1005"/>
                    <a:pt x="660" y="868"/>
                    <a:pt x="605" y="682"/>
                  </a:cubicBezTo>
                  <a:cubicBezTo>
                    <a:pt x="497" y="682"/>
                    <a:pt x="497" y="682"/>
                    <a:pt x="497" y="682"/>
                  </a:cubicBezTo>
                  <a:cubicBezTo>
                    <a:pt x="555" y="926"/>
                    <a:pt x="775" y="1109"/>
                    <a:pt x="1036" y="1109"/>
                  </a:cubicBezTo>
                  <a:cubicBezTo>
                    <a:pt x="1342" y="1109"/>
                    <a:pt x="1591" y="860"/>
                    <a:pt x="1591" y="554"/>
                  </a:cubicBezTo>
                  <a:cubicBezTo>
                    <a:pt x="1591" y="248"/>
                    <a:pt x="1342" y="0"/>
                    <a:pt x="1036" y="0"/>
                  </a:cubicBezTo>
                  <a:close/>
                </a:path>
              </a:pathLst>
            </a:custGeom>
            <a:solidFill>
              <a:srgbClr val="555558"/>
            </a:solidFill>
            <a:ln>
              <a:noFill/>
            </a:ln>
          </p:spPr>
          <p:txBody>
            <a:bodyPr vert="horz" wrap="square" lIns="68574" tIns="34289" rIns="68574" bIns="34289" numCol="1" anchor="t" anchorCtr="0" compatLnSpc="1">
              <a:prstTxWarp prst="textNoShape">
                <a:avLst/>
              </a:prstTxWarp>
            </a:bodyPr>
            <a:lstStyle/>
            <a:p>
              <a:pPr marL="0" marR="0" lvl="0" indent="0" algn="l" defTabSz="10314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62626"/>
                </a:solidFill>
                <a:effectLst/>
                <a:uLnTx/>
                <a:uFillTx/>
                <a:latin typeface="Roboto Condensed"/>
                <a:ea typeface=""/>
                <a:cs typeface="FontAwesome"/>
              </a:endParaRPr>
            </a:p>
          </p:txBody>
        </p:sp>
      </p:grpSp>
      <p:grpSp>
        <p:nvGrpSpPr>
          <p:cNvPr id="4" name="Group 3"/>
          <p:cNvGrpSpPr/>
          <p:nvPr/>
        </p:nvGrpSpPr>
        <p:grpSpPr>
          <a:xfrm>
            <a:off x="505429" y="3585589"/>
            <a:ext cx="3715730" cy="1105824"/>
            <a:chOff x="505429" y="3585588"/>
            <a:chExt cx="3715730" cy="1105824"/>
          </a:xfrm>
        </p:grpSpPr>
        <p:grpSp>
          <p:nvGrpSpPr>
            <p:cNvPr id="205" name="Group 204"/>
            <p:cNvGrpSpPr/>
            <p:nvPr/>
          </p:nvGrpSpPr>
          <p:grpSpPr>
            <a:xfrm>
              <a:off x="505429" y="3585588"/>
              <a:ext cx="3715730" cy="1088231"/>
              <a:chOff x="2532834" y="1743075"/>
              <a:chExt cx="1955023" cy="1088231"/>
            </a:xfrm>
          </p:grpSpPr>
          <p:sp>
            <p:nvSpPr>
              <p:cNvPr id="206" name="Rectangle 20"/>
              <p:cNvSpPr>
                <a:spLocks noChangeArrowheads="1"/>
              </p:cNvSpPr>
              <p:nvPr/>
            </p:nvSpPr>
            <p:spPr bwMode="auto">
              <a:xfrm>
                <a:off x="2532834" y="1991309"/>
                <a:ext cx="1955023" cy="839997"/>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black"/>
                  </a:solidFill>
                  <a:effectLst/>
                  <a:uLnTx/>
                  <a:uFillTx/>
                  <a:latin typeface="Calibri"/>
                  <a:ea typeface="ＭＳ Ｐゴシック" charset="0"/>
                  <a:cs typeface="+mn-cs"/>
                </a:endParaRPr>
              </a:p>
            </p:txBody>
          </p:sp>
          <p:sp>
            <p:nvSpPr>
              <p:cNvPr id="207" name="Rectangle 21"/>
              <p:cNvSpPr>
                <a:spLocks noChangeArrowheads="1"/>
              </p:cNvSpPr>
              <p:nvPr/>
            </p:nvSpPr>
            <p:spPr bwMode="auto">
              <a:xfrm>
                <a:off x="2532834" y="1743075"/>
                <a:ext cx="1955023" cy="235293"/>
              </a:xfrm>
              <a:prstGeom prst="rect">
                <a:avLst/>
              </a:prstGeom>
              <a:solidFill>
                <a:schemeClr val="accent3"/>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l" defTabSz="68571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Light"/>
                    <a:ea typeface="ＭＳ Ｐゴシック" charset="0"/>
                    <a:cs typeface="+mn-cs"/>
                  </a:rPr>
                  <a:t>Open Access</a:t>
                </a:r>
              </a:p>
            </p:txBody>
          </p:sp>
        </p:grpSp>
        <p:sp>
          <p:nvSpPr>
            <p:cNvPr id="208" name="TextBox 207"/>
            <p:cNvSpPr txBox="1"/>
            <p:nvPr/>
          </p:nvSpPr>
          <p:spPr>
            <a:xfrm>
              <a:off x="857609" y="4429802"/>
              <a:ext cx="458780" cy="261610"/>
            </a:xfrm>
            <a:prstGeom prst="rect">
              <a:avLst/>
            </a:prstGeom>
            <a:noFill/>
          </p:spPr>
          <p:txBody>
            <a:bodyPr wrap="none"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black"/>
                  </a:solidFill>
                  <a:effectLst/>
                  <a:uLnTx/>
                  <a:uFillTx/>
                  <a:latin typeface="Calibri"/>
                  <a:ea typeface="ＭＳ Ｐゴシック" charset="0"/>
                  <a:cs typeface="+mn-cs"/>
                </a:rPr>
                <a:t>Web</a:t>
              </a:r>
              <a:endParaRPr kumimoji="0" lang="en-AU" sz="1100" b="1" i="0" u="none" strike="noStrike" kern="1200" cap="none" spc="0" normalizeH="0" baseline="0" noProof="0" dirty="0">
                <a:ln>
                  <a:noFill/>
                </a:ln>
                <a:solidFill>
                  <a:prstClr val="black"/>
                </a:solidFill>
                <a:effectLst/>
                <a:uLnTx/>
                <a:uFillTx/>
                <a:latin typeface="Calibri"/>
                <a:ea typeface="ＭＳ Ｐゴシック" charset="0"/>
                <a:cs typeface="+mn-cs"/>
              </a:endParaRPr>
            </a:p>
          </p:txBody>
        </p:sp>
        <p:grpSp>
          <p:nvGrpSpPr>
            <p:cNvPr id="373" name="Group 372"/>
            <p:cNvGrpSpPr/>
            <p:nvPr/>
          </p:nvGrpSpPr>
          <p:grpSpPr>
            <a:xfrm>
              <a:off x="809529" y="3923805"/>
              <a:ext cx="578554" cy="470391"/>
              <a:chOff x="687079" y="4010809"/>
              <a:chExt cx="608226" cy="494516"/>
            </a:xfrm>
          </p:grpSpPr>
          <p:grpSp>
            <p:nvGrpSpPr>
              <p:cNvPr id="367" name="Group 366"/>
              <p:cNvGrpSpPr>
                <a:grpSpLocks noChangeAspect="1"/>
              </p:cNvGrpSpPr>
              <p:nvPr/>
            </p:nvGrpSpPr>
            <p:grpSpPr>
              <a:xfrm>
                <a:off x="687079" y="4010809"/>
                <a:ext cx="608226" cy="494516"/>
                <a:chOff x="572756" y="4356495"/>
                <a:chExt cx="701979" cy="386989"/>
              </a:xfrm>
            </p:grpSpPr>
            <p:sp>
              <p:nvSpPr>
                <p:cNvPr id="368" name="Freeform 294"/>
                <p:cNvSpPr>
                  <a:spLocks noChangeAspect="1"/>
                </p:cNvSpPr>
                <p:nvPr/>
              </p:nvSpPr>
              <p:spPr bwMode="auto">
                <a:xfrm>
                  <a:off x="572756" y="4701485"/>
                  <a:ext cx="701979" cy="41999"/>
                </a:xfrm>
                <a:custGeom>
                  <a:avLst/>
                  <a:gdLst>
                    <a:gd name="T0" fmla="*/ 288 w 297"/>
                    <a:gd name="T1" fmla="*/ 18 h 18"/>
                    <a:gd name="T2" fmla="*/ 10 w 297"/>
                    <a:gd name="T3" fmla="*/ 18 h 18"/>
                    <a:gd name="T4" fmla="*/ 0 w 297"/>
                    <a:gd name="T5" fmla="*/ 9 h 18"/>
                    <a:gd name="T6" fmla="*/ 10 w 297"/>
                    <a:gd name="T7" fmla="*/ 0 h 18"/>
                    <a:gd name="T8" fmla="*/ 288 w 297"/>
                    <a:gd name="T9" fmla="*/ 0 h 18"/>
                    <a:gd name="T10" fmla="*/ 297 w 297"/>
                    <a:gd name="T11" fmla="*/ 9 h 18"/>
                    <a:gd name="T12" fmla="*/ 288 w 29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297" h="18">
                      <a:moveTo>
                        <a:pt x="288" y="18"/>
                      </a:moveTo>
                      <a:cubicBezTo>
                        <a:pt x="10" y="18"/>
                        <a:pt x="10" y="18"/>
                        <a:pt x="10" y="18"/>
                      </a:cubicBezTo>
                      <a:cubicBezTo>
                        <a:pt x="4" y="18"/>
                        <a:pt x="0" y="14"/>
                        <a:pt x="0" y="9"/>
                      </a:cubicBezTo>
                      <a:cubicBezTo>
                        <a:pt x="0" y="4"/>
                        <a:pt x="4" y="0"/>
                        <a:pt x="10" y="0"/>
                      </a:cubicBezTo>
                      <a:cubicBezTo>
                        <a:pt x="288" y="0"/>
                        <a:pt x="288" y="0"/>
                        <a:pt x="288" y="0"/>
                      </a:cubicBezTo>
                      <a:cubicBezTo>
                        <a:pt x="293" y="0"/>
                        <a:pt x="297" y="4"/>
                        <a:pt x="297" y="9"/>
                      </a:cubicBezTo>
                      <a:cubicBezTo>
                        <a:pt x="297" y="14"/>
                        <a:pt x="293" y="18"/>
                        <a:pt x="288"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369" name="Freeform 295"/>
                <p:cNvSpPr>
                  <a:spLocks noChangeAspect="1" noEditPoints="1"/>
                </p:cNvSpPr>
                <p:nvPr/>
              </p:nvSpPr>
              <p:spPr bwMode="auto">
                <a:xfrm>
                  <a:off x="650754" y="4356495"/>
                  <a:ext cx="545983" cy="306991"/>
                </a:xfrm>
                <a:custGeom>
                  <a:avLst/>
                  <a:gdLst>
                    <a:gd name="T0" fmla="*/ 216 w 231"/>
                    <a:gd name="T1" fmla="*/ 11 h 130"/>
                    <a:gd name="T2" fmla="*/ 221 w 231"/>
                    <a:gd name="T3" fmla="*/ 16 h 130"/>
                    <a:gd name="T4" fmla="*/ 221 w 231"/>
                    <a:gd name="T5" fmla="*/ 115 h 130"/>
                    <a:gd name="T6" fmla="*/ 216 w 231"/>
                    <a:gd name="T7" fmla="*/ 120 h 130"/>
                    <a:gd name="T8" fmla="*/ 15 w 231"/>
                    <a:gd name="T9" fmla="*/ 120 h 130"/>
                    <a:gd name="T10" fmla="*/ 10 w 231"/>
                    <a:gd name="T11" fmla="*/ 115 h 130"/>
                    <a:gd name="T12" fmla="*/ 10 w 231"/>
                    <a:gd name="T13" fmla="*/ 16 h 130"/>
                    <a:gd name="T14" fmla="*/ 15 w 231"/>
                    <a:gd name="T15" fmla="*/ 11 h 130"/>
                    <a:gd name="T16" fmla="*/ 216 w 231"/>
                    <a:gd name="T17" fmla="*/ 11 h 130"/>
                    <a:gd name="T18" fmla="*/ 216 w 231"/>
                    <a:gd name="T19" fmla="*/ 0 h 130"/>
                    <a:gd name="T20" fmla="*/ 15 w 231"/>
                    <a:gd name="T21" fmla="*/ 0 h 130"/>
                    <a:gd name="T22" fmla="*/ 0 w 231"/>
                    <a:gd name="T23" fmla="*/ 16 h 130"/>
                    <a:gd name="T24" fmla="*/ 0 w 231"/>
                    <a:gd name="T25" fmla="*/ 115 h 130"/>
                    <a:gd name="T26" fmla="*/ 15 w 231"/>
                    <a:gd name="T27" fmla="*/ 130 h 130"/>
                    <a:gd name="T28" fmla="*/ 216 w 231"/>
                    <a:gd name="T29" fmla="*/ 130 h 130"/>
                    <a:gd name="T30" fmla="*/ 231 w 231"/>
                    <a:gd name="T31" fmla="*/ 115 h 130"/>
                    <a:gd name="T32" fmla="*/ 231 w 231"/>
                    <a:gd name="T33" fmla="*/ 16 h 130"/>
                    <a:gd name="T34" fmla="*/ 216 w 231"/>
                    <a:gd name="T3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1" h="130">
                      <a:moveTo>
                        <a:pt x="216" y="11"/>
                      </a:moveTo>
                      <a:cubicBezTo>
                        <a:pt x="219" y="11"/>
                        <a:pt x="221" y="13"/>
                        <a:pt x="221" y="16"/>
                      </a:cubicBezTo>
                      <a:cubicBezTo>
                        <a:pt x="221" y="115"/>
                        <a:pt x="221" y="115"/>
                        <a:pt x="221" y="115"/>
                      </a:cubicBezTo>
                      <a:cubicBezTo>
                        <a:pt x="221" y="118"/>
                        <a:pt x="219" y="120"/>
                        <a:pt x="216" y="120"/>
                      </a:cubicBezTo>
                      <a:cubicBezTo>
                        <a:pt x="15" y="120"/>
                        <a:pt x="15" y="120"/>
                        <a:pt x="15" y="120"/>
                      </a:cubicBezTo>
                      <a:cubicBezTo>
                        <a:pt x="12" y="120"/>
                        <a:pt x="10" y="118"/>
                        <a:pt x="10" y="115"/>
                      </a:cubicBezTo>
                      <a:cubicBezTo>
                        <a:pt x="10" y="16"/>
                        <a:pt x="10" y="16"/>
                        <a:pt x="10" y="16"/>
                      </a:cubicBezTo>
                      <a:cubicBezTo>
                        <a:pt x="10" y="13"/>
                        <a:pt x="12" y="11"/>
                        <a:pt x="15" y="11"/>
                      </a:cubicBezTo>
                      <a:cubicBezTo>
                        <a:pt x="216" y="11"/>
                        <a:pt x="216" y="11"/>
                        <a:pt x="216" y="11"/>
                      </a:cubicBezTo>
                      <a:moveTo>
                        <a:pt x="216" y="0"/>
                      </a:moveTo>
                      <a:cubicBezTo>
                        <a:pt x="15" y="0"/>
                        <a:pt x="15" y="0"/>
                        <a:pt x="15" y="0"/>
                      </a:cubicBezTo>
                      <a:cubicBezTo>
                        <a:pt x="7" y="0"/>
                        <a:pt x="0" y="7"/>
                        <a:pt x="0" y="16"/>
                      </a:cubicBezTo>
                      <a:cubicBezTo>
                        <a:pt x="0" y="115"/>
                        <a:pt x="0" y="115"/>
                        <a:pt x="0" y="115"/>
                      </a:cubicBezTo>
                      <a:cubicBezTo>
                        <a:pt x="0" y="123"/>
                        <a:pt x="7" y="130"/>
                        <a:pt x="15" y="130"/>
                      </a:cubicBezTo>
                      <a:cubicBezTo>
                        <a:pt x="216" y="130"/>
                        <a:pt x="216" y="130"/>
                        <a:pt x="216" y="130"/>
                      </a:cubicBezTo>
                      <a:cubicBezTo>
                        <a:pt x="224" y="130"/>
                        <a:pt x="231" y="123"/>
                        <a:pt x="231" y="115"/>
                      </a:cubicBezTo>
                      <a:cubicBezTo>
                        <a:pt x="231" y="16"/>
                        <a:pt x="231" y="16"/>
                        <a:pt x="231" y="16"/>
                      </a:cubicBezTo>
                      <a:cubicBezTo>
                        <a:pt x="231" y="7"/>
                        <a:pt x="224" y="0"/>
                        <a:pt x="2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grpSp>
          <p:pic>
            <p:nvPicPr>
              <p:cNvPr id="372" name="Picture 371"/>
              <p:cNvPicPr>
                <a:picLocks noChangeAspect="1"/>
              </p:cNvPicPr>
              <p:nvPr/>
            </p:nvPicPr>
            <p:blipFill>
              <a:blip r:embed="rId3">
                <a:clrChange>
                  <a:clrFrom>
                    <a:srgbClr val="FFFFFF"/>
                  </a:clrFrom>
                  <a:clrTo>
                    <a:srgbClr val="FFFFFF">
                      <a:alpha val="0"/>
                    </a:srgbClr>
                  </a:clrTo>
                </a:clrChange>
              </a:blip>
              <a:stretch>
                <a:fillRect/>
              </a:stretch>
            </p:blipFill>
            <p:spPr>
              <a:xfrm>
                <a:off x="827935" y="4059130"/>
                <a:ext cx="322196" cy="306495"/>
              </a:xfrm>
              <a:prstGeom prst="rect">
                <a:avLst/>
              </a:prstGeom>
            </p:spPr>
          </p:pic>
        </p:grpSp>
        <p:grpSp>
          <p:nvGrpSpPr>
            <p:cNvPr id="389" name="Group 388"/>
            <p:cNvGrpSpPr>
              <a:grpSpLocks noChangeAspect="1"/>
            </p:cNvGrpSpPr>
            <p:nvPr/>
          </p:nvGrpSpPr>
          <p:grpSpPr>
            <a:xfrm>
              <a:off x="1794918" y="3930656"/>
              <a:ext cx="442159" cy="442938"/>
              <a:chOff x="5790601" y="1358639"/>
              <a:chExt cx="566984" cy="567982"/>
            </a:xfrm>
            <a:solidFill>
              <a:schemeClr val="accent1"/>
            </a:solidFill>
          </p:grpSpPr>
          <p:sp>
            <p:nvSpPr>
              <p:cNvPr id="390" name="Freeform 272"/>
              <p:cNvSpPr>
                <a:spLocks/>
              </p:cNvSpPr>
              <p:nvPr/>
            </p:nvSpPr>
            <p:spPr bwMode="auto">
              <a:xfrm>
                <a:off x="6019590" y="1358639"/>
                <a:ext cx="106997" cy="567982"/>
              </a:xfrm>
              <a:custGeom>
                <a:avLst/>
                <a:gdLst>
                  <a:gd name="T0" fmla="*/ 0 w 45"/>
                  <a:gd name="T1" fmla="*/ 217 h 240"/>
                  <a:gd name="T2" fmla="*/ 0 w 45"/>
                  <a:gd name="T3" fmla="*/ 22 h 240"/>
                  <a:gd name="T4" fmla="*/ 23 w 45"/>
                  <a:gd name="T5" fmla="*/ 0 h 240"/>
                  <a:gd name="T6" fmla="*/ 45 w 45"/>
                  <a:gd name="T7" fmla="*/ 22 h 240"/>
                  <a:gd name="T8" fmla="*/ 45 w 45"/>
                  <a:gd name="T9" fmla="*/ 217 h 240"/>
                  <a:gd name="T10" fmla="*/ 23 w 45"/>
                  <a:gd name="T11" fmla="*/ 240 h 240"/>
                  <a:gd name="T12" fmla="*/ 0 w 45"/>
                  <a:gd name="T13" fmla="*/ 217 h 240"/>
                </a:gdLst>
                <a:ahLst/>
                <a:cxnLst>
                  <a:cxn ang="0">
                    <a:pos x="T0" y="T1"/>
                  </a:cxn>
                  <a:cxn ang="0">
                    <a:pos x="T2" y="T3"/>
                  </a:cxn>
                  <a:cxn ang="0">
                    <a:pos x="T4" y="T5"/>
                  </a:cxn>
                  <a:cxn ang="0">
                    <a:pos x="T6" y="T7"/>
                  </a:cxn>
                  <a:cxn ang="0">
                    <a:pos x="T8" y="T9"/>
                  </a:cxn>
                  <a:cxn ang="0">
                    <a:pos x="T10" y="T11"/>
                  </a:cxn>
                  <a:cxn ang="0">
                    <a:pos x="T12" y="T13"/>
                  </a:cxn>
                </a:cxnLst>
                <a:rect l="0" t="0" r="r" b="b"/>
                <a:pathLst>
                  <a:path w="45" h="240">
                    <a:moveTo>
                      <a:pt x="0" y="217"/>
                    </a:moveTo>
                    <a:cubicBezTo>
                      <a:pt x="0" y="22"/>
                      <a:pt x="0" y="22"/>
                      <a:pt x="0" y="22"/>
                    </a:cubicBezTo>
                    <a:cubicBezTo>
                      <a:pt x="0" y="10"/>
                      <a:pt x="10" y="0"/>
                      <a:pt x="23" y="0"/>
                    </a:cubicBezTo>
                    <a:cubicBezTo>
                      <a:pt x="35" y="0"/>
                      <a:pt x="45" y="10"/>
                      <a:pt x="45" y="22"/>
                    </a:cubicBezTo>
                    <a:cubicBezTo>
                      <a:pt x="45" y="217"/>
                      <a:pt x="45" y="217"/>
                      <a:pt x="45" y="217"/>
                    </a:cubicBezTo>
                    <a:cubicBezTo>
                      <a:pt x="45" y="230"/>
                      <a:pt x="35" y="240"/>
                      <a:pt x="23" y="240"/>
                    </a:cubicBezTo>
                    <a:cubicBezTo>
                      <a:pt x="10" y="240"/>
                      <a:pt x="0" y="230"/>
                      <a:pt x="0"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391" name="Freeform 273"/>
              <p:cNvSpPr>
                <a:spLocks/>
              </p:cNvSpPr>
              <p:nvPr/>
            </p:nvSpPr>
            <p:spPr bwMode="auto">
              <a:xfrm>
                <a:off x="5790601" y="1587631"/>
                <a:ext cx="566984" cy="106997"/>
              </a:xfrm>
              <a:custGeom>
                <a:avLst/>
                <a:gdLst>
                  <a:gd name="T0" fmla="*/ 22 w 240"/>
                  <a:gd name="T1" fmla="*/ 0 h 45"/>
                  <a:gd name="T2" fmla="*/ 217 w 240"/>
                  <a:gd name="T3" fmla="*/ 0 h 45"/>
                  <a:gd name="T4" fmla="*/ 240 w 240"/>
                  <a:gd name="T5" fmla="*/ 23 h 45"/>
                  <a:gd name="T6" fmla="*/ 217 w 240"/>
                  <a:gd name="T7" fmla="*/ 45 h 45"/>
                  <a:gd name="T8" fmla="*/ 22 w 240"/>
                  <a:gd name="T9" fmla="*/ 45 h 45"/>
                  <a:gd name="T10" fmla="*/ 0 w 240"/>
                  <a:gd name="T11" fmla="*/ 23 h 45"/>
                  <a:gd name="T12" fmla="*/ 22 w 240"/>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40" h="45">
                    <a:moveTo>
                      <a:pt x="22" y="0"/>
                    </a:moveTo>
                    <a:cubicBezTo>
                      <a:pt x="217" y="0"/>
                      <a:pt x="217" y="0"/>
                      <a:pt x="217" y="0"/>
                    </a:cubicBezTo>
                    <a:cubicBezTo>
                      <a:pt x="229" y="0"/>
                      <a:pt x="240" y="10"/>
                      <a:pt x="240" y="23"/>
                    </a:cubicBezTo>
                    <a:cubicBezTo>
                      <a:pt x="240" y="35"/>
                      <a:pt x="229" y="45"/>
                      <a:pt x="217" y="45"/>
                    </a:cubicBezTo>
                    <a:cubicBezTo>
                      <a:pt x="22" y="45"/>
                      <a:pt x="22" y="45"/>
                      <a:pt x="22" y="45"/>
                    </a:cubicBezTo>
                    <a:cubicBezTo>
                      <a:pt x="10" y="45"/>
                      <a:pt x="0" y="35"/>
                      <a:pt x="0" y="23"/>
                    </a:cubicBezTo>
                    <a:cubicBezTo>
                      <a:pt x="0" y="10"/>
                      <a:pt x="10"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392" name="Freeform 274"/>
              <p:cNvSpPr>
                <a:spLocks/>
              </p:cNvSpPr>
              <p:nvPr/>
            </p:nvSpPr>
            <p:spPr bwMode="auto">
              <a:xfrm>
                <a:off x="5851598" y="1420637"/>
                <a:ext cx="441987" cy="441986"/>
              </a:xfrm>
              <a:custGeom>
                <a:avLst/>
                <a:gdLst>
                  <a:gd name="T0" fmla="*/ 9 w 187"/>
                  <a:gd name="T1" fmla="*/ 147 h 187"/>
                  <a:gd name="T2" fmla="*/ 147 w 187"/>
                  <a:gd name="T3" fmla="*/ 9 h 187"/>
                  <a:gd name="T4" fmla="*/ 178 w 187"/>
                  <a:gd name="T5" fmla="*/ 9 h 187"/>
                  <a:gd name="T6" fmla="*/ 178 w 187"/>
                  <a:gd name="T7" fmla="*/ 41 h 187"/>
                  <a:gd name="T8" fmla="*/ 41 w 187"/>
                  <a:gd name="T9" fmla="*/ 178 h 187"/>
                  <a:gd name="T10" fmla="*/ 9 w 187"/>
                  <a:gd name="T11" fmla="*/ 178 h 187"/>
                  <a:gd name="T12" fmla="*/ 9 w 187"/>
                  <a:gd name="T13" fmla="*/ 178 h 187"/>
                  <a:gd name="T14" fmla="*/ 9 w 187"/>
                  <a:gd name="T15" fmla="*/ 147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87">
                    <a:moveTo>
                      <a:pt x="9" y="147"/>
                    </a:moveTo>
                    <a:cubicBezTo>
                      <a:pt x="147" y="9"/>
                      <a:pt x="147" y="9"/>
                      <a:pt x="147" y="9"/>
                    </a:cubicBezTo>
                    <a:cubicBezTo>
                      <a:pt x="155" y="0"/>
                      <a:pt x="170" y="0"/>
                      <a:pt x="178" y="9"/>
                    </a:cubicBezTo>
                    <a:cubicBezTo>
                      <a:pt x="187" y="18"/>
                      <a:pt x="187" y="32"/>
                      <a:pt x="178" y="41"/>
                    </a:cubicBezTo>
                    <a:cubicBezTo>
                      <a:pt x="41" y="178"/>
                      <a:pt x="41" y="178"/>
                      <a:pt x="41" y="178"/>
                    </a:cubicBezTo>
                    <a:cubicBezTo>
                      <a:pt x="32" y="187"/>
                      <a:pt x="18" y="187"/>
                      <a:pt x="9" y="178"/>
                    </a:cubicBezTo>
                    <a:cubicBezTo>
                      <a:pt x="9" y="178"/>
                      <a:pt x="9" y="178"/>
                      <a:pt x="9" y="178"/>
                    </a:cubicBezTo>
                    <a:cubicBezTo>
                      <a:pt x="0" y="170"/>
                      <a:pt x="0" y="155"/>
                      <a:pt x="9"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393" name="Freeform 275"/>
              <p:cNvSpPr>
                <a:spLocks/>
              </p:cNvSpPr>
              <p:nvPr/>
            </p:nvSpPr>
            <p:spPr bwMode="auto">
              <a:xfrm>
                <a:off x="5851588" y="1420638"/>
                <a:ext cx="441986" cy="441987"/>
              </a:xfrm>
              <a:custGeom>
                <a:avLst/>
                <a:gdLst>
                  <a:gd name="T0" fmla="*/ 41 w 187"/>
                  <a:gd name="T1" fmla="*/ 9 h 187"/>
                  <a:gd name="T2" fmla="*/ 178 w 187"/>
                  <a:gd name="T3" fmla="*/ 147 h 187"/>
                  <a:gd name="T4" fmla="*/ 178 w 187"/>
                  <a:gd name="T5" fmla="*/ 178 h 187"/>
                  <a:gd name="T6" fmla="*/ 147 w 187"/>
                  <a:gd name="T7" fmla="*/ 178 h 187"/>
                  <a:gd name="T8" fmla="*/ 9 w 187"/>
                  <a:gd name="T9" fmla="*/ 41 h 187"/>
                  <a:gd name="T10" fmla="*/ 9 w 187"/>
                  <a:gd name="T11" fmla="*/ 9 h 187"/>
                  <a:gd name="T12" fmla="*/ 9 w 187"/>
                  <a:gd name="T13" fmla="*/ 9 h 187"/>
                  <a:gd name="T14" fmla="*/ 41 w 187"/>
                  <a:gd name="T15" fmla="*/ 9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87">
                    <a:moveTo>
                      <a:pt x="41" y="9"/>
                    </a:moveTo>
                    <a:cubicBezTo>
                      <a:pt x="178" y="147"/>
                      <a:pt x="178" y="147"/>
                      <a:pt x="178" y="147"/>
                    </a:cubicBezTo>
                    <a:cubicBezTo>
                      <a:pt x="187" y="155"/>
                      <a:pt x="187" y="170"/>
                      <a:pt x="178" y="178"/>
                    </a:cubicBezTo>
                    <a:cubicBezTo>
                      <a:pt x="170" y="187"/>
                      <a:pt x="155" y="187"/>
                      <a:pt x="147" y="178"/>
                    </a:cubicBezTo>
                    <a:cubicBezTo>
                      <a:pt x="9" y="41"/>
                      <a:pt x="9" y="41"/>
                      <a:pt x="9" y="41"/>
                    </a:cubicBezTo>
                    <a:cubicBezTo>
                      <a:pt x="0" y="32"/>
                      <a:pt x="0" y="18"/>
                      <a:pt x="9" y="9"/>
                    </a:cubicBezTo>
                    <a:cubicBezTo>
                      <a:pt x="9" y="9"/>
                      <a:pt x="9" y="9"/>
                      <a:pt x="9" y="9"/>
                    </a:cubicBezTo>
                    <a:cubicBezTo>
                      <a:pt x="18" y="0"/>
                      <a:pt x="32" y="0"/>
                      <a:pt x="4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394" name="Freeform 277"/>
              <p:cNvSpPr>
                <a:spLocks noEditPoints="1"/>
              </p:cNvSpPr>
              <p:nvPr/>
            </p:nvSpPr>
            <p:spPr bwMode="auto">
              <a:xfrm>
                <a:off x="5899593" y="1467638"/>
                <a:ext cx="346989" cy="346989"/>
              </a:xfrm>
              <a:custGeom>
                <a:avLst/>
                <a:gdLst>
                  <a:gd name="T0" fmla="*/ 74 w 147"/>
                  <a:gd name="T1" fmla="*/ 36 h 147"/>
                  <a:gd name="T2" fmla="*/ 112 w 147"/>
                  <a:gd name="T3" fmla="*/ 74 h 147"/>
                  <a:gd name="T4" fmla="*/ 74 w 147"/>
                  <a:gd name="T5" fmla="*/ 112 h 147"/>
                  <a:gd name="T6" fmla="*/ 35 w 147"/>
                  <a:gd name="T7" fmla="*/ 74 h 147"/>
                  <a:gd name="T8" fmla="*/ 74 w 147"/>
                  <a:gd name="T9" fmla="*/ 36 h 147"/>
                  <a:gd name="T10" fmla="*/ 74 w 147"/>
                  <a:gd name="T11" fmla="*/ 0 h 147"/>
                  <a:gd name="T12" fmla="*/ 0 w 147"/>
                  <a:gd name="T13" fmla="*/ 74 h 147"/>
                  <a:gd name="T14" fmla="*/ 74 w 147"/>
                  <a:gd name="T15" fmla="*/ 147 h 147"/>
                  <a:gd name="T16" fmla="*/ 147 w 147"/>
                  <a:gd name="T17" fmla="*/ 74 h 147"/>
                  <a:gd name="T18" fmla="*/ 74 w 147"/>
                  <a:gd name="T1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47">
                    <a:moveTo>
                      <a:pt x="74" y="36"/>
                    </a:moveTo>
                    <a:cubicBezTo>
                      <a:pt x="95" y="36"/>
                      <a:pt x="112" y="53"/>
                      <a:pt x="112" y="74"/>
                    </a:cubicBezTo>
                    <a:cubicBezTo>
                      <a:pt x="112" y="95"/>
                      <a:pt x="95" y="112"/>
                      <a:pt x="74" y="112"/>
                    </a:cubicBezTo>
                    <a:cubicBezTo>
                      <a:pt x="53" y="112"/>
                      <a:pt x="35" y="95"/>
                      <a:pt x="35" y="74"/>
                    </a:cubicBezTo>
                    <a:cubicBezTo>
                      <a:pt x="35" y="53"/>
                      <a:pt x="53" y="36"/>
                      <a:pt x="74" y="36"/>
                    </a:cubicBezTo>
                    <a:moveTo>
                      <a:pt x="74" y="0"/>
                    </a:moveTo>
                    <a:cubicBezTo>
                      <a:pt x="33" y="0"/>
                      <a:pt x="0" y="33"/>
                      <a:pt x="0" y="74"/>
                    </a:cubicBezTo>
                    <a:cubicBezTo>
                      <a:pt x="0" y="114"/>
                      <a:pt x="33" y="147"/>
                      <a:pt x="74" y="147"/>
                    </a:cubicBezTo>
                    <a:cubicBezTo>
                      <a:pt x="114" y="147"/>
                      <a:pt x="147" y="114"/>
                      <a:pt x="147" y="74"/>
                    </a:cubicBezTo>
                    <a:cubicBezTo>
                      <a:pt x="147" y="33"/>
                      <a:pt x="114" y="0"/>
                      <a:pt x="7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grpSp>
        <p:sp>
          <p:nvSpPr>
            <p:cNvPr id="395" name="TextBox 394"/>
            <p:cNvSpPr txBox="1"/>
            <p:nvPr/>
          </p:nvSpPr>
          <p:spPr>
            <a:xfrm>
              <a:off x="1679629" y="4429802"/>
              <a:ext cx="670376" cy="261610"/>
            </a:xfrm>
            <a:prstGeom prst="rect">
              <a:avLst/>
            </a:prstGeom>
            <a:noFill/>
          </p:spPr>
          <p:txBody>
            <a:bodyPr wrap="none"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prstClr val="black"/>
                  </a:solidFill>
                  <a:effectLst/>
                  <a:uLnTx/>
                  <a:uFillTx/>
                  <a:latin typeface="Calibri"/>
                  <a:ea typeface="ＭＳ Ｐゴシック" charset="0"/>
                  <a:cs typeface="+mn-cs"/>
                </a:rPr>
                <a:t>Rest API</a:t>
              </a:r>
            </a:p>
          </p:txBody>
        </p:sp>
        <p:grpSp>
          <p:nvGrpSpPr>
            <p:cNvPr id="396" name="Group 11"/>
            <p:cNvGrpSpPr>
              <a:grpSpLocks noChangeAspect="1"/>
            </p:cNvGrpSpPr>
            <p:nvPr/>
          </p:nvGrpSpPr>
          <p:grpSpPr bwMode="auto">
            <a:xfrm>
              <a:off x="2668521" y="3916788"/>
              <a:ext cx="444224" cy="443435"/>
              <a:chOff x="4886" y="2318"/>
              <a:chExt cx="562" cy="561"/>
            </a:xfrm>
          </p:grpSpPr>
          <p:sp>
            <p:nvSpPr>
              <p:cNvPr id="397" name="Freeform 12"/>
              <p:cNvSpPr>
                <a:spLocks/>
              </p:cNvSpPr>
              <p:nvPr/>
            </p:nvSpPr>
            <p:spPr bwMode="auto">
              <a:xfrm>
                <a:off x="5121" y="2552"/>
                <a:ext cx="327" cy="327"/>
              </a:xfrm>
              <a:custGeom>
                <a:avLst/>
                <a:gdLst>
                  <a:gd name="T0" fmla="*/ 190 w 380"/>
                  <a:gd name="T1" fmla="*/ 0 h 380"/>
                  <a:gd name="T2" fmla="*/ 116 w 380"/>
                  <a:gd name="T3" fmla="*/ 15 h 380"/>
                  <a:gd name="T4" fmla="*/ 32 w 380"/>
                  <a:gd name="T5" fmla="*/ 84 h 380"/>
                  <a:gd name="T6" fmla="*/ 0 w 380"/>
                  <a:gd name="T7" fmla="*/ 190 h 380"/>
                  <a:gd name="T8" fmla="*/ 35 w 380"/>
                  <a:gd name="T9" fmla="*/ 190 h 380"/>
                  <a:gd name="T10" fmla="*/ 71 w 380"/>
                  <a:gd name="T11" fmla="*/ 190 h 380"/>
                  <a:gd name="T12" fmla="*/ 80 w 380"/>
                  <a:gd name="T13" fmla="*/ 144 h 380"/>
                  <a:gd name="T14" fmla="*/ 123 w 380"/>
                  <a:gd name="T15" fmla="*/ 91 h 380"/>
                  <a:gd name="T16" fmla="*/ 190 w 380"/>
                  <a:gd name="T17" fmla="*/ 71 h 380"/>
                  <a:gd name="T18" fmla="*/ 236 w 380"/>
                  <a:gd name="T19" fmla="*/ 80 h 380"/>
                  <a:gd name="T20" fmla="*/ 288 w 380"/>
                  <a:gd name="T21" fmla="*/ 123 h 380"/>
                  <a:gd name="T22" fmla="*/ 309 w 380"/>
                  <a:gd name="T23" fmla="*/ 190 h 380"/>
                  <a:gd name="T24" fmla="*/ 299 w 380"/>
                  <a:gd name="T25" fmla="*/ 236 h 380"/>
                  <a:gd name="T26" fmla="*/ 256 w 380"/>
                  <a:gd name="T27" fmla="*/ 288 h 380"/>
                  <a:gd name="T28" fmla="*/ 190 w 380"/>
                  <a:gd name="T29" fmla="*/ 309 h 380"/>
                  <a:gd name="T30" fmla="*/ 144 w 380"/>
                  <a:gd name="T31" fmla="*/ 299 h 380"/>
                  <a:gd name="T32" fmla="*/ 91 w 380"/>
                  <a:gd name="T33" fmla="*/ 256 h 380"/>
                  <a:gd name="T34" fmla="*/ 71 w 380"/>
                  <a:gd name="T35" fmla="*/ 190 h 380"/>
                  <a:gd name="T36" fmla="*/ 35 w 380"/>
                  <a:gd name="T37" fmla="*/ 190 h 380"/>
                  <a:gd name="T38" fmla="*/ 0 w 380"/>
                  <a:gd name="T39" fmla="*/ 190 h 380"/>
                  <a:gd name="T40" fmla="*/ 15 w 380"/>
                  <a:gd name="T41" fmla="*/ 264 h 380"/>
                  <a:gd name="T42" fmla="*/ 84 w 380"/>
                  <a:gd name="T43" fmla="*/ 347 h 380"/>
                  <a:gd name="T44" fmla="*/ 190 w 380"/>
                  <a:gd name="T45" fmla="*/ 380 h 380"/>
                  <a:gd name="T46" fmla="*/ 190 w 380"/>
                  <a:gd name="T47" fmla="*/ 380 h 380"/>
                  <a:gd name="T48" fmla="*/ 190 w 380"/>
                  <a:gd name="T49" fmla="*/ 380 h 380"/>
                  <a:gd name="T50" fmla="*/ 264 w 380"/>
                  <a:gd name="T51" fmla="*/ 365 h 380"/>
                  <a:gd name="T52" fmla="*/ 347 w 380"/>
                  <a:gd name="T53" fmla="*/ 296 h 380"/>
                  <a:gd name="T54" fmla="*/ 380 w 380"/>
                  <a:gd name="T55" fmla="*/ 190 h 380"/>
                  <a:gd name="T56" fmla="*/ 380 w 380"/>
                  <a:gd name="T57" fmla="*/ 190 h 380"/>
                  <a:gd name="T58" fmla="*/ 344 w 380"/>
                  <a:gd name="T59" fmla="*/ 225 h 380"/>
                  <a:gd name="T60" fmla="*/ 309 w 380"/>
                  <a:gd name="T61" fmla="*/ 190 h 380"/>
                  <a:gd name="T62" fmla="*/ 288 w 380"/>
                  <a:gd name="T63" fmla="*/ 123 h 380"/>
                  <a:gd name="T64" fmla="*/ 236 w 380"/>
                  <a:gd name="T65" fmla="*/ 80 h 380"/>
                  <a:gd name="T66" fmla="*/ 190 w 380"/>
                  <a:gd name="T67" fmla="*/ 71 h 380"/>
                  <a:gd name="T68" fmla="*/ 154 w 380"/>
                  <a:gd name="T69" fmla="*/ 35 h 380"/>
                  <a:gd name="T70" fmla="*/ 190 w 380"/>
                  <a:gd name="T71" fmla="*/ 0 h 380"/>
                  <a:gd name="T72" fmla="*/ 190 w 380"/>
                  <a:gd name="T7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0" h="380">
                    <a:moveTo>
                      <a:pt x="190" y="0"/>
                    </a:moveTo>
                    <a:cubicBezTo>
                      <a:pt x="164" y="0"/>
                      <a:pt x="139" y="5"/>
                      <a:pt x="116" y="15"/>
                    </a:cubicBezTo>
                    <a:cubicBezTo>
                      <a:pt x="82" y="29"/>
                      <a:pt x="53" y="53"/>
                      <a:pt x="32" y="84"/>
                    </a:cubicBezTo>
                    <a:cubicBezTo>
                      <a:pt x="12" y="114"/>
                      <a:pt x="0" y="151"/>
                      <a:pt x="0" y="190"/>
                    </a:cubicBezTo>
                    <a:cubicBezTo>
                      <a:pt x="35" y="190"/>
                      <a:pt x="35" y="190"/>
                      <a:pt x="35" y="190"/>
                    </a:cubicBezTo>
                    <a:cubicBezTo>
                      <a:pt x="71" y="190"/>
                      <a:pt x="71" y="190"/>
                      <a:pt x="71" y="190"/>
                    </a:cubicBezTo>
                    <a:cubicBezTo>
                      <a:pt x="71" y="173"/>
                      <a:pt x="74" y="158"/>
                      <a:pt x="80" y="144"/>
                    </a:cubicBezTo>
                    <a:cubicBezTo>
                      <a:pt x="89" y="122"/>
                      <a:pt x="104" y="104"/>
                      <a:pt x="123" y="91"/>
                    </a:cubicBezTo>
                    <a:cubicBezTo>
                      <a:pt x="142" y="79"/>
                      <a:pt x="165" y="71"/>
                      <a:pt x="190" y="71"/>
                    </a:cubicBezTo>
                    <a:cubicBezTo>
                      <a:pt x="206" y="71"/>
                      <a:pt x="222" y="74"/>
                      <a:pt x="236" y="80"/>
                    </a:cubicBezTo>
                    <a:cubicBezTo>
                      <a:pt x="257" y="89"/>
                      <a:pt x="275" y="104"/>
                      <a:pt x="288" y="123"/>
                    </a:cubicBezTo>
                    <a:cubicBezTo>
                      <a:pt x="301" y="142"/>
                      <a:pt x="309" y="165"/>
                      <a:pt x="309" y="190"/>
                    </a:cubicBezTo>
                    <a:cubicBezTo>
                      <a:pt x="309" y="206"/>
                      <a:pt x="305" y="222"/>
                      <a:pt x="299" y="236"/>
                    </a:cubicBezTo>
                    <a:cubicBezTo>
                      <a:pt x="290" y="257"/>
                      <a:pt x="275" y="276"/>
                      <a:pt x="256" y="288"/>
                    </a:cubicBezTo>
                    <a:cubicBezTo>
                      <a:pt x="237" y="301"/>
                      <a:pt x="215" y="309"/>
                      <a:pt x="190" y="309"/>
                    </a:cubicBezTo>
                    <a:cubicBezTo>
                      <a:pt x="173" y="309"/>
                      <a:pt x="158" y="305"/>
                      <a:pt x="144" y="299"/>
                    </a:cubicBezTo>
                    <a:cubicBezTo>
                      <a:pt x="122" y="290"/>
                      <a:pt x="104" y="275"/>
                      <a:pt x="91" y="256"/>
                    </a:cubicBezTo>
                    <a:cubicBezTo>
                      <a:pt x="78" y="237"/>
                      <a:pt x="71" y="215"/>
                      <a:pt x="71" y="190"/>
                    </a:cubicBezTo>
                    <a:cubicBezTo>
                      <a:pt x="35" y="190"/>
                      <a:pt x="35" y="190"/>
                      <a:pt x="35" y="190"/>
                    </a:cubicBezTo>
                    <a:cubicBezTo>
                      <a:pt x="0" y="190"/>
                      <a:pt x="0" y="190"/>
                      <a:pt x="0" y="190"/>
                    </a:cubicBezTo>
                    <a:cubicBezTo>
                      <a:pt x="0" y="216"/>
                      <a:pt x="5" y="241"/>
                      <a:pt x="15" y="264"/>
                    </a:cubicBezTo>
                    <a:cubicBezTo>
                      <a:pt x="29" y="298"/>
                      <a:pt x="53" y="327"/>
                      <a:pt x="84" y="347"/>
                    </a:cubicBezTo>
                    <a:cubicBezTo>
                      <a:pt x="114" y="368"/>
                      <a:pt x="151" y="380"/>
                      <a:pt x="190" y="380"/>
                    </a:cubicBezTo>
                    <a:cubicBezTo>
                      <a:pt x="190" y="380"/>
                      <a:pt x="190" y="380"/>
                      <a:pt x="190" y="380"/>
                    </a:cubicBezTo>
                    <a:cubicBezTo>
                      <a:pt x="190" y="380"/>
                      <a:pt x="190" y="380"/>
                      <a:pt x="190" y="380"/>
                    </a:cubicBezTo>
                    <a:cubicBezTo>
                      <a:pt x="216" y="380"/>
                      <a:pt x="241" y="374"/>
                      <a:pt x="264" y="365"/>
                    </a:cubicBezTo>
                    <a:cubicBezTo>
                      <a:pt x="298" y="350"/>
                      <a:pt x="327" y="326"/>
                      <a:pt x="347" y="296"/>
                    </a:cubicBezTo>
                    <a:cubicBezTo>
                      <a:pt x="368" y="266"/>
                      <a:pt x="380" y="229"/>
                      <a:pt x="380" y="190"/>
                    </a:cubicBezTo>
                    <a:cubicBezTo>
                      <a:pt x="380" y="190"/>
                      <a:pt x="380" y="190"/>
                      <a:pt x="380" y="190"/>
                    </a:cubicBezTo>
                    <a:cubicBezTo>
                      <a:pt x="380" y="209"/>
                      <a:pt x="364" y="225"/>
                      <a:pt x="344" y="225"/>
                    </a:cubicBezTo>
                    <a:cubicBezTo>
                      <a:pt x="324" y="225"/>
                      <a:pt x="309" y="209"/>
                      <a:pt x="309" y="190"/>
                    </a:cubicBezTo>
                    <a:cubicBezTo>
                      <a:pt x="309" y="165"/>
                      <a:pt x="301" y="142"/>
                      <a:pt x="288" y="123"/>
                    </a:cubicBezTo>
                    <a:cubicBezTo>
                      <a:pt x="275" y="104"/>
                      <a:pt x="257" y="89"/>
                      <a:pt x="236" y="80"/>
                    </a:cubicBezTo>
                    <a:cubicBezTo>
                      <a:pt x="222" y="74"/>
                      <a:pt x="206" y="71"/>
                      <a:pt x="190" y="71"/>
                    </a:cubicBezTo>
                    <a:cubicBezTo>
                      <a:pt x="170" y="71"/>
                      <a:pt x="154" y="55"/>
                      <a:pt x="154" y="35"/>
                    </a:cubicBezTo>
                    <a:cubicBezTo>
                      <a:pt x="154" y="16"/>
                      <a:pt x="170" y="0"/>
                      <a:pt x="190" y="0"/>
                    </a:cubicBezTo>
                    <a:cubicBezTo>
                      <a:pt x="190" y="0"/>
                      <a:pt x="190" y="0"/>
                      <a:pt x="190"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398" name="Freeform 13"/>
              <p:cNvSpPr>
                <a:spLocks/>
              </p:cNvSpPr>
              <p:nvPr/>
            </p:nvSpPr>
            <p:spPr bwMode="auto">
              <a:xfrm>
                <a:off x="5258" y="2318"/>
                <a:ext cx="52" cy="177"/>
              </a:xfrm>
              <a:custGeom>
                <a:avLst/>
                <a:gdLst>
                  <a:gd name="T0" fmla="*/ 30 w 60"/>
                  <a:gd name="T1" fmla="*/ 0 h 206"/>
                  <a:gd name="T2" fmla="*/ 0 w 60"/>
                  <a:gd name="T3" fmla="*/ 30 h 206"/>
                  <a:gd name="T4" fmla="*/ 0 w 60"/>
                  <a:gd name="T5" fmla="*/ 176 h 206"/>
                  <a:gd name="T6" fmla="*/ 30 w 60"/>
                  <a:gd name="T7" fmla="*/ 206 h 206"/>
                  <a:gd name="T8" fmla="*/ 60 w 60"/>
                  <a:gd name="T9" fmla="*/ 176 h 206"/>
                  <a:gd name="T10" fmla="*/ 60 w 60"/>
                  <a:gd name="T11" fmla="*/ 30 h 206"/>
                  <a:gd name="T12" fmla="*/ 30 w 60"/>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60" h="206">
                    <a:moveTo>
                      <a:pt x="30" y="0"/>
                    </a:moveTo>
                    <a:cubicBezTo>
                      <a:pt x="13" y="0"/>
                      <a:pt x="0" y="13"/>
                      <a:pt x="0" y="30"/>
                    </a:cubicBezTo>
                    <a:cubicBezTo>
                      <a:pt x="0" y="176"/>
                      <a:pt x="0" y="176"/>
                      <a:pt x="0" y="176"/>
                    </a:cubicBezTo>
                    <a:cubicBezTo>
                      <a:pt x="0" y="192"/>
                      <a:pt x="13" y="206"/>
                      <a:pt x="30" y="206"/>
                    </a:cubicBezTo>
                    <a:cubicBezTo>
                      <a:pt x="46" y="206"/>
                      <a:pt x="60" y="192"/>
                      <a:pt x="60" y="176"/>
                    </a:cubicBezTo>
                    <a:cubicBezTo>
                      <a:pt x="60" y="30"/>
                      <a:pt x="60" y="30"/>
                      <a:pt x="60" y="30"/>
                    </a:cubicBezTo>
                    <a:cubicBezTo>
                      <a:pt x="60" y="13"/>
                      <a:pt x="46" y="0"/>
                      <a:pt x="3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399" name="Freeform 14"/>
              <p:cNvSpPr>
                <a:spLocks/>
              </p:cNvSpPr>
              <p:nvPr/>
            </p:nvSpPr>
            <p:spPr bwMode="auto">
              <a:xfrm>
                <a:off x="4886" y="2690"/>
                <a:ext cx="178" cy="51"/>
              </a:xfrm>
              <a:custGeom>
                <a:avLst/>
                <a:gdLst>
                  <a:gd name="T0" fmla="*/ 176 w 206"/>
                  <a:gd name="T1" fmla="*/ 0 h 60"/>
                  <a:gd name="T2" fmla="*/ 30 w 206"/>
                  <a:gd name="T3" fmla="*/ 0 h 60"/>
                  <a:gd name="T4" fmla="*/ 0 w 206"/>
                  <a:gd name="T5" fmla="*/ 30 h 60"/>
                  <a:gd name="T6" fmla="*/ 30 w 206"/>
                  <a:gd name="T7" fmla="*/ 60 h 60"/>
                  <a:gd name="T8" fmla="*/ 176 w 206"/>
                  <a:gd name="T9" fmla="*/ 60 h 60"/>
                  <a:gd name="T10" fmla="*/ 206 w 206"/>
                  <a:gd name="T11" fmla="*/ 30 h 60"/>
                  <a:gd name="T12" fmla="*/ 176 w 206"/>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206" h="60">
                    <a:moveTo>
                      <a:pt x="176" y="0"/>
                    </a:moveTo>
                    <a:cubicBezTo>
                      <a:pt x="30" y="0"/>
                      <a:pt x="30" y="0"/>
                      <a:pt x="30" y="0"/>
                    </a:cubicBezTo>
                    <a:cubicBezTo>
                      <a:pt x="13" y="0"/>
                      <a:pt x="0" y="13"/>
                      <a:pt x="0" y="30"/>
                    </a:cubicBezTo>
                    <a:cubicBezTo>
                      <a:pt x="0" y="46"/>
                      <a:pt x="13" y="60"/>
                      <a:pt x="30" y="60"/>
                    </a:cubicBezTo>
                    <a:cubicBezTo>
                      <a:pt x="176" y="60"/>
                      <a:pt x="176" y="60"/>
                      <a:pt x="176" y="60"/>
                    </a:cubicBezTo>
                    <a:cubicBezTo>
                      <a:pt x="192" y="60"/>
                      <a:pt x="206" y="46"/>
                      <a:pt x="206" y="30"/>
                    </a:cubicBezTo>
                    <a:cubicBezTo>
                      <a:pt x="206" y="13"/>
                      <a:pt x="192" y="0"/>
                      <a:pt x="17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400" name="Freeform 15"/>
              <p:cNvSpPr>
                <a:spLocks/>
              </p:cNvSpPr>
              <p:nvPr/>
            </p:nvSpPr>
            <p:spPr bwMode="auto">
              <a:xfrm>
                <a:off x="5069" y="2368"/>
                <a:ext cx="121" cy="160"/>
              </a:xfrm>
              <a:custGeom>
                <a:avLst/>
                <a:gdLst>
                  <a:gd name="T0" fmla="*/ 34 w 141"/>
                  <a:gd name="T1" fmla="*/ 0 h 186"/>
                  <a:gd name="T2" fmla="*/ 19 w 141"/>
                  <a:gd name="T3" fmla="*/ 4 h 186"/>
                  <a:gd name="T4" fmla="*/ 8 w 141"/>
                  <a:gd name="T5" fmla="*/ 45 h 186"/>
                  <a:gd name="T6" fmla="*/ 81 w 141"/>
                  <a:gd name="T7" fmla="*/ 171 h 186"/>
                  <a:gd name="T8" fmla="*/ 107 w 141"/>
                  <a:gd name="T9" fmla="*/ 186 h 186"/>
                  <a:gd name="T10" fmla="*/ 122 w 141"/>
                  <a:gd name="T11" fmla="*/ 182 h 186"/>
                  <a:gd name="T12" fmla="*/ 133 w 141"/>
                  <a:gd name="T13" fmla="*/ 141 h 186"/>
                  <a:gd name="T14" fmla="*/ 60 w 141"/>
                  <a:gd name="T15" fmla="*/ 15 h 186"/>
                  <a:gd name="T16" fmla="*/ 34 w 141"/>
                  <a:gd name="T17"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86">
                    <a:moveTo>
                      <a:pt x="34" y="0"/>
                    </a:moveTo>
                    <a:cubicBezTo>
                      <a:pt x="29" y="0"/>
                      <a:pt x="24" y="1"/>
                      <a:pt x="19" y="4"/>
                    </a:cubicBezTo>
                    <a:cubicBezTo>
                      <a:pt x="5" y="12"/>
                      <a:pt x="0" y="31"/>
                      <a:pt x="8" y="45"/>
                    </a:cubicBezTo>
                    <a:cubicBezTo>
                      <a:pt x="81" y="171"/>
                      <a:pt x="81" y="171"/>
                      <a:pt x="81" y="171"/>
                    </a:cubicBezTo>
                    <a:cubicBezTo>
                      <a:pt x="86" y="181"/>
                      <a:pt x="96" y="186"/>
                      <a:pt x="107" y="186"/>
                    </a:cubicBezTo>
                    <a:cubicBezTo>
                      <a:pt x="112" y="186"/>
                      <a:pt x="117" y="185"/>
                      <a:pt x="122" y="182"/>
                    </a:cubicBezTo>
                    <a:cubicBezTo>
                      <a:pt x="136" y="174"/>
                      <a:pt x="141" y="155"/>
                      <a:pt x="133" y="141"/>
                    </a:cubicBezTo>
                    <a:cubicBezTo>
                      <a:pt x="60" y="15"/>
                      <a:pt x="60" y="15"/>
                      <a:pt x="60" y="15"/>
                    </a:cubicBezTo>
                    <a:cubicBezTo>
                      <a:pt x="54" y="5"/>
                      <a:pt x="44" y="0"/>
                      <a:pt x="34"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401" name="Freeform 16"/>
              <p:cNvSpPr>
                <a:spLocks/>
              </p:cNvSpPr>
              <p:nvPr/>
            </p:nvSpPr>
            <p:spPr bwMode="auto">
              <a:xfrm>
                <a:off x="4933" y="2504"/>
                <a:ext cx="167" cy="114"/>
              </a:xfrm>
              <a:custGeom>
                <a:avLst/>
                <a:gdLst>
                  <a:gd name="T0" fmla="*/ 34 w 194"/>
                  <a:gd name="T1" fmla="*/ 0 h 133"/>
                  <a:gd name="T2" fmla="*/ 8 w 194"/>
                  <a:gd name="T3" fmla="*/ 15 h 133"/>
                  <a:gd name="T4" fmla="*/ 19 w 194"/>
                  <a:gd name="T5" fmla="*/ 56 h 133"/>
                  <a:gd name="T6" fmla="*/ 145 w 194"/>
                  <a:gd name="T7" fmla="*/ 129 h 133"/>
                  <a:gd name="T8" fmla="*/ 160 w 194"/>
                  <a:gd name="T9" fmla="*/ 133 h 133"/>
                  <a:gd name="T10" fmla="*/ 186 w 194"/>
                  <a:gd name="T11" fmla="*/ 118 h 133"/>
                  <a:gd name="T12" fmla="*/ 175 w 194"/>
                  <a:gd name="T13" fmla="*/ 77 h 133"/>
                  <a:gd name="T14" fmla="*/ 49 w 194"/>
                  <a:gd name="T15" fmla="*/ 4 h 133"/>
                  <a:gd name="T16" fmla="*/ 34 w 194"/>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33">
                    <a:moveTo>
                      <a:pt x="34" y="0"/>
                    </a:moveTo>
                    <a:cubicBezTo>
                      <a:pt x="24" y="0"/>
                      <a:pt x="13" y="5"/>
                      <a:pt x="8" y="15"/>
                    </a:cubicBezTo>
                    <a:cubicBezTo>
                      <a:pt x="0" y="29"/>
                      <a:pt x="4" y="48"/>
                      <a:pt x="19" y="56"/>
                    </a:cubicBezTo>
                    <a:cubicBezTo>
                      <a:pt x="145" y="129"/>
                      <a:pt x="145" y="129"/>
                      <a:pt x="145" y="129"/>
                    </a:cubicBezTo>
                    <a:cubicBezTo>
                      <a:pt x="150" y="132"/>
                      <a:pt x="155" y="133"/>
                      <a:pt x="160" y="133"/>
                    </a:cubicBezTo>
                    <a:cubicBezTo>
                      <a:pt x="170" y="133"/>
                      <a:pt x="181" y="127"/>
                      <a:pt x="186" y="118"/>
                    </a:cubicBezTo>
                    <a:cubicBezTo>
                      <a:pt x="194" y="103"/>
                      <a:pt x="190" y="85"/>
                      <a:pt x="175" y="77"/>
                    </a:cubicBezTo>
                    <a:cubicBezTo>
                      <a:pt x="49" y="4"/>
                      <a:pt x="49" y="4"/>
                      <a:pt x="49" y="4"/>
                    </a:cubicBezTo>
                    <a:cubicBezTo>
                      <a:pt x="44" y="1"/>
                      <a:pt x="39" y="0"/>
                      <a:pt x="34"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402" name="Freeform 17"/>
              <p:cNvSpPr>
                <a:spLocks/>
              </p:cNvSpPr>
              <p:nvPr/>
            </p:nvSpPr>
            <p:spPr bwMode="auto">
              <a:xfrm>
                <a:off x="5253" y="2552"/>
                <a:ext cx="195" cy="194"/>
              </a:xfrm>
              <a:custGeom>
                <a:avLst/>
                <a:gdLst>
                  <a:gd name="T0" fmla="*/ 36 w 226"/>
                  <a:gd name="T1" fmla="*/ 0 h 225"/>
                  <a:gd name="T2" fmla="*/ 36 w 226"/>
                  <a:gd name="T3" fmla="*/ 0 h 225"/>
                  <a:gd name="T4" fmla="*/ 36 w 226"/>
                  <a:gd name="T5" fmla="*/ 0 h 225"/>
                  <a:gd name="T6" fmla="*/ 0 w 226"/>
                  <a:gd name="T7" fmla="*/ 35 h 225"/>
                  <a:gd name="T8" fmla="*/ 36 w 226"/>
                  <a:gd name="T9" fmla="*/ 71 h 225"/>
                  <a:gd name="T10" fmla="*/ 82 w 226"/>
                  <a:gd name="T11" fmla="*/ 80 h 225"/>
                  <a:gd name="T12" fmla="*/ 134 w 226"/>
                  <a:gd name="T13" fmla="*/ 123 h 225"/>
                  <a:gd name="T14" fmla="*/ 155 w 226"/>
                  <a:gd name="T15" fmla="*/ 190 h 225"/>
                  <a:gd name="T16" fmla="*/ 190 w 226"/>
                  <a:gd name="T17" fmla="*/ 225 h 225"/>
                  <a:gd name="T18" fmla="*/ 226 w 226"/>
                  <a:gd name="T19" fmla="*/ 190 h 225"/>
                  <a:gd name="T20" fmla="*/ 211 w 226"/>
                  <a:gd name="T21" fmla="*/ 116 h 225"/>
                  <a:gd name="T22" fmla="*/ 142 w 226"/>
                  <a:gd name="T23" fmla="*/ 32 h 225"/>
                  <a:gd name="T24" fmla="*/ 36 w 226"/>
                  <a:gd name="T2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225">
                    <a:moveTo>
                      <a:pt x="36" y="0"/>
                    </a:moveTo>
                    <a:cubicBezTo>
                      <a:pt x="36" y="0"/>
                      <a:pt x="36" y="0"/>
                      <a:pt x="36" y="0"/>
                    </a:cubicBezTo>
                    <a:cubicBezTo>
                      <a:pt x="36" y="0"/>
                      <a:pt x="36" y="0"/>
                      <a:pt x="36" y="0"/>
                    </a:cubicBezTo>
                    <a:cubicBezTo>
                      <a:pt x="16" y="0"/>
                      <a:pt x="0" y="16"/>
                      <a:pt x="0" y="35"/>
                    </a:cubicBezTo>
                    <a:cubicBezTo>
                      <a:pt x="0" y="55"/>
                      <a:pt x="16" y="71"/>
                      <a:pt x="36" y="71"/>
                    </a:cubicBezTo>
                    <a:cubicBezTo>
                      <a:pt x="52" y="71"/>
                      <a:pt x="68" y="74"/>
                      <a:pt x="82" y="80"/>
                    </a:cubicBezTo>
                    <a:cubicBezTo>
                      <a:pt x="103" y="89"/>
                      <a:pt x="121" y="104"/>
                      <a:pt x="134" y="123"/>
                    </a:cubicBezTo>
                    <a:cubicBezTo>
                      <a:pt x="147" y="142"/>
                      <a:pt x="155" y="165"/>
                      <a:pt x="155" y="190"/>
                    </a:cubicBezTo>
                    <a:cubicBezTo>
                      <a:pt x="155" y="209"/>
                      <a:pt x="170" y="225"/>
                      <a:pt x="190" y="225"/>
                    </a:cubicBezTo>
                    <a:cubicBezTo>
                      <a:pt x="210" y="225"/>
                      <a:pt x="226" y="209"/>
                      <a:pt x="226" y="190"/>
                    </a:cubicBezTo>
                    <a:cubicBezTo>
                      <a:pt x="226" y="164"/>
                      <a:pt x="220" y="139"/>
                      <a:pt x="211" y="116"/>
                    </a:cubicBezTo>
                    <a:cubicBezTo>
                      <a:pt x="196" y="82"/>
                      <a:pt x="172" y="53"/>
                      <a:pt x="142" y="32"/>
                    </a:cubicBezTo>
                    <a:cubicBezTo>
                      <a:pt x="112" y="12"/>
                      <a:pt x="75" y="0"/>
                      <a:pt x="36" y="0"/>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grpSp>
        <p:sp>
          <p:nvSpPr>
            <p:cNvPr id="403" name="TextBox 402"/>
            <p:cNvSpPr txBox="1"/>
            <p:nvPr/>
          </p:nvSpPr>
          <p:spPr>
            <a:xfrm>
              <a:off x="2561618" y="4429802"/>
              <a:ext cx="758542" cy="261610"/>
            </a:xfrm>
            <a:prstGeom prst="rect">
              <a:avLst/>
            </a:prstGeom>
            <a:noFill/>
          </p:spPr>
          <p:txBody>
            <a:bodyPr wrap="none"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prstClr val="black"/>
                  </a:solidFill>
                  <a:effectLst/>
                  <a:uLnTx/>
                  <a:uFillTx/>
                  <a:latin typeface="Calibri"/>
                  <a:ea typeface="ＭＳ Ｐゴシック" charset="0"/>
                  <a:cs typeface="+mn-cs"/>
                </a:rPr>
                <a:t>Event Bus</a:t>
              </a:r>
            </a:p>
          </p:txBody>
        </p:sp>
        <p:grpSp>
          <p:nvGrpSpPr>
            <p:cNvPr id="404" name="Group 403"/>
            <p:cNvGrpSpPr>
              <a:grpSpLocks noChangeAspect="1"/>
            </p:cNvGrpSpPr>
            <p:nvPr/>
          </p:nvGrpSpPr>
          <p:grpSpPr>
            <a:xfrm>
              <a:off x="3530335" y="3924339"/>
              <a:ext cx="348265" cy="435809"/>
              <a:chOff x="3690937" y="1443038"/>
              <a:chExt cx="2020888" cy="2528887"/>
            </a:xfrm>
          </p:grpSpPr>
          <p:sp>
            <p:nvSpPr>
              <p:cNvPr id="405" name="Freeform 404"/>
              <p:cNvSpPr>
                <a:spLocks/>
              </p:cNvSpPr>
              <p:nvPr/>
            </p:nvSpPr>
            <p:spPr bwMode="auto">
              <a:xfrm>
                <a:off x="3690937" y="1443038"/>
                <a:ext cx="2020888" cy="2005013"/>
              </a:xfrm>
              <a:custGeom>
                <a:avLst/>
                <a:gdLst>
                  <a:gd name="connsiteX0" fmla="*/ 1399705 w 2020888"/>
                  <a:gd name="connsiteY0" fmla="*/ 1944688 h 2005013"/>
                  <a:gd name="connsiteX1" fmla="*/ 1399945 w 2020888"/>
                  <a:gd name="connsiteY1" fmla="*/ 1944825 h 2005013"/>
                  <a:gd name="connsiteX2" fmla="*/ 1399945 w 2020888"/>
                  <a:gd name="connsiteY2" fmla="*/ 1944688 h 2005013"/>
                  <a:gd name="connsiteX3" fmla="*/ 620943 w 2020888"/>
                  <a:gd name="connsiteY3" fmla="*/ 1943298 h 2005013"/>
                  <a:gd name="connsiteX4" fmla="*/ 620943 w 2020888"/>
                  <a:gd name="connsiteY4" fmla="*/ 1943826 h 2005013"/>
                  <a:gd name="connsiteX5" fmla="*/ 620943 w 2020888"/>
                  <a:gd name="connsiteY5" fmla="*/ 1944825 h 2005013"/>
                  <a:gd name="connsiteX6" fmla="*/ 621584 w 2020888"/>
                  <a:gd name="connsiteY6" fmla="*/ 1944483 h 2005013"/>
                  <a:gd name="connsiteX7" fmla="*/ 621584 w 2020888"/>
                  <a:gd name="connsiteY7" fmla="*/ 1944483 h 2005013"/>
                  <a:gd name="connsiteX8" fmla="*/ 1012326 w 2020888"/>
                  <a:gd name="connsiteY8" fmla="*/ 0 h 2005013"/>
                  <a:gd name="connsiteX9" fmla="*/ 1727351 w 2020888"/>
                  <a:gd name="connsiteY9" fmla="*/ 293417 h 2005013"/>
                  <a:gd name="connsiteX10" fmla="*/ 2020888 w 2020888"/>
                  <a:gd name="connsiteY10" fmla="*/ 1008149 h 2005013"/>
                  <a:gd name="connsiteX11" fmla="*/ 1960676 w 2020888"/>
                  <a:gd name="connsiteY11" fmla="*/ 1309089 h 2005013"/>
                  <a:gd name="connsiteX12" fmla="*/ 1825197 w 2020888"/>
                  <a:gd name="connsiteY12" fmla="*/ 1546080 h 2005013"/>
                  <a:gd name="connsiteX13" fmla="*/ 1614453 w 2020888"/>
                  <a:gd name="connsiteY13" fmla="*/ 1768023 h 2005013"/>
                  <a:gd name="connsiteX14" fmla="*/ 1505317 w 2020888"/>
                  <a:gd name="connsiteY14" fmla="*/ 1895922 h 2005013"/>
                  <a:gd name="connsiteX15" fmla="*/ 1456394 w 2020888"/>
                  <a:gd name="connsiteY15" fmla="*/ 1971157 h 2005013"/>
                  <a:gd name="connsiteX16" fmla="*/ 1399945 w 2020888"/>
                  <a:gd name="connsiteY16" fmla="*/ 2005013 h 2005013"/>
                  <a:gd name="connsiteX17" fmla="*/ 620943 w 2020888"/>
                  <a:gd name="connsiteY17" fmla="*/ 2005013 h 2005013"/>
                  <a:gd name="connsiteX18" fmla="*/ 568257 w 2020888"/>
                  <a:gd name="connsiteY18" fmla="*/ 1974919 h 2005013"/>
                  <a:gd name="connsiteX19" fmla="*/ 568257 w 2020888"/>
                  <a:gd name="connsiteY19" fmla="*/ 1971157 h 2005013"/>
                  <a:gd name="connsiteX20" fmla="*/ 564494 w 2020888"/>
                  <a:gd name="connsiteY20" fmla="*/ 1971157 h 2005013"/>
                  <a:gd name="connsiteX21" fmla="*/ 560731 w 2020888"/>
                  <a:gd name="connsiteY21" fmla="*/ 1959872 h 2005013"/>
                  <a:gd name="connsiteX22" fmla="*/ 538151 w 2020888"/>
                  <a:gd name="connsiteY22" fmla="*/ 1926016 h 2005013"/>
                  <a:gd name="connsiteX23" fmla="*/ 466648 w 2020888"/>
                  <a:gd name="connsiteY23" fmla="*/ 1828211 h 2005013"/>
                  <a:gd name="connsiteX24" fmla="*/ 406436 w 2020888"/>
                  <a:gd name="connsiteY24" fmla="*/ 1768023 h 2005013"/>
                  <a:gd name="connsiteX25" fmla="*/ 270957 w 2020888"/>
                  <a:gd name="connsiteY25" fmla="*/ 1636362 h 2005013"/>
                  <a:gd name="connsiteX26" fmla="*/ 63976 w 2020888"/>
                  <a:gd name="connsiteY26" fmla="*/ 1309089 h 2005013"/>
                  <a:gd name="connsiteX27" fmla="*/ 0 w 2020888"/>
                  <a:gd name="connsiteY27" fmla="*/ 1008149 h 2005013"/>
                  <a:gd name="connsiteX28" fmla="*/ 297300 w 2020888"/>
                  <a:gd name="connsiteY28" fmla="*/ 293417 h 2005013"/>
                  <a:gd name="connsiteX29" fmla="*/ 1012326 w 2020888"/>
                  <a:gd name="connsiteY29" fmla="*/ 0 h 200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020888" h="2005013">
                    <a:moveTo>
                      <a:pt x="1399705" y="1944688"/>
                    </a:moveTo>
                    <a:lnTo>
                      <a:pt x="1399945" y="1944825"/>
                    </a:lnTo>
                    <a:lnTo>
                      <a:pt x="1399945" y="1944688"/>
                    </a:lnTo>
                    <a:close/>
                    <a:moveTo>
                      <a:pt x="620943" y="1943298"/>
                    </a:moveTo>
                    <a:lnTo>
                      <a:pt x="620943" y="1943826"/>
                    </a:lnTo>
                    <a:cubicBezTo>
                      <a:pt x="620943" y="1944825"/>
                      <a:pt x="620943" y="1944825"/>
                      <a:pt x="620943" y="1944825"/>
                    </a:cubicBezTo>
                    <a:lnTo>
                      <a:pt x="621584" y="1944483"/>
                    </a:lnTo>
                    <a:lnTo>
                      <a:pt x="621584" y="1944483"/>
                    </a:lnTo>
                    <a:close/>
                    <a:moveTo>
                      <a:pt x="1012326" y="0"/>
                    </a:moveTo>
                    <a:cubicBezTo>
                      <a:pt x="1290809" y="0"/>
                      <a:pt x="1542950" y="112853"/>
                      <a:pt x="1727351" y="293417"/>
                    </a:cubicBezTo>
                    <a:cubicBezTo>
                      <a:pt x="1907989" y="477742"/>
                      <a:pt x="2020888" y="729780"/>
                      <a:pt x="2020888" y="1008149"/>
                    </a:cubicBezTo>
                    <a:cubicBezTo>
                      <a:pt x="2020888" y="1117240"/>
                      <a:pt x="1998308" y="1218807"/>
                      <a:pt x="1960676" y="1309089"/>
                    </a:cubicBezTo>
                    <a:cubicBezTo>
                      <a:pt x="1923043" y="1399371"/>
                      <a:pt x="1874120" y="1482130"/>
                      <a:pt x="1825197" y="1546080"/>
                    </a:cubicBezTo>
                    <a:cubicBezTo>
                      <a:pt x="1727351" y="1677741"/>
                      <a:pt x="1625742" y="1760499"/>
                      <a:pt x="1614453" y="1768023"/>
                    </a:cubicBezTo>
                    <a:cubicBezTo>
                      <a:pt x="1573056" y="1801879"/>
                      <a:pt x="1531660" y="1850781"/>
                      <a:pt x="1505317" y="1895922"/>
                    </a:cubicBezTo>
                    <a:cubicBezTo>
                      <a:pt x="1475211" y="1937302"/>
                      <a:pt x="1456394" y="1971157"/>
                      <a:pt x="1456394" y="1971157"/>
                    </a:cubicBezTo>
                    <a:cubicBezTo>
                      <a:pt x="1445104" y="1993728"/>
                      <a:pt x="1426288" y="2005013"/>
                      <a:pt x="1399945" y="2005013"/>
                    </a:cubicBezTo>
                    <a:cubicBezTo>
                      <a:pt x="1399945" y="2005013"/>
                      <a:pt x="1399945" y="2005013"/>
                      <a:pt x="620943" y="2005013"/>
                    </a:cubicBezTo>
                    <a:cubicBezTo>
                      <a:pt x="598364" y="2005013"/>
                      <a:pt x="579547" y="1993728"/>
                      <a:pt x="568257" y="1974919"/>
                    </a:cubicBezTo>
                    <a:cubicBezTo>
                      <a:pt x="568257" y="1974919"/>
                      <a:pt x="568257" y="1974919"/>
                      <a:pt x="568257" y="1971157"/>
                    </a:cubicBezTo>
                    <a:cubicBezTo>
                      <a:pt x="568257" y="1971157"/>
                      <a:pt x="568257" y="1971157"/>
                      <a:pt x="564494" y="1971157"/>
                    </a:cubicBezTo>
                    <a:cubicBezTo>
                      <a:pt x="564494" y="1967396"/>
                      <a:pt x="560731" y="1963634"/>
                      <a:pt x="560731" y="1959872"/>
                    </a:cubicBezTo>
                    <a:cubicBezTo>
                      <a:pt x="553204" y="1952349"/>
                      <a:pt x="549441" y="1941063"/>
                      <a:pt x="538151" y="1926016"/>
                    </a:cubicBezTo>
                    <a:cubicBezTo>
                      <a:pt x="519335" y="1895922"/>
                      <a:pt x="496755" y="1862067"/>
                      <a:pt x="466648" y="1828211"/>
                    </a:cubicBezTo>
                    <a:cubicBezTo>
                      <a:pt x="447832" y="1805640"/>
                      <a:pt x="425252" y="1783070"/>
                      <a:pt x="406436" y="1768023"/>
                    </a:cubicBezTo>
                    <a:cubicBezTo>
                      <a:pt x="398909" y="1760499"/>
                      <a:pt x="342460" y="1715358"/>
                      <a:pt x="270957" y="1636362"/>
                    </a:cubicBezTo>
                    <a:cubicBezTo>
                      <a:pt x="203218" y="1557365"/>
                      <a:pt x="120425" y="1444512"/>
                      <a:pt x="63976" y="1309089"/>
                    </a:cubicBezTo>
                    <a:cubicBezTo>
                      <a:pt x="26343" y="1218807"/>
                      <a:pt x="0" y="1117240"/>
                      <a:pt x="0" y="1008149"/>
                    </a:cubicBezTo>
                    <a:cubicBezTo>
                      <a:pt x="0" y="729780"/>
                      <a:pt x="116662" y="477742"/>
                      <a:pt x="297300" y="293417"/>
                    </a:cubicBezTo>
                    <a:cubicBezTo>
                      <a:pt x="481702" y="112853"/>
                      <a:pt x="733842" y="0"/>
                      <a:pt x="1012326" y="0"/>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406" name="Freeform 8"/>
              <p:cNvSpPr>
                <a:spLocks/>
              </p:cNvSpPr>
              <p:nvPr/>
            </p:nvSpPr>
            <p:spPr bwMode="auto">
              <a:xfrm>
                <a:off x="4264025" y="3602038"/>
                <a:ext cx="879475" cy="117475"/>
              </a:xfrm>
              <a:custGeom>
                <a:avLst/>
                <a:gdLst>
                  <a:gd name="T0" fmla="*/ 15 w 234"/>
                  <a:gd name="T1" fmla="*/ 31 h 31"/>
                  <a:gd name="T2" fmla="*/ 218 w 234"/>
                  <a:gd name="T3" fmla="*/ 31 h 31"/>
                  <a:gd name="T4" fmla="*/ 234 w 234"/>
                  <a:gd name="T5" fmla="*/ 15 h 31"/>
                  <a:gd name="T6" fmla="*/ 218 w 234"/>
                  <a:gd name="T7" fmla="*/ 0 h 31"/>
                  <a:gd name="T8" fmla="*/ 15 w 234"/>
                  <a:gd name="T9" fmla="*/ 0 h 31"/>
                  <a:gd name="T10" fmla="*/ 0 w 234"/>
                  <a:gd name="T11" fmla="*/ 15 h 31"/>
                  <a:gd name="T12" fmla="*/ 15 w 23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34" h="31">
                    <a:moveTo>
                      <a:pt x="15" y="31"/>
                    </a:moveTo>
                    <a:cubicBezTo>
                      <a:pt x="218" y="31"/>
                      <a:pt x="218" y="31"/>
                      <a:pt x="218" y="31"/>
                    </a:cubicBezTo>
                    <a:cubicBezTo>
                      <a:pt x="227" y="31"/>
                      <a:pt x="234" y="24"/>
                      <a:pt x="234" y="15"/>
                    </a:cubicBezTo>
                    <a:cubicBezTo>
                      <a:pt x="234" y="7"/>
                      <a:pt x="227" y="0"/>
                      <a:pt x="218" y="0"/>
                    </a:cubicBezTo>
                    <a:cubicBezTo>
                      <a:pt x="15" y="0"/>
                      <a:pt x="15" y="0"/>
                      <a:pt x="15" y="0"/>
                    </a:cubicBezTo>
                    <a:cubicBezTo>
                      <a:pt x="7" y="0"/>
                      <a:pt x="0" y="7"/>
                      <a:pt x="0" y="15"/>
                    </a:cubicBezTo>
                    <a:cubicBezTo>
                      <a:pt x="0" y="24"/>
                      <a:pt x="7" y="31"/>
                      <a:pt x="15" y="3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407" name="Freeform 9"/>
              <p:cNvSpPr>
                <a:spLocks/>
              </p:cNvSpPr>
              <p:nvPr/>
            </p:nvSpPr>
            <p:spPr bwMode="auto">
              <a:xfrm>
                <a:off x="4395788" y="3854450"/>
                <a:ext cx="615950" cy="117475"/>
              </a:xfrm>
              <a:custGeom>
                <a:avLst/>
                <a:gdLst>
                  <a:gd name="T0" fmla="*/ 15 w 164"/>
                  <a:gd name="T1" fmla="*/ 31 h 31"/>
                  <a:gd name="T2" fmla="*/ 149 w 164"/>
                  <a:gd name="T3" fmla="*/ 31 h 31"/>
                  <a:gd name="T4" fmla="*/ 164 w 164"/>
                  <a:gd name="T5" fmla="*/ 15 h 31"/>
                  <a:gd name="T6" fmla="*/ 149 w 164"/>
                  <a:gd name="T7" fmla="*/ 0 h 31"/>
                  <a:gd name="T8" fmla="*/ 15 w 164"/>
                  <a:gd name="T9" fmla="*/ 0 h 31"/>
                  <a:gd name="T10" fmla="*/ 0 w 164"/>
                  <a:gd name="T11" fmla="*/ 15 h 31"/>
                  <a:gd name="T12" fmla="*/ 15 w 16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64" h="31">
                    <a:moveTo>
                      <a:pt x="15" y="31"/>
                    </a:moveTo>
                    <a:cubicBezTo>
                      <a:pt x="149" y="31"/>
                      <a:pt x="149" y="31"/>
                      <a:pt x="149" y="31"/>
                    </a:cubicBezTo>
                    <a:cubicBezTo>
                      <a:pt x="157" y="31"/>
                      <a:pt x="164" y="24"/>
                      <a:pt x="164" y="15"/>
                    </a:cubicBezTo>
                    <a:cubicBezTo>
                      <a:pt x="164" y="7"/>
                      <a:pt x="157" y="0"/>
                      <a:pt x="149" y="0"/>
                    </a:cubicBezTo>
                    <a:cubicBezTo>
                      <a:pt x="15" y="0"/>
                      <a:pt x="15" y="0"/>
                      <a:pt x="15" y="0"/>
                    </a:cubicBezTo>
                    <a:cubicBezTo>
                      <a:pt x="7" y="0"/>
                      <a:pt x="0" y="7"/>
                      <a:pt x="0" y="15"/>
                    </a:cubicBezTo>
                    <a:cubicBezTo>
                      <a:pt x="0" y="24"/>
                      <a:pt x="7" y="31"/>
                      <a:pt x="15" y="3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grpSp>
        <p:sp>
          <p:nvSpPr>
            <p:cNvPr id="408" name="TextBox 407"/>
            <p:cNvSpPr txBox="1"/>
            <p:nvPr/>
          </p:nvSpPr>
          <p:spPr>
            <a:xfrm>
              <a:off x="3501982" y="4429802"/>
              <a:ext cx="388248" cy="261610"/>
            </a:xfrm>
            <a:prstGeom prst="rect">
              <a:avLst/>
            </a:prstGeom>
            <a:noFill/>
          </p:spPr>
          <p:txBody>
            <a:bodyPr wrap="none"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prstClr val="black"/>
                  </a:solidFill>
                  <a:effectLst/>
                  <a:uLnTx/>
                  <a:uFillTx/>
                  <a:latin typeface="Calibri"/>
                  <a:ea typeface="ＭＳ Ｐゴシック" charset="0"/>
                  <a:cs typeface="+mn-cs"/>
                </a:rPr>
                <a:t>Lab</a:t>
              </a:r>
            </a:p>
          </p:txBody>
        </p:sp>
      </p:grpSp>
      <p:grpSp>
        <p:nvGrpSpPr>
          <p:cNvPr id="11" name="Group 10"/>
          <p:cNvGrpSpPr/>
          <p:nvPr/>
        </p:nvGrpSpPr>
        <p:grpSpPr>
          <a:xfrm>
            <a:off x="819219" y="2016938"/>
            <a:ext cx="3061054" cy="2193891"/>
            <a:chOff x="819219" y="2016938"/>
            <a:chExt cx="3061054" cy="2193891"/>
          </a:xfrm>
        </p:grpSpPr>
        <p:sp>
          <p:nvSpPr>
            <p:cNvPr id="9" name="Down Arrow 8"/>
            <p:cNvSpPr/>
            <p:nvPr/>
          </p:nvSpPr>
          <p:spPr>
            <a:xfrm>
              <a:off x="819219" y="2016938"/>
              <a:ext cx="3061054" cy="2193891"/>
            </a:xfrm>
            <a:prstGeom prst="downArrow">
              <a:avLst/>
            </a:prstGeom>
            <a:gradFill>
              <a:gsLst>
                <a:gs pos="0">
                  <a:srgbClr val="D9D9D9"/>
                </a:gs>
                <a:gs pos="72000">
                  <a:srgbClr val="005072">
                    <a:alpha val="82000"/>
                  </a:srgbClr>
                </a:gs>
                <a:gs pos="83000">
                  <a:srgbClr val="005072">
                    <a:alpha val="61000"/>
                  </a:srgbClr>
                </a:gs>
                <a:gs pos="99000">
                  <a:srgbClr val="005072">
                    <a:alpha val="2900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TextBox 9"/>
            <p:cNvSpPr txBox="1"/>
            <p:nvPr/>
          </p:nvSpPr>
          <p:spPr>
            <a:xfrm>
              <a:off x="1585195" y="3109332"/>
              <a:ext cx="1556196" cy="677108"/>
            </a:xfrm>
            <a:prstGeom prst="rect">
              <a:avLst/>
            </a:prstGeom>
            <a:noFill/>
          </p:spPr>
          <p:txBody>
            <a:bodyPr wrap="none"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srgbClr val="E7E6E6"/>
                  </a:solidFill>
                  <a:effectLst/>
                  <a:uLnTx/>
                  <a:uFillTx/>
                  <a:latin typeface="CiscoSans" charset="0"/>
                  <a:ea typeface="CiscoSans" charset="0"/>
                  <a:cs typeface="CiscoSans" charset="0"/>
                </a:rPr>
                <a:t>Billions of Events</a:t>
              </a:r>
            </a:p>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rgbClr val="E7E6E6"/>
                  </a:solidFill>
                  <a:effectLst/>
                  <a:uLnTx/>
                  <a:uFillTx/>
                  <a:latin typeface="Calibri"/>
                  <a:ea typeface="ＭＳ Ｐゴシック" charset="0"/>
                  <a:cs typeface="+mn-cs"/>
                </a:rPr>
                <a:t>Meta-Data generated </a:t>
              </a:r>
              <a:br>
                <a:rPr kumimoji="0" lang="en-AU" sz="1200" b="0" i="0" u="none" strike="noStrike" kern="1200" cap="none" spc="0" normalizeH="0" baseline="0" noProof="0" dirty="0">
                  <a:ln>
                    <a:noFill/>
                  </a:ln>
                  <a:solidFill>
                    <a:srgbClr val="E7E6E6"/>
                  </a:solidFill>
                  <a:effectLst/>
                  <a:uLnTx/>
                  <a:uFillTx/>
                  <a:latin typeface="Calibri"/>
                  <a:ea typeface="ＭＳ Ｐゴシック" charset="0"/>
                  <a:cs typeface="+mn-cs"/>
                </a:rPr>
              </a:br>
              <a:r>
                <a:rPr kumimoji="0" lang="en-AU" sz="1200" b="0" i="0" u="none" strike="noStrike" kern="1200" cap="none" spc="0" normalizeH="0" baseline="0" noProof="0" dirty="0">
                  <a:ln>
                    <a:noFill/>
                  </a:ln>
                  <a:solidFill>
                    <a:srgbClr val="E7E6E6"/>
                  </a:solidFill>
                  <a:effectLst/>
                  <a:uLnTx/>
                  <a:uFillTx/>
                  <a:latin typeface="Calibri"/>
                  <a:ea typeface="ＭＳ Ｐゴシック" charset="0"/>
                  <a:cs typeface="+mn-cs"/>
                </a:rPr>
                <a:t>from every packet</a:t>
              </a:r>
            </a:p>
          </p:txBody>
        </p:sp>
      </p:grpSp>
      <p:grpSp>
        <p:nvGrpSpPr>
          <p:cNvPr id="202" name="Group 201"/>
          <p:cNvGrpSpPr/>
          <p:nvPr/>
        </p:nvGrpSpPr>
        <p:grpSpPr>
          <a:xfrm>
            <a:off x="505430" y="943756"/>
            <a:ext cx="3715730" cy="1088231"/>
            <a:chOff x="505429" y="1073150"/>
            <a:chExt cx="3715730" cy="1088231"/>
          </a:xfrm>
        </p:grpSpPr>
        <p:grpSp>
          <p:nvGrpSpPr>
            <p:cNvPr id="134" name="Group 133"/>
            <p:cNvGrpSpPr/>
            <p:nvPr/>
          </p:nvGrpSpPr>
          <p:grpSpPr>
            <a:xfrm>
              <a:off x="505429" y="1073150"/>
              <a:ext cx="3715730" cy="1088231"/>
              <a:chOff x="2532834" y="1743075"/>
              <a:chExt cx="1955023" cy="1088231"/>
            </a:xfrm>
          </p:grpSpPr>
          <p:sp>
            <p:nvSpPr>
              <p:cNvPr id="135" name="Rectangle 20"/>
              <p:cNvSpPr>
                <a:spLocks noChangeArrowheads="1"/>
              </p:cNvSpPr>
              <p:nvPr/>
            </p:nvSpPr>
            <p:spPr bwMode="auto">
              <a:xfrm>
                <a:off x="2532834" y="1991309"/>
                <a:ext cx="1955023" cy="839997"/>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black"/>
                  </a:solidFill>
                  <a:effectLst/>
                  <a:uLnTx/>
                  <a:uFillTx/>
                  <a:latin typeface="Calibri"/>
                  <a:ea typeface="ＭＳ Ｐゴシック" charset="0"/>
                  <a:cs typeface="+mn-cs"/>
                </a:endParaRPr>
              </a:p>
            </p:txBody>
          </p:sp>
          <p:sp>
            <p:nvSpPr>
              <p:cNvPr id="136" name="Rectangle 21"/>
              <p:cNvSpPr>
                <a:spLocks noChangeArrowheads="1"/>
              </p:cNvSpPr>
              <p:nvPr/>
            </p:nvSpPr>
            <p:spPr bwMode="auto">
              <a:xfrm>
                <a:off x="2532834" y="1743075"/>
                <a:ext cx="1955023" cy="235293"/>
              </a:xfrm>
              <a:prstGeom prst="rect">
                <a:avLst/>
              </a:prstGeom>
              <a:solidFill>
                <a:schemeClr val="accent3"/>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l" defTabSz="68571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Light"/>
                    <a:ea typeface="ＭＳ Ｐゴシック" charset="0"/>
                    <a:cs typeface="+mn-cs"/>
                  </a:rPr>
                  <a:t>Software &amp; Network Sensors:</a:t>
                </a:r>
                <a:r>
                  <a:rPr kumimoji="0" lang="en-US" sz="1200" b="1" i="1" u="none" strike="noStrike" kern="1200" cap="none" spc="0" normalizeH="0" baseline="0" noProof="0" dirty="0">
                    <a:ln>
                      <a:noFill/>
                    </a:ln>
                    <a:solidFill>
                      <a:prstClr val="white"/>
                    </a:solidFill>
                    <a:effectLst/>
                    <a:uLnTx/>
                    <a:uFillTx/>
                    <a:latin typeface="Calibri Light"/>
                    <a:ea typeface="ＭＳ Ｐゴシック" charset="0"/>
                    <a:cs typeface="+mn-cs"/>
                  </a:rPr>
                  <a:t> See everything</a:t>
                </a:r>
              </a:p>
            </p:txBody>
          </p:sp>
        </p:grpSp>
        <p:grpSp>
          <p:nvGrpSpPr>
            <p:cNvPr id="88" name="Group 230"/>
            <p:cNvGrpSpPr>
              <a:grpSpLocks noChangeAspect="1"/>
            </p:cNvGrpSpPr>
            <p:nvPr/>
          </p:nvGrpSpPr>
          <p:grpSpPr bwMode="auto">
            <a:xfrm>
              <a:off x="2491405" y="1472306"/>
              <a:ext cx="504403" cy="492673"/>
              <a:chOff x="3091" y="1265"/>
              <a:chExt cx="473" cy="462"/>
            </a:xfrm>
          </p:grpSpPr>
          <p:sp>
            <p:nvSpPr>
              <p:cNvPr id="89" name="Rectangle 231"/>
              <p:cNvSpPr>
                <a:spLocks noChangeArrowheads="1"/>
              </p:cNvSpPr>
              <p:nvPr/>
            </p:nvSpPr>
            <p:spPr bwMode="auto">
              <a:xfrm>
                <a:off x="3194" y="1265"/>
                <a:ext cx="370" cy="370"/>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90" name="Freeform 232"/>
              <p:cNvSpPr>
                <a:spLocks/>
              </p:cNvSpPr>
              <p:nvPr/>
            </p:nvSpPr>
            <p:spPr bwMode="auto">
              <a:xfrm>
                <a:off x="3091" y="1265"/>
                <a:ext cx="473" cy="92"/>
              </a:xfrm>
              <a:custGeom>
                <a:avLst/>
                <a:gdLst>
                  <a:gd name="T0" fmla="*/ 0 w 473"/>
                  <a:gd name="T1" fmla="*/ 92 h 92"/>
                  <a:gd name="T2" fmla="*/ 370 w 473"/>
                  <a:gd name="T3" fmla="*/ 92 h 92"/>
                  <a:gd name="T4" fmla="*/ 473 w 473"/>
                  <a:gd name="T5" fmla="*/ 0 h 92"/>
                  <a:gd name="T6" fmla="*/ 103 w 473"/>
                  <a:gd name="T7" fmla="*/ 0 h 92"/>
                  <a:gd name="T8" fmla="*/ 0 w 473"/>
                  <a:gd name="T9" fmla="*/ 92 h 92"/>
                </a:gdLst>
                <a:ahLst/>
                <a:cxnLst>
                  <a:cxn ang="0">
                    <a:pos x="T0" y="T1"/>
                  </a:cxn>
                  <a:cxn ang="0">
                    <a:pos x="T2" y="T3"/>
                  </a:cxn>
                  <a:cxn ang="0">
                    <a:pos x="T4" y="T5"/>
                  </a:cxn>
                  <a:cxn ang="0">
                    <a:pos x="T6" y="T7"/>
                  </a:cxn>
                  <a:cxn ang="0">
                    <a:pos x="T8" y="T9"/>
                  </a:cxn>
                </a:cxnLst>
                <a:rect l="0" t="0" r="r" b="b"/>
                <a:pathLst>
                  <a:path w="473" h="92">
                    <a:moveTo>
                      <a:pt x="0" y="92"/>
                    </a:moveTo>
                    <a:lnTo>
                      <a:pt x="370" y="92"/>
                    </a:lnTo>
                    <a:lnTo>
                      <a:pt x="473" y="0"/>
                    </a:lnTo>
                    <a:lnTo>
                      <a:pt x="103" y="0"/>
                    </a:lnTo>
                    <a:lnTo>
                      <a:pt x="0" y="92"/>
                    </a:lnTo>
                    <a:close/>
                  </a:path>
                </a:pathLst>
              </a:custGeom>
              <a:solidFill>
                <a:srgbClr val="A8E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91" name="Freeform 233"/>
              <p:cNvSpPr>
                <a:spLocks/>
              </p:cNvSpPr>
              <p:nvPr/>
            </p:nvSpPr>
            <p:spPr bwMode="auto">
              <a:xfrm>
                <a:off x="3091" y="1265"/>
                <a:ext cx="103" cy="462"/>
              </a:xfrm>
              <a:custGeom>
                <a:avLst/>
                <a:gdLst>
                  <a:gd name="T0" fmla="*/ 103 w 103"/>
                  <a:gd name="T1" fmla="*/ 0 h 462"/>
                  <a:gd name="T2" fmla="*/ 0 w 103"/>
                  <a:gd name="T3" fmla="*/ 92 h 462"/>
                  <a:gd name="T4" fmla="*/ 0 w 103"/>
                  <a:gd name="T5" fmla="*/ 462 h 462"/>
                  <a:gd name="T6" fmla="*/ 103 w 103"/>
                  <a:gd name="T7" fmla="*/ 370 h 462"/>
                  <a:gd name="T8" fmla="*/ 103 w 103"/>
                  <a:gd name="T9" fmla="*/ 0 h 462"/>
                </a:gdLst>
                <a:ahLst/>
                <a:cxnLst>
                  <a:cxn ang="0">
                    <a:pos x="T0" y="T1"/>
                  </a:cxn>
                  <a:cxn ang="0">
                    <a:pos x="T2" y="T3"/>
                  </a:cxn>
                  <a:cxn ang="0">
                    <a:pos x="T4" y="T5"/>
                  </a:cxn>
                  <a:cxn ang="0">
                    <a:pos x="T6" y="T7"/>
                  </a:cxn>
                  <a:cxn ang="0">
                    <a:pos x="T8" y="T9"/>
                  </a:cxn>
                </a:cxnLst>
                <a:rect l="0" t="0" r="r" b="b"/>
                <a:pathLst>
                  <a:path w="103" h="462">
                    <a:moveTo>
                      <a:pt x="103" y="0"/>
                    </a:moveTo>
                    <a:lnTo>
                      <a:pt x="0" y="92"/>
                    </a:lnTo>
                    <a:lnTo>
                      <a:pt x="0" y="462"/>
                    </a:lnTo>
                    <a:lnTo>
                      <a:pt x="103" y="370"/>
                    </a:lnTo>
                    <a:lnTo>
                      <a:pt x="103" y="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92" name="Freeform 234"/>
              <p:cNvSpPr>
                <a:spLocks/>
              </p:cNvSpPr>
              <p:nvPr/>
            </p:nvSpPr>
            <p:spPr bwMode="auto">
              <a:xfrm>
                <a:off x="3461" y="1265"/>
                <a:ext cx="103" cy="462"/>
              </a:xfrm>
              <a:custGeom>
                <a:avLst/>
                <a:gdLst>
                  <a:gd name="T0" fmla="*/ 103 w 103"/>
                  <a:gd name="T1" fmla="*/ 0 h 462"/>
                  <a:gd name="T2" fmla="*/ 0 w 103"/>
                  <a:gd name="T3" fmla="*/ 92 h 462"/>
                  <a:gd name="T4" fmla="*/ 0 w 103"/>
                  <a:gd name="T5" fmla="*/ 462 h 462"/>
                  <a:gd name="T6" fmla="*/ 103 w 103"/>
                  <a:gd name="T7" fmla="*/ 370 h 462"/>
                  <a:gd name="T8" fmla="*/ 103 w 103"/>
                  <a:gd name="T9" fmla="*/ 0 h 462"/>
                </a:gdLst>
                <a:ahLst/>
                <a:cxnLst>
                  <a:cxn ang="0">
                    <a:pos x="T0" y="T1"/>
                  </a:cxn>
                  <a:cxn ang="0">
                    <a:pos x="T2" y="T3"/>
                  </a:cxn>
                  <a:cxn ang="0">
                    <a:pos x="T4" y="T5"/>
                  </a:cxn>
                  <a:cxn ang="0">
                    <a:pos x="T6" y="T7"/>
                  </a:cxn>
                  <a:cxn ang="0">
                    <a:pos x="T8" y="T9"/>
                  </a:cxn>
                </a:cxnLst>
                <a:rect l="0" t="0" r="r" b="b"/>
                <a:pathLst>
                  <a:path w="103" h="462">
                    <a:moveTo>
                      <a:pt x="103" y="0"/>
                    </a:moveTo>
                    <a:lnTo>
                      <a:pt x="0" y="92"/>
                    </a:lnTo>
                    <a:lnTo>
                      <a:pt x="0" y="462"/>
                    </a:lnTo>
                    <a:lnTo>
                      <a:pt x="103" y="370"/>
                    </a:lnTo>
                    <a:lnTo>
                      <a:pt x="103" y="0"/>
                    </a:lnTo>
                    <a:close/>
                  </a:path>
                </a:pathLst>
              </a:custGeom>
              <a:solidFill>
                <a:srgbClr val="33C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93" name="Freeform 235"/>
              <p:cNvSpPr>
                <a:spLocks/>
              </p:cNvSpPr>
              <p:nvPr/>
            </p:nvSpPr>
            <p:spPr bwMode="auto">
              <a:xfrm>
                <a:off x="3091" y="1635"/>
                <a:ext cx="473" cy="92"/>
              </a:xfrm>
              <a:custGeom>
                <a:avLst/>
                <a:gdLst>
                  <a:gd name="T0" fmla="*/ 0 w 473"/>
                  <a:gd name="T1" fmla="*/ 92 h 92"/>
                  <a:gd name="T2" fmla="*/ 370 w 473"/>
                  <a:gd name="T3" fmla="*/ 92 h 92"/>
                  <a:gd name="T4" fmla="*/ 473 w 473"/>
                  <a:gd name="T5" fmla="*/ 0 h 92"/>
                  <a:gd name="T6" fmla="*/ 103 w 473"/>
                  <a:gd name="T7" fmla="*/ 0 h 92"/>
                  <a:gd name="T8" fmla="*/ 0 w 473"/>
                  <a:gd name="T9" fmla="*/ 92 h 92"/>
                </a:gdLst>
                <a:ahLst/>
                <a:cxnLst>
                  <a:cxn ang="0">
                    <a:pos x="T0" y="T1"/>
                  </a:cxn>
                  <a:cxn ang="0">
                    <a:pos x="T2" y="T3"/>
                  </a:cxn>
                  <a:cxn ang="0">
                    <a:pos x="T4" y="T5"/>
                  </a:cxn>
                  <a:cxn ang="0">
                    <a:pos x="T6" y="T7"/>
                  </a:cxn>
                  <a:cxn ang="0">
                    <a:pos x="T8" y="T9"/>
                  </a:cxn>
                </a:cxnLst>
                <a:rect l="0" t="0" r="r" b="b"/>
                <a:pathLst>
                  <a:path w="473" h="92">
                    <a:moveTo>
                      <a:pt x="0" y="92"/>
                    </a:moveTo>
                    <a:lnTo>
                      <a:pt x="370" y="92"/>
                    </a:lnTo>
                    <a:lnTo>
                      <a:pt x="473" y="0"/>
                    </a:lnTo>
                    <a:lnTo>
                      <a:pt x="103" y="0"/>
                    </a:lnTo>
                    <a:lnTo>
                      <a:pt x="0" y="92"/>
                    </a:lnTo>
                    <a:close/>
                  </a:path>
                </a:pathLst>
              </a:custGeom>
              <a:solidFill>
                <a:srgbClr val="008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94" name="Freeform 236"/>
              <p:cNvSpPr>
                <a:spLocks/>
              </p:cNvSpPr>
              <p:nvPr/>
            </p:nvSpPr>
            <p:spPr bwMode="auto">
              <a:xfrm>
                <a:off x="3233" y="1332"/>
                <a:ext cx="55" cy="247"/>
              </a:xfrm>
              <a:custGeom>
                <a:avLst/>
                <a:gdLst>
                  <a:gd name="T0" fmla="*/ 55 w 55"/>
                  <a:gd name="T1" fmla="*/ 0 h 247"/>
                  <a:gd name="T2" fmla="*/ 0 w 55"/>
                  <a:gd name="T3" fmla="*/ 49 h 247"/>
                  <a:gd name="T4" fmla="*/ 0 w 55"/>
                  <a:gd name="T5" fmla="*/ 247 h 247"/>
                  <a:gd name="T6" fmla="*/ 55 w 55"/>
                  <a:gd name="T7" fmla="*/ 198 h 247"/>
                  <a:gd name="T8" fmla="*/ 55 w 55"/>
                  <a:gd name="T9" fmla="*/ 0 h 247"/>
                </a:gdLst>
                <a:ahLst/>
                <a:cxnLst>
                  <a:cxn ang="0">
                    <a:pos x="T0" y="T1"/>
                  </a:cxn>
                  <a:cxn ang="0">
                    <a:pos x="T2" y="T3"/>
                  </a:cxn>
                  <a:cxn ang="0">
                    <a:pos x="T4" y="T5"/>
                  </a:cxn>
                  <a:cxn ang="0">
                    <a:pos x="T6" y="T7"/>
                  </a:cxn>
                  <a:cxn ang="0">
                    <a:pos x="T8" y="T9"/>
                  </a:cxn>
                </a:cxnLst>
                <a:rect l="0" t="0" r="r" b="b"/>
                <a:pathLst>
                  <a:path w="55" h="247">
                    <a:moveTo>
                      <a:pt x="55" y="0"/>
                    </a:moveTo>
                    <a:lnTo>
                      <a:pt x="0" y="49"/>
                    </a:lnTo>
                    <a:lnTo>
                      <a:pt x="0" y="247"/>
                    </a:lnTo>
                    <a:lnTo>
                      <a:pt x="55" y="198"/>
                    </a:lnTo>
                    <a:lnTo>
                      <a:pt x="55" y="0"/>
                    </a:lnTo>
                    <a:close/>
                  </a:path>
                </a:pathLst>
              </a:custGeom>
              <a:solidFill>
                <a:srgbClr val="FBC9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95" name="Freeform 237"/>
              <p:cNvSpPr>
                <a:spLocks/>
              </p:cNvSpPr>
              <p:nvPr/>
            </p:nvSpPr>
            <p:spPr bwMode="auto">
              <a:xfrm>
                <a:off x="3233" y="1530"/>
                <a:ext cx="254" cy="49"/>
              </a:xfrm>
              <a:custGeom>
                <a:avLst/>
                <a:gdLst>
                  <a:gd name="T0" fmla="*/ 0 w 254"/>
                  <a:gd name="T1" fmla="*/ 49 h 49"/>
                  <a:gd name="T2" fmla="*/ 199 w 254"/>
                  <a:gd name="T3" fmla="*/ 49 h 49"/>
                  <a:gd name="T4" fmla="*/ 254 w 254"/>
                  <a:gd name="T5" fmla="*/ 0 h 49"/>
                  <a:gd name="T6" fmla="*/ 55 w 254"/>
                  <a:gd name="T7" fmla="*/ 0 h 49"/>
                  <a:gd name="T8" fmla="*/ 0 w 254"/>
                  <a:gd name="T9" fmla="*/ 49 h 49"/>
                </a:gdLst>
                <a:ahLst/>
                <a:cxnLst>
                  <a:cxn ang="0">
                    <a:pos x="T0" y="T1"/>
                  </a:cxn>
                  <a:cxn ang="0">
                    <a:pos x="T2" y="T3"/>
                  </a:cxn>
                  <a:cxn ang="0">
                    <a:pos x="T4" y="T5"/>
                  </a:cxn>
                  <a:cxn ang="0">
                    <a:pos x="T6" y="T7"/>
                  </a:cxn>
                  <a:cxn ang="0">
                    <a:pos x="T8" y="T9"/>
                  </a:cxn>
                </a:cxnLst>
                <a:rect l="0" t="0" r="r" b="b"/>
                <a:pathLst>
                  <a:path w="254" h="49">
                    <a:moveTo>
                      <a:pt x="0" y="49"/>
                    </a:moveTo>
                    <a:lnTo>
                      <a:pt x="199" y="49"/>
                    </a:lnTo>
                    <a:lnTo>
                      <a:pt x="254" y="0"/>
                    </a:lnTo>
                    <a:lnTo>
                      <a:pt x="55" y="0"/>
                    </a:lnTo>
                    <a:lnTo>
                      <a:pt x="0" y="49"/>
                    </a:lnTo>
                    <a:close/>
                  </a:path>
                </a:pathLst>
              </a:custGeom>
              <a:solidFill>
                <a:srgbClr val="CC8C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96" name="Rectangle 238"/>
              <p:cNvSpPr>
                <a:spLocks noChangeArrowheads="1"/>
              </p:cNvSpPr>
              <p:nvPr/>
            </p:nvSpPr>
            <p:spPr bwMode="auto">
              <a:xfrm>
                <a:off x="3288" y="1332"/>
                <a:ext cx="199" cy="19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97" name="Line 239"/>
              <p:cNvSpPr>
                <a:spLocks noChangeShapeType="1"/>
              </p:cNvSpPr>
              <p:nvPr/>
            </p:nvSpPr>
            <p:spPr bwMode="auto">
              <a:xfrm flipV="1">
                <a:off x="3338" y="1370"/>
                <a:ext cx="0" cy="120"/>
              </a:xfrm>
              <a:prstGeom prst="line">
                <a:avLst/>
              </a:prstGeom>
              <a:noFill/>
              <a:ln w="285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98" name="Line 240"/>
              <p:cNvSpPr>
                <a:spLocks noChangeShapeType="1"/>
              </p:cNvSpPr>
              <p:nvPr/>
            </p:nvSpPr>
            <p:spPr bwMode="auto">
              <a:xfrm flipV="1">
                <a:off x="3390" y="1370"/>
                <a:ext cx="0" cy="120"/>
              </a:xfrm>
              <a:prstGeom prst="line">
                <a:avLst/>
              </a:prstGeom>
              <a:noFill/>
              <a:ln w="285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99" name="Line 241"/>
              <p:cNvSpPr>
                <a:spLocks noChangeShapeType="1"/>
              </p:cNvSpPr>
              <p:nvPr/>
            </p:nvSpPr>
            <p:spPr bwMode="auto">
              <a:xfrm flipV="1">
                <a:off x="3443" y="1370"/>
                <a:ext cx="0" cy="120"/>
              </a:xfrm>
              <a:prstGeom prst="line">
                <a:avLst/>
              </a:prstGeom>
              <a:noFill/>
              <a:ln w="285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grpSp>
        <p:grpSp>
          <p:nvGrpSpPr>
            <p:cNvPr id="100" name="Group 99"/>
            <p:cNvGrpSpPr>
              <a:grpSpLocks noChangeAspect="1"/>
            </p:cNvGrpSpPr>
            <p:nvPr/>
          </p:nvGrpSpPr>
          <p:grpSpPr>
            <a:xfrm>
              <a:off x="716810" y="1441565"/>
              <a:ext cx="644525" cy="566738"/>
              <a:chOff x="6146801" y="2133602"/>
              <a:chExt cx="644525" cy="566738"/>
            </a:xfrm>
          </p:grpSpPr>
          <p:sp>
            <p:nvSpPr>
              <p:cNvPr id="101" name="Freeform 278"/>
              <p:cNvSpPr>
                <a:spLocks/>
              </p:cNvSpPr>
              <p:nvPr/>
            </p:nvSpPr>
            <p:spPr bwMode="auto">
              <a:xfrm>
                <a:off x="6146801" y="2482852"/>
                <a:ext cx="644525" cy="103188"/>
              </a:xfrm>
              <a:custGeom>
                <a:avLst/>
                <a:gdLst>
                  <a:gd name="T0" fmla="*/ 387 w 387"/>
                  <a:gd name="T1" fmla="*/ 10 h 62"/>
                  <a:gd name="T2" fmla="*/ 387 w 387"/>
                  <a:gd name="T3" fmla="*/ 52 h 62"/>
                  <a:gd name="T4" fmla="*/ 376 w 387"/>
                  <a:gd name="T5" fmla="*/ 62 h 62"/>
                  <a:gd name="T6" fmla="*/ 11 w 387"/>
                  <a:gd name="T7" fmla="*/ 62 h 62"/>
                  <a:gd name="T8" fmla="*/ 0 w 387"/>
                  <a:gd name="T9" fmla="*/ 52 h 62"/>
                  <a:gd name="T10" fmla="*/ 0 w 387"/>
                  <a:gd name="T11" fmla="*/ 10 h 62"/>
                  <a:gd name="T12" fmla="*/ 11 w 387"/>
                  <a:gd name="T13" fmla="*/ 0 h 62"/>
                  <a:gd name="T14" fmla="*/ 376 w 387"/>
                  <a:gd name="T15" fmla="*/ 0 h 62"/>
                  <a:gd name="T16" fmla="*/ 387 w 387"/>
                  <a:gd name="T1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0"/>
                    </a:moveTo>
                    <a:cubicBezTo>
                      <a:pt x="387" y="52"/>
                      <a:pt x="387" y="52"/>
                      <a:pt x="387" y="52"/>
                    </a:cubicBezTo>
                    <a:cubicBezTo>
                      <a:pt x="387" y="57"/>
                      <a:pt x="382" y="62"/>
                      <a:pt x="376" y="62"/>
                    </a:cubicBezTo>
                    <a:cubicBezTo>
                      <a:pt x="11" y="62"/>
                      <a:pt x="11" y="62"/>
                      <a:pt x="11" y="62"/>
                    </a:cubicBezTo>
                    <a:cubicBezTo>
                      <a:pt x="5" y="62"/>
                      <a:pt x="0" y="57"/>
                      <a:pt x="0" y="52"/>
                    </a:cubicBezTo>
                    <a:cubicBezTo>
                      <a:pt x="0" y="10"/>
                      <a:pt x="0" y="10"/>
                      <a:pt x="0" y="10"/>
                    </a:cubicBezTo>
                    <a:cubicBezTo>
                      <a:pt x="0" y="5"/>
                      <a:pt x="5" y="0"/>
                      <a:pt x="11" y="0"/>
                    </a:cubicBezTo>
                    <a:cubicBezTo>
                      <a:pt x="376" y="0"/>
                      <a:pt x="376" y="0"/>
                      <a:pt x="376" y="0"/>
                    </a:cubicBezTo>
                    <a:cubicBezTo>
                      <a:pt x="382" y="0"/>
                      <a:pt x="387" y="5"/>
                      <a:pt x="387" y="1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02" name="Line 279"/>
              <p:cNvSpPr>
                <a:spLocks noChangeShapeType="1"/>
              </p:cNvSpPr>
              <p:nvPr/>
            </p:nvSpPr>
            <p:spPr bwMode="auto">
              <a:xfrm flipV="1">
                <a:off x="6176964"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03" name="Line 280"/>
              <p:cNvSpPr>
                <a:spLocks noChangeShapeType="1"/>
              </p:cNvSpPr>
              <p:nvPr/>
            </p:nvSpPr>
            <p:spPr bwMode="auto">
              <a:xfrm flipV="1">
                <a:off x="6207126"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04" name="Line 281"/>
              <p:cNvSpPr>
                <a:spLocks noChangeShapeType="1"/>
              </p:cNvSpPr>
              <p:nvPr/>
            </p:nvSpPr>
            <p:spPr bwMode="auto">
              <a:xfrm flipV="1">
                <a:off x="6238876"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05" name="Line 282"/>
              <p:cNvSpPr>
                <a:spLocks noChangeShapeType="1"/>
              </p:cNvSpPr>
              <p:nvPr/>
            </p:nvSpPr>
            <p:spPr bwMode="auto">
              <a:xfrm flipV="1">
                <a:off x="6267451"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06" name="Line 283"/>
              <p:cNvSpPr>
                <a:spLocks noChangeShapeType="1"/>
              </p:cNvSpPr>
              <p:nvPr/>
            </p:nvSpPr>
            <p:spPr bwMode="auto">
              <a:xfrm flipV="1">
                <a:off x="6297614" y="2508252"/>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07" name="Freeform 284"/>
              <p:cNvSpPr>
                <a:spLocks/>
              </p:cNvSpPr>
              <p:nvPr/>
            </p:nvSpPr>
            <p:spPr bwMode="auto">
              <a:xfrm>
                <a:off x="6146801" y="2598740"/>
                <a:ext cx="644525" cy="101600"/>
              </a:xfrm>
              <a:custGeom>
                <a:avLst/>
                <a:gdLst>
                  <a:gd name="T0" fmla="*/ 387 w 387"/>
                  <a:gd name="T1" fmla="*/ 10 h 61"/>
                  <a:gd name="T2" fmla="*/ 387 w 387"/>
                  <a:gd name="T3" fmla="*/ 51 h 61"/>
                  <a:gd name="T4" fmla="*/ 376 w 387"/>
                  <a:gd name="T5" fmla="*/ 61 h 61"/>
                  <a:gd name="T6" fmla="*/ 11 w 387"/>
                  <a:gd name="T7" fmla="*/ 61 h 61"/>
                  <a:gd name="T8" fmla="*/ 0 w 387"/>
                  <a:gd name="T9" fmla="*/ 51 h 61"/>
                  <a:gd name="T10" fmla="*/ 0 w 387"/>
                  <a:gd name="T11" fmla="*/ 10 h 61"/>
                  <a:gd name="T12" fmla="*/ 11 w 387"/>
                  <a:gd name="T13" fmla="*/ 0 h 61"/>
                  <a:gd name="T14" fmla="*/ 376 w 387"/>
                  <a:gd name="T15" fmla="*/ 0 h 61"/>
                  <a:gd name="T16" fmla="*/ 387 w 387"/>
                  <a:gd name="T17"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1">
                    <a:moveTo>
                      <a:pt x="387" y="10"/>
                    </a:moveTo>
                    <a:cubicBezTo>
                      <a:pt x="387" y="51"/>
                      <a:pt x="387" y="51"/>
                      <a:pt x="387" y="51"/>
                    </a:cubicBezTo>
                    <a:cubicBezTo>
                      <a:pt x="387" y="57"/>
                      <a:pt x="382" y="61"/>
                      <a:pt x="376" y="61"/>
                    </a:cubicBezTo>
                    <a:cubicBezTo>
                      <a:pt x="11" y="61"/>
                      <a:pt x="11" y="61"/>
                      <a:pt x="11" y="61"/>
                    </a:cubicBezTo>
                    <a:cubicBezTo>
                      <a:pt x="5" y="61"/>
                      <a:pt x="0" y="57"/>
                      <a:pt x="0" y="51"/>
                    </a:cubicBezTo>
                    <a:cubicBezTo>
                      <a:pt x="0" y="10"/>
                      <a:pt x="0" y="10"/>
                      <a:pt x="0" y="10"/>
                    </a:cubicBezTo>
                    <a:cubicBezTo>
                      <a:pt x="0" y="4"/>
                      <a:pt x="5" y="0"/>
                      <a:pt x="11" y="0"/>
                    </a:cubicBezTo>
                    <a:cubicBezTo>
                      <a:pt x="376" y="0"/>
                      <a:pt x="376" y="0"/>
                      <a:pt x="376" y="0"/>
                    </a:cubicBezTo>
                    <a:cubicBezTo>
                      <a:pt x="382" y="0"/>
                      <a:pt x="387" y="4"/>
                      <a:pt x="387" y="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08" name="Line 285"/>
              <p:cNvSpPr>
                <a:spLocks noChangeShapeType="1"/>
              </p:cNvSpPr>
              <p:nvPr/>
            </p:nvSpPr>
            <p:spPr bwMode="auto">
              <a:xfrm flipV="1">
                <a:off x="6176964"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09" name="Line 286"/>
              <p:cNvSpPr>
                <a:spLocks noChangeShapeType="1"/>
              </p:cNvSpPr>
              <p:nvPr/>
            </p:nvSpPr>
            <p:spPr bwMode="auto">
              <a:xfrm flipV="1">
                <a:off x="6207126"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10" name="Line 287"/>
              <p:cNvSpPr>
                <a:spLocks noChangeShapeType="1"/>
              </p:cNvSpPr>
              <p:nvPr/>
            </p:nvSpPr>
            <p:spPr bwMode="auto">
              <a:xfrm flipV="1">
                <a:off x="6238876"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11" name="Line 288"/>
              <p:cNvSpPr>
                <a:spLocks noChangeShapeType="1"/>
              </p:cNvSpPr>
              <p:nvPr/>
            </p:nvSpPr>
            <p:spPr bwMode="auto">
              <a:xfrm flipV="1">
                <a:off x="6267451"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12" name="Line 289"/>
              <p:cNvSpPr>
                <a:spLocks noChangeShapeType="1"/>
              </p:cNvSpPr>
              <p:nvPr/>
            </p:nvSpPr>
            <p:spPr bwMode="auto">
              <a:xfrm flipV="1">
                <a:off x="6297614" y="262414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13" name="Freeform 290"/>
              <p:cNvSpPr>
                <a:spLocks/>
              </p:cNvSpPr>
              <p:nvPr/>
            </p:nvSpPr>
            <p:spPr bwMode="auto">
              <a:xfrm>
                <a:off x="6146801" y="2133602"/>
                <a:ext cx="644525" cy="103188"/>
              </a:xfrm>
              <a:custGeom>
                <a:avLst/>
                <a:gdLst>
                  <a:gd name="T0" fmla="*/ 387 w 387"/>
                  <a:gd name="T1" fmla="*/ 11 h 62"/>
                  <a:gd name="T2" fmla="*/ 387 w 387"/>
                  <a:gd name="T3" fmla="*/ 52 h 62"/>
                  <a:gd name="T4" fmla="*/ 376 w 387"/>
                  <a:gd name="T5" fmla="*/ 62 h 62"/>
                  <a:gd name="T6" fmla="*/ 11 w 387"/>
                  <a:gd name="T7" fmla="*/ 62 h 62"/>
                  <a:gd name="T8" fmla="*/ 0 w 387"/>
                  <a:gd name="T9" fmla="*/ 52 h 62"/>
                  <a:gd name="T10" fmla="*/ 0 w 387"/>
                  <a:gd name="T11" fmla="*/ 11 h 62"/>
                  <a:gd name="T12" fmla="*/ 11 w 387"/>
                  <a:gd name="T13" fmla="*/ 0 h 62"/>
                  <a:gd name="T14" fmla="*/ 376 w 387"/>
                  <a:gd name="T15" fmla="*/ 0 h 62"/>
                  <a:gd name="T16" fmla="*/ 387 w 387"/>
                  <a:gd name="T17"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1"/>
                    </a:moveTo>
                    <a:cubicBezTo>
                      <a:pt x="387" y="52"/>
                      <a:pt x="387" y="52"/>
                      <a:pt x="387" y="52"/>
                    </a:cubicBezTo>
                    <a:cubicBezTo>
                      <a:pt x="387" y="57"/>
                      <a:pt x="382" y="62"/>
                      <a:pt x="376" y="62"/>
                    </a:cubicBezTo>
                    <a:cubicBezTo>
                      <a:pt x="11" y="62"/>
                      <a:pt x="11" y="62"/>
                      <a:pt x="11" y="62"/>
                    </a:cubicBezTo>
                    <a:cubicBezTo>
                      <a:pt x="5" y="62"/>
                      <a:pt x="0" y="57"/>
                      <a:pt x="0" y="52"/>
                    </a:cubicBezTo>
                    <a:cubicBezTo>
                      <a:pt x="0" y="11"/>
                      <a:pt x="0" y="11"/>
                      <a:pt x="0" y="11"/>
                    </a:cubicBezTo>
                    <a:cubicBezTo>
                      <a:pt x="0" y="5"/>
                      <a:pt x="5" y="0"/>
                      <a:pt x="11" y="0"/>
                    </a:cubicBezTo>
                    <a:cubicBezTo>
                      <a:pt x="376" y="0"/>
                      <a:pt x="376" y="0"/>
                      <a:pt x="376" y="0"/>
                    </a:cubicBezTo>
                    <a:cubicBezTo>
                      <a:pt x="382" y="0"/>
                      <a:pt x="387" y="5"/>
                      <a:pt x="387" y="11"/>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14" name="Line 291"/>
              <p:cNvSpPr>
                <a:spLocks noChangeShapeType="1"/>
              </p:cNvSpPr>
              <p:nvPr/>
            </p:nvSpPr>
            <p:spPr bwMode="auto">
              <a:xfrm flipV="1">
                <a:off x="6176964"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15" name="Line 292"/>
              <p:cNvSpPr>
                <a:spLocks noChangeShapeType="1"/>
              </p:cNvSpPr>
              <p:nvPr/>
            </p:nvSpPr>
            <p:spPr bwMode="auto">
              <a:xfrm flipV="1">
                <a:off x="6207126"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16" name="Line 293"/>
              <p:cNvSpPr>
                <a:spLocks noChangeShapeType="1"/>
              </p:cNvSpPr>
              <p:nvPr/>
            </p:nvSpPr>
            <p:spPr bwMode="auto">
              <a:xfrm flipV="1">
                <a:off x="6238876"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17" name="Line 294"/>
              <p:cNvSpPr>
                <a:spLocks noChangeShapeType="1"/>
              </p:cNvSpPr>
              <p:nvPr/>
            </p:nvSpPr>
            <p:spPr bwMode="auto">
              <a:xfrm flipV="1">
                <a:off x="6267451"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18" name="Line 295"/>
              <p:cNvSpPr>
                <a:spLocks noChangeShapeType="1"/>
              </p:cNvSpPr>
              <p:nvPr/>
            </p:nvSpPr>
            <p:spPr bwMode="auto">
              <a:xfrm flipV="1">
                <a:off x="6297614" y="2160590"/>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19" name="Freeform 296"/>
              <p:cNvSpPr>
                <a:spLocks/>
              </p:cNvSpPr>
              <p:nvPr/>
            </p:nvSpPr>
            <p:spPr bwMode="auto">
              <a:xfrm>
                <a:off x="6146801" y="2365377"/>
                <a:ext cx="644525" cy="103188"/>
              </a:xfrm>
              <a:custGeom>
                <a:avLst/>
                <a:gdLst>
                  <a:gd name="T0" fmla="*/ 387 w 387"/>
                  <a:gd name="T1" fmla="*/ 11 h 62"/>
                  <a:gd name="T2" fmla="*/ 387 w 387"/>
                  <a:gd name="T3" fmla="*/ 52 h 62"/>
                  <a:gd name="T4" fmla="*/ 376 w 387"/>
                  <a:gd name="T5" fmla="*/ 62 h 62"/>
                  <a:gd name="T6" fmla="*/ 11 w 387"/>
                  <a:gd name="T7" fmla="*/ 62 h 62"/>
                  <a:gd name="T8" fmla="*/ 0 w 387"/>
                  <a:gd name="T9" fmla="*/ 52 h 62"/>
                  <a:gd name="T10" fmla="*/ 0 w 387"/>
                  <a:gd name="T11" fmla="*/ 11 h 62"/>
                  <a:gd name="T12" fmla="*/ 11 w 387"/>
                  <a:gd name="T13" fmla="*/ 0 h 62"/>
                  <a:gd name="T14" fmla="*/ 376 w 387"/>
                  <a:gd name="T15" fmla="*/ 0 h 62"/>
                  <a:gd name="T16" fmla="*/ 387 w 387"/>
                  <a:gd name="T17" fmla="*/ 1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1"/>
                    </a:moveTo>
                    <a:cubicBezTo>
                      <a:pt x="387" y="52"/>
                      <a:pt x="387" y="52"/>
                      <a:pt x="387" y="52"/>
                    </a:cubicBezTo>
                    <a:cubicBezTo>
                      <a:pt x="387" y="58"/>
                      <a:pt x="382" y="62"/>
                      <a:pt x="376" y="62"/>
                    </a:cubicBezTo>
                    <a:cubicBezTo>
                      <a:pt x="11" y="62"/>
                      <a:pt x="11" y="62"/>
                      <a:pt x="11" y="62"/>
                    </a:cubicBezTo>
                    <a:cubicBezTo>
                      <a:pt x="5" y="62"/>
                      <a:pt x="0" y="58"/>
                      <a:pt x="0" y="52"/>
                    </a:cubicBezTo>
                    <a:cubicBezTo>
                      <a:pt x="0" y="11"/>
                      <a:pt x="0" y="11"/>
                      <a:pt x="0" y="11"/>
                    </a:cubicBezTo>
                    <a:cubicBezTo>
                      <a:pt x="0" y="5"/>
                      <a:pt x="5" y="0"/>
                      <a:pt x="11" y="0"/>
                    </a:cubicBezTo>
                    <a:cubicBezTo>
                      <a:pt x="376" y="0"/>
                      <a:pt x="376" y="0"/>
                      <a:pt x="376" y="0"/>
                    </a:cubicBezTo>
                    <a:cubicBezTo>
                      <a:pt x="382" y="0"/>
                      <a:pt x="387" y="5"/>
                      <a:pt x="387" y="11"/>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20" name="Line 297"/>
              <p:cNvSpPr>
                <a:spLocks noChangeShapeType="1"/>
              </p:cNvSpPr>
              <p:nvPr/>
            </p:nvSpPr>
            <p:spPr bwMode="auto">
              <a:xfrm flipV="1">
                <a:off x="6176964"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21" name="Line 298"/>
              <p:cNvSpPr>
                <a:spLocks noChangeShapeType="1"/>
              </p:cNvSpPr>
              <p:nvPr/>
            </p:nvSpPr>
            <p:spPr bwMode="auto">
              <a:xfrm flipV="1">
                <a:off x="6207126"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22" name="Line 299"/>
              <p:cNvSpPr>
                <a:spLocks noChangeShapeType="1"/>
              </p:cNvSpPr>
              <p:nvPr/>
            </p:nvSpPr>
            <p:spPr bwMode="auto">
              <a:xfrm flipV="1">
                <a:off x="6238876"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23" name="Line 300"/>
              <p:cNvSpPr>
                <a:spLocks noChangeShapeType="1"/>
              </p:cNvSpPr>
              <p:nvPr/>
            </p:nvSpPr>
            <p:spPr bwMode="auto">
              <a:xfrm flipV="1">
                <a:off x="6267451"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24" name="Line 301"/>
              <p:cNvSpPr>
                <a:spLocks noChangeShapeType="1"/>
              </p:cNvSpPr>
              <p:nvPr/>
            </p:nvSpPr>
            <p:spPr bwMode="auto">
              <a:xfrm flipV="1">
                <a:off x="6297614" y="2392365"/>
                <a:ext cx="0" cy="5080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25" name="Freeform 302"/>
              <p:cNvSpPr>
                <a:spLocks/>
              </p:cNvSpPr>
              <p:nvPr/>
            </p:nvSpPr>
            <p:spPr bwMode="auto">
              <a:xfrm>
                <a:off x="6146801" y="2251077"/>
                <a:ext cx="644525" cy="103188"/>
              </a:xfrm>
              <a:custGeom>
                <a:avLst/>
                <a:gdLst>
                  <a:gd name="T0" fmla="*/ 387 w 387"/>
                  <a:gd name="T1" fmla="*/ 10 h 62"/>
                  <a:gd name="T2" fmla="*/ 387 w 387"/>
                  <a:gd name="T3" fmla="*/ 51 h 62"/>
                  <a:gd name="T4" fmla="*/ 376 w 387"/>
                  <a:gd name="T5" fmla="*/ 62 h 62"/>
                  <a:gd name="T6" fmla="*/ 11 w 387"/>
                  <a:gd name="T7" fmla="*/ 62 h 62"/>
                  <a:gd name="T8" fmla="*/ 0 w 387"/>
                  <a:gd name="T9" fmla="*/ 51 h 62"/>
                  <a:gd name="T10" fmla="*/ 0 w 387"/>
                  <a:gd name="T11" fmla="*/ 10 h 62"/>
                  <a:gd name="T12" fmla="*/ 11 w 387"/>
                  <a:gd name="T13" fmla="*/ 0 h 62"/>
                  <a:gd name="T14" fmla="*/ 376 w 387"/>
                  <a:gd name="T15" fmla="*/ 0 h 62"/>
                  <a:gd name="T16" fmla="*/ 387 w 387"/>
                  <a:gd name="T1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 h="62">
                    <a:moveTo>
                      <a:pt x="387" y="10"/>
                    </a:moveTo>
                    <a:cubicBezTo>
                      <a:pt x="387" y="51"/>
                      <a:pt x="387" y="51"/>
                      <a:pt x="387" y="51"/>
                    </a:cubicBezTo>
                    <a:cubicBezTo>
                      <a:pt x="387" y="57"/>
                      <a:pt x="382" y="62"/>
                      <a:pt x="376" y="62"/>
                    </a:cubicBezTo>
                    <a:cubicBezTo>
                      <a:pt x="11" y="62"/>
                      <a:pt x="11" y="62"/>
                      <a:pt x="11" y="62"/>
                    </a:cubicBezTo>
                    <a:cubicBezTo>
                      <a:pt x="5" y="62"/>
                      <a:pt x="0" y="57"/>
                      <a:pt x="0" y="51"/>
                    </a:cubicBezTo>
                    <a:cubicBezTo>
                      <a:pt x="0" y="10"/>
                      <a:pt x="0" y="10"/>
                      <a:pt x="0" y="10"/>
                    </a:cubicBezTo>
                    <a:cubicBezTo>
                      <a:pt x="0" y="4"/>
                      <a:pt x="5" y="0"/>
                      <a:pt x="11" y="0"/>
                    </a:cubicBezTo>
                    <a:cubicBezTo>
                      <a:pt x="376" y="0"/>
                      <a:pt x="376" y="0"/>
                      <a:pt x="376" y="0"/>
                    </a:cubicBezTo>
                    <a:cubicBezTo>
                      <a:pt x="382" y="0"/>
                      <a:pt x="387" y="4"/>
                      <a:pt x="387" y="1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26" name="Line 303"/>
              <p:cNvSpPr>
                <a:spLocks noChangeShapeType="1"/>
              </p:cNvSpPr>
              <p:nvPr/>
            </p:nvSpPr>
            <p:spPr bwMode="auto">
              <a:xfrm flipV="1">
                <a:off x="6176964"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27" name="Line 304"/>
              <p:cNvSpPr>
                <a:spLocks noChangeShapeType="1"/>
              </p:cNvSpPr>
              <p:nvPr/>
            </p:nvSpPr>
            <p:spPr bwMode="auto">
              <a:xfrm flipV="1">
                <a:off x="6207126"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28" name="Line 305"/>
              <p:cNvSpPr>
                <a:spLocks noChangeShapeType="1"/>
              </p:cNvSpPr>
              <p:nvPr/>
            </p:nvSpPr>
            <p:spPr bwMode="auto">
              <a:xfrm flipV="1">
                <a:off x="6238876"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29" name="Line 306"/>
              <p:cNvSpPr>
                <a:spLocks noChangeShapeType="1"/>
              </p:cNvSpPr>
              <p:nvPr/>
            </p:nvSpPr>
            <p:spPr bwMode="auto">
              <a:xfrm flipV="1">
                <a:off x="6267451"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30" name="Line 307"/>
              <p:cNvSpPr>
                <a:spLocks noChangeShapeType="1"/>
              </p:cNvSpPr>
              <p:nvPr/>
            </p:nvSpPr>
            <p:spPr bwMode="auto">
              <a:xfrm flipV="1">
                <a:off x="6297614" y="2274890"/>
                <a:ext cx="0" cy="5238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grpSp>
        <p:sp>
          <p:nvSpPr>
            <p:cNvPr id="137" name="TextBox 136"/>
            <p:cNvSpPr txBox="1"/>
            <p:nvPr/>
          </p:nvSpPr>
          <p:spPr>
            <a:xfrm>
              <a:off x="1526307" y="1378685"/>
              <a:ext cx="774572" cy="692497"/>
            </a:xfrm>
            <a:prstGeom prst="rect">
              <a:avLst/>
            </a:prstGeom>
            <a:noFill/>
          </p:spPr>
          <p:txBody>
            <a:bodyPr wrap="none"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prstClr val="black"/>
                  </a:solidFill>
                  <a:effectLst/>
                  <a:uLnTx/>
                  <a:uFillTx/>
                  <a:latin typeface="Calibri"/>
                  <a:ea typeface="ＭＳ Ｐゴシック" charset="0"/>
                  <a:cs typeface="+mn-cs"/>
                </a:rPr>
                <a:t>OS Sensor</a:t>
              </a:r>
            </a:p>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dirty="0">
                  <a:ln>
                    <a:noFill/>
                  </a:ln>
                  <a:solidFill>
                    <a:prstClr val="black"/>
                  </a:solidFill>
                  <a:effectLst/>
                  <a:uLnTx/>
                  <a:uFillTx/>
                  <a:latin typeface="Calibri"/>
                  <a:ea typeface="ＭＳ Ｐゴシック" charset="0"/>
                  <a:cs typeface="+mn-cs"/>
                </a:rPr>
                <a:t>Windows</a:t>
              </a:r>
            </a:p>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dirty="0">
                  <a:ln>
                    <a:noFill/>
                  </a:ln>
                  <a:solidFill>
                    <a:prstClr val="black"/>
                  </a:solidFill>
                  <a:effectLst/>
                  <a:uLnTx/>
                  <a:uFillTx/>
                  <a:latin typeface="Calibri"/>
                  <a:ea typeface="ＭＳ Ｐゴシック" charset="0"/>
                  <a:cs typeface="+mn-cs"/>
                </a:rPr>
                <a:t>Linux</a:t>
              </a:r>
            </a:p>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dirty="0">
                  <a:ln>
                    <a:noFill/>
                  </a:ln>
                  <a:solidFill>
                    <a:prstClr val="black"/>
                  </a:solidFill>
                  <a:effectLst/>
                  <a:uLnTx/>
                  <a:uFillTx/>
                  <a:latin typeface="Calibri"/>
                  <a:ea typeface="ＭＳ Ｐゴシック" charset="0"/>
                  <a:cs typeface="+mn-cs"/>
                </a:rPr>
                <a:t>Mid-Range</a:t>
              </a:r>
            </a:p>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dirty="0">
                  <a:ln>
                    <a:noFill/>
                  </a:ln>
                  <a:solidFill>
                    <a:prstClr val="black"/>
                  </a:solidFill>
                  <a:effectLst/>
                  <a:uLnTx/>
                  <a:uFillTx/>
                  <a:latin typeface="Calibri"/>
                  <a:ea typeface="ＭＳ Ｐゴシック" charset="0"/>
                  <a:cs typeface="+mn-cs"/>
                </a:rPr>
                <a:t>Universal</a:t>
              </a:r>
            </a:p>
          </p:txBody>
        </p:sp>
        <p:sp>
          <p:nvSpPr>
            <p:cNvPr id="141" name="TextBox 140"/>
            <p:cNvSpPr txBox="1"/>
            <p:nvPr/>
          </p:nvSpPr>
          <p:spPr>
            <a:xfrm>
              <a:off x="3071346" y="1438912"/>
              <a:ext cx="1122423" cy="477054"/>
            </a:xfrm>
            <a:prstGeom prst="rect">
              <a:avLst/>
            </a:prstGeom>
            <a:noFill/>
          </p:spPr>
          <p:txBody>
            <a:bodyPr wrap="none"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prstClr val="black"/>
                  </a:solidFill>
                  <a:effectLst/>
                  <a:uLnTx/>
                  <a:uFillTx/>
                  <a:latin typeface="Calibri"/>
                  <a:ea typeface="ＭＳ Ｐゴシック" charset="0"/>
                  <a:cs typeface="+mn-cs"/>
                </a:rPr>
                <a:t>Network Sensor</a:t>
              </a:r>
            </a:p>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dirty="0">
                  <a:ln>
                    <a:noFill/>
                  </a:ln>
                  <a:solidFill>
                    <a:prstClr val="black"/>
                  </a:solidFill>
                  <a:effectLst/>
                  <a:uLnTx/>
                  <a:uFillTx/>
                  <a:latin typeface="Calibri"/>
                  <a:ea typeface="ＭＳ Ｐゴシック" charset="0"/>
                  <a:cs typeface="+mn-cs"/>
                </a:rPr>
                <a:t>Cloud-Scale Nexus</a:t>
              </a:r>
            </a:p>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dirty="0">
                  <a:ln>
                    <a:noFill/>
                  </a:ln>
                  <a:solidFill>
                    <a:prstClr val="black"/>
                  </a:solidFill>
                  <a:effectLst/>
                  <a:uLnTx/>
                  <a:uFillTx/>
                  <a:latin typeface="Calibri"/>
                  <a:ea typeface="ＭＳ Ｐゴシック" charset="0"/>
                  <a:cs typeface="+mn-cs"/>
                </a:rPr>
                <a:t>Nexus 9000 ‘X’</a:t>
              </a:r>
            </a:p>
          </p:txBody>
        </p:sp>
      </p:grpSp>
      <p:grpSp>
        <p:nvGrpSpPr>
          <p:cNvPr id="210" name="Group 209"/>
          <p:cNvGrpSpPr/>
          <p:nvPr/>
        </p:nvGrpSpPr>
        <p:grpSpPr>
          <a:xfrm>
            <a:off x="505429" y="2264671"/>
            <a:ext cx="3715730" cy="1088231"/>
            <a:chOff x="505429" y="2450807"/>
            <a:chExt cx="3715730" cy="1088231"/>
          </a:xfrm>
        </p:grpSpPr>
        <p:grpSp>
          <p:nvGrpSpPr>
            <p:cNvPr id="142" name="Group 141"/>
            <p:cNvGrpSpPr/>
            <p:nvPr/>
          </p:nvGrpSpPr>
          <p:grpSpPr>
            <a:xfrm>
              <a:off x="505429" y="2450807"/>
              <a:ext cx="3715730" cy="1088231"/>
              <a:chOff x="2532834" y="1743075"/>
              <a:chExt cx="1955023" cy="1088231"/>
            </a:xfrm>
          </p:grpSpPr>
          <p:sp>
            <p:nvSpPr>
              <p:cNvPr id="143" name="Rectangle 20"/>
              <p:cNvSpPr>
                <a:spLocks noChangeArrowheads="1"/>
              </p:cNvSpPr>
              <p:nvPr/>
            </p:nvSpPr>
            <p:spPr bwMode="auto">
              <a:xfrm>
                <a:off x="2532834" y="1991309"/>
                <a:ext cx="1955023" cy="839997"/>
              </a:xfrm>
              <a:prstGeom prst="rect">
                <a:avLst/>
              </a:prstGeom>
              <a:solidFill>
                <a:schemeClr val="bg2">
                  <a:lumMod val="85000"/>
                </a:schemeClr>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black"/>
                  </a:solidFill>
                  <a:effectLst/>
                  <a:uLnTx/>
                  <a:uFillTx/>
                  <a:latin typeface="Calibri"/>
                  <a:ea typeface="ＭＳ Ｐゴシック" charset="0"/>
                  <a:cs typeface="+mn-cs"/>
                </a:endParaRPr>
              </a:p>
            </p:txBody>
          </p:sp>
          <p:sp>
            <p:nvSpPr>
              <p:cNvPr id="144" name="Rectangle 21"/>
              <p:cNvSpPr>
                <a:spLocks noChangeArrowheads="1"/>
              </p:cNvSpPr>
              <p:nvPr/>
            </p:nvSpPr>
            <p:spPr bwMode="auto">
              <a:xfrm>
                <a:off x="2532834" y="1743075"/>
                <a:ext cx="1955023" cy="235293"/>
              </a:xfrm>
              <a:prstGeom prst="rect">
                <a:avLst/>
              </a:prstGeom>
              <a:solidFill>
                <a:schemeClr val="accent3"/>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61601" tIns="30800" rIns="61601" bIns="30800" anchor="ctr">
                <a:noAutofit/>
              </a:bodyPr>
              <a:lstStyle/>
              <a:p>
                <a:pPr marL="0" marR="0" lvl="0" indent="0" algn="l" defTabSz="68571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Light"/>
                    <a:ea typeface="ＭＳ Ｐゴシック" charset="0"/>
                    <a:cs typeface="+mn-cs"/>
                  </a:rPr>
                  <a:t>Data Analytics &amp; Machine Learning Engine</a:t>
                </a:r>
              </a:p>
            </p:txBody>
          </p:sp>
        </p:grpSp>
        <p:grpSp>
          <p:nvGrpSpPr>
            <p:cNvPr id="174" name="Group 173"/>
            <p:cNvGrpSpPr/>
            <p:nvPr/>
          </p:nvGrpSpPr>
          <p:grpSpPr>
            <a:xfrm>
              <a:off x="682730" y="2830908"/>
              <a:ext cx="832512" cy="576262"/>
              <a:chOff x="6301677" y="3830756"/>
              <a:chExt cx="832512" cy="576262"/>
            </a:xfrm>
          </p:grpSpPr>
          <p:sp>
            <p:nvSpPr>
              <p:cNvPr id="152" name="Freeform 201"/>
              <p:cNvSpPr>
                <a:spLocks/>
              </p:cNvSpPr>
              <p:nvPr/>
            </p:nvSpPr>
            <p:spPr bwMode="auto">
              <a:xfrm>
                <a:off x="6301677" y="383075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53" name="Line 202"/>
              <p:cNvSpPr>
                <a:spLocks noChangeShapeType="1"/>
              </p:cNvSpPr>
              <p:nvPr/>
            </p:nvSpPr>
            <p:spPr bwMode="auto">
              <a:xfrm>
                <a:off x="6360415" y="390060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54" name="Line 203"/>
              <p:cNvSpPr>
                <a:spLocks noChangeShapeType="1"/>
              </p:cNvSpPr>
              <p:nvPr/>
            </p:nvSpPr>
            <p:spPr bwMode="auto">
              <a:xfrm>
                <a:off x="6360415" y="397204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55" name="Line 204"/>
              <p:cNvSpPr>
                <a:spLocks noChangeShapeType="1"/>
              </p:cNvSpPr>
              <p:nvPr/>
            </p:nvSpPr>
            <p:spPr bwMode="auto">
              <a:xfrm>
                <a:off x="6360415" y="404189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56" name="Line 205"/>
              <p:cNvSpPr>
                <a:spLocks noChangeShapeType="1"/>
              </p:cNvSpPr>
              <p:nvPr/>
            </p:nvSpPr>
            <p:spPr bwMode="auto">
              <a:xfrm>
                <a:off x="6360415" y="411174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57" name="Line 206"/>
              <p:cNvSpPr>
                <a:spLocks noChangeShapeType="1"/>
              </p:cNvSpPr>
              <p:nvPr/>
            </p:nvSpPr>
            <p:spPr bwMode="auto">
              <a:xfrm>
                <a:off x="6360415" y="418318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58" name="Freeform 207"/>
              <p:cNvSpPr>
                <a:spLocks/>
              </p:cNvSpPr>
              <p:nvPr/>
            </p:nvSpPr>
            <p:spPr bwMode="auto">
              <a:xfrm>
                <a:off x="6575341" y="3838195"/>
                <a:ext cx="234950" cy="379854"/>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59" name="Line 208"/>
              <p:cNvSpPr>
                <a:spLocks noChangeShapeType="1"/>
              </p:cNvSpPr>
              <p:nvPr/>
            </p:nvSpPr>
            <p:spPr bwMode="auto">
              <a:xfrm>
                <a:off x="6634078" y="3908045"/>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60" name="Line 209"/>
              <p:cNvSpPr>
                <a:spLocks noChangeShapeType="1"/>
              </p:cNvSpPr>
              <p:nvPr/>
            </p:nvSpPr>
            <p:spPr bwMode="auto">
              <a:xfrm>
                <a:off x="6634078" y="3976307"/>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61" name="Line 210"/>
              <p:cNvSpPr>
                <a:spLocks noChangeShapeType="1"/>
              </p:cNvSpPr>
              <p:nvPr/>
            </p:nvSpPr>
            <p:spPr bwMode="auto">
              <a:xfrm>
                <a:off x="6634078" y="4047745"/>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62" name="Line 211"/>
              <p:cNvSpPr>
                <a:spLocks noChangeShapeType="1"/>
              </p:cNvSpPr>
              <p:nvPr/>
            </p:nvSpPr>
            <p:spPr bwMode="auto">
              <a:xfrm>
                <a:off x="6634078" y="4117595"/>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grpSp>
            <p:nvGrpSpPr>
              <p:cNvPr id="170" name="Group 169"/>
              <p:cNvGrpSpPr>
                <a:grpSpLocks noChangeAspect="1"/>
              </p:cNvGrpSpPr>
              <p:nvPr/>
            </p:nvGrpSpPr>
            <p:grpSpPr>
              <a:xfrm>
                <a:off x="6638751" y="4161598"/>
                <a:ext cx="495438" cy="245420"/>
                <a:chOff x="836085" y="1496592"/>
                <a:chExt cx="538984" cy="266991"/>
              </a:xfrm>
            </p:grpSpPr>
            <p:sp>
              <p:nvSpPr>
                <p:cNvPr id="171" name="Freeform 751"/>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72" name="Freeform 752"/>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173" name="Freeform 753"/>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grpSp>
        </p:grpSp>
        <p:sp>
          <p:nvSpPr>
            <p:cNvPr id="175" name="TextBox 174"/>
            <p:cNvSpPr txBox="1"/>
            <p:nvPr/>
          </p:nvSpPr>
          <p:spPr>
            <a:xfrm>
              <a:off x="1592963" y="2867462"/>
              <a:ext cx="1160895" cy="477054"/>
            </a:xfrm>
            <a:prstGeom prst="rect">
              <a:avLst/>
            </a:prstGeom>
            <a:noFill/>
          </p:spPr>
          <p:txBody>
            <a:bodyPr wrap="none" rtlCol="0">
              <a:sp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prstClr val="black"/>
                  </a:solidFill>
                  <a:effectLst/>
                  <a:uLnTx/>
                  <a:uFillTx/>
                  <a:latin typeface="Calibri"/>
                  <a:ea typeface="ＭＳ Ｐゴシック" charset="0"/>
                  <a:cs typeface="+mn-cs"/>
                </a:rPr>
                <a:t>Analytics Cluster</a:t>
              </a:r>
            </a:p>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dirty="0">
                  <a:ln>
                    <a:noFill/>
                  </a:ln>
                  <a:solidFill>
                    <a:prstClr val="black"/>
                  </a:solidFill>
                  <a:effectLst/>
                  <a:uLnTx/>
                  <a:uFillTx/>
                  <a:latin typeface="Calibri"/>
                  <a:ea typeface="ＭＳ Ｐゴシック" charset="0"/>
                  <a:cs typeface="+mn-cs"/>
                </a:rPr>
                <a:t>Appliance model</a:t>
              </a:r>
            </a:p>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dirty="0">
                  <a:ln>
                    <a:noFill/>
                  </a:ln>
                  <a:solidFill>
                    <a:prstClr val="black"/>
                  </a:solidFill>
                  <a:effectLst/>
                  <a:uLnTx/>
                  <a:uFillTx/>
                  <a:latin typeface="Calibri"/>
                  <a:ea typeface="ＭＳ Ｐゴシック" charset="0"/>
                  <a:cs typeface="+mn-cs"/>
                </a:rPr>
                <a:t>On-Premise or Cloud</a:t>
              </a:r>
            </a:p>
          </p:txBody>
        </p:sp>
        <p:sp>
          <p:nvSpPr>
            <p:cNvPr id="176" name="Rectangle 175"/>
            <p:cNvSpPr/>
            <p:nvPr/>
          </p:nvSpPr>
          <p:spPr>
            <a:xfrm>
              <a:off x="2842773" y="2745531"/>
              <a:ext cx="852863" cy="715581"/>
            </a:xfrm>
            <a:prstGeom prst="rect">
              <a:avLst/>
            </a:prstGeom>
          </p:spPr>
          <p:txBody>
            <a:bodyPr wrap="square">
              <a:spAutoFit/>
            </a:bodyPr>
            <a:lstStyle/>
            <a:p>
              <a:pPr marL="0" marR="0" lvl="0" indent="0" algn="l" defTabSz="685715" rtl="0" eaLnBrk="1" fontAlgn="auto" latinLnBrk="0" hangingPunct="1">
                <a:lnSpc>
                  <a:spcPct val="135000"/>
                </a:lnSpc>
                <a:spcBef>
                  <a:spcPts val="0"/>
                </a:spcBef>
                <a:spcAft>
                  <a:spcPts val="0"/>
                </a:spcAft>
                <a:buClrTx/>
                <a:buSzTx/>
                <a:buFontTx/>
                <a:buNone/>
                <a:tabLst/>
                <a:defRPr/>
              </a:pPr>
              <a:r>
                <a:rPr kumimoji="0" lang="en-AU" sz="1000" b="1" i="0" u="none" strike="noStrike" kern="1200" cap="none" spc="0" normalizeH="0" baseline="0" noProof="0" dirty="0">
                  <a:ln>
                    <a:noFill/>
                  </a:ln>
                  <a:solidFill>
                    <a:prstClr val="white">
                      <a:lumMod val="60000"/>
                      <a:lumOff val="40000"/>
                    </a:prstClr>
                  </a:solidFill>
                  <a:effectLst/>
                  <a:uLnTx/>
                  <a:uFillTx/>
                  <a:latin typeface="Calibri Light"/>
                  <a:ea typeface="CiscoSans" charset="0"/>
                  <a:cs typeface="CiscoSans" charset="0"/>
                </a:rPr>
                <a:t>▸ </a:t>
              </a:r>
              <a:r>
                <a:rPr kumimoji="0" lang="en-AU" sz="1000" b="1" i="0" u="none" strike="noStrike" kern="1200" cap="none" spc="0" normalizeH="0" baseline="0" noProof="0" dirty="0">
                  <a:ln>
                    <a:noFill/>
                  </a:ln>
                  <a:solidFill>
                    <a:prstClr val="black"/>
                  </a:solidFill>
                  <a:effectLst/>
                  <a:uLnTx/>
                  <a:uFillTx/>
                  <a:latin typeface="Calibri Light"/>
                  <a:ea typeface="CiscoSans" charset="0"/>
                  <a:cs typeface="CiscoSans" charset="0"/>
                </a:rPr>
                <a:t>Ingest</a:t>
              </a:r>
            </a:p>
            <a:p>
              <a:pPr marL="0" marR="0" lvl="0" indent="0" algn="l" defTabSz="685715" rtl="0" eaLnBrk="1" fontAlgn="auto" latinLnBrk="0" hangingPunct="1">
                <a:lnSpc>
                  <a:spcPct val="135000"/>
                </a:lnSpc>
                <a:spcBef>
                  <a:spcPts val="0"/>
                </a:spcBef>
                <a:spcAft>
                  <a:spcPts val="0"/>
                </a:spcAft>
                <a:buClrTx/>
                <a:buSzTx/>
                <a:buFontTx/>
                <a:buNone/>
                <a:tabLst/>
                <a:defRPr/>
              </a:pPr>
              <a:r>
                <a:rPr kumimoji="0" lang="en-AU" sz="1000" b="1" i="0" u="none" strike="noStrike" kern="1200" cap="none" spc="0" normalizeH="0" baseline="0" noProof="0" dirty="0">
                  <a:ln>
                    <a:noFill/>
                  </a:ln>
                  <a:solidFill>
                    <a:prstClr val="white">
                      <a:lumMod val="60000"/>
                      <a:lumOff val="40000"/>
                    </a:prstClr>
                  </a:solidFill>
                  <a:effectLst/>
                  <a:uLnTx/>
                  <a:uFillTx/>
                  <a:latin typeface="Calibri"/>
                  <a:ea typeface="CiscoSans" charset="0"/>
                  <a:cs typeface="CiscoSans" charset="0"/>
                </a:rPr>
                <a:t>▸ </a:t>
              </a:r>
              <a:r>
                <a:rPr kumimoji="0" lang="en-AU" sz="1000" b="1" i="0" u="none" strike="noStrike" kern="1200" cap="none" spc="0" normalizeH="0" baseline="0" noProof="0" dirty="0">
                  <a:ln>
                    <a:noFill/>
                  </a:ln>
                  <a:solidFill>
                    <a:prstClr val="black"/>
                  </a:solidFill>
                  <a:effectLst/>
                  <a:uLnTx/>
                  <a:uFillTx/>
                  <a:latin typeface="Calibri Light"/>
                  <a:ea typeface="CiscoSans" charset="0"/>
                  <a:cs typeface="CiscoSans" charset="0"/>
                </a:rPr>
                <a:t>Store</a:t>
              </a:r>
            </a:p>
            <a:p>
              <a:pPr marL="0" marR="0" lvl="0" indent="0" algn="l" defTabSz="685715" rtl="0" eaLnBrk="1" fontAlgn="auto" latinLnBrk="0" hangingPunct="1">
                <a:lnSpc>
                  <a:spcPct val="135000"/>
                </a:lnSpc>
                <a:spcBef>
                  <a:spcPts val="0"/>
                </a:spcBef>
                <a:spcAft>
                  <a:spcPts val="0"/>
                </a:spcAft>
                <a:buClrTx/>
                <a:buSzTx/>
                <a:buFontTx/>
                <a:buNone/>
                <a:tabLst/>
                <a:defRPr/>
              </a:pPr>
              <a:r>
                <a:rPr kumimoji="0" lang="en-AU" sz="1000" b="1" i="0" u="none" strike="noStrike" kern="1200" cap="none" spc="0" normalizeH="0" baseline="0" noProof="0" dirty="0">
                  <a:ln>
                    <a:noFill/>
                  </a:ln>
                  <a:solidFill>
                    <a:prstClr val="white">
                      <a:lumMod val="60000"/>
                      <a:lumOff val="40000"/>
                    </a:prstClr>
                  </a:solidFill>
                  <a:effectLst/>
                  <a:uLnTx/>
                  <a:uFillTx/>
                  <a:latin typeface="Calibri"/>
                  <a:ea typeface="CiscoSans" charset="0"/>
                  <a:cs typeface="CiscoSans" charset="0"/>
                </a:rPr>
                <a:t>▸ </a:t>
              </a:r>
              <a:r>
                <a:rPr kumimoji="0" lang="en-AU" sz="1000" b="1" i="0" u="none" strike="noStrike" kern="1200" cap="none" spc="0" normalizeH="0" baseline="0" noProof="0" dirty="0">
                  <a:ln>
                    <a:noFill/>
                  </a:ln>
                  <a:solidFill>
                    <a:prstClr val="black"/>
                  </a:solidFill>
                  <a:effectLst/>
                  <a:uLnTx/>
                  <a:uFillTx/>
                  <a:latin typeface="Calibri Light"/>
                  <a:ea typeface="CiscoSans" charset="0"/>
                  <a:cs typeface="CiscoSans" charset="0"/>
                </a:rPr>
                <a:t>Analyse</a:t>
              </a:r>
            </a:p>
          </p:txBody>
        </p:sp>
        <p:sp>
          <p:nvSpPr>
            <p:cNvPr id="204" name="Rectangle 203"/>
            <p:cNvSpPr/>
            <p:nvPr/>
          </p:nvSpPr>
          <p:spPr>
            <a:xfrm>
              <a:off x="3472784" y="2750061"/>
              <a:ext cx="731124" cy="715581"/>
            </a:xfrm>
            <a:prstGeom prst="rect">
              <a:avLst/>
            </a:prstGeom>
          </p:spPr>
          <p:txBody>
            <a:bodyPr wrap="square" rIns="0">
              <a:spAutoFit/>
            </a:bodyPr>
            <a:lstStyle/>
            <a:p>
              <a:pPr marL="0" marR="0" lvl="0" indent="0" algn="l" defTabSz="685715" rtl="0" eaLnBrk="1" fontAlgn="auto" latinLnBrk="0" hangingPunct="1">
                <a:lnSpc>
                  <a:spcPct val="135000"/>
                </a:lnSpc>
                <a:spcBef>
                  <a:spcPts val="0"/>
                </a:spcBef>
                <a:spcAft>
                  <a:spcPts val="0"/>
                </a:spcAft>
                <a:buClrTx/>
                <a:buSzTx/>
                <a:buFontTx/>
                <a:buNone/>
                <a:tabLst/>
                <a:defRPr/>
              </a:pPr>
              <a:r>
                <a:rPr kumimoji="0" lang="en-AU" sz="1000" b="1" i="0" u="none" strike="noStrike" kern="1200" cap="none" spc="0" normalizeH="0" baseline="0" noProof="0" dirty="0">
                  <a:ln>
                    <a:noFill/>
                  </a:ln>
                  <a:solidFill>
                    <a:prstClr val="white">
                      <a:lumMod val="60000"/>
                      <a:lumOff val="40000"/>
                    </a:prstClr>
                  </a:solidFill>
                  <a:effectLst/>
                  <a:uLnTx/>
                  <a:uFillTx/>
                  <a:latin typeface="Calibri"/>
                  <a:ea typeface="CiscoSans" charset="0"/>
                  <a:cs typeface="CiscoSans" charset="0"/>
                </a:rPr>
                <a:t>▸ </a:t>
              </a:r>
              <a:r>
                <a:rPr kumimoji="0" lang="en-AU" sz="1000" b="1" i="0" u="none" strike="noStrike" kern="1200" cap="none" spc="0" normalizeH="0" baseline="0" noProof="0" dirty="0">
                  <a:ln>
                    <a:noFill/>
                  </a:ln>
                  <a:solidFill>
                    <a:prstClr val="black"/>
                  </a:solidFill>
                  <a:effectLst/>
                  <a:uLnTx/>
                  <a:uFillTx/>
                  <a:latin typeface="Calibri Light"/>
                  <a:ea typeface="CiscoSans" charset="0"/>
                  <a:cs typeface="CiscoSans" charset="0"/>
                </a:rPr>
                <a:t>Learn</a:t>
              </a:r>
            </a:p>
            <a:p>
              <a:pPr marL="0" marR="0" lvl="0" indent="0" algn="l" defTabSz="685715" rtl="0" eaLnBrk="1" fontAlgn="auto" latinLnBrk="0" hangingPunct="1">
                <a:lnSpc>
                  <a:spcPct val="135000"/>
                </a:lnSpc>
                <a:spcBef>
                  <a:spcPts val="0"/>
                </a:spcBef>
                <a:spcAft>
                  <a:spcPts val="0"/>
                </a:spcAft>
                <a:buClrTx/>
                <a:buSzTx/>
                <a:buFontTx/>
                <a:buNone/>
                <a:tabLst/>
                <a:defRPr/>
              </a:pPr>
              <a:r>
                <a:rPr kumimoji="0" lang="en-AU" sz="1000" b="1" i="0" u="none" strike="noStrike" kern="1200" cap="none" spc="0" normalizeH="0" baseline="0" noProof="0" dirty="0">
                  <a:ln>
                    <a:noFill/>
                  </a:ln>
                  <a:solidFill>
                    <a:prstClr val="white">
                      <a:lumMod val="60000"/>
                      <a:lumOff val="40000"/>
                    </a:prstClr>
                  </a:solidFill>
                  <a:effectLst/>
                  <a:uLnTx/>
                  <a:uFillTx/>
                  <a:latin typeface="Calibri"/>
                  <a:ea typeface="CiscoSans" charset="0"/>
                  <a:cs typeface="CiscoSans" charset="0"/>
                </a:rPr>
                <a:t>▸ </a:t>
              </a:r>
              <a:r>
                <a:rPr kumimoji="0" lang="en-AU" sz="1000" b="1" i="0" u="none" strike="noStrike" kern="1200" cap="none" spc="0" normalizeH="0" baseline="0" noProof="0" dirty="0">
                  <a:ln>
                    <a:noFill/>
                  </a:ln>
                  <a:solidFill>
                    <a:prstClr val="black"/>
                  </a:solidFill>
                  <a:effectLst/>
                  <a:uLnTx/>
                  <a:uFillTx/>
                  <a:latin typeface="Calibri Light"/>
                  <a:ea typeface="CiscoSans" charset="0"/>
                  <a:cs typeface="CiscoSans" charset="0"/>
                </a:rPr>
                <a:t>Simulate</a:t>
              </a:r>
            </a:p>
            <a:p>
              <a:pPr marL="0" marR="0" lvl="0" indent="0" algn="l" defTabSz="685715" rtl="0" eaLnBrk="1" fontAlgn="auto" latinLnBrk="0" hangingPunct="1">
                <a:lnSpc>
                  <a:spcPct val="135000"/>
                </a:lnSpc>
                <a:spcBef>
                  <a:spcPts val="0"/>
                </a:spcBef>
                <a:spcAft>
                  <a:spcPts val="0"/>
                </a:spcAft>
                <a:buClrTx/>
                <a:buSzTx/>
                <a:buFontTx/>
                <a:buNone/>
                <a:tabLst/>
                <a:defRPr/>
              </a:pPr>
              <a:r>
                <a:rPr kumimoji="0" lang="en-AU" sz="1000" b="1" i="0" u="none" strike="noStrike" kern="1200" cap="none" spc="0" normalizeH="0" baseline="0" noProof="0" dirty="0">
                  <a:ln>
                    <a:noFill/>
                  </a:ln>
                  <a:solidFill>
                    <a:prstClr val="white">
                      <a:lumMod val="60000"/>
                      <a:lumOff val="40000"/>
                    </a:prstClr>
                  </a:solidFill>
                  <a:effectLst/>
                  <a:uLnTx/>
                  <a:uFillTx/>
                  <a:latin typeface="Calibri"/>
                  <a:ea typeface="CiscoSans" charset="0"/>
                  <a:cs typeface="CiscoSans" charset="0"/>
                </a:rPr>
                <a:t>▸ </a:t>
              </a:r>
              <a:r>
                <a:rPr kumimoji="0" lang="en-AU" sz="1000" b="1" i="0" u="none" strike="noStrike" kern="1200" cap="none" spc="0" normalizeH="0" baseline="0" noProof="0" dirty="0">
                  <a:ln>
                    <a:noFill/>
                  </a:ln>
                  <a:solidFill>
                    <a:prstClr val="black"/>
                  </a:solidFill>
                  <a:effectLst/>
                  <a:uLnTx/>
                  <a:uFillTx/>
                  <a:latin typeface="Calibri Light"/>
                  <a:ea typeface="CiscoSans" charset="0"/>
                  <a:cs typeface="CiscoSans" charset="0"/>
                </a:rPr>
                <a:t>Act</a:t>
              </a:r>
            </a:p>
          </p:txBody>
        </p:sp>
      </p:grpSp>
      <p:grpSp>
        <p:nvGrpSpPr>
          <p:cNvPr id="14" name="Group 13"/>
          <p:cNvGrpSpPr/>
          <p:nvPr/>
        </p:nvGrpSpPr>
        <p:grpSpPr>
          <a:xfrm>
            <a:off x="2187159" y="2062819"/>
            <a:ext cx="385631" cy="167412"/>
            <a:chOff x="2187158" y="2062819"/>
            <a:chExt cx="385631" cy="167412"/>
          </a:xfrm>
        </p:grpSpPr>
        <p:grpSp>
          <p:nvGrpSpPr>
            <p:cNvPr id="13" name="Group 12"/>
            <p:cNvGrpSpPr/>
            <p:nvPr/>
          </p:nvGrpSpPr>
          <p:grpSpPr>
            <a:xfrm>
              <a:off x="2187158" y="2062819"/>
              <a:ext cx="54000" cy="167412"/>
              <a:chOff x="5505145" y="1090805"/>
              <a:chExt cx="54000" cy="167412"/>
            </a:xfrm>
          </p:grpSpPr>
          <p:sp>
            <p:nvSpPr>
              <p:cNvPr id="12" name="Oval 11"/>
              <p:cNvSpPr>
                <a:spLocks noChangeAspect="1"/>
              </p:cNvSpPr>
              <p:nvPr/>
            </p:nvSpPr>
            <p:spPr>
              <a:xfrm>
                <a:off x="5505145" y="1090805"/>
                <a:ext cx="54000" cy="54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1" name="Oval 210"/>
              <p:cNvSpPr>
                <a:spLocks noChangeAspect="1"/>
              </p:cNvSpPr>
              <p:nvPr/>
            </p:nvSpPr>
            <p:spPr>
              <a:xfrm>
                <a:off x="5510545" y="1163711"/>
                <a:ext cx="43200" cy="43200"/>
              </a:xfrm>
              <a:prstGeom prst="ellipse">
                <a:avLst/>
              </a:prstGeom>
              <a:solidFill>
                <a:srgbClr val="6EBE4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2" name="Oval 211"/>
              <p:cNvSpPr>
                <a:spLocks noChangeAspect="1"/>
              </p:cNvSpPr>
              <p:nvPr/>
            </p:nvSpPr>
            <p:spPr>
              <a:xfrm>
                <a:off x="5515945" y="1225817"/>
                <a:ext cx="32400" cy="32400"/>
              </a:xfrm>
              <a:prstGeom prst="ellipse">
                <a:avLst/>
              </a:prstGeom>
              <a:solidFill>
                <a:srgbClr val="FBAB1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213" name="Group 212"/>
            <p:cNvGrpSpPr/>
            <p:nvPr/>
          </p:nvGrpSpPr>
          <p:grpSpPr>
            <a:xfrm>
              <a:off x="2297702" y="2062819"/>
              <a:ext cx="54000" cy="167412"/>
              <a:chOff x="5505145" y="1090805"/>
              <a:chExt cx="54000" cy="167412"/>
            </a:xfrm>
          </p:grpSpPr>
          <p:sp>
            <p:nvSpPr>
              <p:cNvPr id="214" name="Oval 213"/>
              <p:cNvSpPr>
                <a:spLocks noChangeAspect="1"/>
              </p:cNvSpPr>
              <p:nvPr/>
            </p:nvSpPr>
            <p:spPr>
              <a:xfrm>
                <a:off x="5505145" y="1090805"/>
                <a:ext cx="54000" cy="54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5" name="Oval 214"/>
              <p:cNvSpPr>
                <a:spLocks noChangeAspect="1"/>
              </p:cNvSpPr>
              <p:nvPr/>
            </p:nvSpPr>
            <p:spPr>
              <a:xfrm>
                <a:off x="5510545" y="1163711"/>
                <a:ext cx="43200" cy="43200"/>
              </a:xfrm>
              <a:prstGeom prst="ellipse">
                <a:avLst/>
              </a:prstGeom>
              <a:solidFill>
                <a:srgbClr val="6EBE4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6" name="Oval 215"/>
              <p:cNvSpPr>
                <a:spLocks noChangeAspect="1"/>
              </p:cNvSpPr>
              <p:nvPr/>
            </p:nvSpPr>
            <p:spPr>
              <a:xfrm>
                <a:off x="5515945" y="1225817"/>
                <a:ext cx="32400" cy="32400"/>
              </a:xfrm>
              <a:prstGeom prst="ellipse">
                <a:avLst/>
              </a:prstGeom>
              <a:solidFill>
                <a:srgbClr val="FBAB1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217" name="Group 216"/>
            <p:cNvGrpSpPr/>
            <p:nvPr/>
          </p:nvGrpSpPr>
          <p:grpSpPr>
            <a:xfrm>
              <a:off x="2408246" y="2062819"/>
              <a:ext cx="54000" cy="167412"/>
              <a:chOff x="5505145" y="1090805"/>
              <a:chExt cx="54000" cy="167412"/>
            </a:xfrm>
          </p:grpSpPr>
          <p:sp>
            <p:nvSpPr>
              <p:cNvPr id="218" name="Oval 217"/>
              <p:cNvSpPr>
                <a:spLocks noChangeAspect="1"/>
              </p:cNvSpPr>
              <p:nvPr/>
            </p:nvSpPr>
            <p:spPr>
              <a:xfrm>
                <a:off x="5505145" y="1090805"/>
                <a:ext cx="54000" cy="54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9" name="Oval 218"/>
              <p:cNvSpPr>
                <a:spLocks noChangeAspect="1"/>
              </p:cNvSpPr>
              <p:nvPr/>
            </p:nvSpPr>
            <p:spPr>
              <a:xfrm>
                <a:off x="5510545" y="1163711"/>
                <a:ext cx="43200" cy="43200"/>
              </a:xfrm>
              <a:prstGeom prst="ellipse">
                <a:avLst/>
              </a:prstGeom>
              <a:solidFill>
                <a:srgbClr val="6EBE4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0" name="Oval 219"/>
              <p:cNvSpPr>
                <a:spLocks noChangeAspect="1"/>
              </p:cNvSpPr>
              <p:nvPr/>
            </p:nvSpPr>
            <p:spPr>
              <a:xfrm>
                <a:off x="5515945" y="1225817"/>
                <a:ext cx="32400" cy="32400"/>
              </a:xfrm>
              <a:prstGeom prst="ellipse">
                <a:avLst/>
              </a:prstGeom>
              <a:solidFill>
                <a:srgbClr val="FBAB1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221" name="Group 220"/>
            <p:cNvGrpSpPr/>
            <p:nvPr/>
          </p:nvGrpSpPr>
          <p:grpSpPr>
            <a:xfrm>
              <a:off x="2518789" y="2062819"/>
              <a:ext cx="54000" cy="167412"/>
              <a:chOff x="5505145" y="1090805"/>
              <a:chExt cx="54000" cy="167412"/>
            </a:xfrm>
          </p:grpSpPr>
          <p:sp>
            <p:nvSpPr>
              <p:cNvPr id="222" name="Oval 221"/>
              <p:cNvSpPr>
                <a:spLocks noChangeAspect="1"/>
              </p:cNvSpPr>
              <p:nvPr/>
            </p:nvSpPr>
            <p:spPr>
              <a:xfrm>
                <a:off x="5505145" y="1090805"/>
                <a:ext cx="54000" cy="54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3" name="Oval 222"/>
              <p:cNvSpPr>
                <a:spLocks noChangeAspect="1"/>
              </p:cNvSpPr>
              <p:nvPr/>
            </p:nvSpPr>
            <p:spPr>
              <a:xfrm>
                <a:off x="5510545" y="1163711"/>
                <a:ext cx="43200" cy="43200"/>
              </a:xfrm>
              <a:prstGeom prst="ellipse">
                <a:avLst/>
              </a:prstGeom>
              <a:solidFill>
                <a:srgbClr val="6EBE4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4" name="Oval 223"/>
              <p:cNvSpPr>
                <a:spLocks noChangeAspect="1"/>
              </p:cNvSpPr>
              <p:nvPr/>
            </p:nvSpPr>
            <p:spPr>
              <a:xfrm>
                <a:off x="5515945" y="1225817"/>
                <a:ext cx="32400" cy="32400"/>
              </a:xfrm>
              <a:prstGeom prst="ellipse">
                <a:avLst/>
              </a:prstGeom>
              <a:solidFill>
                <a:srgbClr val="FBAB1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grpSp>
      </p:grpSp>
      <p:grpSp>
        <p:nvGrpSpPr>
          <p:cNvPr id="226" name="Group 225"/>
          <p:cNvGrpSpPr/>
          <p:nvPr/>
        </p:nvGrpSpPr>
        <p:grpSpPr>
          <a:xfrm>
            <a:off x="2182037" y="3391823"/>
            <a:ext cx="385631" cy="167412"/>
            <a:chOff x="2187158" y="2062819"/>
            <a:chExt cx="385631" cy="167412"/>
          </a:xfrm>
        </p:grpSpPr>
        <p:grpSp>
          <p:nvGrpSpPr>
            <p:cNvPr id="227" name="Group 226"/>
            <p:cNvGrpSpPr/>
            <p:nvPr/>
          </p:nvGrpSpPr>
          <p:grpSpPr>
            <a:xfrm>
              <a:off x="2187158" y="2062819"/>
              <a:ext cx="54000" cy="167412"/>
              <a:chOff x="5505145" y="1090805"/>
              <a:chExt cx="54000" cy="167412"/>
            </a:xfrm>
          </p:grpSpPr>
          <p:sp>
            <p:nvSpPr>
              <p:cNvPr id="245" name="Oval 244"/>
              <p:cNvSpPr>
                <a:spLocks noChangeAspect="1"/>
              </p:cNvSpPr>
              <p:nvPr/>
            </p:nvSpPr>
            <p:spPr>
              <a:xfrm>
                <a:off x="5505145" y="1090805"/>
                <a:ext cx="54000" cy="54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6" name="Oval 245"/>
              <p:cNvSpPr>
                <a:spLocks noChangeAspect="1"/>
              </p:cNvSpPr>
              <p:nvPr/>
            </p:nvSpPr>
            <p:spPr>
              <a:xfrm>
                <a:off x="5510545" y="1163711"/>
                <a:ext cx="43200" cy="43200"/>
              </a:xfrm>
              <a:prstGeom prst="ellipse">
                <a:avLst/>
              </a:prstGeom>
              <a:solidFill>
                <a:srgbClr val="6EBE4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7" name="Oval 246"/>
              <p:cNvSpPr>
                <a:spLocks noChangeAspect="1"/>
              </p:cNvSpPr>
              <p:nvPr/>
            </p:nvSpPr>
            <p:spPr>
              <a:xfrm>
                <a:off x="5515945" y="1225817"/>
                <a:ext cx="32400" cy="32400"/>
              </a:xfrm>
              <a:prstGeom prst="ellipse">
                <a:avLst/>
              </a:prstGeom>
              <a:solidFill>
                <a:srgbClr val="FBAB1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228" name="Group 227"/>
            <p:cNvGrpSpPr/>
            <p:nvPr/>
          </p:nvGrpSpPr>
          <p:grpSpPr>
            <a:xfrm>
              <a:off x="2297702" y="2062819"/>
              <a:ext cx="54000" cy="167412"/>
              <a:chOff x="5505145" y="1090805"/>
              <a:chExt cx="54000" cy="167412"/>
            </a:xfrm>
          </p:grpSpPr>
          <p:sp>
            <p:nvSpPr>
              <p:cNvPr id="242" name="Oval 241"/>
              <p:cNvSpPr>
                <a:spLocks noChangeAspect="1"/>
              </p:cNvSpPr>
              <p:nvPr/>
            </p:nvSpPr>
            <p:spPr>
              <a:xfrm>
                <a:off x="5505145" y="1090805"/>
                <a:ext cx="54000" cy="54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3" name="Oval 242"/>
              <p:cNvSpPr>
                <a:spLocks noChangeAspect="1"/>
              </p:cNvSpPr>
              <p:nvPr/>
            </p:nvSpPr>
            <p:spPr>
              <a:xfrm>
                <a:off x="5510545" y="1163711"/>
                <a:ext cx="43200" cy="43200"/>
              </a:xfrm>
              <a:prstGeom prst="ellipse">
                <a:avLst/>
              </a:prstGeom>
              <a:solidFill>
                <a:srgbClr val="6EBE4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4" name="Oval 243"/>
              <p:cNvSpPr>
                <a:spLocks noChangeAspect="1"/>
              </p:cNvSpPr>
              <p:nvPr/>
            </p:nvSpPr>
            <p:spPr>
              <a:xfrm>
                <a:off x="5515945" y="1225817"/>
                <a:ext cx="32400" cy="32400"/>
              </a:xfrm>
              <a:prstGeom prst="ellipse">
                <a:avLst/>
              </a:prstGeom>
              <a:solidFill>
                <a:srgbClr val="FBAB1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234" name="Group 233"/>
            <p:cNvGrpSpPr/>
            <p:nvPr/>
          </p:nvGrpSpPr>
          <p:grpSpPr>
            <a:xfrm>
              <a:off x="2408246" y="2062819"/>
              <a:ext cx="54000" cy="167412"/>
              <a:chOff x="5505145" y="1090805"/>
              <a:chExt cx="54000" cy="167412"/>
            </a:xfrm>
          </p:grpSpPr>
          <p:sp>
            <p:nvSpPr>
              <p:cNvPr id="239" name="Oval 238"/>
              <p:cNvSpPr>
                <a:spLocks noChangeAspect="1"/>
              </p:cNvSpPr>
              <p:nvPr/>
            </p:nvSpPr>
            <p:spPr>
              <a:xfrm>
                <a:off x="5505145" y="1090805"/>
                <a:ext cx="54000" cy="54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0" name="Oval 239"/>
              <p:cNvSpPr>
                <a:spLocks noChangeAspect="1"/>
              </p:cNvSpPr>
              <p:nvPr/>
            </p:nvSpPr>
            <p:spPr>
              <a:xfrm>
                <a:off x="5510545" y="1163711"/>
                <a:ext cx="43200" cy="43200"/>
              </a:xfrm>
              <a:prstGeom prst="ellipse">
                <a:avLst/>
              </a:prstGeom>
              <a:solidFill>
                <a:srgbClr val="6EBE4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1" name="Oval 240"/>
              <p:cNvSpPr>
                <a:spLocks noChangeAspect="1"/>
              </p:cNvSpPr>
              <p:nvPr/>
            </p:nvSpPr>
            <p:spPr>
              <a:xfrm>
                <a:off x="5515945" y="1225817"/>
                <a:ext cx="32400" cy="32400"/>
              </a:xfrm>
              <a:prstGeom prst="ellipse">
                <a:avLst/>
              </a:prstGeom>
              <a:solidFill>
                <a:srgbClr val="FBAB1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235" name="Group 234"/>
            <p:cNvGrpSpPr/>
            <p:nvPr/>
          </p:nvGrpSpPr>
          <p:grpSpPr>
            <a:xfrm>
              <a:off x="2518789" y="2062819"/>
              <a:ext cx="54000" cy="167412"/>
              <a:chOff x="5505145" y="1090805"/>
              <a:chExt cx="54000" cy="167412"/>
            </a:xfrm>
          </p:grpSpPr>
          <p:sp>
            <p:nvSpPr>
              <p:cNvPr id="236" name="Oval 235"/>
              <p:cNvSpPr>
                <a:spLocks noChangeAspect="1"/>
              </p:cNvSpPr>
              <p:nvPr/>
            </p:nvSpPr>
            <p:spPr>
              <a:xfrm>
                <a:off x="5505145" y="1090805"/>
                <a:ext cx="54000" cy="54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37" name="Oval 236"/>
              <p:cNvSpPr>
                <a:spLocks noChangeAspect="1"/>
              </p:cNvSpPr>
              <p:nvPr/>
            </p:nvSpPr>
            <p:spPr>
              <a:xfrm>
                <a:off x="5510545" y="1163711"/>
                <a:ext cx="43200" cy="43200"/>
              </a:xfrm>
              <a:prstGeom prst="ellipse">
                <a:avLst/>
              </a:prstGeom>
              <a:solidFill>
                <a:srgbClr val="6EBE4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38" name="Oval 237"/>
              <p:cNvSpPr>
                <a:spLocks noChangeAspect="1"/>
              </p:cNvSpPr>
              <p:nvPr/>
            </p:nvSpPr>
            <p:spPr>
              <a:xfrm>
                <a:off x="5515945" y="1225817"/>
                <a:ext cx="32400" cy="32400"/>
              </a:xfrm>
              <a:prstGeom prst="ellipse">
                <a:avLst/>
              </a:prstGeom>
              <a:solidFill>
                <a:srgbClr val="FBAB1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AU" sz="1900" b="0" i="0" u="none" strike="noStrike" kern="1200" cap="none" spc="0" normalizeH="0" baseline="0" noProof="0" dirty="0">
                  <a:ln>
                    <a:noFill/>
                  </a:ln>
                  <a:solidFill>
                    <a:prstClr val="white"/>
                  </a:solidFill>
                  <a:effectLst/>
                  <a:uLnTx/>
                  <a:uFillTx/>
                  <a:latin typeface="Calibri"/>
                  <a:ea typeface="+mn-ea"/>
                  <a:cs typeface="+mn-cs"/>
                </a:endParaRPr>
              </a:p>
            </p:txBody>
          </p:sp>
        </p:grpSp>
      </p:grpSp>
    </p:spTree>
    <p:extLst>
      <p:ext uri="{BB962C8B-B14F-4D97-AF65-F5344CB8AC3E}">
        <p14:creationId xmlns:p14="http://schemas.microsoft.com/office/powerpoint/2010/main" val="357201860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210"/>
                                        </p:tgtEl>
                                        <p:attrNameLst>
                                          <p:attrName>style.visibility</p:attrName>
                                        </p:attrNameLst>
                                      </p:cBhvr>
                                      <p:to>
                                        <p:strVal val="visible"/>
                                      </p:to>
                                    </p:set>
                                    <p:animEffect transition="in" filter="fade">
                                      <p:cBhvr>
                                        <p:cTn id="14" dur="500"/>
                                        <p:tgtEl>
                                          <p:spTgt spid="210"/>
                                        </p:tgtEl>
                                      </p:cBhvr>
                                    </p:animEffect>
                                  </p:childTnLst>
                                </p:cTn>
                              </p:par>
                              <p:par>
                                <p:cTn id="15" presetID="22" presetClass="entr" presetSubtype="1"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wipe(up)">
                                      <p:cBhvr>
                                        <p:cTn id="17" dur="500"/>
                                        <p:tgtEl>
                                          <p:spTgt spid="14"/>
                                        </p:tgtEl>
                                      </p:cBhvr>
                                    </p:animEffect>
                                  </p:childTnLst>
                                </p:cTn>
                              </p:par>
                              <p:par>
                                <p:cTn id="18" presetID="10" presetClass="exit" presetSubtype="0" fill="hold" nodeType="withEffect">
                                  <p:stCondLst>
                                    <p:cond delay="0"/>
                                  </p:stCondLst>
                                  <p:childTnLst>
                                    <p:animEffect transition="out" filter="fade">
                                      <p:cBhvr>
                                        <p:cTn id="19" dur="500"/>
                                        <p:tgtEl>
                                          <p:spTgt spid="11"/>
                                        </p:tgtEl>
                                      </p:cBhvr>
                                    </p:animEffect>
                                    <p:set>
                                      <p:cBhvr>
                                        <p:cTn id="20" dur="1" fill="hold">
                                          <p:stCondLst>
                                            <p:cond delay="499"/>
                                          </p:stCondLst>
                                        </p:cTn>
                                        <p:tgtEl>
                                          <p:spTgt spid="11"/>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par>
                                <p:cTn id="31" presetID="22" presetClass="entr" presetSubtype="1" fill="hold" nodeType="withEffect">
                                  <p:stCondLst>
                                    <p:cond delay="0"/>
                                  </p:stCondLst>
                                  <p:childTnLst>
                                    <p:set>
                                      <p:cBhvr>
                                        <p:cTn id="32" dur="1" fill="hold">
                                          <p:stCondLst>
                                            <p:cond delay="0"/>
                                          </p:stCondLst>
                                        </p:cTn>
                                        <p:tgtEl>
                                          <p:spTgt spid="226"/>
                                        </p:tgtEl>
                                        <p:attrNameLst>
                                          <p:attrName>style.visibility</p:attrName>
                                        </p:attrNameLst>
                                      </p:cBhvr>
                                      <p:to>
                                        <p:strVal val="visible"/>
                                      </p:to>
                                    </p:set>
                                    <p:animEffect transition="in" filter="wipe(up)">
                                      <p:cBhvr>
                                        <p:cTn id="33" dur="500"/>
                                        <p:tgtEl>
                                          <p:spTgt spid="2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Rectangle 172"/>
          <p:cNvSpPr/>
          <p:nvPr/>
        </p:nvSpPr>
        <p:spPr>
          <a:xfrm>
            <a:off x="4575177" y="1073151"/>
            <a:ext cx="4295774" cy="3651250"/>
          </a:xfrm>
          <a:prstGeom prst="rect">
            <a:avLst/>
          </a:prstGeom>
          <a:solidFill>
            <a:schemeClr val="tx2">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sp>
        <p:nvSpPr>
          <p:cNvPr id="174" name="Rectangle 173"/>
          <p:cNvSpPr/>
          <p:nvPr/>
        </p:nvSpPr>
        <p:spPr>
          <a:xfrm>
            <a:off x="266701" y="1073151"/>
            <a:ext cx="4305299" cy="3651250"/>
          </a:xfrm>
          <a:prstGeom prst="rect">
            <a:avLst/>
          </a:prstGeom>
          <a:solidFill>
            <a:schemeClr val="accent1">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sp>
        <p:nvSpPr>
          <p:cNvPr id="13" name="TextBox 12"/>
          <p:cNvSpPr txBox="1"/>
          <p:nvPr/>
        </p:nvSpPr>
        <p:spPr>
          <a:xfrm rot="16200000">
            <a:off x="266700" y="2707234"/>
            <a:ext cx="1446253" cy="383084"/>
          </a:xfrm>
          <a:prstGeom prst="roundRect">
            <a:avLst>
              <a:gd name="adj" fmla="val 50000"/>
            </a:avLst>
          </a:prstGeom>
          <a:solidFill>
            <a:schemeClr val="accent1"/>
          </a:solidFill>
        </p:spPr>
        <p:txBody>
          <a:bodyPr wrap="square" lIns="0" tIns="0" rIns="0" bIns="0" rtlCol="0" anchor="ctr" anchorCtr="0">
            <a:no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rPr>
              <a:t>Operations</a:t>
            </a:r>
          </a:p>
        </p:txBody>
      </p:sp>
      <p:sp>
        <p:nvSpPr>
          <p:cNvPr id="43" name="Title 42"/>
          <p:cNvSpPr>
            <a:spLocks noGrp="1"/>
          </p:cNvSpPr>
          <p:nvPr>
            <p:ph type="title"/>
          </p:nvPr>
        </p:nvSpPr>
        <p:spPr>
          <a:xfrm>
            <a:off x="353903" y="164899"/>
            <a:ext cx="8345488" cy="731837"/>
          </a:xfrm>
        </p:spPr>
        <p:txBody>
          <a:bodyPr>
            <a:normAutofit fontScale="90000"/>
          </a:bodyPr>
          <a:lstStyle/>
          <a:p>
            <a:r>
              <a:rPr lang="en-US" dirty="0"/>
              <a:t>Cisco </a:t>
            </a:r>
            <a:r>
              <a:rPr lang="en-US" dirty="0" err="1"/>
              <a:t>Tetration</a:t>
            </a:r>
            <a:br>
              <a:rPr lang="en-US" dirty="0"/>
            </a:br>
            <a:r>
              <a:rPr lang="en-US" sz="1800" dirty="0"/>
              <a:t>Use cases</a:t>
            </a:r>
          </a:p>
        </p:txBody>
      </p:sp>
      <p:sp>
        <p:nvSpPr>
          <p:cNvPr id="91" name="TextBox 90"/>
          <p:cNvSpPr txBox="1"/>
          <p:nvPr/>
        </p:nvSpPr>
        <p:spPr>
          <a:xfrm rot="16200000">
            <a:off x="7466845" y="2707234"/>
            <a:ext cx="1446253" cy="383084"/>
          </a:xfrm>
          <a:prstGeom prst="roundRect">
            <a:avLst>
              <a:gd name="adj" fmla="val 50000"/>
            </a:avLst>
          </a:prstGeom>
          <a:solidFill>
            <a:schemeClr val="tx2"/>
          </a:solidFill>
        </p:spPr>
        <p:txBody>
          <a:bodyPr wrap="square" lIns="0" tIns="0" rIns="0" bIns="0" rtlCol="0" anchor="ctr" anchorCtr="0">
            <a:no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CiscoSansTT ExtraLight"/>
                <a:ea typeface="ＭＳ Ｐゴシック" charset="0"/>
                <a:cs typeface="+mn-cs"/>
              </a:rPr>
              <a:t>Security</a:t>
            </a:r>
          </a:p>
        </p:txBody>
      </p:sp>
      <p:sp>
        <p:nvSpPr>
          <p:cNvPr id="12" name="Arc 11"/>
          <p:cNvSpPr/>
          <p:nvPr/>
        </p:nvSpPr>
        <p:spPr>
          <a:xfrm>
            <a:off x="4119619" y="1157425"/>
            <a:ext cx="3515058" cy="3447943"/>
          </a:xfrm>
          <a:prstGeom prst="arc">
            <a:avLst>
              <a:gd name="adj1" fmla="val 16170965"/>
              <a:gd name="adj2" fmla="val 5268637"/>
            </a:avLst>
          </a:prstGeom>
          <a:ln w="25400">
            <a:solidFill>
              <a:schemeClr val="accent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lIns="68580" tIns="34290" rIns="68580" bIns="34290"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sp>
        <p:nvSpPr>
          <p:cNvPr id="89" name="Arc 88"/>
          <p:cNvSpPr/>
          <p:nvPr/>
        </p:nvSpPr>
        <p:spPr>
          <a:xfrm flipH="1">
            <a:off x="1509324" y="1157425"/>
            <a:ext cx="3648005" cy="3482705"/>
          </a:xfrm>
          <a:prstGeom prst="arc">
            <a:avLst>
              <a:gd name="adj1" fmla="val 16171859"/>
              <a:gd name="adj2" fmla="val 5268637"/>
            </a:avLst>
          </a:prstGeom>
          <a:ln w="25400">
            <a:solidFill>
              <a:schemeClr val="accent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lIns="68580" tIns="34290" rIns="68580" bIns="34290"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sp>
        <p:nvSpPr>
          <p:cNvPr id="204" name="Oval 203"/>
          <p:cNvSpPr/>
          <p:nvPr/>
        </p:nvSpPr>
        <p:spPr>
          <a:xfrm>
            <a:off x="3355848" y="1754061"/>
            <a:ext cx="2432304" cy="242872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sp>
        <p:nvSpPr>
          <p:cNvPr id="205" name="Oval 204"/>
          <p:cNvSpPr/>
          <p:nvPr/>
        </p:nvSpPr>
        <p:spPr>
          <a:xfrm>
            <a:off x="3204972" y="1603521"/>
            <a:ext cx="2734056" cy="2729800"/>
          </a:xfrm>
          <a:prstGeom prst="ellipse">
            <a:avLst/>
          </a:prstGeom>
          <a:noFill/>
          <a:ln w="19050" cap="rnd">
            <a:solidFill>
              <a:schemeClr val="bg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sp>
        <p:nvSpPr>
          <p:cNvPr id="195" name="TextBox 194"/>
          <p:cNvSpPr txBox="1"/>
          <p:nvPr/>
        </p:nvSpPr>
        <p:spPr>
          <a:xfrm>
            <a:off x="3569391" y="3391652"/>
            <a:ext cx="2005218" cy="276999"/>
          </a:xfrm>
          <a:prstGeom prst="rect">
            <a:avLst/>
          </a:prstGeom>
          <a:noFill/>
        </p:spPr>
        <p:txBody>
          <a:bodyPr wrap="square" rtlCol="0">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5073"/>
                </a:solidFill>
                <a:effectLst/>
                <a:uLnTx/>
                <a:uFillTx/>
                <a:latin typeface="CiscoSansTT ExtraLight"/>
                <a:ea typeface="ＭＳ Ｐゴシック" charset="0"/>
                <a:cs typeface="+mn-cs"/>
              </a:rPr>
              <a:t>Cisco Tetration™</a:t>
            </a:r>
          </a:p>
        </p:txBody>
      </p:sp>
      <p:sp>
        <p:nvSpPr>
          <p:cNvPr id="196" name="AutoShape 250"/>
          <p:cNvSpPr>
            <a:spLocks noChangeAspect="1" noChangeArrowheads="1" noTextEdit="1"/>
          </p:cNvSpPr>
          <p:nvPr/>
        </p:nvSpPr>
        <p:spPr bwMode="auto">
          <a:xfrm>
            <a:off x="4026546" y="2088131"/>
            <a:ext cx="1090910" cy="1087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199" name="Freeform 256"/>
          <p:cNvSpPr>
            <a:spLocks/>
          </p:cNvSpPr>
          <p:nvPr/>
        </p:nvSpPr>
        <p:spPr bwMode="auto">
          <a:xfrm>
            <a:off x="4469200" y="2195422"/>
            <a:ext cx="114896" cy="106100"/>
          </a:xfrm>
          <a:custGeom>
            <a:avLst/>
            <a:gdLst>
              <a:gd name="T0" fmla="*/ 34 w 70"/>
              <a:gd name="T1" fmla="*/ 66 h 66"/>
              <a:gd name="T2" fmla="*/ 27 w 70"/>
              <a:gd name="T3" fmla="*/ 66 h 66"/>
              <a:gd name="T4" fmla="*/ 6 w 70"/>
              <a:gd name="T5" fmla="*/ 52 h 66"/>
              <a:gd name="T6" fmla="*/ 1 w 70"/>
              <a:gd name="T7" fmla="*/ 27 h 66"/>
              <a:gd name="T8" fmla="*/ 34 w 70"/>
              <a:gd name="T9" fmla="*/ 0 h 66"/>
              <a:gd name="T10" fmla="*/ 40 w 70"/>
              <a:gd name="T11" fmla="*/ 1 h 66"/>
              <a:gd name="T12" fmla="*/ 66 w 70"/>
              <a:gd name="T13" fmla="*/ 40 h 66"/>
              <a:gd name="T14" fmla="*/ 34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34" y="66"/>
                </a:moveTo>
                <a:cubicBezTo>
                  <a:pt x="32" y="66"/>
                  <a:pt x="30" y="66"/>
                  <a:pt x="27" y="66"/>
                </a:cubicBezTo>
                <a:cubicBezTo>
                  <a:pt x="19" y="64"/>
                  <a:pt x="11" y="59"/>
                  <a:pt x="6" y="52"/>
                </a:cubicBezTo>
                <a:cubicBezTo>
                  <a:pt x="1" y="44"/>
                  <a:pt x="0" y="35"/>
                  <a:pt x="1" y="27"/>
                </a:cubicBezTo>
                <a:cubicBezTo>
                  <a:pt x="4" y="11"/>
                  <a:pt x="18" y="0"/>
                  <a:pt x="34" y="0"/>
                </a:cubicBezTo>
                <a:cubicBezTo>
                  <a:pt x="36" y="0"/>
                  <a:pt x="38" y="0"/>
                  <a:pt x="40" y="1"/>
                </a:cubicBezTo>
                <a:cubicBezTo>
                  <a:pt x="58" y="4"/>
                  <a:pt x="70" y="22"/>
                  <a:pt x="66" y="40"/>
                </a:cubicBezTo>
                <a:cubicBezTo>
                  <a:pt x="63" y="55"/>
                  <a:pt x="50" y="66"/>
                  <a:pt x="34" y="66"/>
                </a:cubicBezTo>
              </a:path>
            </a:pathLst>
          </a:custGeom>
          <a:solidFill>
            <a:schemeClr val="accent2"/>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sp>
        <p:nvSpPr>
          <p:cNvPr id="200" name="Freeform 257"/>
          <p:cNvSpPr>
            <a:spLocks/>
          </p:cNvSpPr>
          <p:nvPr/>
        </p:nvSpPr>
        <p:spPr bwMode="auto">
          <a:xfrm>
            <a:off x="4319229" y="2772420"/>
            <a:ext cx="113687" cy="108485"/>
          </a:xfrm>
          <a:custGeom>
            <a:avLst/>
            <a:gdLst>
              <a:gd name="T0" fmla="*/ 34 w 69"/>
              <a:gd name="T1" fmla="*/ 67 h 67"/>
              <a:gd name="T2" fmla="*/ 28 w 69"/>
              <a:gd name="T3" fmla="*/ 66 h 67"/>
              <a:gd name="T4" fmla="*/ 7 w 69"/>
              <a:gd name="T5" fmla="*/ 52 h 67"/>
              <a:gd name="T6" fmla="*/ 2 w 69"/>
              <a:gd name="T7" fmla="*/ 27 h 67"/>
              <a:gd name="T8" fmla="*/ 34 w 69"/>
              <a:gd name="T9" fmla="*/ 0 h 67"/>
              <a:gd name="T10" fmla="*/ 41 w 69"/>
              <a:gd name="T11" fmla="*/ 1 h 67"/>
              <a:gd name="T12" fmla="*/ 62 w 69"/>
              <a:gd name="T13" fmla="*/ 15 h 67"/>
              <a:gd name="T14" fmla="*/ 67 w 69"/>
              <a:gd name="T15" fmla="*/ 40 h 67"/>
              <a:gd name="T16" fmla="*/ 34 w 69"/>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67">
                <a:moveTo>
                  <a:pt x="34" y="67"/>
                </a:moveTo>
                <a:cubicBezTo>
                  <a:pt x="32" y="67"/>
                  <a:pt x="30" y="67"/>
                  <a:pt x="28" y="66"/>
                </a:cubicBezTo>
                <a:cubicBezTo>
                  <a:pt x="19" y="65"/>
                  <a:pt x="12" y="60"/>
                  <a:pt x="7" y="52"/>
                </a:cubicBezTo>
                <a:cubicBezTo>
                  <a:pt x="2" y="45"/>
                  <a:pt x="0" y="36"/>
                  <a:pt x="2" y="27"/>
                </a:cubicBezTo>
                <a:cubicBezTo>
                  <a:pt x="5" y="12"/>
                  <a:pt x="19" y="0"/>
                  <a:pt x="34" y="0"/>
                </a:cubicBezTo>
                <a:cubicBezTo>
                  <a:pt x="37" y="0"/>
                  <a:pt x="39" y="1"/>
                  <a:pt x="41" y="1"/>
                </a:cubicBezTo>
                <a:cubicBezTo>
                  <a:pt x="50" y="3"/>
                  <a:pt x="57" y="8"/>
                  <a:pt x="62" y="15"/>
                </a:cubicBezTo>
                <a:cubicBezTo>
                  <a:pt x="67" y="23"/>
                  <a:pt x="69" y="31"/>
                  <a:pt x="67" y="40"/>
                </a:cubicBezTo>
                <a:cubicBezTo>
                  <a:pt x="64" y="56"/>
                  <a:pt x="50" y="67"/>
                  <a:pt x="34" y="67"/>
                </a:cubicBezTo>
              </a:path>
            </a:pathLst>
          </a:custGeom>
          <a:solidFill>
            <a:schemeClr val="accent2"/>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sp>
        <p:nvSpPr>
          <p:cNvPr id="201" name="Freeform 258"/>
          <p:cNvSpPr>
            <a:spLocks/>
          </p:cNvSpPr>
          <p:nvPr/>
        </p:nvSpPr>
        <p:spPr bwMode="auto">
          <a:xfrm>
            <a:off x="4574420" y="2978659"/>
            <a:ext cx="112477" cy="106100"/>
          </a:xfrm>
          <a:custGeom>
            <a:avLst/>
            <a:gdLst>
              <a:gd name="T0" fmla="*/ 34 w 68"/>
              <a:gd name="T1" fmla="*/ 66 h 66"/>
              <a:gd name="T2" fmla="*/ 28 w 68"/>
              <a:gd name="T3" fmla="*/ 66 h 66"/>
              <a:gd name="T4" fmla="*/ 6 w 68"/>
              <a:gd name="T5" fmla="*/ 52 h 66"/>
              <a:gd name="T6" fmla="*/ 2 w 68"/>
              <a:gd name="T7" fmla="*/ 27 h 66"/>
              <a:gd name="T8" fmla="*/ 34 w 68"/>
              <a:gd name="T9" fmla="*/ 0 h 66"/>
              <a:gd name="T10" fmla="*/ 41 w 68"/>
              <a:gd name="T11" fmla="*/ 1 h 66"/>
              <a:gd name="T12" fmla="*/ 62 w 68"/>
              <a:gd name="T13" fmla="*/ 15 h 66"/>
              <a:gd name="T14" fmla="*/ 67 w 68"/>
              <a:gd name="T15" fmla="*/ 40 h 66"/>
              <a:gd name="T16" fmla="*/ 34 w 68"/>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6">
                <a:moveTo>
                  <a:pt x="34" y="66"/>
                </a:moveTo>
                <a:cubicBezTo>
                  <a:pt x="32" y="66"/>
                  <a:pt x="30" y="66"/>
                  <a:pt x="28" y="66"/>
                </a:cubicBezTo>
                <a:cubicBezTo>
                  <a:pt x="19" y="64"/>
                  <a:pt x="11" y="59"/>
                  <a:pt x="6" y="52"/>
                </a:cubicBezTo>
                <a:cubicBezTo>
                  <a:pt x="2" y="44"/>
                  <a:pt x="0" y="35"/>
                  <a:pt x="2" y="27"/>
                </a:cubicBezTo>
                <a:cubicBezTo>
                  <a:pt x="5" y="11"/>
                  <a:pt x="18" y="0"/>
                  <a:pt x="34" y="0"/>
                </a:cubicBezTo>
                <a:cubicBezTo>
                  <a:pt x="36" y="0"/>
                  <a:pt x="38" y="0"/>
                  <a:pt x="41" y="1"/>
                </a:cubicBezTo>
                <a:cubicBezTo>
                  <a:pt x="49" y="2"/>
                  <a:pt x="57" y="7"/>
                  <a:pt x="62" y="15"/>
                </a:cubicBezTo>
                <a:cubicBezTo>
                  <a:pt x="67" y="22"/>
                  <a:pt x="68" y="31"/>
                  <a:pt x="67" y="40"/>
                </a:cubicBezTo>
                <a:cubicBezTo>
                  <a:pt x="64" y="55"/>
                  <a:pt x="50" y="66"/>
                  <a:pt x="34" y="66"/>
                </a:cubicBezTo>
              </a:path>
            </a:pathLst>
          </a:custGeom>
          <a:solidFill>
            <a:schemeClr val="accent2"/>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sp>
        <p:nvSpPr>
          <p:cNvPr id="202" name="Freeform 259"/>
          <p:cNvSpPr>
            <a:spLocks/>
          </p:cNvSpPr>
          <p:nvPr/>
        </p:nvSpPr>
        <p:spPr bwMode="auto">
          <a:xfrm>
            <a:off x="4114834" y="2598366"/>
            <a:ext cx="118523" cy="106100"/>
          </a:xfrm>
          <a:custGeom>
            <a:avLst/>
            <a:gdLst>
              <a:gd name="T0" fmla="*/ 36 w 72"/>
              <a:gd name="T1" fmla="*/ 66 h 66"/>
              <a:gd name="T2" fmla="*/ 30 w 72"/>
              <a:gd name="T3" fmla="*/ 66 h 66"/>
              <a:gd name="T4" fmla="*/ 4 w 72"/>
              <a:gd name="T5" fmla="*/ 27 h 66"/>
              <a:gd name="T6" fmla="*/ 36 w 72"/>
              <a:gd name="T7" fmla="*/ 0 h 66"/>
              <a:gd name="T8" fmla="*/ 43 w 72"/>
              <a:gd name="T9" fmla="*/ 1 h 66"/>
              <a:gd name="T10" fmla="*/ 69 w 72"/>
              <a:gd name="T11" fmla="*/ 40 h 66"/>
              <a:gd name="T12" fmla="*/ 36 w 72"/>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72" h="66">
                <a:moveTo>
                  <a:pt x="36" y="66"/>
                </a:moveTo>
                <a:cubicBezTo>
                  <a:pt x="34" y="66"/>
                  <a:pt x="32" y="66"/>
                  <a:pt x="30" y="66"/>
                </a:cubicBezTo>
                <a:cubicBezTo>
                  <a:pt x="12" y="62"/>
                  <a:pt x="0" y="45"/>
                  <a:pt x="4" y="27"/>
                </a:cubicBezTo>
                <a:cubicBezTo>
                  <a:pt x="7" y="11"/>
                  <a:pt x="20" y="0"/>
                  <a:pt x="36" y="0"/>
                </a:cubicBezTo>
                <a:cubicBezTo>
                  <a:pt x="38" y="0"/>
                  <a:pt x="40" y="0"/>
                  <a:pt x="43" y="1"/>
                </a:cubicBezTo>
                <a:cubicBezTo>
                  <a:pt x="61" y="4"/>
                  <a:pt x="72" y="22"/>
                  <a:pt x="69" y="40"/>
                </a:cubicBezTo>
                <a:cubicBezTo>
                  <a:pt x="66" y="55"/>
                  <a:pt x="52" y="66"/>
                  <a:pt x="36" y="66"/>
                </a:cubicBezTo>
              </a:path>
            </a:pathLst>
          </a:custGeom>
          <a:solidFill>
            <a:schemeClr val="accent2"/>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sp>
        <p:nvSpPr>
          <p:cNvPr id="203" name="Freeform 264"/>
          <p:cNvSpPr>
            <a:spLocks/>
          </p:cNvSpPr>
          <p:nvPr/>
        </p:nvSpPr>
        <p:spPr bwMode="auto">
          <a:xfrm>
            <a:off x="4337370" y="2376628"/>
            <a:ext cx="112477" cy="108485"/>
          </a:xfrm>
          <a:custGeom>
            <a:avLst/>
            <a:gdLst>
              <a:gd name="T0" fmla="*/ 34 w 68"/>
              <a:gd name="T1" fmla="*/ 67 h 67"/>
              <a:gd name="T2" fmla="*/ 27 w 68"/>
              <a:gd name="T3" fmla="*/ 66 h 67"/>
              <a:gd name="T4" fmla="*/ 6 w 68"/>
              <a:gd name="T5" fmla="*/ 52 h 67"/>
              <a:gd name="T6" fmla="*/ 1 w 68"/>
              <a:gd name="T7" fmla="*/ 27 h 67"/>
              <a:gd name="T8" fmla="*/ 34 w 68"/>
              <a:gd name="T9" fmla="*/ 0 h 67"/>
              <a:gd name="T10" fmla="*/ 40 w 68"/>
              <a:gd name="T11" fmla="*/ 1 h 67"/>
              <a:gd name="T12" fmla="*/ 62 w 68"/>
              <a:gd name="T13" fmla="*/ 15 h 67"/>
              <a:gd name="T14" fmla="*/ 67 w 68"/>
              <a:gd name="T15" fmla="*/ 40 h 67"/>
              <a:gd name="T16" fmla="*/ 34 w 68"/>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7">
                <a:moveTo>
                  <a:pt x="34" y="67"/>
                </a:moveTo>
                <a:cubicBezTo>
                  <a:pt x="32" y="67"/>
                  <a:pt x="30" y="66"/>
                  <a:pt x="27" y="66"/>
                </a:cubicBezTo>
                <a:cubicBezTo>
                  <a:pt x="19" y="64"/>
                  <a:pt x="11" y="59"/>
                  <a:pt x="6" y="52"/>
                </a:cubicBezTo>
                <a:cubicBezTo>
                  <a:pt x="1" y="44"/>
                  <a:pt x="0" y="36"/>
                  <a:pt x="1" y="27"/>
                </a:cubicBezTo>
                <a:cubicBezTo>
                  <a:pt x="4" y="11"/>
                  <a:pt x="18" y="0"/>
                  <a:pt x="34" y="0"/>
                </a:cubicBezTo>
                <a:cubicBezTo>
                  <a:pt x="36" y="0"/>
                  <a:pt x="38" y="0"/>
                  <a:pt x="40" y="1"/>
                </a:cubicBezTo>
                <a:cubicBezTo>
                  <a:pt x="49" y="3"/>
                  <a:pt x="57" y="8"/>
                  <a:pt x="62" y="15"/>
                </a:cubicBezTo>
                <a:cubicBezTo>
                  <a:pt x="66" y="22"/>
                  <a:pt x="68" y="31"/>
                  <a:pt x="67" y="40"/>
                </a:cubicBezTo>
                <a:cubicBezTo>
                  <a:pt x="63" y="55"/>
                  <a:pt x="50" y="67"/>
                  <a:pt x="34" y="67"/>
                </a:cubicBezTo>
              </a:path>
            </a:pathLst>
          </a:custGeom>
          <a:solidFill>
            <a:schemeClr val="accent2"/>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grpSp>
        <p:nvGrpSpPr>
          <p:cNvPr id="54" name="Group 53"/>
          <p:cNvGrpSpPr/>
          <p:nvPr/>
        </p:nvGrpSpPr>
        <p:grpSpPr>
          <a:xfrm>
            <a:off x="4037163" y="2388092"/>
            <a:ext cx="982315" cy="950139"/>
            <a:chOff x="4037162" y="2388091"/>
            <a:chExt cx="982315" cy="950139"/>
          </a:xfrm>
        </p:grpSpPr>
        <p:sp>
          <p:nvSpPr>
            <p:cNvPr id="232" name="Freeform 5"/>
            <p:cNvSpPr>
              <a:spLocks noEditPoints="1"/>
            </p:cNvSpPr>
            <p:nvPr/>
          </p:nvSpPr>
          <p:spPr bwMode="auto">
            <a:xfrm>
              <a:off x="4037162" y="2388091"/>
              <a:ext cx="982315" cy="950139"/>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233" name="Freeform 8"/>
            <p:cNvSpPr>
              <a:spLocks/>
            </p:cNvSpPr>
            <p:nvPr/>
          </p:nvSpPr>
          <p:spPr bwMode="auto">
            <a:xfrm>
              <a:off x="4138636" y="2490495"/>
              <a:ext cx="691181" cy="748182"/>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grpSp>
      <p:sp>
        <p:nvSpPr>
          <p:cNvPr id="237" name="TextBox 236"/>
          <p:cNvSpPr txBox="1"/>
          <p:nvPr/>
        </p:nvSpPr>
        <p:spPr>
          <a:xfrm>
            <a:off x="2657123" y="1344826"/>
            <a:ext cx="963129" cy="407804"/>
          </a:xfrm>
          <a:prstGeom prst="rect">
            <a:avLst/>
          </a:prstGeom>
          <a:noFill/>
        </p:spPr>
        <p:txBody>
          <a:bodyPr wrap="square" lIns="68580" tIns="34290" rIns="68580" bIns="34290" rtlCol="0" anchor="ctr">
            <a:spAutoFit/>
          </a:bodyPr>
          <a:lstStyle/>
          <a:p>
            <a:pPr marL="0" marR="0" lvl="0" indent="0" algn="r" defTabSz="914355"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5073"/>
                </a:solidFill>
                <a:effectLst/>
                <a:uLnTx/>
                <a:uFillTx/>
                <a:latin typeface="CiscoSansTT ExtraLight"/>
                <a:ea typeface="ＭＳ Ｐゴシック" charset="0"/>
                <a:cs typeface="+mn-cs"/>
              </a:rPr>
              <a:t>Visibility and</a:t>
            </a:r>
          </a:p>
          <a:p>
            <a:pPr marL="0" marR="0" lvl="0" indent="0" algn="r" defTabSz="914355"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5073"/>
                </a:solidFill>
                <a:effectLst/>
                <a:uLnTx/>
                <a:uFillTx/>
                <a:latin typeface="CiscoSansTT ExtraLight"/>
                <a:ea typeface="ＭＳ Ｐゴシック" charset="0"/>
                <a:cs typeface="+mn-cs"/>
              </a:rPr>
              <a:t>forensics</a:t>
            </a:r>
          </a:p>
        </p:txBody>
      </p:sp>
      <p:sp>
        <p:nvSpPr>
          <p:cNvPr id="238" name="TextBox 237"/>
          <p:cNvSpPr txBox="1"/>
          <p:nvPr/>
        </p:nvSpPr>
        <p:spPr>
          <a:xfrm>
            <a:off x="1898234" y="2107460"/>
            <a:ext cx="892153" cy="407804"/>
          </a:xfrm>
          <a:prstGeom prst="rect">
            <a:avLst/>
          </a:prstGeom>
          <a:noFill/>
        </p:spPr>
        <p:txBody>
          <a:bodyPr wrap="square" lIns="68580" tIns="34290" rIns="68580" bIns="34290" rtlCol="0">
            <a:spAutoFit/>
          </a:bodyPr>
          <a:lstStyle/>
          <a:p>
            <a:pPr marL="0" marR="0" lvl="0" indent="0" algn="r" defTabSz="914355"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5073"/>
                </a:solidFill>
                <a:effectLst/>
                <a:uLnTx/>
                <a:uFillTx/>
                <a:latin typeface="CiscoSansTT ExtraLight"/>
                <a:ea typeface="ＭＳ Ｐゴシック" charset="0"/>
                <a:cs typeface="+mn-cs"/>
              </a:rPr>
              <a:t>Application insight</a:t>
            </a:r>
          </a:p>
        </p:txBody>
      </p:sp>
      <p:sp>
        <p:nvSpPr>
          <p:cNvPr id="239" name="TextBox 238"/>
          <p:cNvSpPr txBox="1"/>
          <p:nvPr/>
        </p:nvSpPr>
        <p:spPr>
          <a:xfrm>
            <a:off x="5521699" y="1489405"/>
            <a:ext cx="657451" cy="238527"/>
          </a:xfrm>
          <a:prstGeom prst="rect">
            <a:avLst/>
          </a:prstGeom>
          <a:noFill/>
        </p:spPr>
        <p:txBody>
          <a:bodyPr wrap="square" lIns="68580" tIns="34290" rIns="68580" bIns="3429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5073"/>
                </a:solidFill>
                <a:effectLst/>
                <a:uLnTx/>
                <a:uFillTx/>
                <a:latin typeface="CiscoSansTT ExtraLight"/>
                <a:ea typeface="ＭＳ Ｐゴシック" charset="0"/>
                <a:cs typeface="+mn-cs"/>
              </a:rPr>
              <a:t>Policy</a:t>
            </a:r>
          </a:p>
        </p:txBody>
      </p:sp>
      <p:sp>
        <p:nvSpPr>
          <p:cNvPr id="243" name="TextBox 242"/>
          <p:cNvSpPr txBox="1"/>
          <p:nvPr/>
        </p:nvSpPr>
        <p:spPr>
          <a:xfrm>
            <a:off x="1630677" y="3040457"/>
            <a:ext cx="1095086" cy="746358"/>
          </a:xfrm>
          <a:prstGeom prst="rect">
            <a:avLst/>
          </a:prstGeom>
          <a:noFill/>
        </p:spPr>
        <p:txBody>
          <a:bodyPr wrap="square" lIns="68580" tIns="34290" rIns="68580" bIns="34290" rtlCol="0">
            <a:spAutoFit/>
          </a:bodyPr>
          <a:lstStyle/>
          <a:p>
            <a:pPr marL="0" marR="0" lvl="0" indent="0" algn="r" defTabSz="914355"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5073"/>
                </a:solidFill>
                <a:effectLst/>
                <a:uLnTx/>
                <a:uFillTx/>
                <a:latin typeface="CiscoSansTT ExtraLight"/>
                <a:ea typeface="ＭＳ Ｐゴシック" charset="0"/>
                <a:cs typeface="+mn-cs"/>
              </a:rPr>
              <a:t>Neighborhood graphs &amp; Cloud Migration</a:t>
            </a:r>
          </a:p>
        </p:txBody>
      </p:sp>
      <p:sp>
        <p:nvSpPr>
          <p:cNvPr id="278" name="Rectangle 277"/>
          <p:cNvSpPr/>
          <p:nvPr/>
        </p:nvSpPr>
        <p:spPr>
          <a:xfrm>
            <a:off x="6361484" y="3204973"/>
            <a:ext cx="1237564" cy="407804"/>
          </a:xfrm>
          <a:prstGeom prst="rect">
            <a:avLst/>
          </a:prstGeom>
        </p:spPr>
        <p:txBody>
          <a:bodyPr wrap="square" lIns="68580" tIns="34290" rIns="68580" bIns="34290">
            <a:spAutoFit/>
          </a:bodyPr>
          <a:lstStyle/>
          <a:p>
            <a:pPr marL="0" marR="0" lvl="0" indent="0" algn="l" defTabSz="914355" rtl="0" eaLnBrk="1" fontAlgn="auto" latinLnBrk="0" hangingPunct="1">
              <a:lnSpc>
                <a:spcPct val="100000"/>
              </a:lnSpc>
              <a:spcBef>
                <a:spcPts val="1200"/>
              </a:spcBef>
              <a:spcAft>
                <a:spcPts val="0"/>
              </a:spcAft>
              <a:buClrTx/>
              <a:buSzTx/>
              <a:buFontTx/>
              <a:buNone/>
              <a:tabLst/>
              <a:defRPr/>
            </a:pPr>
            <a:r>
              <a:rPr kumimoji="0" lang="en-US" sz="1100" b="0" i="0" u="none" strike="noStrike" kern="0" cap="none" spc="0" normalizeH="0" baseline="0" noProof="0" dirty="0">
                <a:ln>
                  <a:noFill/>
                </a:ln>
                <a:solidFill>
                  <a:srgbClr val="005073"/>
                </a:solidFill>
                <a:effectLst/>
                <a:uLnTx/>
                <a:uFillTx/>
                <a:latin typeface="CiscoSansTT ExtraLight"/>
                <a:ea typeface="ＭＳ Ｐゴシック" charset="0"/>
                <a:cs typeface="+mn-cs"/>
              </a:rPr>
              <a:t>Application segmentation</a:t>
            </a:r>
          </a:p>
        </p:txBody>
      </p:sp>
      <p:sp>
        <p:nvSpPr>
          <p:cNvPr id="283" name="TextBox 282"/>
          <p:cNvSpPr txBox="1"/>
          <p:nvPr/>
        </p:nvSpPr>
        <p:spPr>
          <a:xfrm>
            <a:off x="5521699" y="4099882"/>
            <a:ext cx="1106165" cy="238527"/>
          </a:xfrm>
          <a:prstGeom prst="rect">
            <a:avLst/>
          </a:prstGeom>
          <a:noFill/>
        </p:spPr>
        <p:txBody>
          <a:bodyPr wrap="square" lIns="68580" tIns="34290" rIns="68580" bIns="3429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5073"/>
                </a:solidFill>
                <a:effectLst/>
                <a:uLnTx/>
                <a:uFillTx/>
                <a:latin typeface="CiscoSansTT ExtraLight"/>
                <a:ea typeface="ＭＳ Ｐゴシック" charset="0"/>
                <a:cs typeface="+mn-cs"/>
              </a:rPr>
              <a:t>Compliance</a:t>
            </a:r>
          </a:p>
        </p:txBody>
      </p:sp>
      <p:sp>
        <p:nvSpPr>
          <p:cNvPr id="284" name="TextBox 283"/>
          <p:cNvSpPr txBox="1"/>
          <p:nvPr/>
        </p:nvSpPr>
        <p:spPr>
          <a:xfrm>
            <a:off x="6361484" y="2143820"/>
            <a:ext cx="919708" cy="407804"/>
          </a:xfrm>
          <a:prstGeom prst="rect">
            <a:avLst/>
          </a:prstGeom>
          <a:noFill/>
        </p:spPr>
        <p:txBody>
          <a:bodyPr wrap="square" lIns="68580" tIns="34290" rIns="68580" bIns="3429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5073"/>
                </a:solidFill>
                <a:effectLst/>
                <a:uLnTx/>
                <a:uFillTx/>
                <a:latin typeface="CiscoSansTT ExtraLight"/>
                <a:ea typeface="ＭＳ Ｐゴシック" charset="0"/>
                <a:cs typeface="+mn-cs"/>
              </a:rPr>
              <a:t>Policy</a:t>
            </a:r>
          </a:p>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5073"/>
                </a:solidFill>
                <a:effectLst/>
                <a:uLnTx/>
                <a:uFillTx/>
                <a:latin typeface="CiscoSansTT ExtraLight"/>
                <a:ea typeface="ＭＳ Ｐゴシック" charset="0"/>
                <a:cs typeface="+mn-cs"/>
              </a:rPr>
              <a:t>simulation</a:t>
            </a:r>
          </a:p>
        </p:txBody>
      </p:sp>
      <p:sp>
        <p:nvSpPr>
          <p:cNvPr id="285" name="TextBox 284"/>
          <p:cNvSpPr txBox="1"/>
          <p:nvPr/>
        </p:nvSpPr>
        <p:spPr>
          <a:xfrm>
            <a:off x="2775881" y="4062584"/>
            <a:ext cx="844371" cy="407804"/>
          </a:xfrm>
          <a:prstGeom prst="rect">
            <a:avLst/>
          </a:prstGeom>
          <a:noFill/>
        </p:spPr>
        <p:txBody>
          <a:bodyPr wrap="square" lIns="68580" tIns="34290" rIns="68580" bIns="34290" rtlCol="0">
            <a:spAutoFit/>
          </a:bodyPr>
          <a:lstStyle/>
          <a:p>
            <a:pPr marL="0" marR="0" lvl="0" indent="0" algn="r" defTabSz="914355"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5073"/>
                </a:solidFill>
                <a:effectLst/>
                <a:uLnTx/>
                <a:uFillTx/>
                <a:latin typeface="CiscoSansTT ExtraLight"/>
                <a:ea typeface="ＭＳ Ｐゴシック" charset="0"/>
                <a:cs typeface="+mn-cs"/>
              </a:rPr>
              <a:t>Process inventory</a:t>
            </a:r>
          </a:p>
        </p:txBody>
      </p:sp>
      <p:grpSp>
        <p:nvGrpSpPr>
          <p:cNvPr id="28" name="Group 27"/>
          <p:cNvGrpSpPr/>
          <p:nvPr/>
        </p:nvGrpSpPr>
        <p:grpSpPr>
          <a:xfrm>
            <a:off x="2737950" y="3107122"/>
            <a:ext cx="603504" cy="603504"/>
            <a:chOff x="2577077" y="3051618"/>
            <a:chExt cx="603504" cy="603504"/>
          </a:xfrm>
        </p:grpSpPr>
        <p:sp>
          <p:nvSpPr>
            <p:cNvPr id="99" name="Rounded Rectangle 98"/>
            <p:cNvSpPr/>
            <p:nvPr/>
          </p:nvSpPr>
          <p:spPr>
            <a:xfrm>
              <a:off x="2577077" y="3051618"/>
              <a:ext cx="603504" cy="60350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0960" tIns="60941" rIns="60960" bIns="60941" rtlCol="0" anchor="ctr"/>
            <a:lstStyle/>
            <a:p>
              <a:pPr marL="0" marR="0" lvl="0" indent="0" algn="ctr" defTabSz="45701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Apple LiGothic Medium"/>
                <a:cs typeface="Apple LiGothic Medium"/>
              </a:endParaRPr>
            </a:p>
          </p:txBody>
        </p:sp>
        <p:grpSp>
          <p:nvGrpSpPr>
            <p:cNvPr id="24" name="Group 23"/>
            <p:cNvGrpSpPr/>
            <p:nvPr/>
          </p:nvGrpSpPr>
          <p:grpSpPr>
            <a:xfrm>
              <a:off x="2684360" y="3170807"/>
              <a:ext cx="388938" cy="365126"/>
              <a:chOff x="2686050" y="3152775"/>
              <a:chExt cx="388938" cy="365126"/>
            </a:xfrm>
          </p:grpSpPr>
          <p:sp>
            <p:nvSpPr>
              <p:cNvPr id="67" name="Freeform 6"/>
              <p:cNvSpPr>
                <a:spLocks/>
              </p:cNvSpPr>
              <p:nvPr/>
            </p:nvSpPr>
            <p:spPr bwMode="auto">
              <a:xfrm>
                <a:off x="2800350" y="3203575"/>
                <a:ext cx="158750" cy="265113"/>
              </a:xfrm>
              <a:custGeom>
                <a:avLst/>
                <a:gdLst>
                  <a:gd name="T0" fmla="*/ 94 w 100"/>
                  <a:gd name="T1" fmla="*/ 167 h 167"/>
                  <a:gd name="T2" fmla="*/ 0 w 100"/>
                  <a:gd name="T3" fmla="*/ 4 h 167"/>
                  <a:gd name="T4" fmla="*/ 6 w 100"/>
                  <a:gd name="T5" fmla="*/ 0 h 167"/>
                  <a:gd name="T6" fmla="*/ 100 w 100"/>
                  <a:gd name="T7" fmla="*/ 164 h 167"/>
                  <a:gd name="T8" fmla="*/ 94 w 100"/>
                  <a:gd name="T9" fmla="*/ 167 h 167"/>
                  <a:gd name="T10" fmla="*/ 94 w 100"/>
                  <a:gd name="T11" fmla="*/ 167 h 167"/>
                </a:gdLst>
                <a:ahLst/>
                <a:cxnLst>
                  <a:cxn ang="0">
                    <a:pos x="T0" y="T1"/>
                  </a:cxn>
                  <a:cxn ang="0">
                    <a:pos x="T2" y="T3"/>
                  </a:cxn>
                  <a:cxn ang="0">
                    <a:pos x="T4" y="T5"/>
                  </a:cxn>
                  <a:cxn ang="0">
                    <a:pos x="T6" y="T7"/>
                  </a:cxn>
                  <a:cxn ang="0">
                    <a:pos x="T8" y="T9"/>
                  </a:cxn>
                  <a:cxn ang="0">
                    <a:pos x="T10" y="T11"/>
                  </a:cxn>
                </a:cxnLst>
                <a:rect l="0" t="0" r="r" b="b"/>
                <a:pathLst>
                  <a:path w="100" h="167">
                    <a:moveTo>
                      <a:pt x="94" y="167"/>
                    </a:moveTo>
                    <a:lnTo>
                      <a:pt x="0" y="4"/>
                    </a:lnTo>
                    <a:lnTo>
                      <a:pt x="6" y="0"/>
                    </a:lnTo>
                    <a:lnTo>
                      <a:pt x="100" y="164"/>
                    </a:lnTo>
                    <a:lnTo>
                      <a:pt x="94" y="167"/>
                    </a:lnTo>
                    <a:lnTo>
                      <a:pt x="94" y="167"/>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8" name="Freeform 7"/>
              <p:cNvSpPr>
                <a:spLocks/>
              </p:cNvSpPr>
              <p:nvPr/>
            </p:nvSpPr>
            <p:spPr bwMode="auto">
              <a:xfrm>
                <a:off x="2732088" y="3330575"/>
                <a:ext cx="298450" cy="11113"/>
              </a:xfrm>
              <a:custGeom>
                <a:avLst/>
                <a:gdLst>
                  <a:gd name="T0" fmla="*/ 188 w 188"/>
                  <a:gd name="T1" fmla="*/ 7 h 7"/>
                  <a:gd name="T2" fmla="*/ 0 w 188"/>
                  <a:gd name="T3" fmla="*/ 7 h 7"/>
                  <a:gd name="T4" fmla="*/ 0 w 188"/>
                  <a:gd name="T5" fmla="*/ 0 h 7"/>
                  <a:gd name="T6" fmla="*/ 188 w 188"/>
                  <a:gd name="T7" fmla="*/ 0 h 7"/>
                  <a:gd name="T8" fmla="*/ 188 w 188"/>
                  <a:gd name="T9" fmla="*/ 7 h 7"/>
                  <a:gd name="T10" fmla="*/ 188 w 188"/>
                  <a:gd name="T11" fmla="*/ 7 h 7"/>
                </a:gdLst>
                <a:ahLst/>
                <a:cxnLst>
                  <a:cxn ang="0">
                    <a:pos x="T0" y="T1"/>
                  </a:cxn>
                  <a:cxn ang="0">
                    <a:pos x="T2" y="T3"/>
                  </a:cxn>
                  <a:cxn ang="0">
                    <a:pos x="T4" y="T5"/>
                  </a:cxn>
                  <a:cxn ang="0">
                    <a:pos x="T6" y="T7"/>
                  </a:cxn>
                  <a:cxn ang="0">
                    <a:pos x="T8" y="T9"/>
                  </a:cxn>
                  <a:cxn ang="0">
                    <a:pos x="T10" y="T11"/>
                  </a:cxn>
                </a:cxnLst>
                <a:rect l="0" t="0" r="r" b="b"/>
                <a:pathLst>
                  <a:path w="188" h="7">
                    <a:moveTo>
                      <a:pt x="188" y="7"/>
                    </a:moveTo>
                    <a:lnTo>
                      <a:pt x="0" y="7"/>
                    </a:lnTo>
                    <a:lnTo>
                      <a:pt x="0" y="0"/>
                    </a:lnTo>
                    <a:lnTo>
                      <a:pt x="188" y="0"/>
                    </a:lnTo>
                    <a:lnTo>
                      <a:pt x="188" y="7"/>
                    </a:lnTo>
                    <a:lnTo>
                      <a:pt x="188" y="7"/>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9" name="Freeform 8"/>
              <p:cNvSpPr>
                <a:spLocks/>
              </p:cNvSpPr>
              <p:nvPr/>
            </p:nvSpPr>
            <p:spPr bwMode="auto">
              <a:xfrm>
                <a:off x="2800350" y="3203575"/>
                <a:ext cx="158750" cy="265113"/>
              </a:xfrm>
              <a:custGeom>
                <a:avLst/>
                <a:gdLst>
                  <a:gd name="T0" fmla="*/ 6 w 100"/>
                  <a:gd name="T1" fmla="*/ 167 h 167"/>
                  <a:gd name="T2" fmla="*/ 0 w 100"/>
                  <a:gd name="T3" fmla="*/ 164 h 167"/>
                  <a:gd name="T4" fmla="*/ 94 w 100"/>
                  <a:gd name="T5" fmla="*/ 0 h 167"/>
                  <a:gd name="T6" fmla="*/ 100 w 100"/>
                  <a:gd name="T7" fmla="*/ 4 h 167"/>
                  <a:gd name="T8" fmla="*/ 6 w 100"/>
                  <a:gd name="T9" fmla="*/ 167 h 167"/>
                  <a:gd name="T10" fmla="*/ 6 w 100"/>
                  <a:gd name="T11" fmla="*/ 167 h 167"/>
                </a:gdLst>
                <a:ahLst/>
                <a:cxnLst>
                  <a:cxn ang="0">
                    <a:pos x="T0" y="T1"/>
                  </a:cxn>
                  <a:cxn ang="0">
                    <a:pos x="T2" y="T3"/>
                  </a:cxn>
                  <a:cxn ang="0">
                    <a:pos x="T4" y="T5"/>
                  </a:cxn>
                  <a:cxn ang="0">
                    <a:pos x="T6" y="T7"/>
                  </a:cxn>
                  <a:cxn ang="0">
                    <a:pos x="T8" y="T9"/>
                  </a:cxn>
                  <a:cxn ang="0">
                    <a:pos x="T10" y="T11"/>
                  </a:cxn>
                </a:cxnLst>
                <a:rect l="0" t="0" r="r" b="b"/>
                <a:pathLst>
                  <a:path w="100" h="167">
                    <a:moveTo>
                      <a:pt x="6" y="167"/>
                    </a:moveTo>
                    <a:lnTo>
                      <a:pt x="0" y="164"/>
                    </a:lnTo>
                    <a:lnTo>
                      <a:pt x="94" y="0"/>
                    </a:lnTo>
                    <a:lnTo>
                      <a:pt x="100" y="4"/>
                    </a:lnTo>
                    <a:lnTo>
                      <a:pt x="6" y="167"/>
                    </a:lnTo>
                    <a:lnTo>
                      <a:pt x="6" y="167"/>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0" name="Freeform 9"/>
              <p:cNvSpPr>
                <a:spLocks/>
              </p:cNvSpPr>
              <p:nvPr/>
            </p:nvSpPr>
            <p:spPr bwMode="auto">
              <a:xfrm>
                <a:off x="2725738" y="3203575"/>
                <a:ext cx="84137" cy="136525"/>
              </a:xfrm>
              <a:custGeom>
                <a:avLst/>
                <a:gdLst>
                  <a:gd name="T0" fmla="*/ 6 w 53"/>
                  <a:gd name="T1" fmla="*/ 86 h 86"/>
                  <a:gd name="T2" fmla="*/ 0 w 53"/>
                  <a:gd name="T3" fmla="*/ 82 h 86"/>
                  <a:gd name="T4" fmla="*/ 47 w 53"/>
                  <a:gd name="T5" fmla="*/ 0 h 86"/>
                  <a:gd name="T6" fmla="*/ 53 w 53"/>
                  <a:gd name="T7" fmla="*/ 4 h 86"/>
                  <a:gd name="T8" fmla="*/ 6 w 53"/>
                  <a:gd name="T9" fmla="*/ 86 h 86"/>
                  <a:gd name="T10" fmla="*/ 6 w 53"/>
                  <a:gd name="T11" fmla="*/ 86 h 86"/>
                </a:gdLst>
                <a:ahLst/>
                <a:cxnLst>
                  <a:cxn ang="0">
                    <a:pos x="T0" y="T1"/>
                  </a:cxn>
                  <a:cxn ang="0">
                    <a:pos x="T2" y="T3"/>
                  </a:cxn>
                  <a:cxn ang="0">
                    <a:pos x="T4" y="T5"/>
                  </a:cxn>
                  <a:cxn ang="0">
                    <a:pos x="T6" y="T7"/>
                  </a:cxn>
                  <a:cxn ang="0">
                    <a:pos x="T8" y="T9"/>
                  </a:cxn>
                  <a:cxn ang="0">
                    <a:pos x="T10" y="T11"/>
                  </a:cxn>
                </a:cxnLst>
                <a:rect l="0" t="0" r="r" b="b"/>
                <a:pathLst>
                  <a:path w="53" h="86">
                    <a:moveTo>
                      <a:pt x="6" y="86"/>
                    </a:moveTo>
                    <a:lnTo>
                      <a:pt x="0" y="82"/>
                    </a:lnTo>
                    <a:lnTo>
                      <a:pt x="47" y="0"/>
                    </a:lnTo>
                    <a:lnTo>
                      <a:pt x="53" y="4"/>
                    </a:lnTo>
                    <a:lnTo>
                      <a:pt x="6" y="86"/>
                    </a:lnTo>
                    <a:lnTo>
                      <a:pt x="6" y="86"/>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1" name="Freeform 10"/>
              <p:cNvSpPr>
                <a:spLocks/>
              </p:cNvSpPr>
              <p:nvPr/>
            </p:nvSpPr>
            <p:spPr bwMode="auto">
              <a:xfrm>
                <a:off x="2949575" y="3333750"/>
                <a:ext cx="84137" cy="134938"/>
              </a:xfrm>
              <a:custGeom>
                <a:avLst/>
                <a:gdLst>
                  <a:gd name="T0" fmla="*/ 6 w 53"/>
                  <a:gd name="T1" fmla="*/ 85 h 85"/>
                  <a:gd name="T2" fmla="*/ 0 w 53"/>
                  <a:gd name="T3" fmla="*/ 82 h 85"/>
                  <a:gd name="T4" fmla="*/ 47 w 53"/>
                  <a:gd name="T5" fmla="*/ 0 h 85"/>
                  <a:gd name="T6" fmla="*/ 53 w 53"/>
                  <a:gd name="T7" fmla="*/ 4 h 85"/>
                  <a:gd name="T8" fmla="*/ 6 w 53"/>
                  <a:gd name="T9" fmla="*/ 85 h 85"/>
                  <a:gd name="T10" fmla="*/ 6 w 53"/>
                  <a:gd name="T11" fmla="*/ 85 h 85"/>
                </a:gdLst>
                <a:ahLst/>
                <a:cxnLst>
                  <a:cxn ang="0">
                    <a:pos x="T0" y="T1"/>
                  </a:cxn>
                  <a:cxn ang="0">
                    <a:pos x="T2" y="T3"/>
                  </a:cxn>
                  <a:cxn ang="0">
                    <a:pos x="T4" y="T5"/>
                  </a:cxn>
                  <a:cxn ang="0">
                    <a:pos x="T6" y="T7"/>
                  </a:cxn>
                  <a:cxn ang="0">
                    <a:pos x="T8" y="T9"/>
                  </a:cxn>
                  <a:cxn ang="0">
                    <a:pos x="T10" y="T11"/>
                  </a:cxn>
                </a:cxnLst>
                <a:rect l="0" t="0" r="r" b="b"/>
                <a:pathLst>
                  <a:path w="53" h="85">
                    <a:moveTo>
                      <a:pt x="6" y="85"/>
                    </a:moveTo>
                    <a:lnTo>
                      <a:pt x="0" y="82"/>
                    </a:lnTo>
                    <a:lnTo>
                      <a:pt x="47" y="0"/>
                    </a:lnTo>
                    <a:lnTo>
                      <a:pt x="53" y="4"/>
                    </a:lnTo>
                    <a:lnTo>
                      <a:pt x="6" y="85"/>
                    </a:lnTo>
                    <a:lnTo>
                      <a:pt x="6" y="85"/>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2" name="Freeform 11"/>
              <p:cNvSpPr>
                <a:spLocks/>
              </p:cNvSpPr>
              <p:nvPr/>
            </p:nvSpPr>
            <p:spPr bwMode="auto">
              <a:xfrm>
                <a:off x="2725738" y="3333750"/>
                <a:ext cx="84137" cy="134938"/>
              </a:xfrm>
              <a:custGeom>
                <a:avLst/>
                <a:gdLst>
                  <a:gd name="T0" fmla="*/ 47 w 53"/>
                  <a:gd name="T1" fmla="*/ 85 h 85"/>
                  <a:gd name="T2" fmla="*/ 0 w 53"/>
                  <a:gd name="T3" fmla="*/ 4 h 85"/>
                  <a:gd name="T4" fmla="*/ 6 w 53"/>
                  <a:gd name="T5" fmla="*/ 0 h 85"/>
                  <a:gd name="T6" fmla="*/ 53 w 53"/>
                  <a:gd name="T7" fmla="*/ 82 h 85"/>
                  <a:gd name="T8" fmla="*/ 47 w 53"/>
                  <a:gd name="T9" fmla="*/ 85 h 85"/>
                  <a:gd name="T10" fmla="*/ 47 w 53"/>
                  <a:gd name="T11" fmla="*/ 85 h 85"/>
                </a:gdLst>
                <a:ahLst/>
                <a:cxnLst>
                  <a:cxn ang="0">
                    <a:pos x="T0" y="T1"/>
                  </a:cxn>
                  <a:cxn ang="0">
                    <a:pos x="T2" y="T3"/>
                  </a:cxn>
                  <a:cxn ang="0">
                    <a:pos x="T4" y="T5"/>
                  </a:cxn>
                  <a:cxn ang="0">
                    <a:pos x="T6" y="T7"/>
                  </a:cxn>
                  <a:cxn ang="0">
                    <a:pos x="T8" y="T9"/>
                  </a:cxn>
                  <a:cxn ang="0">
                    <a:pos x="T10" y="T11"/>
                  </a:cxn>
                </a:cxnLst>
                <a:rect l="0" t="0" r="r" b="b"/>
                <a:pathLst>
                  <a:path w="53" h="85">
                    <a:moveTo>
                      <a:pt x="47" y="85"/>
                    </a:moveTo>
                    <a:lnTo>
                      <a:pt x="0" y="4"/>
                    </a:lnTo>
                    <a:lnTo>
                      <a:pt x="6" y="0"/>
                    </a:lnTo>
                    <a:lnTo>
                      <a:pt x="53" y="82"/>
                    </a:lnTo>
                    <a:lnTo>
                      <a:pt x="47" y="85"/>
                    </a:lnTo>
                    <a:lnTo>
                      <a:pt x="47" y="85"/>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3" name="Freeform 12"/>
              <p:cNvSpPr>
                <a:spLocks/>
              </p:cNvSpPr>
              <p:nvPr/>
            </p:nvSpPr>
            <p:spPr bwMode="auto">
              <a:xfrm>
                <a:off x="2949575" y="3203575"/>
                <a:ext cx="84137" cy="136525"/>
              </a:xfrm>
              <a:custGeom>
                <a:avLst/>
                <a:gdLst>
                  <a:gd name="T0" fmla="*/ 47 w 53"/>
                  <a:gd name="T1" fmla="*/ 86 h 86"/>
                  <a:gd name="T2" fmla="*/ 0 w 53"/>
                  <a:gd name="T3" fmla="*/ 4 h 86"/>
                  <a:gd name="T4" fmla="*/ 6 w 53"/>
                  <a:gd name="T5" fmla="*/ 0 h 86"/>
                  <a:gd name="T6" fmla="*/ 53 w 53"/>
                  <a:gd name="T7" fmla="*/ 82 h 86"/>
                  <a:gd name="T8" fmla="*/ 47 w 53"/>
                  <a:gd name="T9" fmla="*/ 86 h 86"/>
                  <a:gd name="T10" fmla="*/ 47 w 53"/>
                  <a:gd name="T11" fmla="*/ 86 h 86"/>
                </a:gdLst>
                <a:ahLst/>
                <a:cxnLst>
                  <a:cxn ang="0">
                    <a:pos x="T0" y="T1"/>
                  </a:cxn>
                  <a:cxn ang="0">
                    <a:pos x="T2" y="T3"/>
                  </a:cxn>
                  <a:cxn ang="0">
                    <a:pos x="T4" y="T5"/>
                  </a:cxn>
                  <a:cxn ang="0">
                    <a:pos x="T6" y="T7"/>
                  </a:cxn>
                  <a:cxn ang="0">
                    <a:pos x="T8" y="T9"/>
                  </a:cxn>
                  <a:cxn ang="0">
                    <a:pos x="T10" y="T11"/>
                  </a:cxn>
                </a:cxnLst>
                <a:rect l="0" t="0" r="r" b="b"/>
                <a:pathLst>
                  <a:path w="53" h="86">
                    <a:moveTo>
                      <a:pt x="47" y="86"/>
                    </a:moveTo>
                    <a:lnTo>
                      <a:pt x="0" y="4"/>
                    </a:lnTo>
                    <a:lnTo>
                      <a:pt x="6" y="0"/>
                    </a:lnTo>
                    <a:lnTo>
                      <a:pt x="53" y="82"/>
                    </a:lnTo>
                    <a:lnTo>
                      <a:pt x="47" y="86"/>
                    </a:lnTo>
                    <a:lnTo>
                      <a:pt x="47" y="86"/>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4" name="Freeform 13"/>
              <p:cNvSpPr>
                <a:spLocks/>
              </p:cNvSpPr>
              <p:nvPr/>
            </p:nvSpPr>
            <p:spPr bwMode="auto">
              <a:xfrm>
                <a:off x="2806700" y="3459163"/>
                <a:ext cx="147637" cy="11113"/>
              </a:xfrm>
              <a:custGeom>
                <a:avLst/>
                <a:gdLst>
                  <a:gd name="T0" fmla="*/ 93 w 93"/>
                  <a:gd name="T1" fmla="*/ 7 h 7"/>
                  <a:gd name="T2" fmla="*/ 0 w 93"/>
                  <a:gd name="T3" fmla="*/ 7 h 7"/>
                  <a:gd name="T4" fmla="*/ 0 w 93"/>
                  <a:gd name="T5" fmla="*/ 0 h 7"/>
                  <a:gd name="T6" fmla="*/ 93 w 93"/>
                  <a:gd name="T7" fmla="*/ 0 h 7"/>
                  <a:gd name="T8" fmla="*/ 93 w 93"/>
                  <a:gd name="T9" fmla="*/ 7 h 7"/>
                  <a:gd name="T10" fmla="*/ 93 w 93"/>
                  <a:gd name="T11" fmla="*/ 7 h 7"/>
                </a:gdLst>
                <a:ahLst/>
                <a:cxnLst>
                  <a:cxn ang="0">
                    <a:pos x="T0" y="T1"/>
                  </a:cxn>
                  <a:cxn ang="0">
                    <a:pos x="T2" y="T3"/>
                  </a:cxn>
                  <a:cxn ang="0">
                    <a:pos x="T4" y="T5"/>
                  </a:cxn>
                  <a:cxn ang="0">
                    <a:pos x="T6" y="T7"/>
                  </a:cxn>
                  <a:cxn ang="0">
                    <a:pos x="T8" y="T9"/>
                  </a:cxn>
                  <a:cxn ang="0">
                    <a:pos x="T10" y="T11"/>
                  </a:cxn>
                </a:cxnLst>
                <a:rect l="0" t="0" r="r" b="b"/>
                <a:pathLst>
                  <a:path w="93" h="7">
                    <a:moveTo>
                      <a:pt x="93" y="7"/>
                    </a:moveTo>
                    <a:lnTo>
                      <a:pt x="0" y="7"/>
                    </a:lnTo>
                    <a:lnTo>
                      <a:pt x="0" y="0"/>
                    </a:lnTo>
                    <a:lnTo>
                      <a:pt x="93" y="0"/>
                    </a:lnTo>
                    <a:lnTo>
                      <a:pt x="93" y="7"/>
                    </a:lnTo>
                    <a:lnTo>
                      <a:pt x="93" y="7"/>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5" name="Freeform 14"/>
              <p:cNvSpPr>
                <a:spLocks/>
              </p:cNvSpPr>
              <p:nvPr/>
            </p:nvSpPr>
            <p:spPr bwMode="auto">
              <a:xfrm>
                <a:off x="2806700" y="3201988"/>
                <a:ext cx="147637" cy="11113"/>
              </a:xfrm>
              <a:custGeom>
                <a:avLst/>
                <a:gdLst>
                  <a:gd name="T0" fmla="*/ 93 w 93"/>
                  <a:gd name="T1" fmla="*/ 7 h 7"/>
                  <a:gd name="T2" fmla="*/ 0 w 93"/>
                  <a:gd name="T3" fmla="*/ 7 h 7"/>
                  <a:gd name="T4" fmla="*/ 0 w 93"/>
                  <a:gd name="T5" fmla="*/ 0 h 7"/>
                  <a:gd name="T6" fmla="*/ 93 w 93"/>
                  <a:gd name="T7" fmla="*/ 0 h 7"/>
                  <a:gd name="T8" fmla="*/ 93 w 93"/>
                  <a:gd name="T9" fmla="*/ 7 h 7"/>
                  <a:gd name="T10" fmla="*/ 93 w 93"/>
                  <a:gd name="T11" fmla="*/ 7 h 7"/>
                </a:gdLst>
                <a:ahLst/>
                <a:cxnLst>
                  <a:cxn ang="0">
                    <a:pos x="T0" y="T1"/>
                  </a:cxn>
                  <a:cxn ang="0">
                    <a:pos x="T2" y="T3"/>
                  </a:cxn>
                  <a:cxn ang="0">
                    <a:pos x="T4" y="T5"/>
                  </a:cxn>
                  <a:cxn ang="0">
                    <a:pos x="T6" y="T7"/>
                  </a:cxn>
                  <a:cxn ang="0">
                    <a:pos x="T8" y="T9"/>
                  </a:cxn>
                  <a:cxn ang="0">
                    <a:pos x="T10" y="T11"/>
                  </a:cxn>
                </a:cxnLst>
                <a:rect l="0" t="0" r="r" b="b"/>
                <a:pathLst>
                  <a:path w="93" h="7">
                    <a:moveTo>
                      <a:pt x="93" y="7"/>
                    </a:moveTo>
                    <a:lnTo>
                      <a:pt x="0" y="7"/>
                    </a:lnTo>
                    <a:lnTo>
                      <a:pt x="0" y="0"/>
                    </a:lnTo>
                    <a:lnTo>
                      <a:pt x="93" y="0"/>
                    </a:lnTo>
                    <a:lnTo>
                      <a:pt x="93" y="7"/>
                    </a:lnTo>
                    <a:lnTo>
                      <a:pt x="93" y="7"/>
                    </a:lnTo>
                    <a:close/>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6" name="Freeform 15"/>
              <p:cNvSpPr>
                <a:spLocks/>
              </p:cNvSpPr>
              <p:nvPr/>
            </p:nvSpPr>
            <p:spPr bwMode="auto">
              <a:xfrm>
                <a:off x="2828925" y="3284538"/>
                <a:ext cx="101600" cy="103188"/>
              </a:xfrm>
              <a:custGeom>
                <a:avLst/>
                <a:gdLst>
                  <a:gd name="T0" fmla="*/ 47 w 54"/>
                  <a:gd name="T1" fmla="*/ 15 h 55"/>
                  <a:gd name="T2" fmla="*/ 39 w 54"/>
                  <a:gd name="T3" fmla="*/ 48 h 55"/>
                  <a:gd name="T4" fmla="*/ 6 w 54"/>
                  <a:gd name="T5" fmla="*/ 39 h 55"/>
                  <a:gd name="T6" fmla="*/ 15 w 54"/>
                  <a:gd name="T7" fmla="*/ 7 h 55"/>
                  <a:gd name="T8" fmla="*/ 47 w 54"/>
                  <a:gd name="T9" fmla="*/ 15 h 55"/>
                </a:gdLst>
                <a:ahLst/>
                <a:cxnLst>
                  <a:cxn ang="0">
                    <a:pos x="T0" y="T1"/>
                  </a:cxn>
                  <a:cxn ang="0">
                    <a:pos x="T2" y="T3"/>
                  </a:cxn>
                  <a:cxn ang="0">
                    <a:pos x="T4" y="T5"/>
                  </a:cxn>
                  <a:cxn ang="0">
                    <a:pos x="T6" y="T7"/>
                  </a:cxn>
                  <a:cxn ang="0">
                    <a:pos x="T8" y="T9"/>
                  </a:cxn>
                </a:cxnLst>
                <a:rect l="0" t="0" r="r" b="b"/>
                <a:pathLst>
                  <a:path w="54" h="55">
                    <a:moveTo>
                      <a:pt x="47" y="15"/>
                    </a:moveTo>
                    <a:cubicBezTo>
                      <a:pt x="54" y="27"/>
                      <a:pt x="50" y="41"/>
                      <a:pt x="39" y="48"/>
                    </a:cubicBezTo>
                    <a:cubicBezTo>
                      <a:pt x="28" y="55"/>
                      <a:pt x="13" y="51"/>
                      <a:pt x="6" y="39"/>
                    </a:cubicBezTo>
                    <a:cubicBezTo>
                      <a:pt x="0" y="28"/>
                      <a:pt x="3" y="13"/>
                      <a:pt x="15" y="7"/>
                    </a:cubicBezTo>
                    <a:cubicBezTo>
                      <a:pt x="26" y="0"/>
                      <a:pt x="41" y="3"/>
                      <a:pt x="47" y="15"/>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7" name="Freeform 16"/>
              <p:cNvSpPr>
                <a:spLocks/>
              </p:cNvSpPr>
              <p:nvPr/>
            </p:nvSpPr>
            <p:spPr bwMode="auto">
              <a:xfrm>
                <a:off x="2754313" y="3152775"/>
                <a:ext cx="103187" cy="106363"/>
              </a:xfrm>
              <a:custGeom>
                <a:avLst/>
                <a:gdLst>
                  <a:gd name="T0" fmla="*/ 48 w 55"/>
                  <a:gd name="T1" fmla="*/ 16 h 56"/>
                  <a:gd name="T2" fmla="*/ 39 w 55"/>
                  <a:gd name="T3" fmla="*/ 49 h 56"/>
                  <a:gd name="T4" fmla="*/ 7 w 55"/>
                  <a:gd name="T5" fmla="*/ 40 h 56"/>
                  <a:gd name="T6" fmla="*/ 16 w 55"/>
                  <a:gd name="T7" fmla="*/ 7 h 56"/>
                  <a:gd name="T8" fmla="*/ 48 w 55"/>
                  <a:gd name="T9" fmla="*/ 16 h 56"/>
                </a:gdLst>
                <a:ahLst/>
                <a:cxnLst>
                  <a:cxn ang="0">
                    <a:pos x="T0" y="T1"/>
                  </a:cxn>
                  <a:cxn ang="0">
                    <a:pos x="T2" y="T3"/>
                  </a:cxn>
                  <a:cxn ang="0">
                    <a:pos x="T4" y="T5"/>
                  </a:cxn>
                  <a:cxn ang="0">
                    <a:pos x="T6" y="T7"/>
                  </a:cxn>
                  <a:cxn ang="0">
                    <a:pos x="T8" y="T9"/>
                  </a:cxn>
                </a:cxnLst>
                <a:rect l="0" t="0" r="r" b="b"/>
                <a:pathLst>
                  <a:path w="55" h="56">
                    <a:moveTo>
                      <a:pt x="48" y="16"/>
                    </a:moveTo>
                    <a:cubicBezTo>
                      <a:pt x="55" y="28"/>
                      <a:pt x="50" y="43"/>
                      <a:pt x="39" y="49"/>
                    </a:cubicBezTo>
                    <a:cubicBezTo>
                      <a:pt x="28" y="56"/>
                      <a:pt x="13" y="52"/>
                      <a:pt x="7" y="40"/>
                    </a:cubicBezTo>
                    <a:cubicBezTo>
                      <a:pt x="0" y="29"/>
                      <a:pt x="4" y="14"/>
                      <a:pt x="16" y="7"/>
                    </a:cubicBezTo>
                    <a:cubicBezTo>
                      <a:pt x="27" y="0"/>
                      <a:pt x="41" y="5"/>
                      <a:pt x="48" y="16"/>
                    </a:cubicBezTo>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8" name="Freeform 17"/>
              <p:cNvSpPr>
                <a:spLocks/>
              </p:cNvSpPr>
              <p:nvPr/>
            </p:nvSpPr>
            <p:spPr bwMode="auto">
              <a:xfrm>
                <a:off x="2901950" y="3414713"/>
                <a:ext cx="103187" cy="103188"/>
              </a:xfrm>
              <a:custGeom>
                <a:avLst/>
                <a:gdLst>
                  <a:gd name="T0" fmla="*/ 49 w 55"/>
                  <a:gd name="T1" fmla="*/ 15 h 55"/>
                  <a:gd name="T2" fmla="*/ 40 w 55"/>
                  <a:gd name="T3" fmla="*/ 48 h 55"/>
                  <a:gd name="T4" fmla="*/ 7 w 55"/>
                  <a:gd name="T5" fmla="*/ 39 h 55"/>
                  <a:gd name="T6" fmla="*/ 16 w 55"/>
                  <a:gd name="T7" fmla="*/ 6 h 55"/>
                  <a:gd name="T8" fmla="*/ 49 w 55"/>
                  <a:gd name="T9" fmla="*/ 15 h 55"/>
                </a:gdLst>
                <a:ahLst/>
                <a:cxnLst>
                  <a:cxn ang="0">
                    <a:pos x="T0" y="T1"/>
                  </a:cxn>
                  <a:cxn ang="0">
                    <a:pos x="T2" y="T3"/>
                  </a:cxn>
                  <a:cxn ang="0">
                    <a:pos x="T4" y="T5"/>
                  </a:cxn>
                  <a:cxn ang="0">
                    <a:pos x="T6" y="T7"/>
                  </a:cxn>
                  <a:cxn ang="0">
                    <a:pos x="T8" y="T9"/>
                  </a:cxn>
                </a:cxnLst>
                <a:rect l="0" t="0" r="r" b="b"/>
                <a:pathLst>
                  <a:path w="55" h="55">
                    <a:moveTo>
                      <a:pt x="49" y="15"/>
                    </a:moveTo>
                    <a:cubicBezTo>
                      <a:pt x="55" y="27"/>
                      <a:pt x="51" y="42"/>
                      <a:pt x="40" y="48"/>
                    </a:cubicBezTo>
                    <a:cubicBezTo>
                      <a:pt x="28" y="55"/>
                      <a:pt x="14" y="51"/>
                      <a:pt x="7" y="39"/>
                    </a:cubicBezTo>
                    <a:cubicBezTo>
                      <a:pt x="0" y="28"/>
                      <a:pt x="5" y="13"/>
                      <a:pt x="16" y="6"/>
                    </a:cubicBezTo>
                    <a:cubicBezTo>
                      <a:pt x="28" y="0"/>
                      <a:pt x="42" y="4"/>
                      <a:pt x="49" y="15"/>
                    </a:cubicBezTo>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9" name="Oval 18"/>
              <p:cNvSpPr>
                <a:spLocks noChangeArrowheads="1"/>
              </p:cNvSpPr>
              <p:nvPr/>
            </p:nvSpPr>
            <p:spPr bwMode="auto">
              <a:xfrm>
                <a:off x="2686050" y="3290888"/>
                <a:ext cx="88900" cy="90488"/>
              </a:xfrm>
              <a:prstGeom prst="ellipse">
                <a:avLst/>
              </a:pr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80" name="Oval 19"/>
              <p:cNvSpPr>
                <a:spLocks noChangeArrowheads="1"/>
              </p:cNvSpPr>
              <p:nvPr/>
            </p:nvSpPr>
            <p:spPr bwMode="auto">
              <a:xfrm>
                <a:off x="2982913" y="3290888"/>
                <a:ext cx="92075" cy="90488"/>
              </a:xfrm>
              <a:prstGeom prst="ellipse">
                <a:avLst/>
              </a:pr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81" name="Freeform 20"/>
              <p:cNvSpPr>
                <a:spLocks/>
              </p:cNvSpPr>
              <p:nvPr/>
            </p:nvSpPr>
            <p:spPr bwMode="auto">
              <a:xfrm>
                <a:off x="2901950" y="3152775"/>
                <a:ext cx="103187" cy="106363"/>
              </a:xfrm>
              <a:custGeom>
                <a:avLst/>
                <a:gdLst>
                  <a:gd name="T0" fmla="*/ 7 w 55"/>
                  <a:gd name="T1" fmla="*/ 16 h 56"/>
                  <a:gd name="T2" fmla="*/ 16 w 55"/>
                  <a:gd name="T3" fmla="*/ 49 h 56"/>
                  <a:gd name="T4" fmla="*/ 49 w 55"/>
                  <a:gd name="T5" fmla="*/ 40 h 56"/>
                  <a:gd name="T6" fmla="*/ 40 w 55"/>
                  <a:gd name="T7" fmla="*/ 7 h 56"/>
                  <a:gd name="T8" fmla="*/ 7 w 55"/>
                  <a:gd name="T9" fmla="*/ 16 h 56"/>
                </a:gdLst>
                <a:ahLst/>
                <a:cxnLst>
                  <a:cxn ang="0">
                    <a:pos x="T0" y="T1"/>
                  </a:cxn>
                  <a:cxn ang="0">
                    <a:pos x="T2" y="T3"/>
                  </a:cxn>
                  <a:cxn ang="0">
                    <a:pos x="T4" y="T5"/>
                  </a:cxn>
                  <a:cxn ang="0">
                    <a:pos x="T6" y="T7"/>
                  </a:cxn>
                  <a:cxn ang="0">
                    <a:pos x="T8" y="T9"/>
                  </a:cxn>
                </a:cxnLst>
                <a:rect l="0" t="0" r="r" b="b"/>
                <a:pathLst>
                  <a:path w="55" h="56">
                    <a:moveTo>
                      <a:pt x="7" y="16"/>
                    </a:moveTo>
                    <a:cubicBezTo>
                      <a:pt x="0" y="28"/>
                      <a:pt x="5" y="43"/>
                      <a:pt x="16" y="49"/>
                    </a:cubicBezTo>
                    <a:cubicBezTo>
                      <a:pt x="28" y="56"/>
                      <a:pt x="42" y="52"/>
                      <a:pt x="49" y="40"/>
                    </a:cubicBezTo>
                    <a:cubicBezTo>
                      <a:pt x="55" y="29"/>
                      <a:pt x="51" y="14"/>
                      <a:pt x="40" y="7"/>
                    </a:cubicBezTo>
                    <a:cubicBezTo>
                      <a:pt x="28" y="0"/>
                      <a:pt x="14" y="5"/>
                      <a:pt x="7" y="16"/>
                    </a:cubicBezTo>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82" name="Freeform 21"/>
              <p:cNvSpPr>
                <a:spLocks/>
              </p:cNvSpPr>
              <p:nvPr/>
            </p:nvSpPr>
            <p:spPr bwMode="auto">
              <a:xfrm>
                <a:off x="2754313" y="3414713"/>
                <a:ext cx="103187" cy="103188"/>
              </a:xfrm>
              <a:custGeom>
                <a:avLst/>
                <a:gdLst>
                  <a:gd name="T0" fmla="*/ 7 w 55"/>
                  <a:gd name="T1" fmla="*/ 15 h 55"/>
                  <a:gd name="T2" fmla="*/ 16 w 55"/>
                  <a:gd name="T3" fmla="*/ 48 h 55"/>
                  <a:gd name="T4" fmla="*/ 48 w 55"/>
                  <a:gd name="T5" fmla="*/ 39 h 55"/>
                  <a:gd name="T6" fmla="*/ 39 w 55"/>
                  <a:gd name="T7" fmla="*/ 6 h 55"/>
                  <a:gd name="T8" fmla="*/ 7 w 55"/>
                  <a:gd name="T9" fmla="*/ 15 h 55"/>
                </a:gdLst>
                <a:ahLst/>
                <a:cxnLst>
                  <a:cxn ang="0">
                    <a:pos x="T0" y="T1"/>
                  </a:cxn>
                  <a:cxn ang="0">
                    <a:pos x="T2" y="T3"/>
                  </a:cxn>
                  <a:cxn ang="0">
                    <a:pos x="T4" y="T5"/>
                  </a:cxn>
                  <a:cxn ang="0">
                    <a:pos x="T6" y="T7"/>
                  </a:cxn>
                  <a:cxn ang="0">
                    <a:pos x="T8" y="T9"/>
                  </a:cxn>
                </a:cxnLst>
                <a:rect l="0" t="0" r="r" b="b"/>
                <a:pathLst>
                  <a:path w="55" h="55">
                    <a:moveTo>
                      <a:pt x="7" y="15"/>
                    </a:moveTo>
                    <a:cubicBezTo>
                      <a:pt x="0" y="27"/>
                      <a:pt x="4" y="42"/>
                      <a:pt x="16" y="48"/>
                    </a:cubicBezTo>
                    <a:cubicBezTo>
                      <a:pt x="27" y="55"/>
                      <a:pt x="41" y="51"/>
                      <a:pt x="48" y="39"/>
                    </a:cubicBezTo>
                    <a:cubicBezTo>
                      <a:pt x="55" y="28"/>
                      <a:pt x="50" y="13"/>
                      <a:pt x="39" y="6"/>
                    </a:cubicBezTo>
                    <a:cubicBezTo>
                      <a:pt x="28" y="0"/>
                      <a:pt x="13" y="4"/>
                      <a:pt x="7" y="15"/>
                    </a:cubicBezTo>
                  </a:path>
                </a:pathLst>
              </a:custGeom>
              <a:solidFill>
                <a:srgbClr val="FDF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grpSp>
        <p:nvGrpSpPr>
          <p:cNvPr id="57" name="Group 56"/>
          <p:cNvGrpSpPr/>
          <p:nvPr/>
        </p:nvGrpSpPr>
        <p:grpSpPr>
          <a:xfrm>
            <a:off x="3609798" y="3917393"/>
            <a:ext cx="603504" cy="603504"/>
            <a:chOff x="3609798" y="3917393"/>
            <a:chExt cx="603504" cy="603504"/>
          </a:xfrm>
        </p:grpSpPr>
        <p:sp>
          <p:nvSpPr>
            <p:cNvPr id="280" name="Rounded Rectangle 279"/>
            <p:cNvSpPr/>
            <p:nvPr/>
          </p:nvSpPr>
          <p:spPr>
            <a:xfrm>
              <a:off x="3609798" y="3917393"/>
              <a:ext cx="603504" cy="60350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0960" tIns="60941" rIns="60960" bIns="60941" rtlCol="0" anchor="ctr"/>
            <a:lstStyle/>
            <a:p>
              <a:pPr marL="0" marR="0" lvl="0" indent="0" algn="ctr" defTabSz="45701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Apple LiGothic Medium"/>
                <a:cs typeface="Apple LiGothic Medium"/>
              </a:endParaRPr>
            </a:p>
          </p:txBody>
        </p:sp>
        <p:grpSp>
          <p:nvGrpSpPr>
            <p:cNvPr id="254" name="Group 253"/>
            <p:cNvGrpSpPr/>
            <p:nvPr/>
          </p:nvGrpSpPr>
          <p:grpSpPr>
            <a:xfrm>
              <a:off x="3695400" y="4063723"/>
              <a:ext cx="432300" cy="310844"/>
              <a:chOff x="3695400" y="4008219"/>
              <a:chExt cx="432300" cy="310844"/>
            </a:xfrm>
          </p:grpSpPr>
          <p:sp>
            <p:nvSpPr>
              <p:cNvPr id="229" name="Freeform 27"/>
              <p:cNvSpPr>
                <a:spLocks/>
              </p:cNvSpPr>
              <p:nvPr/>
            </p:nvSpPr>
            <p:spPr bwMode="auto">
              <a:xfrm>
                <a:off x="3829207" y="4008219"/>
                <a:ext cx="169832" cy="310844"/>
              </a:xfrm>
              <a:custGeom>
                <a:avLst/>
                <a:gdLst>
                  <a:gd name="T0" fmla="*/ 59 w 70"/>
                  <a:gd name="T1" fmla="*/ 128 h 128"/>
                  <a:gd name="T2" fmla="*/ 11 w 70"/>
                  <a:gd name="T3" fmla="*/ 128 h 128"/>
                  <a:gd name="T4" fmla="*/ 0 w 70"/>
                  <a:gd name="T5" fmla="*/ 116 h 128"/>
                  <a:gd name="T6" fmla="*/ 0 w 70"/>
                  <a:gd name="T7" fmla="*/ 12 h 128"/>
                  <a:gd name="T8" fmla="*/ 11 w 70"/>
                  <a:gd name="T9" fmla="*/ 0 h 128"/>
                  <a:gd name="T10" fmla="*/ 59 w 70"/>
                  <a:gd name="T11" fmla="*/ 0 h 128"/>
                  <a:gd name="T12" fmla="*/ 70 w 70"/>
                  <a:gd name="T13" fmla="*/ 12 h 128"/>
                  <a:gd name="T14" fmla="*/ 70 w 70"/>
                  <a:gd name="T15" fmla="*/ 116 h 128"/>
                  <a:gd name="T16" fmla="*/ 59 w 70"/>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8">
                    <a:moveTo>
                      <a:pt x="59" y="128"/>
                    </a:moveTo>
                    <a:cubicBezTo>
                      <a:pt x="11" y="128"/>
                      <a:pt x="11" y="128"/>
                      <a:pt x="11" y="128"/>
                    </a:cubicBezTo>
                    <a:cubicBezTo>
                      <a:pt x="5" y="128"/>
                      <a:pt x="0" y="122"/>
                      <a:pt x="0" y="116"/>
                    </a:cubicBezTo>
                    <a:cubicBezTo>
                      <a:pt x="0" y="12"/>
                      <a:pt x="0" y="12"/>
                      <a:pt x="0" y="12"/>
                    </a:cubicBezTo>
                    <a:cubicBezTo>
                      <a:pt x="0" y="5"/>
                      <a:pt x="5" y="0"/>
                      <a:pt x="11" y="0"/>
                    </a:cubicBezTo>
                    <a:cubicBezTo>
                      <a:pt x="59" y="0"/>
                      <a:pt x="59" y="0"/>
                      <a:pt x="59" y="0"/>
                    </a:cubicBezTo>
                    <a:cubicBezTo>
                      <a:pt x="65" y="0"/>
                      <a:pt x="70" y="5"/>
                      <a:pt x="70" y="12"/>
                    </a:cubicBezTo>
                    <a:cubicBezTo>
                      <a:pt x="70" y="116"/>
                      <a:pt x="70" y="116"/>
                      <a:pt x="70" y="116"/>
                    </a:cubicBezTo>
                    <a:cubicBezTo>
                      <a:pt x="70" y="122"/>
                      <a:pt x="65" y="128"/>
                      <a:pt x="59" y="12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30" name="Freeform 28"/>
              <p:cNvSpPr>
                <a:spLocks/>
              </p:cNvSpPr>
              <p:nvPr/>
            </p:nvSpPr>
            <p:spPr bwMode="auto">
              <a:xfrm>
                <a:off x="3863174" y="4049390"/>
                <a:ext cx="101899" cy="19557"/>
              </a:xfrm>
              <a:custGeom>
                <a:avLst/>
                <a:gdLst>
                  <a:gd name="T0" fmla="*/ 38 w 42"/>
                  <a:gd name="T1" fmla="*/ 8 h 8"/>
                  <a:gd name="T2" fmla="*/ 3 w 42"/>
                  <a:gd name="T3" fmla="*/ 8 h 8"/>
                  <a:gd name="T4" fmla="*/ 0 w 42"/>
                  <a:gd name="T5" fmla="*/ 4 h 8"/>
                  <a:gd name="T6" fmla="*/ 3 w 42"/>
                  <a:gd name="T7" fmla="*/ 0 h 8"/>
                  <a:gd name="T8" fmla="*/ 38 w 42"/>
                  <a:gd name="T9" fmla="*/ 0 h 8"/>
                  <a:gd name="T10" fmla="*/ 42 w 42"/>
                  <a:gd name="T11" fmla="*/ 4 h 8"/>
                  <a:gd name="T12" fmla="*/ 38 w 4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2" h="8">
                    <a:moveTo>
                      <a:pt x="38" y="8"/>
                    </a:moveTo>
                    <a:cubicBezTo>
                      <a:pt x="3" y="8"/>
                      <a:pt x="3" y="8"/>
                      <a:pt x="3" y="8"/>
                    </a:cubicBezTo>
                    <a:cubicBezTo>
                      <a:pt x="1" y="8"/>
                      <a:pt x="0" y="6"/>
                      <a:pt x="0" y="4"/>
                    </a:cubicBezTo>
                    <a:cubicBezTo>
                      <a:pt x="0" y="2"/>
                      <a:pt x="1" y="0"/>
                      <a:pt x="3" y="0"/>
                    </a:cubicBezTo>
                    <a:cubicBezTo>
                      <a:pt x="38" y="0"/>
                      <a:pt x="38" y="0"/>
                      <a:pt x="38" y="0"/>
                    </a:cubicBezTo>
                    <a:cubicBezTo>
                      <a:pt x="40" y="0"/>
                      <a:pt x="42" y="2"/>
                      <a:pt x="42" y="4"/>
                    </a:cubicBezTo>
                    <a:cubicBezTo>
                      <a:pt x="42" y="6"/>
                      <a:pt x="40" y="8"/>
                      <a:pt x="38" y="8"/>
                    </a:cubicBezTo>
                    <a:close/>
                  </a:path>
                </a:pathLst>
              </a:cu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31" name="Freeform 29"/>
              <p:cNvSpPr>
                <a:spLocks/>
              </p:cNvSpPr>
              <p:nvPr/>
            </p:nvSpPr>
            <p:spPr bwMode="auto">
              <a:xfrm>
                <a:off x="3863174" y="4099825"/>
                <a:ext cx="101899" cy="17498"/>
              </a:xfrm>
              <a:custGeom>
                <a:avLst/>
                <a:gdLst>
                  <a:gd name="T0" fmla="*/ 38 w 42"/>
                  <a:gd name="T1" fmla="*/ 7 h 7"/>
                  <a:gd name="T2" fmla="*/ 3 w 42"/>
                  <a:gd name="T3" fmla="*/ 7 h 7"/>
                  <a:gd name="T4" fmla="*/ 0 w 42"/>
                  <a:gd name="T5" fmla="*/ 3 h 7"/>
                  <a:gd name="T6" fmla="*/ 3 w 42"/>
                  <a:gd name="T7" fmla="*/ 0 h 7"/>
                  <a:gd name="T8" fmla="*/ 38 w 42"/>
                  <a:gd name="T9" fmla="*/ 0 h 7"/>
                  <a:gd name="T10" fmla="*/ 42 w 42"/>
                  <a:gd name="T11" fmla="*/ 3 h 7"/>
                  <a:gd name="T12" fmla="*/ 38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8" y="7"/>
                    </a:moveTo>
                    <a:cubicBezTo>
                      <a:pt x="3" y="7"/>
                      <a:pt x="3" y="7"/>
                      <a:pt x="3" y="7"/>
                    </a:cubicBezTo>
                    <a:cubicBezTo>
                      <a:pt x="1" y="7"/>
                      <a:pt x="0" y="5"/>
                      <a:pt x="0" y="3"/>
                    </a:cubicBezTo>
                    <a:cubicBezTo>
                      <a:pt x="0" y="1"/>
                      <a:pt x="1" y="0"/>
                      <a:pt x="3" y="0"/>
                    </a:cubicBezTo>
                    <a:cubicBezTo>
                      <a:pt x="38" y="0"/>
                      <a:pt x="38" y="0"/>
                      <a:pt x="38" y="0"/>
                    </a:cubicBezTo>
                    <a:cubicBezTo>
                      <a:pt x="40" y="0"/>
                      <a:pt x="42" y="1"/>
                      <a:pt x="42" y="3"/>
                    </a:cubicBezTo>
                    <a:cubicBezTo>
                      <a:pt x="42" y="5"/>
                      <a:pt x="40" y="7"/>
                      <a:pt x="38" y="7"/>
                    </a:cubicBezTo>
                    <a:close/>
                  </a:path>
                </a:pathLst>
              </a:cu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34" name="Freeform 30"/>
              <p:cNvSpPr>
                <a:spLocks/>
              </p:cNvSpPr>
              <p:nvPr/>
            </p:nvSpPr>
            <p:spPr bwMode="auto">
              <a:xfrm>
                <a:off x="3863174" y="4151289"/>
                <a:ext cx="101899" cy="16469"/>
              </a:xfrm>
              <a:custGeom>
                <a:avLst/>
                <a:gdLst>
                  <a:gd name="T0" fmla="*/ 38 w 42"/>
                  <a:gd name="T1" fmla="*/ 7 h 7"/>
                  <a:gd name="T2" fmla="*/ 3 w 42"/>
                  <a:gd name="T3" fmla="*/ 7 h 7"/>
                  <a:gd name="T4" fmla="*/ 0 w 42"/>
                  <a:gd name="T5" fmla="*/ 3 h 7"/>
                  <a:gd name="T6" fmla="*/ 3 w 42"/>
                  <a:gd name="T7" fmla="*/ 0 h 7"/>
                  <a:gd name="T8" fmla="*/ 38 w 42"/>
                  <a:gd name="T9" fmla="*/ 0 h 7"/>
                  <a:gd name="T10" fmla="*/ 42 w 42"/>
                  <a:gd name="T11" fmla="*/ 3 h 7"/>
                  <a:gd name="T12" fmla="*/ 38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8" y="7"/>
                    </a:moveTo>
                    <a:cubicBezTo>
                      <a:pt x="3" y="7"/>
                      <a:pt x="3" y="7"/>
                      <a:pt x="3" y="7"/>
                    </a:cubicBezTo>
                    <a:cubicBezTo>
                      <a:pt x="1" y="7"/>
                      <a:pt x="0" y="5"/>
                      <a:pt x="0" y="3"/>
                    </a:cubicBezTo>
                    <a:cubicBezTo>
                      <a:pt x="0" y="1"/>
                      <a:pt x="1" y="0"/>
                      <a:pt x="3" y="0"/>
                    </a:cubicBezTo>
                    <a:cubicBezTo>
                      <a:pt x="38" y="0"/>
                      <a:pt x="38" y="0"/>
                      <a:pt x="38" y="0"/>
                    </a:cubicBezTo>
                    <a:cubicBezTo>
                      <a:pt x="40" y="0"/>
                      <a:pt x="42" y="1"/>
                      <a:pt x="42" y="3"/>
                    </a:cubicBezTo>
                    <a:cubicBezTo>
                      <a:pt x="42" y="5"/>
                      <a:pt x="40" y="7"/>
                      <a:pt x="38" y="7"/>
                    </a:cubicBezTo>
                    <a:close/>
                  </a:path>
                </a:pathLst>
              </a:cu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35" name="Freeform 31"/>
              <p:cNvSpPr>
                <a:spLocks/>
              </p:cNvSpPr>
              <p:nvPr/>
            </p:nvSpPr>
            <p:spPr bwMode="auto">
              <a:xfrm>
                <a:off x="3863174" y="4201725"/>
                <a:ext cx="101899" cy="17498"/>
              </a:xfrm>
              <a:custGeom>
                <a:avLst/>
                <a:gdLst>
                  <a:gd name="T0" fmla="*/ 38 w 42"/>
                  <a:gd name="T1" fmla="*/ 7 h 7"/>
                  <a:gd name="T2" fmla="*/ 3 w 42"/>
                  <a:gd name="T3" fmla="*/ 7 h 7"/>
                  <a:gd name="T4" fmla="*/ 0 w 42"/>
                  <a:gd name="T5" fmla="*/ 3 h 7"/>
                  <a:gd name="T6" fmla="*/ 3 w 42"/>
                  <a:gd name="T7" fmla="*/ 0 h 7"/>
                  <a:gd name="T8" fmla="*/ 38 w 42"/>
                  <a:gd name="T9" fmla="*/ 0 h 7"/>
                  <a:gd name="T10" fmla="*/ 42 w 42"/>
                  <a:gd name="T11" fmla="*/ 3 h 7"/>
                  <a:gd name="T12" fmla="*/ 38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8" y="7"/>
                    </a:moveTo>
                    <a:cubicBezTo>
                      <a:pt x="3" y="7"/>
                      <a:pt x="3" y="7"/>
                      <a:pt x="3" y="7"/>
                    </a:cubicBezTo>
                    <a:cubicBezTo>
                      <a:pt x="1" y="7"/>
                      <a:pt x="0" y="5"/>
                      <a:pt x="0" y="3"/>
                    </a:cubicBezTo>
                    <a:cubicBezTo>
                      <a:pt x="0" y="1"/>
                      <a:pt x="1" y="0"/>
                      <a:pt x="3" y="0"/>
                    </a:cubicBezTo>
                    <a:cubicBezTo>
                      <a:pt x="38" y="0"/>
                      <a:pt x="38" y="0"/>
                      <a:pt x="38" y="0"/>
                    </a:cubicBezTo>
                    <a:cubicBezTo>
                      <a:pt x="40" y="0"/>
                      <a:pt x="42" y="1"/>
                      <a:pt x="42" y="3"/>
                    </a:cubicBezTo>
                    <a:cubicBezTo>
                      <a:pt x="42" y="5"/>
                      <a:pt x="40" y="7"/>
                      <a:pt x="38" y="7"/>
                    </a:cubicBezTo>
                    <a:close/>
                  </a:path>
                </a:pathLst>
              </a:cu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36" name="Freeform 32"/>
              <p:cNvSpPr>
                <a:spLocks/>
              </p:cNvSpPr>
              <p:nvPr/>
            </p:nvSpPr>
            <p:spPr bwMode="auto">
              <a:xfrm>
                <a:off x="3863174" y="4251130"/>
                <a:ext cx="101899" cy="16469"/>
              </a:xfrm>
              <a:custGeom>
                <a:avLst/>
                <a:gdLst>
                  <a:gd name="T0" fmla="*/ 38 w 42"/>
                  <a:gd name="T1" fmla="*/ 7 h 7"/>
                  <a:gd name="T2" fmla="*/ 3 w 42"/>
                  <a:gd name="T3" fmla="*/ 7 h 7"/>
                  <a:gd name="T4" fmla="*/ 0 w 42"/>
                  <a:gd name="T5" fmla="*/ 4 h 7"/>
                  <a:gd name="T6" fmla="*/ 3 w 42"/>
                  <a:gd name="T7" fmla="*/ 0 h 7"/>
                  <a:gd name="T8" fmla="*/ 38 w 42"/>
                  <a:gd name="T9" fmla="*/ 0 h 7"/>
                  <a:gd name="T10" fmla="*/ 42 w 42"/>
                  <a:gd name="T11" fmla="*/ 4 h 7"/>
                  <a:gd name="T12" fmla="*/ 38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8" y="7"/>
                    </a:moveTo>
                    <a:cubicBezTo>
                      <a:pt x="3" y="7"/>
                      <a:pt x="3" y="7"/>
                      <a:pt x="3" y="7"/>
                    </a:cubicBezTo>
                    <a:cubicBezTo>
                      <a:pt x="1" y="7"/>
                      <a:pt x="0" y="6"/>
                      <a:pt x="0" y="4"/>
                    </a:cubicBezTo>
                    <a:cubicBezTo>
                      <a:pt x="0" y="2"/>
                      <a:pt x="1" y="0"/>
                      <a:pt x="3" y="0"/>
                    </a:cubicBezTo>
                    <a:cubicBezTo>
                      <a:pt x="38" y="0"/>
                      <a:pt x="38" y="0"/>
                      <a:pt x="38" y="0"/>
                    </a:cubicBezTo>
                    <a:cubicBezTo>
                      <a:pt x="40" y="0"/>
                      <a:pt x="42" y="2"/>
                      <a:pt x="42" y="4"/>
                    </a:cubicBezTo>
                    <a:cubicBezTo>
                      <a:pt x="42" y="6"/>
                      <a:pt x="40" y="7"/>
                      <a:pt x="38" y="7"/>
                    </a:cubicBezTo>
                    <a:close/>
                  </a:path>
                </a:pathLst>
              </a:cu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40" name="Freeform 33"/>
              <p:cNvSpPr>
                <a:spLocks/>
              </p:cNvSpPr>
              <p:nvPr/>
            </p:nvSpPr>
            <p:spPr bwMode="auto">
              <a:xfrm>
                <a:off x="4013449" y="4058654"/>
                <a:ext cx="114251" cy="208945"/>
              </a:xfrm>
              <a:custGeom>
                <a:avLst/>
                <a:gdLst>
                  <a:gd name="T0" fmla="*/ 39 w 47"/>
                  <a:gd name="T1" fmla="*/ 86 h 86"/>
                  <a:gd name="T2" fmla="*/ 7 w 47"/>
                  <a:gd name="T3" fmla="*/ 86 h 86"/>
                  <a:gd name="T4" fmla="*/ 0 w 47"/>
                  <a:gd name="T5" fmla="*/ 78 h 86"/>
                  <a:gd name="T6" fmla="*/ 0 w 47"/>
                  <a:gd name="T7" fmla="*/ 8 h 86"/>
                  <a:gd name="T8" fmla="*/ 7 w 47"/>
                  <a:gd name="T9" fmla="*/ 0 h 86"/>
                  <a:gd name="T10" fmla="*/ 39 w 47"/>
                  <a:gd name="T11" fmla="*/ 0 h 86"/>
                  <a:gd name="T12" fmla="*/ 47 w 47"/>
                  <a:gd name="T13" fmla="*/ 8 h 86"/>
                  <a:gd name="T14" fmla="*/ 47 w 47"/>
                  <a:gd name="T15" fmla="*/ 78 h 86"/>
                  <a:gd name="T16" fmla="*/ 39 w 47"/>
                  <a:gd name="T1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86">
                    <a:moveTo>
                      <a:pt x="39" y="86"/>
                    </a:moveTo>
                    <a:cubicBezTo>
                      <a:pt x="7" y="86"/>
                      <a:pt x="7" y="86"/>
                      <a:pt x="7" y="86"/>
                    </a:cubicBezTo>
                    <a:cubicBezTo>
                      <a:pt x="3" y="86"/>
                      <a:pt x="0" y="82"/>
                      <a:pt x="0" y="78"/>
                    </a:cubicBezTo>
                    <a:cubicBezTo>
                      <a:pt x="0" y="8"/>
                      <a:pt x="0" y="8"/>
                      <a:pt x="0" y="8"/>
                    </a:cubicBezTo>
                    <a:cubicBezTo>
                      <a:pt x="0" y="3"/>
                      <a:pt x="3" y="0"/>
                      <a:pt x="7" y="0"/>
                    </a:cubicBezTo>
                    <a:cubicBezTo>
                      <a:pt x="39" y="0"/>
                      <a:pt x="39" y="0"/>
                      <a:pt x="39" y="0"/>
                    </a:cubicBezTo>
                    <a:cubicBezTo>
                      <a:pt x="44" y="0"/>
                      <a:pt x="47" y="3"/>
                      <a:pt x="47" y="8"/>
                    </a:cubicBezTo>
                    <a:cubicBezTo>
                      <a:pt x="47" y="78"/>
                      <a:pt x="47" y="78"/>
                      <a:pt x="47" y="78"/>
                    </a:cubicBezTo>
                    <a:cubicBezTo>
                      <a:pt x="47" y="82"/>
                      <a:pt x="44" y="86"/>
                      <a:pt x="39" y="8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41" name="Freeform 34"/>
              <p:cNvSpPr>
                <a:spLocks/>
              </p:cNvSpPr>
              <p:nvPr/>
            </p:nvSpPr>
            <p:spPr bwMode="auto">
              <a:xfrm>
                <a:off x="4038152" y="4087474"/>
                <a:ext cx="65874" cy="10293"/>
              </a:xfrm>
              <a:custGeom>
                <a:avLst/>
                <a:gdLst>
                  <a:gd name="T0" fmla="*/ 25 w 27"/>
                  <a:gd name="T1" fmla="*/ 4 h 4"/>
                  <a:gd name="T2" fmla="*/ 1 w 27"/>
                  <a:gd name="T3" fmla="*/ 4 h 4"/>
                  <a:gd name="T4" fmla="*/ 0 w 27"/>
                  <a:gd name="T5" fmla="*/ 2 h 4"/>
                  <a:gd name="T6" fmla="*/ 1 w 27"/>
                  <a:gd name="T7" fmla="*/ 0 h 4"/>
                  <a:gd name="T8" fmla="*/ 25 w 27"/>
                  <a:gd name="T9" fmla="*/ 0 h 4"/>
                  <a:gd name="T10" fmla="*/ 27 w 27"/>
                  <a:gd name="T11" fmla="*/ 2 h 4"/>
                  <a:gd name="T12" fmla="*/ 25 w 2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7" h="4">
                    <a:moveTo>
                      <a:pt x="25" y="4"/>
                    </a:moveTo>
                    <a:cubicBezTo>
                      <a:pt x="1" y="4"/>
                      <a:pt x="1" y="4"/>
                      <a:pt x="1" y="4"/>
                    </a:cubicBezTo>
                    <a:cubicBezTo>
                      <a:pt x="0" y="4"/>
                      <a:pt x="0" y="3"/>
                      <a:pt x="0" y="2"/>
                    </a:cubicBezTo>
                    <a:cubicBezTo>
                      <a:pt x="0" y="1"/>
                      <a:pt x="0" y="0"/>
                      <a:pt x="1" y="0"/>
                    </a:cubicBezTo>
                    <a:cubicBezTo>
                      <a:pt x="25" y="0"/>
                      <a:pt x="25" y="0"/>
                      <a:pt x="25" y="0"/>
                    </a:cubicBezTo>
                    <a:cubicBezTo>
                      <a:pt x="26" y="0"/>
                      <a:pt x="27" y="1"/>
                      <a:pt x="27" y="2"/>
                    </a:cubicBezTo>
                    <a:cubicBezTo>
                      <a:pt x="27" y="3"/>
                      <a:pt x="26" y="4"/>
                      <a:pt x="25" y="4"/>
                    </a:cubicBezTo>
                    <a:close/>
                  </a:path>
                </a:pathLst>
              </a:cu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42" name="Freeform 35"/>
              <p:cNvSpPr>
                <a:spLocks/>
              </p:cNvSpPr>
              <p:nvPr/>
            </p:nvSpPr>
            <p:spPr bwMode="auto">
              <a:xfrm>
                <a:off x="4038152" y="4121440"/>
                <a:ext cx="65874" cy="8234"/>
              </a:xfrm>
              <a:custGeom>
                <a:avLst/>
                <a:gdLst>
                  <a:gd name="T0" fmla="*/ 25 w 27"/>
                  <a:gd name="T1" fmla="*/ 3 h 3"/>
                  <a:gd name="T2" fmla="*/ 1 w 27"/>
                  <a:gd name="T3" fmla="*/ 3 h 3"/>
                  <a:gd name="T4" fmla="*/ 0 w 27"/>
                  <a:gd name="T5" fmla="*/ 2 h 3"/>
                  <a:gd name="T6" fmla="*/ 1 w 27"/>
                  <a:gd name="T7" fmla="*/ 0 h 3"/>
                  <a:gd name="T8" fmla="*/ 25 w 27"/>
                  <a:gd name="T9" fmla="*/ 0 h 3"/>
                  <a:gd name="T10" fmla="*/ 27 w 27"/>
                  <a:gd name="T11" fmla="*/ 2 h 3"/>
                  <a:gd name="T12" fmla="*/ 25 w 2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7" h="3">
                    <a:moveTo>
                      <a:pt x="25" y="3"/>
                    </a:moveTo>
                    <a:cubicBezTo>
                      <a:pt x="1" y="3"/>
                      <a:pt x="1" y="3"/>
                      <a:pt x="1" y="3"/>
                    </a:cubicBezTo>
                    <a:cubicBezTo>
                      <a:pt x="0" y="3"/>
                      <a:pt x="0" y="3"/>
                      <a:pt x="0" y="2"/>
                    </a:cubicBezTo>
                    <a:cubicBezTo>
                      <a:pt x="0" y="1"/>
                      <a:pt x="0" y="0"/>
                      <a:pt x="1" y="0"/>
                    </a:cubicBezTo>
                    <a:cubicBezTo>
                      <a:pt x="25" y="0"/>
                      <a:pt x="25" y="0"/>
                      <a:pt x="25" y="0"/>
                    </a:cubicBezTo>
                    <a:cubicBezTo>
                      <a:pt x="26" y="0"/>
                      <a:pt x="27" y="1"/>
                      <a:pt x="27" y="2"/>
                    </a:cubicBezTo>
                    <a:cubicBezTo>
                      <a:pt x="27" y="3"/>
                      <a:pt x="26" y="3"/>
                      <a:pt x="25" y="3"/>
                    </a:cubicBezTo>
                    <a:close/>
                  </a:path>
                </a:pathLst>
              </a:cu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44" name="Freeform 36"/>
              <p:cNvSpPr>
                <a:spLocks/>
              </p:cNvSpPr>
              <p:nvPr/>
            </p:nvSpPr>
            <p:spPr bwMode="auto">
              <a:xfrm>
                <a:off x="4038152" y="4156436"/>
                <a:ext cx="65874" cy="9264"/>
              </a:xfrm>
              <a:custGeom>
                <a:avLst/>
                <a:gdLst>
                  <a:gd name="T0" fmla="*/ 25 w 27"/>
                  <a:gd name="T1" fmla="*/ 4 h 4"/>
                  <a:gd name="T2" fmla="*/ 1 w 27"/>
                  <a:gd name="T3" fmla="*/ 4 h 4"/>
                  <a:gd name="T4" fmla="*/ 0 w 27"/>
                  <a:gd name="T5" fmla="*/ 2 h 4"/>
                  <a:gd name="T6" fmla="*/ 1 w 27"/>
                  <a:gd name="T7" fmla="*/ 0 h 4"/>
                  <a:gd name="T8" fmla="*/ 25 w 27"/>
                  <a:gd name="T9" fmla="*/ 0 h 4"/>
                  <a:gd name="T10" fmla="*/ 27 w 27"/>
                  <a:gd name="T11" fmla="*/ 2 h 4"/>
                  <a:gd name="T12" fmla="*/ 25 w 2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7" h="4">
                    <a:moveTo>
                      <a:pt x="25" y="4"/>
                    </a:moveTo>
                    <a:cubicBezTo>
                      <a:pt x="1" y="4"/>
                      <a:pt x="1" y="4"/>
                      <a:pt x="1" y="4"/>
                    </a:cubicBezTo>
                    <a:cubicBezTo>
                      <a:pt x="0" y="4"/>
                      <a:pt x="0" y="3"/>
                      <a:pt x="0" y="2"/>
                    </a:cubicBezTo>
                    <a:cubicBezTo>
                      <a:pt x="0" y="1"/>
                      <a:pt x="0" y="0"/>
                      <a:pt x="1" y="0"/>
                    </a:cubicBezTo>
                    <a:cubicBezTo>
                      <a:pt x="25" y="0"/>
                      <a:pt x="25" y="0"/>
                      <a:pt x="25" y="0"/>
                    </a:cubicBezTo>
                    <a:cubicBezTo>
                      <a:pt x="26" y="0"/>
                      <a:pt x="27" y="1"/>
                      <a:pt x="27" y="2"/>
                    </a:cubicBezTo>
                    <a:cubicBezTo>
                      <a:pt x="27" y="3"/>
                      <a:pt x="26" y="4"/>
                      <a:pt x="25" y="4"/>
                    </a:cubicBezTo>
                    <a:close/>
                  </a:path>
                </a:pathLst>
              </a:cu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45" name="Freeform 37"/>
              <p:cNvSpPr>
                <a:spLocks/>
              </p:cNvSpPr>
              <p:nvPr/>
            </p:nvSpPr>
            <p:spPr bwMode="auto">
              <a:xfrm>
                <a:off x="4038152" y="4190402"/>
                <a:ext cx="65874" cy="9264"/>
              </a:xfrm>
              <a:custGeom>
                <a:avLst/>
                <a:gdLst>
                  <a:gd name="T0" fmla="*/ 25 w 27"/>
                  <a:gd name="T1" fmla="*/ 4 h 4"/>
                  <a:gd name="T2" fmla="*/ 1 w 27"/>
                  <a:gd name="T3" fmla="*/ 4 h 4"/>
                  <a:gd name="T4" fmla="*/ 0 w 27"/>
                  <a:gd name="T5" fmla="*/ 2 h 4"/>
                  <a:gd name="T6" fmla="*/ 1 w 27"/>
                  <a:gd name="T7" fmla="*/ 0 h 4"/>
                  <a:gd name="T8" fmla="*/ 25 w 27"/>
                  <a:gd name="T9" fmla="*/ 0 h 4"/>
                  <a:gd name="T10" fmla="*/ 27 w 27"/>
                  <a:gd name="T11" fmla="*/ 2 h 4"/>
                  <a:gd name="T12" fmla="*/ 25 w 2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7" h="4">
                    <a:moveTo>
                      <a:pt x="25" y="4"/>
                    </a:moveTo>
                    <a:cubicBezTo>
                      <a:pt x="1" y="4"/>
                      <a:pt x="1" y="4"/>
                      <a:pt x="1" y="4"/>
                    </a:cubicBezTo>
                    <a:cubicBezTo>
                      <a:pt x="0" y="4"/>
                      <a:pt x="0" y="3"/>
                      <a:pt x="0" y="2"/>
                    </a:cubicBezTo>
                    <a:cubicBezTo>
                      <a:pt x="0" y="1"/>
                      <a:pt x="0" y="0"/>
                      <a:pt x="1" y="0"/>
                    </a:cubicBezTo>
                    <a:cubicBezTo>
                      <a:pt x="25" y="0"/>
                      <a:pt x="25" y="0"/>
                      <a:pt x="25" y="0"/>
                    </a:cubicBezTo>
                    <a:cubicBezTo>
                      <a:pt x="26" y="0"/>
                      <a:pt x="27" y="1"/>
                      <a:pt x="27" y="2"/>
                    </a:cubicBezTo>
                    <a:cubicBezTo>
                      <a:pt x="27" y="3"/>
                      <a:pt x="26" y="4"/>
                      <a:pt x="25" y="4"/>
                    </a:cubicBezTo>
                    <a:close/>
                  </a:path>
                </a:pathLst>
              </a:cu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46" name="Freeform 38"/>
              <p:cNvSpPr>
                <a:spLocks/>
              </p:cNvSpPr>
              <p:nvPr/>
            </p:nvSpPr>
            <p:spPr bwMode="auto">
              <a:xfrm>
                <a:off x="4038152" y="4224369"/>
                <a:ext cx="65874" cy="9264"/>
              </a:xfrm>
              <a:custGeom>
                <a:avLst/>
                <a:gdLst>
                  <a:gd name="T0" fmla="*/ 25 w 27"/>
                  <a:gd name="T1" fmla="*/ 4 h 4"/>
                  <a:gd name="T2" fmla="*/ 1 w 27"/>
                  <a:gd name="T3" fmla="*/ 4 h 4"/>
                  <a:gd name="T4" fmla="*/ 0 w 27"/>
                  <a:gd name="T5" fmla="*/ 2 h 4"/>
                  <a:gd name="T6" fmla="*/ 1 w 27"/>
                  <a:gd name="T7" fmla="*/ 0 h 4"/>
                  <a:gd name="T8" fmla="*/ 25 w 27"/>
                  <a:gd name="T9" fmla="*/ 0 h 4"/>
                  <a:gd name="T10" fmla="*/ 27 w 27"/>
                  <a:gd name="T11" fmla="*/ 2 h 4"/>
                  <a:gd name="T12" fmla="*/ 25 w 2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7" h="4">
                    <a:moveTo>
                      <a:pt x="25" y="4"/>
                    </a:moveTo>
                    <a:cubicBezTo>
                      <a:pt x="1" y="4"/>
                      <a:pt x="1" y="4"/>
                      <a:pt x="1" y="4"/>
                    </a:cubicBezTo>
                    <a:cubicBezTo>
                      <a:pt x="0" y="4"/>
                      <a:pt x="0" y="3"/>
                      <a:pt x="0" y="2"/>
                    </a:cubicBezTo>
                    <a:cubicBezTo>
                      <a:pt x="0" y="1"/>
                      <a:pt x="0" y="0"/>
                      <a:pt x="1" y="0"/>
                    </a:cubicBezTo>
                    <a:cubicBezTo>
                      <a:pt x="25" y="0"/>
                      <a:pt x="25" y="0"/>
                      <a:pt x="25" y="0"/>
                    </a:cubicBezTo>
                    <a:cubicBezTo>
                      <a:pt x="26" y="0"/>
                      <a:pt x="27" y="1"/>
                      <a:pt x="27" y="2"/>
                    </a:cubicBezTo>
                    <a:cubicBezTo>
                      <a:pt x="27" y="3"/>
                      <a:pt x="26" y="4"/>
                      <a:pt x="25" y="4"/>
                    </a:cubicBezTo>
                    <a:close/>
                  </a:path>
                </a:pathLst>
              </a:cu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47" name="Freeform 39"/>
              <p:cNvSpPr>
                <a:spLocks/>
              </p:cNvSpPr>
              <p:nvPr/>
            </p:nvSpPr>
            <p:spPr bwMode="auto">
              <a:xfrm>
                <a:off x="3695400" y="4058654"/>
                <a:ext cx="116309" cy="208945"/>
              </a:xfrm>
              <a:custGeom>
                <a:avLst/>
                <a:gdLst>
                  <a:gd name="T0" fmla="*/ 40 w 48"/>
                  <a:gd name="T1" fmla="*/ 86 h 86"/>
                  <a:gd name="T2" fmla="*/ 8 w 48"/>
                  <a:gd name="T3" fmla="*/ 86 h 86"/>
                  <a:gd name="T4" fmla="*/ 0 w 48"/>
                  <a:gd name="T5" fmla="*/ 78 h 86"/>
                  <a:gd name="T6" fmla="*/ 0 w 48"/>
                  <a:gd name="T7" fmla="*/ 8 h 86"/>
                  <a:gd name="T8" fmla="*/ 8 w 48"/>
                  <a:gd name="T9" fmla="*/ 0 h 86"/>
                  <a:gd name="T10" fmla="*/ 40 w 48"/>
                  <a:gd name="T11" fmla="*/ 0 h 86"/>
                  <a:gd name="T12" fmla="*/ 48 w 48"/>
                  <a:gd name="T13" fmla="*/ 8 h 86"/>
                  <a:gd name="T14" fmla="*/ 48 w 48"/>
                  <a:gd name="T15" fmla="*/ 78 h 86"/>
                  <a:gd name="T16" fmla="*/ 40 w 48"/>
                  <a:gd name="T1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86">
                    <a:moveTo>
                      <a:pt x="40" y="86"/>
                    </a:moveTo>
                    <a:cubicBezTo>
                      <a:pt x="8" y="86"/>
                      <a:pt x="8" y="86"/>
                      <a:pt x="8" y="86"/>
                    </a:cubicBezTo>
                    <a:cubicBezTo>
                      <a:pt x="3" y="86"/>
                      <a:pt x="0" y="82"/>
                      <a:pt x="0" y="78"/>
                    </a:cubicBezTo>
                    <a:cubicBezTo>
                      <a:pt x="0" y="8"/>
                      <a:pt x="0" y="8"/>
                      <a:pt x="0" y="8"/>
                    </a:cubicBezTo>
                    <a:cubicBezTo>
                      <a:pt x="0" y="3"/>
                      <a:pt x="3" y="0"/>
                      <a:pt x="8" y="0"/>
                    </a:cubicBezTo>
                    <a:cubicBezTo>
                      <a:pt x="40" y="0"/>
                      <a:pt x="40" y="0"/>
                      <a:pt x="40" y="0"/>
                    </a:cubicBezTo>
                    <a:cubicBezTo>
                      <a:pt x="44" y="0"/>
                      <a:pt x="48" y="3"/>
                      <a:pt x="48" y="8"/>
                    </a:cubicBezTo>
                    <a:cubicBezTo>
                      <a:pt x="48" y="78"/>
                      <a:pt x="48" y="78"/>
                      <a:pt x="48" y="78"/>
                    </a:cubicBezTo>
                    <a:cubicBezTo>
                      <a:pt x="48" y="82"/>
                      <a:pt x="44" y="86"/>
                      <a:pt x="40" y="8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48" name="Freeform 40"/>
              <p:cNvSpPr>
                <a:spLocks/>
              </p:cNvSpPr>
              <p:nvPr/>
            </p:nvSpPr>
            <p:spPr bwMode="auto">
              <a:xfrm>
                <a:off x="3719074" y="4087474"/>
                <a:ext cx="65874" cy="10293"/>
              </a:xfrm>
              <a:custGeom>
                <a:avLst/>
                <a:gdLst>
                  <a:gd name="T0" fmla="*/ 25 w 27"/>
                  <a:gd name="T1" fmla="*/ 4 h 4"/>
                  <a:gd name="T2" fmla="*/ 2 w 27"/>
                  <a:gd name="T3" fmla="*/ 4 h 4"/>
                  <a:gd name="T4" fmla="*/ 0 w 27"/>
                  <a:gd name="T5" fmla="*/ 2 h 4"/>
                  <a:gd name="T6" fmla="*/ 2 w 27"/>
                  <a:gd name="T7" fmla="*/ 0 h 4"/>
                  <a:gd name="T8" fmla="*/ 25 w 27"/>
                  <a:gd name="T9" fmla="*/ 0 h 4"/>
                  <a:gd name="T10" fmla="*/ 27 w 27"/>
                  <a:gd name="T11" fmla="*/ 2 h 4"/>
                  <a:gd name="T12" fmla="*/ 25 w 2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7" h="4">
                    <a:moveTo>
                      <a:pt x="25" y="4"/>
                    </a:moveTo>
                    <a:cubicBezTo>
                      <a:pt x="2" y="4"/>
                      <a:pt x="2" y="4"/>
                      <a:pt x="2" y="4"/>
                    </a:cubicBezTo>
                    <a:cubicBezTo>
                      <a:pt x="1" y="4"/>
                      <a:pt x="0" y="3"/>
                      <a:pt x="0" y="2"/>
                    </a:cubicBezTo>
                    <a:cubicBezTo>
                      <a:pt x="0" y="1"/>
                      <a:pt x="1" y="0"/>
                      <a:pt x="2" y="0"/>
                    </a:cubicBezTo>
                    <a:cubicBezTo>
                      <a:pt x="25" y="0"/>
                      <a:pt x="25" y="0"/>
                      <a:pt x="25" y="0"/>
                    </a:cubicBezTo>
                    <a:cubicBezTo>
                      <a:pt x="26" y="0"/>
                      <a:pt x="27" y="1"/>
                      <a:pt x="27" y="2"/>
                    </a:cubicBezTo>
                    <a:cubicBezTo>
                      <a:pt x="27" y="3"/>
                      <a:pt x="26" y="4"/>
                      <a:pt x="25" y="4"/>
                    </a:cubicBezTo>
                    <a:close/>
                  </a:path>
                </a:pathLst>
              </a:cu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49" name="Freeform 41"/>
              <p:cNvSpPr>
                <a:spLocks/>
              </p:cNvSpPr>
              <p:nvPr/>
            </p:nvSpPr>
            <p:spPr bwMode="auto">
              <a:xfrm>
                <a:off x="3719074" y="4121440"/>
                <a:ext cx="65874" cy="8234"/>
              </a:xfrm>
              <a:custGeom>
                <a:avLst/>
                <a:gdLst>
                  <a:gd name="T0" fmla="*/ 25 w 27"/>
                  <a:gd name="T1" fmla="*/ 3 h 3"/>
                  <a:gd name="T2" fmla="*/ 2 w 27"/>
                  <a:gd name="T3" fmla="*/ 3 h 3"/>
                  <a:gd name="T4" fmla="*/ 0 w 27"/>
                  <a:gd name="T5" fmla="*/ 2 h 3"/>
                  <a:gd name="T6" fmla="*/ 2 w 27"/>
                  <a:gd name="T7" fmla="*/ 0 h 3"/>
                  <a:gd name="T8" fmla="*/ 25 w 27"/>
                  <a:gd name="T9" fmla="*/ 0 h 3"/>
                  <a:gd name="T10" fmla="*/ 27 w 27"/>
                  <a:gd name="T11" fmla="*/ 2 h 3"/>
                  <a:gd name="T12" fmla="*/ 25 w 2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7" h="3">
                    <a:moveTo>
                      <a:pt x="25" y="3"/>
                    </a:moveTo>
                    <a:cubicBezTo>
                      <a:pt x="2" y="3"/>
                      <a:pt x="2" y="3"/>
                      <a:pt x="2" y="3"/>
                    </a:cubicBezTo>
                    <a:cubicBezTo>
                      <a:pt x="1" y="3"/>
                      <a:pt x="0" y="3"/>
                      <a:pt x="0" y="2"/>
                    </a:cubicBezTo>
                    <a:cubicBezTo>
                      <a:pt x="0" y="1"/>
                      <a:pt x="1" y="0"/>
                      <a:pt x="2" y="0"/>
                    </a:cubicBezTo>
                    <a:cubicBezTo>
                      <a:pt x="25" y="0"/>
                      <a:pt x="25" y="0"/>
                      <a:pt x="25" y="0"/>
                    </a:cubicBezTo>
                    <a:cubicBezTo>
                      <a:pt x="26" y="0"/>
                      <a:pt x="27" y="1"/>
                      <a:pt x="27" y="2"/>
                    </a:cubicBezTo>
                    <a:cubicBezTo>
                      <a:pt x="27" y="3"/>
                      <a:pt x="26" y="3"/>
                      <a:pt x="25" y="3"/>
                    </a:cubicBezTo>
                    <a:close/>
                  </a:path>
                </a:pathLst>
              </a:cu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50" name="Freeform 42"/>
              <p:cNvSpPr>
                <a:spLocks/>
              </p:cNvSpPr>
              <p:nvPr/>
            </p:nvSpPr>
            <p:spPr bwMode="auto">
              <a:xfrm>
                <a:off x="3719074" y="4156436"/>
                <a:ext cx="65874" cy="9264"/>
              </a:xfrm>
              <a:custGeom>
                <a:avLst/>
                <a:gdLst>
                  <a:gd name="T0" fmla="*/ 25 w 27"/>
                  <a:gd name="T1" fmla="*/ 4 h 4"/>
                  <a:gd name="T2" fmla="*/ 2 w 27"/>
                  <a:gd name="T3" fmla="*/ 4 h 4"/>
                  <a:gd name="T4" fmla="*/ 0 w 27"/>
                  <a:gd name="T5" fmla="*/ 2 h 4"/>
                  <a:gd name="T6" fmla="*/ 2 w 27"/>
                  <a:gd name="T7" fmla="*/ 0 h 4"/>
                  <a:gd name="T8" fmla="*/ 25 w 27"/>
                  <a:gd name="T9" fmla="*/ 0 h 4"/>
                  <a:gd name="T10" fmla="*/ 27 w 27"/>
                  <a:gd name="T11" fmla="*/ 2 h 4"/>
                  <a:gd name="T12" fmla="*/ 25 w 2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7" h="4">
                    <a:moveTo>
                      <a:pt x="25" y="4"/>
                    </a:moveTo>
                    <a:cubicBezTo>
                      <a:pt x="2" y="4"/>
                      <a:pt x="2" y="4"/>
                      <a:pt x="2" y="4"/>
                    </a:cubicBezTo>
                    <a:cubicBezTo>
                      <a:pt x="1" y="4"/>
                      <a:pt x="0" y="3"/>
                      <a:pt x="0" y="2"/>
                    </a:cubicBezTo>
                    <a:cubicBezTo>
                      <a:pt x="0" y="1"/>
                      <a:pt x="1" y="0"/>
                      <a:pt x="2" y="0"/>
                    </a:cubicBezTo>
                    <a:cubicBezTo>
                      <a:pt x="25" y="0"/>
                      <a:pt x="25" y="0"/>
                      <a:pt x="25" y="0"/>
                    </a:cubicBezTo>
                    <a:cubicBezTo>
                      <a:pt x="26" y="0"/>
                      <a:pt x="27" y="1"/>
                      <a:pt x="27" y="2"/>
                    </a:cubicBezTo>
                    <a:cubicBezTo>
                      <a:pt x="27" y="3"/>
                      <a:pt x="26" y="4"/>
                      <a:pt x="25" y="4"/>
                    </a:cubicBezTo>
                    <a:close/>
                  </a:path>
                </a:pathLst>
              </a:cu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51" name="Freeform 43"/>
              <p:cNvSpPr>
                <a:spLocks/>
              </p:cNvSpPr>
              <p:nvPr/>
            </p:nvSpPr>
            <p:spPr bwMode="auto">
              <a:xfrm>
                <a:off x="3719074" y="4190402"/>
                <a:ext cx="65874" cy="9264"/>
              </a:xfrm>
              <a:custGeom>
                <a:avLst/>
                <a:gdLst>
                  <a:gd name="T0" fmla="*/ 25 w 27"/>
                  <a:gd name="T1" fmla="*/ 4 h 4"/>
                  <a:gd name="T2" fmla="*/ 2 w 27"/>
                  <a:gd name="T3" fmla="*/ 4 h 4"/>
                  <a:gd name="T4" fmla="*/ 0 w 27"/>
                  <a:gd name="T5" fmla="*/ 2 h 4"/>
                  <a:gd name="T6" fmla="*/ 2 w 27"/>
                  <a:gd name="T7" fmla="*/ 0 h 4"/>
                  <a:gd name="T8" fmla="*/ 25 w 27"/>
                  <a:gd name="T9" fmla="*/ 0 h 4"/>
                  <a:gd name="T10" fmla="*/ 27 w 27"/>
                  <a:gd name="T11" fmla="*/ 2 h 4"/>
                  <a:gd name="T12" fmla="*/ 25 w 2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7" h="4">
                    <a:moveTo>
                      <a:pt x="25" y="4"/>
                    </a:moveTo>
                    <a:cubicBezTo>
                      <a:pt x="2" y="4"/>
                      <a:pt x="2" y="4"/>
                      <a:pt x="2" y="4"/>
                    </a:cubicBezTo>
                    <a:cubicBezTo>
                      <a:pt x="1" y="4"/>
                      <a:pt x="0" y="3"/>
                      <a:pt x="0" y="2"/>
                    </a:cubicBezTo>
                    <a:cubicBezTo>
                      <a:pt x="0" y="1"/>
                      <a:pt x="1" y="0"/>
                      <a:pt x="2" y="0"/>
                    </a:cubicBezTo>
                    <a:cubicBezTo>
                      <a:pt x="25" y="0"/>
                      <a:pt x="25" y="0"/>
                      <a:pt x="25" y="0"/>
                    </a:cubicBezTo>
                    <a:cubicBezTo>
                      <a:pt x="26" y="0"/>
                      <a:pt x="27" y="1"/>
                      <a:pt x="27" y="2"/>
                    </a:cubicBezTo>
                    <a:cubicBezTo>
                      <a:pt x="27" y="3"/>
                      <a:pt x="26" y="4"/>
                      <a:pt x="25" y="4"/>
                    </a:cubicBezTo>
                    <a:close/>
                  </a:path>
                </a:pathLst>
              </a:cu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52" name="Freeform 44"/>
              <p:cNvSpPr>
                <a:spLocks/>
              </p:cNvSpPr>
              <p:nvPr/>
            </p:nvSpPr>
            <p:spPr bwMode="auto">
              <a:xfrm>
                <a:off x="3719074" y="4224369"/>
                <a:ext cx="65874" cy="9264"/>
              </a:xfrm>
              <a:custGeom>
                <a:avLst/>
                <a:gdLst>
                  <a:gd name="T0" fmla="*/ 25 w 27"/>
                  <a:gd name="T1" fmla="*/ 4 h 4"/>
                  <a:gd name="T2" fmla="*/ 2 w 27"/>
                  <a:gd name="T3" fmla="*/ 4 h 4"/>
                  <a:gd name="T4" fmla="*/ 0 w 27"/>
                  <a:gd name="T5" fmla="*/ 2 h 4"/>
                  <a:gd name="T6" fmla="*/ 2 w 27"/>
                  <a:gd name="T7" fmla="*/ 0 h 4"/>
                  <a:gd name="T8" fmla="*/ 25 w 27"/>
                  <a:gd name="T9" fmla="*/ 0 h 4"/>
                  <a:gd name="T10" fmla="*/ 27 w 27"/>
                  <a:gd name="T11" fmla="*/ 2 h 4"/>
                  <a:gd name="T12" fmla="*/ 25 w 2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7" h="4">
                    <a:moveTo>
                      <a:pt x="25" y="4"/>
                    </a:moveTo>
                    <a:cubicBezTo>
                      <a:pt x="2" y="4"/>
                      <a:pt x="2" y="4"/>
                      <a:pt x="2" y="4"/>
                    </a:cubicBezTo>
                    <a:cubicBezTo>
                      <a:pt x="1" y="4"/>
                      <a:pt x="0" y="3"/>
                      <a:pt x="0" y="2"/>
                    </a:cubicBezTo>
                    <a:cubicBezTo>
                      <a:pt x="0" y="1"/>
                      <a:pt x="1" y="0"/>
                      <a:pt x="2" y="0"/>
                    </a:cubicBezTo>
                    <a:cubicBezTo>
                      <a:pt x="25" y="0"/>
                      <a:pt x="25" y="0"/>
                      <a:pt x="25" y="0"/>
                    </a:cubicBezTo>
                    <a:cubicBezTo>
                      <a:pt x="26" y="0"/>
                      <a:pt x="27" y="1"/>
                      <a:pt x="27" y="2"/>
                    </a:cubicBezTo>
                    <a:cubicBezTo>
                      <a:pt x="27" y="3"/>
                      <a:pt x="26" y="4"/>
                      <a:pt x="25" y="4"/>
                    </a:cubicBezTo>
                    <a:close/>
                  </a:path>
                </a:pathLst>
              </a:cu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grpSp>
        <p:nvGrpSpPr>
          <p:cNvPr id="58" name="Group 57"/>
          <p:cNvGrpSpPr/>
          <p:nvPr/>
        </p:nvGrpSpPr>
        <p:grpSpPr>
          <a:xfrm>
            <a:off x="4918194" y="3917393"/>
            <a:ext cx="603504" cy="603504"/>
            <a:chOff x="4918194" y="3917393"/>
            <a:chExt cx="603504" cy="603504"/>
          </a:xfrm>
        </p:grpSpPr>
        <p:sp>
          <p:nvSpPr>
            <p:cNvPr id="226" name="Rounded Rectangle 225"/>
            <p:cNvSpPr/>
            <p:nvPr/>
          </p:nvSpPr>
          <p:spPr>
            <a:xfrm>
              <a:off x="4918194" y="3917393"/>
              <a:ext cx="603504" cy="603504"/>
            </a:xfrm>
            <a:prstGeom prst="round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sp>
          <p:nvSpPr>
            <p:cNvPr id="34" name="Freeform 50"/>
            <p:cNvSpPr>
              <a:spLocks/>
            </p:cNvSpPr>
            <p:nvPr/>
          </p:nvSpPr>
          <p:spPr bwMode="auto">
            <a:xfrm>
              <a:off x="5076777" y="4117818"/>
              <a:ext cx="286338" cy="202654"/>
            </a:xfrm>
            <a:custGeom>
              <a:avLst/>
              <a:gdLst>
                <a:gd name="T0" fmla="*/ 40 w 120"/>
                <a:gd name="T1" fmla="*/ 85 h 85"/>
                <a:gd name="T2" fmla="*/ 39 w 120"/>
                <a:gd name="T3" fmla="*/ 85 h 85"/>
                <a:gd name="T4" fmla="*/ 31 w 120"/>
                <a:gd name="T5" fmla="*/ 81 h 85"/>
                <a:gd name="T6" fmla="*/ 4 w 120"/>
                <a:gd name="T7" fmla="*/ 47 h 85"/>
                <a:gd name="T8" fmla="*/ 6 w 120"/>
                <a:gd name="T9" fmla="*/ 31 h 85"/>
                <a:gd name="T10" fmla="*/ 23 w 120"/>
                <a:gd name="T11" fmla="*/ 33 h 85"/>
                <a:gd name="T12" fmla="*/ 42 w 120"/>
                <a:gd name="T13" fmla="*/ 57 h 85"/>
                <a:gd name="T14" fmla="*/ 99 w 120"/>
                <a:gd name="T15" fmla="*/ 5 h 85"/>
                <a:gd name="T16" fmla="*/ 116 w 120"/>
                <a:gd name="T17" fmla="*/ 6 h 85"/>
                <a:gd name="T18" fmla="*/ 115 w 120"/>
                <a:gd name="T19" fmla="*/ 22 h 85"/>
                <a:gd name="T20" fmla="*/ 48 w 120"/>
                <a:gd name="T21" fmla="*/ 82 h 85"/>
                <a:gd name="T22" fmla="*/ 40 w 120"/>
                <a:gd name="T23"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85">
                  <a:moveTo>
                    <a:pt x="40" y="85"/>
                  </a:moveTo>
                  <a:cubicBezTo>
                    <a:pt x="40" y="85"/>
                    <a:pt x="40" y="85"/>
                    <a:pt x="39" y="85"/>
                  </a:cubicBezTo>
                  <a:cubicBezTo>
                    <a:pt x="36" y="85"/>
                    <a:pt x="33" y="83"/>
                    <a:pt x="31" y="81"/>
                  </a:cubicBezTo>
                  <a:cubicBezTo>
                    <a:pt x="4" y="47"/>
                    <a:pt x="4" y="47"/>
                    <a:pt x="4" y="47"/>
                  </a:cubicBezTo>
                  <a:cubicBezTo>
                    <a:pt x="0" y="42"/>
                    <a:pt x="1" y="35"/>
                    <a:pt x="6" y="31"/>
                  </a:cubicBezTo>
                  <a:cubicBezTo>
                    <a:pt x="11" y="27"/>
                    <a:pt x="19" y="28"/>
                    <a:pt x="23" y="33"/>
                  </a:cubicBezTo>
                  <a:cubicBezTo>
                    <a:pt x="42" y="57"/>
                    <a:pt x="42" y="57"/>
                    <a:pt x="42" y="57"/>
                  </a:cubicBezTo>
                  <a:cubicBezTo>
                    <a:pt x="99" y="5"/>
                    <a:pt x="99" y="5"/>
                    <a:pt x="99" y="5"/>
                  </a:cubicBezTo>
                  <a:cubicBezTo>
                    <a:pt x="104" y="0"/>
                    <a:pt x="112" y="1"/>
                    <a:pt x="116" y="6"/>
                  </a:cubicBezTo>
                  <a:cubicBezTo>
                    <a:pt x="120" y="10"/>
                    <a:pt x="120" y="18"/>
                    <a:pt x="115" y="22"/>
                  </a:cubicBezTo>
                  <a:cubicBezTo>
                    <a:pt x="48" y="82"/>
                    <a:pt x="48" y="82"/>
                    <a:pt x="48" y="82"/>
                  </a:cubicBezTo>
                  <a:cubicBezTo>
                    <a:pt x="46" y="84"/>
                    <a:pt x="43" y="85"/>
                    <a:pt x="40" y="8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59" name="Group 58"/>
          <p:cNvGrpSpPr/>
          <p:nvPr/>
        </p:nvGrpSpPr>
        <p:grpSpPr>
          <a:xfrm>
            <a:off x="5748353" y="3107122"/>
            <a:ext cx="603504" cy="603504"/>
            <a:chOff x="5748353" y="3107122"/>
            <a:chExt cx="603504" cy="603504"/>
          </a:xfrm>
        </p:grpSpPr>
        <p:sp>
          <p:nvSpPr>
            <p:cNvPr id="101" name="Rounded Rectangle 100"/>
            <p:cNvSpPr/>
            <p:nvPr/>
          </p:nvSpPr>
          <p:spPr>
            <a:xfrm>
              <a:off x="5748353" y="3107122"/>
              <a:ext cx="603504" cy="603504"/>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06" rIns="45720" bIns="45706" rtlCol="0" anchor="ctr"/>
            <a:lstStyle/>
            <a:p>
              <a:pPr marL="0" marR="0" lvl="0" indent="0" algn="ctr" defTabSz="45701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Apple LiGothic Medium"/>
                <a:cs typeface="Apple LiGothic Medium"/>
              </a:endParaRPr>
            </a:p>
          </p:txBody>
        </p:sp>
        <p:grpSp>
          <p:nvGrpSpPr>
            <p:cNvPr id="120" name="Group 119"/>
            <p:cNvGrpSpPr/>
            <p:nvPr/>
          </p:nvGrpSpPr>
          <p:grpSpPr>
            <a:xfrm>
              <a:off x="5851594" y="3270861"/>
              <a:ext cx="397023" cy="276026"/>
              <a:chOff x="3209925" y="2219325"/>
              <a:chExt cx="2000250" cy="1390650"/>
            </a:xfrm>
          </p:grpSpPr>
          <p:sp>
            <p:nvSpPr>
              <p:cNvPr id="121" name="Rounded Rectangle 120"/>
              <p:cNvSpPr/>
              <p:nvPr/>
            </p:nvSpPr>
            <p:spPr>
              <a:xfrm>
                <a:off x="3209925" y="2219325"/>
                <a:ext cx="2000250" cy="1390650"/>
              </a:xfrm>
              <a:prstGeom prst="roundRect">
                <a:avLst>
                  <a:gd name="adj" fmla="val 707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sp>
            <p:nvSpPr>
              <p:cNvPr id="122" name="Rounded Rectangle 121"/>
              <p:cNvSpPr/>
              <p:nvPr/>
            </p:nvSpPr>
            <p:spPr>
              <a:xfrm>
                <a:off x="3286125" y="2633664"/>
                <a:ext cx="1847850" cy="904874"/>
              </a:xfrm>
              <a:prstGeom prst="roundRect">
                <a:avLst>
                  <a:gd name="adj" fmla="val 11052"/>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sp>
            <p:nvSpPr>
              <p:cNvPr id="123" name="Oval 122"/>
              <p:cNvSpPr/>
              <p:nvPr/>
            </p:nvSpPr>
            <p:spPr>
              <a:xfrm>
                <a:off x="3286126" y="2334555"/>
                <a:ext cx="153418" cy="153418"/>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sp>
            <p:nvSpPr>
              <p:cNvPr id="124" name="Oval 123"/>
              <p:cNvSpPr/>
              <p:nvPr/>
            </p:nvSpPr>
            <p:spPr>
              <a:xfrm>
                <a:off x="3502395" y="2334555"/>
                <a:ext cx="153418" cy="153418"/>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sp>
            <p:nvSpPr>
              <p:cNvPr id="125" name="Oval 124"/>
              <p:cNvSpPr/>
              <p:nvPr/>
            </p:nvSpPr>
            <p:spPr>
              <a:xfrm>
                <a:off x="3718665" y="2334555"/>
                <a:ext cx="153418" cy="153418"/>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grpSp>
      </p:grpSp>
      <p:grpSp>
        <p:nvGrpSpPr>
          <p:cNvPr id="61" name="Group 60"/>
          <p:cNvGrpSpPr/>
          <p:nvPr/>
        </p:nvGrpSpPr>
        <p:grpSpPr>
          <a:xfrm>
            <a:off x="4918194" y="1276656"/>
            <a:ext cx="603504" cy="603504"/>
            <a:chOff x="4918194" y="1276656"/>
            <a:chExt cx="603504" cy="603504"/>
          </a:xfrm>
        </p:grpSpPr>
        <p:sp>
          <p:nvSpPr>
            <p:cNvPr id="207" name="Rounded Rectangle 206"/>
            <p:cNvSpPr/>
            <p:nvPr/>
          </p:nvSpPr>
          <p:spPr>
            <a:xfrm>
              <a:off x="4918194" y="1276656"/>
              <a:ext cx="603504" cy="603504"/>
            </a:xfrm>
            <a:prstGeom prst="round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grpSp>
          <p:nvGrpSpPr>
            <p:cNvPr id="35" name="Group 34"/>
            <p:cNvGrpSpPr/>
            <p:nvPr/>
          </p:nvGrpSpPr>
          <p:grpSpPr>
            <a:xfrm>
              <a:off x="5060998" y="1387985"/>
              <a:ext cx="317896" cy="380846"/>
              <a:chOff x="5081214" y="1398724"/>
              <a:chExt cx="317896" cy="380846"/>
            </a:xfrm>
          </p:grpSpPr>
          <p:grpSp>
            <p:nvGrpSpPr>
              <p:cNvPr id="29" name="Group 28"/>
              <p:cNvGrpSpPr/>
              <p:nvPr/>
            </p:nvGrpSpPr>
            <p:grpSpPr>
              <a:xfrm>
                <a:off x="5081214" y="1398724"/>
                <a:ext cx="236398" cy="300574"/>
                <a:chOff x="5897420" y="2025582"/>
                <a:chExt cx="277464" cy="352788"/>
              </a:xfrm>
            </p:grpSpPr>
            <p:sp>
              <p:nvSpPr>
                <p:cNvPr id="264" name="Freeform 22"/>
                <p:cNvSpPr>
                  <a:spLocks/>
                </p:cNvSpPr>
                <p:nvPr/>
              </p:nvSpPr>
              <p:spPr bwMode="auto">
                <a:xfrm>
                  <a:off x="5897420" y="2025582"/>
                  <a:ext cx="277464" cy="352788"/>
                </a:xfrm>
                <a:custGeom>
                  <a:avLst/>
                  <a:gdLst>
                    <a:gd name="T0" fmla="*/ 36 w 432"/>
                    <a:gd name="T1" fmla="*/ 0 h 536"/>
                    <a:gd name="T2" fmla="*/ 0 w 432"/>
                    <a:gd name="T3" fmla="*/ 36 h 536"/>
                    <a:gd name="T4" fmla="*/ 0 w 432"/>
                    <a:gd name="T5" fmla="*/ 500 h 536"/>
                    <a:gd name="T6" fmla="*/ 36 w 432"/>
                    <a:gd name="T7" fmla="*/ 536 h 536"/>
                    <a:gd name="T8" fmla="*/ 396 w 432"/>
                    <a:gd name="T9" fmla="*/ 536 h 536"/>
                    <a:gd name="T10" fmla="*/ 432 w 432"/>
                    <a:gd name="T11" fmla="*/ 500 h 536"/>
                    <a:gd name="T12" fmla="*/ 432 w 432"/>
                    <a:gd name="T13" fmla="*/ 135 h 536"/>
                    <a:gd name="T14" fmla="*/ 299 w 432"/>
                    <a:gd name="T15" fmla="*/ 0 h 536"/>
                    <a:gd name="T16" fmla="*/ 36 w 432"/>
                    <a:gd name="T1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536">
                      <a:moveTo>
                        <a:pt x="36" y="0"/>
                      </a:moveTo>
                      <a:cubicBezTo>
                        <a:pt x="16" y="0"/>
                        <a:pt x="0" y="16"/>
                        <a:pt x="0" y="36"/>
                      </a:cubicBezTo>
                      <a:cubicBezTo>
                        <a:pt x="0" y="500"/>
                        <a:pt x="0" y="500"/>
                        <a:pt x="0" y="500"/>
                      </a:cubicBezTo>
                      <a:cubicBezTo>
                        <a:pt x="0" y="520"/>
                        <a:pt x="16" y="536"/>
                        <a:pt x="36" y="536"/>
                      </a:cubicBezTo>
                      <a:cubicBezTo>
                        <a:pt x="396" y="536"/>
                        <a:pt x="396" y="536"/>
                        <a:pt x="396" y="536"/>
                      </a:cubicBezTo>
                      <a:cubicBezTo>
                        <a:pt x="415" y="536"/>
                        <a:pt x="432" y="520"/>
                        <a:pt x="432" y="500"/>
                      </a:cubicBezTo>
                      <a:cubicBezTo>
                        <a:pt x="432" y="135"/>
                        <a:pt x="432" y="135"/>
                        <a:pt x="432" y="135"/>
                      </a:cubicBezTo>
                      <a:cubicBezTo>
                        <a:pt x="299" y="0"/>
                        <a:pt x="299" y="0"/>
                        <a:pt x="299" y="0"/>
                      </a:cubicBezTo>
                      <a:lnTo>
                        <a:pt x="36"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60960" rIns="60960" bIns="6096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265" name="Freeform 23"/>
                <p:cNvSpPr>
                  <a:spLocks/>
                </p:cNvSpPr>
                <p:nvPr/>
              </p:nvSpPr>
              <p:spPr bwMode="auto">
                <a:xfrm>
                  <a:off x="5936054" y="2092093"/>
                  <a:ext cx="123198" cy="26328"/>
                </a:xfrm>
                <a:custGeom>
                  <a:avLst/>
                  <a:gdLst>
                    <a:gd name="T0" fmla="*/ 172 w 192"/>
                    <a:gd name="T1" fmla="*/ 40 h 40"/>
                    <a:gd name="T2" fmla="*/ 20 w 192"/>
                    <a:gd name="T3" fmla="*/ 40 h 40"/>
                    <a:gd name="T4" fmla="*/ 0 w 192"/>
                    <a:gd name="T5" fmla="*/ 20 h 40"/>
                    <a:gd name="T6" fmla="*/ 20 w 192"/>
                    <a:gd name="T7" fmla="*/ 0 h 40"/>
                    <a:gd name="T8" fmla="*/ 172 w 192"/>
                    <a:gd name="T9" fmla="*/ 0 h 40"/>
                    <a:gd name="T10" fmla="*/ 192 w 192"/>
                    <a:gd name="T11" fmla="*/ 20 h 40"/>
                    <a:gd name="T12" fmla="*/ 172 w 19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92" h="40">
                      <a:moveTo>
                        <a:pt x="172" y="40"/>
                      </a:moveTo>
                      <a:cubicBezTo>
                        <a:pt x="20" y="40"/>
                        <a:pt x="20" y="40"/>
                        <a:pt x="20" y="40"/>
                      </a:cubicBezTo>
                      <a:cubicBezTo>
                        <a:pt x="9" y="40"/>
                        <a:pt x="0" y="31"/>
                        <a:pt x="0" y="20"/>
                      </a:cubicBezTo>
                      <a:cubicBezTo>
                        <a:pt x="0" y="9"/>
                        <a:pt x="9" y="0"/>
                        <a:pt x="20" y="0"/>
                      </a:cubicBezTo>
                      <a:cubicBezTo>
                        <a:pt x="172" y="0"/>
                        <a:pt x="172" y="0"/>
                        <a:pt x="172" y="0"/>
                      </a:cubicBezTo>
                      <a:cubicBezTo>
                        <a:pt x="183" y="0"/>
                        <a:pt x="192" y="9"/>
                        <a:pt x="192" y="20"/>
                      </a:cubicBezTo>
                      <a:cubicBezTo>
                        <a:pt x="192" y="31"/>
                        <a:pt x="183" y="40"/>
                        <a:pt x="172" y="40"/>
                      </a:cubicBezTo>
                      <a:close/>
                    </a:path>
                  </a:pathLst>
                </a:custGeom>
                <a:solidFill>
                  <a:schemeClr val="accent3"/>
                </a:solidFill>
                <a:ln>
                  <a:noFill/>
                </a:ln>
                <a:extLst/>
              </p:spPr>
              <p:txBody>
                <a:bodyPr vert="horz" wrap="square" lIns="60960" tIns="60960" rIns="60960" bIns="6096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266" name="Freeform 24"/>
                <p:cNvSpPr>
                  <a:spLocks/>
                </p:cNvSpPr>
                <p:nvPr/>
              </p:nvSpPr>
              <p:spPr bwMode="auto">
                <a:xfrm>
                  <a:off x="5936054" y="2156665"/>
                  <a:ext cx="197764" cy="26328"/>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3"/>
                </a:solidFill>
                <a:ln>
                  <a:noFill/>
                </a:ln>
                <a:extLst/>
              </p:spPr>
              <p:txBody>
                <a:bodyPr vert="horz" wrap="square" lIns="60960" tIns="60960" rIns="60960" bIns="6096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267" name="Freeform 25"/>
                <p:cNvSpPr>
                  <a:spLocks/>
                </p:cNvSpPr>
                <p:nvPr/>
              </p:nvSpPr>
              <p:spPr bwMode="auto">
                <a:xfrm>
                  <a:off x="5936054" y="2221790"/>
                  <a:ext cx="197764" cy="26328"/>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3"/>
                </a:solidFill>
                <a:ln>
                  <a:noFill/>
                </a:ln>
                <a:extLst/>
              </p:spPr>
              <p:txBody>
                <a:bodyPr vert="horz" wrap="square" lIns="60960" tIns="60960" rIns="60960" bIns="6096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268" name="Freeform 26"/>
                <p:cNvSpPr>
                  <a:spLocks/>
                </p:cNvSpPr>
                <p:nvPr/>
              </p:nvSpPr>
              <p:spPr bwMode="auto">
                <a:xfrm>
                  <a:off x="5936054" y="2286917"/>
                  <a:ext cx="197764" cy="26328"/>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3"/>
                </a:solidFill>
                <a:ln>
                  <a:noFill/>
                </a:ln>
                <a:extLst/>
              </p:spPr>
              <p:txBody>
                <a:bodyPr vert="horz" wrap="square" lIns="60960" tIns="60960" rIns="60960" bIns="6096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269" name="Freeform 27"/>
                <p:cNvSpPr>
                  <a:spLocks/>
                </p:cNvSpPr>
                <p:nvPr/>
              </p:nvSpPr>
              <p:spPr bwMode="auto">
                <a:xfrm>
                  <a:off x="6089510" y="2025582"/>
                  <a:ext cx="85374" cy="88682"/>
                </a:xfrm>
                <a:custGeom>
                  <a:avLst/>
                  <a:gdLst>
                    <a:gd name="T0" fmla="*/ 133 w 133"/>
                    <a:gd name="T1" fmla="*/ 135 h 135"/>
                    <a:gd name="T2" fmla="*/ 0 w 133"/>
                    <a:gd name="T3" fmla="*/ 0 h 135"/>
                    <a:gd name="T4" fmla="*/ 0 w 133"/>
                    <a:gd name="T5" fmla="*/ 0 h 135"/>
                    <a:gd name="T6" fmla="*/ 0 w 133"/>
                    <a:gd name="T7" fmla="*/ 99 h 135"/>
                    <a:gd name="T8" fmla="*/ 36 w 133"/>
                    <a:gd name="T9" fmla="*/ 135 h 135"/>
                    <a:gd name="T10" fmla="*/ 133 w 133"/>
                    <a:gd name="T11" fmla="*/ 135 h 135"/>
                  </a:gdLst>
                  <a:ahLst/>
                  <a:cxnLst>
                    <a:cxn ang="0">
                      <a:pos x="T0" y="T1"/>
                    </a:cxn>
                    <a:cxn ang="0">
                      <a:pos x="T2" y="T3"/>
                    </a:cxn>
                    <a:cxn ang="0">
                      <a:pos x="T4" y="T5"/>
                    </a:cxn>
                    <a:cxn ang="0">
                      <a:pos x="T6" y="T7"/>
                    </a:cxn>
                    <a:cxn ang="0">
                      <a:pos x="T8" y="T9"/>
                    </a:cxn>
                    <a:cxn ang="0">
                      <a:pos x="T10" y="T11"/>
                    </a:cxn>
                  </a:cxnLst>
                  <a:rect l="0" t="0" r="r" b="b"/>
                  <a:pathLst>
                    <a:path w="133" h="135">
                      <a:moveTo>
                        <a:pt x="133" y="135"/>
                      </a:moveTo>
                      <a:cubicBezTo>
                        <a:pt x="0" y="0"/>
                        <a:pt x="0" y="0"/>
                        <a:pt x="0" y="0"/>
                      </a:cubicBezTo>
                      <a:cubicBezTo>
                        <a:pt x="0" y="0"/>
                        <a:pt x="0" y="0"/>
                        <a:pt x="0" y="0"/>
                      </a:cubicBezTo>
                      <a:cubicBezTo>
                        <a:pt x="0" y="99"/>
                        <a:pt x="0" y="99"/>
                        <a:pt x="0" y="99"/>
                      </a:cubicBezTo>
                      <a:cubicBezTo>
                        <a:pt x="0" y="119"/>
                        <a:pt x="17" y="135"/>
                        <a:pt x="36" y="135"/>
                      </a:cubicBezTo>
                      <a:cubicBezTo>
                        <a:pt x="133" y="135"/>
                        <a:pt x="133" y="135"/>
                        <a:pt x="133" y="135"/>
                      </a:cubicBezTo>
                      <a:close/>
                    </a:path>
                  </a:pathLst>
                </a:custGeom>
                <a:solidFill>
                  <a:schemeClr val="accent1"/>
                </a:solidFill>
                <a:ln>
                  <a:noFill/>
                </a:ln>
                <a:extLst/>
              </p:spPr>
              <p:txBody>
                <a:bodyPr vert="horz" wrap="square" lIns="60960" tIns="60960" rIns="60960" bIns="6096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grpSp>
          <p:grpSp>
            <p:nvGrpSpPr>
              <p:cNvPr id="132" name="Group 131"/>
              <p:cNvGrpSpPr/>
              <p:nvPr/>
            </p:nvGrpSpPr>
            <p:grpSpPr>
              <a:xfrm>
                <a:off x="5213616" y="1577107"/>
                <a:ext cx="185494" cy="202463"/>
                <a:chOff x="7534276" y="2122488"/>
                <a:chExt cx="503237" cy="549275"/>
              </a:xfrm>
            </p:grpSpPr>
            <p:sp>
              <p:nvSpPr>
                <p:cNvPr id="133" name="Freeform 65"/>
                <p:cNvSpPr>
                  <a:spLocks/>
                </p:cNvSpPr>
                <p:nvPr/>
              </p:nvSpPr>
              <p:spPr bwMode="auto">
                <a:xfrm>
                  <a:off x="7793038" y="2419350"/>
                  <a:ext cx="244475" cy="252413"/>
                </a:xfrm>
                <a:custGeom>
                  <a:avLst/>
                  <a:gdLst>
                    <a:gd name="T0" fmla="*/ 154 w 154"/>
                    <a:gd name="T1" fmla="*/ 99 h 159"/>
                    <a:gd name="T2" fmla="*/ 97 w 154"/>
                    <a:gd name="T3" fmla="*/ 107 h 159"/>
                    <a:gd name="T4" fmla="*/ 72 w 154"/>
                    <a:gd name="T5" fmla="*/ 159 h 159"/>
                    <a:gd name="T6" fmla="*/ 29 w 154"/>
                    <a:gd name="T7" fmla="*/ 100 h 159"/>
                    <a:gd name="T8" fmla="*/ 0 w 154"/>
                    <a:gd name="T9" fmla="*/ 59 h 159"/>
                    <a:gd name="T10" fmla="*/ 82 w 154"/>
                    <a:gd name="T11" fmla="*/ 0 h 159"/>
                    <a:gd name="T12" fmla="*/ 120 w 154"/>
                    <a:gd name="T13" fmla="*/ 52 h 159"/>
                    <a:gd name="T14" fmla="*/ 154 w 154"/>
                    <a:gd name="T15" fmla="*/ 99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159">
                      <a:moveTo>
                        <a:pt x="154" y="99"/>
                      </a:moveTo>
                      <a:lnTo>
                        <a:pt x="97" y="107"/>
                      </a:lnTo>
                      <a:lnTo>
                        <a:pt x="72" y="159"/>
                      </a:lnTo>
                      <a:lnTo>
                        <a:pt x="29" y="100"/>
                      </a:lnTo>
                      <a:lnTo>
                        <a:pt x="0" y="59"/>
                      </a:lnTo>
                      <a:lnTo>
                        <a:pt x="82" y="0"/>
                      </a:lnTo>
                      <a:lnTo>
                        <a:pt x="120" y="52"/>
                      </a:lnTo>
                      <a:lnTo>
                        <a:pt x="154" y="9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4" name="Freeform 66"/>
                <p:cNvSpPr>
                  <a:spLocks/>
                </p:cNvSpPr>
                <p:nvPr/>
              </p:nvSpPr>
              <p:spPr bwMode="auto">
                <a:xfrm>
                  <a:off x="7534276" y="2419350"/>
                  <a:ext cx="244475" cy="252413"/>
                </a:xfrm>
                <a:custGeom>
                  <a:avLst/>
                  <a:gdLst>
                    <a:gd name="T0" fmla="*/ 154 w 154"/>
                    <a:gd name="T1" fmla="*/ 59 h 159"/>
                    <a:gd name="T2" fmla="*/ 124 w 154"/>
                    <a:gd name="T3" fmla="*/ 100 h 159"/>
                    <a:gd name="T4" fmla="*/ 83 w 154"/>
                    <a:gd name="T5" fmla="*/ 159 h 159"/>
                    <a:gd name="T6" fmla="*/ 56 w 154"/>
                    <a:gd name="T7" fmla="*/ 107 h 159"/>
                    <a:gd name="T8" fmla="*/ 0 w 154"/>
                    <a:gd name="T9" fmla="*/ 99 h 159"/>
                    <a:gd name="T10" fmla="*/ 34 w 154"/>
                    <a:gd name="T11" fmla="*/ 52 h 159"/>
                    <a:gd name="T12" fmla="*/ 71 w 154"/>
                    <a:gd name="T13" fmla="*/ 0 h 159"/>
                    <a:gd name="T14" fmla="*/ 154 w 154"/>
                    <a:gd name="T15" fmla="*/ 59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159">
                      <a:moveTo>
                        <a:pt x="154" y="59"/>
                      </a:moveTo>
                      <a:lnTo>
                        <a:pt x="124" y="100"/>
                      </a:lnTo>
                      <a:lnTo>
                        <a:pt x="83" y="159"/>
                      </a:lnTo>
                      <a:lnTo>
                        <a:pt x="56" y="107"/>
                      </a:lnTo>
                      <a:lnTo>
                        <a:pt x="0" y="99"/>
                      </a:lnTo>
                      <a:lnTo>
                        <a:pt x="34" y="52"/>
                      </a:lnTo>
                      <a:lnTo>
                        <a:pt x="71" y="0"/>
                      </a:lnTo>
                      <a:lnTo>
                        <a:pt x="154" y="5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5" name="Freeform 67"/>
                <p:cNvSpPr>
                  <a:spLocks/>
                </p:cNvSpPr>
                <p:nvPr/>
              </p:nvSpPr>
              <p:spPr bwMode="auto">
                <a:xfrm>
                  <a:off x="7548563" y="2122488"/>
                  <a:ext cx="473075" cy="471488"/>
                </a:xfrm>
                <a:custGeom>
                  <a:avLst/>
                  <a:gdLst>
                    <a:gd name="T0" fmla="*/ 254 w 254"/>
                    <a:gd name="T1" fmla="*/ 126 h 253"/>
                    <a:gd name="T2" fmla="*/ 235 w 254"/>
                    <a:gd name="T3" fmla="*/ 155 h 253"/>
                    <a:gd name="T4" fmla="*/ 236 w 254"/>
                    <a:gd name="T5" fmla="*/ 190 h 253"/>
                    <a:gd name="T6" fmla="*/ 206 w 254"/>
                    <a:gd name="T7" fmla="*/ 205 h 253"/>
                    <a:gd name="T8" fmla="*/ 190 w 254"/>
                    <a:gd name="T9" fmla="*/ 236 h 253"/>
                    <a:gd name="T10" fmla="*/ 156 w 254"/>
                    <a:gd name="T11" fmla="*/ 234 h 253"/>
                    <a:gd name="T12" fmla="*/ 127 w 254"/>
                    <a:gd name="T13" fmla="*/ 253 h 253"/>
                    <a:gd name="T14" fmla="*/ 98 w 254"/>
                    <a:gd name="T15" fmla="*/ 234 h 253"/>
                    <a:gd name="T16" fmla="*/ 64 w 254"/>
                    <a:gd name="T17" fmla="*/ 236 h 253"/>
                    <a:gd name="T18" fmla="*/ 48 w 254"/>
                    <a:gd name="T19" fmla="*/ 205 h 253"/>
                    <a:gd name="T20" fmla="*/ 18 w 254"/>
                    <a:gd name="T21" fmla="*/ 190 h 253"/>
                    <a:gd name="T22" fmla="*/ 19 w 254"/>
                    <a:gd name="T23" fmla="*/ 155 h 253"/>
                    <a:gd name="T24" fmla="*/ 0 w 254"/>
                    <a:gd name="T25" fmla="*/ 126 h 253"/>
                    <a:gd name="T26" fmla="*/ 19 w 254"/>
                    <a:gd name="T27" fmla="*/ 97 h 253"/>
                    <a:gd name="T28" fmla="*/ 18 w 254"/>
                    <a:gd name="T29" fmla="*/ 63 h 253"/>
                    <a:gd name="T30" fmla="*/ 48 w 254"/>
                    <a:gd name="T31" fmla="*/ 47 h 253"/>
                    <a:gd name="T32" fmla="*/ 64 w 254"/>
                    <a:gd name="T33" fmla="*/ 17 h 253"/>
                    <a:gd name="T34" fmla="*/ 98 w 254"/>
                    <a:gd name="T35" fmla="*/ 18 h 253"/>
                    <a:gd name="T36" fmla="*/ 127 w 254"/>
                    <a:gd name="T37" fmla="*/ 0 h 253"/>
                    <a:gd name="T38" fmla="*/ 156 w 254"/>
                    <a:gd name="T39" fmla="*/ 18 h 253"/>
                    <a:gd name="T40" fmla="*/ 190 w 254"/>
                    <a:gd name="T41" fmla="*/ 17 h 253"/>
                    <a:gd name="T42" fmla="*/ 206 w 254"/>
                    <a:gd name="T43" fmla="*/ 47 h 253"/>
                    <a:gd name="T44" fmla="*/ 236 w 254"/>
                    <a:gd name="T45" fmla="*/ 63 h 253"/>
                    <a:gd name="T46" fmla="*/ 235 w 254"/>
                    <a:gd name="T47" fmla="*/ 97 h 253"/>
                    <a:gd name="T48" fmla="*/ 254 w 254"/>
                    <a:gd name="T49"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4" h="253">
                      <a:moveTo>
                        <a:pt x="254" y="126"/>
                      </a:moveTo>
                      <a:cubicBezTo>
                        <a:pt x="254" y="137"/>
                        <a:pt x="238" y="145"/>
                        <a:pt x="235" y="155"/>
                      </a:cubicBezTo>
                      <a:cubicBezTo>
                        <a:pt x="233" y="166"/>
                        <a:pt x="241" y="180"/>
                        <a:pt x="236" y="190"/>
                      </a:cubicBezTo>
                      <a:cubicBezTo>
                        <a:pt x="231" y="199"/>
                        <a:pt x="214" y="198"/>
                        <a:pt x="206" y="205"/>
                      </a:cubicBezTo>
                      <a:cubicBezTo>
                        <a:pt x="199" y="213"/>
                        <a:pt x="200" y="231"/>
                        <a:pt x="190" y="236"/>
                      </a:cubicBezTo>
                      <a:cubicBezTo>
                        <a:pt x="181" y="240"/>
                        <a:pt x="166" y="232"/>
                        <a:pt x="156" y="234"/>
                      </a:cubicBezTo>
                      <a:cubicBezTo>
                        <a:pt x="146" y="237"/>
                        <a:pt x="137" y="253"/>
                        <a:pt x="127" y="253"/>
                      </a:cubicBezTo>
                      <a:cubicBezTo>
                        <a:pt x="117" y="253"/>
                        <a:pt x="108" y="237"/>
                        <a:pt x="98" y="234"/>
                      </a:cubicBezTo>
                      <a:cubicBezTo>
                        <a:pt x="88" y="232"/>
                        <a:pt x="73" y="240"/>
                        <a:pt x="64" y="236"/>
                      </a:cubicBezTo>
                      <a:cubicBezTo>
                        <a:pt x="55" y="230"/>
                        <a:pt x="55" y="213"/>
                        <a:pt x="48" y="205"/>
                      </a:cubicBezTo>
                      <a:cubicBezTo>
                        <a:pt x="40" y="198"/>
                        <a:pt x="23" y="199"/>
                        <a:pt x="18" y="190"/>
                      </a:cubicBezTo>
                      <a:cubicBezTo>
                        <a:pt x="13" y="180"/>
                        <a:pt x="21" y="166"/>
                        <a:pt x="19" y="155"/>
                      </a:cubicBezTo>
                      <a:cubicBezTo>
                        <a:pt x="16" y="145"/>
                        <a:pt x="0" y="137"/>
                        <a:pt x="0" y="126"/>
                      </a:cubicBezTo>
                      <a:cubicBezTo>
                        <a:pt x="0" y="116"/>
                        <a:pt x="16" y="107"/>
                        <a:pt x="19" y="97"/>
                      </a:cubicBezTo>
                      <a:cubicBezTo>
                        <a:pt x="21" y="87"/>
                        <a:pt x="13" y="72"/>
                        <a:pt x="18" y="63"/>
                      </a:cubicBezTo>
                      <a:cubicBezTo>
                        <a:pt x="23" y="54"/>
                        <a:pt x="40" y="54"/>
                        <a:pt x="48" y="47"/>
                      </a:cubicBezTo>
                      <a:cubicBezTo>
                        <a:pt x="55" y="40"/>
                        <a:pt x="55" y="22"/>
                        <a:pt x="64" y="17"/>
                      </a:cubicBezTo>
                      <a:cubicBezTo>
                        <a:pt x="73" y="12"/>
                        <a:pt x="88" y="21"/>
                        <a:pt x="98" y="18"/>
                      </a:cubicBezTo>
                      <a:cubicBezTo>
                        <a:pt x="108" y="16"/>
                        <a:pt x="117" y="0"/>
                        <a:pt x="127" y="0"/>
                      </a:cubicBezTo>
                      <a:cubicBezTo>
                        <a:pt x="137" y="0"/>
                        <a:pt x="146" y="15"/>
                        <a:pt x="156" y="18"/>
                      </a:cubicBezTo>
                      <a:cubicBezTo>
                        <a:pt x="166" y="21"/>
                        <a:pt x="181" y="12"/>
                        <a:pt x="190" y="17"/>
                      </a:cubicBezTo>
                      <a:cubicBezTo>
                        <a:pt x="200" y="22"/>
                        <a:pt x="199" y="40"/>
                        <a:pt x="206" y="47"/>
                      </a:cubicBezTo>
                      <a:cubicBezTo>
                        <a:pt x="214" y="54"/>
                        <a:pt x="231" y="54"/>
                        <a:pt x="236" y="63"/>
                      </a:cubicBezTo>
                      <a:cubicBezTo>
                        <a:pt x="241" y="72"/>
                        <a:pt x="233" y="87"/>
                        <a:pt x="235" y="97"/>
                      </a:cubicBezTo>
                      <a:cubicBezTo>
                        <a:pt x="238" y="107"/>
                        <a:pt x="254" y="116"/>
                        <a:pt x="254" y="126"/>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6" name="Freeform 68"/>
                <p:cNvSpPr>
                  <a:spLocks/>
                </p:cNvSpPr>
                <p:nvPr/>
              </p:nvSpPr>
              <p:spPr bwMode="auto">
                <a:xfrm>
                  <a:off x="7588250" y="2160588"/>
                  <a:ext cx="395287" cy="395288"/>
                </a:xfrm>
                <a:custGeom>
                  <a:avLst/>
                  <a:gdLst>
                    <a:gd name="T0" fmla="*/ 106 w 212"/>
                    <a:gd name="T1" fmla="*/ 213 h 213"/>
                    <a:gd name="T2" fmla="*/ 102 w 212"/>
                    <a:gd name="T3" fmla="*/ 210 h 213"/>
                    <a:gd name="T4" fmla="*/ 82 w 212"/>
                    <a:gd name="T5" fmla="*/ 197 h 213"/>
                    <a:gd name="T6" fmla="*/ 73 w 212"/>
                    <a:gd name="T7" fmla="*/ 196 h 213"/>
                    <a:gd name="T8" fmla="*/ 58 w 212"/>
                    <a:gd name="T9" fmla="*/ 198 h 213"/>
                    <a:gd name="T10" fmla="*/ 53 w 212"/>
                    <a:gd name="T11" fmla="*/ 198 h 213"/>
                    <a:gd name="T12" fmla="*/ 52 w 212"/>
                    <a:gd name="T13" fmla="*/ 194 h 213"/>
                    <a:gd name="T14" fmla="*/ 40 w 212"/>
                    <a:gd name="T15" fmla="*/ 173 h 213"/>
                    <a:gd name="T16" fmla="*/ 19 w 212"/>
                    <a:gd name="T17" fmla="*/ 161 h 213"/>
                    <a:gd name="T18" fmla="*/ 14 w 212"/>
                    <a:gd name="T19" fmla="*/ 160 h 213"/>
                    <a:gd name="T20" fmla="*/ 14 w 212"/>
                    <a:gd name="T21" fmla="*/ 155 h 213"/>
                    <a:gd name="T22" fmla="*/ 16 w 212"/>
                    <a:gd name="T23" fmla="*/ 131 h 213"/>
                    <a:gd name="T24" fmla="*/ 3 w 212"/>
                    <a:gd name="T25" fmla="*/ 111 h 213"/>
                    <a:gd name="T26" fmla="*/ 0 w 212"/>
                    <a:gd name="T27" fmla="*/ 107 h 213"/>
                    <a:gd name="T28" fmla="*/ 3 w 212"/>
                    <a:gd name="T29" fmla="*/ 103 h 213"/>
                    <a:gd name="T30" fmla="*/ 16 w 212"/>
                    <a:gd name="T31" fmla="*/ 83 h 213"/>
                    <a:gd name="T32" fmla="*/ 14 w 212"/>
                    <a:gd name="T33" fmla="*/ 58 h 213"/>
                    <a:gd name="T34" fmla="*/ 14 w 212"/>
                    <a:gd name="T35" fmla="*/ 54 h 213"/>
                    <a:gd name="T36" fmla="*/ 18 w 212"/>
                    <a:gd name="T37" fmla="*/ 53 h 213"/>
                    <a:gd name="T38" fmla="*/ 40 w 212"/>
                    <a:gd name="T39" fmla="*/ 41 h 213"/>
                    <a:gd name="T40" fmla="*/ 51 w 212"/>
                    <a:gd name="T41" fmla="*/ 20 h 213"/>
                    <a:gd name="T42" fmla="*/ 53 w 212"/>
                    <a:gd name="T43" fmla="*/ 15 h 213"/>
                    <a:gd name="T44" fmla="*/ 57 w 212"/>
                    <a:gd name="T45" fmla="*/ 16 h 213"/>
                    <a:gd name="T46" fmla="*/ 72 w 212"/>
                    <a:gd name="T47" fmla="*/ 18 h 213"/>
                    <a:gd name="T48" fmla="*/ 81 w 212"/>
                    <a:gd name="T49" fmla="*/ 17 h 213"/>
                    <a:gd name="T50" fmla="*/ 102 w 212"/>
                    <a:gd name="T51" fmla="*/ 3 h 213"/>
                    <a:gd name="T52" fmla="*/ 106 w 212"/>
                    <a:gd name="T53" fmla="*/ 0 h 213"/>
                    <a:gd name="T54" fmla="*/ 110 w 212"/>
                    <a:gd name="T55" fmla="*/ 3 h 213"/>
                    <a:gd name="T56" fmla="*/ 131 w 212"/>
                    <a:gd name="T57" fmla="*/ 16 h 213"/>
                    <a:gd name="T58" fmla="*/ 140 w 212"/>
                    <a:gd name="T59" fmla="*/ 17 h 213"/>
                    <a:gd name="T60" fmla="*/ 155 w 212"/>
                    <a:gd name="T61" fmla="*/ 15 h 213"/>
                    <a:gd name="T62" fmla="*/ 159 w 212"/>
                    <a:gd name="T63" fmla="*/ 15 h 213"/>
                    <a:gd name="T64" fmla="*/ 161 w 212"/>
                    <a:gd name="T65" fmla="*/ 19 h 213"/>
                    <a:gd name="T66" fmla="*/ 172 w 212"/>
                    <a:gd name="T67" fmla="*/ 40 h 213"/>
                    <a:gd name="T68" fmla="*/ 194 w 212"/>
                    <a:gd name="T69" fmla="*/ 52 h 213"/>
                    <a:gd name="T70" fmla="*/ 198 w 212"/>
                    <a:gd name="T71" fmla="*/ 53 h 213"/>
                    <a:gd name="T72" fmla="*/ 198 w 212"/>
                    <a:gd name="T73" fmla="*/ 58 h 213"/>
                    <a:gd name="T74" fmla="*/ 196 w 212"/>
                    <a:gd name="T75" fmla="*/ 82 h 213"/>
                    <a:gd name="T76" fmla="*/ 209 w 212"/>
                    <a:gd name="T77" fmla="*/ 103 h 213"/>
                    <a:gd name="T78" fmla="*/ 212 w 212"/>
                    <a:gd name="T79" fmla="*/ 106 h 213"/>
                    <a:gd name="T80" fmla="*/ 209 w 212"/>
                    <a:gd name="T81" fmla="*/ 110 h 213"/>
                    <a:gd name="T82" fmla="*/ 196 w 212"/>
                    <a:gd name="T83" fmla="*/ 130 h 213"/>
                    <a:gd name="T84" fmla="*/ 198 w 212"/>
                    <a:gd name="T85" fmla="*/ 155 h 213"/>
                    <a:gd name="T86" fmla="*/ 198 w 212"/>
                    <a:gd name="T87" fmla="*/ 159 h 213"/>
                    <a:gd name="T88" fmla="*/ 194 w 212"/>
                    <a:gd name="T89" fmla="*/ 161 h 213"/>
                    <a:gd name="T90" fmla="*/ 172 w 212"/>
                    <a:gd name="T91" fmla="*/ 173 h 213"/>
                    <a:gd name="T92" fmla="*/ 161 w 212"/>
                    <a:gd name="T93" fmla="*/ 194 h 213"/>
                    <a:gd name="T94" fmla="*/ 159 w 212"/>
                    <a:gd name="T95" fmla="*/ 198 h 213"/>
                    <a:gd name="T96" fmla="*/ 155 w 212"/>
                    <a:gd name="T97" fmla="*/ 198 h 213"/>
                    <a:gd name="T98" fmla="*/ 140 w 212"/>
                    <a:gd name="T99" fmla="*/ 196 h 213"/>
                    <a:gd name="T100" fmla="*/ 131 w 212"/>
                    <a:gd name="T101" fmla="*/ 197 h 213"/>
                    <a:gd name="T102" fmla="*/ 110 w 212"/>
                    <a:gd name="T103" fmla="*/ 210 h 213"/>
                    <a:gd name="T104" fmla="*/ 106 w 212"/>
                    <a:gd name="T105"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2" h="213">
                      <a:moveTo>
                        <a:pt x="106" y="213"/>
                      </a:moveTo>
                      <a:cubicBezTo>
                        <a:pt x="105" y="212"/>
                        <a:pt x="104" y="211"/>
                        <a:pt x="102" y="210"/>
                      </a:cubicBezTo>
                      <a:cubicBezTo>
                        <a:pt x="97" y="205"/>
                        <a:pt x="91" y="200"/>
                        <a:pt x="82" y="197"/>
                      </a:cubicBezTo>
                      <a:cubicBezTo>
                        <a:pt x="79" y="197"/>
                        <a:pt x="76" y="196"/>
                        <a:pt x="73" y="196"/>
                      </a:cubicBezTo>
                      <a:cubicBezTo>
                        <a:pt x="67" y="196"/>
                        <a:pt x="62" y="197"/>
                        <a:pt x="58" y="198"/>
                      </a:cubicBezTo>
                      <a:cubicBezTo>
                        <a:pt x="56" y="198"/>
                        <a:pt x="54" y="198"/>
                        <a:pt x="53" y="198"/>
                      </a:cubicBezTo>
                      <a:cubicBezTo>
                        <a:pt x="53" y="197"/>
                        <a:pt x="52" y="195"/>
                        <a:pt x="52" y="194"/>
                      </a:cubicBezTo>
                      <a:cubicBezTo>
                        <a:pt x="50" y="187"/>
                        <a:pt x="47" y="179"/>
                        <a:pt x="40" y="173"/>
                      </a:cubicBezTo>
                      <a:cubicBezTo>
                        <a:pt x="34" y="166"/>
                        <a:pt x="26" y="163"/>
                        <a:pt x="19" y="161"/>
                      </a:cubicBezTo>
                      <a:cubicBezTo>
                        <a:pt x="17" y="161"/>
                        <a:pt x="15" y="160"/>
                        <a:pt x="14" y="160"/>
                      </a:cubicBezTo>
                      <a:cubicBezTo>
                        <a:pt x="14" y="158"/>
                        <a:pt x="14" y="157"/>
                        <a:pt x="14" y="155"/>
                      </a:cubicBezTo>
                      <a:cubicBezTo>
                        <a:pt x="16" y="149"/>
                        <a:pt x="18" y="140"/>
                        <a:pt x="16" y="131"/>
                      </a:cubicBezTo>
                      <a:cubicBezTo>
                        <a:pt x="13" y="122"/>
                        <a:pt x="8" y="115"/>
                        <a:pt x="3" y="111"/>
                      </a:cubicBezTo>
                      <a:cubicBezTo>
                        <a:pt x="2" y="109"/>
                        <a:pt x="0" y="108"/>
                        <a:pt x="0" y="107"/>
                      </a:cubicBezTo>
                      <a:cubicBezTo>
                        <a:pt x="1" y="106"/>
                        <a:pt x="2" y="104"/>
                        <a:pt x="3" y="103"/>
                      </a:cubicBezTo>
                      <a:cubicBezTo>
                        <a:pt x="8" y="98"/>
                        <a:pt x="13" y="91"/>
                        <a:pt x="16" y="83"/>
                      </a:cubicBezTo>
                      <a:cubicBezTo>
                        <a:pt x="18" y="74"/>
                        <a:pt x="16" y="65"/>
                        <a:pt x="14" y="58"/>
                      </a:cubicBezTo>
                      <a:cubicBezTo>
                        <a:pt x="14" y="57"/>
                        <a:pt x="14" y="55"/>
                        <a:pt x="14" y="54"/>
                      </a:cubicBezTo>
                      <a:cubicBezTo>
                        <a:pt x="15" y="53"/>
                        <a:pt x="17" y="53"/>
                        <a:pt x="18" y="53"/>
                      </a:cubicBezTo>
                      <a:cubicBezTo>
                        <a:pt x="25" y="50"/>
                        <a:pt x="34" y="48"/>
                        <a:pt x="40" y="41"/>
                      </a:cubicBezTo>
                      <a:cubicBezTo>
                        <a:pt x="46" y="34"/>
                        <a:pt x="49" y="26"/>
                        <a:pt x="51" y="20"/>
                      </a:cubicBezTo>
                      <a:cubicBezTo>
                        <a:pt x="52" y="18"/>
                        <a:pt x="53" y="17"/>
                        <a:pt x="53" y="15"/>
                      </a:cubicBezTo>
                      <a:cubicBezTo>
                        <a:pt x="54" y="15"/>
                        <a:pt x="56" y="16"/>
                        <a:pt x="57" y="16"/>
                      </a:cubicBezTo>
                      <a:cubicBezTo>
                        <a:pt x="61" y="17"/>
                        <a:pt x="67" y="18"/>
                        <a:pt x="72" y="18"/>
                      </a:cubicBezTo>
                      <a:cubicBezTo>
                        <a:pt x="75" y="18"/>
                        <a:pt x="78" y="17"/>
                        <a:pt x="81" y="17"/>
                      </a:cubicBezTo>
                      <a:cubicBezTo>
                        <a:pt x="91" y="13"/>
                        <a:pt x="97" y="8"/>
                        <a:pt x="102" y="3"/>
                      </a:cubicBezTo>
                      <a:cubicBezTo>
                        <a:pt x="104" y="2"/>
                        <a:pt x="105" y="1"/>
                        <a:pt x="106" y="0"/>
                      </a:cubicBezTo>
                      <a:cubicBezTo>
                        <a:pt x="107" y="1"/>
                        <a:pt x="108" y="2"/>
                        <a:pt x="110" y="3"/>
                      </a:cubicBezTo>
                      <a:cubicBezTo>
                        <a:pt x="115" y="8"/>
                        <a:pt x="121" y="13"/>
                        <a:pt x="131" y="16"/>
                      </a:cubicBezTo>
                      <a:cubicBezTo>
                        <a:pt x="134" y="17"/>
                        <a:pt x="137" y="17"/>
                        <a:pt x="140" y="17"/>
                      </a:cubicBezTo>
                      <a:cubicBezTo>
                        <a:pt x="145" y="17"/>
                        <a:pt x="151" y="16"/>
                        <a:pt x="155" y="15"/>
                      </a:cubicBezTo>
                      <a:cubicBezTo>
                        <a:pt x="156" y="15"/>
                        <a:pt x="158" y="15"/>
                        <a:pt x="159" y="15"/>
                      </a:cubicBezTo>
                      <a:cubicBezTo>
                        <a:pt x="160" y="16"/>
                        <a:pt x="161" y="18"/>
                        <a:pt x="161" y="19"/>
                      </a:cubicBezTo>
                      <a:cubicBezTo>
                        <a:pt x="163" y="26"/>
                        <a:pt x="166" y="34"/>
                        <a:pt x="172" y="40"/>
                      </a:cubicBezTo>
                      <a:cubicBezTo>
                        <a:pt x="179" y="47"/>
                        <a:pt x="187" y="50"/>
                        <a:pt x="194" y="52"/>
                      </a:cubicBezTo>
                      <a:cubicBezTo>
                        <a:pt x="195" y="53"/>
                        <a:pt x="197" y="53"/>
                        <a:pt x="198" y="53"/>
                      </a:cubicBezTo>
                      <a:cubicBezTo>
                        <a:pt x="198" y="55"/>
                        <a:pt x="198" y="56"/>
                        <a:pt x="198" y="58"/>
                      </a:cubicBezTo>
                      <a:cubicBezTo>
                        <a:pt x="196" y="64"/>
                        <a:pt x="195" y="73"/>
                        <a:pt x="196" y="82"/>
                      </a:cubicBezTo>
                      <a:cubicBezTo>
                        <a:pt x="199" y="91"/>
                        <a:pt x="204" y="98"/>
                        <a:pt x="209" y="103"/>
                      </a:cubicBezTo>
                      <a:cubicBezTo>
                        <a:pt x="210" y="104"/>
                        <a:pt x="212" y="105"/>
                        <a:pt x="212" y="106"/>
                      </a:cubicBezTo>
                      <a:cubicBezTo>
                        <a:pt x="211" y="107"/>
                        <a:pt x="210" y="109"/>
                        <a:pt x="209" y="110"/>
                      </a:cubicBezTo>
                      <a:cubicBezTo>
                        <a:pt x="204" y="115"/>
                        <a:pt x="199" y="122"/>
                        <a:pt x="196" y="130"/>
                      </a:cubicBezTo>
                      <a:cubicBezTo>
                        <a:pt x="194" y="139"/>
                        <a:pt x="196" y="148"/>
                        <a:pt x="198" y="155"/>
                      </a:cubicBezTo>
                      <a:cubicBezTo>
                        <a:pt x="198" y="156"/>
                        <a:pt x="198" y="158"/>
                        <a:pt x="198" y="159"/>
                      </a:cubicBezTo>
                      <a:cubicBezTo>
                        <a:pt x="197" y="160"/>
                        <a:pt x="195" y="161"/>
                        <a:pt x="194" y="161"/>
                      </a:cubicBezTo>
                      <a:cubicBezTo>
                        <a:pt x="187" y="163"/>
                        <a:pt x="179" y="166"/>
                        <a:pt x="172" y="173"/>
                      </a:cubicBezTo>
                      <a:cubicBezTo>
                        <a:pt x="166" y="179"/>
                        <a:pt x="163" y="187"/>
                        <a:pt x="161" y="194"/>
                      </a:cubicBezTo>
                      <a:cubicBezTo>
                        <a:pt x="160" y="195"/>
                        <a:pt x="159" y="197"/>
                        <a:pt x="159" y="198"/>
                      </a:cubicBezTo>
                      <a:cubicBezTo>
                        <a:pt x="158" y="198"/>
                        <a:pt x="156" y="198"/>
                        <a:pt x="155" y="198"/>
                      </a:cubicBezTo>
                      <a:cubicBezTo>
                        <a:pt x="151" y="197"/>
                        <a:pt x="145" y="196"/>
                        <a:pt x="140" y="196"/>
                      </a:cubicBezTo>
                      <a:cubicBezTo>
                        <a:pt x="137" y="196"/>
                        <a:pt x="134" y="197"/>
                        <a:pt x="131" y="197"/>
                      </a:cubicBezTo>
                      <a:cubicBezTo>
                        <a:pt x="122" y="200"/>
                        <a:pt x="115" y="205"/>
                        <a:pt x="110" y="210"/>
                      </a:cubicBezTo>
                      <a:cubicBezTo>
                        <a:pt x="108" y="211"/>
                        <a:pt x="107" y="212"/>
                        <a:pt x="106" y="2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grpSp>
      <p:grpSp>
        <p:nvGrpSpPr>
          <p:cNvPr id="60" name="Group 59"/>
          <p:cNvGrpSpPr/>
          <p:nvPr/>
        </p:nvGrpSpPr>
        <p:grpSpPr>
          <a:xfrm>
            <a:off x="5748353" y="2045969"/>
            <a:ext cx="603504" cy="603504"/>
            <a:chOff x="5748353" y="2045969"/>
            <a:chExt cx="603504" cy="603504"/>
          </a:xfrm>
        </p:grpSpPr>
        <p:sp>
          <p:nvSpPr>
            <p:cNvPr id="262" name="Rounded Rectangle 261"/>
            <p:cNvSpPr/>
            <p:nvPr/>
          </p:nvSpPr>
          <p:spPr>
            <a:xfrm>
              <a:off x="5748353" y="2045969"/>
              <a:ext cx="603504" cy="603504"/>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0960" tIns="60941" rIns="60960" bIns="60941" rtlCol="0" anchor="ctr"/>
            <a:lstStyle/>
            <a:p>
              <a:pPr marL="0" marR="0" lvl="0" indent="0" algn="ctr" defTabSz="45701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Apple LiGothic Medium"/>
                <a:cs typeface="Apple LiGothic Medium"/>
              </a:endParaRPr>
            </a:p>
          </p:txBody>
        </p:sp>
        <p:grpSp>
          <p:nvGrpSpPr>
            <p:cNvPr id="37" name="Group 36"/>
            <p:cNvGrpSpPr/>
            <p:nvPr/>
          </p:nvGrpSpPr>
          <p:grpSpPr>
            <a:xfrm>
              <a:off x="5891157" y="2157298"/>
              <a:ext cx="317896" cy="380846"/>
              <a:chOff x="5891157" y="2101794"/>
              <a:chExt cx="317896" cy="380846"/>
            </a:xfrm>
          </p:grpSpPr>
          <p:grpSp>
            <p:nvGrpSpPr>
              <p:cNvPr id="140" name="Group 139"/>
              <p:cNvGrpSpPr/>
              <p:nvPr/>
            </p:nvGrpSpPr>
            <p:grpSpPr>
              <a:xfrm>
                <a:off x="5891157" y="2101794"/>
                <a:ext cx="236398" cy="300574"/>
                <a:chOff x="5897420" y="2025582"/>
                <a:chExt cx="277464" cy="352788"/>
              </a:xfrm>
            </p:grpSpPr>
            <p:sp>
              <p:nvSpPr>
                <p:cNvPr id="146" name="Freeform 22"/>
                <p:cNvSpPr>
                  <a:spLocks/>
                </p:cNvSpPr>
                <p:nvPr/>
              </p:nvSpPr>
              <p:spPr bwMode="auto">
                <a:xfrm>
                  <a:off x="5897420" y="2025582"/>
                  <a:ext cx="277464" cy="352788"/>
                </a:xfrm>
                <a:custGeom>
                  <a:avLst/>
                  <a:gdLst>
                    <a:gd name="T0" fmla="*/ 36 w 432"/>
                    <a:gd name="T1" fmla="*/ 0 h 536"/>
                    <a:gd name="T2" fmla="*/ 0 w 432"/>
                    <a:gd name="T3" fmla="*/ 36 h 536"/>
                    <a:gd name="T4" fmla="*/ 0 w 432"/>
                    <a:gd name="T5" fmla="*/ 500 h 536"/>
                    <a:gd name="T6" fmla="*/ 36 w 432"/>
                    <a:gd name="T7" fmla="*/ 536 h 536"/>
                    <a:gd name="T8" fmla="*/ 396 w 432"/>
                    <a:gd name="T9" fmla="*/ 536 h 536"/>
                    <a:gd name="T10" fmla="*/ 432 w 432"/>
                    <a:gd name="T11" fmla="*/ 500 h 536"/>
                    <a:gd name="T12" fmla="*/ 432 w 432"/>
                    <a:gd name="T13" fmla="*/ 135 h 536"/>
                    <a:gd name="T14" fmla="*/ 299 w 432"/>
                    <a:gd name="T15" fmla="*/ 0 h 536"/>
                    <a:gd name="T16" fmla="*/ 36 w 432"/>
                    <a:gd name="T1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536">
                      <a:moveTo>
                        <a:pt x="36" y="0"/>
                      </a:moveTo>
                      <a:cubicBezTo>
                        <a:pt x="16" y="0"/>
                        <a:pt x="0" y="16"/>
                        <a:pt x="0" y="36"/>
                      </a:cubicBezTo>
                      <a:cubicBezTo>
                        <a:pt x="0" y="500"/>
                        <a:pt x="0" y="500"/>
                        <a:pt x="0" y="500"/>
                      </a:cubicBezTo>
                      <a:cubicBezTo>
                        <a:pt x="0" y="520"/>
                        <a:pt x="16" y="536"/>
                        <a:pt x="36" y="536"/>
                      </a:cubicBezTo>
                      <a:cubicBezTo>
                        <a:pt x="396" y="536"/>
                        <a:pt x="396" y="536"/>
                        <a:pt x="396" y="536"/>
                      </a:cubicBezTo>
                      <a:cubicBezTo>
                        <a:pt x="415" y="536"/>
                        <a:pt x="432" y="520"/>
                        <a:pt x="432" y="500"/>
                      </a:cubicBezTo>
                      <a:cubicBezTo>
                        <a:pt x="432" y="135"/>
                        <a:pt x="432" y="135"/>
                        <a:pt x="432" y="135"/>
                      </a:cubicBezTo>
                      <a:cubicBezTo>
                        <a:pt x="299" y="0"/>
                        <a:pt x="299" y="0"/>
                        <a:pt x="299" y="0"/>
                      </a:cubicBezTo>
                      <a:lnTo>
                        <a:pt x="36"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60960" rIns="60960" bIns="6096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147" name="Freeform 23"/>
                <p:cNvSpPr>
                  <a:spLocks/>
                </p:cNvSpPr>
                <p:nvPr/>
              </p:nvSpPr>
              <p:spPr bwMode="auto">
                <a:xfrm>
                  <a:off x="5936054" y="2092093"/>
                  <a:ext cx="123198" cy="26328"/>
                </a:xfrm>
                <a:custGeom>
                  <a:avLst/>
                  <a:gdLst>
                    <a:gd name="T0" fmla="*/ 172 w 192"/>
                    <a:gd name="T1" fmla="*/ 40 h 40"/>
                    <a:gd name="T2" fmla="*/ 20 w 192"/>
                    <a:gd name="T3" fmla="*/ 40 h 40"/>
                    <a:gd name="T4" fmla="*/ 0 w 192"/>
                    <a:gd name="T5" fmla="*/ 20 h 40"/>
                    <a:gd name="T6" fmla="*/ 20 w 192"/>
                    <a:gd name="T7" fmla="*/ 0 h 40"/>
                    <a:gd name="T8" fmla="*/ 172 w 192"/>
                    <a:gd name="T9" fmla="*/ 0 h 40"/>
                    <a:gd name="T10" fmla="*/ 192 w 192"/>
                    <a:gd name="T11" fmla="*/ 20 h 40"/>
                    <a:gd name="T12" fmla="*/ 172 w 19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92" h="40">
                      <a:moveTo>
                        <a:pt x="172" y="40"/>
                      </a:moveTo>
                      <a:cubicBezTo>
                        <a:pt x="20" y="40"/>
                        <a:pt x="20" y="40"/>
                        <a:pt x="20" y="40"/>
                      </a:cubicBezTo>
                      <a:cubicBezTo>
                        <a:pt x="9" y="40"/>
                        <a:pt x="0" y="31"/>
                        <a:pt x="0" y="20"/>
                      </a:cubicBezTo>
                      <a:cubicBezTo>
                        <a:pt x="0" y="9"/>
                        <a:pt x="9" y="0"/>
                        <a:pt x="20" y="0"/>
                      </a:cubicBezTo>
                      <a:cubicBezTo>
                        <a:pt x="172" y="0"/>
                        <a:pt x="172" y="0"/>
                        <a:pt x="172" y="0"/>
                      </a:cubicBezTo>
                      <a:cubicBezTo>
                        <a:pt x="183" y="0"/>
                        <a:pt x="192" y="9"/>
                        <a:pt x="192" y="20"/>
                      </a:cubicBezTo>
                      <a:cubicBezTo>
                        <a:pt x="192" y="31"/>
                        <a:pt x="183" y="40"/>
                        <a:pt x="172" y="40"/>
                      </a:cubicBezTo>
                      <a:close/>
                    </a:path>
                  </a:pathLst>
                </a:custGeom>
                <a:solidFill>
                  <a:schemeClr val="accent3"/>
                </a:solidFill>
                <a:ln>
                  <a:noFill/>
                </a:ln>
                <a:extLst/>
              </p:spPr>
              <p:txBody>
                <a:bodyPr vert="horz" wrap="square" lIns="60960" tIns="60960" rIns="60960" bIns="6096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148" name="Freeform 24"/>
                <p:cNvSpPr>
                  <a:spLocks/>
                </p:cNvSpPr>
                <p:nvPr/>
              </p:nvSpPr>
              <p:spPr bwMode="auto">
                <a:xfrm>
                  <a:off x="5936054" y="2156665"/>
                  <a:ext cx="197764" cy="26328"/>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3"/>
                </a:solidFill>
                <a:ln>
                  <a:noFill/>
                </a:ln>
                <a:extLst/>
              </p:spPr>
              <p:txBody>
                <a:bodyPr vert="horz" wrap="square" lIns="60960" tIns="60960" rIns="60960" bIns="6096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149" name="Freeform 25"/>
                <p:cNvSpPr>
                  <a:spLocks/>
                </p:cNvSpPr>
                <p:nvPr/>
              </p:nvSpPr>
              <p:spPr bwMode="auto">
                <a:xfrm>
                  <a:off x="5936054" y="2221790"/>
                  <a:ext cx="197764" cy="26328"/>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3"/>
                </a:solidFill>
                <a:ln>
                  <a:noFill/>
                </a:ln>
                <a:extLst/>
              </p:spPr>
              <p:txBody>
                <a:bodyPr vert="horz" wrap="square" lIns="60960" tIns="60960" rIns="60960" bIns="6096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150" name="Freeform 26"/>
                <p:cNvSpPr>
                  <a:spLocks/>
                </p:cNvSpPr>
                <p:nvPr/>
              </p:nvSpPr>
              <p:spPr bwMode="auto">
                <a:xfrm>
                  <a:off x="5936054" y="2286917"/>
                  <a:ext cx="197764" cy="26328"/>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3"/>
                </a:solidFill>
                <a:ln>
                  <a:noFill/>
                </a:ln>
                <a:extLst/>
              </p:spPr>
              <p:txBody>
                <a:bodyPr vert="horz" wrap="square" lIns="60960" tIns="60960" rIns="60960" bIns="6096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151" name="Freeform 27"/>
                <p:cNvSpPr>
                  <a:spLocks/>
                </p:cNvSpPr>
                <p:nvPr/>
              </p:nvSpPr>
              <p:spPr bwMode="auto">
                <a:xfrm>
                  <a:off x="6089510" y="2025582"/>
                  <a:ext cx="85374" cy="88682"/>
                </a:xfrm>
                <a:custGeom>
                  <a:avLst/>
                  <a:gdLst>
                    <a:gd name="T0" fmla="*/ 133 w 133"/>
                    <a:gd name="T1" fmla="*/ 135 h 135"/>
                    <a:gd name="T2" fmla="*/ 0 w 133"/>
                    <a:gd name="T3" fmla="*/ 0 h 135"/>
                    <a:gd name="T4" fmla="*/ 0 w 133"/>
                    <a:gd name="T5" fmla="*/ 0 h 135"/>
                    <a:gd name="T6" fmla="*/ 0 w 133"/>
                    <a:gd name="T7" fmla="*/ 99 h 135"/>
                    <a:gd name="T8" fmla="*/ 36 w 133"/>
                    <a:gd name="T9" fmla="*/ 135 h 135"/>
                    <a:gd name="T10" fmla="*/ 133 w 133"/>
                    <a:gd name="T11" fmla="*/ 135 h 135"/>
                  </a:gdLst>
                  <a:ahLst/>
                  <a:cxnLst>
                    <a:cxn ang="0">
                      <a:pos x="T0" y="T1"/>
                    </a:cxn>
                    <a:cxn ang="0">
                      <a:pos x="T2" y="T3"/>
                    </a:cxn>
                    <a:cxn ang="0">
                      <a:pos x="T4" y="T5"/>
                    </a:cxn>
                    <a:cxn ang="0">
                      <a:pos x="T6" y="T7"/>
                    </a:cxn>
                    <a:cxn ang="0">
                      <a:pos x="T8" y="T9"/>
                    </a:cxn>
                    <a:cxn ang="0">
                      <a:pos x="T10" y="T11"/>
                    </a:cxn>
                  </a:cxnLst>
                  <a:rect l="0" t="0" r="r" b="b"/>
                  <a:pathLst>
                    <a:path w="133" h="135">
                      <a:moveTo>
                        <a:pt x="133" y="135"/>
                      </a:moveTo>
                      <a:cubicBezTo>
                        <a:pt x="0" y="0"/>
                        <a:pt x="0" y="0"/>
                        <a:pt x="0" y="0"/>
                      </a:cubicBezTo>
                      <a:cubicBezTo>
                        <a:pt x="0" y="0"/>
                        <a:pt x="0" y="0"/>
                        <a:pt x="0" y="0"/>
                      </a:cubicBezTo>
                      <a:cubicBezTo>
                        <a:pt x="0" y="99"/>
                        <a:pt x="0" y="99"/>
                        <a:pt x="0" y="99"/>
                      </a:cubicBezTo>
                      <a:cubicBezTo>
                        <a:pt x="0" y="119"/>
                        <a:pt x="17" y="135"/>
                        <a:pt x="36" y="135"/>
                      </a:cubicBezTo>
                      <a:cubicBezTo>
                        <a:pt x="133" y="135"/>
                        <a:pt x="133" y="135"/>
                        <a:pt x="133" y="135"/>
                      </a:cubicBezTo>
                      <a:close/>
                    </a:path>
                  </a:pathLst>
                </a:custGeom>
                <a:solidFill>
                  <a:schemeClr val="accent1"/>
                </a:solidFill>
                <a:ln>
                  <a:noFill/>
                </a:ln>
                <a:extLst/>
              </p:spPr>
              <p:txBody>
                <a:bodyPr vert="horz" wrap="square" lIns="60960" tIns="60960" rIns="60960" bIns="6096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grpSp>
          <p:grpSp>
            <p:nvGrpSpPr>
              <p:cNvPr id="36" name="Group 35"/>
              <p:cNvGrpSpPr/>
              <p:nvPr/>
            </p:nvGrpSpPr>
            <p:grpSpPr>
              <a:xfrm>
                <a:off x="6023559" y="2280177"/>
                <a:ext cx="185494" cy="202463"/>
                <a:chOff x="6023559" y="2280177"/>
                <a:chExt cx="185494" cy="202463"/>
              </a:xfrm>
            </p:grpSpPr>
            <p:sp>
              <p:nvSpPr>
                <p:cNvPr id="142" name="Freeform 65"/>
                <p:cNvSpPr>
                  <a:spLocks/>
                </p:cNvSpPr>
                <p:nvPr/>
              </p:nvSpPr>
              <p:spPr bwMode="auto">
                <a:xfrm>
                  <a:off x="6118939" y="2389600"/>
                  <a:ext cx="90114" cy="93040"/>
                </a:xfrm>
                <a:custGeom>
                  <a:avLst/>
                  <a:gdLst>
                    <a:gd name="T0" fmla="*/ 154 w 154"/>
                    <a:gd name="T1" fmla="*/ 99 h 159"/>
                    <a:gd name="T2" fmla="*/ 97 w 154"/>
                    <a:gd name="T3" fmla="*/ 107 h 159"/>
                    <a:gd name="T4" fmla="*/ 72 w 154"/>
                    <a:gd name="T5" fmla="*/ 159 h 159"/>
                    <a:gd name="T6" fmla="*/ 29 w 154"/>
                    <a:gd name="T7" fmla="*/ 100 h 159"/>
                    <a:gd name="T8" fmla="*/ 0 w 154"/>
                    <a:gd name="T9" fmla="*/ 59 h 159"/>
                    <a:gd name="T10" fmla="*/ 82 w 154"/>
                    <a:gd name="T11" fmla="*/ 0 h 159"/>
                    <a:gd name="T12" fmla="*/ 120 w 154"/>
                    <a:gd name="T13" fmla="*/ 52 h 159"/>
                    <a:gd name="T14" fmla="*/ 154 w 154"/>
                    <a:gd name="T15" fmla="*/ 99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159">
                      <a:moveTo>
                        <a:pt x="154" y="99"/>
                      </a:moveTo>
                      <a:lnTo>
                        <a:pt x="97" y="107"/>
                      </a:lnTo>
                      <a:lnTo>
                        <a:pt x="72" y="159"/>
                      </a:lnTo>
                      <a:lnTo>
                        <a:pt x="29" y="100"/>
                      </a:lnTo>
                      <a:lnTo>
                        <a:pt x="0" y="59"/>
                      </a:lnTo>
                      <a:lnTo>
                        <a:pt x="82" y="0"/>
                      </a:lnTo>
                      <a:lnTo>
                        <a:pt x="120" y="52"/>
                      </a:lnTo>
                      <a:lnTo>
                        <a:pt x="154" y="9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3" name="Freeform 66"/>
                <p:cNvSpPr>
                  <a:spLocks/>
                </p:cNvSpPr>
                <p:nvPr/>
              </p:nvSpPr>
              <p:spPr bwMode="auto">
                <a:xfrm>
                  <a:off x="6023559" y="2389600"/>
                  <a:ext cx="90114" cy="93040"/>
                </a:xfrm>
                <a:custGeom>
                  <a:avLst/>
                  <a:gdLst>
                    <a:gd name="T0" fmla="*/ 154 w 154"/>
                    <a:gd name="T1" fmla="*/ 59 h 159"/>
                    <a:gd name="T2" fmla="*/ 124 w 154"/>
                    <a:gd name="T3" fmla="*/ 100 h 159"/>
                    <a:gd name="T4" fmla="*/ 83 w 154"/>
                    <a:gd name="T5" fmla="*/ 159 h 159"/>
                    <a:gd name="T6" fmla="*/ 56 w 154"/>
                    <a:gd name="T7" fmla="*/ 107 h 159"/>
                    <a:gd name="T8" fmla="*/ 0 w 154"/>
                    <a:gd name="T9" fmla="*/ 99 h 159"/>
                    <a:gd name="T10" fmla="*/ 34 w 154"/>
                    <a:gd name="T11" fmla="*/ 52 h 159"/>
                    <a:gd name="T12" fmla="*/ 71 w 154"/>
                    <a:gd name="T13" fmla="*/ 0 h 159"/>
                    <a:gd name="T14" fmla="*/ 154 w 154"/>
                    <a:gd name="T15" fmla="*/ 59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159">
                      <a:moveTo>
                        <a:pt x="154" y="59"/>
                      </a:moveTo>
                      <a:lnTo>
                        <a:pt x="124" y="100"/>
                      </a:lnTo>
                      <a:lnTo>
                        <a:pt x="83" y="159"/>
                      </a:lnTo>
                      <a:lnTo>
                        <a:pt x="56" y="107"/>
                      </a:lnTo>
                      <a:lnTo>
                        <a:pt x="0" y="99"/>
                      </a:lnTo>
                      <a:lnTo>
                        <a:pt x="34" y="52"/>
                      </a:lnTo>
                      <a:lnTo>
                        <a:pt x="71" y="0"/>
                      </a:lnTo>
                      <a:lnTo>
                        <a:pt x="154" y="5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4" name="Freeform 67"/>
                <p:cNvSpPr>
                  <a:spLocks/>
                </p:cNvSpPr>
                <p:nvPr/>
              </p:nvSpPr>
              <p:spPr bwMode="auto">
                <a:xfrm>
                  <a:off x="6028825" y="2280177"/>
                  <a:ext cx="174376" cy="173791"/>
                </a:xfrm>
                <a:custGeom>
                  <a:avLst/>
                  <a:gdLst>
                    <a:gd name="T0" fmla="*/ 254 w 254"/>
                    <a:gd name="T1" fmla="*/ 126 h 253"/>
                    <a:gd name="T2" fmla="*/ 235 w 254"/>
                    <a:gd name="T3" fmla="*/ 155 h 253"/>
                    <a:gd name="T4" fmla="*/ 236 w 254"/>
                    <a:gd name="T5" fmla="*/ 190 h 253"/>
                    <a:gd name="T6" fmla="*/ 206 w 254"/>
                    <a:gd name="T7" fmla="*/ 205 h 253"/>
                    <a:gd name="T8" fmla="*/ 190 w 254"/>
                    <a:gd name="T9" fmla="*/ 236 h 253"/>
                    <a:gd name="T10" fmla="*/ 156 w 254"/>
                    <a:gd name="T11" fmla="*/ 234 h 253"/>
                    <a:gd name="T12" fmla="*/ 127 w 254"/>
                    <a:gd name="T13" fmla="*/ 253 h 253"/>
                    <a:gd name="T14" fmla="*/ 98 w 254"/>
                    <a:gd name="T15" fmla="*/ 234 h 253"/>
                    <a:gd name="T16" fmla="*/ 64 w 254"/>
                    <a:gd name="T17" fmla="*/ 236 h 253"/>
                    <a:gd name="T18" fmla="*/ 48 w 254"/>
                    <a:gd name="T19" fmla="*/ 205 h 253"/>
                    <a:gd name="T20" fmla="*/ 18 w 254"/>
                    <a:gd name="T21" fmla="*/ 190 h 253"/>
                    <a:gd name="T22" fmla="*/ 19 w 254"/>
                    <a:gd name="T23" fmla="*/ 155 h 253"/>
                    <a:gd name="T24" fmla="*/ 0 w 254"/>
                    <a:gd name="T25" fmla="*/ 126 h 253"/>
                    <a:gd name="T26" fmla="*/ 19 w 254"/>
                    <a:gd name="T27" fmla="*/ 97 h 253"/>
                    <a:gd name="T28" fmla="*/ 18 w 254"/>
                    <a:gd name="T29" fmla="*/ 63 h 253"/>
                    <a:gd name="T30" fmla="*/ 48 w 254"/>
                    <a:gd name="T31" fmla="*/ 47 h 253"/>
                    <a:gd name="T32" fmla="*/ 64 w 254"/>
                    <a:gd name="T33" fmla="*/ 17 h 253"/>
                    <a:gd name="T34" fmla="*/ 98 w 254"/>
                    <a:gd name="T35" fmla="*/ 18 h 253"/>
                    <a:gd name="T36" fmla="*/ 127 w 254"/>
                    <a:gd name="T37" fmla="*/ 0 h 253"/>
                    <a:gd name="T38" fmla="*/ 156 w 254"/>
                    <a:gd name="T39" fmla="*/ 18 h 253"/>
                    <a:gd name="T40" fmla="*/ 190 w 254"/>
                    <a:gd name="T41" fmla="*/ 17 h 253"/>
                    <a:gd name="T42" fmla="*/ 206 w 254"/>
                    <a:gd name="T43" fmla="*/ 47 h 253"/>
                    <a:gd name="T44" fmla="*/ 236 w 254"/>
                    <a:gd name="T45" fmla="*/ 63 h 253"/>
                    <a:gd name="T46" fmla="*/ 235 w 254"/>
                    <a:gd name="T47" fmla="*/ 97 h 253"/>
                    <a:gd name="T48" fmla="*/ 254 w 254"/>
                    <a:gd name="T49"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4" h="253">
                      <a:moveTo>
                        <a:pt x="254" y="126"/>
                      </a:moveTo>
                      <a:cubicBezTo>
                        <a:pt x="254" y="137"/>
                        <a:pt x="238" y="145"/>
                        <a:pt x="235" y="155"/>
                      </a:cubicBezTo>
                      <a:cubicBezTo>
                        <a:pt x="233" y="166"/>
                        <a:pt x="241" y="180"/>
                        <a:pt x="236" y="190"/>
                      </a:cubicBezTo>
                      <a:cubicBezTo>
                        <a:pt x="231" y="199"/>
                        <a:pt x="214" y="198"/>
                        <a:pt x="206" y="205"/>
                      </a:cubicBezTo>
                      <a:cubicBezTo>
                        <a:pt x="199" y="213"/>
                        <a:pt x="200" y="231"/>
                        <a:pt x="190" y="236"/>
                      </a:cubicBezTo>
                      <a:cubicBezTo>
                        <a:pt x="181" y="240"/>
                        <a:pt x="166" y="232"/>
                        <a:pt x="156" y="234"/>
                      </a:cubicBezTo>
                      <a:cubicBezTo>
                        <a:pt x="146" y="237"/>
                        <a:pt x="137" y="253"/>
                        <a:pt x="127" y="253"/>
                      </a:cubicBezTo>
                      <a:cubicBezTo>
                        <a:pt x="117" y="253"/>
                        <a:pt x="108" y="237"/>
                        <a:pt x="98" y="234"/>
                      </a:cubicBezTo>
                      <a:cubicBezTo>
                        <a:pt x="88" y="232"/>
                        <a:pt x="73" y="240"/>
                        <a:pt x="64" y="236"/>
                      </a:cubicBezTo>
                      <a:cubicBezTo>
                        <a:pt x="55" y="230"/>
                        <a:pt x="55" y="213"/>
                        <a:pt x="48" y="205"/>
                      </a:cubicBezTo>
                      <a:cubicBezTo>
                        <a:pt x="40" y="198"/>
                        <a:pt x="23" y="199"/>
                        <a:pt x="18" y="190"/>
                      </a:cubicBezTo>
                      <a:cubicBezTo>
                        <a:pt x="13" y="180"/>
                        <a:pt x="21" y="166"/>
                        <a:pt x="19" y="155"/>
                      </a:cubicBezTo>
                      <a:cubicBezTo>
                        <a:pt x="16" y="145"/>
                        <a:pt x="0" y="137"/>
                        <a:pt x="0" y="126"/>
                      </a:cubicBezTo>
                      <a:cubicBezTo>
                        <a:pt x="0" y="116"/>
                        <a:pt x="16" y="107"/>
                        <a:pt x="19" y="97"/>
                      </a:cubicBezTo>
                      <a:cubicBezTo>
                        <a:pt x="21" y="87"/>
                        <a:pt x="13" y="72"/>
                        <a:pt x="18" y="63"/>
                      </a:cubicBezTo>
                      <a:cubicBezTo>
                        <a:pt x="23" y="54"/>
                        <a:pt x="40" y="54"/>
                        <a:pt x="48" y="47"/>
                      </a:cubicBezTo>
                      <a:cubicBezTo>
                        <a:pt x="55" y="40"/>
                        <a:pt x="55" y="22"/>
                        <a:pt x="64" y="17"/>
                      </a:cubicBezTo>
                      <a:cubicBezTo>
                        <a:pt x="73" y="12"/>
                        <a:pt x="88" y="21"/>
                        <a:pt x="98" y="18"/>
                      </a:cubicBezTo>
                      <a:cubicBezTo>
                        <a:pt x="108" y="16"/>
                        <a:pt x="117" y="0"/>
                        <a:pt x="127" y="0"/>
                      </a:cubicBezTo>
                      <a:cubicBezTo>
                        <a:pt x="137" y="0"/>
                        <a:pt x="146" y="15"/>
                        <a:pt x="156" y="18"/>
                      </a:cubicBezTo>
                      <a:cubicBezTo>
                        <a:pt x="166" y="21"/>
                        <a:pt x="181" y="12"/>
                        <a:pt x="190" y="17"/>
                      </a:cubicBezTo>
                      <a:cubicBezTo>
                        <a:pt x="200" y="22"/>
                        <a:pt x="199" y="40"/>
                        <a:pt x="206" y="47"/>
                      </a:cubicBezTo>
                      <a:cubicBezTo>
                        <a:pt x="214" y="54"/>
                        <a:pt x="231" y="54"/>
                        <a:pt x="236" y="63"/>
                      </a:cubicBezTo>
                      <a:cubicBezTo>
                        <a:pt x="241" y="72"/>
                        <a:pt x="233" y="87"/>
                        <a:pt x="235" y="97"/>
                      </a:cubicBezTo>
                      <a:cubicBezTo>
                        <a:pt x="238" y="107"/>
                        <a:pt x="254" y="116"/>
                        <a:pt x="254" y="126"/>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5" name="Freeform 68"/>
                <p:cNvSpPr>
                  <a:spLocks/>
                </p:cNvSpPr>
                <p:nvPr/>
              </p:nvSpPr>
              <p:spPr bwMode="auto">
                <a:xfrm>
                  <a:off x="6043454" y="2294221"/>
                  <a:ext cx="145703" cy="145703"/>
                </a:xfrm>
                <a:custGeom>
                  <a:avLst/>
                  <a:gdLst>
                    <a:gd name="T0" fmla="*/ 106 w 212"/>
                    <a:gd name="T1" fmla="*/ 213 h 213"/>
                    <a:gd name="T2" fmla="*/ 102 w 212"/>
                    <a:gd name="T3" fmla="*/ 210 h 213"/>
                    <a:gd name="T4" fmla="*/ 82 w 212"/>
                    <a:gd name="T5" fmla="*/ 197 h 213"/>
                    <a:gd name="T6" fmla="*/ 73 w 212"/>
                    <a:gd name="T7" fmla="*/ 196 h 213"/>
                    <a:gd name="T8" fmla="*/ 58 w 212"/>
                    <a:gd name="T9" fmla="*/ 198 h 213"/>
                    <a:gd name="T10" fmla="*/ 53 w 212"/>
                    <a:gd name="T11" fmla="*/ 198 h 213"/>
                    <a:gd name="T12" fmla="*/ 52 w 212"/>
                    <a:gd name="T13" fmla="*/ 194 h 213"/>
                    <a:gd name="T14" fmla="*/ 40 w 212"/>
                    <a:gd name="T15" fmla="*/ 173 h 213"/>
                    <a:gd name="T16" fmla="*/ 19 w 212"/>
                    <a:gd name="T17" fmla="*/ 161 h 213"/>
                    <a:gd name="T18" fmla="*/ 14 w 212"/>
                    <a:gd name="T19" fmla="*/ 160 h 213"/>
                    <a:gd name="T20" fmla="*/ 14 w 212"/>
                    <a:gd name="T21" fmla="*/ 155 h 213"/>
                    <a:gd name="T22" fmla="*/ 16 w 212"/>
                    <a:gd name="T23" fmla="*/ 131 h 213"/>
                    <a:gd name="T24" fmla="*/ 3 w 212"/>
                    <a:gd name="T25" fmla="*/ 111 h 213"/>
                    <a:gd name="T26" fmla="*/ 0 w 212"/>
                    <a:gd name="T27" fmla="*/ 107 h 213"/>
                    <a:gd name="T28" fmla="*/ 3 w 212"/>
                    <a:gd name="T29" fmla="*/ 103 h 213"/>
                    <a:gd name="T30" fmla="*/ 16 w 212"/>
                    <a:gd name="T31" fmla="*/ 83 h 213"/>
                    <a:gd name="T32" fmla="*/ 14 w 212"/>
                    <a:gd name="T33" fmla="*/ 58 h 213"/>
                    <a:gd name="T34" fmla="*/ 14 w 212"/>
                    <a:gd name="T35" fmla="*/ 54 h 213"/>
                    <a:gd name="T36" fmla="*/ 18 w 212"/>
                    <a:gd name="T37" fmla="*/ 53 h 213"/>
                    <a:gd name="T38" fmla="*/ 40 w 212"/>
                    <a:gd name="T39" fmla="*/ 41 h 213"/>
                    <a:gd name="T40" fmla="*/ 51 w 212"/>
                    <a:gd name="T41" fmla="*/ 20 h 213"/>
                    <a:gd name="T42" fmla="*/ 53 w 212"/>
                    <a:gd name="T43" fmla="*/ 15 h 213"/>
                    <a:gd name="T44" fmla="*/ 57 w 212"/>
                    <a:gd name="T45" fmla="*/ 16 h 213"/>
                    <a:gd name="T46" fmla="*/ 72 w 212"/>
                    <a:gd name="T47" fmla="*/ 18 h 213"/>
                    <a:gd name="T48" fmla="*/ 81 w 212"/>
                    <a:gd name="T49" fmla="*/ 17 h 213"/>
                    <a:gd name="T50" fmla="*/ 102 w 212"/>
                    <a:gd name="T51" fmla="*/ 3 h 213"/>
                    <a:gd name="T52" fmla="*/ 106 w 212"/>
                    <a:gd name="T53" fmla="*/ 0 h 213"/>
                    <a:gd name="T54" fmla="*/ 110 w 212"/>
                    <a:gd name="T55" fmla="*/ 3 h 213"/>
                    <a:gd name="T56" fmla="*/ 131 w 212"/>
                    <a:gd name="T57" fmla="*/ 16 h 213"/>
                    <a:gd name="T58" fmla="*/ 140 w 212"/>
                    <a:gd name="T59" fmla="*/ 17 h 213"/>
                    <a:gd name="T60" fmla="*/ 155 w 212"/>
                    <a:gd name="T61" fmla="*/ 15 h 213"/>
                    <a:gd name="T62" fmla="*/ 159 w 212"/>
                    <a:gd name="T63" fmla="*/ 15 h 213"/>
                    <a:gd name="T64" fmla="*/ 161 w 212"/>
                    <a:gd name="T65" fmla="*/ 19 h 213"/>
                    <a:gd name="T66" fmla="*/ 172 w 212"/>
                    <a:gd name="T67" fmla="*/ 40 h 213"/>
                    <a:gd name="T68" fmla="*/ 194 w 212"/>
                    <a:gd name="T69" fmla="*/ 52 h 213"/>
                    <a:gd name="T70" fmla="*/ 198 w 212"/>
                    <a:gd name="T71" fmla="*/ 53 h 213"/>
                    <a:gd name="T72" fmla="*/ 198 w 212"/>
                    <a:gd name="T73" fmla="*/ 58 h 213"/>
                    <a:gd name="T74" fmla="*/ 196 w 212"/>
                    <a:gd name="T75" fmla="*/ 82 h 213"/>
                    <a:gd name="T76" fmla="*/ 209 w 212"/>
                    <a:gd name="T77" fmla="*/ 103 h 213"/>
                    <a:gd name="T78" fmla="*/ 212 w 212"/>
                    <a:gd name="T79" fmla="*/ 106 h 213"/>
                    <a:gd name="T80" fmla="*/ 209 w 212"/>
                    <a:gd name="T81" fmla="*/ 110 h 213"/>
                    <a:gd name="T82" fmla="*/ 196 w 212"/>
                    <a:gd name="T83" fmla="*/ 130 h 213"/>
                    <a:gd name="T84" fmla="*/ 198 w 212"/>
                    <a:gd name="T85" fmla="*/ 155 h 213"/>
                    <a:gd name="T86" fmla="*/ 198 w 212"/>
                    <a:gd name="T87" fmla="*/ 159 h 213"/>
                    <a:gd name="T88" fmla="*/ 194 w 212"/>
                    <a:gd name="T89" fmla="*/ 161 h 213"/>
                    <a:gd name="T90" fmla="*/ 172 w 212"/>
                    <a:gd name="T91" fmla="*/ 173 h 213"/>
                    <a:gd name="T92" fmla="*/ 161 w 212"/>
                    <a:gd name="T93" fmla="*/ 194 h 213"/>
                    <a:gd name="T94" fmla="*/ 159 w 212"/>
                    <a:gd name="T95" fmla="*/ 198 h 213"/>
                    <a:gd name="T96" fmla="*/ 155 w 212"/>
                    <a:gd name="T97" fmla="*/ 198 h 213"/>
                    <a:gd name="T98" fmla="*/ 140 w 212"/>
                    <a:gd name="T99" fmla="*/ 196 h 213"/>
                    <a:gd name="T100" fmla="*/ 131 w 212"/>
                    <a:gd name="T101" fmla="*/ 197 h 213"/>
                    <a:gd name="T102" fmla="*/ 110 w 212"/>
                    <a:gd name="T103" fmla="*/ 210 h 213"/>
                    <a:gd name="T104" fmla="*/ 106 w 212"/>
                    <a:gd name="T105"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2" h="213">
                      <a:moveTo>
                        <a:pt x="106" y="213"/>
                      </a:moveTo>
                      <a:cubicBezTo>
                        <a:pt x="105" y="212"/>
                        <a:pt x="104" y="211"/>
                        <a:pt x="102" y="210"/>
                      </a:cubicBezTo>
                      <a:cubicBezTo>
                        <a:pt x="97" y="205"/>
                        <a:pt x="91" y="200"/>
                        <a:pt x="82" y="197"/>
                      </a:cubicBezTo>
                      <a:cubicBezTo>
                        <a:pt x="79" y="197"/>
                        <a:pt x="76" y="196"/>
                        <a:pt x="73" y="196"/>
                      </a:cubicBezTo>
                      <a:cubicBezTo>
                        <a:pt x="67" y="196"/>
                        <a:pt x="62" y="197"/>
                        <a:pt x="58" y="198"/>
                      </a:cubicBezTo>
                      <a:cubicBezTo>
                        <a:pt x="56" y="198"/>
                        <a:pt x="54" y="198"/>
                        <a:pt x="53" y="198"/>
                      </a:cubicBezTo>
                      <a:cubicBezTo>
                        <a:pt x="53" y="197"/>
                        <a:pt x="52" y="195"/>
                        <a:pt x="52" y="194"/>
                      </a:cubicBezTo>
                      <a:cubicBezTo>
                        <a:pt x="50" y="187"/>
                        <a:pt x="47" y="179"/>
                        <a:pt x="40" y="173"/>
                      </a:cubicBezTo>
                      <a:cubicBezTo>
                        <a:pt x="34" y="166"/>
                        <a:pt x="26" y="163"/>
                        <a:pt x="19" y="161"/>
                      </a:cubicBezTo>
                      <a:cubicBezTo>
                        <a:pt x="17" y="161"/>
                        <a:pt x="15" y="160"/>
                        <a:pt x="14" y="160"/>
                      </a:cubicBezTo>
                      <a:cubicBezTo>
                        <a:pt x="14" y="158"/>
                        <a:pt x="14" y="157"/>
                        <a:pt x="14" y="155"/>
                      </a:cubicBezTo>
                      <a:cubicBezTo>
                        <a:pt x="16" y="149"/>
                        <a:pt x="18" y="140"/>
                        <a:pt x="16" y="131"/>
                      </a:cubicBezTo>
                      <a:cubicBezTo>
                        <a:pt x="13" y="122"/>
                        <a:pt x="8" y="115"/>
                        <a:pt x="3" y="111"/>
                      </a:cubicBezTo>
                      <a:cubicBezTo>
                        <a:pt x="2" y="109"/>
                        <a:pt x="0" y="108"/>
                        <a:pt x="0" y="107"/>
                      </a:cubicBezTo>
                      <a:cubicBezTo>
                        <a:pt x="1" y="106"/>
                        <a:pt x="2" y="104"/>
                        <a:pt x="3" y="103"/>
                      </a:cubicBezTo>
                      <a:cubicBezTo>
                        <a:pt x="8" y="98"/>
                        <a:pt x="13" y="91"/>
                        <a:pt x="16" y="83"/>
                      </a:cubicBezTo>
                      <a:cubicBezTo>
                        <a:pt x="18" y="74"/>
                        <a:pt x="16" y="65"/>
                        <a:pt x="14" y="58"/>
                      </a:cubicBezTo>
                      <a:cubicBezTo>
                        <a:pt x="14" y="57"/>
                        <a:pt x="14" y="55"/>
                        <a:pt x="14" y="54"/>
                      </a:cubicBezTo>
                      <a:cubicBezTo>
                        <a:pt x="15" y="53"/>
                        <a:pt x="17" y="53"/>
                        <a:pt x="18" y="53"/>
                      </a:cubicBezTo>
                      <a:cubicBezTo>
                        <a:pt x="25" y="50"/>
                        <a:pt x="34" y="48"/>
                        <a:pt x="40" y="41"/>
                      </a:cubicBezTo>
                      <a:cubicBezTo>
                        <a:pt x="46" y="34"/>
                        <a:pt x="49" y="26"/>
                        <a:pt x="51" y="20"/>
                      </a:cubicBezTo>
                      <a:cubicBezTo>
                        <a:pt x="52" y="18"/>
                        <a:pt x="53" y="17"/>
                        <a:pt x="53" y="15"/>
                      </a:cubicBezTo>
                      <a:cubicBezTo>
                        <a:pt x="54" y="15"/>
                        <a:pt x="56" y="16"/>
                        <a:pt x="57" y="16"/>
                      </a:cubicBezTo>
                      <a:cubicBezTo>
                        <a:pt x="61" y="17"/>
                        <a:pt x="67" y="18"/>
                        <a:pt x="72" y="18"/>
                      </a:cubicBezTo>
                      <a:cubicBezTo>
                        <a:pt x="75" y="18"/>
                        <a:pt x="78" y="17"/>
                        <a:pt x="81" y="17"/>
                      </a:cubicBezTo>
                      <a:cubicBezTo>
                        <a:pt x="91" y="13"/>
                        <a:pt x="97" y="8"/>
                        <a:pt x="102" y="3"/>
                      </a:cubicBezTo>
                      <a:cubicBezTo>
                        <a:pt x="104" y="2"/>
                        <a:pt x="105" y="1"/>
                        <a:pt x="106" y="0"/>
                      </a:cubicBezTo>
                      <a:cubicBezTo>
                        <a:pt x="107" y="1"/>
                        <a:pt x="108" y="2"/>
                        <a:pt x="110" y="3"/>
                      </a:cubicBezTo>
                      <a:cubicBezTo>
                        <a:pt x="115" y="8"/>
                        <a:pt x="121" y="13"/>
                        <a:pt x="131" y="16"/>
                      </a:cubicBezTo>
                      <a:cubicBezTo>
                        <a:pt x="134" y="17"/>
                        <a:pt x="137" y="17"/>
                        <a:pt x="140" y="17"/>
                      </a:cubicBezTo>
                      <a:cubicBezTo>
                        <a:pt x="145" y="17"/>
                        <a:pt x="151" y="16"/>
                        <a:pt x="155" y="15"/>
                      </a:cubicBezTo>
                      <a:cubicBezTo>
                        <a:pt x="156" y="15"/>
                        <a:pt x="158" y="15"/>
                        <a:pt x="159" y="15"/>
                      </a:cubicBezTo>
                      <a:cubicBezTo>
                        <a:pt x="160" y="16"/>
                        <a:pt x="161" y="18"/>
                        <a:pt x="161" y="19"/>
                      </a:cubicBezTo>
                      <a:cubicBezTo>
                        <a:pt x="163" y="26"/>
                        <a:pt x="166" y="34"/>
                        <a:pt x="172" y="40"/>
                      </a:cubicBezTo>
                      <a:cubicBezTo>
                        <a:pt x="179" y="47"/>
                        <a:pt x="187" y="50"/>
                        <a:pt x="194" y="52"/>
                      </a:cubicBezTo>
                      <a:cubicBezTo>
                        <a:pt x="195" y="53"/>
                        <a:pt x="197" y="53"/>
                        <a:pt x="198" y="53"/>
                      </a:cubicBezTo>
                      <a:cubicBezTo>
                        <a:pt x="198" y="55"/>
                        <a:pt x="198" y="56"/>
                        <a:pt x="198" y="58"/>
                      </a:cubicBezTo>
                      <a:cubicBezTo>
                        <a:pt x="196" y="64"/>
                        <a:pt x="195" y="73"/>
                        <a:pt x="196" y="82"/>
                      </a:cubicBezTo>
                      <a:cubicBezTo>
                        <a:pt x="199" y="91"/>
                        <a:pt x="204" y="98"/>
                        <a:pt x="209" y="103"/>
                      </a:cubicBezTo>
                      <a:cubicBezTo>
                        <a:pt x="210" y="104"/>
                        <a:pt x="212" y="105"/>
                        <a:pt x="212" y="106"/>
                      </a:cubicBezTo>
                      <a:cubicBezTo>
                        <a:pt x="211" y="107"/>
                        <a:pt x="210" y="109"/>
                        <a:pt x="209" y="110"/>
                      </a:cubicBezTo>
                      <a:cubicBezTo>
                        <a:pt x="204" y="115"/>
                        <a:pt x="199" y="122"/>
                        <a:pt x="196" y="130"/>
                      </a:cubicBezTo>
                      <a:cubicBezTo>
                        <a:pt x="194" y="139"/>
                        <a:pt x="196" y="148"/>
                        <a:pt x="198" y="155"/>
                      </a:cubicBezTo>
                      <a:cubicBezTo>
                        <a:pt x="198" y="156"/>
                        <a:pt x="198" y="158"/>
                        <a:pt x="198" y="159"/>
                      </a:cubicBezTo>
                      <a:cubicBezTo>
                        <a:pt x="197" y="160"/>
                        <a:pt x="195" y="161"/>
                        <a:pt x="194" y="161"/>
                      </a:cubicBezTo>
                      <a:cubicBezTo>
                        <a:pt x="187" y="163"/>
                        <a:pt x="179" y="166"/>
                        <a:pt x="172" y="173"/>
                      </a:cubicBezTo>
                      <a:cubicBezTo>
                        <a:pt x="166" y="179"/>
                        <a:pt x="163" y="187"/>
                        <a:pt x="161" y="194"/>
                      </a:cubicBezTo>
                      <a:cubicBezTo>
                        <a:pt x="160" y="195"/>
                        <a:pt x="159" y="197"/>
                        <a:pt x="159" y="198"/>
                      </a:cubicBezTo>
                      <a:cubicBezTo>
                        <a:pt x="158" y="198"/>
                        <a:pt x="156" y="198"/>
                        <a:pt x="155" y="198"/>
                      </a:cubicBezTo>
                      <a:cubicBezTo>
                        <a:pt x="151" y="197"/>
                        <a:pt x="145" y="196"/>
                        <a:pt x="140" y="196"/>
                      </a:cubicBezTo>
                      <a:cubicBezTo>
                        <a:pt x="137" y="196"/>
                        <a:pt x="134" y="197"/>
                        <a:pt x="131" y="197"/>
                      </a:cubicBezTo>
                      <a:cubicBezTo>
                        <a:pt x="122" y="200"/>
                        <a:pt x="115" y="205"/>
                        <a:pt x="110" y="210"/>
                      </a:cubicBezTo>
                      <a:cubicBezTo>
                        <a:pt x="108" y="211"/>
                        <a:pt x="107" y="212"/>
                        <a:pt x="106" y="2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2" name="Freeform 69"/>
                <p:cNvSpPr>
                  <a:spLocks/>
                </p:cNvSpPr>
                <p:nvPr/>
              </p:nvSpPr>
              <p:spPr bwMode="auto">
                <a:xfrm>
                  <a:off x="6081944" y="2342843"/>
                  <a:ext cx="68722" cy="48458"/>
                </a:xfrm>
                <a:custGeom>
                  <a:avLst/>
                  <a:gdLst>
                    <a:gd name="T0" fmla="*/ 44 w 133"/>
                    <a:gd name="T1" fmla="*/ 94 h 94"/>
                    <a:gd name="T2" fmla="*/ 43 w 133"/>
                    <a:gd name="T3" fmla="*/ 94 h 94"/>
                    <a:gd name="T4" fmla="*/ 34 w 133"/>
                    <a:gd name="T5" fmla="*/ 89 h 94"/>
                    <a:gd name="T6" fmla="*/ 4 w 133"/>
                    <a:gd name="T7" fmla="*/ 52 h 94"/>
                    <a:gd name="T8" fmla="*/ 6 w 133"/>
                    <a:gd name="T9" fmla="*/ 34 h 94"/>
                    <a:gd name="T10" fmla="*/ 24 w 133"/>
                    <a:gd name="T11" fmla="*/ 36 h 94"/>
                    <a:gd name="T12" fmla="*/ 45 w 133"/>
                    <a:gd name="T13" fmla="*/ 62 h 94"/>
                    <a:gd name="T14" fmla="*/ 109 w 133"/>
                    <a:gd name="T15" fmla="*/ 5 h 94"/>
                    <a:gd name="T16" fmla="*/ 128 w 133"/>
                    <a:gd name="T17" fmla="*/ 6 h 94"/>
                    <a:gd name="T18" fmla="*/ 127 w 133"/>
                    <a:gd name="T19" fmla="*/ 24 h 94"/>
                    <a:gd name="T20" fmla="*/ 53 w 133"/>
                    <a:gd name="T21" fmla="*/ 91 h 94"/>
                    <a:gd name="T22" fmla="*/ 44 w 133"/>
                    <a:gd name="T2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94">
                      <a:moveTo>
                        <a:pt x="44" y="94"/>
                      </a:moveTo>
                      <a:cubicBezTo>
                        <a:pt x="44" y="94"/>
                        <a:pt x="43" y="94"/>
                        <a:pt x="43" y="94"/>
                      </a:cubicBezTo>
                      <a:cubicBezTo>
                        <a:pt x="39" y="94"/>
                        <a:pt x="36" y="92"/>
                        <a:pt x="34" y="89"/>
                      </a:cubicBezTo>
                      <a:cubicBezTo>
                        <a:pt x="4" y="52"/>
                        <a:pt x="4" y="52"/>
                        <a:pt x="4" y="52"/>
                      </a:cubicBezTo>
                      <a:cubicBezTo>
                        <a:pt x="0" y="46"/>
                        <a:pt x="0" y="38"/>
                        <a:pt x="6" y="34"/>
                      </a:cubicBezTo>
                      <a:cubicBezTo>
                        <a:pt x="12" y="29"/>
                        <a:pt x="20" y="30"/>
                        <a:pt x="24" y="36"/>
                      </a:cubicBezTo>
                      <a:cubicBezTo>
                        <a:pt x="45" y="62"/>
                        <a:pt x="45" y="62"/>
                        <a:pt x="45" y="62"/>
                      </a:cubicBezTo>
                      <a:cubicBezTo>
                        <a:pt x="109" y="5"/>
                        <a:pt x="109" y="5"/>
                        <a:pt x="109" y="5"/>
                      </a:cubicBezTo>
                      <a:cubicBezTo>
                        <a:pt x="115" y="0"/>
                        <a:pt x="123" y="0"/>
                        <a:pt x="128" y="6"/>
                      </a:cubicBezTo>
                      <a:cubicBezTo>
                        <a:pt x="133" y="11"/>
                        <a:pt x="132" y="19"/>
                        <a:pt x="127" y="24"/>
                      </a:cubicBezTo>
                      <a:cubicBezTo>
                        <a:pt x="53" y="91"/>
                        <a:pt x="53" y="91"/>
                        <a:pt x="53" y="91"/>
                      </a:cubicBezTo>
                      <a:cubicBezTo>
                        <a:pt x="50" y="93"/>
                        <a:pt x="47" y="94"/>
                        <a:pt x="44" y="94"/>
                      </a:cubicBezTo>
                    </a:path>
                  </a:pathLst>
                </a:custGeom>
                <a:solidFill>
                  <a:srgbClr val="11B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grpSp>
      <p:grpSp>
        <p:nvGrpSpPr>
          <p:cNvPr id="55" name="Group 54"/>
          <p:cNvGrpSpPr/>
          <p:nvPr/>
        </p:nvGrpSpPr>
        <p:grpSpPr>
          <a:xfrm>
            <a:off x="3609798" y="1276656"/>
            <a:ext cx="603504" cy="603504"/>
            <a:chOff x="3609798" y="1276656"/>
            <a:chExt cx="603504" cy="603504"/>
          </a:xfrm>
        </p:grpSpPr>
        <p:sp>
          <p:nvSpPr>
            <p:cNvPr id="216" name="Rounded Rectangle 215"/>
            <p:cNvSpPr/>
            <p:nvPr/>
          </p:nvSpPr>
          <p:spPr>
            <a:xfrm>
              <a:off x="3609798" y="1276656"/>
              <a:ext cx="603504" cy="603504"/>
            </a:xfrm>
            <a:prstGeom prst="round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grpSp>
          <p:nvGrpSpPr>
            <p:cNvPr id="48" name="Group 47"/>
            <p:cNvGrpSpPr/>
            <p:nvPr/>
          </p:nvGrpSpPr>
          <p:grpSpPr>
            <a:xfrm>
              <a:off x="3712116" y="1373572"/>
              <a:ext cx="398869" cy="409673"/>
              <a:chOff x="3793251" y="1263381"/>
              <a:chExt cx="398869" cy="409673"/>
            </a:xfrm>
          </p:grpSpPr>
          <p:grpSp>
            <p:nvGrpSpPr>
              <p:cNvPr id="47" name="Group 46"/>
              <p:cNvGrpSpPr/>
              <p:nvPr/>
            </p:nvGrpSpPr>
            <p:grpSpPr>
              <a:xfrm>
                <a:off x="3933418" y="1263381"/>
                <a:ext cx="258702" cy="269297"/>
                <a:chOff x="-504825" y="1384300"/>
                <a:chExt cx="930275" cy="968375"/>
              </a:xfrm>
              <a:solidFill>
                <a:schemeClr val="tx2"/>
              </a:solidFill>
            </p:grpSpPr>
            <p:sp>
              <p:nvSpPr>
                <p:cNvPr id="41" name="Freeform 57"/>
                <p:cNvSpPr>
                  <a:spLocks/>
                </p:cNvSpPr>
                <p:nvPr/>
              </p:nvSpPr>
              <p:spPr bwMode="auto">
                <a:xfrm>
                  <a:off x="-490538" y="1384300"/>
                  <a:ext cx="915988" cy="731837"/>
                </a:xfrm>
                <a:custGeom>
                  <a:avLst/>
                  <a:gdLst>
                    <a:gd name="T0" fmla="*/ 222 w 244"/>
                    <a:gd name="T1" fmla="*/ 195 h 195"/>
                    <a:gd name="T2" fmla="*/ 219 w 244"/>
                    <a:gd name="T3" fmla="*/ 194 h 195"/>
                    <a:gd name="T4" fmla="*/ 216 w 244"/>
                    <a:gd name="T5" fmla="*/ 186 h 195"/>
                    <a:gd name="T6" fmla="*/ 221 w 244"/>
                    <a:gd name="T7" fmla="*/ 103 h 195"/>
                    <a:gd name="T8" fmla="*/ 167 w 244"/>
                    <a:gd name="T9" fmla="*/ 41 h 195"/>
                    <a:gd name="T10" fmla="*/ 84 w 244"/>
                    <a:gd name="T11" fmla="*/ 35 h 195"/>
                    <a:gd name="T12" fmla="*/ 21 w 244"/>
                    <a:gd name="T13" fmla="*/ 90 h 195"/>
                    <a:gd name="T14" fmla="*/ 13 w 244"/>
                    <a:gd name="T15" fmla="*/ 113 h 195"/>
                    <a:gd name="T16" fmla="*/ 5 w 244"/>
                    <a:gd name="T17" fmla="*/ 117 h 195"/>
                    <a:gd name="T18" fmla="*/ 1 w 244"/>
                    <a:gd name="T19" fmla="*/ 110 h 195"/>
                    <a:gd name="T20" fmla="*/ 10 w 244"/>
                    <a:gd name="T21" fmla="*/ 84 h 195"/>
                    <a:gd name="T22" fmla="*/ 172 w 244"/>
                    <a:gd name="T23" fmla="*/ 29 h 195"/>
                    <a:gd name="T24" fmla="*/ 233 w 244"/>
                    <a:gd name="T25" fmla="*/ 99 h 195"/>
                    <a:gd name="T26" fmla="*/ 227 w 244"/>
                    <a:gd name="T27" fmla="*/ 192 h 195"/>
                    <a:gd name="T28" fmla="*/ 222 w 244"/>
                    <a:gd name="T29"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4" h="195">
                      <a:moveTo>
                        <a:pt x="222" y="195"/>
                      </a:moveTo>
                      <a:cubicBezTo>
                        <a:pt x="221" y="195"/>
                        <a:pt x="220" y="195"/>
                        <a:pt x="219" y="194"/>
                      </a:cubicBezTo>
                      <a:cubicBezTo>
                        <a:pt x="216" y="193"/>
                        <a:pt x="214" y="189"/>
                        <a:pt x="216" y="186"/>
                      </a:cubicBezTo>
                      <a:cubicBezTo>
                        <a:pt x="229" y="160"/>
                        <a:pt x="231" y="131"/>
                        <a:pt x="221" y="103"/>
                      </a:cubicBezTo>
                      <a:cubicBezTo>
                        <a:pt x="212" y="76"/>
                        <a:pt x="193" y="53"/>
                        <a:pt x="167" y="41"/>
                      </a:cubicBezTo>
                      <a:cubicBezTo>
                        <a:pt x="141" y="28"/>
                        <a:pt x="111" y="26"/>
                        <a:pt x="84" y="35"/>
                      </a:cubicBezTo>
                      <a:cubicBezTo>
                        <a:pt x="56" y="45"/>
                        <a:pt x="34" y="64"/>
                        <a:pt x="21" y="90"/>
                      </a:cubicBezTo>
                      <a:cubicBezTo>
                        <a:pt x="18" y="97"/>
                        <a:pt x="15" y="105"/>
                        <a:pt x="13" y="113"/>
                      </a:cubicBezTo>
                      <a:cubicBezTo>
                        <a:pt x="12" y="116"/>
                        <a:pt x="9" y="118"/>
                        <a:pt x="5" y="117"/>
                      </a:cubicBezTo>
                      <a:cubicBezTo>
                        <a:pt x="2" y="117"/>
                        <a:pt x="0" y="113"/>
                        <a:pt x="1" y="110"/>
                      </a:cubicBezTo>
                      <a:cubicBezTo>
                        <a:pt x="3" y="101"/>
                        <a:pt x="6" y="92"/>
                        <a:pt x="10" y="84"/>
                      </a:cubicBezTo>
                      <a:cubicBezTo>
                        <a:pt x="39" y="24"/>
                        <a:pt x="112" y="0"/>
                        <a:pt x="172" y="29"/>
                      </a:cubicBezTo>
                      <a:cubicBezTo>
                        <a:pt x="201" y="44"/>
                        <a:pt x="223" y="68"/>
                        <a:pt x="233" y="99"/>
                      </a:cubicBezTo>
                      <a:cubicBezTo>
                        <a:pt x="244" y="130"/>
                        <a:pt x="242" y="163"/>
                        <a:pt x="227" y="192"/>
                      </a:cubicBezTo>
                      <a:cubicBezTo>
                        <a:pt x="226" y="194"/>
                        <a:pt x="224" y="195"/>
                        <a:pt x="222" y="19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42" name="Freeform 58"/>
                <p:cNvSpPr>
                  <a:spLocks/>
                </p:cNvSpPr>
                <p:nvPr/>
              </p:nvSpPr>
              <p:spPr bwMode="auto">
                <a:xfrm>
                  <a:off x="-438150" y="1752600"/>
                  <a:ext cx="536575" cy="558800"/>
                </a:xfrm>
                <a:custGeom>
                  <a:avLst/>
                  <a:gdLst>
                    <a:gd name="T0" fmla="*/ 56 w 143"/>
                    <a:gd name="T1" fmla="*/ 149 h 149"/>
                    <a:gd name="T2" fmla="*/ 50 w 143"/>
                    <a:gd name="T3" fmla="*/ 146 h 149"/>
                    <a:gd name="T4" fmla="*/ 53 w 143"/>
                    <a:gd name="T5" fmla="*/ 137 h 149"/>
                    <a:gd name="T6" fmla="*/ 105 w 143"/>
                    <a:gd name="T7" fmla="*/ 91 h 149"/>
                    <a:gd name="T8" fmla="*/ 126 w 143"/>
                    <a:gd name="T9" fmla="*/ 45 h 149"/>
                    <a:gd name="T10" fmla="*/ 114 w 143"/>
                    <a:gd name="T11" fmla="*/ 20 h 149"/>
                    <a:gd name="T12" fmla="*/ 85 w 143"/>
                    <a:gd name="T13" fmla="*/ 30 h 149"/>
                    <a:gd name="T14" fmla="*/ 80 w 143"/>
                    <a:gd name="T15" fmla="*/ 41 h 149"/>
                    <a:gd name="T16" fmla="*/ 59 w 143"/>
                    <a:gd name="T17" fmla="*/ 78 h 149"/>
                    <a:gd name="T18" fmla="*/ 9 w 143"/>
                    <a:gd name="T19" fmla="*/ 107 h 149"/>
                    <a:gd name="T20" fmla="*/ 1 w 143"/>
                    <a:gd name="T21" fmla="*/ 103 h 149"/>
                    <a:gd name="T22" fmla="*/ 6 w 143"/>
                    <a:gd name="T23" fmla="*/ 95 h 149"/>
                    <a:gd name="T24" fmla="*/ 49 w 143"/>
                    <a:gd name="T25" fmla="*/ 71 h 149"/>
                    <a:gd name="T26" fmla="*/ 68 w 143"/>
                    <a:gd name="T27" fmla="*/ 36 h 149"/>
                    <a:gd name="T28" fmla="*/ 73 w 143"/>
                    <a:gd name="T29" fmla="*/ 24 h 149"/>
                    <a:gd name="T30" fmla="*/ 120 w 143"/>
                    <a:gd name="T31" fmla="*/ 9 h 149"/>
                    <a:gd name="T32" fmla="*/ 138 w 143"/>
                    <a:gd name="T33" fmla="*/ 49 h 149"/>
                    <a:gd name="T34" fmla="*/ 116 w 143"/>
                    <a:gd name="T35" fmla="*/ 98 h 149"/>
                    <a:gd name="T36" fmla="*/ 59 w 143"/>
                    <a:gd name="T37" fmla="*/ 148 h 149"/>
                    <a:gd name="T38" fmla="*/ 56 w 143"/>
                    <a:gd name="T39"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149">
                      <a:moveTo>
                        <a:pt x="56" y="149"/>
                      </a:moveTo>
                      <a:cubicBezTo>
                        <a:pt x="54" y="149"/>
                        <a:pt x="51" y="148"/>
                        <a:pt x="50" y="146"/>
                      </a:cubicBezTo>
                      <a:cubicBezTo>
                        <a:pt x="49" y="143"/>
                        <a:pt x="50" y="139"/>
                        <a:pt x="53" y="137"/>
                      </a:cubicBezTo>
                      <a:cubicBezTo>
                        <a:pt x="53" y="137"/>
                        <a:pt x="87" y="118"/>
                        <a:pt x="105" y="91"/>
                      </a:cubicBezTo>
                      <a:cubicBezTo>
                        <a:pt x="116" y="75"/>
                        <a:pt x="123" y="53"/>
                        <a:pt x="126" y="45"/>
                      </a:cubicBezTo>
                      <a:cubicBezTo>
                        <a:pt x="129" y="34"/>
                        <a:pt x="126" y="26"/>
                        <a:pt x="114" y="20"/>
                      </a:cubicBezTo>
                      <a:cubicBezTo>
                        <a:pt x="104" y="15"/>
                        <a:pt x="90" y="19"/>
                        <a:pt x="85" y="30"/>
                      </a:cubicBezTo>
                      <a:cubicBezTo>
                        <a:pt x="83" y="33"/>
                        <a:pt x="81" y="37"/>
                        <a:pt x="80" y="41"/>
                      </a:cubicBezTo>
                      <a:cubicBezTo>
                        <a:pt x="74" y="52"/>
                        <a:pt x="68" y="66"/>
                        <a:pt x="59" y="78"/>
                      </a:cubicBezTo>
                      <a:cubicBezTo>
                        <a:pt x="47" y="95"/>
                        <a:pt x="11" y="107"/>
                        <a:pt x="9" y="107"/>
                      </a:cubicBezTo>
                      <a:cubicBezTo>
                        <a:pt x="6" y="108"/>
                        <a:pt x="3" y="106"/>
                        <a:pt x="1" y="103"/>
                      </a:cubicBezTo>
                      <a:cubicBezTo>
                        <a:pt x="0" y="100"/>
                        <a:pt x="2" y="96"/>
                        <a:pt x="6" y="95"/>
                      </a:cubicBezTo>
                      <a:cubicBezTo>
                        <a:pt x="15" y="92"/>
                        <a:pt x="41" y="82"/>
                        <a:pt x="49" y="71"/>
                      </a:cubicBezTo>
                      <a:cubicBezTo>
                        <a:pt x="57" y="60"/>
                        <a:pt x="63" y="47"/>
                        <a:pt x="68" y="36"/>
                      </a:cubicBezTo>
                      <a:cubicBezTo>
                        <a:pt x="70" y="32"/>
                        <a:pt x="72" y="28"/>
                        <a:pt x="73" y="24"/>
                      </a:cubicBezTo>
                      <a:cubicBezTo>
                        <a:pt x="82" y="7"/>
                        <a:pt x="103" y="0"/>
                        <a:pt x="120" y="9"/>
                      </a:cubicBezTo>
                      <a:cubicBezTo>
                        <a:pt x="137" y="17"/>
                        <a:pt x="143" y="31"/>
                        <a:pt x="138" y="49"/>
                      </a:cubicBezTo>
                      <a:cubicBezTo>
                        <a:pt x="135" y="58"/>
                        <a:pt x="128" y="80"/>
                        <a:pt x="116" y="98"/>
                      </a:cubicBezTo>
                      <a:cubicBezTo>
                        <a:pt x="96" y="128"/>
                        <a:pt x="60" y="147"/>
                        <a:pt x="59" y="148"/>
                      </a:cubicBezTo>
                      <a:cubicBezTo>
                        <a:pt x="58" y="149"/>
                        <a:pt x="57" y="149"/>
                        <a:pt x="56" y="1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44" name="Freeform 59"/>
                <p:cNvSpPr>
                  <a:spLocks/>
                </p:cNvSpPr>
                <p:nvPr/>
              </p:nvSpPr>
              <p:spPr bwMode="auto">
                <a:xfrm>
                  <a:off x="-485775" y="1654175"/>
                  <a:ext cx="708026" cy="698500"/>
                </a:xfrm>
                <a:custGeom>
                  <a:avLst/>
                  <a:gdLst>
                    <a:gd name="T0" fmla="*/ 105 w 189"/>
                    <a:gd name="T1" fmla="*/ 186 h 186"/>
                    <a:gd name="T2" fmla="*/ 100 w 189"/>
                    <a:gd name="T3" fmla="*/ 183 h 186"/>
                    <a:gd name="T4" fmla="*/ 101 w 189"/>
                    <a:gd name="T5" fmla="*/ 174 h 186"/>
                    <a:gd name="T6" fmla="*/ 143 w 189"/>
                    <a:gd name="T7" fmla="*/ 131 h 186"/>
                    <a:gd name="T8" fmla="*/ 164 w 189"/>
                    <a:gd name="T9" fmla="*/ 87 h 186"/>
                    <a:gd name="T10" fmla="*/ 140 w 189"/>
                    <a:gd name="T11" fmla="*/ 20 h 186"/>
                    <a:gd name="T12" fmla="*/ 72 w 189"/>
                    <a:gd name="T13" fmla="*/ 44 h 186"/>
                    <a:gd name="T14" fmla="*/ 70 w 189"/>
                    <a:gd name="T15" fmla="*/ 48 h 186"/>
                    <a:gd name="T16" fmla="*/ 55 w 189"/>
                    <a:gd name="T17" fmla="*/ 80 h 186"/>
                    <a:gd name="T18" fmla="*/ 9 w 189"/>
                    <a:gd name="T19" fmla="*/ 107 h 186"/>
                    <a:gd name="T20" fmla="*/ 1 w 189"/>
                    <a:gd name="T21" fmla="*/ 103 h 186"/>
                    <a:gd name="T22" fmla="*/ 5 w 189"/>
                    <a:gd name="T23" fmla="*/ 95 h 186"/>
                    <a:gd name="T24" fmla="*/ 44 w 189"/>
                    <a:gd name="T25" fmla="*/ 73 h 186"/>
                    <a:gd name="T26" fmla="*/ 58 w 189"/>
                    <a:gd name="T27" fmla="*/ 44 h 186"/>
                    <a:gd name="T28" fmla="*/ 60 w 189"/>
                    <a:gd name="T29" fmla="*/ 37 h 186"/>
                    <a:gd name="T30" fmla="*/ 98 w 189"/>
                    <a:gd name="T31" fmla="*/ 6 h 186"/>
                    <a:gd name="T32" fmla="*/ 146 w 189"/>
                    <a:gd name="T33" fmla="*/ 9 h 186"/>
                    <a:gd name="T34" fmla="*/ 176 w 189"/>
                    <a:gd name="T35" fmla="*/ 91 h 186"/>
                    <a:gd name="T36" fmla="*/ 154 w 189"/>
                    <a:gd name="T37" fmla="*/ 138 h 186"/>
                    <a:gd name="T38" fmla="*/ 109 w 189"/>
                    <a:gd name="T39" fmla="*/ 184 h 186"/>
                    <a:gd name="T40" fmla="*/ 105 w 189"/>
                    <a:gd name="T41"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186">
                      <a:moveTo>
                        <a:pt x="105" y="186"/>
                      </a:moveTo>
                      <a:cubicBezTo>
                        <a:pt x="103" y="186"/>
                        <a:pt x="101" y="185"/>
                        <a:pt x="100" y="183"/>
                      </a:cubicBezTo>
                      <a:cubicBezTo>
                        <a:pt x="98" y="180"/>
                        <a:pt x="98" y="176"/>
                        <a:pt x="101" y="174"/>
                      </a:cubicBezTo>
                      <a:cubicBezTo>
                        <a:pt x="101" y="174"/>
                        <a:pt x="128" y="153"/>
                        <a:pt x="143" y="131"/>
                      </a:cubicBezTo>
                      <a:cubicBezTo>
                        <a:pt x="151" y="119"/>
                        <a:pt x="158" y="104"/>
                        <a:pt x="164" y="87"/>
                      </a:cubicBezTo>
                      <a:cubicBezTo>
                        <a:pt x="174" y="54"/>
                        <a:pt x="167" y="33"/>
                        <a:pt x="140" y="20"/>
                      </a:cubicBezTo>
                      <a:cubicBezTo>
                        <a:pt x="115" y="8"/>
                        <a:pt x="86" y="18"/>
                        <a:pt x="72" y="44"/>
                      </a:cubicBezTo>
                      <a:cubicBezTo>
                        <a:pt x="71" y="44"/>
                        <a:pt x="71" y="46"/>
                        <a:pt x="70" y="48"/>
                      </a:cubicBezTo>
                      <a:cubicBezTo>
                        <a:pt x="68" y="55"/>
                        <a:pt x="63" y="67"/>
                        <a:pt x="55" y="80"/>
                      </a:cubicBezTo>
                      <a:cubicBezTo>
                        <a:pt x="44" y="98"/>
                        <a:pt x="10" y="107"/>
                        <a:pt x="9" y="107"/>
                      </a:cubicBezTo>
                      <a:cubicBezTo>
                        <a:pt x="5" y="108"/>
                        <a:pt x="2" y="106"/>
                        <a:pt x="1" y="103"/>
                      </a:cubicBezTo>
                      <a:cubicBezTo>
                        <a:pt x="0" y="99"/>
                        <a:pt x="2" y="96"/>
                        <a:pt x="5" y="95"/>
                      </a:cubicBezTo>
                      <a:cubicBezTo>
                        <a:pt x="14" y="93"/>
                        <a:pt x="37" y="85"/>
                        <a:pt x="44" y="73"/>
                      </a:cubicBezTo>
                      <a:cubicBezTo>
                        <a:pt x="51" y="62"/>
                        <a:pt x="56" y="50"/>
                        <a:pt x="58" y="44"/>
                      </a:cubicBezTo>
                      <a:cubicBezTo>
                        <a:pt x="59" y="41"/>
                        <a:pt x="60" y="39"/>
                        <a:pt x="60" y="37"/>
                      </a:cubicBezTo>
                      <a:cubicBezTo>
                        <a:pt x="69" y="22"/>
                        <a:pt x="82" y="11"/>
                        <a:pt x="98" y="6"/>
                      </a:cubicBezTo>
                      <a:cubicBezTo>
                        <a:pt x="114" y="0"/>
                        <a:pt x="131" y="1"/>
                        <a:pt x="146" y="9"/>
                      </a:cubicBezTo>
                      <a:cubicBezTo>
                        <a:pt x="179" y="25"/>
                        <a:pt x="189" y="52"/>
                        <a:pt x="176" y="91"/>
                      </a:cubicBezTo>
                      <a:cubicBezTo>
                        <a:pt x="170" y="109"/>
                        <a:pt x="162" y="125"/>
                        <a:pt x="154" y="138"/>
                      </a:cubicBezTo>
                      <a:cubicBezTo>
                        <a:pt x="138" y="162"/>
                        <a:pt x="110" y="183"/>
                        <a:pt x="109" y="184"/>
                      </a:cubicBezTo>
                      <a:cubicBezTo>
                        <a:pt x="107" y="185"/>
                        <a:pt x="106" y="186"/>
                        <a:pt x="105" y="18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45" name="Freeform 60"/>
                <p:cNvSpPr>
                  <a:spLocks/>
                </p:cNvSpPr>
                <p:nvPr/>
              </p:nvSpPr>
              <p:spPr bwMode="auto">
                <a:xfrm>
                  <a:off x="-504825" y="1541463"/>
                  <a:ext cx="850901" cy="787400"/>
                </a:xfrm>
                <a:custGeom>
                  <a:avLst/>
                  <a:gdLst>
                    <a:gd name="T0" fmla="*/ 158 w 227"/>
                    <a:gd name="T1" fmla="*/ 210 h 210"/>
                    <a:gd name="T2" fmla="*/ 154 w 227"/>
                    <a:gd name="T3" fmla="*/ 208 h 210"/>
                    <a:gd name="T4" fmla="*/ 153 w 227"/>
                    <a:gd name="T5" fmla="*/ 199 h 210"/>
                    <a:gd name="T6" fmla="*/ 191 w 227"/>
                    <a:gd name="T7" fmla="*/ 138 h 210"/>
                    <a:gd name="T8" fmla="*/ 158 w 227"/>
                    <a:gd name="T9" fmla="*/ 24 h 210"/>
                    <a:gd name="T10" fmla="*/ 51 w 227"/>
                    <a:gd name="T11" fmla="*/ 61 h 210"/>
                    <a:gd name="T12" fmla="*/ 46 w 227"/>
                    <a:gd name="T13" fmla="*/ 74 h 210"/>
                    <a:gd name="T14" fmla="*/ 44 w 227"/>
                    <a:gd name="T15" fmla="*/ 82 h 210"/>
                    <a:gd name="T16" fmla="*/ 9 w 227"/>
                    <a:gd name="T17" fmla="*/ 109 h 210"/>
                    <a:gd name="T18" fmla="*/ 1 w 227"/>
                    <a:gd name="T19" fmla="*/ 104 h 210"/>
                    <a:gd name="T20" fmla="*/ 6 w 227"/>
                    <a:gd name="T21" fmla="*/ 97 h 210"/>
                    <a:gd name="T22" fmla="*/ 32 w 227"/>
                    <a:gd name="T23" fmla="*/ 78 h 210"/>
                    <a:gd name="T24" fmla="*/ 34 w 227"/>
                    <a:gd name="T25" fmla="*/ 71 h 210"/>
                    <a:gd name="T26" fmla="*/ 39 w 227"/>
                    <a:gd name="T27" fmla="*/ 55 h 210"/>
                    <a:gd name="T28" fmla="*/ 93 w 227"/>
                    <a:gd name="T29" fmla="*/ 8 h 210"/>
                    <a:gd name="T30" fmla="*/ 164 w 227"/>
                    <a:gd name="T31" fmla="*/ 13 h 210"/>
                    <a:gd name="T32" fmla="*/ 203 w 227"/>
                    <a:gd name="T33" fmla="*/ 143 h 210"/>
                    <a:gd name="T34" fmla="*/ 163 w 227"/>
                    <a:gd name="T35" fmla="*/ 208 h 210"/>
                    <a:gd name="T36" fmla="*/ 158 w 227"/>
                    <a:gd name="T3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7" h="210">
                      <a:moveTo>
                        <a:pt x="158" y="210"/>
                      </a:moveTo>
                      <a:cubicBezTo>
                        <a:pt x="156" y="210"/>
                        <a:pt x="155" y="209"/>
                        <a:pt x="154" y="208"/>
                      </a:cubicBezTo>
                      <a:cubicBezTo>
                        <a:pt x="151" y="206"/>
                        <a:pt x="151" y="202"/>
                        <a:pt x="153" y="199"/>
                      </a:cubicBezTo>
                      <a:cubicBezTo>
                        <a:pt x="153" y="199"/>
                        <a:pt x="177" y="172"/>
                        <a:pt x="191" y="138"/>
                      </a:cubicBezTo>
                      <a:cubicBezTo>
                        <a:pt x="212" y="86"/>
                        <a:pt x="200" y="45"/>
                        <a:pt x="158" y="24"/>
                      </a:cubicBezTo>
                      <a:cubicBezTo>
                        <a:pt x="118" y="5"/>
                        <a:pt x="70" y="21"/>
                        <a:pt x="51" y="61"/>
                      </a:cubicBezTo>
                      <a:cubicBezTo>
                        <a:pt x="49" y="65"/>
                        <a:pt x="47" y="69"/>
                        <a:pt x="46" y="74"/>
                      </a:cubicBezTo>
                      <a:cubicBezTo>
                        <a:pt x="45" y="77"/>
                        <a:pt x="45" y="79"/>
                        <a:pt x="44" y="82"/>
                      </a:cubicBezTo>
                      <a:cubicBezTo>
                        <a:pt x="37" y="102"/>
                        <a:pt x="10" y="109"/>
                        <a:pt x="9" y="109"/>
                      </a:cubicBezTo>
                      <a:cubicBezTo>
                        <a:pt x="5" y="110"/>
                        <a:pt x="2" y="108"/>
                        <a:pt x="1" y="104"/>
                      </a:cubicBezTo>
                      <a:cubicBezTo>
                        <a:pt x="0" y="101"/>
                        <a:pt x="3" y="97"/>
                        <a:pt x="6" y="97"/>
                      </a:cubicBezTo>
                      <a:cubicBezTo>
                        <a:pt x="6" y="96"/>
                        <a:pt x="27" y="91"/>
                        <a:pt x="32" y="78"/>
                      </a:cubicBezTo>
                      <a:cubicBezTo>
                        <a:pt x="32" y="75"/>
                        <a:pt x="33" y="73"/>
                        <a:pt x="34" y="71"/>
                      </a:cubicBezTo>
                      <a:cubicBezTo>
                        <a:pt x="35" y="66"/>
                        <a:pt x="37" y="60"/>
                        <a:pt x="39" y="55"/>
                      </a:cubicBezTo>
                      <a:cubicBezTo>
                        <a:pt x="50" y="33"/>
                        <a:pt x="69" y="16"/>
                        <a:pt x="93" y="8"/>
                      </a:cubicBezTo>
                      <a:cubicBezTo>
                        <a:pt x="116" y="0"/>
                        <a:pt x="141" y="2"/>
                        <a:pt x="164" y="13"/>
                      </a:cubicBezTo>
                      <a:cubicBezTo>
                        <a:pt x="212" y="37"/>
                        <a:pt x="227" y="85"/>
                        <a:pt x="203" y="143"/>
                      </a:cubicBezTo>
                      <a:cubicBezTo>
                        <a:pt x="188" y="179"/>
                        <a:pt x="164" y="207"/>
                        <a:pt x="163" y="208"/>
                      </a:cubicBezTo>
                      <a:cubicBezTo>
                        <a:pt x="161" y="209"/>
                        <a:pt x="160" y="210"/>
                        <a:pt x="158"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46" name="Freeform 61"/>
                <p:cNvSpPr>
                  <a:spLocks/>
                </p:cNvSpPr>
                <p:nvPr/>
              </p:nvSpPr>
              <p:spPr bwMode="auto">
                <a:xfrm>
                  <a:off x="-361950" y="1882775"/>
                  <a:ext cx="336550" cy="360362"/>
                </a:xfrm>
                <a:custGeom>
                  <a:avLst/>
                  <a:gdLst>
                    <a:gd name="T0" fmla="*/ 7 w 90"/>
                    <a:gd name="T1" fmla="*/ 96 h 96"/>
                    <a:gd name="T2" fmla="*/ 1 w 90"/>
                    <a:gd name="T3" fmla="*/ 93 h 96"/>
                    <a:gd name="T4" fmla="*/ 4 w 90"/>
                    <a:gd name="T5" fmla="*/ 84 h 96"/>
                    <a:gd name="T6" fmla="*/ 50 w 90"/>
                    <a:gd name="T7" fmla="*/ 54 h 96"/>
                    <a:gd name="T8" fmla="*/ 77 w 90"/>
                    <a:gd name="T9" fmla="*/ 6 h 96"/>
                    <a:gd name="T10" fmla="*/ 84 w 90"/>
                    <a:gd name="T11" fmla="*/ 1 h 96"/>
                    <a:gd name="T12" fmla="*/ 89 w 90"/>
                    <a:gd name="T13" fmla="*/ 8 h 96"/>
                    <a:gd name="T14" fmla="*/ 59 w 90"/>
                    <a:gd name="T15" fmla="*/ 63 h 96"/>
                    <a:gd name="T16" fmla="*/ 10 w 90"/>
                    <a:gd name="T17" fmla="*/ 96 h 96"/>
                    <a:gd name="T18" fmla="*/ 7 w 90"/>
                    <a:gd name="T1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6">
                      <a:moveTo>
                        <a:pt x="7" y="96"/>
                      </a:moveTo>
                      <a:cubicBezTo>
                        <a:pt x="5" y="96"/>
                        <a:pt x="2" y="95"/>
                        <a:pt x="1" y="93"/>
                      </a:cubicBezTo>
                      <a:cubicBezTo>
                        <a:pt x="0" y="90"/>
                        <a:pt x="1" y="86"/>
                        <a:pt x="4" y="84"/>
                      </a:cubicBezTo>
                      <a:cubicBezTo>
                        <a:pt x="5" y="84"/>
                        <a:pt x="36" y="70"/>
                        <a:pt x="50" y="54"/>
                      </a:cubicBezTo>
                      <a:cubicBezTo>
                        <a:pt x="72" y="29"/>
                        <a:pt x="77" y="6"/>
                        <a:pt x="77" y="6"/>
                      </a:cubicBezTo>
                      <a:cubicBezTo>
                        <a:pt x="77" y="2"/>
                        <a:pt x="81" y="0"/>
                        <a:pt x="84" y="1"/>
                      </a:cubicBezTo>
                      <a:cubicBezTo>
                        <a:pt x="88" y="2"/>
                        <a:pt x="90" y="5"/>
                        <a:pt x="89" y="8"/>
                      </a:cubicBezTo>
                      <a:cubicBezTo>
                        <a:pt x="89" y="10"/>
                        <a:pt x="83" y="35"/>
                        <a:pt x="59" y="63"/>
                      </a:cubicBezTo>
                      <a:cubicBezTo>
                        <a:pt x="43" y="81"/>
                        <a:pt x="11" y="95"/>
                        <a:pt x="10" y="96"/>
                      </a:cubicBezTo>
                      <a:cubicBezTo>
                        <a:pt x="9" y="96"/>
                        <a:pt x="8" y="96"/>
                        <a:pt x="7" y="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6" name="Group 165"/>
              <p:cNvGrpSpPr/>
              <p:nvPr/>
            </p:nvGrpSpPr>
            <p:grpSpPr>
              <a:xfrm>
                <a:off x="3793251" y="1372755"/>
                <a:ext cx="236598" cy="300299"/>
                <a:chOff x="3798803" y="1369834"/>
                <a:chExt cx="236598" cy="300299"/>
              </a:xfrm>
              <a:solidFill>
                <a:schemeClr val="bg2"/>
              </a:solidFill>
            </p:grpSpPr>
            <p:sp>
              <p:nvSpPr>
                <p:cNvPr id="167" name="Freeform 6"/>
                <p:cNvSpPr>
                  <a:spLocks noEditPoints="1"/>
                </p:cNvSpPr>
                <p:nvPr/>
              </p:nvSpPr>
              <p:spPr bwMode="auto">
                <a:xfrm rot="1800000">
                  <a:off x="3859090" y="1369834"/>
                  <a:ext cx="176311" cy="176311"/>
                </a:xfrm>
                <a:custGeom>
                  <a:avLst/>
                  <a:gdLst/>
                  <a:ahLst/>
                  <a:cxnLst>
                    <a:cxn ang="0">
                      <a:pos x="107" y="0"/>
                    </a:cxn>
                    <a:cxn ang="0">
                      <a:pos x="0" y="107"/>
                    </a:cxn>
                    <a:cxn ang="0">
                      <a:pos x="107" y="214"/>
                    </a:cxn>
                    <a:cxn ang="0">
                      <a:pos x="214" y="107"/>
                    </a:cxn>
                    <a:cxn ang="0">
                      <a:pos x="107" y="0"/>
                    </a:cxn>
                    <a:cxn ang="0">
                      <a:pos x="107" y="184"/>
                    </a:cxn>
                    <a:cxn ang="0">
                      <a:pos x="31" y="107"/>
                    </a:cxn>
                    <a:cxn ang="0">
                      <a:pos x="107" y="31"/>
                    </a:cxn>
                    <a:cxn ang="0">
                      <a:pos x="184" y="107"/>
                    </a:cxn>
                    <a:cxn ang="0">
                      <a:pos x="107" y="184"/>
                    </a:cxn>
                  </a:cxnLst>
                  <a:rect l="0" t="0" r="r" b="b"/>
                  <a:pathLst>
                    <a:path w="214" h="214">
                      <a:moveTo>
                        <a:pt x="107" y="0"/>
                      </a:moveTo>
                      <a:cubicBezTo>
                        <a:pt x="48" y="0"/>
                        <a:pt x="0" y="48"/>
                        <a:pt x="0" y="107"/>
                      </a:cubicBezTo>
                      <a:cubicBezTo>
                        <a:pt x="0" y="166"/>
                        <a:pt x="48" y="214"/>
                        <a:pt x="107" y="214"/>
                      </a:cubicBezTo>
                      <a:cubicBezTo>
                        <a:pt x="166" y="214"/>
                        <a:pt x="214" y="166"/>
                        <a:pt x="214" y="107"/>
                      </a:cubicBezTo>
                      <a:cubicBezTo>
                        <a:pt x="214" y="48"/>
                        <a:pt x="166" y="0"/>
                        <a:pt x="107" y="0"/>
                      </a:cubicBezTo>
                      <a:close/>
                      <a:moveTo>
                        <a:pt x="107" y="184"/>
                      </a:moveTo>
                      <a:cubicBezTo>
                        <a:pt x="65" y="184"/>
                        <a:pt x="31" y="149"/>
                        <a:pt x="31" y="107"/>
                      </a:cubicBezTo>
                      <a:cubicBezTo>
                        <a:pt x="31" y="65"/>
                        <a:pt x="65" y="31"/>
                        <a:pt x="107" y="31"/>
                      </a:cubicBezTo>
                      <a:cubicBezTo>
                        <a:pt x="149" y="31"/>
                        <a:pt x="184" y="65"/>
                        <a:pt x="184" y="107"/>
                      </a:cubicBezTo>
                      <a:cubicBezTo>
                        <a:pt x="184" y="149"/>
                        <a:pt x="149" y="184"/>
                        <a:pt x="107" y="184"/>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168" name="Freeform 8"/>
                <p:cNvSpPr>
                  <a:spLocks/>
                </p:cNvSpPr>
                <p:nvPr/>
              </p:nvSpPr>
              <p:spPr bwMode="auto">
                <a:xfrm rot="20700000">
                  <a:off x="3798803" y="1547284"/>
                  <a:ext cx="122849" cy="122849"/>
                </a:xfrm>
                <a:custGeom>
                  <a:avLst/>
                  <a:gdLst/>
                  <a:ahLst/>
                  <a:cxnLst>
                    <a:cxn ang="0">
                      <a:pos x="107" y="0"/>
                    </a:cxn>
                    <a:cxn ang="0">
                      <a:pos x="12" y="92"/>
                    </a:cxn>
                    <a:cxn ang="0">
                      <a:pos x="12" y="135"/>
                    </a:cxn>
                    <a:cxn ang="0">
                      <a:pos x="55" y="136"/>
                    </a:cxn>
                    <a:cxn ang="0">
                      <a:pos x="150" y="44"/>
                    </a:cxn>
                    <a:cxn ang="0">
                      <a:pos x="107" y="0"/>
                    </a:cxn>
                  </a:cxnLst>
                  <a:rect l="0" t="0" r="r" b="b"/>
                  <a:pathLst>
                    <a:path w="150" h="148">
                      <a:moveTo>
                        <a:pt x="107" y="0"/>
                      </a:moveTo>
                      <a:cubicBezTo>
                        <a:pt x="12" y="92"/>
                        <a:pt x="12" y="92"/>
                        <a:pt x="12" y="92"/>
                      </a:cubicBezTo>
                      <a:cubicBezTo>
                        <a:pt x="0" y="104"/>
                        <a:pt x="0" y="123"/>
                        <a:pt x="12" y="135"/>
                      </a:cubicBezTo>
                      <a:cubicBezTo>
                        <a:pt x="23" y="147"/>
                        <a:pt x="43" y="148"/>
                        <a:pt x="55" y="136"/>
                      </a:cubicBezTo>
                      <a:cubicBezTo>
                        <a:pt x="150" y="44"/>
                        <a:pt x="150" y="44"/>
                        <a:pt x="150" y="44"/>
                      </a:cubicBezTo>
                      <a:lnTo>
                        <a:pt x="107"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169" name="Freeform 5"/>
                <p:cNvSpPr>
                  <a:spLocks/>
                </p:cNvSpPr>
                <p:nvPr/>
              </p:nvSpPr>
              <p:spPr bwMode="auto">
                <a:xfrm rot="20700000">
                  <a:off x="3873308" y="1512036"/>
                  <a:ext cx="54599" cy="53462"/>
                </a:xfrm>
                <a:custGeom>
                  <a:avLst/>
                  <a:gdLst/>
                  <a:ahLst/>
                  <a:cxnLst>
                    <a:cxn ang="0">
                      <a:pos x="48" y="18"/>
                    </a:cxn>
                    <a:cxn ang="0">
                      <a:pos x="18" y="47"/>
                    </a:cxn>
                    <a:cxn ang="0">
                      <a:pos x="0" y="30"/>
                    </a:cxn>
                    <a:cxn ang="0">
                      <a:pos x="31" y="0"/>
                    </a:cxn>
                    <a:cxn ang="0">
                      <a:pos x="48" y="18"/>
                    </a:cxn>
                  </a:cxnLst>
                  <a:rect l="0" t="0" r="r" b="b"/>
                  <a:pathLst>
                    <a:path w="48" h="47">
                      <a:moveTo>
                        <a:pt x="48" y="18"/>
                      </a:moveTo>
                      <a:lnTo>
                        <a:pt x="18" y="47"/>
                      </a:lnTo>
                      <a:lnTo>
                        <a:pt x="0" y="30"/>
                      </a:lnTo>
                      <a:lnTo>
                        <a:pt x="31" y="0"/>
                      </a:lnTo>
                      <a:lnTo>
                        <a:pt x="48" y="1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ＭＳ Ｐゴシック" charset="0"/>
                    <a:cs typeface="+mn-cs"/>
                  </a:endParaRPr>
                </a:p>
              </p:txBody>
            </p:sp>
          </p:grpSp>
        </p:grpSp>
      </p:grpSp>
      <p:grpSp>
        <p:nvGrpSpPr>
          <p:cNvPr id="56" name="Group 55"/>
          <p:cNvGrpSpPr/>
          <p:nvPr/>
        </p:nvGrpSpPr>
        <p:grpSpPr>
          <a:xfrm>
            <a:off x="2783907" y="2045969"/>
            <a:ext cx="603504" cy="603504"/>
            <a:chOff x="2623034" y="2045969"/>
            <a:chExt cx="603504" cy="603504"/>
          </a:xfrm>
        </p:grpSpPr>
        <p:sp>
          <p:nvSpPr>
            <p:cNvPr id="223" name="Rounded Rectangle 222"/>
            <p:cNvSpPr/>
            <p:nvPr/>
          </p:nvSpPr>
          <p:spPr>
            <a:xfrm>
              <a:off x="2623034" y="2045969"/>
              <a:ext cx="603504" cy="603504"/>
            </a:xfrm>
            <a:prstGeom prst="round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grpSp>
          <p:nvGrpSpPr>
            <p:cNvPr id="50" name="Group 49"/>
            <p:cNvGrpSpPr/>
            <p:nvPr/>
          </p:nvGrpSpPr>
          <p:grpSpPr>
            <a:xfrm>
              <a:off x="2673257" y="2172106"/>
              <a:ext cx="503058" cy="351231"/>
              <a:chOff x="2573717" y="2047103"/>
              <a:chExt cx="702140" cy="490228"/>
            </a:xfrm>
          </p:grpSpPr>
          <p:sp>
            <p:nvSpPr>
              <p:cNvPr id="224" name="Freeform 18"/>
              <p:cNvSpPr>
                <a:spLocks noChangeAspect="1" noEditPoints="1"/>
              </p:cNvSpPr>
              <p:nvPr/>
            </p:nvSpPr>
            <p:spPr bwMode="auto">
              <a:xfrm>
                <a:off x="2573717" y="2047103"/>
                <a:ext cx="702140" cy="490228"/>
              </a:xfrm>
              <a:custGeom>
                <a:avLst/>
                <a:gdLst>
                  <a:gd name="T0" fmla="*/ 885 w 1591"/>
                  <a:gd name="T1" fmla="*/ 606 h 1109"/>
                  <a:gd name="T2" fmla="*/ 493 w 1591"/>
                  <a:gd name="T3" fmla="*/ 606 h 1109"/>
                  <a:gd name="T4" fmla="*/ 483 w 1591"/>
                  <a:gd name="T5" fmla="*/ 592 h 1109"/>
                  <a:gd name="T6" fmla="*/ 424 w 1591"/>
                  <a:gd name="T7" fmla="*/ 501 h 1109"/>
                  <a:gd name="T8" fmla="*/ 310 w 1591"/>
                  <a:gd name="T9" fmla="*/ 842 h 1109"/>
                  <a:gd name="T10" fmla="*/ 147 w 1591"/>
                  <a:gd name="T11" fmla="*/ 606 h 1109"/>
                  <a:gd name="T12" fmla="*/ 0 w 1591"/>
                  <a:gd name="T13" fmla="*/ 606 h 1109"/>
                  <a:gd name="T14" fmla="*/ 0 w 1591"/>
                  <a:gd name="T15" fmla="*/ 502 h 1109"/>
                  <a:gd name="T16" fmla="*/ 201 w 1591"/>
                  <a:gd name="T17" fmla="*/ 502 h 1109"/>
                  <a:gd name="T18" fmla="*/ 278 w 1591"/>
                  <a:gd name="T19" fmla="*/ 612 h 1109"/>
                  <a:gd name="T20" fmla="*/ 394 w 1591"/>
                  <a:gd name="T21" fmla="*/ 265 h 1109"/>
                  <a:gd name="T22" fmla="*/ 497 w 1591"/>
                  <a:gd name="T23" fmla="*/ 424 h 1109"/>
                  <a:gd name="T24" fmla="*/ 549 w 1591"/>
                  <a:gd name="T25" fmla="*/ 502 h 1109"/>
                  <a:gd name="T26" fmla="*/ 885 w 1591"/>
                  <a:gd name="T27" fmla="*/ 502 h 1109"/>
                  <a:gd name="T28" fmla="*/ 904 w 1591"/>
                  <a:gd name="T29" fmla="*/ 464 h 1109"/>
                  <a:gd name="T30" fmla="*/ 923 w 1591"/>
                  <a:gd name="T31" fmla="*/ 441 h 1109"/>
                  <a:gd name="T32" fmla="*/ 940 w 1591"/>
                  <a:gd name="T33" fmla="*/ 426 h 1109"/>
                  <a:gd name="T34" fmla="*/ 1036 w 1591"/>
                  <a:gd name="T35" fmla="*/ 394 h 1109"/>
                  <a:gd name="T36" fmla="*/ 1157 w 1591"/>
                  <a:gd name="T37" fmla="*/ 448 h 1109"/>
                  <a:gd name="T38" fmla="*/ 1196 w 1591"/>
                  <a:gd name="T39" fmla="*/ 554 h 1109"/>
                  <a:gd name="T40" fmla="*/ 1036 w 1591"/>
                  <a:gd name="T41" fmla="*/ 714 h 1109"/>
                  <a:gd name="T42" fmla="*/ 940 w 1591"/>
                  <a:gd name="T43" fmla="*/ 682 h 1109"/>
                  <a:gd name="T44" fmla="*/ 904 w 1591"/>
                  <a:gd name="T45" fmla="*/ 644 h 1109"/>
                  <a:gd name="T46" fmla="*/ 885 w 1591"/>
                  <a:gd name="T47" fmla="*/ 606 h 1109"/>
                  <a:gd name="T48" fmla="*/ 1036 w 1591"/>
                  <a:gd name="T49" fmla="*/ 809 h 1109"/>
                  <a:gd name="T50" fmla="*/ 816 w 1591"/>
                  <a:gd name="T51" fmla="*/ 682 h 1109"/>
                  <a:gd name="T52" fmla="*/ 701 w 1591"/>
                  <a:gd name="T53" fmla="*/ 682 h 1109"/>
                  <a:gd name="T54" fmla="*/ 1036 w 1591"/>
                  <a:gd name="T55" fmla="*/ 913 h 1109"/>
                  <a:gd name="T56" fmla="*/ 1396 w 1591"/>
                  <a:gd name="T57" fmla="*/ 554 h 1109"/>
                  <a:gd name="T58" fmla="*/ 1036 w 1591"/>
                  <a:gd name="T59" fmla="*/ 195 h 1109"/>
                  <a:gd name="T60" fmla="*/ 701 w 1591"/>
                  <a:gd name="T61" fmla="*/ 426 h 1109"/>
                  <a:gd name="T62" fmla="*/ 816 w 1591"/>
                  <a:gd name="T63" fmla="*/ 426 h 1109"/>
                  <a:gd name="T64" fmla="*/ 1036 w 1591"/>
                  <a:gd name="T65" fmla="*/ 299 h 1109"/>
                  <a:gd name="T66" fmla="*/ 1292 w 1591"/>
                  <a:gd name="T67" fmla="*/ 554 h 1109"/>
                  <a:gd name="T68" fmla="*/ 1036 w 1591"/>
                  <a:gd name="T69" fmla="*/ 809 h 1109"/>
                  <a:gd name="T70" fmla="*/ 1036 w 1591"/>
                  <a:gd name="T71" fmla="*/ 0 h 1109"/>
                  <a:gd name="T72" fmla="*/ 528 w 1591"/>
                  <a:gd name="T73" fmla="*/ 332 h 1109"/>
                  <a:gd name="T74" fmla="*/ 590 w 1591"/>
                  <a:gd name="T75" fmla="*/ 426 h 1109"/>
                  <a:gd name="T76" fmla="*/ 605 w 1591"/>
                  <a:gd name="T77" fmla="*/ 426 h 1109"/>
                  <a:gd name="T78" fmla="*/ 1036 w 1591"/>
                  <a:gd name="T79" fmla="*/ 104 h 1109"/>
                  <a:gd name="T80" fmla="*/ 1487 w 1591"/>
                  <a:gd name="T81" fmla="*/ 554 h 1109"/>
                  <a:gd name="T82" fmla="*/ 1036 w 1591"/>
                  <a:gd name="T83" fmla="*/ 1005 h 1109"/>
                  <a:gd name="T84" fmla="*/ 605 w 1591"/>
                  <a:gd name="T85" fmla="*/ 682 h 1109"/>
                  <a:gd name="T86" fmla="*/ 497 w 1591"/>
                  <a:gd name="T87" fmla="*/ 682 h 1109"/>
                  <a:gd name="T88" fmla="*/ 1036 w 1591"/>
                  <a:gd name="T89" fmla="*/ 1109 h 1109"/>
                  <a:gd name="T90" fmla="*/ 1591 w 1591"/>
                  <a:gd name="T91" fmla="*/ 554 h 1109"/>
                  <a:gd name="T92" fmla="*/ 1036 w 1591"/>
                  <a:gd name="T93"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91" h="1109">
                    <a:moveTo>
                      <a:pt x="885" y="606"/>
                    </a:moveTo>
                    <a:cubicBezTo>
                      <a:pt x="493" y="606"/>
                      <a:pt x="493" y="606"/>
                      <a:pt x="493" y="606"/>
                    </a:cubicBezTo>
                    <a:cubicBezTo>
                      <a:pt x="483" y="592"/>
                      <a:pt x="483" y="592"/>
                      <a:pt x="483" y="592"/>
                    </a:cubicBezTo>
                    <a:cubicBezTo>
                      <a:pt x="424" y="501"/>
                      <a:pt x="424" y="501"/>
                      <a:pt x="424" y="501"/>
                    </a:cubicBezTo>
                    <a:cubicBezTo>
                      <a:pt x="310" y="842"/>
                      <a:pt x="310" y="842"/>
                      <a:pt x="310" y="842"/>
                    </a:cubicBezTo>
                    <a:cubicBezTo>
                      <a:pt x="147" y="606"/>
                      <a:pt x="147" y="606"/>
                      <a:pt x="147" y="606"/>
                    </a:cubicBezTo>
                    <a:cubicBezTo>
                      <a:pt x="0" y="606"/>
                      <a:pt x="0" y="606"/>
                      <a:pt x="0" y="606"/>
                    </a:cubicBezTo>
                    <a:cubicBezTo>
                      <a:pt x="0" y="502"/>
                      <a:pt x="0" y="502"/>
                      <a:pt x="0" y="502"/>
                    </a:cubicBezTo>
                    <a:cubicBezTo>
                      <a:pt x="201" y="502"/>
                      <a:pt x="201" y="502"/>
                      <a:pt x="201" y="502"/>
                    </a:cubicBezTo>
                    <a:cubicBezTo>
                      <a:pt x="278" y="612"/>
                      <a:pt x="278" y="612"/>
                      <a:pt x="278" y="612"/>
                    </a:cubicBezTo>
                    <a:cubicBezTo>
                      <a:pt x="394" y="265"/>
                      <a:pt x="394" y="265"/>
                      <a:pt x="394" y="265"/>
                    </a:cubicBezTo>
                    <a:cubicBezTo>
                      <a:pt x="497" y="424"/>
                      <a:pt x="497" y="424"/>
                      <a:pt x="497" y="424"/>
                    </a:cubicBezTo>
                    <a:cubicBezTo>
                      <a:pt x="549" y="502"/>
                      <a:pt x="549" y="502"/>
                      <a:pt x="549" y="502"/>
                    </a:cubicBezTo>
                    <a:cubicBezTo>
                      <a:pt x="885" y="502"/>
                      <a:pt x="885" y="502"/>
                      <a:pt x="885" y="502"/>
                    </a:cubicBezTo>
                    <a:cubicBezTo>
                      <a:pt x="890" y="488"/>
                      <a:pt x="896" y="476"/>
                      <a:pt x="904" y="464"/>
                    </a:cubicBezTo>
                    <a:cubicBezTo>
                      <a:pt x="910" y="456"/>
                      <a:pt x="916" y="448"/>
                      <a:pt x="923" y="441"/>
                    </a:cubicBezTo>
                    <a:cubicBezTo>
                      <a:pt x="929" y="436"/>
                      <a:pt x="934" y="431"/>
                      <a:pt x="940" y="426"/>
                    </a:cubicBezTo>
                    <a:cubicBezTo>
                      <a:pt x="967" y="406"/>
                      <a:pt x="1000" y="394"/>
                      <a:pt x="1036" y="394"/>
                    </a:cubicBezTo>
                    <a:cubicBezTo>
                      <a:pt x="1084" y="394"/>
                      <a:pt x="1127" y="415"/>
                      <a:pt x="1157" y="448"/>
                    </a:cubicBezTo>
                    <a:cubicBezTo>
                      <a:pt x="1181" y="477"/>
                      <a:pt x="1196" y="514"/>
                      <a:pt x="1196" y="554"/>
                    </a:cubicBezTo>
                    <a:cubicBezTo>
                      <a:pt x="1196" y="642"/>
                      <a:pt x="1125" y="714"/>
                      <a:pt x="1036" y="714"/>
                    </a:cubicBezTo>
                    <a:cubicBezTo>
                      <a:pt x="1000" y="714"/>
                      <a:pt x="967" y="702"/>
                      <a:pt x="940" y="682"/>
                    </a:cubicBezTo>
                    <a:cubicBezTo>
                      <a:pt x="926" y="671"/>
                      <a:pt x="914" y="659"/>
                      <a:pt x="904" y="644"/>
                    </a:cubicBezTo>
                    <a:cubicBezTo>
                      <a:pt x="896" y="632"/>
                      <a:pt x="890" y="620"/>
                      <a:pt x="885" y="606"/>
                    </a:cubicBezTo>
                    <a:close/>
                    <a:moveTo>
                      <a:pt x="1036" y="809"/>
                    </a:moveTo>
                    <a:cubicBezTo>
                      <a:pt x="942" y="809"/>
                      <a:pt x="860" y="758"/>
                      <a:pt x="816" y="682"/>
                    </a:cubicBezTo>
                    <a:cubicBezTo>
                      <a:pt x="701" y="682"/>
                      <a:pt x="701" y="682"/>
                      <a:pt x="701" y="682"/>
                    </a:cubicBezTo>
                    <a:cubicBezTo>
                      <a:pt x="753" y="817"/>
                      <a:pt x="884" y="913"/>
                      <a:pt x="1036" y="913"/>
                    </a:cubicBezTo>
                    <a:cubicBezTo>
                      <a:pt x="1234" y="913"/>
                      <a:pt x="1396" y="752"/>
                      <a:pt x="1396" y="554"/>
                    </a:cubicBezTo>
                    <a:cubicBezTo>
                      <a:pt x="1396" y="356"/>
                      <a:pt x="1234" y="195"/>
                      <a:pt x="1036" y="195"/>
                    </a:cubicBezTo>
                    <a:cubicBezTo>
                      <a:pt x="884" y="195"/>
                      <a:pt x="753" y="291"/>
                      <a:pt x="701" y="426"/>
                    </a:cubicBezTo>
                    <a:cubicBezTo>
                      <a:pt x="816" y="426"/>
                      <a:pt x="816" y="426"/>
                      <a:pt x="816" y="426"/>
                    </a:cubicBezTo>
                    <a:cubicBezTo>
                      <a:pt x="860" y="350"/>
                      <a:pt x="942" y="299"/>
                      <a:pt x="1036" y="299"/>
                    </a:cubicBezTo>
                    <a:cubicBezTo>
                      <a:pt x="1177" y="299"/>
                      <a:pt x="1292" y="413"/>
                      <a:pt x="1292" y="554"/>
                    </a:cubicBezTo>
                    <a:cubicBezTo>
                      <a:pt x="1292" y="695"/>
                      <a:pt x="1177" y="809"/>
                      <a:pt x="1036" y="809"/>
                    </a:cubicBezTo>
                    <a:close/>
                    <a:moveTo>
                      <a:pt x="1036" y="0"/>
                    </a:moveTo>
                    <a:cubicBezTo>
                      <a:pt x="810" y="0"/>
                      <a:pt x="614" y="136"/>
                      <a:pt x="528" y="332"/>
                    </a:cubicBezTo>
                    <a:cubicBezTo>
                      <a:pt x="590" y="426"/>
                      <a:pt x="590" y="426"/>
                      <a:pt x="590" y="426"/>
                    </a:cubicBezTo>
                    <a:cubicBezTo>
                      <a:pt x="605" y="426"/>
                      <a:pt x="605" y="426"/>
                      <a:pt x="605" y="426"/>
                    </a:cubicBezTo>
                    <a:cubicBezTo>
                      <a:pt x="660" y="240"/>
                      <a:pt x="833" y="104"/>
                      <a:pt x="1036" y="104"/>
                    </a:cubicBezTo>
                    <a:cubicBezTo>
                      <a:pt x="1285" y="104"/>
                      <a:pt x="1487" y="306"/>
                      <a:pt x="1487" y="554"/>
                    </a:cubicBezTo>
                    <a:cubicBezTo>
                      <a:pt x="1487" y="802"/>
                      <a:pt x="1285" y="1005"/>
                      <a:pt x="1036" y="1005"/>
                    </a:cubicBezTo>
                    <a:cubicBezTo>
                      <a:pt x="833" y="1005"/>
                      <a:pt x="660" y="868"/>
                      <a:pt x="605" y="682"/>
                    </a:cubicBezTo>
                    <a:cubicBezTo>
                      <a:pt x="497" y="682"/>
                      <a:pt x="497" y="682"/>
                      <a:pt x="497" y="682"/>
                    </a:cubicBezTo>
                    <a:cubicBezTo>
                      <a:pt x="555" y="926"/>
                      <a:pt x="775" y="1109"/>
                      <a:pt x="1036" y="1109"/>
                    </a:cubicBezTo>
                    <a:cubicBezTo>
                      <a:pt x="1342" y="1109"/>
                      <a:pt x="1591" y="860"/>
                      <a:pt x="1591" y="554"/>
                    </a:cubicBezTo>
                    <a:cubicBezTo>
                      <a:pt x="1591" y="248"/>
                      <a:pt x="1342" y="0"/>
                      <a:pt x="1036" y="0"/>
                    </a:cubicBezTo>
                    <a:close/>
                  </a:path>
                </a:pathLst>
              </a:custGeom>
              <a:solidFill>
                <a:schemeClr val="bg2"/>
              </a:solidFill>
              <a:ln>
                <a:noFill/>
              </a:ln>
            </p:spPr>
            <p:txBody>
              <a:bodyPr vert="horz" wrap="square" lIns="91432" tIns="45719" rIns="91432" bIns="45719" numCol="1" anchor="t" anchorCtr="0" compatLnSpc="1">
                <a:prstTxWarp prst="textNoShape">
                  <a:avLst/>
                </a:prstTxWarp>
              </a:bodyPr>
              <a:lstStyle/>
              <a:p>
                <a:pPr marL="0" marR="0" lvl="0" indent="0" algn="l" defTabSz="103147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iscoSansTT ExtraLight"/>
                  <a:ea typeface=""/>
                  <a:cs typeface="FontAwesome"/>
                </a:endParaRPr>
              </a:p>
            </p:txBody>
          </p:sp>
          <p:sp>
            <p:nvSpPr>
              <p:cNvPr id="49" name="Oval 48"/>
              <p:cNvSpPr/>
              <p:nvPr/>
            </p:nvSpPr>
            <p:spPr>
              <a:xfrm>
                <a:off x="2977148" y="2238562"/>
                <a:ext cx="111043" cy="11104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5073"/>
                  </a:solidFill>
                  <a:effectLst/>
                  <a:uLnTx/>
                  <a:uFillTx/>
                  <a:latin typeface="Calibri"/>
                  <a:ea typeface="+mn-ea"/>
                  <a:cs typeface="+mn-cs"/>
                </a:endParaRPr>
              </a:p>
            </p:txBody>
          </p:sp>
        </p:grpSp>
      </p:grpSp>
    </p:spTree>
    <p:extLst>
      <p:ext uri="{BB962C8B-B14F-4D97-AF65-F5344CB8AC3E}">
        <p14:creationId xmlns:p14="http://schemas.microsoft.com/office/powerpoint/2010/main" val="42653979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54"/>
                                        </p:tgtEl>
                                        <p:attrNameLst>
                                          <p:attrName>style.visibility</p:attrName>
                                        </p:attrNameLst>
                                      </p:cBhvr>
                                      <p:to>
                                        <p:strVal val="visible"/>
                                      </p:to>
                                    </p:set>
                                    <p:anim calcmode="lin" valueType="num">
                                      <p:cBhvr>
                                        <p:cTn id="7" dur="500" fill="hold"/>
                                        <p:tgtEl>
                                          <p:spTgt spid="54"/>
                                        </p:tgtEl>
                                        <p:attrNameLst>
                                          <p:attrName>ppt_w</p:attrName>
                                        </p:attrNameLst>
                                      </p:cBhvr>
                                      <p:tavLst>
                                        <p:tav tm="0">
                                          <p:val>
                                            <p:fltVal val="0"/>
                                          </p:val>
                                        </p:tav>
                                        <p:tav tm="100000">
                                          <p:val>
                                            <p:strVal val="#ppt_w"/>
                                          </p:val>
                                        </p:tav>
                                      </p:tavLst>
                                    </p:anim>
                                    <p:anim calcmode="lin" valueType="num">
                                      <p:cBhvr>
                                        <p:cTn id="8" dur="500" fill="hold"/>
                                        <p:tgtEl>
                                          <p:spTgt spid="54"/>
                                        </p:tgtEl>
                                        <p:attrNameLst>
                                          <p:attrName>ppt_h</p:attrName>
                                        </p:attrNameLst>
                                      </p:cBhvr>
                                      <p:tavLst>
                                        <p:tav tm="0">
                                          <p:val>
                                            <p:fltVal val="0"/>
                                          </p:val>
                                        </p:tav>
                                        <p:tav tm="100000">
                                          <p:val>
                                            <p:strVal val="#ppt_h"/>
                                          </p:val>
                                        </p:tav>
                                      </p:tavLst>
                                    </p:anim>
                                    <p:animEffect transition="in" filter="fade">
                                      <p:cBhvr>
                                        <p:cTn id="9" dur="500"/>
                                        <p:tgtEl>
                                          <p:spTgt spid="54"/>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199"/>
                                        </p:tgtEl>
                                        <p:attrNameLst>
                                          <p:attrName>style.visibility</p:attrName>
                                        </p:attrNameLst>
                                      </p:cBhvr>
                                      <p:to>
                                        <p:strVal val="visible"/>
                                      </p:to>
                                    </p:set>
                                    <p:anim calcmode="lin" valueType="num">
                                      <p:cBhvr>
                                        <p:cTn id="13" dur="500" fill="hold"/>
                                        <p:tgtEl>
                                          <p:spTgt spid="199"/>
                                        </p:tgtEl>
                                        <p:attrNameLst>
                                          <p:attrName>ppt_w</p:attrName>
                                        </p:attrNameLst>
                                      </p:cBhvr>
                                      <p:tavLst>
                                        <p:tav tm="0">
                                          <p:val>
                                            <p:fltVal val="0"/>
                                          </p:val>
                                        </p:tav>
                                        <p:tav tm="100000">
                                          <p:val>
                                            <p:strVal val="#ppt_w"/>
                                          </p:val>
                                        </p:tav>
                                      </p:tavLst>
                                    </p:anim>
                                    <p:anim calcmode="lin" valueType="num">
                                      <p:cBhvr>
                                        <p:cTn id="14" dur="500" fill="hold"/>
                                        <p:tgtEl>
                                          <p:spTgt spid="199"/>
                                        </p:tgtEl>
                                        <p:attrNameLst>
                                          <p:attrName>ppt_h</p:attrName>
                                        </p:attrNameLst>
                                      </p:cBhvr>
                                      <p:tavLst>
                                        <p:tav tm="0">
                                          <p:val>
                                            <p:fltVal val="0"/>
                                          </p:val>
                                        </p:tav>
                                        <p:tav tm="100000">
                                          <p:val>
                                            <p:strVal val="#ppt_h"/>
                                          </p:val>
                                        </p:tav>
                                      </p:tavLst>
                                    </p:anim>
                                    <p:animEffect transition="in" filter="fade">
                                      <p:cBhvr>
                                        <p:cTn id="15" dur="500"/>
                                        <p:tgtEl>
                                          <p:spTgt spid="199"/>
                                        </p:tgtEl>
                                      </p:cBhvr>
                                    </p:animEffect>
                                  </p:childTnLst>
                                </p:cTn>
                              </p:par>
                              <p:par>
                                <p:cTn id="16" presetID="53" presetClass="entr" presetSubtype="16" fill="hold" grpId="0" nodeType="withEffect">
                                  <p:stCondLst>
                                    <p:cond delay="0"/>
                                  </p:stCondLst>
                                  <p:childTnLst>
                                    <p:set>
                                      <p:cBhvr>
                                        <p:cTn id="17" dur="1" fill="hold">
                                          <p:stCondLst>
                                            <p:cond delay="0"/>
                                          </p:stCondLst>
                                        </p:cTn>
                                        <p:tgtEl>
                                          <p:spTgt spid="200"/>
                                        </p:tgtEl>
                                        <p:attrNameLst>
                                          <p:attrName>style.visibility</p:attrName>
                                        </p:attrNameLst>
                                      </p:cBhvr>
                                      <p:to>
                                        <p:strVal val="visible"/>
                                      </p:to>
                                    </p:set>
                                    <p:anim calcmode="lin" valueType="num">
                                      <p:cBhvr>
                                        <p:cTn id="18" dur="500" fill="hold"/>
                                        <p:tgtEl>
                                          <p:spTgt spid="200"/>
                                        </p:tgtEl>
                                        <p:attrNameLst>
                                          <p:attrName>ppt_w</p:attrName>
                                        </p:attrNameLst>
                                      </p:cBhvr>
                                      <p:tavLst>
                                        <p:tav tm="0">
                                          <p:val>
                                            <p:fltVal val="0"/>
                                          </p:val>
                                        </p:tav>
                                        <p:tav tm="100000">
                                          <p:val>
                                            <p:strVal val="#ppt_w"/>
                                          </p:val>
                                        </p:tav>
                                      </p:tavLst>
                                    </p:anim>
                                    <p:anim calcmode="lin" valueType="num">
                                      <p:cBhvr>
                                        <p:cTn id="19" dur="500" fill="hold"/>
                                        <p:tgtEl>
                                          <p:spTgt spid="200"/>
                                        </p:tgtEl>
                                        <p:attrNameLst>
                                          <p:attrName>ppt_h</p:attrName>
                                        </p:attrNameLst>
                                      </p:cBhvr>
                                      <p:tavLst>
                                        <p:tav tm="0">
                                          <p:val>
                                            <p:fltVal val="0"/>
                                          </p:val>
                                        </p:tav>
                                        <p:tav tm="100000">
                                          <p:val>
                                            <p:strVal val="#ppt_h"/>
                                          </p:val>
                                        </p:tav>
                                      </p:tavLst>
                                    </p:anim>
                                    <p:animEffect transition="in" filter="fade">
                                      <p:cBhvr>
                                        <p:cTn id="20" dur="500"/>
                                        <p:tgtEl>
                                          <p:spTgt spid="200"/>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201"/>
                                        </p:tgtEl>
                                        <p:attrNameLst>
                                          <p:attrName>style.visibility</p:attrName>
                                        </p:attrNameLst>
                                      </p:cBhvr>
                                      <p:to>
                                        <p:strVal val="visible"/>
                                      </p:to>
                                    </p:set>
                                    <p:anim calcmode="lin" valueType="num">
                                      <p:cBhvr>
                                        <p:cTn id="23" dur="500" fill="hold"/>
                                        <p:tgtEl>
                                          <p:spTgt spid="201"/>
                                        </p:tgtEl>
                                        <p:attrNameLst>
                                          <p:attrName>ppt_w</p:attrName>
                                        </p:attrNameLst>
                                      </p:cBhvr>
                                      <p:tavLst>
                                        <p:tav tm="0">
                                          <p:val>
                                            <p:fltVal val="0"/>
                                          </p:val>
                                        </p:tav>
                                        <p:tav tm="100000">
                                          <p:val>
                                            <p:strVal val="#ppt_w"/>
                                          </p:val>
                                        </p:tav>
                                      </p:tavLst>
                                    </p:anim>
                                    <p:anim calcmode="lin" valueType="num">
                                      <p:cBhvr>
                                        <p:cTn id="24" dur="500" fill="hold"/>
                                        <p:tgtEl>
                                          <p:spTgt spid="201"/>
                                        </p:tgtEl>
                                        <p:attrNameLst>
                                          <p:attrName>ppt_h</p:attrName>
                                        </p:attrNameLst>
                                      </p:cBhvr>
                                      <p:tavLst>
                                        <p:tav tm="0">
                                          <p:val>
                                            <p:fltVal val="0"/>
                                          </p:val>
                                        </p:tav>
                                        <p:tav tm="100000">
                                          <p:val>
                                            <p:strVal val="#ppt_h"/>
                                          </p:val>
                                        </p:tav>
                                      </p:tavLst>
                                    </p:anim>
                                    <p:animEffect transition="in" filter="fade">
                                      <p:cBhvr>
                                        <p:cTn id="25" dur="500"/>
                                        <p:tgtEl>
                                          <p:spTgt spid="201"/>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202"/>
                                        </p:tgtEl>
                                        <p:attrNameLst>
                                          <p:attrName>style.visibility</p:attrName>
                                        </p:attrNameLst>
                                      </p:cBhvr>
                                      <p:to>
                                        <p:strVal val="visible"/>
                                      </p:to>
                                    </p:set>
                                    <p:anim calcmode="lin" valueType="num">
                                      <p:cBhvr>
                                        <p:cTn id="28" dur="500" fill="hold"/>
                                        <p:tgtEl>
                                          <p:spTgt spid="202"/>
                                        </p:tgtEl>
                                        <p:attrNameLst>
                                          <p:attrName>ppt_w</p:attrName>
                                        </p:attrNameLst>
                                      </p:cBhvr>
                                      <p:tavLst>
                                        <p:tav tm="0">
                                          <p:val>
                                            <p:fltVal val="0"/>
                                          </p:val>
                                        </p:tav>
                                        <p:tav tm="100000">
                                          <p:val>
                                            <p:strVal val="#ppt_w"/>
                                          </p:val>
                                        </p:tav>
                                      </p:tavLst>
                                    </p:anim>
                                    <p:anim calcmode="lin" valueType="num">
                                      <p:cBhvr>
                                        <p:cTn id="29" dur="500" fill="hold"/>
                                        <p:tgtEl>
                                          <p:spTgt spid="202"/>
                                        </p:tgtEl>
                                        <p:attrNameLst>
                                          <p:attrName>ppt_h</p:attrName>
                                        </p:attrNameLst>
                                      </p:cBhvr>
                                      <p:tavLst>
                                        <p:tav tm="0">
                                          <p:val>
                                            <p:fltVal val="0"/>
                                          </p:val>
                                        </p:tav>
                                        <p:tav tm="100000">
                                          <p:val>
                                            <p:strVal val="#ppt_h"/>
                                          </p:val>
                                        </p:tav>
                                      </p:tavLst>
                                    </p:anim>
                                    <p:animEffect transition="in" filter="fade">
                                      <p:cBhvr>
                                        <p:cTn id="30" dur="500"/>
                                        <p:tgtEl>
                                          <p:spTgt spid="202"/>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203"/>
                                        </p:tgtEl>
                                        <p:attrNameLst>
                                          <p:attrName>style.visibility</p:attrName>
                                        </p:attrNameLst>
                                      </p:cBhvr>
                                      <p:to>
                                        <p:strVal val="visible"/>
                                      </p:to>
                                    </p:set>
                                    <p:anim calcmode="lin" valueType="num">
                                      <p:cBhvr>
                                        <p:cTn id="33" dur="500" fill="hold"/>
                                        <p:tgtEl>
                                          <p:spTgt spid="203"/>
                                        </p:tgtEl>
                                        <p:attrNameLst>
                                          <p:attrName>ppt_w</p:attrName>
                                        </p:attrNameLst>
                                      </p:cBhvr>
                                      <p:tavLst>
                                        <p:tav tm="0">
                                          <p:val>
                                            <p:fltVal val="0"/>
                                          </p:val>
                                        </p:tav>
                                        <p:tav tm="100000">
                                          <p:val>
                                            <p:strVal val="#ppt_w"/>
                                          </p:val>
                                        </p:tav>
                                      </p:tavLst>
                                    </p:anim>
                                    <p:anim calcmode="lin" valueType="num">
                                      <p:cBhvr>
                                        <p:cTn id="34" dur="500" fill="hold"/>
                                        <p:tgtEl>
                                          <p:spTgt spid="203"/>
                                        </p:tgtEl>
                                        <p:attrNameLst>
                                          <p:attrName>ppt_h</p:attrName>
                                        </p:attrNameLst>
                                      </p:cBhvr>
                                      <p:tavLst>
                                        <p:tav tm="0">
                                          <p:val>
                                            <p:fltVal val="0"/>
                                          </p:val>
                                        </p:tav>
                                        <p:tav tm="100000">
                                          <p:val>
                                            <p:strVal val="#ppt_h"/>
                                          </p:val>
                                        </p:tav>
                                      </p:tavLst>
                                    </p:anim>
                                    <p:animEffect transition="in" filter="fade">
                                      <p:cBhvr>
                                        <p:cTn id="35" dur="500"/>
                                        <p:tgtEl>
                                          <p:spTgt spid="203"/>
                                        </p:tgtEl>
                                      </p:cBhvr>
                                    </p:animEffect>
                                  </p:childTnLst>
                                </p:cTn>
                              </p:par>
                            </p:childTnLst>
                          </p:cTn>
                        </p:par>
                        <p:par>
                          <p:cTn id="36" fill="hold">
                            <p:stCondLst>
                              <p:cond delay="1000"/>
                            </p:stCondLst>
                            <p:childTnLst>
                              <p:par>
                                <p:cTn id="37" presetID="47" presetClass="entr" presetSubtype="0" fill="hold" grpId="0" nodeType="afterEffect">
                                  <p:stCondLst>
                                    <p:cond delay="0"/>
                                  </p:stCondLst>
                                  <p:childTnLst>
                                    <p:set>
                                      <p:cBhvr>
                                        <p:cTn id="38" dur="1" fill="hold">
                                          <p:stCondLst>
                                            <p:cond delay="0"/>
                                          </p:stCondLst>
                                        </p:cTn>
                                        <p:tgtEl>
                                          <p:spTgt spid="195"/>
                                        </p:tgtEl>
                                        <p:attrNameLst>
                                          <p:attrName>style.visibility</p:attrName>
                                        </p:attrNameLst>
                                      </p:cBhvr>
                                      <p:to>
                                        <p:strVal val="visible"/>
                                      </p:to>
                                    </p:set>
                                    <p:animEffect transition="in" filter="fade">
                                      <p:cBhvr>
                                        <p:cTn id="39" dur="500"/>
                                        <p:tgtEl>
                                          <p:spTgt spid="195"/>
                                        </p:tgtEl>
                                      </p:cBhvr>
                                    </p:animEffect>
                                    <p:anim calcmode="lin" valueType="num">
                                      <p:cBhvr>
                                        <p:cTn id="40" dur="500" fill="hold"/>
                                        <p:tgtEl>
                                          <p:spTgt spid="195"/>
                                        </p:tgtEl>
                                        <p:attrNameLst>
                                          <p:attrName>ppt_x</p:attrName>
                                        </p:attrNameLst>
                                      </p:cBhvr>
                                      <p:tavLst>
                                        <p:tav tm="0">
                                          <p:val>
                                            <p:strVal val="#ppt_x"/>
                                          </p:val>
                                        </p:tav>
                                        <p:tav tm="100000">
                                          <p:val>
                                            <p:strVal val="#ppt_x"/>
                                          </p:val>
                                        </p:tav>
                                      </p:tavLst>
                                    </p:anim>
                                    <p:anim calcmode="lin" valueType="num">
                                      <p:cBhvr>
                                        <p:cTn id="41" dur="500" fill="hold"/>
                                        <p:tgtEl>
                                          <p:spTgt spid="195"/>
                                        </p:tgtEl>
                                        <p:attrNameLst>
                                          <p:attrName>ppt_y</p:attrName>
                                        </p:attrNameLst>
                                      </p:cBhvr>
                                      <p:tavLst>
                                        <p:tav tm="0">
                                          <p:val>
                                            <p:strVal val="#ppt_y-.1"/>
                                          </p:val>
                                        </p:tav>
                                        <p:tav tm="100000">
                                          <p:val>
                                            <p:strVal val="#ppt_y"/>
                                          </p:val>
                                        </p:tav>
                                      </p:tavLst>
                                    </p:anim>
                                  </p:childTnLst>
                                </p:cTn>
                              </p:par>
                              <p:par>
                                <p:cTn id="42" presetID="22" presetClass="entr" presetSubtype="2" fill="hold" grpId="0" nodeType="withEffect">
                                  <p:stCondLst>
                                    <p:cond delay="0"/>
                                  </p:stCondLst>
                                  <p:childTnLst>
                                    <p:set>
                                      <p:cBhvr>
                                        <p:cTn id="43" dur="1" fill="hold">
                                          <p:stCondLst>
                                            <p:cond delay="0"/>
                                          </p:stCondLst>
                                        </p:cTn>
                                        <p:tgtEl>
                                          <p:spTgt spid="174"/>
                                        </p:tgtEl>
                                        <p:attrNameLst>
                                          <p:attrName>style.visibility</p:attrName>
                                        </p:attrNameLst>
                                      </p:cBhvr>
                                      <p:to>
                                        <p:strVal val="visible"/>
                                      </p:to>
                                    </p:set>
                                    <p:animEffect transition="in" filter="wipe(right)">
                                      <p:cBhvr>
                                        <p:cTn id="44" dur="500"/>
                                        <p:tgtEl>
                                          <p:spTgt spid="174"/>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173"/>
                                        </p:tgtEl>
                                        <p:attrNameLst>
                                          <p:attrName>style.visibility</p:attrName>
                                        </p:attrNameLst>
                                      </p:cBhvr>
                                      <p:to>
                                        <p:strVal val="visible"/>
                                      </p:to>
                                    </p:set>
                                    <p:animEffect transition="in" filter="wipe(left)">
                                      <p:cBhvr>
                                        <p:cTn id="47" dur="500"/>
                                        <p:tgtEl>
                                          <p:spTgt spid="173"/>
                                        </p:tgtEl>
                                      </p:cBhvr>
                                    </p:animEffect>
                                  </p:childTnLst>
                                </p:cTn>
                              </p:par>
                              <p:par>
                                <p:cTn id="48" presetID="53" presetClass="entr" presetSubtype="16" fill="hold" grpId="0" nodeType="withEffect">
                                  <p:stCondLst>
                                    <p:cond delay="0"/>
                                  </p:stCondLst>
                                  <p:childTnLst>
                                    <p:set>
                                      <p:cBhvr>
                                        <p:cTn id="49" dur="1" fill="hold">
                                          <p:stCondLst>
                                            <p:cond delay="0"/>
                                          </p:stCondLst>
                                        </p:cTn>
                                        <p:tgtEl>
                                          <p:spTgt spid="204"/>
                                        </p:tgtEl>
                                        <p:attrNameLst>
                                          <p:attrName>style.visibility</p:attrName>
                                        </p:attrNameLst>
                                      </p:cBhvr>
                                      <p:to>
                                        <p:strVal val="visible"/>
                                      </p:to>
                                    </p:set>
                                    <p:anim calcmode="lin" valueType="num">
                                      <p:cBhvr>
                                        <p:cTn id="50" dur="500" fill="hold"/>
                                        <p:tgtEl>
                                          <p:spTgt spid="204"/>
                                        </p:tgtEl>
                                        <p:attrNameLst>
                                          <p:attrName>ppt_w</p:attrName>
                                        </p:attrNameLst>
                                      </p:cBhvr>
                                      <p:tavLst>
                                        <p:tav tm="0">
                                          <p:val>
                                            <p:fltVal val="0"/>
                                          </p:val>
                                        </p:tav>
                                        <p:tav tm="100000">
                                          <p:val>
                                            <p:strVal val="#ppt_w"/>
                                          </p:val>
                                        </p:tav>
                                      </p:tavLst>
                                    </p:anim>
                                    <p:anim calcmode="lin" valueType="num">
                                      <p:cBhvr>
                                        <p:cTn id="51" dur="500" fill="hold"/>
                                        <p:tgtEl>
                                          <p:spTgt spid="204"/>
                                        </p:tgtEl>
                                        <p:attrNameLst>
                                          <p:attrName>ppt_h</p:attrName>
                                        </p:attrNameLst>
                                      </p:cBhvr>
                                      <p:tavLst>
                                        <p:tav tm="0">
                                          <p:val>
                                            <p:fltVal val="0"/>
                                          </p:val>
                                        </p:tav>
                                        <p:tav tm="100000">
                                          <p:val>
                                            <p:strVal val="#ppt_h"/>
                                          </p:val>
                                        </p:tav>
                                      </p:tavLst>
                                    </p:anim>
                                    <p:animEffect transition="in" filter="fade">
                                      <p:cBhvr>
                                        <p:cTn id="52" dur="500"/>
                                        <p:tgtEl>
                                          <p:spTgt spid="204"/>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205"/>
                                        </p:tgtEl>
                                        <p:attrNameLst>
                                          <p:attrName>style.visibility</p:attrName>
                                        </p:attrNameLst>
                                      </p:cBhvr>
                                      <p:to>
                                        <p:strVal val="visible"/>
                                      </p:to>
                                    </p:set>
                                    <p:anim calcmode="lin" valueType="num">
                                      <p:cBhvr>
                                        <p:cTn id="55" dur="500" fill="hold"/>
                                        <p:tgtEl>
                                          <p:spTgt spid="205"/>
                                        </p:tgtEl>
                                        <p:attrNameLst>
                                          <p:attrName>ppt_w</p:attrName>
                                        </p:attrNameLst>
                                      </p:cBhvr>
                                      <p:tavLst>
                                        <p:tav tm="0">
                                          <p:val>
                                            <p:fltVal val="0"/>
                                          </p:val>
                                        </p:tav>
                                        <p:tav tm="100000">
                                          <p:val>
                                            <p:strVal val="#ppt_w"/>
                                          </p:val>
                                        </p:tav>
                                      </p:tavLst>
                                    </p:anim>
                                    <p:anim calcmode="lin" valueType="num">
                                      <p:cBhvr>
                                        <p:cTn id="56" dur="500" fill="hold"/>
                                        <p:tgtEl>
                                          <p:spTgt spid="205"/>
                                        </p:tgtEl>
                                        <p:attrNameLst>
                                          <p:attrName>ppt_h</p:attrName>
                                        </p:attrNameLst>
                                      </p:cBhvr>
                                      <p:tavLst>
                                        <p:tav tm="0">
                                          <p:val>
                                            <p:fltVal val="0"/>
                                          </p:val>
                                        </p:tav>
                                        <p:tav tm="100000">
                                          <p:val>
                                            <p:strVal val="#ppt_h"/>
                                          </p:val>
                                        </p:tav>
                                      </p:tavLst>
                                    </p:anim>
                                    <p:animEffect transition="in" filter="fade">
                                      <p:cBhvr>
                                        <p:cTn id="57" dur="500"/>
                                        <p:tgtEl>
                                          <p:spTgt spid="205"/>
                                        </p:tgtEl>
                                      </p:cBhvr>
                                    </p:animEffect>
                                  </p:childTnLst>
                                </p:cTn>
                              </p:par>
                            </p:childTnLst>
                          </p:cTn>
                        </p:par>
                        <p:par>
                          <p:cTn id="58" fill="hold">
                            <p:stCondLst>
                              <p:cond delay="1500"/>
                            </p:stCondLst>
                            <p:childTnLst>
                              <p:par>
                                <p:cTn id="59" presetID="53" presetClass="entr" presetSubtype="16" fill="hold" nodeType="afterEffect">
                                  <p:stCondLst>
                                    <p:cond delay="0"/>
                                  </p:stCondLst>
                                  <p:childTnLst>
                                    <p:set>
                                      <p:cBhvr>
                                        <p:cTn id="60" dur="1" fill="hold">
                                          <p:stCondLst>
                                            <p:cond delay="0"/>
                                          </p:stCondLst>
                                        </p:cTn>
                                        <p:tgtEl>
                                          <p:spTgt spid="55"/>
                                        </p:tgtEl>
                                        <p:attrNameLst>
                                          <p:attrName>style.visibility</p:attrName>
                                        </p:attrNameLst>
                                      </p:cBhvr>
                                      <p:to>
                                        <p:strVal val="visible"/>
                                      </p:to>
                                    </p:set>
                                    <p:anim calcmode="lin" valueType="num">
                                      <p:cBhvr>
                                        <p:cTn id="61" dur="500" fill="hold"/>
                                        <p:tgtEl>
                                          <p:spTgt spid="55"/>
                                        </p:tgtEl>
                                        <p:attrNameLst>
                                          <p:attrName>ppt_w</p:attrName>
                                        </p:attrNameLst>
                                      </p:cBhvr>
                                      <p:tavLst>
                                        <p:tav tm="0">
                                          <p:val>
                                            <p:fltVal val="0"/>
                                          </p:val>
                                        </p:tav>
                                        <p:tav tm="100000">
                                          <p:val>
                                            <p:strVal val="#ppt_w"/>
                                          </p:val>
                                        </p:tav>
                                      </p:tavLst>
                                    </p:anim>
                                    <p:anim calcmode="lin" valueType="num">
                                      <p:cBhvr>
                                        <p:cTn id="62" dur="500" fill="hold"/>
                                        <p:tgtEl>
                                          <p:spTgt spid="55"/>
                                        </p:tgtEl>
                                        <p:attrNameLst>
                                          <p:attrName>ppt_h</p:attrName>
                                        </p:attrNameLst>
                                      </p:cBhvr>
                                      <p:tavLst>
                                        <p:tav tm="0">
                                          <p:val>
                                            <p:fltVal val="0"/>
                                          </p:val>
                                        </p:tav>
                                        <p:tav tm="100000">
                                          <p:val>
                                            <p:strVal val="#ppt_h"/>
                                          </p:val>
                                        </p:tav>
                                      </p:tavLst>
                                    </p:anim>
                                    <p:animEffect transition="in" filter="fade">
                                      <p:cBhvr>
                                        <p:cTn id="63" dur="500"/>
                                        <p:tgtEl>
                                          <p:spTgt spid="55"/>
                                        </p:tgtEl>
                                      </p:cBhvr>
                                    </p:animEffect>
                                  </p:childTnLst>
                                </p:cTn>
                              </p:par>
                              <p:par>
                                <p:cTn id="64" presetID="12" presetClass="entr" presetSubtype="2" fill="hold" grpId="0" nodeType="withEffect">
                                  <p:stCondLst>
                                    <p:cond delay="0"/>
                                  </p:stCondLst>
                                  <p:childTnLst>
                                    <p:set>
                                      <p:cBhvr>
                                        <p:cTn id="65" dur="1" fill="hold">
                                          <p:stCondLst>
                                            <p:cond delay="0"/>
                                          </p:stCondLst>
                                        </p:cTn>
                                        <p:tgtEl>
                                          <p:spTgt spid="237"/>
                                        </p:tgtEl>
                                        <p:attrNameLst>
                                          <p:attrName>style.visibility</p:attrName>
                                        </p:attrNameLst>
                                      </p:cBhvr>
                                      <p:to>
                                        <p:strVal val="visible"/>
                                      </p:to>
                                    </p:set>
                                    <p:anim calcmode="lin" valueType="num">
                                      <p:cBhvr additive="base">
                                        <p:cTn id="66" dur="500"/>
                                        <p:tgtEl>
                                          <p:spTgt spid="237"/>
                                        </p:tgtEl>
                                        <p:attrNameLst>
                                          <p:attrName>ppt_x</p:attrName>
                                        </p:attrNameLst>
                                      </p:cBhvr>
                                      <p:tavLst>
                                        <p:tav tm="0">
                                          <p:val>
                                            <p:strVal val="#ppt_x+#ppt_w*1.125000"/>
                                          </p:val>
                                        </p:tav>
                                        <p:tav tm="100000">
                                          <p:val>
                                            <p:strVal val="#ppt_x"/>
                                          </p:val>
                                        </p:tav>
                                      </p:tavLst>
                                    </p:anim>
                                    <p:animEffect transition="in" filter="wipe(left)">
                                      <p:cBhvr>
                                        <p:cTn id="67" dur="500"/>
                                        <p:tgtEl>
                                          <p:spTgt spid="237"/>
                                        </p:tgtEl>
                                      </p:cBhvr>
                                    </p:animEffect>
                                  </p:childTnLst>
                                </p:cTn>
                              </p:par>
                              <p:par>
                                <p:cTn id="68" presetID="53" presetClass="entr" presetSubtype="16" fill="hold" nodeType="withEffect">
                                  <p:stCondLst>
                                    <p:cond delay="100"/>
                                  </p:stCondLst>
                                  <p:childTnLst>
                                    <p:set>
                                      <p:cBhvr>
                                        <p:cTn id="69" dur="1" fill="hold">
                                          <p:stCondLst>
                                            <p:cond delay="0"/>
                                          </p:stCondLst>
                                        </p:cTn>
                                        <p:tgtEl>
                                          <p:spTgt spid="56"/>
                                        </p:tgtEl>
                                        <p:attrNameLst>
                                          <p:attrName>style.visibility</p:attrName>
                                        </p:attrNameLst>
                                      </p:cBhvr>
                                      <p:to>
                                        <p:strVal val="visible"/>
                                      </p:to>
                                    </p:set>
                                    <p:anim calcmode="lin" valueType="num">
                                      <p:cBhvr>
                                        <p:cTn id="70" dur="500" fill="hold"/>
                                        <p:tgtEl>
                                          <p:spTgt spid="56"/>
                                        </p:tgtEl>
                                        <p:attrNameLst>
                                          <p:attrName>ppt_w</p:attrName>
                                        </p:attrNameLst>
                                      </p:cBhvr>
                                      <p:tavLst>
                                        <p:tav tm="0">
                                          <p:val>
                                            <p:fltVal val="0"/>
                                          </p:val>
                                        </p:tav>
                                        <p:tav tm="100000">
                                          <p:val>
                                            <p:strVal val="#ppt_w"/>
                                          </p:val>
                                        </p:tav>
                                      </p:tavLst>
                                    </p:anim>
                                    <p:anim calcmode="lin" valueType="num">
                                      <p:cBhvr>
                                        <p:cTn id="71" dur="500" fill="hold"/>
                                        <p:tgtEl>
                                          <p:spTgt spid="56"/>
                                        </p:tgtEl>
                                        <p:attrNameLst>
                                          <p:attrName>ppt_h</p:attrName>
                                        </p:attrNameLst>
                                      </p:cBhvr>
                                      <p:tavLst>
                                        <p:tav tm="0">
                                          <p:val>
                                            <p:fltVal val="0"/>
                                          </p:val>
                                        </p:tav>
                                        <p:tav tm="100000">
                                          <p:val>
                                            <p:strVal val="#ppt_h"/>
                                          </p:val>
                                        </p:tav>
                                      </p:tavLst>
                                    </p:anim>
                                    <p:animEffect transition="in" filter="fade">
                                      <p:cBhvr>
                                        <p:cTn id="72" dur="500"/>
                                        <p:tgtEl>
                                          <p:spTgt spid="56"/>
                                        </p:tgtEl>
                                      </p:cBhvr>
                                    </p:animEffect>
                                  </p:childTnLst>
                                </p:cTn>
                              </p:par>
                              <p:par>
                                <p:cTn id="73" presetID="12" presetClass="entr" presetSubtype="2" fill="hold" grpId="0" nodeType="withEffect">
                                  <p:stCondLst>
                                    <p:cond delay="100"/>
                                  </p:stCondLst>
                                  <p:childTnLst>
                                    <p:set>
                                      <p:cBhvr>
                                        <p:cTn id="74" dur="1" fill="hold">
                                          <p:stCondLst>
                                            <p:cond delay="0"/>
                                          </p:stCondLst>
                                        </p:cTn>
                                        <p:tgtEl>
                                          <p:spTgt spid="238"/>
                                        </p:tgtEl>
                                        <p:attrNameLst>
                                          <p:attrName>style.visibility</p:attrName>
                                        </p:attrNameLst>
                                      </p:cBhvr>
                                      <p:to>
                                        <p:strVal val="visible"/>
                                      </p:to>
                                    </p:set>
                                    <p:anim calcmode="lin" valueType="num">
                                      <p:cBhvr additive="base">
                                        <p:cTn id="75" dur="500"/>
                                        <p:tgtEl>
                                          <p:spTgt spid="238"/>
                                        </p:tgtEl>
                                        <p:attrNameLst>
                                          <p:attrName>ppt_x</p:attrName>
                                        </p:attrNameLst>
                                      </p:cBhvr>
                                      <p:tavLst>
                                        <p:tav tm="0">
                                          <p:val>
                                            <p:strVal val="#ppt_x+#ppt_w*1.125000"/>
                                          </p:val>
                                        </p:tav>
                                        <p:tav tm="100000">
                                          <p:val>
                                            <p:strVal val="#ppt_x"/>
                                          </p:val>
                                        </p:tav>
                                      </p:tavLst>
                                    </p:anim>
                                    <p:animEffect transition="in" filter="wipe(left)">
                                      <p:cBhvr>
                                        <p:cTn id="76" dur="500"/>
                                        <p:tgtEl>
                                          <p:spTgt spid="238"/>
                                        </p:tgtEl>
                                      </p:cBhvr>
                                    </p:animEffect>
                                  </p:childTnLst>
                                </p:cTn>
                              </p:par>
                              <p:par>
                                <p:cTn id="77" presetID="53" presetClass="entr" presetSubtype="16" fill="hold" nodeType="withEffect">
                                  <p:stCondLst>
                                    <p:cond delay="200"/>
                                  </p:stCondLst>
                                  <p:childTnLst>
                                    <p:set>
                                      <p:cBhvr>
                                        <p:cTn id="78" dur="1" fill="hold">
                                          <p:stCondLst>
                                            <p:cond delay="0"/>
                                          </p:stCondLst>
                                        </p:cTn>
                                        <p:tgtEl>
                                          <p:spTgt spid="28"/>
                                        </p:tgtEl>
                                        <p:attrNameLst>
                                          <p:attrName>style.visibility</p:attrName>
                                        </p:attrNameLst>
                                      </p:cBhvr>
                                      <p:to>
                                        <p:strVal val="visible"/>
                                      </p:to>
                                    </p:set>
                                    <p:anim calcmode="lin" valueType="num">
                                      <p:cBhvr>
                                        <p:cTn id="79" dur="500" fill="hold"/>
                                        <p:tgtEl>
                                          <p:spTgt spid="28"/>
                                        </p:tgtEl>
                                        <p:attrNameLst>
                                          <p:attrName>ppt_w</p:attrName>
                                        </p:attrNameLst>
                                      </p:cBhvr>
                                      <p:tavLst>
                                        <p:tav tm="0">
                                          <p:val>
                                            <p:fltVal val="0"/>
                                          </p:val>
                                        </p:tav>
                                        <p:tav tm="100000">
                                          <p:val>
                                            <p:strVal val="#ppt_w"/>
                                          </p:val>
                                        </p:tav>
                                      </p:tavLst>
                                    </p:anim>
                                    <p:anim calcmode="lin" valueType="num">
                                      <p:cBhvr>
                                        <p:cTn id="80" dur="500" fill="hold"/>
                                        <p:tgtEl>
                                          <p:spTgt spid="28"/>
                                        </p:tgtEl>
                                        <p:attrNameLst>
                                          <p:attrName>ppt_h</p:attrName>
                                        </p:attrNameLst>
                                      </p:cBhvr>
                                      <p:tavLst>
                                        <p:tav tm="0">
                                          <p:val>
                                            <p:fltVal val="0"/>
                                          </p:val>
                                        </p:tav>
                                        <p:tav tm="100000">
                                          <p:val>
                                            <p:strVal val="#ppt_h"/>
                                          </p:val>
                                        </p:tav>
                                      </p:tavLst>
                                    </p:anim>
                                    <p:animEffect transition="in" filter="fade">
                                      <p:cBhvr>
                                        <p:cTn id="81" dur="500"/>
                                        <p:tgtEl>
                                          <p:spTgt spid="28"/>
                                        </p:tgtEl>
                                      </p:cBhvr>
                                    </p:animEffect>
                                  </p:childTnLst>
                                </p:cTn>
                              </p:par>
                              <p:par>
                                <p:cTn id="82" presetID="12" presetClass="entr" presetSubtype="2" fill="hold" grpId="0" nodeType="withEffect">
                                  <p:stCondLst>
                                    <p:cond delay="200"/>
                                  </p:stCondLst>
                                  <p:childTnLst>
                                    <p:set>
                                      <p:cBhvr>
                                        <p:cTn id="83" dur="1" fill="hold">
                                          <p:stCondLst>
                                            <p:cond delay="0"/>
                                          </p:stCondLst>
                                        </p:cTn>
                                        <p:tgtEl>
                                          <p:spTgt spid="243"/>
                                        </p:tgtEl>
                                        <p:attrNameLst>
                                          <p:attrName>style.visibility</p:attrName>
                                        </p:attrNameLst>
                                      </p:cBhvr>
                                      <p:to>
                                        <p:strVal val="visible"/>
                                      </p:to>
                                    </p:set>
                                    <p:anim calcmode="lin" valueType="num">
                                      <p:cBhvr additive="base">
                                        <p:cTn id="84" dur="500"/>
                                        <p:tgtEl>
                                          <p:spTgt spid="243"/>
                                        </p:tgtEl>
                                        <p:attrNameLst>
                                          <p:attrName>ppt_x</p:attrName>
                                        </p:attrNameLst>
                                      </p:cBhvr>
                                      <p:tavLst>
                                        <p:tav tm="0">
                                          <p:val>
                                            <p:strVal val="#ppt_x+#ppt_w*1.125000"/>
                                          </p:val>
                                        </p:tav>
                                        <p:tav tm="100000">
                                          <p:val>
                                            <p:strVal val="#ppt_x"/>
                                          </p:val>
                                        </p:tav>
                                      </p:tavLst>
                                    </p:anim>
                                    <p:animEffect transition="in" filter="wipe(left)">
                                      <p:cBhvr>
                                        <p:cTn id="85" dur="500"/>
                                        <p:tgtEl>
                                          <p:spTgt spid="243"/>
                                        </p:tgtEl>
                                      </p:cBhvr>
                                    </p:animEffect>
                                  </p:childTnLst>
                                </p:cTn>
                              </p:par>
                              <p:par>
                                <p:cTn id="86" presetID="53" presetClass="entr" presetSubtype="16" fill="hold" nodeType="withEffect">
                                  <p:stCondLst>
                                    <p:cond delay="300"/>
                                  </p:stCondLst>
                                  <p:childTnLst>
                                    <p:set>
                                      <p:cBhvr>
                                        <p:cTn id="87" dur="1" fill="hold">
                                          <p:stCondLst>
                                            <p:cond delay="0"/>
                                          </p:stCondLst>
                                        </p:cTn>
                                        <p:tgtEl>
                                          <p:spTgt spid="57"/>
                                        </p:tgtEl>
                                        <p:attrNameLst>
                                          <p:attrName>style.visibility</p:attrName>
                                        </p:attrNameLst>
                                      </p:cBhvr>
                                      <p:to>
                                        <p:strVal val="visible"/>
                                      </p:to>
                                    </p:set>
                                    <p:anim calcmode="lin" valueType="num">
                                      <p:cBhvr>
                                        <p:cTn id="88" dur="500" fill="hold"/>
                                        <p:tgtEl>
                                          <p:spTgt spid="57"/>
                                        </p:tgtEl>
                                        <p:attrNameLst>
                                          <p:attrName>ppt_w</p:attrName>
                                        </p:attrNameLst>
                                      </p:cBhvr>
                                      <p:tavLst>
                                        <p:tav tm="0">
                                          <p:val>
                                            <p:fltVal val="0"/>
                                          </p:val>
                                        </p:tav>
                                        <p:tav tm="100000">
                                          <p:val>
                                            <p:strVal val="#ppt_w"/>
                                          </p:val>
                                        </p:tav>
                                      </p:tavLst>
                                    </p:anim>
                                    <p:anim calcmode="lin" valueType="num">
                                      <p:cBhvr>
                                        <p:cTn id="89" dur="500" fill="hold"/>
                                        <p:tgtEl>
                                          <p:spTgt spid="57"/>
                                        </p:tgtEl>
                                        <p:attrNameLst>
                                          <p:attrName>ppt_h</p:attrName>
                                        </p:attrNameLst>
                                      </p:cBhvr>
                                      <p:tavLst>
                                        <p:tav tm="0">
                                          <p:val>
                                            <p:fltVal val="0"/>
                                          </p:val>
                                        </p:tav>
                                        <p:tav tm="100000">
                                          <p:val>
                                            <p:strVal val="#ppt_h"/>
                                          </p:val>
                                        </p:tav>
                                      </p:tavLst>
                                    </p:anim>
                                    <p:animEffect transition="in" filter="fade">
                                      <p:cBhvr>
                                        <p:cTn id="90" dur="500"/>
                                        <p:tgtEl>
                                          <p:spTgt spid="57"/>
                                        </p:tgtEl>
                                      </p:cBhvr>
                                    </p:animEffect>
                                  </p:childTnLst>
                                </p:cTn>
                              </p:par>
                              <p:par>
                                <p:cTn id="91" presetID="12" presetClass="entr" presetSubtype="2" fill="hold" grpId="0" nodeType="withEffect">
                                  <p:stCondLst>
                                    <p:cond delay="300"/>
                                  </p:stCondLst>
                                  <p:childTnLst>
                                    <p:set>
                                      <p:cBhvr>
                                        <p:cTn id="92" dur="1" fill="hold">
                                          <p:stCondLst>
                                            <p:cond delay="0"/>
                                          </p:stCondLst>
                                        </p:cTn>
                                        <p:tgtEl>
                                          <p:spTgt spid="285"/>
                                        </p:tgtEl>
                                        <p:attrNameLst>
                                          <p:attrName>style.visibility</p:attrName>
                                        </p:attrNameLst>
                                      </p:cBhvr>
                                      <p:to>
                                        <p:strVal val="visible"/>
                                      </p:to>
                                    </p:set>
                                    <p:anim calcmode="lin" valueType="num">
                                      <p:cBhvr additive="base">
                                        <p:cTn id="93" dur="500"/>
                                        <p:tgtEl>
                                          <p:spTgt spid="285"/>
                                        </p:tgtEl>
                                        <p:attrNameLst>
                                          <p:attrName>ppt_x</p:attrName>
                                        </p:attrNameLst>
                                      </p:cBhvr>
                                      <p:tavLst>
                                        <p:tav tm="0">
                                          <p:val>
                                            <p:strVal val="#ppt_x+#ppt_w*1.125000"/>
                                          </p:val>
                                        </p:tav>
                                        <p:tav tm="100000">
                                          <p:val>
                                            <p:strVal val="#ppt_x"/>
                                          </p:val>
                                        </p:tav>
                                      </p:tavLst>
                                    </p:anim>
                                    <p:animEffect transition="in" filter="wipe(left)">
                                      <p:cBhvr>
                                        <p:cTn id="94" dur="500"/>
                                        <p:tgtEl>
                                          <p:spTgt spid="285"/>
                                        </p:tgtEl>
                                      </p:cBhvr>
                                    </p:animEffect>
                                  </p:childTnLst>
                                </p:cTn>
                              </p:par>
                            </p:childTnLst>
                          </p:cTn>
                        </p:par>
                        <p:par>
                          <p:cTn id="95" fill="hold">
                            <p:stCondLst>
                              <p:cond delay="2300"/>
                            </p:stCondLst>
                            <p:childTnLst>
                              <p:par>
                                <p:cTn id="96" presetID="10" presetClass="entr" presetSubtype="0" fill="hold" grpId="0" nodeType="afterEffect">
                                  <p:stCondLst>
                                    <p:cond delay="0"/>
                                  </p:stCondLst>
                                  <p:childTnLst>
                                    <p:set>
                                      <p:cBhvr>
                                        <p:cTn id="97" dur="1" fill="hold">
                                          <p:stCondLst>
                                            <p:cond delay="0"/>
                                          </p:stCondLst>
                                        </p:cTn>
                                        <p:tgtEl>
                                          <p:spTgt spid="89"/>
                                        </p:tgtEl>
                                        <p:attrNameLst>
                                          <p:attrName>style.visibility</p:attrName>
                                        </p:attrNameLst>
                                      </p:cBhvr>
                                      <p:to>
                                        <p:strVal val="visible"/>
                                      </p:to>
                                    </p:set>
                                    <p:animEffect transition="in" filter="fade">
                                      <p:cBhvr>
                                        <p:cTn id="98" dur="500"/>
                                        <p:tgtEl>
                                          <p:spTgt spid="89"/>
                                        </p:tgtEl>
                                      </p:cBhvr>
                                    </p:animEffect>
                                  </p:childTnLst>
                                </p:cTn>
                              </p:par>
                              <p:par>
                                <p:cTn id="99" presetID="12" presetClass="entr" presetSubtype="2" fill="hold" grpId="0" nodeType="withEffect">
                                  <p:stCondLst>
                                    <p:cond delay="0"/>
                                  </p:stCondLst>
                                  <p:childTnLst>
                                    <p:set>
                                      <p:cBhvr>
                                        <p:cTn id="100" dur="1" fill="hold">
                                          <p:stCondLst>
                                            <p:cond delay="0"/>
                                          </p:stCondLst>
                                        </p:cTn>
                                        <p:tgtEl>
                                          <p:spTgt spid="13"/>
                                        </p:tgtEl>
                                        <p:attrNameLst>
                                          <p:attrName>style.visibility</p:attrName>
                                        </p:attrNameLst>
                                      </p:cBhvr>
                                      <p:to>
                                        <p:strVal val="visible"/>
                                      </p:to>
                                    </p:set>
                                    <p:anim calcmode="lin" valueType="num">
                                      <p:cBhvr additive="base">
                                        <p:cTn id="101" dur="500"/>
                                        <p:tgtEl>
                                          <p:spTgt spid="13"/>
                                        </p:tgtEl>
                                        <p:attrNameLst>
                                          <p:attrName>ppt_x</p:attrName>
                                        </p:attrNameLst>
                                      </p:cBhvr>
                                      <p:tavLst>
                                        <p:tav tm="0">
                                          <p:val>
                                            <p:strVal val="#ppt_x+#ppt_w*1.125000"/>
                                          </p:val>
                                        </p:tav>
                                        <p:tav tm="100000">
                                          <p:val>
                                            <p:strVal val="#ppt_x"/>
                                          </p:val>
                                        </p:tav>
                                      </p:tavLst>
                                    </p:anim>
                                    <p:animEffect transition="in" filter="wipe(left)">
                                      <p:cBhvr>
                                        <p:cTn id="102" dur="500"/>
                                        <p:tgtEl>
                                          <p:spTgt spid="13"/>
                                        </p:tgtEl>
                                      </p:cBhvr>
                                    </p:animEffect>
                                  </p:childTnLst>
                                </p:cTn>
                              </p:par>
                            </p:childTnLst>
                          </p:cTn>
                        </p:par>
                        <p:par>
                          <p:cTn id="103" fill="hold">
                            <p:stCondLst>
                              <p:cond delay="2800"/>
                            </p:stCondLst>
                            <p:childTnLst>
                              <p:par>
                                <p:cTn id="104" presetID="53" presetClass="entr" presetSubtype="16" fill="hold" nodeType="afterEffect">
                                  <p:stCondLst>
                                    <p:cond delay="0"/>
                                  </p:stCondLst>
                                  <p:childTnLst>
                                    <p:set>
                                      <p:cBhvr>
                                        <p:cTn id="105" dur="1" fill="hold">
                                          <p:stCondLst>
                                            <p:cond delay="0"/>
                                          </p:stCondLst>
                                        </p:cTn>
                                        <p:tgtEl>
                                          <p:spTgt spid="61"/>
                                        </p:tgtEl>
                                        <p:attrNameLst>
                                          <p:attrName>style.visibility</p:attrName>
                                        </p:attrNameLst>
                                      </p:cBhvr>
                                      <p:to>
                                        <p:strVal val="visible"/>
                                      </p:to>
                                    </p:set>
                                    <p:anim calcmode="lin" valueType="num">
                                      <p:cBhvr>
                                        <p:cTn id="106" dur="500" fill="hold"/>
                                        <p:tgtEl>
                                          <p:spTgt spid="61"/>
                                        </p:tgtEl>
                                        <p:attrNameLst>
                                          <p:attrName>ppt_w</p:attrName>
                                        </p:attrNameLst>
                                      </p:cBhvr>
                                      <p:tavLst>
                                        <p:tav tm="0">
                                          <p:val>
                                            <p:fltVal val="0"/>
                                          </p:val>
                                        </p:tav>
                                        <p:tav tm="100000">
                                          <p:val>
                                            <p:strVal val="#ppt_w"/>
                                          </p:val>
                                        </p:tav>
                                      </p:tavLst>
                                    </p:anim>
                                    <p:anim calcmode="lin" valueType="num">
                                      <p:cBhvr>
                                        <p:cTn id="107" dur="500" fill="hold"/>
                                        <p:tgtEl>
                                          <p:spTgt spid="61"/>
                                        </p:tgtEl>
                                        <p:attrNameLst>
                                          <p:attrName>ppt_h</p:attrName>
                                        </p:attrNameLst>
                                      </p:cBhvr>
                                      <p:tavLst>
                                        <p:tav tm="0">
                                          <p:val>
                                            <p:fltVal val="0"/>
                                          </p:val>
                                        </p:tav>
                                        <p:tav tm="100000">
                                          <p:val>
                                            <p:strVal val="#ppt_h"/>
                                          </p:val>
                                        </p:tav>
                                      </p:tavLst>
                                    </p:anim>
                                    <p:animEffect transition="in" filter="fade">
                                      <p:cBhvr>
                                        <p:cTn id="108" dur="500"/>
                                        <p:tgtEl>
                                          <p:spTgt spid="61"/>
                                        </p:tgtEl>
                                      </p:cBhvr>
                                    </p:animEffect>
                                  </p:childTnLst>
                                </p:cTn>
                              </p:par>
                              <p:par>
                                <p:cTn id="109" presetID="12" presetClass="entr" presetSubtype="8" fill="hold" grpId="0" nodeType="withEffect">
                                  <p:stCondLst>
                                    <p:cond delay="0"/>
                                  </p:stCondLst>
                                  <p:childTnLst>
                                    <p:set>
                                      <p:cBhvr>
                                        <p:cTn id="110" dur="1" fill="hold">
                                          <p:stCondLst>
                                            <p:cond delay="0"/>
                                          </p:stCondLst>
                                        </p:cTn>
                                        <p:tgtEl>
                                          <p:spTgt spid="239"/>
                                        </p:tgtEl>
                                        <p:attrNameLst>
                                          <p:attrName>style.visibility</p:attrName>
                                        </p:attrNameLst>
                                      </p:cBhvr>
                                      <p:to>
                                        <p:strVal val="visible"/>
                                      </p:to>
                                    </p:set>
                                    <p:anim calcmode="lin" valueType="num">
                                      <p:cBhvr additive="base">
                                        <p:cTn id="111" dur="500"/>
                                        <p:tgtEl>
                                          <p:spTgt spid="239"/>
                                        </p:tgtEl>
                                        <p:attrNameLst>
                                          <p:attrName>ppt_x</p:attrName>
                                        </p:attrNameLst>
                                      </p:cBhvr>
                                      <p:tavLst>
                                        <p:tav tm="0">
                                          <p:val>
                                            <p:strVal val="#ppt_x-#ppt_w*1.125000"/>
                                          </p:val>
                                        </p:tav>
                                        <p:tav tm="100000">
                                          <p:val>
                                            <p:strVal val="#ppt_x"/>
                                          </p:val>
                                        </p:tav>
                                      </p:tavLst>
                                    </p:anim>
                                    <p:animEffect transition="in" filter="wipe(right)">
                                      <p:cBhvr>
                                        <p:cTn id="112" dur="500"/>
                                        <p:tgtEl>
                                          <p:spTgt spid="239"/>
                                        </p:tgtEl>
                                      </p:cBhvr>
                                    </p:animEffect>
                                  </p:childTnLst>
                                </p:cTn>
                              </p:par>
                              <p:par>
                                <p:cTn id="113" presetID="53" presetClass="entr" presetSubtype="16" fill="hold" nodeType="withEffect">
                                  <p:stCondLst>
                                    <p:cond delay="100"/>
                                  </p:stCondLst>
                                  <p:childTnLst>
                                    <p:set>
                                      <p:cBhvr>
                                        <p:cTn id="114" dur="1" fill="hold">
                                          <p:stCondLst>
                                            <p:cond delay="0"/>
                                          </p:stCondLst>
                                        </p:cTn>
                                        <p:tgtEl>
                                          <p:spTgt spid="60"/>
                                        </p:tgtEl>
                                        <p:attrNameLst>
                                          <p:attrName>style.visibility</p:attrName>
                                        </p:attrNameLst>
                                      </p:cBhvr>
                                      <p:to>
                                        <p:strVal val="visible"/>
                                      </p:to>
                                    </p:set>
                                    <p:anim calcmode="lin" valueType="num">
                                      <p:cBhvr>
                                        <p:cTn id="115" dur="500" fill="hold"/>
                                        <p:tgtEl>
                                          <p:spTgt spid="60"/>
                                        </p:tgtEl>
                                        <p:attrNameLst>
                                          <p:attrName>ppt_w</p:attrName>
                                        </p:attrNameLst>
                                      </p:cBhvr>
                                      <p:tavLst>
                                        <p:tav tm="0">
                                          <p:val>
                                            <p:fltVal val="0"/>
                                          </p:val>
                                        </p:tav>
                                        <p:tav tm="100000">
                                          <p:val>
                                            <p:strVal val="#ppt_w"/>
                                          </p:val>
                                        </p:tav>
                                      </p:tavLst>
                                    </p:anim>
                                    <p:anim calcmode="lin" valueType="num">
                                      <p:cBhvr>
                                        <p:cTn id="116" dur="500" fill="hold"/>
                                        <p:tgtEl>
                                          <p:spTgt spid="60"/>
                                        </p:tgtEl>
                                        <p:attrNameLst>
                                          <p:attrName>ppt_h</p:attrName>
                                        </p:attrNameLst>
                                      </p:cBhvr>
                                      <p:tavLst>
                                        <p:tav tm="0">
                                          <p:val>
                                            <p:fltVal val="0"/>
                                          </p:val>
                                        </p:tav>
                                        <p:tav tm="100000">
                                          <p:val>
                                            <p:strVal val="#ppt_h"/>
                                          </p:val>
                                        </p:tav>
                                      </p:tavLst>
                                    </p:anim>
                                    <p:animEffect transition="in" filter="fade">
                                      <p:cBhvr>
                                        <p:cTn id="117" dur="500"/>
                                        <p:tgtEl>
                                          <p:spTgt spid="60"/>
                                        </p:tgtEl>
                                      </p:cBhvr>
                                    </p:animEffect>
                                  </p:childTnLst>
                                </p:cTn>
                              </p:par>
                              <p:par>
                                <p:cTn id="118" presetID="12" presetClass="entr" presetSubtype="8" fill="hold" grpId="0" nodeType="withEffect">
                                  <p:stCondLst>
                                    <p:cond delay="100"/>
                                  </p:stCondLst>
                                  <p:childTnLst>
                                    <p:set>
                                      <p:cBhvr>
                                        <p:cTn id="119" dur="1" fill="hold">
                                          <p:stCondLst>
                                            <p:cond delay="0"/>
                                          </p:stCondLst>
                                        </p:cTn>
                                        <p:tgtEl>
                                          <p:spTgt spid="284"/>
                                        </p:tgtEl>
                                        <p:attrNameLst>
                                          <p:attrName>style.visibility</p:attrName>
                                        </p:attrNameLst>
                                      </p:cBhvr>
                                      <p:to>
                                        <p:strVal val="visible"/>
                                      </p:to>
                                    </p:set>
                                    <p:anim calcmode="lin" valueType="num">
                                      <p:cBhvr additive="base">
                                        <p:cTn id="120" dur="500"/>
                                        <p:tgtEl>
                                          <p:spTgt spid="284"/>
                                        </p:tgtEl>
                                        <p:attrNameLst>
                                          <p:attrName>ppt_x</p:attrName>
                                        </p:attrNameLst>
                                      </p:cBhvr>
                                      <p:tavLst>
                                        <p:tav tm="0">
                                          <p:val>
                                            <p:strVal val="#ppt_x-#ppt_w*1.125000"/>
                                          </p:val>
                                        </p:tav>
                                        <p:tav tm="100000">
                                          <p:val>
                                            <p:strVal val="#ppt_x"/>
                                          </p:val>
                                        </p:tav>
                                      </p:tavLst>
                                    </p:anim>
                                    <p:animEffect transition="in" filter="wipe(right)">
                                      <p:cBhvr>
                                        <p:cTn id="121" dur="500"/>
                                        <p:tgtEl>
                                          <p:spTgt spid="284"/>
                                        </p:tgtEl>
                                      </p:cBhvr>
                                    </p:animEffect>
                                  </p:childTnLst>
                                </p:cTn>
                              </p:par>
                              <p:par>
                                <p:cTn id="122" presetID="53" presetClass="entr" presetSubtype="16" fill="hold" nodeType="withEffect">
                                  <p:stCondLst>
                                    <p:cond delay="200"/>
                                  </p:stCondLst>
                                  <p:childTnLst>
                                    <p:set>
                                      <p:cBhvr>
                                        <p:cTn id="123" dur="1" fill="hold">
                                          <p:stCondLst>
                                            <p:cond delay="0"/>
                                          </p:stCondLst>
                                        </p:cTn>
                                        <p:tgtEl>
                                          <p:spTgt spid="59"/>
                                        </p:tgtEl>
                                        <p:attrNameLst>
                                          <p:attrName>style.visibility</p:attrName>
                                        </p:attrNameLst>
                                      </p:cBhvr>
                                      <p:to>
                                        <p:strVal val="visible"/>
                                      </p:to>
                                    </p:set>
                                    <p:anim calcmode="lin" valueType="num">
                                      <p:cBhvr>
                                        <p:cTn id="124" dur="500" fill="hold"/>
                                        <p:tgtEl>
                                          <p:spTgt spid="59"/>
                                        </p:tgtEl>
                                        <p:attrNameLst>
                                          <p:attrName>ppt_w</p:attrName>
                                        </p:attrNameLst>
                                      </p:cBhvr>
                                      <p:tavLst>
                                        <p:tav tm="0">
                                          <p:val>
                                            <p:fltVal val="0"/>
                                          </p:val>
                                        </p:tav>
                                        <p:tav tm="100000">
                                          <p:val>
                                            <p:strVal val="#ppt_w"/>
                                          </p:val>
                                        </p:tav>
                                      </p:tavLst>
                                    </p:anim>
                                    <p:anim calcmode="lin" valueType="num">
                                      <p:cBhvr>
                                        <p:cTn id="125" dur="500" fill="hold"/>
                                        <p:tgtEl>
                                          <p:spTgt spid="59"/>
                                        </p:tgtEl>
                                        <p:attrNameLst>
                                          <p:attrName>ppt_h</p:attrName>
                                        </p:attrNameLst>
                                      </p:cBhvr>
                                      <p:tavLst>
                                        <p:tav tm="0">
                                          <p:val>
                                            <p:fltVal val="0"/>
                                          </p:val>
                                        </p:tav>
                                        <p:tav tm="100000">
                                          <p:val>
                                            <p:strVal val="#ppt_h"/>
                                          </p:val>
                                        </p:tav>
                                      </p:tavLst>
                                    </p:anim>
                                    <p:animEffect transition="in" filter="fade">
                                      <p:cBhvr>
                                        <p:cTn id="126" dur="500"/>
                                        <p:tgtEl>
                                          <p:spTgt spid="59"/>
                                        </p:tgtEl>
                                      </p:cBhvr>
                                    </p:animEffect>
                                  </p:childTnLst>
                                </p:cTn>
                              </p:par>
                              <p:par>
                                <p:cTn id="127" presetID="12" presetClass="entr" presetSubtype="8" fill="hold" grpId="0" nodeType="withEffect">
                                  <p:stCondLst>
                                    <p:cond delay="200"/>
                                  </p:stCondLst>
                                  <p:childTnLst>
                                    <p:set>
                                      <p:cBhvr>
                                        <p:cTn id="128" dur="1" fill="hold">
                                          <p:stCondLst>
                                            <p:cond delay="0"/>
                                          </p:stCondLst>
                                        </p:cTn>
                                        <p:tgtEl>
                                          <p:spTgt spid="278"/>
                                        </p:tgtEl>
                                        <p:attrNameLst>
                                          <p:attrName>style.visibility</p:attrName>
                                        </p:attrNameLst>
                                      </p:cBhvr>
                                      <p:to>
                                        <p:strVal val="visible"/>
                                      </p:to>
                                    </p:set>
                                    <p:anim calcmode="lin" valueType="num">
                                      <p:cBhvr additive="base">
                                        <p:cTn id="129" dur="500"/>
                                        <p:tgtEl>
                                          <p:spTgt spid="278"/>
                                        </p:tgtEl>
                                        <p:attrNameLst>
                                          <p:attrName>ppt_x</p:attrName>
                                        </p:attrNameLst>
                                      </p:cBhvr>
                                      <p:tavLst>
                                        <p:tav tm="0">
                                          <p:val>
                                            <p:strVal val="#ppt_x-#ppt_w*1.125000"/>
                                          </p:val>
                                        </p:tav>
                                        <p:tav tm="100000">
                                          <p:val>
                                            <p:strVal val="#ppt_x"/>
                                          </p:val>
                                        </p:tav>
                                      </p:tavLst>
                                    </p:anim>
                                    <p:animEffect transition="in" filter="wipe(right)">
                                      <p:cBhvr>
                                        <p:cTn id="130" dur="500"/>
                                        <p:tgtEl>
                                          <p:spTgt spid="278"/>
                                        </p:tgtEl>
                                      </p:cBhvr>
                                    </p:animEffect>
                                  </p:childTnLst>
                                </p:cTn>
                              </p:par>
                              <p:par>
                                <p:cTn id="131" presetID="53" presetClass="entr" presetSubtype="16" fill="hold" nodeType="withEffect">
                                  <p:stCondLst>
                                    <p:cond delay="300"/>
                                  </p:stCondLst>
                                  <p:childTnLst>
                                    <p:set>
                                      <p:cBhvr>
                                        <p:cTn id="132" dur="1" fill="hold">
                                          <p:stCondLst>
                                            <p:cond delay="0"/>
                                          </p:stCondLst>
                                        </p:cTn>
                                        <p:tgtEl>
                                          <p:spTgt spid="58"/>
                                        </p:tgtEl>
                                        <p:attrNameLst>
                                          <p:attrName>style.visibility</p:attrName>
                                        </p:attrNameLst>
                                      </p:cBhvr>
                                      <p:to>
                                        <p:strVal val="visible"/>
                                      </p:to>
                                    </p:set>
                                    <p:anim calcmode="lin" valueType="num">
                                      <p:cBhvr>
                                        <p:cTn id="133" dur="500" fill="hold"/>
                                        <p:tgtEl>
                                          <p:spTgt spid="58"/>
                                        </p:tgtEl>
                                        <p:attrNameLst>
                                          <p:attrName>ppt_w</p:attrName>
                                        </p:attrNameLst>
                                      </p:cBhvr>
                                      <p:tavLst>
                                        <p:tav tm="0">
                                          <p:val>
                                            <p:fltVal val="0"/>
                                          </p:val>
                                        </p:tav>
                                        <p:tav tm="100000">
                                          <p:val>
                                            <p:strVal val="#ppt_w"/>
                                          </p:val>
                                        </p:tav>
                                      </p:tavLst>
                                    </p:anim>
                                    <p:anim calcmode="lin" valueType="num">
                                      <p:cBhvr>
                                        <p:cTn id="134" dur="500" fill="hold"/>
                                        <p:tgtEl>
                                          <p:spTgt spid="58"/>
                                        </p:tgtEl>
                                        <p:attrNameLst>
                                          <p:attrName>ppt_h</p:attrName>
                                        </p:attrNameLst>
                                      </p:cBhvr>
                                      <p:tavLst>
                                        <p:tav tm="0">
                                          <p:val>
                                            <p:fltVal val="0"/>
                                          </p:val>
                                        </p:tav>
                                        <p:tav tm="100000">
                                          <p:val>
                                            <p:strVal val="#ppt_h"/>
                                          </p:val>
                                        </p:tav>
                                      </p:tavLst>
                                    </p:anim>
                                    <p:animEffect transition="in" filter="fade">
                                      <p:cBhvr>
                                        <p:cTn id="135" dur="500"/>
                                        <p:tgtEl>
                                          <p:spTgt spid="58"/>
                                        </p:tgtEl>
                                      </p:cBhvr>
                                    </p:animEffect>
                                  </p:childTnLst>
                                </p:cTn>
                              </p:par>
                              <p:par>
                                <p:cTn id="136" presetID="12" presetClass="entr" presetSubtype="8" fill="hold" grpId="0" nodeType="withEffect">
                                  <p:stCondLst>
                                    <p:cond delay="300"/>
                                  </p:stCondLst>
                                  <p:childTnLst>
                                    <p:set>
                                      <p:cBhvr>
                                        <p:cTn id="137" dur="1" fill="hold">
                                          <p:stCondLst>
                                            <p:cond delay="0"/>
                                          </p:stCondLst>
                                        </p:cTn>
                                        <p:tgtEl>
                                          <p:spTgt spid="283"/>
                                        </p:tgtEl>
                                        <p:attrNameLst>
                                          <p:attrName>style.visibility</p:attrName>
                                        </p:attrNameLst>
                                      </p:cBhvr>
                                      <p:to>
                                        <p:strVal val="visible"/>
                                      </p:to>
                                    </p:set>
                                    <p:anim calcmode="lin" valueType="num">
                                      <p:cBhvr additive="base">
                                        <p:cTn id="138" dur="500"/>
                                        <p:tgtEl>
                                          <p:spTgt spid="283"/>
                                        </p:tgtEl>
                                        <p:attrNameLst>
                                          <p:attrName>ppt_x</p:attrName>
                                        </p:attrNameLst>
                                      </p:cBhvr>
                                      <p:tavLst>
                                        <p:tav tm="0">
                                          <p:val>
                                            <p:strVal val="#ppt_x-#ppt_w*1.125000"/>
                                          </p:val>
                                        </p:tav>
                                        <p:tav tm="100000">
                                          <p:val>
                                            <p:strVal val="#ppt_x"/>
                                          </p:val>
                                        </p:tav>
                                      </p:tavLst>
                                    </p:anim>
                                    <p:animEffect transition="in" filter="wipe(right)">
                                      <p:cBhvr>
                                        <p:cTn id="139" dur="500"/>
                                        <p:tgtEl>
                                          <p:spTgt spid="283"/>
                                        </p:tgtEl>
                                      </p:cBhvr>
                                    </p:animEffect>
                                  </p:childTnLst>
                                </p:cTn>
                              </p:par>
                            </p:childTnLst>
                          </p:cTn>
                        </p:par>
                        <p:par>
                          <p:cTn id="140" fill="hold">
                            <p:stCondLst>
                              <p:cond delay="3600"/>
                            </p:stCondLst>
                            <p:childTnLst>
                              <p:par>
                                <p:cTn id="141" presetID="10" presetClass="entr" presetSubtype="0" fill="hold" grpId="0" nodeType="afterEffect">
                                  <p:stCondLst>
                                    <p:cond delay="0"/>
                                  </p:stCondLst>
                                  <p:childTnLst>
                                    <p:set>
                                      <p:cBhvr>
                                        <p:cTn id="142" dur="1" fill="hold">
                                          <p:stCondLst>
                                            <p:cond delay="0"/>
                                          </p:stCondLst>
                                        </p:cTn>
                                        <p:tgtEl>
                                          <p:spTgt spid="12"/>
                                        </p:tgtEl>
                                        <p:attrNameLst>
                                          <p:attrName>style.visibility</p:attrName>
                                        </p:attrNameLst>
                                      </p:cBhvr>
                                      <p:to>
                                        <p:strVal val="visible"/>
                                      </p:to>
                                    </p:set>
                                    <p:animEffect transition="in" filter="fade">
                                      <p:cBhvr>
                                        <p:cTn id="143" dur="500"/>
                                        <p:tgtEl>
                                          <p:spTgt spid="12"/>
                                        </p:tgtEl>
                                      </p:cBhvr>
                                    </p:animEffect>
                                  </p:childTnLst>
                                </p:cTn>
                              </p:par>
                              <p:par>
                                <p:cTn id="144" presetID="12" presetClass="entr" presetSubtype="8" fill="hold" grpId="0" nodeType="withEffect">
                                  <p:stCondLst>
                                    <p:cond delay="0"/>
                                  </p:stCondLst>
                                  <p:childTnLst>
                                    <p:set>
                                      <p:cBhvr>
                                        <p:cTn id="145" dur="1" fill="hold">
                                          <p:stCondLst>
                                            <p:cond delay="0"/>
                                          </p:stCondLst>
                                        </p:cTn>
                                        <p:tgtEl>
                                          <p:spTgt spid="91"/>
                                        </p:tgtEl>
                                        <p:attrNameLst>
                                          <p:attrName>style.visibility</p:attrName>
                                        </p:attrNameLst>
                                      </p:cBhvr>
                                      <p:to>
                                        <p:strVal val="visible"/>
                                      </p:to>
                                    </p:set>
                                    <p:anim calcmode="lin" valueType="num">
                                      <p:cBhvr additive="base">
                                        <p:cTn id="146" dur="500"/>
                                        <p:tgtEl>
                                          <p:spTgt spid="91"/>
                                        </p:tgtEl>
                                        <p:attrNameLst>
                                          <p:attrName>ppt_x</p:attrName>
                                        </p:attrNameLst>
                                      </p:cBhvr>
                                      <p:tavLst>
                                        <p:tav tm="0">
                                          <p:val>
                                            <p:strVal val="#ppt_x-#ppt_w*1.125000"/>
                                          </p:val>
                                        </p:tav>
                                        <p:tav tm="100000">
                                          <p:val>
                                            <p:strVal val="#ppt_x"/>
                                          </p:val>
                                        </p:tav>
                                      </p:tavLst>
                                    </p:anim>
                                    <p:animEffect transition="in" filter="wipe(right)">
                                      <p:cBhvr>
                                        <p:cTn id="147"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3" grpId="0" animBg="1"/>
      <p:bldP spid="174" grpId="0" animBg="1"/>
      <p:bldP spid="13" grpId="0" animBg="1"/>
      <p:bldP spid="91" grpId="0" animBg="1"/>
      <p:bldP spid="12" grpId="0" animBg="1"/>
      <p:bldP spid="89" grpId="0" animBg="1"/>
      <p:bldP spid="204" grpId="0" animBg="1"/>
      <p:bldP spid="205" grpId="0" animBg="1"/>
      <p:bldP spid="195" grpId="0"/>
      <p:bldP spid="199" grpId="0" animBg="1"/>
      <p:bldP spid="200" grpId="0" animBg="1"/>
      <p:bldP spid="201" grpId="0" animBg="1"/>
      <p:bldP spid="202" grpId="0" animBg="1"/>
      <p:bldP spid="203" grpId="0" animBg="1"/>
      <p:bldP spid="237" grpId="0"/>
      <p:bldP spid="238" grpId="0"/>
      <p:bldP spid="239" grpId="0"/>
      <p:bldP spid="243" grpId="0"/>
      <p:bldP spid="278" grpId="0"/>
      <p:bldP spid="283" grpId="0"/>
      <p:bldP spid="284" grpId="0"/>
      <p:bldP spid="28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6DAB65-DE9A-44C5-83FD-585EBB7A94D7}"/>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23"/>
          <a:stretch/>
        </p:blipFill>
        <p:spPr>
          <a:xfrm>
            <a:off x="-855454" y="-482600"/>
            <a:ext cx="10854908" cy="6108700"/>
          </a:xfrm>
          <a:prstGeom prst="rect">
            <a:avLst/>
          </a:prstGeom>
        </p:spPr>
      </p:pic>
      <p:sp>
        <p:nvSpPr>
          <p:cNvPr id="6" name="Rectangle 5">
            <a:extLst>
              <a:ext uri="{FF2B5EF4-FFF2-40B4-BE49-F238E27FC236}">
                <a16:creationId xmlns:a16="http://schemas.microsoft.com/office/drawing/2014/main" id="{44B68097-7F19-41A9-BB7A-D8C1CBDABA5F}"/>
              </a:ext>
            </a:extLst>
          </p:cNvPr>
          <p:cNvSpPr/>
          <p:nvPr/>
        </p:nvSpPr>
        <p:spPr>
          <a:xfrm>
            <a:off x="0" y="0"/>
            <a:ext cx="9144000" cy="5143500"/>
          </a:xfrm>
          <a:prstGeom prst="rect">
            <a:avLst/>
          </a:prstGeom>
          <a:gradFill flip="none" rotWithShape="1">
            <a:gsLst>
              <a:gs pos="0">
                <a:schemeClr val="bg2"/>
              </a:gs>
              <a:gs pos="27000">
                <a:schemeClr val="bg2">
                  <a:alpha val="35000"/>
                </a:schemeClr>
              </a:gs>
              <a:gs pos="56000">
                <a:schemeClr val="bg2">
                  <a:alpha val="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7CC7E6C1-438B-46B4-A220-34EF6DDA38A2}"/>
              </a:ext>
            </a:extLst>
          </p:cNvPr>
          <p:cNvSpPr txBox="1"/>
          <p:nvPr/>
        </p:nvSpPr>
        <p:spPr>
          <a:xfrm>
            <a:off x="781050" y="852294"/>
            <a:ext cx="3314700" cy="492443"/>
          </a:xfrm>
          <a:prstGeom prst="rect">
            <a:avLst/>
          </a:prstGeom>
          <a:noFill/>
        </p:spPr>
        <p:txBody>
          <a:bodyPr wrap="square" lIns="0" tIns="0" rIns="0" bIns="0" rtlCol="0" anchor="b">
            <a:spAutoFit/>
          </a:bodyPr>
          <a:lstStyle/>
          <a:p>
            <a:pPr defTabSz="685800" fontAlgn="auto">
              <a:spcBef>
                <a:spcPts val="600"/>
              </a:spcBef>
              <a:spcAft>
                <a:spcPts val="0"/>
              </a:spcAft>
            </a:pPr>
            <a:r>
              <a:rPr lang="en-US" sz="3200" dirty="0">
                <a:solidFill>
                  <a:schemeClr val="bg1"/>
                </a:solidFill>
                <a:latin typeface="CiscoSansTT ExtraLight"/>
                <a:ea typeface="+mn-ea"/>
                <a:cs typeface="CiscoSansTT" panose="020B0503020201020303" pitchFamily="34" charset="0"/>
              </a:rPr>
              <a:t>Applications Are</a:t>
            </a:r>
          </a:p>
        </p:txBody>
      </p:sp>
      <p:sp>
        <p:nvSpPr>
          <p:cNvPr id="5" name="TextBox 4">
            <a:extLst>
              <a:ext uri="{FF2B5EF4-FFF2-40B4-BE49-F238E27FC236}">
                <a16:creationId xmlns:a16="http://schemas.microsoft.com/office/drawing/2014/main" id="{41BBED8D-B9F1-4155-9F27-7501CCDBD565}"/>
              </a:ext>
            </a:extLst>
          </p:cNvPr>
          <p:cNvSpPr txBox="1"/>
          <p:nvPr/>
        </p:nvSpPr>
        <p:spPr>
          <a:xfrm>
            <a:off x="781050" y="1571347"/>
            <a:ext cx="3619500" cy="1348061"/>
          </a:xfrm>
          <a:prstGeom prst="rect">
            <a:avLst/>
          </a:prstGeom>
          <a:noFill/>
        </p:spPr>
        <p:txBody>
          <a:bodyPr wrap="square" lIns="0" tIns="0" rIns="0" bIns="0" rtlCol="0">
            <a:spAutoFit/>
          </a:bodyPr>
          <a:lstStyle/>
          <a:p>
            <a:pPr defTabSz="685800" fontAlgn="auto">
              <a:lnSpc>
                <a:spcPct val="90000"/>
              </a:lnSpc>
              <a:spcBef>
                <a:spcPts val="1200"/>
              </a:spcBef>
              <a:spcAft>
                <a:spcPts val="600"/>
              </a:spcAft>
            </a:pPr>
            <a:r>
              <a:rPr lang="en-US" sz="1600" dirty="0">
                <a:solidFill>
                  <a:schemeClr val="bg1"/>
                </a:solidFill>
                <a:latin typeface="CiscoSansTT ExtraLight"/>
                <a:ea typeface="+mn-ea"/>
                <a:cs typeface="CiscoSansTT" panose="020B0503020201020303" pitchFamily="34" charset="0"/>
              </a:rPr>
              <a:t>Foundation for digital transformation</a:t>
            </a:r>
          </a:p>
          <a:p>
            <a:pPr defTabSz="685800" fontAlgn="auto">
              <a:lnSpc>
                <a:spcPct val="90000"/>
              </a:lnSpc>
              <a:spcBef>
                <a:spcPts val="1200"/>
              </a:spcBef>
              <a:spcAft>
                <a:spcPts val="600"/>
              </a:spcAft>
            </a:pPr>
            <a:r>
              <a:rPr lang="en-US" sz="1600" dirty="0">
                <a:solidFill>
                  <a:schemeClr val="bg1"/>
                </a:solidFill>
                <a:latin typeface="CiscoSansTT ExtraLight"/>
                <a:ea typeface="+mn-ea"/>
                <a:cs typeface="CiscoSansTT" panose="020B0503020201020303" pitchFamily="34" charset="0"/>
              </a:rPr>
              <a:t>Key interface between </a:t>
            </a:r>
            <a:br>
              <a:rPr lang="en-US" sz="1600" dirty="0">
                <a:solidFill>
                  <a:schemeClr val="bg1"/>
                </a:solidFill>
                <a:latin typeface="CiscoSansTT ExtraLight"/>
                <a:ea typeface="+mn-ea"/>
                <a:cs typeface="CiscoSansTT" panose="020B0503020201020303" pitchFamily="34" charset="0"/>
              </a:rPr>
            </a:br>
            <a:r>
              <a:rPr lang="en-US" sz="1600" dirty="0">
                <a:solidFill>
                  <a:schemeClr val="bg1"/>
                </a:solidFill>
                <a:latin typeface="CiscoSansTT ExtraLight"/>
                <a:ea typeface="+mn-ea"/>
                <a:cs typeface="CiscoSansTT" panose="020B0503020201020303" pitchFamily="34" charset="0"/>
              </a:rPr>
              <a:t>businesses and their customers</a:t>
            </a:r>
          </a:p>
          <a:p>
            <a:pPr defTabSz="685800" fontAlgn="auto">
              <a:lnSpc>
                <a:spcPct val="90000"/>
              </a:lnSpc>
              <a:spcBef>
                <a:spcPts val="1200"/>
              </a:spcBef>
              <a:spcAft>
                <a:spcPts val="600"/>
              </a:spcAft>
            </a:pPr>
            <a:r>
              <a:rPr lang="en-US" sz="1600" dirty="0">
                <a:solidFill>
                  <a:schemeClr val="bg1"/>
                </a:solidFill>
                <a:latin typeface="CiscoSansTT ExtraLight"/>
                <a:ea typeface="+mn-ea"/>
                <a:cs typeface="CiscoSansTT" panose="020B0503020201020303" pitchFamily="34" charset="0"/>
              </a:rPr>
              <a:t>Hyper-diverse and hyper-distributed</a:t>
            </a:r>
          </a:p>
        </p:txBody>
      </p:sp>
      <p:grpSp>
        <p:nvGrpSpPr>
          <p:cNvPr id="7" name="Group 6">
            <a:extLst>
              <a:ext uri="{FF2B5EF4-FFF2-40B4-BE49-F238E27FC236}">
                <a16:creationId xmlns:a16="http://schemas.microsoft.com/office/drawing/2014/main" id="{79CAEFCC-053C-47CA-A607-002E9906842E}"/>
              </a:ext>
            </a:extLst>
          </p:cNvPr>
          <p:cNvGrpSpPr/>
          <p:nvPr/>
        </p:nvGrpSpPr>
        <p:grpSpPr>
          <a:xfrm>
            <a:off x="-1117600" y="-1275156"/>
            <a:ext cx="11379200" cy="7710427"/>
            <a:chOff x="-1117600" y="-1275156"/>
            <a:chExt cx="11379200" cy="7710427"/>
          </a:xfrm>
        </p:grpSpPr>
        <p:sp>
          <p:nvSpPr>
            <p:cNvPr id="8" name="Rectangle 7">
              <a:extLst>
                <a:ext uri="{FF2B5EF4-FFF2-40B4-BE49-F238E27FC236}">
                  <a16:creationId xmlns:a16="http://schemas.microsoft.com/office/drawing/2014/main" id="{AB795CE7-C990-47C4-ADBF-5301EA5202EC}"/>
                </a:ext>
              </a:extLst>
            </p:cNvPr>
            <p:cNvSpPr/>
            <p:nvPr/>
          </p:nvSpPr>
          <p:spPr>
            <a:xfrm>
              <a:off x="-1117600" y="-1275156"/>
              <a:ext cx="11379200" cy="1275156"/>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3477B9AE-71CE-463B-BD3D-B1472CF9C647}"/>
                </a:ext>
              </a:extLst>
            </p:cNvPr>
            <p:cNvSpPr/>
            <p:nvPr/>
          </p:nvSpPr>
          <p:spPr>
            <a:xfrm>
              <a:off x="-1117600" y="5160115"/>
              <a:ext cx="11379200" cy="1275156"/>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5EE13E70-6FFB-4128-B6D1-6C85B68C8585}"/>
                </a:ext>
              </a:extLst>
            </p:cNvPr>
            <p:cNvSpPr/>
            <p:nvPr/>
          </p:nvSpPr>
          <p:spPr>
            <a:xfrm>
              <a:off x="9144000" y="-228600"/>
              <a:ext cx="1117600" cy="56007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95E93032-E95D-4B52-B3E8-AAFA3D7DA2C9}"/>
                </a:ext>
              </a:extLst>
            </p:cNvPr>
            <p:cNvSpPr/>
            <p:nvPr/>
          </p:nvSpPr>
          <p:spPr>
            <a:xfrm>
              <a:off x="-1117600" y="-228600"/>
              <a:ext cx="1117600" cy="56007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079061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mn-lt"/>
              </a:rPr>
              <a:t>Insight-based notification: Neighborhood graphs</a:t>
            </a:r>
          </a:p>
        </p:txBody>
      </p:sp>
      <p:sp>
        <p:nvSpPr>
          <p:cNvPr id="57" name="Rectangle 56"/>
          <p:cNvSpPr/>
          <p:nvPr/>
        </p:nvSpPr>
        <p:spPr>
          <a:xfrm>
            <a:off x="2602141" y="1073150"/>
            <a:ext cx="6270398" cy="3642144"/>
          </a:xfrm>
          <a:prstGeom prst="rect">
            <a:avLst/>
          </a:prstGeom>
          <a:solidFill>
            <a:schemeClr val="tx2">
              <a:lumMod val="20000"/>
              <a:lumOff val="80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102" name="Group 101">
            <a:extLst>
              <a:ext uri="{FF2B5EF4-FFF2-40B4-BE49-F238E27FC236}">
                <a16:creationId xmlns:a16="http://schemas.microsoft.com/office/drawing/2014/main" id="{1347937A-EB9A-4FD4-B07C-388DAE8B37CE}"/>
              </a:ext>
            </a:extLst>
          </p:cNvPr>
          <p:cNvGrpSpPr/>
          <p:nvPr/>
        </p:nvGrpSpPr>
        <p:grpSpPr>
          <a:xfrm>
            <a:off x="3265452" y="2917867"/>
            <a:ext cx="4654758" cy="1665228"/>
            <a:chOff x="3699216" y="1411514"/>
            <a:chExt cx="4654758" cy="1665228"/>
          </a:xfrm>
        </p:grpSpPr>
        <p:sp>
          <p:nvSpPr>
            <p:cNvPr id="103" name="Richtungspfeil 65">
              <a:extLst>
                <a:ext uri="{FF2B5EF4-FFF2-40B4-BE49-F238E27FC236}">
                  <a16:creationId xmlns:a16="http://schemas.microsoft.com/office/drawing/2014/main" id="{5C931197-21C0-4732-8C7D-86F3CA65537E}"/>
                </a:ext>
              </a:extLst>
            </p:cNvPr>
            <p:cNvSpPr/>
            <p:nvPr/>
          </p:nvSpPr>
          <p:spPr bwMode="auto">
            <a:xfrm>
              <a:off x="4377361" y="1833566"/>
              <a:ext cx="2734639" cy="665378"/>
            </a:xfrm>
            <a:prstGeom prst="roundRect">
              <a:avLst>
                <a:gd name="adj" fmla="val 50000"/>
              </a:avLst>
            </a:prstGeom>
            <a:solidFill>
              <a:schemeClr val="tx1">
                <a:lumMod val="10000"/>
                <a:lumOff val="90000"/>
              </a:schemeClr>
            </a:solidFill>
            <a:ln w="12700">
              <a:noFill/>
              <a:miter lim="800000"/>
              <a:headEnd/>
              <a:tailEnd/>
            </a:ln>
            <a:effectLst/>
          </p:spPr>
          <p:txBody>
            <a:bodyPr lIns="0" tIns="0" rIns="0" bIns="0" anchor="ctr" anchorCtr="0"/>
            <a:lstStyle/>
            <a:p>
              <a:pPr marL="66683" marR="0" lvl="0" indent="-66683" algn="ctr" defTabSz="457189" rtl="0" eaLnBrk="1" fontAlgn="base" latinLnBrk="0" hangingPunct="1">
                <a:lnSpc>
                  <a:spcPct val="100000"/>
                </a:lnSpc>
                <a:spcBef>
                  <a:spcPct val="0"/>
                </a:spcBef>
                <a:spcAft>
                  <a:spcPts val="450"/>
                </a:spcAft>
                <a:buClr>
                  <a:srgbClr val="005073">
                    <a:lumMod val="50000"/>
                  </a:srgbClr>
                </a:buClr>
                <a:buSzPct val="80000"/>
                <a:buFontTx/>
                <a:buNone/>
                <a:tabLst>
                  <a:tab pos="807331" algn="r"/>
                  <a:tab pos="1344362" algn="r"/>
                  <a:tab pos="1882582" algn="r"/>
                  <a:tab pos="2420804" algn="r"/>
                  <a:tab pos="2959024" algn="r"/>
                  <a:tab pos="3496054" algn="r"/>
                  <a:tab pos="4034274" algn="r"/>
                  <a:tab pos="4236703" algn="l"/>
                  <a:tab pos="4773733" algn="l"/>
                  <a:tab pos="5311955" algn="l"/>
                </a:tabLst>
                <a:defRPr/>
              </a:pPr>
              <a:endParaRPr kumimoji="0" lang="en-GB" sz="1400" b="0" i="0" u="none" strike="noStrike" kern="1200" cap="none" spc="0" normalizeH="0" baseline="0" noProof="1">
                <a:ln>
                  <a:noFill/>
                </a:ln>
                <a:solidFill>
                  <a:srgbClr val="005073"/>
                </a:solidFill>
                <a:effectLst/>
                <a:uLnTx/>
                <a:uFillTx/>
                <a:latin typeface="CiscoSansTT ExtraLight"/>
                <a:ea typeface="ＭＳ Ｐゴシック" charset="0"/>
              </a:endParaRPr>
            </a:p>
          </p:txBody>
        </p:sp>
        <p:grpSp>
          <p:nvGrpSpPr>
            <p:cNvPr id="104" name="Group 103">
              <a:extLst>
                <a:ext uri="{FF2B5EF4-FFF2-40B4-BE49-F238E27FC236}">
                  <a16:creationId xmlns:a16="http://schemas.microsoft.com/office/drawing/2014/main" id="{CC6F425B-4D84-42B6-8C66-E002584E9327}"/>
                </a:ext>
              </a:extLst>
            </p:cNvPr>
            <p:cNvGrpSpPr/>
            <p:nvPr/>
          </p:nvGrpSpPr>
          <p:grpSpPr>
            <a:xfrm>
              <a:off x="6524097" y="1833972"/>
              <a:ext cx="852567" cy="668707"/>
              <a:chOff x="7457813" y="1821272"/>
              <a:chExt cx="852567" cy="668707"/>
            </a:xfrm>
          </p:grpSpPr>
          <p:grpSp>
            <p:nvGrpSpPr>
              <p:cNvPr id="128" name="Group 127">
                <a:extLst>
                  <a:ext uri="{FF2B5EF4-FFF2-40B4-BE49-F238E27FC236}">
                    <a16:creationId xmlns:a16="http://schemas.microsoft.com/office/drawing/2014/main" id="{A026FD36-6DF5-4BF9-AB1F-ADF734B839AD}"/>
                  </a:ext>
                </a:extLst>
              </p:cNvPr>
              <p:cNvGrpSpPr>
                <a:grpSpLocks noChangeAspect="1"/>
              </p:cNvGrpSpPr>
              <p:nvPr/>
            </p:nvGrpSpPr>
            <p:grpSpPr>
              <a:xfrm rot="19800000">
                <a:off x="7457813" y="1821272"/>
                <a:ext cx="852567" cy="321412"/>
                <a:chOff x="7262657" y="1468438"/>
                <a:chExt cx="1313812" cy="495300"/>
              </a:xfrm>
            </p:grpSpPr>
            <p:sp>
              <p:nvSpPr>
                <p:cNvPr id="138" name="Freeform 79">
                  <a:extLst>
                    <a:ext uri="{FF2B5EF4-FFF2-40B4-BE49-F238E27FC236}">
                      <a16:creationId xmlns:a16="http://schemas.microsoft.com/office/drawing/2014/main" id="{519AD555-A252-4AC1-B429-EFF6251D92ED}"/>
                    </a:ext>
                  </a:extLst>
                </p:cNvPr>
                <p:cNvSpPr>
                  <a:spLocks noEditPoints="1"/>
                </p:cNvSpPr>
                <p:nvPr/>
              </p:nvSpPr>
              <p:spPr bwMode="auto">
                <a:xfrm>
                  <a:off x="7262657" y="1654176"/>
                  <a:ext cx="1311431" cy="123825"/>
                </a:xfrm>
                <a:custGeom>
                  <a:avLst/>
                  <a:gdLst>
                    <a:gd name="T0" fmla="*/ 1402 w 1412"/>
                    <a:gd name="T1" fmla="*/ 60 h 71"/>
                    <a:gd name="T2" fmla="*/ 1401 w 1412"/>
                    <a:gd name="T3" fmla="*/ 60 h 71"/>
                    <a:gd name="T4" fmla="*/ 1401 w 1412"/>
                    <a:gd name="T5" fmla="*/ 60 h 71"/>
                    <a:gd name="T6" fmla="*/ 1402 w 1412"/>
                    <a:gd name="T7" fmla="*/ 60 h 71"/>
                    <a:gd name="T8" fmla="*/ 1402 w 1412"/>
                    <a:gd name="T9" fmla="*/ 60 h 71"/>
                    <a:gd name="T10" fmla="*/ 1402 w 1412"/>
                    <a:gd name="T11" fmla="*/ 60 h 71"/>
                    <a:gd name="T12" fmla="*/ 1402 w 1412"/>
                    <a:gd name="T13" fmla="*/ 60 h 71"/>
                    <a:gd name="T14" fmla="*/ 1402 w 1412"/>
                    <a:gd name="T15" fmla="*/ 60 h 71"/>
                    <a:gd name="T16" fmla="*/ 1402 w 1412"/>
                    <a:gd name="T17" fmla="*/ 60 h 71"/>
                    <a:gd name="T18" fmla="*/ 1402 w 1412"/>
                    <a:gd name="T19" fmla="*/ 60 h 71"/>
                    <a:gd name="T20" fmla="*/ 1402 w 1412"/>
                    <a:gd name="T21" fmla="*/ 60 h 71"/>
                    <a:gd name="T22" fmla="*/ 1402 w 1412"/>
                    <a:gd name="T23" fmla="*/ 60 h 71"/>
                    <a:gd name="T24" fmla="*/ 1402 w 1412"/>
                    <a:gd name="T25" fmla="*/ 60 h 71"/>
                    <a:gd name="T26" fmla="*/ 1409 w 1412"/>
                    <a:gd name="T27" fmla="*/ 50 h 71"/>
                    <a:gd name="T28" fmla="*/ 1409 w 1412"/>
                    <a:gd name="T29" fmla="*/ 50 h 71"/>
                    <a:gd name="T30" fmla="*/ 1409 w 1412"/>
                    <a:gd name="T31" fmla="*/ 50 h 71"/>
                    <a:gd name="T32" fmla="*/ 1409 w 1412"/>
                    <a:gd name="T33" fmla="*/ 49 h 71"/>
                    <a:gd name="T34" fmla="*/ 1409 w 1412"/>
                    <a:gd name="T35" fmla="*/ 49 h 71"/>
                    <a:gd name="T36" fmla="*/ 1409 w 1412"/>
                    <a:gd name="T37" fmla="*/ 49 h 71"/>
                    <a:gd name="T38" fmla="*/ 1409 w 1412"/>
                    <a:gd name="T39" fmla="*/ 21 h 71"/>
                    <a:gd name="T40" fmla="*/ 1412 w 1412"/>
                    <a:gd name="T41" fmla="*/ 35 h 71"/>
                    <a:gd name="T42" fmla="*/ 1409 w 1412"/>
                    <a:gd name="T43" fmla="*/ 49 h 71"/>
                    <a:gd name="T44" fmla="*/ 1412 w 1412"/>
                    <a:gd name="T45" fmla="*/ 35 h 71"/>
                    <a:gd name="T46" fmla="*/ 1409 w 1412"/>
                    <a:gd name="T47" fmla="*/ 21 h 71"/>
                    <a:gd name="T48" fmla="*/ 1409 w 1412"/>
                    <a:gd name="T49" fmla="*/ 21 h 71"/>
                    <a:gd name="T50" fmla="*/ 1409 w 1412"/>
                    <a:gd name="T51" fmla="*/ 21 h 71"/>
                    <a:gd name="T52" fmla="*/ 1409 w 1412"/>
                    <a:gd name="T53" fmla="*/ 21 h 71"/>
                    <a:gd name="T54" fmla="*/ 1291 w 1412"/>
                    <a:gd name="T55" fmla="*/ 0 h 71"/>
                    <a:gd name="T56" fmla="*/ 35 w 1412"/>
                    <a:gd name="T57" fmla="*/ 0 h 71"/>
                    <a:gd name="T58" fmla="*/ 0 w 1412"/>
                    <a:gd name="T59" fmla="*/ 35 h 71"/>
                    <a:gd name="T60" fmla="*/ 35 w 1412"/>
                    <a:gd name="T61" fmla="*/ 71 h 71"/>
                    <a:gd name="T62" fmla="*/ 1291 w 1412"/>
                    <a:gd name="T63" fmla="*/ 71 h 71"/>
                    <a:gd name="T64" fmla="*/ 1326 w 1412"/>
                    <a:gd name="T65" fmla="*/ 35 h 71"/>
                    <a:gd name="T66" fmla="*/ 1291 w 1412"/>
                    <a:gd name="T6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2" h="71">
                      <a:moveTo>
                        <a:pt x="1402" y="60"/>
                      </a:moveTo>
                      <a:cubicBezTo>
                        <a:pt x="1401" y="60"/>
                        <a:pt x="1401" y="60"/>
                        <a:pt x="1401" y="60"/>
                      </a:cubicBezTo>
                      <a:cubicBezTo>
                        <a:pt x="1401" y="60"/>
                        <a:pt x="1401" y="60"/>
                        <a:pt x="1401" y="60"/>
                      </a:cubicBezTo>
                      <a:cubicBezTo>
                        <a:pt x="1401" y="60"/>
                        <a:pt x="1401"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9" y="50"/>
                      </a:moveTo>
                      <a:cubicBezTo>
                        <a:pt x="1409" y="50"/>
                        <a:pt x="1409" y="50"/>
                        <a:pt x="1409" y="50"/>
                      </a:cubicBezTo>
                      <a:cubicBezTo>
                        <a:pt x="1409" y="50"/>
                        <a:pt x="1409" y="50"/>
                        <a:pt x="1409" y="50"/>
                      </a:cubicBezTo>
                      <a:moveTo>
                        <a:pt x="1409" y="49"/>
                      </a:moveTo>
                      <a:cubicBezTo>
                        <a:pt x="1409" y="49"/>
                        <a:pt x="1409" y="49"/>
                        <a:pt x="1409" y="49"/>
                      </a:cubicBezTo>
                      <a:cubicBezTo>
                        <a:pt x="1409" y="49"/>
                        <a:pt x="1409" y="49"/>
                        <a:pt x="1409" y="49"/>
                      </a:cubicBezTo>
                      <a:moveTo>
                        <a:pt x="1409" y="21"/>
                      </a:moveTo>
                      <a:cubicBezTo>
                        <a:pt x="1411" y="25"/>
                        <a:pt x="1412" y="30"/>
                        <a:pt x="1412" y="35"/>
                      </a:cubicBezTo>
                      <a:cubicBezTo>
                        <a:pt x="1412" y="40"/>
                        <a:pt x="1411" y="45"/>
                        <a:pt x="1409" y="49"/>
                      </a:cubicBezTo>
                      <a:cubicBezTo>
                        <a:pt x="1411" y="45"/>
                        <a:pt x="1412" y="40"/>
                        <a:pt x="1412" y="35"/>
                      </a:cubicBezTo>
                      <a:cubicBezTo>
                        <a:pt x="1412" y="30"/>
                        <a:pt x="1411" y="25"/>
                        <a:pt x="1409" y="21"/>
                      </a:cubicBezTo>
                      <a:moveTo>
                        <a:pt x="1409" y="21"/>
                      </a:moveTo>
                      <a:cubicBezTo>
                        <a:pt x="1409" y="21"/>
                        <a:pt x="1409" y="21"/>
                        <a:pt x="1409" y="21"/>
                      </a:cubicBezTo>
                      <a:cubicBezTo>
                        <a:pt x="1409" y="21"/>
                        <a:pt x="1409" y="21"/>
                        <a:pt x="1409" y="21"/>
                      </a:cubicBezTo>
                      <a:moveTo>
                        <a:pt x="1291" y="0"/>
                      </a:moveTo>
                      <a:cubicBezTo>
                        <a:pt x="35" y="0"/>
                        <a:pt x="35" y="0"/>
                        <a:pt x="35" y="0"/>
                      </a:cubicBezTo>
                      <a:cubicBezTo>
                        <a:pt x="15" y="0"/>
                        <a:pt x="0" y="16"/>
                        <a:pt x="0" y="35"/>
                      </a:cubicBezTo>
                      <a:cubicBezTo>
                        <a:pt x="0" y="55"/>
                        <a:pt x="15" y="71"/>
                        <a:pt x="35" y="71"/>
                      </a:cubicBezTo>
                      <a:cubicBezTo>
                        <a:pt x="1291" y="71"/>
                        <a:pt x="1291" y="71"/>
                        <a:pt x="1291" y="71"/>
                      </a:cubicBezTo>
                      <a:cubicBezTo>
                        <a:pt x="1326" y="35"/>
                        <a:pt x="1326" y="35"/>
                        <a:pt x="1326" y="35"/>
                      </a:cubicBezTo>
                      <a:cubicBezTo>
                        <a:pt x="1291" y="0"/>
                        <a:pt x="1291" y="0"/>
                        <a:pt x="1291" y="0"/>
                      </a:cubicBezTo>
                    </a:path>
                  </a:pathLst>
                </a:custGeom>
                <a:gradFill flip="none" rotWithShape="1">
                  <a:gsLst>
                    <a:gs pos="31000">
                      <a:schemeClr val="bg2">
                        <a:alpha val="0"/>
                      </a:schemeClr>
                    </a:gs>
                    <a:gs pos="100000">
                      <a:schemeClr val="accent1"/>
                    </a:gs>
                  </a:gsLst>
                  <a:lin ang="0" scaled="1"/>
                  <a:tileRect/>
                </a:gradFill>
                <a:ln>
                  <a:no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39" name="Freeform 80">
                  <a:extLst>
                    <a:ext uri="{FF2B5EF4-FFF2-40B4-BE49-F238E27FC236}">
                      <a16:creationId xmlns:a16="http://schemas.microsoft.com/office/drawing/2014/main" id="{CBC59023-0A63-460C-B84A-E5A5D968B76A}"/>
                    </a:ext>
                  </a:extLst>
                </p:cNvPr>
                <p:cNvSpPr>
                  <a:spLocks noEditPoints="1"/>
                </p:cNvSpPr>
                <p:nvPr/>
              </p:nvSpPr>
              <p:spPr bwMode="auto">
                <a:xfrm>
                  <a:off x="8259763" y="1468438"/>
                  <a:ext cx="309563" cy="290512"/>
                </a:xfrm>
                <a:custGeom>
                  <a:avLst/>
                  <a:gdLst>
                    <a:gd name="T0" fmla="*/ 170 w 177"/>
                    <a:gd name="T1" fmla="*/ 166 h 166"/>
                    <a:gd name="T2" fmla="*/ 170 w 177"/>
                    <a:gd name="T3" fmla="*/ 166 h 166"/>
                    <a:gd name="T4" fmla="*/ 170 w 177"/>
                    <a:gd name="T5" fmla="*/ 166 h 166"/>
                    <a:gd name="T6" fmla="*/ 170 w 177"/>
                    <a:gd name="T7" fmla="*/ 166 h 166"/>
                    <a:gd name="T8" fmla="*/ 170 w 177"/>
                    <a:gd name="T9" fmla="*/ 166 h 166"/>
                    <a:gd name="T10" fmla="*/ 170 w 177"/>
                    <a:gd name="T11" fmla="*/ 166 h 166"/>
                    <a:gd name="T12" fmla="*/ 170 w 177"/>
                    <a:gd name="T13" fmla="*/ 166 h 166"/>
                    <a:gd name="T14" fmla="*/ 170 w 177"/>
                    <a:gd name="T15" fmla="*/ 166 h 166"/>
                    <a:gd name="T16" fmla="*/ 170 w 177"/>
                    <a:gd name="T17" fmla="*/ 166 h 166"/>
                    <a:gd name="T18" fmla="*/ 170 w 177"/>
                    <a:gd name="T19" fmla="*/ 166 h 166"/>
                    <a:gd name="T20" fmla="*/ 170 w 177"/>
                    <a:gd name="T21" fmla="*/ 166 h 166"/>
                    <a:gd name="T22" fmla="*/ 170 w 177"/>
                    <a:gd name="T23" fmla="*/ 166 h 166"/>
                    <a:gd name="T24" fmla="*/ 170 w 177"/>
                    <a:gd name="T25" fmla="*/ 166 h 166"/>
                    <a:gd name="T26" fmla="*/ 170 w 177"/>
                    <a:gd name="T27" fmla="*/ 166 h 166"/>
                    <a:gd name="T28" fmla="*/ 170 w 177"/>
                    <a:gd name="T29" fmla="*/ 166 h 166"/>
                    <a:gd name="T30" fmla="*/ 177 w 177"/>
                    <a:gd name="T31" fmla="*/ 156 h 166"/>
                    <a:gd name="T32" fmla="*/ 177 w 177"/>
                    <a:gd name="T33" fmla="*/ 156 h 166"/>
                    <a:gd name="T34" fmla="*/ 177 w 177"/>
                    <a:gd name="T35" fmla="*/ 156 h 166"/>
                    <a:gd name="T36" fmla="*/ 176 w 177"/>
                    <a:gd name="T37" fmla="*/ 156 h 166"/>
                    <a:gd name="T38" fmla="*/ 170 w 177"/>
                    <a:gd name="T39" fmla="*/ 165 h 166"/>
                    <a:gd name="T40" fmla="*/ 170 w 177"/>
                    <a:gd name="T41" fmla="*/ 165 h 166"/>
                    <a:gd name="T42" fmla="*/ 170 w 177"/>
                    <a:gd name="T43" fmla="*/ 165 h 166"/>
                    <a:gd name="T44" fmla="*/ 170 w 177"/>
                    <a:gd name="T45" fmla="*/ 166 h 166"/>
                    <a:gd name="T46" fmla="*/ 170 w 177"/>
                    <a:gd name="T47" fmla="*/ 166 h 166"/>
                    <a:gd name="T48" fmla="*/ 170 w 177"/>
                    <a:gd name="T49" fmla="*/ 166 h 166"/>
                    <a:gd name="T50" fmla="*/ 177 w 177"/>
                    <a:gd name="T51" fmla="*/ 156 h 166"/>
                    <a:gd name="T52" fmla="*/ 177 w 177"/>
                    <a:gd name="T53" fmla="*/ 155 h 166"/>
                    <a:gd name="T54" fmla="*/ 177 w 177"/>
                    <a:gd name="T55" fmla="*/ 156 h 166"/>
                    <a:gd name="T56" fmla="*/ 177 w 177"/>
                    <a:gd name="T57" fmla="*/ 155 h 166"/>
                    <a:gd name="T58" fmla="*/ 177 w 177"/>
                    <a:gd name="T59" fmla="*/ 155 h 166"/>
                    <a:gd name="T60" fmla="*/ 177 w 177"/>
                    <a:gd name="T61" fmla="*/ 155 h 166"/>
                    <a:gd name="T62" fmla="*/ 177 w 177"/>
                    <a:gd name="T63" fmla="*/ 155 h 166"/>
                    <a:gd name="T64" fmla="*/ 38 w 177"/>
                    <a:gd name="T65" fmla="*/ 0 h 166"/>
                    <a:gd name="T66" fmla="*/ 13 w 177"/>
                    <a:gd name="T67" fmla="*/ 10 h 166"/>
                    <a:gd name="T68" fmla="*/ 13 w 177"/>
                    <a:gd name="T69" fmla="*/ 60 h 166"/>
                    <a:gd name="T70" fmla="*/ 59 w 177"/>
                    <a:gd name="T71" fmla="*/ 106 h 166"/>
                    <a:gd name="T72" fmla="*/ 144 w 177"/>
                    <a:gd name="T73" fmla="*/ 106 h 166"/>
                    <a:gd name="T74" fmla="*/ 144 w 177"/>
                    <a:gd name="T75" fmla="*/ 106 h 166"/>
                    <a:gd name="T76" fmla="*/ 148 w 177"/>
                    <a:gd name="T77" fmla="*/ 106 h 166"/>
                    <a:gd name="T78" fmla="*/ 156 w 177"/>
                    <a:gd name="T79" fmla="*/ 108 h 166"/>
                    <a:gd name="T80" fmla="*/ 156 w 177"/>
                    <a:gd name="T81" fmla="*/ 108 h 166"/>
                    <a:gd name="T82" fmla="*/ 156 w 177"/>
                    <a:gd name="T83" fmla="*/ 108 h 166"/>
                    <a:gd name="T84" fmla="*/ 169 w 177"/>
                    <a:gd name="T85" fmla="*/ 116 h 166"/>
                    <a:gd name="T86" fmla="*/ 63 w 177"/>
                    <a:gd name="T87" fmla="*/ 10 h 166"/>
                    <a:gd name="T88" fmla="*/ 38 w 177"/>
                    <a:gd name="T8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166">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7" y="156"/>
                      </a:moveTo>
                      <a:cubicBezTo>
                        <a:pt x="177" y="156"/>
                        <a:pt x="177" y="156"/>
                        <a:pt x="177" y="156"/>
                      </a:cubicBezTo>
                      <a:cubicBezTo>
                        <a:pt x="177" y="156"/>
                        <a:pt x="177" y="156"/>
                        <a:pt x="177" y="156"/>
                      </a:cubicBezTo>
                      <a:cubicBezTo>
                        <a:pt x="176" y="156"/>
                        <a:pt x="176" y="156"/>
                        <a:pt x="176" y="156"/>
                      </a:cubicBezTo>
                      <a:cubicBezTo>
                        <a:pt x="175" y="159"/>
                        <a:pt x="173" y="163"/>
                        <a:pt x="170" y="165"/>
                      </a:cubicBezTo>
                      <a:cubicBezTo>
                        <a:pt x="170" y="165"/>
                        <a:pt x="170" y="165"/>
                        <a:pt x="170" y="165"/>
                      </a:cubicBezTo>
                      <a:cubicBezTo>
                        <a:pt x="170" y="165"/>
                        <a:pt x="170" y="165"/>
                        <a:pt x="170" y="165"/>
                      </a:cubicBezTo>
                      <a:cubicBezTo>
                        <a:pt x="170" y="166"/>
                        <a:pt x="170" y="166"/>
                        <a:pt x="170" y="166"/>
                      </a:cubicBezTo>
                      <a:cubicBezTo>
                        <a:pt x="170" y="166"/>
                        <a:pt x="170" y="166"/>
                        <a:pt x="170" y="166"/>
                      </a:cubicBezTo>
                      <a:cubicBezTo>
                        <a:pt x="170" y="166"/>
                        <a:pt x="170" y="166"/>
                        <a:pt x="170" y="166"/>
                      </a:cubicBezTo>
                      <a:cubicBezTo>
                        <a:pt x="173" y="163"/>
                        <a:pt x="175" y="159"/>
                        <a:pt x="177" y="156"/>
                      </a:cubicBezTo>
                      <a:moveTo>
                        <a:pt x="177" y="155"/>
                      </a:moveTo>
                      <a:cubicBezTo>
                        <a:pt x="177" y="156"/>
                        <a:pt x="177" y="156"/>
                        <a:pt x="177" y="156"/>
                      </a:cubicBezTo>
                      <a:cubicBezTo>
                        <a:pt x="177" y="156"/>
                        <a:pt x="177" y="156"/>
                        <a:pt x="177" y="155"/>
                      </a:cubicBezTo>
                      <a:moveTo>
                        <a:pt x="177" y="155"/>
                      </a:moveTo>
                      <a:cubicBezTo>
                        <a:pt x="177" y="155"/>
                        <a:pt x="177" y="155"/>
                        <a:pt x="177" y="155"/>
                      </a:cubicBezTo>
                      <a:cubicBezTo>
                        <a:pt x="177" y="155"/>
                        <a:pt x="177" y="155"/>
                        <a:pt x="177" y="155"/>
                      </a:cubicBezTo>
                      <a:moveTo>
                        <a:pt x="38" y="0"/>
                      </a:moveTo>
                      <a:cubicBezTo>
                        <a:pt x="29" y="0"/>
                        <a:pt x="20" y="4"/>
                        <a:pt x="13" y="10"/>
                      </a:cubicBezTo>
                      <a:cubicBezTo>
                        <a:pt x="0" y="24"/>
                        <a:pt x="0" y="47"/>
                        <a:pt x="13" y="60"/>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6"/>
                        <a:pt x="154" y="107"/>
                        <a:pt x="156" y="108"/>
                      </a:cubicBezTo>
                      <a:cubicBezTo>
                        <a:pt x="156" y="108"/>
                        <a:pt x="156" y="108"/>
                        <a:pt x="156" y="108"/>
                      </a:cubicBezTo>
                      <a:cubicBezTo>
                        <a:pt x="156" y="108"/>
                        <a:pt x="156" y="108"/>
                        <a:pt x="156" y="108"/>
                      </a:cubicBezTo>
                      <a:cubicBezTo>
                        <a:pt x="161" y="110"/>
                        <a:pt x="166" y="113"/>
                        <a:pt x="169" y="116"/>
                      </a:cubicBezTo>
                      <a:cubicBezTo>
                        <a:pt x="63" y="10"/>
                        <a:pt x="63" y="10"/>
                        <a:pt x="63" y="10"/>
                      </a:cubicBezTo>
                      <a:cubicBezTo>
                        <a:pt x="57" y="4"/>
                        <a:pt x="48" y="0"/>
                        <a:pt x="38"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40" name="Freeform 81">
                  <a:extLst>
                    <a:ext uri="{FF2B5EF4-FFF2-40B4-BE49-F238E27FC236}">
                      <a16:creationId xmlns:a16="http://schemas.microsoft.com/office/drawing/2014/main" id="{C838C11E-8CE6-443E-9DB5-30BF3EB3613F}"/>
                    </a:ext>
                  </a:extLst>
                </p:cNvPr>
                <p:cNvSpPr>
                  <a:spLocks noEditPoints="1"/>
                </p:cNvSpPr>
                <p:nvPr/>
              </p:nvSpPr>
              <p:spPr bwMode="auto">
                <a:xfrm>
                  <a:off x="8362950" y="1654176"/>
                  <a:ext cx="211138" cy="104775"/>
                </a:xfrm>
                <a:custGeom>
                  <a:avLst/>
                  <a:gdLst>
                    <a:gd name="T0" fmla="*/ 111 w 121"/>
                    <a:gd name="T1" fmla="*/ 60 h 60"/>
                    <a:gd name="T2" fmla="*/ 110 w 121"/>
                    <a:gd name="T3" fmla="*/ 60 h 60"/>
                    <a:gd name="T4" fmla="*/ 110 w 121"/>
                    <a:gd name="T5" fmla="*/ 60 h 60"/>
                    <a:gd name="T6" fmla="*/ 110 w 121"/>
                    <a:gd name="T7" fmla="*/ 60 h 60"/>
                    <a:gd name="T8" fmla="*/ 111 w 121"/>
                    <a:gd name="T9" fmla="*/ 60 h 60"/>
                    <a:gd name="T10" fmla="*/ 111 w 121"/>
                    <a:gd name="T11" fmla="*/ 60 h 60"/>
                    <a:gd name="T12" fmla="*/ 111 w 121"/>
                    <a:gd name="T13" fmla="*/ 60 h 60"/>
                    <a:gd name="T14" fmla="*/ 111 w 121"/>
                    <a:gd name="T15" fmla="*/ 60 h 60"/>
                    <a:gd name="T16" fmla="*/ 111 w 121"/>
                    <a:gd name="T17" fmla="*/ 60 h 60"/>
                    <a:gd name="T18" fmla="*/ 111 w 121"/>
                    <a:gd name="T19" fmla="*/ 60 h 60"/>
                    <a:gd name="T20" fmla="*/ 111 w 121"/>
                    <a:gd name="T21" fmla="*/ 60 h 60"/>
                    <a:gd name="T22" fmla="*/ 111 w 121"/>
                    <a:gd name="T23" fmla="*/ 60 h 60"/>
                    <a:gd name="T24" fmla="*/ 111 w 121"/>
                    <a:gd name="T25" fmla="*/ 60 h 60"/>
                    <a:gd name="T26" fmla="*/ 111 w 121"/>
                    <a:gd name="T27" fmla="*/ 60 h 60"/>
                    <a:gd name="T28" fmla="*/ 111 w 121"/>
                    <a:gd name="T29" fmla="*/ 60 h 60"/>
                    <a:gd name="T30" fmla="*/ 111 w 121"/>
                    <a:gd name="T31" fmla="*/ 60 h 60"/>
                    <a:gd name="T32" fmla="*/ 111 w 121"/>
                    <a:gd name="T33" fmla="*/ 60 h 60"/>
                    <a:gd name="T34" fmla="*/ 111 w 121"/>
                    <a:gd name="T35" fmla="*/ 60 h 60"/>
                    <a:gd name="T36" fmla="*/ 111 w 121"/>
                    <a:gd name="T37" fmla="*/ 60 h 60"/>
                    <a:gd name="T38" fmla="*/ 111 w 121"/>
                    <a:gd name="T39" fmla="*/ 60 h 60"/>
                    <a:gd name="T40" fmla="*/ 111 w 121"/>
                    <a:gd name="T41" fmla="*/ 60 h 60"/>
                    <a:gd name="T42" fmla="*/ 111 w 121"/>
                    <a:gd name="T43" fmla="*/ 59 h 60"/>
                    <a:gd name="T44" fmla="*/ 111 w 121"/>
                    <a:gd name="T45" fmla="*/ 60 h 60"/>
                    <a:gd name="T46" fmla="*/ 111 w 121"/>
                    <a:gd name="T47" fmla="*/ 59 h 60"/>
                    <a:gd name="T48" fmla="*/ 111 w 121"/>
                    <a:gd name="T49" fmla="*/ 59 h 60"/>
                    <a:gd name="T50" fmla="*/ 111 w 121"/>
                    <a:gd name="T51" fmla="*/ 59 h 60"/>
                    <a:gd name="T52" fmla="*/ 111 w 121"/>
                    <a:gd name="T53" fmla="*/ 59 h 60"/>
                    <a:gd name="T54" fmla="*/ 118 w 121"/>
                    <a:gd name="T55" fmla="*/ 50 h 60"/>
                    <a:gd name="T56" fmla="*/ 117 w 121"/>
                    <a:gd name="T57" fmla="*/ 50 h 60"/>
                    <a:gd name="T58" fmla="*/ 118 w 121"/>
                    <a:gd name="T59" fmla="*/ 50 h 60"/>
                    <a:gd name="T60" fmla="*/ 121 w 121"/>
                    <a:gd name="T61" fmla="*/ 35 h 60"/>
                    <a:gd name="T62" fmla="*/ 118 w 121"/>
                    <a:gd name="T63" fmla="*/ 50 h 60"/>
                    <a:gd name="T64" fmla="*/ 118 w 121"/>
                    <a:gd name="T65" fmla="*/ 50 h 60"/>
                    <a:gd name="T66" fmla="*/ 118 w 121"/>
                    <a:gd name="T67" fmla="*/ 50 h 60"/>
                    <a:gd name="T68" fmla="*/ 118 w 121"/>
                    <a:gd name="T69" fmla="*/ 49 h 60"/>
                    <a:gd name="T70" fmla="*/ 118 w 121"/>
                    <a:gd name="T71" fmla="*/ 49 h 60"/>
                    <a:gd name="T72" fmla="*/ 118 w 121"/>
                    <a:gd name="T73" fmla="*/ 49 h 60"/>
                    <a:gd name="T74" fmla="*/ 121 w 121"/>
                    <a:gd name="T75" fmla="*/ 35 h 60"/>
                    <a:gd name="T76" fmla="*/ 97 w 121"/>
                    <a:gd name="T77" fmla="*/ 2 h 60"/>
                    <a:gd name="T78" fmla="*/ 97 w 121"/>
                    <a:gd name="T79" fmla="*/ 2 h 60"/>
                    <a:gd name="T80" fmla="*/ 97 w 121"/>
                    <a:gd name="T81" fmla="*/ 2 h 60"/>
                    <a:gd name="T82" fmla="*/ 89 w 121"/>
                    <a:gd name="T83" fmla="*/ 0 h 60"/>
                    <a:gd name="T84" fmla="*/ 97 w 121"/>
                    <a:gd name="T85" fmla="*/ 2 h 60"/>
                    <a:gd name="T86" fmla="*/ 89 w 121"/>
                    <a:gd name="T87" fmla="*/ 0 h 60"/>
                    <a:gd name="T88" fmla="*/ 85 w 121"/>
                    <a:gd name="T89" fmla="*/ 0 h 60"/>
                    <a:gd name="T90" fmla="*/ 0 w 121"/>
                    <a:gd name="T91" fmla="*/ 0 h 60"/>
                    <a:gd name="T92" fmla="*/ 35 w 121"/>
                    <a:gd name="T93" fmla="*/ 35 h 60"/>
                    <a:gd name="T94" fmla="*/ 60 w 121"/>
                    <a:gd name="T95" fmla="*/ 10 h 60"/>
                    <a:gd name="T96" fmla="*/ 85 w 121"/>
                    <a:gd name="T9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1" h="60">
                      <a:moveTo>
                        <a:pt x="111" y="60"/>
                      </a:moveTo>
                      <a:cubicBezTo>
                        <a:pt x="110" y="60"/>
                        <a:pt x="110" y="60"/>
                        <a:pt x="110" y="60"/>
                      </a:cubicBezTo>
                      <a:cubicBezTo>
                        <a:pt x="110" y="60"/>
                        <a:pt x="110" y="60"/>
                        <a:pt x="110" y="60"/>
                      </a:cubicBezTo>
                      <a:cubicBezTo>
                        <a:pt x="110" y="60"/>
                        <a:pt x="110" y="60"/>
                        <a:pt x="110" y="60"/>
                      </a:cubicBezTo>
                      <a:cubicBezTo>
                        <a:pt x="110" y="60"/>
                        <a:pt x="110"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59"/>
                      </a:moveTo>
                      <a:cubicBezTo>
                        <a:pt x="111" y="60"/>
                        <a:pt x="111" y="60"/>
                        <a:pt x="111" y="60"/>
                      </a:cubicBezTo>
                      <a:cubicBezTo>
                        <a:pt x="111" y="60"/>
                        <a:pt x="111" y="60"/>
                        <a:pt x="111" y="59"/>
                      </a:cubicBezTo>
                      <a:moveTo>
                        <a:pt x="111" y="59"/>
                      </a:moveTo>
                      <a:cubicBezTo>
                        <a:pt x="111" y="59"/>
                        <a:pt x="111" y="59"/>
                        <a:pt x="111" y="59"/>
                      </a:cubicBezTo>
                      <a:cubicBezTo>
                        <a:pt x="111" y="59"/>
                        <a:pt x="111" y="59"/>
                        <a:pt x="111" y="59"/>
                      </a:cubicBezTo>
                      <a:moveTo>
                        <a:pt x="118" y="50"/>
                      </a:moveTo>
                      <a:cubicBezTo>
                        <a:pt x="117" y="50"/>
                        <a:pt x="117" y="50"/>
                        <a:pt x="117" y="50"/>
                      </a:cubicBezTo>
                      <a:cubicBezTo>
                        <a:pt x="117" y="50"/>
                        <a:pt x="117" y="50"/>
                        <a:pt x="118" y="50"/>
                      </a:cubicBezTo>
                      <a:moveTo>
                        <a:pt x="121" y="35"/>
                      </a:moveTo>
                      <a:cubicBezTo>
                        <a:pt x="121" y="40"/>
                        <a:pt x="120" y="45"/>
                        <a:pt x="118" y="50"/>
                      </a:cubicBezTo>
                      <a:cubicBezTo>
                        <a:pt x="118" y="50"/>
                        <a:pt x="118" y="50"/>
                        <a:pt x="118" y="50"/>
                      </a:cubicBezTo>
                      <a:cubicBezTo>
                        <a:pt x="118" y="50"/>
                        <a:pt x="118" y="50"/>
                        <a:pt x="118" y="50"/>
                      </a:cubicBezTo>
                      <a:cubicBezTo>
                        <a:pt x="118" y="50"/>
                        <a:pt x="118" y="50"/>
                        <a:pt x="118" y="49"/>
                      </a:cubicBezTo>
                      <a:cubicBezTo>
                        <a:pt x="118" y="49"/>
                        <a:pt x="118" y="49"/>
                        <a:pt x="118" y="49"/>
                      </a:cubicBezTo>
                      <a:cubicBezTo>
                        <a:pt x="118" y="49"/>
                        <a:pt x="118" y="49"/>
                        <a:pt x="118" y="49"/>
                      </a:cubicBezTo>
                      <a:cubicBezTo>
                        <a:pt x="120" y="45"/>
                        <a:pt x="121" y="40"/>
                        <a:pt x="121" y="35"/>
                      </a:cubicBezTo>
                      <a:moveTo>
                        <a:pt x="97" y="2"/>
                      </a:moveTo>
                      <a:cubicBezTo>
                        <a:pt x="97" y="2"/>
                        <a:pt x="97" y="2"/>
                        <a:pt x="97" y="2"/>
                      </a:cubicBezTo>
                      <a:cubicBezTo>
                        <a:pt x="97" y="2"/>
                        <a:pt x="97" y="2"/>
                        <a:pt x="97" y="2"/>
                      </a:cubicBezTo>
                      <a:moveTo>
                        <a:pt x="89" y="0"/>
                      </a:moveTo>
                      <a:cubicBezTo>
                        <a:pt x="92" y="0"/>
                        <a:pt x="94" y="1"/>
                        <a:pt x="97" y="2"/>
                      </a:cubicBezTo>
                      <a:cubicBezTo>
                        <a:pt x="95" y="1"/>
                        <a:pt x="92" y="0"/>
                        <a:pt x="89"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41" name="Freeform 82">
                  <a:extLst>
                    <a:ext uri="{FF2B5EF4-FFF2-40B4-BE49-F238E27FC236}">
                      <a16:creationId xmlns:a16="http://schemas.microsoft.com/office/drawing/2014/main" id="{E21787C5-FA20-4FB2-89EE-26ED5A38EA98}"/>
                    </a:ext>
                  </a:extLst>
                </p:cNvPr>
                <p:cNvSpPr>
                  <a:spLocks noEditPoints="1"/>
                </p:cNvSpPr>
                <p:nvPr/>
              </p:nvSpPr>
              <p:spPr bwMode="auto">
                <a:xfrm>
                  <a:off x="8259763" y="1671638"/>
                  <a:ext cx="309563" cy="292100"/>
                </a:xfrm>
                <a:custGeom>
                  <a:avLst/>
                  <a:gdLst>
                    <a:gd name="T0" fmla="*/ 169 w 177"/>
                    <a:gd name="T1" fmla="*/ 50 h 167"/>
                    <a:gd name="T2" fmla="*/ 169 w 177"/>
                    <a:gd name="T3" fmla="*/ 50 h 167"/>
                    <a:gd name="T4" fmla="*/ 169 w 177"/>
                    <a:gd name="T5" fmla="*/ 50 h 167"/>
                    <a:gd name="T6" fmla="*/ 169 w 177"/>
                    <a:gd name="T7" fmla="*/ 51 h 167"/>
                    <a:gd name="T8" fmla="*/ 169 w 177"/>
                    <a:gd name="T9" fmla="*/ 51 h 167"/>
                    <a:gd name="T10" fmla="*/ 169 w 177"/>
                    <a:gd name="T11" fmla="*/ 51 h 167"/>
                    <a:gd name="T12" fmla="*/ 169 w 177"/>
                    <a:gd name="T13" fmla="*/ 51 h 167"/>
                    <a:gd name="T14" fmla="*/ 169 w 177"/>
                    <a:gd name="T15" fmla="*/ 51 h 167"/>
                    <a:gd name="T16" fmla="*/ 158 w 177"/>
                    <a:gd name="T17" fmla="*/ 58 h 167"/>
                    <a:gd name="T18" fmla="*/ 158 w 177"/>
                    <a:gd name="T19" fmla="*/ 58 h 167"/>
                    <a:gd name="T20" fmla="*/ 157 w 177"/>
                    <a:gd name="T21" fmla="*/ 58 h 167"/>
                    <a:gd name="T22" fmla="*/ 157 w 177"/>
                    <a:gd name="T23" fmla="*/ 58 h 167"/>
                    <a:gd name="T24" fmla="*/ 157 w 177"/>
                    <a:gd name="T25" fmla="*/ 58 h 167"/>
                    <a:gd name="T26" fmla="*/ 147 w 177"/>
                    <a:gd name="T27" fmla="*/ 61 h 167"/>
                    <a:gd name="T28" fmla="*/ 147 w 177"/>
                    <a:gd name="T29" fmla="*/ 61 h 167"/>
                    <a:gd name="T30" fmla="*/ 147 w 177"/>
                    <a:gd name="T31" fmla="*/ 61 h 167"/>
                    <a:gd name="T32" fmla="*/ 146 w 177"/>
                    <a:gd name="T33" fmla="*/ 61 h 167"/>
                    <a:gd name="T34" fmla="*/ 146 w 177"/>
                    <a:gd name="T35" fmla="*/ 61 h 167"/>
                    <a:gd name="T36" fmla="*/ 144 w 177"/>
                    <a:gd name="T37" fmla="*/ 61 h 167"/>
                    <a:gd name="T38" fmla="*/ 144 w 177"/>
                    <a:gd name="T39" fmla="*/ 61 h 167"/>
                    <a:gd name="T40" fmla="*/ 59 w 177"/>
                    <a:gd name="T41" fmla="*/ 61 h 167"/>
                    <a:gd name="T42" fmla="*/ 13 w 177"/>
                    <a:gd name="T43" fmla="*/ 106 h 167"/>
                    <a:gd name="T44" fmla="*/ 13 w 177"/>
                    <a:gd name="T45" fmla="*/ 156 h 167"/>
                    <a:gd name="T46" fmla="*/ 38 w 177"/>
                    <a:gd name="T47" fmla="*/ 167 h 167"/>
                    <a:gd name="T48" fmla="*/ 63 w 177"/>
                    <a:gd name="T49" fmla="*/ 156 h 167"/>
                    <a:gd name="T50" fmla="*/ 169 w 177"/>
                    <a:gd name="T51" fmla="*/ 50 h 167"/>
                    <a:gd name="T52" fmla="*/ 177 w 177"/>
                    <a:gd name="T53" fmla="*/ 11 h 167"/>
                    <a:gd name="T54" fmla="*/ 177 w 177"/>
                    <a:gd name="T55" fmla="*/ 11 h 167"/>
                    <a:gd name="T56" fmla="*/ 177 w 177"/>
                    <a:gd name="T57" fmla="*/ 11 h 167"/>
                    <a:gd name="T58" fmla="*/ 169 w 177"/>
                    <a:gd name="T59" fmla="*/ 0 h 167"/>
                    <a:gd name="T60" fmla="*/ 169 w 177"/>
                    <a:gd name="T61" fmla="*/ 0 h 167"/>
                    <a:gd name="T62" fmla="*/ 176 w 177"/>
                    <a:gd name="T63" fmla="*/ 11 h 167"/>
                    <a:gd name="T64" fmla="*/ 176 w 177"/>
                    <a:gd name="T65" fmla="*/ 11 h 167"/>
                    <a:gd name="T66" fmla="*/ 177 w 177"/>
                    <a:gd name="T67" fmla="*/ 11 h 167"/>
                    <a:gd name="T68" fmla="*/ 177 w 177"/>
                    <a:gd name="T69" fmla="*/ 11 h 167"/>
                    <a:gd name="T70" fmla="*/ 169 w 177"/>
                    <a:gd name="T71" fmla="*/ 0 h 167"/>
                    <a:gd name="T72" fmla="*/ 169 w 177"/>
                    <a:gd name="T73"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7" h="167">
                      <a:moveTo>
                        <a:pt x="169" y="50"/>
                      </a:moveTo>
                      <a:cubicBezTo>
                        <a:pt x="169" y="50"/>
                        <a:pt x="169" y="50"/>
                        <a:pt x="169" y="50"/>
                      </a:cubicBezTo>
                      <a:cubicBezTo>
                        <a:pt x="169" y="50"/>
                        <a:pt x="169" y="50"/>
                        <a:pt x="169" y="50"/>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5" y="54"/>
                        <a:pt x="162" y="56"/>
                        <a:pt x="158" y="58"/>
                      </a:cubicBezTo>
                      <a:cubicBezTo>
                        <a:pt x="158" y="58"/>
                        <a:pt x="158" y="58"/>
                        <a:pt x="158" y="58"/>
                      </a:cubicBezTo>
                      <a:cubicBezTo>
                        <a:pt x="157" y="58"/>
                        <a:pt x="157" y="58"/>
                        <a:pt x="157" y="58"/>
                      </a:cubicBezTo>
                      <a:cubicBezTo>
                        <a:pt x="157" y="58"/>
                        <a:pt x="157" y="58"/>
                        <a:pt x="157" y="58"/>
                      </a:cubicBezTo>
                      <a:cubicBezTo>
                        <a:pt x="157" y="58"/>
                        <a:pt x="157" y="58"/>
                        <a:pt x="157" y="58"/>
                      </a:cubicBezTo>
                      <a:cubicBezTo>
                        <a:pt x="154" y="59"/>
                        <a:pt x="150" y="60"/>
                        <a:pt x="147" y="61"/>
                      </a:cubicBezTo>
                      <a:cubicBezTo>
                        <a:pt x="147" y="61"/>
                        <a:pt x="147" y="61"/>
                        <a:pt x="147" y="61"/>
                      </a:cubicBezTo>
                      <a:cubicBezTo>
                        <a:pt x="147" y="61"/>
                        <a:pt x="147" y="61"/>
                        <a:pt x="147" y="61"/>
                      </a:cubicBezTo>
                      <a:cubicBezTo>
                        <a:pt x="147" y="61"/>
                        <a:pt x="146" y="61"/>
                        <a:pt x="146" y="61"/>
                      </a:cubicBezTo>
                      <a:cubicBezTo>
                        <a:pt x="146" y="61"/>
                        <a:pt x="146" y="61"/>
                        <a:pt x="146" y="61"/>
                      </a:cubicBezTo>
                      <a:cubicBezTo>
                        <a:pt x="146" y="61"/>
                        <a:pt x="145" y="61"/>
                        <a:pt x="144" y="61"/>
                      </a:cubicBezTo>
                      <a:cubicBezTo>
                        <a:pt x="144" y="61"/>
                        <a:pt x="144" y="61"/>
                        <a:pt x="144" y="61"/>
                      </a:cubicBezTo>
                      <a:cubicBezTo>
                        <a:pt x="59" y="61"/>
                        <a:pt x="59" y="61"/>
                        <a:pt x="59" y="61"/>
                      </a:cubicBezTo>
                      <a:cubicBezTo>
                        <a:pt x="13" y="106"/>
                        <a:pt x="13" y="106"/>
                        <a:pt x="13" y="106"/>
                      </a:cubicBezTo>
                      <a:cubicBezTo>
                        <a:pt x="0" y="120"/>
                        <a:pt x="0" y="142"/>
                        <a:pt x="13" y="156"/>
                      </a:cubicBezTo>
                      <a:cubicBezTo>
                        <a:pt x="20" y="163"/>
                        <a:pt x="29" y="167"/>
                        <a:pt x="38" y="167"/>
                      </a:cubicBezTo>
                      <a:cubicBezTo>
                        <a:pt x="48" y="167"/>
                        <a:pt x="57" y="163"/>
                        <a:pt x="63" y="156"/>
                      </a:cubicBezTo>
                      <a:cubicBezTo>
                        <a:pt x="169" y="50"/>
                        <a:pt x="169" y="50"/>
                        <a:pt x="169" y="50"/>
                      </a:cubicBezTo>
                      <a:moveTo>
                        <a:pt x="177" y="11"/>
                      </a:moveTo>
                      <a:cubicBezTo>
                        <a:pt x="177" y="11"/>
                        <a:pt x="177" y="11"/>
                        <a:pt x="177" y="11"/>
                      </a:cubicBezTo>
                      <a:cubicBezTo>
                        <a:pt x="177" y="11"/>
                        <a:pt x="177" y="11"/>
                        <a:pt x="177" y="11"/>
                      </a:cubicBezTo>
                      <a:moveTo>
                        <a:pt x="169" y="0"/>
                      </a:moveTo>
                      <a:cubicBezTo>
                        <a:pt x="169" y="0"/>
                        <a:pt x="169" y="0"/>
                        <a:pt x="169" y="0"/>
                      </a:cubicBezTo>
                      <a:cubicBezTo>
                        <a:pt x="172" y="3"/>
                        <a:pt x="175" y="7"/>
                        <a:pt x="176" y="11"/>
                      </a:cubicBezTo>
                      <a:cubicBezTo>
                        <a:pt x="176" y="11"/>
                        <a:pt x="176" y="11"/>
                        <a:pt x="176" y="11"/>
                      </a:cubicBezTo>
                      <a:cubicBezTo>
                        <a:pt x="177" y="11"/>
                        <a:pt x="177" y="11"/>
                        <a:pt x="177" y="11"/>
                      </a:cubicBezTo>
                      <a:cubicBezTo>
                        <a:pt x="177" y="11"/>
                        <a:pt x="177" y="11"/>
                        <a:pt x="177" y="11"/>
                      </a:cubicBezTo>
                      <a:cubicBezTo>
                        <a:pt x="175" y="7"/>
                        <a:pt x="172" y="3"/>
                        <a:pt x="169" y="0"/>
                      </a:cubicBezTo>
                      <a:cubicBezTo>
                        <a:pt x="169" y="0"/>
                        <a:pt x="169" y="0"/>
                        <a:pt x="169"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42" name="Freeform 83">
                  <a:extLst>
                    <a:ext uri="{FF2B5EF4-FFF2-40B4-BE49-F238E27FC236}">
                      <a16:creationId xmlns:a16="http://schemas.microsoft.com/office/drawing/2014/main" id="{86BEDDB0-375A-430F-A59D-037A56435D7A}"/>
                    </a:ext>
                  </a:extLst>
                </p:cNvPr>
                <p:cNvSpPr>
                  <a:spLocks noEditPoints="1"/>
                </p:cNvSpPr>
                <p:nvPr/>
              </p:nvSpPr>
              <p:spPr bwMode="auto">
                <a:xfrm>
                  <a:off x="8362950" y="1690688"/>
                  <a:ext cx="211138" cy="87312"/>
                </a:xfrm>
                <a:custGeom>
                  <a:avLst/>
                  <a:gdLst>
                    <a:gd name="T0" fmla="*/ 87 w 121"/>
                    <a:gd name="T1" fmla="*/ 50 h 50"/>
                    <a:gd name="T2" fmla="*/ 87 w 121"/>
                    <a:gd name="T3" fmla="*/ 50 h 50"/>
                    <a:gd name="T4" fmla="*/ 87 w 121"/>
                    <a:gd name="T5" fmla="*/ 50 h 50"/>
                    <a:gd name="T6" fmla="*/ 88 w 121"/>
                    <a:gd name="T7" fmla="*/ 50 h 50"/>
                    <a:gd name="T8" fmla="*/ 88 w 121"/>
                    <a:gd name="T9" fmla="*/ 50 h 50"/>
                    <a:gd name="T10" fmla="*/ 88 w 121"/>
                    <a:gd name="T11" fmla="*/ 50 h 50"/>
                    <a:gd name="T12" fmla="*/ 98 w 121"/>
                    <a:gd name="T13" fmla="*/ 47 h 50"/>
                    <a:gd name="T14" fmla="*/ 88 w 121"/>
                    <a:gd name="T15" fmla="*/ 50 h 50"/>
                    <a:gd name="T16" fmla="*/ 98 w 121"/>
                    <a:gd name="T17" fmla="*/ 47 h 50"/>
                    <a:gd name="T18" fmla="*/ 98 w 121"/>
                    <a:gd name="T19" fmla="*/ 47 h 50"/>
                    <a:gd name="T20" fmla="*/ 98 w 121"/>
                    <a:gd name="T21" fmla="*/ 47 h 50"/>
                    <a:gd name="T22" fmla="*/ 98 w 121"/>
                    <a:gd name="T23" fmla="*/ 47 h 50"/>
                    <a:gd name="T24" fmla="*/ 99 w 121"/>
                    <a:gd name="T25" fmla="*/ 47 h 50"/>
                    <a:gd name="T26" fmla="*/ 99 w 121"/>
                    <a:gd name="T27" fmla="*/ 47 h 50"/>
                    <a:gd name="T28" fmla="*/ 99 w 121"/>
                    <a:gd name="T29" fmla="*/ 47 h 50"/>
                    <a:gd name="T30" fmla="*/ 110 w 121"/>
                    <a:gd name="T31" fmla="*/ 40 h 50"/>
                    <a:gd name="T32" fmla="*/ 110 w 121"/>
                    <a:gd name="T33" fmla="*/ 40 h 50"/>
                    <a:gd name="T34" fmla="*/ 110 w 121"/>
                    <a:gd name="T35" fmla="*/ 40 h 50"/>
                    <a:gd name="T36" fmla="*/ 110 w 121"/>
                    <a:gd name="T37" fmla="*/ 40 h 50"/>
                    <a:gd name="T38" fmla="*/ 110 w 121"/>
                    <a:gd name="T39" fmla="*/ 40 h 50"/>
                    <a:gd name="T40" fmla="*/ 110 w 121"/>
                    <a:gd name="T41" fmla="*/ 40 h 50"/>
                    <a:gd name="T42" fmla="*/ 110 w 121"/>
                    <a:gd name="T43" fmla="*/ 39 h 50"/>
                    <a:gd name="T44" fmla="*/ 110 w 121"/>
                    <a:gd name="T45" fmla="*/ 40 h 50"/>
                    <a:gd name="T46" fmla="*/ 110 w 121"/>
                    <a:gd name="T47" fmla="*/ 39 h 50"/>
                    <a:gd name="T48" fmla="*/ 110 w 121"/>
                    <a:gd name="T49" fmla="*/ 39 h 50"/>
                    <a:gd name="T50" fmla="*/ 110 w 121"/>
                    <a:gd name="T51" fmla="*/ 39 h 50"/>
                    <a:gd name="T52" fmla="*/ 110 w 121"/>
                    <a:gd name="T53" fmla="*/ 39 h 50"/>
                    <a:gd name="T54" fmla="*/ 110 w 121"/>
                    <a:gd name="T55" fmla="*/ 39 h 50"/>
                    <a:gd name="T56" fmla="*/ 35 w 121"/>
                    <a:gd name="T57" fmla="*/ 14 h 50"/>
                    <a:gd name="T58" fmla="*/ 0 w 121"/>
                    <a:gd name="T59" fmla="*/ 50 h 50"/>
                    <a:gd name="T60" fmla="*/ 85 w 121"/>
                    <a:gd name="T61" fmla="*/ 50 h 50"/>
                    <a:gd name="T62" fmla="*/ 60 w 121"/>
                    <a:gd name="T63" fmla="*/ 39 h 50"/>
                    <a:gd name="T64" fmla="*/ 35 w 121"/>
                    <a:gd name="T65" fmla="*/ 14 h 50"/>
                    <a:gd name="T66" fmla="*/ 118 w 121"/>
                    <a:gd name="T67" fmla="*/ 0 h 50"/>
                    <a:gd name="T68" fmla="*/ 121 w 121"/>
                    <a:gd name="T69" fmla="*/ 14 h 50"/>
                    <a:gd name="T70" fmla="*/ 118 w 121"/>
                    <a:gd name="T71" fmla="*/ 0 h 50"/>
                    <a:gd name="T72" fmla="*/ 118 w 121"/>
                    <a:gd name="T73" fmla="*/ 0 h 50"/>
                    <a:gd name="T74" fmla="*/ 118 w 121"/>
                    <a:gd name="T75" fmla="*/ 0 h 50"/>
                    <a:gd name="T76" fmla="*/ 118 w 121"/>
                    <a:gd name="T77" fmla="*/ 0 h 50"/>
                    <a:gd name="T78" fmla="*/ 117 w 121"/>
                    <a:gd name="T79" fmla="*/ 0 h 50"/>
                    <a:gd name="T80" fmla="*/ 117 w 121"/>
                    <a:gd name="T81" fmla="*/ 0 h 50"/>
                    <a:gd name="T82" fmla="*/ 117 w 121"/>
                    <a:gd name="T8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1" h="50">
                      <a:moveTo>
                        <a:pt x="87" y="50"/>
                      </a:moveTo>
                      <a:cubicBezTo>
                        <a:pt x="87" y="50"/>
                        <a:pt x="87" y="50"/>
                        <a:pt x="87" y="50"/>
                      </a:cubicBezTo>
                      <a:cubicBezTo>
                        <a:pt x="87" y="50"/>
                        <a:pt x="87" y="50"/>
                        <a:pt x="87" y="50"/>
                      </a:cubicBezTo>
                      <a:moveTo>
                        <a:pt x="88" y="50"/>
                      </a:moveTo>
                      <a:cubicBezTo>
                        <a:pt x="88" y="50"/>
                        <a:pt x="88" y="50"/>
                        <a:pt x="88" y="50"/>
                      </a:cubicBezTo>
                      <a:cubicBezTo>
                        <a:pt x="88" y="50"/>
                        <a:pt x="88" y="50"/>
                        <a:pt x="88" y="50"/>
                      </a:cubicBezTo>
                      <a:moveTo>
                        <a:pt x="98" y="47"/>
                      </a:moveTo>
                      <a:cubicBezTo>
                        <a:pt x="95" y="49"/>
                        <a:pt x="91" y="49"/>
                        <a:pt x="88" y="50"/>
                      </a:cubicBezTo>
                      <a:cubicBezTo>
                        <a:pt x="91" y="49"/>
                        <a:pt x="95" y="48"/>
                        <a:pt x="98" y="47"/>
                      </a:cubicBezTo>
                      <a:moveTo>
                        <a:pt x="98" y="47"/>
                      </a:moveTo>
                      <a:cubicBezTo>
                        <a:pt x="98" y="47"/>
                        <a:pt x="98" y="47"/>
                        <a:pt x="98" y="47"/>
                      </a:cubicBezTo>
                      <a:cubicBezTo>
                        <a:pt x="98" y="47"/>
                        <a:pt x="98" y="47"/>
                        <a:pt x="98" y="47"/>
                      </a:cubicBezTo>
                      <a:moveTo>
                        <a:pt x="99" y="47"/>
                      </a:moveTo>
                      <a:cubicBezTo>
                        <a:pt x="99" y="47"/>
                        <a:pt x="99" y="47"/>
                        <a:pt x="99" y="47"/>
                      </a:cubicBezTo>
                      <a:cubicBezTo>
                        <a:pt x="99" y="47"/>
                        <a:pt x="99" y="47"/>
                        <a:pt x="99" y="47"/>
                      </a:cubicBezTo>
                      <a:moveTo>
                        <a:pt x="110" y="40"/>
                      </a:moveTo>
                      <a:cubicBezTo>
                        <a:pt x="110" y="40"/>
                        <a:pt x="110" y="40"/>
                        <a:pt x="110" y="40"/>
                      </a:cubicBezTo>
                      <a:cubicBezTo>
                        <a:pt x="110" y="40"/>
                        <a:pt x="110" y="40"/>
                        <a:pt x="110" y="40"/>
                      </a:cubicBezTo>
                      <a:moveTo>
                        <a:pt x="110" y="40"/>
                      </a:moveTo>
                      <a:cubicBezTo>
                        <a:pt x="110" y="40"/>
                        <a:pt x="110" y="40"/>
                        <a:pt x="110" y="40"/>
                      </a:cubicBezTo>
                      <a:cubicBezTo>
                        <a:pt x="110" y="40"/>
                        <a:pt x="110" y="40"/>
                        <a:pt x="110" y="40"/>
                      </a:cubicBezTo>
                      <a:moveTo>
                        <a:pt x="110" y="39"/>
                      </a:moveTo>
                      <a:cubicBezTo>
                        <a:pt x="110" y="40"/>
                        <a:pt x="110" y="40"/>
                        <a:pt x="110" y="40"/>
                      </a:cubicBezTo>
                      <a:cubicBezTo>
                        <a:pt x="110" y="40"/>
                        <a:pt x="110" y="40"/>
                        <a:pt x="110" y="39"/>
                      </a:cubicBezTo>
                      <a:moveTo>
                        <a:pt x="110" y="39"/>
                      </a:moveTo>
                      <a:cubicBezTo>
                        <a:pt x="110" y="39"/>
                        <a:pt x="110" y="39"/>
                        <a:pt x="110" y="39"/>
                      </a:cubicBezTo>
                      <a:cubicBezTo>
                        <a:pt x="110" y="39"/>
                        <a:pt x="110" y="39"/>
                        <a:pt x="110" y="39"/>
                      </a:cubicBezTo>
                      <a:cubicBezTo>
                        <a:pt x="110" y="39"/>
                        <a:pt x="110" y="39"/>
                        <a:pt x="110" y="39"/>
                      </a:cubicBezTo>
                      <a:moveTo>
                        <a:pt x="35" y="14"/>
                      </a:moveTo>
                      <a:cubicBezTo>
                        <a:pt x="0" y="50"/>
                        <a:pt x="0" y="50"/>
                        <a:pt x="0" y="50"/>
                      </a:cubicBezTo>
                      <a:cubicBezTo>
                        <a:pt x="85" y="50"/>
                        <a:pt x="85" y="50"/>
                        <a:pt x="85" y="50"/>
                      </a:cubicBezTo>
                      <a:cubicBezTo>
                        <a:pt x="76" y="50"/>
                        <a:pt x="67" y="46"/>
                        <a:pt x="60" y="39"/>
                      </a:cubicBezTo>
                      <a:cubicBezTo>
                        <a:pt x="35" y="14"/>
                        <a:pt x="35" y="14"/>
                        <a:pt x="35" y="14"/>
                      </a:cubicBezTo>
                      <a:moveTo>
                        <a:pt x="118" y="0"/>
                      </a:moveTo>
                      <a:cubicBezTo>
                        <a:pt x="120" y="4"/>
                        <a:pt x="121" y="9"/>
                        <a:pt x="121" y="14"/>
                      </a:cubicBezTo>
                      <a:cubicBezTo>
                        <a:pt x="121" y="9"/>
                        <a:pt x="120" y="4"/>
                        <a:pt x="118" y="0"/>
                      </a:cubicBezTo>
                      <a:cubicBezTo>
                        <a:pt x="118" y="0"/>
                        <a:pt x="118" y="0"/>
                        <a:pt x="118" y="0"/>
                      </a:cubicBezTo>
                      <a:cubicBezTo>
                        <a:pt x="118" y="0"/>
                        <a:pt x="118" y="0"/>
                        <a:pt x="118" y="0"/>
                      </a:cubicBezTo>
                      <a:cubicBezTo>
                        <a:pt x="118" y="0"/>
                        <a:pt x="118" y="0"/>
                        <a:pt x="118" y="0"/>
                      </a:cubicBezTo>
                      <a:moveTo>
                        <a:pt x="117" y="0"/>
                      </a:moveTo>
                      <a:cubicBezTo>
                        <a:pt x="117" y="0"/>
                        <a:pt x="117" y="0"/>
                        <a:pt x="117" y="0"/>
                      </a:cubicBezTo>
                      <a:cubicBezTo>
                        <a:pt x="117" y="0"/>
                        <a:pt x="117" y="0"/>
                        <a:pt x="117"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43" name="Freeform 84">
                  <a:extLst>
                    <a:ext uri="{FF2B5EF4-FFF2-40B4-BE49-F238E27FC236}">
                      <a16:creationId xmlns:a16="http://schemas.microsoft.com/office/drawing/2014/main" id="{FD3F048B-665D-4C65-ACBC-773E839F0B85}"/>
                    </a:ext>
                  </a:extLst>
                </p:cNvPr>
                <p:cNvSpPr>
                  <a:spLocks noEditPoints="1"/>
                </p:cNvSpPr>
                <p:nvPr/>
              </p:nvSpPr>
              <p:spPr bwMode="auto">
                <a:xfrm>
                  <a:off x="8510588" y="1654176"/>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8 h 71"/>
                    <a:gd name="T12" fmla="*/ 13 w 33"/>
                    <a:gd name="T13" fmla="*/ 68 h 71"/>
                    <a:gd name="T14" fmla="*/ 13 w 33"/>
                    <a:gd name="T15" fmla="*/ 68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0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26 w 33"/>
                    <a:gd name="T41" fmla="*/ 59 h 71"/>
                    <a:gd name="T42" fmla="*/ 26 w 33"/>
                    <a:gd name="T43" fmla="*/ 59 h 71"/>
                    <a:gd name="T44" fmla="*/ 26 w 33"/>
                    <a:gd name="T45" fmla="*/ 59 h 71"/>
                    <a:gd name="T46" fmla="*/ 33 w 33"/>
                    <a:gd name="T47" fmla="*/ 50 h 71"/>
                    <a:gd name="T48" fmla="*/ 33 w 33"/>
                    <a:gd name="T49" fmla="*/ 50 h 71"/>
                    <a:gd name="T50" fmla="*/ 33 w 33"/>
                    <a:gd name="T51" fmla="*/ 21 h 71"/>
                    <a:gd name="T52" fmla="*/ 12 w 33"/>
                    <a:gd name="T53" fmla="*/ 2 h 71"/>
                    <a:gd name="T54" fmla="*/ 25 w 33"/>
                    <a:gd name="T55" fmla="*/ 10 h 71"/>
                    <a:gd name="T56" fmla="*/ 12 w 33"/>
                    <a:gd name="T57" fmla="*/ 2 h 71"/>
                    <a:gd name="T58" fmla="*/ 12 w 33"/>
                    <a:gd name="T59" fmla="*/ 2 h 71"/>
                    <a:gd name="T60" fmla="*/ 0 w 33"/>
                    <a:gd name="T61" fmla="*/ 0 h 71"/>
                    <a:gd name="T62" fmla="*/ 0 w 33"/>
                    <a:gd name="T63" fmla="*/ 0 h 71"/>
                    <a:gd name="T64" fmla="*/ 0 w 33"/>
                    <a:gd name="T6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59"/>
                      </a:cubicBezTo>
                      <a:cubicBezTo>
                        <a:pt x="26" y="59"/>
                        <a:pt x="26" y="59"/>
                        <a:pt x="26" y="59"/>
                      </a:cubicBezTo>
                      <a:moveTo>
                        <a:pt x="32" y="50"/>
                      </a:moveTo>
                      <a:cubicBezTo>
                        <a:pt x="31" y="53"/>
                        <a:pt x="29" y="57"/>
                        <a:pt x="26" y="59"/>
                      </a:cubicBezTo>
                      <a:cubicBezTo>
                        <a:pt x="29" y="57"/>
                        <a:pt x="31" y="53"/>
                        <a:pt x="32" y="50"/>
                      </a:cubicBezTo>
                      <a:moveTo>
                        <a:pt x="33" y="50"/>
                      </a:moveTo>
                      <a:cubicBezTo>
                        <a:pt x="33" y="50"/>
                        <a:pt x="33" y="50"/>
                        <a:pt x="33" y="50"/>
                      </a:cubicBezTo>
                      <a:cubicBezTo>
                        <a:pt x="33" y="50"/>
                        <a:pt x="33" y="50"/>
                        <a:pt x="33" y="50"/>
                      </a:cubicBezTo>
                      <a:moveTo>
                        <a:pt x="32" y="21"/>
                      </a:moveTo>
                      <a:cubicBezTo>
                        <a:pt x="33" y="21"/>
                        <a:pt x="33" y="21"/>
                        <a:pt x="33" y="21"/>
                      </a:cubicBezTo>
                      <a:cubicBezTo>
                        <a:pt x="33" y="21"/>
                        <a:pt x="33" y="21"/>
                        <a:pt x="32" y="21"/>
                      </a:cubicBezTo>
                      <a:moveTo>
                        <a:pt x="12" y="2"/>
                      </a:moveTo>
                      <a:cubicBezTo>
                        <a:pt x="21" y="5"/>
                        <a:pt x="29" y="12"/>
                        <a:pt x="32" y="21"/>
                      </a:cubicBezTo>
                      <a:cubicBezTo>
                        <a:pt x="31" y="17"/>
                        <a:pt x="28" y="13"/>
                        <a:pt x="25" y="10"/>
                      </a:cubicBezTo>
                      <a:cubicBezTo>
                        <a:pt x="25" y="10"/>
                        <a:pt x="25" y="10"/>
                        <a:pt x="25" y="10"/>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0"/>
                      </a:cubicBezTo>
                      <a:cubicBezTo>
                        <a:pt x="3" y="0"/>
                        <a:pt x="2"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44" name="Freeform 85">
                  <a:extLst>
                    <a:ext uri="{FF2B5EF4-FFF2-40B4-BE49-F238E27FC236}">
                      <a16:creationId xmlns:a16="http://schemas.microsoft.com/office/drawing/2014/main" id="{532F3185-A835-48A5-B146-69C04FC793E6}"/>
                    </a:ext>
                  </a:extLst>
                </p:cNvPr>
                <p:cNvSpPr>
                  <a:spLocks/>
                </p:cNvSpPr>
                <p:nvPr/>
              </p:nvSpPr>
              <p:spPr bwMode="auto">
                <a:xfrm>
                  <a:off x="8425656" y="1654176"/>
                  <a:ext cx="150813" cy="123825"/>
                </a:xfrm>
                <a:custGeom>
                  <a:avLst/>
                  <a:gdLst>
                    <a:gd name="T0" fmla="*/ 50 w 86"/>
                    <a:gd name="T1" fmla="*/ 0 h 71"/>
                    <a:gd name="T2" fmla="*/ 50 w 86"/>
                    <a:gd name="T3" fmla="*/ 0 h 71"/>
                    <a:gd name="T4" fmla="*/ 25 w 86"/>
                    <a:gd name="T5" fmla="*/ 10 h 71"/>
                    <a:gd name="T6" fmla="*/ 0 w 86"/>
                    <a:gd name="T7" fmla="*/ 35 h 71"/>
                    <a:gd name="T8" fmla="*/ 25 w 86"/>
                    <a:gd name="T9" fmla="*/ 60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8 h 71"/>
                    <a:gd name="T26" fmla="*/ 63 w 86"/>
                    <a:gd name="T27" fmla="*/ 68 h 71"/>
                    <a:gd name="T28" fmla="*/ 63 w 86"/>
                    <a:gd name="T29" fmla="*/ 68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0 h 71"/>
                    <a:gd name="T46" fmla="*/ 75 w 86"/>
                    <a:gd name="T47" fmla="*/ 60 h 71"/>
                    <a:gd name="T48" fmla="*/ 75 w 86"/>
                    <a:gd name="T49" fmla="*/ 60 h 71"/>
                    <a:gd name="T50" fmla="*/ 75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76 w 86"/>
                    <a:gd name="T67" fmla="*/ 60 h 71"/>
                    <a:gd name="T68" fmla="*/ 76 w 86"/>
                    <a:gd name="T69" fmla="*/ 59 h 71"/>
                    <a:gd name="T70" fmla="*/ 76 w 86"/>
                    <a:gd name="T71" fmla="*/ 59 h 71"/>
                    <a:gd name="T72" fmla="*/ 76 w 86"/>
                    <a:gd name="T73" fmla="*/ 59 h 71"/>
                    <a:gd name="T74" fmla="*/ 82 w 86"/>
                    <a:gd name="T75" fmla="*/ 50 h 71"/>
                    <a:gd name="T76" fmla="*/ 83 w 86"/>
                    <a:gd name="T77" fmla="*/ 50 h 71"/>
                    <a:gd name="T78" fmla="*/ 83 w 86"/>
                    <a:gd name="T79" fmla="*/ 50 h 71"/>
                    <a:gd name="T80" fmla="*/ 86 w 86"/>
                    <a:gd name="T81" fmla="*/ 35 h 71"/>
                    <a:gd name="T82" fmla="*/ 83 w 86"/>
                    <a:gd name="T83" fmla="*/ 21 h 71"/>
                    <a:gd name="T84" fmla="*/ 82 w 86"/>
                    <a:gd name="T85" fmla="*/ 21 h 71"/>
                    <a:gd name="T86" fmla="*/ 82 w 86"/>
                    <a:gd name="T87" fmla="*/ 21 h 71"/>
                    <a:gd name="T88" fmla="*/ 62 w 86"/>
                    <a:gd name="T89" fmla="*/ 2 h 71"/>
                    <a:gd name="T90" fmla="*/ 62 w 86"/>
                    <a:gd name="T91" fmla="*/ 2 h 71"/>
                    <a:gd name="T92" fmla="*/ 62 w 86"/>
                    <a:gd name="T93" fmla="*/ 2 h 71"/>
                    <a:gd name="T94" fmla="*/ 54 w 86"/>
                    <a:gd name="T95" fmla="*/ 0 h 71"/>
                    <a:gd name="T96" fmla="*/ 50 w 86"/>
                    <a:gd name="T9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71">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0"/>
                        <a:pt x="60" y="70"/>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59"/>
                      </a:cubicBezTo>
                      <a:cubicBezTo>
                        <a:pt x="76" y="59"/>
                        <a:pt x="76" y="59"/>
                        <a:pt x="76" y="59"/>
                      </a:cubicBezTo>
                      <a:cubicBezTo>
                        <a:pt x="76" y="59"/>
                        <a:pt x="76" y="59"/>
                        <a:pt x="76" y="59"/>
                      </a:cubicBezTo>
                      <a:cubicBezTo>
                        <a:pt x="79" y="57"/>
                        <a:pt x="81" y="53"/>
                        <a:pt x="82" y="50"/>
                      </a:cubicBezTo>
                      <a:cubicBezTo>
                        <a:pt x="82" y="50"/>
                        <a:pt x="82" y="50"/>
                        <a:pt x="83" y="50"/>
                      </a:cubicBezTo>
                      <a:cubicBezTo>
                        <a:pt x="83" y="50"/>
                        <a:pt x="83" y="50"/>
                        <a:pt x="83" y="50"/>
                      </a:cubicBezTo>
                      <a:cubicBezTo>
                        <a:pt x="85" y="45"/>
                        <a:pt x="86" y="40"/>
                        <a:pt x="86" y="35"/>
                      </a:cubicBezTo>
                      <a:cubicBezTo>
                        <a:pt x="86" y="30"/>
                        <a:pt x="85" y="25"/>
                        <a:pt x="83" y="21"/>
                      </a:cubicBezTo>
                      <a:cubicBezTo>
                        <a:pt x="83" y="21"/>
                        <a:pt x="83" y="21"/>
                        <a:pt x="82" y="21"/>
                      </a:cubicBezTo>
                      <a:cubicBezTo>
                        <a:pt x="82" y="21"/>
                        <a:pt x="82" y="21"/>
                        <a:pt x="82" y="21"/>
                      </a:cubicBezTo>
                      <a:cubicBezTo>
                        <a:pt x="79" y="12"/>
                        <a:pt x="71" y="5"/>
                        <a:pt x="62" y="2"/>
                      </a:cubicBezTo>
                      <a:cubicBezTo>
                        <a:pt x="62" y="2"/>
                        <a:pt x="62" y="2"/>
                        <a:pt x="62" y="2"/>
                      </a:cubicBezTo>
                      <a:cubicBezTo>
                        <a:pt x="62" y="2"/>
                        <a:pt x="62" y="2"/>
                        <a:pt x="62" y="2"/>
                      </a:cubicBezTo>
                      <a:cubicBezTo>
                        <a:pt x="59" y="1"/>
                        <a:pt x="57" y="0"/>
                        <a:pt x="54" y="0"/>
                      </a:cubicBezTo>
                      <a:cubicBezTo>
                        <a:pt x="53" y="0"/>
                        <a:pt x="52" y="0"/>
                        <a:pt x="50" y="0"/>
                      </a:cubicBezTo>
                    </a:path>
                  </a:pathLst>
                </a:custGeom>
                <a:solidFill>
                  <a:srgbClr val="0066C5"/>
                </a:solidFill>
                <a:ln>
                  <a:solidFill>
                    <a:srgbClr val="0066C5"/>
                  </a:solid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grpSp>
          <p:grpSp>
            <p:nvGrpSpPr>
              <p:cNvPr id="129" name="Group 128">
                <a:extLst>
                  <a:ext uri="{FF2B5EF4-FFF2-40B4-BE49-F238E27FC236}">
                    <a16:creationId xmlns:a16="http://schemas.microsoft.com/office/drawing/2014/main" id="{7DBB4830-6292-4C4E-A7F2-95B3EBAC98DF}"/>
                  </a:ext>
                </a:extLst>
              </p:cNvPr>
              <p:cNvGrpSpPr>
                <a:grpSpLocks noChangeAspect="1"/>
              </p:cNvGrpSpPr>
              <p:nvPr/>
            </p:nvGrpSpPr>
            <p:grpSpPr>
              <a:xfrm rot="1800000" flipV="1">
                <a:off x="7457813" y="2168567"/>
                <a:ext cx="852567" cy="321412"/>
                <a:chOff x="7262657" y="1468438"/>
                <a:chExt cx="1313812" cy="495300"/>
              </a:xfrm>
            </p:grpSpPr>
            <p:sp>
              <p:nvSpPr>
                <p:cNvPr id="130" name="Freeform 79">
                  <a:extLst>
                    <a:ext uri="{FF2B5EF4-FFF2-40B4-BE49-F238E27FC236}">
                      <a16:creationId xmlns:a16="http://schemas.microsoft.com/office/drawing/2014/main" id="{ACA11D99-9A60-417F-9322-754625FF24B3}"/>
                    </a:ext>
                  </a:extLst>
                </p:cNvPr>
                <p:cNvSpPr>
                  <a:spLocks noEditPoints="1"/>
                </p:cNvSpPr>
                <p:nvPr/>
              </p:nvSpPr>
              <p:spPr bwMode="auto">
                <a:xfrm>
                  <a:off x="7262657" y="1654176"/>
                  <a:ext cx="1311431" cy="123825"/>
                </a:xfrm>
                <a:custGeom>
                  <a:avLst/>
                  <a:gdLst>
                    <a:gd name="T0" fmla="*/ 1402 w 1412"/>
                    <a:gd name="T1" fmla="*/ 60 h 71"/>
                    <a:gd name="T2" fmla="*/ 1401 w 1412"/>
                    <a:gd name="T3" fmla="*/ 60 h 71"/>
                    <a:gd name="T4" fmla="*/ 1401 w 1412"/>
                    <a:gd name="T5" fmla="*/ 60 h 71"/>
                    <a:gd name="T6" fmla="*/ 1402 w 1412"/>
                    <a:gd name="T7" fmla="*/ 60 h 71"/>
                    <a:gd name="T8" fmla="*/ 1402 w 1412"/>
                    <a:gd name="T9" fmla="*/ 60 h 71"/>
                    <a:gd name="T10" fmla="*/ 1402 w 1412"/>
                    <a:gd name="T11" fmla="*/ 60 h 71"/>
                    <a:gd name="T12" fmla="*/ 1402 w 1412"/>
                    <a:gd name="T13" fmla="*/ 60 h 71"/>
                    <a:gd name="T14" fmla="*/ 1402 w 1412"/>
                    <a:gd name="T15" fmla="*/ 60 h 71"/>
                    <a:gd name="T16" fmla="*/ 1402 w 1412"/>
                    <a:gd name="T17" fmla="*/ 60 h 71"/>
                    <a:gd name="T18" fmla="*/ 1402 w 1412"/>
                    <a:gd name="T19" fmla="*/ 60 h 71"/>
                    <a:gd name="T20" fmla="*/ 1402 w 1412"/>
                    <a:gd name="T21" fmla="*/ 60 h 71"/>
                    <a:gd name="T22" fmla="*/ 1402 w 1412"/>
                    <a:gd name="T23" fmla="*/ 60 h 71"/>
                    <a:gd name="T24" fmla="*/ 1402 w 1412"/>
                    <a:gd name="T25" fmla="*/ 60 h 71"/>
                    <a:gd name="T26" fmla="*/ 1409 w 1412"/>
                    <a:gd name="T27" fmla="*/ 50 h 71"/>
                    <a:gd name="T28" fmla="*/ 1409 w 1412"/>
                    <a:gd name="T29" fmla="*/ 50 h 71"/>
                    <a:gd name="T30" fmla="*/ 1409 w 1412"/>
                    <a:gd name="T31" fmla="*/ 50 h 71"/>
                    <a:gd name="T32" fmla="*/ 1409 w 1412"/>
                    <a:gd name="T33" fmla="*/ 49 h 71"/>
                    <a:gd name="T34" fmla="*/ 1409 w 1412"/>
                    <a:gd name="T35" fmla="*/ 49 h 71"/>
                    <a:gd name="T36" fmla="*/ 1409 w 1412"/>
                    <a:gd name="T37" fmla="*/ 49 h 71"/>
                    <a:gd name="T38" fmla="*/ 1409 w 1412"/>
                    <a:gd name="T39" fmla="*/ 21 h 71"/>
                    <a:gd name="T40" fmla="*/ 1412 w 1412"/>
                    <a:gd name="T41" fmla="*/ 35 h 71"/>
                    <a:gd name="T42" fmla="*/ 1409 w 1412"/>
                    <a:gd name="T43" fmla="*/ 49 h 71"/>
                    <a:gd name="T44" fmla="*/ 1412 w 1412"/>
                    <a:gd name="T45" fmla="*/ 35 h 71"/>
                    <a:gd name="T46" fmla="*/ 1409 w 1412"/>
                    <a:gd name="T47" fmla="*/ 21 h 71"/>
                    <a:gd name="T48" fmla="*/ 1409 w 1412"/>
                    <a:gd name="T49" fmla="*/ 21 h 71"/>
                    <a:gd name="T50" fmla="*/ 1409 w 1412"/>
                    <a:gd name="T51" fmla="*/ 21 h 71"/>
                    <a:gd name="T52" fmla="*/ 1409 w 1412"/>
                    <a:gd name="T53" fmla="*/ 21 h 71"/>
                    <a:gd name="T54" fmla="*/ 1291 w 1412"/>
                    <a:gd name="T55" fmla="*/ 0 h 71"/>
                    <a:gd name="T56" fmla="*/ 35 w 1412"/>
                    <a:gd name="T57" fmla="*/ 0 h 71"/>
                    <a:gd name="T58" fmla="*/ 0 w 1412"/>
                    <a:gd name="T59" fmla="*/ 35 h 71"/>
                    <a:gd name="T60" fmla="*/ 35 w 1412"/>
                    <a:gd name="T61" fmla="*/ 71 h 71"/>
                    <a:gd name="T62" fmla="*/ 1291 w 1412"/>
                    <a:gd name="T63" fmla="*/ 71 h 71"/>
                    <a:gd name="T64" fmla="*/ 1326 w 1412"/>
                    <a:gd name="T65" fmla="*/ 35 h 71"/>
                    <a:gd name="T66" fmla="*/ 1291 w 1412"/>
                    <a:gd name="T6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2" h="71">
                      <a:moveTo>
                        <a:pt x="1402" y="60"/>
                      </a:moveTo>
                      <a:cubicBezTo>
                        <a:pt x="1401" y="60"/>
                        <a:pt x="1401" y="60"/>
                        <a:pt x="1401" y="60"/>
                      </a:cubicBezTo>
                      <a:cubicBezTo>
                        <a:pt x="1401" y="60"/>
                        <a:pt x="1401" y="60"/>
                        <a:pt x="1401" y="60"/>
                      </a:cubicBezTo>
                      <a:cubicBezTo>
                        <a:pt x="1401" y="60"/>
                        <a:pt x="1401"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9" y="50"/>
                      </a:moveTo>
                      <a:cubicBezTo>
                        <a:pt x="1409" y="50"/>
                        <a:pt x="1409" y="50"/>
                        <a:pt x="1409" y="50"/>
                      </a:cubicBezTo>
                      <a:cubicBezTo>
                        <a:pt x="1409" y="50"/>
                        <a:pt x="1409" y="50"/>
                        <a:pt x="1409" y="50"/>
                      </a:cubicBezTo>
                      <a:moveTo>
                        <a:pt x="1409" y="49"/>
                      </a:moveTo>
                      <a:cubicBezTo>
                        <a:pt x="1409" y="49"/>
                        <a:pt x="1409" y="49"/>
                        <a:pt x="1409" y="49"/>
                      </a:cubicBezTo>
                      <a:cubicBezTo>
                        <a:pt x="1409" y="49"/>
                        <a:pt x="1409" y="49"/>
                        <a:pt x="1409" y="49"/>
                      </a:cubicBezTo>
                      <a:moveTo>
                        <a:pt x="1409" y="21"/>
                      </a:moveTo>
                      <a:cubicBezTo>
                        <a:pt x="1411" y="25"/>
                        <a:pt x="1412" y="30"/>
                        <a:pt x="1412" y="35"/>
                      </a:cubicBezTo>
                      <a:cubicBezTo>
                        <a:pt x="1412" y="40"/>
                        <a:pt x="1411" y="45"/>
                        <a:pt x="1409" y="49"/>
                      </a:cubicBezTo>
                      <a:cubicBezTo>
                        <a:pt x="1411" y="45"/>
                        <a:pt x="1412" y="40"/>
                        <a:pt x="1412" y="35"/>
                      </a:cubicBezTo>
                      <a:cubicBezTo>
                        <a:pt x="1412" y="30"/>
                        <a:pt x="1411" y="25"/>
                        <a:pt x="1409" y="21"/>
                      </a:cubicBezTo>
                      <a:moveTo>
                        <a:pt x="1409" y="21"/>
                      </a:moveTo>
                      <a:cubicBezTo>
                        <a:pt x="1409" y="21"/>
                        <a:pt x="1409" y="21"/>
                        <a:pt x="1409" y="21"/>
                      </a:cubicBezTo>
                      <a:cubicBezTo>
                        <a:pt x="1409" y="21"/>
                        <a:pt x="1409" y="21"/>
                        <a:pt x="1409" y="21"/>
                      </a:cubicBezTo>
                      <a:moveTo>
                        <a:pt x="1291" y="0"/>
                      </a:moveTo>
                      <a:cubicBezTo>
                        <a:pt x="35" y="0"/>
                        <a:pt x="35" y="0"/>
                        <a:pt x="35" y="0"/>
                      </a:cubicBezTo>
                      <a:cubicBezTo>
                        <a:pt x="15" y="0"/>
                        <a:pt x="0" y="16"/>
                        <a:pt x="0" y="35"/>
                      </a:cubicBezTo>
                      <a:cubicBezTo>
                        <a:pt x="0" y="55"/>
                        <a:pt x="15" y="71"/>
                        <a:pt x="35" y="71"/>
                      </a:cubicBezTo>
                      <a:cubicBezTo>
                        <a:pt x="1291" y="71"/>
                        <a:pt x="1291" y="71"/>
                        <a:pt x="1291" y="71"/>
                      </a:cubicBezTo>
                      <a:cubicBezTo>
                        <a:pt x="1326" y="35"/>
                        <a:pt x="1326" y="35"/>
                        <a:pt x="1326" y="35"/>
                      </a:cubicBezTo>
                      <a:cubicBezTo>
                        <a:pt x="1291" y="0"/>
                        <a:pt x="1291" y="0"/>
                        <a:pt x="1291" y="0"/>
                      </a:cubicBezTo>
                    </a:path>
                  </a:pathLst>
                </a:custGeom>
                <a:gradFill flip="none" rotWithShape="1">
                  <a:gsLst>
                    <a:gs pos="31000">
                      <a:schemeClr val="bg2">
                        <a:alpha val="0"/>
                      </a:schemeClr>
                    </a:gs>
                    <a:gs pos="100000">
                      <a:schemeClr val="accent1"/>
                    </a:gs>
                  </a:gsLst>
                  <a:lin ang="0" scaled="1"/>
                  <a:tileRect/>
                </a:gradFill>
                <a:ln>
                  <a:no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32" name="Freeform 80">
                  <a:extLst>
                    <a:ext uri="{FF2B5EF4-FFF2-40B4-BE49-F238E27FC236}">
                      <a16:creationId xmlns:a16="http://schemas.microsoft.com/office/drawing/2014/main" id="{0281BEA8-2099-43DE-856F-6820D238F55D}"/>
                    </a:ext>
                  </a:extLst>
                </p:cNvPr>
                <p:cNvSpPr>
                  <a:spLocks noEditPoints="1"/>
                </p:cNvSpPr>
                <p:nvPr/>
              </p:nvSpPr>
              <p:spPr bwMode="auto">
                <a:xfrm>
                  <a:off x="8259763" y="1468438"/>
                  <a:ext cx="309563" cy="290512"/>
                </a:xfrm>
                <a:custGeom>
                  <a:avLst/>
                  <a:gdLst>
                    <a:gd name="T0" fmla="*/ 170 w 177"/>
                    <a:gd name="T1" fmla="*/ 166 h 166"/>
                    <a:gd name="T2" fmla="*/ 170 w 177"/>
                    <a:gd name="T3" fmla="*/ 166 h 166"/>
                    <a:gd name="T4" fmla="*/ 170 w 177"/>
                    <a:gd name="T5" fmla="*/ 166 h 166"/>
                    <a:gd name="T6" fmla="*/ 170 w 177"/>
                    <a:gd name="T7" fmla="*/ 166 h 166"/>
                    <a:gd name="T8" fmla="*/ 170 w 177"/>
                    <a:gd name="T9" fmla="*/ 166 h 166"/>
                    <a:gd name="T10" fmla="*/ 170 w 177"/>
                    <a:gd name="T11" fmla="*/ 166 h 166"/>
                    <a:gd name="T12" fmla="*/ 170 w 177"/>
                    <a:gd name="T13" fmla="*/ 166 h 166"/>
                    <a:gd name="T14" fmla="*/ 170 w 177"/>
                    <a:gd name="T15" fmla="*/ 166 h 166"/>
                    <a:gd name="T16" fmla="*/ 170 w 177"/>
                    <a:gd name="T17" fmla="*/ 166 h 166"/>
                    <a:gd name="T18" fmla="*/ 170 w 177"/>
                    <a:gd name="T19" fmla="*/ 166 h 166"/>
                    <a:gd name="T20" fmla="*/ 170 w 177"/>
                    <a:gd name="T21" fmla="*/ 166 h 166"/>
                    <a:gd name="T22" fmla="*/ 170 w 177"/>
                    <a:gd name="T23" fmla="*/ 166 h 166"/>
                    <a:gd name="T24" fmla="*/ 170 w 177"/>
                    <a:gd name="T25" fmla="*/ 166 h 166"/>
                    <a:gd name="T26" fmla="*/ 170 w 177"/>
                    <a:gd name="T27" fmla="*/ 166 h 166"/>
                    <a:gd name="T28" fmla="*/ 170 w 177"/>
                    <a:gd name="T29" fmla="*/ 166 h 166"/>
                    <a:gd name="T30" fmla="*/ 177 w 177"/>
                    <a:gd name="T31" fmla="*/ 156 h 166"/>
                    <a:gd name="T32" fmla="*/ 177 w 177"/>
                    <a:gd name="T33" fmla="*/ 156 h 166"/>
                    <a:gd name="T34" fmla="*/ 177 w 177"/>
                    <a:gd name="T35" fmla="*/ 156 h 166"/>
                    <a:gd name="T36" fmla="*/ 176 w 177"/>
                    <a:gd name="T37" fmla="*/ 156 h 166"/>
                    <a:gd name="T38" fmla="*/ 170 w 177"/>
                    <a:gd name="T39" fmla="*/ 165 h 166"/>
                    <a:gd name="T40" fmla="*/ 170 w 177"/>
                    <a:gd name="T41" fmla="*/ 165 h 166"/>
                    <a:gd name="T42" fmla="*/ 170 w 177"/>
                    <a:gd name="T43" fmla="*/ 165 h 166"/>
                    <a:gd name="T44" fmla="*/ 170 w 177"/>
                    <a:gd name="T45" fmla="*/ 166 h 166"/>
                    <a:gd name="T46" fmla="*/ 170 w 177"/>
                    <a:gd name="T47" fmla="*/ 166 h 166"/>
                    <a:gd name="T48" fmla="*/ 170 w 177"/>
                    <a:gd name="T49" fmla="*/ 166 h 166"/>
                    <a:gd name="T50" fmla="*/ 177 w 177"/>
                    <a:gd name="T51" fmla="*/ 156 h 166"/>
                    <a:gd name="T52" fmla="*/ 177 w 177"/>
                    <a:gd name="T53" fmla="*/ 155 h 166"/>
                    <a:gd name="T54" fmla="*/ 177 w 177"/>
                    <a:gd name="T55" fmla="*/ 156 h 166"/>
                    <a:gd name="T56" fmla="*/ 177 w 177"/>
                    <a:gd name="T57" fmla="*/ 155 h 166"/>
                    <a:gd name="T58" fmla="*/ 177 w 177"/>
                    <a:gd name="T59" fmla="*/ 155 h 166"/>
                    <a:gd name="T60" fmla="*/ 177 w 177"/>
                    <a:gd name="T61" fmla="*/ 155 h 166"/>
                    <a:gd name="T62" fmla="*/ 177 w 177"/>
                    <a:gd name="T63" fmla="*/ 155 h 166"/>
                    <a:gd name="T64" fmla="*/ 38 w 177"/>
                    <a:gd name="T65" fmla="*/ 0 h 166"/>
                    <a:gd name="T66" fmla="*/ 13 w 177"/>
                    <a:gd name="T67" fmla="*/ 10 h 166"/>
                    <a:gd name="T68" fmla="*/ 13 w 177"/>
                    <a:gd name="T69" fmla="*/ 60 h 166"/>
                    <a:gd name="T70" fmla="*/ 59 w 177"/>
                    <a:gd name="T71" fmla="*/ 106 h 166"/>
                    <a:gd name="T72" fmla="*/ 144 w 177"/>
                    <a:gd name="T73" fmla="*/ 106 h 166"/>
                    <a:gd name="T74" fmla="*/ 144 w 177"/>
                    <a:gd name="T75" fmla="*/ 106 h 166"/>
                    <a:gd name="T76" fmla="*/ 148 w 177"/>
                    <a:gd name="T77" fmla="*/ 106 h 166"/>
                    <a:gd name="T78" fmla="*/ 156 w 177"/>
                    <a:gd name="T79" fmla="*/ 108 h 166"/>
                    <a:gd name="T80" fmla="*/ 156 w 177"/>
                    <a:gd name="T81" fmla="*/ 108 h 166"/>
                    <a:gd name="T82" fmla="*/ 156 w 177"/>
                    <a:gd name="T83" fmla="*/ 108 h 166"/>
                    <a:gd name="T84" fmla="*/ 169 w 177"/>
                    <a:gd name="T85" fmla="*/ 116 h 166"/>
                    <a:gd name="T86" fmla="*/ 63 w 177"/>
                    <a:gd name="T87" fmla="*/ 10 h 166"/>
                    <a:gd name="T88" fmla="*/ 38 w 177"/>
                    <a:gd name="T8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166">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7" y="156"/>
                      </a:moveTo>
                      <a:cubicBezTo>
                        <a:pt x="177" y="156"/>
                        <a:pt x="177" y="156"/>
                        <a:pt x="177" y="156"/>
                      </a:cubicBezTo>
                      <a:cubicBezTo>
                        <a:pt x="177" y="156"/>
                        <a:pt x="177" y="156"/>
                        <a:pt x="177" y="156"/>
                      </a:cubicBezTo>
                      <a:cubicBezTo>
                        <a:pt x="176" y="156"/>
                        <a:pt x="176" y="156"/>
                        <a:pt x="176" y="156"/>
                      </a:cubicBezTo>
                      <a:cubicBezTo>
                        <a:pt x="175" y="159"/>
                        <a:pt x="173" y="163"/>
                        <a:pt x="170" y="165"/>
                      </a:cubicBezTo>
                      <a:cubicBezTo>
                        <a:pt x="170" y="165"/>
                        <a:pt x="170" y="165"/>
                        <a:pt x="170" y="165"/>
                      </a:cubicBezTo>
                      <a:cubicBezTo>
                        <a:pt x="170" y="165"/>
                        <a:pt x="170" y="165"/>
                        <a:pt x="170" y="165"/>
                      </a:cubicBezTo>
                      <a:cubicBezTo>
                        <a:pt x="170" y="166"/>
                        <a:pt x="170" y="166"/>
                        <a:pt x="170" y="166"/>
                      </a:cubicBezTo>
                      <a:cubicBezTo>
                        <a:pt x="170" y="166"/>
                        <a:pt x="170" y="166"/>
                        <a:pt x="170" y="166"/>
                      </a:cubicBezTo>
                      <a:cubicBezTo>
                        <a:pt x="170" y="166"/>
                        <a:pt x="170" y="166"/>
                        <a:pt x="170" y="166"/>
                      </a:cubicBezTo>
                      <a:cubicBezTo>
                        <a:pt x="173" y="163"/>
                        <a:pt x="175" y="159"/>
                        <a:pt x="177" y="156"/>
                      </a:cubicBezTo>
                      <a:moveTo>
                        <a:pt x="177" y="155"/>
                      </a:moveTo>
                      <a:cubicBezTo>
                        <a:pt x="177" y="156"/>
                        <a:pt x="177" y="156"/>
                        <a:pt x="177" y="156"/>
                      </a:cubicBezTo>
                      <a:cubicBezTo>
                        <a:pt x="177" y="156"/>
                        <a:pt x="177" y="156"/>
                        <a:pt x="177" y="155"/>
                      </a:cubicBezTo>
                      <a:moveTo>
                        <a:pt x="177" y="155"/>
                      </a:moveTo>
                      <a:cubicBezTo>
                        <a:pt x="177" y="155"/>
                        <a:pt x="177" y="155"/>
                        <a:pt x="177" y="155"/>
                      </a:cubicBezTo>
                      <a:cubicBezTo>
                        <a:pt x="177" y="155"/>
                        <a:pt x="177" y="155"/>
                        <a:pt x="177" y="155"/>
                      </a:cubicBezTo>
                      <a:moveTo>
                        <a:pt x="38" y="0"/>
                      </a:moveTo>
                      <a:cubicBezTo>
                        <a:pt x="29" y="0"/>
                        <a:pt x="20" y="4"/>
                        <a:pt x="13" y="10"/>
                      </a:cubicBezTo>
                      <a:cubicBezTo>
                        <a:pt x="0" y="24"/>
                        <a:pt x="0" y="47"/>
                        <a:pt x="13" y="60"/>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6"/>
                        <a:pt x="154" y="107"/>
                        <a:pt x="156" y="108"/>
                      </a:cubicBezTo>
                      <a:cubicBezTo>
                        <a:pt x="156" y="108"/>
                        <a:pt x="156" y="108"/>
                        <a:pt x="156" y="108"/>
                      </a:cubicBezTo>
                      <a:cubicBezTo>
                        <a:pt x="156" y="108"/>
                        <a:pt x="156" y="108"/>
                        <a:pt x="156" y="108"/>
                      </a:cubicBezTo>
                      <a:cubicBezTo>
                        <a:pt x="161" y="110"/>
                        <a:pt x="166" y="113"/>
                        <a:pt x="169" y="116"/>
                      </a:cubicBezTo>
                      <a:cubicBezTo>
                        <a:pt x="63" y="10"/>
                        <a:pt x="63" y="10"/>
                        <a:pt x="63" y="10"/>
                      </a:cubicBezTo>
                      <a:cubicBezTo>
                        <a:pt x="57" y="4"/>
                        <a:pt x="48" y="0"/>
                        <a:pt x="38"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33" name="Freeform 81">
                  <a:extLst>
                    <a:ext uri="{FF2B5EF4-FFF2-40B4-BE49-F238E27FC236}">
                      <a16:creationId xmlns:a16="http://schemas.microsoft.com/office/drawing/2014/main" id="{C455A873-A96A-4051-83E2-D4DF385D4374}"/>
                    </a:ext>
                  </a:extLst>
                </p:cNvPr>
                <p:cNvSpPr>
                  <a:spLocks noEditPoints="1"/>
                </p:cNvSpPr>
                <p:nvPr/>
              </p:nvSpPr>
              <p:spPr bwMode="auto">
                <a:xfrm>
                  <a:off x="8362950" y="1654176"/>
                  <a:ext cx="211138" cy="104775"/>
                </a:xfrm>
                <a:custGeom>
                  <a:avLst/>
                  <a:gdLst>
                    <a:gd name="T0" fmla="*/ 111 w 121"/>
                    <a:gd name="T1" fmla="*/ 60 h 60"/>
                    <a:gd name="T2" fmla="*/ 110 w 121"/>
                    <a:gd name="T3" fmla="*/ 60 h 60"/>
                    <a:gd name="T4" fmla="*/ 110 w 121"/>
                    <a:gd name="T5" fmla="*/ 60 h 60"/>
                    <a:gd name="T6" fmla="*/ 110 w 121"/>
                    <a:gd name="T7" fmla="*/ 60 h 60"/>
                    <a:gd name="T8" fmla="*/ 111 w 121"/>
                    <a:gd name="T9" fmla="*/ 60 h 60"/>
                    <a:gd name="T10" fmla="*/ 111 w 121"/>
                    <a:gd name="T11" fmla="*/ 60 h 60"/>
                    <a:gd name="T12" fmla="*/ 111 w 121"/>
                    <a:gd name="T13" fmla="*/ 60 h 60"/>
                    <a:gd name="T14" fmla="*/ 111 w 121"/>
                    <a:gd name="T15" fmla="*/ 60 h 60"/>
                    <a:gd name="T16" fmla="*/ 111 w 121"/>
                    <a:gd name="T17" fmla="*/ 60 h 60"/>
                    <a:gd name="T18" fmla="*/ 111 w 121"/>
                    <a:gd name="T19" fmla="*/ 60 h 60"/>
                    <a:gd name="T20" fmla="*/ 111 w 121"/>
                    <a:gd name="T21" fmla="*/ 60 h 60"/>
                    <a:gd name="T22" fmla="*/ 111 w 121"/>
                    <a:gd name="T23" fmla="*/ 60 h 60"/>
                    <a:gd name="T24" fmla="*/ 111 w 121"/>
                    <a:gd name="T25" fmla="*/ 60 h 60"/>
                    <a:gd name="T26" fmla="*/ 111 w 121"/>
                    <a:gd name="T27" fmla="*/ 60 h 60"/>
                    <a:gd name="T28" fmla="*/ 111 w 121"/>
                    <a:gd name="T29" fmla="*/ 60 h 60"/>
                    <a:gd name="T30" fmla="*/ 111 w 121"/>
                    <a:gd name="T31" fmla="*/ 60 h 60"/>
                    <a:gd name="T32" fmla="*/ 111 w 121"/>
                    <a:gd name="T33" fmla="*/ 60 h 60"/>
                    <a:gd name="T34" fmla="*/ 111 w 121"/>
                    <a:gd name="T35" fmla="*/ 60 h 60"/>
                    <a:gd name="T36" fmla="*/ 111 w 121"/>
                    <a:gd name="T37" fmla="*/ 60 h 60"/>
                    <a:gd name="T38" fmla="*/ 111 w 121"/>
                    <a:gd name="T39" fmla="*/ 60 h 60"/>
                    <a:gd name="T40" fmla="*/ 111 w 121"/>
                    <a:gd name="T41" fmla="*/ 60 h 60"/>
                    <a:gd name="T42" fmla="*/ 111 w 121"/>
                    <a:gd name="T43" fmla="*/ 59 h 60"/>
                    <a:gd name="T44" fmla="*/ 111 w 121"/>
                    <a:gd name="T45" fmla="*/ 60 h 60"/>
                    <a:gd name="T46" fmla="*/ 111 w 121"/>
                    <a:gd name="T47" fmla="*/ 59 h 60"/>
                    <a:gd name="T48" fmla="*/ 111 w 121"/>
                    <a:gd name="T49" fmla="*/ 59 h 60"/>
                    <a:gd name="T50" fmla="*/ 111 w 121"/>
                    <a:gd name="T51" fmla="*/ 59 h 60"/>
                    <a:gd name="T52" fmla="*/ 111 w 121"/>
                    <a:gd name="T53" fmla="*/ 59 h 60"/>
                    <a:gd name="T54" fmla="*/ 118 w 121"/>
                    <a:gd name="T55" fmla="*/ 50 h 60"/>
                    <a:gd name="T56" fmla="*/ 117 w 121"/>
                    <a:gd name="T57" fmla="*/ 50 h 60"/>
                    <a:gd name="T58" fmla="*/ 118 w 121"/>
                    <a:gd name="T59" fmla="*/ 50 h 60"/>
                    <a:gd name="T60" fmla="*/ 121 w 121"/>
                    <a:gd name="T61" fmla="*/ 35 h 60"/>
                    <a:gd name="T62" fmla="*/ 118 w 121"/>
                    <a:gd name="T63" fmla="*/ 50 h 60"/>
                    <a:gd name="T64" fmla="*/ 118 w 121"/>
                    <a:gd name="T65" fmla="*/ 50 h 60"/>
                    <a:gd name="T66" fmla="*/ 118 w 121"/>
                    <a:gd name="T67" fmla="*/ 50 h 60"/>
                    <a:gd name="T68" fmla="*/ 118 w 121"/>
                    <a:gd name="T69" fmla="*/ 49 h 60"/>
                    <a:gd name="T70" fmla="*/ 118 w 121"/>
                    <a:gd name="T71" fmla="*/ 49 h 60"/>
                    <a:gd name="T72" fmla="*/ 118 w 121"/>
                    <a:gd name="T73" fmla="*/ 49 h 60"/>
                    <a:gd name="T74" fmla="*/ 121 w 121"/>
                    <a:gd name="T75" fmla="*/ 35 h 60"/>
                    <a:gd name="T76" fmla="*/ 97 w 121"/>
                    <a:gd name="T77" fmla="*/ 2 h 60"/>
                    <a:gd name="T78" fmla="*/ 97 w 121"/>
                    <a:gd name="T79" fmla="*/ 2 h 60"/>
                    <a:gd name="T80" fmla="*/ 97 w 121"/>
                    <a:gd name="T81" fmla="*/ 2 h 60"/>
                    <a:gd name="T82" fmla="*/ 89 w 121"/>
                    <a:gd name="T83" fmla="*/ 0 h 60"/>
                    <a:gd name="T84" fmla="*/ 97 w 121"/>
                    <a:gd name="T85" fmla="*/ 2 h 60"/>
                    <a:gd name="T86" fmla="*/ 89 w 121"/>
                    <a:gd name="T87" fmla="*/ 0 h 60"/>
                    <a:gd name="T88" fmla="*/ 85 w 121"/>
                    <a:gd name="T89" fmla="*/ 0 h 60"/>
                    <a:gd name="T90" fmla="*/ 0 w 121"/>
                    <a:gd name="T91" fmla="*/ 0 h 60"/>
                    <a:gd name="T92" fmla="*/ 35 w 121"/>
                    <a:gd name="T93" fmla="*/ 35 h 60"/>
                    <a:gd name="T94" fmla="*/ 60 w 121"/>
                    <a:gd name="T95" fmla="*/ 10 h 60"/>
                    <a:gd name="T96" fmla="*/ 85 w 121"/>
                    <a:gd name="T9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1" h="60">
                      <a:moveTo>
                        <a:pt x="111" y="60"/>
                      </a:moveTo>
                      <a:cubicBezTo>
                        <a:pt x="110" y="60"/>
                        <a:pt x="110" y="60"/>
                        <a:pt x="110" y="60"/>
                      </a:cubicBezTo>
                      <a:cubicBezTo>
                        <a:pt x="110" y="60"/>
                        <a:pt x="110" y="60"/>
                        <a:pt x="110" y="60"/>
                      </a:cubicBezTo>
                      <a:cubicBezTo>
                        <a:pt x="110" y="60"/>
                        <a:pt x="110" y="60"/>
                        <a:pt x="110" y="60"/>
                      </a:cubicBezTo>
                      <a:cubicBezTo>
                        <a:pt x="110" y="60"/>
                        <a:pt x="110"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59"/>
                      </a:moveTo>
                      <a:cubicBezTo>
                        <a:pt x="111" y="60"/>
                        <a:pt x="111" y="60"/>
                        <a:pt x="111" y="60"/>
                      </a:cubicBezTo>
                      <a:cubicBezTo>
                        <a:pt x="111" y="60"/>
                        <a:pt x="111" y="60"/>
                        <a:pt x="111" y="59"/>
                      </a:cubicBezTo>
                      <a:moveTo>
                        <a:pt x="111" y="59"/>
                      </a:moveTo>
                      <a:cubicBezTo>
                        <a:pt x="111" y="59"/>
                        <a:pt x="111" y="59"/>
                        <a:pt x="111" y="59"/>
                      </a:cubicBezTo>
                      <a:cubicBezTo>
                        <a:pt x="111" y="59"/>
                        <a:pt x="111" y="59"/>
                        <a:pt x="111" y="59"/>
                      </a:cubicBezTo>
                      <a:moveTo>
                        <a:pt x="118" y="50"/>
                      </a:moveTo>
                      <a:cubicBezTo>
                        <a:pt x="117" y="50"/>
                        <a:pt x="117" y="50"/>
                        <a:pt x="117" y="50"/>
                      </a:cubicBezTo>
                      <a:cubicBezTo>
                        <a:pt x="117" y="50"/>
                        <a:pt x="117" y="50"/>
                        <a:pt x="118" y="50"/>
                      </a:cubicBezTo>
                      <a:moveTo>
                        <a:pt x="121" y="35"/>
                      </a:moveTo>
                      <a:cubicBezTo>
                        <a:pt x="121" y="40"/>
                        <a:pt x="120" y="45"/>
                        <a:pt x="118" y="50"/>
                      </a:cubicBezTo>
                      <a:cubicBezTo>
                        <a:pt x="118" y="50"/>
                        <a:pt x="118" y="50"/>
                        <a:pt x="118" y="50"/>
                      </a:cubicBezTo>
                      <a:cubicBezTo>
                        <a:pt x="118" y="50"/>
                        <a:pt x="118" y="50"/>
                        <a:pt x="118" y="50"/>
                      </a:cubicBezTo>
                      <a:cubicBezTo>
                        <a:pt x="118" y="50"/>
                        <a:pt x="118" y="50"/>
                        <a:pt x="118" y="49"/>
                      </a:cubicBezTo>
                      <a:cubicBezTo>
                        <a:pt x="118" y="49"/>
                        <a:pt x="118" y="49"/>
                        <a:pt x="118" y="49"/>
                      </a:cubicBezTo>
                      <a:cubicBezTo>
                        <a:pt x="118" y="49"/>
                        <a:pt x="118" y="49"/>
                        <a:pt x="118" y="49"/>
                      </a:cubicBezTo>
                      <a:cubicBezTo>
                        <a:pt x="120" y="45"/>
                        <a:pt x="121" y="40"/>
                        <a:pt x="121" y="35"/>
                      </a:cubicBezTo>
                      <a:moveTo>
                        <a:pt x="97" y="2"/>
                      </a:moveTo>
                      <a:cubicBezTo>
                        <a:pt x="97" y="2"/>
                        <a:pt x="97" y="2"/>
                        <a:pt x="97" y="2"/>
                      </a:cubicBezTo>
                      <a:cubicBezTo>
                        <a:pt x="97" y="2"/>
                        <a:pt x="97" y="2"/>
                        <a:pt x="97" y="2"/>
                      </a:cubicBezTo>
                      <a:moveTo>
                        <a:pt x="89" y="0"/>
                      </a:moveTo>
                      <a:cubicBezTo>
                        <a:pt x="92" y="0"/>
                        <a:pt x="94" y="1"/>
                        <a:pt x="97" y="2"/>
                      </a:cubicBezTo>
                      <a:cubicBezTo>
                        <a:pt x="95" y="1"/>
                        <a:pt x="92" y="0"/>
                        <a:pt x="89"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34" name="Freeform 82">
                  <a:extLst>
                    <a:ext uri="{FF2B5EF4-FFF2-40B4-BE49-F238E27FC236}">
                      <a16:creationId xmlns:a16="http://schemas.microsoft.com/office/drawing/2014/main" id="{8F554BB0-26AE-413B-915C-2BEA82229E9D}"/>
                    </a:ext>
                  </a:extLst>
                </p:cNvPr>
                <p:cNvSpPr>
                  <a:spLocks noEditPoints="1"/>
                </p:cNvSpPr>
                <p:nvPr/>
              </p:nvSpPr>
              <p:spPr bwMode="auto">
                <a:xfrm>
                  <a:off x="8259763" y="1671638"/>
                  <a:ext cx="309563" cy="292100"/>
                </a:xfrm>
                <a:custGeom>
                  <a:avLst/>
                  <a:gdLst>
                    <a:gd name="T0" fmla="*/ 169 w 177"/>
                    <a:gd name="T1" fmla="*/ 50 h 167"/>
                    <a:gd name="T2" fmla="*/ 169 w 177"/>
                    <a:gd name="T3" fmla="*/ 50 h 167"/>
                    <a:gd name="T4" fmla="*/ 169 w 177"/>
                    <a:gd name="T5" fmla="*/ 50 h 167"/>
                    <a:gd name="T6" fmla="*/ 169 w 177"/>
                    <a:gd name="T7" fmla="*/ 51 h 167"/>
                    <a:gd name="T8" fmla="*/ 169 w 177"/>
                    <a:gd name="T9" fmla="*/ 51 h 167"/>
                    <a:gd name="T10" fmla="*/ 169 w 177"/>
                    <a:gd name="T11" fmla="*/ 51 h 167"/>
                    <a:gd name="T12" fmla="*/ 169 w 177"/>
                    <a:gd name="T13" fmla="*/ 51 h 167"/>
                    <a:gd name="T14" fmla="*/ 169 w 177"/>
                    <a:gd name="T15" fmla="*/ 51 h 167"/>
                    <a:gd name="T16" fmla="*/ 158 w 177"/>
                    <a:gd name="T17" fmla="*/ 58 h 167"/>
                    <a:gd name="T18" fmla="*/ 158 w 177"/>
                    <a:gd name="T19" fmla="*/ 58 h 167"/>
                    <a:gd name="T20" fmla="*/ 157 w 177"/>
                    <a:gd name="T21" fmla="*/ 58 h 167"/>
                    <a:gd name="T22" fmla="*/ 157 w 177"/>
                    <a:gd name="T23" fmla="*/ 58 h 167"/>
                    <a:gd name="T24" fmla="*/ 157 w 177"/>
                    <a:gd name="T25" fmla="*/ 58 h 167"/>
                    <a:gd name="T26" fmla="*/ 147 w 177"/>
                    <a:gd name="T27" fmla="*/ 61 h 167"/>
                    <a:gd name="T28" fmla="*/ 147 w 177"/>
                    <a:gd name="T29" fmla="*/ 61 h 167"/>
                    <a:gd name="T30" fmla="*/ 147 w 177"/>
                    <a:gd name="T31" fmla="*/ 61 h 167"/>
                    <a:gd name="T32" fmla="*/ 146 w 177"/>
                    <a:gd name="T33" fmla="*/ 61 h 167"/>
                    <a:gd name="T34" fmla="*/ 146 w 177"/>
                    <a:gd name="T35" fmla="*/ 61 h 167"/>
                    <a:gd name="T36" fmla="*/ 144 w 177"/>
                    <a:gd name="T37" fmla="*/ 61 h 167"/>
                    <a:gd name="T38" fmla="*/ 144 w 177"/>
                    <a:gd name="T39" fmla="*/ 61 h 167"/>
                    <a:gd name="T40" fmla="*/ 59 w 177"/>
                    <a:gd name="T41" fmla="*/ 61 h 167"/>
                    <a:gd name="T42" fmla="*/ 13 w 177"/>
                    <a:gd name="T43" fmla="*/ 106 h 167"/>
                    <a:gd name="T44" fmla="*/ 13 w 177"/>
                    <a:gd name="T45" fmla="*/ 156 h 167"/>
                    <a:gd name="T46" fmla="*/ 38 w 177"/>
                    <a:gd name="T47" fmla="*/ 167 h 167"/>
                    <a:gd name="T48" fmla="*/ 63 w 177"/>
                    <a:gd name="T49" fmla="*/ 156 h 167"/>
                    <a:gd name="T50" fmla="*/ 169 w 177"/>
                    <a:gd name="T51" fmla="*/ 50 h 167"/>
                    <a:gd name="T52" fmla="*/ 177 w 177"/>
                    <a:gd name="T53" fmla="*/ 11 h 167"/>
                    <a:gd name="T54" fmla="*/ 177 w 177"/>
                    <a:gd name="T55" fmla="*/ 11 h 167"/>
                    <a:gd name="T56" fmla="*/ 177 w 177"/>
                    <a:gd name="T57" fmla="*/ 11 h 167"/>
                    <a:gd name="T58" fmla="*/ 169 w 177"/>
                    <a:gd name="T59" fmla="*/ 0 h 167"/>
                    <a:gd name="T60" fmla="*/ 169 w 177"/>
                    <a:gd name="T61" fmla="*/ 0 h 167"/>
                    <a:gd name="T62" fmla="*/ 176 w 177"/>
                    <a:gd name="T63" fmla="*/ 11 h 167"/>
                    <a:gd name="T64" fmla="*/ 176 w 177"/>
                    <a:gd name="T65" fmla="*/ 11 h 167"/>
                    <a:gd name="T66" fmla="*/ 177 w 177"/>
                    <a:gd name="T67" fmla="*/ 11 h 167"/>
                    <a:gd name="T68" fmla="*/ 177 w 177"/>
                    <a:gd name="T69" fmla="*/ 11 h 167"/>
                    <a:gd name="T70" fmla="*/ 169 w 177"/>
                    <a:gd name="T71" fmla="*/ 0 h 167"/>
                    <a:gd name="T72" fmla="*/ 169 w 177"/>
                    <a:gd name="T73"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7" h="167">
                      <a:moveTo>
                        <a:pt x="169" y="50"/>
                      </a:moveTo>
                      <a:cubicBezTo>
                        <a:pt x="169" y="50"/>
                        <a:pt x="169" y="50"/>
                        <a:pt x="169" y="50"/>
                      </a:cubicBezTo>
                      <a:cubicBezTo>
                        <a:pt x="169" y="50"/>
                        <a:pt x="169" y="50"/>
                        <a:pt x="169" y="50"/>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5" y="54"/>
                        <a:pt x="162" y="56"/>
                        <a:pt x="158" y="58"/>
                      </a:cubicBezTo>
                      <a:cubicBezTo>
                        <a:pt x="158" y="58"/>
                        <a:pt x="158" y="58"/>
                        <a:pt x="158" y="58"/>
                      </a:cubicBezTo>
                      <a:cubicBezTo>
                        <a:pt x="157" y="58"/>
                        <a:pt x="157" y="58"/>
                        <a:pt x="157" y="58"/>
                      </a:cubicBezTo>
                      <a:cubicBezTo>
                        <a:pt x="157" y="58"/>
                        <a:pt x="157" y="58"/>
                        <a:pt x="157" y="58"/>
                      </a:cubicBezTo>
                      <a:cubicBezTo>
                        <a:pt x="157" y="58"/>
                        <a:pt x="157" y="58"/>
                        <a:pt x="157" y="58"/>
                      </a:cubicBezTo>
                      <a:cubicBezTo>
                        <a:pt x="154" y="59"/>
                        <a:pt x="150" y="60"/>
                        <a:pt x="147" y="61"/>
                      </a:cubicBezTo>
                      <a:cubicBezTo>
                        <a:pt x="147" y="61"/>
                        <a:pt x="147" y="61"/>
                        <a:pt x="147" y="61"/>
                      </a:cubicBezTo>
                      <a:cubicBezTo>
                        <a:pt x="147" y="61"/>
                        <a:pt x="147" y="61"/>
                        <a:pt x="147" y="61"/>
                      </a:cubicBezTo>
                      <a:cubicBezTo>
                        <a:pt x="147" y="61"/>
                        <a:pt x="146" y="61"/>
                        <a:pt x="146" y="61"/>
                      </a:cubicBezTo>
                      <a:cubicBezTo>
                        <a:pt x="146" y="61"/>
                        <a:pt x="146" y="61"/>
                        <a:pt x="146" y="61"/>
                      </a:cubicBezTo>
                      <a:cubicBezTo>
                        <a:pt x="146" y="61"/>
                        <a:pt x="145" y="61"/>
                        <a:pt x="144" y="61"/>
                      </a:cubicBezTo>
                      <a:cubicBezTo>
                        <a:pt x="144" y="61"/>
                        <a:pt x="144" y="61"/>
                        <a:pt x="144" y="61"/>
                      </a:cubicBezTo>
                      <a:cubicBezTo>
                        <a:pt x="59" y="61"/>
                        <a:pt x="59" y="61"/>
                        <a:pt x="59" y="61"/>
                      </a:cubicBezTo>
                      <a:cubicBezTo>
                        <a:pt x="13" y="106"/>
                        <a:pt x="13" y="106"/>
                        <a:pt x="13" y="106"/>
                      </a:cubicBezTo>
                      <a:cubicBezTo>
                        <a:pt x="0" y="120"/>
                        <a:pt x="0" y="142"/>
                        <a:pt x="13" y="156"/>
                      </a:cubicBezTo>
                      <a:cubicBezTo>
                        <a:pt x="20" y="163"/>
                        <a:pt x="29" y="167"/>
                        <a:pt x="38" y="167"/>
                      </a:cubicBezTo>
                      <a:cubicBezTo>
                        <a:pt x="48" y="167"/>
                        <a:pt x="57" y="163"/>
                        <a:pt x="63" y="156"/>
                      </a:cubicBezTo>
                      <a:cubicBezTo>
                        <a:pt x="169" y="50"/>
                        <a:pt x="169" y="50"/>
                        <a:pt x="169" y="50"/>
                      </a:cubicBezTo>
                      <a:moveTo>
                        <a:pt x="177" y="11"/>
                      </a:moveTo>
                      <a:cubicBezTo>
                        <a:pt x="177" y="11"/>
                        <a:pt x="177" y="11"/>
                        <a:pt x="177" y="11"/>
                      </a:cubicBezTo>
                      <a:cubicBezTo>
                        <a:pt x="177" y="11"/>
                        <a:pt x="177" y="11"/>
                        <a:pt x="177" y="11"/>
                      </a:cubicBezTo>
                      <a:moveTo>
                        <a:pt x="169" y="0"/>
                      </a:moveTo>
                      <a:cubicBezTo>
                        <a:pt x="169" y="0"/>
                        <a:pt x="169" y="0"/>
                        <a:pt x="169" y="0"/>
                      </a:cubicBezTo>
                      <a:cubicBezTo>
                        <a:pt x="172" y="3"/>
                        <a:pt x="175" y="7"/>
                        <a:pt x="176" y="11"/>
                      </a:cubicBezTo>
                      <a:cubicBezTo>
                        <a:pt x="176" y="11"/>
                        <a:pt x="176" y="11"/>
                        <a:pt x="176" y="11"/>
                      </a:cubicBezTo>
                      <a:cubicBezTo>
                        <a:pt x="177" y="11"/>
                        <a:pt x="177" y="11"/>
                        <a:pt x="177" y="11"/>
                      </a:cubicBezTo>
                      <a:cubicBezTo>
                        <a:pt x="177" y="11"/>
                        <a:pt x="177" y="11"/>
                        <a:pt x="177" y="11"/>
                      </a:cubicBezTo>
                      <a:cubicBezTo>
                        <a:pt x="175" y="7"/>
                        <a:pt x="172" y="3"/>
                        <a:pt x="169" y="0"/>
                      </a:cubicBezTo>
                      <a:cubicBezTo>
                        <a:pt x="169" y="0"/>
                        <a:pt x="169" y="0"/>
                        <a:pt x="169"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35" name="Freeform 83">
                  <a:extLst>
                    <a:ext uri="{FF2B5EF4-FFF2-40B4-BE49-F238E27FC236}">
                      <a16:creationId xmlns:a16="http://schemas.microsoft.com/office/drawing/2014/main" id="{3CBA67BD-60DD-489B-8147-673051EB1FBF}"/>
                    </a:ext>
                  </a:extLst>
                </p:cNvPr>
                <p:cNvSpPr>
                  <a:spLocks noEditPoints="1"/>
                </p:cNvSpPr>
                <p:nvPr/>
              </p:nvSpPr>
              <p:spPr bwMode="auto">
                <a:xfrm>
                  <a:off x="8362950" y="1690688"/>
                  <a:ext cx="211138" cy="87312"/>
                </a:xfrm>
                <a:custGeom>
                  <a:avLst/>
                  <a:gdLst>
                    <a:gd name="T0" fmla="*/ 87 w 121"/>
                    <a:gd name="T1" fmla="*/ 50 h 50"/>
                    <a:gd name="T2" fmla="*/ 87 w 121"/>
                    <a:gd name="T3" fmla="*/ 50 h 50"/>
                    <a:gd name="T4" fmla="*/ 87 w 121"/>
                    <a:gd name="T5" fmla="*/ 50 h 50"/>
                    <a:gd name="T6" fmla="*/ 88 w 121"/>
                    <a:gd name="T7" fmla="*/ 50 h 50"/>
                    <a:gd name="T8" fmla="*/ 88 w 121"/>
                    <a:gd name="T9" fmla="*/ 50 h 50"/>
                    <a:gd name="T10" fmla="*/ 88 w 121"/>
                    <a:gd name="T11" fmla="*/ 50 h 50"/>
                    <a:gd name="T12" fmla="*/ 98 w 121"/>
                    <a:gd name="T13" fmla="*/ 47 h 50"/>
                    <a:gd name="T14" fmla="*/ 88 w 121"/>
                    <a:gd name="T15" fmla="*/ 50 h 50"/>
                    <a:gd name="T16" fmla="*/ 98 w 121"/>
                    <a:gd name="T17" fmla="*/ 47 h 50"/>
                    <a:gd name="T18" fmla="*/ 98 w 121"/>
                    <a:gd name="T19" fmla="*/ 47 h 50"/>
                    <a:gd name="T20" fmla="*/ 98 w 121"/>
                    <a:gd name="T21" fmla="*/ 47 h 50"/>
                    <a:gd name="T22" fmla="*/ 98 w 121"/>
                    <a:gd name="T23" fmla="*/ 47 h 50"/>
                    <a:gd name="T24" fmla="*/ 99 w 121"/>
                    <a:gd name="T25" fmla="*/ 47 h 50"/>
                    <a:gd name="T26" fmla="*/ 99 w 121"/>
                    <a:gd name="T27" fmla="*/ 47 h 50"/>
                    <a:gd name="T28" fmla="*/ 99 w 121"/>
                    <a:gd name="T29" fmla="*/ 47 h 50"/>
                    <a:gd name="T30" fmla="*/ 110 w 121"/>
                    <a:gd name="T31" fmla="*/ 40 h 50"/>
                    <a:gd name="T32" fmla="*/ 110 w 121"/>
                    <a:gd name="T33" fmla="*/ 40 h 50"/>
                    <a:gd name="T34" fmla="*/ 110 w 121"/>
                    <a:gd name="T35" fmla="*/ 40 h 50"/>
                    <a:gd name="T36" fmla="*/ 110 w 121"/>
                    <a:gd name="T37" fmla="*/ 40 h 50"/>
                    <a:gd name="T38" fmla="*/ 110 w 121"/>
                    <a:gd name="T39" fmla="*/ 40 h 50"/>
                    <a:gd name="T40" fmla="*/ 110 w 121"/>
                    <a:gd name="T41" fmla="*/ 40 h 50"/>
                    <a:gd name="T42" fmla="*/ 110 w 121"/>
                    <a:gd name="T43" fmla="*/ 39 h 50"/>
                    <a:gd name="T44" fmla="*/ 110 w 121"/>
                    <a:gd name="T45" fmla="*/ 40 h 50"/>
                    <a:gd name="T46" fmla="*/ 110 w 121"/>
                    <a:gd name="T47" fmla="*/ 39 h 50"/>
                    <a:gd name="T48" fmla="*/ 110 w 121"/>
                    <a:gd name="T49" fmla="*/ 39 h 50"/>
                    <a:gd name="T50" fmla="*/ 110 w 121"/>
                    <a:gd name="T51" fmla="*/ 39 h 50"/>
                    <a:gd name="T52" fmla="*/ 110 w 121"/>
                    <a:gd name="T53" fmla="*/ 39 h 50"/>
                    <a:gd name="T54" fmla="*/ 110 w 121"/>
                    <a:gd name="T55" fmla="*/ 39 h 50"/>
                    <a:gd name="T56" fmla="*/ 35 w 121"/>
                    <a:gd name="T57" fmla="*/ 14 h 50"/>
                    <a:gd name="T58" fmla="*/ 0 w 121"/>
                    <a:gd name="T59" fmla="*/ 50 h 50"/>
                    <a:gd name="T60" fmla="*/ 85 w 121"/>
                    <a:gd name="T61" fmla="*/ 50 h 50"/>
                    <a:gd name="T62" fmla="*/ 60 w 121"/>
                    <a:gd name="T63" fmla="*/ 39 h 50"/>
                    <a:gd name="T64" fmla="*/ 35 w 121"/>
                    <a:gd name="T65" fmla="*/ 14 h 50"/>
                    <a:gd name="T66" fmla="*/ 118 w 121"/>
                    <a:gd name="T67" fmla="*/ 0 h 50"/>
                    <a:gd name="T68" fmla="*/ 121 w 121"/>
                    <a:gd name="T69" fmla="*/ 14 h 50"/>
                    <a:gd name="T70" fmla="*/ 118 w 121"/>
                    <a:gd name="T71" fmla="*/ 0 h 50"/>
                    <a:gd name="T72" fmla="*/ 118 w 121"/>
                    <a:gd name="T73" fmla="*/ 0 h 50"/>
                    <a:gd name="T74" fmla="*/ 118 w 121"/>
                    <a:gd name="T75" fmla="*/ 0 h 50"/>
                    <a:gd name="T76" fmla="*/ 118 w 121"/>
                    <a:gd name="T77" fmla="*/ 0 h 50"/>
                    <a:gd name="T78" fmla="*/ 117 w 121"/>
                    <a:gd name="T79" fmla="*/ 0 h 50"/>
                    <a:gd name="T80" fmla="*/ 117 w 121"/>
                    <a:gd name="T81" fmla="*/ 0 h 50"/>
                    <a:gd name="T82" fmla="*/ 117 w 121"/>
                    <a:gd name="T8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1" h="50">
                      <a:moveTo>
                        <a:pt x="87" y="50"/>
                      </a:moveTo>
                      <a:cubicBezTo>
                        <a:pt x="87" y="50"/>
                        <a:pt x="87" y="50"/>
                        <a:pt x="87" y="50"/>
                      </a:cubicBezTo>
                      <a:cubicBezTo>
                        <a:pt x="87" y="50"/>
                        <a:pt x="87" y="50"/>
                        <a:pt x="87" y="50"/>
                      </a:cubicBezTo>
                      <a:moveTo>
                        <a:pt x="88" y="50"/>
                      </a:moveTo>
                      <a:cubicBezTo>
                        <a:pt x="88" y="50"/>
                        <a:pt x="88" y="50"/>
                        <a:pt x="88" y="50"/>
                      </a:cubicBezTo>
                      <a:cubicBezTo>
                        <a:pt x="88" y="50"/>
                        <a:pt x="88" y="50"/>
                        <a:pt x="88" y="50"/>
                      </a:cubicBezTo>
                      <a:moveTo>
                        <a:pt x="98" y="47"/>
                      </a:moveTo>
                      <a:cubicBezTo>
                        <a:pt x="95" y="49"/>
                        <a:pt x="91" y="49"/>
                        <a:pt x="88" y="50"/>
                      </a:cubicBezTo>
                      <a:cubicBezTo>
                        <a:pt x="91" y="49"/>
                        <a:pt x="95" y="48"/>
                        <a:pt x="98" y="47"/>
                      </a:cubicBezTo>
                      <a:moveTo>
                        <a:pt x="98" y="47"/>
                      </a:moveTo>
                      <a:cubicBezTo>
                        <a:pt x="98" y="47"/>
                        <a:pt x="98" y="47"/>
                        <a:pt x="98" y="47"/>
                      </a:cubicBezTo>
                      <a:cubicBezTo>
                        <a:pt x="98" y="47"/>
                        <a:pt x="98" y="47"/>
                        <a:pt x="98" y="47"/>
                      </a:cubicBezTo>
                      <a:moveTo>
                        <a:pt x="99" y="47"/>
                      </a:moveTo>
                      <a:cubicBezTo>
                        <a:pt x="99" y="47"/>
                        <a:pt x="99" y="47"/>
                        <a:pt x="99" y="47"/>
                      </a:cubicBezTo>
                      <a:cubicBezTo>
                        <a:pt x="99" y="47"/>
                        <a:pt x="99" y="47"/>
                        <a:pt x="99" y="47"/>
                      </a:cubicBezTo>
                      <a:moveTo>
                        <a:pt x="110" y="40"/>
                      </a:moveTo>
                      <a:cubicBezTo>
                        <a:pt x="110" y="40"/>
                        <a:pt x="110" y="40"/>
                        <a:pt x="110" y="40"/>
                      </a:cubicBezTo>
                      <a:cubicBezTo>
                        <a:pt x="110" y="40"/>
                        <a:pt x="110" y="40"/>
                        <a:pt x="110" y="40"/>
                      </a:cubicBezTo>
                      <a:moveTo>
                        <a:pt x="110" y="40"/>
                      </a:moveTo>
                      <a:cubicBezTo>
                        <a:pt x="110" y="40"/>
                        <a:pt x="110" y="40"/>
                        <a:pt x="110" y="40"/>
                      </a:cubicBezTo>
                      <a:cubicBezTo>
                        <a:pt x="110" y="40"/>
                        <a:pt x="110" y="40"/>
                        <a:pt x="110" y="40"/>
                      </a:cubicBezTo>
                      <a:moveTo>
                        <a:pt x="110" y="39"/>
                      </a:moveTo>
                      <a:cubicBezTo>
                        <a:pt x="110" y="40"/>
                        <a:pt x="110" y="40"/>
                        <a:pt x="110" y="40"/>
                      </a:cubicBezTo>
                      <a:cubicBezTo>
                        <a:pt x="110" y="40"/>
                        <a:pt x="110" y="40"/>
                        <a:pt x="110" y="39"/>
                      </a:cubicBezTo>
                      <a:moveTo>
                        <a:pt x="110" y="39"/>
                      </a:moveTo>
                      <a:cubicBezTo>
                        <a:pt x="110" y="39"/>
                        <a:pt x="110" y="39"/>
                        <a:pt x="110" y="39"/>
                      </a:cubicBezTo>
                      <a:cubicBezTo>
                        <a:pt x="110" y="39"/>
                        <a:pt x="110" y="39"/>
                        <a:pt x="110" y="39"/>
                      </a:cubicBezTo>
                      <a:cubicBezTo>
                        <a:pt x="110" y="39"/>
                        <a:pt x="110" y="39"/>
                        <a:pt x="110" y="39"/>
                      </a:cubicBezTo>
                      <a:moveTo>
                        <a:pt x="35" y="14"/>
                      </a:moveTo>
                      <a:cubicBezTo>
                        <a:pt x="0" y="50"/>
                        <a:pt x="0" y="50"/>
                        <a:pt x="0" y="50"/>
                      </a:cubicBezTo>
                      <a:cubicBezTo>
                        <a:pt x="85" y="50"/>
                        <a:pt x="85" y="50"/>
                        <a:pt x="85" y="50"/>
                      </a:cubicBezTo>
                      <a:cubicBezTo>
                        <a:pt x="76" y="50"/>
                        <a:pt x="67" y="46"/>
                        <a:pt x="60" y="39"/>
                      </a:cubicBezTo>
                      <a:cubicBezTo>
                        <a:pt x="35" y="14"/>
                        <a:pt x="35" y="14"/>
                        <a:pt x="35" y="14"/>
                      </a:cubicBezTo>
                      <a:moveTo>
                        <a:pt x="118" y="0"/>
                      </a:moveTo>
                      <a:cubicBezTo>
                        <a:pt x="120" y="4"/>
                        <a:pt x="121" y="9"/>
                        <a:pt x="121" y="14"/>
                      </a:cubicBezTo>
                      <a:cubicBezTo>
                        <a:pt x="121" y="9"/>
                        <a:pt x="120" y="4"/>
                        <a:pt x="118" y="0"/>
                      </a:cubicBezTo>
                      <a:cubicBezTo>
                        <a:pt x="118" y="0"/>
                        <a:pt x="118" y="0"/>
                        <a:pt x="118" y="0"/>
                      </a:cubicBezTo>
                      <a:cubicBezTo>
                        <a:pt x="118" y="0"/>
                        <a:pt x="118" y="0"/>
                        <a:pt x="118" y="0"/>
                      </a:cubicBezTo>
                      <a:cubicBezTo>
                        <a:pt x="118" y="0"/>
                        <a:pt x="118" y="0"/>
                        <a:pt x="118" y="0"/>
                      </a:cubicBezTo>
                      <a:moveTo>
                        <a:pt x="117" y="0"/>
                      </a:moveTo>
                      <a:cubicBezTo>
                        <a:pt x="117" y="0"/>
                        <a:pt x="117" y="0"/>
                        <a:pt x="117" y="0"/>
                      </a:cubicBezTo>
                      <a:cubicBezTo>
                        <a:pt x="117" y="0"/>
                        <a:pt x="117" y="0"/>
                        <a:pt x="117"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36" name="Freeform 84">
                  <a:extLst>
                    <a:ext uri="{FF2B5EF4-FFF2-40B4-BE49-F238E27FC236}">
                      <a16:creationId xmlns:a16="http://schemas.microsoft.com/office/drawing/2014/main" id="{75A22377-90CB-4E28-8D26-2102B8A0D4C9}"/>
                    </a:ext>
                  </a:extLst>
                </p:cNvPr>
                <p:cNvSpPr>
                  <a:spLocks noEditPoints="1"/>
                </p:cNvSpPr>
                <p:nvPr/>
              </p:nvSpPr>
              <p:spPr bwMode="auto">
                <a:xfrm>
                  <a:off x="8510588" y="1654176"/>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8 h 71"/>
                    <a:gd name="T12" fmla="*/ 13 w 33"/>
                    <a:gd name="T13" fmla="*/ 68 h 71"/>
                    <a:gd name="T14" fmla="*/ 13 w 33"/>
                    <a:gd name="T15" fmla="*/ 68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0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26 w 33"/>
                    <a:gd name="T41" fmla="*/ 59 h 71"/>
                    <a:gd name="T42" fmla="*/ 26 w 33"/>
                    <a:gd name="T43" fmla="*/ 59 h 71"/>
                    <a:gd name="T44" fmla="*/ 26 w 33"/>
                    <a:gd name="T45" fmla="*/ 59 h 71"/>
                    <a:gd name="T46" fmla="*/ 33 w 33"/>
                    <a:gd name="T47" fmla="*/ 50 h 71"/>
                    <a:gd name="T48" fmla="*/ 33 w 33"/>
                    <a:gd name="T49" fmla="*/ 50 h 71"/>
                    <a:gd name="T50" fmla="*/ 33 w 33"/>
                    <a:gd name="T51" fmla="*/ 21 h 71"/>
                    <a:gd name="T52" fmla="*/ 12 w 33"/>
                    <a:gd name="T53" fmla="*/ 2 h 71"/>
                    <a:gd name="T54" fmla="*/ 25 w 33"/>
                    <a:gd name="T55" fmla="*/ 10 h 71"/>
                    <a:gd name="T56" fmla="*/ 12 w 33"/>
                    <a:gd name="T57" fmla="*/ 2 h 71"/>
                    <a:gd name="T58" fmla="*/ 12 w 33"/>
                    <a:gd name="T59" fmla="*/ 2 h 71"/>
                    <a:gd name="T60" fmla="*/ 0 w 33"/>
                    <a:gd name="T61" fmla="*/ 0 h 71"/>
                    <a:gd name="T62" fmla="*/ 0 w 33"/>
                    <a:gd name="T63" fmla="*/ 0 h 71"/>
                    <a:gd name="T64" fmla="*/ 0 w 33"/>
                    <a:gd name="T6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59"/>
                      </a:cubicBezTo>
                      <a:cubicBezTo>
                        <a:pt x="26" y="59"/>
                        <a:pt x="26" y="59"/>
                        <a:pt x="26" y="59"/>
                      </a:cubicBezTo>
                      <a:moveTo>
                        <a:pt x="32" y="50"/>
                      </a:moveTo>
                      <a:cubicBezTo>
                        <a:pt x="31" y="53"/>
                        <a:pt x="29" y="57"/>
                        <a:pt x="26" y="59"/>
                      </a:cubicBezTo>
                      <a:cubicBezTo>
                        <a:pt x="29" y="57"/>
                        <a:pt x="31" y="53"/>
                        <a:pt x="32" y="50"/>
                      </a:cubicBezTo>
                      <a:moveTo>
                        <a:pt x="33" y="50"/>
                      </a:moveTo>
                      <a:cubicBezTo>
                        <a:pt x="33" y="50"/>
                        <a:pt x="33" y="50"/>
                        <a:pt x="33" y="50"/>
                      </a:cubicBezTo>
                      <a:cubicBezTo>
                        <a:pt x="33" y="50"/>
                        <a:pt x="33" y="50"/>
                        <a:pt x="33" y="50"/>
                      </a:cubicBezTo>
                      <a:moveTo>
                        <a:pt x="32" y="21"/>
                      </a:moveTo>
                      <a:cubicBezTo>
                        <a:pt x="33" y="21"/>
                        <a:pt x="33" y="21"/>
                        <a:pt x="33" y="21"/>
                      </a:cubicBezTo>
                      <a:cubicBezTo>
                        <a:pt x="33" y="21"/>
                        <a:pt x="33" y="21"/>
                        <a:pt x="32" y="21"/>
                      </a:cubicBezTo>
                      <a:moveTo>
                        <a:pt x="12" y="2"/>
                      </a:moveTo>
                      <a:cubicBezTo>
                        <a:pt x="21" y="5"/>
                        <a:pt x="29" y="12"/>
                        <a:pt x="32" y="21"/>
                      </a:cubicBezTo>
                      <a:cubicBezTo>
                        <a:pt x="31" y="17"/>
                        <a:pt x="28" y="13"/>
                        <a:pt x="25" y="10"/>
                      </a:cubicBezTo>
                      <a:cubicBezTo>
                        <a:pt x="25" y="10"/>
                        <a:pt x="25" y="10"/>
                        <a:pt x="25" y="10"/>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0"/>
                      </a:cubicBezTo>
                      <a:cubicBezTo>
                        <a:pt x="3" y="0"/>
                        <a:pt x="2"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37" name="Freeform 85">
                  <a:extLst>
                    <a:ext uri="{FF2B5EF4-FFF2-40B4-BE49-F238E27FC236}">
                      <a16:creationId xmlns:a16="http://schemas.microsoft.com/office/drawing/2014/main" id="{3315B1A1-40E5-4325-94A4-308559460E04}"/>
                    </a:ext>
                  </a:extLst>
                </p:cNvPr>
                <p:cNvSpPr>
                  <a:spLocks/>
                </p:cNvSpPr>
                <p:nvPr/>
              </p:nvSpPr>
              <p:spPr bwMode="auto">
                <a:xfrm>
                  <a:off x="8425656" y="1654176"/>
                  <a:ext cx="150813" cy="123825"/>
                </a:xfrm>
                <a:custGeom>
                  <a:avLst/>
                  <a:gdLst>
                    <a:gd name="T0" fmla="*/ 50 w 86"/>
                    <a:gd name="T1" fmla="*/ 0 h 71"/>
                    <a:gd name="T2" fmla="*/ 50 w 86"/>
                    <a:gd name="T3" fmla="*/ 0 h 71"/>
                    <a:gd name="T4" fmla="*/ 25 w 86"/>
                    <a:gd name="T5" fmla="*/ 10 h 71"/>
                    <a:gd name="T6" fmla="*/ 0 w 86"/>
                    <a:gd name="T7" fmla="*/ 35 h 71"/>
                    <a:gd name="T8" fmla="*/ 25 w 86"/>
                    <a:gd name="T9" fmla="*/ 60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8 h 71"/>
                    <a:gd name="T26" fmla="*/ 63 w 86"/>
                    <a:gd name="T27" fmla="*/ 68 h 71"/>
                    <a:gd name="T28" fmla="*/ 63 w 86"/>
                    <a:gd name="T29" fmla="*/ 68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0 h 71"/>
                    <a:gd name="T46" fmla="*/ 75 w 86"/>
                    <a:gd name="T47" fmla="*/ 60 h 71"/>
                    <a:gd name="T48" fmla="*/ 75 w 86"/>
                    <a:gd name="T49" fmla="*/ 60 h 71"/>
                    <a:gd name="T50" fmla="*/ 75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76 w 86"/>
                    <a:gd name="T67" fmla="*/ 60 h 71"/>
                    <a:gd name="T68" fmla="*/ 76 w 86"/>
                    <a:gd name="T69" fmla="*/ 59 h 71"/>
                    <a:gd name="T70" fmla="*/ 76 w 86"/>
                    <a:gd name="T71" fmla="*/ 59 h 71"/>
                    <a:gd name="T72" fmla="*/ 76 w 86"/>
                    <a:gd name="T73" fmla="*/ 59 h 71"/>
                    <a:gd name="T74" fmla="*/ 82 w 86"/>
                    <a:gd name="T75" fmla="*/ 50 h 71"/>
                    <a:gd name="T76" fmla="*/ 83 w 86"/>
                    <a:gd name="T77" fmla="*/ 50 h 71"/>
                    <a:gd name="T78" fmla="*/ 83 w 86"/>
                    <a:gd name="T79" fmla="*/ 50 h 71"/>
                    <a:gd name="T80" fmla="*/ 86 w 86"/>
                    <a:gd name="T81" fmla="*/ 35 h 71"/>
                    <a:gd name="T82" fmla="*/ 83 w 86"/>
                    <a:gd name="T83" fmla="*/ 21 h 71"/>
                    <a:gd name="T84" fmla="*/ 82 w 86"/>
                    <a:gd name="T85" fmla="*/ 21 h 71"/>
                    <a:gd name="T86" fmla="*/ 82 w 86"/>
                    <a:gd name="T87" fmla="*/ 21 h 71"/>
                    <a:gd name="T88" fmla="*/ 62 w 86"/>
                    <a:gd name="T89" fmla="*/ 2 h 71"/>
                    <a:gd name="T90" fmla="*/ 62 w 86"/>
                    <a:gd name="T91" fmla="*/ 2 h 71"/>
                    <a:gd name="T92" fmla="*/ 62 w 86"/>
                    <a:gd name="T93" fmla="*/ 2 h 71"/>
                    <a:gd name="T94" fmla="*/ 54 w 86"/>
                    <a:gd name="T95" fmla="*/ 0 h 71"/>
                    <a:gd name="T96" fmla="*/ 50 w 86"/>
                    <a:gd name="T9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71">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0"/>
                        <a:pt x="60" y="70"/>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59"/>
                      </a:cubicBezTo>
                      <a:cubicBezTo>
                        <a:pt x="76" y="59"/>
                        <a:pt x="76" y="59"/>
                        <a:pt x="76" y="59"/>
                      </a:cubicBezTo>
                      <a:cubicBezTo>
                        <a:pt x="76" y="59"/>
                        <a:pt x="76" y="59"/>
                        <a:pt x="76" y="59"/>
                      </a:cubicBezTo>
                      <a:cubicBezTo>
                        <a:pt x="79" y="57"/>
                        <a:pt x="81" y="53"/>
                        <a:pt x="82" y="50"/>
                      </a:cubicBezTo>
                      <a:cubicBezTo>
                        <a:pt x="82" y="50"/>
                        <a:pt x="82" y="50"/>
                        <a:pt x="83" y="50"/>
                      </a:cubicBezTo>
                      <a:cubicBezTo>
                        <a:pt x="83" y="50"/>
                        <a:pt x="83" y="50"/>
                        <a:pt x="83" y="50"/>
                      </a:cubicBezTo>
                      <a:cubicBezTo>
                        <a:pt x="85" y="45"/>
                        <a:pt x="86" y="40"/>
                        <a:pt x="86" y="35"/>
                      </a:cubicBezTo>
                      <a:cubicBezTo>
                        <a:pt x="86" y="30"/>
                        <a:pt x="85" y="25"/>
                        <a:pt x="83" y="21"/>
                      </a:cubicBezTo>
                      <a:cubicBezTo>
                        <a:pt x="83" y="21"/>
                        <a:pt x="83" y="21"/>
                        <a:pt x="82" y="21"/>
                      </a:cubicBezTo>
                      <a:cubicBezTo>
                        <a:pt x="82" y="21"/>
                        <a:pt x="82" y="21"/>
                        <a:pt x="82" y="21"/>
                      </a:cubicBezTo>
                      <a:cubicBezTo>
                        <a:pt x="79" y="12"/>
                        <a:pt x="71" y="5"/>
                        <a:pt x="62" y="2"/>
                      </a:cubicBezTo>
                      <a:cubicBezTo>
                        <a:pt x="62" y="2"/>
                        <a:pt x="62" y="2"/>
                        <a:pt x="62" y="2"/>
                      </a:cubicBezTo>
                      <a:cubicBezTo>
                        <a:pt x="62" y="2"/>
                        <a:pt x="62" y="2"/>
                        <a:pt x="62" y="2"/>
                      </a:cubicBezTo>
                      <a:cubicBezTo>
                        <a:pt x="59" y="1"/>
                        <a:pt x="57" y="0"/>
                        <a:pt x="54" y="0"/>
                      </a:cubicBezTo>
                      <a:cubicBezTo>
                        <a:pt x="53" y="0"/>
                        <a:pt x="52" y="0"/>
                        <a:pt x="50" y="0"/>
                      </a:cubicBezTo>
                    </a:path>
                  </a:pathLst>
                </a:custGeom>
                <a:solidFill>
                  <a:srgbClr val="0066C5"/>
                </a:solidFill>
                <a:ln>
                  <a:solidFill>
                    <a:srgbClr val="0066C5"/>
                  </a:solid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grpSp>
        </p:grpSp>
        <p:grpSp>
          <p:nvGrpSpPr>
            <p:cNvPr id="105" name="Group 104">
              <a:extLst>
                <a:ext uri="{FF2B5EF4-FFF2-40B4-BE49-F238E27FC236}">
                  <a16:creationId xmlns:a16="http://schemas.microsoft.com/office/drawing/2014/main" id="{4998FC57-47E9-4589-87E4-02ABE81D48A3}"/>
                </a:ext>
              </a:extLst>
            </p:cNvPr>
            <p:cNvGrpSpPr>
              <a:grpSpLocks noChangeAspect="1"/>
            </p:cNvGrpSpPr>
            <p:nvPr/>
          </p:nvGrpSpPr>
          <p:grpSpPr>
            <a:xfrm>
              <a:off x="5538057" y="2007862"/>
              <a:ext cx="852567" cy="321412"/>
              <a:chOff x="7262657" y="1468438"/>
              <a:chExt cx="1313812" cy="495300"/>
            </a:xfrm>
          </p:grpSpPr>
          <p:sp>
            <p:nvSpPr>
              <p:cNvPr id="121" name="Freeform 79">
                <a:extLst>
                  <a:ext uri="{FF2B5EF4-FFF2-40B4-BE49-F238E27FC236}">
                    <a16:creationId xmlns:a16="http://schemas.microsoft.com/office/drawing/2014/main" id="{718366ED-B41D-428A-B72F-3FDF410F52FC}"/>
                  </a:ext>
                </a:extLst>
              </p:cNvPr>
              <p:cNvSpPr>
                <a:spLocks noEditPoints="1"/>
              </p:cNvSpPr>
              <p:nvPr/>
            </p:nvSpPr>
            <p:spPr bwMode="auto">
              <a:xfrm>
                <a:off x="7262657" y="1654176"/>
                <a:ext cx="1311431" cy="123825"/>
              </a:xfrm>
              <a:custGeom>
                <a:avLst/>
                <a:gdLst>
                  <a:gd name="T0" fmla="*/ 1402 w 1412"/>
                  <a:gd name="T1" fmla="*/ 60 h 71"/>
                  <a:gd name="T2" fmla="*/ 1401 w 1412"/>
                  <a:gd name="T3" fmla="*/ 60 h 71"/>
                  <a:gd name="T4" fmla="*/ 1401 w 1412"/>
                  <a:gd name="T5" fmla="*/ 60 h 71"/>
                  <a:gd name="T6" fmla="*/ 1402 w 1412"/>
                  <a:gd name="T7" fmla="*/ 60 h 71"/>
                  <a:gd name="T8" fmla="*/ 1402 w 1412"/>
                  <a:gd name="T9" fmla="*/ 60 h 71"/>
                  <a:gd name="T10" fmla="*/ 1402 w 1412"/>
                  <a:gd name="T11" fmla="*/ 60 h 71"/>
                  <a:gd name="T12" fmla="*/ 1402 w 1412"/>
                  <a:gd name="T13" fmla="*/ 60 h 71"/>
                  <a:gd name="T14" fmla="*/ 1402 w 1412"/>
                  <a:gd name="T15" fmla="*/ 60 h 71"/>
                  <a:gd name="T16" fmla="*/ 1402 w 1412"/>
                  <a:gd name="T17" fmla="*/ 60 h 71"/>
                  <a:gd name="T18" fmla="*/ 1402 w 1412"/>
                  <a:gd name="T19" fmla="*/ 60 h 71"/>
                  <a:gd name="T20" fmla="*/ 1402 w 1412"/>
                  <a:gd name="T21" fmla="*/ 60 h 71"/>
                  <a:gd name="T22" fmla="*/ 1402 w 1412"/>
                  <a:gd name="T23" fmla="*/ 60 h 71"/>
                  <a:gd name="T24" fmla="*/ 1402 w 1412"/>
                  <a:gd name="T25" fmla="*/ 60 h 71"/>
                  <a:gd name="T26" fmla="*/ 1409 w 1412"/>
                  <a:gd name="T27" fmla="*/ 50 h 71"/>
                  <a:gd name="T28" fmla="*/ 1409 w 1412"/>
                  <a:gd name="T29" fmla="*/ 50 h 71"/>
                  <a:gd name="T30" fmla="*/ 1409 w 1412"/>
                  <a:gd name="T31" fmla="*/ 50 h 71"/>
                  <a:gd name="T32" fmla="*/ 1409 w 1412"/>
                  <a:gd name="T33" fmla="*/ 49 h 71"/>
                  <a:gd name="T34" fmla="*/ 1409 w 1412"/>
                  <a:gd name="T35" fmla="*/ 49 h 71"/>
                  <a:gd name="T36" fmla="*/ 1409 w 1412"/>
                  <a:gd name="T37" fmla="*/ 49 h 71"/>
                  <a:gd name="T38" fmla="*/ 1409 w 1412"/>
                  <a:gd name="T39" fmla="*/ 21 h 71"/>
                  <a:gd name="T40" fmla="*/ 1412 w 1412"/>
                  <a:gd name="T41" fmla="*/ 35 h 71"/>
                  <a:gd name="T42" fmla="*/ 1409 w 1412"/>
                  <a:gd name="T43" fmla="*/ 49 h 71"/>
                  <a:gd name="T44" fmla="*/ 1412 w 1412"/>
                  <a:gd name="T45" fmla="*/ 35 h 71"/>
                  <a:gd name="T46" fmla="*/ 1409 w 1412"/>
                  <a:gd name="T47" fmla="*/ 21 h 71"/>
                  <a:gd name="T48" fmla="*/ 1409 w 1412"/>
                  <a:gd name="T49" fmla="*/ 21 h 71"/>
                  <a:gd name="T50" fmla="*/ 1409 w 1412"/>
                  <a:gd name="T51" fmla="*/ 21 h 71"/>
                  <a:gd name="T52" fmla="*/ 1409 w 1412"/>
                  <a:gd name="T53" fmla="*/ 21 h 71"/>
                  <a:gd name="T54" fmla="*/ 1291 w 1412"/>
                  <a:gd name="T55" fmla="*/ 0 h 71"/>
                  <a:gd name="T56" fmla="*/ 35 w 1412"/>
                  <a:gd name="T57" fmla="*/ 0 h 71"/>
                  <a:gd name="T58" fmla="*/ 0 w 1412"/>
                  <a:gd name="T59" fmla="*/ 35 h 71"/>
                  <a:gd name="T60" fmla="*/ 35 w 1412"/>
                  <a:gd name="T61" fmla="*/ 71 h 71"/>
                  <a:gd name="T62" fmla="*/ 1291 w 1412"/>
                  <a:gd name="T63" fmla="*/ 71 h 71"/>
                  <a:gd name="T64" fmla="*/ 1326 w 1412"/>
                  <a:gd name="T65" fmla="*/ 35 h 71"/>
                  <a:gd name="T66" fmla="*/ 1291 w 1412"/>
                  <a:gd name="T6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2" h="71">
                    <a:moveTo>
                      <a:pt x="1402" y="60"/>
                    </a:moveTo>
                    <a:cubicBezTo>
                      <a:pt x="1401" y="60"/>
                      <a:pt x="1401" y="60"/>
                      <a:pt x="1401" y="60"/>
                    </a:cubicBezTo>
                    <a:cubicBezTo>
                      <a:pt x="1401" y="60"/>
                      <a:pt x="1401" y="60"/>
                      <a:pt x="1401" y="60"/>
                    </a:cubicBezTo>
                    <a:cubicBezTo>
                      <a:pt x="1401" y="60"/>
                      <a:pt x="1401"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9" y="50"/>
                    </a:moveTo>
                    <a:cubicBezTo>
                      <a:pt x="1409" y="50"/>
                      <a:pt x="1409" y="50"/>
                      <a:pt x="1409" y="50"/>
                    </a:cubicBezTo>
                    <a:cubicBezTo>
                      <a:pt x="1409" y="50"/>
                      <a:pt x="1409" y="50"/>
                      <a:pt x="1409" y="50"/>
                    </a:cubicBezTo>
                    <a:moveTo>
                      <a:pt x="1409" y="49"/>
                    </a:moveTo>
                    <a:cubicBezTo>
                      <a:pt x="1409" y="49"/>
                      <a:pt x="1409" y="49"/>
                      <a:pt x="1409" y="49"/>
                    </a:cubicBezTo>
                    <a:cubicBezTo>
                      <a:pt x="1409" y="49"/>
                      <a:pt x="1409" y="49"/>
                      <a:pt x="1409" y="49"/>
                    </a:cubicBezTo>
                    <a:moveTo>
                      <a:pt x="1409" y="21"/>
                    </a:moveTo>
                    <a:cubicBezTo>
                      <a:pt x="1411" y="25"/>
                      <a:pt x="1412" y="30"/>
                      <a:pt x="1412" y="35"/>
                    </a:cubicBezTo>
                    <a:cubicBezTo>
                      <a:pt x="1412" y="40"/>
                      <a:pt x="1411" y="45"/>
                      <a:pt x="1409" y="49"/>
                    </a:cubicBezTo>
                    <a:cubicBezTo>
                      <a:pt x="1411" y="45"/>
                      <a:pt x="1412" y="40"/>
                      <a:pt x="1412" y="35"/>
                    </a:cubicBezTo>
                    <a:cubicBezTo>
                      <a:pt x="1412" y="30"/>
                      <a:pt x="1411" y="25"/>
                      <a:pt x="1409" y="21"/>
                    </a:cubicBezTo>
                    <a:moveTo>
                      <a:pt x="1409" y="21"/>
                    </a:moveTo>
                    <a:cubicBezTo>
                      <a:pt x="1409" y="21"/>
                      <a:pt x="1409" y="21"/>
                      <a:pt x="1409" y="21"/>
                    </a:cubicBezTo>
                    <a:cubicBezTo>
                      <a:pt x="1409" y="21"/>
                      <a:pt x="1409" y="21"/>
                      <a:pt x="1409" y="21"/>
                    </a:cubicBezTo>
                    <a:moveTo>
                      <a:pt x="1291" y="0"/>
                    </a:moveTo>
                    <a:cubicBezTo>
                      <a:pt x="35" y="0"/>
                      <a:pt x="35" y="0"/>
                      <a:pt x="35" y="0"/>
                    </a:cubicBezTo>
                    <a:cubicBezTo>
                      <a:pt x="15" y="0"/>
                      <a:pt x="0" y="16"/>
                      <a:pt x="0" y="35"/>
                    </a:cubicBezTo>
                    <a:cubicBezTo>
                      <a:pt x="0" y="55"/>
                      <a:pt x="15" y="71"/>
                      <a:pt x="35" y="71"/>
                    </a:cubicBezTo>
                    <a:cubicBezTo>
                      <a:pt x="1291" y="71"/>
                      <a:pt x="1291" y="71"/>
                      <a:pt x="1291" y="71"/>
                    </a:cubicBezTo>
                    <a:cubicBezTo>
                      <a:pt x="1326" y="35"/>
                      <a:pt x="1326" y="35"/>
                      <a:pt x="1326" y="35"/>
                    </a:cubicBezTo>
                    <a:cubicBezTo>
                      <a:pt x="1291" y="0"/>
                      <a:pt x="1291" y="0"/>
                      <a:pt x="1291" y="0"/>
                    </a:cubicBezTo>
                  </a:path>
                </a:pathLst>
              </a:custGeom>
              <a:gradFill flip="none" rotWithShape="1">
                <a:gsLst>
                  <a:gs pos="31000">
                    <a:schemeClr val="bg2">
                      <a:alpha val="0"/>
                    </a:schemeClr>
                  </a:gs>
                  <a:gs pos="100000">
                    <a:schemeClr val="accent1"/>
                  </a:gs>
                </a:gsLst>
                <a:lin ang="0" scaled="1"/>
                <a:tileRect/>
              </a:gradFill>
              <a:ln>
                <a:no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22" name="Freeform 80">
                <a:extLst>
                  <a:ext uri="{FF2B5EF4-FFF2-40B4-BE49-F238E27FC236}">
                    <a16:creationId xmlns:a16="http://schemas.microsoft.com/office/drawing/2014/main" id="{E9E23ACF-88D3-47D3-B425-5A2986F714C7}"/>
                  </a:ext>
                </a:extLst>
              </p:cNvPr>
              <p:cNvSpPr>
                <a:spLocks noEditPoints="1"/>
              </p:cNvSpPr>
              <p:nvPr/>
            </p:nvSpPr>
            <p:spPr bwMode="auto">
              <a:xfrm>
                <a:off x="8259763" y="1468438"/>
                <a:ext cx="309563" cy="290512"/>
              </a:xfrm>
              <a:custGeom>
                <a:avLst/>
                <a:gdLst>
                  <a:gd name="T0" fmla="*/ 170 w 177"/>
                  <a:gd name="T1" fmla="*/ 166 h 166"/>
                  <a:gd name="T2" fmla="*/ 170 w 177"/>
                  <a:gd name="T3" fmla="*/ 166 h 166"/>
                  <a:gd name="T4" fmla="*/ 170 w 177"/>
                  <a:gd name="T5" fmla="*/ 166 h 166"/>
                  <a:gd name="T6" fmla="*/ 170 w 177"/>
                  <a:gd name="T7" fmla="*/ 166 h 166"/>
                  <a:gd name="T8" fmla="*/ 170 w 177"/>
                  <a:gd name="T9" fmla="*/ 166 h 166"/>
                  <a:gd name="T10" fmla="*/ 170 w 177"/>
                  <a:gd name="T11" fmla="*/ 166 h 166"/>
                  <a:gd name="T12" fmla="*/ 170 w 177"/>
                  <a:gd name="T13" fmla="*/ 166 h 166"/>
                  <a:gd name="T14" fmla="*/ 170 w 177"/>
                  <a:gd name="T15" fmla="*/ 166 h 166"/>
                  <a:gd name="T16" fmla="*/ 170 w 177"/>
                  <a:gd name="T17" fmla="*/ 166 h 166"/>
                  <a:gd name="T18" fmla="*/ 170 w 177"/>
                  <a:gd name="T19" fmla="*/ 166 h 166"/>
                  <a:gd name="T20" fmla="*/ 170 w 177"/>
                  <a:gd name="T21" fmla="*/ 166 h 166"/>
                  <a:gd name="T22" fmla="*/ 170 w 177"/>
                  <a:gd name="T23" fmla="*/ 166 h 166"/>
                  <a:gd name="T24" fmla="*/ 170 w 177"/>
                  <a:gd name="T25" fmla="*/ 166 h 166"/>
                  <a:gd name="T26" fmla="*/ 170 w 177"/>
                  <a:gd name="T27" fmla="*/ 166 h 166"/>
                  <a:gd name="T28" fmla="*/ 170 w 177"/>
                  <a:gd name="T29" fmla="*/ 166 h 166"/>
                  <a:gd name="T30" fmla="*/ 177 w 177"/>
                  <a:gd name="T31" fmla="*/ 156 h 166"/>
                  <a:gd name="T32" fmla="*/ 177 w 177"/>
                  <a:gd name="T33" fmla="*/ 156 h 166"/>
                  <a:gd name="T34" fmla="*/ 177 w 177"/>
                  <a:gd name="T35" fmla="*/ 156 h 166"/>
                  <a:gd name="T36" fmla="*/ 176 w 177"/>
                  <a:gd name="T37" fmla="*/ 156 h 166"/>
                  <a:gd name="T38" fmla="*/ 170 w 177"/>
                  <a:gd name="T39" fmla="*/ 165 h 166"/>
                  <a:gd name="T40" fmla="*/ 170 w 177"/>
                  <a:gd name="T41" fmla="*/ 165 h 166"/>
                  <a:gd name="T42" fmla="*/ 170 w 177"/>
                  <a:gd name="T43" fmla="*/ 165 h 166"/>
                  <a:gd name="T44" fmla="*/ 170 w 177"/>
                  <a:gd name="T45" fmla="*/ 166 h 166"/>
                  <a:gd name="T46" fmla="*/ 170 w 177"/>
                  <a:gd name="T47" fmla="*/ 166 h 166"/>
                  <a:gd name="T48" fmla="*/ 170 w 177"/>
                  <a:gd name="T49" fmla="*/ 166 h 166"/>
                  <a:gd name="T50" fmla="*/ 177 w 177"/>
                  <a:gd name="T51" fmla="*/ 156 h 166"/>
                  <a:gd name="T52" fmla="*/ 177 w 177"/>
                  <a:gd name="T53" fmla="*/ 155 h 166"/>
                  <a:gd name="T54" fmla="*/ 177 w 177"/>
                  <a:gd name="T55" fmla="*/ 156 h 166"/>
                  <a:gd name="T56" fmla="*/ 177 w 177"/>
                  <a:gd name="T57" fmla="*/ 155 h 166"/>
                  <a:gd name="T58" fmla="*/ 177 w 177"/>
                  <a:gd name="T59" fmla="*/ 155 h 166"/>
                  <a:gd name="T60" fmla="*/ 177 w 177"/>
                  <a:gd name="T61" fmla="*/ 155 h 166"/>
                  <a:gd name="T62" fmla="*/ 177 w 177"/>
                  <a:gd name="T63" fmla="*/ 155 h 166"/>
                  <a:gd name="T64" fmla="*/ 38 w 177"/>
                  <a:gd name="T65" fmla="*/ 0 h 166"/>
                  <a:gd name="T66" fmla="*/ 13 w 177"/>
                  <a:gd name="T67" fmla="*/ 10 h 166"/>
                  <a:gd name="T68" fmla="*/ 13 w 177"/>
                  <a:gd name="T69" fmla="*/ 60 h 166"/>
                  <a:gd name="T70" fmla="*/ 59 w 177"/>
                  <a:gd name="T71" fmla="*/ 106 h 166"/>
                  <a:gd name="T72" fmla="*/ 144 w 177"/>
                  <a:gd name="T73" fmla="*/ 106 h 166"/>
                  <a:gd name="T74" fmla="*/ 144 w 177"/>
                  <a:gd name="T75" fmla="*/ 106 h 166"/>
                  <a:gd name="T76" fmla="*/ 148 w 177"/>
                  <a:gd name="T77" fmla="*/ 106 h 166"/>
                  <a:gd name="T78" fmla="*/ 156 w 177"/>
                  <a:gd name="T79" fmla="*/ 108 h 166"/>
                  <a:gd name="T80" fmla="*/ 156 w 177"/>
                  <a:gd name="T81" fmla="*/ 108 h 166"/>
                  <a:gd name="T82" fmla="*/ 156 w 177"/>
                  <a:gd name="T83" fmla="*/ 108 h 166"/>
                  <a:gd name="T84" fmla="*/ 169 w 177"/>
                  <a:gd name="T85" fmla="*/ 116 h 166"/>
                  <a:gd name="T86" fmla="*/ 63 w 177"/>
                  <a:gd name="T87" fmla="*/ 10 h 166"/>
                  <a:gd name="T88" fmla="*/ 38 w 177"/>
                  <a:gd name="T8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166">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7" y="156"/>
                    </a:moveTo>
                    <a:cubicBezTo>
                      <a:pt x="177" y="156"/>
                      <a:pt x="177" y="156"/>
                      <a:pt x="177" y="156"/>
                    </a:cubicBezTo>
                    <a:cubicBezTo>
                      <a:pt x="177" y="156"/>
                      <a:pt x="177" y="156"/>
                      <a:pt x="177" y="156"/>
                    </a:cubicBezTo>
                    <a:cubicBezTo>
                      <a:pt x="176" y="156"/>
                      <a:pt x="176" y="156"/>
                      <a:pt x="176" y="156"/>
                    </a:cubicBezTo>
                    <a:cubicBezTo>
                      <a:pt x="175" y="159"/>
                      <a:pt x="173" y="163"/>
                      <a:pt x="170" y="165"/>
                    </a:cubicBezTo>
                    <a:cubicBezTo>
                      <a:pt x="170" y="165"/>
                      <a:pt x="170" y="165"/>
                      <a:pt x="170" y="165"/>
                    </a:cubicBezTo>
                    <a:cubicBezTo>
                      <a:pt x="170" y="165"/>
                      <a:pt x="170" y="165"/>
                      <a:pt x="170" y="165"/>
                    </a:cubicBezTo>
                    <a:cubicBezTo>
                      <a:pt x="170" y="166"/>
                      <a:pt x="170" y="166"/>
                      <a:pt x="170" y="166"/>
                    </a:cubicBezTo>
                    <a:cubicBezTo>
                      <a:pt x="170" y="166"/>
                      <a:pt x="170" y="166"/>
                      <a:pt x="170" y="166"/>
                    </a:cubicBezTo>
                    <a:cubicBezTo>
                      <a:pt x="170" y="166"/>
                      <a:pt x="170" y="166"/>
                      <a:pt x="170" y="166"/>
                    </a:cubicBezTo>
                    <a:cubicBezTo>
                      <a:pt x="173" y="163"/>
                      <a:pt x="175" y="159"/>
                      <a:pt x="177" y="156"/>
                    </a:cubicBezTo>
                    <a:moveTo>
                      <a:pt x="177" y="155"/>
                    </a:moveTo>
                    <a:cubicBezTo>
                      <a:pt x="177" y="156"/>
                      <a:pt x="177" y="156"/>
                      <a:pt x="177" y="156"/>
                    </a:cubicBezTo>
                    <a:cubicBezTo>
                      <a:pt x="177" y="156"/>
                      <a:pt x="177" y="156"/>
                      <a:pt x="177" y="155"/>
                    </a:cubicBezTo>
                    <a:moveTo>
                      <a:pt x="177" y="155"/>
                    </a:moveTo>
                    <a:cubicBezTo>
                      <a:pt x="177" y="155"/>
                      <a:pt x="177" y="155"/>
                      <a:pt x="177" y="155"/>
                    </a:cubicBezTo>
                    <a:cubicBezTo>
                      <a:pt x="177" y="155"/>
                      <a:pt x="177" y="155"/>
                      <a:pt x="177" y="155"/>
                    </a:cubicBezTo>
                    <a:moveTo>
                      <a:pt x="38" y="0"/>
                    </a:moveTo>
                    <a:cubicBezTo>
                      <a:pt x="29" y="0"/>
                      <a:pt x="20" y="4"/>
                      <a:pt x="13" y="10"/>
                    </a:cubicBezTo>
                    <a:cubicBezTo>
                      <a:pt x="0" y="24"/>
                      <a:pt x="0" y="47"/>
                      <a:pt x="13" y="60"/>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6"/>
                      <a:pt x="154" y="107"/>
                      <a:pt x="156" y="108"/>
                    </a:cubicBezTo>
                    <a:cubicBezTo>
                      <a:pt x="156" y="108"/>
                      <a:pt x="156" y="108"/>
                      <a:pt x="156" y="108"/>
                    </a:cubicBezTo>
                    <a:cubicBezTo>
                      <a:pt x="156" y="108"/>
                      <a:pt x="156" y="108"/>
                      <a:pt x="156" y="108"/>
                    </a:cubicBezTo>
                    <a:cubicBezTo>
                      <a:pt x="161" y="110"/>
                      <a:pt x="166" y="113"/>
                      <a:pt x="169" y="116"/>
                    </a:cubicBezTo>
                    <a:cubicBezTo>
                      <a:pt x="63" y="10"/>
                      <a:pt x="63" y="10"/>
                      <a:pt x="63" y="10"/>
                    </a:cubicBezTo>
                    <a:cubicBezTo>
                      <a:pt x="57" y="4"/>
                      <a:pt x="48" y="0"/>
                      <a:pt x="38"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23" name="Freeform 81">
                <a:extLst>
                  <a:ext uri="{FF2B5EF4-FFF2-40B4-BE49-F238E27FC236}">
                    <a16:creationId xmlns:a16="http://schemas.microsoft.com/office/drawing/2014/main" id="{05F6773B-819C-4954-A0E7-41D6F82C4643}"/>
                  </a:ext>
                </a:extLst>
              </p:cNvPr>
              <p:cNvSpPr>
                <a:spLocks noEditPoints="1"/>
              </p:cNvSpPr>
              <p:nvPr/>
            </p:nvSpPr>
            <p:spPr bwMode="auto">
              <a:xfrm>
                <a:off x="8362950" y="1654176"/>
                <a:ext cx="211138" cy="104775"/>
              </a:xfrm>
              <a:custGeom>
                <a:avLst/>
                <a:gdLst>
                  <a:gd name="T0" fmla="*/ 111 w 121"/>
                  <a:gd name="T1" fmla="*/ 60 h 60"/>
                  <a:gd name="T2" fmla="*/ 110 w 121"/>
                  <a:gd name="T3" fmla="*/ 60 h 60"/>
                  <a:gd name="T4" fmla="*/ 110 w 121"/>
                  <a:gd name="T5" fmla="*/ 60 h 60"/>
                  <a:gd name="T6" fmla="*/ 110 w 121"/>
                  <a:gd name="T7" fmla="*/ 60 h 60"/>
                  <a:gd name="T8" fmla="*/ 111 w 121"/>
                  <a:gd name="T9" fmla="*/ 60 h 60"/>
                  <a:gd name="T10" fmla="*/ 111 w 121"/>
                  <a:gd name="T11" fmla="*/ 60 h 60"/>
                  <a:gd name="T12" fmla="*/ 111 w 121"/>
                  <a:gd name="T13" fmla="*/ 60 h 60"/>
                  <a:gd name="T14" fmla="*/ 111 w 121"/>
                  <a:gd name="T15" fmla="*/ 60 h 60"/>
                  <a:gd name="T16" fmla="*/ 111 w 121"/>
                  <a:gd name="T17" fmla="*/ 60 h 60"/>
                  <a:gd name="T18" fmla="*/ 111 w 121"/>
                  <a:gd name="T19" fmla="*/ 60 h 60"/>
                  <a:gd name="T20" fmla="*/ 111 w 121"/>
                  <a:gd name="T21" fmla="*/ 60 h 60"/>
                  <a:gd name="T22" fmla="*/ 111 w 121"/>
                  <a:gd name="T23" fmla="*/ 60 h 60"/>
                  <a:gd name="T24" fmla="*/ 111 w 121"/>
                  <a:gd name="T25" fmla="*/ 60 h 60"/>
                  <a:gd name="T26" fmla="*/ 111 w 121"/>
                  <a:gd name="T27" fmla="*/ 60 h 60"/>
                  <a:gd name="T28" fmla="*/ 111 w 121"/>
                  <a:gd name="T29" fmla="*/ 60 h 60"/>
                  <a:gd name="T30" fmla="*/ 111 w 121"/>
                  <a:gd name="T31" fmla="*/ 60 h 60"/>
                  <a:gd name="T32" fmla="*/ 111 w 121"/>
                  <a:gd name="T33" fmla="*/ 60 h 60"/>
                  <a:gd name="T34" fmla="*/ 111 w 121"/>
                  <a:gd name="T35" fmla="*/ 60 h 60"/>
                  <a:gd name="T36" fmla="*/ 111 w 121"/>
                  <a:gd name="T37" fmla="*/ 60 h 60"/>
                  <a:gd name="T38" fmla="*/ 111 w 121"/>
                  <a:gd name="T39" fmla="*/ 60 h 60"/>
                  <a:gd name="T40" fmla="*/ 111 w 121"/>
                  <a:gd name="T41" fmla="*/ 60 h 60"/>
                  <a:gd name="T42" fmla="*/ 111 w 121"/>
                  <a:gd name="T43" fmla="*/ 59 h 60"/>
                  <a:gd name="T44" fmla="*/ 111 w 121"/>
                  <a:gd name="T45" fmla="*/ 60 h 60"/>
                  <a:gd name="T46" fmla="*/ 111 w 121"/>
                  <a:gd name="T47" fmla="*/ 59 h 60"/>
                  <a:gd name="T48" fmla="*/ 111 w 121"/>
                  <a:gd name="T49" fmla="*/ 59 h 60"/>
                  <a:gd name="T50" fmla="*/ 111 w 121"/>
                  <a:gd name="T51" fmla="*/ 59 h 60"/>
                  <a:gd name="T52" fmla="*/ 111 w 121"/>
                  <a:gd name="T53" fmla="*/ 59 h 60"/>
                  <a:gd name="T54" fmla="*/ 118 w 121"/>
                  <a:gd name="T55" fmla="*/ 50 h 60"/>
                  <a:gd name="T56" fmla="*/ 117 w 121"/>
                  <a:gd name="T57" fmla="*/ 50 h 60"/>
                  <a:gd name="T58" fmla="*/ 118 w 121"/>
                  <a:gd name="T59" fmla="*/ 50 h 60"/>
                  <a:gd name="T60" fmla="*/ 121 w 121"/>
                  <a:gd name="T61" fmla="*/ 35 h 60"/>
                  <a:gd name="T62" fmla="*/ 118 w 121"/>
                  <a:gd name="T63" fmla="*/ 50 h 60"/>
                  <a:gd name="T64" fmla="*/ 118 w 121"/>
                  <a:gd name="T65" fmla="*/ 50 h 60"/>
                  <a:gd name="T66" fmla="*/ 118 w 121"/>
                  <a:gd name="T67" fmla="*/ 50 h 60"/>
                  <a:gd name="T68" fmla="*/ 118 w 121"/>
                  <a:gd name="T69" fmla="*/ 49 h 60"/>
                  <a:gd name="T70" fmla="*/ 118 w 121"/>
                  <a:gd name="T71" fmla="*/ 49 h 60"/>
                  <a:gd name="T72" fmla="*/ 118 w 121"/>
                  <a:gd name="T73" fmla="*/ 49 h 60"/>
                  <a:gd name="T74" fmla="*/ 121 w 121"/>
                  <a:gd name="T75" fmla="*/ 35 h 60"/>
                  <a:gd name="T76" fmla="*/ 97 w 121"/>
                  <a:gd name="T77" fmla="*/ 2 h 60"/>
                  <a:gd name="T78" fmla="*/ 97 w 121"/>
                  <a:gd name="T79" fmla="*/ 2 h 60"/>
                  <a:gd name="T80" fmla="*/ 97 w 121"/>
                  <a:gd name="T81" fmla="*/ 2 h 60"/>
                  <a:gd name="T82" fmla="*/ 89 w 121"/>
                  <a:gd name="T83" fmla="*/ 0 h 60"/>
                  <a:gd name="T84" fmla="*/ 97 w 121"/>
                  <a:gd name="T85" fmla="*/ 2 h 60"/>
                  <a:gd name="T86" fmla="*/ 89 w 121"/>
                  <a:gd name="T87" fmla="*/ 0 h 60"/>
                  <a:gd name="T88" fmla="*/ 85 w 121"/>
                  <a:gd name="T89" fmla="*/ 0 h 60"/>
                  <a:gd name="T90" fmla="*/ 0 w 121"/>
                  <a:gd name="T91" fmla="*/ 0 h 60"/>
                  <a:gd name="T92" fmla="*/ 35 w 121"/>
                  <a:gd name="T93" fmla="*/ 35 h 60"/>
                  <a:gd name="T94" fmla="*/ 60 w 121"/>
                  <a:gd name="T95" fmla="*/ 10 h 60"/>
                  <a:gd name="T96" fmla="*/ 85 w 121"/>
                  <a:gd name="T9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1" h="60">
                    <a:moveTo>
                      <a:pt x="111" y="60"/>
                    </a:moveTo>
                    <a:cubicBezTo>
                      <a:pt x="110" y="60"/>
                      <a:pt x="110" y="60"/>
                      <a:pt x="110" y="60"/>
                    </a:cubicBezTo>
                    <a:cubicBezTo>
                      <a:pt x="110" y="60"/>
                      <a:pt x="110" y="60"/>
                      <a:pt x="110" y="60"/>
                    </a:cubicBezTo>
                    <a:cubicBezTo>
                      <a:pt x="110" y="60"/>
                      <a:pt x="110" y="60"/>
                      <a:pt x="110" y="60"/>
                    </a:cubicBezTo>
                    <a:cubicBezTo>
                      <a:pt x="110" y="60"/>
                      <a:pt x="110"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59"/>
                    </a:moveTo>
                    <a:cubicBezTo>
                      <a:pt x="111" y="60"/>
                      <a:pt x="111" y="60"/>
                      <a:pt x="111" y="60"/>
                    </a:cubicBezTo>
                    <a:cubicBezTo>
                      <a:pt x="111" y="60"/>
                      <a:pt x="111" y="60"/>
                      <a:pt x="111" y="59"/>
                    </a:cubicBezTo>
                    <a:moveTo>
                      <a:pt x="111" y="59"/>
                    </a:moveTo>
                    <a:cubicBezTo>
                      <a:pt x="111" y="59"/>
                      <a:pt x="111" y="59"/>
                      <a:pt x="111" y="59"/>
                    </a:cubicBezTo>
                    <a:cubicBezTo>
                      <a:pt x="111" y="59"/>
                      <a:pt x="111" y="59"/>
                      <a:pt x="111" y="59"/>
                    </a:cubicBezTo>
                    <a:moveTo>
                      <a:pt x="118" y="50"/>
                    </a:moveTo>
                    <a:cubicBezTo>
                      <a:pt x="117" y="50"/>
                      <a:pt x="117" y="50"/>
                      <a:pt x="117" y="50"/>
                    </a:cubicBezTo>
                    <a:cubicBezTo>
                      <a:pt x="117" y="50"/>
                      <a:pt x="117" y="50"/>
                      <a:pt x="118" y="50"/>
                    </a:cubicBezTo>
                    <a:moveTo>
                      <a:pt x="121" y="35"/>
                    </a:moveTo>
                    <a:cubicBezTo>
                      <a:pt x="121" y="40"/>
                      <a:pt x="120" y="45"/>
                      <a:pt x="118" y="50"/>
                    </a:cubicBezTo>
                    <a:cubicBezTo>
                      <a:pt x="118" y="50"/>
                      <a:pt x="118" y="50"/>
                      <a:pt x="118" y="50"/>
                    </a:cubicBezTo>
                    <a:cubicBezTo>
                      <a:pt x="118" y="50"/>
                      <a:pt x="118" y="50"/>
                      <a:pt x="118" y="50"/>
                    </a:cubicBezTo>
                    <a:cubicBezTo>
                      <a:pt x="118" y="50"/>
                      <a:pt x="118" y="50"/>
                      <a:pt x="118" y="49"/>
                    </a:cubicBezTo>
                    <a:cubicBezTo>
                      <a:pt x="118" y="49"/>
                      <a:pt x="118" y="49"/>
                      <a:pt x="118" y="49"/>
                    </a:cubicBezTo>
                    <a:cubicBezTo>
                      <a:pt x="118" y="49"/>
                      <a:pt x="118" y="49"/>
                      <a:pt x="118" y="49"/>
                    </a:cubicBezTo>
                    <a:cubicBezTo>
                      <a:pt x="120" y="45"/>
                      <a:pt x="121" y="40"/>
                      <a:pt x="121" y="35"/>
                    </a:cubicBezTo>
                    <a:moveTo>
                      <a:pt x="97" y="2"/>
                    </a:moveTo>
                    <a:cubicBezTo>
                      <a:pt x="97" y="2"/>
                      <a:pt x="97" y="2"/>
                      <a:pt x="97" y="2"/>
                    </a:cubicBezTo>
                    <a:cubicBezTo>
                      <a:pt x="97" y="2"/>
                      <a:pt x="97" y="2"/>
                      <a:pt x="97" y="2"/>
                    </a:cubicBezTo>
                    <a:moveTo>
                      <a:pt x="89" y="0"/>
                    </a:moveTo>
                    <a:cubicBezTo>
                      <a:pt x="92" y="0"/>
                      <a:pt x="94" y="1"/>
                      <a:pt x="97" y="2"/>
                    </a:cubicBezTo>
                    <a:cubicBezTo>
                      <a:pt x="95" y="1"/>
                      <a:pt x="92" y="0"/>
                      <a:pt x="89"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24" name="Freeform 82">
                <a:extLst>
                  <a:ext uri="{FF2B5EF4-FFF2-40B4-BE49-F238E27FC236}">
                    <a16:creationId xmlns:a16="http://schemas.microsoft.com/office/drawing/2014/main" id="{2238721B-64D3-4168-8103-5EF33209B82C}"/>
                  </a:ext>
                </a:extLst>
              </p:cNvPr>
              <p:cNvSpPr>
                <a:spLocks noEditPoints="1"/>
              </p:cNvSpPr>
              <p:nvPr/>
            </p:nvSpPr>
            <p:spPr bwMode="auto">
              <a:xfrm>
                <a:off x="8259763" y="1671638"/>
                <a:ext cx="309563" cy="292100"/>
              </a:xfrm>
              <a:custGeom>
                <a:avLst/>
                <a:gdLst>
                  <a:gd name="T0" fmla="*/ 169 w 177"/>
                  <a:gd name="T1" fmla="*/ 50 h 167"/>
                  <a:gd name="T2" fmla="*/ 169 w 177"/>
                  <a:gd name="T3" fmla="*/ 50 h 167"/>
                  <a:gd name="T4" fmla="*/ 169 w 177"/>
                  <a:gd name="T5" fmla="*/ 50 h 167"/>
                  <a:gd name="T6" fmla="*/ 169 w 177"/>
                  <a:gd name="T7" fmla="*/ 51 h 167"/>
                  <a:gd name="T8" fmla="*/ 169 w 177"/>
                  <a:gd name="T9" fmla="*/ 51 h 167"/>
                  <a:gd name="T10" fmla="*/ 169 w 177"/>
                  <a:gd name="T11" fmla="*/ 51 h 167"/>
                  <a:gd name="T12" fmla="*/ 169 w 177"/>
                  <a:gd name="T13" fmla="*/ 51 h 167"/>
                  <a:gd name="T14" fmla="*/ 169 w 177"/>
                  <a:gd name="T15" fmla="*/ 51 h 167"/>
                  <a:gd name="T16" fmla="*/ 158 w 177"/>
                  <a:gd name="T17" fmla="*/ 58 h 167"/>
                  <a:gd name="T18" fmla="*/ 158 w 177"/>
                  <a:gd name="T19" fmla="*/ 58 h 167"/>
                  <a:gd name="T20" fmla="*/ 157 w 177"/>
                  <a:gd name="T21" fmla="*/ 58 h 167"/>
                  <a:gd name="T22" fmla="*/ 157 w 177"/>
                  <a:gd name="T23" fmla="*/ 58 h 167"/>
                  <a:gd name="T24" fmla="*/ 157 w 177"/>
                  <a:gd name="T25" fmla="*/ 58 h 167"/>
                  <a:gd name="T26" fmla="*/ 147 w 177"/>
                  <a:gd name="T27" fmla="*/ 61 h 167"/>
                  <a:gd name="T28" fmla="*/ 147 w 177"/>
                  <a:gd name="T29" fmla="*/ 61 h 167"/>
                  <a:gd name="T30" fmla="*/ 147 w 177"/>
                  <a:gd name="T31" fmla="*/ 61 h 167"/>
                  <a:gd name="T32" fmla="*/ 146 w 177"/>
                  <a:gd name="T33" fmla="*/ 61 h 167"/>
                  <a:gd name="T34" fmla="*/ 146 w 177"/>
                  <a:gd name="T35" fmla="*/ 61 h 167"/>
                  <a:gd name="T36" fmla="*/ 144 w 177"/>
                  <a:gd name="T37" fmla="*/ 61 h 167"/>
                  <a:gd name="T38" fmla="*/ 144 w 177"/>
                  <a:gd name="T39" fmla="*/ 61 h 167"/>
                  <a:gd name="T40" fmla="*/ 59 w 177"/>
                  <a:gd name="T41" fmla="*/ 61 h 167"/>
                  <a:gd name="T42" fmla="*/ 13 w 177"/>
                  <a:gd name="T43" fmla="*/ 106 h 167"/>
                  <a:gd name="T44" fmla="*/ 13 w 177"/>
                  <a:gd name="T45" fmla="*/ 156 h 167"/>
                  <a:gd name="T46" fmla="*/ 38 w 177"/>
                  <a:gd name="T47" fmla="*/ 167 h 167"/>
                  <a:gd name="T48" fmla="*/ 63 w 177"/>
                  <a:gd name="T49" fmla="*/ 156 h 167"/>
                  <a:gd name="T50" fmla="*/ 169 w 177"/>
                  <a:gd name="T51" fmla="*/ 50 h 167"/>
                  <a:gd name="T52" fmla="*/ 177 w 177"/>
                  <a:gd name="T53" fmla="*/ 11 h 167"/>
                  <a:gd name="T54" fmla="*/ 177 w 177"/>
                  <a:gd name="T55" fmla="*/ 11 h 167"/>
                  <a:gd name="T56" fmla="*/ 177 w 177"/>
                  <a:gd name="T57" fmla="*/ 11 h 167"/>
                  <a:gd name="T58" fmla="*/ 169 w 177"/>
                  <a:gd name="T59" fmla="*/ 0 h 167"/>
                  <a:gd name="T60" fmla="*/ 169 w 177"/>
                  <a:gd name="T61" fmla="*/ 0 h 167"/>
                  <a:gd name="T62" fmla="*/ 176 w 177"/>
                  <a:gd name="T63" fmla="*/ 11 h 167"/>
                  <a:gd name="T64" fmla="*/ 176 w 177"/>
                  <a:gd name="T65" fmla="*/ 11 h 167"/>
                  <a:gd name="T66" fmla="*/ 177 w 177"/>
                  <a:gd name="T67" fmla="*/ 11 h 167"/>
                  <a:gd name="T68" fmla="*/ 177 w 177"/>
                  <a:gd name="T69" fmla="*/ 11 h 167"/>
                  <a:gd name="T70" fmla="*/ 169 w 177"/>
                  <a:gd name="T71" fmla="*/ 0 h 167"/>
                  <a:gd name="T72" fmla="*/ 169 w 177"/>
                  <a:gd name="T73"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7" h="167">
                    <a:moveTo>
                      <a:pt x="169" y="50"/>
                    </a:moveTo>
                    <a:cubicBezTo>
                      <a:pt x="169" y="50"/>
                      <a:pt x="169" y="50"/>
                      <a:pt x="169" y="50"/>
                    </a:cubicBezTo>
                    <a:cubicBezTo>
                      <a:pt x="169" y="50"/>
                      <a:pt x="169" y="50"/>
                      <a:pt x="169" y="50"/>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5" y="54"/>
                      <a:pt x="162" y="56"/>
                      <a:pt x="158" y="58"/>
                    </a:cubicBezTo>
                    <a:cubicBezTo>
                      <a:pt x="158" y="58"/>
                      <a:pt x="158" y="58"/>
                      <a:pt x="158" y="58"/>
                    </a:cubicBezTo>
                    <a:cubicBezTo>
                      <a:pt x="157" y="58"/>
                      <a:pt x="157" y="58"/>
                      <a:pt x="157" y="58"/>
                    </a:cubicBezTo>
                    <a:cubicBezTo>
                      <a:pt x="157" y="58"/>
                      <a:pt x="157" y="58"/>
                      <a:pt x="157" y="58"/>
                    </a:cubicBezTo>
                    <a:cubicBezTo>
                      <a:pt x="157" y="58"/>
                      <a:pt x="157" y="58"/>
                      <a:pt x="157" y="58"/>
                    </a:cubicBezTo>
                    <a:cubicBezTo>
                      <a:pt x="154" y="59"/>
                      <a:pt x="150" y="60"/>
                      <a:pt x="147" y="61"/>
                    </a:cubicBezTo>
                    <a:cubicBezTo>
                      <a:pt x="147" y="61"/>
                      <a:pt x="147" y="61"/>
                      <a:pt x="147" y="61"/>
                    </a:cubicBezTo>
                    <a:cubicBezTo>
                      <a:pt x="147" y="61"/>
                      <a:pt x="147" y="61"/>
                      <a:pt x="147" y="61"/>
                    </a:cubicBezTo>
                    <a:cubicBezTo>
                      <a:pt x="147" y="61"/>
                      <a:pt x="146" y="61"/>
                      <a:pt x="146" y="61"/>
                    </a:cubicBezTo>
                    <a:cubicBezTo>
                      <a:pt x="146" y="61"/>
                      <a:pt x="146" y="61"/>
                      <a:pt x="146" y="61"/>
                    </a:cubicBezTo>
                    <a:cubicBezTo>
                      <a:pt x="146" y="61"/>
                      <a:pt x="145" y="61"/>
                      <a:pt x="144" y="61"/>
                    </a:cubicBezTo>
                    <a:cubicBezTo>
                      <a:pt x="144" y="61"/>
                      <a:pt x="144" y="61"/>
                      <a:pt x="144" y="61"/>
                    </a:cubicBezTo>
                    <a:cubicBezTo>
                      <a:pt x="59" y="61"/>
                      <a:pt x="59" y="61"/>
                      <a:pt x="59" y="61"/>
                    </a:cubicBezTo>
                    <a:cubicBezTo>
                      <a:pt x="13" y="106"/>
                      <a:pt x="13" y="106"/>
                      <a:pt x="13" y="106"/>
                    </a:cubicBezTo>
                    <a:cubicBezTo>
                      <a:pt x="0" y="120"/>
                      <a:pt x="0" y="142"/>
                      <a:pt x="13" y="156"/>
                    </a:cubicBezTo>
                    <a:cubicBezTo>
                      <a:pt x="20" y="163"/>
                      <a:pt x="29" y="167"/>
                      <a:pt x="38" y="167"/>
                    </a:cubicBezTo>
                    <a:cubicBezTo>
                      <a:pt x="48" y="167"/>
                      <a:pt x="57" y="163"/>
                      <a:pt x="63" y="156"/>
                    </a:cubicBezTo>
                    <a:cubicBezTo>
                      <a:pt x="169" y="50"/>
                      <a:pt x="169" y="50"/>
                      <a:pt x="169" y="50"/>
                    </a:cubicBezTo>
                    <a:moveTo>
                      <a:pt x="177" y="11"/>
                    </a:moveTo>
                    <a:cubicBezTo>
                      <a:pt x="177" y="11"/>
                      <a:pt x="177" y="11"/>
                      <a:pt x="177" y="11"/>
                    </a:cubicBezTo>
                    <a:cubicBezTo>
                      <a:pt x="177" y="11"/>
                      <a:pt x="177" y="11"/>
                      <a:pt x="177" y="11"/>
                    </a:cubicBezTo>
                    <a:moveTo>
                      <a:pt x="169" y="0"/>
                    </a:moveTo>
                    <a:cubicBezTo>
                      <a:pt x="169" y="0"/>
                      <a:pt x="169" y="0"/>
                      <a:pt x="169" y="0"/>
                    </a:cubicBezTo>
                    <a:cubicBezTo>
                      <a:pt x="172" y="3"/>
                      <a:pt x="175" y="7"/>
                      <a:pt x="176" y="11"/>
                    </a:cubicBezTo>
                    <a:cubicBezTo>
                      <a:pt x="176" y="11"/>
                      <a:pt x="176" y="11"/>
                      <a:pt x="176" y="11"/>
                    </a:cubicBezTo>
                    <a:cubicBezTo>
                      <a:pt x="177" y="11"/>
                      <a:pt x="177" y="11"/>
                      <a:pt x="177" y="11"/>
                    </a:cubicBezTo>
                    <a:cubicBezTo>
                      <a:pt x="177" y="11"/>
                      <a:pt x="177" y="11"/>
                      <a:pt x="177" y="11"/>
                    </a:cubicBezTo>
                    <a:cubicBezTo>
                      <a:pt x="175" y="7"/>
                      <a:pt x="172" y="3"/>
                      <a:pt x="169" y="0"/>
                    </a:cubicBezTo>
                    <a:cubicBezTo>
                      <a:pt x="169" y="0"/>
                      <a:pt x="169" y="0"/>
                      <a:pt x="169"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25" name="Freeform 83">
                <a:extLst>
                  <a:ext uri="{FF2B5EF4-FFF2-40B4-BE49-F238E27FC236}">
                    <a16:creationId xmlns:a16="http://schemas.microsoft.com/office/drawing/2014/main" id="{79A193FB-0BDB-46A9-B480-CD4A21E9864D}"/>
                  </a:ext>
                </a:extLst>
              </p:cNvPr>
              <p:cNvSpPr>
                <a:spLocks noEditPoints="1"/>
              </p:cNvSpPr>
              <p:nvPr/>
            </p:nvSpPr>
            <p:spPr bwMode="auto">
              <a:xfrm>
                <a:off x="8362950" y="1690688"/>
                <a:ext cx="211138" cy="87312"/>
              </a:xfrm>
              <a:custGeom>
                <a:avLst/>
                <a:gdLst>
                  <a:gd name="T0" fmla="*/ 87 w 121"/>
                  <a:gd name="T1" fmla="*/ 50 h 50"/>
                  <a:gd name="T2" fmla="*/ 87 w 121"/>
                  <a:gd name="T3" fmla="*/ 50 h 50"/>
                  <a:gd name="T4" fmla="*/ 87 w 121"/>
                  <a:gd name="T5" fmla="*/ 50 h 50"/>
                  <a:gd name="T6" fmla="*/ 88 w 121"/>
                  <a:gd name="T7" fmla="*/ 50 h 50"/>
                  <a:gd name="T8" fmla="*/ 88 w 121"/>
                  <a:gd name="T9" fmla="*/ 50 h 50"/>
                  <a:gd name="T10" fmla="*/ 88 w 121"/>
                  <a:gd name="T11" fmla="*/ 50 h 50"/>
                  <a:gd name="T12" fmla="*/ 98 w 121"/>
                  <a:gd name="T13" fmla="*/ 47 h 50"/>
                  <a:gd name="T14" fmla="*/ 88 w 121"/>
                  <a:gd name="T15" fmla="*/ 50 h 50"/>
                  <a:gd name="T16" fmla="*/ 98 w 121"/>
                  <a:gd name="T17" fmla="*/ 47 h 50"/>
                  <a:gd name="T18" fmla="*/ 98 w 121"/>
                  <a:gd name="T19" fmla="*/ 47 h 50"/>
                  <a:gd name="T20" fmla="*/ 98 w 121"/>
                  <a:gd name="T21" fmla="*/ 47 h 50"/>
                  <a:gd name="T22" fmla="*/ 98 w 121"/>
                  <a:gd name="T23" fmla="*/ 47 h 50"/>
                  <a:gd name="T24" fmla="*/ 99 w 121"/>
                  <a:gd name="T25" fmla="*/ 47 h 50"/>
                  <a:gd name="T26" fmla="*/ 99 w 121"/>
                  <a:gd name="T27" fmla="*/ 47 h 50"/>
                  <a:gd name="T28" fmla="*/ 99 w 121"/>
                  <a:gd name="T29" fmla="*/ 47 h 50"/>
                  <a:gd name="T30" fmla="*/ 110 w 121"/>
                  <a:gd name="T31" fmla="*/ 40 h 50"/>
                  <a:gd name="T32" fmla="*/ 110 w 121"/>
                  <a:gd name="T33" fmla="*/ 40 h 50"/>
                  <a:gd name="T34" fmla="*/ 110 w 121"/>
                  <a:gd name="T35" fmla="*/ 40 h 50"/>
                  <a:gd name="T36" fmla="*/ 110 w 121"/>
                  <a:gd name="T37" fmla="*/ 40 h 50"/>
                  <a:gd name="T38" fmla="*/ 110 w 121"/>
                  <a:gd name="T39" fmla="*/ 40 h 50"/>
                  <a:gd name="T40" fmla="*/ 110 w 121"/>
                  <a:gd name="T41" fmla="*/ 40 h 50"/>
                  <a:gd name="T42" fmla="*/ 110 w 121"/>
                  <a:gd name="T43" fmla="*/ 39 h 50"/>
                  <a:gd name="T44" fmla="*/ 110 w 121"/>
                  <a:gd name="T45" fmla="*/ 40 h 50"/>
                  <a:gd name="T46" fmla="*/ 110 w 121"/>
                  <a:gd name="T47" fmla="*/ 39 h 50"/>
                  <a:gd name="T48" fmla="*/ 110 w 121"/>
                  <a:gd name="T49" fmla="*/ 39 h 50"/>
                  <a:gd name="T50" fmla="*/ 110 w 121"/>
                  <a:gd name="T51" fmla="*/ 39 h 50"/>
                  <a:gd name="T52" fmla="*/ 110 w 121"/>
                  <a:gd name="T53" fmla="*/ 39 h 50"/>
                  <a:gd name="T54" fmla="*/ 110 w 121"/>
                  <a:gd name="T55" fmla="*/ 39 h 50"/>
                  <a:gd name="T56" fmla="*/ 35 w 121"/>
                  <a:gd name="T57" fmla="*/ 14 h 50"/>
                  <a:gd name="T58" fmla="*/ 0 w 121"/>
                  <a:gd name="T59" fmla="*/ 50 h 50"/>
                  <a:gd name="T60" fmla="*/ 85 w 121"/>
                  <a:gd name="T61" fmla="*/ 50 h 50"/>
                  <a:gd name="T62" fmla="*/ 60 w 121"/>
                  <a:gd name="T63" fmla="*/ 39 h 50"/>
                  <a:gd name="T64" fmla="*/ 35 w 121"/>
                  <a:gd name="T65" fmla="*/ 14 h 50"/>
                  <a:gd name="T66" fmla="*/ 118 w 121"/>
                  <a:gd name="T67" fmla="*/ 0 h 50"/>
                  <a:gd name="T68" fmla="*/ 121 w 121"/>
                  <a:gd name="T69" fmla="*/ 14 h 50"/>
                  <a:gd name="T70" fmla="*/ 118 w 121"/>
                  <a:gd name="T71" fmla="*/ 0 h 50"/>
                  <a:gd name="T72" fmla="*/ 118 w 121"/>
                  <a:gd name="T73" fmla="*/ 0 h 50"/>
                  <a:gd name="T74" fmla="*/ 118 w 121"/>
                  <a:gd name="T75" fmla="*/ 0 h 50"/>
                  <a:gd name="T76" fmla="*/ 118 w 121"/>
                  <a:gd name="T77" fmla="*/ 0 h 50"/>
                  <a:gd name="T78" fmla="*/ 117 w 121"/>
                  <a:gd name="T79" fmla="*/ 0 h 50"/>
                  <a:gd name="T80" fmla="*/ 117 w 121"/>
                  <a:gd name="T81" fmla="*/ 0 h 50"/>
                  <a:gd name="T82" fmla="*/ 117 w 121"/>
                  <a:gd name="T8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1" h="50">
                    <a:moveTo>
                      <a:pt x="87" y="50"/>
                    </a:moveTo>
                    <a:cubicBezTo>
                      <a:pt x="87" y="50"/>
                      <a:pt x="87" y="50"/>
                      <a:pt x="87" y="50"/>
                    </a:cubicBezTo>
                    <a:cubicBezTo>
                      <a:pt x="87" y="50"/>
                      <a:pt x="87" y="50"/>
                      <a:pt x="87" y="50"/>
                    </a:cubicBezTo>
                    <a:moveTo>
                      <a:pt x="88" y="50"/>
                    </a:moveTo>
                    <a:cubicBezTo>
                      <a:pt x="88" y="50"/>
                      <a:pt x="88" y="50"/>
                      <a:pt x="88" y="50"/>
                    </a:cubicBezTo>
                    <a:cubicBezTo>
                      <a:pt x="88" y="50"/>
                      <a:pt x="88" y="50"/>
                      <a:pt x="88" y="50"/>
                    </a:cubicBezTo>
                    <a:moveTo>
                      <a:pt x="98" y="47"/>
                    </a:moveTo>
                    <a:cubicBezTo>
                      <a:pt x="95" y="49"/>
                      <a:pt x="91" y="49"/>
                      <a:pt x="88" y="50"/>
                    </a:cubicBezTo>
                    <a:cubicBezTo>
                      <a:pt x="91" y="49"/>
                      <a:pt x="95" y="48"/>
                      <a:pt x="98" y="47"/>
                    </a:cubicBezTo>
                    <a:moveTo>
                      <a:pt x="98" y="47"/>
                    </a:moveTo>
                    <a:cubicBezTo>
                      <a:pt x="98" y="47"/>
                      <a:pt x="98" y="47"/>
                      <a:pt x="98" y="47"/>
                    </a:cubicBezTo>
                    <a:cubicBezTo>
                      <a:pt x="98" y="47"/>
                      <a:pt x="98" y="47"/>
                      <a:pt x="98" y="47"/>
                    </a:cubicBezTo>
                    <a:moveTo>
                      <a:pt x="99" y="47"/>
                    </a:moveTo>
                    <a:cubicBezTo>
                      <a:pt x="99" y="47"/>
                      <a:pt x="99" y="47"/>
                      <a:pt x="99" y="47"/>
                    </a:cubicBezTo>
                    <a:cubicBezTo>
                      <a:pt x="99" y="47"/>
                      <a:pt x="99" y="47"/>
                      <a:pt x="99" y="47"/>
                    </a:cubicBezTo>
                    <a:moveTo>
                      <a:pt x="110" y="40"/>
                    </a:moveTo>
                    <a:cubicBezTo>
                      <a:pt x="110" y="40"/>
                      <a:pt x="110" y="40"/>
                      <a:pt x="110" y="40"/>
                    </a:cubicBezTo>
                    <a:cubicBezTo>
                      <a:pt x="110" y="40"/>
                      <a:pt x="110" y="40"/>
                      <a:pt x="110" y="40"/>
                    </a:cubicBezTo>
                    <a:moveTo>
                      <a:pt x="110" y="40"/>
                    </a:moveTo>
                    <a:cubicBezTo>
                      <a:pt x="110" y="40"/>
                      <a:pt x="110" y="40"/>
                      <a:pt x="110" y="40"/>
                    </a:cubicBezTo>
                    <a:cubicBezTo>
                      <a:pt x="110" y="40"/>
                      <a:pt x="110" y="40"/>
                      <a:pt x="110" y="40"/>
                    </a:cubicBezTo>
                    <a:moveTo>
                      <a:pt x="110" y="39"/>
                    </a:moveTo>
                    <a:cubicBezTo>
                      <a:pt x="110" y="40"/>
                      <a:pt x="110" y="40"/>
                      <a:pt x="110" y="40"/>
                    </a:cubicBezTo>
                    <a:cubicBezTo>
                      <a:pt x="110" y="40"/>
                      <a:pt x="110" y="40"/>
                      <a:pt x="110" y="39"/>
                    </a:cubicBezTo>
                    <a:moveTo>
                      <a:pt x="110" y="39"/>
                    </a:moveTo>
                    <a:cubicBezTo>
                      <a:pt x="110" y="39"/>
                      <a:pt x="110" y="39"/>
                      <a:pt x="110" y="39"/>
                    </a:cubicBezTo>
                    <a:cubicBezTo>
                      <a:pt x="110" y="39"/>
                      <a:pt x="110" y="39"/>
                      <a:pt x="110" y="39"/>
                    </a:cubicBezTo>
                    <a:cubicBezTo>
                      <a:pt x="110" y="39"/>
                      <a:pt x="110" y="39"/>
                      <a:pt x="110" y="39"/>
                    </a:cubicBezTo>
                    <a:moveTo>
                      <a:pt x="35" y="14"/>
                    </a:moveTo>
                    <a:cubicBezTo>
                      <a:pt x="0" y="50"/>
                      <a:pt x="0" y="50"/>
                      <a:pt x="0" y="50"/>
                    </a:cubicBezTo>
                    <a:cubicBezTo>
                      <a:pt x="85" y="50"/>
                      <a:pt x="85" y="50"/>
                      <a:pt x="85" y="50"/>
                    </a:cubicBezTo>
                    <a:cubicBezTo>
                      <a:pt x="76" y="50"/>
                      <a:pt x="67" y="46"/>
                      <a:pt x="60" y="39"/>
                    </a:cubicBezTo>
                    <a:cubicBezTo>
                      <a:pt x="35" y="14"/>
                      <a:pt x="35" y="14"/>
                      <a:pt x="35" y="14"/>
                    </a:cubicBezTo>
                    <a:moveTo>
                      <a:pt x="118" y="0"/>
                    </a:moveTo>
                    <a:cubicBezTo>
                      <a:pt x="120" y="4"/>
                      <a:pt x="121" y="9"/>
                      <a:pt x="121" y="14"/>
                    </a:cubicBezTo>
                    <a:cubicBezTo>
                      <a:pt x="121" y="9"/>
                      <a:pt x="120" y="4"/>
                      <a:pt x="118" y="0"/>
                    </a:cubicBezTo>
                    <a:cubicBezTo>
                      <a:pt x="118" y="0"/>
                      <a:pt x="118" y="0"/>
                      <a:pt x="118" y="0"/>
                    </a:cubicBezTo>
                    <a:cubicBezTo>
                      <a:pt x="118" y="0"/>
                      <a:pt x="118" y="0"/>
                      <a:pt x="118" y="0"/>
                    </a:cubicBezTo>
                    <a:cubicBezTo>
                      <a:pt x="118" y="0"/>
                      <a:pt x="118" y="0"/>
                      <a:pt x="118" y="0"/>
                    </a:cubicBezTo>
                    <a:moveTo>
                      <a:pt x="117" y="0"/>
                    </a:moveTo>
                    <a:cubicBezTo>
                      <a:pt x="117" y="0"/>
                      <a:pt x="117" y="0"/>
                      <a:pt x="117" y="0"/>
                    </a:cubicBezTo>
                    <a:cubicBezTo>
                      <a:pt x="117" y="0"/>
                      <a:pt x="117" y="0"/>
                      <a:pt x="117"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26" name="Freeform 84">
                <a:extLst>
                  <a:ext uri="{FF2B5EF4-FFF2-40B4-BE49-F238E27FC236}">
                    <a16:creationId xmlns:a16="http://schemas.microsoft.com/office/drawing/2014/main" id="{36C89E34-0CAB-4148-B0AD-C39DFB495A97}"/>
                  </a:ext>
                </a:extLst>
              </p:cNvPr>
              <p:cNvSpPr>
                <a:spLocks noEditPoints="1"/>
              </p:cNvSpPr>
              <p:nvPr/>
            </p:nvSpPr>
            <p:spPr bwMode="auto">
              <a:xfrm>
                <a:off x="8510588" y="1654176"/>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8 h 71"/>
                  <a:gd name="T12" fmla="*/ 13 w 33"/>
                  <a:gd name="T13" fmla="*/ 68 h 71"/>
                  <a:gd name="T14" fmla="*/ 13 w 33"/>
                  <a:gd name="T15" fmla="*/ 68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0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26 w 33"/>
                  <a:gd name="T41" fmla="*/ 59 h 71"/>
                  <a:gd name="T42" fmla="*/ 26 w 33"/>
                  <a:gd name="T43" fmla="*/ 59 h 71"/>
                  <a:gd name="T44" fmla="*/ 26 w 33"/>
                  <a:gd name="T45" fmla="*/ 59 h 71"/>
                  <a:gd name="T46" fmla="*/ 33 w 33"/>
                  <a:gd name="T47" fmla="*/ 50 h 71"/>
                  <a:gd name="T48" fmla="*/ 33 w 33"/>
                  <a:gd name="T49" fmla="*/ 50 h 71"/>
                  <a:gd name="T50" fmla="*/ 33 w 33"/>
                  <a:gd name="T51" fmla="*/ 21 h 71"/>
                  <a:gd name="T52" fmla="*/ 12 w 33"/>
                  <a:gd name="T53" fmla="*/ 2 h 71"/>
                  <a:gd name="T54" fmla="*/ 25 w 33"/>
                  <a:gd name="T55" fmla="*/ 10 h 71"/>
                  <a:gd name="T56" fmla="*/ 12 w 33"/>
                  <a:gd name="T57" fmla="*/ 2 h 71"/>
                  <a:gd name="T58" fmla="*/ 12 w 33"/>
                  <a:gd name="T59" fmla="*/ 2 h 71"/>
                  <a:gd name="T60" fmla="*/ 0 w 33"/>
                  <a:gd name="T61" fmla="*/ 0 h 71"/>
                  <a:gd name="T62" fmla="*/ 0 w 33"/>
                  <a:gd name="T63" fmla="*/ 0 h 71"/>
                  <a:gd name="T64" fmla="*/ 0 w 33"/>
                  <a:gd name="T6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59"/>
                    </a:cubicBezTo>
                    <a:cubicBezTo>
                      <a:pt x="26" y="59"/>
                      <a:pt x="26" y="59"/>
                      <a:pt x="26" y="59"/>
                    </a:cubicBezTo>
                    <a:moveTo>
                      <a:pt x="32" y="50"/>
                    </a:moveTo>
                    <a:cubicBezTo>
                      <a:pt x="31" y="53"/>
                      <a:pt x="29" y="57"/>
                      <a:pt x="26" y="59"/>
                    </a:cubicBezTo>
                    <a:cubicBezTo>
                      <a:pt x="29" y="57"/>
                      <a:pt x="31" y="53"/>
                      <a:pt x="32" y="50"/>
                    </a:cubicBezTo>
                    <a:moveTo>
                      <a:pt x="33" y="50"/>
                    </a:moveTo>
                    <a:cubicBezTo>
                      <a:pt x="33" y="50"/>
                      <a:pt x="33" y="50"/>
                      <a:pt x="33" y="50"/>
                    </a:cubicBezTo>
                    <a:cubicBezTo>
                      <a:pt x="33" y="50"/>
                      <a:pt x="33" y="50"/>
                      <a:pt x="33" y="50"/>
                    </a:cubicBezTo>
                    <a:moveTo>
                      <a:pt x="32" y="21"/>
                    </a:moveTo>
                    <a:cubicBezTo>
                      <a:pt x="33" y="21"/>
                      <a:pt x="33" y="21"/>
                      <a:pt x="33" y="21"/>
                    </a:cubicBezTo>
                    <a:cubicBezTo>
                      <a:pt x="33" y="21"/>
                      <a:pt x="33" y="21"/>
                      <a:pt x="32" y="21"/>
                    </a:cubicBezTo>
                    <a:moveTo>
                      <a:pt x="12" y="2"/>
                    </a:moveTo>
                    <a:cubicBezTo>
                      <a:pt x="21" y="5"/>
                      <a:pt x="29" y="12"/>
                      <a:pt x="32" y="21"/>
                    </a:cubicBezTo>
                    <a:cubicBezTo>
                      <a:pt x="31" y="17"/>
                      <a:pt x="28" y="13"/>
                      <a:pt x="25" y="10"/>
                    </a:cubicBezTo>
                    <a:cubicBezTo>
                      <a:pt x="25" y="10"/>
                      <a:pt x="25" y="10"/>
                      <a:pt x="25" y="10"/>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0"/>
                    </a:cubicBezTo>
                    <a:cubicBezTo>
                      <a:pt x="3" y="0"/>
                      <a:pt x="2"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27" name="Freeform 85">
                <a:extLst>
                  <a:ext uri="{FF2B5EF4-FFF2-40B4-BE49-F238E27FC236}">
                    <a16:creationId xmlns:a16="http://schemas.microsoft.com/office/drawing/2014/main" id="{15668AC7-254B-4E07-8529-45F6EACFA57D}"/>
                  </a:ext>
                </a:extLst>
              </p:cNvPr>
              <p:cNvSpPr>
                <a:spLocks/>
              </p:cNvSpPr>
              <p:nvPr/>
            </p:nvSpPr>
            <p:spPr bwMode="auto">
              <a:xfrm>
                <a:off x="8425656" y="1654176"/>
                <a:ext cx="150813" cy="123825"/>
              </a:xfrm>
              <a:custGeom>
                <a:avLst/>
                <a:gdLst>
                  <a:gd name="T0" fmla="*/ 50 w 86"/>
                  <a:gd name="T1" fmla="*/ 0 h 71"/>
                  <a:gd name="T2" fmla="*/ 50 w 86"/>
                  <a:gd name="T3" fmla="*/ 0 h 71"/>
                  <a:gd name="T4" fmla="*/ 25 w 86"/>
                  <a:gd name="T5" fmla="*/ 10 h 71"/>
                  <a:gd name="T6" fmla="*/ 0 w 86"/>
                  <a:gd name="T7" fmla="*/ 35 h 71"/>
                  <a:gd name="T8" fmla="*/ 25 w 86"/>
                  <a:gd name="T9" fmla="*/ 60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8 h 71"/>
                  <a:gd name="T26" fmla="*/ 63 w 86"/>
                  <a:gd name="T27" fmla="*/ 68 h 71"/>
                  <a:gd name="T28" fmla="*/ 63 w 86"/>
                  <a:gd name="T29" fmla="*/ 68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0 h 71"/>
                  <a:gd name="T46" fmla="*/ 75 w 86"/>
                  <a:gd name="T47" fmla="*/ 60 h 71"/>
                  <a:gd name="T48" fmla="*/ 75 w 86"/>
                  <a:gd name="T49" fmla="*/ 60 h 71"/>
                  <a:gd name="T50" fmla="*/ 75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76 w 86"/>
                  <a:gd name="T67" fmla="*/ 60 h 71"/>
                  <a:gd name="T68" fmla="*/ 76 w 86"/>
                  <a:gd name="T69" fmla="*/ 59 h 71"/>
                  <a:gd name="T70" fmla="*/ 76 w 86"/>
                  <a:gd name="T71" fmla="*/ 59 h 71"/>
                  <a:gd name="T72" fmla="*/ 76 w 86"/>
                  <a:gd name="T73" fmla="*/ 59 h 71"/>
                  <a:gd name="T74" fmla="*/ 82 w 86"/>
                  <a:gd name="T75" fmla="*/ 50 h 71"/>
                  <a:gd name="T76" fmla="*/ 83 w 86"/>
                  <a:gd name="T77" fmla="*/ 50 h 71"/>
                  <a:gd name="T78" fmla="*/ 83 w 86"/>
                  <a:gd name="T79" fmla="*/ 50 h 71"/>
                  <a:gd name="T80" fmla="*/ 86 w 86"/>
                  <a:gd name="T81" fmla="*/ 35 h 71"/>
                  <a:gd name="T82" fmla="*/ 83 w 86"/>
                  <a:gd name="T83" fmla="*/ 21 h 71"/>
                  <a:gd name="T84" fmla="*/ 82 w 86"/>
                  <a:gd name="T85" fmla="*/ 21 h 71"/>
                  <a:gd name="T86" fmla="*/ 82 w 86"/>
                  <a:gd name="T87" fmla="*/ 21 h 71"/>
                  <a:gd name="T88" fmla="*/ 62 w 86"/>
                  <a:gd name="T89" fmla="*/ 2 h 71"/>
                  <a:gd name="T90" fmla="*/ 62 w 86"/>
                  <a:gd name="T91" fmla="*/ 2 h 71"/>
                  <a:gd name="T92" fmla="*/ 62 w 86"/>
                  <a:gd name="T93" fmla="*/ 2 h 71"/>
                  <a:gd name="T94" fmla="*/ 54 w 86"/>
                  <a:gd name="T95" fmla="*/ 0 h 71"/>
                  <a:gd name="T96" fmla="*/ 50 w 86"/>
                  <a:gd name="T9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71">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0"/>
                      <a:pt x="60" y="70"/>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59"/>
                    </a:cubicBezTo>
                    <a:cubicBezTo>
                      <a:pt x="76" y="59"/>
                      <a:pt x="76" y="59"/>
                      <a:pt x="76" y="59"/>
                    </a:cubicBezTo>
                    <a:cubicBezTo>
                      <a:pt x="76" y="59"/>
                      <a:pt x="76" y="59"/>
                      <a:pt x="76" y="59"/>
                    </a:cubicBezTo>
                    <a:cubicBezTo>
                      <a:pt x="79" y="57"/>
                      <a:pt x="81" y="53"/>
                      <a:pt x="82" y="50"/>
                    </a:cubicBezTo>
                    <a:cubicBezTo>
                      <a:pt x="82" y="50"/>
                      <a:pt x="82" y="50"/>
                      <a:pt x="83" y="50"/>
                    </a:cubicBezTo>
                    <a:cubicBezTo>
                      <a:pt x="83" y="50"/>
                      <a:pt x="83" y="50"/>
                      <a:pt x="83" y="50"/>
                    </a:cubicBezTo>
                    <a:cubicBezTo>
                      <a:pt x="85" y="45"/>
                      <a:pt x="86" y="40"/>
                      <a:pt x="86" y="35"/>
                    </a:cubicBezTo>
                    <a:cubicBezTo>
                      <a:pt x="86" y="30"/>
                      <a:pt x="85" y="25"/>
                      <a:pt x="83" y="21"/>
                    </a:cubicBezTo>
                    <a:cubicBezTo>
                      <a:pt x="83" y="21"/>
                      <a:pt x="83" y="21"/>
                      <a:pt x="82" y="21"/>
                    </a:cubicBezTo>
                    <a:cubicBezTo>
                      <a:pt x="82" y="21"/>
                      <a:pt x="82" y="21"/>
                      <a:pt x="82" y="21"/>
                    </a:cubicBezTo>
                    <a:cubicBezTo>
                      <a:pt x="79" y="12"/>
                      <a:pt x="71" y="5"/>
                      <a:pt x="62" y="2"/>
                    </a:cubicBezTo>
                    <a:cubicBezTo>
                      <a:pt x="62" y="2"/>
                      <a:pt x="62" y="2"/>
                      <a:pt x="62" y="2"/>
                    </a:cubicBezTo>
                    <a:cubicBezTo>
                      <a:pt x="62" y="2"/>
                      <a:pt x="62" y="2"/>
                      <a:pt x="62" y="2"/>
                    </a:cubicBezTo>
                    <a:cubicBezTo>
                      <a:pt x="59" y="1"/>
                      <a:pt x="57" y="0"/>
                      <a:pt x="54" y="0"/>
                    </a:cubicBezTo>
                    <a:cubicBezTo>
                      <a:pt x="53" y="0"/>
                      <a:pt x="52" y="0"/>
                      <a:pt x="50" y="0"/>
                    </a:cubicBezTo>
                  </a:path>
                </a:pathLst>
              </a:custGeom>
              <a:solidFill>
                <a:srgbClr val="0066C5"/>
              </a:solidFill>
              <a:ln>
                <a:solidFill>
                  <a:srgbClr val="0066C5"/>
                </a:solidFill>
              </a:ln>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grpSp>
        <p:grpSp>
          <p:nvGrpSpPr>
            <p:cNvPr id="106" name="Group 105">
              <a:extLst>
                <a:ext uri="{FF2B5EF4-FFF2-40B4-BE49-F238E27FC236}">
                  <a16:creationId xmlns:a16="http://schemas.microsoft.com/office/drawing/2014/main" id="{E45DDEAF-33F4-443F-B3AF-D1C5007EB186}"/>
                </a:ext>
              </a:extLst>
            </p:cNvPr>
            <p:cNvGrpSpPr/>
            <p:nvPr/>
          </p:nvGrpSpPr>
          <p:grpSpPr>
            <a:xfrm>
              <a:off x="3699216" y="1673124"/>
              <a:ext cx="1620534" cy="1403618"/>
              <a:chOff x="5132101" y="2210947"/>
              <a:chExt cx="1620534" cy="1403618"/>
            </a:xfrm>
          </p:grpSpPr>
          <p:grpSp>
            <p:nvGrpSpPr>
              <p:cNvPr id="113" name="Group 112">
                <a:extLst>
                  <a:ext uri="{FF2B5EF4-FFF2-40B4-BE49-F238E27FC236}">
                    <a16:creationId xmlns:a16="http://schemas.microsoft.com/office/drawing/2014/main" id="{B63B3A76-7137-4B53-98AE-AD4F6AAE923F}"/>
                  </a:ext>
                </a:extLst>
              </p:cNvPr>
              <p:cNvGrpSpPr/>
              <p:nvPr/>
            </p:nvGrpSpPr>
            <p:grpSpPr>
              <a:xfrm>
                <a:off x="5473194" y="2210947"/>
                <a:ext cx="928376" cy="928376"/>
                <a:chOff x="5672525" y="2248585"/>
                <a:chExt cx="853098" cy="853098"/>
              </a:xfrm>
            </p:grpSpPr>
            <p:sp>
              <p:nvSpPr>
                <p:cNvPr id="115" name="Oval 114">
                  <a:extLst>
                    <a:ext uri="{FF2B5EF4-FFF2-40B4-BE49-F238E27FC236}">
                      <a16:creationId xmlns:a16="http://schemas.microsoft.com/office/drawing/2014/main" id="{63DEC187-48C3-4E1F-B65F-65DFC0D41BAC}"/>
                    </a:ext>
                  </a:extLst>
                </p:cNvPr>
                <p:cNvSpPr/>
                <p:nvPr/>
              </p:nvSpPr>
              <p:spPr>
                <a:xfrm>
                  <a:off x="5672525" y="2248585"/>
                  <a:ext cx="853098" cy="85309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116" name="Group 4">
                  <a:extLst>
                    <a:ext uri="{FF2B5EF4-FFF2-40B4-BE49-F238E27FC236}">
                      <a16:creationId xmlns:a16="http://schemas.microsoft.com/office/drawing/2014/main" id="{2453EA46-71A2-49AE-9274-4BD7F1A3B758}"/>
                    </a:ext>
                  </a:extLst>
                </p:cNvPr>
                <p:cNvGrpSpPr>
                  <a:grpSpLocks noChangeAspect="1"/>
                </p:cNvGrpSpPr>
                <p:nvPr/>
              </p:nvGrpSpPr>
              <p:grpSpPr bwMode="auto">
                <a:xfrm>
                  <a:off x="5802611" y="2377829"/>
                  <a:ext cx="592926" cy="594610"/>
                  <a:chOff x="2526" y="1267"/>
                  <a:chExt cx="704" cy="706"/>
                </a:xfrm>
                <a:solidFill>
                  <a:schemeClr val="bg2"/>
                </a:solidFill>
              </p:grpSpPr>
              <p:sp>
                <p:nvSpPr>
                  <p:cNvPr id="117" name="Freeform 5">
                    <a:extLst>
                      <a:ext uri="{FF2B5EF4-FFF2-40B4-BE49-F238E27FC236}">
                        <a16:creationId xmlns:a16="http://schemas.microsoft.com/office/drawing/2014/main" id="{A317A21E-FCC0-47B8-B3DA-F1001CC834CD}"/>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18" name="Freeform 6">
                    <a:extLst>
                      <a:ext uri="{FF2B5EF4-FFF2-40B4-BE49-F238E27FC236}">
                        <a16:creationId xmlns:a16="http://schemas.microsoft.com/office/drawing/2014/main" id="{367D8399-C26A-4E15-8CFC-BECA739C0C21}"/>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19" name="Freeform 7">
                    <a:extLst>
                      <a:ext uri="{FF2B5EF4-FFF2-40B4-BE49-F238E27FC236}">
                        <a16:creationId xmlns:a16="http://schemas.microsoft.com/office/drawing/2014/main" id="{238E7538-E513-4B52-ACC9-CCDD2E04557D}"/>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120" name="Freeform 8">
                    <a:extLst>
                      <a:ext uri="{FF2B5EF4-FFF2-40B4-BE49-F238E27FC236}">
                        <a16:creationId xmlns:a16="http://schemas.microsoft.com/office/drawing/2014/main" id="{6519388F-E7A7-42FC-912D-F8929325C83F}"/>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grpSp>
          </p:grpSp>
          <p:sp>
            <p:nvSpPr>
              <p:cNvPr id="114" name="Rectangle 113">
                <a:extLst>
                  <a:ext uri="{FF2B5EF4-FFF2-40B4-BE49-F238E27FC236}">
                    <a16:creationId xmlns:a16="http://schemas.microsoft.com/office/drawing/2014/main" id="{07165FEA-B752-4317-8565-EC93E4D9A260}"/>
                  </a:ext>
                </a:extLst>
              </p:cNvPr>
              <p:cNvSpPr/>
              <p:nvPr/>
            </p:nvSpPr>
            <p:spPr>
              <a:xfrm>
                <a:off x="5132101" y="3152900"/>
                <a:ext cx="1620534" cy="461665"/>
              </a:xfrm>
              <a:prstGeom prst="rect">
                <a:avLst/>
              </a:prstGeom>
            </p:spPr>
            <p:txBody>
              <a:bodyPr wrap="square" anchor="ctr">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5073"/>
                    </a:solidFill>
                    <a:effectLst/>
                    <a:uLnTx/>
                    <a:uFillTx/>
                    <a:latin typeface="CiscoSansTT ExtraLight"/>
                    <a:ea typeface="ＭＳ Ｐゴシック" pitchFamily="34" charset="-128"/>
                  </a:rPr>
                  <a:t>Cisco Tetration</a:t>
                </a:r>
              </a:p>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5073"/>
                    </a:solidFill>
                    <a:effectLst/>
                    <a:uLnTx/>
                    <a:uFillTx/>
                    <a:latin typeface="CiscoSansTT ExtraLight"/>
                    <a:ea typeface="ＭＳ Ｐゴシック" pitchFamily="34" charset="-128"/>
                  </a:rPr>
                  <a:t>Analytics™</a:t>
                </a:r>
              </a:p>
            </p:txBody>
          </p:sp>
        </p:grpSp>
        <p:sp>
          <p:nvSpPr>
            <p:cNvPr id="107" name="TextBox 106">
              <a:extLst>
                <a:ext uri="{FF2B5EF4-FFF2-40B4-BE49-F238E27FC236}">
                  <a16:creationId xmlns:a16="http://schemas.microsoft.com/office/drawing/2014/main" id="{457FA04B-DACE-474A-A75C-1BA9235EDF74}"/>
                </a:ext>
              </a:extLst>
            </p:cNvPr>
            <p:cNvSpPr txBox="1"/>
            <p:nvPr/>
          </p:nvSpPr>
          <p:spPr>
            <a:xfrm>
              <a:off x="6403929" y="1937276"/>
              <a:ext cx="898572" cy="461665"/>
            </a:xfrm>
            <a:prstGeom prst="rect">
              <a:avLst/>
            </a:prstGeom>
            <a:noFill/>
          </p:spPr>
          <p:txBody>
            <a:bodyPr wrap="square" rtlCol="0" anchor="ctr">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5073"/>
                  </a:solidFill>
                  <a:effectLst/>
                  <a:uLnTx/>
                  <a:uFillTx/>
                  <a:latin typeface="CiscoSansTT ExtraLight"/>
                  <a:ea typeface="ＭＳ Ｐゴシック" pitchFamily="34" charset="-128"/>
                </a:rPr>
                <a:t>Kafka broker</a:t>
              </a:r>
            </a:p>
          </p:txBody>
        </p:sp>
        <p:sp>
          <p:nvSpPr>
            <p:cNvPr id="109" name="TextBox 108">
              <a:extLst>
                <a:ext uri="{FF2B5EF4-FFF2-40B4-BE49-F238E27FC236}">
                  <a16:creationId xmlns:a16="http://schemas.microsoft.com/office/drawing/2014/main" id="{1D0AB0B8-E4C2-44D7-B011-452AE3F426D6}"/>
                </a:ext>
              </a:extLst>
            </p:cNvPr>
            <p:cNvSpPr txBox="1"/>
            <p:nvPr/>
          </p:nvSpPr>
          <p:spPr>
            <a:xfrm>
              <a:off x="7296371" y="1411514"/>
              <a:ext cx="1057603" cy="461665"/>
            </a:xfrm>
            <a:prstGeom prst="rect">
              <a:avLst/>
            </a:prstGeom>
            <a:noFill/>
          </p:spPr>
          <p:txBody>
            <a:bodyPr wrap="squar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5073"/>
                  </a:solidFill>
                  <a:effectLst/>
                  <a:uLnTx/>
                  <a:uFillTx/>
                  <a:latin typeface="CiscoSansTT ExtraLight"/>
                  <a:ea typeface="ＭＳ Ｐゴシック" pitchFamily="34" charset="-128"/>
                </a:rPr>
                <a:t>Northbound consumers</a:t>
              </a:r>
            </a:p>
          </p:txBody>
        </p:sp>
        <p:sp>
          <p:nvSpPr>
            <p:cNvPr id="110" name="TextBox 109">
              <a:extLst>
                <a:ext uri="{FF2B5EF4-FFF2-40B4-BE49-F238E27FC236}">
                  <a16:creationId xmlns:a16="http://schemas.microsoft.com/office/drawing/2014/main" id="{038A4080-4784-40B4-917A-1CA17ECF99FA}"/>
                </a:ext>
              </a:extLst>
            </p:cNvPr>
            <p:cNvSpPr txBox="1"/>
            <p:nvPr/>
          </p:nvSpPr>
          <p:spPr>
            <a:xfrm>
              <a:off x="7296371" y="2511644"/>
              <a:ext cx="1057603" cy="461665"/>
            </a:xfrm>
            <a:prstGeom prst="rect">
              <a:avLst/>
            </a:prstGeom>
            <a:noFill/>
          </p:spPr>
          <p:txBody>
            <a:bodyPr wrap="squar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5073"/>
                  </a:solidFill>
                  <a:effectLst/>
                  <a:uLnTx/>
                  <a:uFillTx/>
                  <a:latin typeface="CiscoSansTT ExtraLight"/>
                  <a:ea typeface="ＭＳ Ｐゴシック" pitchFamily="34" charset="-128"/>
                </a:rPr>
                <a:t>Northbound consumers</a:t>
              </a:r>
            </a:p>
          </p:txBody>
        </p:sp>
        <p:sp>
          <p:nvSpPr>
            <p:cNvPr id="111" name="TextBox 110">
              <a:extLst>
                <a:ext uri="{FF2B5EF4-FFF2-40B4-BE49-F238E27FC236}">
                  <a16:creationId xmlns:a16="http://schemas.microsoft.com/office/drawing/2014/main" id="{B6A922DF-4E60-4093-B88B-47834391223A}"/>
                </a:ext>
              </a:extLst>
            </p:cNvPr>
            <p:cNvSpPr txBox="1"/>
            <p:nvPr/>
          </p:nvSpPr>
          <p:spPr>
            <a:xfrm>
              <a:off x="4960550" y="1562713"/>
              <a:ext cx="1443383" cy="246221"/>
            </a:xfrm>
            <a:prstGeom prst="rect">
              <a:avLst/>
            </a:prstGeom>
            <a:noFill/>
          </p:spPr>
          <p:txBody>
            <a:bodyPr wrap="squar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5073"/>
                  </a:solidFill>
                  <a:effectLst/>
                  <a:uLnTx/>
                  <a:uFillTx/>
                  <a:latin typeface="CiscoSansTT ExtraLight"/>
                  <a:ea typeface="ＭＳ Ｐゴシック" pitchFamily="34" charset="-128"/>
                </a:rPr>
                <a:t>Message publish</a:t>
              </a:r>
            </a:p>
          </p:txBody>
        </p:sp>
        <p:cxnSp>
          <p:nvCxnSpPr>
            <p:cNvPr id="112" name="Straight Connector 111">
              <a:extLst>
                <a:ext uri="{FF2B5EF4-FFF2-40B4-BE49-F238E27FC236}">
                  <a16:creationId xmlns:a16="http://schemas.microsoft.com/office/drawing/2014/main" id="{3EBB75EF-902B-4AA9-8905-D48366FD6A25}"/>
                </a:ext>
              </a:extLst>
            </p:cNvPr>
            <p:cNvCxnSpPr/>
            <p:nvPr/>
          </p:nvCxnSpPr>
          <p:spPr>
            <a:xfrm flipV="1">
              <a:off x="6107264" y="1682778"/>
              <a:ext cx="0" cy="507407"/>
            </a:xfrm>
            <a:prstGeom prst="line">
              <a:avLst/>
            </a:prstGeom>
            <a:ln w="12700">
              <a:gradFill>
                <a:gsLst>
                  <a:gs pos="0">
                    <a:schemeClr val="accent4">
                      <a:lumMod val="20000"/>
                      <a:lumOff val="80000"/>
                      <a:alpha val="0"/>
                    </a:schemeClr>
                  </a:gs>
                  <a:gs pos="69000">
                    <a:schemeClr val="accent4">
                      <a:lumMod val="40000"/>
                      <a:lumOff val="60000"/>
                    </a:schemeClr>
                  </a:gs>
                  <a:gs pos="100000">
                    <a:schemeClr val="accent4">
                      <a:lumMod val="60000"/>
                      <a:lumOff val="40000"/>
                    </a:schemeClr>
                  </a:gs>
                </a:gsLst>
                <a:lin ang="5400000" scaled="1"/>
              </a:gradFill>
              <a:tailEnd type="oval"/>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3049842" y="1275606"/>
            <a:ext cx="5374997" cy="1529740"/>
            <a:chOff x="3200211" y="1275606"/>
            <a:chExt cx="5374997" cy="1529740"/>
          </a:xfrm>
        </p:grpSpPr>
        <p:grpSp>
          <p:nvGrpSpPr>
            <p:cNvPr id="145" name="Group 144"/>
            <p:cNvGrpSpPr/>
            <p:nvPr/>
          </p:nvGrpSpPr>
          <p:grpSpPr>
            <a:xfrm>
              <a:off x="3200211" y="1275606"/>
              <a:ext cx="2539080" cy="1529740"/>
              <a:chOff x="269022" y="857744"/>
              <a:chExt cx="3323570" cy="2002378"/>
            </a:xfrm>
          </p:grpSpPr>
          <p:pic>
            <p:nvPicPr>
              <p:cNvPr id="146" name="Picture 14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69022" y="857744"/>
                <a:ext cx="3323570" cy="2002378"/>
              </a:xfrm>
              <a:prstGeom prst="rect">
                <a:avLst/>
              </a:prstGeom>
            </p:spPr>
          </p:pic>
          <p:pic>
            <p:nvPicPr>
              <p:cNvPr id="147" name="Picture 14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8553" y="1013393"/>
                <a:ext cx="2382716" cy="1513948"/>
              </a:xfrm>
              <a:prstGeom prst="rect">
                <a:avLst/>
              </a:prstGeom>
            </p:spPr>
          </p:pic>
        </p:grpSp>
        <p:grpSp>
          <p:nvGrpSpPr>
            <p:cNvPr id="148" name="Group 147"/>
            <p:cNvGrpSpPr/>
            <p:nvPr/>
          </p:nvGrpSpPr>
          <p:grpSpPr>
            <a:xfrm>
              <a:off x="6036128" y="1275606"/>
              <a:ext cx="2539080" cy="1529740"/>
              <a:chOff x="270825" y="2927036"/>
              <a:chExt cx="3323570" cy="2002378"/>
            </a:xfrm>
          </p:grpSpPr>
          <p:pic>
            <p:nvPicPr>
              <p:cNvPr id="149" name="Picture 14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0825" y="2927036"/>
                <a:ext cx="3323570" cy="2002378"/>
              </a:xfrm>
              <a:prstGeom prst="rect">
                <a:avLst/>
              </a:prstGeom>
            </p:spPr>
          </p:pic>
          <p:pic>
            <p:nvPicPr>
              <p:cNvPr id="150" name="Picture 149"/>
              <p:cNvPicPr>
                <a:picLocks noChangeAspect="1"/>
              </p:cNvPicPr>
              <p:nvPr/>
            </p:nvPicPr>
            <p:blipFill>
              <a:blip r:embed="rId5"/>
              <a:stretch>
                <a:fillRect/>
              </a:stretch>
            </p:blipFill>
            <p:spPr>
              <a:xfrm>
                <a:off x="738554" y="3108753"/>
                <a:ext cx="2382716" cy="1484357"/>
              </a:xfrm>
              <a:prstGeom prst="rect">
                <a:avLst/>
              </a:prstGeom>
            </p:spPr>
          </p:pic>
        </p:grpSp>
      </p:grpSp>
      <p:sp>
        <p:nvSpPr>
          <p:cNvPr id="55" name="Rounded Rectangle 54"/>
          <p:cNvSpPr/>
          <p:nvPr/>
        </p:nvSpPr>
        <p:spPr>
          <a:xfrm>
            <a:off x="4636479" y="3470056"/>
            <a:ext cx="811050" cy="40510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iscoSansTT ExtraLight"/>
                <a:ea typeface="+mn-ea"/>
                <a:cs typeface="+mn-cs"/>
              </a:rPr>
              <a:t>Kafka</a:t>
            </a:r>
          </a:p>
        </p:txBody>
      </p:sp>
      <p:sp>
        <p:nvSpPr>
          <p:cNvPr id="56" name="Rectangle 55"/>
          <p:cNvSpPr/>
          <p:nvPr/>
        </p:nvSpPr>
        <p:spPr>
          <a:xfrm>
            <a:off x="276225" y="1073150"/>
            <a:ext cx="2322521" cy="364214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ctr"/>
          <a:lstStyle/>
          <a:p>
            <a:pPr marL="0" marR="0" lvl="0" indent="0" algn="l" defTabSz="457189" rtl="0" eaLnBrk="1" fontAlgn="base" latinLnBrk="0" hangingPunct="1">
              <a:lnSpc>
                <a:spcPct val="100000"/>
              </a:lnSpc>
              <a:spcBef>
                <a:spcPts val="300"/>
              </a:spcBef>
              <a:spcAft>
                <a:spcPct val="0"/>
              </a:spcAft>
              <a:buClrTx/>
              <a:buSzTx/>
              <a:buFontTx/>
              <a:buNone/>
              <a:tabLst/>
              <a:defRPr/>
            </a:pPr>
            <a:r>
              <a:rPr kumimoji="0" lang="en-US" sz="1400" b="1" i="0" u="none" strike="noStrike" kern="1200" cap="none" spc="0" normalizeH="0" baseline="0" noProof="0">
                <a:ln>
                  <a:noFill/>
                </a:ln>
                <a:solidFill>
                  <a:srgbClr val="005073"/>
                </a:solidFill>
                <a:effectLst/>
                <a:uLnTx/>
                <a:uFillTx/>
                <a:latin typeface="CiscoSansTT ExtraLight"/>
                <a:ea typeface="ＭＳ Ｐゴシック" pitchFamily="34" charset="-128"/>
                <a:cs typeface="+mn-cs"/>
              </a:rPr>
              <a:t>Neighborhood graphs</a:t>
            </a:r>
          </a:p>
          <a:p>
            <a:pPr marL="137160" marR="0" lvl="0" indent="-137160" algn="l" defTabSz="457189" rtl="0" eaLnBrk="1" fontAlgn="base" latinLnBrk="0" hangingPunct="1">
              <a:lnSpc>
                <a:spcPct val="100000"/>
              </a:lnSpc>
              <a:spcBef>
                <a:spcPts val="300"/>
              </a:spcBef>
              <a:spcAft>
                <a:spcPct val="0"/>
              </a:spcAft>
              <a:buClrTx/>
              <a:buSzTx/>
              <a:buFont typeface="Arial" charset="0"/>
              <a:buChar char="•"/>
              <a:tabLst/>
              <a:defRPr/>
            </a:pPr>
            <a:r>
              <a:rPr kumimoji="0" lang="en-US" sz="1200" b="0" i="0" u="none" strike="noStrike" kern="1200" cap="none" spc="0" normalizeH="0" baseline="0" noProof="0">
                <a:ln>
                  <a:noFill/>
                </a:ln>
                <a:solidFill>
                  <a:srgbClr val="005073"/>
                </a:solidFill>
                <a:effectLst/>
                <a:uLnTx/>
                <a:uFillTx/>
                <a:latin typeface="CiscoSansTT ExtraLight"/>
                <a:ea typeface="ＭＳ Ｐゴシック" pitchFamily="34" charset="-128"/>
                <a:cs typeface="+mn-cs"/>
              </a:rPr>
              <a:t>Find up to two-hop communication neighbors for a selected workload</a:t>
            </a:r>
          </a:p>
          <a:p>
            <a:pPr marL="137160" marR="0" lvl="0" indent="-137160" algn="l" defTabSz="457189" rtl="0" eaLnBrk="1" fontAlgn="base" latinLnBrk="0" hangingPunct="1">
              <a:lnSpc>
                <a:spcPct val="100000"/>
              </a:lnSpc>
              <a:spcBef>
                <a:spcPts val="300"/>
              </a:spcBef>
              <a:spcAft>
                <a:spcPct val="0"/>
              </a:spcAft>
              <a:buClrTx/>
              <a:buSzTx/>
              <a:buFont typeface="Arial" charset="0"/>
              <a:buChar char="•"/>
              <a:tabLst/>
              <a:defRPr/>
            </a:pPr>
            <a:r>
              <a:rPr kumimoji="0" lang="en-US" sz="1200" b="0" i="0" u="none" strike="noStrike" kern="1200" cap="none" spc="0" normalizeH="0" baseline="0" noProof="0">
                <a:ln>
                  <a:noFill/>
                </a:ln>
                <a:solidFill>
                  <a:srgbClr val="005073"/>
                </a:solidFill>
                <a:effectLst/>
                <a:uLnTx/>
                <a:uFillTx/>
                <a:latin typeface="CiscoSansTT ExtraLight"/>
                <a:ea typeface="ＭＳ Ｐゴシック" pitchFamily="34" charset="-128"/>
                <a:cs typeface="+mn-cs"/>
              </a:rPr>
              <a:t>Drill down into details about communication between these neighbors</a:t>
            </a:r>
          </a:p>
          <a:p>
            <a:pPr marL="137160" marR="0" lvl="0" indent="-137160" algn="l" defTabSz="457189" rtl="0" eaLnBrk="1" fontAlgn="base" latinLnBrk="0" hangingPunct="1">
              <a:lnSpc>
                <a:spcPct val="100000"/>
              </a:lnSpc>
              <a:spcBef>
                <a:spcPts val="300"/>
              </a:spcBef>
              <a:spcAft>
                <a:spcPct val="0"/>
              </a:spcAft>
              <a:buClrTx/>
              <a:buSzTx/>
              <a:buFont typeface="Arial" charset="0"/>
              <a:buChar char="•"/>
              <a:tabLst/>
              <a:defRPr/>
            </a:pPr>
            <a:r>
              <a:rPr kumimoji="0" lang="en-US" sz="1200" b="0" i="0" u="none" strike="noStrike" kern="1200" cap="none" spc="0" normalizeH="0" baseline="0" noProof="0">
                <a:ln>
                  <a:noFill/>
                </a:ln>
                <a:solidFill>
                  <a:srgbClr val="005073"/>
                </a:solidFill>
                <a:effectLst/>
                <a:uLnTx/>
                <a:uFillTx/>
                <a:latin typeface="CiscoSansTT ExtraLight"/>
                <a:ea typeface="ＭＳ Ｐゴシック" pitchFamily="34" charset="-128"/>
                <a:cs typeface="+mn-cs"/>
              </a:rPr>
              <a:t>View dashboard display using graph database</a:t>
            </a:r>
          </a:p>
          <a:p>
            <a:pPr marL="137160" marR="0" lvl="0" indent="-137160" algn="l" defTabSz="457189" rtl="0" eaLnBrk="1" fontAlgn="base" latinLnBrk="0" hangingPunct="1">
              <a:lnSpc>
                <a:spcPct val="100000"/>
              </a:lnSpc>
              <a:spcBef>
                <a:spcPts val="300"/>
              </a:spcBef>
              <a:spcAft>
                <a:spcPct val="0"/>
              </a:spcAft>
              <a:buClrTx/>
              <a:buSzTx/>
              <a:buFont typeface="Arial" charset="0"/>
              <a:buChar char="•"/>
              <a:tabLst/>
              <a:defRPr/>
            </a:pPr>
            <a:r>
              <a:rPr kumimoji="0" lang="en-US" sz="1200" b="0" i="0" u="none" strike="noStrike" kern="1200" cap="none" spc="0" normalizeH="0" baseline="0" noProof="0">
                <a:ln>
                  <a:noFill/>
                </a:ln>
                <a:solidFill>
                  <a:srgbClr val="005073"/>
                </a:solidFill>
                <a:effectLst/>
                <a:uLnTx/>
                <a:uFillTx/>
                <a:latin typeface="CiscoSansTT ExtraLight"/>
                <a:ea typeface="ＭＳ Ｐゴシック" pitchFamily="34" charset="-128"/>
                <a:cs typeface="+mn-cs"/>
              </a:rPr>
              <a:t>Determine the number</a:t>
            </a:r>
            <a:br>
              <a:rPr kumimoji="0" lang="en-US" sz="1200" b="0" i="0" u="none" strike="noStrike" kern="1200" cap="none" spc="0" normalizeH="0" baseline="0" noProof="0">
                <a:ln>
                  <a:noFill/>
                </a:ln>
                <a:solidFill>
                  <a:srgbClr val="005073"/>
                </a:solidFill>
                <a:effectLst/>
                <a:uLnTx/>
                <a:uFillTx/>
                <a:latin typeface="CiscoSansTT ExtraLight"/>
                <a:ea typeface="ＭＳ Ｐゴシック" pitchFamily="34" charset="-128"/>
                <a:cs typeface="+mn-cs"/>
              </a:rPr>
            </a:br>
            <a:r>
              <a:rPr kumimoji="0" lang="en-US" sz="1200" b="0" i="0" u="none" strike="noStrike" kern="1200" cap="none" spc="0" normalizeH="0" baseline="0" noProof="0">
                <a:ln>
                  <a:noFill/>
                </a:ln>
                <a:solidFill>
                  <a:srgbClr val="005073"/>
                </a:solidFill>
                <a:effectLst/>
                <a:uLnTx/>
                <a:uFillTx/>
                <a:latin typeface="CiscoSansTT ExtraLight"/>
                <a:ea typeface="ＭＳ Ｐゴシック" pitchFamily="34" charset="-128"/>
                <a:cs typeface="+mn-cs"/>
              </a:rPr>
              <a:t>of server hops between</a:t>
            </a:r>
            <a:br>
              <a:rPr kumimoji="0" lang="en-US" sz="1200" b="0" i="0" u="none" strike="noStrike" kern="1200" cap="none" spc="0" normalizeH="0" baseline="0" noProof="0">
                <a:ln>
                  <a:noFill/>
                </a:ln>
                <a:solidFill>
                  <a:srgbClr val="005073"/>
                </a:solidFill>
                <a:effectLst/>
                <a:uLnTx/>
                <a:uFillTx/>
                <a:latin typeface="CiscoSansTT ExtraLight"/>
                <a:ea typeface="ＭＳ Ｐゴシック" pitchFamily="34" charset="-128"/>
                <a:cs typeface="+mn-cs"/>
              </a:rPr>
            </a:br>
            <a:r>
              <a:rPr kumimoji="0" lang="en-US" sz="1200" b="0" i="0" u="none" strike="noStrike" kern="1200" cap="none" spc="0" normalizeH="0" baseline="0" noProof="0">
                <a:ln>
                  <a:noFill/>
                </a:ln>
                <a:solidFill>
                  <a:srgbClr val="005073"/>
                </a:solidFill>
                <a:effectLst/>
                <a:uLnTx/>
                <a:uFillTx/>
                <a:latin typeface="CiscoSansTT ExtraLight"/>
                <a:ea typeface="ＭＳ Ｐゴシック" pitchFamily="34" charset="-128"/>
                <a:cs typeface="+mn-cs"/>
              </a:rPr>
              <a:t>two workloads</a:t>
            </a:r>
          </a:p>
          <a:p>
            <a:pPr marL="137160" marR="0" lvl="0" indent="-137160" algn="l" defTabSz="457189" rtl="0" eaLnBrk="1" fontAlgn="base" latinLnBrk="0" hangingPunct="1">
              <a:lnSpc>
                <a:spcPct val="100000"/>
              </a:lnSpc>
              <a:spcBef>
                <a:spcPts val="300"/>
              </a:spcBef>
              <a:spcAft>
                <a:spcPct val="0"/>
              </a:spcAft>
              <a:buClrTx/>
              <a:buSzTx/>
              <a:buFont typeface="Arial" charset="0"/>
              <a:buChar char="•"/>
              <a:tabLst/>
              <a:defRPr/>
            </a:pPr>
            <a:r>
              <a:rPr kumimoji="0" lang="en-US" sz="1200" b="0" i="0" u="none" strike="noStrike" kern="1200" cap="none" spc="0" normalizeH="0" baseline="0" noProof="0">
                <a:ln>
                  <a:noFill/>
                </a:ln>
                <a:solidFill>
                  <a:srgbClr val="005073"/>
                </a:solidFill>
                <a:effectLst/>
                <a:uLnTx/>
                <a:uFillTx/>
                <a:latin typeface="CiscoSansTT ExtraLight"/>
                <a:ea typeface="ＭＳ Ｐゴシック" pitchFamily="34" charset="-128"/>
                <a:cs typeface="+mn-cs"/>
              </a:rPr>
              <a:t>Get out-of-the-box</a:t>
            </a:r>
            <a:br>
              <a:rPr kumimoji="0" lang="en-US" sz="1200" b="0" i="0" u="none" strike="noStrike" kern="1200" cap="none" spc="0" normalizeH="0" baseline="0" noProof="0">
                <a:ln>
                  <a:noFill/>
                </a:ln>
                <a:solidFill>
                  <a:srgbClr val="005073"/>
                </a:solidFill>
                <a:effectLst/>
                <a:uLnTx/>
                <a:uFillTx/>
                <a:latin typeface="CiscoSansTT ExtraLight"/>
                <a:ea typeface="ＭＳ Ｐゴシック" pitchFamily="34" charset="-128"/>
                <a:cs typeface="+mn-cs"/>
              </a:rPr>
            </a:br>
            <a:r>
              <a:rPr kumimoji="0" lang="en-US" sz="1200" b="0" i="0" u="none" strike="noStrike" kern="1200" cap="none" spc="0" normalizeH="0" baseline="0" noProof="0">
                <a:ln>
                  <a:noFill/>
                </a:ln>
                <a:solidFill>
                  <a:srgbClr val="005073"/>
                </a:solidFill>
                <a:effectLst/>
                <a:uLnTx/>
                <a:uFillTx/>
                <a:latin typeface="CiscoSansTT ExtraLight"/>
                <a:ea typeface="ＭＳ Ｐゴシック" pitchFamily="34" charset="-128"/>
                <a:cs typeface="+mn-cs"/>
              </a:rPr>
              <a:t>and customer alerts</a:t>
            </a:r>
            <a:br>
              <a:rPr kumimoji="0" lang="en-US" sz="1200" b="0" i="0" u="none" strike="noStrike" kern="1200" cap="none" spc="0" normalizeH="0" baseline="0" noProof="0">
                <a:ln>
                  <a:noFill/>
                </a:ln>
                <a:solidFill>
                  <a:srgbClr val="005073"/>
                </a:solidFill>
                <a:effectLst/>
                <a:uLnTx/>
                <a:uFillTx/>
                <a:latin typeface="CiscoSansTT ExtraLight"/>
                <a:ea typeface="ＭＳ Ｐゴシック" pitchFamily="34" charset="-128"/>
                <a:cs typeface="+mn-cs"/>
              </a:rPr>
            </a:br>
            <a:r>
              <a:rPr kumimoji="0" lang="en-US" sz="1200" b="0" i="0" u="none" strike="noStrike" kern="1200" cap="none" spc="0" normalizeH="0" baseline="0" noProof="0">
                <a:ln>
                  <a:noFill/>
                </a:ln>
                <a:solidFill>
                  <a:srgbClr val="005073"/>
                </a:solidFill>
                <a:effectLst/>
                <a:uLnTx/>
                <a:uFillTx/>
                <a:latin typeface="CiscoSansTT ExtraLight"/>
                <a:ea typeface="ＭＳ Ｐゴシック" pitchFamily="34" charset="-128"/>
                <a:cs typeface="+mn-cs"/>
              </a:rPr>
              <a:t>through Kafka</a:t>
            </a:r>
          </a:p>
        </p:txBody>
      </p:sp>
    </p:spTree>
    <p:extLst>
      <p:ext uri="{BB962C8B-B14F-4D97-AF65-F5344CB8AC3E}">
        <p14:creationId xmlns:p14="http://schemas.microsoft.com/office/powerpoint/2010/main" val="13107645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 name="Rectangle 200"/>
          <p:cNvSpPr/>
          <p:nvPr/>
        </p:nvSpPr>
        <p:spPr>
          <a:xfrm>
            <a:off x="4571999" y="1073150"/>
            <a:ext cx="4300539" cy="3642144"/>
          </a:xfrm>
          <a:prstGeom prst="rect">
            <a:avLst/>
          </a:prstGeom>
          <a:solidFill>
            <a:schemeClr val="tx2">
              <a:lumMod val="20000"/>
              <a:lumOff val="80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pic>
        <p:nvPicPr>
          <p:cNvPr id="171" name="Picture 170" descr="datastream.png"/>
          <p:cNvPicPr>
            <a:picLocks noChangeAspect="1"/>
          </p:cNvPicPr>
          <p:nvPr>
            <p:custDataLst>
              <p:tags r:id="rId1"/>
            </p:custDataLst>
          </p:nvPr>
        </p:nvPicPr>
        <p:blipFill>
          <a:blip r:embed="rId4">
            <a:alphaModFix amt="37000"/>
            <a:biLevel thresh="75000"/>
            <a:extLst>
              <a:ext uri="{BEBA8EAE-BF5A-486C-A8C5-ECC9F3942E4B}">
                <a14:imgProps xmlns:a14="http://schemas.microsoft.com/office/drawing/2010/main">
                  <a14:imgLayer r:embed="rId5">
                    <a14:imgEffect>
                      <a14:brightnessContrast bright="40000"/>
                    </a14:imgEffect>
                  </a14:imgLayer>
                </a14:imgProps>
              </a:ext>
              <a:ext uri="{28A0092B-C50C-407E-A947-70E740481C1C}">
                <a14:useLocalDpi xmlns:a14="http://schemas.microsoft.com/office/drawing/2010/main"/>
              </a:ext>
            </a:extLst>
          </a:blip>
          <a:stretch>
            <a:fillRect/>
          </a:stretch>
        </p:blipFill>
        <p:spPr>
          <a:xfrm>
            <a:off x="4571999" y="1063048"/>
            <a:ext cx="3446853" cy="3661352"/>
          </a:xfrm>
          <a:prstGeom prst="rect">
            <a:avLst/>
          </a:prstGeom>
        </p:spPr>
      </p:pic>
      <p:sp>
        <p:nvSpPr>
          <p:cNvPr id="206" name="Rectangle 205"/>
          <p:cNvSpPr/>
          <p:nvPr/>
        </p:nvSpPr>
        <p:spPr>
          <a:xfrm>
            <a:off x="276225" y="1073150"/>
            <a:ext cx="4295775" cy="364214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796" marR="0" lvl="0" indent="-177796" algn="l" defTabSz="457189" rtl="0" eaLnBrk="1" fontAlgn="base" latinLnBrk="0" hangingPunct="1">
              <a:lnSpc>
                <a:spcPct val="100000"/>
              </a:lnSpc>
              <a:spcBef>
                <a:spcPts val="300"/>
              </a:spcBef>
              <a:spcAft>
                <a:spcPct val="0"/>
              </a:spcAft>
              <a:buClrTx/>
              <a:buSzTx/>
              <a:buFont typeface="Arial" charset="0"/>
              <a:buChar char="•"/>
              <a:tabLst/>
              <a:defRPr/>
            </a:pPr>
            <a:endParaRPr kumimoji="0" lang="en-US" sz="12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4" name="Title 3"/>
          <p:cNvSpPr>
            <a:spLocks noGrp="1"/>
          </p:cNvSpPr>
          <p:nvPr>
            <p:ph type="title"/>
          </p:nvPr>
        </p:nvSpPr>
        <p:spPr/>
        <p:txBody>
          <a:bodyPr/>
          <a:lstStyle/>
          <a:p>
            <a:r>
              <a:rPr lang="en-US">
                <a:latin typeface="+mn-lt"/>
              </a:rPr>
              <a:t>Cisco Tetration: Server process and process hash</a:t>
            </a:r>
          </a:p>
        </p:txBody>
      </p:sp>
      <p:sp>
        <p:nvSpPr>
          <p:cNvPr id="205" name="Rectangle 204"/>
          <p:cNvSpPr/>
          <p:nvPr/>
        </p:nvSpPr>
        <p:spPr>
          <a:xfrm>
            <a:off x="555962" y="2309126"/>
            <a:ext cx="3736301" cy="2251899"/>
          </a:xfrm>
          <a:prstGeom prst="rect">
            <a:avLst/>
          </a:prstGeom>
        </p:spPr>
        <p:txBody>
          <a:bodyPr wrap="square" lIns="0" tIns="0" rIns="0" bIns="0">
            <a:spAutoFit/>
          </a:bodyPr>
          <a:lstStyle/>
          <a:p>
            <a:pPr marL="182880" marR="0" lvl="0" indent="-182880" algn="l" defTabSz="457200" rtl="0" eaLnBrk="1" fontAlgn="base" latinLnBrk="0" hangingPunct="1">
              <a:lnSpc>
                <a:spcPct val="100000"/>
              </a:lnSpc>
              <a:spcBef>
                <a:spcPts val="800"/>
              </a:spcBef>
              <a:spcAft>
                <a:spcPts val="0"/>
              </a:spcAft>
              <a:buClrTx/>
              <a:buSzTx/>
              <a:buFont typeface="Arial" charset="0"/>
              <a:buChar char="•"/>
              <a:tabLst/>
              <a:defRPr/>
            </a:pPr>
            <a:r>
              <a:rPr kumimoji="0" lang="en-AU" sz="1300" b="0" i="0" u="none" strike="noStrike" kern="1200" cap="none" spc="0" normalizeH="0" baseline="0" noProof="0">
                <a:ln>
                  <a:noFill/>
                </a:ln>
                <a:solidFill>
                  <a:srgbClr val="005073"/>
                </a:solidFill>
                <a:effectLst/>
                <a:uLnTx/>
                <a:uFillTx/>
                <a:latin typeface="CiscoSansTT ExtraLight"/>
                <a:ea typeface="Arial" charset="0"/>
                <a:cs typeface="Arial" charset="0"/>
              </a:rPr>
              <a:t>Computed process hash for all the processes running on the server</a:t>
            </a:r>
          </a:p>
          <a:p>
            <a:pPr marL="182880" marR="0" lvl="0" indent="-182880" algn="l" defTabSz="457200" rtl="0" eaLnBrk="1" fontAlgn="base" latinLnBrk="0" hangingPunct="1">
              <a:lnSpc>
                <a:spcPct val="100000"/>
              </a:lnSpc>
              <a:spcBef>
                <a:spcPts val="800"/>
              </a:spcBef>
              <a:spcAft>
                <a:spcPts val="0"/>
              </a:spcAft>
              <a:buClrTx/>
              <a:buSzTx/>
              <a:buFont typeface="Arial" charset="0"/>
              <a:buChar char="•"/>
              <a:tabLst/>
              <a:defRPr/>
            </a:pPr>
            <a:r>
              <a:rPr kumimoji="0" lang="en-US" sz="1300" b="0" i="0" u="none" strike="noStrike" kern="1200" cap="none" spc="0" normalizeH="0" baseline="0" noProof="0">
                <a:ln>
                  <a:noFill/>
                </a:ln>
                <a:solidFill>
                  <a:srgbClr val="005073"/>
                </a:solidFill>
                <a:effectLst/>
                <a:uLnTx/>
                <a:uFillTx/>
                <a:latin typeface="CiscoSansTT ExtraLight"/>
                <a:ea typeface="Arial" charset="0"/>
                <a:cs typeface="Arial" charset="0"/>
              </a:rPr>
              <a:t>Search based on:</a:t>
            </a:r>
          </a:p>
          <a:p>
            <a:pPr marL="365760" marR="0" lvl="1" indent="-182880" algn="l" defTabSz="457200" rtl="0" eaLnBrk="1" fontAlgn="base" latinLnBrk="0" hangingPunct="1">
              <a:lnSpc>
                <a:spcPct val="100000"/>
              </a:lnSpc>
              <a:spcBef>
                <a:spcPct val="0"/>
              </a:spcBef>
              <a:spcAft>
                <a:spcPts val="0"/>
              </a:spcAft>
              <a:buClrTx/>
              <a:buSzTx/>
              <a:buFont typeface="Arial" charset="0"/>
              <a:buChar char="•"/>
              <a:tabLst/>
              <a:defRPr/>
            </a:pPr>
            <a:r>
              <a:rPr kumimoji="0" lang="en-US" sz="1100" b="0" i="0" u="none" strike="noStrike" kern="1200" cap="none" spc="0" normalizeH="0" baseline="0" noProof="0">
                <a:ln>
                  <a:noFill/>
                </a:ln>
                <a:solidFill>
                  <a:srgbClr val="005073"/>
                </a:solidFill>
                <a:effectLst/>
                <a:uLnTx/>
                <a:uFillTx/>
                <a:latin typeface="CiscoSansTT ExtraLight"/>
                <a:ea typeface="Arial" charset="0"/>
                <a:cs typeface="Arial" charset="0"/>
              </a:rPr>
              <a:t>Process</a:t>
            </a:r>
          </a:p>
          <a:p>
            <a:pPr marL="365760" marR="0" lvl="1" indent="-182880" algn="l" defTabSz="457200" rtl="0" eaLnBrk="1" fontAlgn="base" latinLnBrk="0" hangingPunct="1">
              <a:lnSpc>
                <a:spcPct val="100000"/>
              </a:lnSpc>
              <a:spcBef>
                <a:spcPct val="0"/>
              </a:spcBef>
              <a:spcAft>
                <a:spcPts val="0"/>
              </a:spcAft>
              <a:buClrTx/>
              <a:buSzTx/>
              <a:buFont typeface="Arial" charset="0"/>
              <a:buChar char="•"/>
              <a:tabLst/>
              <a:defRPr/>
            </a:pPr>
            <a:r>
              <a:rPr kumimoji="0" lang="en-US" sz="1100" b="0" i="0" u="none" strike="noStrike" kern="1200" cap="none" spc="0" normalizeH="0" baseline="0" noProof="0">
                <a:ln>
                  <a:noFill/>
                </a:ln>
                <a:solidFill>
                  <a:srgbClr val="005073"/>
                </a:solidFill>
                <a:effectLst/>
                <a:uLnTx/>
                <a:uFillTx/>
                <a:latin typeface="CiscoSansTT ExtraLight"/>
                <a:ea typeface="Arial" charset="0"/>
                <a:cs typeface="Arial" charset="0"/>
              </a:rPr>
              <a:t>Process ID</a:t>
            </a:r>
          </a:p>
          <a:p>
            <a:pPr marL="365760" marR="0" lvl="1" indent="-182880" algn="l" defTabSz="457200" rtl="0" eaLnBrk="1" fontAlgn="base" latinLnBrk="0" hangingPunct="1">
              <a:lnSpc>
                <a:spcPct val="100000"/>
              </a:lnSpc>
              <a:spcBef>
                <a:spcPct val="0"/>
              </a:spcBef>
              <a:spcAft>
                <a:spcPts val="0"/>
              </a:spcAft>
              <a:buClrTx/>
              <a:buSzTx/>
              <a:buFont typeface="Arial" charset="0"/>
              <a:buChar char="•"/>
              <a:tabLst/>
              <a:defRPr/>
            </a:pPr>
            <a:r>
              <a:rPr kumimoji="0" lang="en-US" sz="1100" b="0" i="0" u="none" strike="noStrike" kern="1200" cap="none" spc="0" normalizeH="0" baseline="0" noProof="0">
                <a:ln>
                  <a:noFill/>
                </a:ln>
                <a:solidFill>
                  <a:srgbClr val="005073"/>
                </a:solidFill>
                <a:effectLst/>
                <a:uLnTx/>
                <a:uFillTx/>
                <a:latin typeface="CiscoSansTT ExtraLight"/>
                <a:ea typeface="Arial" charset="0"/>
                <a:cs typeface="Arial" charset="0"/>
              </a:rPr>
              <a:t>All servers running a particular process</a:t>
            </a:r>
          </a:p>
          <a:p>
            <a:pPr marL="365760" marR="0" lvl="1" indent="-182880" algn="l" defTabSz="457200" rtl="0" eaLnBrk="1" fontAlgn="base" latinLnBrk="0" hangingPunct="1">
              <a:lnSpc>
                <a:spcPct val="100000"/>
              </a:lnSpc>
              <a:spcBef>
                <a:spcPct val="0"/>
              </a:spcBef>
              <a:spcAft>
                <a:spcPts val="0"/>
              </a:spcAft>
              <a:buClrTx/>
              <a:buSzTx/>
              <a:buFont typeface="Arial" charset="0"/>
              <a:buChar char="•"/>
              <a:tabLst/>
              <a:defRPr/>
            </a:pPr>
            <a:r>
              <a:rPr kumimoji="0" lang="en-US" sz="1100" b="0" i="0" u="none" strike="noStrike" kern="1200" cap="none" spc="0" normalizeH="0" baseline="0" noProof="0">
                <a:ln>
                  <a:noFill/>
                </a:ln>
                <a:solidFill>
                  <a:srgbClr val="005073"/>
                </a:solidFill>
                <a:effectLst/>
                <a:uLnTx/>
                <a:uFillTx/>
                <a:latin typeface="CiscoSansTT ExtraLight"/>
                <a:ea typeface="Arial" charset="0"/>
                <a:cs typeface="Arial" charset="0"/>
              </a:rPr>
              <a:t>Details for long-running processes</a:t>
            </a:r>
          </a:p>
          <a:p>
            <a:pPr marL="365760" marR="0" lvl="1" indent="-182880" algn="l" defTabSz="457200" rtl="0" eaLnBrk="1" fontAlgn="base" latinLnBrk="0" hangingPunct="1">
              <a:lnSpc>
                <a:spcPct val="100000"/>
              </a:lnSpc>
              <a:spcBef>
                <a:spcPct val="0"/>
              </a:spcBef>
              <a:spcAft>
                <a:spcPts val="0"/>
              </a:spcAft>
              <a:buClrTx/>
              <a:buSzTx/>
              <a:buFont typeface="Arial" charset="0"/>
              <a:buChar char="•"/>
              <a:tabLst/>
              <a:defRPr/>
            </a:pPr>
            <a:r>
              <a:rPr kumimoji="0" lang="en-US" sz="1100" b="0" i="0" u="none" strike="noStrike" kern="1200" cap="none" spc="0" normalizeH="0" baseline="0" noProof="0">
                <a:ln>
                  <a:noFill/>
                </a:ln>
                <a:solidFill>
                  <a:srgbClr val="005073"/>
                </a:solidFill>
                <a:effectLst/>
                <a:uLnTx/>
                <a:uFillTx/>
                <a:latin typeface="CiscoSansTT ExtraLight"/>
                <a:ea typeface="Arial" charset="0"/>
                <a:cs typeface="Arial" charset="0"/>
              </a:rPr>
              <a:t>User ID associated with process and process ID</a:t>
            </a:r>
          </a:p>
          <a:p>
            <a:pPr marL="182880" marR="0" lvl="0" indent="-182880" algn="l" defTabSz="457200" rtl="0" eaLnBrk="1" fontAlgn="base" latinLnBrk="0" hangingPunct="1">
              <a:lnSpc>
                <a:spcPct val="100000"/>
              </a:lnSpc>
              <a:spcBef>
                <a:spcPts val="800"/>
              </a:spcBef>
              <a:spcAft>
                <a:spcPts val="0"/>
              </a:spcAft>
              <a:buClrTx/>
              <a:buSzTx/>
              <a:buFont typeface="Arial" charset="0"/>
              <a:buChar char="•"/>
              <a:tabLst/>
              <a:defRPr/>
            </a:pPr>
            <a:r>
              <a:rPr kumimoji="0" lang="en-US" sz="1300" b="0" i="0" u="none" strike="noStrike" kern="1200" cap="none" spc="0" normalizeH="0" baseline="0" noProof="0">
                <a:ln>
                  <a:noFill/>
                </a:ln>
                <a:solidFill>
                  <a:srgbClr val="005073"/>
                </a:solidFill>
                <a:effectLst/>
                <a:uLnTx/>
                <a:uFillTx/>
                <a:latin typeface="CiscoSansTT ExtraLight"/>
                <a:ea typeface="Arial" charset="0"/>
                <a:cs typeface="Arial" charset="0"/>
              </a:rPr>
              <a:t>Use process hash information to search for suspicious processes against any indicators of compromise (IOCs)</a:t>
            </a:r>
            <a:endParaRPr kumimoji="0" lang="en-US" sz="1300" b="0" i="0" u="none" strike="noStrike" kern="1200" cap="none" spc="0" normalizeH="0" baseline="0" noProof="0">
              <a:ln>
                <a:noFill/>
              </a:ln>
              <a:solidFill>
                <a:srgbClr val="005073"/>
              </a:solidFill>
              <a:effectLst/>
              <a:uLnTx/>
              <a:uFillTx/>
              <a:latin typeface="CiscoSansTT ExtraLight"/>
              <a:ea typeface="Arial" charset="0"/>
              <a:cs typeface="Arial" charset="0"/>
              <a:sym typeface="Wingdings"/>
            </a:endParaRPr>
          </a:p>
        </p:txBody>
      </p:sp>
      <p:sp>
        <p:nvSpPr>
          <p:cNvPr id="207" name="TextBox 206">
            <a:extLst>
              <a:ext uri="{FF2B5EF4-FFF2-40B4-BE49-F238E27FC236}">
                <a16:creationId xmlns:a16="http://schemas.microsoft.com/office/drawing/2014/main" id="{FEFEA408-56CA-4311-A7A0-C0AD5EB5D1E9}"/>
              </a:ext>
            </a:extLst>
          </p:cNvPr>
          <p:cNvSpPr txBox="1"/>
          <p:nvPr/>
        </p:nvSpPr>
        <p:spPr>
          <a:xfrm>
            <a:off x="276225" y="1108881"/>
            <a:ext cx="4295775" cy="430887"/>
          </a:xfrm>
          <a:prstGeom prst="rect">
            <a:avLst/>
          </a:prstGeom>
          <a:noFill/>
        </p:spPr>
        <p:txBody>
          <a:bodyPr wrap="square" lIns="91440" tIns="91440" rIns="91440" bIns="91440" rtlCol="0">
            <a:spAutoFit/>
          </a:bodyPr>
          <a:lstStyle/>
          <a:p>
            <a:pPr marL="0" marR="0" lvl="0" indent="0" algn="ctr" defTabSz="457178" rtl="0" eaLnBrk="1" fontAlgn="base" latinLnBrk="0" hangingPunct="1">
              <a:lnSpc>
                <a:spcPct val="100000"/>
              </a:lnSpc>
              <a:spcBef>
                <a:spcPct val="0"/>
              </a:spcBef>
              <a:spcAft>
                <a:spcPct val="0"/>
              </a:spcAft>
              <a:buClrTx/>
              <a:buSzTx/>
              <a:buFontTx/>
              <a:buNone/>
              <a:tabLst>
                <a:tab pos="139694" algn="l"/>
              </a:tabLst>
              <a:defRPr/>
            </a:pPr>
            <a:r>
              <a:rPr kumimoji="0" lang="en-US" altLang="zh-CN" sz="1600" b="0" i="0" u="none" strike="noStrike" kern="1200" cap="none" spc="0" normalizeH="0" baseline="0" noProof="0">
                <a:ln>
                  <a:noFill/>
                </a:ln>
                <a:solidFill>
                  <a:srgbClr val="005073"/>
                </a:solidFill>
                <a:effectLst/>
                <a:uLnTx/>
                <a:uFillTx/>
                <a:latin typeface="CiscoSansTT ExtraLight"/>
                <a:ea typeface="Arial" charset="0"/>
                <a:cs typeface="Arial" charset="0"/>
              </a:rPr>
              <a:t>Cisco Tetration Analytics</a:t>
            </a:r>
            <a:r>
              <a:rPr kumimoji="0" lang="en-US" altLang="zh-CN" sz="1600" b="0" i="0" u="none" strike="noStrike" kern="1200" cap="none" spc="0" normalizeH="0" baseline="0" noProof="0">
                <a:ln>
                  <a:noFill/>
                </a:ln>
                <a:solidFill>
                  <a:srgbClr val="005073"/>
                </a:solidFill>
                <a:effectLst/>
                <a:uLnTx/>
                <a:uFillTx/>
                <a:latin typeface="CiscoSansTT ExtraLight"/>
                <a:ea typeface="Arial" charset="0"/>
                <a:cs typeface="Arial"/>
              </a:rPr>
              <a:t>™</a:t>
            </a:r>
            <a:endParaRPr kumimoji="0" lang="en-US" altLang="zh-CN" sz="1600" b="0" i="0" u="none" strike="noStrike" kern="1200" cap="none" spc="0" normalizeH="0" baseline="0" noProof="0">
              <a:ln>
                <a:noFill/>
              </a:ln>
              <a:solidFill>
                <a:srgbClr val="005073"/>
              </a:solidFill>
              <a:effectLst/>
              <a:uLnTx/>
              <a:uFillTx/>
              <a:latin typeface="CiscoSansTT ExtraLight"/>
              <a:ea typeface="Arial" charset="0"/>
              <a:cs typeface="Arial" charset="0"/>
            </a:endParaRPr>
          </a:p>
        </p:txBody>
      </p:sp>
      <p:sp>
        <p:nvSpPr>
          <p:cNvPr id="209" name="Freeform 8"/>
          <p:cNvSpPr>
            <a:spLocks/>
          </p:cNvSpPr>
          <p:nvPr/>
        </p:nvSpPr>
        <p:spPr bwMode="auto">
          <a:xfrm>
            <a:off x="2203684" y="1609376"/>
            <a:ext cx="541248" cy="630143"/>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solidFill>
            <a:schemeClr val="bg2"/>
          </a:solidFill>
          <a:ln>
            <a:noFill/>
          </a:ln>
          <a:extLst/>
        </p:spPr>
        <p:txBody>
          <a:bodyPr vert="horz" wrap="square" lIns="121920" tIns="60960" rIns="121920" bIns="6096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nvGrpSpPr>
          <p:cNvPr id="12" name="Group 11"/>
          <p:cNvGrpSpPr/>
          <p:nvPr/>
        </p:nvGrpSpPr>
        <p:grpSpPr>
          <a:xfrm>
            <a:off x="5995484" y="1254551"/>
            <a:ext cx="2415658" cy="2705192"/>
            <a:chOff x="5995484" y="1254551"/>
            <a:chExt cx="2415658" cy="2705192"/>
          </a:xfrm>
        </p:grpSpPr>
        <p:grpSp>
          <p:nvGrpSpPr>
            <p:cNvPr id="2" name="Group 1">
              <a:extLst>
                <a:ext uri="{FF2B5EF4-FFF2-40B4-BE49-F238E27FC236}">
                  <a16:creationId xmlns:a16="http://schemas.microsoft.com/office/drawing/2014/main" id="{2E2A8D88-221A-49EE-B707-244AE012DFEC}"/>
                </a:ext>
              </a:extLst>
            </p:cNvPr>
            <p:cNvGrpSpPr/>
            <p:nvPr/>
          </p:nvGrpSpPr>
          <p:grpSpPr>
            <a:xfrm>
              <a:off x="5995484" y="1254551"/>
              <a:ext cx="2415658" cy="2636201"/>
              <a:chOff x="3262579" y="-3959640"/>
              <a:chExt cx="2775534" cy="3028932"/>
            </a:xfrm>
          </p:grpSpPr>
          <p:grpSp>
            <p:nvGrpSpPr>
              <p:cNvPr id="539" name="Group 538">
                <a:extLst>
                  <a:ext uri="{FF2B5EF4-FFF2-40B4-BE49-F238E27FC236}">
                    <a16:creationId xmlns:a16="http://schemas.microsoft.com/office/drawing/2014/main" id="{82E9E34C-29F9-4602-8C4B-9E305CC61046}"/>
                  </a:ext>
                </a:extLst>
              </p:cNvPr>
              <p:cNvGrpSpPr/>
              <p:nvPr/>
            </p:nvGrpSpPr>
            <p:grpSpPr>
              <a:xfrm>
                <a:off x="3262579" y="-3959640"/>
                <a:ext cx="2775534" cy="3028932"/>
                <a:chOff x="3262579" y="998893"/>
                <a:chExt cx="2775534" cy="3028932"/>
              </a:xfrm>
            </p:grpSpPr>
            <p:sp>
              <p:nvSpPr>
                <p:cNvPr id="540" name="Freeform 10">
                  <a:extLst>
                    <a:ext uri="{FF2B5EF4-FFF2-40B4-BE49-F238E27FC236}">
                      <a16:creationId xmlns:a16="http://schemas.microsoft.com/office/drawing/2014/main" id="{61DA03CF-33B1-43FE-BB33-C19E565C6606}"/>
                    </a:ext>
                  </a:extLst>
                </p:cNvPr>
                <p:cNvSpPr>
                  <a:spLocks/>
                </p:cNvSpPr>
                <p:nvPr/>
              </p:nvSpPr>
              <p:spPr bwMode="auto">
                <a:xfrm>
                  <a:off x="3262579" y="998893"/>
                  <a:ext cx="2775534" cy="3028932"/>
                </a:xfrm>
                <a:custGeom>
                  <a:avLst/>
                  <a:gdLst>
                    <a:gd name="T0" fmla="*/ 7217 w 7268"/>
                    <a:gd name="T1" fmla="*/ 2089 h 8126"/>
                    <a:gd name="T2" fmla="*/ 7162 w 7268"/>
                    <a:gd name="T3" fmla="*/ 1960 h 8126"/>
                    <a:gd name="T4" fmla="*/ 6613 w 7268"/>
                    <a:gd name="T5" fmla="*/ 1707 h 8126"/>
                    <a:gd name="T6" fmla="*/ 6112 w 7268"/>
                    <a:gd name="T7" fmla="*/ 1359 h 8126"/>
                    <a:gd name="T8" fmla="*/ 6065 w 7268"/>
                    <a:gd name="T9" fmla="*/ 1349 h 8126"/>
                    <a:gd name="T10" fmla="*/ 6010 w 7268"/>
                    <a:gd name="T11" fmla="*/ 1363 h 8126"/>
                    <a:gd name="T12" fmla="*/ 5951 w 7268"/>
                    <a:gd name="T13" fmla="*/ 1270 h 8126"/>
                    <a:gd name="T14" fmla="*/ 5412 w 7268"/>
                    <a:gd name="T15" fmla="*/ 1012 h 8126"/>
                    <a:gd name="T16" fmla="*/ 4856 w 7268"/>
                    <a:gd name="T17" fmla="*/ 674 h 8126"/>
                    <a:gd name="T18" fmla="*/ 4303 w 7268"/>
                    <a:gd name="T19" fmla="*/ 358 h 8126"/>
                    <a:gd name="T20" fmla="*/ 4288 w 7268"/>
                    <a:gd name="T21" fmla="*/ 352 h 8126"/>
                    <a:gd name="T22" fmla="*/ 4202 w 7268"/>
                    <a:gd name="T23" fmla="*/ 355 h 8126"/>
                    <a:gd name="T24" fmla="*/ 3708 w 7268"/>
                    <a:gd name="T25" fmla="*/ 16 h 8126"/>
                    <a:gd name="T26" fmla="*/ 3158 w 7268"/>
                    <a:gd name="T27" fmla="*/ 264 h 8126"/>
                    <a:gd name="T28" fmla="*/ 3093 w 7268"/>
                    <a:gd name="T29" fmla="*/ 353 h 8126"/>
                    <a:gd name="T30" fmla="*/ 3000 w 7268"/>
                    <a:gd name="T31" fmla="*/ 357 h 8126"/>
                    <a:gd name="T32" fmla="*/ 2494 w 7268"/>
                    <a:gd name="T33" fmla="*/ 688 h 8126"/>
                    <a:gd name="T34" fmla="*/ 1941 w 7268"/>
                    <a:gd name="T35" fmla="*/ 940 h 8126"/>
                    <a:gd name="T36" fmla="*/ 1820 w 7268"/>
                    <a:gd name="T37" fmla="*/ 1004 h 8126"/>
                    <a:gd name="T38" fmla="*/ 1264 w 7268"/>
                    <a:gd name="T39" fmla="*/ 1345 h 8126"/>
                    <a:gd name="T40" fmla="*/ 1213 w 7268"/>
                    <a:gd name="T41" fmla="*/ 1333 h 8126"/>
                    <a:gd name="T42" fmla="*/ 1160 w 7268"/>
                    <a:gd name="T43" fmla="*/ 1347 h 8126"/>
                    <a:gd name="T44" fmla="*/ 612 w 7268"/>
                    <a:gd name="T45" fmla="*/ 1679 h 8126"/>
                    <a:gd name="T46" fmla="*/ 64 w 7268"/>
                    <a:gd name="T47" fmla="*/ 2037 h 8126"/>
                    <a:gd name="T48" fmla="*/ 0 w 7268"/>
                    <a:gd name="T49" fmla="*/ 2179 h 8126"/>
                    <a:gd name="T50" fmla="*/ 54 w 7268"/>
                    <a:gd name="T51" fmla="*/ 2775 h 8126"/>
                    <a:gd name="T52" fmla="*/ 0 w 7268"/>
                    <a:gd name="T53" fmla="*/ 3372 h 8126"/>
                    <a:gd name="T54" fmla="*/ 0 w 7268"/>
                    <a:gd name="T55" fmla="*/ 4047 h 8126"/>
                    <a:gd name="T56" fmla="*/ 0 w 7268"/>
                    <a:gd name="T57" fmla="*/ 4723 h 8126"/>
                    <a:gd name="T58" fmla="*/ 54 w 7268"/>
                    <a:gd name="T59" fmla="*/ 4815 h 8126"/>
                    <a:gd name="T60" fmla="*/ 41 w 7268"/>
                    <a:gd name="T61" fmla="*/ 5498 h 8126"/>
                    <a:gd name="T62" fmla="*/ 54 w 7268"/>
                    <a:gd name="T63" fmla="*/ 6181 h 8126"/>
                    <a:gd name="T64" fmla="*/ 508 w 7268"/>
                    <a:gd name="T65" fmla="*/ 6435 h 8126"/>
                    <a:gd name="T66" fmla="*/ 647 w 7268"/>
                    <a:gd name="T67" fmla="*/ 6525 h 8126"/>
                    <a:gd name="T68" fmla="*/ 1199 w 7268"/>
                    <a:gd name="T69" fmla="*/ 6779 h 8126"/>
                    <a:gd name="T70" fmla="*/ 1707 w 7268"/>
                    <a:gd name="T71" fmla="*/ 7127 h 8126"/>
                    <a:gd name="T72" fmla="*/ 1797 w 7268"/>
                    <a:gd name="T73" fmla="*/ 7129 h 8126"/>
                    <a:gd name="T74" fmla="*/ 2296 w 7268"/>
                    <a:gd name="T75" fmla="*/ 7438 h 8126"/>
                    <a:gd name="T76" fmla="*/ 2382 w 7268"/>
                    <a:gd name="T77" fmla="*/ 7445 h 8126"/>
                    <a:gd name="T78" fmla="*/ 2939 w 7268"/>
                    <a:gd name="T79" fmla="*/ 7796 h 8126"/>
                    <a:gd name="T80" fmla="*/ 3492 w 7268"/>
                    <a:gd name="T81" fmla="*/ 8112 h 8126"/>
                    <a:gd name="T82" fmla="*/ 3546 w 7268"/>
                    <a:gd name="T83" fmla="*/ 8126 h 8126"/>
                    <a:gd name="T84" fmla="*/ 3650 w 7268"/>
                    <a:gd name="T85" fmla="*/ 8112 h 8126"/>
                    <a:gd name="T86" fmla="*/ 3706 w 7268"/>
                    <a:gd name="T87" fmla="*/ 8126 h 8126"/>
                    <a:gd name="T88" fmla="*/ 3758 w 7268"/>
                    <a:gd name="T89" fmla="*/ 8112 h 8126"/>
                    <a:gd name="T90" fmla="*/ 4312 w 7268"/>
                    <a:gd name="T91" fmla="*/ 7796 h 8126"/>
                    <a:gd name="T92" fmla="*/ 4855 w 7268"/>
                    <a:gd name="T93" fmla="*/ 7439 h 8126"/>
                    <a:gd name="T94" fmla="*/ 4948 w 7268"/>
                    <a:gd name="T95" fmla="*/ 7443 h 8126"/>
                    <a:gd name="T96" fmla="*/ 5404 w 7268"/>
                    <a:gd name="T97" fmla="*/ 7187 h 8126"/>
                    <a:gd name="T98" fmla="*/ 5468 w 7268"/>
                    <a:gd name="T99" fmla="*/ 7129 h 8126"/>
                    <a:gd name="T100" fmla="*/ 5562 w 7268"/>
                    <a:gd name="T101" fmla="*/ 7124 h 8126"/>
                    <a:gd name="T102" fmla="*/ 6054 w 7268"/>
                    <a:gd name="T103" fmla="*/ 6779 h 8126"/>
                    <a:gd name="T104" fmla="*/ 6606 w 7268"/>
                    <a:gd name="T105" fmla="*/ 6526 h 8126"/>
                    <a:gd name="T106" fmla="*/ 6711 w 7268"/>
                    <a:gd name="T107" fmla="*/ 6447 h 8126"/>
                    <a:gd name="T108" fmla="*/ 6766 w 7268"/>
                    <a:gd name="T109" fmla="*/ 6433 h 8126"/>
                    <a:gd name="T110" fmla="*/ 7268 w 7268"/>
                    <a:gd name="T111" fmla="*/ 5584 h 8126"/>
                    <a:gd name="T112" fmla="*/ 7268 w 7268"/>
                    <a:gd name="T113" fmla="*/ 4910 h 8126"/>
                    <a:gd name="T114" fmla="*/ 7268 w 7268"/>
                    <a:gd name="T115" fmla="*/ 4219 h 8126"/>
                    <a:gd name="T116" fmla="*/ 7268 w 7268"/>
                    <a:gd name="T117" fmla="*/ 3544 h 8126"/>
                    <a:gd name="T118" fmla="*/ 7268 w 7268"/>
                    <a:gd name="T119" fmla="*/ 2870 h 8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68" h="8126">
                      <a:moveTo>
                        <a:pt x="7268" y="2683"/>
                      </a:moveTo>
                      <a:cubicBezTo>
                        <a:pt x="7268" y="2179"/>
                        <a:pt x="7268" y="2179"/>
                        <a:pt x="7268" y="2179"/>
                      </a:cubicBezTo>
                      <a:cubicBezTo>
                        <a:pt x="7268" y="2142"/>
                        <a:pt x="7249" y="2108"/>
                        <a:pt x="7217" y="2089"/>
                      </a:cubicBezTo>
                      <a:cubicBezTo>
                        <a:pt x="7216" y="2089"/>
                        <a:pt x="7216" y="2089"/>
                        <a:pt x="7215" y="2088"/>
                      </a:cubicBezTo>
                      <a:cubicBezTo>
                        <a:pt x="7219" y="2077"/>
                        <a:pt x="7220" y="2065"/>
                        <a:pt x="7220" y="2053"/>
                      </a:cubicBezTo>
                      <a:cubicBezTo>
                        <a:pt x="7220" y="2013"/>
                        <a:pt x="7199" y="1978"/>
                        <a:pt x="7162" y="1960"/>
                      </a:cubicBezTo>
                      <a:cubicBezTo>
                        <a:pt x="6719" y="1711"/>
                        <a:pt x="6719" y="1711"/>
                        <a:pt x="6719" y="1711"/>
                      </a:cubicBezTo>
                      <a:cubicBezTo>
                        <a:pt x="6701" y="1700"/>
                        <a:pt x="6682" y="1694"/>
                        <a:pt x="6662" y="1694"/>
                      </a:cubicBezTo>
                      <a:cubicBezTo>
                        <a:pt x="6644" y="1694"/>
                        <a:pt x="6628" y="1699"/>
                        <a:pt x="6613" y="1707"/>
                      </a:cubicBezTo>
                      <a:cubicBezTo>
                        <a:pt x="6612" y="1669"/>
                        <a:pt x="6592" y="1634"/>
                        <a:pt x="6560" y="1615"/>
                      </a:cubicBezTo>
                      <a:cubicBezTo>
                        <a:pt x="6118" y="1363"/>
                        <a:pt x="6118" y="1363"/>
                        <a:pt x="6118" y="1363"/>
                      </a:cubicBezTo>
                      <a:cubicBezTo>
                        <a:pt x="6112" y="1359"/>
                        <a:pt x="6112" y="1359"/>
                        <a:pt x="6112" y="1359"/>
                      </a:cubicBezTo>
                      <a:cubicBezTo>
                        <a:pt x="6105" y="1357"/>
                        <a:pt x="6105" y="1357"/>
                        <a:pt x="6105" y="1357"/>
                      </a:cubicBezTo>
                      <a:cubicBezTo>
                        <a:pt x="6103" y="1356"/>
                        <a:pt x="6103" y="1356"/>
                        <a:pt x="6103" y="1356"/>
                      </a:cubicBezTo>
                      <a:cubicBezTo>
                        <a:pt x="6095" y="1354"/>
                        <a:pt x="6082" y="1349"/>
                        <a:pt x="6065" y="1349"/>
                      </a:cubicBezTo>
                      <a:cubicBezTo>
                        <a:pt x="6047" y="1349"/>
                        <a:pt x="6032" y="1354"/>
                        <a:pt x="6022" y="1357"/>
                      </a:cubicBezTo>
                      <a:cubicBezTo>
                        <a:pt x="6016" y="1359"/>
                        <a:pt x="6016" y="1359"/>
                        <a:pt x="6016" y="1359"/>
                      </a:cubicBezTo>
                      <a:cubicBezTo>
                        <a:pt x="6010" y="1363"/>
                        <a:pt x="6010" y="1363"/>
                        <a:pt x="6010" y="1363"/>
                      </a:cubicBezTo>
                      <a:cubicBezTo>
                        <a:pt x="6006" y="1365"/>
                        <a:pt x="6006" y="1365"/>
                        <a:pt x="6006" y="1365"/>
                      </a:cubicBezTo>
                      <a:cubicBezTo>
                        <a:pt x="6006" y="1365"/>
                        <a:pt x="6006" y="1364"/>
                        <a:pt x="6006" y="1364"/>
                      </a:cubicBezTo>
                      <a:cubicBezTo>
                        <a:pt x="6006" y="1326"/>
                        <a:pt x="5984" y="1289"/>
                        <a:pt x="5951" y="1270"/>
                      </a:cubicBezTo>
                      <a:cubicBezTo>
                        <a:pt x="5514" y="1020"/>
                        <a:pt x="5514" y="1020"/>
                        <a:pt x="5514" y="1020"/>
                      </a:cubicBezTo>
                      <a:cubicBezTo>
                        <a:pt x="5491" y="1004"/>
                        <a:pt x="5467" y="1004"/>
                        <a:pt x="5456" y="1004"/>
                      </a:cubicBezTo>
                      <a:cubicBezTo>
                        <a:pt x="5447" y="1004"/>
                        <a:pt x="5431" y="1004"/>
                        <a:pt x="5412" y="1012"/>
                      </a:cubicBezTo>
                      <a:cubicBezTo>
                        <a:pt x="5406" y="981"/>
                        <a:pt x="5386" y="955"/>
                        <a:pt x="5356" y="940"/>
                      </a:cubicBezTo>
                      <a:cubicBezTo>
                        <a:pt x="4913" y="691"/>
                        <a:pt x="4913" y="691"/>
                        <a:pt x="4913" y="691"/>
                      </a:cubicBezTo>
                      <a:cubicBezTo>
                        <a:pt x="4895" y="680"/>
                        <a:pt x="4876" y="674"/>
                        <a:pt x="4856" y="674"/>
                      </a:cubicBezTo>
                      <a:cubicBezTo>
                        <a:pt x="4838" y="674"/>
                        <a:pt x="4821" y="679"/>
                        <a:pt x="4806" y="687"/>
                      </a:cubicBezTo>
                      <a:cubicBezTo>
                        <a:pt x="4803" y="652"/>
                        <a:pt x="4783" y="620"/>
                        <a:pt x="4753" y="603"/>
                      </a:cubicBezTo>
                      <a:cubicBezTo>
                        <a:pt x="4303" y="358"/>
                        <a:pt x="4303" y="358"/>
                        <a:pt x="4303" y="358"/>
                      </a:cubicBezTo>
                      <a:cubicBezTo>
                        <a:pt x="4297" y="355"/>
                        <a:pt x="4297" y="355"/>
                        <a:pt x="4297" y="355"/>
                      </a:cubicBezTo>
                      <a:cubicBezTo>
                        <a:pt x="4291" y="353"/>
                        <a:pt x="4291" y="353"/>
                        <a:pt x="4291" y="353"/>
                      </a:cubicBezTo>
                      <a:cubicBezTo>
                        <a:pt x="4288" y="352"/>
                        <a:pt x="4288" y="352"/>
                        <a:pt x="4288" y="352"/>
                      </a:cubicBezTo>
                      <a:cubicBezTo>
                        <a:pt x="4280" y="349"/>
                        <a:pt x="4268" y="345"/>
                        <a:pt x="4251" y="345"/>
                      </a:cubicBezTo>
                      <a:cubicBezTo>
                        <a:pt x="4233" y="345"/>
                        <a:pt x="4218" y="349"/>
                        <a:pt x="4209" y="353"/>
                      </a:cubicBezTo>
                      <a:cubicBezTo>
                        <a:pt x="4202" y="355"/>
                        <a:pt x="4202" y="355"/>
                        <a:pt x="4202" y="355"/>
                      </a:cubicBezTo>
                      <a:cubicBezTo>
                        <a:pt x="4199" y="356"/>
                        <a:pt x="4199" y="356"/>
                        <a:pt x="4199" y="356"/>
                      </a:cubicBezTo>
                      <a:cubicBezTo>
                        <a:pt x="4198" y="320"/>
                        <a:pt x="4177" y="285"/>
                        <a:pt x="4145" y="265"/>
                      </a:cubicBezTo>
                      <a:cubicBezTo>
                        <a:pt x="3708" y="16"/>
                        <a:pt x="3708" y="16"/>
                        <a:pt x="3708" y="16"/>
                      </a:cubicBezTo>
                      <a:cubicBezTo>
                        <a:pt x="3685" y="0"/>
                        <a:pt x="3660" y="0"/>
                        <a:pt x="3650" y="0"/>
                      </a:cubicBezTo>
                      <a:cubicBezTo>
                        <a:pt x="3639" y="0"/>
                        <a:pt x="3617" y="0"/>
                        <a:pt x="3593" y="14"/>
                      </a:cubicBezTo>
                      <a:cubicBezTo>
                        <a:pt x="3158" y="264"/>
                        <a:pt x="3158" y="264"/>
                        <a:pt x="3158" y="264"/>
                      </a:cubicBezTo>
                      <a:cubicBezTo>
                        <a:pt x="3124" y="282"/>
                        <a:pt x="3103" y="317"/>
                        <a:pt x="3101" y="355"/>
                      </a:cubicBezTo>
                      <a:cubicBezTo>
                        <a:pt x="3100" y="355"/>
                        <a:pt x="3100" y="355"/>
                        <a:pt x="3100" y="355"/>
                      </a:cubicBezTo>
                      <a:cubicBezTo>
                        <a:pt x="3093" y="353"/>
                        <a:pt x="3093" y="353"/>
                        <a:pt x="3093" y="353"/>
                      </a:cubicBezTo>
                      <a:cubicBezTo>
                        <a:pt x="3083" y="349"/>
                        <a:pt x="3069" y="345"/>
                        <a:pt x="3051" y="345"/>
                      </a:cubicBezTo>
                      <a:cubicBezTo>
                        <a:pt x="3029" y="345"/>
                        <a:pt x="3011" y="352"/>
                        <a:pt x="3002" y="356"/>
                      </a:cubicBezTo>
                      <a:cubicBezTo>
                        <a:pt x="3000" y="357"/>
                        <a:pt x="3000" y="357"/>
                        <a:pt x="3000" y="357"/>
                      </a:cubicBezTo>
                      <a:cubicBezTo>
                        <a:pt x="2999" y="358"/>
                        <a:pt x="2999" y="358"/>
                        <a:pt x="2999" y="358"/>
                      </a:cubicBezTo>
                      <a:cubicBezTo>
                        <a:pt x="2551" y="602"/>
                        <a:pt x="2551" y="602"/>
                        <a:pt x="2551" y="602"/>
                      </a:cubicBezTo>
                      <a:cubicBezTo>
                        <a:pt x="2519" y="621"/>
                        <a:pt x="2497" y="654"/>
                        <a:pt x="2494" y="688"/>
                      </a:cubicBezTo>
                      <a:cubicBezTo>
                        <a:pt x="2478" y="679"/>
                        <a:pt x="2460" y="674"/>
                        <a:pt x="2442" y="674"/>
                      </a:cubicBezTo>
                      <a:cubicBezTo>
                        <a:pt x="2421" y="674"/>
                        <a:pt x="2401" y="681"/>
                        <a:pt x="2384" y="693"/>
                      </a:cubicBezTo>
                      <a:cubicBezTo>
                        <a:pt x="1941" y="940"/>
                        <a:pt x="1941" y="940"/>
                        <a:pt x="1941" y="940"/>
                      </a:cubicBezTo>
                      <a:cubicBezTo>
                        <a:pt x="1909" y="959"/>
                        <a:pt x="1889" y="990"/>
                        <a:pt x="1887" y="1025"/>
                      </a:cubicBezTo>
                      <a:cubicBezTo>
                        <a:pt x="1878" y="1020"/>
                        <a:pt x="1878" y="1020"/>
                        <a:pt x="1878" y="1020"/>
                      </a:cubicBezTo>
                      <a:cubicBezTo>
                        <a:pt x="1855" y="1004"/>
                        <a:pt x="1830" y="1004"/>
                        <a:pt x="1820" y="1004"/>
                      </a:cubicBezTo>
                      <a:cubicBezTo>
                        <a:pt x="1809" y="1004"/>
                        <a:pt x="1787" y="1004"/>
                        <a:pt x="1763" y="1018"/>
                      </a:cubicBezTo>
                      <a:cubicBezTo>
                        <a:pt x="1321" y="1268"/>
                        <a:pt x="1321" y="1268"/>
                        <a:pt x="1321" y="1268"/>
                      </a:cubicBezTo>
                      <a:cubicBezTo>
                        <a:pt x="1291" y="1284"/>
                        <a:pt x="1270" y="1312"/>
                        <a:pt x="1264" y="1345"/>
                      </a:cubicBezTo>
                      <a:cubicBezTo>
                        <a:pt x="1262" y="1343"/>
                        <a:pt x="1262" y="1343"/>
                        <a:pt x="1262" y="1343"/>
                      </a:cubicBezTo>
                      <a:cubicBezTo>
                        <a:pt x="1255" y="1341"/>
                        <a:pt x="1255" y="1341"/>
                        <a:pt x="1255" y="1341"/>
                      </a:cubicBezTo>
                      <a:cubicBezTo>
                        <a:pt x="1246" y="1338"/>
                        <a:pt x="1231" y="1333"/>
                        <a:pt x="1213" y="1333"/>
                      </a:cubicBezTo>
                      <a:cubicBezTo>
                        <a:pt x="1191" y="1333"/>
                        <a:pt x="1172" y="1341"/>
                        <a:pt x="1163" y="1345"/>
                      </a:cubicBezTo>
                      <a:cubicBezTo>
                        <a:pt x="1162" y="1346"/>
                        <a:pt x="1162" y="1346"/>
                        <a:pt x="1162" y="1346"/>
                      </a:cubicBezTo>
                      <a:cubicBezTo>
                        <a:pt x="1160" y="1347"/>
                        <a:pt x="1160" y="1347"/>
                        <a:pt x="1160" y="1347"/>
                      </a:cubicBezTo>
                      <a:cubicBezTo>
                        <a:pt x="712" y="1598"/>
                        <a:pt x="712" y="1598"/>
                        <a:pt x="712" y="1598"/>
                      </a:cubicBezTo>
                      <a:cubicBezTo>
                        <a:pt x="679" y="1618"/>
                        <a:pt x="658" y="1652"/>
                        <a:pt x="656" y="1688"/>
                      </a:cubicBezTo>
                      <a:cubicBezTo>
                        <a:pt x="642" y="1682"/>
                        <a:pt x="627" y="1679"/>
                        <a:pt x="612" y="1679"/>
                      </a:cubicBezTo>
                      <a:cubicBezTo>
                        <a:pt x="591" y="1679"/>
                        <a:pt x="571" y="1685"/>
                        <a:pt x="554" y="1697"/>
                      </a:cubicBezTo>
                      <a:cubicBezTo>
                        <a:pt x="118" y="1945"/>
                        <a:pt x="118" y="1945"/>
                        <a:pt x="118" y="1945"/>
                      </a:cubicBezTo>
                      <a:cubicBezTo>
                        <a:pt x="84" y="1965"/>
                        <a:pt x="64" y="1999"/>
                        <a:pt x="64" y="2037"/>
                      </a:cubicBezTo>
                      <a:cubicBezTo>
                        <a:pt x="64" y="2052"/>
                        <a:pt x="67" y="2066"/>
                        <a:pt x="71" y="2078"/>
                      </a:cubicBezTo>
                      <a:cubicBezTo>
                        <a:pt x="65" y="2081"/>
                        <a:pt x="58" y="2084"/>
                        <a:pt x="52" y="2088"/>
                      </a:cubicBezTo>
                      <a:cubicBezTo>
                        <a:pt x="20" y="2108"/>
                        <a:pt x="0" y="2142"/>
                        <a:pt x="0" y="2179"/>
                      </a:cubicBezTo>
                      <a:cubicBezTo>
                        <a:pt x="0" y="2683"/>
                        <a:pt x="0" y="2683"/>
                        <a:pt x="0" y="2683"/>
                      </a:cubicBezTo>
                      <a:cubicBezTo>
                        <a:pt x="0" y="2721"/>
                        <a:pt x="20" y="2756"/>
                        <a:pt x="54" y="2775"/>
                      </a:cubicBezTo>
                      <a:cubicBezTo>
                        <a:pt x="54" y="2775"/>
                        <a:pt x="54" y="2775"/>
                        <a:pt x="54" y="2775"/>
                      </a:cubicBezTo>
                      <a:cubicBezTo>
                        <a:pt x="54" y="2775"/>
                        <a:pt x="54" y="2775"/>
                        <a:pt x="54" y="2775"/>
                      </a:cubicBezTo>
                      <a:cubicBezTo>
                        <a:pt x="21" y="2794"/>
                        <a:pt x="0" y="2831"/>
                        <a:pt x="0" y="2870"/>
                      </a:cubicBezTo>
                      <a:cubicBezTo>
                        <a:pt x="0" y="3372"/>
                        <a:pt x="0" y="3372"/>
                        <a:pt x="0" y="3372"/>
                      </a:cubicBezTo>
                      <a:cubicBezTo>
                        <a:pt x="0" y="3406"/>
                        <a:pt x="16" y="3438"/>
                        <a:pt x="41" y="3458"/>
                      </a:cubicBezTo>
                      <a:cubicBezTo>
                        <a:pt x="16" y="3479"/>
                        <a:pt x="0" y="3511"/>
                        <a:pt x="0" y="3544"/>
                      </a:cubicBezTo>
                      <a:cubicBezTo>
                        <a:pt x="0" y="4047"/>
                        <a:pt x="0" y="4047"/>
                        <a:pt x="0" y="4047"/>
                      </a:cubicBezTo>
                      <a:cubicBezTo>
                        <a:pt x="0" y="4082"/>
                        <a:pt x="16" y="4114"/>
                        <a:pt x="43" y="4134"/>
                      </a:cubicBezTo>
                      <a:cubicBezTo>
                        <a:pt x="16" y="4154"/>
                        <a:pt x="0" y="4185"/>
                        <a:pt x="0" y="4219"/>
                      </a:cubicBezTo>
                      <a:cubicBezTo>
                        <a:pt x="0" y="4723"/>
                        <a:pt x="0" y="4723"/>
                        <a:pt x="0" y="4723"/>
                      </a:cubicBezTo>
                      <a:cubicBezTo>
                        <a:pt x="0" y="4761"/>
                        <a:pt x="20" y="4795"/>
                        <a:pt x="54" y="4815"/>
                      </a:cubicBezTo>
                      <a:cubicBezTo>
                        <a:pt x="54" y="4815"/>
                        <a:pt x="54" y="4815"/>
                        <a:pt x="54" y="4815"/>
                      </a:cubicBezTo>
                      <a:cubicBezTo>
                        <a:pt x="54" y="4815"/>
                        <a:pt x="54" y="4815"/>
                        <a:pt x="54" y="4815"/>
                      </a:cubicBezTo>
                      <a:cubicBezTo>
                        <a:pt x="21" y="4834"/>
                        <a:pt x="0" y="4870"/>
                        <a:pt x="0" y="4910"/>
                      </a:cubicBezTo>
                      <a:cubicBezTo>
                        <a:pt x="0" y="5412"/>
                        <a:pt x="0" y="5412"/>
                        <a:pt x="0" y="5412"/>
                      </a:cubicBezTo>
                      <a:cubicBezTo>
                        <a:pt x="0" y="5446"/>
                        <a:pt x="16" y="5478"/>
                        <a:pt x="41" y="5498"/>
                      </a:cubicBezTo>
                      <a:cubicBezTo>
                        <a:pt x="16" y="5519"/>
                        <a:pt x="0" y="5550"/>
                        <a:pt x="0" y="5584"/>
                      </a:cubicBezTo>
                      <a:cubicBezTo>
                        <a:pt x="0" y="6087"/>
                        <a:pt x="0" y="6087"/>
                        <a:pt x="0" y="6087"/>
                      </a:cubicBezTo>
                      <a:cubicBezTo>
                        <a:pt x="0" y="6126"/>
                        <a:pt x="21" y="6162"/>
                        <a:pt x="54" y="6181"/>
                      </a:cubicBezTo>
                      <a:cubicBezTo>
                        <a:pt x="504" y="6433"/>
                        <a:pt x="504" y="6433"/>
                        <a:pt x="504" y="6433"/>
                      </a:cubicBezTo>
                      <a:cubicBezTo>
                        <a:pt x="506" y="6434"/>
                        <a:pt x="506" y="6434"/>
                        <a:pt x="506" y="6434"/>
                      </a:cubicBezTo>
                      <a:cubicBezTo>
                        <a:pt x="508" y="6435"/>
                        <a:pt x="508" y="6435"/>
                        <a:pt x="508" y="6435"/>
                      </a:cubicBezTo>
                      <a:cubicBezTo>
                        <a:pt x="517" y="6439"/>
                        <a:pt x="535" y="6447"/>
                        <a:pt x="557" y="6447"/>
                      </a:cubicBezTo>
                      <a:cubicBezTo>
                        <a:pt x="571" y="6447"/>
                        <a:pt x="583" y="6444"/>
                        <a:pt x="592" y="6441"/>
                      </a:cubicBezTo>
                      <a:cubicBezTo>
                        <a:pt x="596" y="6476"/>
                        <a:pt x="616" y="6506"/>
                        <a:pt x="647" y="6525"/>
                      </a:cubicBezTo>
                      <a:cubicBezTo>
                        <a:pt x="1091" y="6773"/>
                        <a:pt x="1091" y="6773"/>
                        <a:pt x="1091" y="6773"/>
                      </a:cubicBezTo>
                      <a:cubicBezTo>
                        <a:pt x="1107" y="6785"/>
                        <a:pt x="1127" y="6792"/>
                        <a:pt x="1149" y="6792"/>
                      </a:cubicBezTo>
                      <a:cubicBezTo>
                        <a:pt x="1166" y="6792"/>
                        <a:pt x="1183" y="6788"/>
                        <a:pt x="1199" y="6779"/>
                      </a:cubicBezTo>
                      <a:cubicBezTo>
                        <a:pt x="1200" y="6819"/>
                        <a:pt x="1222" y="6855"/>
                        <a:pt x="1257" y="6873"/>
                      </a:cubicBezTo>
                      <a:cubicBezTo>
                        <a:pt x="1701" y="7123"/>
                        <a:pt x="1701" y="7123"/>
                        <a:pt x="1701" y="7123"/>
                      </a:cubicBezTo>
                      <a:cubicBezTo>
                        <a:pt x="1707" y="7127"/>
                        <a:pt x="1707" y="7127"/>
                        <a:pt x="1707" y="7127"/>
                      </a:cubicBezTo>
                      <a:cubicBezTo>
                        <a:pt x="1714" y="7129"/>
                        <a:pt x="1714" y="7129"/>
                        <a:pt x="1714" y="7129"/>
                      </a:cubicBezTo>
                      <a:cubicBezTo>
                        <a:pt x="1723" y="7132"/>
                        <a:pt x="1738" y="7137"/>
                        <a:pt x="1756" y="7137"/>
                      </a:cubicBezTo>
                      <a:cubicBezTo>
                        <a:pt x="1773" y="7137"/>
                        <a:pt x="1787" y="7133"/>
                        <a:pt x="1797" y="7129"/>
                      </a:cubicBezTo>
                      <a:cubicBezTo>
                        <a:pt x="1806" y="7153"/>
                        <a:pt x="1822" y="7173"/>
                        <a:pt x="1844" y="7186"/>
                      </a:cubicBezTo>
                      <a:cubicBezTo>
                        <a:pt x="2295" y="7437"/>
                        <a:pt x="2295" y="7437"/>
                        <a:pt x="2295" y="7437"/>
                      </a:cubicBezTo>
                      <a:cubicBezTo>
                        <a:pt x="2296" y="7438"/>
                        <a:pt x="2296" y="7438"/>
                        <a:pt x="2296" y="7438"/>
                      </a:cubicBezTo>
                      <a:cubicBezTo>
                        <a:pt x="2298" y="7439"/>
                        <a:pt x="2298" y="7439"/>
                        <a:pt x="2298" y="7439"/>
                      </a:cubicBezTo>
                      <a:cubicBezTo>
                        <a:pt x="2307" y="7444"/>
                        <a:pt x="2325" y="7451"/>
                        <a:pt x="2348" y="7451"/>
                      </a:cubicBezTo>
                      <a:cubicBezTo>
                        <a:pt x="2361" y="7451"/>
                        <a:pt x="2373" y="7448"/>
                        <a:pt x="2382" y="7445"/>
                      </a:cubicBezTo>
                      <a:cubicBezTo>
                        <a:pt x="2386" y="7480"/>
                        <a:pt x="2406" y="7511"/>
                        <a:pt x="2437" y="7529"/>
                      </a:cubicBezTo>
                      <a:cubicBezTo>
                        <a:pt x="2881" y="7777"/>
                        <a:pt x="2881" y="7777"/>
                        <a:pt x="2881" y="7777"/>
                      </a:cubicBezTo>
                      <a:cubicBezTo>
                        <a:pt x="2897" y="7790"/>
                        <a:pt x="2918" y="7796"/>
                        <a:pt x="2939" y="7796"/>
                      </a:cubicBezTo>
                      <a:cubicBezTo>
                        <a:pt x="2957" y="7796"/>
                        <a:pt x="2974" y="7792"/>
                        <a:pt x="2990" y="7783"/>
                      </a:cubicBezTo>
                      <a:cubicBezTo>
                        <a:pt x="2994" y="7819"/>
                        <a:pt x="3015" y="7850"/>
                        <a:pt x="3048" y="7867"/>
                      </a:cubicBezTo>
                      <a:cubicBezTo>
                        <a:pt x="3492" y="8112"/>
                        <a:pt x="3492" y="8112"/>
                        <a:pt x="3492" y="8112"/>
                      </a:cubicBezTo>
                      <a:cubicBezTo>
                        <a:pt x="3498" y="8116"/>
                        <a:pt x="3498" y="8116"/>
                        <a:pt x="3498" y="8116"/>
                      </a:cubicBezTo>
                      <a:cubicBezTo>
                        <a:pt x="3504" y="8118"/>
                        <a:pt x="3504" y="8118"/>
                        <a:pt x="3504" y="8118"/>
                      </a:cubicBezTo>
                      <a:cubicBezTo>
                        <a:pt x="3514" y="8121"/>
                        <a:pt x="3529" y="8126"/>
                        <a:pt x="3546" y="8126"/>
                      </a:cubicBezTo>
                      <a:cubicBezTo>
                        <a:pt x="3568" y="8126"/>
                        <a:pt x="3586" y="8118"/>
                        <a:pt x="3595" y="8114"/>
                      </a:cubicBezTo>
                      <a:cubicBezTo>
                        <a:pt x="3607" y="8109"/>
                        <a:pt x="3617" y="8101"/>
                        <a:pt x="3626" y="8092"/>
                      </a:cubicBezTo>
                      <a:cubicBezTo>
                        <a:pt x="3633" y="8100"/>
                        <a:pt x="3641" y="8107"/>
                        <a:pt x="3650" y="8112"/>
                      </a:cubicBezTo>
                      <a:cubicBezTo>
                        <a:pt x="3657" y="8116"/>
                        <a:pt x="3657" y="8116"/>
                        <a:pt x="3657" y="8116"/>
                      </a:cubicBezTo>
                      <a:cubicBezTo>
                        <a:pt x="3664" y="8118"/>
                        <a:pt x="3664" y="8118"/>
                        <a:pt x="3664" y="8118"/>
                      </a:cubicBezTo>
                      <a:cubicBezTo>
                        <a:pt x="3674" y="8121"/>
                        <a:pt x="3688" y="8126"/>
                        <a:pt x="3706" y="8126"/>
                      </a:cubicBezTo>
                      <a:cubicBezTo>
                        <a:pt x="3728" y="8126"/>
                        <a:pt x="3746" y="8118"/>
                        <a:pt x="3755" y="8114"/>
                      </a:cubicBezTo>
                      <a:cubicBezTo>
                        <a:pt x="3757" y="8113"/>
                        <a:pt x="3757" y="8113"/>
                        <a:pt x="3757" y="8113"/>
                      </a:cubicBezTo>
                      <a:cubicBezTo>
                        <a:pt x="3758" y="8112"/>
                        <a:pt x="3758" y="8112"/>
                        <a:pt x="3758" y="8112"/>
                      </a:cubicBezTo>
                      <a:cubicBezTo>
                        <a:pt x="4206" y="7866"/>
                        <a:pt x="4206" y="7866"/>
                        <a:pt x="4206" y="7866"/>
                      </a:cubicBezTo>
                      <a:cubicBezTo>
                        <a:pt x="4238" y="7848"/>
                        <a:pt x="4259" y="7816"/>
                        <a:pt x="4263" y="7783"/>
                      </a:cubicBezTo>
                      <a:cubicBezTo>
                        <a:pt x="4278" y="7792"/>
                        <a:pt x="4295" y="7796"/>
                        <a:pt x="4312" y="7796"/>
                      </a:cubicBezTo>
                      <a:cubicBezTo>
                        <a:pt x="4337" y="7796"/>
                        <a:pt x="4354" y="7787"/>
                        <a:pt x="4367" y="7779"/>
                      </a:cubicBezTo>
                      <a:cubicBezTo>
                        <a:pt x="4802" y="7529"/>
                        <a:pt x="4802" y="7529"/>
                        <a:pt x="4802" y="7529"/>
                      </a:cubicBezTo>
                      <a:cubicBezTo>
                        <a:pt x="4835" y="7510"/>
                        <a:pt x="4853" y="7477"/>
                        <a:pt x="4855" y="7439"/>
                      </a:cubicBezTo>
                      <a:cubicBezTo>
                        <a:pt x="4856" y="7439"/>
                        <a:pt x="4856" y="7439"/>
                        <a:pt x="4856" y="7439"/>
                      </a:cubicBezTo>
                      <a:cubicBezTo>
                        <a:pt x="4864" y="7444"/>
                        <a:pt x="4883" y="7451"/>
                        <a:pt x="4905" y="7451"/>
                      </a:cubicBezTo>
                      <a:cubicBezTo>
                        <a:pt x="4923" y="7451"/>
                        <a:pt x="4938" y="7446"/>
                        <a:pt x="4948" y="7443"/>
                      </a:cubicBezTo>
                      <a:cubicBezTo>
                        <a:pt x="4954" y="7441"/>
                        <a:pt x="4954" y="7441"/>
                        <a:pt x="4954" y="7441"/>
                      </a:cubicBezTo>
                      <a:cubicBezTo>
                        <a:pt x="4960" y="7437"/>
                        <a:pt x="4960" y="7437"/>
                        <a:pt x="4960" y="7437"/>
                      </a:cubicBezTo>
                      <a:cubicBezTo>
                        <a:pt x="5404" y="7187"/>
                        <a:pt x="5404" y="7187"/>
                        <a:pt x="5404" y="7187"/>
                      </a:cubicBezTo>
                      <a:cubicBezTo>
                        <a:pt x="5430" y="7173"/>
                        <a:pt x="5449" y="7151"/>
                        <a:pt x="5457" y="7124"/>
                      </a:cubicBezTo>
                      <a:cubicBezTo>
                        <a:pt x="5461" y="7126"/>
                        <a:pt x="5461" y="7126"/>
                        <a:pt x="5461" y="7126"/>
                      </a:cubicBezTo>
                      <a:cubicBezTo>
                        <a:pt x="5468" y="7129"/>
                        <a:pt x="5468" y="7129"/>
                        <a:pt x="5468" y="7129"/>
                      </a:cubicBezTo>
                      <a:cubicBezTo>
                        <a:pt x="5478" y="7132"/>
                        <a:pt x="5493" y="7137"/>
                        <a:pt x="5511" y="7137"/>
                      </a:cubicBezTo>
                      <a:cubicBezTo>
                        <a:pt x="5533" y="7137"/>
                        <a:pt x="5552" y="7130"/>
                        <a:pt x="5561" y="7125"/>
                      </a:cubicBezTo>
                      <a:cubicBezTo>
                        <a:pt x="5562" y="7124"/>
                        <a:pt x="5562" y="7124"/>
                        <a:pt x="5562" y="7124"/>
                      </a:cubicBezTo>
                      <a:cubicBezTo>
                        <a:pt x="5564" y="7123"/>
                        <a:pt x="5564" y="7123"/>
                        <a:pt x="5564" y="7123"/>
                      </a:cubicBezTo>
                      <a:cubicBezTo>
                        <a:pt x="5998" y="6872"/>
                        <a:pt x="5998" y="6872"/>
                        <a:pt x="5998" y="6872"/>
                      </a:cubicBezTo>
                      <a:cubicBezTo>
                        <a:pt x="6032" y="6852"/>
                        <a:pt x="6053" y="6816"/>
                        <a:pt x="6054" y="6779"/>
                      </a:cubicBezTo>
                      <a:cubicBezTo>
                        <a:pt x="6070" y="6788"/>
                        <a:pt x="6086" y="6792"/>
                        <a:pt x="6104" y="6792"/>
                      </a:cubicBezTo>
                      <a:cubicBezTo>
                        <a:pt x="6128" y="6792"/>
                        <a:pt x="6146" y="6783"/>
                        <a:pt x="6158" y="6775"/>
                      </a:cubicBezTo>
                      <a:cubicBezTo>
                        <a:pt x="6606" y="6526"/>
                        <a:pt x="6606" y="6526"/>
                        <a:pt x="6606" y="6526"/>
                      </a:cubicBezTo>
                      <a:cubicBezTo>
                        <a:pt x="6640" y="6506"/>
                        <a:pt x="6660" y="6473"/>
                        <a:pt x="6661" y="6435"/>
                      </a:cubicBezTo>
                      <a:cubicBezTo>
                        <a:pt x="6662" y="6435"/>
                        <a:pt x="6662" y="6435"/>
                        <a:pt x="6662" y="6435"/>
                      </a:cubicBezTo>
                      <a:cubicBezTo>
                        <a:pt x="6671" y="6439"/>
                        <a:pt x="6689" y="6447"/>
                        <a:pt x="6711" y="6447"/>
                      </a:cubicBezTo>
                      <a:cubicBezTo>
                        <a:pt x="6729" y="6447"/>
                        <a:pt x="6744" y="6442"/>
                        <a:pt x="6754" y="6439"/>
                      </a:cubicBezTo>
                      <a:cubicBezTo>
                        <a:pt x="6760" y="6437"/>
                        <a:pt x="6760" y="6437"/>
                        <a:pt x="6760" y="6437"/>
                      </a:cubicBezTo>
                      <a:cubicBezTo>
                        <a:pt x="6766" y="6433"/>
                        <a:pt x="6766" y="6433"/>
                        <a:pt x="6766" y="6433"/>
                      </a:cubicBezTo>
                      <a:cubicBezTo>
                        <a:pt x="7210" y="6183"/>
                        <a:pt x="7210" y="6183"/>
                        <a:pt x="7210" y="6183"/>
                      </a:cubicBezTo>
                      <a:cubicBezTo>
                        <a:pt x="7246" y="6164"/>
                        <a:pt x="7268" y="6128"/>
                        <a:pt x="7268" y="6087"/>
                      </a:cubicBezTo>
                      <a:cubicBezTo>
                        <a:pt x="7268" y="5584"/>
                        <a:pt x="7268" y="5584"/>
                        <a:pt x="7268" y="5584"/>
                      </a:cubicBezTo>
                      <a:cubicBezTo>
                        <a:pt x="7268" y="5550"/>
                        <a:pt x="7253" y="5518"/>
                        <a:pt x="7226" y="5498"/>
                      </a:cubicBezTo>
                      <a:cubicBezTo>
                        <a:pt x="7253" y="5478"/>
                        <a:pt x="7268" y="5447"/>
                        <a:pt x="7268" y="5412"/>
                      </a:cubicBezTo>
                      <a:cubicBezTo>
                        <a:pt x="7268" y="4910"/>
                        <a:pt x="7268" y="4910"/>
                        <a:pt x="7268" y="4910"/>
                      </a:cubicBezTo>
                      <a:cubicBezTo>
                        <a:pt x="7268" y="4870"/>
                        <a:pt x="7247" y="4834"/>
                        <a:pt x="7213" y="4815"/>
                      </a:cubicBezTo>
                      <a:cubicBezTo>
                        <a:pt x="7248" y="4796"/>
                        <a:pt x="7268" y="4762"/>
                        <a:pt x="7268" y="4723"/>
                      </a:cubicBezTo>
                      <a:cubicBezTo>
                        <a:pt x="7268" y="4219"/>
                        <a:pt x="7268" y="4219"/>
                        <a:pt x="7268" y="4219"/>
                      </a:cubicBezTo>
                      <a:cubicBezTo>
                        <a:pt x="7268" y="4184"/>
                        <a:pt x="7252" y="4154"/>
                        <a:pt x="7225" y="4134"/>
                      </a:cubicBezTo>
                      <a:cubicBezTo>
                        <a:pt x="7252" y="4114"/>
                        <a:pt x="7268" y="4082"/>
                        <a:pt x="7268" y="4047"/>
                      </a:cubicBezTo>
                      <a:cubicBezTo>
                        <a:pt x="7268" y="3544"/>
                        <a:pt x="7268" y="3544"/>
                        <a:pt x="7268" y="3544"/>
                      </a:cubicBezTo>
                      <a:cubicBezTo>
                        <a:pt x="7268" y="3510"/>
                        <a:pt x="7253" y="3478"/>
                        <a:pt x="7226" y="3458"/>
                      </a:cubicBezTo>
                      <a:cubicBezTo>
                        <a:pt x="7253" y="3438"/>
                        <a:pt x="7268" y="3407"/>
                        <a:pt x="7268" y="3372"/>
                      </a:cubicBezTo>
                      <a:cubicBezTo>
                        <a:pt x="7268" y="2870"/>
                        <a:pt x="7268" y="2870"/>
                        <a:pt x="7268" y="2870"/>
                      </a:cubicBezTo>
                      <a:cubicBezTo>
                        <a:pt x="7268" y="2830"/>
                        <a:pt x="7247" y="2794"/>
                        <a:pt x="7213" y="2775"/>
                      </a:cubicBezTo>
                      <a:cubicBezTo>
                        <a:pt x="7248" y="2756"/>
                        <a:pt x="7268" y="2722"/>
                        <a:pt x="7268" y="2683"/>
                      </a:cubicBezTo>
                      <a:close/>
                    </a:path>
                  </a:pathLst>
                </a:custGeom>
                <a:solidFill>
                  <a:schemeClr val="bg2"/>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nvGrpSpPr>
                <p:cNvPr id="541" name="Group 540">
                  <a:extLst>
                    <a:ext uri="{FF2B5EF4-FFF2-40B4-BE49-F238E27FC236}">
                      <a16:creationId xmlns:a16="http://schemas.microsoft.com/office/drawing/2014/main" id="{9C82017B-5685-415B-8B8B-E675CB47AEEA}"/>
                    </a:ext>
                  </a:extLst>
                </p:cNvPr>
                <p:cNvGrpSpPr/>
                <p:nvPr/>
              </p:nvGrpSpPr>
              <p:grpSpPr>
                <a:xfrm>
                  <a:off x="3289062" y="1024857"/>
                  <a:ext cx="2722568" cy="2977004"/>
                  <a:chOff x="3289062" y="1024857"/>
                  <a:chExt cx="2722568" cy="2977004"/>
                </a:xfrm>
                <a:solidFill>
                  <a:schemeClr val="accent4">
                    <a:lumMod val="40000"/>
                    <a:lumOff val="60000"/>
                  </a:schemeClr>
                </a:solidFill>
              </p:grpSpPr>
              <p:sp>
                <p:nvSpPr>
                  <p:cNvPr id="542" name="Freeform 11">
                    <a:extLst>
                      <a:ext uri="{FF2B5EF4-FFF2-40B4-BE49-F238E27FC236}">
                        <a16:creationId xmlns:a16="http://schemas.microsoft.com/office/drawing/2014/main" id="{344D619C-2C8A-41D6-8637-0812E4992208}"/>
                      </a:ext>
                    </a:extLst>
                  </p:cNvPr>
                  <p:cNvSpPr>
                    <a:spLocks/>
                  </p:cNvSpPr>
                  <p:nvPr/>
                </p:nvSpPr>
                <p:spPr bwMode="auto">
                  <a:xfrm>
                    <a:off x="4931534" y="1528035"/>
                    <a:ext cx="372322" cy="216019"/>
                  </a:xfrm>
                  <a:custGeom>
                    <a:avLst/>
                    <a:gdLst>
                      <a:gd name="T0" fmla="*/ 487 w 975"/>
                      <a:gd name="T1" fmla="*/ 580 h 580"/>
                      <a:gd name="T2" fmla="*/ 468 w 975"/>
                      <a:gd name="T3" fmla="*/ 576 h 580"/>
                      <a:gd name="T4" fmla="*/ 21 w 975"/>
                      <a:gd name="T5" fmla="*/ 324 h 580"/>
                      <a:gd name="T6" fmla="*/ 0 w 975"/>
                      <a:gd name="T7" fmla="*/ 290 h 580"/>
                      <a:gd name="T8" fmla="*/ 21 w 975"/>
                      <a:gd name="T9" fmla="*/ 256 h 580"/>
                      <a:gd name="T10" fmla="*/ 468 w 975"/>
                      <a:gd name="T11" fmla="*/ 4 h 580"/>
                      <a:gd name="T12" fmla="*/ 487 w 975"/>
                      <a:gd name="T13" fmla="*/ 0 h 580"/>
                      <a:gd name="T14" fmla="*/ 508 w 975"/>
                      <a:gd name="T15" fmla="*/ 4 h 580"/>
                      <a:gd name="T16" fmla="*/ 953 w 975"/>
                      <a:gd name="T17" fmla="*/ 256 h 580"/>
                      <a:gd name="T18" fmla="*/ 975 w 975"/>
                      <a:gd name="T19" fmla="*/ 290 h 580"/>
                      <a:gd name="T20" fmla="*/ 953 w 975"/>
                      <a:gd name="T21" fmla="*/ 324 h 580"/>
                      <a:gd name="T22" fmla="*/ 508 w 975"/>
                      <a:gd name="T23" fmla="*/ 576 h 580"/>
                      <a:gd name="T24" fmla="*/ 487 w 975"/>
                      <a:gd name="T25" fmla="*/ 58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0">
                        <a:moveTo>
                          <a:pt x="487" y="580"/>
                        </a:moveTo>
                        <a:cubicBezTo>
                          <a:pt x="480" y="580"/>
                          <a:pt x="473" y="578"/>
                          <a:pt x="468" y="576"/>
                        </a:cubicBezTo>
                        <a:cubicBezTo>
                          <a:pt x="21" y="324"/>
                          <a:pt x="21" y="324"/>
                          <a:pt x="21" y="324"/>
                        </a:cubicBezTo>
                        <a:cubicBezTo>
                          <a:pt x="9" y="317"/>
                          <a:pt x="0" y="304"/>
                          <a:pt x="0" y="290"/>
                        </a:cubicBezTo>
                        <a:cubicBezTo>
                          <a:pt x="0" y="276"/>
                          <a:pt x="9" y="263"/>
                          <a:pt x="21" y="256"/>
                        </a:cubicBezTo>
                        <a:cubicBezTo>
                          <a:pt x="468" y="4"/>
                          <a:pt x="468" y="4"/>
                          <a:pt x="468" y="4"/>
                        </a:cubicBezTo>
                        <a:cubicBezTo>
                          <a:pt x="473" y="2"/>
                          <a:pt x="480" y="0"/>
                          <a:pt x="487" y="0"/>
                        </a:cubicBezTo>
                        <a:cubicBezTo>
                          <a:pt x="494" y="0"/>
                          <a:pt x="501" y="2"/>
                          <a:pt x="508" y="4"/>
                        </a:cubicBezTo>
                        <a:cubicBezTo>
                          <a:pt x="953" y="256"/>
                          <a:pt x="953" y="256"/>
                          <a:pt x="953" y="256"/>
                        </a:cubicBezTo>
                        <a:cubicBezTo>
                          <a:pt x="968" y="263"/>
                          <a:pt x="975" y="276"/>
                          <a:pt x="975" y="290"/>
                        </a:cubicBezTo>
                        <a:cubicBezTo>
                          <a:pt x="975" y="304"/>
                          <a:pt x="968" y="317"/>
                          <a:pt x="953" y="324"/>
                        </a:cubicBezTo>
                        <a:cubicBezTo>
                          <a:pt x="508" y="576"/>
                          <a:pt x="508" y="576"/>
                          <a:pt x="508" y="576"/>
                        </a:cubicBezTo>
                        <a:cubicBezTo>
                          <a:pt x="501" y="578"/>
                          <a:pt x="494" y="580"/>
                          <a:pt x="487" y="5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43" name="Freeform 13">
                    <a:extLst>
                      <a:ext uri="{FF2B5EF4-FFF2-40B4-BE49-F238E27FC236}">
                        <a16:creationId xmlns:a16="http://schemas.microsoft.com/office/drawing/2014/main" id="{0B27DDDF-1BBB-42C8-99F4-FFF59584071D}"/>
                      </a:ext>
                    </a:extLst>
                  </p:cNvPr>
                  <p:cNvSpPr>
                    <a:spLocks/>
                  </p:cNvSpPr>
                  <p:nvPr/>
                </p:nvSpPr>
                <p:spPr bwMode="auto">
                  <a:xfrm>
                    <a:off x="5163132" y="1399254"/>
                    <a:ext cx="366090" cy="216019"/>
                  </a:xfrm>
                  <a:custGeom>
                    <a:avLst/>
                    <a:gdLst>
                      <a:gd name="T0" fmla="*/ 479 w 959"/>
                      <a:gd name="T1" fmla="*/ 580 h 580"/>
                      <a:gd name="T2" fmla="*/ 498 w 959"/>
                      <a:gd name="T3" fmla="*/ 576 h 580"/>
                      <a:gd name="T4" fmla="*/ 938 w 959"/>
                      <a:gd name="T5" fmla="*/ 322 h 580"/>
                      <a:gd name="T6" fmla="*/ 959 w 959"/>
                      <a:gd name="T7" fmla="*/ 290 h 580"/>
                      <a:gd name="T8" fmla="*/ 938 w 959"/>
                      <a:gd name="T9" fmla="*/ 256 h 580"/>
                      <a:gd name="T10" fmla="*/ 498 w 959"/>
                      <a:gd name="T11" fmla="*/ 4 h 580"/>
                      <a:gd name="T12" fmla="*/ 479 w 959"/>
                      <a:gd name="T13" fmla="*/ 0 h 580"/>
                      <a:gd name="T14" fmla="*/ 459 w 959"/>
                      <a:gd name="T15" fmla="*/ 4 h 580"/>
                      <a:gd name="T16" fmla="*/ 21 w 959"/>
                      <a:gd name="T17" fmla="*/ 256 h 580"/>
                      <a:gd name="T18" fmla="*/ 0 w 959"/>
                      <a:gd name="T19" fmla="*/ 290 h 580"/>
                      <a:gd name="T20" fmla="*/ 21 w 959"/>
                      <a:gd name="T21" fmla="*/ 322 h 580"/>
                      <a:gd name="T22" fmla="*/ 459 w 959"/>
                      <a:gd name="T23" fmla="*/ 576 h 580"/>
                      <a:gd name="T24" fmla="*/ 479 w 959"/>
                      <a:gd name="T25" fmla="*/ 58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0">
                        <a:moveTo>
                          <a:pt x="479" y="580"/>
                        </a:moveTo>
                        <a:cubicBezTo>
                          <a:pt x="486" y="580"/>
                          <a:pt x="493" y="578"/>
                          <a:pt x="498" y="576"/>
                        </a:cubicBezTo>
                        <a:cubicBezTo>
                          <a:pt x="498" y="576"/>
                          <a:pt x="498" y="576"/>
                          <a:pt x="938" y="322"/>
                        </a:cubicBezTo>
                        <a:cubicBezTo>
                          <a:pt x="950" y="315"/>
                          <a:pt x="959" y="304"/>
                          <a:pt x="959" y="290"/>
                        </a:cubicBezTo>
                        <a:cubicBezTo>
                          <a:pt x="959" y="276"/>
                          <a:pt x="950" y="262"/>
                          <a:pt x="938" y="256"/>
                        </a:cubicBezTo>
                        <a:cubicBezTo>
                          <a:pt x="938" y="256"/>
                          <a:pt x="938" y="256"/>
                          <a:pt x="498" y="4"/>
                        </a:cubicBezTo>
                        <a:cubicBezTo>
                          <a:pt x="493" y="0"/>
                          <a:pt x="486" y="0"/>
                          <a:pt x="479" y="0"/>
                        </a:cubicBezTo>
                        <a:cubicBezTo>
                          <a:pt x="473" y="0"/>
                          <a:pt x="466" y="0"/>
                          <a:pt x="459" y="4"/>
                        </a:cubicBezTo>
                        <a:cubicBezTo>
                          <a:pt x="459" y="4"/>
                          <a:pt x="459" y="4"/>
                          <a:pt x="21" y="256"/>
                        </a:cubicBezTo>
                        <a:cubicBezTo>
                          <a:pt x="7" y="262"/>
                          <a:pt x="0" y="276"/>
                          <a:pt x="0" y="290"/>
                        </a:cubicBezTo>
                        <a:cubicBezTo>
                          <a:pt x="0" y="304"/>
                          <a:pt x="7" y="315"/>
                          <a:pt x="21" y="322"/>
                        </a:cubicBezTo>
                        <a:cubicBezTo>
                          <a:pt x="21" y="322"/>
                          <a:pt x="21" y="322"/>
                          <a:pt x="459" y="576"/>
                        </a:cubicBezTo>
                        <a:cubicBezTo>
                          <a:pt x="466" y="578"/>
                          <a:pt x="473" y="580"/>
                          <a:pt x="479" y="5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44" name="Freeform 15">
                    <a:extLst>
                      <a:ext uri="{FF2B5EF4-FFF2-40B4-BE49-F238E27FC236}">
                        <a16:creationId xmlns:a16="http://schemas.microsoft.com/office/drawing/2014/main" id="{DB2B57B0-CB0D-46BA-BCAC-BB01AA5823A7}"/>
                      </a:ext>
                    </a:extLst>
                  </p:cNvPr>
                  <p:cNvSpPr>
                    <a:spLocks/>
                  </p:cNvSpPr>
                  <p:nvPr/>
                </p:nvSpPr>
                <p:spPr bwMode="auto">
                  <a:xfrm>
                    <a:off x="4473532" y="1533227"/>
                    <a:ext cx="366090" cy="217057"/>
                  </a:xfrm>
                  <a:custGeom>
                    <a:avLst/>
                    <a:gdLst>
                      <a:gd name="T0" fmla="*/ 479 w 959"/>
                      <a:gd name="T1" fmla="*/ 581 h 581"/>
                      <a:gd name="T2" fmla="*/ 498 w 959"/>
                      <a:gd name="T3" fmla="*/ 576 h 581"/>
                      <a:gd name="T4" fmla="*/ 938 w 959"/>
                      <a:gd name="T5" fmla="*/ 325 h 581"/>
                      <a:gd name="T6" fmla="*/ 959 w 959"/>
                      <a:gd name="T7" fmla="*/ 291 h 581"/>
                      <a:gd name="T8" fmla="*/ 938 w 959"/>
                      <a:gd name="T9" fmla="*/ 259 h 581"/>
                      <a:gd name="T10" fmla="*/ 498 w 959"/>
                      <a:gd name="T11" fmla="*/ 5 h 581"/>
                      <a:gd name="T12" fmla="*/ 479 w 959"/>
                      <a:gd name="T13" fmla="*/ 0 h 581"/>
                      <a:gd name="T14" fmla="*/ 459 w 959"/>
                      <a:gd name="T15" fmla="*/ 5 h 581"/>
                      <a:gd name="T16" fmla="*/ 20 w 959"/>
                      <a:gd name="T17" fmla="*/ 259 h 581"/>
                      <a:gd name="T18" fmla="*/ 0 w 959"/>
                      <a:gd name="T19" fmla="*/ 291 h 581"/>
                      <a:gd name="T20" fmla="*/ 20 w 959"/>
                      <a:gd name="T21" fmla="*/ 325 h 581"/>
                      <a:gd name="T22" fmla="*/ 459 w 959"/>
                      <a:gd name="T23" fmla="*/ 576 h 581"/>
                      <a:gd name="T24" fmla="*/ 479 w 959"/>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1">
                        <a:moveTo>
                          <a:pt x="479" y="581"/>
                        </a:moveTo>
                        <a:cubicBezTo>
                          <a:pt x="486" y="581"/>
                          <a:pt x="493" y="581"/>
                          <a:pt x="498" y="576"/>
                        </a:cubicBezTo>
                        <a:cubicBezTo>
                          <a:pt x="498" y="576"/>
                          <a:pt x="498" y="576"/>
                          <a:pt x="938" y="325"/>
                        </a:cubicBezTo>
                        <a:cubicBezTo>
                          <a:pt x="950" y="318"/>
                          <a:pt x="959" y="304"/>
                          <a:pt x="959" y="291"/>
                        </a:cubicBezTo>
                        <a:cubicBezTo>
                          <a:pt x="959" y="277"/>
                          <a:pt x="950" y="266"/>
                          <a:pt x="938" y="259"/>
                        </a:cubicBezTo>
                        <a:cubicBezTo>
                          <a:pt x="938" y="259"/>
                          <a:pt x="938" y="259"/>
                          <a:pt x="498" y="5"/>
                        </a:cubicBezTo>
                        <a:cubicBezTo>
                          <a:pt x="493" y="3"/>
                          <a:pt x="486" y="0"/>
                          <a:pt x="479" y="0"/>
                        </a:cubicBezTo>
                        <a:cubicBezTo>
                          <a:pt x="472" y="0"/>
                          <a:pt x="465" y="3"/>
                          <a:pt x="459" y="5"/>
                        </a:cubicBezTo>
                        <a:cubicBezTo>
                          <a:pt x="459" y="5"/>
                          <a:pt x="459" y="5"/>
                          <a:pt x="20" y="259"/>
                        </a:cubicBezTo>
                        <a:cubicBezTo>
                          <a:pt x="7" y="266"/>
                          <a:pt x="0" y="277"/>
                          <a:pt x="0" y="291"/>
                        </a:cubicBezTo>
                        <a:cubicBezTo>
                          <a:pt x="0" y="304"/>
                          <a:pt x="7" y="318"/>
                          <a:pt x="20" y="325"/>
                        </a:cubicBezTo>
                        <a:cubicBezTo>
                          <a:pt x="20" y="325"/>
                          <a:pt x="20" y="325"/>
                          <a:pt x="459" y="576"/>
                        </a:cubicBezTo>
                        <a:cubicBezTo>
                          <a:pt x="465" y="581"/>
                          <a:pt x="472" y="581"/>
                          <a:pt x="479" y="5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45" name="Freeform 17">
                    <a:extLst>
                      <a:ext uri="{FF2B5EF4-FFF2-40B4-BE49-F238E27FC236}">
                        <a16:creationId xmlns:a16="http://schemas.microsoft.com/office/drawing/2014/main" id="{E38F5306-4AE7-4FF5-B3BF-F7588AB3C16A}"/>
                      </a:ext>
                    </a:extLst>
                  </p:cNvPr>
                  <p:cNvSpPr>
                    <a:spLocks/>
                  </p:cNvSpPr>
                  <p:nvPr/>
                </p:nvSpPr>
                <p:spPr bwMode="auto">
                  <a:xfrm>
                    <a:off x="4473532" y="1024857"/>
                    <a:ext cx="366090" cy="216538"/>
                  </a:xfrm>
                  <a:custGeom>
                    <a:avLst/>
                    <a:gdLst>
                      <a:gd name="T0" fmla="*/ 479 w 959"/>
                      <a:gd name="T1" fmla="*/ 581 h 581"/>
                      <a:gd name="T2" fmla="*/ 498 w 959"/>
                      <a:gd name="T3" fmla="*/ 576 h 581"/>
                      <a:gd name="T4" fmla="*/ 938 w 959"/>
                      <a:gd name="T5" fmla="*/ 323 h 581"/>
                      <a:gd name="T6" fmla="*/ 959 w 959"/>
                      <a:gd name="T7" fmla="*/ 291 h 581"/>
                      <a:gd name="T8" fmla="*/ 938 w 959"/>
                      <a:gd name="T9" fmla="*/ 256 h 581"/>
                      <a:gd name="T10" fmla="*/ 498 w 959"/>
                      <a:gd name="T11" fmla="*/ 5 h 581"/>
                      <a:gd name="T12" fmla="*/ 479 w 959"/>
                      <a:gd name="T13" fmla="*/ 0 h 581"/>
                      <a:gd name="T14" fmla="*/ 459 w 959"/>
                      <a:gd name="T15" fmla="*/ 5 h 581"/>
                      <a:gd name="T16" fmla="*/ 20 w 959"/>
                      <a:gd name="T17" fmla="*/ 256 h 581"/>
                      <a:gd name="T18" fmla="*/ 0 w 959"/>
                      <a:gd name="T19" fmla="*/ 291 h 581"/>
                      <a:gd name="T20" fmla="*/ 20 w 959"/>
                      <a:gd name="T21" fmla="*/ 323 h 581"/>
                      <a:gd name="T22" fmla="*/ 459 w 959"/>
                      <a:gd name="T23" fmla="*/ 576 h 581"/>
                      <a:gd name="T24" fmla="*/ 479 w 959"/>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1">
                        <a:moveTo>
                          <a:pt x="479" y="581"/>
                        </a:moveTo>
                        <a:cubicBezTo>
                          <a:pt x="486" y="581"/>
                          <a:pt x="493" y="579"/>
                          <a:pt x="498" y="576"/>
                        </a:cubicBezTo>
                        <a:cubicBezTo>
                          <a:pt x="498" y="576"/>
                          <a:pt x="498" y="576"/>
                          <a:pt x="938" y="323"/>
                        </a:cubicBezTo>
                        <a:cubicBezTo>
                          <a:pt x="950" y="316"/>
                          <a:pt x="959" y="304"/>
                          <a:pt x="959" y="291"/>
                        </a:cubicBezTo>
                        <a:cubicBezTo>
                          <a:pt x="959" y="277"/>
                          <a:pt x="950" y="263"/>
                          <a:pt x="938" y="256"/>
                        </a:cubicBezTo>
                        <a:cubicBezTo>
                          <a:pt x="938" y="256"/>
                          <a:pt x="938" y="256"/>
                          <a:pt x="498" y="5"/>
                        </a:cubicBezTo>
                        <a:cubicBezTo>
                          <a:pt x="493" y="0"/>
                          <a:pt x="486" y="0"/>
                          <a:pt x="479" y="0"/>
                        </a:cubicBezTo>
                        <a:cubicBezTo>
                          <a:pt x="472" y="0"/>
                          <a:pt x="465" y="0"/>
                          <a:pt x="459" y="5"/>
                        </a:cubicBezTo>
                        <a:cubicBezTo>
                          <a:pt x="459" y="5"/>
                          <a:pt x="459" y="5"/>
                          <a:pt x="20" y="256"/>
                        </a:cubicBezTo>
                        <a:cubicBezTo>
                          <a:pt x="7" y="263"/>
                          <a:pt x="0" y="277"/>
                          <a:pt x="0" y="291"/>
                        </a:cubicBezTo>
                        <a:cubicBezTo>
                          <a:pt x="0" y="304"/>
                          <a:pt x="7" y="316"/>
                          <a:pt x="20" y="323"/>
                        </a:cubicBezTo>
                        <a:cubicBezTo>
                          <a:pt x="20" y="323"/>
                          <a:pt x="20" y="323"/>
                          <a:pt x="459" y="576"/>
                        </a:cubicBezTo>
                        <a:cubicBezTo>
                          <a:pt x="465" y="579"/>
                          <a:pt x="472" y="581"/>
                          <a:pt x="479" y="58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46" name="Freeform 18">
                    <a:extLst>
                      <a:ext uri="{FF2B5EF4-FFF2-40B4-BE49-F238E27FC236}">
                        <a16:creationId xmlns:a16="http://schemas.microsoft.com/office/drawing/2014/main" id="{66516735-0B0C-499C-905A-89192D138E04}"/>
                      </a:ext>
                    </a:extLst>
                  </p:cNvPr>
                  <p:cNvSpPr>
                    <a:spLocks noEditPoints="1"/>
                  </p:cNvSpPr>
                  <p:nvPr/>
                </p:nvSpPr>
                <p:spPr bwMode="auto">
                  <a:xfrm>
                    <a:off x="3289062" y="1650584"/>
                    <a:ext cx="391015" cy="456443"/>
                  </a:xfrm>
                  <a:custGeom>
                    <a:avLst/>
                    <a:gdLst>
                      <a:gd name="T0" fmla="*/ 542 w 1023"/>
                      <a:gd name="T1" fmla="*/ 581 h 1224"/>
                      <a:gd name="T2" fmla="*/ 563 w 1023"/>
                      <a:gd name="T3" fmla="*/ 574 h 1224"/>
                      <a:gd name="T4" fmla="*/ 1004 w 1023"/>
                      <a:gd name="T5" fmla="*/ 324 h 1224"/>
                      <a:gd name="T6" fmla="*/ 1023 w 1023"/>
                      <a:gd name="T7" fmla="*/ 289 h 1224"/>
                      <a:gd name="T8" fmla="*/ 1004 w 1023"/>
                      <a:gd name="T9" fmla="*/ 258 h 1224"/>
                      <a:gd name="T10" fmla="*/ 563 w 1023"/>
                      <a:gd name="T11" fmla="*/ 7 h 1224"/>
                      <a:gd name="T12" fmla="*/ 542 w 1023"/>
                      <a:gd name="T13" fmla="*/ 0 h 1224"/>
                      <a:gd name="T14" fmla="*/ 524 w 1023"/>
                      <a:gd name="T15" fmla="*/ 7 h 1224"/>
                      <a:gd name="T16" fmla="*/ 82 w 1023"/>
                      <a:gd name="T17" fmla="*/ 258 h 1224"/>
                      <a:gd name="T18" fmla="*/ 64 w 1023"/>
                      <a:gd name="T19" fmla="*/ 289 h 1224"/>
                      <a:gd name="T20" fmla="*/ 82 w 1023"/>
                      <a:gd name="T21" fmla="*/ 324 h 1224"/>
                      <a:gd name="T22" fmla="*/ 524 w 1023"/>
                      <a:gd name="T23" fmla="*/ 574 h 1224"/>
                      <a:gd name="T24" fmla="*/ 542 w 1023"/>
                      <a:gd name="T25" fmla="*/ 581 h 1224"/>
                      <a:gd name="T26" fmla="*/ 487 w 1023"/>
                      <a:gd name="T27" fmla="*/ 1224 h 1224"/>
                      <a:gd name="T28" fmla="*/ 509 w 1023"/>
                      <a:gd name="T29" fmla="*/ 1217 h 1224"/>
                      <a:gd name="T30" fmla="*/ 527 w 1023"/>
                      <a:gd name="T31" fmla="*/ 1185 h 1224"/>
                      <a:gd name="T32" fmla="*/ 527 w 1023"/>
                      <a:gd name="T33" fmla="*/ 682 h 1224"/>
                      <a:gd name="T34" fmla="*/ 509 w 1023"/>
                      <a:gd name="T35" fmla="*/ 650 h 1224"/>
                      <a:gd name="T36" fmla="*/ 59 w 1023"/>
                      <a:gd name="T37" fmla="*/ 399 h 1224"/>
                      <a:gd name="T38" fmla="*/ 40 w 1023"/>
                      <a:gd name="T39" fmla="*/ 393 h 1224"/>
                      <a:gd name="T40" fmla="*/ 19 w 1023"/>
                      <a:gd name="T41" fmla="*/ 399 h 1224"/>
                      <a:gd name="T42" fmla="*/ 0 w 1023"/>
                      <a:gd name="T43" fmla="*/ 431 h 1224"/>
                      <a:gd name="T44" fmla="*/ 0 w 1023"/>
                      <a:gd name="T45" fmla="*/ 935 h 1224"/>
                      <a:gd name="T46" fmla="*/ 19 w 1023"/>
                      <a:gd name="T47" fmla="*/ 967 h 1224"/>
                      <a:gd name="T48" fmla="*/ 468 w 1023"/>
                      <a:gd name="T49" fmla="*/ 1217 h 1224"/>
                      <a:gd name="T50" fmla="*/ 487 w 1023"/>
                      <a:gd name="T51" fmla="*/ 1224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23" h="1224">
                        <a:moveTo>
                          <a:pt x="542" y="581"/>
                        </a:moveTo>
                        <a:cubicBezTo>
                          <a:pt x="549" y="581"/>
                          <a:pt x="556" y="579"/>
                          <a:pt x="563" y="574"/>
                        </a:cubicBezTo>
                        <a:cubicBezTo>
                          <a:pt x="563" y="574"/>
                          <a:pt x="563" y="574"/>
                          <a:pt x="1004" y="324"/>
                        </a:cubicBezTo>
                        <a:cubicBezTo>
                          <a:pt x="1016" y="317"/>
                          <a:pt x="1023" y="305"/>
                          <a:pt x="1023" y="289"/>
                        </a:cubicBezTo>
                        <a:cubicBezTo>
                          <a:pt x="1023" y="276"/>
                          <a:pt x="1016" y="264"/>
                          <a:pt x="1004" y="258"/>
                        </a:cubicBezTo>
                        <a:cubicBezTo>
                          <a:pt x="1004" y="258"/>
                          <a:pt x="1004" y="258"/>
                          <a:pt x="563" y="7"/>
                        </a:cubicBezTo>
                        <a:cubicBezTo>
                          <a:pt x="556" y="3"/>
                          <a:pt x="549" y="0"/>
                          <a:pt x="542" y="0"/>
                        </a:cubicBezTo>
                        <a:cubicBezTo>
                          <a:pt x="535" y="0"/>
                          <a:pt x="528" y="3"/>
                          <a:pt x="524" y="7"/>
                        </a:cubicBezTo>
                        <a:cubicBezTo>
                          <a:pt x="524" y="7"/>
                          <a:pt x="524" y="7"/>
                          <a:pt x="82" y="258"/>
                        </a:cubicBezTo>
                        <a:cubicBezTo>
                          <a:pt x="71" y="264"/>
                          <a:pt x="64" y="276"/>
                          <a:pt x="64" y="289"/>
                        </a:cubicBezTo>
                        <a:cubicBezTo>
                          <a:pt x="64" y="305"/>
                          <a:pt x="71" y="317"/>
                          <a:pt x="82" y="324"/>
                        </a:cubicBezTo>
                        <a:cubicBezTo>
                          <a:pt x="82" y="324"/>
                          <a:pt x="82" y="324"/>
                          <a:pt x="524" y="574"/>
                        </a:cubicBezTo>
                        <a:cubicBezTo>
                          <a:pt x="528" y="579"/>
                          <a:pt x="535" y="581"/>
                          <a:pt x="542" y="581"/>
                        </a:cubicBezTo>
                        <a:close/>
                        <a:moveTo>
                          <a:pt x="487" y="1224"/>
                        </a:moveTo>
                        <a:cubicBezTo>
                          <a:pt x="494" y="1224"/>
                          <a:pt x="501" y="1222"/>
                          <a:pt x="509" y="1217"/>
                        </a:cubicBezTo>
                        <a:cubicBezTo>
                          <a:pt x="520" y="1210"/>
                          <a:pt x="527" y="1199"/>
                          <a:pt x="527" y="1185"/>
                        </a:cubicBezTo>
                        <a:cubicBezTo>
                          <a:pt x="527" y="1185"/>
                          <a:pt x="527" y="1185"/>
                          <a:pt x="527" y="682"/>
                        </a:cubicBezTo>
                        <a:cubicBezTo>
                          <a:pt x="527" y="668"/>
                          <a:pt x="520" y="657"/>
                          <a:pt x="509" y="650"/>
                        </a:cubicBezTo>
                        <a:cubicBezTo>
                          <a:pt x="509" y="650"/>
                          <a:pt x="509" y="650"/>
                          <a:pt x="59" y="399"/>
                        </a:cubicBezTo>
                        <a:cubicBezTo>
                          <a:pt x="54" y="395"/>
                          <a:pt x="47" y="393"/>
                          <a:pt x="40" y="393"/>
                        </a:cubicBezTo>
                        <a:cubicBezTo>
                          <a:pt x="33" y="393"/>
                          <a:pt x="26" y="395"/>
                          <a:pt x="19" y="399"/>
                        </a:cubicBezTo>
                        <a:cubicBezTo>
                          <a:pt x="7" y="406"/>
                          <a:pt x="0" y="418"/>
                          <a:pt x="0" y="431"/>
                        </a:cubicBezTo>
                        <a:cubicBezTo>
                          <a:pt x="0" y="431"/>
                          <a:pt x="0" y="431"/>
                          <a:pt x="0" y="935"/>
                        </a:cubicBezTo>
                        <a:cubicBezTo>
                          <a:pt x="0" y="948"/>
                          <a:pt x="7" y="960"/>
                          <a:pt x="19" y="967"/>
                        </a:cubicBezTo>
                        <a:cubicBezTo>
                          <a:pt x="19" y="967"/>
                          <a:pt x="19" y="967"/>
                          <a:pt x="468" y="1217"/>
                        </a:cubicBezTo>
                        <a:cubicBezTo>
                          <a:pt x="473" y="1222"/>
                          <a:pt x="480" y="1224"/>
                          <a:pt x="487" y="1224"/>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47" name="Freeform 19">
                    <a:extLst>
                      <a:ext uri="{FF2B5EF4-FFF2-40B4-BE49-F238E27FC236}">
                        <a16:creationId xmlns:a16="http://schemas.microsoft.com/office/drawing/2014/main" id="{13D45D17-D087-4C3E-B637-03867C0445AB}"/>
                      </a:ext>
                    </a:extLst>
                  </p:cNvPr>
                  <p:cNvSpPr>
                    <a:spLocks/>
                  </p:cNvSpPr>
                  <p:nvPr/>
                </p:nvSpPr>
                <p:spPr bwMode="auto">
                  <a:xfrm>
                    <a:off x="3289062" y="2054060"/>
                    <a:ext cx="201480" cy="310008"/>
                  </a:xfrm>
                  <a:custGeom>
                    <a:avLst/>
                    <a:gdLst>
                      <a:gd name="T0" fmla="*/ 487 w 527"/>
                      <a:gd name="T1" fmla="*/ 832 h 832"/>
                      <a:gd name="T2" fmla="*/ 509 w 527"/>
                      <a:gd name="T3" fmla="*/ 827 h 832"/>
                      <a:gd name="T4" fmla="*/ 527 w 527"/>
                      <a:gd name="T5" fmla="*/ 793 h 832"/>
                      <a:gd name="T6" fmla="*/ 527 w 527"/>
                      <a:gd name="T7" fmla="*/ 290 h 832"/>
                      <a:gd name="T8" fmla="*/ 509 w 527"/>
                      <a:gd name="T9" fmla="*/ 258 h 832"/>
                      <a:gd name="T10" fmla="*/ 59 w 527"/>
                      <a:gd name="T11" fmla="*/ 4 h 832"/>
                      <a:gd name="T12" fmla="*/ 40 w 527"/>
                      <a:gd name="T13" fmla="*/ 0 h 832"/>
                      <a:gd name="T14" fmla="*/ 19 w 527"/>
                      <a:gd name="T15" fmla="*/ 4 h 832"/>
                      <a:gd name="T16" fmla="*/ 0 w 527"/>
                      <a:gd name="T17" fmla="*/ 39 h 832"/>
                      <a:gd name="T18" fmla="*/ 0 w 527"/>
                      <a:gd name="T19" fmla="*/ 541 h 832"/>
                      <a:gd name="T20" fmla="*/ 19 w 527"/>
                      <a:gd name="T21" fmla="*/ 576 h 832"/>
                      <a:gd name="T22" fmla="*/ 468 w 527"/>
                      <a:gd name="T23" fmla="*/ 827 h 832"/>
                      <a:gd name="T24" fmla="*/ 487 w 527"/>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2">
                        <a:moveTo>
                          <a:pt x="487" y="832"/>
                        </a:moveTo>
                        <a:cubicBezTo>
                          <a:pt x="494" y="832"/>
                          <a:pt x="501" y="832"/>
                          <a:pt x="509" y="827"/>
                        </a:cubicBezTo>
                        <a:cubicBezTo>
                          <a:pt x="520" y="820"/>
                          <a:pt x="527" y="809"/>
                          <a:pt x="527" y="793"/>
                        </a:cubicBezTo>
                        <a:cubicBezTo>
                          <a:pt x="527" y="793"/>
                          <a:pt x="527" y="793"/>
                          <a:pt x="527" y="290"/>
                        </a:cubicBezTo>
                        <a:cubicBezTo>
                          <a:pt x="527" y="276"/>
                          <a:pt x="520" y="265"/>
                          <a:pt x="509" y="258"/>
                        </a:cubicBezTo>
                        <a:cubicBezTo>
                          <a:pt x="509" y="258"/>
                          <a:pt x="509" y="258"/>
                          <a:pt x="59" y="4"/>
                        </a:cubicBezTo>
                        <a:cubicBezTo>
                          <a:pt x="54" y="2"/>
                          <a:pt x="47" y="0"/>
                          <a:pt x="40" y="0"/>
                        </a:cubicBezTo>
                        <a:cubicBezTo>
                          <a:pt x="33" y="0"/>
                          <a:pt x="26" y="2"/>
                          <a:pt x="19" y="4"/>
                        </a:cubicBezTo>
                        <a:cubicBezTo>
                          <a:pt x="7" y="11"/>
                          <a:pt x="0" y="25"/>
                          <a:pt x="0" y="39"/>
                        </a:cubicBezTo>
                        <a:cubicBezTo>
                          <a:pt x="0" y="39"/>
                          <a:pt x="0" y="39"/>
                          <a:pt x="0" y="541"/>
                        </a:cubicBezTo>
                        <a:cubicBezTo>
                          <a:pt x="0" y="555"/>
                          <a:pt x="7" y="569"/>
                          <a:pt x="19" y="576"/>
                        </a:cubicBezTo>
                        <a:cubicBezTo>
                          <a:pt x="19" y="576"/>
                          <a:pt x="19" y="576"/>
                          <a:pt x="468" y="827"/>
                        </a:cubicBezTo>
                        <a:cubicBezTo>
                          <a:pt x="473" y="832"/>
                          <a:pt x="480" y="832"/>
                          <a:pt x="487" y="8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48" name="Freeform 21">
                    <a:extLst>
                      <a:ext uri="{FF2B5EF4-FFF2-40B4-BE49-F238E27FC236}">
                        <a16:creationId xmlns:a16="http://schemas.microsoft.com/office/drawing/2014/main" id="{225E5CDC-1BB8-4C63-8B1F-75678E55F21F}"/>
                      </a:ext>
                    </a:extLst>
                  </p:cNvPr>
                  <p:cNvSpPr>
                    <a:spLocks/>
                  </p:cNvSpPr>
                  <p:nvPr/>
                </p:nvSpPr>
                <p:spPr bwMode="auto">
                  <a:xfrm>
                    <a:off x="3289062" y="2814798"/>
                    <a:ext cx="201480" cy="309488"/>
                  </a:xfrm>
                  <a:custGeom>
                    <a:avLst/>
                    <a:gdLst>
                      <a:gd name="T0" fmla="*/ 487 w 527"/>
                      <a:gd name="T1" fmla="*/ 831 h 831"/>
                      <a:gd name="T2" fmla="*/ 509 w 527"/>
                      <a:gd name="T3" fmla="*/ 827 h 831"/>
                      <a:gd name="T4" fmla="*/ 527 w 527"/>
                      <a:gd name="T5" fmla="*/ 792 h 831"/>
                      <a:gd name="T6" fmla="*/ 527 w 527"/>
                      <a:gd name="T7" fmla="*/ 290 h 831"/>
                      <a:gd name="T8" fmla="*/ 509 w 527"/>
                      <a:gd name="T9" fmla="*/ 256 h 831"/>
                      <a:gd name="T10" fmla="*/ 59 w 527"/>
                      <a:gd name="T11" fmla="*/ 4 h 831"/>
                      <a:gd name="T12" fmla="*/ 40 w 527"/>
                      <a:gd name="T13" fmla="*/ 0 h 831"/>
                      <a:gd name="T14" fmla="*/ 19 w 527"/>
                      <a:gd name="T15" fmla="*/ 4 h 831"/>
                      <a:gd name="T16" fmla="*/ 0 w 527"/>
                      <a:gd name="T17" fmla="*/ 39 h 831"/>
                      <a:gd name="T18" fmla="*/ 0 w 527"/>
                      <a:gd name="T19" fmla="*/ 541 h 831"/>
                      <a:gd name="T20" fmla="*/ 19 w 527"/>
                      <a:gd name="T21" fmla="*/ 575 h 831"/>
                      <a:gd name="T22" fmla="*/ 468 w 527"/>
                      <a:gd name="T23" fmla="*/ 827 h 831"/>
                      <a:gd name="T24" fmla="*/ 487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87" y="831"/>
                        </a:moveTo>
                        <a:cubicBezTo>
                          <a:pt x="494" y="831"/>
                          <a:pt x="501" y="831"/>
                          <a:pt x="509" y="827"/>
                        </a:cubicBezTo>
                        <a:cubicBezTo>
                          <a:pt x="520" y="820"/>
                          <a:pt x="527" y="806"/>
                          <a:pt x="527" y="792"/>
                        </a:cubicBezTo>
                        <a:cubicBezTo>
                          <a:pt x="527" y="792"/>
                          <a:pt x="527" y="792"/>
                          <a:pt x="527" y="290"/>
                        </a:cubicBezTo>
                        <a:cubicBezTo>
                          <a:pt x="527" y="276"/>
                          <a:pt x="520" y="262"/>
                          <a:pt x="509" y="256"/>
                        </a:cubicBezTo>
                        <a:cubicBezTo>
                          <a:pt x="509" y="256"/>
                          <a:pt x="509" y="256"/>
                          <a:pt x="59" y="4"/>
                        </a:cubicBezTo>
                        <a:cubicBezTo>
                          <a:pt x="54" y="2"/>
                          <a:pt x="47" y="0"/>
                          <a:pt x="40" y="0"/>
                        </a:cubicBezTo>
                        <a:cubicBezTo>
                          <a:pt x="33" y="0"/>
                          <a:pt x="26" y="2"/>
                          <a:pt x="19" y="4"/>
                        </a:cubicBezTo>
                        <a:cubicBezTo>
                          <a:pt x="7" y="11"/>
                          <a:pt x="0" y="25"/>
                          <a:pt x="0" y="39"/>
                        </a:cubicBezTo>
                        <a:cubicBezTo>
                          <a:pt x="0" y="39"/>
                          <a:pt x="0" y="39"/>
                          <a:pt x="0" y="541"/>
                        </a:cubicBezTo>
                        <a:cubicBezTo>
                          <a:pt x="0" y="555"/>
                          <a:pt x="7" y="569"/>
                          <a:pt x="19" y="575"/>
                        </a:cubicBezTo>
                        <a:cubicBezTo>
                          <a:pt x="19" y="575"/>
                          <a:pt x="19" y="575"/>
                          <a:pt x="468" y="827"/>
                        </a:cubicBezTo>
                        <a:cubicBezTo>
                          <a:pt x="473" y="831"/>
                          <a:pt x="480" y="831"/>
                          <a:pt x="487"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49" name="Freeform 22">
                    <a:extLst>
                      <a:ext uri="{FF2B5EF4-FFF2-40B4-BE49-F238E27FC236}">
                        <a16:creationId xmlns:a16="http://schemas.microsoft.com/office/drawing/2014/main" id="{10D8E41C-7F01-475A-BC04-C6EF0BAA4A40}"/>
                      </a:ext>
                    </a:extLst>
                  </p:cNvPr>
                  <p:cNvSpPr>
                    <a:spLocks/>
                  </p:cNvSpPr>
                  <p:nvPr/>
                </p:nvSpPr>
                <p:spPr bwMode="auto">
                  <a:xfrm>
                    <a:off x="3747064" y="3323688"/>
                    <a:ext cx="201480" cy="309488"/>
                  </a:xfrm>
                  <a:custGeom>
                    <a:avLst/>
                    <a:gdLst>
                      <a:gd name="T0" fmla="*/ 487 w 527"/>
                      <a:gd name="T1" fmla="*/ 831 h 831"/>
                      <a:gd name="T2" fmla="*/ 506 w 527"/>
                      <a:gd name="T3" fmla="*/ 827 h 831"/>
                      <a:gd name="T4" fmla="*/ 527 w 527"/>
                      <a:gd name="T5" fmla="*/ 792 h 831"/>
                      <a:gd name="T6" fmla="*/ 527 w 527"/>
                      <a:gd name="T7" fmla="*/ 290 h 831"/>
                      <a:gd name="T8" fmla="*/ 506 w 527"/>
                      <a:gd name="T9" fmla="*/ 256 h 831"/>
                      <a:gd name="T10" fmla="*/ 61 w 527"/>
                      <a:gd name="T11" fmla="*/ 4 h 831"/>
                      <a:gd name="T12" fmla="*/ 40 w 527"/>
                      <a:gd name="T13" fmla="*/ 0 h 831"/>
                      <a:gd name="T14" fmla="*/ 21 w 527"/>
                      <a:gd name="T15" fmla="*/ 4 h 831"/>
                      <a:gd name="T16" fmla="*/ 0 w 527"/>
                      <a:gd name="T17" fmla="*/ 39 h 831"/>
                      <a:gd name="T18" fmla="*/ 0 w 527"/>
                      <a:gd name="T19" fmla="*/ 541 h 831"/>
                      <a:gd name="T20" fmla="*/ 21 w 527"/>
                      <a:gd name="T21" fmla="*/ 575 h 831"/>
                      <a:gd name="T22" fmla="*/ 466 w 527"/>
                      <a:gd name="T23" fmla="*/ 827 h 831"/>
                      <a:gd name="T24" fmla="*/ 487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87" y="831"/>
                        </a:moveTo>
                        <a:cubicBezTo>
                          <a:pt x="494" y="831"/>
                          <a:pt x="501" y="829"/>
                          <a:pt x="506" y="827"/>
                        </a:cubicBezTo>
                        <a:cubicBezTo>
                          <a:pt x="520" y="820"/>
                          <a:pt x="527" y="806"/>
                          <a:pt x="527" y="792"/>
                        </a:cubicBezTo>
                        <a:cubicBezTo>
                          <a:pt x="527" y="792"/>
                          <a:pt x="527" y="792"/>
                          <a:pt x="527" y="290"/>
                        </a:cubicBezTo>
                        <a:cubicBezTo>
                          <a:pt x="527" y="276"/>
                          <a:pt x="520" y="262"/>
                          <a:pt x="506" y="256"/>
                        </a:cubicBezTo>
                        <a:cubicBezTo>
                          <a:pt x="506" y="256"/>
                          <a:pt x="506" y="256"/>
                          <a:pt x="61" y="4"/>
                        </a:cubicBezTo>
                        <a:cubicBezTo>
                          <a:pt x="54" y="0"/>
                          <a:pt x="47" y="0"/>
                          <a:pt x="40" y="0"/>
                        </a:cubicBezTo>
                        <a:cubicBezTo>
                          <a:pt x="32" y="0"/>
                          <a:pt x="25" y="0"/>
                          <a:pt x="21" y="4"/>
                        </a:cubicBezTo>
                        <a:cubicBezTo>
                          <a:pt x="7" y="11"/>
                          <a:pt x="0" y="25"/>
                          <a:pt x="0" y="39"/>
                        </a:cubicBezTo>
                        <a:cubicBezTo>
                          <a:pt x="0" y="39"/>
                          <a:pt x="0" y="39"/>
                          <a:pt x="0" y="541"/>
                        </a:cubicBezTo>
                        <a:cubicBezTo>
                          <a:pt x="0" y="555"/>
                          <a:pt x="7" y="569"/>
                          <a:pt x="21" y="575"/>
                        </a:cubicBezTo>
                        <a:cubicBezTo>
                          <a:pt x="21" y="575"/>
                          <a:pt x="21" y="575"/>
                          <a:pt x="466" y="827"/>
                        </a:cubicBezTo>
                        <a:cubicBezTo>
                          <a:pt x="473" y="829"/>
                          <a:pt x="480" y="831"/>
                          <a:pt x="487"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50" name="Freeform 23">
                    <a:extLst>
                      <a:ext uri="{FF2B5EF4-FFF2-40B4-BE49-F238E27FC236}">
                        <a16:creationId xmlns:a16="http://schemas.microsoft.com/office/drawing/2014/main" id="{C3C028DF-7D62-49C9-9A04-5474784E3DFB}"/>
                      </a:ext>
                    </a:extLst>
                  </p:cNvPr>
                  <p:cNvSpPr>
                    <a:spLocks/>
                  </p:cNvSpPr>
                  <p:nvPr/>
                </p:nvSpPr>
                <p:spPr bwMode="auto">
                  <a:xfrm>
                    <a:off x="3289062" y="3066128"/>
                    <a:ext cx="201480" cy="310008"/>
                  </a:xfrm>
                  <a:custGeom>
                    <a:avLst/>
                    <a:gdLst>
                      <a:gd name="T0" fmla="*/ 487 w 527"/>
                      <a:gd name="T1" fmla="*/ 832 h 832"/>
                      <a:gd name="T2" fmla="*/ 509 w 527"/>
                      <a:gd name="T3" fmla="*/ 827 h 832"/>
                      <a:gd name="T4" fmla="*/ 527 w 527"/>
                      <a:gd name="T5" fmla="*/ 793 h 832"/>
                      <a:gd name="T6" fmla="*/ 527 w 527"/>
                      <a:gd name="T7" fmla="*/ 290 h 832"/>
                      <a:gd name="T8" fmla="*/ 509 w 527"/>
                      <a:gd name="T9" fmla="*/ 256 h 832"/>
                      <a:gd name="T10" fmla="*/ 59 w 527"/>
                      <a:gd name="T11" fmla="*/ 5 h 832"/>
                      <a:gd name="T12" fmla="*/ 40 w 527"/>
                      <a:gd name="T13" fmla="*/ 0 h 832"/>
                      <a:gd name="T14" fmla="*/ 19 w 527"/>
                      <a:gd name="T15" fmla="*/ 5 h 832"/>
                      <a:gd name="T16" fmla="*/ 0 w 527"/>
                      <a:gd name="T17" fmla="*/ 39 h 832"/>
                      <a:gd name="T18" fmla="*/ 0 w 527"/>
                      <a:gd name="T19" fmla="*/ 542 h 832"/>
                      <a:gd name="T20" fmla="*/ 19 w 527"/>
                      <a:gd name="T21" fmla="*/ 576 h 832"/>
                      <a:gd name="T22" fmla="*/ 468 w 527"/>
                      <a:gd name="T23" fmla="*/ 827 h 832"/>
                      <a:gd name="T24" fmla="*/ 487 w 527"/>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2">
                        <a:moveTo>
                          <a:pt x="487" y="832"/>
                        </a:moveTo>
                        <a:cubicBezTo>
                          <a:pt x="494" y="832"/>
                          <a:pt x="501" y="830"/>
                          <a:pt x="509" y="827"/>
                        </a:cubicBezTo>
                        <a:cubicBezTo>
                          <a:pt x="520" y="821"/>
                          <a:pt x="527" y="807"/>
                          <a:pt x="527" y="793"/>
                        </a:cubicBezTo>
                        <a:cubicBezTo>
                          <a:pt x="527" y="793"/>
                          <a:pt x="527" y="793"/>
                          <a:pt x="527" y="290"/>
                        </a:cubicBezTo>
                        <a:cubicBezTo>
                          <a:pt x="527" y="277"/>
                          <a:pt x="520" y="263"/>
                          <a:pt x="509" y="256"/>
                        </a:cubicBezTo>
                        <a:cubicBezTo>
                          <a:pt x="509" y="256"/>
                          <a:pt x="509" y="256"/>
                          <a:pt x="59" y="5"/>
                        </a:cubicBezTo>
                        <a:cubicBezTo>
                          <a:pt x="54" y="3"/>
                          <a:pt x="47" y="0"/>
                          <a:pt x="40" y="0"/>
                        </a:cubicBezTo>
                        <a:cubicBezTo>
                          <a:pt x="33" y="0"/>
                          <a:pt x="26" y="3"/>
                          <a:pt x="19" y="5"/>
                        </a:cubicBezTo>
                        <a:cubicBezTo>
                          <a:pt x="7" y="12"/>
                          <a:pt x="0" y="25"/>
                          <a:pt x="0" y="39"/>
                        </a:cubicBezTo>
                        <a:cubicBezTo>
                          <a:pt x="0" y="39"/>
                          <a:pt x="0" y="39"/>
                          <a:pt x="0" y="542"/>
                        </a:cubicBezTo>
                        <a:cubicBezTo>
                          <a:pt x="0" y="556"/>
                          <a:pt x="7" y="569"/>
                          <a:pt x="19" y="576"/>
                        </a:cubicBezTo>
                        <a:cubicBezTo>
                          <a:pt x="19" y="576"/>
                          <a:pt x="19" y="576"/>
                          <a:pt x="468" y="827"/>
                        </a:cubicBezTo>
                        <a:cubicBezTo>
                          <a:pt x="473" y="830"/>
                          <a:pt x="480" y="832"/>
                          <a:pt x="487"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51" name="Freeform 25">
                    <a:extLst>
                      <a:ext uri="{FF2B5EF4-FFF2-40B4-BE49-F238E27FC236}">
                        <a16:creationId xmlns:a16="http://schemas.microsoft.com/office/drawing/2014/main" id="{5D10B4D8-F607-4231-A198-F827BE014D74}"/>
                      </a:ext>
                    </a:extLst>
                  </p:cNvPr>
                  <p:cNvSpPr>
                    <a:spLocks/>
                  </p:cNvSpPr>
                  <p:nvPr/>
                </p:nvSpPr>
                <p:spPr bwMode="auto">
                  <a:xfrm>
                    <a:off x="5578553" y="2182841"/>
                    <a:ext cx="200960" cy="304295"/>
                  </a:xfrm>
                  <a:custGeom>
                    <a:avLst/>
                    <a:gdLst>
                      <a:gd name="T0" fmla="*/ 40 w 527"/>
                      <a:gd name="T1" fmla="*/ 816 h 816"/>
                      <a:gd name="T2" fmla="*/ 59 w 527"/>
                      <a:gd name="T3" fmla="*/ 812 h 816"/>
                      <a:gd name="T4" fmla="*/ 508 w 527"/>
                      <a:gd name="T5" fmla="*/ 563 h 816"/>
                      <a:gd name="T6" fmla="*/ 527 w 527"/>
                      <a:gd name="T7" fmla="*/ 531 h 816"/>
                      <a:gd name="T8" fmla="*/ 527 w 527"/>
                      <a:gd name="T9" fmla="*/ 38 h 816"/>
                      <a:gd name="T10" fmla="*/ 508 w 527"/>
                      <a:gd name="T11" fmla="*/ 5 h 816"/>
                      <a:gd name="T12" fmla="*/ 487 w 527"/>
                      <a:gd name="T13" fmla="*/ 0 h 816"/>
                      <a:gd name="T14" fmla="*/ 468 w 527"/>
                      <a:gd name="T15" fmla="*/ 5 h 816"/>
                      <a:gd name="T16" fmla="*/ 19 w 527"/>
                      <a:gd name="T17" fmla="*/ 251 h 816"/>
                      <a:gd name="T18" fmla="*/ 0 w 527"/>
                      <a:gd name="T19" fmla="*/ 285 h 816"/>
                      <a:gd name="T20" fmla="*/ 0 w 527"/>
                      <a:gd name="T21" fmla="*/ 778 h 816"/>
                      <a:gd name="T22" fmla="*/ 19 w 527"/>
                      <a:gd name="T23" fmla="*/ 812 h 816"/>
                      <a:gd name="T24" fmla="*/ 40 w 527"/>
                      <a:gd name="T25" fmla="*/ 81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16">
                        <a:moveTo>
                          <a:pt x="40" y="816"/>
                        </a:moveTo>
                        <a:cubicBezTo>
                          <a:pt x="47" y="816"/>
                          <a:pt x="52" y="814"/>
                          <a:pt x="59" y="812"/>
                        </a:cubicBezTo>
                        <a:cubicBezTo>
                          <a:pt x="59" y="812"/>
                          <a:pt x="59" y="812"/>
                          <a:pt x="508" y="563"/>
                        </a:cubicBezTo>
                        <a:cubicBezTo>
                          <a:pt x="520" y="556"/>
                          <a:pt x="527" y="545"/>
                          <a:pt x="527" y="531"/>
                        </a:cubicBezTo>
                        <a:cubicBezTo>
                          <a:pt x="527" y="531"/>
                          <a:pt x="527" y="531"/>
                          <a:pt x="527" y="38"/>
                        </a:cubicBezTo>
                        <a:cubicBezTo>
                          <a:pt x="527" y="23"/>
                          <a:pt x="520" y="11"/>
                          <a:pt x="508" y="5"/>
                        </a:cubicBezTo>
                        <a:cubicBezTo>
                          <a:pt x="501" y="0"/>
                          <a:pt x="494" y="0"/>
                          <a:pt x="487" y="0"/>
                        </a:cubicBezTo>
                        <a:cubicBezTo>
                          <a:pt x="480" y="0"/>
                          <a:pt x="473" y="0"/>
                          <a:pt x="468" y="5"/>
                        </a:cubicBezTo>
                        <a:cubicBezTo>
                          <a:pt x="468" y="5"/>
                          <a:pt x="468" y="5"/>
                          <a:pt x="19" y="251"/>
                        </a:cubicBezTo>
                        <a:cubicBezTo>
                          <a:pt x="7" y="258"/>
                          <a:pt x="0" y="271"/>
                          <a:pt x="0" y="285"/>
                        </a:cubicBezTo>
                        <a:cubicBezTo>
                          <a:pt x="0" y="285"/>
                          <a:pt x="0" y="285"/>
                          <a:pt x="0" y="778"/>
                        </a:cubicBezTo>
                        <a:cubicBezTo>
                          <a:pt x="0" y="791"/>
                          <a:pt x="7" y="805"/>
                          <a:pt x="19" y="812"/>
                        </a:cubicBezTo>
                        <a:cubicBezTo>
                          <a:pt x="26" y="814"/>
                          <a:pt x="33" y="816"/>
                          <a:pt x="40" y="816"/>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52" name="Freeform 26">
                    <a:extLst>
                      <a:ext uri="{FF2B5EF4-FFF2-40B4-BE49-F238E27FC236}">
                        <a16:creationId xmlns:a16="http://schemas.microsoft.com/office/drawing/2014/main" id="{38CD81BC-EB65-4B96-BA94-173E737A10C0}"/>
                      </a:ext>
                    </a:extLst>
                  </p:cNvPr>
                  <p:cNvSpPr>
                    <a:spLocks/>
                  </p:cNvSpPr>
                  <p:nvPr/>
                </p:nvSpPr>
                <p:spPr bwMode="auto">
                  <a:xfrm>
                    <a:off x="5810150" y="2054060"/>
                    <a:ext cx="201480" cy="310008"/>
                  </a:xfrm>
                  <a:custGeom>
                    <a:avLst/>
                    <a:gdLst>
                      <a:gd name="T0" fmla="*/ 40 w 528"/>
                      <a:gd name="T1" fmla="*/ 832 h 832"/>
                      <a:gd name="T2" fmla="*/ 61 w 528"/>
                      <a:gd name="T3" fmla="*/ 827 h 832"/>
                      <a:gd name="T4" fmla="*/ 507 w 528"/>
                      <a:gd name="T5" fmla="*/ 576 h 832"/>
                      <a:gd name="T6" fmla="*/ 528 w 528"/>
                      <a:gd name="T7" fmla="*/ 541 h 832"/>
                      <a:gd name="T8" fmla="*/ 528 w 528"/>
                      <a:gd name="T9" fmla="*/ 39 h 832"/>
                      <a:gd name="T10" fmla="*/ 507 w 528"/>
                      <a:gd name="T11" fmla="*/ 4 h 832"/>
                      <a:gd name="T12" fmla="*/ 488 w 528"/>
                      <a:gd name="T13" fmla="*/ 0 h 832"/>
                      <a:gd name="T14" fmla="*/ 467 w 528"/>
                      <a:gd name="T15" fmla="*/ 4 h 832"/>
                      <a:gd name="T16" fmla="*/ 21 w 528"/>
                      <a:gd name="T17" fmla="*/ 258 h 832"/>
                      <a:gd name="T18" fmla="*/ 0 w 528"/>
                      <a:gd name="T19" fmla="*/ 290 h 832"/>
                      <a:gd name="T20" fmla="*/ 0 w 528"/>
                      <a:gd name="T21" fmla="*/ 793 h 832"/>
                      <a:gd name="T22" fmla="*/ 21 w 528"/>
                      <a:gd name="T23" fmla="*/ 827 h 832"/>
                      <a:gd name="T24" fmla="*/ 40 w 528"/>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2">
                        <a:moveTo>
                          <a:pt x="40" y="832"/>
                        </a:moveTo>
                        <a:cubicBezTo>
                          <a:pt x="47" y="832"/>
                          <a:pt x="54" y="832"/>
                          <a:pt x="61" y="827"/>
                        </a:cubicBezTo>
                        <a:cubicBezTo>
                          <a:pt x="61" y="827"/>
                          <a:pt x="61" y="827"/>
                          <a:pt x="507" y="576"/>
                        </a:cubicBezTo>
                        <a:cubicBezTo>
                          <a:pt x="521" y="569"/>
                          <a:pt x="528" y="555"/>
                          <a:pt x="528" y="541"/>
                        </a:cubicBezTo>
                        <a:cubicBezTo>
                          <a:pt x="528" y="541"/>
                          <a:pt x="528" y="541"/>
                          <a:pt x="528" y="39"/>
                        </a:cubicBezTo>
                        <a:cubicBezTo>
                          <a:pt x="528" y="25"/>
                          <a:pt x="521" y="11"/>
                          <a:pt x="507" y="4"/>
                        </a:cubicBezTo>
                        <a:cubicBezTo>
                          <a:pt x="502" y="2"/>
                          <a:pt x="495" y="0"/>
                          <a:pt x="488" y="0"/>
                        </a:cubicBezTo>
                        <a:cubicBezTo>
                          <a:pt x="481" y="0"/>
                          <a:pt x="474" y="2"/>
                          <a:pt x="467" y="4"/>
                        </a:cubicBezTo>
                        <a:cubicBezTo>
                          <a:pt x="467" y="4"/>
                          <a:pt x="467" y="4"/>
                          <a:pt x="21" y="258"/>
                        </a:cubicBezTo>
                        <a:cubicBezTo>
                          <a:pt x="10" y="265"/>
                          <a:pt x="0" y="276"/>
                          <a:pt x="0" y="290"/>
                        </a:cubicBezTo>
                        <a:cubicBezTo>
                          <a:pt x="0" y="290"/>
                          <a:pt x="0" y="290"/>
                          <a:pt x="0" y="793"/>
                        </a:cubicBezTo>
                        <a:cubicBezTo>
                          <a:pt x="0" y="809"/>
                          <a:pt x="10" y="820"/>
                          <a:pt x="21" y="827"/>
                        </a:cubicBezTo>
                        <a:cubicBezTo>
                          <a:pt x="26" y="832"/>
                          <a:pt x="33" y="832"/>
                          <a:pt x="40"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53" name="Freeform 31">
                    <a:extLst>
                      <a:ext uri="{FF2B5EF4-FFF2-40B4-BE49-F238E27FC236}">
                        <a16:creationId xmlns:a16="http://schemas.microsoft.com/office/drawing/2014/main" id="{82ED671E-4E9F-4445-8422-6508374FF5AE}"/>
                      </a:ext>
                    </a:extLst>
                  </p:cNvPr>
                  <p:cNvSpPr>
                    <a:spLocks/>
                  </p:cNvSpPr>
                  <p:nvPr/>
                </p:nvSpPr>
                <p:spPr bwMode="auto">
                  <a:xfrm>
                    <a:off x="5810150" y="2814798"/>
                    <a:ext cx="201480" cy="309488"/>
                  </a:xfrm>
                  <a:custGeom>
                    <a:avLst/>
                    <a:gdLst>
                      <a:gd name="T0" fmla="*/ 40 w 528"/>
                      <a:gd name="T1" fmla="*/ 831 h 831"/>
                      <a:gd name="T2" fmla="*/ 61 w 528"/>
                      <a:gd name="T3" fmla="*/ 827 h 831"/>
                      <a:gd name="T4" fmla="*/ 507 w 528"/>
                      <a:gd name="T5" fmla="*/ 575 h 831"/>
                      <a:gd name="T6" fmla="*/ 528 w 528"/>
                      <a:gd name="T7" fmla="*/ 541 h 831"/>
                      <a:gd name="T8" fmla="*/ 528 w 528"/>
                      <a:gd name="T9" fmla="*/ 39 h 831"/>
                      <a:gd name="T10" fmla="*/ 507 w 528"/>
                      <a:gd name="T11" fmla="*/ 4 h 831"/>
                      <a:gd name="T12" fmla="*/ 488 w 528"/>
                      <a:gd name="T13" fmla="*/ 0 h 831"/>
                      <a:gd name="T14" fmla="*/ 467 w 528"/>
                      <a:gd name="T15" fmla="*/ 4 h 831"/>
                      <a:gd name="T16" fmla="*/ 21 w 528"/>
                      <a:gd name="T17" fmla="*/ 256 h 831"/>
                      <a:gd name="T18" fmla="*/ 0 w 528"/>
                      <a:gd name="T19" fmla="*/ 290 h 831"/>
                      <a:gd name="T20" fmla="*/ 0 w 528"/>
                      <a:gd name="T21" fmla="*/ 792 h 831"/>
                      <a:gd name="T22" fmla="*/ 21 w 528"/>
                      <a:gd name="T23" fmla="*/ 827 h 831"/>
                      <a:gd name="T24" fmla="*/ 40 w 528"/>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1">
                        <a:moveTo>
                          <a:pt x="40" y="831"/>
                        </a:moveTo>
                        <a:cubicBezTo>
                          <a:pt x="47" y="831"/>
                          <a:pt x="54" y="831"/>
                          <a:pt x="61" y="827"/>
                        </a:cubicBezTo>
                        <a:cubicBezTo>
                          <a:pt x="61" y="827"/>
                          <a:pt x="61" y="827"/>
                          <a:pt x="507" y="575"/>
                        </a:cubicBezTo>
                        <a:cubicBezTo>
                          <a:pt x="521" y="569"/>
                          <a:pt x="528" y="555"/>
                          <a:pt x="528" y="541"/>
                        </a:cubicBezTo>
                        <a:cubicBezTo>
                          <a:pt x="528" y="541"/>
                          <a:pt x="528" y="541"/>
                          <a:pt x="528" y="39"/>
                        </a:cubicBezTo>
                        <a:cubicBezTo>
                          <a:pt x="528" y="25"/>
                          <a:pt x="521" y="11"/>
                          <a:pt x="507" y="4"/>
                        </a:cubicBezTo>
                        <a:cubicBezTo>
                          <a:pt x="502" y="2"/>
                          <a:pt x="495" y="0"/>
                          <a:pt x="488" y="0"/>
                        </a:cubicBezTo>
                        <a:cubicBezTo>
                          <a:pt x="481" y="0"/>
                          <a:pt x="474" y="2"/>
                          <a:pt x="467" y="4"/>
                        </a:cubicBezTo>
                        <a:cubicBezTo>
                          <a:pt x="467" y="4"/>
                          <a:pt x="467" y="4"/>
                          <a:pt x="21" y="256"/>
                        </a:cubicBezTo>
                        <a:cubicBezTo>
                          <a:pt x="10" y="262"/>
                          <a:pt x="0" y="276"/>
                          <a:pt x="0" y="290"/>
                        </a:cubicBezTo>
                        <a:cubicBezTo>
                          <a:pt x="0" y="290"/>
                          <a:pt x="0" y="290"/>
                          <a:pt x="0" y="792"/>
                        </a:cubicBezTo>
                        <a:cubicBezTo>
                          <a:pt x="0" y="806"/>
                          <a:pt x="10" y="820"/>
                          <a:pt x="21" y="827"/>
                        </a:cubicBezTo>
                        <a:cubicBezTo>
                          <a:pt x="26" y="831"/>
                          <a:pt x="33" y="831"/>
                          <a:pt x="40"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54" name="Freeform 32">
                    <a:extLst>
                      <a:ext uri="{FF2B5EF4-FFF2-40B4-BE49-F238E27FC236}">
                        <a16:creationId xmlns:a16="http://schemas.microsoft.com/office/drawing/2014/main" id="{4DA77966-66AF-446A-BC47-6C258234BE7A}"/>
                      </a:ext>
                    </a:extLst>
                  </p:cNvPr>
                  <p:cNvSpPr>
                    <a:spLocks/>
                  </p:cNvSpPr>
                  <p:nvPr/>
                </p:nvSpPr>
                <p:spPr bwMode="auto">
                  <a:xfrm>
                    <a:off x="5578553" y="2697442"/>
                    <a:ext cx="194729" cy="304295"/>
                  </a:xfrm>
                  <a:custGeom>
                    <a:avLst/>
                    <a:gdLst>
                      <a:gd name="T0" fmla="*/ 39 w 511"/>
                      <a:gd name="T1" fmla="*/ 816 h 816"/>
                      <a:gd name="T2" fmla="*/ 57 w 511"/>
                      <a:gd name="T3" fmla="*/ 811 h 816"/>
                      <a:gd name="T4" fmla="*/ 493 w 511"/>
                      <a:gd name="T5" fmla="*/ 565 h 816"/>
                      <a:gd name="T6" fmla="*/ 511 w 511"/>
                      <a:gd name="T7" fmla="*/ 531 h 816"/>
                      <a:gd name="T8" fmla="*/ 511 w 511"/>
                      <a:gd name="T9" fmla="*/ 38 h 816"/>
                      <a:gd name="T10" fmla="*/ 493 w 511"/>
                      <a:gd name="T11" fmla="*/ 4 h 816"/>
                      <a:gd name="T12" fmla="*/ 472 w 511"/>
                      <a:gd name="T13" fmla="*/ 0 h 816"/>
                      <a:gd name="T14" fmla="*/ 454 w 511"/>
                      <a:gd name="T15" fmla="*/ 4 h 816"/>
                      <a:gd name="T16" fmla="*/ 18 w 511"/>
                      <a:gd name="T17" fmla="*/ 251 h 816"/>
                      <a:gd name="T18" fmla="*/ 0 w 511"/>
                      <a:gd name="T19" fmla="*/ 285 h 816"/>
                      <a:gd name="T20" fmla="*/ 0 w 511"/>
                      <a:gd name="T21" fmla="*/ 778 h 816"/>
                      <a:gd name="T22" fmla="*/ 18 w 511"/>
                      <a:gd name="T23" fmla="*/ 811 h 816"/>
                      <a:gd name="T24" fmla="*/ 39 w 511"/>
                      <a:gd name="T25" fmla="*/ 81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1" h="816">
                        <a:moveTo>
                          <a:pt x="39" y="816"/>
                        </a:moveTo>
                        <a:cubicBezTo>
                          <a:pt x="45" y="816"/>
                          <a:pt x="50" y="814"/>
                          <a:pt x="57" y="811"/>
                        </a:cubicBezTo>
                        <a:cubicBezTo>
                          <a:pt x="57" y="811"/>
                          <a:pt x="57" y="811"/>
                          <a:pt x="493" y="565"/>
                        </a:cubicBezTo>
                        <a:cubicBezTo>
                          <a:pt x="504" y="558"/>
                          <a:pt x="511" y="545"/>
                          <a:pt x="511" y="531"/>
                        </a:cubicBezTo>
                        <a:cubicBezTo>
                          <a:pt x="511" y="531"/>
                          <a:pt x="511" y="531"/>
                          <a:pt x="511" y="38"/>
                        </a:cubicBezTo>
                        <a:cubicBezTo>
                          <a:pt x="511" y="25"/>
                          <a:pt x="504" y="11"/>
                          <a:pt x="493" y="4"/>
                        </a:cubicBezTo>
                        <a:cubicBezTo>
                          <a:pt x="486" y="0"/>
                          <a:pt x="479" y="0"/>
                          <a:pt x="472" y="0"/>
                        </a:cubicBezTo>
                        <a:cubicBezTo>
                          <a:pt x="466" y="0"/>
                          <a:pt x="459" y="0"/>
                          <a:pt x="454" y="4"/>
                        </a:cubicBezTo>
                        <a:cubicBezTo>
                          <a:pt x="454" y="4"/>
                          <a:pt x="454" y="4"/>
                          <a:pt x="18" y="251"/>
                        </a:cubicBezTo>
                        <a:cubicBezTo>
                          <a:pt x="7" y="258"/>
                          <a:pt x="0" y="271"/>
                          <a:pt x="0" y="285"/>
                        </a:cubicBezTo>
                        <a:cubicBezTo>
                          <a:pt x="0" y="285"/>
                          <a:pt x="0" y="285"/>
                          <a:pt x="0" y="778"/>
                        </a:cubicBezTo>
                        <a:cubicBezTo>
                          <a:pt x="0" y="791"/>
                          <a:pt x="7" y="805"/>
                          <a:pt x="18" y="811"/>
                        </a:cubicBezTo>
                        <a:cubicBezTo>
                          <a:pt x="25" y="814"/>
                          <a:pt x="32" y="816"/>
                          <a:pt x="39" y="816"/>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55" name="Freeform 67">
                    <a:extLst>
                      <a:ext uri="{FF2B5EF4-FFF2-40B4-BE49-F238E27FC236}">
                        <a16:creationId xmlns:a16="http://schemas.microsoft.com/office/drawing/2014/main" id="{9DE74D1F-05E5-4831-A75A-50BFCA9EFF56}"/>
                      </a:ext>
                    </a:extLst>
                  </p:cNvPr>
                  <p:cNvSpPr>
                    <a:spLocks/>
                  </p:cNvSpPr>
                  <p:nvPr/>
                </p:nvSpPr>
                <p:spPr bwMode="auto">
                  <a:xfrm>
                    <a:off x="4198315" y="3060415"/>
                    <a:ext cx="201999" cy="309488"/>
                  </a:xfrm>
                  <a:custGeom>
                    <a:avLst/>
                    <a:gdLst>
                      <a:gd name="T0" fmla="*/ 488 w 528"/>
                      <a:gd name="T1" fmla="*/ 831 h 831"/>
                      <a:gd name="T2" fmla="*/ 509 w 528"/>
                      <a:gd name="T3" fmla="*/ 827 h 831"/>
                      <a:gd name="T4" fmla="*/ 528 w 528"/>
                      <a:gd name="T5" fmla="*/ 792 h 831"/>
                      <a:gd name="T6" fmla="*/ 528 w 528"/>
                      <a:gd name="T7" fmla="*/ 290 h 831"/>
                      <a:gd name="T8" fmla="*/ 509 w 528"/>
                      <a:gd name="T9" fmla="*/ 256 h 831"/>
                      <a:gd name="T10" fmla="*/ 61 w 528"/>
                      <a:gd name="T11" fmla="*/ 4 h 831"/>
                      <a:gd name="T12" fmla="*/ 40 w 528"/>
                      <a:gd name="T13" fmla="*/ 0 h 831"/>
                      <a:gd name="T14" fmla="*/ 22 w 528"/>
                      <a:gd name="T15" fmla="*/ 4 h 831"/>
                      <a:gd name="T16" fmla="*/ 0 w 528"/>
                      <a:gd name="T17" fmla="*/ 39 h 831"/>
                      <a:gd name="T18" fmla="*/ 0 w 528"/>
                      <a:gd name="T19" fmla="*/ 541 h 831"/>
                      <a:gd name="T20" fmla="*/ 22 w 528"/>
                      <a:gd name="T21" fmla="*/ 575 h 831"/>
                      <a:gd name="T22" fmla="*/ 469 w 528"/>
                      <a:gd name="T23" fmla="*/ 827 h 831"/>
                      <a:gd name="T24" fmla="*/ 488 w 528"/>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1">
                        <a:moveTo>
                          <a:pt x="488" y="831"/>
                        </a:moveTo>
                        <a:cubicBezTo>
                          <a:pt x="495" y="831"/>
                          <a:pt x="502" y="829"/>
                          <a:pt x="509" y="827"/>
                        </a:cubicBezTo>
                        <a:cubicBezTo>
                          <a:pt x="521" y="820"/>
                          <a:pt x="528" y="806"/>
                          <a:pt x="528" y="792"/>
                        </a:cubicBezTo>
                        <a:cubicBezTo>
                          <a:pt x="528" y="792"/>
                          <a:pt x="528" y="792"/>
                          <a:pt x="528" y="290"/>
                        </a:cubicBezTo>
                        <a:cubicBezTo>
                          <a:pt x="528" y="276"/>
                          <a:pt x="521" y="262"/>
                          <a:pt x="509" y="256"/>
                        </a:cubicBezTo>
                        <a:cubicBezTo>
                          <a:pt x="509" y="256"/>
                          <a:pt x="509" y="256"/>
                          <a:pt x="61" y="4"/>
                        </a:cubicBezTo>
                        <a:cubicBezTo>
                          <a:pt x="54" y="0"/>
                          <a:pt x="47" y="0"/>
                          <a:pt x="40" y="0"/>
                        </a:cubicBezTo>
                        <a:cubicBezTo>
                          <a:pt x="33" y="0"/>
                          <a:pt x="26" y="0"/>
                          <a:pt x="22" y="4"/>
                        </a:cubicBezTo>
                        <a:cubicBezTo>
                          <a:pt x="10" y="11"/>
                          <a:pt x="0" y="25"/>
                          <a:pt x="0" y="39"/>
                        </a:cubicBezTo>
                        <a:cubicBezTo>
                          <a:pt x="0" y="39"/>
                          <a:pt x="0" y="39"/>
                          <a:pt x="0" y="541"/>
                        </a:cubicBezTo>
                        <a:cubicBezTo>
                          <a:pt x="0" y="555"/>
                          <a:pt x="10" y="569"/>
                          <a:pt x="22" y="575"/>
                        </a:cubicBezTo>
                        <a:cubicBezTo>
                          <a:pt x="22" y="575"/>
                          <a:pt x="22" y="575"/>
                          <a:pt x="469" y="827"/>
                        </a:cubicBezTo>
                        <a:cubicBezTo>
                          <a:pt x="474" y="829"/>
                          <a:pt x="481" y="831"/>
                          <a:pt x="488"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56" name="Freeform 68">
                    <a:extLst>
                      <a:ext uri="{FF2B5EF4-FFF2-40B4-BE49-F238E27FC236}">
                        <a16:creationId xmlns:a16="http://schemas.microsoft.com/office/drawing/2014/main" id="{F5A707A7-B27C-40E2-B012-DE71BB9D8F65}"/>
                      </a:ext>
                    </a:extLst>
                  </p:cNvPr>
                  <p:cNvSpPr>
                    <a:spLocks/>
                  </p:cNvSpPr>
                  <p:nvPr/>
                </p:nvSpPr>
                <p:spPr bwMode="auto">
                  <a:xfrm>
                    <a:off x="3972950" y="2931115"/>
                    <a:ext cx="201480" cy="310527"/>
                  </a:xfrm>
                  <a:custGeom>
                    <a:avLst/>
                    <a:gdLst>
                      <a:gd name="T0" fmla="*/ 488 w 528"/>
                      <a:gd name="T1" fmla="*/ 832 h 832"/>
                      <a:gd name="T2" fmla="*/ 509 w 528"/>
                      <a:gd name="T3" fmla="*/ 825 h 832"/>
                      <a:gd name="T4" fmla="*/ 528 w 528"/>
                      <a:gd name="T5" fmla="*/ 793 h 832"/>
                      <a:gd name="T6" fmla="*/ 528 w 528"/>
                      <a:gd name="T7" fmla="*/ 290 h 832"/>
                      <a:gd name="T8" fmla="*/ 509 w 528"/>
                      <a:gd name="T9" fmla="*/ 258 h 832"/>
                      <a:gd name="T10" fmla="*/ 59 w 528"/>
                      <a:gd name="T11" fmla="*/ 7 h 832"/>
                      <a:gd name="T12" fmla="*/ 40 w 528"/>
                      <a:gd name="T13" fmla="*/ 0 h 832"/>
                      <a:gd name="T14" fmla="*/ 19 w 528"/>
                      <a:gd name="T15" fmla="*/ 7 h 832"/>
                      <a:gd name="T16" fmla="*/ 0 w 528"/>
                      <a:gd name="T17" fmla="*/ 39 h 832"/>
                      <a:gd name="T18" fmla="*/ 0 w 528"/>
                      <a:gd name="T19" fmla="*/ 543 h 832"/>
                      <a:gd name="T20" fmla="*/ 19 w 528"/>
                      <a:gd name="T21" fmla="*/ 575 h 832"/>
                      <a:gd name="T22" fmla="*/ 469 w 528"/>
                      <a:gd name="T23" fmla="*/ 825 h 832"/>
                      <a:gd name="T24" fmla="*/ 488 w 528"/>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2">
                        <a:moveTo>
                          <a:pt x="488" y="832"/>
                        </a:moveTo>
                        <a:cubicBezTo>
                          <a:pt x="495" y="832"/>
                          <a:pt x="502" y="830"/>
                          <a:pt x="509" y="825"/>
                        </a:cubicBezTo>
                        <a:cubicBezTo>
                          <a:pt x="520" y="818"/>
                          <a:pt x="528" y="807"/>
                          <a:pt x="528" y="793"/>
                        </a:cubicBezTo>
                        <a:cubicBezTo>
                          <a:pt x="528" y="793"/>
                          <a:pt x="528" y="793"/>
                          <a:pt x="528" y="290"/>
                        </a:cubicBezTo>
                        <a:cubicBezTo>
                          <a:pt x="528" y="276"/>
                          <a:pt x="520" y="265"/>
                          <a:pt x="509" y="258"/>
                        </a:cubicBezTo>
                        <a:cubicBezTo>
                          <a:pt x="509" y="258"/>
                          <a:pt x="509" y="258"/>
                          <a:pt x="59" y="7"/>
                        </a:cubicBezTo>
                        <a:cubicBezTo>
                          <a:pt x="54" y="3"/>
                          <a:pt x="47" y="0"/>
                          <a:pt x="40" y="0"/>
                        </a:cubicBezTo>
                        <a:cubicBezTo>
                          <a:pt x="33" y="0"/>
                          <a:pt x="26" y="3"/>
                          <a:pt x="19" y="7"/>
                        </a:cubicBezTo>
                        <a:cubicBezTo>
                          <a:pt x="7" y="14"/>
                          <a:pt x="0" y="26"/>
                          <a:pt x="0" y="39"/>
                        </a:cubicBezTo>
                        <a:cubicBezTo>
                          <a:pt x="0" y="39"/>
                          <a:pt x="0" y="39"/>
                          <a:pt x="0" y="543"/>
                        </a:cubicBezTo>
                        <a:cubicBezTo>
                          <a:pt x="0" y="556"/>
                          <a:pt x="7" y="568"/>
                          <a:pt x="19" y="575"/>
                        </a:cubicBezTo>
                        <a:cubicBezTo>
                          <a:pt x="19" y="575"/>
                          <a:pt x="19" y="575"/>
                          <a:pt x="469" y="825"/>
                        </a:cubicBezTo>
                        <a:cubicBezTo>
                          <a:pt x="473" y="830"/>
                          <a:pt x="480" y="832"/>
                          <a:pt x="488" y="8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57" name="Freeform 78">
                    <a:extLst>
                      <a:ext uri="{FF2B5EF4-FFF2-40B4-BE49-F238E27FC236}">
                        <a16:creationId xmlns:a16="http://schemas.microsoft.com/office/drawing/2014/main" id="{45BEB286-2B4C-471C-A836-1AAE6BE9D365}"/>
                      </a:ext>
                    </a:extLst>
                  </p:cNvPr>
                  <p:cNvSpPr>
                    <a:spLocks noEditPoints="1"/>
                  </p:cNvSpPr>
                  <p:nvPr/>
                </p:nvSpPr>
                <p:spPr bwMode="auto">
                  <a:xfrm>
                    <a:off x="4430952" y="3440525"/>
                    <a:ext cx="433077" cy="309488"/>
                  </a:xfrm>
                  <a:custGeom>
                    <a:avLst/>
                    <a:gdLst>
                      <a:gd name="T0" fmla="*/ 487 w 1135"/>
                      <a:gd name="T1" fmla="*/ 831 h 831"/>
                      <a:gd name="T2" fmla="*/ 506 w 1135"/>
                      <a:gd name="T3" fmla="*/ 827 h 831"/>
                      <a:gd name="T4" fmla="*/ 527 w 1135"/>
                      <a:gd name="T5" fmla="*/ 792 h 831"/>
                      <a:gd name="T6" fmla="*/ 527 w 1135"/>
                      <a:gd name="T7" fmla="*/ 290 h 831"/>
                      <a:gd name="T8" fmla="*/ 506 w 1135"/>
                      <a:gd name="T9" fmla="*/ 255 h 831"/>
                      <a:gd name="T10" fmla="*/ 61 w 1135"/>
                      <a:gd name="T11" fmla="*/ 4 h 831"/>
                      <a:gd name="T12" fmla="*/ 40 w 1135"/>
                      <a:gd name="T13" fmla="*/ 0 h 831"/>
                      <a:gd name="T14" fmla="*/ 21 w 1135"/>
                      <a:gd name="T15" fmla="*/ 4 h 831"/>
                      <a:gd name="T16" fmla="*/ 0 w 1135"/>
                      <a:gd name="T17" fmla="*/ 38 h 831"/>
                      <a:gd name="T18" fmla="*/ 0 w 1135"/>
                      <a:gd name="T19" fmla="*/ 541 h 831"/>
                      <a:gd name="T20" fmla="*/ 21 w 1135"/>
                      <a:gd name="T21" fmla="*/ 575 h 831"/>
                      <a:gd name="T22" fmla="*/ 466 w 1135"/>
                      <a:gd name="T23" fmla="*/ 827 h 831"/>
                      <a:gd name="T24" fmla="*/ 487 w 1135"/>
                      <a:gd name="T25" fmla="*/ 831 h 831"/>
                      <a:gd name="T26" fmla="*/ 647 w 1135"/>
                      <a:gd name="T27" fmla="*/ 831 h 831"/>
                      <a:gd name="T28" fmla="*/ 666 w 1135"/>
                      <a:gd name="T29" fmla="*/ 827 h 831"/>
                      <a:gd name="T30" fmla="*/ 1114 w 1135"/>
                      <a:gd name="T31" fmla="*/ 575 h 831"/>
                      <a:gd name="T32" fmla="*/ 1135 w 1135"/>
                      <a:gd name="T33" fmla="*/ 541 h 831"/>
                      <a:gd name="T34" fmla="*/ 1135 w 1135"/>
                      <a:gd name="T35" fmla="*/ 38 h 831"/>
                      <a:gd name="T36" fmla="*/ 1114 w 1135"/>
                      <a:gd name="T37" fmla="*/ 4 h 831"/>
                      <a:gd name="T38" fmla="*/ 1095 w 1135"/>
                      <a:gd name="T39" fmla="*/ 0 h 831"/>
                      <a:gd name="T40" fmla="*/ 1074 w 1135"/>
                      <a:gd name="T41" fmla="*/ 4 h 831"/>
                      <a:gd name="T42" fmla="*/ 626 w 1135"/>
                      <a:gd name="T43" fmla="*/ 255 h 831"/>
                      <a:gd name="T44" fmla="*/ 607 w 1135"/>
                      <a:gd name="T45" fmla="*/ 290 h 831"/>
                      <a:gd name="T46" fmla="*/ 607 w 1135"/>
                      <a:gd name="T47" fmla="*/ 792 h 831"/>
                      <a:gd name="T48" fmla="*/ 626 w 1135"/>
                      <a:gd name="T49" fmla="*/ 827 h 831"/>
                      <a:gd name="T50" fmla="*/ 647 w 1135"/>
                      <a:gd name="T51"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5" h="831">
                        <a:moveTo>
                          <a:pt x="487" y="831"/>
                        </a:moveTo>
                        <a:cubicBezTo>
                          <a:pt x="495" y="831"/>
                          <a:pt x="502" y="829"/>
                          <a:pt x="506" y="827"/>
                        </a:cubicBezTo>
                        <a:cubicBezTo>
                          <a:pt x="520" y="820"/>
                          <a:pt x="527" y="806"/>
                          <a:pt x="527" y="792"/>
                        </a:cubicBezTo>
                        <a:cubicBezTo>
                          <a:pt x="527" y="792"/>
                          <a:pt x="527" y="792"/>
                          <a:pt x="527" y="290"/>
                        </a:cubicBezTo>
                        <a:cubicBezTo>
                          <a:pt x="527" y="276"/>
                          <a:pt x="520" y="262"/>
                          <a:pt x="506" y="255"/>
                        </a:cubicBezTo>
                        <a:cubicBezTo>
                          <a:pt x="506" y="255"/>
                          <a:pt x="506" y="255"/>
                          <a:pt x="61" y="4"/>
                        </a:cubicBezTo>
                        <a:cubicBezTo>
                          <a:pt x="54" y="2"/>
                          <a:pt x="47" y="0"/>
                          <a:pt x="40" y="0"/>
                        </a:cubicBezTo>
                        <a:cubicBezTo>
                          <a:pt x="33" y="0"/>
                          <a:pt x="26" y="2"/>
                          <a:pt x="21" y="4"/>
                        </a:cubicBezTo>
                        <a:cubicBezTo>
                          <a:pt x="7" y="11"/>
                          <a:pt x="0" y="25"/>
                          <a:pt x="0" y="38"/>
                        </a:cubicBezTo>
                        <a:cubicBezTo>
                          <a:pt x="0" y="38"/>
                          <a:pt x="0" y="38"/>
                          <a:pt x="0" y="541"/>
                        </a:cubicBezTo>
                        <a:cubicBezTo>
                          <a:pt x="0" y="555"/>
                          <a:pt x="7" y="568"/>
                          <a:pt x="21" y="575"/>
                        </a:cubicBezTo>
                        <a:cubicBezTo>
                          <a:pt x="21" y="575"/>
                          <a:pt x="21" y="575"/>
                          <a:pt x="466" y="827"/>
                        </a:cubicBezTo>
                        <a:cubicBezTo>
                          <a:pt x="473" y="829"/>
                          <a:pt x="480" y="831"/>
                          <a:pt x="487" y="831"/>
                        </a:cubicBezTo>
                        <a:close/>
                        <a:moveTo>
                          <a:pt x="647" y="831"/>
                        </a:moveTo>
                        <a:cubicBezTo>
                          <a:pt x="654" y="831"/>
                          <a:pt x="661" y="829"/>
                          <a:pt x="666" y="827"/>
                        </a:cubicBezTo>
                        <a:cubicBezTo>
                          <a:pt x="666" y="827"/>
                          <a:pt x="666" y="827"/>
                          <a:pt x="1114" y="575"/>
                        </a:cubicBezTo>
                        <a:cubicBezTo>
                          <a:pt x="1125" y="568"/>
                          <a:pt x="1135" y="555"/>
                          <a:pt x="1135" y="541"/>
                        </a:cubicBezTo>
                        <a:cubicBezTo>
                          <a:pt x="1135" y="541"/>
                          <a:pt x="1135" y="541"/>
                          <a:pt x="1135" y="38"/>
                        </a:cubicBezTo>
                        <a:cubicBezTo>
                          <a:pt x="1135" y="25"/>
                          <a:pt x="1125" y="11"/>
                          <a:pt x="1114" y="4"/>
                        </a:cubicBezTo>
                        <a:cubicBezTo>
                          <a:pt x="1107" y="2"/>
                          <a:pt x="1100" y="0"/>
                          <a:pt x="1095" y="0"/>
                        </a:cubicBezTo>
                        <a:cubicBezTo>
                          <a:pt x="1088" y="0"/>
                          <a:pt x="1081" y="2"/>
                          <a:pt x="1074" y="4"/>
                        </a:cubicBezTo>
                        <a:cubicBezTo>
                          <a:pt x="1074" y="4"/>
                          <a:pt x="1074" y="4"/>
                          <a:pt x="626" y="255"/>
                        </a:cubicBezTo>
                        <a:cubicBezTo>
                          <a:pt x="614" y="262"/>
                          <a:pt x="607" y="276"/>
                          <a:pt x="607" y="290"/>
                        </a:cubicBezTo>
                        <a:cubicBezTo>
                          <a:pt x="607" y="290"/>
                          <a:pt x="607" y="290"/>
                          <a:pt x="607" y="792"/>
                        </a:cubicBezTo>
                        <a:cubicBezTo>
                          <a:pt x="607" y="806"/>
                          <a:pt x="614" y="820"/>
                          <a:pt x="626" y="827"/>
                        </a:cubicBezTo>
                        <a:cubicBezTo>
                          <a:pt x="633" y="829"/>
                          <a:pt x="640" y="831"/>
                          <a:pt x="647"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58" name="Freeform 79">
                    <a:extLst>
                      <a:ext uri="{FF2B5EF4-FFF2-40B4-BE49-F238E27FC236}">
                        <a16:creationId xmlns:a16="http://schemas.microsoft.com/office/drawing/2014/main" id="{9525F9BA-2CA2-4B2D-BFFF-C6C005F665F2}"/>
                      </a:ext>
                    </a:extLst>
                  </p:cNvPr>
                  <p:cNvSpPr>
                    <a:spLocks/>
                  </p:cNvSpPr>
                  <p:nvPr/>
                </p:nvSpPr>
                <p:spPr bwMode="auto">
                  <a:xfrm>
                    <a:off x="4894665" y="3311745"/>
                    <a:ext cx="195248" cy="310008"/>
                  </a:xfrm>
                  <a:custGeom>
                    <a:avLst/>
                    <a:gdLst>
                      <a:gd name="T0" fmla="*/ 38 w 511"/>
                      <a:gd name="T1" fmla="*/ 832 h 832"/>
                      <a:gd name="T2" fmla="*/ 57 w 511"/>
                      <a:gd name="T3" fmla="*/ 827 h 832"/>
                      <a:gd name="T4" fmla="*/ 493 w 511"/>
                      <a:gd name="T5" fmla="*/ 574 h 832"/>
                      <a:gd name="T6" fmla="*/ 511 w 511"/>
                      <a:gd name="T7" fmla="*/ 543 h 832"/>
                      <a:gd name="T8" fmla="*/ 511 w 511"/>
                      <a:gd name="T9" fmla="*/ 39 h 832"/>
                      <a:gd name="T10" fmla="*/ 493 w 511"/>
                      <a:gd name="T11" fmla="*/ 7 h 832"/>
                      <a:gd name="T12" fmla="*/ 472 w 511"/>
                      <a:gd name="T13" fmla="*/ 0 h 832"/>
                      <a:gd name="T14" fmla="*/ 454 w 511"/>
                      <a:gd name="T15" fmla="*/ 7 h 832"/>
                      <a:gd name="T16" fmla="*/ 18 w 511"/>
                      <a:gd name="T17" fmla="*/ 258 h 832"/>
                      <a:gd name="T18" fmla="*/ 0 w 511"/>
                      <a:gd name="T19" fmla="*/ 292 h 832"/>
                      <a:gd name="T20" fmla="*/ 0 w 511"/>
                      <a:gd name="T21" fmla="*/ 793 h 832"/>
                      <a:gd name="T22" fmla="*/ 18 w 511"/>
                      <a:gd name="T23" fmla="*/ 827 h 832"/>
                      <a:gd name="T24" fmla="*/ 38 w 511"/>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1" h="832">
                        <a:moveTo>
                          <a:pt x="38" y="832"/>
                        </a:moveTo>
                        <a:cubicBezTo>
                          <a:pt x="45" y="832"/>
                          <a:pt x="50" y="830"/>
                          <a:pt x="57" y="827"/>
                        </a:cubicBezTo>
                        <a:cubicBezTo>
                          <a:pt x="57" y="827"/>
                          <a:pt x="57" y="827"/>
                          <a:pt x="493" y="574"/>
                        </a:cubicBezTo>
                        <a:cubicBezTo>
                          <a:pt x="504" y="568"/>
                          <a:pt x="511" y="556"/>
                          <a:pt x="511" y="543"/>
                        </a:cubicBezTo>
                        <a:cubicBezTo>
                          <a:pt x="511" y="543"/>
                          <a:pt x="511" y="543"/>
                          <a:pt x="511" y="39"/>
                        </a:cubicBezTo>
                        <a:cubicBezTo>
                          <a:pt x="511" y="25"/>
                          <a:pt x="504" y="14"/>
                          <a:pt x="493" y="7"/>
                        </a:cubicBezTo>
                        <a:cubicBezTo>
                          <a:pt x="486" y="3"/>
                          <a:pt x="479" y="0"/>
                          <a:pt x="472" y="0"/>
                        </a:cubicBezTo>
                        <a:cubicBezTo>
                          <a:pt x="465" y="0"/>
                          <a:pt x="459" y="3"/>
                          <a:pt x="454" y="7"/>
                        </a:cubicBezTo>
                        <a:cubicBezTo>
                          <a:pt x="454" y="7"/>
                          <a:pt x="454" y="7"/>
                          <a:pt x="18" y="258"/>
                        </a:cubicBezTo>
                        <a:cubicBezTo>
                          <a:pt x="6" y="265"/>
                          <a:pt x="0" y="278"/>
                          <a:pt x="0" y="292"/>
                        </a:cubicBezTo>
                        <a:cubicBezTo>
                          <a:pt x="0" y="292"/>
                          <a:pt x="0" y="292"/>
                          <a:pt x="0" y="793"/>
                        </a:cubicBezTo>
                        <a:cubicBezTo>
                          <a:pt x="0" y="807"/>
                          <a:pt x="6" y="818"/>
                          <a:pt x="18" y="827"/>
                        </a:cubicBezTo>
                        <a:cubicBezTo>
                          <a:pt x="25" y="830"/>
                          <a:pt x="32" y="832"/>
                          <a:pt x="38"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59" name="Freeform 14">
                    <a:extLst>
                      <a:ext uri="{FF2B5EF4-FFF2-40B4-BE49-F238E27FC236}">
                        <a16:creationId xmlns:a16="http://schemas.microsoft.com/office/drawing/2014/main" id="{C9381132-562E-44DD-A55A-FCD5864F412D}"/>
                      </a:ext>
                    </a:extLst>
                  </p:cNvPr>
                  <p:cNvSpPr>
                    <a:spLocks/>
                  </p:cNvSpPr>
                  <p:nvPr/>
                </p:nvSpPr>
                <p:spPr bwMode="auto">
                  <a:xfrm>
                    <a:off x="3539354" y="1521803"/>
                    <a:ext cx="372322" cy="216538"/>
                  </a:xfrm>
                  <a:custGeom>
                    <a:avLst/>
                    <a:gdLst>
                      <a:gd name="T0" fmla="*/ 488 w 975"/>
                      <a:gd name="T1" fmla="*/ 581 h 581"/>
                      <a:gd name="T2" fmla="*/ 509 w 975"/>
                      <a:gd name="T3" fmla="*/ 576 h 581"/>
                      <a:gd name="T4" fmla="*/ 954 w 975"/>
                      <a:gd name="T5" fmla="*/ 325 h 581"/>
                      <a:gd name="T6" fmla="*/ 975 w 975"/>
                      <a:gd name="T7" fmla="*/ 290 h 581"/>
                      <a:gd name="T8" fmla="*/ 954 w 975"/>
                      <a:gd name="T9" fmla="*/ 256 h 581"/>
                      <a:gd name="T10" fmla="*/ 509 w 975"/>
                      <a:gd name="T11" fmla="*/ 5 h 581"/>
                      <a:gd name="T12" fmla="*/ 488 w 975"/>
                      <a:gd name="T13" fmla="*/ 0 h 581"/>
                      <a:gd name="T14" fmla="*/ 469 w 975"/>
                      <a:gd name="T15" fmla="*/ 5 h 581"/>
                      <a:gd name="T16" fmla="*/ 21 w 975"/>
                      <a:gd name="T17" fmla="*/ 256 h 581"/>
                      <a:gd name="T18" fmla="*/ 0 w 975"/>
                      <a:gd name="T19" fmla="*/ 290 h 581"/>
                      <a:gd name="T20" fmla="*/ 21 w 975"/>
                      <a:gd name="T21" fmla="*/ 325 h 581"/>
                      <a:gd name="T22" fmla="*/ 469 w 975"/>
                      <a:gd name="T23" fmla="*/ 576 h 581"/>
                      <a:gd name="T24" fmla="*/ 488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8" y="581"/>
                        </a:moveTo>
                        <a:cubicBezTo>
                          <a:pt x="495" y="581"/>
                          <a:pt x="502" y="578"/>
                          <a:pt x="509" y="576"/>
                        </a:cubicBezTo>
                        <a:cubicBezTo>
                          <a:pt x="509" y="576"/>
                          <a:pt x="509" y="576"/>
                          <a:pt x="954" y="325"/>
                        </a:cubicBezTo>
                        <a:cubicBezTo>
                          <a:pt x="968" y="318"/>
                          <a:pt x="975" y="304"/>
                          <a:pt x="975" y="290"/>
                        </a:cubicBezTo>
                        <a:cubicBezTo>
                          <a:pt x="975" y="277"/>
                          <a:pt x="968" y="263"/>
                          <a:pt x="954" y="256"/>
                        </a:cubicBezTo>
                        <a:cubicBezTo>
                          <a:pt x="954" y="256"/>
                          <a:pt x="954" y="256"/>
                          <a:pt x="509" y="5"/>
                        </a:cubicBezTo>
                        <a:cubicBezTo>
                          <a:pt x="502" y="2"/>
                          <a:pt x="495" y="0"/>
                          <a:pt x="488" y="0"/>
                        </a:cubicBezTo>
                        <a:cubicBezTo>
                          <a:pt x="481" y="0"/>
                          <a:pt x="474" y="2"/>
                          <a:pt x="469" y="5"/>
                        </a:cubicBezTo>
                        <a:cubicBezTo>
                          <a:pt x="469" y="5"/>
                          <a:pt x="469" y="5"/>
                          <a:pt x="21" y="256"/>
                        </a:cubicBezTo>
                        <a:cubicBezTo>
                          <a:pt x="10" y="263"/>
                          <a:pt x="0" y="277"/>
                          <a:pt x="0" y="290"/>
                        </a:cubicBezTo>
                        <a:cubicBezTo>
                          <a:pt x="0" y="304"/>
                          <a:pt x="10" y="318"/>
                          <a:pt x="21" y="325"/>
                        </a:cubicBezTo>
                        <a:cubicBezTo>
                          <a:pt x="21" y="325"/>
                          <a:pt x="21" y="325"/>
                          <a:pt x="469" y="576"/>
                        </a:cubicBezTo>
                        <a:cubicBezTo>
                          <a:pt x="474" y="578"/>
                          <a:pt x="481" y="581"/>
                          <a:pt x="488" y="5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60" name="Freeform 16">
                    <a:extLst>
                      <a:ext uri="{FF2B5EF4-FFF2-40B4-BE49-F238E27FC236}">
                        <a16:creationId xmlns:a16="http://schemas.microsoft.com/office/drawing/2014/main" id="{FF5B9351-5EA0-4ACB-932A-C48D7B6982B9}"/>
                      </a:ext>
                    </a:extLst>
                  </p:cNvPr>
                  <p:cNvSpPr>
                    <a:spLocks/>
                  </p:cNvSpPr>
                  <p:nvPr/>
                </p:nvSpPr>
                <p:spPr bwMode="auto">
                  <a:xfrm>
                    <a:off x="4241415" y="1153637"/>
                    <a:ext cx="372322" cy="210306"/>
                  </a:xfrm>
                  <a:custGeom>
                    <a:avLst/>
                    <a:gdLst>
                      <a:gd name="T0" fmla="*/ 488 w 975"/>
                      <a:gd name="T1" fmla="*/ 564 h 564"/>
                      <a:gd name="T2" fmla="*/ 509 w 975"/>
                      <a:gd name="T3" fmla="*/ 560 h 564"/>
                      <a:gd name="T4" fmla="*/ 954 w 975"/>
                      <a:gd name="T5" fmla="*/ 315 h 564"/>
                      <a:gd name="T6" fmla="*/ 975 w 975"/>
                      <a:gd name="T7" fmla="*/ 282 h 564"/>
                      <a:gd name="T8" fmla="*/ 954 w 975"/>
                      <a:gd name="T9" fmla="*/ 249 h 564"/>
                      <a:gd name="T10" fmla="*/ 509 w 975"/>
                      <a:gd name="T11" fmla="*/ 4 h 564"/>
                      <a:gd name="T12" fmla="*/ 488 w 975"/>
                      <a:gd name="T13" fmla="*/ 0 h 564"/>
                      <a:gd name="T14" fmla="*/ 469 w 975"/>
                      <a:gd name="T15" fmla="*/ 4 h 564"/>
                      <a:gd name="T16" fmla="*/ 21 w 975"/>
                      <a:gd name="T17" fmla="*/ 249 h 564"/>
                      <a:gd name="T18" fmla="*/ 0 w 975"/>
                      <a:gd name="T19" fmla="*/ 282 h 564"/>
                      <a:gd name="T20" fmla="*/ 21 w 975"/>
                      <a:gd name="T21" fmla="*/ 315 h 564"/>
                      <a:gd name="T22" fmla="*/ 469 w 975"/>
                      <a:gd name="T23" fmla="*/ 560 h 564"/>
                      <a:gd name="T24" fmla="*/ 488 w 975"/>
                      <a:gd name="T25"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64">
                        <a:moveTo>
                          <a:pt x="488" y="564"/>
                        </a:moveTo>
                        <a:cubicBezTo>
                          <a:pt x="495" y="564"/>
                          <a:pt x="502" y="562"/>
                          <a:pt x="509" y="560"/>
                        </a:cubicBezTo>
                        <a:cubicBezTo>
                          <a:pt x="509" y="560"/>
                          <a:pt x="509" y="560"/>
                          <a:pt x="954" y="315"/>
                        </a:cubicBezTo>
                        <a:cubicBezTo>
                          <a:pt x="968" y="309"/>
                          <a:pt x="975" y="295"/>
                          <a:pt x="975" y="282"/>
                        </a:cubicBezTo>
                        <a:cubicBezTo>
                          <a:pt x="975" y="269"/>
                          <a:pt x="968" y="255"/>
                          <a:pt x="954" y="249"/>
                        </a:cubicBezTo>
                        <a:cubicBezTo>
                          <a:pt x="954" y="249"/>
                          <a:pt x="954" y="249"/>
                          <a:pt x="509" y="4"/>
                        </a:cubicBezTo>
                        <a:cubicBezTo>
                          <a:pt x="502" y="2"/>
                          <a:pt x="495" y="0"/>
                          <a:pt x="488" y="0"/>
                        </a:cubicBezTo>
                        <a:cubicBezTo>
                          <a:pt x="481" y="0"/>
                          <a:pt x="474" y="2"/>
                          <a:pt x="469" y="4"/>
                        </a:cubicBezTo>
                        <a:cubicBezTo>
                          <a:pt x="469" y="4"/>
                          <a:pt x="469" y="4"/>
                          <a:pt x="21" y="249"/>
                        </a:cubicBezTo>
                        <a:cubicBezTo>
                          <a:pt x="10" y="255"/>
                          <a:pt x="0" y="269"/>
                          <a:pt x="0" y="282"/>
                        </a:cubicBezTo>
                        <a:cubicBezTo>
                          <a:pt x="0" y="295"/>
                          <a:pt x="10" y="309"/>
                          <a:pt x="21" y="315"/>
                        </a:cubicBezTo>
                        <a:cubicBezTo>
                          <a:pt x="21" y="315"/>
                          <a:pt x="21" y="315"/>
                          <a:pt x="469" y="560"/>
                        </a:cubicBezTo>
                        <a:cubicBezTo>
                          <a:pt x="474" y="562"/>
                          <a:pt x="481" y="564"/>
                          <a:pt x="488" y="564"/>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61" name="Freeform 20">
                    <a:extLst>
                      <a:ext uri="{FF2B5EF4-FFF2-40B4-BE49-F238E27FC236}">
                        <a16:creationId xmlns:a16="http://schemas.microsoft.com/office/drawing/2014/main" id="{B9A31EEB-DBB6-412D-AE15-520CDB14DED6}"/>
                      </a:ext>
                    </a:extLst>
                  </p:cNvPr>
                  <p:cNvSpPr>
                    <a:spLocks/>
                  </p:cNvSpPr>
                  <p:nvPr/>
                </p:nvSpPr>
                <p:spPr bwMode="auto">
                  <a:xfrm>
                    <a:off x="3514948" y="2937347"/>
                    <a:ext cx="201480" cy="310008"/>
                  </a:xfrm>
                  <a:custGeom>
                    <a:avLst/>
                    <a:gdLst>
                      <a:gd name="T0" fmla="*/ 488 w 528"/>
                      <a:gd name="T1" fmla="*/ 832 h 832"/>
                      <a:gd name="T2" fmla="*/ 509 w 528"/>
                      <a:gd name="T3" fmla="*/ 827 h 832"/>
                      <a:gd name="T4" fmla="*/ 528 w 528"/>
                      <a:gd name="T5" fmla="*/ 793 h 832"/>
                      <a:gd name="T6" fmla="*/ 528 w 528"/>
                      <a:gd name="T7" fmla="*/ 292 h 832"/>
                      <a:gd name="T8" fmla="*/ 509 w 528"/>
                      <a:gd name="T9" fmla="*/ 258 h 832"/>
                      <a:gd name="T10" fmla="*/ 61 w 528"/>
                      <a:gd name="T11" fmla="*/ 7 h 832"/>
                      <a:gd name="T12" fmla="*/ 40 w 528"/>
                      <a:gd name="T13" fmla="*/ 0 h 832"/>
                      <a:gd name="T14" fmla="*/ 21 w 528"/>
                      <a:gd name="T15" fmla="*/ 7 h 832"/>
                      <a:gd name="T16" fmla="*/ 0 w 528"/>
                      <a:gd name="T17" fmla="*/ 39 h 832"/>
                      <a:gd name="T18" fmla="*/ 0 w 528"/>
                      <a:gd name="T19" fmla="*/ 542 h 832"/>
                      <a:gd name="T20" fmla="*/ 21 w 528"/>
                      <a:gd name="T21" fmla="*/ 574 h 832"/>
                      <a:gd name="T22" fmla="*/ 469 w 528"/>
                      <a:gd name="T23" fmla="*/ 827 h 832"/>
                      <a:gd name="T24" fmla="*/ 488 w 528"/>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2">
                        <a:moveTo>
                          <a:pt x="488" y="832"/>
                        </a:moveTo>
                        <a:cubicBezTo>
                          <a:pt x="495" y="832"/>
                          <a:pt x="502" y="829"/>
                          <a:pt x="509" y="827"/>
                        </a:cubicBezTo>
                        <a:cubicBezTo>
                          <a:pt x="521" y="818"/>
                          <a:pt x="528" y="807"/>
                          <a:pt x="528" y="793"/>
                        </a:cubicBezTo>
                        <a:cubicBezTo>
                          <a:pt x="528" y="793"/>
                          <a:pt x="528" y="793"/>
                          <a:pt x="528" y="292"/>
                        </a:cubicBezTo>
                        <a:cubicBezTo>
                          <a:pt x="528" y="278"/>
                          <a:pt x="521" y="264"/>
                          <a:pt x="509" y="258"/>
                        </a:cubicBezTo>
                        <a:cubicBezTo>
                          <a:pt x="509" y="258"/>
                          <a:pt x="509" y="258"/>
                          <a:pt x="61" y="7"/>
                        </a:cubicBezTo>
                        <a:cubicBezTo>
                          <a:pt x="54" y="2"/>
                          <a:pt x="47" y="0"/>
                          <a:pt x="40" y="0"/>
                        </a:cubicBezTo>
                        <a:cubicBezTo>
                          <a:pt x="33" y="0"/>
                          <a:pt x="26" y="2"/>
                          <a:pt x="21" y="7"/>
                        </a:cubicBezTo>
                        <a:cubicBezTo>
                          <a:pt x="10" y="14"/>
                          <a:pt x="0" y="25"/>
                          <a:pt x="0" y="39"/>
                        </a:cubicBezTo>
                        <a:cubicBezTo>
                          <a:pt x="0" y="39"/>
                          <a:pt x="0" y="39"/>
                          <a:pt x="0" y="542"/>
                        </a:cubicBezTo>
                        <a:cubicBezTo>
                          <a:pt x="0" y="556"/>
                          <a:pt x="10" y="567"/>
                          <a:pt x="21" y="574"/>
                        </a:cubicBezTo>
                        <a:cubicBezTo>
                          <a:pt x="21" y="574"/>
                          <a:pt x="21" y="574"/>
                          <a:pt x="469" y="827"/>
                        </a:cubicBezTo>
                        <a:cubicBezTo>
                          <a:pt x="474" y="829"/>
                          <a:pt x="481" y="832"/>
                          <a:pt x="488"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62" name="Freeform 24">
                    <a:extLst>
                      <a:ext uri="{FF2B5EF4-FFF2-40B4-BE49-F238E27FC236}">
                        <a16:creationId xmlns:a16="http://schemas.microsoft.com/office/drawing/2014/main" id="{9783ACE5-C205-47A7-B36A-5A76D7E255FC}"/>
                      </a:ext>
                    </a:extLst>
                  </p:cNvPr>
                  <p:cNvSpPr>
                    <a:spLocks noEditPoints="1"/>
                  </p:cNvSpPr>
                  <p:nvPr/>
                </p:nvSpPr>
                <p:spPr bwMode="auto">
                  <a:xfrm>
                    <a:off x="5621134" y="1656295"/>
                    <a:ext cx="390496" cy="450731"/>
                  </a:xfrm>
                  <a:custGeom>
                    <a:avLst/>
                    <a:gdLst>
                      <a:gd name="T0" fmla="*/ 486 w 1023"/>
                      <a:gd name="T1" fmla="*/ 581 h 1208"/>
                      <a:gd name="T2" fmla="*/ 507 w 1023"/>
                      <a:gd name="T3" fmla="*/ 574 h 1208"/>
                      <a:gd name="T4" fmla="*/ 954 w 1023"/>
                      <a:gd name="T5" fmla="*/ 323 h 1208"/>
                      <a:gd name="T6" fmla="*/ 975 w 1023"/>
                      <a:gd name="T7" fmla="*/ 289 h 1208"/>
                      <a:gd name="T8" fmla="*/ 954 w 1023"/>
                      <a:gd name="T9" fmla="*/ 257 h 1208"/>
                      <a:gd name="T10" fmla="*/ 507 w 1023"/>
                      <a:gd name="T11" fmla="*/ 7 h 1208"/>
                      <a:gd name="T12" fmla="*/ 486 w 1023"/>
                      <a:gd name="T13" fmla="*/ 0 h 1208"/>
                      <a:gd name="T14" fmla="*/ 467 w 1023"/>
                      <a:gd name="T15" fmla="*/ 7 h 1208"/>
                      <a:gd name="T16" fmla="*/ 19 w 1023"/>
                      <a:gd name="T17" fmla="*/ 257 h 1208"/>
                      <a:gd name="T18" fmla="*/ 0 w 1023"/>
                      <a:gd name="T19" fmla="*/ 289 h 1208"/>
                      <a:gd name="T20" fmla="*/ 19 w 1023"/>
                      <a:gd name="T21" fmla="*/ 323 h 1208"/>
                      <a:gd name="T22" fmla="*/ 467 w 1023"/>
                      <a:gd name="T23" fmla="*/ 574 h 1208"/>
                      <a:gd name="T24" fmla="*/ 486 w 1023"/>
                      <a:gd name="T25" fmla="*/ 581 h 1208"/>
                      <a:gd name="T26" fmla="*/ 535 w 1023"/>
                      <a:gd name="T27" fmla="*/ 1208 h 1208"/>
                      <a:gd name="T28" fmla="*/ 556 w 1023"/>
                      <a:gd name="T29" fmla="*/ 1201 h 1208"/>
                      <a:gd name="T30" fmla="*/ 1002 w 1023"/>
                      <a:gd name="T31" fmla="*/ 951 h 1208"/>
                      <a:gd name="T32" fmla="*/ 1023 w 1023"/>
                      <a:gd name="T33" fmla="*/ 919 h 1208"/>
                      <a:gd name="T34" fmla="*/ 1023 w 1023"/>
                      <a:gd name="T35" fmla="*/ 415 h 1208"/>
                      <a:gd name="T36" fmla="*/ 1002 w 1023"/>
                      <a:gd name="T37" fmla="*/ 383 h 1208"/>
                      <a:gd name="T38" fmla="*/ 983 w 1023"/>
                      <a:gd name="T39" fmla="*/ 377 h 1208"/>
                      <a:gd name="T40" fmla="*/ 962 w 1023"/>
                      <a:gd name="T41" fmla="*/ 383 h 1208"/>
                      <a:gd name="T42" fmla="*/ 516 w 1023"/>
                      <a:gd name="T43" fmla="*/ 634 h 1208"/>
                      <a:gd name="T44" fmla="*/ 495 w 1023"/>
                      <a:gd name="T45" fmla="*/ 666 h 1208"/>
                      <a:gd name="T46" fmla="*/ 495 w 1023"/>
                      <a:gd name="T47" fmla="*/ 1169 h 1208"/>
                      <a:gd name="T48" fmla="*/ 516 w 1023"/>
                      <a:gd name="T49" fmla="*/ 1201 h 1208"/>
                      <a:gd name="T50" fmla="*/ 535 w 1023"/>
                      <a:gd name="T51" fmla="*/ 1208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23" h="1208">
                        <a:moveTo>
                          <a:pt x="486" y="581"/>
                        </a:moveTo>
                        <a:cubicBezTo>
                          <a:pt x="493" y="581"/>
                          <a:pt x="500" y="578"/>
                          <a:pt x="507" y="574"/>
                        </a:cubicBezTo>
                        <a:cubicBezTo>
                          <a:pt x="507" y="574"/>
                          <a:pt x="507" y="574"/>
                          <a:pt x="954" y="323"/>
                        </a:cubicBezTo>
                        <a:cubicBezTo>
                          <a:pt x="968" y="316"/>
                          <a:pt x="975" y="305"/>
                          <a:pt x="975" y="289"/>
                        </a:cubicBezTo>
                        <a:cubicBezTo>
                          <a:pt x="975" y="275"/>
                          <a:pt x="968" y="264"/>
                          <a:pt x="954" y="257"/>
                        </a:cubicBezTo>
                        <a:cubicBezTo>
                          <a:pt x="954" y="257"/>
                          <a:pt x="954" y="257"/>
                          <a:pt x="507" y="7"/>
                        </a:cubicBezTo>
                        <a:cubicBezTo>
                          <a:pt x="500" y="2"/>
                          <a:pt x="493" y="0"/>
                          <a:pt x="486" y="0"/>
                        </a:cubicBezTo>
                        <a:cubicBezTo>
                          <a:pt x="479" y="0"/>
                          <a:pt x="472" y="2"/>
                          <a:pt x="467" y="7"/>
                        </a:cubicBezTo>
                        <a:cubicBezTo>
                          <a:pt x="467" y="7"/>
                          <a:pt x="467" y="7"/>
                          <a:pt x="19" y="257"/>
                        </a:cubicBezTo>
                        <a:cubicBezTo>
                          <a:pt x="7" y="264"/>
                          <a:pt x="0" y="275"/>
                          <a:pt x="0" y="289"/>
                        </a:cubicBezTo>
                        <a:cubicBezTo>
                          <a:pt x="0" y="305"/>
                          <a:pt x="7" y="316"/>
                          <a:pt x="19" y="323"/>
                        </a:cubicBezTo>
                        <a:cubicBezTo>
                          <a:pt x="19" y="323"/>
                          <a:pt x="19" y="323"/>
                          <a:pt x="467" y="574"/>
                        </a:cubicBezTo>
                        <a:cubicBezTo>
                          <a:pt x="472" y="578"/>
                          <a:pt x="479" y="581"/>
                          <a:pt x="486" y="581"/>
                        </a:cubicBezTo>
                        <a:close/>
                        <a:moveTo>
                          <a:pt x="535" y="1208"/>
                        </a:moveTo>
                        <a:cubicBezTo>
                          <a:pt x="542" y="1208"/>
                          <a:pt x="549" y="1206"/>
                          <a:pt x="556" y="1201"/>
                        </a:cubicBezTo>
                        <a:cubicBezTo>
                          <a:pt x="556" y="1201"/>
                          <a:pt x="556" y="1201"/>
                          <a:pt x="1002" y="951"/>
                        </a:cubicBezTo>
                        <a:cubicBezTo>
                          <a:pt x="1016" y="944"/>
                          <a:pt x="1023" y="932"/>
                          <a:pt x="1023" y="919"/>
                        </a:cubicBezTo>
                        <a:cubicBezTo>
                          <a:pt x="1023" y="919"/>
                          <a:pt x="1023" y="919"/>
                          <a:pt x="1023" y="415"/>
                        </a:cubicBezTo>
                        <a:cubicBezTo>
                          <a:pt x="1023" y="402"/>
                          <a:pt x="1016" y="390"/>
                          <a:pt x="1002" y="383"/>
                        </a:cubicBezTo>
                        <a:cubicBezTo>
                          <a:pt x="997" y="379"/>
                          <a:pt x="990" y="377"/>
                          <a:pt x="983" y="377"/>
                        </a:cubicBezTo>
                        <a:cubicBezTo>
                          <a:pt x="976" y="377"/>
                          <a:pt x="969" y="379"/>
                          <a:pt x="962" y="383"/>
                        </a:cubicBezTo>
                        <a:cubicBezTo>
                          <a:pt x="962" y="383"/>
                          <a:pt x="962" y="383"/>
                          <a:pt x="516" y="634"/>
                        </a:cubicBezTo>
                        <a:cubicBezTo>
                          <a:pt x="505" y="641"/>
                          <a:pt x="495" y="652"/>
                          <a:pt x="495" y="666"/>
                        </a:cubicBezTo>
                        <a:cubicBezTo>
                          <a:pt x="495" y="666"/>
                          <a:pt x="495" y="666"/>
                          <a:pt x="495" y="1169"/>
                        </a:cubicBezTo>
                        <a:cubicBezTo>
                          <a:pt x="495" y="1183"/>
                          <a:pt x="505" y="1194"/>
                          <a:pt x="516" y="1201"/>
                        </a:cubicBezTo>
                        <a:cubicBezTo>
                          <a:pt x="521" y="1206"/>
                          <a:pt x="528" y="1208"/>
                          <a:pt x="535" y="1208"/>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63" name="Freeform 27">
                    <a:extLst>
                      <a:ext uri="{FF2B5EF4-FFF2-40B4-BE49-F238E27FC236}">
                        <a16:creationId xmlns:a16="http://schemas.microsoft.com/office/drawing/2014/main" id="{BA710CE6-7FC3-4282-89DF-C671470989FE}"/>
                      </a:ext>
                    </a:extLst>
                  </p:cNvPr>
                  <p:cNvSpPr>
                    <a:spLocks noEditPoints="1"/>
                  </p:cNvSpPr>
                  <p:nvPr/>
                </p:nvSpPr>
                <p:spPr bwMode="auto">
                  <a:xfrm>
                    <a:off x="4430952" y="3697566"/>
                    <a:ext cx="433077" cy="304295"/>
                  </a:xfrm>
                  <a:custGeom>
                    <a:avLst/>
                    <a:gdLst>
                      <a:gd name="T0" fmla="*/ 487 w 1135"/>
                      <a:gd name="T1" fmla="*/ 816 h 816"/>
                      <a:gd name="T2" fmla="*/ 506 w 1135"/>
                      <a:gd name="T3" fmla="*/ 811 h 816"/>
                      <a:gd name="T4" fmla="*/ 527 w 1135"/>
                      <a:gd name="T5" fmla="*/ 778 h 816"/>
                      <a:gd name="T6" fmla="*/ 527 w 1135"/>
                      <a:gd name="T7" fmla="*/ 285 h 816"/>
                      <a:gd name="T8" fmla="*/ 506 w 1135"/>
                      <a:gd name="T9" fmla="*/ 251 h 816"/>
                      <a:gd name="T10" fmla="*/ 61 w 1135"/>
                      <a:gd name="T11" fmla="*/ 4 h 816"/>
                      <a:gd name="T12" fmla="*/ 40 w 1135"/>
                      <a:gd name="T13" fmla="*/ 0 h 816"/>
                      <a:gd name="T14" fmla="*/ 21 w 1135"/>
                      <a:gd name="T15" fmla="*/ 4 h 816"/>
                      <a:gd name="T16" fmla="*/ 0 w 1135"/>
                      <a:gd name="T17" fmla="*/ 38 h 816"/>
                      <a:gd name="T18" fmla="*/ 0 w 1135"/>
                      <a:gd name="T19" fmla="*/ 531 h 816"/>
                      <a:gd name="T20" fmla="*/ 21 w 1135"/>
                      <a:gd name="T21" fmla="*/ 565 h 816"/>
                      <a:gd name="T22" fmla="*/ 466 w 1135"/>
                      <a:gd name="T23" fmla="*/ 811 h 816"/>
                      <a:gd name="T24" fmla="*/ 487 w 1135"/>
                      <a:gd name="T25" fmla="*/ 816 h 816"/>
                      <a:gd name="T26" fmla="*/ 647 w 1135"/>
                      <a:gd name="T27" fmla="*/ 816 h 816"/>
                      <a:gd name="T28" fmla="*/ 666 w 1135"/>
                      <a:gd name="T29" fmla="*/ 811 h 816"/>
                      <a:gd name="T30" fmla="*/ 1114 w 1135"/>
                      <a:gd name="T31" fmla="*/ 565 h 816"/>
                      <a:gd name="T32" fmla="*/ 1135 w 1135"/>
                      <a:gd name="T33" fmla="*/ 531 h 816"/>
                      <a:gd name="T34" fmla="*/ 1135 w 1135"/>
                      <a:gd name="T35" fmla="*/ 38 h 816"/>
                      <a:gd name="T36" fmla="*/ 1114 w 1135"/>
                      <a:gd name="T37" fmla="*/ 4 h 816"/>
                      <a:gd name="T38" fmla="*/ 1095 w 1135"/>
                      <a:gd name="T39" fmla="*/ 0 h 816"/>
                      <a:gd name="T40" fmla="*/ 1074 w 1135"/>
                      <a:gd name="T41" fmla="*/ 4 h 816"/>
                      <a:gd name="T42" fmla="*/ 626 w 1135"/>
                      <a:gd name="T43" fmla="*/ 251 h 816"/>
                      <a:gd name="T44" fmla="*/ 607 w 1135"/>
                      <a:gd name="T45" fmla="*/ 285 h 816"/>
                      <a:gd name="T46" fmla="*/ 607 w 1135"/>
                      <a:gd name="T47" fmla="*/ 778 h 816"/>
                      <a:gd name="T48" fmla="*/ 626 w 1135"/>
                      <a:gd name="T49" fmla="*/ 811 h 816"/>
                      <a:gd name="T50" fmla="*/ 647 w 1135"/>
                      <a:gd name="T51" fmla="*/ 81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5" h="816">
                        <a:moveTo>
                          <a:pt x="487" y="816"/>
                        </a:moveTo>
                        <a:cubicBezTo>
                          <a:pt x="495" y="816"/>
                          <a:pt x="502" y="814"/>
                          <a:pt x="506" y="811"/>
                        </a:cubicBezTo>
                        <a:cubicBezTo>
                          <a:pt x="520" y="805"/>
                          <a:pt x="527" y="791"/>
                          <a:pt x="527" y="778"/>
                        </a:cubicBezTo>
                        <a:cubicBezTo>
                          <a:pt x="527" y="778"/>
                          <a:pt x="527" y="778"/>
                          <a:pt x="527" y="285"/>
                        </a:cubicBezTo>
                        <a:cubicBezTo>
                          <a:pt x="527" y="271"/>
                          <a:pt x="520" y="258"/>
                          <a:pt x="506" y="251"/>
                        </a:cubicBezTo>
                        <a:cubicBezTo>
                          <a:pt x="506" y="251"/>
                          <a:pt x="506" y="251"/>
                          <a:pt x="61" y="4"/>
                        </a:cubicBezTo>
                        <a:cubicBezTo>
                          <a:pt x="54" y="0"/>
                          <a:pt x="47" y="0"/>
                          <a:pt x="40" y="0"/>
                        </a:cubicBezTo>
                        <a:cubicBezTo>
                          <a:pt x="33" y="0"/>
                          <a:pt x="26" y="0"/>
                          <a:pt x="21" y="4"/>
                        </a:cubicBezTo>
                        <a:cubicBezTo>
                          <a:pt x="7" y="11"/>
                          <a:pt x="0" y="25"/>
                          <a:pt x="0" y="38"/>
                        </a:cubicBezTo>
                        <a:cubicBezTo>
                          <a:pt x="0" y="38"/>
                          <a:pt x="0" y="38"/>
                          <a:pt x="0" y="531"/>
                        </a:cubicBezTo>
                        <a:cubicBezTo>
                          <a:pt x="0" y="545"/>
                          <a:pt x="7" y="558"/>
                          <a:pt x="21" y="565"/>
                        </a:cubicBezTo>
                        <a:cubicBezTo>
                          <a:pt x="21" y="565"/>
                          <a:pt x="21" y="565"/>
                          <a:pt x="466" y="811"/>
                        </a:cubicBezTo>
                        <a:cubicBezTo>
                          <a:pt x="473" y="814"/>
                          <a:pt x="480" y="816"/>
                          <a:pt x="487" y="816"/>
                        </a:cubicBezTo>
                        <a:close/>
                        <a:moveTo>
                          <a:pt x="647" y="816"/>
                        </a:moveTo>
                        <a:cubicBezTo>
                          <a:pt x="654" y="816"/>
                          <a:pt x="661" y="814"/>
                          <a:pt x="666" y="811"/>
                        </a:cubicBezTo>
                        <a:cubicBezTo>
                          <a:pt x="666" y="811"/>
                          <a:pt x="666" y="811"/>
                          <a:pt x="1114" y="565"/>
                        </a:cubicBezTo>
                        <a:cubicBezTo>
                          <a:pt x="1125" y="558"/>
                          <a:pt x="1135" y="545"/>
                          <a:pt x="1135" y="531"/>
                        </a:cubicBezTo>
                        <a:cubicBezTo>
                          <a:pt x="1135" y="531"/>
                          <a:pt x="1135" y="531"/>
                          <a:pt x="1135" y="38"/>
                        </a:cubicBezTo>
                        <a:cubicBezTo>
                          <a:pt x="1135" y="25"/>
                          <a:pt x="1125" y="11"/>
                          <a:pt x="1114" y="4"/>
                        </a:cubicBezTo>
                        <a:cubicBezTo>
                          <a:pt x="1107" y="0"/>
                          <a:pt x="1100" y="0"/>
                          <a:pt x="1095" y="0"/>
                        </a:cubicBezTo>
                        <a:cubicBezTo>
                          <a:pt x="1088" y="0"/>
                          <a:pt x="1081" y="0"/>
                          <a:pt x="1074" y="4"/>
                        </a:cubicBezTo>
                        <a:cubicBezTo>
                          <a:pt x="1074" y="4"/>
                          <a:pt x="1074" y="4"/>
                          <a:pt x="626" y="251"/>
                        </a:cubicBezTo>
                        <a:cubicBezTo>
                          <a:pt x="614" y="258"/>
                          <a:pt x="607" y="271"/>
                          <a:pt x="607" y="285"/>
                        </a:cubicBezTo>
                        <a:cubicBezTo>
                          <a:pt x="607" y="285"/>
                          <a:pt x="607" y="285"/>
                          <a:pt x="607" y="778"/>
                        </a:cubicBezTo>
                        <a:cubicBezTo>
                          <a:pt x="607" y="791"/>
                          <a:pt x="614" y="805"/>
                          <a:pt x="626" y="811"/>
                        </a:cubicBezTo>
                        <a:cubicBezTo>
                          <a:pt x="633" y="814"/>
                          <a:pt x="640" y="816"/>
                          <a:pt x="647" y="816"/>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64" name="Freeform 30">
                    <a:extLst>
                      <a:ext uri="{FF2B5EF4-FFF2-40B4-BE49-F238E27FC236}">
                        <a16:creationId xmlns:a16="http://schemas.microsoft.com/office/drawing/2014/main" id="{A08D34E0-E07F-424C-8DD3-E61516A2D3FD}"/>
                      </a:ext>
                    </a:extLst>
                  </p:cNvPr>
                  <p:cNvSpPr>
                    <a:spLocks/>
                  </p:cNvSpPr>
                  <p:nvPr/>
                </p:nvSpPr>
                <p:spPr bwMode="auto">
                  <a:xfrm>
                    <a:off x="5810150" y="2557238"/>
                    <a:ext cx="201480" cy="310008"/>
                  </a:xfrm>
                  <a:custGeom>
                    <a:avLst/>
                    <a:gdLst>
                      <a:gd name="T0" fmla="*/ 40 w 528"/>
                      <a:gd name="T1" fmla="*/ 832 h 832"/>
                      <a:gd name="T2" fmla="*/ 61 w 528"/>
                      <a:gd name="T3" fmla="*/ 825 h 832"/>
                      <a:gd name="T4" fmla="*/ 507 w 528"/>
                      <a:gd name="T5" fmla="*/ 574 h 832"/>
                      <a:gd name="T6" fmla="*/ 528 w 528"/>
                      <a:gd name="T7" fmla="*/ 543 h 832"/>
                      <a:gd name="T8" fmla="*/ 528 w 528"/>
                      <a:gd name="T9" fmla="*/ 39 h 832"/>
                      <a:gd name="T10" fmla="*/ 507 w 528"/>
                      <a:gd name="T11" fmla="*/ 7 h 832"/>
                      <a:gd name="T12" fmla="*/ 488 w 528"/>
                      <a:gd name="T13" fmla="*/ 0 h 832"/>
                      <a:gd name="T14" fmla="*/ 467 w 528"/>
                      <a:gd name="T15" fmla="*/ 7 h 832"/>
                      <a:gd name="T16" fmla="*/ 21 w 528"/>
                      <a:gd name="T17" fmla="*/ 258 h 832"/>
                      <a:gd name="T18" fmla="*/ 0 w 528"/>
                      <a:gd name="T19" fmla="*/ 290 h 832"/>
                      <a:gd name="T20" fmla="*/ 0 w 528"/>
                      <a:gd name="T21" fmla="*/ 793 h 832"/>
                      <a:gd name="T22" fmla="*/ 21 w 528"/>
                      <a:gd name="T23" fmla="*/ 825 h 832"/>
                      <a:gd name="T24" fmla="*/ 40 w 528"/>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2">
                        <a:moveTo>
                          <a:pt x="40" y="832"/>
                        </a:moveTo>
                        <a:cubicBezTo>
                          <a:pt x="47" y="832"/>
                          <a:pt x="54" y="830"/>
                          <a:pt x="61" y="825"/>
                        </a:cubicBezTo>
                        <a:cubicBezTo>
                          <a:pt x="61" y="825"/>
                          <a:pt x="61" y="825"/>
                          <a:pt x="507" y="574"/>
                        </a:cubicBezTo>
                        <a:cubicBezTo>
                          <a:pt x="521" y="568"/>
                          <a:pt x="528" y="556"/>
                          <a:pt x="528" y="543"/>
                        </a:cubicBezTo>
                        <a:cubicBezTo>
                          <a:pt x="528" y="543"/>
                          <a:pt x="528" y="543"/>
                          <a:pt x="528" y="39"/>
                        </a:cubicBezTo>
                        <a:cubicBezTo>
                          <a:pt x="528" y="25"/>
                          <a:pt x="521" y="14"/>
                          <a:pt x="507" y="7"/>
                        </a:cubicBezTo>
                        <a:cubicBezTo>
                          <a:pt x="502" y="3"/>
                          <a:pt x="495" y="0"/>
                          <a:pt x="488" y="0"/>
                        </a:cubicBezTo>
                        <a:cubicBezTo>
                          <a:pt x="481" y="0"/>
                          <a:pt x="474" y="3"/>
                          <a:pt x="467" y="7"/>
                        </a:cubicBezTo>
                        <a:cubicBezTo>
                          <a:pt x="467" y="7"/>
                          <a:pt x="467" y="7"/>
                          <a:pt x="21" y="258"/>
                        </a:cubicBezTo>
                        <a:cubicBezTo>
                          <a:pt x="10" y="265"/>
                          <a:pt x="0" y="276"/>
                          <a:pt x="0" y="290"/>
                        </a:cubicBezTo>
                        <a:cubicBezTo>
                          <a:pt x="0" y="290"/>
                          <a:pt x="0" y="290"/>
                          <a:pt x="0" y="793"/>
                        </a:cubicBezTo>
                        <a:cubicBezTo>
                          <a:pt x="0" y="807"/>
                          <a:pt x="10" y="818"/>
                          <a:pt x="21" y="825"/>
                        </a:cubicBezTo>
                        <a:cubicBezTo>
                          <a:pt x="26" y="830"/>
                          <a:pt x="33" y="832"/>
                          <a:pt x="40"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nvGrpSpPr>
                  <p:cNvPr id="565" name="Group 564">
                    <a:extLst>
                      <a:ext uri="{FF2B5EF4-FFF2-40B4-BE49-F238E27FC236}">
                        <a16:creationId xmlns:a16="http://schemas.microsoft.com/office/drawing/2014/main" id="{614AB41D-E9F0-463C-8D0F-0B7EFDD62804}"/>
                      </a:ext>
                    </a:extLst>
                  </p:cNvPr>
                  <p:cNvGrpSpPr/>
                  <p:nvPr/>
                </p:nvGrpSpPr>
                <p:grpSpPr>
                  <a:xfrm>
                    <a:off x="3771470" y="1153637"/>
                    <a:ext cx="2008044" cy="1964938"/>
                    <a:chOff x="3771470" y="1153637"/>
                    <a:chExt cx="2008044" cy="1964938"/>
                  </a:xfrm>
                  <a:grpFill/>
                </p:grpSpPr>
                <p:sp>
                  <p:nvSpPr>
                    <p:cNvPr id="611" name="Freeform 12">
                      <a:extLst>
                        <a:ext uri="{FF2B5EF4-FFF2-40B4-BE49-F238E27FC236}">
                          <a16:creationId xmlns:a16="http://schemas.microsoft.com/office/drawing/2014/main" id="{1C4E0E66-88C2-4843-9900-72DB1604B737}"/>
                        </a:ext>
                      </a:extLst>
                    </p:cNvPr>
                    <p:cNvSpPr>
                      <a:spLocks/>
                    </p:cNvSpPr>
                    <p:nvPr/>
                  </p:nvSpPr>
                  <p:spPr bwMode="auto">
                    <a:xfrm>
                      <a:off x="5395249" y="1528035"/>
                      <a:ext cx="366090" cy="216019"/>
                    </a:xfrm>
                    <a:custGeom>
                      <a:avLst/>
                      <a:gdLst>
                        <a:gd name="T0" fmla="*/ 481 w 959"/>
                        <a:gd name="T1" fmla="*/ 580 h 580"/>
                        <a:gd name="T2" fmla="*/ 499 w 959"/>
                        <a:gd name="T3" fmla="*/ 576 h 580"/>
                        <a:gd name="T4" fmla="*/ 941 w 959"/>
                        <a:gd name="T5" fmla="*/ 324 h 580"/>
                        <a:gd name="T6" fmla="*/ 959 w 959"/>
                        <a:gd name="T7" fmla="*/ 290 h 580"/>
                        <a:gd name="T8" fmla="*/ 941 w 959"/>
                        <a:gd name="T9" fmla="*/ 256 h 580"/>
                        <a:gd name="T10" fmla="*/ 499 w 959"/>
                        <a:gd name="T11" fmla="*/ 4 h 580"/>
                        <a:gd name="T12" fmla="*/ 481 w 959"/>
                        <a:gd name="T13" fmla="*/ 0 h 580"/>
                        <a:gd name="T14" fmla="*/ 460 w 959"/>
                        <a:gd name="T15" fmla="*/ 4 h 580"/>
                        <a:gd name="T16" fmla="*/ 19 w 959"/>
                        <a:gd name="T17" fmla="*/ 256 h 580"/>
                        <a:gd name="T18" fmla="*/ 0 w 959"/>
                        <a:gd name="T19" fmla="*/ 290 h 580"/>
                        <a:gd name="T20" fmla="*/ 19 w 959"/>
                        <a:gd name="T21" fmla="*/ 324 h 580"/>
                        <a:gd name="T22" fmla="*/ 460 w 959"/>
                        <a:gd name="T23" fmla="*/ 576 h 580"/>
                        <a:gd name="T24" fmla="*/ 481 w 959"/>
                        <a:gd name="T25" fmla="*/ 58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0">
                          <a:moveTo>
                            <a:pt x="481" y="580"/>
                          </a:moveTo>
                          <a:cubicBezTo>
                            <a:pt x="488" y="580"/>
                            <a:pt x="493" y="578"/>
                            <a:pt x="499" y="576"/>
                          </a:cubicBezTo>
                          <a:cubicBezTo>
                            <a:pt x="499" y="576"/>
                            <a:pt x="499" y="576"/>
                            <a:pt x="941" y="324"/>
                          </a:cubicBezTo>
                          <a:cubicBezTo>
                            <a:pt x="952" y="317"/>
                            <a:pt x="959" y="304"/>
                            <a:pt x="959" y="290"/>
                          </a:cubicBezTo>
                          <a:cubicBezTo>
                            <a:pt x="959" y="276"/>
                            <a:pt x="952" y="263"/>
                            <a:pt x="941" y="256"/>
                          </a:cubicBezTo>
                          <a:cubicBezTo>
                            <a:pt x="941" y="256"/>
                            <a:pt x="941" y="256"/>
                            <a:pt x="499" y="4"/>
                          </a:cubicBezTo>
                          <a:cubicBezTo>
                            <a:pt x="493" y="2"/>
                            <a:pt x="488" y="0"/>
                            <a:pt x="481" y="0"/>
                          </a:cubicBezTo>
                          <a:cubicBezTo>
                            <a:pt x="474" y="0"/>
                            <a:pt x="467" y="2"/>
                            <a:pt x="460" y="4"/>
                          </a:cubicBezTo>
                          <a:cubicBezTo>
                            <a:pt x="460" y="4"/>
                            <a:pt x="460" y="4"/>
                            <a:pt x="19" y="256"/>
                          </a:cubicBezTo>
                          <a:cubicBezTo>
                            <a:pt x="7" y="263"/>
                            <a:pt x="0" y="276"/>
                            <a:pt x="0" y="290"/>
                          </a:cubicBezTo>
                          <a:cubicBezTo>
                            <a:pt x="0" y="304"/>
                            <a:pt x="7" y="317"/>
                            <a:pt x="19" y="324"/>
                          </a:cubicBezTo>
                          <a:cubicBezTo>
                            <a:pt x="19" y="324"/>
                            <a:pt x="19" y="324"/>
                            <a:pt x="460" y="576"/>
                          </a:cubicBezTo>
                          <a:cubicBezTo>
                            <a:pt x="467" y="578"/>
                            <a:pt x="474" y="580"/>
                            <a:pt x="481" y="5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12" name="Freeform 33">
                      <a:extLst>
                        <a:ext uri="{FF2B5EF4-FFF2-40B4-BE49-F238E27FC236}">
                          <a16:creationId xmlns:a16="http://schemas.microsoft.com/office/drawing/2014/main" id="{8D49B4BF-8F8A-4414-9569-5507BAFE6DF8}"/>
                        </a:ext>
                      </a:extLst>
                    </p:cNvPr>
                    <p:cNvSpPr>
                      <a:spLocks/>
                    </p:cNvSpPr>
                    <p:nvPr/>
                  </p:nvSpPr>
                  <p:spPr bwMode="auto">
                    <a:xfrm>
                      <a:off x="5163132" y="1656295"/>
                      <a:ext cx="366090" cy="216538"/>
                    </a:xfrm>
                    <a:custGeom>
                      <a:avLst/>
                      <a:gdLst>
                        <a:gd name="T0" fmla="*/ 479 w 959"/>
                        <a:gd name="T1" fmla="*/ 581 h 581"/>
                        <a:gd name="T2" fmla="*/ 498 w 959"/>
                        <a:gd name="T3" fmla="*/ 574 h 581"/>
                        <a:gd name="T4" fmla="*/ 938 w 959"/>
                        <a:gd name="T5" fmla="*/ 323 h 581"/>
                        <a:gd name="T6" fmla="*/ 959 w 959"/>
                        <a:gd name="T7" fmla="*/ 289 h 581"/>
                        <a:gd name="T8" fmla="*/ 938 w 959"/>
                        <a:gd name="T9" fmla="*/ 257 h 581"/>
                        <a:gd name="T10" fmla="*/ 498 w 959"/>
                        <a:gd name="T11" fmla="*/ 7 h 581"/>
                        <a:gd name="T12" fmla="*/ 479 w 959"/>
                        <a:gd name="T13" fmla="*/ 0 h 581"/>
                        <a:gd name="T14" fmla="*/ 459 w 959"/>
                        <a:gd name="T15" fmla="*/ 7 h 581"/>
                        <a:gd name="T16" fmla="*/ 21 w 959"/>
                        <a:gd name="T17" fmla="*/ 257 h 581"/>
                        <a:gd name="T18" fmla="*/ 0 w 959"/>
                        <a:gd name="T19" fmla="*/ 289 h 581"/>
                        <a:gd name="T20" fmla="*/ 21 w 959"/>
                        <a:gd name="T21" fmla="*/ 323 h 581"/>
                        <a:gd name="T22" fmla="*/ 459 w 959"/>
                        <a:gd name="T23" fmla="*/ 574 h 581"/>
                        <a:gd name="T24" fmla="*/ 479 w 959"/>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1">
                          <a:moveTo>
                            <a:pt x="479" y="581"/>
                          </a:moveTo>
                          <a:cubicBezTo>
                            <a:pt x="486" y="581"/>
                            <a:pt x="493" y="578"/>
                            <a:pt x="498" y="574"/>
                          </a:cubicBezTo>
                          <a:cubicBezTo>
                            <a:pt x="498" y="574"/>
                            <a:pt x="498" y="574"/>
                            <a:pt x="938" y="323"/>
                          </a:cubicBezTo>
                          <a:cubicBezTo>
                            <a:pt x="950" y="316"/>
                            <a:pt x="959" y="305"/>
                            <a:pt x="959" y="289"/>
                          </a:cubicBezTo>
                          <a:cubicBezTo>
                            <a:pt x="959" y="275"/>
                            <a:pt x="950" y="264"/>
                            <a:pt x="938" y="257"/>
                          </a:cubicBezTo>
                          <a:cubicBezTo>
                            <a:pt x="938" y="257"/>
                            <a:pt x="938" y="257"/>
                            <a:pt x="498" y="7"/>
                          </a:cubicBezTo>
                          <a:cubicBezTo>
                            <a:pt x="493" y="2"/>
                            <a:pt x="486" y="0"/>
                            <a:pt x="479" y="0"/>
                          </a:cubicBezTo>
                          <a:cubicBezTo>
                            <a:pt x="473" y="0"/>
                            <a:pt x="466" y="2"/>
                            <a:pt x="459" y="7"/>
                          </a:cubicBezTo>
                          <a:cubicBezTo>
                            <a:pt x="459" y="7"/>
                            <a:pt x="459" y="7"/>
                            <a:pt x="21" y="257"/>
                          </a:cubicBezTo>
                          <a:cubicBezTo>
                            <a:pt x="7" y="264"/>
                            <a:pt x="0" y="275"/>
                            <a:pt x="0" y="289"/>
                          </a:cubicBezTo>
                          <a:cubicBezTo>
                            <a:pt x="0" y="305"/>
                            <a:pt x="7" y="316"/>
                            <a:pt x="21" y="323"/>
                          </a:cubicBezTo>
                          <a:cubicBezTo>
                            <a:pt x="21" y="323"/>
                            <a:pt x="21" y="323"/>
                            <a:pt x="459" y="574"/>
                          </a:cubicBezTo>
                          <a:cubicBezTo>
                            <a:pt x="466" y="578"/>
                            <a:pt x="473" y="581"/>
                            <a:pt x="479" y="5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13" name="Freeform 34">
                      <a:extLst>
                        <a:ext uri="{FF2B5EF4-FFF2-40B4-BE49-F238E27FC236}">
                          <a16:creationId xmlns:a16="http://schemas.microsoft.com/office/drawing/2014/main" id="{9829516F-FA27-469A-A2F6-7630C64CACF1}"/>
                        </a:ext>
                      </a:extLst>
                    </p:cNvPr>
                    <p:cNvSpPr>
                      <a:spLocks noEditPoints="1"/>
                    </p:cNvSpPr>
                    <p:nvPr/>
                  </p:nvSpPr>
                  <p:spPr bwMode="auto">
                    <a:xfrm>
                      <a:off x="4430952" y="2282541"/>
                      <a:ext cx="433077" cy="455924"/>
                    </a:xfrm>
                    <a:custGeom>
                      <a:avLst/>
                      <a:gdLst>
                        <a:gd name="T0" fmla="*/ 487 w 1135"/>
                        <a:gd name="T1" fmla="*/ 1224 h 1224"/>
                        <a:gd name="T2" fmla="*/ 506 w 1135"/>
                        <a:gd name="T3" fmla="*/ 1219 h 1224"/>
                        <a:gd name="T4" fmla="*/ 527 w 1135"/>
                        <a:gd name="T5" fmla="*/ 1185 h 1224"/>
                        <a:gd name="T6" fmla="*/ 527 w 1135"/>
                        <a:gd name="T7" fmla="*/ 682 h 1224"/>
                        <a:gd name="T8" fmla="*/ 506 w 1135"/>
                        <a:gd name="T9" fmla="*/ 650 h 1224"/>
                        <a:gd name="T10" fmla="*/ 61 w 1135"/>
                        <a:gd name="T11" fmla="*/ 397 h 1224"/>
                        <a:gd name="T12" fmla="*/ 40 w 1135"/>
                        <a:gd name="T13" fmla="*/ 392 h 1224"/>
                        <a:gd name="T14" fmla="*/ 21 w 1135"/>
                        <a:gd name="T15" fmla="*/ 397 h 1224"/>
                        <a:gd name="T16" fmla="*/ 0 w 1135"/>
                        <a:gd name="T17" fmla="*/ 431 h 1224"/>
                        <a:gd name="T18" fmla="*/ 0 w 1135"/>
                        <a:gd name="T19" fmla="*/ 934 h 1224"/>
                        <a:gd name="T20" fmla="*/ 21 w 1135"/>
                        <a:gd name="T21" fmla="*/ 968 h 1224"/>
                        <a:gd name="T22" fmla="*/ 466 w 1135"/>
                        <a:gd name="T23" fmla="*/ 1219 h 1224"/>
                        <a:gd name="T24" fmla="*/ 487 w 1135"/>
                        <a:gd name="T25" fmla="*/ 1224 h 1224"/>
                        <a:gd name="T26" fmla="*/ 647 w 1135"/>
                        <a:gd name="T27" fmla="*/ 1224 h 1224"/>
                        <a:gd name="T28" fmla="*/ 666 w 1135"/>
                        <a:gd name="T29" fmla="*/ 1219 h 1224"/>
                        <a:gd name="T30" fmla="*/ 1114 w 1135"/>
                        <a:gd name="T31" fmla="*/ 968 h 1224"/>
                        <a:gd name="T32" fmla="*/ 1135 w 1135"/>
                        <a:gd name="T33" fmla="*/ 934 h 1224"/>
                        <a:gd name="T34" fmla="*/ 1135 w 1135"/>
                        <a:gd name="T35" fmla="*/ 431 h 1224"/>
                        <a:gd name="T36" fmla="*/ 1114 w 1135"/>
                        <a:gd name="T37" fmla="*/ 397 h 1224"/>
                        <a:gd name="T38" fmla="*/ 1095 w 1135"/>
                        <a:gd name="T39" fmla="*/ 392 h 1224"/>
                        <a:gd name="T40" fmla="*/ 1074 w 1135"/>
                        <a:gd name="T41" fmla="*/ 397 h 1224"/>
                        <a:gd name="T42" fmla="*/ 626 w 1135"/>
                        <a:gd name="T43" fmla="*/ 650 h 1224"/>
                        <a:gd name="T44" fmla="*/ 607 w 1135"/>
                        <a:gd name="T45" fmla="*/ 682 h 1224"/>
                        <a:gd name="T46" fmla="*/ 607 w 1135"/>
                        <a:gd name="T47" fmla="*/ 1185 h 1224"/>
                        <a:gd name="T48" fmla="*/ 626 w 1135"/>
                        <a:gd name="T49" fmla="*/ 1219 h 1224"/>
                        <a:gd name="T50" fmla="*/ 647 w 1135"/>
                        <a:gd name="T51" fmla="*/ 1224 h 1224"/>
                        <a:gd name="T52" fmla="*/ 567 w 1135"/>
                        <a:gd name="T53" fmla="*/ 580 h 1224"/>
                        <a:gd name="T54" fmla="*/ 586 w 1135"/>
                        <a:gd name="T55" fmla="*/ 576 h 1224"/>
                        <a:gd name="T56" fmla="*/ 1034 w 1135"/>
                        <a:gd name="T57" fmla="*/ 324 h 1224"/>
                        <a:gd name="T58" fmla="*/ 1055 w 1135"/>
                        <a:gd name="T59" fmla="*/ 290 h 1224"/>
                        <a:gd name="T60" fmla="*/ 1034 w 1135"/>
                        <a:gd name="T61" fmla="*/ 256 h 1224"/>
                        <a:gd name="T62" fmla="*/ 586 w 1135"/>
                        <a:gd name="T63" fmla="*/ 4 h 1224"/>
                        <a:gd name="T64" fmla="*/ 567 w 1135"/>
                        <a:gd name="T65" fmla="*/ 0 h 1224"/>
                        <a:gd name="T66" fmla="*/ 546 w 1135"/>
                        <a:gd name="T67" fmla="*/ 4 h 1224"/>
                        <a:gd name="T68" fmla="*/ 101 w 1135"/>
                        <a:gd name="T69" fmla="*/ 256 h 1224"/>
                        <a:gd name="T70" fmla="*/ 80 w 1135"/>
                        <a:gd name="T71" fmla="*/ 290 h 1224"/>
                        <a:gd name="T72" fmla="*/ 101 w 1135"/>
                        <a:gd name="T73" fmla="*/ 324 h 1224"/>
                        <a:gd name="T74" fmla="*/ 546 w 1135"/>
                        <a:gd name="T75" fmla="*/ 576 h 1224"/>
                        <a:gd name="T76" fmla="*/ 567 w 1135"/>
                        <a:gd name="T77" fmla="*/ 580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5" h="1224">
                          <a:moveTo>
                            <a:pt x="487" y="1224"/>
                          </a:moveTo>
                          <a:cubicBezTo>
                            <a:pt x="495" y="1224"/>
                            <a:pt x="502" y="1224"/>
                            <a:pt x="506" y="1219"/>
                          </a:cubicBezTo>
                          <a:cubicBezTo>
                            <a:pt x="520" y="1212"/>
                            <a:pt x="527" y="1201"/>
                            <a:pt x="527" y="1185"/>
                          </a:cubicBezTo>
                          <a:cubicBezTo>
                            <a:pt x="527" y="1185"/>
                            <a:pt x="527" y="1185"/>
                            <a:pt x="527" y="682"/>
                          </a:cubicBezTo>
                          <a:cubicBezTo>
                            <a:pt x="527" y="669"/>
                            <a:pt x="520" y="657"/>
                            <a:pt x="506" y="650"/>
                          </a:cubicBezTo>
                          <a:cubicBezTo>
                            <a:pt x="506" y="650"/>
                            <a:pt x="506" y="650"/>
                            <a:pt x="61" y="397"/>
                          </a:cubicBezTo>
                          <a:cubicBezTo>
                            <a:pt x="54" y="394"/>
                            <a:pt x="47" y="392"/>
                            <a:pt x="40" y="392"/>
                          </a:cubicBezTo>
                          <a:cubicBezTo>
                            <a:pt x="33" y="392"/>
                            <a:pt x="26" y="394"/>
                            <a:pt x="21" y="397"/>
                          </a:cubicBezTo>
                          <a:cubicBezTo>
                            <a:pt x="7" y="404"/>
                            <a:pt x="0" y="417"/>
                            <a:pt x="0" y="431"/>
                          </a:cubicBezTo>
                          <a:cubicBezTo>
                            <a:pt x="0" y="431"/>
                            <a:pt x="0" y="431"/>
                            <a:pt x="0" y="934"/>
                          </a:cubicBezTo>
                          <a:cubicBezTo>
                            <a:pt x="0" y="947"/>
                            <a:pt x="7" y="961"/>
                            <a:pt x="21" y="968"/>
                          </a:cubicBezTo>
                          <a:cubicBezTo>
                            <a:pt x="21" y="968"/>
                            <a:pt x="21" y="968"/>
                            <a:pt x="466" y="1219"/>
                          </a:cubicBezTo>
                          <a:cubicBezTo>
                            <a:pt x="473" y="1224"/>
                            <a:pt x="480" y="1224"/>
                            <a:pt x="487" y="1224"/>
                          </a:cubicBezTo>
                          <a:close/>
                          <a:moveTo>
                            <a:pt x="647" y="1224"/>
                          </a:moveTo>
                          <a:cubicBezTo>
                            <a:pt x="654" y="1224"/>
                            <a:pt x="661" y="1224"/>
                            <a:pt x="666" y="1219"/>
                          </a:cubicBezTo>
                          <a:cubicBezTo>
                            <a:pt x="666" y="1219"/>
                            <a:pt x="666" y="1219"/>
                            <a:pt x="1114" y="968"/>
                          </a:cubicBezTo>
                          <a:cubicBezTo>
                            <a:pt x="1125" y="961"/>
                            <a:pt x="1135" y="947"/>
                            <a:pt x="1135" y="934"/>
                          </a:cubicBezTo>
                          <a:cubicBezTo>
                            <a:pt x="1135" y="934"/>
                            <a:pt x="1135" y="934"/>
                            <a:pt x="1135" y="431"/>
                          </a:cubicBezTo>
                          <a:cubicBezTo>
                            <a:pt x="1135" y="417"/>
                            <a:pt x="1125" y="404"/>
                            <a:pt x="1114" y="397"/>
                          </a:cubicBezTo>
                          <a:cubicBezTo>
                            <a:pt x="1107" y="394"/>
                            <a:pt x="1100" y="392"/>
                            <a:pt x="1095" y="392"/>
                          </a:cubicBezTo>
                          <a:cubicBezTo>
                            <a:pt x="1088" y="392"/>
                            <a:pt x="1081" y="394"/>
                            <a:pt x="1074" y="397"/>
                          </a:cubicBezTo>
                          <a:cubicBezTo>
                            <a:pt x="1074" y="397"/>
                            <a:pt x="1074" y="397"/>
                            <a:pt x="626" y="650"/>
                          </a:cubicBezTo>
                          <a:cubicBezTo>
                            <a:pt x="614" y="657"/>
                            <a:pt x="607" y="669"/>
                            <a:pt x="607" y="682"/>
                          </a:cubicBezTo>
                          <a:cubicBezTo>
                            <a:pt x="607" y="682"/>
                            <a:pt x="607" y="682"/>
                            <a:pt x="607" y="1185"/>
                          </a:cubicBezTo>
                          <a:cubicBezTo>
                            <a:pt x="607" y="1201"/>
                            <a:pt x="614" y="1212"/>
                            <a:pt x="626" y="1219"/>
                          </a:cubicBezTo>
                          <a:cubicBezTo>
                            <a:pt x="633" y="1224"/>
                            <a:pt x="640" y="1224"/>
                            <a:pt x="647" y="1224"/>
                          </a:cubicBezTo>
                          <a:close/>
                          <a:moveTo>
                            <a:pt x="567" y="580"/>
                          </a:moveTo>
                          <a:cubicBezTo>
                            <a:pt x="574" y="580"/>
                            <a:pt x="581" y="580"/>
                            <a:pt x="586" y="576"/>
                          </a:cubicBezTo>
                          <a:cubicBezTo>
                            <a:pt x="586" y="576"/>
                            <a:pt x="586" y="576"/>
                            <a:pt x="1034" y="324"/>
                          </a:cubicBezTo>
                          <a:cubicBezTo>
                            <a:pt x="1045" y="318"/>
                            <a:pt x="1055" y="304"/>
                            <a:pt x="1055" y="290"/>
                          </a:cubicBezTo>
                          <a:cubicBezTo>
                            <a:pt x="1055" y="276"/>
                            <a:pt x="1045" y="265"/>
                            <a:pt x="1034" y="256"/>
                          </a:cubicBezTo>
                          <a:cubicBezTo>
                            <a:pt x="1034" y="256"/>
                            <a:pt x="1034" y="256"/>
                            <a:pt x="586" y="4"/>
                          </a:cubicBezTo>
                          <a:cubicBezTo>
                            <a:pt x="581" y="2"/>
                            <a:pt x="574" y="0"/>
                            <a:pt x="567" y="0"/>
                          </a:cubicBezTo>
                          <a:cubicBezTo>
                            <a:pt x="560" y="0"/>
                            <a:pt x="553" y="2"/>
                            <a:pt x="546" y="4"/>
                          </a:cubicBezTo>
                          <a:cubicBezTo>
                            <a:pt x="546" y="4"/>
                            <a:pt x="546" y="4"/>
                            <a:pt x="101" y="256"/>
                          </a:cubicBezTo>
                          <a:cubicBezTo>
                            <a:pt x="87" y="265"/>
                            <a:pt x="80" y="276"/>
                            <a:pt x="80" y="290"/>
                          </a:cubicBezTo>
                          <a:cubicBezTo>
                            <a:pt x="80" y="304"/>
                            <a:pt x="87" y="318"/>
                            <a:pt x="101" y="324"/>
                          </a:cubicBezTo>
                          <a:cubicBezTo>
                            <a:pt x="101" y="324"/>
                            <a:pt x="101" y="324"/>
                            <a:pt x="546" y="576"/>
                          </a:cubicBezTo>
                          <a:cubicBezTo>
                            <a:pt x="553" y="580"/>
                            <a:pt x="560" y="580"/>
                            <a:pt x="567" y="580"/>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14" name="Freeform 35">
                      <a:extLst>
                        <a:ext uri="{FF2B5EF4-FFF2-40B4-BE49-F238E27FC236}">
                          <a16:creationId xmlns:a16="http://schemas.microsoft.com/office/drawing/2014/main" id="{4227AD21-B40B-498F-93D0-C870B7F6CE67}"/>
                        </a:ext>
                      </a:extLst>
                    </p:cNvPr>
                    <p:cNvSpPr>
                      <a:spLocks/>
                    </p:cNvSpPr>
                    <p:nvPr/>
                  </p:nvSpPr>
                  <p:spPr bwMode="auto">
                    <a:xfrm>
                      <a:off x="4461069" y="2030693"/>
                      <a:ext cx="372322" cy="216538"/>
                    </a:xfrm>
                    <a:custGeom>
                      <a:avLst/>
                      <a:gdLst>
                        <a:gd name="T0" fmla="*/ 487 w 975"/>
                        <a:gd name="T1" fmla="*/ 581 h 581"/>
                        <a:gd name="T2" fmla="*/ 506 w 975"/>
                        <a:gd name="T3" fmla="*/ 574 h 581"/>
                        <a:gd name="T4" fmla="*/ 954 w 975"/>
                        <a:gd name="T5" fmla="*/ 323 h 581"/>
                        <a:gd name="T6" fmla="*/ 975 w 975"/>
                        <a:gd name="T7" fmla="*/ 289 h 581"/>
                        <a:gd name="T8" fmla="*/ 954 w 975"/>
                        <a:gd name="T9" fmla="*/ 257 h 581"/>
                        <a:gd name="T10" fmla="*/ 506 w 975"/>
                        <a:gd name="T11" fmla="*/ 7 h 581"/>
                        <a:gd name="T12" fmla="*/ 487 w 975"/>
                        <a:gd name="T13" fmla="*/ 0 h 581"/>
                        <a:gd name="T14" fmla="*/ 466 w 975"/>
                        <a:gd name="T15" fmla="*/ 7 h 581"/>
                        <a:gd name="T16" fmla="*/ 21 w 975"/>
                        <a:gd name="T17" fmla="*/ 257 h 581"/>
                        <a:gd name="T18" fmla="*/ 0 w 975"/>
                        <a:gd name="T19" fmla="*/ 289 h 581"/>
                        <a:gd name="T20" fmla="*/ 21 w 975"/>
                        <a:gd name="T21" fmla="*/ 323 h 581"/>
                        <a:gd name="T22" fmla="*/ 466 w 975"/>
                        <a:gd name="T23" fmla="*/ 574 h 581"/>
                        <a:gd name="T24" fmla="*/ 487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7" y="581"/>
                          </a:moveTo>
                          <a:cubicBezTo>
                            <a:pt x="494" y="581"/>
                            <a:pt x="501" y="578"/>
                            <a:pt x="506" y="574"/>
                          </a:cubicBezTo>
                          <a:cubicBezTo>
                            <a:pt x="506" y="574"/>
                            <a:pt x="506" y="574"/>
                            <a:pt x="954" y="323"/>
                          </a:cubicBezTo>
                          <a:cubicBezTo>
                            <a:pt x="965" y="317"/>
                            <a:pt x="975" y="305"/>
                            <a:pt x="975" y="289"/>
                          </a:cubicBezTo>
                          <a:cubicBezTo>
                            <a:pt x="975" y="276"/>
                            <a:pt x="965" y="264"/>
                            <a:pt x="954" y="257"/>
                          </a:cubicBezTo>
                          <a:cubicBezTo>
                            <a:pt x="954" y="257"/>
                            <a:pt x="954" y="257"/>
                            <a:pt x="506" y="7"/>
                          </a:cubicBezTo>
                          <a:cubicBezTo>
                            <a:pt x="501" y="2"/>
                            <a:pt x="494" y="0"/>
                            <a:pt x="487" y="0"/>
                          </a:cubicBezTo>
                          <a:cubicBezTo>
                            <a:pt x="480" y="0"/>
                            <a:pt x="473" y="2"/>
                            <a:pt x="466" y="7"/>
                          </a:cubicBezTo>
                          <a:cubicBezTo>
                            <a:pt x="466" y="7"/>
                            <a:pt x="466" y="7"/>
                            <a:pt x="21" y="257"/>
                          </a:cubicBezTo>
                          <a:cubicBezTo>
                            <a:pt x="7" y="264"/>
                            <a:pt x="0" y="276"/>
                            <a:pt x="0" y="289"/>
                          </a:cubicBezTo>
                          <a:cubicBezTo>
                            <a:pt x="0" y="305"/>
                            <a:pt x="7" y="317"/>
                            <a:pt x="21" y="323"/>
                          </a:cubicBezTo>
                          <a:cubicBezTo>
                            <a:pt x="21" y="323"/>
                            <a:pt x="21" y="323"/>
                            <a:pt x="466" y="574"/>
                          </a:cubicBezTo>
                          <a:cubicBezTo>
                            <a:pt x="473" y="578"/>
                            <a:pt x="480" y="581"/>
                            <a:pt x="487" y="58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15" name="Freeform 36">
                      <a:extLst>
                        <a:ext uri="{FF2B5EF4-FFF2-40B4-BE49-F238E27FC236}">
                          <a16:creationId xmlns:a16="http://schemas.microsoft.com/office/drawing/2014/main" id="{D650D032-3BC4-4102-8EB2-F8A66B941679}"/>
                        </a:ext>
                      </a:extLst>
                    </p:cNvPr>
                    <p:cNvSpPr>
                      <a:spLocks/>
                    </p:cNvSpPr>
                    <p:nvPr/>
                  </p:nvSpPr>
                  <p:spPr bwMode="auto">
                    <a:xfrm>
                      <a:off x="4228953" y="1901912"/>
                      <a:ext cx="372322" cy="216538"/>
                    </a:xfrm>
                    <a:custGeom>
                      <a:avLst/>
                      <a:gdLst>
                        <a:gd name="T0" fmla="*/ 488 w 975"/>
                        <a:gd name="T1" fmla="*/ 581 h 581"/>
                        <a:gd name="T2" fmla="*/ 509 w 975"/>
                        <a:gd name="T3" fmla="*/ 576 h 581"/>
                        <a:gd name="T4" fmla="*/ 954 w 975"/>
                        <a:gd name="T5" fmla="*/ 325 h 581"/>
                        <a:gd name="T6" fmla="*/ 975 w 975"/>
                        <a:gd name="T7" fmla="*/ 290 h 581"/>
                        <a:gd name="T8" fmla="*/ 954 w 975"/>
                        <a:gd name="T9" fmla="*/ 256 h 581"/>
                        <a:gd name="T10" fmla="*/ 509 w 975"/>
                        <a:gd name="T11" fmla="*/ 5 h 581"/>
                        <a:gd name="T12" fmla="*/ 488 w 975"/>
                        <a:gd name="T13" fmla="*/ 0 h 581"/>
                        <a:gd name="T14" fmla="*/ 469 w 975"/>
                        <a:gd name="T15" fmla="*/ 5 h 581"/>
                        <a:gd name="T16" fmla="*/ 21 w 975"/>
                        <a:gd name="T17" fmla="*/ 256 h 581"/>
                        <a:gd name="T18" fmla="*/ 0 w 975"/>
                        <a:gd name="T19" fmla="*/ 290 h 581"/>
                        <a:gd name="T20" fmla="*/ 21 w 975"/>
                        <a:gd name="T21" fmla="*/ 325 h 581"/>
                        <a:gd name="T22" fmla="*/ 469 w 975"/>
                        <a:gd name="T23" fmla="*/ 576 h 581"/>
                        <a:gd name="T24" fmla="*/ 488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8" y="581"/>
                          </a:moveTo>
                          <a:cubicBezTo>
                            <a:pt x="495" y="581"/>
                            <a:pt x="502" y="578"/>
                            <a:pt x="509" y="576"/>
                          </a:cubicBezTo>
                          <a:cubicBezTo>
                            <a:pt x="509" y="576"/>
                            <a:pt x="509" y="576"/>
                            <a:pt x="954" y="325"/>
                          </a:cubicBezTo>
                          <a:cubicBezTo>
                            <a:pt x="968" y="318"/>
                            <a:pt x="975" y="304"/>
                            <a:pt x="975" y="290"/>
                          </a:cubicBezTo>
                          <a:cubicBezTo>
                            <a:pt x="975" y="277"/>
                            <a:pt x="968" y="263"/>
                            <a:pt x="954" y="256"/>
                          </a:cubicBezTo>
                          <a:cubicBezTo>
                            <a:pt x="954" y="256"/>
                            <a:pt x="954" y="256"/>
                            <a:pt x="509" y="5"/>
                          </a:cubicBezTo>
                          <a:cubicBezTo>
                            <a:pt x="502" y="2"/>
                            <a:pt x="495" y="0"/>
                            <a:pt x="488" y="0"/>
                          </a:cubicBezTo>
                          <a:cubicBezTo>
                            <a:pt x="481" y="0"/>
                            <a:pt x="474" y="2"/>
                            <a:pt x="469" y="5"/>
                          </a:cubicBezTo>
                          <a:cubicBezTo>
                            <a:pt x="469" y="5"/>
                            <a:pt x="469" y="5"/>
                            <a:pt x="21" y="256"/>
                          </a:cubicBezTo>
                          <a:cubicBezTo>
                            <a:pt x="10" y="263"/>
                            <a:pt x="0" y="277"/>
                            <a:pt x="0" y="290"/>
                          </a:cubicBezTo>
                          <a:cubicBezTo>
                            <a:pt x="0" y="304"/>
                            <a:pt x="10" y="318"/>
                            <a:pt x="21" y="325"/>
                          </a:cubicBezTo>
                          <a:cubicBezTo>
                            <a:pt x="21" y="325"/>
                            <a:pt x="21" y="325"/>
                            <a:pt x="469" y="576"/>
                          </a:cubicBezTo>
                          <a:cubicBezTo>
                            <a:pt x="474" y="578"/>
                            <a:pt x="481" y="581"/>
                            <a:pt x="488" y="58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16" name="Freeform 37">
                      <a:extLst>
                        <a:ext uri="{FF2B5EF4-FFF2-40B4-BE49-F238E27FC236}">
                          <a16:creationId xmlns:a16="http://schemas.microsoft.com/office/drawing/2014/main" id="{EF7DC0C9-3126-4FBA-BF86-B2BB374F8055}"/>
                        </a:ext>
                      </a:extLst>
                    </p:cNvPr>
                    <p:cNvSpPr>
                      <a:spLocks/>
                    </p:cNvSpPr>
                    <p:nvPr/>
                  </p:nvSpPr>
                  <p:spPr bwMode="auto">
                    <a:xfrm>
                      <a:off x="4461069" y="1773652"/>
                      <a:ext cx="372322" cy="216019"/>
                    </a:xfrm>
                    <a:custGeom>
                      <a:avLst/>
                      <a:gdLst>
                        <a:gd name="T0" fmla="*/ 487 w 975"/>
                        <a:gd name="T1" fmla="*/ 580 h 580"/>
                        <a:gd name="T2" fmla="*/ 506 w 975"/>
                        <a:gd name="T3" fmla="*/ 576 h 580"/>
                        <a:gd name="T4" fmla="*/ 954 w 975"/>
                        <a:gd name="T5" fmla="*/ 322 h 580"/>
                        <a:gd name="T6" fmla="*/ 975 w 975"/>
                        <a:gd name="T7" fmla="*/ 290 h 580"/>
                        <a:gd name="T8" fmla="*/ 954 w 975"/>
                        <a:gd name="T9" fmla="*/ 256 h 580"/>
                        <a:gd name="T10" fmla="*/ 506 w 975"/>
                        <a:gd name="T11" fmla="*/ 4 h 580"/>
                        <a:gd name="T12" fmla="*/ 487 w 975"/>
                        <a:gd name="T13" fmla="*/ 0 h 580"/>
                        <a:gd name="T14" fmla="*/ 466 w 975"/>
                        <a:gd name="T15" fmla="*/ 4 h 580"/>
                        <a:gd name="T16" fmla="*/ 21 w 975"/>
                        <a:gd name="T17" fmla="*/ 256 h 580"/>
                        <a:gd name="T18" fmla="*/ 0 w 975"/>
                        <a:gd name="T19" fmla="*/ 290 h 580"/>
                        <a:gd name="T20" fmla="*/ 21 w 975"/>
                        <a:gd name="T21" fmla="*/ 322 h 580"/>
                        <a:gd name="T22" fmla="*/ 466 w 975"/>
                        <a:gd name="T23" fmla="*/ 576 h 580"/>
                        <a:gd name="T24" fmla="*/ 487 w 975"/>
                        <a:gd name="T25" fmla="*/ 58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0">
                          <a:moveTo>
                            <a:pt x="487" y="580"/>
                          </a:moveTo>
                          <a:cubicBezTo>
                            <a:pt x="494" y="580"/>
                            <a:pt x="501" y="578"/>
                            <a:pt x="506" y="576"/>
                          </a:cubicBezTo>
                          <a:cubicBezTo>
                            <a:pt x="506" y="576"/>
                            <a:pt x="506" y="576"/>
                            <a:pt x="954" y="322"/>
                          </a:cubicBezTo>
                          <a:cubicBezTo>
                            <a:pt x="965" y="315"/>
                            <a:pt x="975" y="304"/>
                            <a:pt x="975" y="290"/>
                          </a:cubicBezTo>
                          <a:cubicBezTo>
                            <a:pt x="975" y="276"/>
                            <a:pt x="965" y="263"/>
                            <a:pt x="954" y="256"/>
                          </a:cubicBezTo>
                          <a:cubicBezTo>
                            <a:pt x="954" y="256"/>
                            <a:pt x="954" y="256"/>
                            <a:pt x="506" y="4"/>
                          </a:cubicBezTo>
                          <a:cubicBezTo>
                            <a:pt x="501" y="0"/>
                            <a:pt x="494" y="0"/>
                            <a:pt x="487" y="0"/>
                          </a:cubicBezTo>
                          <a:cubicBezTo>
                            <a:pt x="480" y="0"/>
                            <a:pt x="473" y="0"/>
                            <a:pt x="466" y="4"/>
                          </a:cubicBezTo>
                          <a:cubicBezTo>
                            <a:pt x="466" y="4"/>
                            <a:pt x="466" y="4"/>
                            <a:pt x="21" y="256"/>
                          </a:cubicBezTo>
                          <a:cubicBezTo>
                            <a:pt x="7" y="263"/>
                            <a:pt x="0" y="276"/>
                            <a:pt x="0" y="290"/>
                          </a:cubicBezTo>
                          <a:cubicBezTo>
                            <a:pt x="0" y="304"/>
                            <a:pt x="7" y="315"/>
                            <a:pt x="21" y="322"/>
                          </a:cubicBezTo>
                          <a:cubicBezTo>
                            <a:pt x="21" y="322"/>
                            <a:pt x="21" y="322"/>
                            <a:pt x="466" y="576"/>
                          </a:cubicBezTo>
                          <a:cubicBezTo>
                            <a:pt x="473" y="578"/>
                            <a:pt x="480" y="580"/>
                            <a:pt x="487" y="580"/>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17" name="Freeform 38">
                      <a:extLst>
                        <a:ext uri="{FF2B5EF4-FFF2-40B4-BE49-F238E27FC236}">
                          <a16:creationId xmlns:a16="http://schemas.microsoft.com/office/drawing/2014/main" id="{B48584F1-654B-48D1-99E4-D110E55F6DE7}"/>
                        </a:ext>
                      </a:extLst>
                    </p:cNvPr>
                    <p:cNvSpPr>
                      <a:spLocks/>
                    </p:cNvSpPr>
                    <p:nvPr/>
                  </p:nvSpPr>
                  <p:spPr bwMode="auto">
                    <a:xfrm>
                      <a:off x="4931534" y="1785076"/>
                      <a:ext cx="372322" cy="210825"/>
                    </a:xfrm>
                    <a:custGeom>
                      <a:avLst/>
                      <a:gdLst>
                        <a:gd name="T0" fmla="*/ 487 w 975"/>
                        <a:gd name="T1" fmla="*/ 565 h 565"/>
                        <a:gd name="T2" fmla="*/ 508 w 975"/>
                        <a:gd name="T3" fmla="*/ 561 h 565"/>
                        <a:gd name="T4" fmla="*/ 953 w 975"/>
                        <a:gd name="T5" fmla="*/ 316 h 565"/>
                        <a:gd name="T6" fmla="*/ 975 w 975"/>
                        <a:gd name="T7" fmla="*/ 283 h 565"/>
                        <a:gd name="T8" fmla="*/ 953 w 975"/>
                        <a:gd name="T9" fmla="*/ 249 h 565"/>
                        <a:gd name="T10" fmla="*/ 508 w 975"/>
                        <a:gd name="T11" fmla="*/ 5 h 565"/>
                        <a:gd name="T12" fmla="*/ 487 w 975"/>
                        <a:gd name="T13" fmla="*/ 0 h 565"/>
                        <a:gd name="T14" fmla="*/ 468 w 975"/>
                        <a:gd name="T15" fmla="*/ 5 h 565"/>
                        <a:gd name="T16" fmla="*/ 21 w 975"/>
                        <a:gd name="T17" fmla="*/ 249 h 565"/>
                        <a:gd name="T18" fmla="*/ 0 w 975"/>
                        <a:gd name="T19" fmla="*/ 283 h 565"/>
                        <a:gd name="T20" fmla="*/ 21 w 975"/>
                        <a:gd name="T21" fmla="*/ 316 h 565"/>
                        <a:gd name="T22" fmla="*/ 468 w 975"/>
                        <a:gd name="T23" fmla="*/ 561 h 565"/>
                        <a:gd name="T24" fmla="*/ 487 w 975"/>
                        <a:gd name="T25" fmla="*/ 565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65">
                          <a:moveTo>
                            <a:pt x="487" y="565"/>
                          </a:moveTo>
                          <a:cubicBezTo>
                            <a:pt x="494" y="565"/>
                            <a:pt x="501" y="563"/>
                            <a:pt x="508" y="561"/>
                          </a:cubicBezTo>
                          <a:cubicBezTo>
                            <a:pt x="508" y="561"/>
                            <a:pt x="508" y="561"/>
                            <a:pt x="953" y="316"/>
                          </a:cubicBezTo>
                          <a:cubicBezTo>
                            <a:pt x="968" y="309"/>
                            <a:pt x="975" y="296"/>
                            <a:pt x="975" y="283"/>
                          </a:cubicBezTo>
                          <a:cubicBezTo>
                            <a:pt x="975" y="269"/>
                            <a:pt x="968" y="256"/>
                            <a:pt x="953" y="249"/>
                          </a:cubicBezTo>
                          <a:cubicBezTo>
                            <a:pt x="953" y="249"/>
                            <a:pt x="953" y="249"/>
                            <a:pt x="508" y="5"/>
                          </a:cubicBezTo>
                          <a:cubicBezTo>
                            <a:pt x="501" y="2"/>
                            <a:pt x="494" y="0"/>
                            <a:pt x="487" y="0"/>
                          </a:cubicBezTo>
                          <a:cubicBezTo>
                            <a:pt x="480" y="0"/>
                            <a:pt x="473" y="2"/>
                            <a:pt x="468" y="5"/>
                          </a:cubicBezTo>
                          <a:cubicBezTo>
                            <a:pt x="468" y="5"/>
                            <a:pt x="468" y="5"/>
                            <a:pt x="21" y="249"/>
                          </a:cubicBezTo>
                          <a:cubicBezTo>
                            <a:pt x="9" y="256"/>
                            <a:pt x="0" y="269"/>
                            <a:pt x="0" y="283"/>
                          </a:cubicBezTo>
                          <a:cubicBezTo>
                            <a:pt x="0" y="296"/>
                            <a:pt x="9" y="309"/>
                            <a:pt x="21" y="316"/>
                          </a:cubicBezTo>
                          <a:cubicBezTo>
                            <a:pt x="21" y="316"/>
                            <a:pt x="21" y="316"/>
                            <a:pt x="468" y="561"/>
                          </a:cubicBezTo>
                          <a:cubicBezTo>
                            <a:pt x="473" y="563"/>
                            <a:pt x="480" y="565"/>
                            <a:pt x="487" y="565"/>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18" name="Freeform 40">
                      <a:extLst>
                        <a:ext uri="{FF2B5EF4-FFF2-40B4-BE49-F238E27FC236}">
                          <a16:creationId xmlns:a16="http://schemas.microsoft.com/office/drawing/2014/main" id="{2F4C39DF-9076-4F29-8669-AEEA95C5B7F2}"/>
                        </a:ext>
                      </a:extLst>
                    </p:cNvPr>
                    <p:cNvSpPr>
                      <a:spLocks/>
                    </p:cNvSpPr>
                    <p:nvPr/>
                  </p:nvSpPr>
                  <p:spPr bwMode="auto">
                    <a:xfrm>
                      <a:off x="4003586" y="1779363"/>
                      <a:ext cx="366090" cy="216538"/>
                    </a:xfrm>
                    <a:custGeom>
                      <a:avLst/>
                      <a:gdLst>
                        <a:gd name="T0" fmla="*/ 481 w 959"/>
                        <a:gd name="T1" fmla="*/ 581 h 581"/>
                        <a:gd name="T2" fmla="*/ 499 w 959"/>
                        <a:gd name="T3" fmla="*/ 576 h 581"/>
                        <a:gd name="T4" fmla="*/ 941 w 959"/>
                        <a:gd name="T5" fmla="*/ 325 h 581"/>
                        <a:gd name="T6" fmla="*/ 959 w 959"/>
                        <a:gd name="T7" fmla="*/ 291 h 581"/>
                        <a:gd name="T8" fmla="*/ 941 w 959"/>
                        <a:gd name="T9" fmla="*/ 256 h 581"/>
                        <a:gd name="T10" fmla="*/ 499 w 959"/>
                        <a:gd name="T11" fmla="*/ 5 h 581"/>
                        <a:gd name="T12" fmla="*/ 481 w 959"/>
                        <a:gd name="T13" fmla="*/ 0 h 581"/>
                        <a:gd name="T14" fmla="*/ 460 w 959"/>
                        <a:gd name="T15" fmla="*/ 5 h 581"/>
                        <a:gd name="T16" fmla="*/ 18 w 959"/>
                        <a:gd name="T17" fmla="*/ 256 h 581"/>
                        <a:gd name="T18" fmla="*/ 0 w 959"/>
                        <a:gd name="T19" fmla="*/ 291 h 581"/>
                        <a:gd name="T20" fmla="*/ 18 w 959"/>
                        <a:gd name="T21" fmla="*/ 325 h 581"/>
                        <a:gd name="T22" fmla="*/ 460 w 959"/>
                        <a:gd name="T23" fmla="*/ 576 h 581"/>
                        <a:gd name="T24" fmla="*/ 481 w 959"/>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1">
                          <a:moveTo>
                            <a:pt x="481" y="581"/>
                          </a:moveTo>
                          <a:cubicBezTo>
                            <a:pt x="488" y="581"/>
                            <a:pt x="492" y="579"/>
                            <a:pt x="499" y="576"/>
                          </a:cubicBezTo>
                          <a:cubicBezTo>
                            <a:pt x="499" y="576"/>
                            <a:pt x="499" y="576"/>
                            <a:pt x="941" y="325"/>
                          </a:cubicBezTo>
                          <a:cubicBezTo>
                            <a:pt x="952" y="318"/>
                            <a:pt x="959" y="304"/>
                            <a:pt x="959" y="291"/>
                          </a:cubicBezTo>
                          <a:cubicBezTo>
                            <a:pt x="959" y="277"/>
                            <a:pt x="952" y="263"/>
                            <a:pt x="941" y="256"/>
                          </a:cubicBezTo>
                          <a:cubicBezTo>
                            <a:pt x="941" y="256"/>
                            <a:pt x="941" y="256"/>
                            <a:pt x="499" y="5"/>
                          </a:cubicBezTo>
                          <a:cubicBezTo>
                            <a:pt x="492" y="3"/>
                            <a:pt x="488" y="0"/>
                            <a:pt x="481" y="0"/>
                          </a:cubicBezTo>
                          <a:cubicBezTo>
                            <a:pt x="474" y="0"/>
                            <a:pt x="467" y="3"/>
                            <a:pt x="460" y="5"/>
                          </a:cubicBezTo>
                          <a:cubicBezTo>
                            <a:pt x="460" y="5"/>
                            <a:pt x="460" y="5"/>
                            <a:pt x="18" y="256"/>
                          </a:cubicBezTo>
                          <a:cubicBezTo>
                            <a:pt x="7" y="263"/>
                            <a:pt x="0" y="277"/>
                            <a:pt x="0" y="291"/>
                          </a:cubicBezTo>
                          <a:cubicBezTo>
                            <a:pt x="0" y="304"/>
                            <a:pt x="7" y="318"/>
                            <a:pt x="18" y="325"/>
                          </a:cubicBezTo>
                          <a:cubicBezTo>
                            <a:pt x="18" y="325"/>
                            <a:pt x="18" y="325"/>
                            <a:pt x="460" y="576"/>
                          </a:cubicBezTo>
                          <a:cubicBezTo>
                            <a:pt x="467" y="579"/>
                            <a:pt x="474" y="581"/>
                            <a:pt x="481" y="58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19" name="Freeform 41">
                      <a:extLst>
                        <a:ext uri="{FF2B5EF4-FFF2-40B4-BE49-F238E27FC236}">
                          <a16:creationId xmlns:a16="http://schemas.microsoft.com/office/drawing/2014/main" id="{F5786657-0256-4E58-A218-8883B3587744}"/>
                        </a:ext>
                      </a:extLst>
                    </p:cNvPr>
                    <p:cNvSpPr>
                      <a:spLocks/>
                    </p:cNvSpPr>
                    <p:nvPr/>
                  </p:nvSpPr>
                  <p:spPr bwMode="auto">
                    <a:xfrm>
                      <a:off x="4235185" y="1650584"/>
                      <a:ext cx="366090" cy="216538"/>
                    </a:xfrm>
                    <a:custGeom>
                      <a:avLst/>
                      <a:gdLst>
                        <a:gd name="T0" fmla="*/ 479 w 959"/>
                        <a:gd name="T1" fmla="*/ 581 h 581"/>
                        <a:gd name="T2" fmla="*/ 500 w 959"/>
                        <a:gd name="T3" fmla="*/ 574 h 581"/>
                        <a:gd name="T4" fmla="*/ 939 w 959"/>
                        <a:gd name="T5" fmla="*/ 324 h 581"/>
                        <a:gd name="T6" fmla="*/ 959 w 959"/>
                        <a:gd name="T7" fmla="*/ 289 h 581"/>
                        <a:gd name="T8" fmla="*/ 939 w 959"/>
                        <a:gd name="T9" fmla="*/ 258 h 581"/>
                        <a:gd name="T10" fmla="*/ 500 w 959"/>
                        <a:gd name="T11" fmla="*/ 7 h 581"/>
                        <a:gd name="T12" fmla="*/ 479 w 959"/>
                        <a:gd name="T13" fmla="*/ 0 h 581"/>
                        <a:gd name="T14" fmla="*/ 460 w 959"/>
                        <a:gd name="T15" fmla="*/ 7 h 581"/>
                        <a:gd name="T16" fmla="*/ 19 w 959"/>
                        <a:gd name="T17" fmla="*/ 258 h 581"/>
                        <a:gd name="T18" fmla="*/ 0 w 959"/>
                        <a:gd name="T19" fmla="*/ 289 h 581"/>
                        <a:gd name="T20" fmla="*/ 19 w 959"/>
                        <a:gd name="T21" fmla="*/ 324 h 581"/>
                        <a:gd name="T22" fmla="*/ 460 w 959"/>
                        <a:gd name="T23" fmla="*/ 574 h 581"/>
                        <a:gd name="T24" fmla="*/ 479 w 959"/>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1">
                          <a:moveTo>
                            <a:pt x="479" y="581"/>
                          </a:moveTo>
                          <a:cubicBezTo>
                            <a:pt x="486" y="581"/>
                            <a:pt x="493" y="579"/>
                            <a:pt x="500" y="574"/>
                          </a:cubicBezTo>
                          <a:cubicBezTo>
                            <a:pt x="500" y="574"/>
                            <a:pt x="500" y="574"/>
                            <a:pt x="939" y="324"/>
                          </a:cubicBezTo>
                          <a:cubicBezTo>
                            <a:pt x="952" y="317"/>
                            <a:pt x="959" y="305"/>
                            <a:pt x="959" y="289"/>
                          </a:cubicBezTo>
                          <a:cubicBezTo>
                            <a:pt x="959" y="276"/>
                            <a:pt x="952" y="264"/>
                            <a:pt x="939" y="258"/>
                          </a:cubicBezTo>
                          <a:cubicBezTo>
                            <a:pt x="939" y="258"/>
                            <a:pt x="939" y="258"/>
                            <a:pt x="500" y="7"/>
                          </a:cubicBezTo>
                          <a:cubicBezTo>
                            <a:pt x="493" y="3"/>
                            <a:pt x="486" y="0"/>
                            <a:pt x="479" y="0"/>
                          </a:cubicBezTo>
                          <a:cubicBezTo>
                            <a:pt x="472" y="0"/>
                            <a:pt x="465" y="3"/>
                            <a:pt x="460" y="7"/>
                          </a:cubicBezTo>
                          <a:cubicBezTo>
                            <a:pt x="460" y="7"/>
                            <a:pt x="460" y="7"/>
                            <a:pt x="19" y="258"/>
                          </a:cubicBezTo>
                          <a:cubicBezTo>
                            <a:pt x="7" y="264"/>
                            <a:pt x="0" y="276"/>
                            <a:pt x="0" y="289"/>
                          </a:cubicBezTo>
                          <a:cubicBezTo>
                            <a:pt x="0" y="305"/>
                            <a:pt x="7" y="317"/>
                            <a:pt x="19" y="324"/>
                          </a:cubicBezTo>
                          <a:cubicBezTo>
                            <a:pt x="19" y="324"/>
                            <a:pt x="19" y="324"/>
                            <a:pt x="460" y="574"/>
                          </a:cubicBezTo>
                          <a:cubicBezTo>
                            <a:pt x="465" y="579"/>
                            <a:pt x="472" y="581"/>
                            <a:pt x="479" y="58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20" name="Freeform 42">
                      <a:extLst>
                        <a:ext uri="{FF2B5EF4-FFF2-40B4-BE49-F238E27FC236}">
                          <a16:creationId xmlns:a16="http://schemas.microsoft.com/office/drawing/2014/main" id="{66882A30-601C-49DD-B720-E8FDE2E3C6C6}"/>
                        </a:ext>
                      </a:extLst>
                    </p:cNvPr>
                    <p:cNvSpPr>
                      <a:spLocks/>
                    </p:cNvSpPr>
                    <p:nvPr/>
                  </p:nvSpPr>
                  <p:spPr bwMode="auto">
                    <a:xfrm>
                      <a:off x="4003586" y="1521803"/>
                      <a:ext cx="366090" cy="216538"/>
                    </a:xfrm>
                    <a:custGeom>
                      <a:avLst/>
                      <a:gdLst>
                        <a:gd name="T0" fmla="*/ 481 w 959"/>
                        <a:gd name="T1" fmla="*/ 581 h 581"/>
                        <a:gd name="T2" fmla="*/ 499 w 959"/>
                        <a:gd name="T3" fmla="*/ 576 h 581"/>
                        <a:gd name="T4" fmla="*/ 941 w 959"/>
                        <a:gd name="T5" fmla="*/ 325 h 581"/>
                        <a:gd name="T6" fmla="*/ 959 w 959"/>
                        <a:gd name="T7" fmla="*/ 290 h 581"/>
                        <a:gd name="T8" fmla="*/ 941 w 959"/>
                        <a:gd name="T9" fmla="*/ 256 h 581"/>
                        <a:gd name="T10" fmla="*/ 499 w 959"/>
                        <a:gd name="T11" fmla="*/ 5 h 581"/>
                        <a:gd name="T12" fmla="*/ 481 w 959"/>
                        <a:gd name="T13" fmla="*/ 0 h 581"/>
                        <a:gd name="T14" fmla="*/ 460 w 959"/>
                        <a:gd name="T15" fmla="*/ 5 h 581"/>
                        <a:gd name="T16" fmla="*/ 18 w 959"/>
                        <a:gd name="T17" fmla="*/ 256 h 581"/>
                        <a:gd name="T18" fmla="*/ 0 w 959"/>
                        <a:gd name="T19" fmla="*/ 290 h 581"/>
                        <a:gd name="T20" fmla="*/ 18 w 959"/>
                        <a:gd name="T21" fmla="*/ 325 h 581"/>
                        <a:gd name="T22" fmla="*/ 460 w 959"/>
                        <a:gd name="T23" fmla="*/ 576 h 581"/>
                        <a:gd name="T24" fmla="*/ 481 w 959"/>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1">
                          <a:moveTo>
                            <a:pt x="481" y="581"/>
                          </a:moveTo>
                          <a:cubicBezTo>
                            <a:pt x="488" y="581"/>
                            <a:pt x="492" y="578"/>
                            <a:pt x="499" y="576"/>
                          </a:cubicBezTo>
                          <a:cubicBezTo>
                            <a:pt x="499" y="576"/>
                            <a:pt x="499" y="576"/>
                            <a:pt x="941" y="325"/>
                          </a:cubicBezTo>
                          <a:cubicBezTo>
                            <a:pt x="952" y="318"/>
                            <a:pt x="959" y="304"/>
                            <a:pt x="959" y="290"/>
                          </a:cubicBezTo>
                          <a:cubicBezTo>
                            <a:pt x="959" y="277"/>
                            <a:pt x="952" y="263"/>
                            <a:pt x="941" y="256"/>
                          </a:cubicBezTo>
                          <a:cubicBezTo>
                            <a:pt x="941" y="256"/>
                            <a:pt x="941" y="256"/>
                            <a:pt x="499" y="5"/>
                          </a:cubicBezTo>
                          <a:cubicBezTo>
                            <a:pt x="492" y="2"/>
                            <a:pt x="488" y="0"/>
                            <a:pt x="481" y="0"/>
                          </a:cubicBezTo>
                          <a:cubicBezTo>
                            <a:pt x="474" y="0"/>
                            <a:pt x="467" y="2"/>
                            <a:pt x="460" y="5"/>
                          </a:cubicBezTo>
                          <a:cubicBezTo>
                            <a:pt x="460" y="5"/>
                            <a:pt x="460" y="5"/>
                            <a:pt x="18" y="256"/>
                          </a:cubicBezTo>
                          <a:cubicBezTo>
                            <a:pt x="7" y="263"/>
                            <a:pt x="0" y="277"/>
                            <a:pt x="0" y="290"/>
                          </a:cubicBezTo>
                          <a:cubicBezTo>
                            <a:pt x="0" y="304"/>
                            <a:pt x="7" y="318"/>
                            <a:pt x="18" y="325"/>
                          </a:cubicBezTo>
                          <a:cubicBezTo>
                            <a:pt x="18" y="325"/>
                            <a:pt x="18" y="325"/>
                            <a:pt x="460" y="576"/>
                          </a:cubicBezTo>
                          <a:cubicBezTo>
                            <a:pt x="467" y="578"/>
                            <a:pt x="474" y="581"/>
                            <a:pt x="481" y="58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21" name="Freeform 43">
                      <a:extLst>
                        <a:ext uri="{FF2B5EF4-FFF2-40B4-BE49-F238E27FC236}">
                          <a16:creationId xmlns:a16="http://schemas.microsoft.com/office/drawing/2014/main" id="{9F6ADFC1-E074-411E-9DFA-B7B62400255A}"/>
                        </a:ext>
                      </a:extLst>
                    </p:cNvPr>
                    <p:cNvSpPr>
                      <a:spLocks/>
                    </p:cNvSpPr>
                    <p:nvPr/>
                  </p:nvSpPr>
                  <p:spPr bwMode="auto">
                    <a:xfrm>
                      <a:off x="3771470" y="1399254"/>
                      <a:ext cx="372322" cy="216019"/>
                    </a:xfrm>
                    <a:custGeom>
                      <a:avLst/>
                      <a:gdLst>
                        <a:gd name="T0" fmla="*/ 487 w 975"/>
                        <a:gd name="T1" fmla="*/ 580 h 580"/>
                        <a:gd name="T2" fmla="*/ 506 w 975"/>
                        <a:gd name="T3" fmla="*/ 576 h 580"/>
                        <a:gd name="T4" fmla="*/ 954 w 975"/>
                        <a:gd name="T5" fmla="*/ 322 h 580"/>
                        <a:gd name="T6" fmla="*/ 975 w 975"/>
                        <a:gd name="T7" fmla="*/ 290 h 580"/>
                        <a:gd name="T8" fmla="*/ 954 w 975"/>
                        <a:gd name="T9" fmla="*/ 256 h 580"/>
                        <a:gd name="T10" fmla="*/ 506 w 975"/>
                        <a:gd name="T11" fmla="*/ 4 h 580"/>
                        <a:gd name="T12" fmla="*/ 487 w 975"/>
                        <a:gd name="T13" fmla="*/ 0 h 580"/>
                        <a:gd name="T14" fmla="*/ 466 w 975"/>
                        <a:gd name="T15" fmla="*/ 4 h 580"/>
                        <a:gd name="T16" fmla="*/ 21 w 975"/>
                        <a:gd name="T17" fmla="*/ 256 h 580"/>
                        <a:gd name="T18" fmla="*/ 0 w 975"/>
                        <a:gd name="T19" fmla="*/ 290 h 580"/>
                        <a:gd name="T20" fmla="*/ 21 w 975"/>
                        <a:gd name="T21" fmla="*/ 322 h 580"/>
                        <a:gd name="T22" fmla="*/ 466 w 975"/>
                        <a:gd name="T23" fmla="*/ 576 h 580"/>
                        <a:gd name="T24" fmla="*/ 487 w 975"/>
                        <a:gd name="T25" fmla="*/ 58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0">
                          <a:moveTo>
                            <a:pt x="487" y="580"/>
                          </a:moveTo>
                          <a:cubicBezTo>
                            <a:pt x="494" y="580"/>
                            <a:pt x="501" y="578"/>
                            <a:pt x="506" y="576"/>
                          </a:cubicBezTo>
                          <a:cubicBezTo>
                            <a:pt x="506" y="576"/>
                            <a:pt x="506" y="576"/>
                            <a:pt x="954" y="322"/>
                          </a:cubicBezTo>
                          <a:cubicBezTo>
                            <a:pt x="965" y="315"/>
                            <a:pt x="975" y="304"/>
                            <a:pt x="975" y="290"/>
                          </a:cubicBezTo>
                          <a:cubicBezTo>
                            <a:pt x="975" y="276"/>
                            <a:pt x="965" y="262"/>
                            <a:pt x="954" y="256"/>
                          </a:cubicBezTo>
                          <a:cubicBezTo>
                            <a:pt x="954" y="256"/>
                            <a:pt x="954" y="256"/>
                            <a:pt x="506" y="4"/>
                          </a:cubicBezTo>
                          <a:cubicBezTo>
                            <a:pt x="501" y="0"/>
                            <a:pt x="494" y="0"/>
                            <a:pt x="487" y="0"/>
                          </a:cubicBezTo>
                          <a:cubicBezTo>
                            <a:pt x="480" y="0"/>
                            <a:pt x="473" y="0"/>
                            <a:pt x="466" y="4"/>
                          </a:cubicBezTo>
                          <a:cubicBezTo>
                            <a:pt x="466" y="4"/>
                            <a:pt x="466" y="4"/>
                            <a:pt x="21" y="256"/>
                          </a:cubicBezTo>
                          <a:cubicBezTo>
                            <a:pt x="7" y="262"/>
                            <a:pt x="0" y="276"/>
                            <a:pt x="0" y="290"/>
                          </a:cubicBezTo>
                          <a:cubicBezTo>
                            <a:pt x="0" y="304"/>
                            <a:pt x="7" y="315"/>
                            <a:pt x="21" y="322"/>
                          </a:cubicBezTo>
                          <a:cubicBezTo>
                            <a:pt x="21" y="322"/>
                            <a:pt x="21" y="322"/>
                            <a:pt x="466" y="576"/>
                          </a:cubicBezTo>
                          <a:cubicBezTo>
                            <a:pt x="473" y="578"/>
                            <a:pt x="480" y="580"/>
                            <a:pt x="487" y="580"/>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22" name="Freeform 44">
                      <a:extLst>
                        <a:ext uri="{FF2B5EF4-FFF2-40B4-BE49-F238E27FC236}">
                          <a16:creationId xmlns:a16="http://schemas.microsoft.com/office/drawing/2014/main" id="{09D5607B-4B50-434A-B01E-DA13FFC4D47F}"/>
                        </a:ext>
                      </a:extLst>
                    </p:cNvPr>
                    <p:cNvSpPr>
                      <a:spLocks/>
                    </p:cNvSpPr>
                    <p:nvPr/>
                  </p:nvSpPr>
                  <p:spPr bwMode="auto">
                    <a:xfrm>
                      <a:off x="4241415" y="1404966"/>
                      <a:ext cx="372322" cy="216538"/>
                    </a:xfrm>
                    <a:custGeom>
                      <a:avLst/>
                      <a:gdLst>
                        <a:gd name="T0" fmla="*/ 488 w 975"/>
                        <a:gd name="T1" fmla="*/ 581 h 581"/>
                        <a:gd name="T2" fmla="*/ 509 w 975"/>
                        <a:gd name="T3" fmla="*/ 576 h 581"/>
                        <a:gd name="T4" fmla="*/ 954 w 975"/>
                        <a:gd name="T5" fmla="*/ 325 h 581"/>
                        <a:gd name="T6" fmla="*/ 975 w 975"/>
                        <a:gd name="T7" fmla="*/ 291 h 581"/>
                        <a:gd name="T8" fmla="*/ 954 w 975"/>
                        <a:gd name="T9" fmla="*/ 256 h 581"/>
                        <a:gd name="T10" fmla="*/ 509 w 975"/>
                        <a:gd name="T11" fmla="*/ 5 h 581"/>
                        <a:gd name="T12" fmla="*/ 488 w 975"/>
                        <a:gd name="T13" fmla="*/ 0 h 581"/>
                        <a:gd name="T14" fmla="*/ 469 w 975"/>
                        <a:gd name="T15" fmla="*/ 5 h 581"/>
                        <a:gd name="T16" fmla="*/ 21 w 975"/>
                        <a:gd name="T17" fmla="*/ 256 h 581"/>
                        <a:gd name="T18" fmla="*/ 0 w 975"/>
                        <a:gd name="T19" fmla="*/ 291 h 581"/>
                        <a:gd name="T20" fmla="*/ 21 w 975"/>
                        <a:gd name="T21" fmla="*/ 325 h 581"/>
                        <a:gd name="T22" fmla="*/ 469 w 975"/>
                        <a:gd name="T23" fmla="*/ 576 h 581"/>
                        <a:gd name="T24" fmla="*/ 488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8" y="581"/>
                          </a:moveTo>
                          <a:cubicBezTo>
                            <a:pt x="495" y="581"/>
                            <a:pt x="502" y="579"/>
                            <a:pt x="509" y="576"/>
                          </a:cubicBezTo>
                          <a:cubicBezTo>
                            <a:pt x="509" y="576"/>
                            <a:pt x="509" y="576"/>
                            <a:pt x="954" y="325"/>
                          </a:cubicBezTo>
                          <a:cubicBezTo>
                            <a:pt x="968" y="318"/>
                            <a:pt x="975" y="304"/>
                            <a:pt x="975" y="291"/>
                          </a:cubicBezTo>
                          <a:cubicBezTo>
                            <a:pt x="975" y="277"/>
                            <a:pt x="968" y="263"/>
                            <a:pt x="954" y="256"/>
                          </a:cubicBezTo>
                          <a:cubicBezTo>
                            <a:pt x="954" y="256"/>
                            <a:pt x="954" y="256"/>
                            <a:pt x="509" y="5"/>
                          </a:cubicBezTo>
                          <a:cubicBezTo>
                            <a:pt x="502" y="3"/>
                            <a:pt x="495" y="0"/>
                            <a:pt x="488" y="0"/>
                          </a:cubicBezTo>
                          <a:cubicBezTo>
                            <a:pt x="481" y="0"/>
                            <a:pt x="474" y="3"/>
                            <a:pt x="469" y="5"/>
                          </a:cubicBezTo>
                          <a:cubicBezTo>
                            <a:pt x="469" y="5"/>
                            <a:pt x="469" y="5"/>
                            <a:pt x="21" y="256"/>
                          </a:cubicBezTo>
                          <a:cubicBezTo>
                            <a:pt x="10" y="263"/>
                            <a:pt x="0" y="277"/>
                            <a:pt x="0" y="291"/>
                          </a:cubicBezTo>
                          <a:cubicBezTo>
                            <a:pt x="0" y="304"/>
                            <a:pt x="10" y="318"/>
                            <a:pt x="21" y="325"/>
                          </a:cubicBezTo>
                          <a:cubicBezTo>
                            <a:pt x="21" y="325"/>
                            <a:pt x="21" y="325"/>
                            <a:pt x="469" y="576"/>
                          </a:cubicBezTo>
                          <a:cubicBezTo>
                            <a:pt x="474" y="579"/>
                            <a:pt x="481" y="581"/>
                            <a:pt x="488" y="5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23" name="Freeform 45">
                      <a:extLst>
                        <a:ext uri="{FF2B5EF4-FFF2-40B4-BE49-F238E27FC236}">
                          <a16:creationId xmlns:a16="http://schemas.microsoft.com/office/drawing/2014/main" id="{F2C783E9-0C37-4E79-A26A-2833FED703AC}"/>
                        </a:ext>
                      </a:extLst>
                    </p:cNvPr>
                    <p:cNvSpPr>
                      <a:spLocks/>
                    </p:cNvSpPr>
                    <p:nvPr/>
                  </p:nvSpPr>
                  <p:spPr bwMode="auto">
                    <a:xfrm>
                      <a:off x="4009299" y="1276186"/>
                      <a:ext cx="372322" cy="216538"/>
                    </a:xfrm>
                    <a:custGeom>
                      <a:avLst/>
                      <a:gdLst>
                        <a:gd name="T0" fmla="*/ 486 w 975"/>
                        <a:gd name="T1" fmla="*/ 581 h 581"/>
                        <a:gd name="T2" fmla="*/ 507 w 975"/>
                        <a:gd name="T3" fmla="*/ 574 h 581"/>
                        <a:gd name="T4" fmla="*/ 956 w 975"/>
                        <a:gd name="T5" fmla="*/ 323 h 581"/>
                        <a:gd name="T6" fmla="*/ 975 w 975"/>
                        <a:gd name="T7" fmla="*/ 289 h 581"/>
                        <a:gd name="T8" fmla="*/ 956 w 975"/>
                        <a:gd name="T9" fmla="*/ 257 h 581"/>
                        <a:gd name="T10" fmla="*/ 507 w 975"/>
                        <a:gd name="T11" fmla="*/ 7 h 581"/>
                        <a:gd name="T12" fmla="*/ 486 w 975"/>
                        <a:gd name="T13" fmla="*/ 0 h 581"/>
                        <a:gd name="T14" fmla="*/ 468 w 975"/>
                        <a:gd name="T15" fmla="*/ 7 h 581"/>
                        <a:gd name="T16" fmla="*/ 19 w 975"/>
                        <a:gd name="T17" fmla="*/ 257 h 581"/>
                        <a:gd name="T18" fmla="*/ 0 w 975"/>
                        <a:gd name="T19" fmla="*/ 289 h 581"/>
                        <a:gd name="T20" fmla="*/ 19 w 975"/>
                        <a:gd name="T21" fmla="*/ 323 h 581"/>
                        <a:gd name="T22" fmla="*/ 468 w 975"/>
                        <a:gd name="T23" fmla="*/ 574 h 581"/>
                        <a:gd name="T24" fmla="*/ 486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6" y="581"/>
                          </a:moveTo>
                          <a:cubicBezTo>
                            <a:pt x="493" y="581"/>
                            <a:pt x="500" y="578"/>
                            <a:pt x="507" y="574"/>
                          </a:cubicBezTo>
                          <a:cubicBezTo>
                            <a:pt x="507" y="574"/>
                            <a:pt x="507" y="574"/>
                            <a:pt x="956" y="323"/>
                          </a:cubicBezTo>
                          <a:cubicBezTo>
                            <a:pt x="968" y="317"/>
                            <a:pt x="975" y="305"/>
                            <a:pt x="975" y="289"/>
                          </a:cubicBezTo>
                          <a:cubicBezTo>
                            <a:pt x="975" y="276"/>
                            <a:pt x="968" y="264"/>
                            <a:pt x="956" y="257"/>
                          </a:cubicBezTo>
                          <a:cubicBezTo>
                            <a:pt x="956" y="257"/>
                            <a:pt x="956" y="257"/>
                            <a:pt x="507" y="7"/>
                          </a:cubicBezTo>
                          <a:cubicBezTo>
                            <a:pt x="500" y="2"/>
                            <a:pt x="493" y="0"/>
                            <a:pt x="486" y="0"/>
                          </a:cubicBezTo>
                          <a:cubicBezTo>
                            <a:pt x="479" y="0"/>
                            <a:pt x="472" y="2"/>
                            <a:pt x="468" y="7"/>
                          </a:cubicBezTo>
                          <a:cubicBezTo>
                            <a:pt x="468" y="7"/>
                            <a:pt x="468" y="7"/>
                            <a:pt x="19" y="257"/>
                          </a:cubicBezTo>
                          <a:cubicBezTo>
                            <a:pt x="7" y="264"/>
                            <a:pt x="0" y="276"/>
                            <a:pt x="0" y="289"/>
                          </a:cubicBezTo>
                          <a:cubicBezTo>
                            <a:pt x="0" y="305"/>
                            <a:pt x="7" y="317"/>
                            <a:pt x="19" y="323"/>
                          </a:cubicBezTo>
                          <a:cubicBezTo>
                            <a:pt x="19" y="323"/>
                            <a:pt x="19" y="323"/>
                            <a:pt x="468" y="574"/>
                          </a:cubicBezTo>
                          <a:cubicBezTo>
                            <a:pt x="472" y="578"/>
                            <a:pt x="479" y="581"/>
                            <a:pt x="486" y="58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24" name="Freeform 46">
                      <a:extLst>
                        <a:ext uri="{FF2B5EF4-FFF2-40B4-BE49-F238E27FC236}">
                          <a16:creationId xmlns:a16="http://schemas.microsoft.com/office/drawing/2014/main" id="{5E843FF2-9D6F-4198-A60F-3A8CC6315D9B}"/>
                        </a:ext>
                      </a:extLst>
                    </p:cNvPr>
                    <p:cNvSpPr>
                      <a:spLocks/>
                    </p:cNvSpPr>
                    <p:nvPr/>
                  </p:nvSpPr>
                  <p:spPr bwMode="auto">
                    <a:xfrm>
                      <a:off x="4699418" y="1404966"/>
                      <a:ext cx="372322" cy="216538"/>
                    </a:xfrm>
                    <a:custGeom>
                      <a:avLst/>
                      <a:gdLst>
                        <a:gd name="T0" fmla="*/ 489 w 975"/>
                        <a:gd name="T1" fmla="*/ 581 h 581"/>
                        <a:gd name="T2" fmla="*/ 508 w 975"/>
                        <a:gd name="T3" fmla="*/ 576 h 581"/>
                        <a:gd name="T4" fmla="*/ 956 w 975"/>
                        <a:gd name="T5" fmla="*/ 325 h 581"/>
                        <a:gd name="T6" fmla="*/ 975 w 975"/>
                        <a:gd name="T7" fmla="*/ 291 h 581"/>
                        <a:gd name="T8" fmla="*/ 956 w 975"/>
                        <a:gd name="T9" fmla="*/ 256 h 581"/>
                        <a:gd name="T10" fmla="*/ 508 w 975"/>
                        <a:gd name="T11" fmla="*/ 5 h 581"/>
                        <a:gd name="T12" fmla="*/ 489 w 975"/>
                        <a:gd name="T13" fmla="*/ 0 h 581"/>
                        <a:gd name="T14" fmla="*/ 468 w 975"/>
                        <a:gd name="T15" fmla="*/ 5 h 581"/>
                        <a:gd name="T16" fmla="*/ 19 w 975"/>
                        <a:gd name="T17" fmla="*/ 256 h 581"/>
                        <a:gd name="T18" fmla="*/ 0 w 975"/>
                        <a:gd name="T19" fmla="*/ 291 h 581"/>
                        <a:gd name="T20" fmla="*/ 19 w 975"/>
                        <a:gd name="T21" fmla="*/ 325 h 581"/>
                        <a:gd name="T22" fmla="*/ 468 w 975"/>
                        <a:gd name="T23" fmla="*/ 576 h 581"/>
                        <a:gd name="T24" fmla="*/ 489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9" y="581"/>
                          </a:moveTo>
                          <a:cubicBezTo>
                            <a:pt x="496" y="581"/>
                            <a:pt x="501" y="579"/>
                            <a:pt x="508" y="576"/>
                          </a:cubicBezTo>
                          <a:cubicBezTo>
                            <a:pt x="508" y="576"/>
                            <a:pt x="508" y="576"/>
                            <a:pt x="956" y="325"/>
                          </a:cubicBezTo>
                          <a:cubicBezTo>
                            <a:pt x="968" y="318"/>
                            <a:pt x="975" y="304"/>
                            <a:pt x="975" y="291"/>
                          </a:cubicBezTo>
                          <a:cubicBezTo>
                            <a:pt x="975" y="277"/>
                            <a:pt x="968" y="263"/>
                            <a:pt x="956" y="256"/>
                          </a:cubicBezTo>
                          <a:cubicBezTo>
                            <a:pt x="956" y="256"/>
                            <a:pt x="956" y="256"/>
                            <a:pt x="508" y="5"/>
                          </a:cubicBezTo>
                          <a:cubicBezTo>
                            <a:pt x="501" y="3"/>
                            <a:pt x="496" y="0"/>
                            <a:pt x="489" y="0"/>
                          </a:cubicBezTo>
                          <a:cubicBezTo>
                            <a:pt x="482" y="0"/>
                            <a:pt x="475" y="3"/>
                            <a:pt x="468" y="5"/>
                          </a:cubicBezTo>
                          <a:cubicBezTo>
                            <a:pt x="468" y="5"/>
                            <a:pt x="468" y="5"/>
                            <a:pt x="19" y="256"/>
                          </a:cubicBezTo>
                          <a:cubicBezTo>
                            <a:pt x="7" y="263"/>
                            <a:pt x="0" y="277"/>
                            <a:pt x="0" y="291"/>
                          </a:cubicBezTo>
                          <a:cubicBezTo>
                            <a:pt x="0" y="304"/>
                            <a:pt x="7" y="318"/>
                            <a:pt x="19" y="325"/>
                          </a:cubicBezTo>
                          <a:cubicBezTo>
                            <a:pt x="19" y="325"/>
                            <a:pt x="19" y="325"/>
                            <a:pt x="468" y="576"/>
                          </a:cubicBezTo>
                          <a:cubicBezTo>
                            <a:pt x="475" y="579"/>
                            <a:pt x="482" y="581"/>
                            <a:pt x="489" y="58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25" name="Freeform 47">
                      <a:extLst>
                        <a:ext uri="{FF2B5EF4-FFF2-40B4-BE49-F238E27FC236}">
                          <a16:creationId xmlns:a16="http://schemas.microsoft.com/office/drawing/2014/main" id="{B91676B5-E203-44A0-8A9E-E8F3C7FF6A61}"/>
                        </a:ext>
                      </a:extLst>
                    </p:cNvPr>
                    <p:cNvSpPr>
                      <a:spLocks/>
                    </p:cNvSpPr>
                    <p:nvPr/>
                  </p:nvSpPr>
                  <p:spPr bwMode="auto">
                    <a:xfrm>
                      <a:off x="4473532" y="1276186"/>
                      <a:ext cx="366090" cy="216538"/>
                    </a:xfrm>
                    <a:custGeom>
                      <a:avLst/>
                      <a:gdLst>
                        <a:gd name="T0" fmla="*/ 479 w 959"/>
                        <a:gd name="T1" fmla="*/ 581 h 581"/>
                        <a:gd name="T2" fmla="*/ 498 w 959"/>
                        <a:gd name="T3" fmla="*/ 574 h 581"/>
                        <a:gd name="T4" fmla="*/ 938 w 959"/>
                        <a:gd name="T5" fmla="*/ 323 h 581"/>
                        <a:gd name="T6" fmla="*/ 959 w 959"/>
                        <a:gd name="T7" fmla="*/ 289 h 581"/>
                        <a:gd name="T8" fmla="*/ 938 w 959"/>
                        <a:gd name="T9" fmla="*/ 257 h 581"/>
                        <a:gd name="T10" fmla="*/ 498 w 959"/>
                        <a:gd name="T11" fmla="*/ 7 h 581"/>
                        <a:gd name="T12" fmla="*/ 479 w 959"/>
                        <a:gd name="T13" fmla="*/ 0 h 581"/>
                        <a:gd name="T14" fmla="*/ 459 w 959"/>
                        <a:gd name="T15" fmla="*/ 7 h 581"/>
                        <a:gd name="T16" fmla="*/ 20 w 959"/>
                        <a:gd name="T17" fmla="*/ 257 h 581"/>
                        <a:gd name="T18" fmla="*/ 0 w 959"/>
                        <a:gd name="T19" fmla="*/ 289 h 581"/>
                        <a:gd name="T20" fmla="*/ 20 w 959"/>
                        <a:gd name="T21" fmla="*/ 323 h 581"/>
                        <a:gd name="T22" fmla="*/ 459 w 959"/>
                        <a:gd name="T23" fmla="*/ 574 h 581"/>
                        <a:gd name="T24" fmla="*/ 479 w 959"/>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1">
                          <a:moveTo>
                            <a:pt x="479" y="581"/>
                          </a:moveTo>
                          <a:cubicBezTo>
                            <a:pt x="486" y="581"/>
                            <a:pt x="493" y="578"/>
                            <a:pt x="498" y="574"/>
                          </a:cubicBezTo>
                          <a:cubicBezTo>
                            <a:pt x="498" y="574"/>
                            <a:pt x="498" y="574"/>
                            <a:pt x="938" y="323"/>
                          </a:cubicBezTo>
                          <a:cubicBezTo>
                            <a:pt x="950" y="317"/>
                            <a:pt x="959" y="305"/>
                            <a:pt x="959" y="289"/>
                          </a:cubicBezTo>
                          <a:cubicBezTo>
                            <a:pt x="959" y="276"/>
                            <a:pt x="950" y="264"/>
                            <a:pt x="938" y="257"/>
                          </a:cubicBezTo>
                          <a:cubicBezTo>
                            <a:pt x="938" y="257"/>
                            <a:pt x="938" y="257"/>
                            <a:pt x="498" y="7"/>
                          </a:cubicBezTo>
                          <a:cubicBezTo>
                            <a:pt x="493" y="2"/>
                            <a:pt x="486" y="0"/>
                            <a:pt x="479" y="0"/>
                          </a:cubicBezTo>
                          <a:cubicBezTo>
                            <a:pt x="472" y="0"/>
                            <a:pt x="465" y="2"/>
                            <a:pt x="459" y="7"/>
                          </a:cubicBezTo>
                          <a:cubicBezTo>
                            <a:pt x="459" y="7"/>
                            <a:pt x="459" y="7"/>
                            <a:pt x="20" y="257"/>
                          </a:cubicBezTo>
                          <a:cubicBezTo>
                            <a:pt x="7" y="264"/>
                            <a:pt x="0" y="276"/>
                            <a:pt x="0" y="289"/>
                          </a:cubicBezTo>
                          <a:cubicBezTo>
                            <a:pt x="0" y="305"/>
                            <a:pt x="7" y="317"/>
                            <a:pt x="20" y="323"/>
                          </a:cubicBezTo>
                          <a:cubicBezTo>
                            <a:pt x="20" y="323"/>
                            <a:pt x="20" y="323"/>
                            <a:pt x="459" y="574"/>
                          </a:cubicBezTo>
                          <a:cubicBezTo>
                            <a:pt x="465" y="578"/>
                            <a:pt x="472" y="581"/>
                            <a:pt x="479" y="58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26" name="Freeform 48">
                      <a:extLst>
                        <a:ext uri="{FF2B5EF4-FFF2-40B4-BE49-F238E27FC236}">
                          <a16:creationId xmlns:a16="http://schemas.microsoft.com/office/drawing/2014/main" id="{13C7E6DE-91CA-499E-B228-1F36378F11DA}"/>
                        </a:ext>
                      </a:extLst>
                    </p:cNvPr>
                    <p:cNvSpPr>
                      <a:spLocks/>
                    </p:cNvSpPr>
                    <p:nvPr/>
                  </p:nvSpPr>
                  <p:spPr bwMode="auto">
                    <a:xfrm>
                      <a:off x="4931534" y="1276186"/>
                      <a:ext cx="372322" cy="216538"/>
                    </a:xfrm>
                    <a:custGeom>
                      <a:avLst/>
                      <a:gdLst>
                        <a:gd name="T0" fmla="*/ 486 w 975"/>
                        <a:gd name="T1" fmla="*/ 581 h 581"/>
                        <a:gd name="T2" fmla="*/ 507 w 975"/>
                        <a:gd name="T3" fmla="*/ 574 h 581"/>
                        <a:gd name="T4" fmla="*/ 953 w 975"/>
                        <a:gd name="T5" fmla="*/ 323 h 581"/>
                        <a:gd name="T6" fmla="*/ 975 w 975"/>
                        <a:gd name="T7" fmla="*/ 289 h 581"/>
                        <a:gd name="T8" fmla="*/ 953 w 975"/>
                        <a:gd name="T9" fmla="*/ 257 h 581"/>
                        <a:gd name="T10" fmla="*/ 507 w 975"/>
                        <a:gd name="T11" fmla="*/ 7 h 581"/>
                        <a:gd name="T12" fmla="*/ 486 w 975"/>
                        <a:gd name="T13" fmla="*/ 0 h 581"/>
                        <a:gd name="T14" fmla="*/ 467 w 975"/>
                        <a:gd name="T15" fmla="*/ 7 h 581"/>
                        <a:gd name="T16" fmla="*/ 18 w 975"/>
                        <a:gd name="T17" fmla="*/ 257 h 581"/>
                        <a:gd name="T18" fmla="*/ 0 w 975"/>
                        <a:gd name="T19" fmla="*/ 289 h 581"/>
                        <a:gd name="T20" fmla="*/ 18 w 975"/>
                        <a:gd name="T21" fmla="*/ 323 h 581"/>
                        <a:gd name="T22" fmla="*/ 467 w 975"/>
                        <a:gd name="T23" fmla="*/ 574 h 581"/>
                        <a:gd name="T24" fmla="*/ 486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6" y="581"/>
                          </a:moveTo>
                          <a:cubicBezTo>
                            <a:pt x="493" y="581"/>
                            <a:pt x="500" y="578"/>
                            <a:pt x="507" y="574"/>
                          </a:cubicBezTo>
                          <a:cubicBezTo>
                            <a:pt x="507" y="574"/>
                            <a:pt x="507" y="574"/>
                            <a:pt x="953" y="323"/>
                          </a:cubicBezTo>
                          <a:cubicBezTo>
                            <a:pt x="967" y="317"/>
                            <a:pt x="975" y="305"/>
                            <a:pt x="975" y="289"/>
                          </a:cubicBezTo>
                          <a:cubicBezTo>
                            <a:pt x="975" y="276"/>
                            <a:pt x="967" y="264"/>
                            <a:pt x="953" y="257"/>
                          </a:cubicBezTo>
                          <a:cubicBezTo>
                            <a:pt x="953" y="257"/>
                            <a:pt x="953" y="257"/>
                            <a:pt x="507" y="7"/>
                          </a:cubicBezTo>
                          <a:cubicBezTo>
                            <a:pt x="500" y="2"/>
                            <a:pt x="493" y="0"/>
                            <a:pt x="486" y="0"/>
                          </a:cubicBezTo>
                          <a:cubicBezTo>
                            <a:pt x="479" y="0"/>
                            <a:pt x="472" y="2"/>
                            <a:pt x="467" y="7"/>
                          </a:cubicBezTo>
                          <a:cubicBezTo>
                            <a:pt x="467" y="7"/>
                            <a:pt x="467" y="7"/>
                            <a:pt x="18" y="257"/>
                          </a:cubicBezTo>
                          <a:cubicBezTo>
                            <a:pt x="7" y="264"/>
                            <a:pt x="0" y="276"/>
                            <a:pt x="0" y="289"/>
                          </a:cubicBezTo>
                          <a:cubicBezTo>
                            <a:pt x="0" y="305"/>
                            <a:pt x="7" y="317"/>
                            <a:pt x="18" y="323"/>
                          </a:cubicBezTo>
                          <a:cubicBezTo>
                            <a:pt x="18" y="323"/>
                            <a:pt x="18" y="323"/>
                            <a:pt x="467" y="574"/>
                          </a:cubicBezTo>
                          <a:cubicBezTo>
                            <a:pt x="472" y="578"/>
                            <a:pt x="479" y="581"/>
                            <a:pt x="486" y="58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27" name="Freeform 49">
                      <a:extLst>
                        <a:ext uri="{FF2B5EF4-FFF2-40B4-BE49-F238E27FC236}">
                          <a16:creationId xmlns:a16="http://schemas.microsoft.com/office/drawing/2014/main" id="{89236A5F-E96C-494D-A787-3F1675610068}"/>
                        </a:ext>
                      </a:extLst>
                    </p:cNvPr>
                    <p:cNvSpPr>
                      <a:spLocks/>
                    </p:cNvSpPr>
                    <p:nvPr/>
                  </p:nvSpPr>
                  <p:spPr bwMode="auto">
                    <a:xfrm>
                      <a:off x="4699418" y="1153637"/>
                      <a:ext cx="372322" cy="210306"/>
                    </a:xfrm>
                    <a:custGeom>
                      <a:avLst/>
                      <a:gdLst>
                        <a:gd name="T0" fmla="*/ 489 w 975"/>
                        <a:gd name="T1" fmla="*/ 564 h 564"/>
                        <a:gd name="T2" fmla="*/ 508 w 975"/>
                        <a:gd name="T3" fmla="*/ 560 h 564"/>
                        <a:gd name="T4" fmla="*/ 956 w 975"/>
                        <a:gd name="T5" fmla="*/ 315 h 564"/>
                        <a:gd name="T6" fmla="*/ 975 w 975"/>
                        <a:gd name="T7" fmla="*/ 282 h 564"/>
                        <a:gd name="T8" fmla="*/ 956 w 975"/>
                        <a:gd name="T9" fmla="*/ 249 h 564"/>
                        <a:gd name="T10" fmla="*/ 508 w 975"/>
                        <a:gd name="T11" fmla="*/ 4 h 564"/>
                        <a:gd name="T12" fmla="*/ 489 w 975"/>
                        <a:gd name="T13" fmla="*/ 0 h 564"/>
                        <a:gd name="T14" fmla="*/ 468 w 975"/>
                        <a:gd name="T15" fmla="*/ 4 h 564"/>
                        <a:gd name="T16" fmla="*/ 19 w 975"/>
                        <a:gd name="T17" fmla="*/ 249 h 564"/>
                        <a:gd name="T18" fmla="*/ 0 w 975"/>
                        <a:gd name="T19" fmla="*/ 282 h 564"/>
                        <a:gd name="T20" fmla="*/ 19 w 975"/>
                        <a:gd name="T21" fmla="*/ 315 h 564"/>
                        <a:gd name="T22" fmla="*/ 468 w 975"/>
                        <a:gd name="T23" fmla="*/ 560 h 564"/>
                        <a:gd name="T24" fmla="*/ 489 w 975"/>
                        <a:gd name="T25"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64">
                          <a:moveTo>
                            <a:pt x="489" y="564"/>
                          </a:moveTo>
                          <a:cubicBezTo>
                            <a:pt x="496" y="564"/>
                            <a:pt x="501" y="562"/>
                            <a:pt x="508" y="560"/>
                          </a:cubicBezTo>
                          <a:cubicBezTo>
                            <a:pt x="508" y="560"/>
                            <a:pt x="508" y="560"/>
                            <a:pt x="956" y="315"/>
                          </a:cubicBezTo>
                          <a:cubicBezTo>
                            <a:pt x="968" y="309"/>
                            <a:pt x="975" y="295"/>
                            <a:pt x="975" y="282"/>
                          </a:cubicBezTo>
                          <a:cubicBezTo>
                            <a:pt x="975" y="269"/>
                            <a:pt x="968" y="255"/>
                            <a:pt x="956" y="249"/>
                          </a:cubicBezTo>
                          <a:cubicBezTo>
                            <a:pt x="956" y="249"/>
                            <a:pt x="956" y="249"/>
                            <a:pt x="508" y="4"/>
                          </a:cubicBezTo>
                          <a:cubicBezTo>
                            <a:pt x="501" y="2"/>
                            <a:pt x="496" y="0"/>
                            <a:pt x="489" y="0"/>
                          </a:cubicBezTo>
                          <a:cubicBezTo>
                            <a:pt x="482" y="0"/>
                            <a:pt x="475" y="2"/>
                            <a:pt x="468" y="4"/>
                          </a:cubicBezTo>
                          <a:cubicBezTo>
                            <a:pt x="468" y="4"/>
                            <a:pt x="468" y="4"/>
                            <a:pt x="19" y="249"/>
                          </a:cubicBezTo>
                          <a:cubicBezTo>
                            <a:pt x="7" y="255"/>
                            <a:pt x="0" y="269"/>
                            <a:pt x="0" y="282"/>
                          </a:cubicBezTo>
                          <a:cubicBezTo>
                            <a:pt x="0" y="295"/>
                            <a:pt x="7" y="309"/>
                            <a:pt x="19" y="315"/>
                          </a:cubicBezTo>
                          <a:cubicBezTo>
                            <a:pt x="19" y="315"/>
                            <a:pt x="19" y="315"/>
                            <a:pt x="468" y="560"/>
                          </a:cubicBezTo>
                          <a:cubicBezTo>
                            <a:pt x="475" y="562"/>
                            <a:pt x="482" y="564"/>
                            <a:pt x="489" y="564"/>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28" name="Freeform 50">
                      <a:extLst>
                        <a:ext uri="{FF2B5EF4-FFF2-40B4-BE49-F238E27FC236}">
                          <a16:creationId xmlns:a16="http://schemas.microsoft.com/office/drawing/2014/main" id="{3F06ED93-BC46-4B45-8305-EB15FE507E77}"/>
                        </a:ext>
                      </a:extLst>
                    </p:cNvPr>
                    <p:cNvSpPr>
                      <a:spLocks noEditPoints="1"/>
                    </p:cNvSpPr>
                    <p:nvPr/>
                  </p:nvSpPr>
                  <p:spPr bwMode="auto">
                    <a:xfrm>
                      <a:off x="4198315" y="2153761"/>
                      <a:ext cx="402958" cy="456443"/>
                    </a:xfrm>
                    <a:custGeom>
                      <a:avLst/>
                      <a:gdLst>
                        <a:gd name="T0" fmla="*/ 568 w 1055"/>
                        <a:gd name="T1" fmla="*/ 580 h 1224"/>
                        <a:gd name="T2" fmla="*/ 589 w 1055"/>
                        <a:gd name="T3" fmla="*/ 576 h 1224"/>
                        <a:gd name="T4" fmla="*/ 1034 w 1055"/>
                        <a:gd name="T5" fmla="*/ 324 h 1224"/>
                        <a:gd name="T6" fmla="*/ 1055 w 1055"/>
                        <a:gd name="T7" fmla="*/ 290 h 1224"/>
                        <a:gd name="T8" fmla="*/ 1034 w 1055"/>
                        <a:gd name="T9" fmla="*/ 256 h 1224"/>
                        <a:gd name="T10" fmla="*/ 589 w 1055"/>
                        <a:gd name="T11" fmla="*/ 4 h 1224"/>
                        <a:gd name="T12" fmla="*/ 568 w 1055"/>
                        <a:gd name="T13" fmla="*/ 0 h 1224"/>
                        <a:gd name="T14" fmla="*/ 549 w 1055"/>
                        <a:gd name="T15" fmla="*/ 4 h 1224"/>
                        <a:gd name="T16" fmla="*/ 101 w 1055"/>
                        <a:gd name="T17" fmla="*/ 256 h 1224"/>
                        <a:gd name="T18" fmla="*/ 80 w 1055"/>
                        <a:gd name="T19" fmla="*/ 290 h 1224"/>
                        <a:gd name="T20" fmla="*/ 101 w 1055"/>
                        <a:gd name="T21" fmla="*/ 324 h 1224"/>
                        <a:gd name="T22" fmla="*/ 549 w 1055"/>
                        <a:gd name="T23" fmla="*/ 576 h 1224"/>
                        <a:gd name="T24" fmla="*/ 568 w 1055"/>
                        <a:gd name="T25" fmla="*/ 580 h 1224"/>
                        <a:gd name="T26" fmla="*/ 488 w 1055"/>
                        <a:gd name="T27" fmla="*/ 1224 h 1224"/>
                        <a:gd name="T28" fmla="*/ 509 w 1055"/>
                        <a:gd name="T29" fmla="*/ 1219 h 1224"/>
                        <a:gd name="T30" fmla="*/ 528 w 1055"/>
                        <a:gd name="T31" fmla="*/ 1185 h 1224"/>
                        <a:gd name="T32" fmla="*/ 528 w 1055"/>
                        <a:gd name="T33" fmla="*/ 682 h 1224"/>
                        <a:gd name="T34" fmla="*/ 509 w 1055"/>
                        <a:gd name="T35" fmla="*/ 648 h 1224"/>
                        <a:gd name="T36" fmla="*/ 61 w 1055"/>
                        <a:gd name="T37" fmla="*/ 396 h 1224"/>
                        <a:gd name="T38" fmla="*/ 40 w 1055"/>
                        <a:gd name="T39" fmla="*/ 392 h 1224"/>
                        <a:gd name="T40" fmla="*/ 22 w 1055"/>
                        <a:gd name="T41" fmla="*/ 396 h 1224"/>
                        <a:gd name="T42" fmla="*/ 0 w 1055"/>
                        <a:gd name="T43" fmla="*/ 431 h 1224"/>
                        <a:gd name="T44" fmla="*/ 0 w 1055"/>
                        <a:gd name="T45" fmla="*/ 933 h 1224"/>
                        <a:gd name="T46" fmla="*/ 22 w 1055"/>
                        <a:gd name="T47" fmla="*/ 968 h 1224"/>
                        <a:gd name="T48" fmla="*/ 469 w 1055"/>
                        <a:gd name="T49" fmla="*/ 1219 h 1224"/>
                        <a:gd name="T50" fmla="*/ 488 w 1055"/>
                        <a:gd name="T51" fmla="*/ 1224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5" h="1224">
                          <a:moveTo>
                            <a:pt x="568" y="580"/>
                          </a:moveTo>
                          <a:cubicBezTo>
                            <a:pt x="575" y="580"/>
                            <a:pt x="582" y="578"/>
                            <a:pt x="589" y="576"/>
                          </a:cubicBezTo>
                          <a:cubicBezTo>
                            <a:pt x="589" y="576"/>
                            <a:pt x="589" y="576"/>
                            <a:pt x="1034" y="324"/>
                          </a:cubicBezTo>
                          <a:cubicBezTo>
                            <a:pt x="1048" y="317"/>
                            <a:pt x="1055" y="304"/>
                            <a:pt x="1055" y="290"/>
                          </a:cubicBezTo>
                          <a:cubicBezTo>
                            <a:pt x="1055" y="276"/>
                            <a:pt x="1048" y="262"/>
                            <a:pt x="1034" y="256"/>
                          </a:cubicBezTo>
                          <a:cubicBezTo>
                            <a:pt x="1034" y="256"/>
                            <a:pt x="1034" y="256"/>
                            <a:pt x="589" y="4"/>
                          </a:cubicBezTo>
                          <a:cubicBezTo>
                            <a:pt x="582" y="2"/>
                            <a:pt x="575" y="0"/>
                            <a:pt x="568" y="0"/>
                          </a:cubicBezTo>
                          <a:cubicBezTo>
                            <a:pt x="561" y="0"/>
                            <a:pt x="554" y="2"/>
                            <a:pt x="549" y="4"/>
                          </a:cubicBezTo>
                          <a:cubicBezTo>
                            <a:pt x="549" y="4"/>
                            <a:pt x="549" y="4"/>
                            <a:pt x="101" y="256"/>
                          </a:cubicBezTo>
                          <a:cubicBezTo>
                            <a:pt x="90" y="262"/>
                            <a:pt x="80" y="276"/>
                            <a:pt x="80" y="290"/>
                          </a:cubicBezTo>
                          <a:cubicBezTo>
                            <a:pt x="80" y="304"/>
                            <a:pt x="90" y="317"/>
                            <a:pt x="101" y="324"/>
                          </a:cubicBezTo>
                          <a:cubicBezTo>
                            <a:pt x="101" y="324"/>
                            <a:pt x="101" y="324"/>
                            <a:pt x="549" y="576"/>
                          </a:cubicBezTo>
                          <a:cubicBezTo>
                            <a:pt x="554" y="578"/>
                            <a:pt x="561" y="580"/>
                            <a:pt x="568" y="580"/>
                          </a:cubicBezTo>
                          <a:close/>
                          <a:moveTo>
                            <a:pt x="488" y="1224"/>
                          </a:moveTo>
                          <a:cubicBezTo>
                            <a:pt x="495" y="1224"/>
                            <a:pt x="502" y="1221"/>
                            <a:pt x="509" y="1219"/>
                          </a:cubicBezTo>
                          <a:cubicBezTo>
                            <a:pt x="521" y="1212"/>
                            <a:pt x="528" y="1198"/>
                            <a:pt x="528" y="1185"/>
                          </a:cubicBezTo>
                          <a:cubicBezTo>
                            <a:pt x="528" y="1185"/>
                            <a:pt x="528" y="1185"/>
                            <a:pt x="528" y="682"/>
                          </a:cubicBezTo>
                          <a:cubicBezTo>
                            <a:pt x="528" y="668"/>
                            <a:pt x="521" y="655"/>
                            <a:pt x="509" y="648"/>
                          </a:cubicBezTo>
                          <a:cubicBezTo>
                            <a:pt x="509" y="648"/>
                            <a:pt x="509" y="648"/>
                            <a:pt x="61" y="396"/>
                          </a:cubicBezTo>
                          <a:cubicBezTo>
                            <a:pt x="54" y="394"/>
                            <a:pt x="47" y="392"/>
                            <a:pt x="40" y="392"/>
                          </a:cubicBezTo>
                          <a:cubicBezTo>
                            <a:pt x="33" y="392"/>
                            <a:pt x="26" y="394"/>
                            <a:pt x="22" y="396"/>
                          </a:cubicBezTo>
                          <a:cubicBezTo>
                            <a:pt x="10" y="403"/>
                            <a:pt x="0" y="417"/>
                            <a:pt x="0" y="431"/>
                          </a:cubicBezTo>
                          <a:cubicBezTo>
                            <a:pt x="0" y="431"/>
                            <a:pt x="0" y="431"/>
                            <a:pt x="0" y="933"/>
                          </a:cubicBezTo>
                          <a:cubicBezTo>
                            <a:pt x="0" y="947"/>
                            <a:pt x="10" y="961"/>
                            <a:pt x="22" y="968"/>
                          </a:cubicBezTo>
                          <a:cubicBezTo>
                            <a:pt x="22" y="968"/>
                            <a:pt x="22" y="968"/>
                            <a:pt x="469" y="1219"/>
                          </a:cubicBezTo>
                          <a:cubicBezTo>
                            <a:pt x="474" y="1221"/>
                            <a:pt x="481" y="1224"/>
                            <a:pt x="488" y="1224"/>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29" name="Freeform 51">
                      <a:extLst>
                        <a:ext uri="{FF2B5EF4-FFF2-40B4-BE49-F238E27FC236}">
                          <a16:creationId xmlns:a16="http://schemas.microsoft.com/office/drawing/2014/main" id="{08FE0491-63E4-4153-A810-65A5B659A427}"/>
                        </a:ext>
                      </a:extLst>
                    </p:cNvPr>
                    <p:cNvSpPr>
                      <a:spLocks noEditPoints="1"/>
                    </p:cNvSpPr>
                    <p:nvPr/>
                  </p:nvSpPr>
                  <p:spPr bwMode="auto">
                    <a:xfrm>
                      <a:off x="3972950" y="2030693"/>
                      <a:ext cx="396728" cy="450211"/>
                    </a:xfrm>
                    <a:custGeom>
                      <a:avLst/>
                      <a:gdLst>
                        <a:gd name="T0" fmla="*/ 558 w 1039"/>
                        <a:gd name="T1" fmla="*/ 581 h 1208"/>
                        <a:gd name="T2" fmla="*/ 579 w 1039"/>
                        <a:gd name="T3" fmla="*/ 574 h 1208"/>
                        <a:gd name="T4" fmla="*/ 1021 w 1039"/>
                        <a:gd name="T5" fmla="*/ 323 h 1208"/>
                        <a:gd name="T6" fmla="*/ 1039 w 1039"/>
                        <a:gd name="T7" fmla="*/ 289 h 1208"/>
                        <a:gd name="T8" fmla="*/ 1021 w 1039"/>
                        <a:gd name="T9" fmla="*/ 257 h 1208"/>
                        <a:gd name="T10" fmla="*/ 579 w 1039"/>
                        <a:gd name="T11" fmla="*/ 7 h 1208"/>
                        <a:gd name="T12" fmla="*/ 558 w 1039"/>
                        <a:gd name="T13" fmla="*/ 0 h 1208"/>
                        <a:gd name="T14" fmla="*/ 540 w 1039"/>
                        <a:gd name="T15" fmla="*/ 7 h 1208"/>
                        <a:gd name="T16" fmla="*/ 98 w 1039"/>
                        <a:gd name="T17" fmla="*/ 257 h 1208"/>
                        <a:gd name="T18" fmla="*/ 80 w 1039"/>
                        <a:gd name="T19" fmla="*/ 289 h 1208"/>
                        <a:gd name="T20" fmla="*/ 98 w 1039"/>
                        <a:gd name="T21" fmla="*/ 323 h 1208"/>
                        <a:gd name="T22" fmla="*/ 540 w 1039"/>
                        <a:gd name="T23" fmla="*/ 574 h 1208"/>
                        <a:gd name="T24" fmla="*/ 558 w 1039"/>
                        <a:gd name="T25" fmla="*/ 581 h 1208"/>
                        <a:gd name="T26" fmla="*/ 488 w 1039"/>
                        <a:gd name="T27" fmla="*/ 1208 h 1208"/>
                        <a:gd name="T28" fmla="*/ 509 w 1039"/>
                        <a:gd name="T29" fmla="*/ 1201 h 1208"/>
                        <a:gd name="T30" fmla="*/ 528 w 1039"/>
                        <a:gd name="T31" fmla="*/ 1170 h 1208"/>
                        <a:gd name="T32" fmla="*/ 528 w 1039"/>
                        <a:gd name="T33" fmla="*/ 666 h 1208"/>
                        <a:gd name="T34" fmla="*/ 509 w 1039"/>
                        <a:gd name="T35" fmla="*/ 634 h 1208"/>
                        <a:gd name="T36" fmla="*/ 59 w 1039"/>
                        <a:gd name="T37" fmla="*/ 384 h 1208"/>
                        <a:gd name="T38" fmla="*/ 40 w 1039"/>
                        <a:gd name="T39" fmla="*/ 377 h 1208"/>
                        <a:gd name="T40" fmla="*/ 19 w 1039"/>
                        <a:gd name="T41" fmla="*/ 384 h 1208"/>
                        <a:gd name="T42" fmla="*/ 0 w 1039"/>
                        <a:gd name="T43" fmla="*/ 415 h 1208"/>
                        <a:gd name="T44" fmla="*/ 0 w 1039"/>
                        <a:gd name="T45" fmla="*/ 919 h 1208"/>
                        <a:gd name="T46" fmla="*/ 19 w 1039"/>
                        <a:gd name="T47" fmla="*/ 951 h 1208"/>
                        <a:gd name="T48" fmla="*/ 469 w 1039"/>
                        <a:gd name="T49" fmla="*/ 1201 h 1208"/>
                        <a:gd name="T50" fmla="*/ 488 w 1039"/>
                        <a:gd name="T51" fmla="*/ 1208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39" h="1208">
                          <a:moveTo>
                            <a:pt x="558" y="581"/>
                          </a:moveTo>
                          <a:cubicBezTo>
                            <a:pt x="565" y="581"/>
                            <a:pt x="572" y="578"/>
                            <a:pt x="579" y="574"/>
                          </a:cubicBezTo>
                          <a:cubicBezTo>
                            <a:pt x="579" y="574"/>
                            <a:pt x="579" y="574"/>
                            <a:pt x="1021" y="323"/>
                          </a:cubicBezTo>
                          <a:cubicBezTo>
                            <a:pt x="1032" y="317"/>
                            <a:pt x="1039" y="305"/>
                            <a:pt x="1039" y="289"/>
                          </a:cubicBezTo>
                          <a:cubicBezTo>
                            <a:pt x="1039" y="276"/>
                            <a:pt x="1032" y="264"/>
                            <a:pt x="1021" y="257"/>
                          </a:cubicBezTo>
                          <a:cubicBezTo>
                            <a:pt x="1021" y="257"/>
                            <a:pt x="1021" y="257"/>
                            <a:pt x="579" y="7"/>
                          </a:cubicBezTo>
                          <a:cubicBezTo>
                            <a:pt x="572" y="2"/>
                            <a:pt x="565" y="0"/>
                            <a:pt x="558" y="0"/>
                          </a:cubicBezTo>
                          <a:cubicBezTo>
                            <a:pt x="551" y="0"/>
                            <a:pt x="544" y="2"/>
                            <a:pt x="540" y="7"/>
                          </a:cubicBezTo>
                          <a:cubicBezTo>
                            <a:pt x="540" y="7"/>
                            <a:pt x="540" y="7"/>
                            <a:pt x="98" y="257"/>
                          </a:cubicBezTo>
                          <a:cubicBezTo>
                            <a:pt x="87" y="264"/>
                            <a:pt x="80" y="276"/>
                            <a:pt x="80" y="289"/>
                          </a:cubicBezTo>
                          <a:cubicBezTo>
                            <a:pt x="80" y="305"/>
                            <a:pt x="87" y="317"/>
                            <a:pt x="98" y="323"/>
                          </a:cubicBezTo>
                          <a:cubicBezTo>
                            <a:pt x="98" y="323"/>
                            <a:pt x="98" y="323"/>
                            <a:pt x="540" y="574"/>
                          </a:cubicBezTo>
                          <a:cubicBezTo>
                            <a:pt x="544" y="578"/>
                            <a:pt x="551" y="581"/>
                            <a:pt x="558" y="581"/>
                          </a:cubicBezTo>
                          <a:close/>
                          <a:moveTo>
                            <a:pt x="488" y="1208"/>
                          </a:moveTo>
                          <a:cubicBezTo>
                            <a:pt x="495" y="1208"/>
                            <a:pt x="502" y="1206"/>
                            <a:pt x="509" y="1201"/>
                          </a:cubicBezTo>
                          <a:cubicBezTo>
                            <a:pt x="520" y="1195"/>
                            <a:pt x="528" y="1183"/>
                            <a:pt x="528" y="1170"/>
                          </a:cubicBezTo>
                          <a:cubicBezTo>
                            <a:pt x="528" y="1170"/>
                            <a:pt x="528" y="1170"/>
                            <a:pt x="528" y="666"/>
                          </a:cubicBezTo>
                          <a:cubicBezTo>
                            <a:pt x="528" y="652"/>
                            <a:pt x="520" y="641"/>
                            <a:pt x="509" y="634"/>
                          </a:cubicBezTo>
                          <a:cubicBezTo>
                            <a:pt x="509" y="634"/>
                            <a:pt x="509" y="634"/>
                            <a:pt x="59" y="384"/>
                          </a:cubicBezTo>
                          <a:cubicBezTo>
                            <a:pt x="54" y="379"/>
                            <a:pt x="47" y="377"/>
                            <a:pt x="40" y="377"/>
                          </a:cubicBezTo>
                          <a:cubicBezTo>
                            <a:pt x="33" y="377"/>
                            <a:pt x="26" y="379"/>
                            <a:pt x="19" y="384"/>
                          </a:cubicBezTo>
                          <a:cubicBezTo>
                            <a:pt x="7" y="390"/>
                            <a:pt x="0" y="402"/>
                            <a:pt x="0" y="415"/>
                          </a:cubicBezTo>
                          <a:cubicBezTo>
                            <a:pt x="0" y="415"/>
                            <a:pt x="0" y="415"/>
                            <a:pt x="0" y="919"/>
                          </a:cubicBezTo>
                          <a:cubicBezTo>
                            <a:pt x="0" y="933"/>
                            <a:pt x="7" y="944"/>
                            <a:pt x="19" y="951"/>
                          </a:cubicBezTo>
                          <a:cubicBezTo>
                            <a:pt x="19" y="951"/>
                            <a:pt x="19" y="951"/>
                            <a:pt x="469" y="1201"/>
                          </a:cubicBezTo>
                          <a:cubicBezTo>
                            <a:pt x="473" y="1206"/>
                            <a:pt x="480" y="1208"/>
                            <a:pt x="488" y="1208"/>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30" name="Freeform 52">
                      <a:extLst>
                        <a:ext uri="{FF2B5EF4-FFF2-40B4-BE49-F238E27FC236}">
                          <a16:creationId xmlns:a16="http://schemas.microsoft.com/office/drawing/2014/main" id="{8D92497D-D87A-46F6-9671-314B71B4A52E}"/>
                        </a:ext>
                      </a:extLst>
                    </p:cNvPr>
                    <p:cNvSpPr>
                      <a:spLocks/>
                    </p:cNvSpPr>
                    <p:nvPr/>
                  </p:nvSpPr>
                  <p:spPr bwMode="auto">
                    <a:xfrm>
                      <a:off x="4198315" y="2557238"/>
                      <a:ext cx="201999" cy="303776"/>
                    </a:xfrm>
                    <a:custGeom>
                      <a:avLst/>
                      <a:gdLst>
                        <a:gd name="T0" fmla="*/ 488 w 528"/>
                        <a:gd name="T1" fmla="*/ 816 h 816"/>
                        <a:gd name="T2" fmla="*/ 509 w 528"/>
                        <a:gd name="T3" fmla="*/ 812 h 816"/>
                        <a:gd name="T4" fmla="*/ 528 w 528"/>
                        <a:gd name="T5" fmla="*/ 778 h 816"/>
                        <a:gd name="T6" fmla="*/ 528 w 528"/>
                        <a:gd name="T7" fmla="*/ 285 h 816"/>
                        <a:gd name="T8" fmla="*/ 509 w 528"/>
                        <a:gd name="T9" fmla="*/ 251 h 816"/>
                        <a:gd name="T10" fmla="*/ 61 w 528"/>
                        <a:gd name="T11" fmla="*/ 5 h 816"/>
                        <a:gd name="T12" fmla="*/ 40 w 528"/>
                        <a:gd name="T13" fmla="*/ 0 h 816"/>
                        <a:gd name="T14" fmla="*/ 22 w 528"/>
                        <a:gd name="T15" fmla="*/ 5 h 816"/>
                        <a:gd name="T16" fmla="*/ 0 w 528"/>
                        <a:gd name="T17" fmla="*/ 38 h 816"/>
                        <a:gd name="T18" fmla="*/ 0 w 528"/>
                        <a:gd name="T19" fmla="*/ 532 h 816"/>
                        <a:gd name="T20" fmla="*/ 22 w 528"/>
                        <a:gd name="T21" fmla="*/ 563 h 816"/>
                        <a:gd name="T22" fmla="*/ 469 w 528"/>
                        <a:gd name="T23" fmla="*/ 812 h 816"/>
                        <a:gd name="T24" fmla="*/ 488 w 528"/>
                        <a:gd name="T25" fmla="*/ 81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16">
                          <a:moveTo>
                            <a:pt x="488" y="816"/>
                          </a:moveTo>
                          <a:cubicBezTo>
                            <a:pt x="495" y="816"/>
                            <a:pt x="502" y="814"/>
                            <a:pt x="509" y="812"/>
                          </a:cubicBezTo>
                          <a:cubicBezTo>
                            <a:pt x="521" y="805"/>
                            <a:pt x="528" y="792"/>
                            <a:pt x="528" y="778"/>
                          </a:cubicBezTo>
                          <a:cubicBezTo>
                            <a:pt x="528" y="778"/>
                            <a:pt x="528" y="778"/>
                            <a:pt x="528" y="285"/>
                          </a:cubicBezTo>
                          <a:cubicBezTo>
                            <a:pt x="528" y="272"/>
                            <a:pt x="521" y="258"/>
                            <a:pt x="509" y="251"/>
                          </a:cubicBezTo>
                          <a:cubicBezTo>
                            <a:pt x="509" y="251"/>
                            <a:pt x="509" y="251"/>
                            <a:pt x="61" y="5"/>
                          </a:cubicBezTo>
                          <a:cubicBezTo>
                            <a:pt x="54" y="0"/>
                            <a:pt x="47" y="0"/>
                            <a:pt x="40" y="0"/>
                          </a:cubicBezTo>
                          <a:cubicBezTo>
                            <a:pt x="33" y="0"/>
                            <a:pt x="26" y="0"/>
                            <a:pt x="22" y="5"/>
                          </a:cubicBezTo>
                          <a:cubicBezTo>
                            <a:pt x="10" y="11"/>
                            <a:pt x="0" y="23"/>
                            <a:pt x="0" y="38"/>
                          </a:cubicBezTo>
                          <a:cubicBezTo>
                            <a:pt x="0" y="38"/>
                            <a:pt x="0" y="38"/>
                            <a:pt x="0" y="532"/>
                          </a:cubicBezTo>
                          <a:cubicBezTo>
                            <a:pt x="0" y="545"/>
                            <a:pt x="10" y="556"/>
                            <a:pt x="22" y="563"/>
                          </a:cubicBezTo>
                          <a:cubicBezTo>
                            <a:pt x="22" y="563"/>
                            <a:pt x="22" y="563"/>
                            <a:pt x="469" y="812"/>
                          </a:cubicBezTo>
                          <a:cubicBezTo>
                            <a:pt x="474" y="814"/>
                            <a:pt x="481" y="816"/>
                            <a:pt x="488" y="816"/>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31" name="Freeform 53">
                      <a:extLst>
                        <a:ext uri="{FF2B5EF4-FFF2-40B4-BE49-F238E27FC236}">
                          <a16:creationId xmlns:a16="http://schemas.microsoft.com/office/drawing/2014/main" id="{93FEE595-28EB-4162-94BE-452086EAEB31}"/>
                        </a:ext>
                      </a:extLst>
                    </p:cNvPr>
                    <p:cNvSpPr>
                      <a:spLocks/>
                    </p:cNvSpPr>
                    <p:nvPr/>
                  </p:nvSpPr>
                  <p:spPr bwMode="auto">
                    <a:xfrm>
                      <a:off x="3972950" y="2428458"/>
                      <a:ext cx="201480" cy="310008"/>
                    </a:xfrm>
                    <a:custGeom>
                      <a:avLst/>
                      <a:gdLst>
                        <a:gd name="T0" fmla="*/ 488 w 528"/>
                        <a:gd name="T1" fmla="*/ 832 h 832"/>
                        <a:gd name="T2" fmla="*/ 509 w 528"/>
                        <a:gd name="T3" fmla="*/ 827 h 832"/>
                        <a:gd name="T4" fmla="*/ 528 w 528"/>
                        <a:gd name="T5" fmla="*/ 793 h 832"/>
                        <a:gd name="T6" fmla="*/ 528 w 528"/>
                        <a:gd name="T7" fmla="*/ 290 h 832"/>
                        <a:gd name="T8" fmla="*/ 509 w 528"/>
                        <a:gd name="T9" fmla="*/ 258 h 832"/>
                        <a:gd name="T10" fmla="*/ 59 w 528"/>
                        <a:gd name="T11" fmla="*/ 5 h 832"/>
                        <a:gd name="T12" fmla="*/ 40 w 528"/>
                        <a:gd name="T13" fmla="*/ 0 h 832"/>
                        <a:gd name="T14" fmla="*/ 19 w 528"/>
                        <a:gd name="T15" fmla="*/ 5 h 832"/>
                        <a:gd name="T16" fmla="*/ 0 w 528"/>
                        <a:gd name="T17" fmla="*/ 39 h 832"/>
                        <a:gd name="T18" fmla="*/ 0 w 528"/>
                        <a:gd name="T19" fmla="*/ 542 h 832"/>
                        <a:gd name="T20" fmla="*/ 19 w 528"/>
                        <a:gd name="T21" fmla="*/ 576 h 832"/>
                        <a:gd name="T22" fmla="*/ 469 w 528"/>
                        <a:gd name="T23" fmla="*/ 827 h 832"/>
                        <a:gd name="T24" fmla="*/ 488 w 528"/>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2">
                          <a:moveTo>
                            <a:pt x="488" y="832"/>
                          </a:moveTo>
                          <a:cubicBezTo>
                            <a:pt x="495" y="832"/>
                            <a:pt x="502" y="832"/>
                            <a:pt x="509" y="827"/>
                          </a:cubicBezTo>
                          <a:cubicBezTo>
                            <a:pt x="520" y="820"/>
                            <a:pt x="528" y="809"/>
                            <a:pt x="528" y="793"/>
                          </a:cubicBezTo>
                          <a:cubicBezTo>
                            <a:pt x="528" y="793"/>
                            <a:pt x="528" y="793"/>
                            <a:pt x="528" y="290"/>
                          </a:cubicBezTo>
                          <a:cubicBezTo>
                            <a:pt x="528" y="277"/>
                            <a:pt x="520" y="265"/>
                            <a:pt x="509" y="258"/>
                          </a:cubicBezTo>
                          <a:cubicBezTo>
                            <a:pt x="509" y="258"/>
                            <a:pt x="509" y="258"/>
                            <a:pt x="59" y="5"/>
                          </a:cubicBezTo>
                          <a:cubicBezTo>
                            <a:pt x="54" y="2"/>
                            <a:pt x="47" y="0"/>
                            <a:pt x="40" y="0"/>
                          </a:cubicBezTo>
                          <a:cubicBezTo>
                            <a:pt x="33" y="0"/>
                            <a:pt x="26" y="2"/>
                            <a:pt x="19" y="5"/>
                          </a:cubicBezTo>
                          <a:cubicBezTo>
                            <a:pt x="7" y="12"/>
                            <a:pt x="0" y="25"/>
                            <a:pt x="0" y="39"/>
                          </a:cubicBezTo>
                          <a:cubicBezTo>
                            <a:pt x="0" y="39"/>
                            <a:pt x="0" y="39"/>
                            <a:pt x="0" y="542"/>
                          </a:cubicBezTo>
                          <a:cubicBezTo>
                            <a:pt x="0" y="555"/>
                            <a:pt x="7" y="569"/>
                            <a:pt x="19" y="576"/>
                          </a:cubicBezTo>
                          <a:cubicBezTo>
                            <a:pt x="19" y="576"/>
                            <a:pt x="19" y="576"/>
                            <a:pt x="469" y="827"/>
                          </a:cubicBezTo>
                          <a:cubicBezTo>
                            <a:pt x="473" y="832"/>
                            <a:pt x="480" y="832"/>
                            <a:pt x="488"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32" name="Freeform 54">
                      <a:extLst>
                        <a:ext uri="{FF2B5EF4-FFF2-40B4-BE49-F238E27FC236}">
                          <a16:creationId xmlns:a16="http://schemas.microsoft.com/office/drawing/2014/main" id="{C34D41EB-0713-48D3-B6E2-1DC224DEE250}"/>
                        </a:ext>
                      </a:extLst>
                    </p:cNvPr>
                    <p:cNvSpPr>
                      <a:spLocks/>
                    </p:cNvSpPr>
                    <p:nvPr/>
                  </p:nvSpPr>
                  <p:spPr bwMode="auto">
                    <a:xfrm>
                      <a:off x="4198315" y="2808567"/>
                      <a:ext cx="201999" cy="310008"/>
                    </a:xfrm>
                    <a:custGeom>
                      <a:avLst/>
                      <a:gdLst>
                        <a:gd name="T0" fmla="*/ 488 w 528"/>
                        <a:gd name="T1" fmla="*/ 832 h 832"/>
                        <a:gd name="T2" fmla="*/ 509 w 528"/>
                        <a:gd name="T3" fmla="*/ 825 h 832"/>
                        <a:gd name="T4" fmla="*/ 528 w 528"/>
                        <a:gd name="T5" fmla="*/ 793 h 832"/>
                        <a:gd name="T6" fmla="*/ 528 w 528"/>
                        <a:gd name="T7" fmla="*/ 289 h 832"/>
                        <a:gd name="T8" fmla="*/ 509 w 528"/>
                        <a:gd name="T9" fmla="*/ 257 h 832"/>
                        <a:gd name="T10" fmla="*/ 61 w 528"/>
                        <a:gd name="T11" fmla="*/ 7 h 832"/>
                        <a:gd name="T12" fmla="*/ 40 w 528"/>
                        <a:gd name="T13" fmla="*/ 0 h 832"/>
                        <a:gd name="T14" fmla="*/ 22 w 528"/>
                        <a:gd name="T15" fmla="*/ 7 h 832"/>
                        <a:gd name="T16" fmla="*/ 0 w 528"/>
                        <a:gd name="T17" fmla="*/ 39 h 832"/>
                        <a:gd name="T18" fmla="*/ 0 w 528"/>
                        <a:gd name="T19" fmla="*/ 542 h 832"/>
                        <a:gd name="T20" fmla="*/ 22 w 528"/>
                        <a:gd name="T21" fmla="*/ 574 h 832"/>
                        <a:gd name="T22" fmla="*/ 469 w 528"/>
                        <a:gd name="T23" fmla="*/ 825 h 832"/>
                        <a:gd name="T24" fmla="*/ 488 w 528"/>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2">
                          <a:moveTo>
                            <a:pt x="488" y="832"/>
                          </a:moveTo>
                          <a:cubicBezTo>
                            <a:pt x="495" y="832"/>
                            <a:pt x="502" y="829"/>
                            <a:pt x="509" y="825"/>
                          </a:cubicBezTo>
                          <a:cubicBezTo>
                            <a:pt x="521" y="818"/>
                            <a:pt x="528" y="807"/>
                            <a:pt x="528" y="793"/>
                          </a:cubicBezTo>
                          <a:cubicBezTo>
                            <a:pt x="528" y="793"/>
                            <a:pt x="528" y="793"/>
                            <a:pt x="528" y="289"/>
                          </a:cubicBezTo>
                          <a:cubicBezTo>
                            <a:pt x="528" y="276"/>
                            <a:pt x="521" y="264"/>
                            <a:pt x="509" y="257"/>
                          </a:cubicBezTo>
                          <a:cubicBezTo>
                            <a:pt x="509" y="257"/>
                            <a:pt x="509" y="257"/>
                            <a:pt x="61" y="7"/>
                          </a:cubicBezTo>
                          <a:cubicBezTo>
                            <a:pt x="54" y="2"/>
                            <a:pt x="47" y="0"/>
                            <a:pt x="40" y="0"/>
                          </a:cubicBezTo>
                          <a:cubicBezTo>
                            <a:pt x="33" y="0"/>
                            <a:pt x="26" y="2"/>
                            <a:pt x="22" y="7"/>
                          </a:cubicBezTo>
                          <a:cubicBezTo>
                            <a:pt x="10" y="14"/>
                            <a:pt x="0" y="25"/>
                            <a:pt x="0" y="39"/>
                          </a:cubicBezTo>
                          <a:cubicBezTo>
                            <a:pt x="0" y="39"/>
                            <a:pt x="0" y="39"/>
                            <a:pt x="0" y="542"/>
                          </a:cubicBezTo>
                          <a:cubicBezTo>
                            <a:pt x="0" y="556"/>
                            <a:pt x="10" y="567"/>
                            <a:pt x="22" y="574"/>
                          </a:cubicBezTo>
                          <a:cubicBezTo>
                            <a:pt x="22" y="574"/>
                            <a:pt x="22" y="574"/>
                            <a:pt x="469" y="825"/>
                          </a:cubicBezTo>
                          <a:cubicBezTo>
                            <a:pt x="474" y="829"/>
                            <a:pt x="481" y="832"/>
                            <a:pt x="488"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33" name="Freeform 55">
                      <a:extLst>
                        <a:ext uri="{FF2B5EF4-FFF2-40B4-BE49-F238E27FC236}">
                          <a16:creationId xmlns:a16="http://schemas.microsoft.com/office/drawing/2014/main" id="{96DCAB78-F6BF-4000-968A-43FEF76510DE}"/>
                        </a:ext>
                      </a:extLst>
                    </p:cNvPr>
                    <p:cNvSpPr>
                      <a:spLocks noEditPoints="1"/>
                    </p:cNvSpPr>
                    <p:nvPr/>
                  </p:nvSpPr>
                  <p:spPr bwMode="auto">
                    <a:xfrm>
                      <a:off x="4693187" y="2153761"/>
                      <a:ext cx="396728" cy="456443"/>
                    </a:xfrm>
                    <a:custGeom>
                      <a:avLst/>
                      <a:gdLst>
                        <a:gd name="T0" fmla="*/ 481 w 1039"/>
                        <a:gd name="T1" fmla="*/ 580 h 1224"/>
                        <a:gd name="T2" fmla="*/ 499 w 1039"/>
                        <a:gd name="T3" fmla="*/ 576 h 1224"/>
                        <a:gd name="T4" fmla="*/ 941 w 1039"/>
                        <a:gd name="T5" fmla="*/ 324 h 1224"/>
                        <a:gd name="T6" fmla="*/ 959 w 1039"/>
                        <a:gd name="T7" fmla="*/ 290 h 1224"/>
                        <a:gd name="T8" fmla="*/ 941 w 1039"/>
                        <a:gd name="T9" fmla="*/ 256 h 1224"/>
                        <a:gd name="T10" fmla="*/ 499 w 1039"/>
                        <a:gd name="T11" fmla="*/ 4 h 1224"/>
                        <a:gd name="T12" fmla="*/ 481 w 1039"/>
                        <a:gd name="T13" fmla="*/ 0 h 1224"/>
                        <a:gd name="T14" fmla="*/ 460 w 1039"/>
                        <a:gd name="T15" fmla="*/ 4 h 1224"/>
                        <a:gd name="T16" fmla="*/ 19 w 1039"/>
                        <a:gd name="T17" fmla="*/ 256 h 1224"/>
                        <a:gd name="T18" fmla="*/ 0 w 1039"/>
                        <a:gd name="T19" fmla="*/ 290 h 1224"/>
                        <a:gd name="T20" fmla="*/ 19 w 1039"/>
                        <a:gd name="T21" fmla="*/ 324 h 1224"/>
                        <a:gd name="T22" fmla="*/ 460 w 1039"/>
                        <a:gd name="T23" fmla="*/ 576 h 1224"/>
                        <a:gd name="T24" fmla="*/ 481 w 1039"/>
                        <a:gd name="T25" fmla="*/ 580 h 1224"/>
                        <a:gd name="T26" fmla="*/ 566 w 1039"/>
                        <a:gd name="T27" fmla="*/ 1224 h 1224"/>
                        <a:gd name="T28" fmla="*/ 585 w 1039"/>
                        <a:gd name="T29" fmla="*/ 1219 h 1224"/>
                        <a:gd name="T30" fmla="*/ 1021 w 1039"/>
                        <a:gd name="T31" fmla="*/ 968 h 1224"/>
                        <a:gd name="T32" fmla="*/ 1039 w 1039"/>
                        <a:gd name="T33" fmla="*/ 933 h 1224"/>
                        <a:gd name="T34" fmla="*/ 1039 w 1039"/>
                        <a:gd name="T35" fmla="*/ 431 h 1224"/>
                        <a:gd name="T36" fmla="*/ 1021 w 1039"/>
                        <a:gd name="T37" fmla="*/ 396 h 1224"/>
                        <a:gd name="T38" fmla="*/ 1000 w 1039"/>
                        <a:gd name="T39" fmla="*/ 392 h 1224"/>
                        <a:gd name="T40" fmla="*/ 982 w 1039"/>
                        <a:gd name="T41" fmla="*/ 396 h 1224"/>
                        <a:gd name="T42" fmla="*/ 546 w 1039"/>
                        <a:gd name="T43" fmla="*/ 648 h 1224"/>
                        <a:gd name="T44" fmla="*/ 528 w 1039"/>
                        <a:gd name="T45" fmla="*/ 682 h 1224"/>
                        <a:gd name="T46" fmla="*/ 528 w 1039"/>
                        <a:gd name="T47" fmla="*/ 1185 h 1224"/>
                        <a:gd name="T48" fmla="*/ 546 w 1039"/>
                        <a:gd name="T49" fmla="*/ 1219 h 1224"/>
                        <a:gd name="T50" fmla="*/ 566 w 1039"/>
                        <a:gd name="T51" fmla="*/ 1224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39" h="1224">
                          <a:moveTo>
                            <a:pt x="481" y="580"/>
                          </a:moveTo>
                          <a:cubicBezTo>
                            <a:pt x="488" y="580"/>
                            <a:pt x="492" y="578"/>
                            <a:pt x="499" y="576"/>
                          </a:cubicBezTo>
                          <a:cubicBezTo>
                            <a:pt x="499" y="576"/>
                            <a:pt x="499" y="576"/>
                            <a:pt x="941" y="324"/>
                          </a:cubicBezTo>
                          <a:cubicBezTo>
                            <a:pt x="952" y="317"/>
                            <a:pt x="959" y="304"/>
                            <a:pt x="959" y="290"/>
                          </a:cubicBezTo>
                          <a:cubicBezTo>
                            <a:pt x="959" y="276"/>
                            <a:pt x="952" y="262"/>
                            <a:pt x="941" y="256"/>
                          </a:cubicBezTo>
                          <a:cubicBezTo>
                            <a:pt x="941" y="256"/>
                            <a:pt x="941" y="256"/>
                            <a:pt x="499" y="4"/>
                          </a:cubicBezTo>
                          <a:cubicBezTo>
                            <a:pt x="492" y="2"/>
                            <a:pt x="488" y="0"/>
                            <a:pt x="481" y="0"/>
                          </a:cubicBezTo>
                          <a:cubicBezTo>
                            <a:pt x="474" y="0"/>
                            <a:pt x="467" y="2"/>
                            <a:pt x="460" y="4"/>
                          </a:cubicBezTo>
                          <a:cubicBezTo>
                            <a:pt x="460" y="4"/>
                            <a:pt x="460" y="4"/>
                            <a:pt x="19" y="256"/>
                          </a:cubicBezTo>
                          <a:cubicBezTo>
                            <a:pt x="7" y="262"/>
                            <a:pt x="0" y="276"/>
                            <a:pt x="0" y="290"/>
                          </a:cubicBezTo>
                          <a:cubicBezTo>
                            <a:pt x="0" y="304"/>
                            <a:pt x="7" y="317"/>
                            <a:pt x="19" y="324"/>
                          </a:cubicBezTo>
                          <a:cubicBezTo>
                            <a:pt x="19" y="324"/>
                            <a:pt x="19" y="324"/>
                            <a:pt x="460" y="576"/>
                          </a:cubicBezTo>
                          <a:cubicBezTo>
                            <a:pt x="467" y="578"/>
                            <a:pt x="474" y="580"/>
                            <a:pt x="481" y="580"/>
                          </a:cubicBezTo>
                          <a:close/>
                          <a:moveTo>
                            <a:pt x="566" y="1224"/>
                          </a:moveTo>
                          <a:cubicBezTo>
                            <a:pt x="573" y="1224"/>
                            <a:pt x="578" y="1221"/>
                            <a:pt x="585" y="1219"/>
                          </a:cubicBezTo>
                          <a:cubicBezTo>
                            <a:pt x="585" y="1219"/>
                            <a:pt x="585" y="1219"/>
                            <a:pt x="1021" y="968"/>
                          </a:cubicBezTo>
                          <a:cubicBezTo>
                            <a:pt x="1032" y="961"/>
                            <a:pt x="1039" y="947"/>
                            <a:pt x="1039" y="933"/>
                          </a:cubicBezTo>
                          <a:cubicBezTo>
                            <a:pt x="1039" y="933"/>
                            <a:pt x="1039" y="933"/>
                            <a:pt x="1039" y="431"/>
                          </a:cubicBezTo>
                          <a:cubicBezTo>
                            <a:pt x="1039" y="417"/>
                            <a:pt x="1032" y="403"/>
                            <a:pt x="1021" y="396"/>
                          </a:cubicBezTo>
                          <a:cubicBezTo>
                            <a:pt x="1014" y="394"/>
                            <a:pt x="1007" y="392"/>
                            <a:pt x="1000" y="392"/>
                          </a:cubicBezTo>
                          <a:cubicBezTo>
                            <a:pt x="993" y="392"/>
                            <a:pt x="987" y="394"/>
                            <a:pt x="982" y="396"/>
                          </a:cubicBezTo>
                          <a:cubicBezTo>
                            <a:pt x="982" y="396"/>
                            <a:pt x="982" y="396"/>
                            <a:pt x="546" y="648"/>
                          </a:cubicBezTo>
                          <a:cubicBezTo>
                            <a:pt x="534" y="655"/>
                            <a:pt x="528" y="668"/>
                            <a:pt x="528" y="682"/>
                          </a:cubicBezTo>
                          <a:cubicBezTo>
                            <a:pt x="528" y="682"/>
                            <a:pt x="528" y="682"/>
                            <a:pt x="528" y="1185"/>
                          </a:cubicBezTo>
                          <a:cubicBezTo>
                            <a:pt x="528" y="1198"/>
                            <a:pt x="534" y="1212"/>
                            <a:pt x="546" y="1219"/>
                          </a:cubicBezTo>
                          <a:cubicBezTo>
                            <a:pt x="553" y="1221"/>
                            <a:pt x="560" y="1224"/>
                            <a:pt x="566" y="1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34" name="Freeform 56">
                      <a:extLst>
                        <a:ext uri="{FF2B5EF4-FFF2-40B4-BE49-F238E27FC236}">
                          <a16:creationId xmlns:a16="http://schemas.microsoft.com/office/drawing/2014/main" id="{A8CD48E1-166F-453E-AAC5-5EFFFA347972}"/>
                        </a:ext>
                      </a:extLst>
                    </p:cNvPr>
                    <p:cNvSpPr>
                      <a:spLocks noEditPoints="1"/>
                    </p:cNvSpPr>
                    <p:nvPr/>
                  </p:nvSpPr>
                  <p:spPr bwMode="auto">
                    <a:xfrm>
                      <a:off x="5395249" y="1785076"/>
                      <a:ext cx="384265" cy="450211"/>
                    </a:xfrm>
                    <a:custGeom>
                      <a:avLst/>
                      <a:gdLst>
                        <a:gd name="T0" fmla="*/ 481 w 1007"/>
                        <a:gd name="T1" fmla="*/ 565 h 1208"/>
                        <a:gd name="T2" fmla="*/ 499 w 1007"/>
                        <a:gd name="T3" fmla="*/ 561 h 1208"/>
                        <a:gd name="T4" fmla="*/ 941 w 1007"/>
                        <a:gd name="T5" fmla="*/ 316 h 1208"/>
                        <a:gd name="T6" fmla="*/ 959 w 1007"/>
                        <a:gd name="T7" fmla="*/ 283 h 1208"/>
                        <a:gd name="T8" fmla="*/ 941 w 1007"/>
                        <a:gd name="T9" fmla="*/ 249 h 1208"/>
                        <a:gd name="T10" fmla="*/ 499 w 1007"/>
                        <a:gd name="T11" fmla="*/ 5 h 1208"/>
                        <a:gd name="T12" fmla="*/ 481 w 1007"/>
                        <a:gd name="T13" fmla="*/ 0 h 1208"/>
                        <a:gd name="T14" fmla="*/ 460 w 1007"/>
                        <a:gd name="T15" fmla="*/ 5 h 1208"/>
                        <a:gd name="T16" fmla="*/ 19 w 1007"/>
                        <a:gd name="T17" fmla="*/ 249 h 1208"/>
                        <a:gd name="T18" fmla="*/ 0 w 1007"/>
                        <a:gd name="T19" fmla="*/ 283 h 1208"/>
                        <a:gd name="T20" fmla="*/ 19 w 1007"/>
                        <a:gd name="T21" fmla="*/ 316 h 1208"/>
                        <a:gd name="T22" fmla="*/ 460 w 1007"/>
                        <a:gd name="T23" fmla="*/ 561 h 1208"/>
                        <a:gd name="T24" fmla="*/ 481 w 1007"/>
                        <a:gd name="T25" fmla="*/ 565 h 1208"/>
                        <a:gd name="T26" fmla="*/ 520 w 1007"/>
                        <a:gd name="T27" fmla="*/ 1208 h 1208"/>
                        <a:gd name="T28" fmla="*/ 539 w 1007"/>
                        <a:gd name="T29" fmla="*/ 1204 h 1208"/>
                        <a:gd name="T30" fmla="*/ 988 w 1007"/>
                        <a:gd name="T31" fmla="*/ 952 h 1208"/>
                        <a:gd name="T32" fmla="*/ 1007 w 1007"/>
                        <a:gd name="T33" fmla="*/ 918 h 1208"/>
                        <a:gd name="T34" fmla="*/ 1007 w 1007"/>
                        <a:gd name="T35" fmla="*/ 416 h 1208"/>
                        <a:gd name="T36" fmla="*/ 988 w 1007"/>
                        <a:gd name="T37" fmla="*/ 381 h 1208"/>
                        <a:gd name="T38" fmla="*/ 967 w 1007"/>
                        <a:gd name="T39" fmla="*/ 377 h 1208"/>
                        <a:gd name="T40" fmla="*/ 948 w 1007"/>
                        <a:gd name="T41" fmla="*/ 381 h 1208"/>
                        <a:gd name="T42" fmla="*/ 499 w 1007"/>
                        <a:gd name="T43" fmla="*/ 633 h 1208"/>
                        <a:gd name="T44" fmla="*/ 480 w 1007"/>
                        <a:gd name="T45" fmla="*/ 667 h 1208"/>
                        <a:gd name="T46" fmla="*/ 480 w 1007"/>
                        <a:gd name="T47" fmla="*/ 1169 h 1208"/>
                        <a:gd name="T48" fmla="*/ 499 w 1007"/>
                        <a:gd name="T49" fmla="*/ 1204 h 1208"/>
                        <a:gd name="T50" fmla="*/ 520 w 1007"/>
                        <a:gd name="T51" fmla="*/ 1208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07" h="1208">
                          <a:moveTo>
                            <a:pt x="481" y="565"/>
                          </a:moveTo>
                          <a:cubicBezTo>
                            <a:pt x="488" y="565"/>
                            <a:pt x="493" y="563"/>
                            <a:pt x="499" y="561"/>
                          </a:cubicBezTo>
                          <a:cubicBezTo>
                            <a:pt x="499" y="561"/>
                            <a:pt x="499" y="561"/>
                            <a:pt x="941" y="316"/>
                          </a:cubicBezTo>
                          <a:cubicBezTo>
                            <a:pt x="952" y="309"/>
                            <a:pt x="959" y="296"/>
                            <a:pt x="959" y="283"/>
                          </a:cubicBezTo>
                          <a:cubicBezTo>
                            <a:pt x="959" y="269"/>
                            <a:pt x="952" y="256"/>
                            <a:pt x="941" y="249"/>
                          </a:cubicBezTo>
                          <a:cubicBezTo>
                            <a:pt x="941" y="249"/>
                            <a:pt x="941" y="249"/>
                            <a:pt x="499" y="5"/>
                          </a:cubicBezTo>
                          <a:cubicBezTo>
                            <a:pt x="493" y="2"/>
                            <a:pt x="488" y="0"/>
                            <a:pt x="481" y="0"/>
                          </a:cubicBezTo>
                          <a:cubicBezTo>
                            <a:pt x="474" y="0"/>
                            <a:pt x="467" y="2"/>
                            <a:pt x="460" y="5"/>
                          </a:cubicBezTo>
                          <a:cubicBezTo>
                            <a:pt x="460" y="5"/>
                            <a:pt x="460" y="5"/>
                            <a:pt x="19" y="249"/>
                          </a:cubicBezTo>
                          <a:cubicBezTo>
                            <a:pt x="7" y="256"/>
                            <a:pt x="0" y="269"/>
                            <a:pt x="0" y="283"/>
                          </a:cubicBezTo>
                          <a:cubicBezTo>
                            <a:pt x="0" y="296"/>
                            <a:pt x="7" y="309"/>
                            <a:pt x="19" y="316"/>
                          </a:cubicBezTo>
                          <a:cubicBezTo>
                            <a:pt x="19" y="316"/>
                            <a:pt x="19" y="316"/>
                            <a:pt x="460" y="561"/>
                          </a:cubicBezTo>
                          <a:cubicBezTo>
                            <a:pt x="467" y="563"/>
                            <a:pt x="474" y="565"/>
                            <a:pt x="481" y="565"/>
                          </a:cubicBezTo>
                          <a:close/>
                          <a:moveTo>
                            <a:pt x="520" y="1208"/>
                          </a:moveTo>
                          <a:cubicBezTo>
                            <a:pt x="527" y="1208"/>
                            <a:pt x="532" y="1206"/>
                            <a:pt x="539" y="1204"/>
                          </a:cubicBezTo>
                          <a:cubicBezTo>
                            <a:pt x="539" y="1204"/>
                            <a:pt x="539" y="1204"/>
                            <a:pt x="988" y="952"/>
                          </a:cubicBezTo>
                          <a:cubicBezTo>
                            <a:pt x="1000" y="946"/>
                            <a:pt x="1007" y="932"/>
                            <a:pt x="1007" y="918"/>
                          </a:cubicBezTo>
                          <a:cubicBezTo>
                            <a:pt x="1007" y="918"/>
                            <a:pt x="1007" y="918"/>
                            <a:pt x="1007" y="416"/>
                          </a:cubicBezTo>
                          <a:cubicBezTo>
                            <a:pt x="1007" y="402"/>
                            <a:pt x="1000" y="388"/>
                            <a:pt x="988" y="381"/>
                          </a:cubicBezTo>
                          <a:cubicBezTo>
                            <a:pt x="981" y="379"/>
                            <a:pt x="974" y="377"/>
                            <a:pt x="967" y="377"/>
                          </a:cubicBezTo>
                          <a:cubicBezTo>
                            <a:pt x="960" y="377"/>
                            <a:pt x="953" y="379"/>
                            <a:pt x="948" y="381"/>
                          </a:cubicBezTo>
                          <a:cubicBezTo>
                            <a:pt x="948" y="381"/>
                            <a:pt x="948" y="381"/>
                            <a:pt x="499" y="633"/>
                          </a:cubicBezTo>
                          <a:cubicBezTo>
                            <a:pt x="487" y="639"/>
                            <a:pt x="480" y="653"/>
                            <a:pt x="480" y="667"/>
                          </a:cubicBezTo>
                          <a:cubicBezTo>
                            <a:pt x="480" y="667"/>
                            <a:pt x="480" y="667"/>
                            <a:pt x="480" y="1169"/>
                          </a:cubicBezTo>
                          <a:cubicBezTo>
                            <a:pt x="480" y="1183"/>
                            <a:pt x="487" y="1197"/>
                            <a:pt x="499" y="1204"/>
                          </a:cubicBezTo>
                          <a:cubicBezTo>
                            <a:pt x="506" y="1206"/>
                            <a:pt x="513" y="1208"/>
                            <a:pt x="520" y="1208"/>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35" name="Freeform 39">
                      <a:extLst>
                        <a:ext uri="{FF2B5EF4-FFF2-40B4-BE49-F238E27FC236}">
                          <a16:creationId xmlns:a16="http://schemas.microsoft.com/office/drawing/2014/main" id="{B68F40D7-9040-4E63-AE33-0CBBBCCA4E8D}"/>
                        </a:ext>
                      </a:extLst>
                    </p:cNvPr>
                    <p:cNvSpPr>
                      <a:spLocks/>
                    </p:cNvSpPr>
                    <p:nvPr/>
                  </p:nvSpPr>
                  <p:spPr bwMode="auto">
                    <a:xfrm>
                      <a:off x="4699418" y="1656295"/>
                      <a:ext cx="372322" cy="216538"/>
                    </a:xfrm>
                    <a:custGeom>
                      <a:avLst/>
                      <a:gdLst>
                        <a:gd name="T0" fmla="*/ 486 w 975"/>
                        <a:gd name="T1" fmla="*/ 581 h 581"/>
                        <a:gd name="T2" fmla="*/ 508 w 975"/>
                        <a:gd name="T3" fmla="*/ 574 h 581"/>
                        <a:gd name="T4" fmla="*/ 956 w 975"/>
                        <a:gd name="T5" fmla="*/ 323 h 581"/>
                        <a:gd name="T6" fmla="*/ 975 w 975"/>
                        <a:gd name="T7" fmla="*/ 289 h 581"/>
                        <a:gd name="T8" fmla="*/ 956 w 975"/>
                        <a:gd name="T9" fmla="*/ 257 h 581"/>
                        <a:gd name="T10" fmla="*/ 508 w 975"/>
                        <a:gd name="T11" fmla="*/ 7 h 581"/>
                        <a:gd name="T12" fmla="*/ 486 w 975"/>
                        <a:gd name="T13" fmla="*/ 0 h 581"/>
                        <a:gd name="T14" fmla="*/ 468 w 975"/>
                        <a:gd name="T15" fmla="*/ 7 h 581"/>
                        <a:gd name="T16" fmla="*/ 19 w 975"/>
                        <a:gd name="T17" fmla="*/ 257 h 581"/>
                        <a:gd name="T18" fmla="*/ 0 w 975"/>
                        <a:gd name="T19" fmla="*/ 289 h 581"/>
                        <a:gd name="T20" fmla="*/ 19 w 975"/>
                        <a:gd name="T21" fmla="*/ 323 h 581"/>
                        <a:gd name="T22" fmla="*/ 468 w 975"/>
                        <a:gd name="T23" fmla="*/ 574 h 581"/>
                        <a:gd name="T24" fmla="*/ 486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6" y="581"/>
                          </a:moveTo>
                          <a:cubicBezTo>
                            <a:pt x="494" y="581"/>
                            <a:pt x="501" y="578"/>
                            <a:pt x="508" y="574"/>
                          </a:cubicBezTo>
                          <a:cubicBezTo>
                            <a:pt x="508" y="574"/>
                            <a:pt x="508" y="574"/>
                            <a:pt x="956" y="323"/>
                          </a:cubicBezTo>
                          <a:cubicBezTo>
                            <a:pt x="968" y="316"/>
                            <a:pt x="975" y="305"/>
                            <a:pt x="975" y="289"/>
                          </a:cubicBezTo>
                          <a:cubicBezTo>
                            <a:pt x="975" y="275"/>
                            <a:pt x="968" y="264"/>
                            <a:pt x="956" y="257"/>
                          </a:cubicBezTo>
                          <a:cubicBezTo>
                            <a:pt x="956" y="257"/>
                            <a:pt x="956" y="257"/>
                            <a:pt x="508" y="7"/>
                          </a:cubicBezTo>
                          <a:cubicBezTo>
                            <a:pt x="501" y="2"/>
                            <a:pt x="494" y="0"/>
                            <a:pt x="486" y="0"/>
                          </a:cubicBezTo>
                          <a:cubicBezTo>
                            <a:pt x="479" y="0"/>
                            <a:pt x="472" y="2"/>
                            <a:pt x="468" y="7"/>
                          </a:cubicBezTo>
                          <a:cubicBezTo>
                            <a:pt x="468" y="7"/>
                            <a:pt x="468" y="7"/>
                            <a:pt x="19" y="257"/>
                          </a:cubicBezTo>
                          <a:cubicBezTo>
                            <a:pt x="7" y="264"/>
                            <a:pt x="0" y="275"/>
                            <a:pt x="0" y="289"/>
                          </a:cubicBezTo>
                          <a:cubicBezTo>
                            <a:pt x="0" y="305"/>
                            <a:pt x="7" y="316"/>
                            <a:pt x="19" y="323"/>
                          </a:cubicBezTo>
                          <a:cubicBezTo>
                            <a:pt x="19" y="323"/>
                            <a:pt x="19" y="323"/>
                            <a:pt x="468" y="574"/>
                          </a:cubicBezTo>
                          <a:cubicBezTo>
                            <a:pt x="472" y="578"/>
                            <a:pt x="479" y="581"/>
                            <a:pt x="486" y="5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566" name="Group 565">
                    <a:extLst>
                      <a:ext uri="{FF2B5EF4-FFF2-40B4-BE49-F238E27FC236}">
                        <a16:creationId xmlns:a16="http://schemas.microsoft.com/office/drawing/2014/main" id="{9701F2FC-F675-46F9-841E-3E1615AD3741}"/>
                      </a:ext>
                    </a:extLst>
                  </p:cNvPr>
                  <p:cNvGrpSpPr/>
                  <p:nvPr/>
                </p:nvGrpSpPr>
                <p:grpSpPr>
                  <a:xfrm>
                    <a:off x="3289062" y="1650584"/>
                    <a:ext cx="2032449" cy="2228209"/>
                    <a:chOff x="3289062" y="1650584"/>
                    <a:chExt cx="2032449" cy="2228209"/>
                  </a:xfrm>
                  <a:grpFill/>
                </p:grpSpPr>
                <p:sp>
                  <p:nvSpPr>
                    <p:cNvPr id="590" name="Freeform 28">
                      <a:extLst>
                        <a:ext uri="{FF2B5EF4-FFF2-40B4-BE49-F238E27FC236}">
                          <a16:creationId xmlns:a16="http://schemas.microsoft.com/office/drawing/2014/main" id="{0EAE5B67-0F3C-4636-A26F-414AB5CC3504}"/>
                        </a:ext>
                      </a:extLst>
                    </p:cNvPr>
                    <p:cNvSpPr>
                      <a:spLocks/>
                    </p:cNvSpPr>
                    <p:nvPr/>
                  </p:nvSpPr>
                  <p:spPr bwMode="auto">
                    <a:xfrm>
                      <a:off x="4894665" y="3569305"/>
                      <a:ext cx="195248" cy="309488"/>
                    </a:xfrm>
                    <a:custGeom>
                      <a:avLst/>
                      <a:gdLst>
                        <a:gd name="T0" fmla="*/ 38 w 511"/>
                        <a:gd name="T1" fmla="*/ 831 h 831"/>
                        <a:gd name="T2" fmla="*/ 57 w 511"/>
                        <a:gd name="T3" fmla="*/ 824 h 831"/>
                        <a:gd name="T4" fmla="*/ 493 w 511"/>
                        <a:gd name="T5" fmla="*/ 574 h 831"/>
                        <a:gd name="T6" fmla="*/ 511 w 511"/>
                        <a:gd name="T7" fmla="*/ 540 h 831"/>
                        <a:gd name="T8" fmla="*/ 511 w 511"/>
                        <a:gd name="T9" fmla="*/ 38 h 831"/>
                        <a:gd name="T10" fmla="*/ 493 w 511"/>
                        <a:gd name="T11" fmla="*/ 7 h 831"/>
                        <a:gd name="T12" fmla="*/ 472 w 511"/>
                        <a:gd name="T13" fmla="*/ 0 h 831"/>
                        <a:gd name="T14" fmla="*/ 454 w 511"/>
                        <a:gd name="T15" fmla="*/ 7 h 831"/>
                        <a:gd name="T16" fmla="*/ 18 w 511"/>
                        <a:gd name="T17" fmla="*/ 257 h 831"/>
                        <a:gd name="T18" fmla="*/ 0 w 511"/>
                        <a:gd name="T19" fmla="*/ 289 h 831"/>
                        <a:gd name="T20" fmla="*/ 0 w 511"/>
                        <a:gd name="T21" fmla="*/ 793 h 831"/>
                        <a:gd name="T22" fmla="*/ 18 w 511"/>
                        <a:gd name="T23" fmla="*/ 824 h 831"/>
                        <a:gd name="T24" fmla="*/ 38 w 511"/>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1" h="831">
                          <a:moveTo>
                            <a:pt x="38" y="831"/>
                          </a:moveTo>
                          <a:cubicBezTo>
                            <a:pt x="45" y="831"/>
                            <a:pt x="50" y="829"/>
                            <a:pt x="57" y="824"/>
                          </a:cubicBezTo>
                          <a:cubicBezTo>
                            <a:pt x="57" y="824"/>
                            <a:pt x="57" y="824"/>
                            <a:pt x="493" y="574"/>
                          </a:cubicBezTo>
                          <a:cubicBezTo>
                            <a:pt x="504" y="567"/>
                            <a:pt x="511" y="556"/>
                            <a:pt x="511" y="540"/>
                          </a:cubicBezTo>
                          <a:cubicBezTo>
                            <a:pt x="511" y="540"/>
                            <a:pt x="511" y="540"/>
                            <a:pt x="511" y="38"/>
                          </a:cubicBezTo>
                          <a:cubicBezTo>
                            <a:pt x="511" y="25"/>
                            <a:pt x="504" y="13"/>
                            <a:pt x="493" y="7"/>
                          </a:cubicBezTo>
                          <a:cubicBezTo>
                            <a:pt x="486" y="2"/>
                            <a:pt x="479" y="0"/>
                            <a:pt x="472" y="0"/>
                          </a:cubicBezTo>
                          <a:cubicBezTo>
                            <a:pt x="465" y="0"/>
                            <a:pt x="459" y="2"/>
                            <a:pt x="454" y="7"/>
                          </a:cubicBezTo>
                          <a:cubicBezTo>
                            <a:pt x="454" y="7"/>
                            <a:pt x="454" y="7"/>
                            <a:pt x="18" y="257"/>
                          </a:cubicBezTo>
                          <a:cubicBezTo>
                            <a:pt x="6" y="264"/>
                            <a:pt x="0" y="275"/>
                            <a:pt x="0" y="289"/>
                          </a:cubicBezTo>
                          <a:cubicBezTo>
                            <a:pt x="0" y="289"/>
                            <a:pt x="0" y="289"/>
                            <a:pt x="0" y="793"/>
                          </a:cubicBezTo>
                          <a:cubicBezTo>
                            <a:pt x="0" y="806"/>
                            <a:pt x="6" y="818"/>
                            <a:pt x="18" y="824"/>
                          </a:cubicBezTo>
                          <a:cubicBezTo>
                            <a:pt x="25" y="829"/>
                            <a:pt x="32" y="831"/>
                            <a:pt x="38"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91" name="Freeform 29">
                      <a:extLst>
                        <a:ext uri="{FF2B5EF4-FFF2-40B4-BE49-F238E27FC236}">
                          <a16:creationId xmlns:a16="http://schemas.microsoft.com/office/drawing/2014/main" id="{A93EBF3A-B67B-4633-8B27-023289660DE7}"/>
                        </a:ext>
                      </a:extLst>
                    </p:cNvPr>
                    <p:cNvSpPr>
                      <a:spLocks/>
                    </p:cNvSpPr>
                    <p:nvPr/>
                  </p:nvSpPr>
                  <p:spPr bwMode="auto">
                    <a:xfrm>
                      <a:off x="5120551" y="3440525"/>
                      <a:ext cx="200960" cy="309488"/>
                    </a:xfrm>
                    <a:custGeom>
                      <a:avLst/>
                      <a:gdLst>
                        <a:gd name="T0" fmla="*/ 40 w 527"/>
                        <a:gd name="T1" fmla="*/ 831 h 831"/>
                        <a:gd name="T2" fmla="*/ 61 w 527"/>
                        <a:gd name="T3" fmla="*/ 827 h 831"/>
                        <a:gd name="T4" fmla="*/ 506 w 527"/>
                        <a:gd name="T5" fmla="*/ 575 h 831"/>
                        <a:gd name="T6" fmla="*/ 527 w 527"/>
                        <a:gd name="T7" fmla="*/ 541 h 831"/>
                        <a:gd name="T8" fmla="*/ 527 w 527"/>
                        <a:gd name="T9" fmla="*/ 38 h 831"/>
                        <a:gd name="T10" fmla="*/ 506 w 527"/>
                        <a:gd name="T11" fmla="*/ 4 h 831"/>
                        <a:gd name="T12" fmla="*/ 488 w 527"/>
                        <a:gd name="T13" fmla="*/ 0 h 831"/>
                        <a:gd name="T14" fmla="*/ 467 w 527"/>
                        <a:gd name="T15" fmla="*/ 4 h 831"/>
                        <a:gd name="T16" fmla="*/ 21 w 527"/>
                        <a:gd name="T17" fmla="*/ 255 h 831"/>
                        <a:gd name="T18" fmla="*/ 0 w 527"/>
                        <a:gd name="T19" fmla="*/ 290 h 831"/>
                        <a:gd name="T20" fmla="*/ 0 w 527"/>
                        <a:gd name="T21" fmla="*/ 792 h 831"/>
                        <a:gd name="T22" fmla="*/ 21 w 527"/>
                        <a:gd name="T23" fmla="*/ 827 h 831"/>
                        <a:gd name="T24" fmla="*/ 40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0" y="831"/>
                          </a:moveTo>
                          <a:cubicBezTo>
                            <a:pt x="47" y="831"/>
                            <a:pt x="54" y="829"/>
                            <a:pt x="61" y="827"/>
                          </a:cubicBezTo>
                          <a:cubicBezTo>
                            <a:pt x="61" y="827"/>
                            <a:pt x="61" y="827"/>
                            <a:pt x="506" y="575"/>
                          </a:cubicBezTo>
                          <a:cubicBezTo>
                            <a:pt x="520" y="568"/>
                            <a:pt x="527" y="555"/>
                            <a:pt x="527" y="541"/>
                          </a:cubicBezTo>
                          <a:cubicBezTo>
                            <a:pt x="527" y="541"/>
                            <a:pt x="527" y="541"/>
                            <a:pt x="527" y="38"/>
                          </a:cubicBezTo>
                          <a:cubicBezTo>
                            <a:pt x="527" y="25"/>
                            <a:pt x="520" y="11"/>
                            <a:pt x="506" y="4"/>
                          </a:cubicBezTo>
                          <a:cubicBezTo>
                            <a:pt x="502" y="2"/>
                            <a:pt x="495" y="0"/>
                            <a:pt x="488" y="0"/>
                          </a:cubicBezTo>
                          <a:cubicBezTo>
                            <a:pt x="481" y="0"/>
                            <a:pt x="474" y="2"/>
                            <a:pt x="467" y="4"/>
                          </a:cubicBezTo>
                          <a:cubicBezTo>
                            <a:pt x="467" y="4"/>
                            <a:pt x="467" y="4"/>
                            <a:pt x="21" y="255"/>
                          </a:cubicBezTo>
                          <a:cubicBezTo>
                            <a:pt x="9" y="262"/>
                            <a:pt x="0" y="276"/>
                            <a:pt x="0" y="290"/>
                          </a:cubicBezTo>
                          <a:cubicBezTo>
                            <a:pt x="0" y="290"/>
                            <a:pt x="0" y="290"/>
                            <a:pt x="0" y="792"/>
                          </a:cubicBezTo>
                          <a:cubicBezTo>
                            <a:pt x="0" y="806"/>
                            <a:pt x="9" y="820"/>
                            <a:pt x="21" y="827"/>
                          </a:cubicBezTo>
                          <a:cubicBezTo>
                            <a:pt x="26" y="829"/>
                            <a:pt x="33" y="831"/>
                            <a:pt x="40"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92" name="Freeform 57">
                      <a:extLst>
                        <a:ext uri="{FF2B5EF4-FFF2-40B4-BE49-F238E27FC236}">
                          <a16:creationId xmlns:a16="http://schemas.microsoft.com/office/drawing/2014/main" id="{3710D859-3C88-4818-93CA-C18E5D471F57}"/>
                        </a:ext>
                      </a:extLst>
                    </p:cNvPr>
                    <p:cNvSpPr>
                      <a:spLocks/>
                    </p:cNvSpPr>
                    <p:nvPr/>
                  </p:nvSpPr>
                  <p:spPr bwMode="auto">
                    <a:xfrm>
                      <a:off x="3972950" y="3188677"/>
                      <a:ext cx="201480" cy="310008"/>
                    </a:xfrm>
                    <a:custGeom>
                      <a:avLst/>
                      <a:gdLst>
                        <a:gd name="T0" fmla="*/ 488 w 528"/>
                        <a:gd name="T1" fmla="*/ 831 h 831"/>
                        <a:gd name="T2" fmla="*/ 509 w 528"/>
                        <a:gd name="T3" fmla="*/ 827 h 831"/>
                        <a:gd name="T4" fmla="*/ 528 w 528"/>
                        <a:gd name="T5" fmla="*/ 793 h 831"/>
                        <a:gd name="T6" fmla="*/ 528 w 528"/>
                        <a:gd name="T7" fmla="*/ 290 h 831"/>
                        <a:gd name="T8" fmla="*/ 509 w 528"/>
                        <a:gd name="T9" fmla="*/ 256 h 831"/>
                        <a:gd name="T10" fmla="*/ 59 w 528"/>
                        <a:gd name="T11" fmla="*/ 4 h 831"/>
                        <a:gd name="T12" fmla="*/ 40 w 528"/>
                        <a:gd name="T13" fmla="*/ 0 h 831"/>
                        <a:gd name="T14" fmla="*/ 19 w 528"/>
                        <a:gd name="T15" fmla="*/ 4 h 831"/>
                        <a:gd name="T16" fmla="*/ 0 w 528"/>
                        <a:gd name="T17" fmla="*/ 39 h 831"/>
                        <a:gd name="T18" fmla="*/ 0 w 528"/>
                        <a:gd name="T19" fmla="*/ 541 h 831"/>
                        <a:gd name="T20" fmla="*/ 19 w 528"/>
                        <a:gd name="T21" fmla="*/ 576 h 831"/>
                        <a:gd name="T22" fmla="*/ 469 w 528"/>
                        <a:gd name="T23" fmla="*/ 827 h 831"/>
                        <a:gd name="T24" fmla="*/ 488 w 528"/>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1">
                          <a:moveTo>
                            <a:pt x="488" y="831"/>
                          </a:moveTo>
                          <a:cubicBezTo>
                            <a:pt x="495" y="831"/>
                            <a:pt x="502" y="831"/>
                            <a:pt x="509" y="827"/>
                          </a:cubicBezTo>
                          <a:cubicBezTo>
                            <a:pt x="520" y="820"/>
                            <a:pt x="528" y="806"/>
                            <a:pt x="528" y="793"/>
                          </a:cubicBezTo>
                          <a:cubicBezTo>
                            <a:pt x="528" y="793"/>
                            <a:pt x="528" y="793"/>
                            <a:pt x="528" y="290"/>
                          </a:cubicBezTo>
                          <a:cubicBezTo>
                            <a:pt x="528" y="276"/>
                            <a:pt x="520" y="263"/>
                            <a:pt x="509" y="256"/>
                          </a:cubicBezTo>
                          <a:cubicBezTo>
                            <a:pt x="509" y="256"/>
                            <a:pt x="509" y="256"/>
                            <a:pt x="59" y="4"/>
                          </a:cubicBezTo>
                          <a:cubicBezTo>
                            <a:pt x="54" y="2"/>
                            <a:pt x="47" y="0"/>
                            <a:pt x="40" y="0"/>
                          </a:cubicBezTo>
                          <a:cubicBezTo>
                            <a:pt x="33" y="0"/>
                            <a:pt x="26" y="2"/>
                            <a:pt x="19" y="4"/>
                          </a:cubicBezTo>
                          <a:cubicBezTo>
                            <a:pt x="7" y="11"/>
                            <a:pt x="0" y="25"/>
                            <a:pt x="0" y="39"/>
                          </a:cubicBezTo>
                          <a:cubicBezTo>
                            <a:pt x="0" y="39"/>
                            <a:pt x="0" y="39"/>
                            <a:pt x="0" y="541"/>
                          </a:cubicBezTo>
                          <a:cubicBezTo>
                            <a:pt x="0" y="555"/>
                            <a:pt x="7" y="569"/>
                            <a:pt x="19" y="576"/>
                          </a:cubicBezTo>
                          <a:cubicBezTo>
                            <a:pt x="19" y="576"/>
                            <a:pt x="19" y="576"/>
                            <a:pt x="469" y="827"/>
                          </a:cubicBezTo>
                          <a:cubicBezTo>
                            <a:pt x="473" y="831"/>
                            <a:pt x="480" y="831"/>
                            <a:pt x="488"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93" name="Freeform 58">
                      <a:extLst>
                        <a:ext uri="{FF2B5EF4-FFF2-40B4-BE49-F238E27FC236}">
                          <a16:creationId xmlns:a16="http://schemas.microsoft.com/office/drawing/2014/main" id="{32304EE4-4DF5-4317-83E4-78D5047933FC}"/>
                        </a:ext>
                      </a:extLst>
                    </p:cNvPr>
                    <p:cNvSpPr>
                      <a:spLocks/>
                    </p:cNvSpPr>
                    <p:nvPr/>
                  </p:nvSpPr>
                  <p:spPr bwMode="auto">
                    <a:xfrm>
                      <a:off x="3972950" y="3440525"/>
                      <a:ext cx="201480" cy="309488"/>
                    </a:xfrm>
                    <a:custGeom>
                      <a:avLst/>
                      <a:gdLst>
                        <a:gd name="T0" fmla="*/ 488 w 528"/>
                        <a:gd name="T1" fmla="*/ 831 h 831"/>
                        <a:gd name="T2" fmla="*/ 509 w 528"/>
                        <a:gd name="T3" fmla="*/ 827 h 831"/>
                        <a:gd name="T4" fmla="*/ 528 w 528"/>
                        <a:gd name="T5" fmla="*/ 792 h 831"/>
                        <a:gd name="T6" fmla="*/ 528 w 528"/>
                        <a:gd name="T7" fmla="*/ 290 h 831"/>
                        <a:gd name="T8" fmla="*/ 509 w 528"/>
                        <a:gd name="T9" fmla="*/ 255 h 831"/>
                        <a:gd name="T10" fmla="*/ 59 w 528"/>
                        <a:gd name="T11" fmla="*/ 4 h 831"/>
                        <a:gd name="T12" fmla="*/ 40 w 528"/>
                        <a:gd name="T13" fmla="*/ 0 h 831"/>
                        <a:gd name="T14" fmla="*/ 19 w 528"/>
                        <a:gd name="T15" fmla="*/ 4 h 831"/>
                        <a:gd name="T16" fmla="*/ 0 w 528"/>
                        <a:gd name="T17" fmla="*/ 38 h 831"/>
                        <a:gd name="T18" fmla="*/ 0 w 528"/>
                        <a:gd name="T19" fmla="*/ 541 h 831"/>
                        <a:gd name="T20" fmla="*/ 19 w 528"/>
                        <a:gd name="T21" fmla="*/ 575 h 831"/>
                        <a:gd name="T22" fmla="*/ 469 w 528"/>
                        <a:gd name="T23" fmla="*/ 827 h 831"/>
                        <a:gd name="T24" fmla="*/ 488 w 528"/>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1">
                          <a:moveTo>
                            <a:pt x="488" y="831"/>
                          </a:moveTo>
                          <a:cubicBezTo>
                            <a:pt x="495" y="831"/>
                            <a:pt x="502" y="829"/>
                            <a:pt x="509" y="827"/>
                          </a:cubicBezTo>
                          <a:cubicBezTo>
                            <a:pt x="520" y="820"/>
                            <a:pt x="528" y="806"/>
                            <a:pt x="528" y="792"/>
                          </a:cubicBezTo>
                          <a:cubicBezTo>
                            <a:pt x="528" y="792"/>
                            <a:pt x="528" y="792"/>
                            <a:pt x="528" y="290"/>
                          </a:cubicBezTo>
                          <a:cubicBezTo>
                            <a:pt x="528" y="276"/>
                            <a:pt x="520" y="262"/>
                            <a:pt x="509" y="255"/>
                          </a:cubicBezTo>
                          <a:cubicBezTo>
                            <a:pt x="509" y="255"/>
                            <a:pt x="509" y="255"/>
                            <a:pt x="59" y="4"/>
                          </a:cubicBezTo>
                          <a:cubicBezTo>
                            <a:pt x="54" y="2"/>
                            <a:pt x="47" y="0"/>
                            <a:pt x="40" y="0"/>
                          </a:cubicBezTo>
                          <a:cubicBezTo>
                            <a:pt x="33" y="0"/>
                            <a:pt x="26" y="2"/>
                            <a:pt x="19" y="4"/>
                          </a:cubicBezTo>
                          <a:cubicBezTo>
                            <a:pt x="7" y="11"/>
                            <a:pt x="0" y="25"/>
                            <a:pt x="0" y="38"/>
                          </a:cubicBezTo>
                          <a:cubicBezTo>
                            <a:pt x="0" y="38"/>
                            <a:pt x="0" y="38"/>
                            <a:pt x="0" y="541"/>
                          </a:cubicBezTo>
                          <a:cubicBezTo>
                            <a:pt x="0" y="555"/>
                            <a:pt x="7" y="568"/>
                            <a:pt x="19" y="575"/>
                          </a:cubicBezTo>
                          <a:cubicBezTo>
                            <a:pt x="19" y="575"/>
                            <a:pt x="19" y="575"/>
                            <a:pt x="469" y="827"/>
                          </a:cubicBezTo>
                          <a:cubicBezTo>
                            <a:pt x="473" y="829"/>
                            <a:pt x="480" y="831"/>
                            <a:pt x="488"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94" name="Freeform 59">
                      <a:extLst>
                        <a:ext uri="{FF2B5EF4-FFF2-40B4-BE49-F238E27FC236}">
                          <a16:creationId xmlns:a16="http://schemas.microsoft.com/office/drawing/2014/main" id="{D62BFE2E-388C-47BD-AEA9-96B5A902E0D0}"/>
                        </a:ext>
                      </a:extLst>
                    </p:cNvPr>
                    <p:cNvSpPr>
                      <a:spLocks/>
                    </p:cNvSpPr>
                    <p:nvPr/>
                  </p:nvSpPr>
                  <p:spPr bwMode="auto">
                    <a:xfrm>
                      <a:off x="3747064" y="2814798"/>
                      <a:ext cx="201480" cy="309488"/>
                    </a:xfrm>
                    <a:custGeom>
                      <a:avLst/>
                      <a:gdLst>
                        <a:gd name="T0" fmla="*/ 487 w 527"/>
                        <a:gd name="T1" fmla="*/ 831 h 831"/>
                        <a:gd name="T2" fmla="*/ 506 w 527"/>
                        <a:gd name="T3" fmla="*/ 827 h 831"/>
                        <a:gd name="T4" fmla="*/ 527 w 527"/>
                        <a:gd name="T5" fmla="*/ 792 h 831"/>
                        <a:gd name="T6" fmla="*/ 527 w 527"/>
                        <a:gd name="T7" fmla="*/ 290 h 831"/>
                        <a:gd name="T8" fmla="*/ 506 w 527"/>
                        <a:gd name="T9" fmla="*/ 256 h 831"/>
                        <a:gd name="T10" fmla="*/ 61 w 527"/>
                        <a:gd name="T11" fmla="*/ 4 h 831"/>
                        <a:gd name="T12" fmla="*/ 40 w 527"/>
                        <a:gd name="T13" fmla="*/ 0 h 831"/>
                        <a:gd name="T14" fmla="*/ 21 w 527"/>
                        <a:gd name="T15" fmla="*/ 4 h 831"/>
                        <a:gd name="T16" fmla="*/ 0 w 527"/>
                        <a:gd name="T17" fmla="*/ 39 h 831"/>
                        <a:gd name="T18" fmla="*/ 0 w 527"/>
                        <a:gd name="T19" fmla="*/ 541 h 831"/>
                        <a:gd name="T20" fmla="*/ 21 w 527"/>
                        <a:gd name="T21" fmla="*/ 575 h 831"/>
                        <a:gd name="T22" fmla="*/ 466 w 527"/>
                        <a:gd name="T23" fmla="*/ 827 h 831"/>
                        <a:gd name="T24" fmla="*/ 487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87" y="831"/>
                          </a:moveTo>
                          <a:cubicBezTo>
                            <a:pt x="494" y="831"/>
                            <a:pt x="501" y="831"/>
                            <a:pt x="506" y="827"/>
                          </a:cubicBezTo>
                          <a:cubicBezTo>
                            <a:pt x="520" y="820"/>
                            <a:pt x="527" y="806"/>
                            <a:pt x="527" y="792"/>
                          </a:cubicBezTo>
                          <a:cubicBezTo>
                            <a:pt x="527" y="792"/>
                            <a:pt x="527" y="792"/>
                            <a:pt x="527" y="290"/>
                          </a:cubicBezTo>
                          <a:cubicBezTo>
                            <a:pt x="527" y="276"/>
                            <a:pt x="520" y="262"/>
                            <a:pt x="506" y="256"/>
                          </a:cubicBezTo>
                          <a:cubicBezTo>
                            <a:pt x="506" y="256"/>
                            <a:pt x="506" y="256"/>
                            <a:pt x="61" y="4"/>
                          </a:cubicBezTo>
                          <a:cubicBezTo>
                            <a:pt x="54" y="2"/>
                            <a:pt x="47" y="0"/>
                            <a:pt x="40" y="0"/>
                          </a:cubicBezTo>
                          <a:cubicBezTo>
                            <a:pt x="32" y="0"/>
                            <a:pt x="25" y="2"/>
                            <a:pt x="21" y="4"/>
                          </a:cubicBezTo>
                          <a:cubicBezTo>
                            <a:pt x="7" y="11"/>
                            <a:pt x="0" y="25"/>
                            <a:pt x="0" y="39"/>
                          </a:cubicBezTo>
                          <a:cubicBezTo>
                            <a:pt x="0" y="39"/>
                            <a:pt x="0" y="39"/>
                            <a:pt x="0" y="541"/>
                          </a:cubicBezTo>
                          <a:cubicBezTo>
                            <a:pt x="0" y="555"/>
                            <a:pt x="7" y="569"/>
                            <a:pt x="21" y="575"/>
                          </a:cubicBezTo>
                          <a:cubicBezTo>
                            <a:pt x="21" y="575"/>
                            <a:pt x="21" y="575"/>
                            <a:pt x="466" y="827"/>
                          </a:cubicBezTo>
                          <a:cubicBezTo>
                            <a:pt x="473" y="831"/>
                            <a:pt x="480" y="831"/>
                            <a:pt x="487"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95" name="Freeform 60">
                      <a:extLst>
                        <a:ext uri="{FF2B5EF4-FFF2-40B4-BE49-F238E27FC236}">
                          <a16:creationId xmlns:a16="http://schemas.microsoft.com/office/drawing/2014/main" id="{FC11AE1B-4A22-495A-A54C-22BC0E7C5141}"/>
                        </a:ext>
                      </a:extLst>
                    </p:cNvPr>
                    <p:cNvSpPr>
                      <a:spLocks/>
                    </p:cNvSpPr>
                    <p:nvPr/>
                  </p:nvSpPr>
                  <p:spPr bwMode="auto">
                    <a:xfrm>
                      <a:off x="3514948" y="2685499"/>
                      <a:ext cx="201480" cy="310527"/>
                    </a:xfrm>
                    <a:custGeom>
                      <a:avLst/>
                      <a:gdLst>
                        <a:gd name="T0" fmla="*/ 488 w 528"/>
                        <a:gd name="T1" fmla="*/ 832 h 832"/>
                        <a:gd name="T2" fmla="*/ 509 w 528"/>
                        <a:gd name="T3" fmla="*/ 827 h 832"/>
                        <a:gd name="T4" fmla="*/ 528 w 528"/>
                        <a:gd name="T5" fmla="*/ 793 h 832"/>
                        <a:gd name="T6" fmla="*/ 528 w 528"/>
                        <a:gd name="T7" fmla="*/ 291 h 832"/>
                        <a:gd name="T8" fmla="*/ 509 w 528"/>
                        <a:gd name="T9" fmla="*/ 256 h 832"/>
                        <a:gd name="T10" fmla="*/ 61 w 528"/>
                        <a:gd name="T11" fmla="*/ 5 h 832"/>
                        <a:gd name="T12" fmla="*/ 40 w 528"/>
                        <a:gd name="T13" fmla="*/ 0 h 832"/>
                        <a:gd name="T14" fmla="*/ 21 w 528"/>
                        <a:gd name="T15" fmla="*/ 5 h 832"/>
                        <a:gd name="T16" fmla="*/ 0 w 528"/>
                        <a:gd name="T17" fmla="*/ 39 h 832"/>
                        <a:gd name="T18" fmla="*/ 0 w 528"/>
                        <a:gd name="T19" fmla="*/ 542 h 832"/>
                        <a:gd name="T20" fmla="*/ 21 w 528"/>
                        <a:gd name="T21" fmla="*/ 576 h 832"/>
                        <a:gd name="T22" fmla="*/ 469 w 528"/>
                        <a:gd name="T23" fmla="*/ 827 h 832"/>
                        <a:gd name="T24" fmla="*/ 488 w 528"/>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2">
                          <a:moveTo>
                            <a:pt x="488" y="832"/>
                          </a:moveTo>
                          <a:cubicBezTo>
                            <a:pt x="495" y="832"/>
                            <a:pt x="502" y="830"/>
                            <a:pt x="509" y="827"/>
                          </a:cubicBezTo>
                          <a:cubicBezTo>
                            <a:pt x="521" y="821"/>
                            <a:pt x="528" y="807"/>
                            <a:pt x="528" y="793"/>
                          </a:cubicBezTo>
                          <a:cubicBezTo>
                            <a:pt x="528" y="793"/>
                            <a:pt x="528" y="793"/>
                            <a:pt x="528" y="291"/>
                          </a:cubicBezTo>
                          <a:cubicBezTo>
                            <a:pt x="528" y="277"/>
                            <a:pt x="521" y="263"/>
                            <a:pt x="509" y="256"/>
                          </a:cubicBezTo>
                          <a:cubicBezTo>
                            <a:pt x="509" y="256"/>
                            <a:pt x="509" y="256"/>
                            <a:pt x="61" y="5"/>
                          </a:cubicBezTo>
                          <a:cubicBezTo>
                            <a:pt x="54" y="0"/>
                            <a:pt x="47" y="0"/>
                            <a:pt x="40" y="0"/>
                          </a:cubicBezTo>
                          <a:cubicBezTo>
                            <a:pt x="33" y="0"/>
                            <a:pt x="26" y="0"/>
                            <a:pt x="21" y="5"/>
                          </a:cubicBezTo>
                          <a:cubicBezTo>
                            <a:pt x="10" y="12"/>
                            <a:pt x="0" y="26"/>
                            <a:pt x="0" y="39"/>
                          </a:cubicBezTo>
                          <a:cubicBezTo>
                            <a:pt x="0" y="39"/>
                            <a:pt x="0" y="39"/>
                            <a:pt x="0" y="542"/>
                          </a:cubicBezTo>
                          <a:cubicBezTo>
                            <a:pt x="0" y="556"/>
                            <a:pt x="10" y="569"/>
                            <a:pt x="21" y="576"/>
                          </a:cubicBezTo>
                          <a:cubicBezTo>
                            <a:pt x="21" y="576"/>
                            <a:pt x="21" y="576"/>
                            <a:pt x="469" y="827"/>
                          </a:cubicBezTo>
                          <a:cubicBezTo>
                            <a:pt x="474" y="830"/>
                            <a:pt x="481" y="832"/>
                            <a:pt x="488"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96" name="Freeform 61">
                      <a:extLst>
                        <a:ext uri="{FF2B5EF4-FFF2-40B4-BE49-F238E27FC236}">
                          <a16:creationId xmlns:a16="http://schemas.microsoft.com/office/drawing/2014/main" id="{427B2F46-5DB5-4E78-8976-FD8314D92473}"/>
                        </a:ext>
                      </a:extLst>
                    </p:cNvPr>
                    <p:cNvSpPr>
                      <a:spLocks/>
                    </p:cNvSpPr>
                    <p:nvPr/>
                  </p:nvSpPr>
                  <p:spPr bwMode="auto">
                    <a:xfrm>
                      <a:off x="3747064" y="3066128"/>
                      <a:ext cx="201480" cy="310008"/>
                    </a:xfrm>
                    <a:custGeom>
                      <a:avLst/>
                      <a:gdLst>
                        <a:gd name="T0" fmla="*/ 487 w 527"/>
                        <a:gd name="T1" fmla="*/ 832 h 832"/>
                        <a:gd name="T2" fmla="*/ 506 w 527"/>
                        <a:gd name="T3" fmla="*/ 827 h 832"/>
                        <a:gd name="T4" fmla="*/ 527 w 527"/>
                        <a:gd name="T5" fmla="*/ 793 h 832"/>
                        <a:gd name="T6" fmla="*/ 527 w 527"/>
                        <a:gd name="T7" fmla="*/ 290 h 832"/>
                        <a:gd name="T8" fmla="*/ 506 w 527"/>
                        <a:gd name="T9" fmla="*/ 256 h 832"/>
                        <a:gd name="T10" fmla="*/ 61 w 527"/>
                        <a:gd name="T11" fmla="*/ 5 h 832"/>
                        <a:gd name="T12" fmla="*/ 40 w 527"/>
                        <a:gd name="T13" fmla="*/ 0 h 832"/>
                        <a:gd name="T14" fmla="*/ 21 w 527"/>
                        <a:gd name="T15" fmla="*/ 5 h 832"/>
                        <a:gd name="T16" fmla="*/ 0 w 527"/>
                        <a:gd name="T17" fmla="*/ 39 h 832"/>
                        <a:gd name="T18" fmla="*/ 0 w 527"/>
                        <a:gd name="T19" fmla="*/ 542 h 832"/>
                        <a:gd name="T20" fmla="*/ 21 w 527"/>
                        <a:gd name="T21" fmla="*/ 576 h 832"/>
                        <a:gd name="T22" fmla="*/ 466 w 527"/>
                        <a:gd name="T23" fmla="*/ 827 h 832"/>
                        <a:gd name="T24" fmla="*/ 487 w 527"/>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2">
                          <a:moveTo>
                            <a:pt x="487" y="832"/>
                          </a:moveTo>
                          <a:cubicBezTo>
                            <a:pt x="494" y="832"/>
                            <a:pt x="501" y="830"/>
                            <a:pt x="506" y="827"/>
                          </a:cubicBezTo>
                          <a:cubicBezTo>
                            <a:pt x="520" y="821"/>
                            <a:pt x="527" y="807"/>
                            <a:pt x="527" y="793"/>
                          </a:cubicBezTo>
                          <a:cubicBezTo>
                            <a:pt x="527" y="793"/>
                            <a:pt x="527" y="793"/>
                            <a:pt x="527" y="290"/>
                          </a:cubicBezTo>
                          <a:cubicBezTo>
                            <a:pt x="527" y="277"/>
                            <a:pt x="520" y="263"/>
                            <a:pt x="506" y="256"/>
                          </a:cubicBezTo>
                          <a:cubicBezTo>
                            <a:pt x="506" y="256"/>
                            <a:pt x="506" y="256"/>
                            <a:pt x="61" y="5"/>
                          </a:cubicBezTo>
                          <a:cubicBezTo>
                            <a:pt x="54" y="3"/>
                            <a:pt x="47" y="0"/>
                            <a:pt x="40" y="0"/>
                          </a:cubicBezTo>
                          <a:cubicBezTo>
                            <a:pt x="32" y="0"/>
                            <a:pt x="25" y="3"/>
                            <a:pt x="21" y="5"/>
                          </a:cubicBezTo>
                          <a:cubicBezTo>
                            <a:pt x="7" y="12"/>
                            <a:pt x="0" y="25"/>
                            <a:pt x="0" y="39"/>
                          </a:cubicBezTo>
                          <a:cubicBezTo>
                            <a:pt x="0" y="39"/>
                            <a:pt x="0" y="39"/>
                            <a:pt x="0" y="542"/>
                          </a:cubicBezTo>
                          <a:cubicBezTo>
                            <a:pt x="0" y="556"/>
                            <a:pt x="7" y="569"/>
                            <a:pt x="21" y="576"/>
                          </a:cubicBezTo>
                          <a:cubicBezTo>
                            <a:pt x="21" y="576"/>
                            <a:pt x="21" y="576"/>
                            <a:pt x="466" y="827"/>
                          </a:cubicBezTo>
                          <a:cubicBezTo>
                            <a:pt x="473" y="830"/>
                            <a:pt x="480" y="832"/>
                            <a:pt x="487"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97" name="Freeform 62">
                      <a:extLst>
                        <a:ext uri="{FF2B5EF4-FFF2-40B4-BE49-F238E27FC236}">
                          <a16:creationId xmlns:a16="http://schemas.microsoft.com/office/drawing/2014/main" id="{4B786C3F-B537-4915-841B-C8C9ECA420DE}"/>
                        </a:ext>
                      </a:extLst>
                    </p:cNvPr>
                    <p:cNvSpPr>
                      <a:spLocks/>
                    </p:cNvSpPr>
                    <p:nvPr/>
                  </p:nvSpPr>
                  <p:spPr bwMode="auto">
                    <a:xfrm>
                      <a:off x="3514948" y="3194907"/>
                      <a:ext cx="201480" cy="309488"/>
                    </a:xfrm>
                    <a:custGeom>
                      <a:avLst/>
                      <a:gdLst>
                        <a:gd name="T0" fmla="*/ 488 w 528"/>
                        <a:gd name="T1" fmla="*/ 831 h 831"/>
                        <a:gd name="T2" fmla="*/ 509 w 528"/>
                        <a:gd name="T3" fmla="*/ 824 h 831"/>
                        <a:gd name="T4" fmla="*/ 528 w 528"/>
                        <a:gd name="T5" fmla="*/ 792 h 831"/>
                        <a:gd name="T6" fmla="*/ 528 w 528"/>
                        <a:gd name="T7" fmla="*/ 289 h 831"/>
                        <a:gd name="T8" fmla="*/ 509 w 528"/>
                        <a:gd name="T9" fmla="*/ 257 h 831"/>
                        <a:gd name="T10" fmla="*/ 61 w 528"/>
                        <a:gd name="T11" fmla="*/ 6 h 831"/>
                        <a:gd name="T12" fmla="*/ 40 w 528"/>
                        <a:gd name="T13" fmla="*/ 0 h 831"/>
                        <a:gd name="T14" fmla="*/ 21 w 528"/>
                        <a:gd name="T15" fmla="*/ 6 h 831"/>
                        <a:gd name="T16" fmla="*/ 0 w 528"/>
                        <a:gd name="T17" fmla="*/ 38 h 831"/>
                        <a:gd name="T18" fmla="*/ 0 w 528"/>
                        <a:gd name="T19" fmla="*/ 540 h 831"/>
                        <a:gd name="T20" fmla="*/ 21 w 528"/>
                        <a:gd name="T21" fmla="*/ 574 h 831"/>
                        <a:gd name="T22" fmla="*/ 469 w 528"/>
                        <a:gd name="T23" fmla="*/ 824 h 831"/>
                        <a:gd name="T24" fmla="*/ 488 w 528"/>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1">
                          <a:moveTo>
                            <a:pt x="488" y="831"/>
                          </a:moveTo>
                          <a:cubicBezTo>
                            <a:pt x="495" y="831"/>
                            <a:pt x="502" y="829"/>
                            <a:pt x="509" y="824"/>
                          </a:cubicBezTo>
                          <a:cubicBezTo>
                            <a:pt x="521" y="817"/>
                            <a:pt x="528" y="806"/>
                            <a:pt x="528" y="792"/>
                          </a:cubicBezTo>
                          <a:cubicBezTo>
                            <a:pt x="528" y="792"/>
                            <a:pt x="528" y="792"/>
                            <a:pt x="528" y="289"/>
                          </a:cubicBezTo>
                          <a:cubicBezTo>
                            <a:pt x="528" y="275"/>
                            <a:pt x="521" y="264"/>
                            <a:pt x="509" y="257"/>
                          </a:cubicBezTo>
                          <a:cubicBezTo>
                            <a:pt x="509" y="257"/>
                            <a:pt x="509" y="257"/>
                            <a:pt x="61" y="6"/>
                          </a:cubicBezTo>
                          <a:cubicBezTo>
                            <a:pt x="54" y="2"/>
                            <a:pt x="47" y="0"/>
                            <a:pt x="40" y="0"/>
                          </a:cubicBezTo>
                          <a:cubicBezTo>
                            <a:pt x="33" y="0"/>
                            <a:pt x="26" y="2"/>
                            <a:pt x="21" y="6"/>
                          </a:cubicBezTo>
                          <a:cubicBezTo>
                            <a:pt x="10" y="13"/>
                            <a:pt x="0" y="25"/>
                            <a:pt x="0" y="38"/>
                          </a:cubicBezTo>
                          <a:cubicBezTo>
                            <a:pt x="0" y="38"/>
                            <a:pt x="0" y="38"/>
                            <a:pt x="0" y="540"/>
                          </a:cubicBezTo>
                          <a:cubicBezTo>
                            <a:pt x="0" y="555"/>
                            <a:pt x="10" y="567"/>
                            <a:pt x="21" y="574"/>
                          </a:cubicBezTo>
                          <a:cubicBezTo>
                            <a:pt x="21" y="574"/>
                            <a:pt x="21" y="574"/>
                            <a:pt x="469" y="824"/>
                          </a:cubicBezTo>
                          <a:cubicBezTo>
                            <a:pt x="474" y="829"/>
                            <a:pt x="481" y="831"/>
                            <a:pt x="488"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98" name="Freeform 63">
                      <a:extLst>
                        <a:ext uri="{FF2B5EF4-FFF2-40B4-BE49-F238E27FC236}">
                          <a16:creationId xmlns:a16="http://schemas.microsoft.com/office/drawing/2014/main" id="{1190331F-470C-4C9C-AD07-2EC74FFC0AAF}"/>
                        </a:ext>
                      </a:extLst>
                    </p:cNvPr>
                    <p:cNvSpPr>
                      <a:spLocks noEditPoints="1"/>
                    </p:cNvSpPr>
                    <p:nvPr/>
                  </p:nvSpPr>
                  <p:spPr bwMode="auto">
                    <a:xfrm>
                      <a:off x="3747064" y="1908144"/>
                      <a:ext cx="396728" cy="455924"/>
                    </a:xfrm>
                    <a:custGeom>
                      <a:avLst/>
                      <a:gdLst>
                        <a:gd name="T0" fmla="*/ 487 w 1039"/>
                        <a:gd name="T1" fmla="*/ 1224 h 1224"/>
                        <a:gd name="T2" fmla="*/ 506 w 1039"/>
                        <a:gd name="T3" fmla="*/ 1219 h 1224"/>
                        <a:gd name="T4" fmla="*/ 527 w 1039"/>
                        <a:gd name="T5" fmla="*/ 1185 h 1224"/>
                        <a:gd name="T6" fmla="*/ 527 w 1039"/>
                        <a:gd name="T7" fmla="*/ 682 h 1224"/>
                        <a:gd name="T8" fmla="*/ 506 w 1039"/>
                        <a:gd name="T9" fmla="*/ 650 h 1224"/>
                        <a:gd name="T10" fmla="*/ 61 w 1039"/>
                        <a:gd name="T11" fmla="*/ 396 h 1224"/>
                        <a:gd name="T12" fmla="*/ 40 w 1039"/>
                        <a:gd name="T13" fmla="*/ 392 h 1224"/>
                        <a:gd name="T14" fmla="*/ 21 w 1039"/>
                        <a:gd name="T15" fmla="*/ 396 h 1224"/>
                        <a:gd name="T16" fmla="*/ 0 w 1039"/>
                        <a:gd name="T17" fmla="*/ 431 h 1224"/>
                        <a:gd name="T18" fmla="*/ 0 w 1039"/>
                        <a:gd name="T19" fmla="*/ 933 h 1224"/>
                        <a:gd name="T20" fmla="*/ 21 w 1039"/>
                        <a:gd name="T21" fmla="*/ 968 h 1224"/>
                        <a:gd name="T22" fmla="*/ 466 w 1039"/>
                        <a:gd name="T23" fmla="*/ 1219 h 1224"/>
                        <a:gd name="T24" fmla="*/ 487 w 1039"/>
                        <a:gd name="T25" fmla="*/ 1224 h 1224"/>
                        <a:gd name="T26" fmla="*/ 551 w 1039"/>
                        <a:gd name="T27" fmla="*/ 580 h 1224"/>
                        <a:gd name="T28" fmla="*/ 570 w 1039"/>
                        <a:gd name="T29" fmla="*/ 576 h 1224"/>
                        <a:gd name="T30" fmla="*/ 1018 w 1039"/>
                        <a:gd name="T31" fmla="*/ 324 h 1224"/>
                        <a:gd name="T32" fmla="*/ 1039 w 1039"/>
                        <a:gd name="T33" fmla="*/ 290 h 1224"/>
                        <a:gd name="T34" fmla="*/ 1018 w 1039"/>
                        <a:gd name="T35" fmla="*/ 256 h 1224"/>
                        <a:gd name="T36" fmla="*/ 570 w 1039"/>
                        <a:gd name="T37" fmla="*/ 4 h 1224"/>
                        <a:gd name="T38" fmla="*/ 551 w 1039"/>
                        <a:gd name="T39" fmla="*/ 0 h 1224"/>
                        <a:gd name="T40" fmla="*/ 530 w 1039"/>
                        <a:gd name="T41" fmla="*/ 4 h 1224"/>
                        <a:gd name="T42" fmla="*/ 85 w 1039"/>
                        <a:gd name="T43" fmla="*/ 256 h 1224"/>
                        <a:gd name="T44" fmla="*/ 64 w 1039"/>
                        <a:gd name="T45" fmla="*/ 290 h 1224"/>
                        <a:gd name="T46" fmla="*/ 85 w 1039"/>
                        <a:gd name="T47" fmla="*/ 324 h 1224"/>
                        <a:gd name="T48" fmla="*/ 530 w 1039"/>
                        <a:gd name="T49" fmla="*/ 576 h 1224"/>
                        <a:gd name="T50" fmla="*/ 551 w 1039"/>
                        <a:gd name="T51" fmla="*/ 580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39" h="1224">
                          <a:moveTo>
                            <a:pt x="487" y="1224"/>
                          </a:moveTo>
                          <a:cubicBezTo>
                            <a:pt x="494" y="1224"/>
                            <a:pt x="501" y="1224"/>
                            <a:pt x="506" y="1219"/>
                          </a:cubicBezTo>
                          <a:cubicBezTo>
                            <a:pt x="520" y="1212"/>
                            <a:pt x="527" y="1201"/>
                            <a:pt x="527" y="1185"/>
                          </a:cubicBezTo>
                          <a:cubicBezTo>
                            <a:pt x="527" y="1185"/>
                            <a:pt x="527" y="1185"/>
                            <a:pt x="527" y="682"/>
                          </a:cubicBezTo>
                          <a:cubicBezTo>
                            <a:pt x="527" y="668"/>
                            <a:pt x="520" y="657"/>
                            <a:pt x="506" y="650"/>
                          </a:cubicBezTo>
                          <a:cubicBezTo>
                            <a:pt x="506" y="650"/>
                            <a:pt x="506" y="650"/>
                            <a:pt x="61" y="396"/>
                          </a:cubicBezTo>
                          <a:cubicBezTo>
                            <a:pt x="54" y="394"/>
                            <a:pt x="47" y="392"/>
                            <a:pt x="40" y="392"/>
                          </a:cubicBezTo>
                          <a:cubicBezTo>
                            <a:pt x="32" y="392"/>
                            <a:pt x="25" y="394"/>
                            <a:pt x="21" y="396"/>
                          </a:cubicBezTo>
                          <a:cubicBezTo>
                            <a:pt x="7" y="403"/>
                            <a:pt x="0" y="417"/>
                            <a:pt x="0" y="431"/>
                          </a:cubicBezTo>
                          <a:cubicBezTo>
                            <a:pt x="0" y="431"/>
                            <a:pt x="0" y="431"/>
                            <a:pt x="0" y="933"/>
                          </a:cubicBezTo>
                          <a:cubicBezTo>
                            <a:pt x="0" y="947"/>
                            <a:pt x="7" y="961"/>
                            <a:pt x="21" y="968"/>
                          </a:cubicBezTo>
                          <a:cubicBezTo>
                            <a:pt x="21" y="968"/>
                            <a:pt x="21" y="968"/>
                            <a:pt x="466" y="1219"/>
                          </a:cubicBezTo>
                          <a:cubicBezTo>
                            <a:pt x="473" y="1224"/>
                            <a:pt x="480" y="1224"/>
                            <a:pt x="487" y="1224"/>
                          </a:cubicBezTo>
                          <a:close/>
                          <a:moveTo>
                            <a:pt x="551" y="580"/>
                          </a:moveTo>
                          <a:cubicBezTo>
                            <a:pt x="558" y="580"/>
                            <a:pt x="565" y="580"/>
                            <a:pt x="570" y="576"/>
                          </a:cubicBezTo>
                          <a:cubicBezTo>
                            <a:pt x="570" y="576"/>
                            <a:pt x="570" y="576"/>
                            <a:pt x="1018" y="324"/>
                          </a:cubicBezTo>
                          <a:cubicBezTo>
                            <a:pt x="1029" y="317"/>
                            <a:pt x="1039" y="304"/>
                            <a:pt x="1039" y="290"/>
                          </a:cubicBezTo>
                          <a:cubicBezTo>
                            <a:pt x="1039" y="276"/>
                            <a:pt x="1029" y="265"/>
                            <a:pt x="1018" y="256"/>
                          </a:cubicBezTo>
                          <a:cubicBezTo>
                            <a:pt x="1018" y="256"/>
                            <a:pt x="1018" y="256"/>
                            <a:pt x="570" y="4"/>
                          </a:cubicBezTo>
                          <a:cubicBezTo>
                            <a:pt x="565" y="2"/>
                            <a:pt x="558" y="0"/>
                            <a:pt x="551" y="0"/>
                          </a:cubicBezTo>
                          <a:cubicBezTo>
                            <a:pt x="544" y="0"/>
                            <a:pt x="537" y="2"/>
                            <a:pt x="530" y="4"/>
                          </a:cubicBezTo>
                          <a:cubicBezTo>
                            <a:pt x="530" y="4"/>
                            <a:pt x="530" y="4"/>
                            <a:pt x="85" y="256"/>
                          </a:cubicBezTo>
                          <a:cubicBezTo>
                            <a:pt x="71" y="265"/>
                            <a:pt x="64" y="276"/>
                            <a:pt x="64" y="290"/>
                          </a:cubicBezTo>
                          <a:cubicBezTo>
                            <a:pt x="64" y="304"/>
                            <a:pt x="71" y="317"/>
                            <a:pt x="85" y="324"/>
                          </a:cubicBezTo>
                          <a:cubicBezTo>
                            <a:pt x="85" y="324"/>
                            <a:pt x="85" y="324"/>
                            <a:pt x="530" y="576"/>
                          </a:cubicBezTo>
                          <a:cubicBezTo>
                            <a:pt x="537" y="580"/>
                            <a:pt x="544" y="580"/>
                            <a:pt x="551" y="580"/>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99" name="Freeform 64">
                      <a:extLst>
                        <a:ext uri="{FF2B5EF4-FFF2-40B4-BE49-F238E27FC236}">
                          <a16:creationId xmlns:a16="http://schemas.microsoft.com/office/drawing/2014/main" id="{EFF6EB47-DCBE-42AE-BCA6-DAA0568C8685}"/>
                        </a:ext>
                      </a:extLst>
                    </p:cNvPr>
                    <p:cNvSpPr>
                      <a:spLocks noEditPoints="1"/>
                    </p:cNvSpPr>
                    <p:nvPr/>
                  </p:nvSpPr>
                  <p:spPr bwMode="auto">
                    <a:xfrm>
                      <a:off x="3514948" y="1779363"/>
                      <a:ext cx="396728" cy="455924"/>
                    </a:xfrm>
                    <a:custGeom>
                      <a:avLst/>
                      <a:gdLst>
                        <a:gd name="T0" fmla="*/ 488 w 1039"/>
                        <a:gd name="T1" fmla="*/ 1224 h 1224"/>
                        <a:gd name="T2" fmla="*/ 509 w 1039"/>
                        <a:gd name="T3" fmla="*/ 1220 h 1224"/>
                        <a:gd name="T4" fmla="*/ 528 w 1039"/>
                        <a:gd name="T5" fmla="*/ 1185 h 1224"/>
                        <a:gd name="T6" fmla="*/ 528 w 1039"/>
                        <a:gd name="T7" fmla="*/ 683 h 1224"/>
                        <a:gd name="T8" fmla="*/ 509 w 1039"/>
                        <a:gd name="T9" fmla="*/ 649 h 1224"/>
                        <a:gd name="T10" fmla="*/ 61 w 1039"/>
                        <a:gd name="T11" fmla="*/ 397 h 1224"/>
                        <a:gd name="T12" fmla="*/ 40 w 1039"/>
                        <a:gd name="T13" fmla="*/ 393 h 1224"/>
                        <a:gd name="T14" fmla="*/ 21 w 1039"/>
                        <a:gd name="T15" fmla="*/ 397 h 1224"/>
                        <a:gd name="T16" fmla="*/ 0 w 1039"/>
                        <a:gd name="T17" fmla="*/ 432 h 1224"/>
                        <a:gd name="T18" fmla="*/ 0 w 1039"/>
                        <a:gd name="T19" fmla="*/ 934 h 1224"/>
                        <a:gd name="T20" fmla="*/ 21 w 1039"/>
                        <a:gd name="T21" fmla="*/ 968 h 1224"/>
                        <a:gd name="T22" fmla="*/ 469 w 1039"/>
                        <a:gd name="T23" fmla="*/ 1220 h 1224"/>
                        <a:gd name="T24" fmla="*/ 488 w 1039"/>
                        <a:gd name="T25" fmla="*/ 1224 h 1224"/>
                        <a:gd name="T26" fmla="*/ 552 w 1039"/>
                        <a:gd name="T27" fmla="*/ 581 h 1224"/>
                        <a:gd name="T28" fmla="*/ 573 w 1039"/>
                        <a:gd name="T29" fmla="*/ 576 h 1224"/>
                        <a:gd name="T30" fmla="*/ 1018 w 1039"/>
                        <a:gd name="T31" fmla="*/ 325 h 1224"/>
                        <a:gd name="T32" fmla="*/ 1039 w 1039"/>
                        <a:gd name="T33" fmla="*/ 291 h 1224"/>
                        <a:gd name="T34" fmla="*/ 1018 w 1039"/>
                        <a:gd name="T35" fmla="*/ 256 h 1224"/>
                        <a:gd name="T36" fmla="*/ 573 w 1039"/>
                        <a:gd name="T37" fmla="*/ 5 h 1224"/>
                        <a:gd name="T38" fmla="*/ 552 w 1039"/>
                        <a:gd name="T39" fmla="*/ 0 h 1224"/>
                        <a:gd name="T40" fmla="*/ 533 w 1039"/>
                        <a:gd name="T41" fmla="*/ 5 h 1224"/>
                        <a:gd name="T42" fmla="*/ 85 w 1039"/>
                        <a:gd name="T43" fmla="*/ 256 h 1224"/>
                        <a:gd name="T44" fmla="*/ 64 w 1039"/>
                        <a:gd name="T45" fmla="*/ 291 h 1224"/>
                        <a:gd name="T46" fmla="*/ 85 w 1039"/>
                        <a:gd name="T47" fmla="*/ 325 h 1224"/>
                        <a:gd name="T48" fmla="*/ 533 w 1039"/>
                        <a:gd name="T49" fmla="*/ 576 h 1224"/>
                        <a:gd name="T50" fmla="*/ 552 w 1039"/>
                        <a:gd name="T51" fmla="*/ 581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39" h="1224">
                          <a:moveTo>
                            <a:pt x="488" y="1224"/>
                          </a:moveTo>
                          <a:cubicBezTo>
                            <a:pt x="495" y="1224"/>
                            <a:pt x="502" y="1222"/>
                            <a:pt x="509" y="1220"/>
                          </a:cubicBezTo>
                          <a:cubicBezTo>
                            <a:pt x="521" y="1213"/>
                            <a:pt x="528" y="1199"/>
                            <a:pt x="528" y="1185"/>
                          </a:cubicBezTo>
                          <a:cubicBezTo>
                            <a:pt x="528" y="1185"/>
                            <a:pt x="528" y="1185"/>
                            <a:pt x="528" y="683"/>
                          </a:cubicBezTo>
                          <a:cubicBezTo>
                            <a:pt x="528" y="669"/>
                            <a:pt x="521" y="655"/>
                            <a:pt x="509" y="649"/>
                          </a:cubicBezTo>
                          <a:cubicBezTo>
                            <a:pt x="509" y="649"/>
                            <a:pt x="509" y="649"/>
                            <a:pt x="61" y="397"/>
                          </a:cubicBezTo>
                          <a:cubicBezTo>
                            <a:pt x="54" y="395"/>
                            <a:pt x="47" y="393"/>
                            <a:pt x="40" y="393"/>
                          </a:cubicBezTo>
                          <a:cubicBezTo>
                            <a:pt x="33" y="393"/>
                            <a:pt x="26" y="395"/>
                            <a:pt x="21" y="397"/>
                          </a:cubicBezTo>
                          <a:cubicBezTo>
                            <a:pt x="10" y="404"/>
                            <a:pt x="0" y="418"/>
                            <a:pt x="0" y="432"/>
                          </a:cubicBezTo>
                          <a:cubicBezTo>
                            <a:pt x="0" y="432"/>
                            <a:pt x="0" y="432"/>
                            <a:pt x="0" y="934"/>
                          </a:cubicBezTo>
                          <a:cubicBezTo>
                            <a:pt x="0" y="948"/>
                            <a:pt x="10" y="962"/>
                            <a:pt x="21" y="968"/>
                          </a:cubicBezTo>
                          <a:cubicBezTo>
                            <a:pt x="21" y="968"/>
                            <a:pt x="21" y="968"/>
                            <a:pt x="469" y="1220"/>
                          </a:cubicBezTo>
                          <a:cubicBezTo>
                            <a:pt x="474" y="1222"/>
                            <a:pt x="481" y="1224"/>
                            <a:pt x="488" y="1224"/>
                          </a:cubicBezTo>
                          <a:close/>
                          <a:moveTo>
                            <a:pt x="552" y="581"/>
                          </a:moveTo>
                          <a:cubicBezTo>
                            <a:pt x="559" y="581"/>
                            <a:pt x="566" y="579"/>
                            <a:pt x="573" y="576"/>
                          </a:cubicBezTo>
                          <a:cubicBezTo>
                            <a:pt x="573" y="576"/>
                            <a:pt x="573" y="576"/>
                            <a:pt x="1018" y="325"/>
                          </a:cubicBezTo>
                          <a:cubicBezTo>
                            <a:pt x="1032" y="318"/>
                            <a:pt x="1039" y="304"/>
                            <a:pt x="1039" y="291"/>
                          </a:cubicBezTo>
                          <a:cubicBezTo>
                            <a:pt x="1039" y="277"/>
                            <a:pt x="1032" y="263"/>
                            <a:pt x="1018" y="256"/>
                          </a:cubicBezTo>
                          <a:cubicBezTo>
                            <a:pt x="1018" y="256"/>
                            <a:pt x="1018" y="256"/>
                            <a:pt x="573" y="5"/>
                          </a:cubicBezTo>
                          <a:cubicBezTo>
                            <a:pt x="566" y="3"/>
                            <a:pt x="559" y="0"/>
                            <a:pt x="552" y="0"/>
                          </a:cubicBezTo>
                          <a:cubicBezTo>
                            <a:pt x="545" y="0"/>
                            <a:pt x="538" y="3"/>
                            <a:pt x="533" y="5"/>
                          </a:cubicBezTo>
                          <a:cubicBezTo>
                            <a:pt x="533" y="5"/>
                            <a:pt x="533" y="5"/>
                            <a:pt x="85" y="256"/>
                          </a:cubicBezTo>
                          <a:cubicBezTo>
                            <a:pt x="74" y="263"/>
                            <a:pt x="64" y="277"/>
                            <a:pt x="64" y="291"/>
                          </a:cubicBezTo>
                          <a:cubicBezTo>
                            <a:pt x="64" y="304"/>
                            <a:pt x="74" y="318"/>
                            <a:pt x="85" y="325"/>
                          </a:cubicBezTo>
                          <a:cubicBezTo>
                            <a:pt x="85" y="325"/>
                            <a:pt x="85" y="325"/>
                            <a:pt x="533" y="576"/>
                          </a:cubicBezTo>
                          <a:cubicBezTo>
                            <a:pt x="538" y="579"/>
                            <a:pt x="545" y="581"/>
                            <a:pt x="552" y="58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00" name="Freeform 65">
                      <a:extLst>
                        <a:ext uri="{FF2B5EF4-FFF2-40B4-BE49-F238E27FC236}">
                          <a16:creationId xmlns:a16="http://schemas.microsoft.com/office/drawing/2014/main" id="{A31B8E97-300E-4383-8DA1-D289A25377F1}"/>
                        </a:ext>
                      </a:extLst>
                    </p:cNvPr>
                    <p:cNvSpPr>
                      <a:spLocks/>
                    </p:cNvSpPr>
                    <p:nvPr/>
                  </p:nvSpPr>
                  <p:spPr bwMode="auto">
                    <a:xfrm>
                      <a:off x="3771470" y="1650584"/>
                      <a:ext cx="372322" cy="216538"/>
                    </a:xfrm>
                    <a:custGeom>
                      <a:avLst/>
                      <a:gdLst>
                        <a:gd name="T0" fmla="*/ 487 w 975"/>
                        <a:gd name="T1" fmla="*/ 581 h 581"/>
                        <a:gd name="T2" fmla="*/ 506 w 975"/>
                        <a:gd name="T3" fmla="*/ 574 h 581"/>
                        <a:gd name="T4" fmla="*/ 954 w 975"/>
                        <a:gd name="T5" fmla="*/ 324 h 581"/>
                        <a:gd name="T6" fmla="*/ 975 w 975"/>
                        <a:gd name="T7" fmla="*/ 289 h 581"/>
                        <a:gd name="T8" fmla="*/ 954 w 975"/>
                        <a:gd name="T9" fmla="*/ 258 h 581"/>
                        <a:gd name="T10" fmla="*/ 506 w 975"/>
                        <a:gd name="T11" fmla="*/ 7 h 581"/>
                        <a:gd name="T12" fmla="*/ 487 w 975"/>
                        <a:gd name="T13" fmla="*/ 0 h 581"/>
                        <a:gd name="T14" fmla="*/ 466 w 975"/>
                        <a:gd name="T15" fmla="*/ 7 h 581"/>
                        <a:gd name="T16" fmla="*/ 21 w 975"/>
                        <a:gd name="T17" fmla="*/ 258 h 581"/>
                        <a:gd name="T18" fmla="*/ 0 w 975"/>
                        <a:gd name="T19" fmla="*/ 289 h 581"/>
                        <a:gd name="T20" fmla="*/ 21 w 975"/>
                        <a:gd name="T21" fmla="*/ 324 h 581"/>
                        <a:gd name="T22" fmla="*/ 466 w 975"/>
                        <a:gd name="T23" fmla="*/ 574 h 581"/>
                        <a:gd name="T24" fmla="*/ 487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7" y="581"/>
                          </a:moveTo>
                          <a:cubicBezTo>
                            <a:pt x="494" y="581"/>
                            <a:pt x="501" y="579"/>
                            <a:pt x="506" y="574"/>
                          </a:cubicBezTo>
                          <a:cubicBezTo>
                            <a:pt x="506" y="574"/>
                            <a:pt x="506" y="574"/>
                            <a:pt x="954" y="324"/>
                          </a:cubicBezTo>
                          <a:cubicBezTo>
                            <a:pt x="965" y="317"/>
                            <a:pt x="975" y="305"/>
                            <a:pt x="975" y="289"/>
                          </a:cubicBezTo>
                          <a:cubicBezTo>
                            <a:pt x="975" y="276"/>
                            <a:pt x="965" y="264"/>
                            <a:pt x="954" y="258"/>
                          </a:cubicBezTo>
                          <a:cubicBezTo>
                            <a:pt x="954" y="258"/>
                            <a:pt x="954" y="258"/>
                            <a:pt x="506" y="7"/>
                          </a:cubicBezTo>
                          <a:cubicBezTo>
                            <a:pt x="501" y="3"/>
                            <a:pt x="494" y="0"/>
                            <a:pt x="487" y="0"/>
                          </a:cubicBezTo>
                          <a:cubicBezTo>
                            <a:pt x="480" y="0"/>
                            <a:pt x="473" y="3"/>
                            <a:pt x="466" y="7"/>
                          </a:cubicBezTo>
                          <a:cubicBezTo>
                            <a:pt x="466" y="7"/>
                            <a:pt x="466" y="7"/>
                            <a:pt x="21" y="258"/>
                          </a:cubicBezTo>
                          <a:cubicBezTo>
                            <a:pt x="7" y="264"/>
                            <a:pt x="0" y="276"/>
                            <a:pt x="0" y="289"/>
                          </a:cubicBezTo>
                          <a:cubicBezTo>
                            <a:pt x="0" y="305"/>
                            <a:pt x="7" y="317"/>
                            <a:pt x="21" y="324"/>
                          </a:cubicBezTo>
                          <a:cubicBezTo>
                            <a:pt x="21" y="324"/>
                            <a:pt x="21" y="324"/>
                            <a:pt x="466" y="574"/>
                          </a:cubicBezTo>
                          <a:cubicBezTo>
                            <a:pt x="473" y="579"/>
                            <a:pt x="480" y="581"/>
                            <a:pt x="487" y="58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01" name="Freeform 66">
                      <a:extLst>
                        <a:ext uri="{FF2B5EF4-FFF2-40B4-BE49-F238E27FC236}">
                          <a16:creationId xmlns:a16="http://schemas.microsoft.com/office/drawing/2014/main" id="{6EF616F1-DE23-4053-811A-FD755E273628}"/>
                        </a:ext>
                      </a:extLst>
                    </p:cNvPr>
                    <p:cNvSpPr>
                      <a:spLocks/>
                    </p:cNvSpPr>
                    <p:nvPr/>
                  </p:nvSpPr>
                  <p:spPr bwMode="auto">
                    <a:xfrm>
                      <a:off x="3972950" y="2680306"/>
                      <a:ext cx="201480" cy="309488"/>
                    </a:xfrm>
                    <a:custGeom>
                      <a:avLst/>
                      <a:gdLst>
                        <a:gd name="T0" fmla="*/ 488 w 528"/>
                        <a:gd name="T1" fmla="*/ 831 h 831"/>
                        <a:gd name="T2" fmla="*/ 509 w 528"/>
                        <a:gd name="T3" fmla="*/ 827 h 831"/>
                        <a:gd name="T4" fmla="*/ 528 w 528"/>
                        <a:gd name="T5" fmla="*/ 793 h 831"/>
                        <a:gd name="T6" fmla="*/ 528 w 528"/>
                        <a:gd name="T7" fmla="*/ 290 h 831"/>
                        <a:gd name="T8" fmla="*/ 509 w 528"/>
                        <a:gd name="T9" fmla="*/ 256 h 831"/>
                        <a:gd name="T10" fmla="*/ 59 w 528"/>
                        <a:gd name="T11" fmla="*/ 4 h 831"/>
                        <a:gd name="T12" fmla="*/ 40 w 528"/>
                        <a:gd name="T13" fmla="*/ 0 h 831"/>
                        <a:gd name="T14" fmla="*/ 19 w 528"/>
                        <a:gd name="T15" fmla="*/ 4 h 831"/>
                        <a:gd name="T16" fmla="*/ 0 w 528"/>
                        <a:gd name="T17" fmla="*/ 39 h 831"/>
                        <a:gd name="T18" fmla="*/ 0 w 528"/>
                        <a:gd name="T19" fmla="*/ 541 h 831"/>
                        <a:gd name="T20" fmla="*/ 19 w 528"/>
                        <a:gd name="T21" fmla="*/ 576 h 831"/>
                        <a:gd name="T22" fmla="*/ 469 w 528"/>
                        <a:gd name="T23" fmla="*/ 827 h 831"/>
                        <a:gd name="T24" fmla="*/ 488 w 528"/>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1">
                          <a:moveTo>
                            <a:pt x="488" y="831"/>
                          </a:moveTo>
                          <a:cubicBezTo>
                            <a:pt x="495" y="831"/>
                            <a:pt x="502" y="829"/>
                            <a:pt x="509" y="827"/>
                          </a:cubicBezTo>
                          <a:cubicBezTo>
                            <a:pt x="520" y="820"/>
                            <a:pt x="528" y="806"/>
                            <a:pt x="528" y="793"/>
                          </a:cubicBezTo>
                          <a:cubicBezTo>
                            <a:pt x="528" y="793"/>
                            <a:pt x="528" y="793"/>
                            <a:pt x="528" y="290"/>
                          </a:cubicBezTo>
                          <a:cubicBezTo>
                            <a:pt x="528" y="276"/>
                            <a:pt x="520" y="263"/>
                            <a:pt x="509" y="256"/>
                          </a:cubicBezTo>
                          <a:cubicBezTo>
                            <a:pt x="509" y="256"/>
                            <a:pt x="509" y="256"/>
                            <a:pt x="59" y="4"/>
                          </a:cubicBezTo>
                          <a:cubicBezTo>
                            <a:pt x="54" y="2"/>
                            <a:pt x="47" y="0"/>
                            <a:pt x="40" y="0"/>
                          </a:cubicBezTo>
                          <a:cubicBezTo>
                            <a:pt x="33" y="0"/>
                            <a:pt x="26" y="2"/>
                            <a:pt x="19" y="4"/>
                          </a:cubicBezTo>
                          <a:cubicBezTo>
                            <a:pt x="7" y="11"/>
                            <a:pt x="0" y="25"/>
                            <a:pt x="0" y="39"/>
                          </a:cubicBezTo>
                          <a:cubicBezTo>
                            <a:pt x="0" y="39"/>
                            <a:pt x="0" y="39"/>
                            <a:pt x="0" y="541"/>
                          </a:cubicBezTo>
                          <a:cubicBezTo>
                            <a:pt x="0" y="555"/>
                            <a:pt x="7" y="569"/>
                            <a:pt x="19" y="576"/>
                          </a:cubicBezTo>
                          <a:cubicBezTo>
                            <a:pt x="19" y="576"/>
                            <a:pt x="19" y="576"/>
                            <a:pt x="469" y="827"/>
                          </a:cubicBezTo>
                          <a:cubicBezTo>
                            <a:pt x="473" y="829"/>
                            <a:pt x="480" y="831"/>
                            <a:pt x="488"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02" name="Freeform 69">
                      <a:extLst>
                        <a:ext uri="{FF2B5EF4-FFF2-40B4-BE49-F238E27FC236}">
                          <a16:creationId xmlns:a16="http://schemas.microsoft.com/office/drawing/2014/main" id="{4A307821-B741-406B-AE47-351B52804AD8}"/>
                        </a:ext>
                      </a:extLst>
                    </p:cNvPr>
                    <p:cNvSpPr>
                      <a:spLocks/>
                    </p:cNvSpPr>
                    <p:nvPr/>
                  </p:nvSpPr>
                  <p:spPr bwMode="auto">
                    <a:xfrm>
                      <a:off x="4198315" y="3311745"/>
                      <a:ext cx="201999" cy="310008"/>
                    </a:xfrm>
                    <a:custGeom>
                      <a:avLst/>
                      <a:gdLst>
                        <a:gd name="T0" fmla="*/ 488 w 528"/>
                        <a:gd name="T1" fmla="*/ 832 h 832"/>
                        <a:gd name="T2" fmla="*/ 509 w 528"/>
                        <a:gd name="T3" fmla="*/ 827 h 832"/>
                        <a:gd name="T4" fmla="*/ 528 w 528"/>
                        <a:gd name="T5" fmla="*/ 793 h 832"/>
                        <a:gd name="T6" fmla="*/ 528 w 528"/>
                        <a:gd name="T7" fmla="*/ 292 h 832"/>
                        <a:gd name="T8" fmla="*/ 509 w 528"/>
                        <a:gd name="T9" fmla="*/ 258 h 832"/>
                        <a:gd name="T10" fmla="*/ 61 w 528"/>
                        <a:gd name="T11" fmla="*/ 7 h 832"/>
                        <a:gd name="T12" fmla="*/ 40 w 528"/>
                        <a:gd name="T13" fmla="*/ 0 h 832"/>
                        <a:gd name="T14" fmla="*/ 22 w 528"/>
                        <a:gd name="T15" fmla="*/ 7 h 832"/>
                        <a:gd name="T16" fmla="*/ 0 w 528"/>
                        <a:gd name="T17" fmla="*/ 39 h 832"/>
                        <a:gd name="T18" fmla="*/ 0 w 528"/>
                        <a:gd name="T19" fmla="*/ 543 h 832"/>
                        <a:gd name="T20" fmla="*/ 22 w 528"/>
                        <a:gd name="T21" fmla="*/ 574 h 832"/>
                        <a:gd name="T22" fmla="*/ 469 w 528"/>
                        <a:gd name="T23" fmla="*/ 827 h 832"/>
                        <a:gd name="T24" fmla="*/ 488 w 528"/>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2">
                          <a:moveTo>
                            <a:pt x="488" y="832"/>
                          </a:moveTo>
                          <a:cubicBezTo>
                            <a:pt x="495" y="832"/>
                            <a:pt x="502" y="830"/>
                            <a:pt x="509" y="827"/>
                          </a:cubicBezTo>
                          <a:cubicBezTo>
                            <a:pt x="521" y="818"/>
                            <a:pt x="528" y="807"/>
                            <a:pt x="528" y="793"/>
                          </a:cubicBezTo>
                          <a:cubicBezTo>
                            <a:pt x="528" y="793"/>
                            <a:pt x="528" y="793"/>
                            <a:pt x="528" y="292"/>
                          </a:cubicBezTo>
                          <a:cubicBezTo>
                            <a:pt x="528" y="278"/>
                            <a:pt x="521" y="265"/>
                            <a:pt x="509" y="258"/>
                          </a:cubicBezTo>
                          <a:cubicBezTo>
                            <a:pt x="509" y="258"/>
                            <a:pt x="509" y="258"/>
                            <a:pt x="61" y="7"/>
                          </a:cubicBezTo>
                          <a:cubicBezTo>
                            <a:pt x="54" y="3"/>
                            <a:pt x="47" y="0"/>
                            <a:pt x="40" y="0"/>
                          </a:cubicBezTo>
                          <a:cubicBezTo>
                            <a:pt x="33" y="0"/>
                            <a:pt x="26" y="3"/>
                            <a:pt x="22" y="7"/>
                          </a:cubicBezTo>
                          <a:cubicBezTo>
                            <a:pt x="10" y="14"/>
                            <a:pt x="0" y="25"/>
                            <a:pt x="0" y="39"/>
                          </a:cubicBezTo>
                          <a:cubicBezTo>
                            <a:pt x="0" y="39"/>
                            <a:pt x="0" y="39"/>
                            <a:pt x="0" y="543"/>
                          </a:cubicBezTo>
                          <a:cubicBezTo>
                            <a:pt x="0" y="556"/>
                            <a:pt x="10" y="568"/>
                            <a:pt x="22" y="574"/>
                          </a:cubicBezTo>
                          <a:cubicBezTo>
                            <a:pt x="22" y="574"/>
                            <a:pt x="22" y="574"/>
                            <a:pt x="469" y="827"/>
                          </a:cubicBezTo>
                          <a:cubicBezTo>
                            <a:pt x="474" y="830"/>
                            <a:pt x="481" y="832"/>
                            <a:pt x="488" y="8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03" name="Freeform 70">
                      <a:extLst>
                        <a:ext uri="{FF2B5EF4-FFF2-40B4-BE49-F238E27FC236}">
                          <a16:creationId xmlns:a16="http://schemas.microsoft.com/office/drawing/2014/main" id="{BDA28DEC-0A7B-4CCA-A2B1-BBBDD4FC6AD1}"/>
                        </a:ext>
                      </a:extLst>
                    </p:cNvPr>
                    <p:cNvSpPr>
                      <a:spLocks/>
                    </p:cNvSpPr>
                    <p:nvPr/>
                  </p:nvSpPr>
                  <p:spPr bwMode="auto">
                    <a:xfrm>
                      <a:off x="4198315" y="3569305"/>
                      <a:ext cx="201999" cy="309488"/>
                    </a:xfrm>
                    <a:custGeom>
                      <a:avLst/>
                      <a:gdLst>
                        <a:gd name="T0" fmla="*/ 488 w 528"/>
                        <a:gd name="T1" fmla="*/ 831 h 831"/>
                        <a:gd name="T2" fmla="*/ 509 w 528"/>
                        <a:gd name="T3" fmla="*/ 824 h 831"/>
                        <a:gd name="T4" fmla="*/ 528 w 528"/>
                        <a:gd name="T5" fmla="*/ 793 h 831"/>
                        <a:gd name="T6" fmla="*/ 528 w 528"/>
                        <a:gd name="T7" fmla="*/ 289 h 831"/>
                        <a:gd name="T8" fmla="*/ 509 w 528"/>
                        <a:gd name="T9" fmla="*/ 257 h 831"/>
                        <a:gd name="T10" fmla="*/ 61 w 528"/>
                        <a:gd name="T11" fmla="*/ 7 h 831"/>
                        <a:gd name="T12" fmla="*/ 40 w 528"/>
                        <a:gd name="T13" fmla="*/ 0 h 831"/>
                        <a:gd name="T14" fmla="*/ 22 w 528"/>
                        <a:gd name="T15" fmla="*/ 7 h 831"/>
                        <a:gd name="T16" fmla="*/ 0 w 528"/>
                        <a:gd name="T17" fmla="*/ 38 h 831"/>
                        <a:gd name="T18" fmla="*/ 0 w 528"/>
                        <a:gd name="T19" fmla="*/ 540 h 831"/>
                        <a:gd name="T20" fmla="*/ 22 w 528"/>
                        <a:gd name="T21" fmla="*/ 574 h 831"/>
                        <a:gd name="T22" fmla="*/ 469 w 528"/>
                        <a:gd name="T23" fmla="*/ 824 h 831"/>
                        <a:gd name="T24" fmla="*/ 488 w 528"/>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1">
                          <a:moveTo>
                            <a:pt x="488" y="831"/>
                          </a:moveTo>
                          <a:cubicBezTo>
                            <a:pt x="495" y="831"/>
                            <a:pt x="502" y="829"/>
                            <a:pt x="509" y="824"/>
                          </a:cubicBezTo>
                          <a:cubicBezTo>
                            <a:pt x="521" y="818"/>
                            <a:pt x="528" y="806"/>
                            <a:pt x="528" y="793"/>
                          </a:cubicBezTo>
                          <a:cubicBezTo>
                            <a:pt x="528" y="793"/>
                            <a:pt x="528" y="793"/>
                            <a:pt x="528" y="289"/>
                          </a:cubicBezTo>
                          <a:cubicBezTo>
                            <a:pt x="528" y="275"/>
                            <a:pt x="521" y="264"/>
                            <a:pt x="509" y="257"/>
                          </a:cubicBezTo>
                          <a:cubicBezTo>
                            <a:pt x="509" y="257"/>
                            <a:pt x="509" y="257"/>
                            <a:pt x="61" y="7"/>
                          </a:cubicBezTo>
                          <a:cubicBezTo>
                            <a:pt x="54" y="2"/>
                            <a:pt x="47" y="0"/>
                            <a:pt x="40" y="0"/>
                          </a:cubicBezTo>
                          <a:cubicBezTo>
                            <a:pt x="33" y="0"/>
                            <a:pt x="26" y="2"/>
                            <a:pt x="22" y="7"/>
                          </a:cubicBezTo>
                          <a:cubicBezTo>
                            <a:pt x="10" y="13"/>
                            <a:pt x="0" y="25"/>
                            <a:pt x="0" y="38"/>
                          </a:cubicBezTo>
                          <a:cubicBezTo>
                            <a:pt x="0" y="38"/>
                            <a:pt x="0" y="38"/>
                            <a:pt x="0" y="540"/>
                          </a:cubicBezTo>
                          <a:cubicBezTo>
                            <a:pt x="0" y="556"/>
                            <a:pt x="10" y="567"/>
                            <a:pt x="22" y="574"/>
                          </a:cubicBezTo>
                          <a:cubicBezTo>
                            <a:pt x="22" y="574"/>
                            <a:pt x="22" y="574"/>
                            <a:pt x="469" y="824"/>
                          </a:cubicBezTo>
                          <a:cubicBezTo>
                            <a:pt x="474" y="829"/>
                            <a:pt x="481" y="831"/>
                            <a:pt x="488"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04" name="Freeform 71">
                      <a:extLst>
                        <a:ext uri="{FF2B5EF4-FFF2-40B4-BE49-F238E27FC236}">
                          <a16:creationId xmlns:a16="http://schemas.microsoft.com/office/drawing/2014/main" id="{8AB81D06-84F7-4704-A241-7EAB7A3592C7}"/>
                        </a:ext>
                      </a:extLst>
                    </p:cNvPr>
                    <p:cNvSpPr>
                      <a:spLocks/>
                    </p:cNvSpPr>
                    <p:nvPr/>
                  </p:nvSpPr>
                  <p:spPr bwMode="auto">
                    <a:xfrm>
                      <a:off x="3747064" y="2305909"/>
                      <a:ext cx="201480" cy="309488"/>
                    </a:xfrm>
                    <a:custGeom>
                      <a:avLst/>
                      <a:gdLst>
                        <a:gd name="T0" fmla="*/ 487 w 527"/>
                        <a:gd name="T1" fmla="*/ 831 h 831"/>
                        <a:gd name="T2" fmla="*/ 506 w 527"/>
                        <a:gd name="T3" fmla="*/ 827 h 831"/>
                        <a:gd name="T4" fmla="*/ 527 w 527"/>
                        <a:gd name="T5" fmla="*/ 792 h 831"/>
                        <a:gd name="T6" fmla="*/ 527 w 527"/>
                        <a:gd name="T7" fmla="*/ 290 h 831"/>
                        <a:gd name="T8" fmla="*/ 506 w 527"/>
                        <a:gd name="T9" fmla="*/ 255 h 831"/>
                        <a:gd name="T10" fmla="*/ 61 w 527"/>
                        <a:gd name="T11" fmla="*/ 4 h 831"/>
                        <a:gd name="T12" fmla="*/ 40 w 527"/>
                        <a:gd name="T13" fmla="*/ 0 h 831"/>
                        <a:gd name="T14" fmla="*/ 21 w 527"/>
                        <a:gd name="T15" fmla="*/ 4 h 831"/>
                        <a:gd name="T16" fmla="*/ 0 w 527"/>
                        <a:gd name="T17" fmla="*/ 38 h 831"/>
                        <a:gd name="T18" fmla="*/ 0 w 527"/>
                        <a:gd name="T19" fmla="*/ 541 h 831"/>
                        <a:gd name="T20" fmla="*/ 21 w 527"/>
                        <a:gd name="T21" fmla="*/ 575 h 831"/>
                        <a:gd name="T22" fmla="*/ 466 w 527"/>
                        <a:gd name="T23" fmla="*/ 827 h 831"/>
                        <a:gd name="T24" fmla="*/ 487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87" y="831"/>
                          </a:moveTo>
                          <a:cubicBezTo>
                            <a:pt x="494" y="831"/>
                            <a:pt x="501" y="829"/>
                            <a:pt x="506" y="827"/>
                          </a:cubicBezTo>
                          <a:cubicBezTo>
                            <a:pt x="520" y="820"/>
                            <a:pt x="527" y="806"/>
                            <a:pt x="527" y="792"/>
                          </a:cubicBezTo>
                          <a:cubicBezTo>
                            <a:pt x="527" y="792"/>
                            <a:pt x="527" y="792"/>
                            <a:pt x="527" y="290"/>
                          </a:cubicBezTo>
                          <a:cubicBezTo>
                            <a:pt x="527" y="276"/>
                            <a:pt x="520" y="262"/>
                            <a:pt x="506" y="255"/>
                          </a:cubicBezTo>
                          <a:cubicBezTo>
                            <a:pt x="506" y="255"/>
                            <a:pt x="506" y="255"/>
                            <a:pt x="61" y="4"/>
                          </a:cubicBezTo>
                          <a:cubicBezTo>
                            <a:pt x="54" y="2"/>
                            <a:pt x="47" y="0"/>
                            <a:pt x="40" y="0"/>
                          </a:cubicBezTo>
                          <a:cubicBezTo>
                            <a:pt x="32" y="0"/>
                            <a:pt x="25" y="2"/>
                            <a:pt x="21" y="4"/>
                          </a:cubicBezTo>
                          <a:cubicBezTo>
                            <a:pt x="7" y="11"/>
                            <a:pt x="0" y="25"/>
                            <a:pt x="0" y="38"/>
                          </a:cubicBezTo>
                          <a:cubicBezTo>
                            <a:pt x="0" y="38"/>
                            <a:pt x="0" y="38"/>
                            <a:pt x="0" y="541"/>
                          </a:cubicBezTo>
                          <a:cubicBezTo>
                            <a:pt x="0" y="555"/>
                            <a:pt x="7" y="568"/>
                            <a:pt x="21" y="575"/>
                          </a:cubicBezTo>
                          <a:cubicBezTo>
                            <a:pt x="21" y="575"/>
                            <a:pt x="21" y="575"/>
                            <a:pt x="466" y="827"/>
                          </a:cubicBezTo>
                          <a:cubicBezTo>
                            <a:pt x="473" y="829"/>
                            <a:pt x="480" y="831"/>
                            <a:pt x="487"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05" name="Freeform 72">
                      <a:extLst>
                        <a:ext uri="{FF2B5EF4-FFF2-40B4-BE49-F238E27FC236}">
                          <a16:creationId xmlns:a16="http://schemas.microsoft.com/office/drawing/2014/main" id="{4CE51802-1E9E-473A-8205-FD10FECC35E0}"/>
                        </a:ext>
                      </a:extLst>
                    </p:cNvPr>
                    <p:cNvSpPr>
                      <a:spLocks/>
                    </p:cNvSpPr>
                    <p:nvPr/>
                  </p:nvSpPr>
                  <p:spPr bwMode="auto">
                    <a:xfrm>
                      <a:off x="3514948" y="2182841"/>
                      <a:ext cx="201480" cy="304295"/>
                    </a:xfrm>
                    <a:custGeom>
                      <a:avLst/>
                      <a:gdLst>
                        <a:gd name="T0" fmla="*/ 488 w 528"/>
                        <a:gd name="T1" fmla="*/ 816 h 816"/>
                        <a:gd name="T2" fmla="*/ 509 w 528"/>
                        <a:gd name="T3" fmla="*/ 812 h 816"/>
                        <a:gd name="T4" fmla="*/ 528 w 528"/>
                        <a:gd name="T5" fmla="*/ 778 h 816"/>
                        <a:gd name="T6" fmla="*/ 528 w 528"/>
                        <a:gd name="T7" fmla="*/ 285 h 816"/>
                        <a:gd name="T8" fmla="*/ 509 w 528"/>
                        <a:gd name="T9" fmla="*/ 251 h 816"/>
                        <a:gd name="T10" fmla="*/ 61 w 528"/>
                        <a:gd name="T11" fmla="*/ 5 h 816"/>
                        <a:gd name="T12" fmla="*/ 40 w 528"/>
                        <a:gd name="T13" fmla="*/ 0 h 816"/>
                        <a:gd name="T14" fmla="*/ 21 w 528"/>
                        <a:gd name="T15" fmla="*/ 5 h 816"/>
                        <a:gd name="T16" fmla="*/ 0 w 528"/>
                        <a:gd name="T17" fmla="*/ 38 h 816"/>
                        <a:gd name="T18" fmla="*/ 0 w 528"/>
                        <a:gd name="T19" fmla="*/ 531 h 816"/>
                        <a:gd name="T20" fmla="*/ 21 w 528"/>
                        <a:gd name="T21" fmla="*/ 563 h 816"/>
                        <a:gd name="T22" fmla="*/ 469 w 528"/>
                        <a:gd name="T23" fmla="*/ 812 h 816"/>
                        <a:gd name="T24" fmla="*/ 488 w 528"/>
                        <a:gd name="T25" fmla="*/ 81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16">
                          <a:moveTo>
                            <a:pt x="488" y="816"/>
                          </a:moveTo>
                          <a:cubicBezTo>
                            <a:pt x="495" y="816"/>
                            <a:pt x="502" y="814"/>
                            <a:pt x="509" y="812"/>
                          </a:cubicBezTo>
                          <a:cubicBezTo>
                            <a:pt x="521" y="805"/>
                            <a:pt x="528" y="791"/>
                            <a:pt x="528" y="778"/>
                          </a:cubicBezTo>
                          <a:cubicBezTo>
                            <a:pt x="528" y="778"/>
                            <a:pt x="528" y="778"/>
                            <a:pt x="528" y="285"/>
                          </a:cubicBezTo>
                          <a:cubicBezTo>
                            <a:pt x="528" y="271"/>
                            <a:pt x="521" y="258"/>
                            <a:pt x="509" y="251"/>
                          </a:cubicBezTo>
                          <a:cubicBezTo>
                            <a:pt x="509" y="251"/>
                            <a:pt x="509" y="251"/>
                            <a:pt x="61" y="5"/>
                          </a:cubicBezTo>
                          <a:cubicBezTo>
                            <a:pt x="54" y="0"/>
                            <a:pt x="47" y="0"/>
                            <a:pt x="40" y="0"/>
                          </a:cubicBezTo>
                          <a:cubicBezTo>
                            <a:pt x="33" y="0"/>
                            <a:pt x="26" y="0"/>
                            <a:pt x="21" y="5"/>
                          </a:cubicBezTo>
                          <a:cubicBezTo>
                            <a:pt x="10" y="11"/>
                            <a:pt x="0" y="23"/>
                            <a:pt x="0" y="38"/>
                          </a:cubicBezTo>
                          <a:cubicBezTo>
                            <a:pt x="0" y="38"/>
                            <a:pt x="0" y="38"/>
                            <a:pt x="0" y="531"/>
                          </a:cubicBezTo>
                          <a:cubicBezTo>
                            <a:pt x="0" y="545"/>
                            <a:pt x="10" y="556"/>
                            <a:pt x="21" y="563"/>
                          </a:cubicBezTo>
                          <a:cubicBezTo>
                            <a:pt x="21" y="563"/>
                            <a:pt x="21" y="563"/>
                            <a:pt x="469" y="812"/>
                          </a:cubicBezTo>
                          <a:cubicBezTo>
                            <a:pt x="474" y="814"/>
                            <a:pt x="481" y="816"/>
                            <a:pt x="488" y="8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06" name="Freeform 73">
                      <a:extLst>
                        <a:ext uri="{FF2B5EF4-FFF2-40B4-BE49-F238E27FC236}">
                          <a16:creationId xmlns:a16="http://schemas.microsoft.com/office/drawing/2014/main" id="{D69713FB-0838-45A5-9300-504DAAC8D5A6}"/>
                        </a:ext>
                      </a:extLst>
                    </p:cNvPr>
                    <p:cNvSpPr>
                      <a:spLocks/>
                    </p:cNvSpPr>
                    <p:nvPr/>
                  </p:nvSpPr>
                  <p:spPr bwMode="auto">
                    <a:xfrm>
                      <a:off x="3747064" y="2562950"/>
                      <a:ext cx="201480" cy="310008"/>
                    </a:xfrm>
                    <a:custGeom>
                      <a:avLst/>
                      <a:gdLst>
                        <a:gd name="T0" fmla="*/ 487 w 527"/>
                        <a:gd name="T1" fmla="*/ 832 h 832"/>
                        <a:gd name="T2" fmla="*/ 506 w 527"/>
                        <a:gd name="T3" fmla="*/ 827 h 832"/>
                        <a:gd name="T4" fmla="*/ 527 w 527"/>
                        <a:gd name="T5" fmla="*/ 793 h 832"/>
                        <a:gd name="T6" fmla="*/ 527 w 527"/>
                        <a:gd name="T7" fmla="*/ 290 h 832"/>
                        <a:gd name="T8" fmla="*/ 506 w 527"/>
                        <a:gd name="T9" fmla="*/ 256 h 832"/>
                        <a:gd name="T10" fmla="*/ 61 w 527"/>
                        <a:gd name="T11" fmla="*/ 5 h 832"/>
                        <a:gd name="T12" fmla="*/ 40 w 527"/>
                        <a:gd name="T13" fmla="*/ 0 h 832"/>
                        <a:gd name="T14" fmla="*/ 21 w 527"/>
                        <a:gd name="T15" fmla="*/ 5 h 832"/>
                        <a:gd name="T16" fmla="*/ 0 w 527"/>
                        <a:gd name="T17" fmla="*/ 39 h 832"/>
                        <a:gd name="T18" fmla="*/ 0 w 527"/>
                        <a:gd name="T19" fmla="*/ 541 h 832"/>
                        <a:gd name="T20" fmla="*/ 21 w 527"/>
                        <a:gd name="T21" fmla="*/ 576 h 832"/>
                        <a:gd name="T22" fmla="*/ 466 w 527"/>
                        <a:gd name="T23" fmla="*/ 827 h 832"/>
                        <a:gd name="T24" fmla="*/ 487 w 527"/>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2">
                          <a:moveTo>
                            <a:pt x="487" y="832"/>
                          </a:moveTo>
                          <a:cubicBezTo>
                            <a:pt x="494" y="832"/>
                            <a:pt x="501" y="829"/>
                            <a:pt x="506" y="827"/>
                          </a:cubicBezTo>
                          <a:cubicBezTo>
                            <a:pt x="520" y="820"/>
                            <a:pt x="527" y="806"/>
                            <a:pt x="527" y="793"/>
                          </a:cubicBezTo>
                          <a:cubicBezTo>
                            <a:pt x="527" y="793"/>
                            <a:pt x="527" y="793"/>
                            <a:pt x="527" y="290"/>
                          </a:cubicBezTo>
                          <a:cubicBezTo>
                            <a:pt x="527" y="276"/>
                            <a:pt x="520" y="263"/>
                            <a:pt x="506" y="256"/>
                          </a:cubicBezTo>
                          <a:cubicBezTo>
                            <a:pt x="506" y="256"/>
                            <a:pt x="506" y="256"/>
                            <a:pt x="61" y="5"/>
                          </a:cubicBezTo>
                          <a:cubicBezTo>
                            <a:pt x="54" y="0"/>
                            <a:pt x="47" y="0"/>
                            <a:pt x="40" y="0"/>
                          </a:cubicBezTo>
                          <a:cubicBezTo>
                            <a:pt x="32" y="0"/>
                            <a:pt x="25" y="0"/>
                            <a:pt x="21" y="5"/>
                          </a:cubicBezTo>
                          <a:cubicBezTo>
                            <a:pt x="7" y="11"/>
                            <a:pt x="0" y="25"/>
                            <a:pt x="0" y="39"/>
                          </a:cubicBezTo>
                          <a:cubicBezTo>
                            <a:pt x="0" y="39"/>
                            <a:pt x="0" y="39"/>
                            <a:pt x="0" y="541"/>
                          </a:cubicBezTo>
                          <a:cubicBezTo>
                            <a:pt x="0" y="555"/>
                            <a:pt x="7" y="569"/>
                            <a:pt x="21" y="576"/>
                          </a:cubicBezTo>
                          <a:cubicBezTo>
                            <a:pt x="21" y="576"/>
                            <a:pt x="21" y="576"/>
                            <a:pt x="466" y="827"/>
                          </a:cubicBezTo>
                          <a:cubicBezTo>
                            <a:pt x="473" y="829"/>
                            <a:pt x="480" y="832"/>
                            <a:pt x="487"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07" name="Freeform 74">
                      <a:extLst>
                        <a:ext uri="{FF2B5EF4-FFF2-40B4-BE49-F238E27FC236}">
                          <a16:creationId xmlns:a16="http://schemas.microsoft.com/office/drawing/2014/main" id="{CB7F544F-2148-4F38-B691-D580CFC32869}"/>
                        </a:ext>
                      </a:extLst>
                    </p:cNvPr>
                    <p:cNvSpPr>
                      <a:spLocks/>
                    </p:cNvSpPr>
                    <p:nvPr/>
                  </p:nvSpPr>
                  <p:spPr bwMode="auto">
                    <a:xfrm>
                      <a:off x="3514948" y="2434169"/>
                      <a:ext cx="201480" cy="310008"/>
                    </a:xfrm>
                    <a:custGeom>
                      <a:avLst/>
                      <a:gdLst>
                        <a:gd name="T0" fmla="*/ 488 w 528"/>
                        <a:gd name="T1" fmla="*/ 831 h 831"/>
                        <a:gd name="T2" fmla="*/ 509 w 528"/>
                        <a:gd name="T3" fmla="*/ 825 h 831"/>
                        <a:gd name="T4" fmla="*/ 528 w 528"/>
                        <a:gd name="T5" fmla="*/ 793 h 831"/>
                        <a:gd name="T6" fmla="*/ 528 w 528"/>
                        <a:gd name="T7" fmla="*/ 289 h 831"/>
                        <a:gd name="T8" fmla="*/ 509 w 528"/>
                        <a:gd name="T9" fmla="*/ 257 h 831"/>
                        <a:gd name="T10" fmla="*/ 61 w 528"/>
                        <a:gd name="T11" fmla="*/ 7 h 831"/>
                        <a:gd name="T12" fmla="*/ 40 w 528"/>
                        <a:gd name="T13" fmla="*/ 0 h 831"/>
                        <a:gd name="T14" fmla="*/ 21 w 528"/>
                        <a:gd name="T15" fmla="*/ 7 h 831"/>
                        <a:gd name="T16" fmla="*/ 0 w 528"/>
                        <a:gd name="T17" fmla="*/ 39 h 831"/>
                        <a:gd name="T18" fmla="*/ 0 w 528"/>
                        <a:gd name="T19" fmla="*/ 542 h 831"/>
                        <a:gd name="T20" fmla="*/ 21 w 528"/>
                        <a:gd name="T21" fmla="*/ 574 h 831"/>
                        <a:gd name="T22" fmla="*/ 469 w 528"/>
                        <a:gd name="T23" fmla="*/ 825 h 831"/>
                        <a:gd name="T24" fmla="*/ 488 w 528"/>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1">
                          <a:moveTo>
                            <a:pt x="488" y="831"/>
                          </a:moveTo>
                          <a:cubicBezTo>
                            <a:pt x="495" y="831"/>
                            <a:pt x="502" y="829"/>
                            <a:pt x="509" y="825"/>
                          </a:cubicBezTo>
                          <a:cubicBezTo>
                            <a:pt x="521" y="818"/>
                            <a:pt x="528" y="806"/>
                            <a:pt x="528" y="793"/>
                          </a:cubicBezTo>
                          <a:cubicBezTo>
                            <a:pt x="528" y="793"/>
                            <a:pt x="528" y="793"/>
                            <a:pt x="528" y="289"/>
                          </a:cubicBezTo>
                          <a:cubicBezTo>
                            <a:pt x="528" y="275"/>
                            <a:pt x="521" y="264"/>
                            <a:pt x="509" y="257"/>
                          </a:cubicBezTo>
                          <a:cubicBezTo>
                            <a:pt x="509" y="257"/>
                            <a:pt x="509" y="257"/>
                            <a:pt x="61" y="7"/>
                          </a:cubicBezTo>
                          <a:cubicBezTo>
                            <a:pt x="54" y="2"/>
                            <a:pt x="47" y="0"/>
                            <a:pt x="40" y="0"/>
                          </a:cubicBezTo>
                          <a:cubicBezTo>
                            <a:pt x="33" y="0"/>
                            <a:pt x="26" y="2"/>
                            <a:pt x="21" y="7"/>
                          </a:cubicBezTo>
                          <a:cubicBezTo>
                            <a:pt x="10" y="13"/>
                            <a:pt x="0" y="25"/>
                            <a:pt x="0" y="39"/>
                          </a:cubicBezTo>
                          <a:cubicBezTo>
                            <a:pt x="0" y="39"/>
                            <a:pt x="0" y="39"/>
                            <a:pt x="0" y="542"/>
                          </a:cubicBezTo>
                          <a:cubicBezTo>
                            <a:pt x="0" y="556"/>
                            <a:pt x="10" y="567"/>
                            <a:pt x="21" y="574"/>
                          </a:cubicBezTo>
                          <a:cubicBezTo>
                            <a:pt x="21" y="574"/>
                            <a:pt x="21" y="574"/>
                            <a:pt x="469" y="825"/>
                          </a:cubicBezTo>
                          <a:cubicBezTo>
                            <a:pt x="474" y="829"/>
                            <a:pt x="481" y="831"/>
                            <a:pt x="488"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08" name="Freeform 75">
                      <a:extLst>
                        <a:ext uri="{FF2B5EF4-FFF2-40B4-BE49-F238E27FC236}">
                          <a16:creationId xmlns:a16="http://schemas.microsoft.com/office/drawing/2014/main" id="{A7F8BDB6-04AF-49FC-8C80-3228814FC9EC}"/>
                        </a:ext>
                      </a:extLst>
                    </p:cNvPr>
                    <p:cNvSpPr>
                      <a:spLocks/>
                    </p:cNvSpPr>
                    <p:nvPr/>
                  </p:nvSpPr>
                  <p:spPr bwMode="auto">
                    <a:xfrm>
                      <a:off x="3289062" y="2305909"/>
                      <a:ext cx="201480" cy="309488"/>
                    </a:xfrm>
                    <a:custGeom>
                      <a:avLst/>
                      <a:gdLst>
                        <a:gd name="T0" fmla="*/ 487 w 527"/>
                        <a:gd name="T1" fmla="*/ 831 h 831"/>
                        <a:gd name="T2" fmla="*/ 509 w 527"/>
                        <a:gd name="T3" fmla="*/ 827 h 831"/>
                        <a:gd name="T4" fmla="*/ 527 w 527"/>
                        <a:gd name="T5" fmla="*/ 792 h 831"/>
                        <a:gd name="T6" fmla="*/ 527 w 527"/>
                        <a:gd name="T7" fmla="*/ 290 h 831"/>
                        <a:gd name="T8" fmla="*/ 509 w 527"/>
                        <a:gd name="T9" fmla="*/ 255 h 831"/>
                        <a:gd name="T10" fmla="*/ 59 w 527"/>
                        <a:gd name="T11" fmla="*/ 4 h 831"/>
                        <a:gd name="T12" fmla="*/ 40 w 527"/>
                        <a:gd name="T13" fmla="*/ 0 h 831"/>
                        <a:gd name="T14" fmla="*/ 19 w 527"/>
                        <a:gd name="T15" fmla="*/ 4 h 831"/>
                        <a:gd name="T16" fmla="*/ 0 w 527"/>
                        <a:gd name="T17" fmla="*/ 38 h 831"/>
                        <a:gd name="T18" fmla="*/ 0 w 527"/>
                        <a:gd name="T19" fmla="*/ 541 h 831"/>
                        <a:gd name="T20" fmla="*/ 19 w 527"/>
                        <a:gd name="T21" fmla="*/ 575 h 831"/>
                        <a:gd name="T22" fmla="*/ 468 w 527"/>
                        <a:gd name="T23" fmla="*/ 827 h 831"/>
                        <a:gd name="T24" fmla="*/ 487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87" y="831"/>
                          </a:moveTo>
                          <a:cubicBezTo>
                            <a:pt x="494" y="831"/>
                            <a:pt x="501" y="829"/>
                            <a:pt x="509" y="827"/>
                          </a:cubicBezTo>
                          <a:cubicBezTo>
                            <a:pt x="520" y="820"/>
                            <a:pt x="527" y="806"/>
                            <a:pt x="527" y="792"/>
                          </a:cubicBezTo>
                          <a:cubicBezTo>
                            <a:pt x="527" y="792"/>
                            <a:pt x="527" y="792"/>
                            <a:pt x="527" y="290"/>
                          </a:cubicBezTo>
                          <a:cubicBezTo>
                            <a:pt x="527" y="276"/>
                            <a:pt x="520" y="262"/>
                            <a:pt x="509" y="255"/>
                          </a:cubicBezTo>
                          <a:cubicBezTo>
                            <a:pt x="509" y="255"/>
                            <a:pt x="509" y="255"/>
                            <a:pt x="59" y="4"/>
                          </a:cubicBezTo>
                          <a:cubicBezTo>
                            <a:pt x="54" y="2"/>
                            <a:pt x="47" y="0"/>
                            <a:pt x="40" y="0"/>
                          </a:cubicBezTo>
                          <a:cubicBezTo>
                            <a:pt x="33" y="0"/>
                            <a:pt x="26" y="2"/>
                            <a:pt x="19" y="4"/>
                          </a:cubicBezTo>
                          <a:cubicBezTo>
                            <a:pt x="7" y="11"/>
                            <a:pt x="0" y="25"/>
                            <a:pt x="0" y="38"/>
                          </a:cubicBezTo>
                          <a:cubicBezTo>
                            <a:pt x="0" y="38"/>
                            <a:pt x="0" y="38"/>
                            <a:pt x="0" y="541"/>
                          </a:cubicBezTo>
                          <a:cubicBezTo>
                            <a:pt x="0" y="555"/>
                            <a:pt x="7" y="568"/>
                            <a:pt x="19" y="575"/>
                          </a:cubicBezTo>
                          <a:cubicBezTo>
                            <a:pt x="19" y="575"/>
                            <a:pt x="19" y="575"/>
                            <a:pt x="468" y="827"/>
                          </a:cubicBezTo>
                          <a:cubicBezTo>
                            <a:pt x="473" y="829"/>
                            <a:pt x="480" y="831"/>
                            <a:pt x="487"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09" name="Freeform 76">
                      <a:extLst>
                        <a:ext uri="{FF2B5EF4-FFF2-40B4-BE49-F238E27FC236}">
                          <a16:creationId xmlns:a16="http://schemas.microsoft.com/office/drawing/2014/main" id="{EB332A5C-A0CB-4453-9D25-4523EB316537}"/>
                        </a:ext>
                      </a:extLst>
                    </p:cNvPr>
                    <p:cNvSpPr>
                      <a:spLocks/>
                    </p:cNvSpPr>
                    <p:nvPr/>
                  </p:nvSpPr>
                  <p:spPr bwMode="auto">
                    <a:xfrm>
                      <a:off x="3289062" y="2557238"/>
                      <a:ext cx="201480" cy="310008"/>
                    </a:xfrm>
                    <a:custGeom>
                      <a:avLst/>
                      <a:gdLst>
                        <a:gd name="T0" fmla="*/ 487 w 527"/>
                        <a:gd name="T1" fmla="*/ 832 h 832"/>
                        <a:gd name="T2" fmla="*/ 509 w 527"/>
                        <a:gd name="T3" fmla="*/ 825 h 832"/>
                        <a:gd name="T4" fmla="*/ 527 w 527"/>
                        <a:gd name="T5" fmla="*/ 793 h 832"/>
                        <a:gd name="T6" fmla="*/ 527 w 527"/>
                        <a:gd name="T7" fmla="*/ 290 h 832"/>
                        <a:gd name="T8" fmla="*/ 509 w 527"/>
                        <a:gd name="T9" fmla="*/ 258 h 832"/>
                        <a:gd name="T10" fmla="*/ 59 w 527"/>
                        <a:gd name="T11" fmla="*/ 7 h 832"/>
                        <a:gd name="T12" fmla="*/ 40 w 527"/>
                        <a:gd name="T13" fmla="*/ 0 h 832"/>
                        <a:gd name="T14" fmla="*/ 19 w 527"/>
                        <a:gd name="T15" fmla="*/ 7 h 832"/>
                        <a:gd name="T16" fmla="*/ 0 w 527"/>
                        <a:gd name="T17" fmla="*/ 39 h 832"/>
                        <a:gd name="T18" fmla="*/ 0 w 527"/>
                        <a:gd name="T19" fmla="*/ 543 h 832"/>
                        <a:gd name="T20" fmla="*/ 19 w 527"/>
                        <a:gd name="T21" fmla="*/ 574 h 832"/>
                        <a:gd name="T22" fmla="*/ 468 w 527"/>
                        <a:gd name="T23" fmla="*/ 825 h 832"/>
                        <a:gd name="T24" fmla="*/ 487 w 527"/>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2">
                          <a:moveTo>
                            <a:pt x="487" y="832"/>
                          </a:moveTo>
                          <a:cubicBezTo>
                            <a:pt x="494" y="832"/>
                            <a:pt x="501" y="830"/>
                            <a:pt x="509" y="825"/>
                          </a:cubicBezTo>
                          <a:cubicBezTo>
                            <a:pt x="520" y="818"/>
                            <a:pt x="527" y="807"/>
                            <a:pt x="527" y="793"/>
                          </a:cubicBezTo>
                          <a:cubicBezTo>
                            <a:pt x="527" y="793"/>
                            <a:pt x="527" y="793"/>
                            <a:pt x="527" y="290"/>
                          </a:cubicBezTo>
                          <a:cubicBezTo>
                            <a:pt x="527" y="276"/>
                            <a:pt x="520" y="265"/>
                            <a:pt x="509" y="258"/>
                          </a:cubicBezTo>
                          <a:cubicBezTo>
                            <a:pt x="509" y="258"/>
                            <a:pt x="509" y="258"/>
                            <a:pt x="59" y="7"/>
                          </a:cubicBezTo>
                          <a:cubicBezTo>
                            <a:pt x="54" y="3"/>
                            <a:pt x="47" y="0"/>
                            <a:pt x="40" y="0"/>
                          </a:cubicBezTo>
                          <a:cubicBezTo>
                            <a:pt x="33" y="0"/>
                            <a:pt x="26" y="3"/>
                            <a:pt x="19" y="7"/>
                          </a:cubicBezTo>
                          <a:cubicBezTo>
                            <a:pt x="7" y="14"/>
                            <a:pt x="0" y="25"/>
                            <a:pt x="0" y="39"/>
                          </a:cubicBezTo>
                          <a:cubicBezTo>
                            <a:pt x="0" y="39"/>
                            <a:pt x="0" y="39"/>
                            <a:pt x="0" y="543"/>
                          </a:cubicBezTo>
                          <a:cubicBezTo>
                            <a:pt x="0" y="556"/>
                            <a:pt x="7" y="568"/>
                            <a:pt x="19" y="574"/>
                          </a:cubicBezTo>
                          <a:cubicBezTo>
                            <a:pt x="19" y="574"/>
                            <a:pt x="19" y="574"/>
                            <a:pt x="468" y="825"/>
                          </a:cubicBezTo>
                          <a:cubicBezTo>
                            <a:pt x="473" y="830"/>
                            <a:pt x="480" y="832"/>
                            <a:pt x="487" y="8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10" name="Freeform 77">
                      <a:extLst>
                        <a:ext uri="{FF2B5EF4-FFF2-40B4-BE49-F238E27FC236}">
                          <a16:creationId xmlns:a16="http://schemas.microsoft.com/office/drawing/2014/main" id="{6EFC8CE6-901F-4D64-90D3-C00BC67F2EEE}"/>
                        </a:ext>
                      </a:extLst>
                    </p:cNvPr>
                    <p:cNvSpPr>
                      <a:spLocks noEditPoints="1"/>
                    </p:cNvSpPr>
                    <p:nvPr/>
                  </p:nvSpPr>
                  <p:spPr bwMode="auto">
                    <a:xfrm>
                      <a:off x="4430952" y="3188677"/>
                      <a:ext cx="433077" cy="310008"/>
                    </a:xfrm>
                    <a:custGeom>
                      <a:avLst/>
                      <a:gdLst>
                        <a:gd name="T0" fmla="*/ 487 w 1135"/>
                        <a:gd name="T1" fmla="*/ 831 h 831"/>
                        <a:gd name="T2" fmla="*/ 506 w 1135"/>
                        <a:gd name="T3" fmla="*/ 827 h 831"/>
                        <a:gd name="T4" fmla="*/ 527 w 1135"/>
                        <a:gd name="T5" fmla="*/ 793 h 831"/>
                        <a:gd name="T6" fmla="*/ 527 w 1135"/>
                        <a:gd name="T7" fmla="*/ 290 h 831"/>
                        <a:gd name="T8" fmla="*/ 506 w 1135"/>
                        <a:gd name="T9" fmla="*/ 256 h 831"/>
                        <a:gd name="T10" fmla="*/ 61 w 1135"/>
                        <a:gd name="T11" fmla="*/ 4 h 831"/>
                        <a:gd name="T12" fmla="*/ 40 w 1135"/>
                        <a:gd name="T13" fmla="*/ 0 h 831"/>
                        <a:gd name="T14" fmla="*/ 21 w 1135"/>
                        <a:gd name="T15" fmla="*/ 4 h 831"/>
                        <a:gd name="T16" fmla="*/ 0 w 1135"/>
                        <a:gd name="T17" fmla="*/ 39 h 831"/>
                        <a:gd name="T18" fmla="*/ 0 w 1135"/>
                        <a:gd name="T19" fmla="*/ 541 h 831"/>
                        <a:gd name="T20" fmla="*/ 21 w 1135"/>
                        <a:gd name="T21" fmla="*/ 576 h 831"/>
                        <a:gd name="T22" fmla="*/ 466 w 1135"/>
                        <a:gd name="T23" fmla="*/ 827 h 831"/>
                        <a:gd name="T24" fmla="*/ 487 w 1135"/>
                        <a:gd name="T25" fmla="*/ 831 h 831"/>
                        <a:gd name="T26" fmla="*/ 647 w 1135"/>
                        <a:gd name="T27" fmla="*/ 831 h 831"/>
                        <a:gd name="T28" fmla="*/ 666 w 1135"/>
                        <a:gd name="T29" fmla="*/ 827 h 831"/>
                        <a:gd name="T30" fmla="*/ 1114 w 1135"/>
                        <a:gd name="T31" fmla="*/ 576 h 831"/>
                        <a:gd name="T32" fmla="*/ 1135 w 1135"/>
                        <a:gd name="T33" fmla="*/ 541 h 831"/>
                        <a:gd name="T34" fmla="*/ 1135 w 1135"/>
                        <a:gd name="T35" fmla="*/ 39 h 831"/>
                        <a:gd name="T36" fmla="*/ 1114 w 1135"/>
                        <a:gd name="T37" fmla="*/ 4 h 831"/>
                        <a:gd name="T38" fmla="*/ 1095 w 1135"/>
                        <a:gd name="T39" fmla="*/ 0 h 831"/>
                        <a:gd name="T40" fmla="*/ 1074 w 1135"/>
                        <a:gd name="T41" fmla="*/ 4 h 831"/>
                        <a:gd name="T42" fmla="*/ 626 w 1135"/>
                        <a:gd name="T43" fmla="*/ 256 h 831"/>
                        <a:gd name="T44" fmla="*/ 607 w 1135"/>
                        <a:gd name="T45" fmla="*/ 290 h 831"/>
                        <a:gd name="T46" fmla="*/ 607 w 1135"/>
                        <a:gd name="T47" fmla="*/ 793 h 831"/>
                        <a:gd name="T48" fmla="*/ 626 w 1135"/>
                        <a:gd name="T49" fmla="*/ 827 h 831"/>
                        <a:gd name="T50" fmla="*/ 647 w 1135"/>
                        <a:gd name="T51"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5" h="831">
                          <a:moveTo>
                            <a:pt x="487" y="831"/>
                          </a:moveTo>
                          <a:cubicBezTo>
                            <a:pt x="495" y="831"/>
                            <a:pt x="502" y="831"/>
                            <a:pt x="506" y="827"/>
                          </a:cubicBezTo>
                          <a:cubicBezTo>
                            <a:pt x="520" y="820"/>
                            <a:pt x="527" y="806"/>
                            <a:pt x="527" y="793"/>
                          </a:cubicBezTo>
                          <a:cubicBezTo>
                            <a:pt x="527" y="793"/>
                            <a:pt x="527" y="793"/>
                            <a:pt x="527" y="290"/>
                          </a:cubicBezTo>
                          <a:cubicBezTo>
                            <a:pt x="527" y="276"/>
                            <a:pt x="520" y="263"/>
                            <a:pt x="506" y="256"/>
                          </a:cubicBezTo>
                          <a:cubicBezTo>
                            <a:pt x="506" y="256"/>
                            <a:pt x="506" y="256"/>
                            <a:pt x="61" y="4"/>
                          </a:cubicBezTo>
                          <a:cubicBezTo>
                            <a:pt x="54" y="2"/>
                            <a:pt x="47" y="0"/>
                            <a:pt x="40" y="0"/>
                          </a:cubicBezTo>
                          <a:cubicBezTo>
                            <a:pt x="33" y="0"/>
                            <a:pt x="26" y="2"/>
                            <a:pt x="21" y="4"/>
                          </a:cubicBezTo>
                          <a:cubicBezTo>
                            <a:pt x="7" y="11"/>
                            <a:pt x="0" y="25"/>
                            <a:pt x="0" y="39"/>
                          </a:cubicBezTo>
                          <a:cubicBezTo>
                            <a:pt x="0" y="39"/>
                            <a:pt x="0" y="39"/>
                            <a:pt x="0" y="541"/>
                          </a:cubicBezTo>
                          <a:cubicBezTo>
                            <a:pt x="0" y="555"/>
                            <a:pt x="7" y="569"/>
                            <a:pt x="21" y="576"/>
                          </a:cubicBezTo>
                          <a:cubicBezTo>
                            <a:pt x="21" y="576"/>
                            <a:pt x="21" y="576"/>
                            <a:pt x="466" y="827"/>
                          </a:cubicBezTo>
                          <a:cubicBezTo>
                            <a:pt x="473" y="831"/>
                            <a:pt x="480" y="831"/>
                            <a:pt x="487" y="831"/>
                          </a:cubicBezTo>
                          <a:close/>
                          <a:moveTo>
                            <a:pt x="647" y="831"/>
                          </a:moveTo>
                          <a:cubicBezTo>
                            <a:pt x="654" y="831"/>
                            <a:pt x="661" y="831"/>
                            <a:pt x="666" y="827"/>
                          </a:cubicBezTo>
                          <a:cubicBezTo>
                            <a:pt x="666" y="827"/>
                            <a:pt x="666" y="827"/>
                            <a:pt x="1114" y="576"/>
                          </a:cubicBezTo>
                          <a:cubicBezTo>
                            <a:pt x="1125" y="569"/>
                            <a:pt x="1135" y="555"/>
                            <a:pt x="1135" y="541"/>
                          </a:cubicBezTo>
                          <a:cubicBezTo>
                            <a:pt x="1135" y="541"/>
                            <a:pt x="1135" y="541"/>
                            <a:pt x="1135" y="39"/>
                          </a:cubicBezTo>
                          <a:cubicBezTo>
                            <a:pt x="1135" y="25"/>
                            <a:pt x="1125" y="11"/>
                            <a:pt x="1114" y="4"/>
                          </a:cubicBezTo>
                          <a:cubicBezTo>
                            <a:pt x="1107" y="2"/>
                            <a:pt x="1100" y="0"/>
                            <a:pt x="1095" y="0"/>
                          </a:cubicBezTo>
                          <a:cubicBezTo>
                            <a:pt x="1088" y="0"/>
                            <a:pt x="1081" y="2"/>
                            <a:pt x="1074" y="4"/>
                          </a:cubicBezTo>
                          <a:cubicBezTo>
                            <a:pt x="1074" y="4"/>
                            <a:pt x="1074" y="4"/>
                            <a:pt x="626" y="256"/>
                          </a:cubicBezTo>
                          <a:cubicBezTo>
                            <a:pt x="614" y="263"/>
                            <a:pt x="607" y="276"/>
                            <a:pt x="607" y="290"/>
                          </a:cubicBezTo>
                          <a:cubicBezTo>
                            <a:pt x="607" y="290"/>
                            <a:pt x="607" y="290"/>
                            <a:pt x="607" y="793"/>
                          </a:cubicBezTo>
                          <a:cubicBezTo>
                            <a:pt x="607" y="806"/>
                            <a:pt x="614" y="820"/>
                            <a:pt x="626" y="827"/>
                          </a:cubicBezTo>
                          <a:cubicBezTo>
                            <a:pt x="633" y="831"/>
                            <a:pt x="640" y="831"/>
                            <a:pt x="647"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567" name="Group 566">
                    <a:extLst>
                      <a:ext uri="{FF2B5EF4-FFF2-40B4-BE49-F238E27FC236}">
                        <a16:creationId xmlns:a16="http://schemas.microsoft.com/office/drawing/2014/main" id="{0B3414D5-D0C5-4493-B732-239461A3DE21}"/>
                      </a:ext>
                    </a:extLst>
                  </p:cNvPr>
                  <p:cNvGrpSpPr/>
                  <p:nvPr/>
                </p:nvGrpSpPr>
                <p:grpSpPr>
                  <a:xfrm>
                    <a:off x="4430952" y="1901912"/>
                    <a:ext cx="1580678" cy="1731264"/>
                    <a:chOff x="4430952" y="1901912"/>
                    <a:chExt cx="1580678" cy="1731264"/>
                  </a:xfrm>
                  <a:grpFill/>
                </p:grpSpPr>
                <p:sp>
                  <p:nvSpPr>
                    <p:cNvPr id="568" name="Freeform 80">
                      <a:extLst>
                        <a:ext uri="{FF2B5EF4-FFF2-40B4-BE49-F238E27FC236}">
                          <a16:creationId xmlns:a16="http://schemas.microsoft.com/office/drawing/2014/main" id="{06CDF67D-DBD6-48C0-88CC-EBDABB684E5E}"/>
                        </a:ext>
                      </a:extLst>
                    </p:cNvPr>
                    <p:cNvSpPr>
                      <a:spLocks/>
                    </p:cNvSpPr>
                    <p:nvPr/>
                  </p:nvSpPr>
                  <p:spPr bwMode="auto">
                    <a:xfrm>
                      <a:off x="5352148" y="3066128"/>
                      <a:ext cx="195767" cy="310008"/>
                    </a:xfrm>
                    <a:custGeom>
                      <a:avLst/>
                      <a:gdLst>
                        <a:gd name="T0" fmla="*/ 39 w 512"/>
                        <a:gd name="T1" fmla="*/ 832 h 832"/>
                        <a:gd name="T2" fmla="*/ 57 w 512"/>
                        <a:gd name="T3" fmla="*/ 827 h 832"/>
                        <a:gd name="T4" fmla="*/ 491 w 512"/>
                        <a:gd name="T5" fmla="*/ 576 h 832"/>
                        <a:gd name="T6" fmla="*/ 512 w 512"/>
                        <a:gd name="T7" fmla="*/ 542 h 832"/>
                        <a:gd name="T8" fmla="*/ 512 w 512"/>
                        <a:gd name="T9" fmla="*/ 39 h 832"/>
                        <a:gd name="T10" fmla="*/ 491 w 512"/>
                        <a:gd name="T11" fmla="*/ 5 h 832"/>
                        <a:gd name="T12" fmla="*/ 473 w 512"/>
                        <a:gd name="T13" fmla="*/ 0 h 832"/>
                        <a:gd name="T14" fmla="*/ 453 w 512"/>
                        <a:gd name="T15" fmla="*/ 5 h 832"/>
                        <a:gd name="T16" fmla="*/ 19 w 512"/>
                        <a:gd name="T17" fmla="*/ 256 h 832"/>
                        <a:gd name="T18" fmla="*/ 0 w 512"/>
                        <a:gd name="T19" fmla="*/ 290 h 832"/>
                        <a:gd name="T20" fmla="*/ 0 w 512"/>
                        <a:gd name="T21" fmla="*/ 793 h 832"/>
                        <a:gd name="T22" fmla="*/ 19 w 512"/>
                        <a:gd name="T23" fmla="*/ 827 h 832"/>
                        <a:gd name="T24" fmla="*/ 39 w 512"/>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2" h="832">
                          <a:moveTo>
                            <a:pt x="39" y="832"/>
                          </a:moveTo>
                          <a:cubicBezTo>
                            <a:pt x="46" y="832"/>
                            <a:pt x="53" y="830"/>
                            <a:pt x="57" y="827"/>
                          </a:cubicBezTo>
                          <a:cubicBezTo>
                            <a:pt x="57" y="827"/>
                            <a:pt x="57" y="827"/>
                            <a:pt x="491" y="576"/>
                          </a:cubicBezTo>
                          <a:cubicBezTo>
                            <a:pt x="503" y="569"/>
                            <a:pt x="512" y="556"/>
                            <a:pt x="512" y="542"/>
                          </a:cubicBezTo>
                          <a:cubicBezTo>
                            <a:pt x="512" y="542"/>
                            <a:pt x="512" y="542"/>
                            <a:pt x="512" y="39"/>
                          </a:cubicBezTo>
                          <a:cubicBezTo>
                            <a:pt x="512" y="25"/>
                            <a:pt x="503" y="12"/>
                            <a:pt x="491" y="5"/>
                          </a:cubicBezTo>
                          <a:cubicBezTo>
                            <a:pt x="485" y="3"/>
                            <a:pt x="478" y="0"/>
                            <a:pt x="473" y="0"/>
                          </a:cubicBezTo>
                          <a:cubicBezTo>
                            <a:pt x="466" y="0"/>
                            <a:pt x="460" y="3"/>
                            <a:pt x="453" y="5"/>
                          </a:cubicBezTo>
                          <a:cubicBezTo>
                            <a:pt x="453" y="5"/>
                            <a:pt x="453" y="5"/>
                            <a:pt x="19" y="256"/>
                          </a:cubicBezTo>
                          <a:cubicBezTo>
                            <a:pt x="7" y="263"/>
                            <a:pt x="0" y="277"/>
                            <a:pt x="0" y="290"/>
                          </a:cubicBezTo>
                          <a:cubicBezTo>
                            <a:pt x="0" y="290"/>
                            <a:pt x="0" y="290"/>
                            <a:pt x="0" y="793"/>
                          </a:cubicBezTo>
                          <a:cubicBezTo>
                            <a:pt x="0" y="807"/>
                            <a:pt x="7" y="821"/>
                            <a:pt x="19" y="827"/>
                          </a:cubicBezTo>
                          <a:cubicBezTo>
                            <a:pt x="25" y="830"/>
                            <a:pt x="32" y="832"/>
                            <a:pt x="39"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69" name="Freeform 81">
                      <a:extLst>
                        <a:ext uri="{FF2B5EF4-FFF2-40B4-BE49-F238E27FC236}">
                          <a16:creationId xmlns:a16="http://schemas.microsoft.com/office/drawing/2014/main" id="{5D335A58-B7A7-43C8-9C11-1DA8BA1A5D09}"/>
                        </a:ext>
                      </a:extLst>
                    </p:cNvPr>
                    <p:cNvSpPr>
                      <a:spLocks/>
                    </p:cNvSpPr>
                    <p:nvPr/>
                  </p:nvSpPr>
                  <p:spPr bwMode="auto">
                    <a:xfrm>
                      <a:off x="5352148" y="2562950"/>
                      <a:ext cx="195767" cy="310008"/>
                    </a:xfrm>
                    <a:custGeom>
                      <a:avLst/>
                      <a:gdLst>
                        <a:gd name="T0" fmla="*/ 39 w 512"/>
                        <a:gd name="T1" fmla="*/ 832 h 832"/>
                        <a:gd name="T2" fmla="*/ 57 w 512"/>
                        <a:gd name="T3" fmla="*/ 827 h 832"/>
                        <a:gd name="T4" fmla="*/ 491 w 512"/>
                        <a:gd name="T5" fmla="*/ 576 h 832"/>
                        <a:gd name="T6" fmla="*/ 512 w 512"/>
                        <a:gd name="T7" fmla="*/ 541 h 832"/>
                        <a:gd name="T8" fmla="*/ 512 w 512"/>
                        <a:gd name="T9" fmla="*/ 39 h 832"/>
                        <a:gd name="T10" fmla="*/ 491 w 512"/>
                        <a:gd name="T11" fmla="*/ 5 h 832"/>
                        <a:gd name="T12" fmla="*/ 473 w 512"/>
                        <a:gd name="T13" fmla="*/ 0 h 832"/>
                        <a:gd name="T14" fmla="*/ 453 w 512"/>
                        <a:gd name="T15" fmla="*/ 5 h 832"/>
                        <a:gd name="T16" fmla="*/ 19 w 512"/>
                        <a:gd name="T17" fmla="*/ 256 h 832"/>
                        <a:gd name="T18" fmla="*/ 0 w 512"/>
                        <a:gd name="T19" fmla="*/ 290 h 832"/>
                        <a:gd name="T20" fmla="*/ 0 w 512"/>
                        <a:gd name="T21" fmla="*/ 793 h 832"/>
                        <a:gd name="T22" fmla="*/ 19 w 512"/>
                        <a:gd name="T23" fmla="*/ 827 h 832"/>
                        <a:gd name="T24" fmla="*/ 39 w 512"/>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2" h="832">
                          <a:moveTo>
                            <a:pt x="39" y="832"/>
                          </a:moveTo>
                          <a:cubicBezTo>
                            <a:pt x="46" y="832"/>
                            <a:pt x="53" y="829"/>
                            <a:pt x="57" y="827"/>
                          </a:cubicBezTo>
                          <a:cubicBezTo>
                            <a:pt x="57" y="827"/>
                            <a:pt x="57" y="827"/>
                            <a:pt x="491" y="576"/>
                          </a:cubicBezTo>
                          <a:cubicBezTo>
                            <a:pt x="503" y="569"/>
                            <a:pt x="512" y="555"/>
                            <a:pt x="512" y="541"/>
                          </a:cubicBezTo>
                          <a:cubicBezTo>
                            <a:pt x="512" y="541"/>
                            <a:pt x="512" y="541"/>
                            <a:pt x="512" y="39"/>
                          </a:cubicBezTo>
                          <a:cubicBezTo>
                            <a:pt x="512" y="25"/>
                            <a:pt x="503" y="11"/>
                            <a:pt x="491" y="5"/>
                          </a:cubicBezTo>
                          <a:cubicBezTo>
                            <a:pt x="485" y="0"/>
                            <a:pt x="478" y="0"/>
                            <a:pt x="473" y="0"/>
                          </a:cubicBezTo>
                          <a:cubicBezTo>
                            <a:pt x="466" y="0"/>
                            <a:pt x="460" y="0"/>
                            <a:pt x="453" y="5"/>
                          </a:cubicBezTo>
                          <a:cubicBezTo>
                            <a:pt x="453" y="5"/>
                            <a:pt x="453" y="5"/>
                            <a:pt x="19" y="256"/>
                          </a:cubicBezTo>
                          <a:cubicBezTo>
                            <a:pt x="7" y="263"/>
                            <a:pt x="0" y="276"/>
                            <a:pt x="0" y="290"/>
                          </a:cubicBezTo>
                          <a:cubicBezTo>
                            <a:pt x="0" y="290"/>
                            <a:pt x="0" y="290"/>
                            <a:pt x="0" y="793"/>
                          </a:cubicBezTo>
                          <a:cubicBezTo>
                            <a:pt x="0" y="806"/>
                            <a:pt x="7" y="820"/>
                            <a:pt x="19" y="827"/>
                          </a:cubicBezTo>
                          <a:cubicBezTo>
                            <a:pt x="25" y="829"/>
                            <a:pt x="32" y="832"/>
                            <a:pt x="39"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70" name="Freeform 82">
                      <a:extLst>
                        <a:ext uri="{FF2B5EF4-FFF2-40B4-BE49-F238E27FC236}">
                          <a16:creationId xmlns:a16="http://schemas.microsoft.com/office/drawing/2014/main" id="{A155E52E-5FA9-4D92-903C-DB043363FA1D}"/>
                        </a:ext>
                      </a:extLst>
                    </p:cNvPr>
                    <p:cNvSpPr>
                      <a:spLocks/>
                    </p:cNvSpPr>
                    <p:nvPr/>
                  </p:nvSpPr>
                  <p:spPr bwMode="auto">
                    <a:xfrm>
                      <a:off x="4894665" y="3060415"/>
                      <a:ext cx="195248" cy="309488"/>
                    </a:xfrm>
                    <a:custGeom>
                      <a:avLst/>
                      <a:gdLst>
                        <a:gd name="T0" fmla="*/ 38 w 511"/>
                        <a:gd name="T1" fmla="*/ 831 h 831"/>
                        <a:gd name="T2" fmla="*/ 57 w 511"/>
                        <a:gd name="T3" fmla="*/ 827 h 831"/>
                        <a:gd name="T4" fmla="*/ 493 w 511"/>
                        <a:gd name="T5" fmla="*/ 575 h 831"/>
                        <a:gd name="T6" fmla="*/ 511 w 511"/>
                        <a:gd name="T7" fmla="*/ 541 h 831"/>
                        <a:gd name="T8" fmla="*/ 511 w 511"/>
                        <a:gd name="T9" fmla="*/ 39 h 831"/>
                        <a:gd name="T10" fmla="*/ 493 w 511"/>
                        <a:gd name="T11" fmla="*/ 4 h 831"/>
                        <a:gd name="T12" fmla="*/ 472 w 511"/>
                        <a:gd name="T13" fmla="*/ 0 h 831"/>
                        <a:gd name="T14" fmla="*/ 454 w 511"/>
                        <a:gd name="T15" fmla="*/ 4 h 831"/>
                        <a:gd name="T16" fmla="*/ 18 w 511"/>
                        <a:gd name="T17" fmla="*/ 256 h 831"/>
                        <a:gd name="T18" fmla="*/ 0 w 511"/>
                        <a:gd name="T19" fmla="*/ 290 h 831"/>
                        <a:gd name="T20" fmla="*/ 0 w 511"/>
                        <a:gd name="T21" fmla="*/ 792 h 831"/>
                        <a:gd name="T22" fmla="*/ 18 w 511"/>
                        <a:gd name="T23" fmla="*/ 827 h 831"/>
                        <a:gd name="T24" fmla="*/ 38 w 511"/>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1" h="831">
                          <a:moveTo>
                            <a:pt x="38" y="831"/>
                          </a:moveTo>
                          <a:cubicBezTo>
                            <a:pt x="45" y="831"/>
                            <a:pt x="50" y="829"/>
                            <a:pt x="57" y="827"/>
                          </a:cubicBezTo>
                          <a:cubicBezTo>
                            <a:pt x="57" y="827"/>
                            <a:pt x="57" y="827"/>
                            <a:pt x="493" y="575"/>
                          </a:cubicBezTo>
                          <a:cubicBezTo>
                            <a:pt x="504" y="569"/>
                            <a:pt x="511" y="555"/>
                            <a:pt x="511" y="541"/>
                          </a:cubicBezTo>
                          <a:cubicBezTo>
                            <a:pt x="511" y="541"/>
                            <a:pt x="511" y="541"/>
                            <a:pt x="511" y="39"/>
                          </a:cubicBezTo>
                          <a:cubicBezTo>
                            <a:pt x="511" y="25"/>
                            <a:pt x="504" y="11"/>
                            <a:pt x="493" y="4"/>
                          </a:cubicBezTo>
                          <a:cubicBezTo>
                            <a:pt x="486" y="0"/>
                            <a:pt x="479" y="0"/>
                            <a:pt x="472" y="0"/>
                          </a:cubicBezTo>
                          <a:cubicBezTo>
                            <a:pt x="465" y="0"/>
                            <a:pt x="459" y="0"/>
                            <a:pt x="454" y="4"/>
                          </a:cubicBezTo>
                          <a:cubicBezTo>
                            <a:pt x="454" y="4"/>
                            <a:pt x="454" y="4"/>
                            <a:pt x="18" y="256"/>
                          </a:cubicBezTo>
                          <a:cubicBezTo>
                            <a:pt x="6" y="262"/>
                            <a:pt x="0" y="276"/>
                            <a:pt x="0" y="290"/>
                          </a:cubicBezTo>
                          <a:cubicBezTo>
                            <a:pt x="0" y="290"/>
                            <a:pt x="0" y="290"/>
                            <a:pt x="0" y="792"/>
                          </a:cubicBezTo>
                          <a:cubicBezTo>
                            <a:pt x="0" y="806"/>
                            <a:pt x="6" y="820"/>
                            <a:pt x="18" y="827"/>
                          </a:cubicBezTo>
                          <a:cubicBezTo>
                            <a:pt x="25" y="829"/>
                            <a:pt x="32" y="831"/>
                            <a:pt x="38"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71" name="Freeform 83">
                      <a:extLst>
                        <a:ext uri="{FF2B5EF4-FFF2-40B4-BE49-F238E27FC236}">
                          <a16:creationId xmlns:a16="http://schemas.microsoft.com/office/drawing/2014/main" id="{14CEF0ED-4FC8-4303-95EF-74666DF2A724}"/>
                        </a:ext>
                      </a:extLst>
                    </p:cNvPr>
                    <p:cNvSpPr>
                      <a:spLocks/>
                    </p:cNvSpPr>
                    <p:nvPr/>
                  </p:nvSpPr>
                  <p:spPr bwMode="auto">
                    <a:xfrm>
                      <a:off x="5120551" y="3188677"/>
                      <a:ext cx="200960" cy="310008"/>
                    </a:xfrm>
                    <a:custGeom>
                      <a:avLst/>
                      <a:gdLst>
                        <a:gd name="T0" fmla="*/ 40 w 527"/>
                        <a:gd name="T1" fmla="*/ 831 h 831"/>
                        <a:gd name="T2" fmla="*/ 61 w 527"/>
                        <a:gd name="T3" fmla="*/ 827 h 831"/>
                        <a:gd name="T4" fmla="*/ 506 w 527"/>
                        <a:gd name="T5" fmla="*/ 576 h 831"/>
                        <a:gd name="T6" fmla="*/ 527 w 527"/>
                        <a:gd name="T7" fmla="*/ 541 h 831"/>
                        <a:gd name="T8" fmla="*/ 527 w 527"/>
                        <a:gd name="T9" fmla="*/ 39 h 831"/>
                        <a:gd name="T10" fmla="*/ 506 w 527"/>
                        <a:gd name="T11" fmla="*/ 4 h 831"/>
                        <a:gd name="T12" fmla="*/ 488 w 527"/>
                        <a:gd name="T13" fmla="*/ 0 h 831"/>
                        <a:gd name="T14" fmla="*/ 467 w 527"/>
                        <a:gd name="T15" fmla="*/ 4 h 831"/>
                        <a:gd name="T16" fmla="*/ 21 w 527"/>
                        <a:gd name="T17" fmla="*/ 256 h 831"/>
                        <a:gd name="T18" fmla="*/ 0 w 527"/>
                        <a:gd name="T19" fmla="*/ 290 h 831"/>
                        <a:gd name="T20" fmla="*/ 0 w 527"/>
                        <a:gd name="T21" fmla="*/ 793 h 831"/>
                        <a:gd name="T22" fmla="*/ 21 w 527"/>
                        <a:gd name="T23" fmla="*/ 827 h 831"/>
                        <a:gd name="T24" fmla="*/ 40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0" y="831"/>
                          </a:moveTo>
                          <a:cubicBezTo>
                            <a:pt x="47" y="831"/>
                            <a:pt x="54" y="831"/>
                            <a:pt x="61" y="827"/>
                          </a:cubicBezTo>
                          <a:cubicBezTo>
                            <a:pt x="61" y="827"/>
                            <a:pt x="61" y="827"/>
                            <a:pt x="506" y="576"/>
                          </a:cubicBezTo>
                          <a:cubicBezTo>
                            <a:pt x="520" y="569"/>
                            <a:pt x="527" y="555"/>
                            <a:pt x="527" y="541"/>
                          </a:cubicBezTo>
                          <a:cubicBezTo>
                            <a:pt x="527" y="541"/>
                            <a:pt x="527" y="541"/>
                            <a:pt x="527" y="39"/>
                          </a:cubicBezTo>
                          <a:cubicBezTo>
                            <a:pt x="527" y="25"/>
                            <a:pt x="520" y="11"/>
                            <a:pt x="506" y="4"/>
                          </a:cubicBezTo>
                          <a:cubicBezTo>
                            <a:pt x="502" y="2"/>
                            <a:pt x="495" y="0"/>
                            <a:pt x="488" y="0"/>
                          </a:cubicBezTo>
                          <a:cubicBezTo>
                            <a:pt x="481" y="0"/>
                            <a:pt x="474" y="2"/>
                            <a:pt x="467" y="4"/>
                          </a:cubicBezTo>
                          <a:cubicBezTo>
                            <a:pt x="467" y="4"/>
                            <a:pt x="467" y="4"/>
                            <a:pt x="21" y="256"/>
                          </a:cubicBezTo>
                          <a:cubicBezTo>
                            <a:pt x="9" y="263"/>
                            <a:pt x="0" y="276"/>
                            <a:pt x="0" y="290"/>
                          </a:cubicBezTo>
                          <a:cubicBezTo>
                            <a:pt x="0" y="290"/>
                            <a:pt x="0" y="290"/>
                            <a:pt x="0" y="793"/>
                          </a:cubicBezTo>
                          <a:cubicBezTo>
                            <a:pt x="0" y="806"/>
                            <a:pt x="9" y="820"/>
                            <a:pt x="21" y="827"/>
                          </a:cubicBezTo>
                          <a:cubicBezTo>
                            <a:pt x="26" y="831"/>
                            <a:pt x="33" y="831"/>
                            <a:pt x="40"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72" name="Freeform 84">
                      <a:extLst>
                        <a:ext uri="{FF2B5EF4-FFF2-40B4-BE49-F238E27FC236}">
                          <a16:creationId xmlns:a16="http://schemas.microsoft.com/office/drawing/2014/main" id="{34A27377-0554-437C-827B-388C0F7F9C3D}"/>
                        </a:ext>
                      </a:extLst>
                    </p:cNvPr>
                    <p:cNvSpPr>
                      <a:spLocks/>
                    </p:cNvSpPr>
                    <p:nvPr/>
                  </p:nvSpPr>
                  <p:spPr bwMode="auto">
                    <a:xfrm>
                      <a:off x="4693187" y="1901912"/>
                      <a:ext cx="366090" cy="216538"/>
                    </a:xfrm>
                    <a:custGeom>
                      <a:avLst/>
                      <a:gdLst>
                        <a:gd name="T0" fmla="*/ 481 w 959"/>
                        <a:gd name="T1" fmla="*/ 581 h 581"/>
                        <a:gd name="T2" fmla="*/ 499 w 959"/>
                        <a:gd name="T3" fmla="*/ 576 h 581"/>
                        <a:gd name="T4" fmla="*/ 941 w 959"/>
                        <a:gd name="T5" fmla="*/ 325 h 581"/>
                        <a:gd name="T6" fmla="*/ 959 w 959"/>
                        <a:gd name="T7" fmla="*/ 290 h 581"/>
                        <a:gd name="T8" fmla="*/ 941 w 959"/>
                        <a:gd name="T9" fmla="*/ 256 h 581"/>
                        <a:gd name="T10" fmla="*/ 499 w 959"/>
                        <a:gd name="T11" fmla="*/ 5 h 581"/>
                        <a:gd name="T12" fmla="*/ 481 w 959"/>
                        <a:gd name="T13" fmla="*/ 0 h 581"/>
                        <a:gd name="T14" fmla="*/ 460 w 959"/>
                        <a:gd name="T15" fmla="*/ 5 h 581"/>
                        <a:gd name="T16" fmla="*/ 19 w 959"/>
                        <a:gd name="T17" fmla="*/ 256 h 581"/>
                        <a:gd name="T18" fmla="*/ 0 w 959"/>
                        <a:gd name="T19" fmla="*/ 290 h 581"/>
                        <a:gd name="T20" fmla="*/ 19 w 959"/>
                        <a:gd name="T21" fmla="*/ 325 h 581"/>
                        <a:gd name="T22" fmla="*/ 460 w 959"/>
                        <a:gd name="T23" fmla="*/ 576 h 581"/>
                        <a:gd name="T24" fmla="*/ 481 w 959"/>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1">
                          <a:moveTo>
                            <a:pt x="481" y="581"/>
                          </a:moveTo>
                          <a:cubicBezTo>
                            <a:pt x="488" y="581"/>
                            <a:pt x="492" y="578"/>
                            <a:pt x="499" y="576"/>
                          </a:cubicBezTo>
                          <a:cubicBezTo>
                            <a:pt x="499" y="576"/>
                            <a:pt x="499" y="576"/>
                            <a:pt x="941" y="325"/>
                          </a:cubicBezTo>
                          <a:cubicBezTo>
                            <a:pt x="952" y="318"/>
                            <a:pt x="959" y="304"/>
                            <a:pt x="959" y="290"/>
                          </a:cubicBezTo>
                          <a:cubicBezTo>
                            <a:pt x="959" y="277"/>
                            <a:pt x="952" y="263"/>
                            <a:pt x="941" y="256"/>
                          </a:cubicBezTo>
                          <a:cubicBezTo>
                            <a:pt x="941" y="256"/>
                            <a:pt x="941" y="256"/>
                            <a:pt x="499" y="5"/>
                          </a:cubicBezTo>
                          <a:cubicBezTo>
                            <a:pt x="492" y="2"/>
                            <a:pt x="488" y="0"/>
                            <a:pt x="481" y="0"/>
                          </a:cubicBezTo>
                          <a:cubicBezTo>
                            <a:pt x="474" y="0"/>
                            <a:pt x="467" y="2"/>
                            <a:pt x="460" y="5"/>
                          </a:cubicBezTo>
                          <a:cubicBezTo>
                            <a:pt x="460" y="5"/>
                            <a:pt x="460" y="5"/>
                            <a:pt x="19" y="256"/>
                          </a:cubicBezTo>
                          <a:cubicBezTo>
                            <a:pt x="7" y="263"/>
                            <a:pt x="0" y="277"/>
                            <a:pt x="0" y="290"/>
                          </a:cubicBezTo>
                          <a:cubicBezTo>
                            <a:pt x="0" y="304"/>
                            <a:pt x="7" y="318"/>
                            <a:pt x="19" y="325"/>
                          </a:cubicBezTo>
                          <a:cubicBezTo>
                            <a:pt x="19" y="325"/>
                            <a:pt x="19" y="325"/>
                            <a:pt x="460" y="576"/>
                          </a:cubicBezTo>
                          <a:cubicBezTo>
                            <a:pt x="467" y="578"/>
                            <a:pt x="474" y="581"/>
                            <a:pt x="481" y="58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73" name="Freeform 85">
                      <a:extLst>
                        <a:ext uri="{FF2B5EF4-FFF2-40B4-BE49-F238E27FC236}">
                          <a16:creationId xmlns:a16="http://schemas.microsoft.com/office/drawing/2014/main" id="{C21E567A-5804-4F63-9122-53841D8A51F1}"/>
                        </a:ext>
                      </a:extLst>
                    </p:cNvPr>
                    <p:cNvSpPr>
                      <a:spLocks noEditPoints="1"/>
                    </p:cNvSpPr>
                    <p:nvPr/>
                  </p:nvSpPr>
                  <p:spPr bwMode="auto">
                    <a:xfrm>
                      <a:off x="4430952" y="2937347"/>
                      <a:ext cx="433077" cy="310008"/>
                    </a:xfrm>
                    <a:custGeom>
                      <a:avLst/>
                      <a:gdLst>
                        <a:gd name="T0" fmla="*/ 647 w 1135"/>
                        <a:gd name="T1" fmla="*/ 832 h 832"/>
                        <a:gd name="T2" fmla="*/ 666 w 1135"/>
                        <a:gd name="T3" fmla="*/ 827 h 832"/>
                        <a:gd name="T4" fmla="*/ 1114 w 1135"/>
                        <a:gd name="T5" fmla="*/ 576 h 832"/>
                        <a:gd name="T6" fmla="*/ 1135 w 1135"/>
                        <a:gd name="T7" fmla="*/ 542 h 832"/>
                        <a:gd name="T8" fmla="*/ 1135 w 1135"/>
                        <a:gd name="T9" fmla="*/ 39 h 832"/>
                        <a:gd name="T10" fmla="*/ 1114 w 1135"/>
                        <a:gd name="T11" fmla="*/ 5 h 832"/>
                        <a:gd name="T12" fmla="*/ 1095 w 1135"/>
                        <a:gd name="T13" fmla="*/ 0 h 832"/>
                        <a:gd name="T14" fmla="*/ 1074 w 1135"/>
                        <a:gd name="T15" fmla="*/ 5 h 832"/>
                        <a:gd name="T16" fmla="*/ 626 w 1135"/>
                        <a:gd name="T17" fmla="*/ 256 h 832"/>
                        <a:gd name="T18" fmla="*/ 607 w 1135"/>
                        <a:gd name="T19" fmla="*/ 290 h 832"/>
                        <a:gd name="T20" fmla="*/ 607 w 1135"/>
                        <a:gd name="T21" fmla="*/ 793 h 832"/>
                        <a:gd name="T22" fmla="*/ 626 w 1135"/>
                        <a:gd name="T23" fmla="*/ 827 h 832"/>
                        <a:gd name="T24" fmla="*/ 647 w 1135"/>
                        <a:gd name="T25" fmla="*/ 832 h 832"/>
                        <a:gd name="T26" fmla="*/ 487 w 1135"/>
                        <a:gd name="T27" fmla="*/ 832 h 832"/>
                        <a:gd name="T28" fmla="*/ 506 w 1135"/>
                        <a:gd name="T29" fmla="*/ 827 h 832"/>
                        <a:gd name="T30" fmla="*/ 527 w 1135"/>
                        <a:gd name="T31" fmla="*/ 793 h 832"/>
                        <a:gd name="T32" fmla="*/ 527 w 1135"/>
                        <a:gd name="T33" fmla="*/ 290 h 832"/>
                        <a:gd name="T34" fmla="*/ 506 w 1135"/>
                        <a:gd name="T35" fmla="*/ 256 h 832"/>
                        <a:gd name="T36" fmla="*/ 61 w 1135"/>
                        <a:gd name="T37" fmla="*/ 5 h 832"/>
                        <a:gd name="T38" fmla="*/ 40 w 1135"/>
                        <a:gd name="T39" fmla="*/ 0 h 832"/>
                        <a:gd name="T40" fmla="*/ 21 w 1135"/>
                        <a:gd name="T41" fmla="*/ 5 h 832"/>
                        <a:gd name="T42" fmla="*/ 0 w 1135"/>
                        <a:gd name="T43" fmla="*/ 39 h 832"/>
                        <a:gd name="T44" fmla="*/ 0 w 1135"/>
                        <a:gd name="T45" fmla="*/ 542 h 832"/>
                        <a:gd name="T46" fmla="*/ 21 w 1135"/>
                        <a:gd name="T47" fmla="*/ 576 h 832"/>
                        <a:gd name="T48" fmla="*/ 466 w 1135"/>
                        <a:gd name="T49" fmla="*/ 827 h 832"/>
                        <a:gd name="T50" fmla="*/ 487 w 1135"/>
                        <a:gd name="T51"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5" h="832">
                          <a:moveTo>
                            <a:pt x="647" y="832"/>
                          </a:moveTo>
                          <a:cubicBezTo>
                            <a:pt x="654" y="832"/>
                            <a:pt x="661" y="829"/>
                            <a:pt x="666" y="827"/>
                          </a:cubicBezTo>
                          <a:cubicBezTo>
                            <a:pt x="666" y="827"/>
                            <a:pt x="666" y="827"/>
                            <a:pt x="1114" y="576"/>
                          </a:cubicBezTo>
                          <a:cubicBezTo>
                            <a:pt x="1125" y="569"/>
                            <a:pt x="1135" y="555"/>
                            <a:pt x="1135" y="542"/>
                          </a:cubicBezTo>
                          <a:cubicBezTo>
                            <a:pt x="1135" y="542"/>
                            <a:pt x="1135" y="542"/>
                            <a:pt x="1135" y="39"/>
                          </a:cubicBezTo>
                          <a:cubicBezTo>
                            <a:pt x="1135" y="25"/>
                            <a:pt x="1125" y="12"/>
                            <a:pt x="1114" y="5"/>
                          </a:cubicBezTo>
                          <a:cubicBezTo>
                            <a:pt x="1107" y="0"/>
                            <a:pt x="1100" y="0"/>
                            <a:pt x="1095" y="0"/>
                          </a:cubicBezTo>
                          <a:cubicBezTo>
                            <a:pt x="1088" y="0"/>
                            <a:pt x="1081" y="0"/>
                            <a:pt x="1074" y="5"/>
                          </a:cubicBezTo>
                          <a:cubicBezTo>
                            <a:pt x="1074" y="5"/>
                            <a:pt x="1074" y="5"/>
                            <a:pt x="626" y="256"/>
                          </a:cubicBezTo>
                          <a:cubicBezTo>
                            <a:pt x="614" y="263"/>
                            <a:pt x="607" y="277"/>
                            <a:pt x="607" y="290"/>
                          </a:cubicBezTo>
                          <a:cubicBezTo>
                            <a:pt x="607" y="290"/>
                            <a:pt x="607" y="290"/>
                            <a:pt x="607" y="793"/>
                          </a:cubicBezTo>
                          <a:cubicBezTo>
                            <a:pt x="607" y="807"/>
                            <a:pt x="614" y="820"/>
                            <a:pt x="626" y="827"/>
                          </a:cubicBezTo>
                          <a:cubicBezTo>
                            <a:pt x="633" y="829"/>
                            <a:pt x="640" y="832"/>
                            <a:pt x="647" y="832"/>
                          </a:cubicBezTo>
                          <a:close/>
                          <a:moveTo>
                            <a:pt x="487" y="832"/>
                          </a:moveTo>
                          <a:cubicBezTo>
                            <a:pt x="495" y="832"/>
                            <a:pt x="502" y="829"/>
                            <a:pt x="506" y="827"/>
                          </a:cubicBezTo>
                          <a:cubicBezTo>
                            <a:pt x="520" y="820"/>
                            <a:pt x="527" y="807"/>
                            <a:pt x="527" y="793"/>
                          </a:cubicBezTo>
                          <a:cubicBezTo>
                            <a:pt x="527" y="793"/>
                            <a:pt x="527" y="793"/>
                            <a:pt x="527" y="290"/>
                          </a:cubicBezTo>
                          <a:cubicBezTo>
                            <a:pt x="527" y="277"/>
                            <a:pt x="520" y="263"/>
                            <a:pt x="506" y="256"/>
                          </a:cubicBezTo>
                          <a:cubicBezTo>
                            <a:pt x="506" y="256"/>
                            <a:pt x="506" y="256"/>
                            <a:pt x="61" y="5"/>
                          </a:cubicBezTo>
                          <a:cubicBezTo>
                            <a:pt x="54" y="0"/>
                            <a:pt x="47" y="0"/>
                            <a:pt x="40" y="0"/>
                          </a:cubicBezTo>
                          <a:cubicBezTo>
                            <a:pt x="33" y="0"/>
                            <a:pt x="26" y="0"/>
                            <a:pt x="21" y="5"/>
                          </a:cubicBezTo>
                          <a:cubicBezTo>
                            <a:pt x="7" y="12"/>
                            <a:pt x="0" y="25"/>
                            <a:pt x="0" y="39"/>
                          </a:cubicBezTo>
                          <a:cubicBezTo>
                            <a:pt x="0" y="39"/>
                            <a:pt x="0" y="39"/>
                            <a:pt x="0" y="542"/>
                          </a:cubicBezTo>
                          <a:cubicBezTo>
                            <a:pt x="0" y="555"/>
                            <a:pt x="7" y="569"/>
                            <a:pt x="21" y="576"/>
                          </a:cubicBezTo>
                          <a:cubicBezTo>
                            <a:pt x="21" y="576"/>
                            <a:pt x="21" y="576"/>
                            <a:pt x="466" y="827"/>
                          </a:cubicBezTo>
                          <a:cubicBezTo>
                            <a:pt x="473" y="829"/>
                            <a:pt x="480" y="832"/>
                            <a:pt x="487"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74" name="Freeform 86">
                      <a:extLst>
                        <a:ext uri="{FF2B5EF4-FFF2-40B4-BE49-F238E27FC236}">
                          <a16:creationId xmlns:a16="http://schemas.microsoft.com/office/drawing/2014/main" id="{330D67B1-1DFE-4162-BAC2-44A7877A9471}"/>
                        </a:ext>
                      </a:extLst>
                    </p:cNvPr>
                    <p:cNvSpPr>
                      <a:spLocks noEditPoints="1"/>
                    </p:cNvSpPr>
                    <p:nvPr/>
                  </p:nvSpPr>
                  <p:spPr bwMode="auto">
                    <a:xfrm>
                      <a:off x="4925303" y="2030693"/>
                      <a:ext cx="396208" cy="450211"/>
                    </a:xfrm>
                    <a:custGeom>
                      <a:avLst/>
                      <a:gdLst>
                        <a:gd name="T0" fmla="*/ 478 w 1038"/>
                        <a:gd name="T1" fmla="*/ 581 h 1208"/>
                        <a:gd name="T2" fmla="*/ 499 w 1038"/>
                        <a:gd name="T3" fmla="*/ 574 h 1208"/>
                        <a:gd name="T4" fmla="*/ 938 w 1038"/>
                        <a:gd name="T5" fmla="*/ 323 h 1208"/>
                        <a:gd name="T6" fmla="*/ 959 w 1038"/>
                        <a:gd name="T7" fmla="*/ 289 h 1208"/>
                        <a:gd name="T8" fmla="*/ 938 w 1038"/>
                        <a:gd name="T9" fmla="*/ 257 h 1208"/>
                        <a:gd name="T10" fmla="*/ 499 w 1038"/>
                        <a:gd name="T11" fmla="*/ 7 h 1208"/>
                        <a:gd name="T12" fmla="*/ 478 w 1038"/>
                        <a:gd name="T13" fmla="*/ 0 h 1208"/>
                        <a:gd name="T14" fmla="*/ 459 w 1038"/>
                        <a:gd name="T15" fmla="*/ 7 h 1208"/>
                        <a:gd name="T16" fmla="*/ 18 w 1038"/>
                        <a:gd name="T17" fmla="*/ 257 h 1208"/>
                        <a:gd name="T18" fmla="*/ 0 w 1038"/>
                        <a:gd name="T19" fmla="*/ 289 h 1208"/>
                        <a:gd name="T20" fmla="*/ 18 w 1038"/>
                        <a:gd name="T21" fmla="*/ 323 h 1208"/>
                        <a:gd name="T22" fmla="*/ 459 w 1038"/>
                        <a:gd name="T23" fmla="*/ 574 h 1208"/>
                        <a:gd name="T24" fmla="*/ 478 w 1038"/>
                        <a:gd name="T25" fmla="*/ 581 h 1208"/>
                        <a:gd name="T26" fmla="*/ 551 w 1038"/>
                        <a:gd name="T27" fmla="*/ 1208 h 1208"/>
                        <a:gd name="T28" fmla="*/ 572 w 1038"/>
                        <a:gd name="T29" fmla="*/ 1201 h 1208"/>
                        <a:gd name="T30" fmla="*/ 1017 w 1038"/>
                        <a:gd name="T31" fmla="*/ 951 h 1208"/>
                        <a:gd name="T32" fmla="*/ 1038 w 1038"/>
                        <a:gd name="T33" fmla="*/ 919 h 1208"/>
                        <a:gd name="T34" fmla="*/ 1038 w 1038"/>
                        <a:gd name="T35" fmla="*/ 415 h 1208"/>
                        <a:gd name="T36" fmla="*/ 1017 w 1038"/>
                        <a:gd name="T37" fmla="*/ 384 h 1208"/>
                        <a:gd name="T38" fmla="*/ 999 w 1038"/>
                        <a:gd name="T39" fmla="*/ 377 h 1208"/>
                        <a:gd name="T40" fmla="*/ 978 w 1038"/>
                        <a:gd name="T41" fmla="*/ 384 h 1208"/>
                        <a:gd name="T42" fmla="*/ 532 w 1038"/>
                        <a:gd name="T43" fmla="*/ 634 h 1208"/>
                        <a:gd name="T44" fmla="*/ 511 w 1038"/>
                        <a:gd name="T45" fmla="*/ 666 h 1208"/>
                        <a:gd name="T46" fmla="*/ 511 w 1038"/>
                        <a:gd name="T47" fmla="*/ 1170 h 1208"/>
                        <a:gd name="T48" fmla="*/ 532 w 1038"/>
                        <a:gd name="T49" fmla="*/ 1201 h 1208"/>
                        <a:gd name="T50" fmla="*/ 551 w 1038"/>
                        <a:gd name="T51" fmla="*/ 1208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38" h="1208">
                          <a:moveTo>
                            <a:pt x="478" y="581"/>
                          </a:moveTo>
                          <a:cubicBezTo>
                            <a:pt x="485" y="581"/>
                            <a:pt x="492" y="578"/>
                            <a:pt x="499" y="574"/>
                          </a:cubicBezTo>
                          <a:cubicBezTo>
                            <a:pt x="499" y="574"/>
                            <a:pt x="499" y="574"/>
                            <a:pt x="938" y="323"/>
                          </a:cubicBezTo>
                          <a:cubicBezTo>
                            <a:pt x="952" y="317"/>
                            <a:pt x="959" y="305"/>
                            <a:pt x="959" y="289"/>
                          </a:cubicBezTo>
                          <a:cubicBezTo>
                            <a:pt x="959" y="276"/>
                            <a:pt x="952" y="264"/>
                            <a:pt x="938" y="257"/>
                          </a:cubicBezTo>
                          <a:cubicBezTo>
                            <a:pt x="938" y="257"/>
                            <a:pt x="938" y="257"/>
                            <a:pt x="499" y="7"/>
                          </a:cubicBezTo>
                          <a:cubicBezTo>
                            <a:pt x="492" y="2"/>
                            <a:pt x="485" y="0"/>
                            <a:pt x="478" y="0"/>
                          </a:cubicBezTo>
                          <a:cubicBezTo>
                            <a:pt x="471" y="0"/>
                            <a:pt x="464" y="2"/>
                            <a:pt x="459" y="7"/>
                          </a:cubicBezTo>
                          <a:cubicBezTo>
                            <a:pt x="459" y="7"/>
                            <a:pt x="459" y="7"/>
                            <a:pt x="18" y="257"/>
                          </a:cubicBezTo>
                          <a:cubicBezTo>
                            <a:pt x="6" y="264"/>
                            <a:pt x="0" y="276"/>
                            <a:pt x="0" y="289"/>
                          </a:cubicBezTo>
                          <a:cubicBezTo>
                            <a:pt x="0" y="305"/>
                            <a:pt x="6" y="317"/>
                            <a:pt x="18" y="323"/>
                          </a:cubicBezTo>
                          <a:cubicBezTo>
                            <a:pt x="18" y="323"/>
                            <a:pt x="18" y="323"/>
                            <a:pt x="459" y="574"/>
                          </a:cubicBezTo>
                          <a:cubicBezTo>
                            <a:pt x="464" y="578"/>
                            <a:pt x="471" y="581"/>
                            <a:pt x="478" y="581"/>
                          </a:cubicBezTo>
                          <a:close/>
                          <a:moveTo>
                            <a:pt x="551" y="1208"/>
                          </a:moveTo>
                          <a:cubicBezTo>
                            <a:pt x="558" y="1208"/>
                            <a:pt x="565" y="1206"/>
                            <a:pt x="572" y="1201"/>
                          </a:cubicBezTo>
                          <a:cubicBezTo>
                            <a:pt x="572" y="1201"/>
                            <a:pt x="572" y="1201"/>
                            <a:pt x="1017" y="951"/>
                          </a:cubicBezTo>
                          <a:cubicBezTo>
                            <a:pt x="1031" y="944"/>
                            <a:pt x="1038" y="933"/>
                            <a:pt x="1038" y="919"/>
                          </a:cubicBezTo>
                          <a:cubicBezTo>
                            <a:pt x="1038" y="919"/>
                            <a:pt x="1038" y="919"/>
                            <a:pt x="1038" y="415"/>
                          </a:cubicBezTo>
                          <a:cubicBezTo>
                            <a:pt x="1038" y="402"/>
                            <a:pt x="1031" y="390"/>
                            <a:pt x="1017" y="384"/>
                          </a:cubicBezTo>
                          <a:cubicBezTo>
                            <a:pt x="1013" y="379"/>
                            <a:pt x="1006" y="377"/>
                            <a:pt x="999" y="377"/>
                          </a:cubicBezTo>
                          <a:cubicBezTo>
                            <a:pt x="992" y="377"/>
                            <a:pt x="985" y="379"/>
                            <a:pt x="978" y="384"/>
                          </a:cubicBezTo>
                          <a:cubicBezTo>
                            <a:pt x="978" y="384"/>
                            <a:pt x="978" y="384"/>
                            <a:pt x="532" y="634"/>
                          </a:cubicBezTo>
                          <a:cubicBezTo>
                            <a:pt x="520" y="641"/>
                            <a:pt x="511" y="652"/>
                            <a:pt x="511" y="666"/>
                          </a:cubicBezTo>
                          <a:cubicBezTo>
                            <a:pt x="511" y="666"/>
                            <a:pt x="511" y="666"/>
                            <a:pt x="511" y="1170"/>
                          </a:cubicBezTo>
                          <a:cubicBezTo>
                            <a:pt x="511" y="1183"/>
                            <a:pt x="520" y="1195"/>
                            <a:pt x="532" y="1201"/>
                          </a:cubicBezTo>
                          <a:cubicBezTo>
                            <a:pt x="537" y="1206"/>
                            <a:pt x="544" y="1208"/>
                            <a:pt x="551" y="1208"/>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75" name="Freeform 87">
                      <a:extLst>
                        <a:ext uri="{FF2B5EF4-FFF2-40B4-BE49-F238E27FC236}">
                          <a16:creationId xmlns:a16="http://schemas.microsoft.com/office/drawing/2014/main" id="{84B0131A-F9ED-4477-BC6F-115CECE93B33}"/>
                        </a:ext>
                      </a:extLst>
                    </p:cNvPr>
                    <p:cNvSpPr>
                      <a:spLocks/>
                    </p:cNvSpPr>
                    <p:nvPr/>
                  </p:nvSpPr>
                  <p:spPr bwMode="auto">
                    <a:xfrm>
                      <a:off x="5120551" y="2428458"/>
                      <a:ext cx="200960" cy="310008"/>
                    </a:xfrm>
                    <a:custGeom>
                      <a:avLst/>
                      <a:gdLst>
                        <a:gd name="T0" fmla="*/ 40 w 527"/>
                        <a:gd name="T1" fmla="*/ 832 h 832"/>
                        <a:gd name="T2" fmla="*/ 61 w 527"/>
                        <a:gd name="T3" fmla="*/ 827 h 832"/>
                        <a:gd name="T4" fmla="*/ 506 w 527"/>
                        <a:gd name="T5" fmla="*/ 576 h 832"/>
                        <a:gd name="T6" fmla="*/ 527 w 527"/>
                        <a:gd name="T7" fmla="*/ 542 h 832"/>
                        <a:gd name="T8" fmla="*/ 527 w 527"/>
                        <a:gd name="T9" fmla="*/ 39 h 832"/>
                        <a:gd name="T10" fmla="*/ 506 w 527"/>
                        <a:gd name="T11" fmla="*/ 5 h 832"/>
                        <a:gd name="T12" fmla="*/ 488 w 527"/>
                        <a:gd name="T13" fmla="*/ 0 h 832"/>
                        <a:gd name="T14" fmla="*/ 467 w 527"/>
                        <a:gd name="T15" fmla="*/ 5 h 832"/>
                        <a:gd name="T16" fmla="*/ 21 w 527"/>
                        <a:gd name="T17" fmla="*/ 258 h 832"/>
                        <a:gd name="T18" fmla="*/ 0 w 527"/>
                        <a:gd name="T19" fmla="*/ 290 h 832"/>
                        <a:gd name="T20" fmla="*/ 0 w 527"/>
                        <a:gd name="T21" fmla="*/ 793 h 832"/>
                        <a:gd name="T22" fmla="*/ 21 w 527"/>
                        <a:gd name="T23" fmla="*/ 827 h 832"/>
                        <a:gd name="T24" fmla="*/ 40 w 527"/>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2">
                          <a:moveTo>
                            <a:pt x="40" y="832"/>
                          </a:moveTo>
                          <a:cubicBezTo>
                            <a:pt x="47" y="832"/>
                            <a:pt x="54" y="832"/>
                            <a:pt x="61" y="827"/>
                          </a:cubicBezTo>
                          <a:cubicBezTo>
                            <a:pt x="61" y="827"/>
                            <a:pt x="61" y="827"/>
                            <a:pt x="506" y="576"/>
                          </a:cubicBezTo>
                          <a:cubicBezTo>
                            <a:pt x="520" y="569"/>
                            <a:pt x="527" y="555"/>
                            <a:pt x="527" y="542"/>
                          </a:cubicBezTo>
                          <a:cubicBezTo>
                            <a:pt x="527" y="542"/>
                            <a:pt x="527" y="542"/>
                            <a:pt x="527" y="39"/>
                          </a:cubicBezTo>
                          <a:cubicBezTo>
                            <a:pt x="527" y="25"/>
                            <a:pt x="520" y="12"/>
                            <a:pt x="506" y="5"/>
                          </a:cubicBezTo>
                          <a:cubicBezTo>
                            <a:pt x="502" y="2"/>
                            <a:pt x="495" y="0"/>
                            <a:pt x="488" y="0"/>
                          </a:cubicBezTo>
                          <a:cubicBezTo>
                            <a:pt x="481" y="0"/>
                            <a:pt x="474" y="2"/>
                            <a:pt x="467" y="5"/>
                          </a:cubicBezTo>
                          <a:cubicBezTo>
                            <a:pt x="467" y="5"/>
                            <a:pt x="467" y="5"/>
                            <a:pt x="21" y="258"/>
                          </a:cubicBezTo>
                          <a:cubicBezTo>
                            <a:pt x="9" y="265"/>
                            <a:pt x="0" y="277"/>
                            <a:pt x="0" y="290"/>
                          </a:cubicBezTo>
                          <a:cubicBezTo>
                            <a:pt x="0" y="290"/>
                            <a:pt x="0" y="290"/>
                            <a:pt x="0" y="793"/>
                          </a:cubicBezTo>
                          <a:cubicBezTo>
                            <a:pt x="0" y="809"/>
                            <a:pt x="9" y="820"/>
                            <a:pt x="21" y="827"/>
                          </a:cubicBezTo>
                          <a:cubicBezTo>
                            <a:pt x="26" y="832"/>
                            <a:pt x="33" y="832"/>
                            <a:pt x="40"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76" name="Freeform 88">
                      <a:extLst>
                        <a:ext uri="{FF2B5EF4-FFF2-40B4-BE49-F238E27FC236}">
                          <a16:creationId xmlns:a16="http://schemas.microsoft.com/office/drawing/2014/main" id="{5A9F8775-BF66-49EF-A2F4-ADBE69142090}"/>
                        </a:ext>
                      </a:extLst>
                    </p:cNvPr>
                    <p:cNvSpPr>
                      <a:spLocks noEditPoints="1"/>
                    </p:cNvSpPr>
                    <p:nvPr/>
                  </p:nvSpPr>
                  <p:spPr bwMode="auto">
                    <a:xfrm>
                      <a:off x="5163132" y="1908144"/>
                      <a:ext cx="384784" cy="455924"/>
                    </a:xfrm>
                    <a:custGeom>
                      <a:avLst/>
                      <a:gdLst>
                        <a:gd name="T0" fmla="*/ 479 w 1007"/>
                        <a:gd name="T1" fmla="*/ 580 h 1224"/>
                        <a:gd name="T2" fmla="*/ 498 w 1007"/>
                        <a:gd name="T3" fmla="*/ 576 h 1224"/>
                        <a:gd name="T4" fmla="*/ 938 w 1007"/>
                        <a:gd name="T5" fmla="*/ 324 h 1224"/>
                        <a:gd name="T6" fmla="*/ 959 w 1007"/>
                        <a:gd name="T7" fmla="*/ 290 h 1224"/>
                        <a:gd name="T8" fmla="*/ 938 w 1007"/>
                        <a:gd name="T9" fmla="*/ 258 h 1224"/>
                        <a:gd name="T10" fmla="*/ 498 w 1007"/>
                        <a:gd name="T11" fmla="*/ 4 h 1224"/>
                        <a:gd name="T12" fmla="*/ 479 w 1007"/>
                        <a:gd name="T13" fmla="*/ 0 h 1224"/>
                        <a:gd name="T14" fmla="*/ 459 w 1007"/>
                        <a:gd name="T15" fmla="*/ 4 h 1224"/>
                        <a:gd name="T16" fmla="*/ 21 w 1007"/>
                        <a:gd name="T17" fmla="*/ 258 h 1224"/>
                        <a:gd name="T18" fmla="*/ 0 w 1007"/>
                        <a:gd name="T19" fmla="*/ 290 h 1224"/>
                        <a:gd name="T20" fmla="*/ 21 w 1007"/>
                        <a:gd name="T21" fmla="*/ 324 h 1224"/>
                        <a:gd name="T22" fmla="*/ 459 w 1007"/>
                        <a:gd name="T23" fmla="*/ 576 h 1224"/>
                        <a:gd name="T24" fmla="*/ 479 w 1007"/>
                        <a:gd name="T25" fmla="*/ 580 h 1224"/>
                        <a:gd name="T26" fmla="*/ 534 w 1007"/>
                        <a:gd name="T27" fmla="*/ 1224 h 1224"/>
                        <a:gd name="T28" fmla="*/ 552 w 1007"/>
                        <a:gd name="T29" fmla="*/ 1219 h 1224"/>
                        <a:gd name="T30" fmla="*/ 986 w 1007"/>
                        <a:gd name="T31" fmla="*/ 968 h 1224"/>
                        <a:gd name="T32" fmla="*/ 1007 w 1007"/>
                        <a:gd name="T33" fmla="*/ 933 h 1224"/>
                        <a:gd name="T34" fmla="*/ 1007 w 1007"/>
                        <a:gd name="T35" fmla="*/ 431 h 1224"/>
                        <a:gd name="T36" fmla="*/ 986 w 1007"/>
                        <a:gd name="T37" fmla="*/ 396 h 1224"/>
                        <a:gd name="T38" fmla="*/ 968 w 1007"/>
                        <a:gd name="T39" fmla="*/ 392 h 1224"/>
                        <a:gd name="T40" fmla="*/ 948 w 1007"/>
                        <a:gd name="T41" fmla="*/ 396 h 1224"/>
                        <a:gd name="T42" fmla="*/ 514 w 1007"/>
                        <a:gd name="T43" fmla="*/ 650 h 1224"/>
                        <a:gd name="T44" fmla="*/ 495 w 1007"/>
                        <a:gd name="T45" fmla="*/ 682 h 1224"/>
                        <a:gd name="T46" fmla="*/ 495 w 1007"/>
                        <a:gd name="T47" fmla="*/ 1185 h 1224"/>
                        <a:gd name="T48" fmla="*/ 514 w 1007"/>
                        <a:gd name="T49" fmla="*/ 1219 h 1224"/>
                        <a:gd name="T50" fmla="*/ 534 w 1007"/>
                        <a:gd name="T51" fmla="*/ 1224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07" h="1224">
                          <a:moveTo>
                            <a:pt x="479" y="580"/>
                          </a:moveTo>
                          <a:cubicBezTo>
                            <a:pt x="486" y="580"/>
                            <a:pt x="493" y="580"/>
                            <a:pt x="498" y="576"/>
                          </a:cubicBezTo>
                          <a:cubicBezTo>
                            <a:pt x="498" y="576"/>
                            <a:pt x="498" y="576"/>
                            <a:pt x="938" y="324"/>
                          </a:cubicBezTo>
                          <a:cubicBezTo>
                            <a:pt x="950" y="317"/>
                            <a:pt x="959" y="304"/>
                            <a:pt x="959" y="290"/>
                          </a:cubicBezTo>
                          <a:cubicBezTo>
                            <a:pt x="959" y="276"/>
                            <a:pt x="950" y="265"/>
                            <a:pt x="938" y="258"/>
                          </a:cubicBezTo>
                          <a:cubicBezTo>
                            <a:pt x="938" y="258"/>
                            <a:pt x="938" y="258"/>
                            <a:pt x="498" y="4"/>
                          </a:cubicBezTo>
                          <a:cubicBezTo>
                            <a:pt x="493" y="2"/>
                            <a:pt x="486" y="0"/>
                            <a:pt x="479" y="0"/>
                          </a:cubicBezTo>
                          <a:cubicBezTo>
                            <a:pt x="473" y="0"/>
                            <a:pt x="466" y="2"/>
                            <a:pt x="459" y="4"/>
                          </a:cubicBezTo>
                          <a:cubicBezTo>
                            <a:pt x="459" y="4"/>
                            <a:pt x="459" y="4"/>
                            <a:pt x="21" y="258"/>
                          </a:cubicBezTo>
                          <a:cubicBezTo>
                            <a:pt x="7" y="265"/>
                            <a:pt x="0" y="276"/>
                            <a:pt x="0" y="290"/>
                          </a:cubicBezTo>
                          <a:cubicBezTo>
                            <a:pt x="0" y="304"/>
                            <a:pt x="7" y="317"/>
                            <a:pt x="21" y="324"/>
                          </a:cubicBezTo>
                          <a:cubicBezTo>
                            <a:pt x="21" y="324"/>
                            <a:pt x="21" y="324"/>
                            <a:pt x="459" y="576"/>
                          </a:cubicBezTo>
                          <a:cubicBezTo>
                            <a:pt x="466" y="580"/>
                            <a:pt x="473" y="580"/>
                            <a:pt x="479" y="580"/>
                          </a:cubicBezTo>
                          <a:close/>
                          <a:moveTo>
                            <a:pt x="534" y="1224"/>
                          </a:moveTo>
                          <a:cubicBezTo>
                            <a:pt x="541" y="1224"/>
                            <a:pt x="548" y="1224"/>
                            <a:pt x="552" y="1219"/>
                          </a:cubicBezTo>
                          <a:cubicBezTo>
                            <a:pt x="552" y="1219"/>
                            <a:pt x="552" y="1219"/>
                            <a:pt x="986" y="968"/>
                          </a:cubicBezTo>
                          <a:cubicBezTo>
                            <a:pt x="998" y="961"/>
                            <a:pt x="1007" y="947"/>
                            <a:pt x="1007" y="933"/>
                          </a:cubicBezTo>
                          <a:cubicBezTo>
                            <a:pt x="1007" y="933"/>
                            <a:pt x="1007" y="933"/>
                            <a:pt x="1007" y="431"/>
                          </a:cubicBezTo>
                          <a:cubicBezTo>
                            <a:pt x="1007" y="417"/>
                            <a:pt x="998" y="403"/>
                            <a:pt x="986" y="396"/>
                          </a:cubicBezTo>
                          <a:cubicBezTo>
                            <a:pt x="980" y="394"/>
                            <a:pt x="973" y="392"/>
                            <a:pt x="968" y="392"/>
                          </a:cubicBezTo>
                          <a:cubicBezTo>
                            <a:pt x="961" y="392"/>
                            <a:pt x="955" y="394"/>
                            <a:pt x="948" y="396"/>
                          </a:cubicBezTo>
                          <a:cubicBezTo>
                            <a:pt x="948" y="396"/>
                            <a:pt x="948" y="396"/>
                            <a:pt x="514" y="650"/>
                          </a:cubicBezTo>
                          <a:cubicBezTo>
                            <a:pt x="502" y="657"/>
                            <a:pt x="495" y="668"/>
                            <a:pt x="495" y="682"/>
                          </a:cubicBezTo>
                          <a:cubicBezTo>
                            <a:pt x="495" y="682"/>
                            <a:pt x="495" y="682"/>
                            <a:pt x="495" y="1185"/>
                          </a:cubicBezTo>
                          <a:cubicBezTo>
                            <a:pt x="495" y="1201"/>
                            <a:pt x="502" y="1212"/>
                            <a:pt x="514" y="1219"/>
                          </a:cubicBezTo>
                          <a:cubicBezTo>
                            <a:pt x="520" y="1224"/>
                            <a:pt x="527" y="1224"/>
                            <a:pt x="534" y="1224"/>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77" name="Freeform 89">
                      <a:extLst>
                        <a:ext uri="{FF2B5EF4-FFF2-40B4-BE49-F238E27FC236}">
                          <a16:creationId xmlns:a16="http://schemas.microsoft.com/office/drawing/2014/main" id="{F3CCFC54-AE54-4224-ADAF-93A60B83B262}"/>
                        </a:ext>
                      </a:extLst>
                    </p:cNvPr>
                    <p:cNvSpPr>
                      <a:spLocks/>
                    </p:cNvSpPr>
                    <p:nvPr/>
                  </p:nvSpPr>
                  <p:spPr bwMode="auto">
                    <a:xfrm>
                      <a:off x="5352148" y="2305909"/>
                      <a:ext cx="195767" cy="309488"/>
                    </a:xfrm>
                    <a:custGeom>
                      <a:avLst/>
                      <a:gdLst>
                        <a:gd name="T0" fmla="*/ 39 w 512"/>
                        <a:gd name="T1" fmla="*/ 831 h 831"/>
                        <a:gd name="T2" fmla="*/ 57 w 512"/>
                        <a:gd name="T3" fmla="*/ 827 h 831"/>
                        <a:gd name="T4" fmla="*/ 491 w 512"/>
                        <a:gd name="T5" fmla="*/ 575 h 831"/>
                        <a:gd name="T6" fmla="*/ 512 w 512"/>
                        <a:gd name="T7" fmla="*/ 541 h 831"/>
                        <a:gd name="T8" fmla="*/ 512 w 512"/>
                        <a:gd name="T9" fmla="*/ 38 h 831"/>
                        <a:gd name="T10" fmla="*/ 491 w 512"/>
                        <a:gd name="T11" fmla="*/ 4 h 831"/>
                        <a:gd name="T12" fmla="*/ 473 w 512"/>
                        <a:gd name="T13" fmla="*/ 0 h 831"/>
                        <a:gd name="T14" fmla="*/ 453 w 512"/>
                        <a:gd name="T15" fmla="*/ 4 h 831"/>
                        <a:gd name="T16" fmla="*/ 19 w 512"/>
                        <a:gd name="T17" fmla="*/ 255 h 831"/>
                        <a:gd name="T18" fmla="*/ 0 w 512"/>
                        <a:gd name="T19" fmla="*/ 290 h 831"/>
                        <a:gd name="T20" fmla="*/ 0 w 512"/>
                        <a:gd name="T21" fmla="*/ 792 h 831"/>
                        <a:gd name="T22" fmla="*/ 19 w 512"/>
                        <a:gd name="T23" fmla="*/ 827 h 831"/>
                        <a:gd name="T24" fmla="*/ 39 w 512"/>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2" h="831">
                          <a:moveTo>
                            <a:pt x="39" y="831"/>
                          </a:moveTo>
                          <a:cubicBezTo>
                            <a:pt x="46" y="831"/>
                            <a:pt x="53" y="829"/>
                            <a:pt x="57" y="827"/>
                          </a:cubicBezTo>
                          <a:cubicBezTo>
                            <a:pt x="57" y="827"/>
                            <a:pt x="57" y="827"/>
                            <a:pt x="491" y="575"/>
                          </a:cubicBezTo>
                          <a:cubicBezTo>
                            <a:pt x="503" y="568"/>
                            <a:pt x="512" y="555"/>
                            <a:pt x="512" y="541"/>
                          </a:cubicBezTo>
                          <a:cubicBezTo>
                            <a:pt x="512" y="541"/>
                            <a:pt x="512" y="541"/>
                            <a:pt x="512" y="38"/>
                          </a:cubicBezTo>
                          <a:cubicBezTo>
                            <a:pt x="512" y="25"/>
                            <a:pt x="503" y="11"/>
                            <a:pt x="491" y="4"/>
                          </a:cubicBezTo>
                          <a:cubicBezTo>
                            <a:pt x="485" y="2"/>
                            <a:pt x="478" y="0"/>
                            <a:pt x="473" y="0"/>
                          </a:cubicBezTo>
                          <a:cubicBezTo>
                            <a:pt x="466" y="0"/>
                            <a:pt x="460" y="2"/>
                            <a:pt x="453" y="4"/>
                          </a:cubicBezTo>
                          <a:cubicBezTo>
                            <a:pt x="453" y="4"/>
                            <a:pt x="453" y="4"/>
                            <a:pt x="19" y="255"/>
                          </a:cubicBezTo>
                          <a:cubicBezTo>
                            <a:pt x="7" y="262"/>
                            <a:pt x="0" y="276"/>
                            <a:pt x="0" y="290"/>
                          </a:cubicBezTo>
                          <a:cubicBezTo>
                            <a:pt x="0" y="290"/>
                            <a:pt x="0" y="290"/>
                            <a:pt x="0" y="792"/>
                          </a:cubicBezTo>
                          <a:cubicBezTo>
                            <a:pt x="0" y="806"/>
                            <a:pt x="7" y="820"/>
                            <a:pt x="19" y="827"/>
                          </a:cubicBezTo>
                          <a:cubicBezTo>
                            <a:pt x="25" y="829"/>
                            <a:pt x="32" y="831"/>
                            <a:pt x="39"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78" name="Freeform 90">
                      <a:extLst>
                        <a:ext uri="{FF2B5EF4-FFF2-40B4-BE49-F238E27FC236}">
                          <a16:creationId xmlns:a16="http://schemas.microsoft.com/office/drawing/2014/main" id="{D36DDD0D-9E5E-427E-BC06-61878A3783C0}"/>
                        </a:ext>
                      </a:extLst>
                    </p:cNvPr>
                    <p:cNvSpPr>
                      <a:spLocks/>
                    </p:cNvSpPr>
                    <p:nvPr/>
                  </p:nvSpPr>
                  <p:spPr bwMode="auto">
                    <a:xfrm>
                      <a:off x="5578553" y="2434169"/>
                      <a:ext cx="200960" cy="310008"/>
                    </a:xfrm>
                    <a:custGeom>
                      <a:avLst/>
                      <a:gdLst>
                        <a:gd name="T0" fmla="*/ 40 w 527"/>
                        <a:gd name="T1" fmla="*/ 831 h 831"/>
                        <a:gd name="T2" fmla="*/ 59 w 527"/>
                        <a:gd name="T3" fmla="*/ 825 h 831"/>
                        <a:gd name="T4" fmla="*/ 508 w 527"/>
                        <a:gd name="T5" fmla="*/ 574 h 831"/>
                        <a:gd name="T6" fmla="*/ 527 w 527"/>
                        <a:gd name="T7" fmla="*/ 542 h 831"/>
                        <a:gd name="T8" fmla="*/ 527 w 527"/>
                        <a:gd name="T9" fmla="*/ 39 h 831"/>
                        <a:gd name="T10" fmla="*/ 508 w 527"/>
                        <a:gd name="T11" fmla="*/ 7 h 831"/>
                        <a:gd name="T12" fmla="*/ 487 w 527"/>
                        <a:gd name="T13" fmla="*/ 0 h 831"/>
                        <a:gd name="T14" fmla="*/ 468 w 527"/>
                        <a:gd name="T15" fmla="*/ 7 h 831"/>
                        <a:gd name="T16" fmla="*/ 19 w 527"/>
                        <a:gd name="T17" fmla="*/ 257 h 831"/>
                        <a:gd name="T18" fmla="*/ 0 w 527"/>
                        <a:gd name="T19" fmla="*/ 289 h 831"/>
                        <a:gd name="T20" fmla="*/ 0 w 527"/>
                        <a:gd name="T21" fmla="*/ 793 h 831"/>
                        <a:gd name="T22" fmla="*/ 19 w 527"/>
                        <a:gd name="T23" fmla="*/ 825 h 831"/>
                        <a:gd name="T24" fmla="*/ 40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0" y="831"/>
                          </a:moveTo>
                          <a:cubicBezTo>
                            <a:pt x="47" y="831"/>
                            <a:pt x="52" y="829"/>
                            <a:pt x="59" y="825"/>
                          </a:cubicBezTo>
                          <a:cubicBezTo>
                            <a:pt x="59" y="825"/>
                            <a:pt x="59" y="825"/>
                            <a:pt x="508" y="574"/>
                          </a:cubicBezTo>
                          <a:cubicBezTo>
                            <a:pt x="520" y="567"/>
                            <a:pt x="527" y="556"/>
                            <a:pt x="527" y="542"/>
                          </a:cubicBezTo>
                          <a:cubicBezTo>
                            <a:pt x="527" y="542"/>
                            <a:pt x="527" y="542"/>
                            <a:pt x="527" y="39"/>
                          </a:cubicBezTo>
                          <a:cubicBezTo>
                            <a:pt x="527" y="25"/>
                            <a:pt x="520" y="13"/>
                            <a:pt x="508" y="7"/>
                          </a:cubicBezTo>
                          <a:cubicBezTo>
                            <a:pt x="501" y="2"/>
                            <a:pt x="494" y="0"/>
                            <a:pt x="487" y="0"/>
                          </a:cubicBezTo>
                          <a:cubicBezTo>
                            <a:pt x="480" y="0"/>
                            <a:pt x="473" y="2"/>
                            <a:pt x="468" y="7"/>
                          </a:cubicBezTo>
                          <a:cubicBezTo>
                            <a:pt x="468" y="7"/>
                            <a:pt x="468" y="7"/>
                            <a:pt x="19" y="257"/>
                          </a:cubicBezTo>
                          <a:cubicBezTo>
                            <a:pt x="7" y="264"/>
                            <a:pt x="0" y="275"/>
                            <a:pt x="0" y="289"/>
                          </a:cubicBezTo>
                          <a:cubicBezTo>
                            <a:pt x="0" y="289"/>
                            <a:pt x="0" y="289"/>
                            <a:pt x="0" y="793"/>
                          </a:cubicBezTo>
                          <a:cubicBezTo>
                            <a:pt x="0" y="806"/>
                            <a:pt x="7" y="818"/>
                            <a:pt x="19" y="825"/>
                          </a:cubicBezTo>
                          <a:cubicBezTo>
                            <a:pt x="26" y="829"/>
                            <a:pt x="33" y="831"/>
                            <a:pt x="40"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79" name="Freeform 91">
                      <a:extLst>
                        <a:ext uri="{FF2B5EF4-FFF2-40B4-BE49-F238E27FC236}">
                          <a16:creationId xmlns:a16="http://schemas.microsoft.com/office/drawing/2014/main" id="{3F9BBE8B-C018-41E1-87FC-78E61C9227F8}"/>
                        </a:ext>
                      </a:extLst>
                    </p:cNvPr>
                    <p:cNvSpPr>
                      <a:spLocks/>
                    </p:cNvSpPr>
                    <p:nvPr/>
                  </p:nvSpPr>
                  <p:spPr bwMode="auto">
                    <a:xfrm>
                      <a:off x="5810150" y="2305909"/>
                      <a:ext cx="201480" cy="309488"/>
                    </a:xfrm>
                    <a:custGeom>
                      <a:avLst/>
                      <a:gdLst>
                        <a:gd name="T0" fmla="*/ 40 w 528"/>
                        <a:gd name="T1" fmla="*/ 831 h 831"/>
                        <a:gd name="T2" fmla="*/ 61 w 528"/>
                        <a:gd name="T3" fmla="*/ 827 h 831"/>
                        <a:gd name="T4" fmla="*/ 507 w 528"/>
                        <a:gd name="T5" fmla="*/ 575 h 831"/>
                        <a:gd name="T6" fmla="*/ 528 w 528"/>
                        <a:gd name="T7" fmla="*/ 541 h 831"/>
                        <a:gd name="T8" fmla="*/ 528 w 528"/>
                        <a:gd name="T9" fmla="*/ 38 h 831"/>
                        <a:gd name="T10" fmla="*/ 507 w 528"/>
                        <a:gd name="T11" fmla="*/ 4 h 831"/>
                        <a:gd name="T12" fmla="*/ 488 w 528"/>
                        <a:gd name="T13" fmla="*/ 0 h 831"/>
                        <a:gd name="T14" fmla="*/ 467 w 528"/>
                        <a:gd name="T15" fmla="*/ 4 h 831"/>
                        <a:gd name="T16" fmla="*/ 21 w 528"/>
                        <a:gd name="T17" fmla="*/ 255 h 831"/>
                        <a:gd name="T18" fmla="*/ 0 w 528"/>
                        <a:gd name="T19" fmla="*/ 290 h 831"/>
                        <a:gd name="T20" fmla="*/ 0 w 528"/>
                        <a:gd name="T21" fmla="*/ 792 h 831"/>
                        <a:gd name="T22" fmla="*/ 21 w 528"/>
                        <a:gd name="T23" fmla="*/ 827 h 831"/>
                        <a:gd name="T24" fmla="*/ 40 w 528"/>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1">
                          <a:moveTo>
                            <a:pt x="40" y="831"/>
                          </a:moveTo>
                          <a:cubicBezTo>
                            <a:pt x="47" y="831"/>
                            <a:pt x="54" y="829"/>
                            <a:pt x="61" y="827"/>
                          </a:cubicBezTo>
                          <a:cubicBezTo>
                            <a:pt x="61" y="827"/>
                            <a:pt x="61" y="827"/>
                            <a:pt x="507" y="575"/>
                          </a:cubicBezTo>
                          <a:cubicBezTo>
                            <a:pt x="521" y="568"/>
                            <a:pt x="528" y="555"/>
                            <a:pt x="528" y="541"/>
                          </a:cubicBezTo>
                          <a:cubicBezTo>
                            <a:pt x="528" y="541"/>
                            <a:pt x="528" y="541"/>
                            <a:pt x="528" y="38"/>
                          </a:cubicBezTo>
                          <a:cubicBezTo>
                            <a:pt x="528" y="25"/>
                            <a:pt x="521" y="11"/>
                            <a:pt x="507" y="4"/>
                          </a:cubicBezTo>
                          <a:cubicBezTo>
                            <a:pt x="502" y="2"/>
                            <a:pt x="495" y="0"/>
                            <a:pt x="488" y="0"/>
                          </a:cubicBezTo>
                          <a:cubicBezTo>
                            <a:pt x="481" y="0"/>
                            <a:pt x="474" y="2"/>
                            <a:pt x="467" y="4"/>
                          </a:cubicBezTo>
                          <a:cubicBezTo>
                            <a:pt x="467" y="4"/>
                            <a:pt x="467" y="4"/>
                            <a:pt x="21" y="255"/>
                          </a:cubicBezTo>
                          <a:cubicBezTo>
                            <a:pt x="10" y="262"/>
                            <a:pt x="0" y="276"/>
                            <a:pt x="0" y="290"/>
                          </a:cubicBezTo>
                          <a:cubicBezTo>
                            <a:pt x="0" y="290"/>
                            <a:pt x="0" y="290"/>
                            <a:pt x="0" y="792"/>
                          </a:cubicBezTo>
                          <a:cubicBezTo>
                            <a:pt x="0" y="806"/>
                            <a:pt x="10" y="820"/>
                            <a:pt x="21" y="827"/>
                          </a:cubicBezTo>
                          <a:cubicBezTo>
                            <a:pt x="26" y="829"/>
                            <a:pt x="33" y="831"/>
                            <a:pt x="40"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80" name="Freeform 92">
                      <a:extLst>
                        <a:ext uri="{FF2B5EF4-FFF2-40B4-BE49-F238E27FC236}">
                          <a16:creationId xmlns:a16="http://schemas.microsoft.com/office/drawing/2014/main" id="{D8F9F78F-0F4C-40B9-98AE-A73E29239AC1}"/>
                        </a:ext>
                      </a:extLst>
                    </p:cNvPr>
                    <p:cNvSpPr>
                      <a:spLocks/>
                    </p:cNvSpPr>
                    <p:nvPr/>
                  </p:nvSpPr>
                  <p:spPr bwMode="auto">
                    <a:xfrm>
                      <a:off x="5352148" y="3323688"/>
                      <a:ext cx="195767" cy="309488"/>
                    </a:xfrm>
                    <a:custGeom>
                      <a:avLst/>
                      <a:gdLst>
                        <a:gd name="T0" fmla="*/ 39 w 512"/>
                        <a:gd name="T1" fmla="*/ 831 h 831"/>
                        <a:gd name="T2" fmla="*/ 57 w 512"/>
                        <a:gd name="T3" fmla="*/ 827 h 831"/>
                        <a:gd name="T4" fmla="*/ 491 w 512"/>
                        <a:gd name="T5" fmla="*/ 575 h 831"/>
                        <a:gd name="T6" fmla="*/ 512 w 512"/>
                        <a:gd name="T7" fmla="*/ 541 h 831"/>
                        <a:gd name="T8" fmla="*/ 512 w 512"/>
                        <a:gd name="T9" fmla="*/ 39 h 831"/>
                        <a:gd name="T10" fmla="*/ 491 w 512"/>
                        <a:gd name="T11" fmla="*/ 4 h 831"/>
                        <a:gd name="T12" fmla="*/ 473 w 512"/>
                        <a:gd name="T13" fmla="*/ 0 h 831"/>
                        <a:gd name="T14" fmla="*/ 453 w 512"/>
                        <a:gd name="T15" fmla="*/ 4 h 831"/>
                        <a:gd name="T16" fmla="*/ 19 w 512"/>
                        <a:gd name="T17" fmla="*/ 256 h 831"/>
                        <a:gd name="T18" fmla="*/ 0 w 512"/>
                        <a:gd name="T19" fmla="*/ 290 h 831"/>
                        <a:gd name="T20" fmla="*/ 0 w 512"/>
                        <a:gd name="T21" fmla="*/ 792 h 831"/>
                        <a:gd name="T22" fmla="*/ 19 w 512"/>
                        <a:gd name="T23" fmla="*/ 827 h 831"/>
                        <a:gd name="T24" fmla="*/ 39 w 512"/>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2" h="831">
                          <a:moveTo>
                            <a:pt x="39" y="831"/>
                          </a:moveTo>
                          <a:cubicBezTo>
                            <a:pt x="46" y="831"/>
                            <a:pt x="53" y="829"/>
                            <a:pt x="57" y="827"/>
                          </a:cubicBezTo>
                          <a:cubicBezTo>
                            <a:pt x="57" y="827"/>
                            <a:pt x="57" y="827"/>
                            <a:pt x="491" y="575"/>
                          </a:cubicBezTo>
                          <a:cubicBezTo>
                            <a:pt x="503" y="569"/>
                            <a:pt x="512" y="555"/>
                            <a:pt x="512" y="541"/>
                          </a:cubicBezTo>
                          <a:cubicBezTo>
                            <a:pt x="512" y="541"/>
                            <a:pt x="512" y="541"/>
                            <a:pt x="512" y="39"/>
                          </a:cubicBezTo>
                          <a:cubicBezTo>
                            <a:pt x="512" y="25"/>
                            <a:pt x="503" y="11"/>
                            <a:pt x="491" y="4"/>
                          </a:cubicBezTo>
                          <a:cubicBezTo>
                            <a:pt x="485" y="0"/>
                            <a:pt x="478" y="0"/>
                            <a:pt x="473" y="0"/>
                          </a:cubicBezTo>
                          <a:cubicBezTo>
                            <a:pt x="466" y="0"/>
                            <a:pt x="460" y="0"/>
                            <a:pt x="453" y="4"/>
                          </a:cubicBezTo>
                          <a:cubicBezTo>
                            <a:pt x="453" y="4"/>
                            <a:pt x="453" y="4"/>
                            <a:pt x="19" y="256"/>
                          </a:cubicBezTo>
                          <a:cubicBezTo>
                            <a:pt x="7" y="262"/>
                            <a:pt x="0" y="276"/>
                            <a:pt x="0" y="290"/>
                          </a:cubicBezTo>
                          <a:cubicBezTo>
                            <a:pt x="0" y="290"/>
                            <a:pt x="0" y="290"/>
                            <a:pt x="0" y="792"/>
                          </a:cubicBezTo>
                          <a:cubicBezTo>
                            <a:pt x="0" y="806"/>
                            <a:pt x="7" y="820"/>
                            <a:pt x="19" y="827"/>
                          </a:cubicBezTo>
                          <a:cubicBezTo>
                            <a:pt x="25" y="829"/>
                            <a:pt x="32" y="831"/>
                            <a:pt x="39"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81" name="Freeform 94">
                      <a:extLst>
                        <a:ext uri="{FF2B5EF4-FFF2-40B4-BE49-F238E27FC236}">
                          <a16:creationId xmlns:a16="http://schemas.microsoft.com/office/drawing/2014/main" id="{EEC142A2-EA94-484C-8FCF-7D53C6219CBE}"/>
                        </a:ext>
                      </a:extLst>
                    </p:cNvPr>
                    <p:cNvSpPr>
                      <a:spLocks/>
                    </p:cNvSpPr>
                    <p:nvPr/>
                  </p:nvSpPr>
                  <p:spPr bwMode="auto">
                    <a:xfrm>
                      <a:off x="4894665" y="2557238"/>
                      <a:ext cx="195248" cy="303776"/>
                    </a:xfrm>
                    <a:custGeom>
                      <a:avLst/>
                      <a:gdLst>
                        <a:gd name="T0" fmla="*/ 38 w 511"/>
                        <a:gd name="T1" fmla="*/ 816 h 816"/>
                        <a:gd name="T2" fmla="*/ 57 w 511"/>
                        <a:gd name="T3" fmla="*/ 812 h 816"/>
                        <a:gd name="T4" fmla="*/ 493 w 511"/>
                        <a:gd name="T5" fmla="*/ 563 h 816"/>
                        <a:gd name="T6" fmla="*/ 511 w 511"/>
                        <a:gd name="T7" fmla="*/ 532 h 816"/>
                        <a:gd name="T8" fmla="*/ 511 w 511"/>
                        <a:gd name="T9" fmla="*/ 38 h 816"/>
                        <a:gd name="T10" fmla="*/ 493 w 511"/>
                        <a:gd name="T11" fmla="*/ 5 h 816"/>
                        <a:gd name="T12" fmla="*/ 472 w 511"/>
                        <a:gd name="T13" fmla="*/ 0 h 816"/>
                        <a:gd name="T14" fmla="*/ 454 w 511"/>
                        <a:gd name="T15" fmla="*/ 5 h 816"/>
                        <a:gd name="T16" fmla="*/ 18 w 511"/>
                        <a:gd name="T17" fmla="*/ 251 h 816"/>
                        <a:gd name="T18" fmla="*/ 0 w 511"/>
                        <a:gd name="T19" fmla="*/ 285 h 816"/>
                        <a:gd name="T20" fmla="*/ 0 w 511"/>
                        <a:gd name="T21" fmla="*/ 778 h 816"/>
                        <a:gd name="T22" fmla="*/ 18 w 511"/>
                        <a:gd name="T23" fmla="*/ 812 h 816"/>
                        <a:gd name="T24" fmla="*/ 38 w 511"/>
                        <a:gd name="T25" fmla="*/ 81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1" h="816">
                          <a:moveTo>
                            <a:pt x="38" y="816"/>
                          </a:moveTo>
                          <a:cubicBezTo>
                            <a:pt x="45" y="816"/>
                            <a:pt x="50" y="814"/>
                            <a:pt x="57" y="812"/>
                          </a:cubicBezTo>
                          <a:cubicBezTo>
                            <a:pt x="57" y="812"/>
                            <a:pt x="57" y="812"/>
                            <a:pt x="493" y="563"/>
                          </a:cubicBezTo>
                          <a:cubicBezTo>
                            <a:pt x="504" y="556"/>
                            <a:pt x="511" y="545"/>
                            <a:pt x="511" y="532"/>
                          </a:cubicBezTo>
                          <a:cubicBezTo>
                            <a:pt x="511" y="532"/>
                            <a:pt x="511" y="532"/>
                            <a:pt x="511" y="38"/>
                          </a:cubicBezTo>
                          <a:cubicBezTo>
                            <a:pt x="511" y="23"/>
                            <a:pt x="504" y="11"/>
                            <a:pt x="493" y="5"/>
                          </a:cubicBezTo>
                          <a:cubicBezTo>
                            <a:pt x="486" y="0"/>
                            <a:pt x="479" y="0"/>
                            <a:pt x="472" y="0"/>
                          </a:cubicBezTo>
                          <a:cubicBezTo>
                            <a:pt x="465" y="0"/>
                            <a:pt x="459" y="0"/>
                            <a:pt x="454" y="5"/>
                          </a:cubicBezTo>
                          <a:cubicBezTo>
                            <a:pt x="454" y="5"/>
                            <a:pt x="454" y="5"/>
                            <a:pt x="18" y="251"/>
                          </a:cubicBezTo>
                          <a:cubicBezTo>
                            <a:pt x="6" y="258"/>
                            <a:pt x="0" y="272"/>
                            <a:pt x="0" y="285"/>
                          </a:cubicBezTo>
                          <a:cubicBezTo>
                            <a:pt x="0" y="285"/>
                            <a:pt x="0" y="285"/>
                            <a:pt x="0" y="778"/>
                          </a:cubicBezTo>
                          <a:cubicBezTo>
                            <a:pt x="0" y="792"/>
                            <a:pt x="6" y="805"/>
                            <a:pt x="18" y="812"/>
                          </a:cubicBezTo>
                          <a:cubicBezTo>
                            <a:pt x="25" y="814"/>
                            <a:pt x="32" y="816"/>
                            <a:pt x="38" y="816"/>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82" name="Freeform 95">
                      <a:extLst>
                        <a:ext uri="{FF2B5EF4-FFF2-40B4-BE49-F238E27FC236}">
                          <a16:creationId xmlns:a16="http://schemas.microsoft.com/office/drawing/2014/main" id="{E600838D-EB3A-4892-8D5B-47652ECFFC2C}"/>
                        </a:ext>
                      </a:extLst>
                    </p:cNvPr>
                    <p:cNvSpPr>
                      <a:spLocks/>
                    </p:cNvSpPr>
                    <p:nvPr/>
                  </p:nvSpPr>
                  <p:spPr bwMode="auto">
                    <a:xfrm>
                      <a:off x="4894665" y="2808567"/>
                      <a:ext cx="195248" cy="310008"/>
                    </a:xfrm>
                    <a:custGeom>
                      <a:avLst/>
                      <a:gdLst>
                        <a:gd name="T0" fmla="*/ 38 w 511"/>
                        <a:gd name="T1" fmla="*/ 832 h 832"/>
                        <a:gd name="T2" fmla="*/ 57 w 511"/>
                        <a:gd name="T3" fmla="*/ 825 h 832"/>
                        <a:gd name="T4" fmla="*/ 493 w 511"/>
                        <a:gd name="T5" fmla="*/ 574 h 832"/>
                        <a:gd name="T6" fmla="*/ 511 w 511"/>
                        <a:gd name="T7" fmla="*/ 542 h 832"/>
                        <a:gd name="T8" fmla="*/ 511 w 511"/>
                        <a:gd name="T9" fmla="*/ 39 h 832"/>
                        <a:gd name="T10" fmla="*/ 493 w 511"/>
                        <a:gd name="T11" fmla="*/ 7 h 832"/>
                        <a:gd name="T12" fmla="*/ 472 w 511"/>
                        <a:gd name="T13" fmla="*/ 0 h 832"/>
                        <a:gd name="T14" fmla="*/ 454 w 511"/>
                        <a:gd name="T15" fmla="*/ 7 h 832"/>
                        <a:gd name="T16" fmla="*/ 18 w 511"/>
                        <a:gd name="T17" fmla="*/ 257 h 832"/>
                        <a:gd name="T18" fmla="*/ 0 w 511"/>
                        <a:gd name="T19" fmla="*/ 289 h 832"/>
                        <a:gd name="T20" fmla="*/ 0 w 511"/>
                        <a:gd name="T21" fmla="*/ 793 h 832"/>
                        <a:gd name="T22" fmla="*/ 18 w 511"/>
                        <a:gd name="T23" fmla="*/ 825 h 832"/>
                        <a:gd name="T24" fmla="*/ 38 w 511"/>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1" h="832">
                          <a:moveTo>
                            <a:pt x="38" y="832"/>
                          </a:moveTo>
                          <a:cubicBezTo>
                            <a:pt x="45" y="832"/>
                            <a:pt x="50" y="829"/>
                            <a:pt x="57" y="825"/>
                          </a:cubicBezTo>
                          <a:cubicBezTo>
                            <a:pt x="57" y="825"/>
                            <a:pt x="57" y="825"/>
                            <a:pt x="493" y="574"/>
                          </a:cubicBezTo>
                          <a:cubicBezTo>
                            <a:pt x="504" y="567"/>
                            <a:pt x="511" y="556"/>
                            <a:pt x="511" y="542"/>
                          </a:cubicBezTo>
                          <a:cubicBezTo>
                            <a:pt x="511" y="542"/>
                            <a:pt x="511" y="542"/>
                            <a:pt x="511" y="39"/>
                          </a:cubicBezTo>
                          <a:cubicBezTo>
                            <a:pt x="511" y="25"/>
                            <a:pt x="504" y="14"/>
                            <a:pt x="493" y="7"/>
                          </a:cubicBezTo>
                          <a:cubicBezTo>
                            <a:pt x="486" y="2"/>
                            <a:pt x="479" y="0"/>
                            <a:pt x="472" y="0"/>
                          </a:cubicBezTo>
                          <a:cubicBezTo>
                            <a:pt x="465" y="0"/>
                            <a:pt x="459" y="2"/>
                            <a:pt x="454" y="7"/>
                          </a:cubicBezTo>
                          <a:cubicBezTo>
                            <a:pt x="454" y="7"/>
                            <a:pt x="454" y="7"/>
                            <a:pt x="18" y="257"/>
                          </a:cubicBezTo>
                          <a:cubicBezTo>
                            <a:pt x="6" y="264"/>
                            <a:pt x="0" y="276"/>
                            <a:pt x="0" y="289"/>
                          </a:cubicBezTo>
                          <a:cubicBezTo>
                            <a:pt x="0" y="289"/>
                            <a:pt x="0" y="289"/>
                            <a:pt x="0" y="793"/>
                          </a:cubicBezTo>
                          <a:cubicBezTo>
                            <a:pt x="0" y="807"/>
                            <a:pt x="6" y="818"/>
                            <a:pt x="18" y="825"/>
                          </a:cubicBezTo>
                          <a:cubicBezTo>
                            <a:pt x="25" y="829"/>
                            <a:pt x="32" y="832"/>
                            <a:pt x="38"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83" name="Freeform 96">
                      <a:extLst>
                        <a:ext uri="{FF2B5EF4-FFF2-40B4-BE49-F238E27FC236}">
                          <a16:creationId xmlns:a16="http://schemas.microsoft.com/office/drawing/2014/main" id="{85363D22-7661-46AB-869B-55657DD9ADCA}"/>
                        </a:ext>
                      </a:extLst>
                    </p:cNvPr>
                    <p:cNvSpPr>
                      <a:spLocks/>
                    </p:cNvSpPr>
                    <p:nvPr/>
                  </p:nvSpPr>
                  <p:spPr bwMode="auto">
                    <a:xfrm>
                      <a:off x="5120551" y="2680306"/>
                      <a:ext cx="200960" cy="309488"/>
                    </a:xfrm>
                    <a:custGeom>
                      <a:avLst/>
                      <a:gdLst>
                        <a:gd name="T0" fmla="*/ 40 w 527"/>
                        <a:gd name="T1" fmla="*/ 831 h 831"/>
                        <a:gd name="T2" fmla="*/ 61 w 527"/>
                        <a:gd name="T3" fmla="*/ 827 h 831"/>
                        <a:gd name="T4" fmla="*/ 506 w 527"/>
                        <a:gd name="T5" fmla="*/ 576 h 831"/>
                        <a:gd name="T6" fmla="*/ 527 w 527"/>
                        <a:gd name="T7" fmla="*/ 541 h 831"/>
                        <a:gd name="T8" fmla="*/ 527 w 527"/>
                        <a:gd name="T9" fmla="*/ 39 h 831"/>
                        <a:gd name="T10" fmla="*/ 506 w 527"/>
                        <a:gd name="T11" fmla="*/ 4 h 831"/>
                        <a:gd name="T12" fmla="*/ 488 w 527"/>
                        <a:gd name="T13" fmla="*/ 0 h 831"/>
                        <a:gd name="T14" fmla="*/ 467 w 527"/>
                        <a:gd name="T15" fmla="*/ 4 h 831"/>
                        <a:gd name="T16" fmla="*/ 21 w 527"/>
                        <a:gd name="T17" fmla="*/ 256 h 831"/>
                        <a:gd name="T18" fmla="*/ 0 w 527"/>
                        <a:gd name="T19" fmla="*/ 290 h 831"/>
                        <a:gd name="T20" fmla="*/ 0 w 527"/>
                        <a:gd name="T21" fmla="*/ 793 h 831"/>
                        <a:gd name="T22" fmla="*/ 21 w 527"/>
                        <a:gd name="T23" fmla="*/ 827 h 831"/>
                        <a:gd name="T24" fmla="*/ 40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0" y="831"/>
                          </a:moveTo>
                          <a:cubicBezTo>
                            <a:pt x="47" y="831"/>
                            <a:pt x="54" y="829"/>
                            <a:pt x="61" y="827"/>
                          </a:cubicBezTo>
                          <a:cubicBezTo>
                            <a:pt x="61" y="827"/>
                            <a:pt x="61" y="827"/>
                            <a:pt x="506" y="576"/>
                          </a:cubicBezTo>
                          <a:cubicBezTo>
                            <a:pt x="520" y="569"/>
                            <a:pt x="527" y="555"/>
                            <a:pt x="527" y="541"/>
                          </a:cubicBezTo>
                          <a:cubicBezTo>
                            <a:pt x="527" y="541"/>
                            <a:pt x="527" y="541"/>
                            <a:pt x="527" y="39"/>
                          </a:cubicBezTo>
                          <a:cubicBezTo>
                            <a:pt x="527" y="25"/>
                            <a:pt x="520" y="11"/>
                            <a:pt x="506" y="4"/>
                          </a:cubicBezTo>
                          <a:cubicBezTo>
                            <a:pt x="502" y="2"/>
                            <a:pt x="495" y="0"/>
                            <a:pt x="488" y="0"/>
                          </a:cubicBezTo>
                          <a:cubicBezTo>
                            <a:pt x="481" y="0"/>
                            <a:pt x="474" y="2"/>
                            <a:pt x="467" y="4"/>
                          </a:cubicBezTo>
                          <a:cubicBezTo>
                            <a:pt x="467" y="4"/>
                            <a:pt x="467" y="4"/>
                            <a:pt x="21" y="256"/>
                          </a:cubicBezTo>
                          <a:cubicBezTo>
                            <a:pt x="9" y="263"/>
                            <a:pt x="0" y="276"/>
                            <a:pt x="0" y="290"/>
                          </a:cubicBezTo>
                          <a:cubicBezTo>
                            <a:pt x="0" y="290"/>
                            <a:pt x="0" y="290"/>
                            <a:pt x="0" y="793"/>
                          </a:cubicBezTo>
                          <a:cubicBezTo>
                            <a:pt x="0" y="806"/>
                            <a:pt x="9" y="820"/>
                            <a:pt x="21" y="827"/>
                          </a:cubicBezTo>
                          <a:cubicBezTo>
                            <a:pt x="26" y="829"/>
                            <a:pt x="33" y="831"/>
                            <a:pt x="40"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84" name="Freeform 97">
                      <a:extLst>
                        <a:ext uri="{FF2B5EF4-FFF2-40B4-BE49-F238E27FC236}">
                          <a16:creationId xmlns:a16="http://schemas.microsoft.com/office/drawing/2014/main" id="{BCA471DE-EB9F-4952-B599-F8EC9859FA50}"/>
                        </a:ext>
                      </a:extLst>
                    </p:cNvPr>
                    <p:cNvSpPr>
                      <a:spLocks/>
                    </p:cNvSpPr>
                    <p:nvPr/>
                  </p:nvSpPr>
                  <p:spPr bwMode="auto">
                    <a:xfrm>
                      <a:off x="5120551" y="2931115"/>
                      <a:ext cx="200960" cy="310527"/>
                    </a:xfrm>
                    <a:custGeom>
                      <a:avLst/>
                      <a:gdLst>
                        <a:gd name="T0" fmla="*/ 40 w 527"/>
                        <a:gd name="T1" fmla="*/ 832 h 832"/>
                        <a:gd name="T2" fmla="*/ 61 w 527"/>
                        <a:gd name="T3" fmla="*/ 825 h 832"/>
                        <a:gd name="T4" fmla="*/ 506 w 527"/>
                        <a:gd name="T5" fmla="*/ 575 h 832"/>
                        <a:gd name="T6" fmla="*/ 527 w 527"/>
                        <a:gd name="T7" fmla="*/ 543 h 832"/>
                        <a:gd name="T8" fmla="*/ 527 w 527"/>
                        <a:gd name="T9" fmla="*/ 39 h 832"/>
                        <a:gd name="T10" fmla="*/ 506 w 527"/>
                        <a:gd name="T11" fmla="*/ 7 h 832"/>
                        <a:gd name="T12" fmla="*/ 488 w 527"/>
                        <a:gd name="T13" fmla="*/ 0 h 832"/>
                        <a:gd name="T14" fmla="*/ 467 w 527"/>
                        <a:gd name="T15" fmla="*/ 7 h 832"/>
                        <a:gd name="T16" fmla="*/ 21 w 527"/>
                        <a:gd name="T17" fmla="*/ 258 h 832"/>
                        <a:gd name="T18" fmla="*/ 0 w 527"/>
                        <a:gd name="T19" fmla="*/ 290 h 832"/>
                        <a:gd name="T20" fmla="*/ 0 w 527"/>
                        <a:gd name="T21" fmla="*/ 793 h 832"/>
                        <a:gd name="T22" fmla="*/ 21 w 527"/>
                        <a:gd name="T23" fmla="*/ 825 h 832"/>
                        <a:gd name="T24" fmla="*/ 40 w 527"/>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2">
                          <a:moveTo>
                            <a:pt x="40" y="832"/>
                          </a:moveTo>
                          <a:cubicBezTo>
                            <a:pt x="47" y="832"/>
                            <a:pt x="54" y="830"/>
                            <a:pt x="61" y="825"/>
                          </a:cubicBezTo>
                          <a:cubicBezTo>
                            <a:pt x="61" y="825"/>
                            <a:pt x="61" y="825"/>
                            <a:pt x="506" y="575"/>
                          </a:cubicBezTo>
                          <a:cubicBezTo>
                            <a:pt x="520" y="568"/>
                            <a:pt x="527" y="556"/>
                            <a:pt x="527" y="543"/>
                          </a:cubicBezTo>
                          <a:cubicBezTo>
                            <a:pt x="527" y="543"/>
                            <a:pt x="527" y="543"/>
                            <a:pt x="527" y="39"/>
                          </a:cubicBezTo>
                          <a:cubicBezTo>
                            <a:pt x="527" y="26"/>
                            <a:pt x="520" y="14"/>
                            <a:pt x="506" y="7"/>
                          </a:cubicBezTo>
                          <a:cubicBezTo>
                            <a:pt x="502" y="3"/>
                            <a:pt x="495" y="0"/>
                            <a:pt x="488" y="0"/>
                          </a:cubicBezTo>
                          <a:cubicBezTo>
                            <a:pt x="481" y="0"/>
                            <a:pt x="474" y="3"/>
                            <a:pt x="467" y="7"/>
                          </a:cubicBezTo>
                          <a:cubicBezTo>
                            <a:pt x="467" y="7"/>
                            <a:pt x="467" y="7"/>
                            <a:pt x="21" y="258"/>
                          </a:cubicBezTo>
                          <a:cubicBezTo>
                            <a:pt x="9" y="265"/>
                            <a:pt x="0" y="276"/>
                            <a:pt x="0" y="290"/>
                          </a:cubicBezTo>
                          <a:cubicBezTo>
                            <a:pt x="0" y="290"/>
                            <a:pt x="0" y="290"/>
                            <a:pt x="0" y="793"/>
                          </a:cubicBezTo>
                          <a:cubicBezTo>
                            <a:pt x="0" y="807"/>
                            <a:pt x="9" y="818"/>
                            <a:pt x="21" y="825"/>
                          </a:cubicBezTo>
                          <a:cubicBezTo>
                            <a:pt x="26" y="830"/>
                            <a:pt x="33" y="832"/>
                            <a:pt x="40"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85" name="Freeform 98">
                      <a:extLst>
                        <a:ext uri="{FF2B5EF4-FFF2-40B4-BE49-F238E27FC236}">
                          <a16:creationId xmlns:a16="http://schemas.microsoft.com/office/drawing/2014/main" id="{6A9380E9-99B7-42FC-87B2-69DDB3DE1A56}"/>
                        </a:ext>
                      </a:extLst>
                    </p:cNvPr>
                    <p:cNvSpPr>
                      <a:spLocks/>
                    </p:cNvSpPr>
                    <p:nvPr/>
                  </p:nvSpPr>
                  <p:spPr bwMode="auto">
                    <a:xfrm>
                      <a:off x="5352148" y="2814798"/>
                      <a:ext cx="195767" cy="309488"/>
                    </a:xfrm>
                    <a:custGeom>
                      <a:avLst/>
                      <a:gdLst>
                        <a:gd name="T0" fmla="*/ 39 w 512"/>
                        <a:gd name="T1" fmla="*/ 831 h 831"/>
                        <a:gd name="T2" fmla="*/ 57 w 512"/>
                        <a:gd name="T3" fmla="*/ 827 h 831"/>
                        <a:gd name="T4" fmla="*/ 491 w 512"/>
                        <a:gd name="T5" fmla="*/ 575 h 831"/>
                        <a:gd name="T6" fmla="*/ 512 w 512"/>
                        <a:gd name="T7" fmla="*/ 541 h 831"/>
                        <a:gd name="T8" fmla="*/ 512 w 512"/>
                        <a:gd name="T9" fmla="*/ 39 h 831"/>
                        <a:gd name="T10" fmla="*/ 491 w 512"/>
                        <a:gd name="T11" fmla="*/ 4 h 831"/>
                        <a:gd name="T12" fmla="*/ 473 w 512"/>
                        <a:gd name="T13" fmla="*/ 0 h 831"/>
                        <a:gd name="T14" fmla="*/ 453 w 512"/>
                        <a:gd name="T15" fmla="*/ 4 h 831"/>
                        <a:gd name="T16" fmla="*/ 19 w 512"/>
                        <a:gd name="T17" fmla="*/ 256 h 831"/>
                        <a:gd name="T18" fmla="*/ 0 w 512"/>
                        <a:gd name="T19" fmla="*/ 290 h 831"/>
                        <a:gd name="T20" fmla="*/ 0 w 512"/>
                        <a:gd name="T21" fmla="*/ 792 h 831"/>
                        <a:gd name="T22" fmla="*/ 19 w 512"/>
                        <a:gd name="T23" fmla="*/ 827 h 831"/>
                        <a:gd name="T24" fmla="*/ 39 w 512"/>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2" h="831">
                          <a:moveTo>
                            <a:pt x="39" y="831"/>
                          </a:moveTo>
                          <a:cubicBezTo>
                            <a:pt x="46" y="831"/>
                            <a:pt x="53" y="831"/>
                            <a:pt x="57" y="827"/>
                          </a:cubicBezTo>
                          <a:cubicBezTo>
                            <a:pt x="57" y="827"/>
                            <a:pt x="57" y="827"/>
                            <a:pt x="491" y="575"/>
                          </a:cubicBezTo>
                          <a:cubicBezTo>
                            <a:pt x="503" y="569"/>
                            <a:pt x="512" y="555"/>
                            <a:pt x="512" y="541"/>
                          </a:cubicBezTo>
                          <a:cubicBezTo>
                            <a:pt x="512" y="541"/>
                            <a:pt x="512" y="541"/>
                            <a:pt x="512" y="39"/>
                          </a:cubicBezTo>
                          <a:cubicBezTo>
                            <a:pt x="512" y="25"/>
                            <a:pt x="503" y="11"/>
                            <a:pt x="491" y="4"/>
                          </a:cubicBezTo>
                          <a:cubicBezTo>
                            <a:pt x="485" y="2"/>
                            <a:pt x="478" y="0"/>
                            <a:pt x="473" y="0"/>
                          </a:cubicBezTo>
                          <a:cubicBezTo>
                            <a:pt x="466" y="0"/>
                            <a:pt x="460" y="2"/>
                            <a:pt x="453" y="4"/>
                          </a:cubicBezTo>
                          <a:cubicBezTo>
                            <a:pt x="453" y="4"/>
                            <a:pt x="453" y="4"/>
                            <a:pt x="19" y="256"/>
                          </a:cubicBezTo>
                          <a:cubicBezTo>
                            <a:pt x="7" y="262"/>
                            <a:pt x="0" y="276"/>
                            <a:pt x="0" y="290"/>
                          </a:cubicBezTo>
                          <a:cubicBezTo>
                            <a:pt x="0" y="290"/>
                            <a:pt x="0" y="290"/>
                            <a:pt x="0" y="792"/>
                          </a:cubicBezTo>
                          <a:cubicBezTo>
                            <a:pt x="0" y="806"/>
                            <a:pt x="7" y="820"/>
                            <a:pt x="19" y="827"/>
                          </a:cubicBezTo>
                          <a:cubicBezTo>
                            <a:pt x="25" y="831"/>
                            <a:pt x="32" y="831"/>
                            <a:pt x="39"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86" name="Freeform 99">
                      <a:extLst>
                        <a:ext uri="{FF2B5EF4-FFF2-40B4-BE49-F238E27FC236}">
                          <a16:creationId xmlns:a16="http://schemas.microsoft.com/office/drawing/2014/main" id="{CE439C53-F349-4277-8D11-31E25EC1C5D2}"/>
                        </a:ext>
                      </a:extLst>
                    </p:cNvPr>
                    <p:cNvSpPr>
                      <a:spLocks/>
                    </p:cNvSpPr>
                    <p:nvPr/>
                  </p:nvSpPr>
                  <p:spPr bwMode="auto">
                    <a:xfrm>
                      <a:off x="5578553" y="2937347"/>
                      <a:ext cx="200960" cy="310008"/>
                    </a:xfrm>
                    <a:custGeom>
                      <a:avLst/>
                      <a:gdLst>
                        <a:gd name="T0" fmla="*/ 40 w 527"/>
                        <a:gd name="T1" fmla="*/ 832 h 832"/>
                        <a:gd name="T2" fmla="*/ 59 w 527"/>
                        <a:gd name="T3" fmla="*/ 827 h 832"/>
                        <a:gd name="T4" fmla="*/ 508 w 527"/>
                        <a:gd name="T5" fmla="*/ 574 h 832"/>
                        <a:gd name="T6" fmla="*/ 527 w 527"/>
                        <a:gd name="T7" fmla="*/ 542 h 832"/>
                        <a:gd name="T8" fmla="*/ 527 w 527"/>
                        <a:gd name="T9" fmla="*/ 39 h 832"/>
                        <a:gd name="T10" fmla="*/ 508 w 527"/>
                        <a:gd name="T11" fmla="*/ 7 h 832"/>
                        <a:gd name="T12" fmla="*/ 487 w 527"/>
                        <a:gd name="T13" fmla="*/ 0 h 832"/>
                        <a:gd name="T14" fmla="*/ 468 w 527"/>
                        <a:gd name="T15" fmla="*/ 7 h 832"/>
                        <a:gd name="T16" fmla="*/ 19 w 527"/>
                        <a:gd name="T17" fmla="*/ 258 h 832"/>
                        <a:gd name="T18" fmla="*/ 0 w 527"/>
                        <a:gd name="T19" fmla="*/ 292 h 832"/>
                        <a:gd name="T20" fmla="*/ 0 w 527"/>
                        <a:gd name="T21" fmla="*/ 793 h 832"/>
                        <a:gd name="T22" fmla="*/ 19 w 527"/>
                        <a:gd name="T23" fmla="*/ 827 h 832"/>
                        <a:gd name="T24" fmla="*/ 40 w 527"/>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2">
                          <a:moveTo>
                            <a:pt x="40" y="832"/>
                          </a:moveTo>
                          <a:cubicBezTo>
                            <a:pt x="47" y="832"/>
                            <a:pt x="52" y="829"/>
                            <a:pt x="59" y="827"/>
                          </a:cubicBezTo>
                          <a:cubicBezTo>
                            <a:pt x="59" y="827"/>
                            <a:pt x="59" y="827"/>
                            <a:pt x="508" y="574"/>
                          </a:cubicBezTo>
                          <a:cubicBezTo>
                            <a:pt x="520" y="567"/>
                            <a:pt x="527" y="556"/>
                            <a:pt x="527" y="542"/>
                          </a:cubicBezTo>
                          <a:cubicBezTo>
                            <a:pt x="527" y="542"/>
                            <a:pt x="527" y="542"/>
                            <a:pt x="527" y="39"/>
                          </a:cubicBezTo>
                          <a:cubicBezTo>
                            <a:pt x="527" y="25"/>
                            <a:pt x="520" y="14"/>
                            <a:pt x="508" y="7"/>
                          </a:cubicBezTo>
                          <a:cubicBezTo>
                            <a:pt x="501" y="2"/>
                            <a:pt x="494" y="0"/>
                            <a:pt x="487" y="0"/>
                          </a:cubicBezTo>
                          <a:cubicBezTo>
                            <a:pt x="480" y="0"/>
                            <a:pt x="473" y="2"/>
                            <a:pt x="468" y="7"/>
                          </a:cubicBezTo>
                          <a:cubicBezTo>
                            <a:pt x="468" y="7"/>
                            <a:pt x="468" y="7"/>
                            <a:pt x="19" y="258"/>
                          </a:cubicBezTo>
                          <a:cubicBezTo>
                            <a:pt x="7" y="264"/>
                            <a:pt x="0" y="278"/>
                            <a:pt x="0" y="292"/>
                          </a:cubicBezTo>
                          <a:cubicBezTo>
                            <a:pt x="0" y="292"/>
                            <a:pt x="0" y="292"/>
                            <a:pt x="0" y="793"/>
                          </a:cubicBezTo>
                          <a:cubicBezTo>
                            <a:pt x="0" y="807"/>
                            <a:pt x="7" y="818"/>
                            <a:pt x="19" y="827"/>
                          </a:cubicBezTo>
                          <a:cubicBezTo>
                            <a:pt x="26" y="829"/>
                            <a:pt x="33" y="832"/>
                            <a:pt x="40"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87" name="Freeform 100">
                      <a:extLst>
                        <a:ext uri="{FF2B5EF4-FFF2-40B4-BE49-F238E27FC236}">
                          <a16:creationId xmlns:a16="http://schemas.microsoft.com/office/drawing/2014/main" id="{FA0C3069-3405-4A3E-B7E0-802C030DFA7E}"/>
                        </a:ext>
                      </a:extLst>
                    </p:cNvPr>
                    <p:cNvSpPr>
                      <a:spLocks/>
                    </p:cNvSpPr>
                    <p:nvPr/>
                  </p:nvSpPr>
                  <p:spPr bwMode="auto">
                    <a:xfrm>
                      <a:off x="5578553" y="3194907"/>
                      <a:ext cx="200960" cy="309488"/>
                    </a:xfrm>
                    <a:custGeom>
                      <a:avLst/>
                      <a:gdLst>
                        <a:gd name="T0" fmla="*/ 40 w 527"/>
                        <a:gd name="T1" fmla="*/ 831 h 831"/>
                        <a:gd name="T2" fmla="*/ 59 w 527"/>
                        <a:gd name="T3" fmla="*/ 824 h 831"/>
                        <a:gd name="T4" fmla="*/ 508 w 527"/>
                        <a:gd name="T5" fmla="*/ 574 h 831"/>
                        <a:gd name="T6" fmla="*/ 527 w 527"/>
                        <a:gd name="T7" fmla="*/ 540 h 831"/>
                        <a:gd name="T8" fmla="*/ 527 w 527"/>
                        <a:gd name="T9" fmla="*/ 38 h 831"/>
                        <a:gd name="T10" fmla="*/ 508 w 527"/>
                        <a:gd name="T11" fmla="*/ 6 h 831"/>
                        <a:gd name="T12" fmla="*/ 487 w 527"/>
                        <a:gd name="T13" fmla="*/ 0 h 831"/>
                        <a:gd name="T14" fmla="*/ 468 w 527"/>
                        <a:gd name="T15" fmla="*/ 6 h 831"/>
                        <a:gd name="T16" fmla="*/ 19 w 527"/>
                        <a:gd name="T17" fmla="*/ 257 h 831"/>
                        <a:gd name="T18" fmla="*/ 0 w 527"/>
                        <a:gd name="T19" fmla="*/ 289 h 831"/>
                        <a:gd name="T20" fmla="*/ 0 w 527"/>
                        <a:gd name="T21" fmla="*/ 792 h 831"/>
                        <a:gd name="T22" fmla="*/ 19 w 527"/>
                        <a:gd name="T23" fmla="*/ 824 h 831"/>
                        <a:gd name="T24" fmla="*/ 40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0" y="831"/>
                          </a:moveTo>
                          <a:cubicBezTo>
                            <a:pt x="47" y="831"/>
                            <a:pt x="52" y="829"/>
                            <a:pt x="59" y="824"/>
                          </a:cubicBezTo>
                          <a:cubicBezTo>
                            <a:pt x="59" y="824"/>
                            <a:pt x="59" y="824"/>
                            <a:pt x="508" y="574"/>
                          </a:cubicBezTo>
                          <a:cubicBezTo>
                            <a:pt x="520" y="567"/>
                            <a:pt x="527" y="555"/>
                            <a:pt x="527" y="540"/>
                          </a:cubicBezTo>
                          <a:cubicBezTo>
                            <a:pt x="527" y="540"/>
                            <a:pt x="527" y="540"/>
                            <a:pt x="527" y="38"/>
                          </a:cubicBezTo>
                          <a:cubicBezTo>
                            <a:pt x="527" y="25"/>
                            <a:pt x="520" y="13"/>
                            <a:pt x="508" y="6"/>
                          </a:cubicBezTo>
                          <a:cubicBezTo>
                            <a:pt x="501" y="2"/>
                            <a:pt x="494" y="0"/>
                            <a:pt x="487" y="0"/>
                          </a:cubicBezTo>
                          <a:cubicBezTo>
                            <a:pt x="480" y="0"/>
                            <a:pt x="473" y="2"/>
                            <a:pt x="468" y="6"/>
                          </a:cubicBezTo>
                          <a:cubicBezTo>
                            <a:pt x="468" y="6"/>
                            <a:pt x="468" y="6"/>
                            <a:pt x="19" y="257"/>
                          </a:cubicBezTo>
                          <a:cubicBezTo>
                            <a:pt x="7" y="264"/>
                            <a:pt x="0" y="275"/>
                            <a:pt x="0" y="289"/>
                          </a:cubicBezTo>
                          <a:cubicBezTo>
                            <a:pt x="0" y="289"/>
                            <a:pt x="0" y="289"/>
                            <a:pt x="0" y="792"/>
                          </a:cubicBezTo>
                          <a:cubicBezTo>
                            <a:pt x="0" y="806"/>
                            <a:pt x="7" y="817"/>
                            <a:pt x="19" y="824"/>
                          </a:cubicBezTo>
                          <a:cubicBezTo>
                            <a:pt x="26" y="829"/>
                            <a:pt x="33" y="831"/>
                            <a:pt x="40"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88" name="Freeform 101">
                      <a:extLst>
                        <a:ext uri="{FF2B5EF4-FFF2-40B4-BE49-F238E27FC236}">
                          <a16:creationId xmlns:a16="http://schemas.microsoft.com/office/drawing/2014/main" id="{89F5D003-6D6B-4218-A021-AEF0A0C2CA00}"/>
                        </a:ext>
                      </a:extLst>
                    </p:cNvPr>
                    <p:cNvSpPr>
                      <a:spLocks/>
                    </p:cNvSpPr>
                    <p:nvPr/>
                  </p:nvSpPr>
                  <p:spPr bwMode="auto">
                    <a:xfrm>
                      <a:off x="5810150" y="3066128"/>
                      <a:ext cx="201480" cy="310008"/>
                    </a:xfrm>
                    <a:custGeom>
                      <a:avLst/>
                      <a:gdLst>
                        <a:gd name="T0" fmla="*/ 40 w 528"/>
                        <a:gd name="T1" fmla="*/ 832 h 832"/>
                        <a:gd name="T2" fmla="*/ 61 w 528"/>
                        <a:gd name="T3" fmla="*/ 827 h 832"/>
                        <a:gd name="T4" fmla="*/ 507 w 528"/>
                        <a:gd name="T5" fmla="*/ 576 h 832"/>
                        <a:gd name="T6" fmla="*/ 528 w 528"/>
                        <a:gd name="T7" fmla="*/ 542 h 832"/>
                        <a:gd name="T8" fmla="*/ 528 w 528"/>
                        <a:gd name="T9" fmla="*/ 39 h 832"/>
                        <a:gd name="T10" fmla="*/ 507 w 528"/>
                        <a:gd name="T11" fmla="*/ 5 h 832"/>
                        <a:gd name="T12" fmla="*/ 488 w 528"/>
                        <a:gd name="T13" fmla="*/ 0 h 832"/>
                        <a:gd name="T14" fmla="*/ 467 w 528"/>
                        <a:gd name="T15" fmla="*/ 5 h 832"/>
                        <a:gd name="T16" fmla="*/ 21 w 528"/>
                        <a:gd name="T17" fmla="*/ 256 h 832"/>
                        <a:gd name="T18" fmla="*/ 0 w 528"/>
                        <a:gd name="T19" fmla="*/ 290 h 832"/>
                        <a:gd name="T20" fmla="*/ 0 w 528"/>
                        <a:gd name="T21" fmla="*/ 793 h 832"/>
                        <a:gd name="T22" fmla="*/ 21 w 528"/>
                        <a:gd name="T23" fmla="*/ 827 h 832"/>
                        <a:gd name="T24" fmla="*/ 40 w 528"/>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2">
                          <a:moveTo>
                            <a:pt x="40" y="832"/>
                          </a:moveTo>
                          <a:cubicBezTo>
                            <a:pt x="47" y="832"/>
                            <a:pt x="54" y="830"/>
                            <a:pt x="61" y="827"/>
                          </a:cubicBezTo>
                          <a:cubicBezTo>
                            <a:pt x="61" y="827"/>
                            <a:pt x="61" y="827"/>
                            <a:pt x="507" y="576"/>
                          </a:cubicBezTo>
                          <a:cubicBezTo>
                            <a:pt x="521" y="569"/>
                            <a:pt x="528" y="556"/>
                            <a:pt x="528" y="542"/>
                          </a:cubicBezTo>
                          <a:cubicBezTo>
                            <a:pt x="528" y="542"/>
                            <a:pt x="528" y="542"/>
                            <a:pt x="528" y="39"/>
                          </a:cubicBezTo>
                          <a:cubicBezTo>
                            <a:pt x="528" y="25"/>
                            <a:pt x="521" y="12"/>
                            <a:pt x="507" y="5"/>
                          </a:cubicBezTo>
                          <a:cubicBezTo>
                            <a:pt x="502" y="3"/>
                            <a:pt x="495" y="0"/>
                            <a:pt x="488" y="0"/>
                          </a:cubicBezTo>
                          <a:cubicBezTo>
                            <a:pt x="481" y="0"/>
                            <a:pt x="474" y="3"/>
                            <a:pt x="467" y="5"/>
                          </a:cubicBezTo>
                          <a:cubicBezTo>
                            <a:pt x="467" y="5"/>
                            <a:pt x="467" y="5"/>
                            <a:pt x="21" y="256"/>
                          </a:cubicBezTo>
                          <a:cubicBezTo>
                            <a:pt x="10" y="263"/>
                            <a:pt x="0" y="277"/>
                            <a:pt x="0" y="290"/>
                          </a:cubicBezTo>
                          <a:cubicBezTo>
                            <a:pt x="0" y="290"/>
                            <a:pt x="0" y="290"/>
                            <a:pt x="0" y="793"/>
                          </a:cubicBezTo>
                          <a:cubicBezTo>
                            <a:pt x="0" y="807"/>
                            <a:pt x="10" y="821"/>
                            <a:pt x="21" y="827"/>
                          </a:cubicBezTo>
                          <a:cubicBezTo>
                            <a:pt x="26" y="830"/>
                            <a:pt x="33" y="832"/>
                            <a:pt x="40"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89" name="Freeform 93">
                      <a:extLst>
                        <a:ext uri="{FF2B5EF4-FFF2-40B4-BE49-F238E27FC236}">
                          <a16:creationId xmlns:a16="http://schemas.microsoft.com/office/drawing/2014/main" id="{F5A3C2A0-5CFF-4732-B89D-D399747AC92E}"/>
                        </a:ext>
                      </a:extLst>
                    </p:cNvPr>
                    <p:cNvSpPr>
                      <a:spLocks noEditPoints="1"/>
                    </p:cNvSpPr>
                    <p:nvPr/>
                  </p:nvSpPr>
                  <p:spPr bwMode="auto">
                    <a:xfrm>
                      <a:off x="4430952" y="2680306"/>
                      <a:ext cx="433077" cy="309488"/>
                    </a:xfrm>
                    <a:custGeom>
                      <a:avLst/>
                      <a:gdLst>
                        <a:gd name="T0" fmla="*/ 487 w 1135"/>
                        <a:gd name="T1" fmla="*/ 831 h 831"/>
                        <a:gd name="T2" fmla="*/ 506 w 1135"/>
                        <a:gd name="T3" fmla="*/ 827 h 831"/>
                        <a:gd name="T4" fmla="*/ 527 w 1135"/>
                        <a:gd name="T5" fmla="*/ 793 h 831"/>
                        <a:gd name="T6" fmla="*/ 527 w 1135"/>
                        <a:gd name="T7" fmla="*/ 290 h 831"/>
                        <a:gd name="T8" fmla="*/ 506 w 1135"/>
                        <a:gd name="T9" fmla="*/ 256 h 831"/>
                        <a:gd name="T10" fmla="*/ 61 w 1135"/>
                        <a:gd name="T11" fmla="*/ 4 h 831"/>
                        <a:gd name="T12" fmla="*/ 40 w 1135"/>
                        <a:gd name="T13" fmla="*/ 0 h 831"/>
                        <a:gd name="T14" fmla="*/ 21 w 1135"/>
                        <a:gd name="T15" fmla="*/ 4 h 831"/>
                        <a:gd name="T16" fmla="*/ 0 w 1135"/>
                        <a:gd name="T17" fmla="*/ 39 h 831"/>
                        <a:gd name="T18" fmla="*/ 0 w 1135"/>
                        <a:gd name="T19" fmla="*/ 541 h 831"/>
                        <a:gd name="T20" fmla="*/ 21 w 1135"/>
                        <a:gd name="T21" fmla="*/ 576 h 831"/>
                        <a:gd name="T22" fmla="*/ 466 w 1135"/>
                        <a:gd name="T23" fmla="*/ 827 h 831"/>
                        <a:gd name="T24" fmla="*/ 487 w 1135"/>
                        <a:gd name="T25" fmla="*/ 831 h 831"/>
                        <a:gd name="T26" fmla="*/ 647 w 1135"/>
                        <a:gd name="T27" fmla="*/ 831 h 831"/>
                        <a:gd name="T28" fmla="*/ 666 w 1135"/>
                        <a:gd name="T29" fmla="*/ 827 h 831"/>
                        <a:gd name="T30" fmla="*/ 1114 w 1135"/>
                        <a:gd name="T31" fmla="*/ 576 h 831"/>
                        <a:gd name="T32" fmla="*/ 1135 w 1135"/>
                        <a:gd name="T33" fmla="*/ 541 h 831"/>
                        <a:gd name="T34" fmla="*/ 1135 w 1135"/>
                        <a:gd name="T35" fmla="*/ 39 h 831"/>
                        <a:gd name="T36" fmla="*/ 1114 w 1135"/>
                        <a:gd name="T37" fmla="*/ 4 h 831"/>
                        <a:gd name="T38" fmla="*/ 1095 w 1135"/>
                        <a:gd name="T39" fmla="*/ 0 h 831"/>
                        <a:gd name="T40" fmla="*/ 1074 w 1135"/>
                        <a:gd name="T41" fmla="*/ 4 h 831"/>
                        <a:gd name="T42" fmla="*/ 626 w 1135"/>
                        <a:gd name="T43" fmla="*/ 256 h 831"/>
                        <a:gd name="T44" fmla="*/ 607 w 1135"/>
                        <a:gd name="T45" fmla="*/ 290 h 831"/>
                        <a:gd name="T46" fmla="*/ 607 w 1135"/>
                        <a:gd name="T47" fmla="*/ 793 h 831"/>
                        <a:gd name="T48" fmla="*/ 626 w 1135"/>
                        <a:gd name="T49" fmla="*/ 827 h 831"/>
                        <a:gd name="T50" fmla="*/ 647 w 1135"/>
                        <a:gd name="T51"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5" h="831">
                          <a:moveTo>
                            <a:pt x="487" y="831"/>
                          </a:moveTo>
                          <a:cubicBezTo>
                            <a:pt x="495" y="831"/>
                            <a:pt x="502" y="829"/>
                            <a:pt x="506" y="827"/>
                          </a:cubicBezTo>
                          <a:cubicBezTo>
                            <a:pt x="520" y="820"/>
                            <a:pt x="527" y="806"/>
                            <a:pt x="527" y="793"/>
                          </a:cubicBezTo>
                          <a:cubicBezTo>
                            <a:pt x="527" y="793"/>
                            <a:pt x="527" y="793"/>
                            <a:pt x="527" y="290"/>
                          </a:cubicBezTo>
                          <a:cubicBezTo>
                            <a:pt x="527" y="276"/>
                            <a:pt x="520" y="263"/>
                            <a:pt x="506" y="256"/>
                          </a:cubicBezTo>
                          <a:cubicBezTo>
                            <a:pt x="506" y="256"/>
                            <a:pt x="506" y="256"/>
                            <a:pt x="61" y="4"/>
                          </a:cubicBezTo>
                          <a:cubicBezTo>
                            <a:pt x="54" y="2"/>
                            <a:pt x="47" y="0"/>
                            <a:pt x="40" y="0"/>
                          </a:cubicBezTo>
                          <a:cubicBezTo>
                            <a:pt x="33" y="0"/>
                            <a:pt x="26" y="2"/>
                            <a:pt x="21" y="4"/>
                          </a:cubicBezTo>
                          <a:cubicBezTo>
                            <a:pt x="7" y="11"/>
                            <a:pt x="0" y="25"/>
                            <a:pt x="0" y="39"/>
                          </a:cubicBezTo>
                          <a:cubicBezTo>
                            <a:pt x="0" y="39"/>
                            <a:pt x="0" y="39"/>
                            <a:pt x="0" y="541"/>
                          </a:cubicBezTo>
                          <a:cubicBezTo>
                            <a:pt x="0" y="555"/>
                            <a:pt x="7" y="569"/>
                            <a:pt x="21" y="576"/>
                          </a:cubicBezTo>
                          <a:cubicBezTo>
                            <a:pt x="21" y="576"/>
                            <a:pt x="21" y="576"/>
                            <a:pt x="466" y="827"/>
                          </a:cubicBezTo>
                          <a:cubicBezTo>
                            <a:pt x="473" y="829"/>
                            <a:pt x="480" y="831"/>
                            <a:pt x="487" y="831"/>
                          </a:cubicBezTo>
                          <a:close/>
                          <a:moveTo>
                            <a:pt x="647" y="831"/>
                          </a:moveTo>
                          <a:cubicBezTo>
                            <a:pt x="654" y="831"/>
                            <a:pt x="661" y="829"/>
                            <a:pt x="666" y="827"/>
                          </a:cubicBezTo>
                          <a:cubicBezTo>
                            <a:pt x="666" y="827"/>
                            <a:pt x="666" y="827"/>
                            <a:pt x="1114" y="576"/>
                          </a:cubicBezTo>
                          <a:cubicBezTo>
                            <a:pt x="1125" y="569"/>
                            <a:pt x="1135" y="555"/>
                            <a:pt x="1135" y="541"/>
                          </a:cubicBezTo>
                          <a:cubicBezTo>
                            <a:pt x="1135" y="541"/>
                            <a:pt x="1135" y="541"/>
                            <a:pt x="1135" y="39"/>
                          </a:cubicBezTo>
                          <a:cubicBezTo>
                            <a:pt x="1135" y="25"/>
                            <a:pt x="1125" y="11"/>
                            <a:pt x="1114" y="4"/>
                          </a:cubicBezTo>
                          <a:cubicBezTo>
                            <a:pt x="1107" y="2"/>
                            <a:pt x="1100" y="0"/>
                            <a:pt x="1095" y="0"/>
                          </a:cubicBezTo>
                          <a:cubicBezTo>
                            <a:pt x="1088" y="0"/>
                            <a:pt x="1081" y="2"/>
                            <a:pt x="1074" y="4"/>
                          </a:cubicBezTo>
                          <a:cubicBezTo>
                            <a:pt x="1074" y="4"/>
                            <a:pt x="1074" y="4"/>
                            <a:pt x="626" y="256"/>
                          </a:cubicBezTo>
                          <a:cubicBezTo>
                            <a:pt x="614" y="263"/>
                            <a:pt x="607" y="276"/>
                            <a:pt x="607" y="290"/>
                          </a:cubicBezTo>
                          <a:cubicBezTo>
                            <a:pt x="607" y="290"/>
                            <a:pt x="607" y="290"/>
                            <a:pt x="607" y="793"/>
                          </a:cubicBezTo>
                          <a:cubicBezTo>
                            <a:pt x="607" y="806"/>
                            <a:pt x="614" y="820"/>
                            <a:pt x="626" y="827"/>
                          </a:cubicBezTo>
                          <a:cubicBezTo>
                            <a:pt x="633" y="829"/>
                            <a:pt x="640" y="831"/>
                            <a:pt x="647"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grpSp>
          <p:grpSp>
            <p:nvGrpSpPr>
              <p:cNvPr id="636" name="Group 635">
                <a:extLst>
                  <a:ext uri="{FF2B5EF4-FFF2-40B4-BE49-F238E27FC236}">
                    <a16:creationId xmlns:a16="http://schemas.microsoft.com/office/drawing/2014/main" id="{3D4ACB58-882B-474F-AA87-7C770277203C}"/>
                  </a:ext>
                </a:extLst>
              </p:cNvPr>
              <p:cNvGrpSpPr/>
              <p:nvPr/>
            </p:nvGrpSpPr>
            <p:grpSpPr>
              <a:xfrm>
                <a:off x="3771470" y="-3804896"/>
                <a:ext cx="2008044" cy="1964938"/>
                <a:chOff x="3771470" y="1153637"/>
                <a:chExt cx="2008044" cy="1964938"/>
              </a:xfrm>
            </p:grpSpPr>
            <p:sp>
              <p:nvSpPr>
                <p:cNvPr id="637" name="Freeform 12">
                  <a:extLst>
                    <a:ext uri="{FF2B5EF4-FFF2-40B4-BE49-F238E27FC236}">
                      <a16:creationId xmlns:a16="http://schemas.microsoft.com/office/drawing/2014/main" id="{AA85EE06-167B-43CC-83A0-CB49FAC5170A}"/>
                    </a:ext>
                  </a:extLst>
                </p:cNvPr>
                <p:cNvSpPr>
                  <a:spLocks/>
                </p:cNvSpPr>
                <p:nvPr/>
              </p:nvSpPr>
              <p:spPr bwMode="auto">
                <a:xfrm>
                  <a:off x="5395249" y="1528035"/>
                  <a:ext cx="366090" cy="216019"/>
                </a:xfrm>
                <a:custGeom>
                  <a:avLst/>
                  <a:gdLst>
                    <a:gd name="T0" fmla="*/ 481 w 959"/>
                    <a:gd name="T1" fmla="*/ 580 h 580"/>
                    <a:gd name="T2" fmla="*/ 499 w 959"/>
                    <a:gd name="T3" fmla="*/ 576 h 580"/>
                    <a:gd name="T4" fmla="*/ 941 w 959"/>
                    <a:gd name="T5" fmla="*/ 324 h 580"/>
                    <a:gd name="T6" fmla="*/ 959 w 959"/>
                    <a:gd name="T7" fmla="*/ 290 h 580"/>
                    <a:gd name="T8" fmla="*/ 941 w 959"/>
                    <a:gd name="T9" fmla="*/ 256 h 580"/>
                    <a:gd name="T10" fmla="*/ 499 w 959"/>
                    <a:gd name="T11" fmla="*/ 4 h 580"/>
                    <a:gd name="T12" fmla="*/ 481 w 959"/>
                    <a:gd name="T13" fmla="*/ 0 h 580"/>
                    <a:gd name="T14" fmla="*/ 460 w 959"/>
                    <a:gd name="T15" fmla="*/ 4 h 580"/>
                    <a:gd name="T16" fmla="*/ 19 w 959"/>
                    <a:gd name="T17" fmla="*/ 256 h 580"/>
                    <a:gd name="T18" fmla="*/ 0 w 959"/>
                    <a:gd name="T19" fmla="*/ 290 h 580"/>
                    <a:gd name="T20" fmla="*/ 19 w 959"/>
                    <a:gd name="T21" fmla="*/ 324 h 580"/>
                    <a:gd name="T22" fmla="*/ 460 w 959"/>
                    <a:gd name="T23" fmla="*/ 576 h 580"/>
                    <a:gd name="T24" fmla="*/ 481 w 959"/>
                    <a:gd name="T25" fmla="*/ 58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0">
                      <a:moveTo>
                        <a:pt x="481" y="580"/>
                      </a:moveTo>
                      <a:cubicBezTo>
                        <a:pt x="488" y="580"/>
                        <a:pt x="493" y="578"/>
                        <a:pt x="499" y="576"/>
                      </a:cubicBezTo>
                      <a:cubicBezTo>
                        <a:pt x="499" y="576"/>
                        <a:pt x="499" y="576"/>
                        <a:pt x="941" y="324"/>
                      </a:cubicBezTo>
                      <a:cubicBezTo>
                        <a:pt x="952" y="317"/>
                        <a:pt x="959" y="304"/>
                        <a:pt x="959" y="290"/>
                      </a:cubicBezTo>
                      <a:cubicBezTo>
                        <a:pt x="959" y="276"/>
                        <a:pt x="952" y="263"/>
                        <a:pt x="941" y="256"/>
                      </a:cubicBezTo>
                      <a:cubicBezTo>
                        <a:pt x="941" y="256"/>
                        <a:pt x="941" y="256"/>
                        <a:pt x="499" y="4"/>
                      </a:cubicBezTo>
                      <a:cubicBezTo>
                        <a:pt x="493" y="2"/>
                        <a:pt x="488" y="0"/>
                        <a:pt x="481" y="0"/>
                      </a:cubicBezTo>
                      <a:cubicBezTo>
                        <a:pt x="474" y="0"/>
                        <a:pt x="467" y="2"/>
                        <a:pt x="460" y="4"/>
                      </a:cubicBezTo>
                      <a:cubicBezTo>
                        <a:pt x="460" y="4"/>
                        <a:pt x="460" y="4"/>
                        <a:pt x="19" y="256"/>
                      </a:cubicBezTo>
                      <a:cubicBezTo>
                        <a:pt x="7" y="263"/>
                        <a:pt x="0" y="276"/>
                        <a:pt x="0" y="290"/>
                      </a:cubicBezTo>
                      <a:cubicBezTo>
                        <a:pt x="0" y="304"/>
                        <a:pt x="7" y="317"/>
                        <a:pt x="19" y="324"/>
                      </a:cubicBezTo>
                      <a:cubicBezTo>
                        <a:pt x="19" y="324"/>
                        <a:pt x="19" y="324"/>
                        <a:pt x="460" y="576"/>
                      </a:cubicBezTo>
                      <a:cubicBezTo>
                        <a:pt x="467" y="578"/>
                        <a:pt x="474" y="580"/>
                        <a:pt x="481" y="580"/>
                      </a:cubicBezTo>
                      <a:close/>
                    </a:path>
                  </a:pathLst>
                </a:custGeom>
                <a:solidFill>
                  <a:srgbClr val="F58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38" name="Freeform 33">
                  <a:extLst>
                    <a:ext uri="{FF2B5EF4-FFF2-40B4-BE49-F238E27FC236}">
                      <a16:creationId xmlns:a16="http://schemas.microsoft.com/office/drawing/2014/main" id="{A45DCD7E-F205-4A08-86E6-0915CF1A3231}"/>
                    </a:ext>
                  </a:extLst>
                </p:cNvPr>
                <p:cNvSpPr>
                  <a:spLocks/>
                </p:cNvSpPr>
                <p:nvPr/>
              </p:nvSpPr>
              <p:spPr bwMode="auto">
                <a:xfrm>
                  <a:off x="5163132" y="1656295"/>
                  <a:ext cx="366090" cy="216538"/>
                </a:xfrm>
                <a:custGeom>
                  <a:avLst/>
                  <a:gdLst>
                    <a:gd name="T0" fmla="*/ 479 w 959"/>
                    <a:gd name="T1" fmla="*/ 581 h 581"/>
                    <a:gd name="T2" fmla="*/ 498 w 959"/>
                    <a:gd name="T3" fmla="*/ 574 h 581"/>
                    <a:gd name="T4" fmla="*/ 938 w 959"/>
                    <a:gd name="T5" fmla="*/ 323 h 581"/>
                    <a:gd name="T6" fmla="*/ 959 w 959"/>
                    <a:gd name="T7" fmla="*/ 289 h 581"/>
                    <a:gd name="T8" fmla="*/ 938 w 959"/>
                    <a:gd name="T9" fmla="*/ 257 h 581"/>
                    <a:gd name="T10" fmla="*/ 498 w 959"/>
                    <a:gd name="T11" fmla="*/ 7 h 581"/>
                    <a:gd name="T12" fmla="*/ 479 w 959"/>
                    <a:gd name="T13" fmla="*/ 0 h 581"/>
                    <a:gd name="T14" fmla="*/ 459 w 959"/>
                    <a:gd name="T15" fmla="*/ 7 h 581"/>
                    <a:gd name="T16" fmla="*/ 21 w 959"/>
                    <a:gd name="T17" fmla="*/ 257 h 581"/>
                    <a:gd name="T18" fmla="*/ 0 w 959"/>
                    <a:gd name="T19" fmla="*/ 289 h 581"/>
                    <a:gd name="T20" fmla="*/ 21 w 959"/>
                    <a:gd name="T21" fmla="*/ 323 h 581"/>
                    <a:gd name="T22" fmla="*/ 459 w 959"/>
                    <a:gd name="T23" fmla="*/ 574 h 581"/>
                    <a:gd name="T24" fmla="*/ 479 w 959"/>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1">
                      <a:moveTo>
                        <a:pt x="479" y="581"/>
                      </a:moveTo>
                      <a:cubicBezTo>
                        <a:pt x="486" y="581"/>
                        <a:pt x="493" y="578"/>
                        <a:pt x="498" y="574"/>
                      </a:cubicBezTo>
                      <a:cubicBezTo>
                        <a:pt x="498" y="574"/>
                        <a:pt x="498" y="574"/>
                        <a:pt x="938" y="323"/>
                      </a:cubicBezTo>
                      <a:cubicBezTo>
                        <a:pt x="950" y="316"/>
                        <a:pt x="959" y="305"/>
                        <a:pt x="959" y="289"/>
                      </a:cubicBezTo>
                      <a:cubicBezTo>
                        <a:pt x="959" y="275"/>
                        <a:pt x="950" y="264"/>
                        <a:pt x="938" y="257"/>
                      </a:cubicBezTo>
                      <a:cubicBezTo>
                        <a:pt x="938" y="257"/>
                        <a:pt x="938" y="257"/>
                        <a:pt x="498" y="7"/>
                      </a:cubicBezTo>
                      <a:cubicBezTo>
                        <a:pt x="493" y="2"/>
                        <a:pt x="486" y="0"/>
                        <a:pt x="479" y="0"/>
                      </a:cubicBezTo>
                      <a:cubicBezTo>
                        <a:pt x="473" y="0"/>
                        <a:pt x="466" y="2"/>
                        <a:pt x="459" y="7"/>
                      </a:cubicBezTo>
                      <a:cubicBezTo>
                        <a:pt x="459" y="7"/>
                        <a:pt x="459" y="7"/>
                        <a:pt x="21" y="257"/>
                      </a:cubicBezTo>
                      <a:cubicBezTo>
                        <a:pt x="7" y="264"/>
                        <a:pt x="0" y="275"/>
                        <a:pt x="0" y="289"/>
                      </a:cubicBezTo>
                      <a:cubicBezTo>
                        <a:pt x="0" y="305"/>
                        <a:pt x="7" y="316"/>
                        <a:pt x="21" y="323"/>
                      </a:cubicBezTo>
                      <a:cubicBezTo>
                        <a:pt x="21" y="323"/>
                        <a:pt x="21" y="323"/>
                        <a:pt x="459" y="574"/>
                      </a:cubicBezTo>
                      <a:cubicBezTo>
                        <a:pt x="466" y="578"/>
                        <a:pt x="473" y="581"/>
                        <a:pt x="479" y="581"/>
                      </a:cubicBezTo>
                      <a:close/>
                    </a:path>
                  </a:pathLst>
                </a:custGeom>
                <a:solidFill>
                  <a:srgbClr val="F58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39" name="Freeform 34">
                  <a:extLst>
                    <a:ext uri="{FF2B5EF4-FFF2-40B4-BE49-F238E27FC236}">
                      <a16:creationId xmlns:a16="http://schemas.microsoft.com/office/drawing/2014/main" id="{F39D813A-2350-45D7-8FF5-3A933E0B1E32}"/>
                    </a:ext>
                  </a:extLst>
                </p:cNvPr>
                <p:cNvSpPr>
                  <a:spLocks noEditPoints="1"/>
                </p:cNvSpPr>
                <p:nvPr/>
              </p:nvSpPr>
              <p:spPr bwMode="auto">
                <a:xfrm>
                  <a:off x="4430952" y="2282541"/>
                  <a:ext cx="433077" cy="455924"/>
                </a:xfrm>
                <a:custGeom>
                  <a:avLst/>
                  <a:gdLst>
                    <a:gd name="T0" fmla="*/ 487 w 1135"/>
                    <a:gd name="T1" fmla="*/ 1224 h 1224"/>
                    <a:gd name="T2" fmla="*/ 506 w 1135"/>
                    <a:gd name="T3" fmla="*/ 1219 h 1224"/>
                    <a:gd name="T4" fmla="*/ 527 w 1135"/>
                    <a:gd name="T5" fmla="*/ 1185 h 1224"/>
                    <a:gd name="T6" fmla="*/ 527 w 1135"/>
                    <a:gd name="T7" fmla="*/ 682 h 1224"/>
                    <a:gd name="T8" fmla="*/ 506 w 1135"/>
                    <a:gd name="T9" fmla="*/ 650 h 1224"/>
                    <a:gd name="T10" fmla="*/ 61 w 1135"/>
                    <a:gd name="T11" fmla="*/ 397 h 1224"/>
                    <a:gd name="T12" fmla="*/ 40 w 1135"/>
                    <a:gd name="T13" fmla="*/ 392 h 1224"/>
                    <a:gd name="T14" fmla="*/ 21 w 1135"/>
                    <a:gd name="T15" fmla="*/ 397 h 1224"/>
                    <a:gd name="T16" fmla="*/ 0 w 1135"/>
                    <a:gd name="T17" fmla="*/ 431 h 1224"/>
                    <a:gd name="T18" fmla="*/ 0 w 1135"/>
                    <a:gd name="T19" fmla="*/ 934 h 1224"/>
                    <a:gd name="T20" fmla="*/ 21 w 1135"/>
                    <a:gd name="T21" fmla="*/ 968 h 1224"/>
                    <a:gd name="T22" fmla="*/ 466 w 1135"/>
                    <a:gd name="T23" fmla="*/ 1219 h 1224"/>
                    <a:gd name="T24" fmla="*/ 487 w 1135"/>
                    <a:gd name="T25" fmla="*/ 1224 h 1224"/>
                    <a:gd name="T26" fmla="*/ 647 w 1135"/>
                    <a:gd name="T27" fmla="*/ 1224 h 1224"/>
                    <a:gd name="T28" fmla="*/ 666 w 1135"/>
                    <a:gd name="T29" fmla="*/ 1219 h 1224"/>
                    <a:gd name="T30" fmla="*/ 1114 w 1135"/>
                    <a:gd name="T31" fmla="*/ 968 h 1224"/>
                    <a:gd name="T32" fmla="*/ 1135 w 1135"/>
                    <a:gd name="T33" fmla="*/ 934 h 1224"/>
                    <a:gd name="T34" fmla="*/ 1135 w 1135"/>
                    <a:gd name="T35" fmla="*/ 431 h 1224"/>
                    <a:gd name="T36" fmla="*/ 1114 w 1135"/>
                    <a:gd name="T37" fmla="*/ 397 h 1224"/>
                    <a:gd name="T38" fmla="*/ 1095 w 1135"/>
                    <a:gd name="T39" fmla="*/ 392 h 1224"/>
                    <a:gd name="T40" fmla="*/ 1074 w 1135"/>
                    <a:gd name="T41" fmla="*/ 397 h 1224"/>
                    <a:gd name="T42" fmla="*/ 626 w 1135"/>
                    <a:gd name="T43" fmla="*/ 650 h 1224"/>
                    <a:gd name="T44" fmla="*/ 607 w 1135"/>
                    <a:gd name="T45" fmla="*/ 682 h 1224"/>
                    <a:gd name="T46" fmla="*/ 607 w 1135"/>
                    <a:gd name="T47" fmla="*/ 1185 h 1224"/>
                    <a:gd name="T48" fmla="*/ 626 w 1135"/>
                    <a:gd name="T49" fmla="*/ 1219 h 1224"/>
                    <a:gd name="T50" fmla="*/ 647 w 1135"/>
                    <a:gd name="T51" fmla="*/ 1224 h 1224"/>
                    <a:gd name="T52" fmla="*/ 567 w 1135"/>
                    <a:gd name="T53" fmla="*/ 580 h 1224"/>
                    <a:gd name="T54" fmla="*/ 586 w 1135"/>
                    <a:gd name="T55" fmla="*/ 576 h 1224"/>
                    <a:gd name="T56" fmla="*/ 1034 w 1135"/>
                    <a:gd name="T57" fmla="*/ 324 h 1224"/>
                    <a:gd name="T58" fmla="*/ 1055 w 1135"/>
                    <a:gd name="T59" fmla="*/ 290 h 1224"/>
                    <a:gd name="T60" fmla="*/ 1034 w 1135"/>
                    <a:gd name="T61" fmla="*/ 256 h 1224"/>
                    <a:gd name="T62" fmla="*/ 586 w 1135"/>
                    <a:gd name="T63" fmla="*/ 4 h 1224"/>
                    <a:gd name="T64" fmla="*/ 567 w 1135"/>
                    <a:gd name="T65" fmla="*/ 0 h 1224"/>
                    <a:gd name="T66" fmla="*/ 546 w 1135"/>
                    <a:gd name="T67" fmla="*/ 4 h 1224"/>
                    <a:gd name="T68" fmla="*/ 101 w 1135"/>
                    <a:gd name="T69" fmla="*/ 256 h 1224"/>
                    <a:gd name="T70" fmla="*/ 80 w 1135"/>
                    <a:gd name="T71" fmla="*/ 290 h 1224"/>
                    <a:gd name="T72" fmla="*/ 101 w 1135"/>
                    <a:gd name="T73" fmla="*/ 324 h 1224"/>
                    <a:gd name="T74" fmla="*/ 546 w 1135"/>
                    <a:gd name="T75" fmla="*/ 576 h 1224"/>
                    <a:gd name="T76" fmla="*/ 567 w 1135"/>
                    <a:gd name="T77" fmla="*/ 580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5" h="1224">
                      <a:moveTo>
                        <a:pt x="487" y="1224"/>
                      </a:moveTo>
                      <a:cubicBezTo>
                        <a:pt x="495" y="1224"/>
                        <a:pt x="502" y="1224"/>
                        <a:pt x="506" y="1219"/>
                      </a:cubicBezTo>
                      <a:cubicBezTo>
                        <a:pt x="520" y="1212"/>
                        <a:pt x="527" y="1201"/>
                        <a:pt x="527" y="1185"/>
                      </a:cubicBezTo>
                      <a:cubicBezTo>
                        <a:pt x="527" y="1185"/>
                        <a:pt x="527" y="1185"/>
                        <a:pt x="527" y="682"/>
                      </a:cubicBezTo>
                      <a:cubicBezTo>
                        <a:pt x="527" y="669"/>
                        <a:pt x="520" y="657"/>
                        <a:pt x="506" y="650"/>
                      </a:cubicBezTo>
                      <a:cubicBezTo>
                        <a:pt x="506" y="650"/>
                        <a:pt x="506" y="650"/>
                        <a:pt x="61" y="397"/>
                      </a:cubicBezTo>
                      <a:cubicBezTo>
                        <a:pt x="54" y="394"/>
                        <a:pt x="47" y="392"/>
                        <a:pt x="40" y="392"/>
                      </a:cubicBezTo>
                      <a:cubicBezTo>
                        <a:pt x="33" y="392"/>
                        <a:pt x="26" y="394"/>
                        <a:pt x="21" y="397"/>
                      </a:cubicBezTo>
                      <a:cubicBezTo>
                        <a:pt x="7" y="404"/>
                        <a:pt x="0" y="417"/>
                        <a:pt x="0" y="431"/>
                      </a:cubicBezTo>
                      <a:cubicBezTo>
                        <a:pt x="0" y="431"/>
                        <a:pt x="0" y="431"/>
                        <a:pt x="0" y="934"/>
                      </a:cubicBezTo>
                      <a:cubicBezTo>
                        <a:pt x="0" y="947"/>
                        <a:pt x="7" y="961"/>
                        <a:pt x="21" y="968"/>
                      </a:cubicBezTo>
                      <a:cubicBezTo>
                        <a:pt x="21" y="968"/>
                        <a:pt x="21" y="968"/>
                        <a:pt x="466" y="1219"/>
                      </a:cubicBezTo>
                      <a:cubicBezTo>
                        <a:pt x="473" y="1224"/>
                        <a:pt x="480" y="1224"/>
                        <a:pt x="487" y="1224"/>
                      </a:cubicBezTo>
                      <a:close/>
                      <a:moveTo>
                        <a:pt x="647" y="1224"/>
                      </a:moveTo>
                      <a:cubicBezTo>
                        <a:pt x="654" y="1224"/>
                        <a:pt x="661" y="1224"/>
                        <a:pt x="666" y="1219"/>
                      </a:cubicBezTo>
                      <a:cubicBezTo>
                        <a:pt x="666" y="1219"/>
                        <a:pt x="666" y="1219"/>
                        <a:pt x="1114" y="968"/>
                      </a:cubicBezTo>
                      <a:cubicBezTo>
                        <a:pt x="1125" y="961"/>
                        <a:pt x="1135" y="947"/>
                        <a:pt x="1135" y="934"/>
                      </a:cubicBezTo>
                      <a:cubicBezTo>
                        <a:pt x="1135" y="934"/>
                        <a:pt x="1135" y="934"/>
                        <a:pt x="1135" y="431"/>
                      </a:cubicBezTo>
                      <a:cubicBezTo>
                        <a:pt x="1135" y="417"/>
                        <a:pt x="1125" y="404"/>
                        <a:pt x="1114" y="397"/>
                      </a:cubicBezTo>
                      <a:cubicBezTo>
                        <a:pt x="1107" y="394"/>
                        <a:pt x="1100" y="392"/>
                        <a:pt x="1095" y="392"/>
                      </a:cubicBezTo>
                      <a:cubicBezTo>
                        <a:pt x="1088" y="392"/>
                        <a:pt x="1081" y="394"/>
                        <a:pt x="1074" y="397"/>
                      </a:cubicBezTo>
                      <a:cubicBezTo>
                        <a:pt x="1074" y="397"/>
                        <a:pt x="1074" y="397"/>
                        <a:pt x="626" y="650"/>
                      </a:cubicBezTo>
                      <a:cubicBezTo>
                        <a:pt x="614" y="657"/>
                        <a:pt x="607" y="669"/>
                        <a:pt x="607" y="682"/>
                      </a:cubicBezTo>
                      <a:cubicBezTo>
                        <a:pt x="607" y="682"/>
                        <a:pt x="607" y="682"/>
                        <a:pt x="607" y="1185"/>
                      </a:cubicBezTo>
                      <a:cubicBezTo>
                        <a:pt x="607" y="1201"/>
                        <a:pt x="614" y="1212"/>
                        <a:pt x="626" y="1219"/>
                      </a:cubicBezTo>
                      <a:cubicBezTo>
                        <a:pt x="633" y="1224"/>
                        <a:pt x="640" y="1224"/>
                        <a:pt x="647" y="1224"/>
                      </a:cubicBezTo>
                      <a:close/>
                      <a:moveTo>
                        <a:pt x="567" y="580"/>
                      </a:moveTo>
                      <a:cubicBezTo>
                        <a:pt x="574" y="580"/>
                        <a:pt x="581" y="580"/>
                        <a:pt x="586" y="576"/>
                      </a:cubicBezTo>
                      <a:cubicBezTo>
                        <a:pt x="586" y="576"/>
                        <a:pt x="586" y="576"/>
                        <a:pt x="1034" y="324"/>
                      </a:cubicBezTo>
                      <a:cubicBezTo>
                        <a:pt x="1045" y="318"/>
                        <a:pt x="1055" y="304"/>
                        <a:pt x="1055" y="290"/>
                      </a:cubicBezTo>
                      <a:cubicBezTo>
                        <a:pt x="1055" y="276"/>
                        <a:pt x="1045" y="265"/>
                        <a:pt x="1034" y="256"/>
                      </a:cubicBezTo>
                      <a:cubicBezTo>
                        <a:pt x="1034" y="256"/>
                        <a:pt x="1034" y="256"/>
                        <a:pt x="586" y="4"/>
                      </a:cubicBezTo>
                      <a:cubicBezTo>
                        <a:pt x="581" y="2"/>
                        <a:pt x="574" y="0"/>
                        <a:pt x="567" y="0"/>
                      </a:cubicBezTo>
                      <a:cubicBezTo>
                        <a:pt x="560" y="0"/>
                        <a:pt x="553" y="2"/>
                        <a:pt x="546" y="4"/>
                      </a:cubicBezTo>
                      <a:cubicBezTo>
                        <a:pt x="546" y="4"/>
                        <a:pt x="546" y="4"/>
                        <a:pt x="101" y="256"/>
                      </a:cubicBezTo>
                      <a:cubicBezTo>
                        <a:pt x="87" y="265"/>
                        <a:pt x="80" y="276"/>
                        <a:pt x="80" y="290"/>
                      </a:cubicBezTo>
                      <a:cubicBezTo>
                        <a:pt x="80" y="304"/>
                        <a:pt x="87" y="318"/>
                        <a:pt x="101" y="324"/>
                      </a:cubicBezTo>
                      <a:cubicBezTo>
                        <a:pt x="101" y="324"/>
                        <a:pt x="101" y="324"/>
                        <a:pt x="546" y="576"/>
                      </a:cubicBezTo>
                      <a:cubicBezTo>
                        <a:pt x="553" y="580"/>
                        <a:pt x="560" y="580"/>
                        <a:pt x="567" y="580"/>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40" name="Freeform 35">
                  <a:extLst>
                    <a:ext uri="{FF2B5EF4-FFF2-40B4-BE49-F238E27FC236}">
                      <a16:creationId xmlns:a16="http://schemas.microsoft.com/office/drawing/2014/main" id="{DE7AA4F1-0354-455B-B239-65F9571D0E26}"/>
                    </a:ext>
                  </a:extLst>
                </p:cNvPr>
                <p:cNvSpPr>
                  <a:spLocks/>
                </p:cNvSpPr>
                <p:nvPr/>
              </p:nvSpPr>
              <p:spPr bwMode="auto">
                <a:xfrm>
                  <a:off x="4461069" y="2030693"/>
                  <a:ext cx="372322" cy="216538"/>
                </a:xfrm>
                <a:custGeom>
                  <a:avLst/>
                  <a:gdLst>
                    <a:gd name="T0" fmla="*/ 487 w 975"/>
                    <a:gd name="T1" fmla="*/ 581 h 581"/>
                    <a:gd name="T2" fmla="*/ 506 w 975"/>
                    <a:gd name="T3" fmla="*/ 574 h 581"/>
                    <a:gd name="T4" fmla="*/ 954 w 975"/>
                    <a:gd name="T5" fmla="*/ 323 h 581"/>
                    <a:gd name="T6" fmla="*/ 975 w 975"/>
                    <a:gd name="T7" fmla="*/ 289 h 581"/>
                    <a:gd name="T8" fmla="*/ 954 w 975"/>
                    <a:gd name="T9" fmla="*/ 257 h 581"/>
                    <a:gd name="T10" fmla="*/ 506 w 975"/>
                    <a:gd name="T11" fmla="*/ 7 h 581"/>
                    <a:gd name="T12" fmla="*/ 487 w 975"/>
                    <a:gd name="T13" fmla="*/ 0 h 581"/>
                    <a:gd name="T14" fmla="*/ 466 w 975"/>
                    <a:gd name="T15" fmla="*/ 7 h 581"/>
                    <a:gd name="T16" fmla="*/ 21 w 975"/>
                    <a:gd name="T17" fmla="*/ 257 h 581"/>
                    <a:gd name="T18" fmla="*/ 0 w 975"/>
                    <a:gd name="T19" fmla="*/ 289 h 581"/>
                    <a:gd name="T20" fmla="*/ 21 w 975"/>
                    <a:gd name="T21" fmla="*/ 323 h 581"/>
                    <a:gd name="T22" fmla="*/ 466 w 975"/>
                    <a:gd name="T23" fmla="*/ 574 h 581"/>
                    <a:gd name="T24" fmla="*/ 487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7" y="581"/>
                      </a:moveTo>
                      <a:cubicBezTo>
                        <a:pt x="494" y="581"/>
                        <a:pt x="501" y="578"/>
                        <a:pt x="506" y="574"/>
                      </a:cubicBezTo>
                      <a:cubicBezTo>
                        <a:pt x="506" y="574"/>
                        <a:pt x="506" y="574"/>
                        <a:pt x="954" y="323"/>
                      </a:cubicBezTo>
                      <a:cubicBezTo>
                        <a:pt x="965" y="317"/>
                        <a:pt x="975" y="305"/>
                        <a:pt x="975" y="289"/>
                      </a:cubicBezTo>
                      <a:cubicBezTo>
                        <a:pt x="975" y="276"/>
                        <a:pt x="965" y="264"/>
                        <a:pt x="954" y="257"/>
                      </a:cubicBezTo>
                      <a:cubicBezTo>
                        <a:pt x="954" y="257"/>
                        <a:pt x="954" y="257"/>
                        <a:pt x="506" y="7"/>
                      </a:cubicBezTo>
                      <a:cubicBezTo>
                        <a:pt x="501" y="2"/>
                        <a:pt x="494" y="0"/>
                        <a:pt x="487" y="0"/>
                      </a:cubicBezTo>
                      <a:cubicBezTo>
                        <a:pt x="480" y="0"/>
                        <a:pt x="473" y="2"/>
                        <a:pt x="466" y="7"/>
                      </a:cubicBezTo>
                      <a:cubicBezTo>
                        <a:pt x="466" y="7"/>
                        <a:pt x="466" y="7"/>
                        <a:pt x="21" y="257"/>
                      </a:cubicBezTo>
                      <a:cubicBezTo>
                        <a:pt x="7" y="264"/>
                        <a:pt x="0" y="276"/>
                        <a:pt x="0" y="289"/>
                      </a:cubicBezTo>
                      <a:cubicBezTo>
                        <a:pt x="0" y="305"/>
                        <a:pt x="7" y="317"/>
                        <a:pt x="21" y="323"/>
                      </a:cubicBezTo>
                      <a:cubicBezTo>
                        <a:pt x="21" y="323"/>
                        <a:pt x="21" y="323"/>
                        <a:pt x="466" y="574"/>
                      </a:cubicBezTo>
                      <a:cubicBezTo>
                        <a:pt x="473" y="578"/>
                        <a:pt x="480" y="581"/>
                        <a:pt x="487" y="581"/>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41" name="Freeform 36">
                  <a:extLst>
                    <a:ext uri="{FF2B5EF4-FFF2-40B4-BE49-F238E27FC236}">
                      <a16:creationId xmlns:a16="http://schemas.microsoft.com/office/drawing/2014/main" id="{377CC563-ED2B-48E7-A223-1514AFA6D578}"/>
                    </a:ext>
                  </a:extLst>
                </p:cNvPr>
                <p:cNvSpPr>
                  <a:spLocks/>
                </p:cNvSpPr>
                <p:nvPr/>
              </p:nvSpPr>
              <p:spPr bwMode="auto">
                <a:xfrm>
                  <a:off x="4228953" y="1901912"/>
                  <a:ext cx="372322" cy="216538"/>
                </a:xfrm>
                <a:custGeom>
                  <a:avLst/>
                  <a:gdLst>
                    <a:gd name="T0" fmla="*/ 488 w 975"/>
                    <a:gd name="T1" fmla="*/ 581 h 581"/>
                    <a:gd name="T2" fmla="*/ 509 w 975"/>
                    <a:gd name="T3" fmla="*/ 576 h 581"/>
                    <a:gd name="T4" fmla="*/ 954 w 975"/>
                    <a:gd name="T5" fmla="*/ 325 h 581"/>
                    <a:gd name="T6" fmla="*/ 975 w 975"/>
                    <a:gd name="T7" fmla="*/ 290 h 581"/>
                    <a:gd name="T8" fmla="*/ 954 w 975"/>
                    <a:gd name="T9" fmla="*/ 256 h 581"/>
                    <a:gd name="T10" fmla="*/ 509 w 975"/>
                    <a:gd name="T11" fmla="*/ 5 h 581"/>
                    <a:gd name="T12" fmla="*/ 488 w 975"/>
                    <a:gd name="T13" fmla="*/ 0 h 581"/>
                    <a:gd name="T14" fmla="*/ 469 w 975"/>
                    <a:gd name="T15" fmla="*/ 5 h 581"/>
                    <a:gd name="T16" fmla="*/ 21 w 975"/>
                    <a:gd name="T17" fmla="*/ 256 h 581"/>
                    <a:gd name="T18" fmla="*/ 0 w 975"/>
                    <a:gd name="T19" fmla="*/ 290 h 581"/>
                    <a:gd name="T20" fmla="*/ 21 w 975"/>
                    <a:gd name="T21" fmla="*/ 325 h 581"/>
                    <a:gd name="T22" fmla="*/ 469 w 975"/>
                    <a:gd name="T23" fmla="*/ 576 h 581"/>
                    <a:gd name="T24" fmla="*/ 488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8" y="581"/>
                      </a:moveTo>
                      <a:cubicBezTo>
                        <a:pt x="495" y="581"/>
                        <a:pt x="502" y="578"/>
                        <a:pt x="509" y="576"/>
                      </a:cubicBezTo>
                      <a:cubicBezTo>
                        <a:pt x="509" y="576"/>
                        <a:pt x="509" y="576"/>
                        <a:pt x="954" y="325"/>
                      </a:cubicBezTo>
                      <a:cubicBezTo>
                        <a:pt x="968" y="318"/>
                        <a:pt x="975" y="304"/>
                        <a:pt x="975" y="290"/>
                      </a:cubicBezTo>
                      <a:cubicBezTo>
                        <a:pt x="975" y="277"/>
                        <a:pt x="968" y="263"/>
                        <a:pt x="954" y="256"/>
                      </a:cubicBezTo>
                      <a:cubicBezTo>
                        <a:pt x="954" y="256"/>
                        <a:pt x="954" y="256"/>
                        <a:pt x="509" y="5"/>
                      </a:cubicBezTo>
                      <a:cubicBezTo>
                        <a:pt x="502" y="2"/>
                        <a:pt x="495" y="0"/>
                        <a:pt x="488" y="0"/>
                      </a:cubicBezTo>
                      <a:cubicBezTo>
                        <a:pt x="481" y="0"/>
                        <a:pt x="474" y="2"/>
                        <a:pt x="469" y="5"/>
                      </a:cubicBezTo>
                      <a:cubicBezTo>
                        <a:pt x="469" y="5"/>
                        <a:pt x="469" y="5"/>
                        <a:pt x="21" y="256"/>
                      </a:cubicBezTo>
                      <a:cubicBezTo>
                        <a:pt x="10" y="263"/>
                        <a:pt x="0" y="277"/>
                        <a:pt x="0" y="290"/>
                      </a:cubicBezTo>
                      <a:cubicBezTo>
                        <a:pt x="0" y="304"/>
                        <a:pt x="10" y="318"/>
                        <a:pt x="21" y="325"/>
                      </a:cubicBezTo>
                      <a:cubicBezTo>
                        <a:pt x="21" y="325"/>
                        <a:pt x="21" y="325"/>
                        <a:pt x="469" y="576"/>
                      </a:cubicBezTo>
                      <a:cubicBezTo>
                        <a:pt x="474" y="578"/>
                        <a:pt x="481" y="581"/>
                        <a:pt x="488" y="581"/>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42" name="Freeform 37">
                  <a:extLst>
                    <a:ext uri="{FF2B5EF4-FFF2-40B4-BE49-F238E27FC236}">
                      <a16:creationId xmlns:a16="http://schemas.microsoft.com/office/drawing/2014/main" id="{26B6EAA0-B296-4CED-8D23-12FBA0692D92}"/>
                    </a:ext>
                  </a:extLst>
                </p:cNvPr>
                <p:cNvSpPr>
                  <a:spLocks/>
                </p:cNvSpPr>
                <p:nvPr/>
              </p:nvSpPr>
              <p:spPr bwMode="auto">
                <a:xfrm>
                  <a:off x="4461069" y="1773652"/>
                  <a:ext cx="372322" cy="216019"/>
                </a:xfrm>
                <a:custGeom>
                  <a:avLst/>
                  <a:gdLst>
                    <a:gd name="T0" fmla="*/ 487 w 975"/>
                    <a:gd name="T1" fmla="*/ 580 h 580"/>
                    <a:gd name="T2" fmla="*/ 506 w 975"/>
                    <a:gd name="T3" fmla="*/ 576 h 580"/>
                    <a:gd name="T4" fmla="*/ 954 w 975"/>
                    <a:gd name="T5" fmla="*/ 322 h 580"/>
                    <a:gd name="T6" fmla="*/ 975 w 975"/>
                    <a:gd name="T7" fmla="*/ 290 h 580"/>
                    <a:gd name="T8" fmla="*/ 954 w 975"/>
                    <a:gd name="T9" fmla="*/ 256 h 580"/>
                    <a:gd name="T10" fmla="*/ 506 w 975"/>
                    <a:gd name="T11" fmla="*/ 4 h 580"/>
                    <a:gd name="T12" fmla="*/ 487 w 975"/>
                    <a:gd name="T13" fmla="*/ 0 h 580"/>
                    <a:gd name="T14" fmla="*/ 466 w 975"/>
                    <a:gd name="T15" fmla="*/ 4 h 580"/>
                    <a:gd name="T16" fmla="*/ 21 w 975"/>
                    <a:gd name="T17" fmla="*/ 256 h 580"/>
                    <a:gd name="T18" fmla="*/ 0 w 975"/>
                    <a:gd name="T19" fmla="*/ 290 h 580"/>
                    <a:gd name="T20" fmla="*/ 21 w 975"/>
                    <a:gd name="T21" fmla="*/ 322 h 580"/>
                    <a:gd name="T22" fmla="*/ 466 w 975"/>
                    <a:gd name="T23" fmla="*/ 576 h 580"/>
                    <a:gd name="T24" fmla="*/ 487 w 975"/>
                    <a:gd name="T25" fmla="*/ 58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0">
                      <a:moveTo>
                        <a:pt x="487" y="580"/>
                      </a:moveTo>
                      <a:cubicBezTo>
                        <a:pt x="494" y="580"/>
                        <a:pt x="501" y="578"/>
                        <a:pt x="506" y="576"/>
                      </a:cubicBezTo>
                      <a:cubicBezTo>
                        <a:pt x="506" y="576"/>
                        <a:pt x="506" y="576"/>
                        <a:pt x="954" y="322"/>
                      </a:cubicBezTo>
                      <a:cubicBezTo>
                        <a:pt x="965" y="315"/>
                        <a:pt x="975" y="304"/>
                        <a:pt x="975" y="290"/>
                      </a:cubicBezTo>
                      <a:cubicBezTo>
                        <a:pt x="975" y="276"/>
                        <a:pt x="965" y="263"/>
                        <a:pt x="954" y="256"/>
                      </a:cubicBezTo>
                      <a:cubicBezTo>
                        <a:pt x="954" y="256"/>
                        <a:pt x="954" y="256"/>
                        <a:pt x="506" y="4"/>
                      </a:cubicBezTo>
                      <a:cubicBezTo>
                        <a:pt x="501" y="0"/>
                        <a:pt x="494" y="0"/>
                        <a:pt x="487" y="0"/>
                      </a:cubicBezTo>
                      <a:cubicBezTo>
                        <a:pt x="480" y="0"/>
                        <a:pt x="473" y="0"/>
                        <a:pt x="466" y="4"/>
                      </a:cubicBezTo>
                      <a:cubicBezTo>
                        <a:pt x="466" y="4"/>
                        <a:pt x="466" y="4"/>
                        <a:pt x="21" y="256"/>
                      </a:cubicBezTo>
                      <a:cubicBezTo>
                        <a:pt x="7" y="263"/>
                        <a:pt x="0" y="276"/>
                        <a:pt x="0" y="290"/>
                      </a:cubicBezTo>
                      <a:cubicBezTo>
                        <a:pt x="0" y="304"/>
                        <a:pt x="7" y="315"/>
                        <a:pt x="21" y="322"/>
                      </a:cubicBezTo>
                      <a:cubicBezTo>
                        <a:pt x="21" y="322"/>
                        <a:pt x="21" y="322"/>
                        <a:pt x="466" y="576"/>
                      </a:cubicBezTo>
                      <a:cubicBezTo>
                        <a:pt x="473" y="578"/>
                        <a:pt x="480" y="580"/>
                        <a:pt x="487" y="580"/>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43" name="Freeform 38">
                  <a:extLst>
                    <a:ext uri="{FF2B5EF4-FFF2-40B4-BE49-F238E27FC236}">
                      <a16:creationId xmlns:a16="http://schemas.microsoft.com/office/drawing/2014/main" id="{8D7315CB-7A96-4E81-8425-1C22DE4104E8}"/>
                    </a:ext>
                  </a:extLst>
                </p:cNvPr>
                <p:cNvSpPr>
                  <a:spLocks/>
                </p:cNvSpPr>
                <p:nvPr/>
              </p:nvSpPr>
              <p:spPr bwMode="auto">
                <a:xfrm>
                  <a:off x="4931534" y="1785076"/>
                  <a:ext cx="372322" cy="210825"/>
                </a:xfrm>
                <a:custGeom>
                  <a:avLst/>
                  <a:gdLst>
                    <a:gd name="T0" fmla="*/ 487 w 975"/>
                    <a:gd name="T1" fmla="*/ 565 h 565"/>
                    <a:gd name="T2" fmla="*/ 508 w 975"/>
                    <a:gd name="T3" fmla="*/ 561 h 565"/>
                    <a:gd name="T4" fmla="*/ 953 w 975"/>
                    <a:gd name="T5" fmla="*/ 316 h 565"/>
                    <a:gd name="T6" fmla="*/ 975 w 975"/>
                    <a:gd name="T7" fmla="*/ 283 h 565"/>
                    <a:gd name="T8" fmla="*/ 953 w 975"/>
                    <a:gd name="T9" fmla="*/ 249 h 565"/>
                    <a:gd name="T10" fmla="*/ 508 w 975"/>
                    <a:gd name="T11" fmla="*/ 5 h 565"/>
                    <a:gd name="T12" fmla="*/ 487 w 975"/>
                    <a:gd name="T13" fmla="*/ 0 h 565"/>
                    <a:gd name="T14" fmla="*/ 468 w 975"/>
                    <a:gd name="T15" fmla="*/ 5 h 565"/>
                    <a:gd name="T16" fmla="*/ 21 w 975"/>
                    <a:gd name="T17" fmla="*/ 249 h 565"/>
                    <a:gd name="T18" fmla="*/ 0 w 975"/>
                    <a:gd name="T19" fmla="*/ 283 h 565"/>
                    <a:gd name="T20" fmla="*/ 21 w 975"/>
                    <a:gd name="T21" fmla="*/ 316 h 565"/>
                    <a:gd name="T22" fmla="*/ 468 w 975"/>
                    <a:gd name="T23" fmla="*/ 561 h 565"/>
                    <a:gd name="T24" fmla="*/ 487 w 975"/>
                    <a:gd name="T25" fmla="*/ 565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65">
                      <a:moveTo>
                        <a:pt x="487" y="565"/>
                      </a:moveTo>
                      <a:cubicBezTo>
                        <a:pt x="494" y="565"/>
                        <a:pt x="501" y="563"/>
                        <a:pt x="508" y="561"/>
                      </a:cubicBezTo>
                      <a:cubicBezTo>
                        <a:pt x="508" y="561"/>
                        <a:pt x="508" y="561"/>
                        <a:pt x="953" y="316"/>
                      </a:cubicBezTo>
                      <a:cubicBezTo>
                        <a:pt x="968" y="309"/>
                        <a:pt x="975" y="296"/>
                        <a:pt x="975" y="283"/>
                      </a:cubicBezTo>
                      <a:cubicBezTo>
                        <a:pt x="975" y="269"/>
                        <a:pt x="968" y="256"/>
                        <a:pt x="953" y="249"/>
                      </a:cubicBezTo>
                      <a:cubicBezTo>
                        <a:pt x="953" y="249"/>
                        <a:pt x="953" y="249"/>
                        <a:pt x="508" y="5"/>
                      </a:cubicBezTo>
                      <a:cubicBezTo>
                        <a:pt x="501" y="2"/>
                        <a:pt x="494" y="0"/>
                        <a:pt x="487" y="0"/>
                      </a:cubicBezTo>
                      <a:cubicBezTo>
                        <a:pt x="480" y="0"/>
                        <a:pt x="473" y="2"/>
                        <a:pt x="468" y="5"/>
                      </a:cubicBezTo>
                      <a:cubicBezTo>
                        <a:pt x="468" y="5"/>
                        <a:pt x="468" y="5"/>
                        <a:pt x="21" y="249"/>
                      </a:cubicBezTo>
                      <a:cubicBezTo>
                        <a:pt x="9" y="256"/>
                        <a:pt x="0" y="269"/>
                        <a:pt x="0" y="283"/>
                      </a:cubicBezTo>
                      <a:cubicBezTo>
                        <a:pt x="0" y="296"/>
                        <a:pt x="9" y="309"/>
                        <a:pt x="21" y="316"/>
                      </a:cubicBezTo>
                      <a:cubicBezTo>
                        <a:pt x="21" y="316"/>
                        <a:pt x="21" y="316"/>
                        <a:pt x="468" y="561"/>
                      </a:cubicBezTo>
                      <a:cubicBezTo>
                        <a:pt x="473" y="563"/>
                        <a:pt x="480" y="565"/>
                        <a:pt x="487" y="565"/>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44" name="Freeform 40">
                  <a:extLst>
                    <a:ext uri="{FF2B5EF4-FFF2-40B4-BE49-F238E27FC236}">
                      <a16:creationId xmlns:a16="http://schemas.microsoft.com/office/drawing/2014/main" id="{0EE0E3F7-512C-49E3-B919-14AEEB4D28D9}"/>
                    </a:ext>
                  </a:extLst>
                </p:cNvPr>
                <p:cNvSpPr>
                  <a:spLocks/>
                </p:cNvSpPr>
                <p:nvPr/>
              </p:nvSpPr>
              <p:spPr bwMode="auto">
                <a:xfrm>
                  <a:off x="4003586" y="1779363"/>
                  <a:ext cx="366090" cy="216538"/>
                </a:xfrm>
                <a:custGeom>
                  <a:avLst/>
                  <a:gdLst>
                    <a:gd name="T0" fmla="*/ 481 w 959"/>
                    <a:gd name="T1" fmla="*/ 581 h 581"/>
                    <a:gd name="T2" fmla="*/ 499 w 959"/>
                    <a:gd name="T3" fmla="*/ 576 h 581"/>
                    <a:gd name="T4" fmla="*/ 941 w 959"/>
                    <a:gd name="T5" fmla="*/ 325 h 581"/>
                    <a:gd name="T6" fmla="*/ 959 w 959"/>
                    <a:gd name="T7" fmla="*/ 291 h 581"/>
                    <a:gd name="T8" fmla="*/ 941 w 959"/>
                    <a:gd name="T9" fmla="*/ 256 h 581"/>
                    <a:gd name="T10" fmla="*/ 499 w 959"/>
                    <a:gd name="T11" fmla="*/ 5 h 581"/>
                    <a:gd name="T12" fmla="*/ 481 w 959"/>
                    <a:gd name="T13" fmla="*/ 0 h 581"/>
                    <a:gd name="T14" fmla="*/ 460 w 959"/>
                    <a:gd name="T15" fmla="*/ 5 h 581"/>
                    <a:gd name="T16" fmla="*/ 18 w 959"/>
                    <a:gd name="T17" fmla="*/ 256 h 581"/>
                    <a:gd name="T18" fmla="*/ 0 w 959"/>
                    <a:gd name="T19" fmla="*/ 291 h 581"/>
                    <a:gd name="T20" fmla="*/ 18 w 959"/>
                    <a:gd name="T21" fmla="*/ 325 h 581"/>
                    <a:gd name="T22" fmla="*/ 460 w 959"/>
                    <a:gd name="T23" fmla="*/ 576 h 581"/>
                    <a:gd name="T24" fmla="*/ 481 w 959"/>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1">
                      <a:moveTo>
                        <a:pt x="481" y="581"/>
                      </a:moveTo>
                      <a:cubicBezTo>
                        <a:pt x="488" y="581"/>
                        <a:pt x="492" y="579"/>
                        <a:pt x="499" y="576"/>
                      </a:cubicBezTo>
                      <a:cubicBezTo>
                        <a:pt x="499" y="576"/>
                        <a:pt x="499" y="576"/>
                        <a:pt x="941" y="325"/>
                      </a:cubicBezTo>
                      <a:cubicBezTo>
                        <a:pt x="952" y="318"/>
                        <a:pt x="959" y="304"/>
                        <a:pt x="959" y="291"/>
                      </a:cubicBezTo>
                      <a:cubicBezTo>
                        <a:pt x="959" y="277"/>
                        <a:pt x="952" y="263"/>
                        <a:pt x="941" y="256"/>
                      </a:cubicBezTo>
                      <a:cubicBezTo>
                        <a:pt x="941" y="256"/>
                        <a:pt x="941" y="256"/>
                        <a:pt x="499" y="5"/>
                      </a:cubicBezTo>
                      <a:cubicBezTo>
                        <a:pt x="492" y="3"/>
                        <a:pt x="488" y="0"/>
                        <a:pt x="481" y="0"/>
                      </a:cubicBezTo>
                      <a:cubicBezTo>
                        <a:pt x="474" y="0"/>
                        <a:pt x="467" y="3"/>
                        <a:pt x="460" y="5"/>
                      </a:cubicBezTo>
                      <a:cubicBezTo>
                        <a:pt x="460" y="5"/>
                        <a:pt x="460" y="5"/>
                        <a:pt x="18" y="256"/>
                      </a:cubicBezTo>
                      <a:cubicBezTo>
                        <a:pt x="7" y="263"/>
                        <a:pt x="0" y="277"/>
                        <a:pt x="0" y="291"/>
                      </a:cubicBezTo>
                      <a:cubicBezTo>
                        <a:pt x="0" y="304"/>
                        <a:pt x="7" y="318"/>
                        <a:pt x="18" y="325"/>
                      </a:cubicBezTo>
                      <a:cubicBezTo>
                        <a:pt x="18" y="325"/>
                        <a:pt x="18" y="325"/>
                        <a:pt x="460" y="576"/>
                      </a:cubicBezTo>
                      <a:cubicBezTo>
                        <a:pt x="467" y="579"/>
                        <a:pt x="474" y="581"/>
                        <a:pt x="481" y="581"/>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45" name="Freeform 41">
                  <a:extLst>
                    <a:ext uri="{FF2B5EF4-FFF2-40B4-BE49-F238E27FC236}">
                      <a16:creationId xmlns:a16="http://schemas.microsoft.com/office/drawing/2014/main" id="{05E83F4D-0829-4F20-B0D0-87150D42D22F}"/>
                    </a:ext>
                  </a:extLst>
                </p:cNvPr>
                <p:cNvSpPr>
                  <a:spLocks/>
                </p:cNvSpPr>
                <p:nvPr/>
              </p:nvSpPr>
              <p:spPr bwMode="auto">
                <a:xfrm>
                  <a:off x="4235185" y="1650584"/>
                  <a:ext cx="366090" cy="216538"/>
                </a:xfrm>
                <a:custGeom>
                  <a:avLst/>
                  <a:gdLst>
                    <a:gd name="T0" fmla="*/ 479 w 959"/>
                    <a:gd name="T1" fmla="*/ 581 h 581"/>
                    <a:gd name="T2" fmla="*/ 500 w 959"/>
                    <a:gd name="T3" fmla="*/ 574 h 581"/>
                    <a:gd name="T4" fmla="*/ 939 w 959"/>
                    <a:gd name="T5" fmla="*/ 324 h 581"/>
                    <a:gd name="T6" fmla="*/ 959 w 959"/>
                    <a:gd name="T7" fmla="*/ 289 h 581"/>
                    <a:gd name="T8" fmla="*/ 939 w 959"/>
                    <a:gd name="T9" fmla="*/ 258 h 581"/>
                    <a:gd name="T10" fmla="*/ 500 w 959"/>
                    <a:gd name="T11" fmla="*/ 7 h 581"/>
                    <a:gd name="T12" fmla="*/ 479 w 959"/>
                    <a:gd name="T13" fmla="*/ 0 h 581"/>
                    <a:gd name="T14" fmla="*/ 460 w 959"/>
                    <a:gd name="T15" fmla="*/ 7 h 581"/>
                    <a:gd name="T16" fmla="*/ 19 w 959"/>
                    <a:gd name="T17" fmla="*/ 258 h 581"/>
                    <a:gd name="T18" fmla="*/ 0 w 959"/>
                    <a:gd name="T19" fmla="*/ 289 h 581"/>
                    <a:gd name="T20" fmla="*/ 19 w 959"/>
                    <a:gd name="T21" fmla="*/ 324 h 581"/>
                    <a:gd name="T22" fmla="*/ 460 w 959"/>
                    <a:gd name="T23" fmla="*/ 574 h 581"/>
                    <a:gd name="T24" fmla="*/ 479 w 959"/>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1">
                      <a:moveTo>
                        <a:pt x="479" y="581"/>
                      </a:moveTo>
                      <a:cubicBezTo>
                        <a:pt x="486" y="581"/>
                        <a:pt x="493" y="579"/>
                        <a:pt x="500" y="574"/>
                      </a:cubicBezTo>
                      <a:cubicBezTo>
                        <a:pt x="500" y="574"/>
                        <a:pt x="500" y="574"/>
                        <a:pt x="939" y="324"/>
                      </a:cubicBezTo>
                      <a:cubicBezTo>
                        <a:pt x="952" y="317"/>
                        <a:pt x="959" y="305"/>
                        <a:pt x="959" y="289"/>
                      </a:cubicBezTo>
                      <a:cubicBezTo>
                        <a:pt x="959" y="276"/>
                        <a:pt x="952" y="264"/>
                        <a:pt x="939" y="258"/>
                      </a:cubicBezTo>
                      <a:cubicBezTo>
                        <a:pt x="939" y="258"/>
                        <a:pt x="939" y="258"/>
                        <a:pt x="500" y="7"/>
                      </a:cubicBezTo>
                      <a:cubicBezTo>
                        <a:pt x="493" y="3"/>
                        <a:pt x="486" y="0"/>
                        <a:pt x="479" y="0"/>
                      </a:cubicBezTo>
                      <a:cubicBezTo>
                        <a:pt x="472" y="0"/>
                        <a:pt x="465" y="3"/>
                        <a:pt x="460" y="7"/>
                      </a:cubicBezTo>
                      <a:cubicBezTo>
                        <a:pt x="460" y="7"/>
                        <a:pt x="460" y="7"/>
                        <a:pt x="19" y="258"/>
                      </a:cubicBezTo>
                      <a:cubicBezTo>
                        <a:pt x="7" y="264"/>
                        <a:pt x="0" y="276"/>
                        <a:pt x="0" y="289"/>
                      </a:cubicBezTo>
                      <a:cubicBezTo>
                        <a:pt x="0" y="305"/>
                        <a:pt x="7" y="317"/>
                        <a:pt x="19" y="324"/>
                      </a:cubicBezTo>
                      <a:cubicBezTo>
                        <a:pt x="19" y="324"/>
                        <a:pt x="19" y="324"/>
                        <a:pt x="460" y="574"/>
                      </a:cubicBezTo>
                      <a:cubicBezTo>
                        <a:pt x="465" y="579"/>
                        <a:pt x="472" y="581"/>
                        <a:pt x="479" y="581"/>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46" name="Freeform 42">
                  <a:extLst>
                    <a:ext uri="{FF2B5EF4-FFF2-40B4-BE49-F238E27FC236}">
                      <a16:creationId xmlns:a16="http://schemas.microsoft.com/office/drawing/2014/main" id="{4FB4C733-EE19-428B-B2D6-11AE2C2023A3}"/>
                    </a:ext>
                  </a:extLst>
                </p:cNvPr>
                <p:cNvSpPr>
                  <a:spLocks/>
                </p:cNvSpPr>
                <p:nvPr/>
              </p:nvSpPr>
              <p:spPr bwMode="auto">
                <a:xfrm>
                  <a:off x="4003586" y="1521803"/>
                  <a:ext cx="366090" cy="216538"/>
                </a:xfrm>
                <a:custGeom>
                  <a:avLst/>
                  <a:gdLst>
                    <a:gd name="T0" fmla="*/ 481 w 959"/>
                    <a:gd name="T1" fmla="*/ 581 h 581"/>
                    <a:gd name="T2" fmla="*/ 499 w 959"/>
                    <a:gd name="T3" fmla="*/ 576 h 581"/>
                    <a:gd name="T4" fmla="*/ 941 w 959"/>
                    <a:gd name="T5" fmla="*/ 325 h 581"/>
                    <a:gd name="T6" fmla="*/ 959 w 959"/>
                    <a:gd name="T7" fmla="*/ 290 h 581"/>
                    <a:gd name="T8" fmla="*/ 941 w 959"/>
                    <a:gd name="T9" fmla="*/ 256 h 581"/>
                    <a:gd name="T10" fmla="*/ 499 w 959"/>
                    <a:gd name="T11" fmla="*/ 5 h 581"/>
                    <a:gd name="T12" fmla="*/ 481 w 959"/>
                    <a:gd name="T13" fmla="*/ 0 h 581"/>
                    <a:gd name="T14" fmla="*/ 460 w 959"/>
                    <a:gd name="T15" fmla="*/ 5 h 581"/>
                    <a:gd name="T16" fmla="*/ 18 w 959"/>
                    <a:gd name="T17" fmla="*/ 256 h 581"/>
                    <a:gd name="T18" fmla="*/ 0 w 959"/>
                    <a:gd name="T19" fmla="*/ 290 h 581"/>
                    <a:gd name="T20" fmla="*/ 18 w 959"/>
                    <a:gd name="T21" fmla="*/ 325 h 581"/>
                    <a:gd name="T22" fmla="*/ 460 w 959"/>
                    <a:gd name="T23" fmla="*/ 576 h 581"/>
                    <a:gd name="T24" fmla="*/ 481 w 959"/>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1">
                      <a:moveTo>
                        <a:pt x="481" y="581"/>
                      </a:moveTo>
                      <a:cubicBezTo>
                        <a:pt x="488" y="581"/>
                        <a:pt x="492" y="578"/>
                        <a:pt x="499" y="576"/>
                      </a:cubicBezTo>
                      <a:cubicBezTo>
                        <a:pt x="499" y="576"/>
                        <a:pt x="499" y="576"/>
                        <a:pt x="941" y="325"/>
                      </a:cubicBezTo>
                      <a:cubicBezTo>
                        <a:pt x="952" y="318"/>
                        <a:pt x="959" y="304"/>
                        <a:pt x="959" y="290"/>
                      </a:cubicBezTo>
                      <a:cubicBezTo>
                        <a:pt x="959" y="277"/>
                        <a:pt x="952" y="263"/>
                        <a:pt x="941" y="256"/>
                      </a:cubicBezTo>
                      <a:cubicBezTo>
                        <a:pt x="941" y="256"/>
                        <a:pt x="941" y="256"/>
                        <a:pt x="499" y="5"/>
                      </a:cubicBezTo>
                      <a:cubicBezTo>
                        <a:pt x="492" y="2"/>
                        <a:pt x="488" y="0"/>
                        <a:pt x="481" y="0"/>
                      </a:cubicBezTo>
                      <a:cubicBezTo>
                        <a:pt x="474" y="0"/>
                        <a:pt x="467" y="2"/>
                        <a:pt x="460" y="5"/>
                      </a:cubicBezTo>
                      <a:cubicBezTo>
                        <a:pt x="460" y="5"/>
                        <a:pt x="460" y="5"/>
                        <a:pt x="18" y="256"/>
                      </a:cubicBezTo>
                      <a:cubicBezTo>
                        <a:pt x="7" y="263"/>
                        <a:pt x="0" y="277"/>
                        <a:pt x="0" y="290"/>
                      </a:cubicBezTo>
                      <a:cubicBezTo>
                        <a:pt x="0" y="304"/>
                        <a:pt x="7" y="318"/>
                        <a:pt x="18" y="325"/>
                      </a:cubicBezTo>
                      <a:cubicBezTo>
                        <a:pt x="18" y="325"/>
                        <a:pt x="18" y="325"/>
                        <a:pt x="460" y="576"/>
                      </a:cubicBezTo>
                      <a:cubicBezTo>
                        <a:pt x="467" y="578"/>
                        <a:pt x="474" y="581"/>
                        <a:pt x="481" y="581"/>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47" name="Freeform 43">
                  <a:extLst>
                    <a:ext uri="{FF2B5EF4-FFF2-40B4-BE49-F238E27FC236}">
                      <a16:creationId xmlns:a16="http://schemas.microsoft.com/office/drawing/2014/main" id="{A33B7132-0DE2-4503-9EF7-D595CC6657ED}"/>
                    </a:ext>
                  </a:extLst>
                </p:cNvPr>
                <p:cNvSpPr>
                  <a:spLocks/>
                </p:cNvSpPr>
                <p:nvPr/>
              </p:nvSpPr>
              <p:spPr bwMode="auto">
                <a:xfrm>
                  <a:off x="3771470" y="1399254"/>
                  <a:ext cx="372322" cy="216019"/>
                </a:xfrm>
                <a:custGeom>
                  <a:avLst/>
                  <a:gdLst>
                    <a:gd name="T0" fmla="*/ 487 w 975"/>
                    <a:gd name="T1" fmla="*/ 580 h 580"/>
                    <a:gd name="T2" fmla="*/ 506 w 975"/>
                    <a:gd name="T3" fmla="*/ 576 h 580"/>
                    <a:gd name="T4" fmla="*/ 954 w 975"/>
                    <a:gd name="T5" fmla="*/ 322 h 580"/>
                    <a:gd name="T6" fmla="*/ 975 w 975"/>
                    <a:gd name="T7" fmla="*/ 290 h 580"/>
                    <a:gd name="T8" fmla="*/ 954 w 975"/>
                    <a:gd name="T9" fmla="*/ 256 h 580"/>
                    <a:gd name="T10" fmla="*/ 506 w 975"/>
                    <a:gd name="T11" fmla="*/ 4 h 580"/>
                    <a:gd name="T12" fmla="*/ 487 w 975"/>
                    <a:gd name="T13" fmla="*/ 0 h 580"/>
                    <a:gd name="T14" fmla="*/ 466 w 975"/>
                    <a:gd name="T15" fmla="*/ 4 h 580"/>
                    <a:gd name="T16" fmla="*/ 21 w 975"/>
                    <a:gd name="T17" fmla="*/ 256 h 580"/>
                    <a:gd name="T18" fmla="*/ 0 w 975"/>
                    <a:gd name="T19" fmla="*/ 290 h 580"/>
                    <a:gd name="T20" fmla="*/ 21 w 975"/>
                    <a:gd name="T21" fmla="*/ 322 h 580"/>
                    <a:gd name="T22" fmla="*/ 466 w 975"/>
                    <a:gd name="T23" fmla="*/ 576 h 580"/>
                    <a:gd name="T24" fmla="*/ 487 w 975"/>
                    <a:gd name="T25" fmla="*/ 58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0">
                      <a:moveTo>
                        <a:pt x="487" y="580"/>
                      </a:moveTo>
                      <a:cubicBezTo>
                        <a:pt x="494" y="580"/>
                        <a:pt x="501" y="578"/>
                        <a:pt x="506" y="576"/>
                      </a:cubicBezTo>
                      <a:cubicBezTo>
                        <a:pt x="506" y="576"/>
                        <a:pt x="506" y="576"/>
                        <a:pt x="954" y="322"/>
                      </a:cubicBezTo>
                      <a:cubicBezTo>
                        <a:pt x="965" y="315"/>
                        <a:pt x="975" y="304"/>
                        <a:pt x="975" y="290"/>
                      </a:cubicBezTo>
                      <a:cubicBezTo>
                        <a:pt x="975" y="276"/>
                        <a:pt x="965" y="262"/>
                        <a:pt x="954" y="256"/>
                      </a:cubicBezTo>
                      <a:cubicBezTo>
                        <a:pt x="954" y="256"/>
                        <a:pt x="954" y="256"/>
                        <a:pt x="506" y="4"/>
                      </a:cubicBezTo>
                      <a:cubicBezTo>
                        <a:pt x="501" y="0"/>
                        <a:pt x="494" y="0"/>
                        <a:pt x="487" y="0"/>
                      </a:cubicBezTo>
                      <a:cubicBezTo>
                        <a:pt x="480" y="0"/>
                        <a:pt x="473" y="0"/>
                        <a:pt x="466" y="4"/>
                      </a:cubicBezTo>
                      <a:cubicBezTo>
                        <a:pt x="466" y="4"/>
                        <a:pt x="466" y="4"/>
                        <a:pt x="21" y="256"/>
                      </a:cubicBezTo>
                      <a:cubicBezTo>
                        <a:pt x="7" y="262"/>
                        <a:pt x="0" y="276"/>
                        <a:pt x="0" y="290"/>
                      </a:cubicBezTo>
                      <a:cubicBezTo>
                        <a:pt x="0" y="304"/>
                        <a:pt x="7" y="315"/>
                        <a:pt x="21" y="322"/>
                      </a:cubicBezTo>
                      <a:cubicBezTo>
                        <a:pt x="21" y="322"/>
                        <a:pt x="21" y="322"/>
                        <a:pt x="466" y="576"/>
                      </a:cubicBezTo>
                      <a:cubicBezTo>
                        <a:pt x="473" y="578"/>
                        <a:pt x="480" y="580"/>
                        <a:pt x="487" y="580"/>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48" name="Freeform 44">
                  <a:extLst>
                    <a:ext uri="{FF2B5EF4-FFF2-40B4-BE49-F238E27FC236}">
                      <a16:creationId xmlns:a16="http://schemas.microsoft.com/office/drawing/2014/main" id="{6C4FA297-8C5C-40E2-A6A3-512EA2BB8EC9}"/>
                    </a:ext>
                  </a:extLst>
                </p:cNvPr>
                <p:cNvSpPr>
                  <a:spLocks/>
                </p:cNvSpPr>
                <p:nvPr/>
              </p:nvSpPr>
              <p:spPr bwMode="auto">
                <a:xfrm>
                  <a:off x="4241415" y="1404966"/>
                  <a:ext cx="372322" cy="216538"/>
                </a:xfrm>
                <a:custGeom>
                  <a:avLst/>
                  <a:gdLst>
                    <a:gd name="T0" fmla="*/ 488 w 975"/>
                    <a:gd name="T1" fmla="*/ 581 h 581"/>
                    <a:gd name="T2" fmla="*/ 509 w 975"/>
                    <a:gd name="T3" fmla="*/ 576 h 581"/>
                    <a:gd name="T4" fmla="*/ 954 w 975"/>
                    <a:gd name="T5" fmla="*/ 325 h 581"/>
                    <a:gd name="T6" fmla="*/ 975 w 975"/>
                    <a:gd name="T7" fmla="*/ 291 h 581"/>
                    <a:gd name="T8" fmla="*/ 954 w 975"/>
                    <a:gd name="T9" fmla="*/ 256 h 581"/>
                    <a:gd name="T10" fmla="*/ 509 w 975"/>
                    <a:gd name="T11" fmla="*/ 5 h 581"/>
                    <a:gd name="T12" fmla="*/ 488 w 975"/>
                    <a:gd name="T13" fmla="*/ 0 h 581"/>
                    <a:gd name="T14" fmla="*/ 469 w 975"/>
                    <a:gd name="T15" fmla="*/ 5 h 581"/>
                    <a:gd name="T16" fmla="*/ 21 w 975"/>
                    <a:gd name="T17" fmla="*/ 256 h 581"/>
                    <a:gd name="T18" fmla="*/ 0 w 975"/>
                    <a:gd name="T19" fmla="*/ 291 h 581"/>
                    <a:gd name="T20" fmla="*/ 21 w 975"/>
                    <a:gd name="T21" fmla="*/ 325 h 581"/>
                    <a:gd name="T22" fmla="*/ 469 w 975"/>
                    <a:gd name="T23" fmla="*/ 576 h 581"/>
                    <a:gd name="T24" fmla="*/ 488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8" y="581"/>
                      </a:moveTo>
                      <a:cubicBezTo>
                        <a:pt x="495" y="581"/>
                        <a:pt x="502" y="579"/>
                        <a:pt x="509" y="576"/>
                      </a:cubicBezTo>
                      <a:cubicBezTo>
                        <a:pt x="509" y="576"/>
                        <a:pt x="509" y="576"/>
                        <a:pt x="954" y="325"/>
                      </a:cubicBezTo>
                      <a:cubicBezTo>
                        <a:pt x="968" y="318"/>
                        <a:pt x="975" y="304"/>
                        <a:pt x="975" y="291"/>
                      </a:cubicBezTo>
                      <a:cubicBezTo>
                        <a:pt x="975" y="277"/>
                        <a:pt x="968" y="263"/>
                        <a:pt x="954" y="256"/>
                      </a:cubicBezTo>
                      <a:cubicBezTo>
                        <a:pt x="954" y="256"/>
                        <a:pt x="954" y="256"/>
                        <a:pt x="509" y="5"/>
                      </a:cubicBezTo>
                      <a:cubicBezTo>
                        <a:pt x="502" y="3"/>
                        <a:pt x="495" y="0"/>
                        <a:pt x="488" y="0"/>
                      </a:cubicBezTo>
                      <a:cubicBezTo>
                        <a:pt x="481" y="0"/>
                        <a:pt x="474" y="3"/>
                        <a:pt x="469" y="5"/>
                      </a:cubicBezTo>
                      <a:cubicBezTo>
                        <a:pt x="469" y="5"/>
                        <a:pt x="469" y="5"/>
                        <a:pt x="21" y="256"/>
                      </a:cubicBezTo>
                      <a:cubicBezTo>
                        <a:pt x="10" y="263"/>
                        <a:pt x="0" y="277"/>
                        <a:pt x="0" y="291"/>
                      </a:cubicBezTo>
                      <a:cubicBezTo>
                        <a:pt x="0" y="304"/>
                        <a:pt x="10" y="318"/>
                        <a:pt x="21" y="325"/>
                      </a:cubicBezTo>
                      <a:cubicBezTo>
                        <a:pt x="21" y="325"/>
                        <a:pt x="21" y="325"/>
                        <a:pt x="469" y="576"/>
                      </a:cubicBezTo>
                      <a:cubicBezTo>
                        <a:pt x="474" y="579"/>
                        <a:pt x="481" y="581"/>
                        <a:pt x="488" y="581"/>
                      </a:cubicBezTo>
                      <a:close/>
                    </a:path>
                  </a:pathLst>
                </a:custGeom>
                <a:solidFill>
                  <a:srgbClr val="F58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49" name="Freeform 45">
                  <a:extLst>
                    <a:ext uri="{FF2B5EF4-FFF2-40B4-BE49-F238E27FC236}">
                      <a16:creationId xmlns:a16="http://schemas.microsoft.com/office/drawing/2014/main" id="{5795D8D8-712E-4983-B57A-09F4C29B8B11}"/>
                    </a:ext>
                  </a:extLst>
                </p:cNvPr>
                <p:cNvSpPr>
                  <a:spLocks/>
                </p:cNvSpPr>
                <p:nvPr/>
              </p:nvSpPr>
              <p:spPr bwMode="auto">
                <a:xfrm>
                  <a:off x="4009299" y="1276186"/>
                  <a:ext cx="372322" cy="216538"/>
                </a:xfrm>
                <a:custGeom>
                  <a:avLst/>
                  <a:gdLst>
                    <a:gd name="T0" fmla="*/ 486 w 975"/>
                    <a:gd name="T1" fmla="*/ 581 h 581"/>
                    <a:gd name="T2" fmla="*/ 507 w 975"/>
                    <a:gd name="T3" fmla="*/ 574 h 581"/>
                    <a:gd name="T4" fmla="*/ 956 w 975"/>
                    <a:gd name="T5" fmla="*/ 323 h 581"/>
                    <a:gd name="T6" fmla="*/ 975 w 975"/>
                    <a:gd name="T7" fmla="*/ 289 h 581"/>
                    <a:gd name="T8" fmla="*/ 956 w 975"/>
                    <a:gd name="T9" fmla="*/ 257 h 581"/>
                    <a:gd name="T10" fmla="*/ 507 w 975"/>
                    <a:gd name="T11" fmla="*/ 7 h 581"/>
                    <a:gd name="T12" fmla="*/ 486 w 975"/>
                    <a:gd name="T13" fmla="*/ 0 h 581"/>
                    <a:gd name="T14" fmla="*/ 468 w 975"/>
                    <a:gd name="T15" fmla="*/ 7 h 581"/>
                    <a:gd name="T16" fmla="*/ 19 w 975"/>
                    <a:gd name="T17" fmla="*/ 257 h 581"/>
                    <a:gd name="T18" fmla="*/ 0 w 975"/>
                    <a:gd name="T19" fmla="*/ 289 h 581"/>
                    <a:gd name="T20" fmla="*/ 19 w 975"/>
                    <a:gd name="T21" fmla="*/ 323 h 581"/>
                    <a:gd name="T22" fmla="*/ 468 w 975"/>
                    <a:gd name="T23" fmla="*/ 574 h 581"/>
                    <a:gd name="T24" fmla="*/ 486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6" y="581"/>
                      </a:moveTo>
                      <a:cubicBezTo>
                        <a:pt x="493" y="581"/>
                        <a:pt x="500" y="578"/>
                        <a:pt x="507" y="574"/>
                      </a:cubicBezTo>
                      <a:cubicBezTo>
                        <a:pt x="507" y="574"/>
                        <a:pt x="507" y="574"/>
                        <a:pt x="956" y="323"/>
                      </a:cubicBezTo>
                      <a:cubicBezTo>
                        <a:pt x="968" y="317"/>
                        <a:pt x="975" y="305"/>
                        <a:pt x="975" y="289"/>
                      </a:cubicBezTo>
                      <a:cubicBezTo>
                        <a:pt x="975" y="276"/>
                        <a:pt x="968" y="264"/>
                        <a:pt x="956" y="257"/>
                      </a:cubicBezTo>
                      <a:cubicBezTo>
                        <a:pt x="956" y="257"/>
                        <a:pt x="956" y="257"/>
                        <a:pt x="507" y="7"/>
                      </a:cubicBezTo>
                      <a:cubicBezTo>
                        <a:pt x="500" y="2"/>
                        <a:pt x="493" y="0"/>
                        <a:pt x="486" y="0"/>
                      </a:cubicBezTo>
                      <a:cubicBezTo>
                        <a:pt x="479" y="0"/>
                        <a:pt x="472" y="2"/>
                        <a:pt x="468" y="7"/>
                      </a:cubicBezTo>
                      <a:cubicBezTo>
                        <a:pt x="468" y="7"/>
                        <a:pt x="468" y="7"/>
                        <a:pt x="19" y="257"/>
                      </a:cubicBezTo>
                      <a:cubicBezTo>
                        <a:pt x="7" y="264"/>
                        <a:pt x="0" y="276"/>
                        <a:pt x="0" y="289"/>
                      </a:cubicBezTo>
                      <a:cubicBezTo>
                        <a:pt x="0" y="305"/>
                        <a:pt x="7" y="317"/>
                        <a:pt x="19" y="323"/>
                      </a:cubicBezTo>
                      <a:cubicBezTo>
                        <a:pt x="19" y="323"/>
                        <a:pt x="19" y="323"/>
                        <a:pt x="468" y="574"/>
                      </a:cubicBezTo>
                      <a:cubicBezTo>
                        <a:pt x="472" y="578"/>
                        <a:pt x="479" y="581"/>
                        <a:pt x="486" y="581"/>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50" name="Freeform 46">
                  <a:extLst>
                    <a:ext uri="{FF2B5EF4-FFF2-40B4-BE49-F238E27FC236}">
                      <a16:creationId xmlns:a16="http://schemas.microsoft.com/office/drawing/2014/main" id="{C7BB693D-3448-49DB-865A-F5638252C6BD}"/>
                    </a:ext>
                  </a:extLst>
                </p:cNvPr>
                <p:cNvSpPr>
                  <a:spLocks/>
                </p:cNvSpPr>
                <p:nvPr/>
              </p:nvSpPr>
              <p:spPr bwMode="auto">
                <a:xfrm>
                  <a:off x="4699418" y="1404966"/>
                  <a:ext cx="372322" cy="216538"/>
                </a:xfrm>
                <a:custGeom>
                  <a:avLst/>
                  <a:gdLst>
                    <a:gd name="T0" fmla="*/ 489 w 975"/>
                    <a:gd name="T1" fmla="*/ 581 h 581"/>
                    <a:gd name="T2" fmla="*/ 508 w 975"/>
                    <a:gd name="T3" fmla="*/ 576 h 581"/>
                    <a:gd name="T4" fmla="*/ 956 w 975"/>
                    <a:gd name="T5" fmla="*/ 325 h 581"/>
                    <a:gd name="T6" fmla="*/ 975 w 975"/>
                    <a:gd name="T7" fmla="*/ 291 h 581"/>
                    <a:gd name="T8" fmla="*/ 956 w 975"/>
                    <a:gd name="T9" fmla="*/ 256 h 581"/>
                    <a:gd name="T10" fmla="*/ 508 w 975"/>
                    <a:gd name="T11" fmla="*/ 5 h 581"/>
                    <a:gd name="T12" fmla="*/ 489 w 975"/>
                    <a:gd name="T13" fmla="*/ 0 h 581"/>
                    <a:gd name="T14" fmla="*/ 468 w 975"/>
                    <a:gd name="T15" fmla="*/ 5 h 581"/>
                    <a:gd name="T16" fmla="*/ 19 w 975"/>
                    <a:gd name="T17" fmla="*/ 256 h 581"/>
                    <a:gd name="T18" fmla="*/ 0 w 975"/>
                    <a:gd name="T19" fmla="*/ 291 h 581"/>
                    <a:gd name="T20" fmla="*/ 19 w 975"/>
                    <a:gd name="T21" fmla="*/ 325 h 581"/>
                    <a:gd name="T22" fmla="*/ 468 w 975"/>
                    <a:gd name="T23" fmla="*/ 576 h 581"/>
                    <a:gd name="T24" fmla="*/ 489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9" y="581"/>
                      </a:moveTo>
                      <a:cubicBezTo>
                        <a:pt x="496" y="581"/>
                        <a:pt x="501" y="579"/>
                        <a:pt x="508" y="576"/>
                      </a:cubicBezTo>
                      <a:cubicBezTo>
                        <a:pt x="508" y="576"/>
                        <a:pt x="508" y="576"/>
                        <a:pt x="956" y="325"/>
                      </a:cubicBezTo>
                      <a:cubicBezTo>
                        <a:pt x="968" y="318"/>
                        <a:pt x="975" y="304"/>
                        <a:pt x="975" y="291"/>
                      </a:cubicBezTo>
                      <a:cubicBezTo>
                        <a:pt x="975" y="277"/>
                        <a:pt x="968" y="263"/>
                        <a:pt x="956" y="256"/>
                      </a:cubicBezTo>
                      <a:cubicBezTo>
                        <a:pt x="956" y="256"/>
                        <a:pt x="956" y="256"/>
                        <a:pt x="508" y="5"/>
                      </a:cubicBezTo>
                      <a:cubicBezTo>
                        <a:pt x="501" y="3"/>
                        <a:pt x="496" y="0"/>
                        <a:pt x="489" y="0"/>
                      </a:cubicBezTo>
                      <a:cubicBezTo>
                        <a:pt x="482" y="0"/>
                        <a:pt x="475" y="3"/>
                        <a:pt x="468" y="5"/>
                      </a:cubicBezTo>
                      <a:cubicBezTo>
                        <a:pt x="468" y="5"/>
                        <a:pt x="468" y="5"/>
                        <a:pt x="19" y="256"/>
                      </a:cubicBezTo>
                      <a:cubicBezTo>
                        <a:pt x="7" y="263"/>
                        <a:pt x="0" y="277"/>
                        <a:pt x="0" y="291"/>
                      </a:cubicBezTo>
                      <a:cubicBezTo>
                        <a:pt x="0" y="304"/>
                        <a:pt x="7" y="318"/>
                        <a:pt x="19" y="325"/>
                      </a:cubicBezTo>
                      <a:cubicBezTo>
                        <a:pt x="19" y="325"/>
                        <a:pt x="19" y="325"/>
                        <a:pt x="468" y="576"/>
                      </a:cubicBezTo>
                      <a:cubicBezTo>
                        <a:pt x="475" y="579"/>
                        <a:pt x="482" y="581"/>
                        <a:pt x="489" y="581"/>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51" name="Freeform 47">
                  <a:extLst>
                    <a:ext uri="{FF2B5EF4-FFF2-40B4-BE49-F238E27FC236}">
                      <a16:creationId xmlns:a16="http://schemas.microsoft.com/office/drawing/2014/main" id="{4D86D069-51FF-4963-BCC4-98E9359BECC1}"/>
                    </a:ext>
                  </a:extLst>
                </p:cNvPr>
                <p:cNvSpPr>
                  <a:spLocks/>
                </p:cNvSpPr>
                <p:nvPr/>
              </p:nvSpPr>
              <p:spPr bwMode="auto">
                <a:xfrm>
                  <a:off x="4473532" y="1276186"/>
                  <a:ext cx="366090" cy="216538"/>
                </a:xfrm>
                <a:custGeom>
                  <a:avLst/>
                  <a:gdLst>
                    <a:gd name="T0" fmla="*/ 479 w 959"/>
                    <a:gd name="T1" fmla="*/ 581 h 581"/>
                    <a:gd name="T2" fmla="*/ 498 w 959"/>
                    <a:gd name="T3" fmla="*/ 574 h 581"/>
                    <a:gd name="T4" fmla="*/ 938 w 959"/>
                    <a:gd name="T5" fmla="*/ 323 h 581"/>
                    <a:gd name="T6" fmla="*/ 959 w 959"/>
                    <a:gd name="T7" fmla="*/ 289 h 581"/>
                    <a:gd name="T8" fmla="*/ 938 w 959"/>
                    <a:gd name="T9" fmla="*/ 257 h 581"/>
                    <a:gd name="T10" fmla="*/ 498 w 959"/>
                    <a:gd name="T11" fmla="*/ 7 h 581"/>
                    <a:gd name="T12" fmla="*/ 479 w 959"/>
                    <a:gd name="T13" fmla="*/ 0 h 581"/>
                    <a:gd name="T14" fmla="*/ 459 w 959"/>
                    <a:gd name="T15" fmla="*/ 7 h 581"/>
                    <a:gd name="T16" fmla="*/ 20 w 959"/>
                    <a:gd name="T17" fmla="*/ 257 h 581"/>
                    <a:gd name="T18" fmla="*/ 0 w 959"/>
                    <a:gd name="T19" fmla="*/ 289 h 581"/>
                    <a:gd name="T20" fmla="*/ 20 w 959"/>
                    <a:gd name="T21" fmla="*/ 323 h 581"/>
                    <a:gd name="T22" fmla="*/ 459 w 959"/>
                    <a:gd name="T23" fmla="*/ 574 h 581"/>
                    <a:gd name="T24" fmla="*/ 479 w 959"/>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1">
                      <a:moveTo>
                        <a:pt x="479" y="581"/>
                      </a:moveTo>
                      <a:cubicBezTo>
                        <a:pt x="486" y="581"/>
                        <a:pt x="493" y="578"/>
                        <a:pt x="498" y="574"/>
                      </a:cubicBezTo>
                      <a:cubicBezTo>
                        <a:pt x="498" y="574"/>
                        <a:pt x="498" y="574"/>
                        <a:pt x="938" y="323"/>
                      </a:cubicBezTo>
                      <a:cubicBezTo>
                        <a:pt x="950" y="317"/>
                        <a:pt x="959" y="305"/>
                        <a:pt x="959" y="289"/>
                      </a:cubicBezTo>
                      <a:cubicBezTo>
                        <a:pt x="959" y="276"/>
                        <a:pt x="950" y="264"/>
                        <a:pt x="938" y="257"/>
                      </a:cubicBezTo>
                      <a:cubicBezTo>
                        <a:pt x="938" y="257"/>
                        <a:pt x="938" y="257"/>
                        <a:pt x="498" y="7"/>
                      </a:cubicBezTo>
                      <a:cubicBezTo>
                        <a:pt x="493" y="2"/>
                        <a:pt x="486" y="0"/>
                        <a:pt x="479" y="0"/>
                      </a:cubicBezTo>
                      <a:cubicBezTo>
                        <a:pt x="472" y="0"/>
                        <a:pt x="465" y="2"/>
                        <a:pt x="459" y="7"/>
                      </a:cubicBezTo>
                      <a:cubicBezTo>
                        <a:pt x="459" y="7"/>
                        <a:pt x="459" y="7"/>
                        <a:pt x="20" y="257"/>
                      </a:cubicBezTo>
                      <a:cubicBezTo>
                        <a:pt x="7" y="264"/>
                        <a:pt x="0" y="276"/>
                        <a:pt x="0" y="289"/>
                      </a:cubicBezTo>
                      <a:cubicBezTo>
                        <a:pt x="0" y="305"/>
                        <a:pt x="7" y="317"/>
                        <a:pt x="20" y="323"/>
                      </a:cubicBezTo>
                      <a:cubicBezTo>
                        <a:pt x="20" y="323"/>
                        <a:pt x="20" y="323"/>
                        <a:pt x="459" y="574"/>
                      </a:cubicBezTo>
                      <a:cubicBezTo>
                        <a:pt x="465" y="578"/>
                        <a:pt x="472" y="581"/>
                        <a:pt x="479" y="581"/>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52" name="Freeform 48">
                  <a:extLst>
                    <a:ext uri="{FF2B5EF4-FFF2-40B4-BE49-F238E27FC236}">
                      <a16:creationId xmlns:a16="http://schemas.microsoft.com/office/drawing/2014/main" id="{5ED1482A-36B5-4883-B2D9-A063550F04A3}"/>
                    </a:ext>
                  </a:extLst>
                </p:cNvPr>
                <p:cNvSpPr>
                  <a:spLocks/>
                </p:cNvSpPr>
                <p:nvPr/>
              </p:nvSpPr>
              <p:spPr bwMode="auto">
                <a:xfrm>
                  <a:off x="4931534" y="1276186"/>
                  <a:ext cx="372322" cy="216538"/>
                </a:xfrm>
                <a:custGeom>
                  <a:avLst/>
                  <a:gdLst>
                    <a:gd name="T0" fmla="*/ 486 w 975"/>
                    <a:gd name="T1" fmla="*/ 581 h 581"/>
                    <a:gd name="T2" fmla="*/ 507 w 975"/>
                    <a:gd name="T3" fmla="*/ 574 h 581"/>
                    <a:gd name="T4" fmla="*/ 953 w 975"/>
                    <a:gd name="T5" fmla="*/ 323 h 581"/>
                    <a:gd name="T6" fmla="*/ 975 w 975"/>
                    <a:gd name="T7" fmla="*/ 289 h 581"/>
                    <a:gd name="T8" fmla="*/ 953 w 975"/>
                    <a:gd name="T9" fmla="*/ 257 h 581"/>
                    <a:gd name="T10" fmla="*/ 507 w 975"/>
                    <a:gd name="T11" fmla="*/ 7 h 581"/>
                    <a:gd name="T12" fmla="*/ 486 w 975"/>
                    <a:gd name="T13" fmla="*/ 0 h 581"/>
                    <a:gd name="T14" fmla="*/ 467 w 975"/>
                    <a:gd name="T15" fmla="*/ 7 h 581"/>
                    <a:gd name="T16" fmla="*/ 18 w 975"/>
                    <a:gd name="T17" fmla="*/ 257 h 581"/>
                    <a:gd name="T18" fmla="*/ 0 w 975"/>
                    <a:gd name="T19" fmla="*/ 289 h 581"/>
                    <a:gd name="T20" fmla="*/ 18 w 975"/>
                    <a:gd name="T21" fmla="*/ 323 h 581"/>
                    <a:gd name="T22" fmla="*/ 467 w 975"/>
                    <a:gd name="T23" fmla="*/ 574 h 581"/>
                    <a:gd name="T24" fmla="*/ 486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6" y="581"/>
                      </a:moveTo>
                      <a:cubicBezTo>
                        <a:pt x="493" y="581"/>
                        <a:pt x="500" y="578"/>
                        <a:pt x="507" y="574"/>
                      </a:cubicBezTo>
                      <a:cubicBezTo>
                        <a:pt x="507" y="574"/>
                        <a:pt x="507" y="574"/>
                        <a:pt x="953" y="323"/>
                      </a:cubicBezTo>
                      <a:cubicBezTo>
                        <a:pt x="967" y="317"/>
                        <a:pt x="975" y="305"/>
                        <a:pt x="975" y="289"/>
                      </a:cubicBezTo>
                      <a:cubicBezTo>
                        <a:pt x="975" y="276"/>
                        <a:pt x="967" y="264"/>
                        <a:pt x="953" y="257"/>
                      </a:cubicBezTo>
                      <a:cubicBezTo>
                        <a:pt x="953" y="257"/>
                        <a:pt x="953" y="257"/>
                        <a:pt x="507" y="7"/>
                      </a:cubicBezTo>
                      <a:cubicBezTo>
                        <a:pt x="500" y="2"/>
                        <a:pt x="493" y="0"/>
                        <a:pt x="486" y="0"/>
                      </a:cubicBezTo>
                      <a:cubicBezTo>
                        <a:pt x="479" y="0"/>
                        <a:pt x="472" y="2"/>
                        <a:pt x="467" y="7"/>
                      </a:cubicBezTo>
                      <a:cubicBezTo>
                        <a:pt x="467" y="7"/>
                        <a:pt x="467" y="7"/>
                        <a:pt x="18" y="257"/>
                      </a:cubicBezTo>
                      <a:cubicBezTo>
                        <a:pt x="7" y="264"/>
                        <a:pt x="0" y="276"/>
                        <a:pt x="0" y="289"/>
                      </a:cubicBezTo>
                      <a:cubicBezTo>
                        <a:pt x="0" y="305"/>
                        <a:pt x="7" y="317"/>
                        <a:pt x="18" y="323"/>
                      </a:cubicBezTo>
                      <a:cubicBezTo>
                        <a:pt x="18" y="323"/>
                        <a:pt x="18" y="323"/>
                        <a:pt x="467" y="574"/>
                      </a:cubicBezTo>
                      <a:cubicBezTo>
                        <a:pt x="472" y="578"/>
                        <a:pt x="479" y="581"/>
                        <a:pt x="486" y="581"/>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53" name="Freeform 49">
                  <a:extLst>
                    <a:ext uri="{FF2B5EF4-FFF2-40B4-BE49-F238E27FC236}">
                      <a16:creationId xmlns:a16="http://schemas.microsoft.com/office/drawing/2014/main" id="{C336EF29-CE28-45FD-A69D-64AAC9EBBB76}"/>
                    </a:ext>
                  </a:extLst>
                </p:cNvPr>
                <p:cNvSpPr>
                  <a:spLocks/>
                </p:cNvSpPr>
                <p:nvPr/>
              </p:nvSpPr>
              <p:spPr bwMode="auto">
                <a:xfrm>
                  <a:off x="4699418" y="1153637"/>
                  <a:ext cx="372322" cy="210306"/>
                </a:xfrm>
                <a:custGeom>
                  <a:avLst/>
                  <a:gdLst>
                    <a:gd name="T0" fmla="*/ 489 w 975"/>
                    <a:gd name="T1" fmla="*/ 564 h 564"/>
                    <a:gd name="T2" fmla="*/ 508 w 975"/>
                    <a:gd name="T3" fmla="*/ 560 h 564"/>
                    <a:gd name="T4" fmla="*/ 956 w 975"/>
                    <a:gd name="T5" fmla="*/ 315 h 564"/>
                    <a:gd name="T6" fmla="*/ 975 w 975"/>
                    <a:gd name="T7" fmla="*/ 282 h 564"/>
                    <a:gd name="T8" fmla="*/ 956 w 975"/>
                    <a:gd name="T9" fmla="*/ 249 h 564"/>
                    <a:gd name="T10" fmla="*/ 508 w 975"/>
                    <a:gd name="T11" fmla="*/ 4 h 564"/>
                    <a:gd name="T12" fmla="*/ 489 w 975"/>
                    <a:gd name="T13" fmla="*/ 0 h 564"/>
                    <a:gd name="T14" fmla="*/ 468 w 975"/>
                    <a:gd name="T15" fmla="*/ 4 h 564"/>
                    <a:gd name="T16" fmla="*/ 19 w 975"/>
                    <a:gd name="T17" fmla="*/ 249 h 564"/>
                    <a:gd name="T18" fmla="*/ 0 w 975"/>
                    <a:gd name="T19" fmla="*/ 282 h 564"/>
                    <a:gd name="T20" fmla="*/ 19 w 975"/>
                    <a:gd name="T21" fmla="*/ 315 h 564"/>
                    <a:gd name="T22" fmla="*/ 468 w 975"/>
                    <a:gd name="T23" fmla="*/ 560 h 564"/>
                    <a:gd name="T24" fmla="*/ 489 w 975"/>
                    <a:gd name="T25"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64">
                      <a:moveTo>
                        <a:pt x="489" y="564"/>
                      </a:moveTo>
                      <a:cubicBezTo>
                        <a:pt x="496" y="564"/>
                        <a:pt x="501" y="562"/>
                        <a:pt x="508" y="560"/>
                      </a:cubicBezTo>
                      <a:cubicBezTo>
                        <a:pt x="508" y="560"/>
                        <a:pt x="508" y="560"/>
                        <a:pt x="956" y="315"/>
                      </a:cubicBezTo>
                      <a:cubicBezTo>
                        <a:pt x="968" y="309"/>
                        <a:pt x="975" y="295"/>
                        <a:pt x="975" y="282"/>
                      </a:cubicBezTo>
                      <a:cubicBezTo>
                        <a:pt x="975" y="269"/>
                        <a:pt x="968" y="255"/>
                        <a:pt x="956" y="249"/>
                      </a:cubicBezTo>
                      <a:cubicBezTo>
                        <a:pt x="956" y="249"/>
                        <a:pt x="956" y="249"/>
                        <a:pt x="508" y="4"/>
                      </a:cubicBezTo>
                      <a:cubicBezTo>
                        <a:pt x="501" y="2"/>
                        <a:pt x="496" y="0"/>
                        <a:pt x="489" y="0"/>
                      </a:cubicBezTo>
                      <a:cubicBezTo>
                        <a:pt x="482" y="0"/>
                        <a:pt x="475" y="2"/>
                        <a:pt x="468" y="4"/>
                      </a:cubicBezTo>
                      <a:cubicBezTo>
                        <a:pt x="468" y="4"/>
                        <a:pt x="468" y="4"/>
                        <a:pt x="19" y="249"/>
                      </a:cubicBezTo>
                      <a:cubicBezTo>
                        <a:pt x="7" y="255"/>
                        <a:pt x="0" y="269"/>
                        <a:pt x="0" y="282"/>
                      </a:cubicBezTo>
                      <a:cubicBezTo>
                        <a:pt x="0" y="295"/>
                        <a:pt x="7" y="309"/>
                        <a:pt x="19" y="315"/>
                      </a:cubicBezTo>
                      <a:cubicBezTo>
                        <a:pt x="19" y="315"/>
                        <a:pt x="19" y="315"/>
                        <a:pt x="468" y="560"/>
                      </a:cubicBezTo>
                      <a:cubicBezTo>
                        <a:pt x="475" y="562"/>
                        <a:pt x="482" y="564"/>
                        <a:pt x="489" y="564"/>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54" name="Freeform 50">
                  <a:extLst>
                    <a:ext uri="{FF2B5EF4-FFF2-40B4-BE49-F238E27FC236}">
                      <a16:creationId xmlns:a16="http://schemas.microsoft.com/office/drawing/2014/main" id="{F004165B-4D75-4DA1-87EE-0885D133821B}"/>
                    </a:ext>
                  </a:extLst>
                </p:cNvPr>
                <p:cNvSpPr>
                  <a:spLocks noEditPoints="1"/>
                </p:cNvSpPr>
                <p:nvPr/>
              </p:nvSpPr>
              <p:spPr bwMode="auto">
                <a:xfrm>
                  <a:off x="4198315" y="2153761"/>
                  <a:ext cx="402958" cy="456443"/>
                </a:xfrm>
                <a:custGeom>
                  <a:avLst/>
                  <a:gdLst>
                    <a:gd name="T0" fmla="*/ 568 w 1055"/>
                    <a:gd name="T1" fmla="*/ 580 h 1224"/>
                    <a:gd name="T2" fmla="*/ 589 w 1055"/>
                    <a:gd name="T3" fmla="*/ 576 h 1224"/>
                    <a:gd name="T4" fmla="*/ 1034 w 1055"/>
                    <a:gd name="T5" fmla="*/ 324 h 1224"/>
                    <a:gd name="T6" fmla="*/ 1055 w 1055"/>
                    <a:gd name="T7" fmla="*/ 290 h 1224"/>
                    <a:gd name="T8" fmla="*/ 1034 w 1055"/>
                    <a:gd name="T9" fmla="*/ 256 h 1224"/>
                    <a:gd name="T10" fmla="*/ 589 w 1055"/>
                    <a:gd name="T11" fmla="*/ 4 h 1224"/>
                    <a:gd name="T12" fmla="*/ 568 w 1055"/>
                    <a:gd name="T13" fmla="*/ 0 h 1224"/>
                    <a:gd name="T14" fmla="*/ 549 w 1055"/>
                    <a:gd name="T15" fmla="*/ 4 h 1224"/>
                    <a:gd name="T16" fmla="*/ 101 w 1055"/>
                    <a:gd name="T17" fmla="*/ 256 h 1224"/>
                    <a:gd name="T18" fmla="*/ 80 w 1055"/>
                    <a:gd name="T19" fmla="*/ 290 h 1224"/>
                    <a:gd name="T20" fmla="*/ 101 w 1055"/>
                    <a:gd name="T21" fmla="*/ 324 h 1224"/>
                    <a:gd name="T22" fmla="*/ 549 w 1055"/>
                    <a:gd name="T23" fmla="*/ 576 h 1224"/>
                    <a:gd name="T24" fmla="*/ 568 w 1055"/>
                    <a:gd name="T25" fmla="*/ 580 h 1224"/>
                    <a:gd name="T26" fmla="*/ 488 w 1055"/>
                    <a:gd name="T27" fmla="*/ 1224 h 1224"/>
                    <a:gd name="T28" fmla="*/ 509 w 1055"/>
                    <a:gd name="T29" fmla="*/ 1219 h 1224"/>
                    <a:gd name="T30" fmla="*/ 528 w 1055"/>
                    <a:gd name="T31" fmla="*/ 1185 h 1224"/>
                    <a:gd name="T32" fmla="*/ 528 w 1055"/>
                    <a:gd name="T33" fmla="*/ 682 h 1224"/>
                    <a:gd name="T34" fmla="*/ 509 w 1055"/>
                    <a:gd name="T35" fmla="*/ 648 h 1224"/>
                    <a:gd name="T36" fmla="*/ 61 w 1055"/>
                    <a:gd name="T37" fmla="*/ 396 h 1224"/>
                    <a:gd name="T38" fmla="*/ 40 w 1055"/>
                    <a:gd name="T39" fmla="*/ 392 h 1224"/>
                    <a:gd name="T40" fmla="*/ 22 w 1055"/>
                    <a:gd name="T41" fmla="*/ 396 h 1224"/>
                    <a:gd name="T42" fmla="*/ 0 w 1055"/>
                    <a:gd name="T43" fmla="*/ 431 h 1224"/>
                    <a:gd name="T44" fmla="*/ 0 w 1055"/>
                    <a:gd name="T45" fmla="*/ 933 h 1224"/>
                    <a:gd name="T46" fmla="*/ 22 w 1055"/>
                    <a:gd name="T47" fmla="*/ 968 h 1224"/>
                    <a:gd name="T48" fmla="*/ 469 w 1055"/>
                    <a:gd name="T49" fmla="*/ 1219 h 1224"/>
                    <a:gd name="T50" fmla="*/ 488 w 1055"/>
                    <a:gd name="T51" fmla="*/ 1224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5" h="1224">
                      <a:moveTo>
                        <a:pt x="568" y="580"/>
                      </a:moveTo>
                      <a:cubicBezTo>
                        <a:pt x="575" y="580"/>
                        <a:pt x="582" y="578"/>
                        <a:pt x="589" y="576"/>
                      </a:cubicBezTo>
                      <a:cubicBezTo>
                        <a:pt x="589" y="576"/>
                        <a:pt x="589" y="576"/>
                        <a:pt x="1034" y="324"/>
                      </a:cubicBezTo>
                      <a:cubicBezTo>
                        <a:pt x="1048" y="317"/>
                        <a:pt x="1055" y="304"/>
                        <a:pt x="1055" y="290"/>
                      </a:cubicBezTo>
                      <a:cubicBezTo>
                        <a:pt x="1055" y="276"/>
                        <a:pt x="1048" y="262"/>
                        <a:pt x="1034" y="256"/>
                      </a:cubicBezTo>
                      <a:cubicBezTo>
                        <a:pt x="1034" y="256"/>
                        <a:pt x="1034" y="256"/>
                        <a:pt x="589" y="4"/>
                      </a:cubicBezTo>
                      <a:cubicBezTo>
                        <a:pt x="582" y="2"/>
                        <a:pt x="575" y="0"/>
                        <a:pt x="568" y="0"/>
                      </a:cubicBezTo>
                      <a:cubicBezTo>
                        <a:pt x="561" y="0"/>
                        <a:pt x="554" y="2"/>
                        <a:pt x="549" y="4"/>
                      </a:cubicBezTo>
                      <a:cubicBezTo>
                        <a:pt x="549" y="4"/>
                        <a:pt x="549" y="4"/>
                        <a:pt x="101" y="256"/>
                      </a:cubicBezTo>
                      <a:cubicBezTo>
                        <a:pt x="90" y="262"/>
                        <a:pt x="80" y="276"/>
                        <a:pt x="80" y="290"/>
                      </a:cubicBezTo>
                      <a:cubicBezTo>
                        <a:pt x="80" y="304"/>
                        <a:pt x="90" y="317"/>
                        <a:pt x="101" y="324"/>
                      </a:cubicBezTo>
                      <a:cubicBezTo>
                        <a:pt x="101" y="324"/>
                        <a:pt x="101" y="324"/>
                        <a:pt x="549" y="576"/>
                      </a:cubicBezTo>
                      <a:cubicBezTo>
                        <a:pt x="554" y="578"/>
                        <a:pt x="561" y="580"/>
                        <a:pt x="568" y="580"/>
                      </a:cubicBezTo>
                      <a:close/>
                      <a:moveTo>
                        <a:pt x="488" y="1224"/>
                      </a:moveTo>
                      <a:cubicBezTo>
                        <a:pt x="495" y="1224"/>
                        <a:pt x="502" y="1221"/>
                        <a:pt x="509" y="1219"/>
                      </a:cubicBezTo>
                      <a:cubicBezTo>
                        <a:pt x="521" y="1212"/>
                        <a:pt x="528" y="1198"/>
                        <a:pt x="528" y="1185"/>
                      </a:cubicBezTo>
                      <a:cubicBezTo>
                        <a:pt x="528" y="1185"/>
                        <a:pt x="528" y="1185"/>
                        <a:pt x="528" y="682"/>
                      </a:cubicBezTo>
                      <a:cubicBezTo>
                        <a:pt x="528" y="668"/>
                        <a:pt x="521" y="655"/>
                        <a:pt x="509" y="648"/>
                      </a:cubicBezTo>
                      <a:cubicBezTo>
                        <a:pt x="509" y="648"/>
                        <a:pt x="509" y="648"/>
                        <a:pt x="61" y="396"/>
                      </a:cubicBezTo>
                      <a:cubicBezTo>
                        <a:pt x="54" y="394"/>
                        <a:pt x="47" y="392"/>
                        <a:pt x="40" y="392"/>
                      </a:cubicBezTo>
                      <a:cubicBezTo>
                        <a:pt x="33" y="392"/>
                        <a:pt x="26" y="394"/>
                        <a:pt x="22" y="396"/>
                      </a:cubicBezTo>
                      <a:cubicBezTo>
                        <a:pt x="10" y="403"/>
                        <a:pt x="0" y="417"/>
                        <a:pt x="0" y="431"/>
                      </a:cubicBezTo>
                      <a:cubicBezTo>
                        <a:pt x="0" y="431"/>
                        <a:pt x="0" y="431"/>
                        <a:pt x="0" y="933"/>
                      </a:cubicBezTo>
                      <a:cubicBezTo>
                        <a:pt x="0" y="947"/>
                        <a:pt x="10" y="961"/>
                        <a:pt x="22" y="968"/>
                      </a:cubicBezTo>
                      <a:cubicBezTo>
                        <a:pt x="22" y="968"/>
                        <a:pt x="22" y="968"/>
                        <a:pt x="469" y="1219"/>
                      </a:cubicBezTo>
                      <a:cubicBezTo>
                        <a:pt x="474" y="1221"/>
                        <a:pt x="481" y="1224"/>
                        <a:pt x="488" y="1224"/>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55" name="Freeform 51">
                  <a:extLst>
                    <a:ext uri="{FF2B5EF4-FFF2-40B4-BE49-F238E27FC236}">
                      <a16:creationId xmlns:a16="http://schemas.microsoft.com/office/drawing/2014/main" id="{6A918BDC-A900-4259-A4C6-14A98A021F23}"/>
                    </a:ext>
                  </a:extLst>
                </p:cNvPr>
                <p:cNvSpPr>
                  <a:spLocks noEditPoints="1"/>
                </p:cNvSpPr>
                <p:nvPr/>
              </p:nvSpPr>
              <p:spPr bwMode="auto">
                <a:xfrm>
                  <a:off x="3972950" y="2030693"/>
                  <a:ext cx="396728" cy="450211"/>
                </a:xfrm>
                <a:custGeom>
                  <a:avLst/>
                  <a:gdLst>
                    <a:gd name="T0" fmla="*/ 558 w 1039"/>
                    <a:gd name="T1" fmla="*/ 581 h 1208"/>
                    <a:gd name="T2" fmla="*/ 579 w 1039"/>
                    <a:gd name="T3" fmla="*/ 574 h 1208"/>
                    <a:gd name="T4" fmla="*/ 1021 w 1039"/>
                    <a:gd name="T5" fmla="*/ 323 h 1208"/>
                    <a:gd name="T6" fmla="*/ 1039 w 1039"/>
                    <a:gd name="T7" fmla="*/ 289 h 1208"/>
                    <a:gd name="T8" fmla="*/ 1021 w 1039"/>
                    <a:gd name="T9" fmla="*/ 257 h 1208"/>
                    <a:gd name="T10" fmla="*/ 579 w 1039"/>
                    <a:gd name="T11" fmla="*/ 7 h 1208"/>
                    <a:gd name="T12" fmla="*/ 558 w 1039"/>
                    <a:gd name="T13" fmla="*/ 0 h 1208"/>
                    <a:gd name="T14" fmla="*/ 540 w 1039"/>
                    <a:gd name="T15" fmla="*/ 7 h 1208"/>
                    <a:gd name="T16" fmla="*/ 98 w 1039"/>
                    <a:gd name="T17" fmla="*/ 257 h 1208"/>
                    <a:gd name="T18" fmla="*/ 80 w 1039"/>
                    <a:gd name="T19" fmla="*/ 289 h 1208"/>
                    <a:gd name="T20" fmla="*/ 98 w 1039"/>
                    <a:gd name="T21" fmla="*/ 323 h 1208"/>
                    <a:gd name="T22" fmla="*/ 540 w 1039"/>
                    <a:gd name="T23" fmla="*/ 574 h 1208"/>
                    <a:gd name="T24" fmla="*/ 558 w 1039"/>
                    <a:gd name="T25" fmla="*/ 581 h 1208"/>
                    <a:gd name="T26" fmla="*/ 488 w 1039"/>
                    <a:gd name="T27" fmla="*/ 1208 h 1208"/>
                    <a:gd name="T28" fmla="*/ 509 w 1039"/>
                    <a:gd name="T29" fmla="*/ 1201 h 1208"/>
                    <a:gd name="T30" fmla="*/ 528 w 1039"/>
                    <a:gd name="T31" fmla="*/ 1170 h 1208"/>
                    <a:gd name="T32" fmla="*/ 528 w 1039"/>
                    <a:gd name="T33" fmla="*/ 666 h 1208"/>
                    <a:gd name="T34" fmla="*/ 509 w 1039"/>
                    <a:gd name="T35" fmla="*/ 634 h 1208"/>
                    <a:gd name="T36" fmla="*/ 59 w 1039"/>
                    <a:gd name="T37" fmla="*/ 384 h 1208"/>
                    <a:gd name="T38" fmla="*/ 40 w 1039"/>
                    <a:gd name="T39" fmla="*/ 377 h 1208"/>
                    <a:gd name="T40" fmla="*/ 19 w 1039"/>
                    <a:gd name="T41" fmla="*/ 384 h 1208"/>
                    <a:gd name="T42" fmla="*/ 0 w 1039"/>
                    <a:gd name="T43" fmla="*/ 415 h 1208"/>
                    <a:gd name="T44" fmla="*/ 0 w 1039"/>
                    <a:gd name="T45" fmla="*/ 919 h 1208"/>
                    <a:gd name="T46" fmla="*/ 19 w 1039"/>
                    <a:gd name="T47" fmla="*/ 951 h 1208"/>
                    <a:gd name="T48" fmla="*/ 469 w 1039"/>
                    <a:gd name="T49" fmla="*/ 1201 h 1208"/>
                    <a:gd name="T50" fmla="*/ 488 w 1039"/>
                    <a:gd name="T51" fmla="*/ 1208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39" h="1208">
                      <a:moveTo>
                        <a:pt x="558" y="581"/>
                      </a:moveTo>
                      <a:cubicBezTo>
                        <a:pt x="565" y="581"/>
                        <a:pt x="572" y="578"/>
                        <a:pt x="579" y="574"/>
                      </a:cubicBezTo>
                      <a:cubicBezTo>
                        <a:pt x="579" y="574"/>
                        <a:pt x="579" y="574"/>
                        <a:pt x="1021" y="323"/>
                      </a:cubicBezTo>
                      <a:cubicBezTo>
                        <a:pt x="1032" y="317"/>
                        <a:pt x="1039" y="305"/>
                        <a:pt x="1039" y="289"/>
                      </a:cubicBezTo>
                      <a:cubicBezTo>
                        <a:pt x="1039" y="276"/>
                        <a:pt x="1032" y="264"/>
                        <a:pt x="1021" y="257"/>
                      </a:cubicBezTo>
                      <a:cubicBezTo>
                        <a:pt x="1021" y="257"/>
                        <a:pt x="1021" y="257"/>
                        <a:pt x="579" y="7"/>
                      </a:cubicBezTo>
                      <a:cubicBezTo>
                        <a:pt x="572" y="2"/>
                        <a:pt x="565" y="0"/>
                        <a:pt x="558" y="0"/>
                      </a:cubicBezTo>
                      <a:cubicBezTo>
                        <a:pt x="551" y="0"/>
                        <a:pt x="544" y="2"/>
                        <a:pt x="540" y="7"/>
                      </a:cubicBezTo>
                      <a:cubicBezTo>
                        <a:pt x="540" y="7"/>
                        <a:pt x="540" y="7"/>
                        <a:pt x="98" y="257"/>
                      </a:cubicBezTo>
                      <a:cubicBezTo>
                        <a:pt x="87" y="264"/>
                        <a:pt x="80" y="276"/>
                        <a:pt x="80" y="289"/>
                      </a:cubicBezTo>
                      <a:cubicBezTo>
                        <a:pt x="80" y="305"/>
                        <a:pt x="87" y="317"/>
                        <a:pt x="98" y="323"/>
                      </a:cubicBezTo>
                      <a:cubicBezTo>
                        <a:pt x="98" y="323"/>
                        <a:pt x="98" y="323"/>
                        <a:pt x="540" y="574"/>
                      </a:cubicBezTo>
                      <a:cubicBezTo>
                        <a:pt x="544" y="578"/>
                        <a:pt x="551" y="581"/>
                        <a:pt x="558" y="581"/>
                      </a:cubicBezTo>
                      <a:close/>
                      <a:moveTo>
                        <a:pt x="488" y="1208"/>
                      </a:moveTo>
                      <a:cubicBezTo>
                        <a:pt x="495" y="1208"/>
                        <a:pt x="502" y="1206"/>
                        <a:pt x="509" y="1201"/>
                      </a:cubicBezTo>
                      <a:cubicBezTo>
                        <a:pt x="520" y="1195"/>
                        <a:pt x="528" y="1183"/>
                        <a:pt x="528" y="1170"/>
                      </a:cubicBezTo>
                      <a:cubicBezTo>
                        <a:pt x="528" y="1170"/>
                        <a:pt x="528" y="1170"/>
                        <a:pt x="528" y="666"/>
                      </a:cubicBezTo>
                      <a:cubicBezTo>
                        <a:pt x="528" y="652"/>
                        <a:pt x="520" y="641"/>
                        <a:pt x="509" y="634"/>
                      </a:cubicBezTo>
                      <a:cubicBezTo>
                        <a:pt x="509" y="634"/>
                        <a:pt x="509" y="634"/>
                        <a:pt x="59" y="384"/>
                      </a:cubicBezTo>
                      <a:cubicBezTo>
                        <a:pt x="54" y="379"/>
                        <a:pt x="47" y="377"/>
                        <a:pt x="40" y="377"/>
                      </a:cubicBezTo>
                      <a:cubicBezTo>
                        <a:pt x="33" y="377"/>
                        <a:pt x="26" y="379"/>
                        <a:pt x="19" y="384"/>
                      </a:cubicBezTo>
                      <a:cubicBezTo>
                        <a:pt x="7" y="390"/>
                        <a:pt x="0" y="402"/>
                        <a:pt x="0" y="415"/>
                      </a:cubicBezTo>
                      <a:cubicBezTo>
                        <a:pt x="0" y="415"/>
                        <a:pt x="0" y="415"/>
                        <a:pt x="0" y="919"/>
                      </a:cubicBezTo>
                      <a:cubicBezTo>
                        <a:pt x="0" y="933"/>
                        <a:pt x="7" y="944"/>
                        <a:pt x="19" y="951"/>
                      </a:cubicBezTo>
                      <a:cubicBezTo>
                        <a:pt x="19" y="951"/>
                        <a:pt x="19" y="951"/>
                        <a:pt x="469" y="1201"/>
                      </a:cubicBezTo>
                      <a:cubicBezTo>
                        <a:pt x="473" y="1206"/>
                        <a:pt x="480" y="1208"/>
                        <a:pt x="488" y="1208"/>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56" name="Freeform 52">
                  <a:extLst>
                    <a:ext uri="{FF2B5EF4-FFF2-40B4-BE49-F238E27FC236}">
                      <a16:creationId xmlns:a16="http://schemas.microsoft.com/office/drawing/2014/main" id="{69C46678-DDB3-4B4D-B903-38463F21ADCD}"/>
                    </a:ext>
                  </a:extLst>
                </p:cNvPr>
                <p:cNvSpPr>
                  <a:spLocks/>
                </p:cNvSpPr>
                <p:nvPr/>
              </p:nvSpPr>
              <p:spPr bwMode="auto">
                <a:xfrm>
                  <a:off x="4198315" y="2557238"/>
                  <a:ext cx="201999" cy="303776"/>
                </a:xfrm>
                <a:custGeom>
                  <a:avLst/>
                  <a:gdLst>
                    <a:gd name="T0" fmla="*/ 488 w 528"/>
                    <a:gd name="T1" fmla="*/ 816 h 816"/>
                    <a:gd name="T2" fmla="*/ 509 w 528"/>
                    <a:gd name="T3" fmla="*/ 812 h 816"/>
                    <a:gd name="T4" fmla="*/ 528 w 528"/>
                    <a:gd name="T5" fmla="*/ 778 h 816"/>
                    <a:gd name="T6" fmla="*/ 528 w 528"/>
                    <a:gd name="T7" fmla="*/ 285 h 816"/>
                    <a:gd name="T8" fmla="*/ 509 w 528"/>
                    <a:gd name="T9" fmla="*/ 251 h 816"/>
                    <a:gd name="T10" fmla="*/ 61 w 528"/>
                    <a:gd name="T11" fmla="*/ 5 h 816"/>
                    <a:gd name="T12" fmla="*/ 40 w 528"/>
                    <a:gd name="T13" fmla="*/ 0 h 816"/>
                    <a:gd name="T14" fmla="*/ 22 w 528"/>
                    <a:gd name="T15" fmla="*/ 5 h 816"/>
                    <a:gd name="T16" fmla="*/ 0 w 528"/>
                    <a:gd name="T17" fmla="*/ 38 h 816"/>
                    <a:gd name="T18" fmla="*/ 0 w 528"/>
                    <a:gd name="T19" fmla="*/ 532 h 816"/>
                    <a:gd name="T20" fmla="*/ 22 w 528"/>
                    <a:gd name="T21" fmla="*/ 563 h 816"/>
                    <a:gd name="T22" fmla="*/ 469 w 528"/>
                    <a:gd name="T23" fmla="*/ 812 h 816"/>
                    <a:gd name="T24" fmla="*/ 488 w 528"/>
                    <a:gd name="T25" fmla="*/ 81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16">
                      <a:moveTo>
                        <a:pt x="488" y="816"/>
                      </a:moveTo>
                      <a:cubicBezTo>
                        <a:pt x="495" y="816"/>
                        <a:pt x="502" y="814"/>
                        <a:pt x="509" y="812"/>
                      </a:cubicBezTo>
                      <a:cubicBezTo>
                        <a:pt x="521" y="805"/>
                        <a:pt x="528" y="792"/>
                        <a:pt x="528" y="778"/>
                      </a:cubicBezTo>
                      <a:cubicBezTo>
                        <a:pt x="528" y="778"/>
                        <a:pt x="528" y="778"/>
                        <a:pt x="528" y="285"/>
                      </a:cubicBezTo>
                      <a:cubicBezTo>
                        <a:pt x="528" y="272"/>
                        <a:pt x="521" y="258"/>
                        <a:pt x="509" y="251"/>
                      </a:cubicBezTo>
                      <a:cubicBezTo>
                        <a:pt x="509" y="251"/>
                        <a:pt x="509" y="251"/>
                        <a:pt x="61" y="5"/>
                      </a:cubicBezTo>
                      <a:cubicBezTo>
                        <a:pt x="54" y="0"/>
                        <a:pt x="47" y="0"/>
                        <a:pt x="40" y="0"/>
                      </a:cubicBezTo>
                      <a:cubicBezTo>
                        <a:pt x="33" y="0"/>
                        <a:pt x="26" y="0"/>
                        <a:pt x="22" y="5"/>
                      </a:cubicBezTo>
                      <a:cubicBezTo>
                        <a:pt x="10" y="11"/>
                        <a:pt x="0" y="23"/>
                        <a:pt x="0" y="38"/>
                      </a:cubicBezTo>
                      <a:cubicBezTo>
                        <a:pt x="0" y="38"/>
                        <a:pt x="0" y="38"/>
                        <a:pt x="0" y="532"/>
                      </a:cubicBezTo>
                      <a:cubicBezTo>
                        <a:pt x="0" y="545"/>
                        <a:pt x="10" y="556"/>
                        <a:pt x="22" y="563"/>
                      </a:cubicBezTo>
                      <a:cubicBezTo>
                        <a:pt x="22" y="563"/>
                        <a:pt x="22" y="563"/>
                        <a:pt x="469" y="812"/>
                      </a:cubicBezTo>
                      <a:cubicBezTo>
                        <a:pt x="474" y="814"/>
                        <a:pt x="481" y="816"/>
                        <a:pt x="488" y="816"/>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57" name="Freeform 53">
                  <a:extLst>
                    <a:ext uri="{FF2B5EF4-FFF2-40B4-BE49-F238E27FC236}">
                      <a16:creationId xmlns:a16="http://schemas.microsoft.com/office/drawing/2014/main" id="{7B9C7610-23E5-4F7D-9FD2-3C5E9BB02CE0}"/>
                    </a:ext>
                  </a:extLst>
                </p:cNvPr>
                <p:cNvSpPr>
                  <a:spLocks/>
                </p:cNvSpPr>
                <p:nvPr/>
              </p:nvSpPr>
              <p:spPr bwMode="auto">
                <a:xfrm>
                  <a:off x="3972950" y="2428458"/>
                  <a:ext cx="201480" cy="310008"/>
                </a:xfrm>
                <a:custGeom>
                  <a:avLst/>
                  <a:gdLst>
                    <a:gd name="T0" fmla="*/ 488 w 528"/>
                    <a:gd name="T1" fmla="*/ 832 h 832"/>
                    <a:gd name="T2" fmla="*/ 509 w 528"/>
                    <a:gd name="T3" fmla="*/ 827 h 832"/>
                    <a:gd name="T4" fmla="*/ 528 w 528"/>
                    <a:gd name="T5" fmla="*/ 793 h 832"/>
                    <a:gd name="T6" fmla="*/ 528 w 528"/>
                    <a:gd name="T7" fmla="*/ 290 h 832"/>
                    <a:gd name="T8" fmla="*/ 509 w 528"/>
                    <a:gd name="T9" fmla="*/ 258 h 832"/>
                    <a:gd name="T10" fmla="*/ 59 w 528"/>
                    <a:gd name="T11" fmla="*/ 5 h 832"/>
                    <a:gd name="T12" fmla="*/ 40 w 528"/>
                    <a:gd name="T13" fmla="*/ 0 h 832"/>
                    <a:gd name="T14" fmla="*/ 19 w 528"/>
                    <a:gd name="T15" fmla="*/ 5 h 832"/>
                    <a:gd name="T16" fmla="*/ 0 w 528"/>
                    <a:gd name="T17" fmla="*/ 39 h 832"/>
                    <a:gd name="T18" fmla="*/ 0 w 528"/>
                    <a:gd name="T19" fmla="*/ 542 h 832"/>
                    <a:gd name="T20" fmla="*/ 19 w 528"/>
                    <a:gd name="T21" fmla="*/ 576 h 832"/>
                    <a:gd name="T22" fmla="*/ 469 w 528"/>
                    <a:gd name="T23" fmla="*/ 827 h 832"/>
                    <a:gd name="T24" fmla="*/ 488 w 528"/>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2">
                      <a:moveTo>
                        <a:pt x="488" y="832"/>
                      </a:moveTo>
                      <a:cubicBezTo>
                        <a:pt x="495" y="832"/>
                        <a:pt x="502" y="832"/>
                        <a:pt x="509" y="827"/>
                      </a:cubicBezTo>
                      <a:cubicBezTo>
                        <a:pt x="520" y="820"/>
                        <a:pt x="528" y="809"/>
                        <a:pt x="528" y="793"/>
                      </a:cubicBezTo>
                      <a:cubicBezTo>
                        <a:pt x="528" y="793"/>
                        <a:pt x="528" y="793"/>
                        <a:pt x="528" y="290"/>
                      </a:cubicBezTo>
                      <a:cubicBezTo>
                        <a:pt x="528" y="277"/>
                        <a:pt x="520" y="265"/>
                        <a:pt x="509" y="258"/>
                      </a:cubicBezTo>
                      <a:cubicBezTo>
                        <a:pt x="509" y="258"/>
                        <a:pt x="509" y="258"/>
                        <a:pt x="59" y="5"/>
                      </a:cubicBezTo>
                      <a:cubicBezTo>
                        <a:pt x="54" y="2"/>
                        <a:pt x="47" y="0"/>
                        <a:pt x="40" y="0"/>
                      </a:cubicBezTo>
                      <a:cubicBezTo>
                        <a:pt x="33" y="0"/>
                        <a:pt x="26" y="2"/>
                        <a:pt x="19" y="5"/>
                      </a:cubicBezTo>
                      <a:cubicBezTo>
                        <a:pt x="7" y="12"/>
                        <a:pt x="0" y="25"/>
                        <a:pt x="0" y="39"/>
                      </a:cubicBezTo>
                      <a:cubicBezTo>
                        <a:pt x="0" y="39"/>
                        <a:pt x="0" y="39"/>
                        <a:pt x="0" y="542"/>
                      </a:cubicBezTo>
                      <a:cubicBezTo>
                        <a:pt x="0" y="555"/>
                        <a:pt x="7" y="569"/>
                        <a:pt x="19" y="576"/>
                      </a:cubicBezTo>
                      <a:cubicBezTo>
                        <a:pt x="19" y="576"/>
                        <a:pt x="19" y="576"/>
                        <a:pt x="469" y="827"/>
                      </a:cubicBezTo>
                      <a:cubicBezTo>
                        <a:pt x="473" y="832"/>
                        <a:pt x="480" y="832"/>
                        <a:pt x="488" y="832"/>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58" name="Freeform 54">
                  <a:extLst>
                    <a:ext uri="{FF2B5EF4-FFF2-40B4-BE49-F238E27FC236}">
                      <a16:creationId xmlns:a16="http://schemas.microsoft.com/office/drawing/2014/main" id="{04032F24-CA6B-4670-BA15-22CEEEE1A981}"/>
                    </a:ext>
                  </a:extLst>
                </p:cNvPr>
                <p:cNvSpPr>
                  <a:spLocks/>
                </p:cNvSpPr>
                <p:nvPr/>
              </p:nvSpPr>
              <p:spPr bwMode="auto">
                <a:xfrm>
                  <a:off x="4198315" y="2808567"/>
                  <a:ext cx="201999" cy="310008"/>
                </a:xfrm>
                <a:custGeom>
                  <a:avLst/>
                  <a:gdLst>
                    <a:gd name="T0" fmla="*/ 488 w 528"/>
                    <a:gd name="T1" fmla="*/ 832 h 832"/>
                    <a:gd name="T2" fmla="*/ 509 w 528"/>
                    <a:gd name="T3" fmla="*/ 825 h 832"/>
                    <a:gd name="T4" fmla="*/ 528 w 528"/>
                    <a:gd name="T5" fmla="*/ 793 h 832"/>
                    <a:gd name="T6" fmla="*/ 528 w 528"/>
                    <a:gd name="T7" fmla="*/ 289 h 832"/>
                    <a:gd name="T8" fmla="*/ 509 w 528"/>
                    <a:gd name="T9" fmla="*/ 257 h 832"/>
                    <a:gd name="T10" fmla="*/ 61 w 528"/>
                    <a:gd name="T11" fmla="*/ 7 h 832"/>
                    <a:gd name="T12" fmla="*/ 40 w 528"/>
                    <a:gd name="T13" fmla="*/ 0 h 832"/>
                    <a:gd name="T14" fmla="*/ 22 w 528"/>
                    <a:gd name="T15" fmla="*/ 7 h 832"/>
                    <a:gd name="T16" fmla="*/ 0 w 528"/>
                    <a:gd name="T17" fmla="*/ 39 h 832"/>
                    <a:gd name="T18" fmla="*/ 0 w 528"/>
                    <a:gd name="T19" fmla="*/ 542 h 832"/>
                    <a:gd name="T20" fmla="*/ 22 w 528"/>
                    <a:gd name="T21" fmla="*/ 574 h 832"/>
                    <a:gd name="T22" fmla="*/ 469 w 528"/>
                    <a:gd name="T23" fmla="*/ 825 h 832"/>
                    <a:gd name="T24" fmla="*/ 488 w 528"/>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2">
                      <a:moveTo>
                        <a:pt x="488" y="832"/>
                      </a:moveTo>
                      <a:cubicBezTo>
                        <a:pt x="495" y="832"/>
                        <a:pt x="502" y="829"/>
                        <a:pt x="509" y="825"/>
                      </a:cubicBezTo>
                      <a:cubicBezTo>
                        <a:pt x="521" y="818"/>
                        <a:pt x="528" y="807"/>
                        <a:pt x="528" y="793"/>
                      </a:cubicBezTo>
                      <a:cubicBezTo>
                        <a:pt x="528" y="793"/>
                        <a:pt x="528" y="793"/>
                        <a:pt x="528" y="289"/>
                      </a:cubicBezTo>
                      <a:cubicBezTo>
                        <a:pt x="528" y="276"/>
                        <a:pt x="521" y="264"/>
                        <a:pt x="509" y="257"/>
                      </a:cubicBezTo>
                      <a:cubicBezTo>
                        <a:pt x="509" y="257"/>
                        <a:pt x="509" y="257"/>
                        <a:pt x="61" y="7"/>
                      </a:cubicBezTo>
                      <a:cubicBezTo>
                        <a:pt x="54" y="2"/>
                        <a:pt x="47" y="0"/>
                        <a:pt x="40" y="0"/>
                      </a:cubicBezTo>
                      <a:cubicBezTo>
                        <a:pt x="33" y="0"/>
                        <a:pt x="26" y="2"/>
                        <a:pt x="22" y="7"/>
                      </a:cubicBezTo>
                      <a:cubicBezTo>
                        <a:pt x="10" y="14"/>
                        <a:pt x="0" y="25"/>
                        <a:pt x="0" y="39"/>
                      </a:cubicBezTo>
                      <a:cubicBezTo>
                        <a:pt x="0" y="39"/>
                        <a:pt x="0" y="39"/>
                        <a:pt x="0" y="542"/>
                      </a:cubicBezTo>
                      <a:cubicBezTo>
                        <a:pt x="0" y="556"/>
                        <a:pt x="10" y="567"/>
                        <a:pt x="22" y="574"/>
                      </a:cubicBezTo>
                      <a:cubicBezTo>
                        <a:pt x="22" y="574"/>
                        <a:pt x="22" y="574"/>
                        <a:pt x="469" y="825"/>
                      </a:cubicBezTo>
                      <a:cubicBezTo>
                        <a:pt x="474" y="829"/>
                        <a:pt x="481" y="832"/>
                        <a:pt x="488" y="832"/>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59" name="Freeform 55">
                  <a:extLst>
                    <a:ext uri="{FF2B5EF4-FFF2-40B4-BE49-F238E27FC236}">
                      <a16:creationId xmlns:a16="http://schemas.microsoft.com/office/drawing/2014/main" id="{D0C759B1-626B-4200-8D7F-6FD601343AA0}"/>
                    </a:ext>
                  </a:extLst>
                </p:cNvPr>
                <p:cNvSpPr>
                  <a:spLocks noEditPoints="1"/>
                </p:cNvSpPr>
                <p:nvPr/>
              </p:nvSpPr>
              <p:spPr bwMode="auto">
                <a:xfrm>
                  <a:off x="4693187" y="2153761"/>
                  <a:ext cx="396728" cy="456443"/>
                </a:xfrm>
                <a:custGeom>
                  <a:avLst/>
                  <a:gdLst>
                    <a:gd name="T0" fmla="*/ 481 w 1039"/>
                    <a:gd name="T1" fmla="*/ 580 h 1224"/>
                    <a:gd name="T2" fmla="*/ 499 w 1039"/>
                    <a:gd name="T3" fmla="*/ 576 h 1224"/>
                    <a:gd name="T4" fmla="*/ 941 w 1039"/>
                    <a:gd name="T5" fmla="*/ 324 h 1224"/>
                    <a:gd name="T6" fmla="*/ 959 w 1039"/>
                    <a:gd name="T7" fmla="*/ 290 h 1224"/>
                    <a:gd name="T8" fmla="*/ 941 w 1039"/>
                    <a:gd name="T9" fmla="*/ 256 h 1224"/>
                    <a:gd name="T10" fmla="*/ 499 w 1039"/>
                    <a:gd name="T11" fmla="*/ 4 h 1224"/>
                    <a:gd name="T12" fmla="*/ 481 w 1039"/>
                    <a:gd name="T13" fmla="*/ 0 h 1224"/>
                    <a:gd name="T14" fmla="*/ 460 w 1039"/>
                    <a:gd name="T15" fmla="*/ 4 h 1224"/>
                    <a:gd name="T16" fmla="*/ 19 w 1039"/>
                    <a:gd name="T17" fmla="*/ 256 h 1224"/>
                    <a:gd name="T18" fmla="*/ 0 w 1039"/>
                    <a:gd name="T19" fmla="*/ 290 h 1224"/>
                    <a:gd name="T20" fmla="*/ 19 w 1039"/>
                    <a:gd name="T21" fmla="*/ 324 h 1224"/>
                    <a:gd name="T22" fmla="*/ 460 w 1039"/>
                    <a:gd name="T23" fmla="*/ 576 h 1224"/>
                    <a:gd name="T24" fmla="*/ 481 w 1039"/>
                    <a:gd name="T25" fmla="*/ 580 h 1224"/>
                    <a:gd name="T26" fmla="*/ 566 w 1039"/>
                    <a:gd name="T27" fmla="*/ 1224 h 1224"/>
                    <a:gd name="T28" fmla="*/ 585 w 1039"/>
                    <a:gd name="T29" fmla="*/ 1219 h 1224"/>
                    <a:gd name="T30" fmla="*/ 1021 w 1039"/>
                    <a:gd name="T31" fmla="*/ 968 h 1224"/>
                    <a:gd name="T32" fmla="*/ 1039 w 1039"/>
                    <a:gd name="T33" fmla="*/ 933 h 1224"/>
                    <a:gd name="T34" fmla="*/ 1039 w 1039"/>
                    <a:gd name="T35" fmla="*/ 431 h 1224"/>
                    <a:gd name="T36" fmla="*/ 1021 w 1039"/>
                    <a:gd name="T37" fmla="*/ 396 h 1224"/>
                    <a:gd name="T38" fmla="*/ 1000 w 1039"/>
                    <a:gd name="T39" fmla="*/ 392 h 1224"/>
                    <a:gd name="T40" fmla="*/ 982 w 1039"/>
                    <a:gd name="T41" fmla="*/ 396 h 1224"/>
                    <a:gd name="T42" fmla="*/ 546 w 1039"/>
                    <a:gd name="T43" fmla="*/ 648 h 1224"/>
                    <a:gd name="T44" fmla="*/ 528 w 1039"/>
                    <a:gd name="T45" fmla="*/ 682 h 1224"/>
                    <a:gd name="T46" fmla="*/ 528 w 1039"/>
                    <a:gd name="T47" fmla="*/ 1185 h 1224"/>
                    <a:gd name="T48" fmla="*/ 546 w 1039"/>
                    <a:gd name="T49" fmla="*/ 1219 h 1224"/>
                    <a:gd name="T50" fmla="*/ 566 w 1039"/>
                    <a:gd name="T51" fmla="*/ 1224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39" h="1224">
                      <a:moveTo>
                        <a:pt x="481" y="580"/>
                      </a:moveTo>
                      <a:cubicBezTo>
                        <a:pt x="488" y="580"/>
                        <a:pt x="492" y="578"/>
                        <a:pt x="499" y="576"/>
                      </a:cubicBezTo>
                      <a:cubicBezTo>
                        <a:pt x="499" y="576"/>
                        <a:pt x="499" y="576"/>
                        <a:pt x="941" y="324"/>
                      </a:cubicBezTo>
                      <a:cubicBezTo>
                        <a:pt x="952" y="317"/>
                        <a:pt x="959" y="304"/>
                        <a:pt x="959" y="290"/>
                      </a:cubicBezTo>
                      <a:cubicBezTo>
                        <a:pt x="959" y="276"/>
                        <a:pt x="952" y="262"/>
                        <a:pt x="941" y="256"/>
                      </a:cubicBezTo>
                      <a:cubicBezTo>
                        <a:pt x="941" y="256"/>
                        <a:pt x="941" y="256"/>
                        <a:pt x="499" y="4"/>
                      </a:cubicBezTo>
                      <a:cubicBezTo>
                        <a:pt x="492" y="2"/>
                        <a:pt x="488" y="0"/>
                        <a:pt x="481" y="0"/>
                      </a:cubicBezTo>
                      <a:cubicBezTo>
                        <a:pt x="474" y="0"/>
                        <a:pt x="467" y="2"/>
                        <a:pt x="460" y="4"/>
                      </a:cubicBezTo>
                      <a:cubicBezTo>
                        <a:pt x="460" y="4"/>
                        <a:pt x="460" y="4"/>
                        <a:pt x="19" y="256"/>
                      </a:cubicBezTo>
                      <a:cubicBezTo>
                        <a:pt x="7" y="262"/>
                        <a:pt x="0" y="276"/>
                        <a:pt x="0" y="290"/>
                      </a:cubicBezTo>
                      <a:cubicBezTo>
                        <a:pt x="0" y="304"/>
                        <a:pt x="7" y="317"/>
                        <a:pt x="19" y="324"/>
                      </a:cubicBezTo>
                      <a:cubicBezTo>
                        <a:pt x="19" y="324"/>
                        <a:pt x="19" y="324"/>
                        <a:pt x="460" y="576"/>
                      </a:cubicBezTo>
                      <a:cubicBezTo>
                        <a:pt x="467" y="578"/>
                        <a:pt x="474" y="580"/>
                        <a:pt x="481" y="580"/>
                      </a:cubicBezTo>
                      <a:close/>
                      <a:moveTo>
                        <a:pt x="566" y="1224"/>
                      </a:moveTo>
                      <a:cubicBezTo>
                        <a:pt x="573" y="1224"/>
                        <a:pt x="578" y="1221"/>
                        <a:pt x="585" y="1219"/>
                      </a:cubicBezTo>
                      <a:cubicBezTo>
                        <a:pt x="585" y="1219"/>
                        <a:pt x="585" y="1219"/>
                        <a:pt x="1021" y="968"/>
                      </a:cubicBezTo>
                      <a:cubicBezTo>
                        <a:pt x="1032" y="961"/>
                        <a:pt x="1039" y="947"/>
                        <a:pt x="1039" y="933"/>
                      </a:cubicBezTo>
                      <a:cubicBezTo>
                        <a:pt x="1039" y="933"/>
                        <a:pt x="1039" y="933"/>
                        <a:pt x="1039" y="431"/>
                      </a:cubicBezTo>
                      <a:cubicBezTo>
                        <a:pt x="1039" y="417"/>
                        <a:pt x="1032" y="403"/>
                        <a:pt x="1021" y="396"/>
                      </a:cubicBezTo>
                      <a:cubicBezTo>
                        <a:pt x="1014" y="394"/>
                        <a:pt x="1007" y="392"/>
                        <a:pt x="1000" y="392"/>
                      </a:cubicBezTo>
                      <a:cubicBezTo>
                        <a:pt x="993" y="392"/>
                        <a:pt x="987" y="394"/>
                        <a:pt x="982" y="396"/>
                      </a:cubicBezTo>
                      <a:cubicBezTo>
                        <a:pt x="982" y="396"/>
                        <a:pt x="982" y="396"/>
                        <a:pt x="546" y="648"/>
                      </a:cubicBezTo>
                      <a:cubicBezTo>
                        <a:pt x="534" y="655"/>
                        <a:pt x="528" y="668"/>
                        <a:pt x="528" y="682"/>
                      </a:cubicBezTo>
                      <a:cubicBezTo>
                        <a:pt x="528" y="682"/>
                        <a:pt x="528" y="682"/>
                        <a:pt x="528" y="1185"/>
                      </a:cubicBezTo>
                      <a:cubicBezTo>
                        <a:pt x="528" y="1198"/>
                        <a:pt x="534" y="1212"/>
                        <a:pt x="546" y="1219"/>
                      </a:cubicBezTo>
                      <a:cubicBezTo>
                        <a:pt x="553" y="1221"/>
                        <a:pt x="560" y="1224"/>
                        <a:pt x="566" y="1224"/>
                      </a:cubicBezTo>
                      <a:close/>
                    </a:path>
                  </a:pathLst>
                </a:custGeom>
                <a:solidFill>
                  <a:srgbClr val="F58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60" name="Freeform 56">
                  <a:extLst>
                    <a:ext uri="{FF2B5EF4-FFF2-40B4-BE49-F238E27FC236}">
                      <a16:creationId xmlns:a16="http://schemas.microsoft.com/office/drawing/2014/main" id="{6906A324-F9B0-4536-83CE-4420AA0B143A}"/>
                    </a:ext>
                  </a:extLst>
                </p:cNvPr>
                <p:cNvSpPr>
                  <a:spLocks noEditPoints="1"/>
                </p:cNvSpPr>
                <p:nvPr/>
              </p:nvSpPr>
              <p:spPr bwMode="auto">
                <a:xfrm>
                  <a:off x="5395249" y="1785076"/>
                  <a:ext cx="384265" cy="450211"/>
                </a:xfrm>
                <a:custGeom>
                  <a:avLst/>
                  <a:gdLst>
                    <a:gd name="T0" fmla="*/ 481 w 1007"/>
                    <a:gd name="T1" fmla="*/ 565 h 1208"/>
                    <a:gd name="T2" fmla="*/ 499 w 1007"/>
                    <a:gd name="T3" fmla="*/ 561 h 1208"/>
                    <a:gd name="T4" fmla="*/ 941 w 1007"/>
                    <a:gd name="T5" fmla="*/ 316 h 1208"/>
                    <a:gd name="T6" fmla="*/ 959 w 1007"/>
                    <a:gd name="T7" fmla="*/ 283 h 1208"/>
                    <a:gd name="T8" fmla="*/ 941 w 1007"/>
                    <a:gd name="T9" fmla="*/ 249 h 1208"/>
                    <a:gd name="T10" fmla="*/ 499 w 1007"/>
                    <a:gd name="T11" fmla="*/ 5 h 1208"/>
                    <a:gd name="T12" fmla="*/ 481 w 1007"/>
                    <a:gd name="T13" fmla="*/ 0 h 1208"/>
                    <a:gd name="T14" fmla="*/ 460 w 1007"/>
                    <a:gd name="T15" fmla="*/ 5 h 1208"/>
                    <a:gd name="T16" fmla="*/ 19 w 1007"/>
                    <a:gd name="T17" fmla="*/ 249 h 1208"/>
                    <a:gd name="T18" fmla="*/ 0 w 1007"/>
                    <a:gd name="T19" fmla="*/ 283 h 1208"/>
                    <a:gd name="T20" fmla="*/ 19 w 1007"/>
                    <a:gd name="T21" fmla="*/ 316 h 1208"/>
                    <a:gd name="T22" fmla="*/ 460 w 1007"/>
                    <a:gd name="T23" fmla="*/ 561 h 1208"/>
                    <a:gd name="T24" fmla="*/ 481 w 1007"/>
                    <a:gd name="T25" fmla="*/ 565 h 1208"/>
                    <a:gd name="T26" fmla="*/ 520 w 1007"/>
                    <a:gd name="T27" fmla="*/ 1208 h 1208"/>
                    <a:gd name="T28" fmla="*/ 539 w 1007"/>
                    <a:gd name="T29" fmla="*/ 1204 h 1208"/>
                    <a:gd name="T30" fmla="*/ 988 w 1007"/>
                    <a:gd name="T31" fmla="*/ 952 h 1208"/>
                    <a:gd name="T32" fmla="*/ 1007 w 1007"/>
                    <a:gd name="T33" fmla="*/ 918 h 1208"/>
                    <a:gd name="T34" fmla="*/ 1007 w 1007"/>
                    <a:gd name="T35" fmla="*/ 416 h 1208"/>
                    <a:gd name="T36" fmla="*/ 988 w 1007"/>
                    <a:gd name="T37" fmla="*/ 381 h 1208"/>
                    <a:gd name="T38" fmla="*/ 967 w 1007"/>
                    <a:gd name="T39" fmla="*/ 377 h 1208"/>
                    <a:gd name="T40" fmla="*/ 948 w 1007"/>
                    <a:gd name="T41" fmla="*/ 381 h 1208"/>
                    <a:gd name="T42" fmla="*/ 499 w 1007"/>
                    <a:gd name="T43" fmla="*/ 633 h 1208"/>
                    <a:gd name="T44" fmla="*/ 480 w 1007"/>
                    <a:gd name="T45" fmla="*/ 667 h 1208"/>
                    <a:gd name="T46" fmla="*/ 480 w 1007"/>
                    <a:gd name="T47" fmla="*/ 1169 h 1208"/>
                    <a:gd name="T48" fmla="*/ 499 w 1007"/>
                    <a:gd name="T49" fmla="*/ 1204 h 1208"/>
                    <a:gd name="T50" fmla="*/ 520 w 1007"/>
                    <a:gd name="T51" fmla="*/ 1208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07" h="1208">
                      <a:moveTo>
                        <a:pt x="481" y="565"/>
                      </a:moveTo>
                      <a:cubicBezTo>
                        <a:pt x="488" y="565"/>
                        <a:pt x="493" y="563"/>
                        <a:pt x="499" y="561"/>
                      </a:cubicBezTo>
                      <a:cubicBezTo>
                        <a:pt x="499" y="561"/>
                        <a:pt x="499" y="561"/>
                        <a:pt x="941" y="316"/>
                      </a:cubicBezTo>
                      <a:cubicBezTo>
                        <a:pt x="952" y="309"/>
                        <a:pt x="959" y="296"/>
                        <a:pt x="959" y="283"/>
                      </a:cubicBezTo>
                      <a:cubicBezTo>
                        <a:pt x="959" y="269"/>
                        <a:pt x="952" y="256"/>
                        <a:pt x="941" y="249"/>
                      </a:cubicBezTo>
                      <a:cubicBezTo>
                        <a:pt x="941" y="249"/>
                        <a:pt x="941" y="249"/>
                        <a:pt x="499" y="5"/>
                      </a:cubicBezTo>
                      <a:cubicBezTo>
                        <a:pt x="493" y="2"/>
                        <a:pt x="488" y="0"/>
                        <a:pt x="481" y="0"/>
                      </a:cubicBezTo>
                      <a:cubicBezTo>
                        <a:pt x="474" y="0"/>
                        <a:pt x="467" y="2"/>
                        <a:pt x="460" y="5"/>
                      </a:cubicBezTo>
                      <a:cubicBezTo>
                        <a:pt x="460" y="5"/>
                        <a:pt x="460" y="5"/>
                        <a:pt x="19" y="249"/>
                      </a:cubicBezTo>
                      <a:cubicBezTo>
                        <a:pt x="7" y="256"/>
                        <a:pt x="0" y="269"/>
                        <a:pt x="0" y="283"/>
                      </a:cubicBezTo>
                      <a:cubicBezTo>
                        <a:pt x="0" y="296"/>
                        <a:pt x="7" y="309"/>
                        <a:pt x="19" y="316"/>
                      </a:cubicBezTo>
                      <a:cubicBezTo>
                        <a:pt x="19" y="316"/>
                        <a:pt x="19" y="316"/>
                        <a:pt x="460" y="561"/>
                      </a:cubicBezTo>
                      <a:cubicBezTo>
                        <a:pt x="467" y="563"/>
                        <a:pt x="474" y="565"/>
                        <a:pt x="481" y="565"/>
                      </a:cubicBezTo>
                      <a:close/>
                      <a:moveTo>
                        <a:pt x="520" y="1208"/>
                      </a:moveTo>
                      <a:cubicBezTo>
                        <a:pt x="527" y="1208"/>
                        <a:pt x="532" y="1206"/>
                        <a:pt x="539" y="1204"/>
                      </a:cubicBezTo>
                      <a:cubicBezTo>
                        <a:pt x="539" y="1204"/>
                        <a:pt x="539" y="1204"/>
                        <a:pt x="988" y="952"/>
                      </a:cubicBezTo>
                      <a:cubicBezTo>
                        <a:pt x="1000" y="946"/>
                        <a:pt x="1007" y="932"/>
                        <a:pt x="1007" y="918"/>
                      </a:cubicBezTo>
                      <a:cubicBezTo>
                        <a:pt x="1007" y="918"/>
                        <a:pt x="1007" y="918"/>
                        <a:pt x="1007" y="416"/>
                      </a:cubicBezTo>
                      <a:cubicBezTo>
                        <a:pt x="1007" y="402"/>
                        <a:pt x="1000" y="388"/>
                        <a:pt x="988" y="381"/>
                      </a:cubicBezTo>
                      <a:cubicBezTo>
                        <a:pt x="981" y="379"/>
                        <a:pt x="974" y="377"/>
                        <a:pt x="967" y="377"/>
                      </a:cubicBezTo>
                      <a:cubicBezTo>
                        <a:pt x="960" y="377"/>
                        <a:pt x="953" y="379"/>
                        <a:pt x="948" y="381"/>
                      </a:cubicBezTo>
                      <a:cubicBezTo>
                        <a:pt x="948" y="381"/>
                        <a:pt x="948" y="381"/>
                        <a:pt x="499" y="633"/>
                      </a:cubicBezTo>
                      <a:cubicBezTo>
                        <a:pt x="487" y="639"/>
                        <a:pt x="480" y="653"/>
                        <a:pt x="480" y="667"/>
                      </a:cubicBezTo>
                      <a:cubicBezTo>
                        <a:pt x="480" y="667"/>
                        <a:pt x="480" y="667"/>
                        <a:pt x="480" y="1169"/>
                      </a:cubicBezTo>
                      <a:cubicBezTo>
                        <a:pt x="480" y="1183"/>
                        <a:pt x="487" y="1197"/>
                        <a:pt x="499" y="1204"/>
                      </a:cubicBezTo>
                      <a:cubicBezTo>
                        <a:pt x="506" y="1206"/>
                        <a:pt x="513" y="1208"/>
                        <a:pt x="520" y="1208"/>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61" name="Freeform 39">
                  <a:extLst>
                    <a:ext uri="{FF2B5EF4-FFF2-40B4-BE49-F238E27FC236}">
                      <a16:creationId xmlns:a16="http://schemas.microsoft.com/office/drawing/2014/main" id="{A102753A-FC46-48CF-B4A3-DC4979D4C2C6}"/>
                    </a:ext>
                  </a:extLst>
                </p:cNvPr>
                <p:cNvSpPr>
                  <a:spLocks/>
                </p:cNvSpPr>
                <p:nvPr/>
              </p:nvSpPr>
              <p:spPr bwMode="auto">
                <a:xfrm>
                  <a:off x="4699418" y="1656295"/>
                  <a:ext cx="372322" cy="216538"/>
                </a:xfrm>
                <a:custGeom>
                  <a:avLst/>
                  <a:gdLst>
                    <a:gd name="T0" fmla="*/ 486 w 975"/>
                    <a:gd name="T1" fmla="*/ 581 h 581"/>
                    <a:gd name="T2" fmla="*/ 508 w 975"/>
                    <a:gd name="T3" fmla="*/ 574 h 581"/>
                    <a:gd name="T4" fmla="*/ 956 w 975"/>
                    <a:gd name="T5" fmla="*/ 323 h 581"/>
                    <a:gd name="T6" fmla="*/ 975 w 975"/>
                    <a:gd name="T7" fmla="*/ 289 h 581"/>
                    <a:gd name="T8" fmla="*/ 956 w 975"/>
                    <a:gd name="T9" fmla="*/ 257 h 581"/>
                    <a:gd name="T10" fmla="*/ 508 w 975"/>
                    <a:gd name="T11" fmla="*/ 7 h 581"/>
                    <a:gd name="T12" fmla="*/ 486 w 975"/>
                    <a:gd name="T13" fmla="*/ 0 h 581"/>
                    <a:gd name="T14" fmla="*/ 468 w 975"/>
                    <a:gd name="T15" fmla="*/ 7 h 581"/>
                    <a:gd name="T16" fmla="*/ 19 w 975"/>
                    <a:gd name="T17" fmla="*/ 257 h 581"/>
                    <a:gd name="T18" fmla="*/ 0 w 975"/>
                    <a:gd name="T19" fmla="*/ 289 h 581"/>
                    <a:gd name="T20" fmla="*/ 19 w 975"/>
                    <a:gd name="T21" fmla="*/ 323 h 581"/>
                    <a:gd name="T22" fmla="*/ 468 w 975"/>
                    <a:gd name="T23" fmla="*/ 574 h 581"/>
                    <a:gd name="T24" fmla="*/ 486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6" y="581"/>
                      </a:moveTo>
                      <a:cubicBezTo>
                        <a:pt x="494" y="581"/>
                        <a:pt x="501" y="578"/>
                        <a:pt x="508" y="574"/>
                      </a:cubicBezTo>
                      <a:cubicBezTo>
                        <a:pt x="508" y="574"/>
                        <a:pt x="508" y="574"/>
                        <a:pt x="956" y="323"/>
                      </a:cubicBezTo>
                      <a:cubicBezTo>
                        <a:pt x="968" y="316"/>
                        <a:pt x="975" y="305"/>
                        <a:pt x="975" y="289"/>
                      </a:cubicBezTo>
                      <a:cubicBezTo>
                        <a:pt x="975" y="275"/>
                        <a:pt x="968" y="264"/>
                        <a:pt x="956" y="257"/>
                      </a:cubicBezTo>
                      <a:cubicBezTo>
                        <a:pt x="956" y="257"/>
                        <a:pt x="956" y="257"/>
                        <a:pt x="508" y="7"/>
                      </a:cubicBezTo>
                      <a:cubicBezTo>
                        <a:pt x="501" y="2"/>
                        <a:pt x="494" y="0"/>
                        <a:pt x="486" y="0"/>
                      </a:cubicBezTo>
                      <a:cubicBezTo>
                        <a:pt x="479" y="0"/>
                        <a:pt x="472" y="2"/>
                        <a:pt x="468" y="7"/>
                      </a:cubicBezTo>
                      <a:cubicBezTo>
                        <a:pt x="468" y="7"/>
                        <a:pt x="468" y="7"/>
                        <a:pt x="19" y="257"/>
                      </a:cubicBezTo>
                      <a:cubicBezTo>
                        <a:pt x="7" y="264"/>
                        <a:pt x="0" y="275"/>
                        <a:pt x="0" y="289"/>
                      </a:cubicBezTo>
                      <a:cubicBezTo>
                        <a:pt x="0" y="305"/>
                        <a:pt x="7" y="316"/>
                        <a:pt x="19" y="323"/>
                      </a:cubicBezTo>
                      <a:cubicBezTo>
                        <a:pt x="19" y="323"/>
                        <a:pt x="19" y="323"/>
                        <a:pt x="468" y="574"/>
                      </a:cubicBezTo>
                      <a:cubicBezTo>
                        <a:pt x="472" y="578"/>
                        <a:pt x="479" y="581"/>
                        <a:pt x="486" y="581"/>
                      </a:cubicBezTo>
                      <a:close/>
                    </a:path>
                  </a:pathLst>
                </a:custGeom>
                <a:solidFill>
                  <a:srgbClr val="F58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662" name="Group 661">
                <a:extLst>
                  <a:ext uri="{FF2B5EF4-FFF2-40B4-BE49-F238E27FC236}">
                    <a16:creationId xmlns:a16="http://schemas.microsoft.com/office/drawing/2014/main" id="{FCE94836-6D4E-42EB-A085-A9F49AC4F995}"/>
                  </a:ext>
                </a:extLst>
              </p:cNvPr>
              <p:cNvGrpSpPr/>
              <p:nvPr/>
            </p:nvGrpSpPr>
            <p:grpSpPr>
              <a:xfrm>
                <a:off x="3289062" y="-3307949"/>
                <a:ext cx="2032449" cy="2228209"/>
                <a:chOff x="3289062" y="1650584"/>
                <a:chExt cx="2032449" cy="2228209"/>
              </a:xfrm>
              <a:solidFill>
                <a:schemeClr val="accent2"/>
              </a:solidFill>
            </p:grpSpPr>
            <p:sp>
              <p:nvSpPr>
                <p:cNvPr id="663" name="Freeform 28">
                  <a:extLst>
                    <a:ext uri="{FF2B5EF4-FFF2-40B4-BE49-F238E27FC236}">
                      <a16:creationId xmlns:a16="http://schemas.microsoft.com/office/drawing/2014/main" id="{F8BB5807-14FC-452A-84CE-327A069A3213}"/>
                    </a:ext>
                  </a:extLst>
                </p:cNvPr>
                <p:cNvSpPr>
                  <a:spLocks/>
                </p:cNvSpPr>
                <p:nvPr/>
              </p:nvSpPr>
              <p:spPr bwMode="auto">
                <a:xfrm>
                  <a:off x="4894665" y="3569305"/>
                  <a:ext cx="195248" cy="309488"/>
                </a:xfrm>
                <a:custGeom>
                  <a:avLst/>
                  <a:gdLst>
                    <a:gd name="T0" fmla="*/ 38 w 511"/>
                    <a:gd name="T1" fmla="*/ 831 h 831"/>
                    <a:gd name="T2" fmla="*/ 57 w 511"/>
                    <a:gd name="T3" fmla="*/ 824 h 831"/>
                    <a:gd name="T4" fmla="*/ 493 w 511"/>
                    <a:gd name="T5" fmla="*/ 574 h 831"/>
                    <a:gd name="T6" fmla="*/ 511 w 511"/>
                    <a:gd name="T7" fmla="*/ 540 h 831"/>
                    <a:gd name="T8" fmla="*/ 511 w 511"/>
                    <a:gd name="T9" fmla="*/ 38 h 831"/>
                    <a:gd name="T10" fmla="*/ 493 w 511"/>
                    <a:gd name="T11" fmla="*/ 7 h 831"/>
                    <a:gd name="T12" fmla="*/ 472 w 511"/>
                    <a:gd name="T13" fmla="*/ 0 h 831"/>
                    <a:gd name="T14" fmla="*/ 454 w 511"/>
                    <a:gd name="T15" fmla="*/ 7 h 831"/>
                    <a:gd name="T16" fmla="*/ 18 w 511"/>
                    <a:gd name="T17" fmla="*/ 257 h 831"/>
                    <a:gd name="T18" fmla="*/ 0 w 511"/>
                    <a:gd name="T19" fmla="*/ 289 h 831"/>
                    <a:gd name="T20" fmla="*/ 0 w 511"/>
                    <a:gd name="T21" fmla="*/ 793 h 831"/>
                    <a:gd name="T22" fmla="*/ 18 w 511"/>
                    <a:gd name="T23" fmla="*/ 824 h 831"/>
                    <a:gd name="T24" fmla="*/ 38 w 511"/>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1" h="831">
                      <a:moveTo>
                        <a:pt x="38" y="831"/>
                      </a:moveTo>
                      <a:cubicBezTo>
                        <a:pt x="45" y="831"/>
                        <a:pt x="50" y="829"/>
                        <a:pt x="57" y="824"/>
                      </a:cubicBezTo>
                      <a:cubicBezTo>
                        <a:pt x="57" y="824"/>
                        <a:pt x="57" y="824"/>
                        <a:pt x="493" y="574"/>
                      </a:cubicBezTo>
                      <a:cubicBezTo>
                        <a:pt x="504" y="567"/>
                        <a:pt x="511" y="556"/>
                        <a:pt x="511" y="540"/>
                      </a:cubicBezTo>
                      <a:cubicBezTo>
                        <a:pt x="511" y="540"/>
                        <a:pt x="511" y="540"/>
                        <a:pt x="511" y="38"/>
                      </a:cubicBezTo>
                      <a:cubicBezTo>
                        <a:pt x="511" y="25"/>
                        <a:pt x="504" y="13"/>
                        <a:pt x="493" y="7"/>
                      </a:cubicBezTo>
                      <a:cubicBezTo>
                        <a:pt x="486" y="2"/>
                        <a:pt x="479" y="0"/>
                        <a:pt x="472" y="0"/>
                      </a:cubicBezTo>
                      <a:cubicBezTo>
                        <a:pt x="465" y="0"/>
                        <a:pt x="459" y="2"/>
                        <a:pt x="454" y="7"/>
                      </a:cubicBezTo>
                      <a:cubicBezTo>
                        <a:pt x="454" y="7"/>
                        <a:pt x="454" y="7"/>
                        <a:pt x="18" y="257"/>
                      </a:cubicBezTo>
                      <a:cubicBezTo>
                        <a:pt x="6" y="264"/>
                        <a:pt x="0" y="275"/>
                        <a:pt x="0" y="289"/>
                      </a:cubicBezTo>
                      <a:cubicBezTo>
                        <a:pt x="0" y="289"/>
                        <a:pt x="0" y="289"/>
                        <a:pt x="0" y="793"/>
                      </a:cubicBezTo>
                      <a:cubicBezTo>
                        <a:pt x="0" y="806"/>
                        <a:pt x="6" y="818"/>
                        <a:pt x="18" y="824"/>
                      </a:cubicBezTo>
                      <a:cubicBezTo>
                        <a:pt x="25" y="829"/>
                        <a:pt x="32" y="831"/>
                        <a:pt x="38"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64" name="Freeform 29">
                  <a:extLst>
                    <a:ext uri="{FF2B5EF4-FFF2-40B4-BE49-F238E27FC236}">
                      <a16:creationId xmlns:a16="http://schemas.microsoft.com/office/drawing/2014/main" id="{E23C159E-AFBA-4C0D-86AD-78DF2C841A62}"/>
                    </a:ext>
                  </a:extLst>
                </p:cNvPr>
                <p:cNvSpPr>
                  <a:spLocks/>
                </p:cNvSpPr>
                <p:nvPr/>
              </p:nvSpPr>
              <p:spPr bwMode="auto">
                <a:xfrm>
                  <a:off x="5120551" y="3440525"/>
                  <a:ext cx="200960" cy="309488"/>
                </a:xfrm>
                <a:custGeom>
                  <a:avLst/>
                  <a:gdLst>
                    <a:gd name="T0" fmla="*/ 40 w 527"/>
                    <a:gd name="T1" fmla="*/ 831 h 831"/>
                    <a:gd name="T2" fmla="*/ 61 w 527"/>
                    <a:gd name="T3" fmla="*/ 827 h 831"/>
                    <a:gd name="T4" fmla="*/ 506 w 527"/>
                    <a:gd name="T5" fmla="*/ 575 h 831"/>
                    <a:gd name="T6" fmla="*/ 527 w 527"/>
                    <a:gd name="T7" fmla="*/ 541 h 831"/>
                    <a:gd name="T8" fmla="*/ 527 w 527"/>
                    <a:gd name="T9" fmla="*/ 38 h 831"/>
                    <a:gd name="T10" fmla="*/ 506 w 527"/>
                    <a:gd name="T11" fmla="*/ 4 h 831"/>
                    <a:gd name="T12" fmla="*/ 488 w 527"/>
                    <a:gd name="T13" fmla="*/ 0 h 831"/>
                    <a:gd name="T14" fmla="*/ 467 w 527"/>
                    <a:gd name="T15" fmla="*/ 4 h 831"/>
                    <a:gd name="T16" fmla="*/ 21 w 527"/>
                    <a:gd name="T17" fmla="*/ 255 h 831"/>
                    <a:gd name="T18" fmla="*/ 0 w 527"/>
                    <a:gd name="T19" fmla="*/ 290 h 831"/>
                    <a:gd name="T20" fmla="*/ 0 w 527"/>
                    <a:gd name="T21" fmla="*/ 792 h 831"/>
                    <a:gd name="T22" fmla="*/ 21 w 527"/>
                    <a:gd name="T23" fmla="*/ 827 h 831"/>
                    <a:gd name="T24" fmla="*/ 40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0" y="831"/>
                      </a:moveTo>
                      <a:cubicBezTo>
                        <a:pt x="47" y="831"/>
                        <a:pt x="54" y="829"/>
                        <a:pt x="61" y="827"/>
                      </a:cubicBezTo>
                      <a:cubicBezTo>
                        <a:pt x="61" y="827"/>
                        <a:pt x="61" y="827"/>
                        <a:pt x="506" y="575"/>
                      </a:cubicBezTo>
                      <a:cubicBezTo>
                        <a:pt x="520" y="568"/>
                        <a:pt x="527" y="555"/>
                        <a:pt x="527" y="541"/>
                      </a:cubicBezTo>
                      <a:cubicBezTo>
                        <a:pt x="527" y="541"/>
                        <a:pt x="527" y="541"/>
                        <a:pt x="527" y="38"/>
                      </a:cubicBezTo>
                      <a:cubicBezTo>
                        <a:pt x="527" y="25"/>
                        <a:pt x="520" y="11"/>
                        <a:pt x="506" y="4"/>
                      </a:cubicBezTo>
                      <a:cubicBezTo>
                        <a:pt x="502" y="2"/>
                        <a:pt x="495" y="0"/>
                        <a:pt x="488" y="0"/>
                      </a:cubicBezTo>
                      <a:cubicBezTo>
                        <a:pt x="481" y="0"/>
                        <a:pt x="474" y="2"/>
                        <a:pt x="467" y="4"/>
                      </a:cubicBezTo>
                      <a:cubicBezTo>
                        <a:pt x="467" y="4"/>
                        <a:pt x="467" y="4"/>
                        <a:pt x="21" y="255"/>
                      </a:cubicBezTo>
                      <a:cubicBezTo>
                        <a:pt x="9" y="262"/>
                        <a:pt x="0" y="276"/>
                        <a:pt x="0" y="290"/>
                      </a:cubicBezTo>
                      <a:cubicBezTo>
                        <a:pt x="0" y="290"/>
                        <a:pt x="0" y="290"/>
                        <a:pt x="0" y="792"/>
                      </a:cubicBezTo>
                      <a:cubicBezTo>
                        <a:pt x="0" y="806"/>
                        <a:pt x="9" y="820"/>
                        <a:pt x="21" y="827"/>
                      </a:cubicBezTo>
                      <a:cubicBezTo>
                        <a:pt x="26" y="829"/>
                        <a:pt x="33" y="831"/>
                        <a:pt x="40"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65" name="Freeform 57">
                  <a:extLst>
                    <a:ext uri="{FF2B5EF4-FFF2-40B4-BE49-F238E27FC236}">
                      <a16:creationId xmlns:a16="http://schemas.microsoft.com/office/drawing/2014/main" id="{DC51382C-3428-4566-AA6C-555B8AC4F41A}"/>
                    </a:ext>
                  </a:extLst>
                </p:cNvPr>
                <p:cNvSpPr>
                  <a:spLocks/>
                </p:cNvSpPr>
                <p:nvPr/>
              </p:nvSpPr>
              <p:spPr bwMode="auto">
                <a:xfrm>
                  <a:off x="3972950" y="3188677"/>
                  <a:ext cx="201480" cy="310008"/>
                </a:xfrm>
                <a:custGeom>
                  <a:avLst/>
                  <a:gdLst>
                    <a:gd name="T0" fmla="*/ 488 w 528"/>
                    <a:gd name="T1" fmla="*/ 831 h 831"/>
                    <a:gd name="T2" fmla="*/ 509 w 528"/>
                    <a:gd name="T3" fmla="*/ 827 h 831"/>
                    <a:gd name="T4" fmla="*/ 528 w 528"/>
                    <a:gd name="T5" fmla="*/ 793 h 831"/>
                    <a:gd name="T6" fmla="*/ 528 w 528"/>
                    <a:gd name="T7" fmla="*/ 290 h 831"/>
                    <a:gd name="T8" fmla="*/ 509 w 528"/>
                    <a:gd name="T9" fmla="*/ 256 h 831"/>
                    <a:gd name="T10" fmla="*/ 59 w 528"/>
                    <a:gd name="T11" fmla="*/ 4 h 831"/>
                    <a:gd name="T12" fmla="*/ 40 w 528"/>
                    <a:gd name="T13" fmla="*/ 0 h 831"/>
                    <a:gd name="T14" fmla="*/ 19 w 528"/>
                    <a:gd name="T15" fmla="*/ 4 h 831"/>
                    <a:gd name="T16" fmla="*/ 0 w 528"/>
                    <a:gd name="T17" fmla="*/ 39 h 831"/>
                    <a:gd name="T18" fmla="*/ 0 w 528"/>
                    <a:gd name="T19" fmla="*/ 541 h 831"/>
                    <a:gd name="T20" fmla="*/ 19 w 528"/>
                    <a:gd name="T21" fmla="*/ 576 h 831"/>
                    <a:gd name="T22" fmla="*/ 469 w 528"/>
                    <a:gd name="T23" fmla="*/ 827 h 831"/>
                    <a:gd name="T24" fmla="*/ 488 w 528"/>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1">
                      <a:moveTo>
                        <a:pt x="488" y="831"/>
                      </a:moveTo>
                      <a:cubicBezTo>
                        <a:pt x="495" y="831"/>
                        <a:pt x="502" y="831"/>
                        <a:pt x="509" y="827"/>
                      </a:cubicBezTo>
                      <a:cubicBezTo>
                        <a:pt x="520" y="820"/>
                        <a:pt x="528" y="806"/>
                        <a:pt x="528" y="793"/>
                      </a:cubicBezTo>
                      <a:cubicBezTo>
                        <a:pt x="528" y="793"/>
                        <a:pt x="528" y="793"/>
                        <a:pt x="528" y="290"/>
                      </a:cubicBezTo>
                      <a:cubicBezTo>
                        <a:pt x="528" y="276"/>
                        <a:pt x="520" y="263"/>
                        <a:pt x="509" y="256"/>
                      </a:cubicBezTo>
                      <a:cubicBezTo>
                        <a:pt x="509" y="256"/>
                        <a:pt x="509" y="256"/>
                        <a:pt x="59" y="4"/>
                      </a:cubicBezTo>
                      <a:cubicBezTo>
                        <a:pt x="54" y="2"/>
                        <a:pt x="47" y="0"/>
                        <a:pt x="40" y="0"/>
                      </a:cubicBezTo>
                      <a:cubicBezTo>
                        <a:pt x="33" y="0"/>
                        <a:pt x="26" y="2"/>
                        <a:pt x="19" y="4"/>
                      </a:cubicBezTo>
                      <a:cubicBezTo>
                        <a:pt x="7" y="11"/>
                        <a:pt x="0" y="25"/>
                        <a:pt x="0" y="39"/>
                      </a:cubicBezTo>
                      <a:cubicBezTo>
                        <a:pt x="0" y="39"/>
                        <a:pt x="0" y="39"/>
                        <a:pt x="0" y="541"/>
                      </a:cubicBezTo>
                      <a:cubicBezTo>
                        <a:pt x="0" y="555"/>
                        <a:pt x="7" y="569"/>
                        <a:pt x="19" y="576"/>
                      </a:cubicBezTo>
                      <a:cubicBezTo>
                        <a:pt x="19" y="576"/>
                        <a:pt x="19" y="576"/>
                        <a:pt x="469" y="827"/>
                      </a:cubicBezTo>
                      <a:cubicBezTo>
                        <a:pt x="473" y="831"/>
                        <a:pt x="480" y="831"/>
                        <a:pt x="488"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66" name="Freeform 58">
                  <a:extLst>
                    <a:ext uri="{FF2B5EF4-FFF2-40B4-BE49-F238E27FC236}">
                      <a16:creationId xmlns:a16="http://schemas.microsoft.com/office/drawing/2014/main" id="{E26DE0EC-EFA6-43D7-9CF6-9C9F7B3B83D4}"/>
                    </a:ext>
                  </a:extLst>
                </p:cNvPr>
                <p:cNvSpPr>
                  <a:spLocks/>
                </p:cNvSpPr>
                <p:nvPr/>
              </p:nvSpPr>
              <p:spPr bwMode="auto">
                <a:xfrm>
                  <a:off x="3972950" y="3440525"/>
                  <a:ext cx="201480" cy="309488"/>
                </a:xfrm>
                <a:custGeom>
                  <a:avLst/>
                  <a:gdLst>
                    <a:gd name="T0" fmla="*/ 488 w 528"/>
                    <a:gd name="T1" fmla="*/ 831 h 831"/>
                    <a:gd name="T2" fmla="*/ 509 w 528"/>
                    <a:gd name="T3" fmla="*/ 827 h 831"/>
                    <a:gd name="T4" fmla="*/ 528 w 528"/>
                    <a:gd name="T5" fmla="*/ 792 h 831"/>
                    <a:gd name="T6" fmla="*/ 528 w 528"/>
                    <a:gd name="T7" fmla="*/ 290 h 831"/>
                    <a:gd name="T8" fmla="*/ 509 w 528"/>
                    <a:gd name="T9" fmla="*/ 255 h 831"/>
                    <a:gd name="T10" fmla="*/ 59 w 528"/>
                    <a:gd name="T11" fmla="*/ 4 h 831"/>
                    <a:gd name="T12" fmla="*/ 40 w 528"/>
                    <a:gd name="T13" fmla="*/ 0 h 831"/>
                    <a:gd name="T14" fmla="*/ 19 w 528"/>
                    <a:gd name="T15" fmla="*/ 4 h 831"/>
                    <a:gd name="T16" fmla="*/ 0 w 528"/>
                    <a:gd name="T17" fmla="*/ 38 h 831"/>
                    <a:gd name="T18" fmla="*/ 0 w 528"/>
                    <a:gd name="T19" fmla="*/ 541 h 831"/>
                    <a:gd name="T20" fmla="*/ 19 w 528"/>
                    <a:gd name="T21" fmla="*/ 575 h 831"/>
                    <a:gd name="T22" fmla="*/ 469 w 528"/>
                    <a:gd name="T23" fmla="*/ 827 h 831"/>
                    <a:gd name="T24" fmla="*/ 488 w 528"/>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1">
                      <a:moveTo>
                        <a:pt x="488" y="831"/>
                      </a:moveTo>
                      <a:cubicBezTo>
                        <a:pt x="495" y="831"/>
                        <a:pt x="502" y="829"/>
                        <a:pt x="509" y="827"/>
                      </a:cubicBezTo>
                      <a:cubicBezTo>
                        <a:pt x="520" y="820"/>
                        <a:pt x="528" y="806"/>
                        <a:pt x="528" y="792"/>
                      </a:cubicBezTo>
                      <a:cubicBezTo>
                        <a:pt x="528" y="792"/>
                        <a:pt x="528" y="792"/>
                        <a:pt x="528" y="290"/>
                      </a:cubicBezTo>
                      <a:cubicBezTo>
                        <a:pt x="528" y="276"/>
                        <a:pt x="520" y="262"/>
                        <a:pt x="509" y="255"/>
                      </a:cubicBezTo>
                      <a:cubicBezTo>
                        <a:pt x="509" y="255"/>
                        <a:pt x="509" y="255"/>
                        <a:pt x="59" y="4"/>
                      </a:cubicBezTo>
                      <a:cubicBezTo>
                        <a:pt x="54" y="2"/>
                        <a:pt x="47" y="0"/>
                        <a:pt x="40" y="0"/>
                      </a:cubicBezTo>
                      <a:cubicBezTo>
                        <a:pt x="33" y="0"/>
                        <a:pt x="26" y="2"/>
                        <a:pt x="19" y="4"/>
                      </a:cubicBezTo>
                      <a:cubicBezTo>
                        <a:pt x="7" y="11"/>
                        <a:pt x="0" y="25"/>
                        <a:pt x="0" y="38"/>
                      </a:cubicBezTo>
                      <a:cubicBezTo>
                        <a:pt x="0" y="38"/>
                        <a:pt x="0" y="38"/>
                        <a:pt x="0" y="541"/>
                      </a:cubicBezTo>
                      <a:cubicBezTo>
                        <a:pt x="0" y="555"/>
                        <a:pt x="7" y="568"/>
                        <a:pt x="19" y="575"/>
                      </a:cubicBezTo>
                      <a:cubicBezTo>
                        <a:pt x="19" y="575"/>
                        <a:pt x="19" y="575"/>
                        <a:pt x="469" y="827"/>
                      </a:cubicBezTo>
                      <a:cubicBezTo>
                        <a:pt x="473" y="829"/>
                        <a:pt x="480" y="831"/>
                        <a:pt x="488"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67" name="Freeform 59">
                  <a:extLst>
                    <a:ext uri="{FF2B5EF4-FFF2-40B4-BE49-F238E27FC236}">
                      <a16:creationId xmlns:a16="http://schemas.microsoft.com/office/drawing/2014/main" id="{DA44BEE2-C6F9-4947-8122-1181F7106683}"/>
                    </a:ext>
                  </a:extLst>
                </p:cNvPr>
                <p:cNvSpPr>
                  <a:spLocks/>
                </p:cNvSpPr>
                <p:nvPr/>
              </p:nvSpPr>
              <p:spPr bwMode="auto">
                <a:xfrm>
                  <a:off x="3747064" y="2814798"/>
                  <a:ext cx="201480" cy="309488"/>
                </a:xfrm>
                <a:custGeom>
                  <a:avLst/>
                  <a:gdLst>
                    <a:gd name="T0" fmla="*/ 487 w 527"/>
                    <a:gd name="T1" fmla="*/ 831 h 831"/>
                    <a:gd name="T2" fmla="*/ 506 w 527"/>
                    <a:gd name="T3" fmla="*/ 827 h 831"/>
                    <a:gd name="T4" fmla="*/ 527 w 527"/>
                    <a:gd name="T5" fmla="*/ 792 h 831"/>
                    <a:gd name="T6" fmla="*/ 527 w 527"/>
                    <a:gd name="T7" fmla="*/ 290 h 831"/>
                    <a:gd name="T8" fmla="*/ 506 w 527"/>
                    <a:gd name="T9" fmla="*/ 256 h 831"/>
                    <a:gd name="T10" fmla="*/ 61 w 527"/>
                    <a:gd name="T11" fmla="*/ 4 h 831"/>
                    <a:gd name="T12" fmla="*/ 40 w 527"/>
                    <a:gd name="T13" fmla="*/ 0 h 831"/>
                    <a:gd name="T14" fmla="*/ 21 w 527"/>
                    <a:gd name="T15" fmla="*/ 4 h 831"/>
                    <a:gd name="T16" fmla="*/ 0 w 527"/>
                    <a:gd name="T17" fmla="*/ 39 h 831"/>
                    <a:gd name="T18" fmla="*/ 0 w 527"/>
                    <a:gd name="T19" fmla="*/ 541 h 831"/>
                    <a:gd name="T20" fmla="*/ 21 w 527"/>
                    <a:gd name="T21" fmla="*/ 575 h 831"/>
                    <a:gd name="T22" fmla="*/ 466 w 527"/>
                    <a:gd name="T23" fmla="*/ 827 h 831"/>
                    <a:gd name="T24" fmla="*/ 487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87" y="831"/>
                      </a:moveTo>
                      <a:cubicBezTo>
                        <a:pt x="494" y="831"/>
                        <a:pt x="501" y="831"/>
                        <a:pt x="506" y="827"/>
                      </a:cubicBezTo>
                      <a:cubicBezTo>
                        <a:pt x="520" y="820"/>
                        <a:pt x="527" y="806"/>
                        <a:pt x="527" y="792"/>
                      </a:cubicBezTo>
                      <a:cubicBezTo>
                        <a:pt x="527" y="792"/>
                        <a:pt x="527" y="792"/>
                        <a:pt x="527" y="290"/>
                      </a:cubicBezTo>
                      <a:cubicBezTo>
                        <a:pt x="527" y="276"/>
                        <a:pt x="520" y="262"/>
                        <a:pt x="506" y="256"/>
                      </a:cubicBezTo>
                      <a:cubicBezTo>
                        <a:pt x="506" y="256"/>
                        <a:pt x="506" y="256"/>
                        <a:pt x="61" y="4"/>
                      </a:cubicBezTo>
                      <a:cubicBezTo>
                        <a:pt x="54" y="2"/>
                        <a:pt x="47" y="0"/>
                        <a:pt x="40" y="0"/>
                      </a:cubicBezTo>
                      <a:cubicBezTo>
                        <a:pt x="32" y="0"/>
                        <a:pt x="25" y="2"/>
                        <a:pt x="21" y="4"/>
                      </a:cubicBezTo>
                      <a:cubicBezTo>
                        <a:pt x="7" y="11"/>
                        <a:pt x="0" y="25"/>
                        <a:pt x="0" y="39"/>
                      </a:cubicBezTo>
                      <a:cubicBezTo>
                        <a:pt x="0" y="39"/>
                        <a:pt x="0" y="39"/>
                        <a:pt x="0" y="541"/>
                      </a:cubicBezTo>
                      <a:cubicBezTo>
                        <a:pt x="0" y="555"/>
                        <a:pt x="7" y="569"/>
                        <a:pt x="21" y="575"/>
                      </a:cubicBezTo>
                      <a:cubicBezTo>
                        <a:pt x="21" y="575"/>
                        <a:pt x="21" y="575"/>
                        <a:pt x="466" y="827"/>
                      </a:cubicBezTo>
                      <a:cubicBezTo>
                        <a:pt x="473" y="831"/>
                        <a:pt x="480" y="831"/>
                        <a:pt x="487"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68" name="Freeform 60">
                  <a:extLst>
                    <a:ext uri="{FF2B5EF4-FFF2-40B4-BE49-F238E27FC236}">
                      <a16:creationId xmlns:a16="http://schemas.microsoft.com/office/drawing/2014/main" id="{4F6F0ECE-ACA2-4792-934C-0CBBCA969170}"/>
                    </a:ext>
                  </a:extLst>
                </p:cNvPr>
                <p:cNvSpPr>
                  <a:spLocks/>
                </p:cNvSpPr>
                <p:nvPr/>
              </p:nvSpPr>
              <p:spPr bwMode="auto">
                <a:xfrm>
                  <a:off x="3514948" y="2685499"/>
                  <a:ext cx="201480" cy="310527"/>
                </a:xfrm>
                <a:custGeom>
                  <a:avLst/>
                  <a:gdLst>
                    <a:gd name="T0" fmla="*/ 488 w 528"/>
                    <a:gd name="T1" fmla="*/ 832 h 832"/>
                    <a:gd name="T2" fmla="*/ 509 w 528"/>
                    <a:gd name="T3" fmla="*/ 827 h 832"/>
                    <a:gd name="T4" fmla="*/ 528 w 528"/>
                    <a:gd name="T5" fmla="*/ 793 h 832"/>
                    <a:gd name="T6" fmla="*/ 528 w 528"/>
                    <a:gd name="T7" fmla="*/ 291 h 832"/>
                    <a:gd name="T8" fmla="*/ 509 w 528"/>
                    <a:gd name="T9" fmla="*/ 256 h 832"/>
                    <a:gd name="T10" fmla="*/ 61 w 528"/>
                    <a:gd name="T11" fmla="*/ 5 h 832"/>
                    <a:gd name="T12" fmla="*/ 40 w 528"/>
                    <a:gd name="T13" fmla="*/ 0 h 832"/>
                    <a:gd name="T14" fmla="*/ 21 w 528"/>
                    <a:gd name="T15" fmla="*/ 5 h 832"/>
                    <a:gd name="T16" fmla="*/ 0 w 528"/>
                    <a:gd name="T17" fmla="*/ 39 h 832"/>
                    <a:gd name="T18" fmla="*/ 0 w 528"/>
                    <a:gd name="T19" fmla="*/ 542 h 832"/>
                    <a:gd name="T20" fmla="*/ 21 w 528"/>
                    <a:gd name="T21" fmla="*/ 576 h 832"/>
                    <a:gd name="T22" fmla="*/ 469 w 528"/>
                    <a:gd name="T23" fmla="*/ 827 h 832"/>
                    <a:gd name="T24" fmla="*/ 488 w 528"/>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2">
                      <a:moveTo>
                        <a:pt x="488" y="832"/>
                      </a:moveTo>
                      <a:cubicBezTo>
                        <a:pt x="495" y="832"/>
                        <a:pt x="502" y="830"/>
                        <a:pt x="509" y="827"/>
                      </a:cubicBezTo>
                      <a:cubicBezTo>
                        <a:pt x="521" y="821"/>
                        <a:pt x="528" y="807"/>
                        <a:pt x="528" y="793"/>
                      </a:cubicBezTo>
                      <a:cubicBezTo>
                        <a:pt x="528" y="793"/>
                        <a:pt x="528" y="793"/>
                        <a:pt x="528" y="291"/>
                      </a:cubicBezTo>
                      <a:cubicBezTo>
                        <a:pt x="528" y="277"/>
                        <a:pt x="521" y="263"/>
                        <a:pt x="509" y="256"/>
                      </a:cubicBezTo>
                      <a:cubicBezTo>
                        <a:pt x="509" y="256"/>
                        <a:pt x="509" y="256"/>
                        <a:pt x="61" y="5"/>
                      </a:cubicBezTo>
                      <a:cubicBezTo>
                        <a:pt x="54" y="0"/>
                        <a:pt x="47" y="0"/>
                        <a:pt x="40" y="0"/>
                      </a:cubicBezTo>
                      <a:cubicBezTo>
                        <a:pt x="33" y="0"/>
                        <a:pt x="26" y="0"/>
                        <a:pt x="21" y="5"/>
                      </a:cubicBezTo>
                      <a:cubicBezTo>
                        <a:pt x="10" y="12"/>
                        <a:pt x="0" y="26"/>
                        <a:pt x="0" y="39"/>
                      </a:cubicBezTo>
                      <a:cubicBezTo>
                        <a:pt x="0" y="39"/>
                        <a:pt x="0" y="39"/>
                        <a:pt x="0" y="542"/>
                      </a:cubicBezTo>
                      <a:cubicBezTo>
                        <a:pt x="0" y="556"/>
                        <a:pt x="10" y="569"/>
                        <a:pt x="21" y="576"/>
                      </a:cubicBezTo>
                      <a:cubicBezTo>
                        <a:pt x="21" y="576"/>
                        <a:pt x="21" y="576"/>
                        <a:pt x="469" y="827"/>
                      </a:cubicBezTo>
                      <a:cubicBezTo>
                        <a:pt x="474" y="830"/>
                        <a:pt x="481" y="832"/>
                        <a:pt x="488"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69" name="Freeform 61">
                  <a:extLst>
                    <a:ext uri="{FF2B5EF4-FFF2-40B4-BE49-F238E27FC236}">
                      <a16:creationId xmlns:a16="http://schemas.microsoft.com/office/drawing/2014/main" id="{BB67253B-F254-4D4D-8DCF-AAF66D02F661}"/>
                    </a:ext>
                  </a:extLst>
                </p:cNvPr>
                <p:cNvSpPr>
                  <a:spLocks/>
                </p:cNvSpPr>
                <p:nvPr/>
              </p:nvSpPr>
              <p:spPr bwMode="auto">
                <a:xfrm>
                  <a:off x="3747064" y="3066128"/>
                  <a:ext cx="201480" cy="310008"/>
                </a:xfrm>
                <a:custGeom>
                  <a:avLst/>
                  <a:gdLst>
                    <a:gd name="T0" fmla="*/ 487 w 527"/>
                    <a:gd name="T1" fmla="*/ 832 h 832"/>
                    <a:gd name="T2" fmla="*/ 506 w 527"/>
                    <a:gd name="T3" fmla="*/ 827 h 832"/>
                    <a:gd name="T4" fmla="*/ 527 w 527"/>
                    <a:gd name="T5" fmla="*/ 793 h 832"/>
                    <a:gd name="T6" fmla="*/ 527 w 527"/>
                    <a:gd name="T7" fmla="*/ 290 h 832"/>
                    <a:gd name="T8" fmla="*/ 506 w 527"/>
                    <a:gd name="T9" fmla="*/ 256 h 832"/>
                    <a:gd name="T10" fmla="*/ 61 w 527"/>
                    <a:gd name="T11" fmla="*/ 5 h 832"/>
                    <a:gd name="T12" fmla="*/ 40 w 527"/>
                    <a:gd name="T13" fmla="*/ 0 h 832"/>
                    <a:gd name="T14" fmla="*/ 21 w 527"/>
                    <a:gd name="T15" fmla="*/ 5 h 832"/>
                    <a:gd name="T16" fmla="*/ 0 w 527"/>
                    <a:gd name="T17" fmla="*/ 39 h 832"/>
                    <a:gd name="T18" fmla="*/ 0 w 527"/>
                    <a:gd name="T19" fmla="*/ 542 h 832"/>
                    <a:gd name="T20" fmla="*/ 21 w 527"/>
                    <a:gd name="T21" fmla="*/ 576 h 832"/>
                    <a:gd name="T22" fmla="*/ 466 w 527"/>
                    <a:gd name="T23" fmla="*/ 827 h 832"/>
                    <a:gd name="T24" fmla="*/ 487 w 527"/>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2">
                      <a:moveTo>
                        <a:pt x="487" y="832"/>
                      </a:moveTo>
                      <a:cubicBezTo>
                        <a:pt x="494" y="832"/>
                        <a:pt x="501" y="830"/>
                        <a:pt x="506" y="827"/>
                      </a:cubicBezTo>
                      <a:cubicBezTo>
                        <a:pt x="520" y="821"/>
                        <a:pt x="527" y="807"/>
                        <a:pt x="527" y="793"/>
                      </a:cubicBezTo>
                      <a:cubicBezTo>
                        <a:pt x="527" y="793"/>
                        <a:pt x="527" y="793"/>
                        <a:pt x="527" y="290"/>
                      </a:cubicBezTo>
                      <a:cubicBezTo>
                        <a:pt x="527" y="277"/>
                        <a:pt x="520" y="263"/>
                        <a:pt x="506" y="256"/>
                      </a:cubicBezTo>
                      <a:cubicBezTo>
                        <a:pt x="506" y="256"/>
                        <a:pt x="506" y="256"/>
                        <a:pt x="61" y="5"/>
                      </a:cubicBezTo>
                      <a:cubicBezTo>
                        <a:pt x="54" y="3"/>
                        <a:pt x="47" y="0"/>
                        <a:pt x="40" y="0"/>
                      </a:cubicBezTo>
                      <a:cubicBezTo>
                        <a:pt x="32" y="0"/>
                        <a:pt x="25" y="3"/>
                        <a:pt x="21" y="5"/>
                      </a:cubicBezTo>
                      <a:cubicBezTo>
                        <a:pt x="7" y="12"/>
                        <a:pt x="0" y="25"/>
                        <a:pt x="0" y="39"/>
                      </a:cubicBezTo>
                      <a:cubicBezTo>
                        <a:pt x="0" y="39"/>
                        <a:pt x="0" y="39"/>
                        <a:pt x="0" y="542"/>
                      </a:cubicBezTo>
                      <a:cubicBezTo>
                        <a:pt x="0" y="556"/>
                        <a:pt x="7" y="569"/>
                        <a:pt x="21" y="576"/>
                      </a:cubicBezTo>
                      <a:cubicBezTo>
                        <a:pt x="21" y="576"/>
                        <a:pt x="21" y="576"/>
                        <a:pt x="466" y="827"/>
                      </a:cubicBezTo>
                      <a:cubicBezTo>
                        <a:pt x="473" y="830"/>
                        <a:pt x="480" y="832"/>
                        <a:pt x="487"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70" name="Freeform 62">
                  <a:extLst>
                    <a:ext uri="{FF2B5EF4-FFF2-40B4-BE49-F238E27FC236}">
                      <a16:creationId xmlns:a16="http://schemas.microsoft.com/office/drawing/2014/main" id="{38C6A1A8-59A5-479C-A102-A0BB3BAA0EC7}"/>
                    </a:ext>
                  </a:extLst>
                </p:cNvPr>
                <p:cNvSpPr>
                  <a:spLocks/>
                </p:cNvSpPr>
                <p:nvPr/>
              </p:nvSpPr>
              <p:spPr bwMode="auto">
                <a:xfrm>
                  <a:off x="3514948" y="3194907"/>
                  <a:ext cx="201480" cy="309488"/>
                </a:xfrm>
                <a:custGeom>
                  <a:avLst/>
                  <a:gdLst>
                    <a:gd name="T0" fmla="*/ 488 w 528"/>
                    <a:gd name="T1" fmla="*/ 831 h 831"/>
                    <a:gd name="T2" fmla="*/ 509 w 528"/>
                    <a:gd name="T3" fmla="*/ 824 h 831"/>
                    <a:gd name="T4" fmla="*/ 528 w 528"/>
                    <a:gd name="T5" fmla="*/ 792 h 831"/>
                    <a:gd name="T6" fmla="*/ 528 w 528"/>
                    <a:gd name="T7" fmla="*/ 289 h 831"/>
                    <a:gd name="T8" fmla="*/ 509 w 528"/>
                    <a:gd name="T9" fmla="*/ 257 h 831"/>
                    <a:gd name="T10" fmla="*/ 61 w 528"/>
                    <a:gd name="T11" fmla="*/ 6 h 831"/>
                    <a:gd name="T12" fmla="*/ 40 w 528"/>
                    <a:gd name="T13" fmla="*/ 0 h 831"/>
                    <a:gd name="T14" fmla="*/ 21 w 528"/>
                    <a:gd name="T15" fmla="*/ 6 h 831"/>
                    <a:gd name="T16" fmla="*/ 0 w 528"/>
                    <a:gd name="T17" fmla="*/ 38 h 831"/>
                    <a:gd name="T18" fmla="*/ 0 w 528"/>
                    <a:gd name="T19" fmla="*/ 540 h 831"/>
                    <a:gd name="T20" fmla="*/ 21 w 528"/>
                    <a:gd name="T21" fmla="*/ 574 h 831"/>
                    <a:gd name="T22" fmla="*/ 469 w 528"/>
                    <a:gd name="T23" fmla="*/ 824 h 831"/>
                    <a:gd name="T24" fmla="*/ 488 w 528"/>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1">
                      <a:moveTo>
                        <a:pt x="488" y="831"/>
                      </a:moveTo>
                      <a:cubicBezTo>
                        <a:pt x="495" y="831"/>
                        <a:pt x="502" y="829"/>
                        <a:pt x="509" y="824"/>
                      </a:cubicBezTo>
                      <a:cubicBezTo>
                        <a:pt x="521" y="817"/>
                        <a:pt x="528" y="806"/>
                        <a:pt x="528" y="792"/>
                      </a:cubicBezTo>
                      <a:cubicBezTo>
                        <a:pt x="528" y="792"/>
                        <a:pt x="528" y="792"/>
                        <a:pt x="528" y="289"/>
                      </a:cubicBezTo>
                      <a:cubicBezTo>
                        <a:pt x="528" y="275"/>
                        <a:pt x="521" y="264"/>
                        <a:pt x="509" y="257"/>
                      </a:cubicBezTo>
                      <a:cubicBezTo>
                        <a:pt x="509" y="257"/>
                        <a:pt x="509" y="257"/>
                        <a:pt x="61" y="6"/>
                      </a:cubicBezTo>
                      <a:cubicBezTo>
                        <a:pt x="54" y="2"/>
                        <a:pt x="47" y="0"/>
                        <a:pt x="40" y="0"/>
                      </a:cubicBezTo>
                      <a:cubicBezTo>
                        <a:pt x="33" y="0"/>
                        <a:pt x="26" y="2"/>
                        <a:pt x="21" y="6"/>
                      </a:cubicBezTo>
                      <a:cubicBezTo>
                        <a:pt x="10" y="13"/>
                        <a:pt x="0" y="25"/>
                        <a:pt x="0" y="38"/>
                      </a:cubicBezTo>
                      <a:cubicBezTo>
                        <a:pt x="0" y="38"/>
                        <a:pt x="0" y="38"/>
                        <a:pt x="0" y="540"/>
                      </a:cubicBezTo>
                      <a:cubicBezTo>
                        <a:pt x="0" y="555"/>
                        <a:pt x="10" y="567"/>
                        <a:pt x="21" y="574"/>
                      </a:cubicBezTo>
                      <a:cubicBezTo>
                        <a:pt x="21" y="574"/>
                        <a:pt x="21" y="574"/>
                        <a:pt x="469" y="824"/>
                      </a:cubicBezTo>
                      <a:cubicBezTo>
                        <a:pt x="474" y="829"/>
                        <a:pt x="481" y="831"/>
                        <a:pt x="488"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71" name="Freeform 63">
                  <a:extLst>
                    <a:ext uri="{FF2B5EF4-FFF2-40B4-BE49-F238E27FC236}">
                      <a16:creationId xmlns:a16="http://schemas.microsoft.com/office/drawing/2014/main" id="{2D05B0B6-1CD6-45B8-A25B-DB659E450849}"/>
                    </a:ext>
                  </a:extLst>
                </p:cNvPr>
                <p:cNvSpPr>
                  <a:spLocks noEditPoints="1"/>
                </p:cNvSpPr>
                <p:nvPr/>
              </p:nvSpPr>
              <p:spPr bwMode="auto">
                <a:xfrm>
                  <a:off x="3747064" y="1908144"/>
                  <a:ext cx="396728" cy="455924"/>
                </a:xfrm>
                <a:custGeom>
                  <a:avLst/>
                  <a:gdLst>
                    <a:gd name="T0" fmla="*/ 487 w 1039"/>
                    <a:gd name="T1" fmla="*/ 1224 h 1224"/>
                    <a:gd name="T2" fmla="*/ 506 w 1039"/>
                    <a:gd name="T3" fmla="*/ 1219 h 1224"/>
                    <a:gd name="T4" fmla="*/ 527 w 1039"/>
                    <a:gd name="T5" fmla="*/ 1185 h 1224"/>
                    <a:gd name="T6" fmla="*/ 527 w 1039"/>
                    <a:gd name="T7" fmla="*/ 682 h 1224"/>
                    <a:gd name="T8" fmla="*/ 506 w 1039"/>
                    <a:gd name="T9" fmla="*/ 650 h 1224"/>
                    <a:gd name="T10" fmla="*/ 61 w 1039"/>
                    <a:gd name="T11" fmla="*/ 396 h 1224"/>
                    <a:gd name="T12" fmla="*/ 40 w 1039"/>
                    <a:gd name="T13" fmla="*/ 392 h 1224"/>
                    <a:gd name="T14" fmla="*/ 21 w 1039"/>
                    <a:gd name="T15" fmla="*/ 396 h 1224"/>
                    <a:gd name="T16" fmla="*/ 0 w 1039"/>
                    <a:gd name="T17" fmla="*/ 431 h 1224"/>
                    <a:gd name="T18" fmla="*/ 0 w 1039"/>
                    <a:gd name="T19" fmla="*/ 933 h 1224"/>
                    <a:gd name="T20" fmla="*/ 21 w 1039"/>
                    <a:gd name="T21" fmla="*/ 968 h 1224"/>
                    <a:gd name="T22" fmla="*/ 466 w 1039"/>
                    <a:gd name="T23" fmla="*/ 1219 h 1224"/>
                    <a:gd name="T24" fmla="*/ 487 w 1039"/>
                    <a:gd name="T25" fmla="*/ 1224 h 1224"/>
                    <a:gd name="T26" fmla="*/ 551 w 1039"/>
                    <a:gd name="T27" fmla="*/ 580 h 1224"/>
                    <a:gd name="T28" fmla="*/ 570 w 1039"/>
                    <a:gd name="T29" fmla="*/ 576 h 1224"/>
                    <a:gd name="T30" fmla="*/ 1018 w 1039"/>
                    <a:gd name="T31" fmla="*/ 324 h 1224"/>
                    <a:gd name="T32" fmla="*/ 1039 w 1039"/>
                    <a:gd name="T33" fmla="*/ 290 h 1224"/>
                    <a:gd name="T34" fmla="*/ 1018 w 1039"/>
                    <a:gd name="T35" fmla="*/ 256 h 1224"/>
                    <a:gd name="T36" fmla="*/ 570 w 1039"/>
                    <a:gd name="T37" fmla="*/ 4 h 1224"/>
                    <a:gd name="T38" fmla="*/ 551 w 1039"/>
                    <a:gd name="T39" fmla="*/ 0 h 1224"/>
                    <a:gd name="T40" fmla="*/ 530 w 1039"/>
                    <a:gd name="T41" fmla="*/ 4 h 1224"/>
                    <a:gd name="T42" fmla="*/ 85 w 1039"/>
                    <a:gd name="T43" fmla="*/ 256 h 1224"/>
                    <a:gd name="T44" fmla="*/ 64 w 1039"/>
                    <a:gd name="T45" fmla="*/ 290 h 1224"/>
                    <a:gd name="T46" fmla="*/ 85 w 1039"/>
                    <a:gd name="T47" fmla="*/ 324 h 1224"/>
                    <a:gd name="T48" fmla="*/ 530 w 1039"/>
                    <a:gd name="T49" fmla="*/ 576 h 1224"/>
                    <a:gd name="T50" fmla="*/ 551 w 1039"/>
                    <a:gd name="T51" fmla="*/ 580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39" h="1224">
                      <a:moveTo>
                        <a:pt x="487" y="1224"/>
                      </a:moveTo>
                      <a:cubicBezTo>
                        <a:pt x="494" y="1224"/>
                        <a:pt x="501" y="1224"/>
                        <a:pt x="506" y="1219"/>
                      </a:cubicBezTo>
                      <a:cubicBezTo>
                        <a:pt x="520" y="1212"/>
                        <a:pt x="527" y="1201"/>
                        <a:pt x="527" y="1185"/>
                      </a:cubicBezTo>
                      <a:cubicBezTo>
                        <a:pt x="527" y="1185"/>
                        <a:pt x="527" y="1185"/>
                        <a:pt x="527" y="682"/>
                      </a:cubicBezTo>
                      <a:cubicBezTo>
                        <a:pt x="527" y="668"/>
                        <a:pt x="520" y="657"/>
                        <a:pt x="506" y="650"/>
                      </a:cubicBezTo>
                      <a:cubicBezTo>
                        <a:pt x="506" y="650"/>
                        <a:pt x="506" y="650"/>
                        <a:pt x="61" y="396"/>
                      </a:cubicBezTo>
                      <a:cubicBezTo>
                        <a:pt x="54" y="394"/>
                        <a:pt x="47" y="392"/>
                        <a:pt x="40" y="392"/>
                      </a:cubicBezTo>
                      <a:cubicBezTo>
                        <a:pt x="32" y="392"/>
                        <a:pt x="25" y="394"/>
                        <a:pt x="21" y="396"/>
                      </a:cubicBezTo>
                      <a:cubicBezTo>
                        <a:pt x="7" y="403"/>
                        <a:pt x="0" y="417"/>
                        <a:pt x="0" y="431"/>
                      </a:cubicBezTo>
                      <a:cubicBezTo>
                        <a:pt x="0" y="431"/>
                        <a:pt x="0" y="431"/>
                        <a:pt x="0" y="933"/>
                      </a:cubicBezTo>
                      <a:cubicBezTo>
                        <a:pt x="0" y="947"/>
                        <a:pt x="7" y="961"/>
                        <a:pt x="21" y="968"/>
                      </a:cubicBezTo>
                      <a:cubicBezTo>
                        <a:pt x="21" y="968"/>
                        <a:pt x="21" y="968"/>
                        <a:pt x="466" y="1219"/>
                      </a:cubicBezTo>
                      <a:cubicBezTo>
                        <a:pt x="473" y="1224"/>
                        <a:pt x="480" y="1224"/>
                        <a:pt x="487" y="1224"/>
                      </a:cubicBezTo>
                      <a:close/>
                      <a:moveTo>
                        <a:pt x="551" y="580"/>
                      </a:moveTo>
                      <a:cubicBezTo>
                        <a:pt x="558" y="580"/>
                        <a:pt x="565" y="580"/>
                        <a:pt x="570" y="576"/>
                      </a:cubicBezTo>
                      <a:cubicBezTo>
                        <a:pt x="570" y="576"/>
                        <a:pt x="570" y="576"/>
                        <a:pt x="1018" y="324"/>
                      </a:cubicBezTo>
                      <a:cubicBezTo>
                        <a:pt x="1029" y="317"/>
                        <a:pt x="1039" y="304"/>
                        <a:pt x="1039" y="290"/>
                      </a:cubicBezTo>
                      <a:cubicBezTo>
                        <a:pt x="1039" y="276"/>
                        <a:pt x="1029" y="265"/>
                        <a:pt x="1018" y="256"/>
                      </a:cubicBezTo>
                      <a:cubicBezTo>
                        <a:pt x="1018" y="256"/>
                        <a:pt x="1018" y="256"/>
                        <a:pt x="570" y="4"/>
                      </a:cubicBezTo>
                      <a:cubicBezTo>
                        <a:pt x="565" y="2"/>
                        <a:pt x="558" y="0"/>
                        <a:pt x="551" y="0"/>
                      </a:cubicBezTo>
                      <a:cubicBezTo>
                        <a:pt x="544" y="0"/>
                        <a:pt x="537" y="2"/>
                        <a:pt x="530" y="4"/>
                      </a:cubicBezTo>
                      <a:cubicBezTo>
                        <a:pt x="530" y="4"/>
                        <a:pt x="530" y="4"/>
                        <a:pt x="85" y="256"/>
                      </a:cubicBezTo>
                      <a:cubicBezTo>
                        <a:pt x="71" y="265"/>
                        <a:pt x="64" y="276"/>
                        <a:pt x="64" y="290"/>
                      </a:cubicBezTo>
                      <a:cubicBezTo>
                        <a:pt x="64" y="304"/>
                        <a:pt x="71" y="317"/>
                        <a:pt x="85" y="324"/>
                      </a:cubicBezTo>
                      <a:cubicBezTo>
                        <a:pt x="85" y="324"/>
                        <a:pt x="85" y="324"/>
                        <a:pt x="530" y="576"/>
                      </a:cubicBezTo>
                      <a:cubicBezTo>
                        <a:pt x="537" y="580"/>
                        <a:pt x="544" y="580"/>
                        <a:pt x="551" y="580"/>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72" name="Freeform 64">
                  <a:extLst>
                    <a:ext uri="{FF2B5EF4-FFF2-40B4-BE49-F238E27FC236}">
                      <a16:creationId xmlns:a16="http://schemas.microsoft.com/office/drawing/2014/main" id="{6E1269F7-9F7E-4339-A4B5-6601B693AC27}"/>
                    </a:ext>
                  </a:extLst>
                </p:cNvPr>
                <p:cNvSpPr>
                  <a:spLocks noEditPoints="1"/>
                </p:cNvSpPr>
                <p:nvPr/>
              </p:nvSpPr>
              <p:spPr bwMode="auto">
                <a:xfrm>
                  <a:off x="3514948" y="1779363"/>
                  <a:ext cx="396728" cy="455924"/>
                </a:xfrm>
                <a:custGeom>
                  <a:avLst/>
                  <a:gdLst>
                    <a:gd name="T0" fmla="*/ 488 w 1039"/>
                    <a:gd name="T1" fmla="*/ 1224 h 1224"/>
                    <a:gd name="T2" fmla="*/ 509 w 1039"/>
                    <a:gd name="T3" fmla="*/ 1220 h 1224"/>
                    <a:gd name="T4" fmla="*/ 528 w 1039"/>
                    <a:gd name="T5" fmla="*/ 1185 h 1224"/>
                    <a:gd name="T6" fmla="*/ 528 w 1039"/>
                    <a:gd name="T7" fmla="*/ 683 h 1224"/>
                    <a:gd name="T8" fmla="*/ 509 w 1039"/>
                    <a:gd name="T9" fmla="*/ 649 h 1224"/>
                    <a:gd name="T10" fmla="*/ 61 w 1039"/>
                    <a:gd name="T11" fmla="*/ 397 h 1224"/>
                    <a:gd name="T12" fmla="*/ 40 w 1039"/>
                    <a:gd name="T13" fmla="*/ 393 h 1224"/>
                    <a:gd name="T14" fmla="*/ 21 w 1039"/>
                    <a:gd name="T15" fmla="*/ 397 h 1224"/>
                    <a:gd name="T16" fmla="*/ 0 w 1039"/>
                    <a:gd name="T17" fmla="*/ 432 h 1224"/>
                    <a:gd name="T18" fmla="*/ 0 w 1039"/>
                    <a:gd name="T19" fmla="*/ 934 h 1224"/>
                    <a:gd name="T20" fmla="*/ 21 w 1039"/>
                    <a:gd name="T21" fmla="*/ 968 h 1224"/>
                    <a:gd name="T22" fmla="*/ 469 w 1039"/>
                    <a:gd name="T23" fmla="*/ 1220 h 1224"/>
                    <a:gd name="T24" fmla="*/ 488 w 1039"/>
                    <a:gd name="T25" fmla="*/ 1224 h 1224"/>
                    <a:gd name="T26" fmla="*/ 552 w 1039"/>
                    <a:gd name="T27" fmla="*/ 581 h 1224"/>
                    <a:gd name="T28" fmla="*/ 573 w 1039"/>
                    <a:gd name="T29" fmla="*/ 576 h 1224"/>
                    <a:gd name="T30" fmla="*/ 1018 w 1039"/>
                    <a:gd name="T31" fmla="*/ 325 h 1224"/>
                    <a:gd name="T32" fmla="*/ 1039 w 1039"/>
                    <a:gd name="T33" fmla="*/ 291 h 1224"/>
                    <a:gd name="T34" fmla="*/ 1018 w 1039"/>
                    <a:gd name="T35" fmla="*/ 256 h 1224"/>
                    <a:gd name="T36" fmla="*/ 573 w 1039"/>
                    <a:gd name="T37" fmla="*/ 5 h 1224"/>
                    <a:gd name="T38" fmla="*/ 552 w 1039"/>
                    <a:gd name="T39" fmla="*/ 0 h 1224"/>
                    <a:gd name="T40" fmla="*/ 533 w 1039"/>
                    <a:gd name="T41" fmla="*/ 5 h 1224"/>
                    <a:gd name="T42" fmla="*/ 85 w 1039"/>
                    <a:gd name="T43" fmla="*/ 256 h 1224"/>
                    <a:gd name="T44" fmla="*/ 64 w 1039"/>
                    <a:gd name="T45" fmla="*/ 291 h 1224"/>
                    <a:gd name="T46" fmla="*/ 85 w 1039"/>
                    <a:gd name="T47" fmla="*/ 325 h 1224"/>
                    <a:gd name="T48" fmla="*/ 533 w 1039"/>
                    <a:gd name="T49" fmla="*/ 576 h 1224"/>
                    <a:gd name="T50" fmla="*/ 552 w 1039"/>
                    <a:gd name="T51" fmla="*/ 581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39" h="1224">
                      <a:moveTo>
                        <a:pt x="488" y="1224"/>
                      </a:moveTo>
                      <a:cubicBezTo>
                        <a:pt x="495" y="1224"/>
                        <a:pt x="502" y="1222"/>
                        <a:pt x="509" y="1220"/>
                      </a:cubicBezTo>
                      <a:cubicBezTo>
                        <a:pt x="521" y="1213"/>
                        <a:pt x="528" y="1199"/>
                        <a:pt x="528" y="1185"/>
                      </a:cubicBezTo>
                      <a:cubicBezTo>
                        <a:pt x="528" y="1185"/>
                        <a:pt x="528" y="1185"/>
                        <a:pt x="528" y="683"/>
                      </a:cubicBezTo>
                      <a:cubicBezTo>
                        <a:pt x="528" y="669"/>
                        <a:pt x="521" y="655"/>
                        <a:pt x="509" y="649"/>
                      </a:cubicBezTo>
                      <a:cubicBezTo>
                        <a:pt x="509" y="649"/>
                        <a:pt x="509" y="649"/>
                        <a:pt x="61" y="397"/>
                      </a:cubicBezTo>
                      <a:cubicBezTo>
                        <a:pt x="54" y="395"/>
                        <a:pt x="47" y="393"/>
                        <a:pt x="40" y="393"/>
                      </a:cubicBezTo>
                      <a:cubicBezTo>
                        <a:pt x="33" y="393"/>
                        <a:pt x="26" y="395"/>
                        <a:pt x="21" y="397"/>
                      </a:cubicBezTo>
                      <a:cubicBezTo>
                        <a:pt x="10" y="404"/>
                        <a:pt x="0" y="418"/>
                        <a:pt x="0" y="432"/>
                      </a:cubicBezTo>
                      <a:cubicBezTo>
                        <a:pt x="0" y="432"/>
                        <a:pt x="0" y="432"/>
                        <a:pt x="0" y="934"/>
                      </a:cubicBezTo>
                      <a:cubicBezTo>
                        <a:pt x="0" y="948"/>
                        <a:pt x="10" y="962"/>
                        <a:pt x="21" y="968"/>
                      </a:cubicBezTo>
                      <a:cubicBezTo>
                        <a:pt x="21" y="968"/>
                        <a:pt x="21" y="968"/>
                        <a:pt x="469" y="1220"/>
                      </a:cubicBezTo>
                      <a:cubicBezTo>
                        <a:pt x="474" y="1222"/>
                        <a:pt x="481" y="1224"/>
                        <a:pt x="488" y="1224"/>
                      </a:cubicBezTo>
                      <a:close/>
                      <a:moveTo>
                        <a:pt x="552" y="581"/>
                      </a:moveTo>
                      <a:cubicBezTo>
                        <a:pt x="559" y="581"/>
                        <a:pt x="566" y="579"/>
                        <a:pt x="573" y="576"/>
                      </a:cubicBezTo>
                      <a:cubicBezTo>
                        <a:pt x="573" y="576"/>
                        <a:pt x="573" y="576"/>
                        <a:pt x="1018" y="325"/>
                      </a:cubicBezTo>
                      <a:cubicBezTo>
                        <a:pt x="1032" y="318"/>
                        <a:pt x="1039" y="304"/>
                        <a:pt x="1039" y="291"/>
                      </a:cubicBezTo>
                      <a:cubicBezTo>
                        <a:pt x="1039" y="277"/>
                        <a:pt x="1032" y="263"/>
                        <a:pt x="1018" y="256"/>
                      </a:cubicBezTo>
                      <a:cubicBezTo>
                        <a:pt x="1018" y="256"/>
                        <a:pt x="1018" y="256"/>
                        <a:pt x="573" y="5"/>
                      </a:cubicBezTo>
                      <a:cubicBezTo>
                        <a:pt x="566" y="3"/>
                        <a:pt x="559" y="0"/>
                        <a:pt x="552" y="0"/>
                      </a:cubicBezTo>
                      <a:cubicBezTo>
                        <a:pt x="545" y="0"/>
                        <a:pt x="538" y="3"/>
                        <a:pt x="533" y="5"/>
                      </a:cubicBezTo>
                      <a:cubicBezTo>
                        <a:pt x="533" y="5"/>
                        <a:pt x="533" y="5"/>
                        <a:pt x="85" y="256"/>
                      </a:cubicBezTo>
                      <a:cubicBezTo>
                        <a:pt x="74" y="263"/>
                        <a:pt x="64" y="277"/>
                        <a:pt x="64" y="291"/>
                      </a:cubicBezTo>
                      <a:cubicBezTo>
                        <a:pt x="64" y="304"/>
                        <a:pt x="74" y="318"/>
                        <a:pt x="85" y="325"/>
                      </a:cubicBezTo>
                      <a:cubicBezTo>
                        <a:pt x="85" y="325"/>
                        <a:pt x="85" y="325"/>
                        <a:pt x="533" y="576"/>
                      </a:cubicBezTo>
                      <a:cubicBezTo>
                        <a:pt x="538" y="579"/>
                        <a:pt x="545" y="581"/>
                        <a:pt x="552" y="58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73" name="Freeform 65">
                  <a:extLst>
                    <a:ext uri="{FF2B5EF4-FFF2-40B4-BE49-F238E27FC236}">
                      <a16:creationId xmlns:a16="http://schemas.microsoft.com/office/drawing/2014/main" id="{EBA6713F-F854-4C14-860B-2743F9BCFEFF}"/>
                    </a:ext>
                  </a:extLst>
                </p:cNvPr>
                <p:cNvSpPr>
                  <a:spLocks/>
                </p:cNvSpPr>
                <p:nvPr/>
              </p:nvSpPr>
              <p:spPr bwMode="auto">
                <a:xfrm>
                  <a:off x="3771470" y="1650584"/>
                  <a:ext cx="372322" cy="216538"/>
                </a:xfrm>
                <a:custGeom>
                  <a:avLst/>
                  <a:gdLst>
                    <a:gd name="T0" fmla="*/ 487 w 975"/>
                    <a:gd name="T1" fmla="*/ 581 h 581"/>
                    <a:gd name="T2" fmla="*/ 506 w 975"/>
                    <a:gd name="T3" fmla="*/ 574 h 581"/>
                    <a:gd name="T4" fmla="*/ 954 w 975"/>
                    <a:gd name="T5" fmla="*/ 324 h 581"/>
                    <a:gd name="T6" fmla="*/ 975 w 975"/>
                    <a:gd name="T7" fmla="*/ 289 h 581"/>
                    <a:gd name="T8" fmla="*/ 954 w 975"/>
                    <a:gd name="T9" fmla="*/ 258 h 581"/>
                    <a:gd name="T10" fmla="*/ 506 w 975"/>
                    <a:gd name="T11" fmla="*/ 7 h 581"/>
                    <a:gd name="T12" fmla="*/ 487 w 975"/>
                    <a:gd name="T13" fmla="*/ 0 h 581"/>
                    <a:gd name="T14" fmla="*/ 466 w 975"/>
                    <a:gd name="T15" fmla="*/ 7 h 581"/>
                    <a:gd name="T16" fmla="*/ 21 w 975"/>
                    <a:gd name="T17" fmla="*/ 258 h 581"/>
                    <a:gd name="T18" fmla="*/ 0 w 975"/>
                    <a:gd name="T19" fmla="*/ 289 h 581"/>
                    <a:gd name="T20" fmla="*/ 21 w 975"/>
                    <a:gd name="T21" fmla="*/ 324 h 581"/>
                    <a:gd name="T22" fmla="*/ 466 w 975"/>
                    <a:gd name="T23" fmla="*/ 574 h 581"/>
                    <a:gd name="T24" fmla="*/ 487 w 975"/>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5" h="581">
                      <a:moveTo>
                        <a:pt x="487" y="581"/>
                      </a:moveTo>
                      <a:cubicBezTo>
                        <a:pt x="494" y="581"/>
                        <a:pt x="501" y="579"/>
                        <a:pt x="506" y="574"/>
                      </a:cubicBezTo>
                      <a:cubicBezTo>
                        <a:pt x="506" y="574"/>
                        <a:pt x="506" y="574"/>
                        <a:pt x="954" y="324"/>
                      </a:cubicBezTo>
                      <a:cubicBezTo>
                        <a:pt x="965" y="317"/>
                        <a:pt x="975" y="305"/>
                        <a:pt x="975" y="289"/>
                      </a:cubicBezTo>
                      <a:cubicBezTo>
                        <a:pt x="975" y="276"/>
                        <a:pt x="965" y="264"/>
                        <a:pt x="954" y="258"/>
                      </a:cubicBezTo>
                      <a:cubicBezTo>
                        <a:pt x="954" y="258"/>
                        <a:pt x="954" y="258"/>
                        <a:pt x="506" y="7"/>
                      </a:cubicBezTo>
                      <a:cubicBezTo>
                        <a:pt x="501" y="3"/>
                        <a:pt x="494" y="0"/>
                        <a:pt x="487" y="0"/>
                      </a:cubicBezTo>
                      <a:cubicBezTo>
                        <a:pt x="480" y="0"/>
                        <a:pt x="473" y="3"/>
                        <a:pt x="466" y="7"/>
                      </a:cubicBezTo>
                      <a:cubicBezTo>
                        <a:pt x="466" y="7"/>
                        <a:pt x="466" y="7"/>
                        <a:pt x="21" y="258"/>
                      </a:cubicBezTo>
                      <a:cubicBezTo>
                        <a:pt x="7" y="264"/>
                        <a:pt x="0" y="276"/>
                        <a:pt x="0" y="289"/>
                      </a:cubicBezTo>
                      <a:cubicBezTo>
                        <a:pt x="0" y="305"/>
                        <a:pt x="7" y="317"/>
                        <a:pt x="21" y="324"/>
                      </a:cubicBezTo>
                      <a:cubicBezTo>
                        <a:pt x="21" y="324"/>
                        <a:pt x="21" y="324"/>
                        <a:pt x="466" y="574"/>
                      </a:cubicBezTo>
                      <a:cubicBezTo>
                        <a:pt x="473" y="579"/>
                        <a:pt x="480" y="581"/>
                        <a:pt x="487" y="58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74" name="Freeform 66">
                  <a:extLst>
                    <a:ext uri="{FF2B5EF4-FFF2-40B4-BE49-F238E27FC236}">
                      <a16:creationId xmlns:a16="http://schemas.microsoft.com/office/drawing/2014/main" id="{36230698-00A5-4546-B697-CCAF27B0B698}"/>
                    </a:ext>
                  </a:extLst>
                </p:cNvPr>
                <p:cNvSpPr>
                  <a:spLocks/>
                </p:cNvSpPr>
                <p:nvPr/>
              </p:nvSpPr>
              <p:spPr bwMode="auto">
                <a:xfrm>
                  <a:off x="3972950" y="2680306"/>
                  <a:ext cx="201480" cy="309488"/>
                </a:xfrm>
                <a:custGeom>
                  <a:avLst/>
                  <a:gdLst>
                    <a:gd name="T0" fmla="*/ 488 w 528"/>
                    <a:gd name="T1" fmla="*/ 831 h 831"/>
                    <a:gd name="T2" fmla="*/ 509 w 528"/>
                    <a:gd name="T3" fmla="*/ 827 h 831"/>
                    <a:gd name="T4" fmla="*/ 528 w 528"/>
                    <a:gd name="T5" fmla="*/ 793 h 831"/>
                    <a:gd name="T6" fmla="*/ 528 w 528"/>
                    <a:gd name="T7" fmla="*/ 290 h 831"/>
                    <a:gd name="T8" fmla="*/ 509 w 528"/>
                    <a:gd name="T9" fmla="*/ 256 h 831"/>
                    <a:gd name="T10" fmla="*/ 59 w 528"/>
                    <a:gd name="T11" fmla="*/ 4 h 831"/>
                    <a:gd name="T12" fmla="*/ 40 w 528"/>
                    <a:gd name="T13" fmla="*/ 0 h 831"/>
                    <a:gd name="T14" fmla="*/ 19 w 528"/>
                    <a:gd name="T15" fmla="*/ 4 h 831"/>
                    <a:gd name="T16" fmla="*/ 0 w 528"/>
                    <a:gd name="T17" fmla="*/ 39 h 831"/>
                    <a:gd name="T18" fmla="*/ 0 w 528"/>
                    <a:gd name="T19" fmla="*/ 541 h 831"/>
                    <a:gd name="T20" fmla="*/ 19 w 528"/>
                    <a:gd name="T21" fmla="*/ 576 h 831"/>
                    <a:gd name="T22" fmla="*/ 469 w 528"/>
                    <a:gd name="T23" fmla="*/ 827 h 831"/>
                    <a:gd name="T24" fmla="*/ 488 w 528"/>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1">
                      <a:moveTo>
                        <a:pt x="488" y="831"/>
                      </a:moveTo>
                      <a:cubicBezTo>
                        <a:pt x="495" y="831"/>
                        <a:pt x="502" y="829"/>
                        <a:pt x="509" y="827"/>
                      </a:cubicBezTo>
                      <a:cubicBezTo>
                        <a:pt x="520" y="820"/>
                        <a:pt x="528" y="806"/>
                        <a:pt x="528" y="793"/>
                      </a:cubicBezTo>
                      <a:cubicBezTo>
                        <a:pt x="528" y="793"/>
                        <a:pt x="528" y="793"/>
                        <a:pt x="528" y="290"/>
                      </a:cubicBezTo>
                      <a:cubicBezTo>
                        <a:pt x="528" y="276"/>
                        <a:pt x="520" y="263"/>
                        <a:pt x="509" y="256"/>
                      </a:cubicBezTo>
                      <a:cubicBezTo>
                        <a:pt x="509" y="256"/>
                        <a:pt x="509" y="256"/>
                        <a:pt x="59" y="4"/>
                      </a:cubicBezTo>
                      <a:cubicBezTo>
                        <a:pt x="54" y="2"/>
                        <a:pt x="47" y="0"/>
                        <a:pt x="40" y="0"/>
                      </a:cubicBezTo>
                      <a:cubicBezTo>
                        <a:pt x="33" y="0"/>
                        <a:pt x="26" y="2"/>
                        <a:pt x="19" y="4"/>
                      </a:cubicBezTo>
                      <a:cubicBezTo>
                        <a:pt x="7" y="11"/>
                        <a:pt x="0" y="25"/>
                        <a:pt x="0" y="39"/>
                      </a:cubicBezTo>
                      <a:cubicBezTo>
                        <a:pt x="0" y="39"/>
                        <a:pt x="0" y="39"/>
                        <a:pt x="0" y="541"/>
                      </a:cubicBezTo>
                      <a:cubicBezTo>
                        <a:pt x="0" y="555"/>
                        <a:pt x="7" y="569"/>
                        <a:pt x="19" y="576"/>
                      </a:cubicBezTo>
                      <a:cubicBezTo>
                        <a:pt x="19" y="576"/>
                        <a:pt x="19" y="576"/>
                        <a:pt x="469" y="827"/>
                      </a:cubicBezTo>
                      <a:cubicBezTo>
                        <a:pt x="473" y="829"/>
                        <a:pt x="480" y="831"/>
                        <a:pt x="488"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75" name="Freeform 69">
                  <a:extLst>
                    <a:ext uri="{FF2B5EF4-FFF2-40B4-BE49-F238E27FC236}">
                      <a16:creationId xmlns:a16="http://schemas.microsoft.com/office/drawing/2014/main" id="{CE41ACB1-75BF-4EB2-8E7A-A3FA8707612E}"/>
                    </a:ext>
                  </a:extLst>
                </p:cNvPr>
                <p:cNvSpPr>
                  <a:spLocks/>
                </p:cNvSpPr>
                <p:nvPr/>
              </p:nvSpPr>
              <p:spPr bwMode="auto">
                <a:xfrm>
                  <a:off x="4198315" y="3311745"/>
                  <a:ext cx="201999" cy="310008"/>
                </a:xfrm>
                <a:custGeom>
                  <a:avLst/>
                  <a:gdLst>
                    <a:gd name="T0" fmla="*/ 488 w 528"/>
                    <a:gd name="T1" fmla="*/ 832 h 832"/>
                    <a:gd name="T2" fmla="*/ 509 w 528"/>
                    <a:gd name="T3" fmla="*/ 827 h 832"/>
                    <a:gd name="T4" fmla="*/ 528 w 528"/>
                    <a:gd name="T5" fmla="*/ 793 h 832"/>
                    <a:gd name="T6" fmla="*/ 528 w 528"/>
                    <a:gd name="T7" fmla="*/ 292 h 832"/>
                    <a:gd name="T8" fmla="*/ 509 w 528"/>
                    <a:gd name="T9" fmla="*/ 258 h 832"/>
                    <a:gd name="T10" fmla="*/ 61 w 528"/>
                    <a:gd name="T11" fmla="*/ 7 h 832"/>
                    <a:gd name="T12" fmla="*/ 40 w 528"/>
                    <a:gd name="T13" fmla="*/ 0 h 832"/>
                    <a:gd name="T14" fmla="*/ 22 w 528"/>
                    <a:gd name="T15" fmla="*/ 7 h 832"/>
                    <a:gd name="T16" fmla="*/ 0 w 528"/>
                    <a:gd name="T17" fmla="*/ 39 h 832"/>
                    <a:gd name="T18" fmla="*/ 0 w 528"/>
                    <a:gd name="T19" fmla="*/ 543 h 832"/>
                    <a:gd name="T20" fmla="*/ 22 w 528"/>
                    <a:gd name="T21" fmla="*/ 574 h 832"/>
                    <a:gd name="T22" fmla="*/ 469 w 528"/>
                    <a:gd name="T23" fmla="*/ 827 h 832"/>
                    <a:gd name="T24" fmla="*/ 488 w 528"/>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2">
                      <a:moveTo>
                        <a:pt x="488" y="832"/>
                      </a:moveTo>
                      <a:cubicBezTo>
                        <a:pt x="495" y="832"/>
                        <a:pt x="502" y="830"/>
                        <a:pt x="509" y="827"/>
                      </a:cubicBezTo>
                      <a:cubicBezTo>
                        <a:pt x="521" y="818"/>
                        <a:pt x="528" y="807"/>
                        <a:pt x="528" y="793"/>
                      </a:cubicBezTo>
                      <a:cubicBezTo>
                        <a:pt x="528" y="793"/>
                        <a:pt x="528" y="793"/>
                        <a:pt x="528" y="292"/>
                      </a:cubicBezTo>
                      <a:cubicBezTo>
                        <a:pt x="528" y="278"/>
                        <a:pt x="521" y="265"/>
                        <a:pt x="509" y="258"/>
                      </a:cubicBezTo>
                      <a:cubicBezTo>
                        <a:pt x="509" y="258"/>
                        <a:pt x="509" y="258"/>
                        <a:pt x="61" y="7"/>
                      </a:cubicBezTo>
                      <a:cubicBezTo>
                        <a:pt x="54" y="3"/>
                        <a:pt x="47" y="0"/>
                        <a:pt x="40" y="0"/>
                      </a:cubicBezTo>
                      <a:cubicBezTo>
                        <a:pt x="33" y="0"/>
                        <a:pt x="26" y="3"/>
                        <a:pt x="22" y="7"/>
                      </a:cubicBezTo>
                      <a:cubicBezTo>
                        <a:pt x="10" y="14"/>
                        <a:pt x="0" y="25"/>
                        <a:pt x="0" y="39"/>
                      </a:cubicBezTo>
                      <a:cubicBezTo>
                        <a:pt x="0" y="39"/>
                        <a:pt x="0" y="39"/>
                        <a:pt x="0" y="543"/>
                      </a:cubicBezTo>
                      <a:cubicBezTo>
                        <a:pt x="0" y="556"/>
                        <a:pt x="10" y="568"/>
                        <a:pt x="22" y="574"/>
                      </a:cubicBezTo>
                      <a:cubicBezTo>
                        <a:pt x="22" y="574"/>
                        <a:pt x="22" y="574"/>
                        <a:pt x="469" y="827"/>
                      </a:cubicBezTo>
                      <a:cubicBezTo>
                        <a:pt x="474" y="830"/>
                        <a:pt x="481" y="832"/>
                        <a:pt x="488" y="8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76" name="Freeform 70">
                  <a:extLst>
                    <a:ext uri="{FF2B5EF4-FFF2-40B4-BE49-F238E27FC236}">
                      <a16:creationId xmlns:a16="http://schemas.microsoft.com/office/drawing/2014/main" id="{821784C6-0D37-4D54-96EC-4FE70E6817C0}"/>
                    </a:ext>
                  </a:extLst>
                </p:cNvPr>
                <p:cNvSpPr>
                  <a:spLocks/>
                </p:cNvSpPr>
                <p:nvPr/>
              </p:nvSpPr>
              <p:spPr bwMode="auto">
                <a:xfrm>
                  <a:off x="4198315" y="3569305"/>
                  <a:ext cx="201999" cy="309488"/>
                </a:xfrm>
                <a:custGeom>
                  <a:avLst/>
                  <a:gdLst>
                    <a:gd name="T0" fmla="*/ 488 w 528"/>
                    <a:gd name="T1" fmla="*/ 831 h 831"/>
                    <a:gd name="T2" fmla="*/ 509 w 528"/>
                    <a:gd name="T3" fmla="*/ 824 h 831"/>
                    <a:gd name="T4" fmla="*/ 528 w 528"/>
                    <a:gd name="T5" fmla="*/ 793 h 831"/>
                    <a:gd name="T6" fmla="*/ 528 w 528"/>
                    <a:gd name="T7" fmla="*/ 289 h 831"/>
                    <a:gd name="T8" fmla="*/ 509 w 528"/>
                    <a:gd name="T9" fmla="*/ 257 h 831"/>
                    <a:gd name="T10" fmla="*/ 61 w 528"/>
                    <a:gd name="T11" fmla="*/ 7 h 831"/>
                    <a:gd name="T12" fmla="*/ 40 w 528"/>
                    <a:gd name="T13" fmla="*/ 0 h 831"/>
                    <a:gd name="T14" fmla="*/ 22 w 528"/>
                    <a:gd name="T15" fmla="*/ 7 h 831"/>
                    <a:gd name="T16" fmla="*/ 0 w 528"/>
                    <a:gd name="T17" fmla="*/ 38 h 831"/>
                    <a:gd name="T18" fmla="*/ 0 w 528"/>
                    <a:gd name="T19" fmla="*/ 540 h 831"/>
                    <a:gd name="T20" fmla="*/ 22 w 528"/>
                    <a:gd name="T21" fmla="*/ 574 h 831"/>
                    <a:gd name="T22" fmla="*/ 469 w 528"/>
                    <a:gd name="T23" fmla="*/ 824 h 831"/>
                    <a:gd name="T24" fmla="*/ 488 w 528"/>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1">
                      <a:moveTo>
                        <a:pt x="488" y="831"/>
                      </a:moveTo>
                      <a:cubicBezTo>
                        <a:pt x="495" y="831"/>
                        <a:pt x="502" y="829"/>
                        <a:pt x="509" y="824"/>
                      </a:cubicBezTo>
                      <a:cubicBezTo>
                        <a:pt x="521" y="818"/>
                        <a:pt x="528" y="806"/>
                        <a:pt x="528" y="793"/>
                      </a:cubicBezTo>
                      <a:cubicBezTo>
                        <a:pt x="528" y="793"/>
                        <a:pt x="528" y="793"/>
                        <a:pt x="528" y="289"/>
                      </a:cubicBezTo>
                      <a:cubicBezTo>
                        <a:pt x="528" y="275"/>
                        <a:pt x="521" y="264"/>
                        <a:pt x="509" y="257"/>
                      </a:cubicBezTo>
                      <a:cubicBezTo>
                        <a:pt x="509" y="257"/>
                        <a:pt x="509" y="257"/>
                        <a:pt x="61" y="7"/>
                      </a:cubicBezTo>
                      <a:cubicBezTo>
                        <a:pt x="54" y="2"/>
                        <a:pt x="47" y="0"/>
                        <a:pt x="40" y="0"/>
                      </a:cubicBezTo>
                      <a:cubicBezTo>
                        <a:pt x="33" y="0"/>
                        <a:pt x="26" y="2"/>
                        <a:pt x="22" y="7"/>
                      </a:cubicBezTo>
                      <a:cubicBezTo>
                        <a:pt x="10" y="13"/>
                        <a:pt x="0" y="25"/>
                        <a:pt x="0" y="38"/>
                      </a:cubicBezTo>
                      <a:cubicBezTo>
                        <a:pt x="0" y="38"/>
                        <a:pt x="0" y="38"/>
                        <a:pt x="0" y="540"/>
                      </a:cubicBezTo>
                      <a:cubicBezTo>
                        <a:pt x="0" y="556"/>
                        <a:pt x="10" y="567"/>
                        <a:pt x="22" y="574"/>
                      </a:cubicBezTo>
                      <a:cubicBezTo>
                        <a:pt x="22" y="574"/>
                        <a:pt x="22" y="574"/>
                        <a:pt x="469" y="824"/>
                      </a:cubicBezTo>
                      <a:cubicBezTo>
                        <a:pt x="474" y="829"/>
                        <a:pt x="481" y="831"/>
                        <a:pt x="488"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77" name="Freeform 71">
                  <a:extLst>
                    <a:ext uri="{FF2B5EF4-FFF2-40B4-BE49-F238E27FC236}">
                      <a16:creationId xmlns:a16="http://schemas.microsoft.com/office/drawing/2014/main" id="{64893854-B48A-420B-98B4-F195052A56B8}"/>
                    </a:ext>
                  </a:extLst>
                </p:cNvPr>
                <p:cNvSpPr>
                  <a:spLocks/>
                </p:cNvSpPr>
                <p:nvPr/>
              </p:nvSpPr>
              <p:spPr bwMode="auto">
                <a:xfrm>
                  <a:off x="3747064" y="2305909"/>
                  <a:ext cx="201480" cy="309488"/>
                </a:xfrm>
                <a:custGeom>
                  <a:avLst/>
                  <a:gdLst>
                    <a:gd name="T0" fmla="*/ 487 w 527"/>
                    <a:gd name="T1" fmla="*/ 831 h 831"/>
                    <a:gd name="T2" fmla="*/ 506 w 527"/>
                    <a:gd name="T3" fmla="*/ 827 h 831"/>
                    <a:gd name="T4" fmla="*/ 527 w 527"/>
                    <a:gd name="T5" fmla="*/ 792 h 831"/>
                    <a:gd name="T6" fmla="*/ 527 w 527"/>
                    <a:gd name="T7" fmla="*/ 290 h 831"/>
                    <a:gd name="T8" fmla="*/ 506 w 527"/>
                    <a:gd name="T9" fmla="*/ 255 h 831"/>
                    <a:gd name="T10" fmla="*/ 61 w 527"/>
                    <a:gd name="T11" fmla="*/ 4 h 831"/>
                    <a:gd name="T12" fmla="*/ 40 w 527"/>
                    <a:gd name="T13" fmla="*/ 0 h 831"/>
                    <a:gd name="T14" fmla="*/ 21 w 527"/>
                    <a:gd name="T15" fmla="*/ 4 h 831"/>
                    <a:gd name="T16" fmla="*/ 0 w 527"/>
                    <a:gd name="T17" fmla="*/ 38 h 831"/>
                    <a:gd name="T18" fmla="*/ 0 w 527"/>
                    <a:gd name="T19" fmla="*/ 541 h 831"/>
                    <a:gd name="T20" fmla="*/ 21 w 527"/>
                    <a:gd name="T21" fmla="*/ 575 h 831"/>
                    <a:gd name="T22" fmla="*/ 466 w 527"/>
                    <a:gd name="T23" fmla="*/ 827 h 831"/>
                    <a:gd name="T24" fmla="*/ 487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87" y="831"/>
                      </a:moveTo>
                      <a:cubicBezTo>
                        <a:pt x="494" y="831"/>
                        <a:pt x="501" y="829"/>
                        <a:pt x="506" y="827"/>
                      </a:cubicBezTo>
                      <a:cubicBezTo>
                        <a:pt x="520" y="820"/>
                        <a:pt x="527" y="806"/>
                        <a:pt x="527" y="792"/>
                      </a:cubicBezTo>
                      <a:cubicBezTo>
                        <a:pt x="527" y="792"/>
                        <a:pt x="527" y="792"/>
                        <a:pt x="527" y="290"/>
                      </a:cubicBezTo>
                      <a:cubicBezTo>
                        <a:pt x="527" y="276"/>
                        <a:pt x="520" y="262"/>
                        <a:pt x="506" y="255"/>
                      </a:cubicBezTo>
                      <a:cubicBezTo>
                        <a:pt x="506" y="255"/>
                        <a:pt x="506" y="255"/>
                        <a:pt x="61" y="4"/>
                      </a:cubicBezTo>
                      <a:cubicBezTo>
                        <a:pt x="54" y="2"/>
                        <a:pt x="47" y="0"/>
                        <a:pt x="40" y="0"/>
                      </a:cubicBezTo>
                      <a:cubicBezTo>
                        <a:pt x="32" y="0"/>
                        <a:pt x="25" y="2"/>
                        <a:pt x="21" y="4"/>
                      </a:cubicBezTo>
                      <a:cubicBezTo>
                        <a:pt x="7" y="11"/>
                        <a:pt x="0" y="25"/>
                        <a:pt x="0" y="38"/>
                      </a:cubicBezTo>
                      <a:cubicBezTo>
                        <a:pt x="0" y="38"/>
                        <a:pt x="0" y="38"/>
                        <a:pt x="0" y="541"/>
                      </a:cubicBezTo>
                      <a:cubicBezTo>
                        <a:pt x="0" y="555"/>
                        <a:pt x="7" y="568"/>
                        <a:pt x="21" y="575"/>
                      </a:cubicBezTo>
                      <a:cubicBezTo>
                        <a:pt x="21" y="575"/>
                        <a:pt x="21" y="575"/>
                        <a:pt x="466" y="827"/>
                      </a:cubicBezTo>
                      <a:cubicBezTo>
                        <a:pt x="473" y="829"/>
                        <a:pt x="480" y="831"/>
                        <a:pt x="487"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78" name="Freeform 72">
                  <a:extLst>
                    <a:ext uri="{FF2B5EF4-FFF2-40B4-BE49-F238E27FC236}">
                      <a16:creationId xmlns:a16="http://schemas.microsoft.com/office/drawing/2014/main" id="{B9B756AF-1296-47A1-AE22-3C1FA756F6FD}"/>
                    </a:ext>
                  </a:extLst>
                </p:cNvPr>
                <p:cNvSpPr>
                  <a:spLocks/>
                </p:cNvSpPr>
                <p:nvPr/>
              </p:nvSpPr>
              <p:spPr bwMode="auto">
                <a:xfrm>
                  <a:off x="3514948" y="2182841"/>
                  <a:ext cx="201480" cy="304295"/>
                </a:xfrm>
                <a:custGeom>
                  <a:avLst/>
                  <a:gdLst>
                    <a:gd name="T0" fmla="*/ 488 w 528"/>
                    <a:gd name="T1" fmla="*/ 816 h 816"/>
                    <a:gd name="T2" fmla="*/ 509 w 528"/>
                    <a:gd name="T3" fmla="*/ 812 h 816"/>
                    <a:gd name="T4" fmla="*/ 528 w 528"/>
                    <a:gd name="T5" fmla="*/ 778 h 816"/>
                    <a:gd name="T6" fmla="*/ 528 w 528"/>
                    <a:gd name="T7" fmla="*/ 285 h 816"/>
                    <a:gd name="T8" fmla="*/ 509 w 528"/>
                    <a:gd name="T9" fmla="*/ 251 h 816"/>
                    <a:gd name="T10" fmla="*/ 61 w 528"/>
                    <a:gd name="T11" fmla="*/ 5 h 816"/>
                    <a:gd name="T12" fmla="*/ 40 w 528"/>
                    <a:gd name="T13" fmla="*/ 0 h 816"/>
                    <a:gd name="T14" fmla="*/ 21 w 528"/>
                    <a:gd name="T15" fmla="*/ 5 h 816"/>
                    <a:gd name="T16" fmla="*/ 0 w 528"/>
                    <a:gd name="T17" fmla="*/ 38 h 816"/>
                    <a:gd name="T18" fmla="*/ 0 w 528"/>
                    <a:gd name="T19" fmla="*/ 531 h 816"/>
                    <a:gd name="T20" fmla="*/ 21 w 528"/>
                    <a:gd name="T21" fmla="*/ 563 h 816"/>
                    <a:gd name="T22" fmla="*/ 469 w 528"/>
                    <a:gd name="T23" fmla="*/ 812 h 816"/>
                    <a:gd name="T24" fmla="*/ 488 w 528"/>
                    <a:gd name="T25" fmla="*/ 81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16">
                      <a:moveTo>
                        <a:pt x="488" y="816"/>
                      </a:moveTo>
                      <a:cubicBezTo>
                        <a:pt x="495" y="816"/>
                        <a:pt x="502" y="814"/>
                        <a:pt x="509" y="812"/>
                      </a:cubicBezTo>
                      <a:cubicBezTo>
                        <a:pt x="521" y="805"/>
                        <a:pt x="528" y="791"/>
                        <a:pt x="528" y="778"/>
                      </a:cubicBezTo>
                      <a:cubicBezTo>
                        <a:pt x="528" y="778"/>
                        <a:pt x="528" y="778"/>
                        <a:pt x="528" y="285"/>
                      </a:cubicBezTo>
                      <a:cubicBezTo>
                        <a:pt x="528" y="271"/>
                        <a:pt x="521" y="258"/>
                        <a:pt x="509" y="251"/>
                      </a:cubicBezTo>
                      <a:cubicBezTo>
                        <a:pt x="509" y="251"/>
                        <a:pt x="509" y="251"/>
                        <a:pt x="61" y="5"/>
                      </a:cubicBezTo>
                      <a:cubicBezTo>
                        <a:pt x="54" y="0"/>
                        <a:pt x="47" y="0"/>
                        <a:pt x="40" y="0"/>
                      </a:cubicBezTo>
                      <a:cubicBezTo>
                        <a:pt x="33" y="0"/>
                        <a:pt x="26" y="0"/>
                        <a:pt x="21" y="5"/>
                      </a:cubicBezTo>
                      <a:cubicBezTo>
                        <a:pt x="10" y="11"/>
                        <a:pt x="0" y="23"/>
                        <a:pt x="0" y="38"/>
                      </a:cubicBezTo>
                      <a:cubicBezTo>
                        <a:pt x="0" y="38"/>
                        <a:pt x="0" y="38"/>
                        <a:pt x="0" y="531"/>
                      </a:cubicBezTo>
                      <a:cubicBezTo>
                        <a:pt x="0" y="545"/>
                        <a:pt x="10" y="556"/>
                        <a:pt x="21" y="563"/>
                      </a:cubicBezTo>
                      <a:cubicBezTo>
                        <a:pt x="21" y="563"/>
                        <a:pt x="21" y="563"/>
                        <a:pt x="469" y="812"/>
                      </a:cubicBezTo>
                      <a:cubicBezTo>
                        <a:pt x="474" y="814"/>
                        <a:pt x="481" y="816"/>
                        <a:pt x="488" y="8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79" name="Freeform 73">
                  <a:extLst>
                    <a:ext uri="{FF2B5EF4-FFF2-40B4-BE49-F238E27FC236}">
                      <a16:creationId xmlns:a16="http://schemas.microsoft.com/office/drawing/2014/main" id="{60F1B685-5D9E-47ED-8B4C-D94116B2279F}"/>
                    </a:ext>
                  </a:extLst>
                </p:cNvPr>
                <p:cNvSpPr>
                  <a:spLocks/>
                </p:cNvSpPr>
                <p:nvPr/>
              </p:nvSpPr>
              <p:spPr bwMode="auto">
                <a:xfrm>
                  <a:off x="3747064" y="2562950"/>
                  <a:ext cx="201480" cy="310008"/>
                </a:xfrm>
                <a:custGeom>
                  <a:avLst/>
                  <a:gdLst>
                    <a:gd name="T0" fmla="*/ 487 w 527"/>
                    <a:gd name="T1" fmla="*/ 832 h 832"/>
                    <a:gd name="T2" fmla="*/ 506 w 527"/>
                    <a:gd name="T3" fmla="*/ 827 h 832"/>
                    <a:gd name="T4" fmla="*/ 527 w 527"/>
                    <a:gd name="T5" fmla="*/ 793 h 832"/>
                    <a:gd name="T6" fmla="*/ 527 w 527"/>
                    <a:gd name="T7" fmla="*/ 290 h 832"/>
                    <a:gd name="T8" fmla="*/ 506 w 527"/>
                    <a:gd name="T9" fmla="*/ 256 h 832"/>
                    <a:gd name="T10" fmla="*/ 61 w 527"/>
                    <a:gd name="T11" fmla="*/ 5 h 832"/>
                    <a:gd name="T12" fmla="*/ 40 w 527"/>
                    <a:gd name="T13" fmla="*/ 0 h 832"/>
                    <a:gd name="T14" fmla="*/ 21 w 527"/>
                    <a:gd name="T15" fmla="*/ 5 h 832"/>
                    <a:gd name="T16" fmla="*/ 0 w 527"/>
                    <a:gd name="T17" fmla="*/ 39 h 832"/>
                    <a:gd name="T18" fmla="*/ 0 w 527"/>
                    <a:gd name="T19" fmla="*/ 541 h 832"/>
                    <a:gd name="T20" fmla="*/ 21 w 527"/>
                    <a:gd name="T21" fmla="*/ 576 h 832"/>
                    <a:gd name="T22" fmla="*/ 466 w 527"/>
                    <a:gd name="T23" fmla="*/ 827 h 832"/>
                    <a:gd name="T24" fmla="*/ 487 w 527"/>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2">
                      <a:moveTo>
                        <a:pt x="487" y="832"/>
                      </a:moveTo>
                      <a:cubicBezTo>
                        <a:pt x="494" y="832"/>
                        <a:pt x="501" y="829"/>
                        <a:pt x="506" y="827"/>
                      </a:cubicBezTo>
                      <a:cubicBezTo>
                        <a:pt x="520" y="820"/>
                        <a:pt x="527" y="806"/>
                        <a:pt x="527" y="793"/>
                      </a:cubicBezTo>
                      <a:cubicBezTo>
                        <a:pt x="527" y="793"/>
                        <a:pt x="527" y="793"/>
                        <a:pt x="527" y="290"/>
                      </a:cubicBezTo>
                      <a:cubicBezTo>
                        <a:pt x="527" y="276"/>
                        <a:pt x="520" y="263"/>
                        <a:pt x="506" y="256"/>
                      </a:cubicBezTo>
                      <a:cubicBezTo>
                        <a:pt x="506" y="256"/>
                        <a:pt x="506" y="256"/>
                        <a:pt x="61" y="5"/>
                      </a:cubicBezTo>
                      <a:cubicBezTo>
                        <a:pt x="54" y="0"/>
                        <a:pt x="47" y="0"/>
                        <a:pt x="40" y="0"/>
                      </a:cubicBezTo>
                      <a:cubicBezTo>
                        <a:pt x="32" y="0"/>
                        <a:pt x="25" y="0"/>
                        <a:pt x="21" y="5"/>
                      </a:cubicBezTo>
                      <a:cubicBezTo>
                        <a:pt x="7" y="11"/>
                        <a:pt x="0" y="25"/>
                        <a:pt x="0" y="39"/>
                      </a:cubicBezTo>
                      <a:cubicBezTo>
                        <a:pt x="0" y="39"/>
                        <a:pt x="0" y="39"/>
                        <a:pt x="0" y="541"/>
                      </a:cubicBezTo>
                      <a:cubicBezTo>
                        <a:pt x="0" y="555"/>
                        <a:pt x="7" y="569"/>
                        <a:pt x="21" y="576"/>
                      </a:cubicBezTo>
                      <a:cubicBezTo>
                        <a:pt x="21" y="576"/>
                        <a:pt x="21" y="576"/>
                        <a:pt x="466" y="827"/>
                      </a:cubicBezTo>
                      <a:cubicBezTo>
                        <a:pt x="473" y="829"/>
                        <a:pt x="480" y="832"/>
                        <a:pt x="487" y="832"/>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80" name="Freeform 74">
                  <a:extLst>
                    <a:ext uri="{FF2B5EF4-FFF2-40B4-BE49-F238E27FC236}">
                      <a16:creationId xmlns:a16="http://schemas.microsoft.com/office/drawing/2014/main" id="{6C7B2D8B-02AA-4217-8157-857472526823}"/>
                    </a:ext>
                  </a:extLst>
                </p:cNvPr>
                <p:cNvSpPr>
                  <a:spLocks/>
                </p:cNvSpPr>
                <p:nvPr/>
              </p:nvSpPr>
              <p:spPr bwMode="auto">
                <a:xfrm>
                  <a:off x="3525033" y="2434169"/>
                  <a:ext cx="201480" cy="310008"/>
                </a:xfrm>
                <a:custGeom>
                  <a:avLst/>
                  <a:gdLst>
                    <a:gd name="T0" fmla="*/ 488 w 528"/>
                    <a:gd name="T1" fmla="*/ 831 h 831"/>
                    <a:gd name="T2" fmla="*/ 509 w 528"/>
                    <a:gd name="T3" fmla="*/ 825 h 831"/>
                    <a:gd name="T4" fmla="*/ 528 w 528"/>
                    <a:gd name="T5" fmla="*/ 793 h 831"/>
                    <a:gd name="T6" fmla="*/ 528 w 528"/>
                    <a:gd name="T7" fmla="*/ 289 h 831"/>
                    <a:gd name="T8" fmla="*/ 509 w 528"/>
                    <a:gd name="T9" fmla="*/ 257 h 831"/>
                    <a:gd name="T10" fmla="*/ 61 w 528"/>
                    <a:gd name="T11" fmla="*/ 7 h 831"/>
                    <a:gd name="T12" fmla="*/ 40 w 528"/>
                    <a:gd name="T13" fmla="*/ 0 h 831"/>
                    <a:gd name="T14" fmla="*/ 21 w 528"/>
                    <a:gd name="T15" fmla="*/ 7 h 831"/>
                    <a:gd name="T16" fmla="*/ 0 w 528"/>
                    <a:gd name="T17" fmla="*/ 39 h 831"/>
                    <a:gd name="T18" fmla="*/ 0 w 528"/>
                    <a:gd name="T19" fmla="*/ 542 h 831"/>
                    <a:gd name="T20" fmla="*/ 21 w 528"/>
                    <a:gd name="T21" fmla="*/ 574 h 831"/>
                    <a:gd name="T22" fmla="*/ 469 w 528"/>
                    <a:gd name="T23" fmla="*/ 825 h 831"/>
                    <a:gd name="T24" fmla="*/ 488 w 528"/>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1">
                      <a:moveTo>
                        <a:pt x="488" y="831"/>
                      </a:moveTo>
                      <a:cubicBezTo>
                        <a:pt x="495" y="831"/>
                        <a:pt x="502" y="829"/>
                        <a:pt x="509" y="825"/>
                      </a:cubicBezTo>
                      <a:cubicBezTo>
                        <a:pt x="521" y="818"/>
                        <a:pt x="528" y="806"/>
                        <a:pt x="528" y="793"/>
                      </a:cubicBezTo>
                      <a:cubicBezTo>
                        <a:pt x="528" y="793"/>
                        <a:pt x="528" y="793"/>
                        <a:pt x="528" y="289"/>
                      </a:cubicBezTo>
                      <a:cubicBezTo>
                        <a:pt x="528" y="275"/>
                        <a:pt x="521" y="264"/>
                        <a:pt x="509" y="257"/>
                      </a:cubicBezTo>
                      <a:cubicBezTo>
                        <a:pt x="509" y="257"/>
                        <a:pt x="509" y="257"/>
                        <a:pt x="61" y="7"/>
                      </a:cubicBezTo>
                      <a:cubicBezTo>
                        <a:pt x="54" y="2"/>
                        <a:pt x="47" y="0"/>
                        <a:pt x="40" y="0"/>
                      </a:cubicBezTo>
                      <a:cubicBezTo>
                        <a:pt x="33" y="0"/>
                        <a:pt x="26" y="2"/>
                        <a:pt x="21" y="7"/>
                      </a:cubicBezTo>
                      <a:cubicBezTo>
                        <a:pt x="10" y="13"/>
                        <a:pt x="0" y="25"/>
                        <a:pt x="0" y="39"/>
                      </a:cubicBezTo>
                      <a:cubicBezTo>
                        <a:pt x="0" y="39"/>
                        <a:pt x="0" y="39"/>
                        <a:pt x="0" y="542"/>
                      </a:cubicBezTo>
                      <a:cubicBezTo>
                        <a:pt x="0" y="556"/>
                        <a:pt x="10" y="567"/>
                        <a:pt x="21" y="574"/>
                      </a:cubicBezTo>
                      <a:cubicBezTo>
                        <a:pt x="21" y="574"/>
                        <a:pt x="21" y="574"/>
                        <a:pt x="469" y="825"/>
                      </a:cubicBezTo>
                      <a:cubicBezTo>
                        <a:pt x="474" y="829"/>
                        <a:pt x="481" y="831"/>
                        <a:pt x="488" y="831"/>
                      </a:cubicBezTo>
                      <a:close/>
                    </a:path>
                  </a:pathLst>
                </a:custGeom>
                <a:grp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81" name="Freeform 75">
                  <a:extLst>
                    <a:ext uri="{FF2B5EF4-FFF2-40B4-BE49-F238E27FC236}">
                      <a16:creationId xmlns:a16="http://schemas.microsoft.com/office/drawing/2014/main" id="{01A50E54-099A-494D-B2CF-CBCFBF5CEA6F}"/>
                    </a:ext>
                  </a:extLst>
                </p:cNvPr>
                <p:cNvSpPr>
                  <a:spLocks/>
                </p:cNvSpPr>
                <p:nvPr/>
              </p:nvSpPr>
              <p:spPr bwMode="auto">
                <a:xfrm>
                  <a:off x="3289062" y="2305909"/>
                  <a:ext cx="201480" cy="309488"/>
                </a:xfrm>
                <a:custGeom>
                  <a:avLst/>
                  <a:gdLst>
                    <a:gd name="T0" fmla="*/ 487 w 527"/>
                    <a:gd name="T1" fmla="*/ 831 h 831"/>
                    <a:gd name="T2" fmla="*/ 509 w 527"/>
                    <a:gd name="T3" fmla="*/ 827 h 831"/>
                    <a:gd name="T4" fmla="*/ 527 w 527"/>
                    <a:gd name="T5" fmla="*/ 792 h 831"/>
                    <a:gd name="T6" fmla="*/ 527 w 527"/>
                    <a:gd name="T7" fmla="*/ 290 h 831"/>
                    <a:gd name="T8" fmla="*/ 509 w 527"/>
                    <a:gd name="T9" fmla="*/ 255 h 831"/>
                    <a:gd name="T10" fmla="*/ 59 w 527"/>
                    <a:gd name="T11" fmla="*/ 4 h 831"/>
                    <a:gd name="T12" fmla="*/ 40 w 527"/>
                    <a:gd name="T13" fmla="*/ 0 h 831"/>
                    <a:gd name="T14" fmla="*/ 19 w 527"/>
                    <a:gd name="T15" fmla="*/ 4 h 831"/>
                    <a:gd name="T16" fmla="*/ 0 w 527"/>
                    <a:gd name="T17" fmla="*/ 38 h 831"/>
                    <a:gd name="T18" fmla="*/ 0 w 527"/>
                    <a:gd name="T19" fmla="*/ 541 h 831"/>
                    <a:gd name="T20" fmla="*/ 19 w 527"/>
                    <a:gd name="T21" fmla="*/ 575 h 831"/>
                    <a:gd name="T22" fmla="*/ 468 w 527"/>
                    <a:gd name="T23" fmla="*/ 827 h 831"/>
                    <a:gd name="T24" fmla="*/ 487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87" y="831"/>
                      </a:moveTo>
                      <a:cubicBezTo>
                        <a:pt x="494" y="831"/>
                        <a:pt x="501" y="829"/>
                        <a:pt x="509" y="827"/>
                      </a:cubicBezTo>
                      <a:cubicBezTo>
                        <a:pt x="520" y="820"/>
                        <a:pt x="527" y="806"/>
                        <a:pt x="527" y="792"/>
                      </a:cubicBezTo>
                      <a:cubicBezTo>
                        <a:pt x="527" y="792"/>
                        <a:pt x="527" y="792"/>
                        <a:pt x="527" y="290"/>
                      </a:cubicBezTo>
                      <a:cubicBezTo>
                        <a:pt x="527" y="276"/>
                        <a:pt x="520" y="262"/>
                        <a:pt x="509" y="255"/>
                      </a:cubicBezTo>
                      <a:cubicBezTo>
                        <a:pt x="509" y="255"/>
                        <a:pt x="509" y="255"/>
                        <a:pt x="59" y="4"/>
                      </a:cubicBezTo>
                      <a:cubicBezTo>
                        <a:pt x="54" y="2"/>
                        <a:pt x="47" y="0"/>
                        <a:pt x="40" y="0"/>
                      </a:cubicBezTo>
                      <a:cubicBezTo>
                        <a:pt x="33" y="0"/>
                        <a:pt x="26" y="2"/>
                        <a:pt x="19" y="4"/>
                      </a:cubicBezTo>
                      <a:cubicBezTo>
                        <a:pt x="7" y="11"/>
                        <a:pt x="0" y="25"/>
                        <a:pt x="0" y="38"/>
                      </a:cubicBezTo>
                      <a:cubicBezTo>
                        <a:pt x="0" y="38"/>
                        <a:pt x="0" y="38"/>
                        <a:pt x="0" y="541"/>
                      </a:cubicBezTo>
                      <a:cubicBezTo>
                        <a:pt x="0" y="555"/>
                        <a:pt x="7" y="568"/>
                        <a:pt x="19" y="575"/>
                      </a:cubicBezTo>
                      <a:cubicBezTo>
                        <a:pt x="19" y="575"/>
                        <a:pt x="19" y="575"/>
                        <a:pt x="468" y="827"/>
                      </a:cubicBezTo>
                      <a:cubicBezTo>
                        <a:pt x="473" y="829"/>
                        <a:pt x="480" y="831"/>
                        <a:pt x="487"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82" name="Freeform 76">
                  <a:extLst>
                    <a:ext uri="{FF2B5EF4-FFF2-40B4-BE49-F238E27FC236}">
                      <a16:creationId xmlns:a16="http://schemas.microsoft.com/office/drawing/2014/main" id="{18730849-33CA-443C-8FD5-D27C18B99D29}"/>
                    </a:ext>
                  </a:extLst>
                </p:cNvPr>
                <p:cNvSpPr>
                  <a:spLocks/>
                </p:cNvSpPr>
                <p:nvPr/>
              </p:nvSpPr>
              <p:spPr bwMode="auto">
                <a:xfrm>
                  <a:off x="3289062" y="2557238"/>
                  <a:ext cx="201480" cy="310008"/>
                </a:xfrm>
                <a:custGeom>
                  <a:avLst/>
                  <a:gdLst>
                    <a:gd name="T0" fmla="*/ 487 w 527"/>
                    <a:gd name="T1" fmla="*/ 832 h 832"/>
                    <a:gd name="T2" fmla="*/ 509 w 527"/>
                    <a:gd name="T3" fmla="*/ 825 h 832"/>
                    <a:gd name="T4" fmla="*/ 527 w 527"/>
                    <a:gd name="T5" fmla="*/ 793 h 832"/>
                    <a:gd name="T6" fmla="*/ 527 w 527"/>
                    <a:gd name="T7" fmla="*/ 290 h 832"/>
                    <a:gd name="T8" fmla="*/ 509 w 527"/>
                    <a:gd name="T9" fmla="*/ 258 h 832"/>
                    <a:gd name="T10" fmla="*/ 59 w 527"/>
                    <a:gd name="T11" fmla="*/ 7 h 832"/>
                    <a:gd name="T12" fmla="*/ 40 w 527"/>
                    <a:gd name="T13" fmla="*/ 0 h 832"/>
                    <a:gd name="T14" fmla="*/ 19 w 527"/>
                    <a:gd name="T15" fmla="*/ 7 h 832"/>
                    <a:gd name="T16" fmla="*/ 0 w 527"/>
                    <a:gd name="T17" fmla="*/ 39 h 832"/>
                    <a:gd name="T18" fmla="*/ 0 w 527"/>
                    <a:gd name="T19" fmla="*/ 543 h 832"/>
                    <a:gd name="T20" fmla="*/ 19 w 527"/>
                    <a:gd name="T21" fmla="*/ 574 h 832"/>
                    <a:gd name="T22" fmla="*/ 468 w 527"/>
                    <a:gd name="T23" fmla="*/ 825 h 832"/>
                    <a:gd name="T24" fmla="*/ 487 w 527"/>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2">
                      <a:moveTo>
                        <a:pt x="487" y="832"/>
                      </a:moveTo>
                      <a:cubicBezTo>
                        <a:pt x="494" y="832"/>
                        <a:pt x="501" y="830"/>
                        <a:pt x="509" y="825"/>
                      </a:cubicBezTo>
                      <a:cubicBezTo>
                        <a:pt x="520" y="818"/>
                        <a:pt x="527" y="807"/>
                        <a:pt x="527" y="793"/>
                      </a:cubicBezTo>
                      <a:cubicBezTo>
                        <a:pt x="527" y="793"/>
                        <a:pt x="527" y="793"/>
                        <a:pt x="527" y="290"/>
                      </a:cubicBezTo>
                      <a:cubicBezTo>
                        <a:pt x="527" y="276"/>
                        <a:pt x="520" y="265"/>
                        <a:pt x="509" y="258"/>
                      </a:cubicBezTo>
                      <a:cubicBezTo>
                        <a:pt x="509" y="258"/>
                        <a:pt x="509" y="258"/>
                        <a:pt x="59" y="7"/>
                      </a:cubicBezTo>
                      <a:cubicBezTo>
                        <a:pt x="54" y="3"/>
                        <a:pt x="47" y="0"/>
                        <a:pt x="40" y="0"/>
                      </a:cubicBezTo>
                      <a:cubicBezTo>
                        <a:pt x="33" y="0"/>
                        <a:pt x="26" y="3"/>
                        <a:pt x="19" y="7"/>
                      </a:cubicBezTo>
                      <a:cubicBezTo>
                        <a:pt x="7" y="14"/>
                        <a:pt x="0" y="25"/>
                        <a:pt x="0" y="39"/>
                      </a:cubicBezTo>
                      <a:cubicBezTo>
                        <a:pt x="0" y="39"/>
                        <a:pt x="0" y="39"/>
                        <a:pt x="0" y="543"/>
                      </a:cubicBezTo>
                      <a:cubicBezTo>
                        <a:pt x="0" y="556"/>
                        <a:pt x="7" y="568"/>
                        <a:pt x="19" y="574"/>
                      </a:cubicBezTo>
                      <a:cubicBezTo>
                        <a:pt x="19" y="574"/>
                        <a:pt x="19" y="574"/>
                        <a:pt x="468" y="825"/>
                      </a:cubicBezTo>
                      <a:cubicBezTo>
                        <a:pt x="473" y="830"/>
                        <a:pt x="480" y="832"/>
                        <a:pt x="487" y="8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83" name="Freeform 77">
                  <a:extLst>
                    <a:ext uri="{FF2B5EF4-FFF2-40B4-BE49-F238E27FC236}">
                      <a16:creationId xmlns:a16="http://schemas.microsoft.com/office/drawing/2014/main" id="{5AE386BE-1AC9-4244-AE06-9FA67CD21C00}"/>
                    </a:ext>
                  </a:extLst>
                </p:cNvPr>
                <p:cNvSpPr>
                  <a:spLocks noEditPoints="1"/>
                </p:cNvSpPr>
                <p:nvPr/>
              </p:nvSpPr>
              <p:spPr bwMode="auto">
                <a:xfrm>
                  <a:off x="4430952" y="3188677"/>
                  <a:ext cx="433077" cy="310008"/>
                </a:xfrm>
                <a:custGeom>
                  <a:avLst/>
                  <a:gdLst>
                    <a:gd name="T0" fmla="*/ 487 w 1135"/>
                    <a:gd name="T1" fmla="*/ 831 h 831"/>
                    <a:gd name="T2" fmla="*/ 506 w 1135"/>
                    <a:gd name="T3" fmla="*/ 827 h 831"/>
                    <a:gd name="T4" fmla="*/ 527 w 1135"/>
                    <a:gd name="T5" fmla="*/ 793 h 831"/>
                    <a:gd name="T6" fmla="*/ 527 w 1135"/>
                    <a:gd name="T7" fmla="*/ 290 h 831"/>
                    <a:gd name="T8" fmla="*/ 506 w 1135"/>
                    <a:gd name="T9" fmla="*/ 256 h 831"/>
                    <a:gd name="T10" fmla="*/ 61 w 1135"/>
                    <a:gd name="T11" fmla="*/ 4 h 831"/>
                    <a:gd name="T12" fmla="*/ 40 w 1135"/>
                    <a:gd name="T13" fmla="*/ 0 h 831"/>
                    <a:gd name="T14" fmla="*/ 21 w 1135"/>
                    <a:gd name="T15" fmla="*/ 4 h 831"/>
                    <a:gd name="T16" fmla="*/ 0 w 1135"/>
                    <a:gd name="T17" fmla="*/ 39 h 831"/>
                    <a:gd name="T18" fmla="*/ 0 w 1135"/>
                    <a:gd name="T19" fmla="*/ 541 h 831"/>
                    <a:gd name="T20" fmla="*/ 21 w 1135"/>
                    <a:gd name="T21" fmla="*/ 576 h 831"/>
                    <a:gd name="T22" fmla="*/ 466 w 1135"/>
                    <a:gd name="T23" fmla="*/ 827 h 831"/>
                    <a:gd name="T24" fmla="*/ 487 w 1135"/>
                    <a:gd name="T25" fmla="*/ 831 h 831"/>
                    <a:gd name="T26" fmla="*/ 647 w 1135"/>
                    <a:gd name="T27" fmla="*/ 831 h 831"/>
                    <a:gd name="T28" fmla="*/ 666 w 1135"/>
                    <a:gd name="T29" fmla="*/ 827 h 831"/>
                    <a:gd name="T30" fmla="*/ 1114 w 1135"/>
                    <a:gd name="T31" fmla="*/ 576 h 831"/>
                    <a:gd name="T32" fmla="*/ 1135 w 1135"/>
                    <a:gd name="T33" fmla="*/ 541 h 831"/>
                    <a:gd name="T34" fmla="*/ 1135 w 1135"/>
                    <a:gd name="T35" fmla="*/ 39 h 831"/>
                    <a:gd name="T36" fmla="*/ 1114 w 1135"/>
                    <a:gd name="T37" fmla="*/ 4 h 831"/>
                    <a:gd name="T38" fmla="*/ 1095 w 1135"/>
                    <a:gd name="T39" fmla="*/ 0 h 831"/>
                    <a:gd name="T40" fmla="*/ 1074 w 1135"/>
                    <a:gd name="T41" fmla="*/ 4 h 831"/>
                    <a:gd name="T42" fmla="*/ 626 w 1135"/>
                    <a:gd name="T43" fmla="*/ 256 h 831"/>
                    <a:gd name="T44" fmla="*/ 607 w 1135"/>
                    <a:gd name="T45" fmla="*/ 290 h 831"/>
                    <a:gd name="T46" fmla="*/ 607 w 1135"/>
                    <a:gd name="T47" fmla="*/ 793 h 831"/>
                    <a:gd name="T48" fmla="*/ 626 w 1135"/>
                    <a:gd name="T49" fmla="*/ 827 h 831"/>
                    <a:gd name="T50" fmla="*/ 647 w 1135"/>
                    <a:gd name="T51"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5" h="831">
                      <a:moveTo>
                        <a:pt x="487" y="831"/>
                      </a:moveTo>
                      <a:cubicBezTo>
                        <a:pt x="495" y="831"/>
                        <a:pt x="502" y="831"/>
                        <a:pt x="506" y="827"/>
                      </a:cubicBezTo>
                      <a:cubicBezTo>
                        <a:pt x="520" y="820"/>
                        <a:pt x="527" y="806"/>
                        <a:pt x="527" y="793"/>
                      </a:cubicBezTo>
                      <a:cubicBezTo>
                        <a:pt x="527" y="793"/>
                        <a:pt x="527" y="793"/>
                        <a:pt x="527" y="290"/>
                      </a:cubicBezTo>
                      <a:cubicBezTo>
                        <a:pt x="527" y="276"/>
                        <a:pt x="520" y="263"/>
                        <a:pt x="506" y="256"/>
                      </a:cubicBezTo>
                      <a:cubicBezTo>
                        <a:pt x="506" y="256"/>
                        <a:pt x="506" y="256"/>
                        <a:pt x="61" y="4"/>
                      </a:cubicBezTo>
                      <a:cubicBezTo>
                        <a:pt x="54" y="2"/>
                        <a:pt x="47" y="0"/>
                        <a:pt x="40" y="0"/>
                      </a:cubicBezTo>
                      <a:cubicBezTo>
                        <a:pt x="33" y="0"/>
                        <a:pt x="26" y="2"/>
                        <a:pt x="21" y="4"/>
                      </a:cubicBezTo>
                      <a:cubicBezTo>
                        <a:pt x="7" y="11"/>
                        <a:pt x="0" y="25"/>
                        <a:pt x="0" y="39"/>
                      </a:cubicBezTo>
                      <a:cubicBezTo>
                        <a:pt x="0" y="39"/>
                        <a:pt x="0" y="39"/>
                        <a:pt x="0" y="541"/>
                      </a:cubicBezTo>
                      <a:cubicBezTo>
                        <a:pt x="0" y="555"/>
                        <a:pt x="7" y="569"/>
                        <a:pt x="21" y="576"/>
                      </a:cubicBezTo>
                      <a:cubicBezTo>
                        <a:pt x="21" y="576"/>
                        <a:pt x="21" y="576"/>
                        <a:pt x="466" y="827"/>
                      </a:cubicBezTo>
                      <a:cubicBezTo>
                        <a:pt x="473" y="831"/>
                        <a:pt x="480" y="831"/>
                        <a:pt x="487" y="831"/>
                      </a:cubicBezTo>
                      <a:close/>
                      <a:moveTo>
                        <a:pt x="647" y="831"/>
                      </a:moveTo>
                      <a:cubicBezTo>
                        <a:pt x="654" y="831"/>
                        <a:pt x="661" y="831"/>
                        <a:pt x="666" y="827"/>
                      </a:cubicBezTo>
                      <a:cubicBezTo>
                        <a:pt x="666" y="827"/>
                        <a:pt x="666" y="827"/>
                        <a:pt x="1114" y="576"/>
                      </a:cubicBezTo>
                      <a:cubicBezTo>
                        <a:pt x="1125" y="569"/>
                        <a:pt x="1135" y="555"/>
                        <a:pt x="1135" y="541"/>
                      </a:cubicBezTo>
                      <a:cubicBezTo>
                        <a:pt x="1135" y="541"/>
                        <a:pt x="1135" y="541"/>
                        <a:pt x="1135" y="39"/>
                      </a:cubicBezTo>
                      <a:cubicBezTo>
                        <a:pt x="1135" y="25"/>
                        <a:pt x="1125" y="11"/>
                        <a:pt x="1114" y="4"/>
                      </a:cubicBezTo>
                      <a:cubicBezTo>
                        <a:pt x="1107" y="2"/>
                        <a:pt x="1100" y="0"/>
                        <a:pt x="1095" y="0"/>
                      </a:cubicBezTo>
                      <a:cubicBezTo>
                        <a:pt x="1088" y="0"/>
                        <a:pt x="1081" y="2"/>
                        <a:pt x="1074" y="4"/>
                      </a:cubicBezTo>
                      <a:cubicBezTo>
                        <a:pt x="1074" y="4"/>
                        <a:pt x="1074" y="4"/>
                        <a:pt x="626" y="256"/>
                      </a:cubicBezTo>
                      <a:cubicBezTo>
                        <a:pt x="614" y="263"/>
                        <a:pt x="607" y="276"/>
                        <a:pt x="607" y="290"/>
                      </a:cubicBezTo>
                      <a:cubicBezTo>
                        <a:pt x="607" y="290"/>
                        <a:pt x="607" y="290"/>
                        <a:pt x="607" y="793"/>
                      </a:cubicBezTo>
                      <a:cubicBezTo>
                        <a:pt x="607" y="806"/>
                        <a:pt x="614" y="820"/>
                        <a:pt x="626" y="827"/>
                      </a:cubicBezTo>
                      <a:cubicBezTo>
                        <a:pt x="633" y="831"/>
                        <a:pt x="640" y="831"/>
                        <a:pt x="647" y="8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684" name="Group 683">
                <a:extLst>
                  <a:ext uri="{FF2B5EF4-FFF2-40B4-BE49-F238E27FC236}">
                    <a16:creationId xmlns:a16="http://schemas.microsoft.com/office/drawing/2014/main" id="{DF67FE47-FEE7-495C-9E20-F8811514A6DD}"/>
                  </a:ext>
                </a:extLst>
              </p:cNvPr>
              <p:cNvGrpSpPr/>
              <p:nvPr/>
            </p:nvGrpSpPr>
            <p:grpSpPr>
              <a:xfrm>
                <a:off x="4430952" y="-3056621"/>
                <a:ext cx="1580678" cy="1731264"/>
                <a:chOff x="4430952" y="1901912"/>
                <a:chExt cx="1580678" cy="1731264"/>
              </a:xfrm>
            </p:grpSpPr>
            <p:sp>
              <p:nvSpPr>
                <p:cNvPr id="685" name="Freeform 80">
                  <a:extLst>
                    <a:ext uri="{FF2B5EF4-FFF2-40B4-BE49-F238E27FC236}">
                      <a16:creationId xmlns:a16="http://schemas.microsoft.com/office/drawing/2014/main" id="{2620D3DA-8205-48FC-A0CB-8B498A558541}"/>
                    </a:ext>
                  </a:extLst>
                </p:cNvPr>
                <p:cNvSpPr>
                  <a:spLocks/>
                </p:cNvSpPr>
                <p:nvPr/>
              </p:nvSpPr>
              <p:spPr bwMode="auto">
                <a:xfrm>
                  <a:off x="5352148" y="3066128"/>
                  <a:ext cx="195767" cy="310008"/>
                </a:xfrm>
                <a:custGeom>
                  <a:avLst/>
                  <a:gdLst>
                    <a:gd name="T0" fmla="*/ 39 w 512"/>
                    <a:gd name="T1" fmla="*/ 832 h 832"/>
                    <a:gd name="T2" fmla="*/ 57 w 512"/>
                    <a:gd name="T3" fmla="*/ 827 h 832"/>
                    <a:gd name="T4" fmla="*/ 491 w 512"/>
                    <a:gd name="T5" fmla="*/ 576 h 832"/>
                    <a:gd name="T6" fmla="*/ 512 w 512"/>
                    <a:gd name="T7" fmla="*/ 542 h 832"/>
                    <a:gd name="T8" fmla="*/ 512 w 512"/>
                    <a:gd name="T9" fmla="*/ 39 h 832"/>
                    <a:gd name="T10" fmla="*/ 491 w 512"/>
                    <a:gd name="T11" fmla="*/ 5 h 832"/>
                    <a:gd name="T12" fmla="*/ 473 w 512"/>
                    <a:gd name="T13" fmla="*/ 0 h 832"/>
                    <a:gd name="T14" fmla="*/ 453 w 512"/>
                    <a:gd name="T15" fmla="*/ 5 h 832"/>
                    <a:gd name="T16" fmla="*/ 19 w 512"/>
                    <a:gd name="T17" fmla="*/ 256 h 832"/>
                    <a:gd name="T18" fmla="*/ 0 w 512"/>
                    <a:gd name="T19" fmla="*/ 290 h 832"/>
                    <a:gd name="T20" fmla="*/ 0 w 512"/>
                    <a:gd name="T21" fmla="*/ 793 h 832"/>
                    <a:gd name="T22" fmla="*/ 19 w 512"/>
                    <a:gd name="T23" fmla="*/ 827 h 832"/>
                    <a:gd name="T24" fmla="*/ 39 w 512"/>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2" h="832">
                      <a:moveTo>
                        <a:pt x="39" y="832"/>
                      </a:moveTo>
                      <a:cubicBezTo>
                        <a:pt x="46" y="832"/>
                        <a:pt x="53" y="830"/>
                        <a:pt x="57" y="827"/>
                      </a:cubicBezTo>
                      <a:cubicBezTo>
                        <a:pt x="57" y="827"/>
                        <a:pt x="57" y="827"/>
                        <a:pt x="491" y="576"/>
                      </a:cubicBezTo>
                      <a:cubicBezTo>
                        <a:pt x="503" y="569"/>
                        <a:pt x="512" y="556"/>
                        <a:pt x="512" y="542"/>
                      </a:cubicBezTo>
                      <a:cubicBezTo>
                        <a:pt x="512" y="542"/>
                        <a:pt x="512" y="542"/>
                        <a:pt x="512" y="39"/>
                      </a:cubicBezTo>
                      <a:cubicBezTo>
                        <a:pt x="512" y="25"/>
                        <a:pt x="503" y="12"/>
                        <a:pt x="491" y="5"/>
                      </a:cubicBezTo>
                      <a:cubicBezTo>
                        <a:pt x="485" y="3"/>
                        <a:pt x="478" y="0"/>
                        <a:pt x="473" y="0"/>
                      </a:cubicBezTo>
                      <a:cubicBezTo>
                        <a:pt x="466" y="0"/>
                        <a:pt x="460" y="3"/>
                        <a:pt x="453" y="5"/>
                      </a:cubicBezTo>
                      <a:cubicBezTo>
                        <a:pt x="453" y="5"/>
                        <a:pt x="453" y="5"/>
                        <a:pt x="19" y="256"/>
                      </a:cubicBezTo>
                      <a:cubicBezTo>
                        <a:pt x="7" y="263"/>
                        <a:pt x="0" y="277"/>
                        <a:pt x="0" y="290"/>
                      </a:cubicBezTo>
                      <a:cubicBezTo>
                        <a:pt x="0" y="290"/>
                        <a:pt x="0" y="290"/>
                        <a:pt x="0" y="793"/>
                      </a:cubicBezTo>
                      <a:cubicBezTo>
                        <a:pt x="0" y="807"/>
                        <a:pt x="7" y="821"/>
                        <a:pt x="19" y="827"/>
                      </a:cubicBezTo>
                      <a:cubicBezTo>
                        <a:pt x="25" y="830"/>
                        <a:pt x="32" y="832"/>
                        <a:pt x="39" y="832"/>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86" name="Freeform 81">
                  <a:extLst>
                    <a:ext uri="{FF2B5EF4-FFF2-40B4-BE49-F238E27FC236}">
                      <a16:creationId xmlns:a16="http://schemas.microsoft.com/office/drawing/2014/main" id="{A7910421-44CE-4BB2-84CD-813228B89557}"/>
                    </a:ext>
                  </a:extLst>
                </p:cNvPr>
                <p:cNvSpPr>
                  <a:spLocks/>
                </p:cNvSpPr>
                <p:nvPr/>
              </p:nvSpPr>
              <p:spPr bwMode="auto">
                <a:xfrm>
                  <a:off x="5352148" y="2562950"/>
                  <a:ext cx="195767" cy="310008"/>
                </a:xfrm>
                <a:custGeom>
                  <a:avLst/>
                  <a:gdLst>
                    <a:gd name="T0" fmla="*/ 39 w 512"/>
                    <a:gd name="T1" fmla="*/ 832 h 832"/>
                    <a:gd name="T2" fmla="*/ 57 w 512"/>
                    <a:gd name="T3" fmla="*/ 827 h 832"/>
                    <a:gd name="T4" fmla="*/ 491 w 512"/>
                    <a:gd name="T5" fmla="*/ 576 h 832"/>
                    <a:gd name="T6" fmla="*/ 512 w 512"/>
                    <a:gd name="T7" fmla="*/ 541 h 832"/>
                    <a:gd name="T8" fmla="*/ 512 w 512"/>
                    <a:gd name="T9" fmla="*/ 39 h 832"/>
                    <a:gd name="T10" fmla="*/ 491 w 512"/>
                    <a:gd name="T11" fmla="*/ 5 h 832"/>
                    <a:gd name="T12" fmla="*/ 473 w 512"/>
                    <a:gd name="T13" fmla="*/ 0 h 832"/>
                    <a:gd name="T14" fmla="*/ 453 w 512"/>
                    <a:gd name="T15" fmla="*/ 5 h 832"/>
                    <a:gd name="T16" fmla="*/ 19 w 512"/>
                    <a:gd name="T17" fmla="*/ 256 h 832"/>
                    <a:gd name="T18" fmla="*/ 0 w 512"/>
                    <a:gd name="T19" fmla="*/ 290 h 832"/>
                    <a:gd name="T20" fmla="*/ 0 w 512"/>
                    <a:gd name="T21" fmla="*/ 793 h 832"/>
                    <a:gd name="T22" fmla="*/ 19 w 512"/>
                    <a:gd name="T23" fmla="*/ 827 h 832"/>
                    <a:gd name="T24" fmla="*/ 39 w 512"/>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2" h="832">
                      <a:moveTo>
                        <a:pt x="39" y="832"/>
                      </a:moveTo>
                      <a:cubicBezTo>
                        <a:pt x="46" y="832"/>
                        <a:pt x="53" y="829"/>
                        <a:pt x="57" y="827"/>
                      </a:cubicBezTo>
                      <a:cubicBezTo>
                        <a:pt x="57" y="827"/>
                        <a:pt x="57" y="827"/>
                        <a:pt x="491" y="576"/>
                      </a:cubicBezTo>
                      <a:cubicBezTo>
                        <a:pt x="503" y="569"/>
                        <a:pt x="512" y="555"/>
                        <a:pt x="512" y="541"/>
                      </a:cubicBezTo>
                      <a:cubicBezTo>
                        <a:pt x="512" y="541"/>
                        <a:pt x="512" y="541"/>
                        <a:pt x="512" y="39"/>
                      </a:cubicBezTo>
                      <a:cubicBezTo>
                        <a:pt x="512" y="25"/>
                        <a:pt x="503" y="11"/>
                        <a:pt x="491" y="5"/>
                      </a:cubicBezTo>
                      <a:cubicBezTo>
                        <a:pt x="485" y="0"/>
                        <a:pt x="478" y="0"/>
                        <a:pt x="473" y="0"/>
                      </a:cubicBezTo>
                      <a:cubicBezTo>
                        <a:pt x="466" y="0"/>
                        <a:pt x="460" y="0"/>
                        <a:pt x="453" y="5"/>
                      </a:cubicBezTo>
                      <a:cubicBezTo>
                        <a:pt x="453" y="5"/>
                        <a:pt x="453" y="5"/>
                        <a:pt x="19" y="256"/>
                      </a:cubicBezTo>
                      <a:cubicBezTo>
                        <a:pt x="7" y="263"/>
                        <a:pt x="0" y="276"/>
                        <a:pt x="0" y="290"/>
                      </a:cubicBezTo>
                      <a:cubicBezTo>
                        <a:pt x="0" y="290"/>
                        <a:pt x="0" y="290"/>
                        <a:pt x="0" y="793"/>
                      </a:cubicBezTo>
                      <a:cubicBezTo>
                        <a:pt x="0" y="806"/>
                        <a:pt x="7" y="820"/>
                        <a:pt x="19" y="827"/>
                      </a:cubicBezTo>
                      <a:cubicBezTo>
                        <a:pt x="25" y="829"/>
                        <a:pt x="32" y="832"/>
                        <a:pt x="39" y="832"/>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87" name="Freeform 82">
                  <a:extLst>
                    <a:ext uri="{FF2B5EF4-FFF2-40B4-BE49-F238E27FC236}">
                      <a16:creationId xmlns:a16="http://schemas.microsoft.com/office/drawing/2014/main" id="{08C52A25-100A-4B12-A173-D26F6D1FCF0C}"/>
                    </a:ext>
                  </a:extLst>
                </p:cNvPr>
                <p:cNvSpPr>
                  <a:spLocks/>
                </p:cNvSpPr>
                <p:nvPr/>
              </p:nvSpPr>
              <p:spPr bwMode="auto">
                <a:xfrm>
                  <a:off x="4894665" y="3060415"/>
                  <a:ext cx="195248" cy="309488"/>
                </a:xfrm>
                <a:custGeom>
                  <a:avLst/>
                  <a:gdLst>
                    <a:gd name="T0" fmla="*/ 38 w 511"/>
                    <a:gd name="T1" fmla="*/ 831 h 831"/>
                    <a:gd name="T2" fmla="*/ 57 w 511"/>
                    <a:gd name="T3" fmla="*/ 827 h 831"/>
                    <a:gd name="T4" fmla="*/ 493 w 511"/>
                    <a:gd name="T5" fmla="*/ 575 h 831"/>
                    <a:gd name="T6" fmla="*/ 511 w 511"/>
                    <a:gd name="T7" fmla="*/ 541 h 831"/>
                    <a:gd name="T8" fmla="*/ 511 w 511"/>
                    <a:gd name="T9" fmla="*/ 39 h 831"/>
                    <a:gd name="T10" fmla="*/ 493 w 511"/>
                    <a:gd name="T11" fmla="*/ 4 h 831"/>
                    <a:gd name="T12" fmla="*/ 472 w 511"/>
                    <a:gd name="T13" fmla="*/ 0 h 831"/>
                    <a:gd name="T14" fmla="*/ 454 w 511"/>
                    <a:gd name="T15" fmla="*/ 4 h 831"/>
                    <a:gd name="T16" fmla="*/ 18 w 511"/>
                    <a:gd name="T17" fmla="*/ 256 h 831"/>
                    <a:gd name="T18" fmla="*/ 0 w 511"/>
                    <a:gd name="T19" fmla="*/ 290 h 831"/>
                    <a:gd name="T20" fmla="*/ 0 w 511"/>
                    <a:gd name="T21" fmla="*/ 792 h 831"/>
                    <a:gd name="T22" fmla="*/ 18 w 511"/>
                    <a:gd name="T23" fmla="*/ 827 h 831"/>
                    <a:gd name="T24" fmla="*/ 38 w 511"/>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1" h="831">
                      <a:moveTo>
                        <a:pt x="38" y="831"/>
                      </a:moveTo>
                      <a:cubicBezTo>
                        <a:pt x="45" y="831"/>
                        <a:pt x="50" y="829"/>
                        <a:pt x="57" y="827"/>
                      </a:cubicBezTo>
                      <a:cubicBezTo>
                        <a:pt x="57" y="827"/>
                        <a:pt x="57" y="827"/>
                        <a:pt x="493" y="575"/>
                      </a:cubicBezTo>
                      <a:cubicBezTo>
                        <a:pt x="504" y="569"/>
                        <a:pt x="511" y="555"/>
                        <a:pt x="511" y="541"/>
                      </a:cubicBezTo>
                      <a:cubicBezTo>
                        <a:pt x="511" y="541"/>
                        <a:pt x="511" y="541"/>
                        <a:pt x="511" y="39"/>
                      </a:cubicBezTo>
                      <a:cubicBezTo>
                        <a:pt x="511" y="25"/>
                        <a:pt x="504" y="11"/>
                        <a:pt x="493" y="4"/>
                      </a:cubicBezTo>
                      <a:cubicBezTo>
                        <a:pt x="486" y="0"/>
                        <a:pt x="479" y="0"/>
                        <a:pt x="472" y="0"/>
                      </a:cubicBezTo>
                      <a:cubicBezTo>
                        <a:pt x="465" y="0"/>
                        <a:pt x="459" y="0"/>
                        <a:pt x="454" y="4"/>
                      </a:cubicBezTo>
                      <a:cubicBezTo>
                        <a:pt x="454" y="4"/>
                        <a:pt x="454" y="4"/>
                        <a:pt x="18" y="256"/>
                      </a:cubicBezTo>
                      <a:cubicBezTo>
                        <a:pt x="6" y="262"/>
                        <a:pt x="0" y="276"/>
                        <a:pt x="0" y="290"/>
                      </a:cubicBezTo>
                      <a:cubicBezTo>
                        <a:pt x="0" y="290"/>
                        <a:pt x="0" y="290"/>
                        <a:pt x="0" y="792"/>
                      </a:cubicBezTo>
                      <a:cubicBezTo>
                        <a:pt x="0" y="806"/>
                        <a:pt x="6" y="820"/>
                        <a:pt x="18" y="827"/>
                      </a:cubicBezTo>
                      <a:cubicBezTo>
                        <a:pt x="25" y="829"/>
                        <a:pt x="32" y="831"/>
                        <a:pt x="38" y="831"/>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88" name="Freeform 83">
                  <a:extLst>
                    <a:ext uri="{FF2B5EF4-FFF2-40B4-BE49-F238E27FC236}">
                      <a16:creationId xmlns:a16="http://schemas.microsoft.com/office/drawing/2014/main" id="{F1B9FE61-F3E6-4F00-A727-A65E04DFC4A3}"/>
                    </a:ext>
                  </a:extLst>
                </p:cNvPr>
                <p:cNvSpPr>
                  <a:spLocks/>
                </p:cNvSpPr>
                <p:nvPr/>
              </p:nvSpPr>
              <p:spPr bwMode="auto">
                <a:xfrm>
                  <a:off x="5120551" y="3188677"/>
                  <a:ext cx="200960" cy="310008"/>
                </a:xfrm>
                <a:custGeom>
                  <a:avLst/>
                  <a:gdLst>
                    <a:gd name="T0" fmla="*/ 40 w 527"/>
                    <a:gd name="T1" fmla="*/ 831 h 831"/>
                    <a:gd name="T2" fmla="*/ 61 w 527"/>
                    <a:gd name="T3" fmla="*/ 827 h 831"/>
                    <a:gd name="T4" fmla="*/ 506 w 527"/>
                    <a:gd name="T5" fmla="*/ 576 h 831"/>
                    <a:gd name="T6" fmla="*/ 527 w 527"/>
                    <a:gd name="T7" fmla="*/ 541 h 831"/>
                    <a:gd name="T8" fmla="*/ 527 w 527"/>
                    <a:gd name="T9" fmla="*/ 39 h 831"/>
                    <a:gd name="T10" fmla="*/ 506 w 527"/>
                    <a:gd name="T11" fmla="*/ 4 h 831"/>
                    <a:gd name="T12" fmla="*/ 488 w 527"/>
                    <a:gd name="T13" fmla="*/ 0 h 831"/>
                    <a:gd name="T14" fmla="*/ 467 w 527"/>
                    <a:gd name="T15" fmla="*/ 4 h 831"/>
                    <a:gd name="T16" fmla="*/ 21 w 527"/>
                    <a:gd name="T17" fmla="*/ 256 h 831"/>
                    <a:gd name="T18" fmla="*/ 0 w 527"/>
                    <a:gd name="T19" fmla="*/ 290 h 831"/>
                    <a:gd name="T20" fmla="*/ 0 w 527"/>
                    <a:gd name="T21" fmla="*/ 793 h 831"/>
                    <a:gd name="T22" fmla="*/ 21 w 527"/>
                    <a:gd name="T23" fmla="*/ 827 h 831"/>
                    <a:gd name="T24" fmla="*/ 40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0" y="831"/>
                      </a:moveTo>
                      <a:cubicBezTo>
                        <a:pt x="47" y="831"/>
                        <a:pt x="54" y="831"/>
                        <a:pt x="61" y="827"/>
                      </a:cubicBezTo>
                      <a:cubicBezTo>
                        <a:pt x="61" y="827"/>
                        <a:pt x="61" y="827"/>
                        <a:pt x="506" y="576"/>
                      </a:cubicBezTo>
                      <a:cubicBezTo>
                        <a:pt x="520" y="569"/>
                        <a:pt x="527" y="555"/>
                        <a:pt x="527" y="541"/>
                      </a:cubicBezTo>
                      <a:cubicBezTo>
                        <a:pt x="527" y="541"/>
                        <a:pt x="527" y="541"/>
                        <a:pt x="527" y="39"/>
                      </a:cubicBezTo>
                      <a:cubicBezTo>
                        <a:pt x="527" y="25"/>
                        <a:pt x="520" y="11"/>
                        <a:pt x="506" y="4"/>
                      </a:cubicBezTo>
                      <a:cubicBezTo>
                        <a:pt x="502" y="2"/>
                        <a:pt x="495" y="0"/>
                        <a:pt x="488" y="0"/>
                      </a:cubicBezTo>
                      <a:cubicBezTo>
                        <a:pt x="481" y="0"/>
                        <a:pt x="474" y="2"/>
                        <a:pt x="467" y="4"/>
                      </a:cubicBezTo>
                      <a:cubicBezTo>
                        <a:pt x="467" y="4"/>
                        <a:pt x="467" y="4"/>
                        <a:pt x="21" y="256"/>
                      </a:cubicBezTo>
                      <a:cubicBezTo>
                        <a:pt x="9" y="263"/>
                        <a:pt x="0" y="276"/>
                        <a:pt x="0" y="290"/>
                      </a:cubicBezTo>
                      <a:cubicBezTo>
                        <a:pt x="0" y="290"/>
                        <a:pt x="0" y="290"/>
                        <a:pt x="0" y="793"/>
                      </a:cubicBezTo>
                      <a:cubicBezTo>
                        <a:pt x="0" y="806"/>
                        <a:pt x="9" y="820"/>
                        <a:pt x="21" y="827"/>
                      </a:cubicBezTo>
                      <a:cubicBezTo>
                        <a:pt x="26" y="831"/>
                        <a:pt x="33" y="831"/>
                        <a:pt x="40" y="831"/>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89" name="Freeform 84">
                  <a:extLst>
                    <a:ext uri="{FF2B5EF4-FFF2-40B4-BE49-F238E27FC236}">
                      <a16:creationId xmlns:a16="http://schemas.microsoft.com/office/drawing/2014/main" id="{FF2A805B-FD83-48CA-90E8-E8415B0C8BEA}"/>
                    </a:ext>
                  </a:extLst>
                </p:cNvPr>
                <p:cNvSpPr>
                  <a:spLocks/>
                </p:cNvSpPr>
                <p:nvPr/>
              </p:nvSpPr>
              <p:spPr bwMode="auto">
                <a:xfrm>
                  <a:off x="4693187" y="1901912"/>
                  <a:ext cx="366090" cy="216538"/>
                </a:xfrm>
                <a:custGeom>
                  <a:avLst/>
                  <a:gdLst>
                    <a:gd name="T0" fmla="*/ 481 w 959"/>
                    <a:gd name="T1" fmla="*/ 581 h 581"/>
                    <a:gd name="T2" fmla="*/ 499 w 959"/>
                    <a:gd name="T3" fmla="*/ 576 h 581"/>
                    <a:gd name="T4" fmla="*/ 941 w 959"/>
                    <a:gd name="T5" fmla="*/ 325 h 581"/>
                    <a:gd name="T6" fmla="*/ 959 w 959"/>
                    <a:gd name="T7" fmla="*/ 290 h 581"/>
                    <a:gd name="T8" fmla="*/ 941 w 959"/>
                    <a:gd name="T9" fmla="*/ 256 h 581"/>
                    <a:gd name="T10" fmla="*/ 499 w 959"/>
                    <a:gd name="T11" fmla="*/ 5 h 581"/>
                    <a:gd name="T12" fmla="*/ 481 w 959"/>
                    <a:gd name="T13" fmla="*/ 0 h 581"/>
                    <a:gd name="T14" fmla="*/ 460 w 959"/>
                    <a:gd name="T15" fmla="*/ 5 h 581"/>
                    <a:gd name="T16" fmla="*/ 19 w 959"/>
                    <a:gd name="T17" fmla="*/ 256 h 581"/>
                    <a:gd name="T18" fmla="*/ 0 w 959"/>
                    <a:gd name="T19" fmla="*/ 290 h 581"/>
                    <a:gd name="T20" fmla="*/ 19 w 959"/>
                    <a:gd name="T21" fmla="*/ 325 h 581"/>
                    <a:gd name="T22" fmla="*/ 460 w 959"/>
                    <a:gd name="T23" fmla="*/ 576 h 581"/>
                    <a:gd name="T24" fmla="*/ 481 w 959"/>
                    <a:gd name="T25" fmla="*/ 581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9" h="581">
                      <a:moveTo>
                        <a:pt x="481" y="581"/>
                      </a:moveTo>
                      <a:cubicBezTo>
                        <a:pt x="488" y="581"/>
                        <a:pt x="492" y="578"/>
                        <a:pt x="499" y="576"/>
                      </a:cubicBezTo>
                      <a:cubicBezTo>
                        <a:pt x="499" y="576"/>
                        <a:pt x="499" y="576"/>
                        <a:pt x="941" y="325"/>
                      </a:cubicBezTo>
                      <a:cubicBezTo>
                        <a:pt x="952" y="318"/>
                        <a:pt x="959" y="304"/>
                        <a:pt x="959" y="290"/>
                      </a:cubicBezTo>
                      <a:cubicBezTo>
                        <a:pt x="959" y="277"/>
                        <a:pt x="952" y="263"/>
                        <a:pt x="941" y="256"/>
                      </a:cubicBezTo>
                      <a:cubicBezTo>
                        <a:pt x="941" y="256"/>
                        <a:pt x="941" y="256"/>
                        <a:pt x="499" y="5"/>
                      </a:cubicBezTo>
                      <a:cubicBezTo>
                        <a:pt x="492" y="2"/>
                        <a:pt x="488" y="0"/>
                        <a:pt x="481" y="0"/>
                      </a:cubicBezTo>
                      <a:cubicBezTo>
                        <a:pt x="474" y="0"/>
                        <a:pt x="467" y="2"/>
                        <a:pt x="460" y="5"/>
                      </a:cubicBezTo>
                      <a:cubicBezTo>
                        <a:pt x="460" y="5"/>
                        <a:pt x="460" y="5"/>
                        <a:pt x="19" y="256"/>
                      </a:cubicBezTo>
                      <a:cubicBezTo>
                        <a:pt x="7" y="263"/>
                        <a:pt x="0" y="277"/>
                        <a:pt x="0" y="290"/>
                      </a:cubicBezTo>
                      <a:cubicBezTo>
                        <a:pt x="0" y="304"/>
                        <a:pt x="7" y="318"/>
                        <a:pt x="19" y="325"/>
                      </a:cubicBezTo>
                      <a:cubicBezTo>
                        <a:pt x="19" y="325"/>
                        <a:pt x="19" y="325"/>
                        <a:pt x="460" y="576"/>
                      </a:cubicBezTo>
                      <a:cubicBezTo>
                        <a:pt x="467" y="578"/>
                        <a:pt x="474" y="581"/>
                        <a:pt x="481" y="581"/>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90" name="Freeform 85">
                  <a:extLst>
                    <a:ext uri="{FF2B5EF4-FFF2-40B4-BE49-F238E27FC236}">
                      <a16:creationId xmlns:a16="http://schemas.microsoft.com/office/drawing/2014/main" id="{53F849F3-4993-4C18-BB57-2D0CAF42C1A3}"/>
                    </a:ext>
                  </a:extLst>
                </p:cNvPr>
                <p:cNvSpPr>
                  <a:spLocks noEditPoints="1"/>
                </p:cNvSpPr>
                <p:nvPr/>
              </p:nvSpPr>
              <p:spPr bwMode="auto">
                <a:xfrm>
                  <a:off x="4430952" y="2937347"/>
                  <a:ext cx="433077" cy="310008"/>
                </a:xfrm>
                <a:custGeom>
                  <a:avLst/>
                  <a:gdLst>
                    <a:gd name="T0" fmla="*/ 647 w 1135"/>
                    <a:gd name="T1" fmla="*/ 832 h 832"/>
                    <a:gd name="T2" fmla="*/ 666 w 1135"/>
                    <a:gd name="T3" fmla="*/ 827 h 832"/>
                    <a:gd name="T4" fmla="*/ 1114 w 1135"/>
                    <a:gd name="T5" fmla="*/ 576 h 832"/>
                    <a:gd name="T6" fmla="*/ 1135 w 1135"/>
                    <a:gd name="T7" fmla="*/ 542 h 832"/>
                    <a:gd name="T8" fmla="*/ 1135 w 1135"/>
                    <a:gd name="T9" fmla="*/ 39 h 832"/>
                    <a:gd name="T10" fmla="*/ 1114 w 1135"/>
                    <a:gd name="T11" fmla="*/ 5 h 832"/>
                    <a:gd name="T12" fmla="*/ 1095 w 1135"/>
                    <a:gd name="T13" fmla="*/ 0 h 832"/>
                    <a:gd name="T14" fmla="*/ 1074 w 1135"/>
                    <a:gd name="T15" fmla="*/ 5 h 832"/>
                    <a:gd name="T16" fmla="*/ 626 w 1135"/>
                    <a:gd name="T17" fmla="*/ 256 h 832"/>
                    <a:gd name="T18" fmla="*/ 607 w 1135"/>
                    <a:gd name="T19" fmla="*/ 290 h 832"/>
                    <a:gd name="T20" fmla="*/ 607 w 1135"/>
                    <a:gd name="T21" fmla="*/ 793 h 832"/>
                    <a:gd name="T22" fmla="*/ 626 w 1135"/>
                    <a:gd name="T23" fmla="*/ 827 h 832"/>
                    <a:gd name="T24" fmla="*/ 647 w 1135"/>
                    <a:gd name="T25" fmla="*/ 832 h 832"/>
                    <a:gd name="T26" fmla="*/ 487 w 1135"/>
                    <a:gd name="T27" fmla="*/ 832 h 832"/>
                    <a:gd name="T28" fmla="*/ 506 w 1135"/>
                    <a:gd name="T29" fmla="*/ 827 h 832"/>
                    <a:gd name="T30" fmla="*/ 527 w 1135"/>
                    <a:gd name="T31" fmla="*/ 793 h 832"/>
                    <a:gd name="T32" fmla="*/ 527 w 1135"/>
                    <a:gd name="T33" fmla="*/ 290 h 832"/>
                    <a:gd name="T34" fmla="*/ 506 w 1135"/>
                    <a:gd name="T35" fmla="*/ 256 h 832"/>
                    <a:gd name="T36" fmla="*/ 61 w 1135"/>
                    <a:gd name="T37" fmla="*/ 5 h 832"/>
                    <a:gd name="T38" fmla="*/ 40 w 1135"/>
                    <a:gd name="T39" fmla="*/ 0 h 832"/>
                    <a:gd name="T40" fmla="*/ 21 w 1135"/>
                    <a:gd name="T41" fmla="*/ 5 h 832"/>
                    <a:gd name="T42" fmla="*/ 0 w 1135"/>
                    <a:gd name="T43" fmla="*/ 39 h 832"/>
                    <a:gd name="T44" fmla="*/ 0 w 1135"/>
                    <a:gd name="T45" fmla="*/ 542 h 832"/>
                    <a:gd name="T46" fmla="*/ 21 w 1135"/>
                    <a:gd name="T47" fmla="*/ 576 h 832"/>
                    <a:gd name="T48" fmla="*/ 466 w 1135"/>
                    <a:gd name="T49" fmla="*/ 827 h 832"/>
                    <a:gd name="T50" fmla="*/ 487 w 1135"/>
                    <a:gd name="T51"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5" h="832">
                      <a:moveTo>
                        <a:pt x="647" y="832"/>
                      </a:moveTo>
                      <a:cubicBezTo>
                        <a:pt x="654" y="832"/>
                        <a:pt x="661" y="829"/>
                        <a:pt x="666" y="827"/>
                      </a:cubicBezTo>
                      <a:cubicBezTo>
                        <a:pt x="666" y="827"/>
                        <a:pt x="666" y="827"/>
                        <a:pt x="1114" y="576"/>
                      </a:cubicBezTo>
                      <a:cubicBezTo>
                        <a:pt x="1125" y="569"/>
                        <a:pt x="1135" y="555"/>
                        <a:pt x="1135" y="542"/>
                      </a:cubicBezTo>
                      <a:cubicBezTo>
                        <a:pt x="1135" y="542"/>
                        <a:pt x="1135" y="542"/>
                        <a:pt x="1135" y="39"/>
                      </a:cubicBezTo>
                      <a:cubicBezTo>
                        <a:pt x="1135" y="25"/>
                        <a:pt x="1125" y="12"/>
                        <a:pt x="1114" y="5"/>
                      </a:cubicBezTo>
                      <a:cubicBezTo>
                        <a:pt x="1107" y="0"/>
                        <a:pt x="1100" y="0"/>
                        <a:pt x="1095" y="0"/>
                      </a:cubicBezTo>
                      <a:cubicBezTo>
                        <a:pt x="1088" y="0"/>
                        <a:pt x="1081" y="0"/>
                        <a:pt x="1074" y="5"/>
                      </a:cubicBezTo>
                      <a:cubicBezTo>
                        <a:pt x="1074" y="5"/>
                        <a:pt x="1074" y="5"/>
                        <a:pt x="626" y="256"/>
                      </a:cubicBezTo>
                      <a:cubicBezTo>
                        <a:pt x="614" y="263"/>
                        <a:pt x="607" y="277"/>
                        <a:pt x="607" y="290"/>
                      </a:cubicBezTo>
                      <a:cubicBezTo>
                        <a:pt x="607" y="290"/>
                        <a:pt x="607" y="290"/>
                        <a:pt x="607" y="793"/>
                      </a:cubicBezTo>
                      <a:cubicBezTo>
                        <a:pt x="607" y="807"/>
                        <a:pt x="614" y="820"/>
                        <a:pt x="626" y="827"/>
                      </a:cubicBezTo>
                      <a:cubicBezTo>
                        <a:pt x="633" y="829"/>
                        <a:pt x="640" y="832"/>
                        <a:pt x="647" y="832"/>
                      </a:cubicBezTo>
                      <a:close/>
                      <a:moveTo>
                        <a:pt x="487" y="832"/>
                      </a:moveTo>
                      <a:cubicBezTo>
                        <a:pt x="495" y="832"/>
                        <a:pt x="502" y="829"/>
                        <a:pt x="506" y="827"/>
                      </a:cubicBezTo>
                      <a:cubicBezTo>
                        <a:pt x="520" y="820"/>
                        <a:pt x="527" y="807"/>
                        <a:pt x="527" y="793"/>
                      </a:cubicBezTo>
                      <a:cubicBezTo>
                        <a:pt x="527" y="793"/>
                        <a:pt x="527" y="793"/>
                        <a:pt x="527" y="290"/>
                      </a:cubicBezTo>
                      <a:cubicBezTo>
                        <a:pt x="527" y="277"/>
                        <a:pt x="520" y="263"/>
                        <a:pt x="506" y="256"/>
                      </a:cubicBezTo>
                      <a:cubicBezTo>
                        <a:pt x="506" y="256"/>
                        <a:pt x="506" y="256"/>
                        <a:pt x="61" y="5"/>
                      </a:cubicBezTo>
                      <a:cubicBezTo>
                        <a:pt x="54" y="0"/>
                        <a:pt x="47" y="0"/>
                        <a:pt x="40" y="0"/>
                      </a:cubicBezTo>
                      <a:cubicBezTo>
                        <a:pt x="33" y="0"/>
                        <a:pt x="26" y="0"/>
                        <a:pt x="21" y="5"/>
                      </a:cubicBezTo>
                      <a:cubicBezTo>
                        <a:pt x="7" y="12"/>
                        <a:pt x="0" y="25"/>
                        <a:pt x="0" y="39"/>
                      </a:cubicBezTo>
                      <a:cubicBezTo>
                        <a:pt x="0" y="39"/>
                        <a:pt x="0" y="39"/>
                        <a:pt x="0" y="542"/>
                      </a:cubicBezTo>
                      <a:cubicBezTo>
                        <a:pt x="0" y="555"/>
                        <a:pt x="7" y="569"/>
                        <a:pt x="21" y="576"/>
                      </a:cubicBezTo>
                      <a:cubicBezTo>
                        <a:pt x="21" y="576"/>
                        <a:pt x="21" y="576"/>
                        <a:pt x="466" y="827"/>
                      </a:cubicBezTo>
                      <a:cubicBezTo>
                        <a:pt x="473" y="829"/>
                        <a:pt x="480" y="832"/>
                        <a:pt x="487" y="832"/>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91" name="Freeform 86">
                  <a:extLst>
                    <a:ext uri="{FF2B5EF4-FFF2-40B4-BE49-F238E27FC236}">
                      <a16:creationId xmlns:a16="http://schemas.microsoft.com/office/drawing/2014/main" id="{0B06309F-89AB-45C8-969E-87E83BB528A5}"/>
                    </a:ext>
                  </a:extLst>
                </p:cNvPr>
                <p:cNvSpPr>
                  <a:spLocks noEditPoints="1"/>
                </p:cNvSpPr>
                <p:nvPr/>
              </p:nvSpPr>
              <p:spPr bwMode="auto">
                <a:xfrm>
                  <a:off x="4925303" y="2030693"/>
                  <a:ext cx="396208" cy="450211"/>
                </a:xfrm>
                <a:custGeom>
                  <a:avLst/>
                  <a:gdLst>
                    <a:gd name="T0" fmla="*/ 478 w 1038"/>
                    <a:gd name="T1" fmla="*/ 581 h 1208"/>
                    <a:gd name="T2" fmla="*/ 499 w 1038"/>
                    <a:gd name="T3" fmla="*/ 574 h 1208"/>
                    <a:gd name="T4" fmla="*/ 938 w 1038"/>
                    <a:gd name="T5" fmla="*/ 323 h 1208"/>
                    <a:gd name="T6" fmla="*/ 959 w 1038"/>
                    <a:gd name="T7" fmla="*/ 289 h 1208"/>
                    <a:gd name="T8" fmla="*/ 938 w 1038"/>
                    <a:gd name="T9" fmla="*/ 257 h 1208"/>
                    <a:gd name="T10" fmla="*/ 499 w 1038"/>
                    <a:gd name="T11" fmla="*/ 7 h 1208"/>
                    <a:gd name="T12" fmla="*/ 478 w 1038"/>
                    <a:gd name="T13" fmla="*/ 0 h 1208"/>
                    <a:gd name="T14" fmla="*/ 459 w 1038"/>
                    <a:gd name="T15" fmla="*/ 7 h 1208"/>
                    <a:gd name="T16" fmla="*/ 18 w 1038"/>
                    <a:gd name="T17" fmla="*/ 257 h 1208"/>
                    <a:gd name="T18" fmla="*/ 0 w 1038"/>
                    <a:gd name="T19" fmla="*/ 289 h 1208"/>
                    <a:gd name="T20" fmla="*/ 18 w 1038"/>
                    <a:gd name="T21" fmla="*/ 323 h 1208"/>
                    <a:gd name="T22" fmla="*/ 459 w 1038"/>
                    <a:gd name="T23" fmla="*/ 574 h 1208"/>
                    <a:gd name="T24" fmla="*/ 478 w 1038"/>
                    <a:gd name="T25" fmla="*/ 581 h 1208"/>
                    <a:gd name="T26" fmla="*/ 551 w 1038"/>
                    <a:gd name="T27" fmla="*/ 1208 h 1208"/>
                    <a:gd name="T28" fmla="*/ 572 w 1038"/>
                    <a:gd name="T29" fmla="*/ 1201 h 1208"/>
                    <a:gd name="T30" fmla="*/ 1017 w 1038"/>
                    <a:gd name="T31" fmla="*/ 951 h 1208"/>
                    <a:gd name="T32" fmla="*/ 1038 w 1038"/>
                    <a:gd name="T33" fmla="*/ 919 h 1208"/>
                    <a:gd name="T34" fmla="*/ 1038 w 1038"/>
                    <a:gd name="T35" fmla="*/ 415 h 1208"/>
                    <a:gd name="T36" fmla="*/ 1017 w 1038"/>
                    <a:gd name="T37" fmla="*/ 384 h 1208"/>
                    <a:gd name="T38" fmla="*/ 999 w 1038"/>
                    <a:gd name="T39" fmla="*/ 377 h 1208"/>
                    <a:gd name="T40" fmla="*/ 978 w 1038"/>
                    <a:gd name="T41" fmla="*/ 384 h 1208"/>
                    <a:gd name="T42" fmla="*/ 532 w 1038"/>
                    <a:gd name="T43" fmla="*/ 634 h 1208"/>
                    <a:gd name="T44" fmla="*/ 511 w 1038"/>
                    <a:gd name="T45" fmla="*/ 666 h 1208"/>
                    <a:gd name="T46" fmla="*/ 511 w 1038"/>
                    <a:gd name="T47" fmla="*/ 1170 h 1208"/>
                    <a:gd name="T48" fmla="*/ 532 w 1038"/>
                    <a:gd name="T49" fmla="*/ 1201 h 1208"/>
                    <a:gd name="T50" fmla="*/ 551 w 1038"/>
                    <a:gd name="T51" fmla="*/ 1208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38" h="1208">
                      <a:moveTo>
                        <a:pt x="478" y="581"/>
                      </a:moveTo>
                      <a:cubicBezTo>
                        <a:pt x="485" y="581"/>
                        <a:pt x="492" y="578"/>
                        <a:pt x="499" y="574"/>
                      </a:cubicBezTo>
                      <a:cubicBezTo>
                        <a:pt x="499" y="574"/>
                        <a:pt x="499" y="574"/>
                        <a:pt x="938" y="323"/>
                      </a:cubicBezTo>
                      <a:cubicBezTo>
                        <a:pt x="952" y="317"/>
                        <a:pt x="959" y="305"/>
                        <a:pt x="959" y="289"/>
                      </a:cubicBezTo>
                      <a:cubicBezTo>
                        <a:pt x="959" y="276"/>
                        <a:pt x="952" y="264"/>
                        <a:pt x="938" y="257"/>
                      </a:cubicBezTo>
                      <a:cubicBezTo>
                        <a:pt x="938" y="257"/>
                        <a:pt x="938" y="257"/>
                        <a:pt x="499" y="7"/>
                      </a:cubicBezTo>
                      <a:cubicBezTo>
                        <a:pt x="492" y="2"/>
                        <a:pt x="485" y="0"/>
                        <a:pt x="478" y="0"/>
                      </a:cubicBezTo>
                      <a:cubicBezTo>
                        <a:pt x="471" y="0"/>
                        <a:pt x="464" y="2"/>
                        <a:pt x="459" y="7"/>
                      </a:cubicBezTo>
                      <a:cubicBezTo>
                        <a:pt x="459" y="7"/>
                        <a:pt x="459" y="7"/>
                        <a:pt x="18" y="257"/>
                      </a:cubicBezTo>
                      <a:cubicBezTo>
                        <a:pt x="6" y="264"/>
                        <a:pt x="0" y="276"/>
                        <a:pt x="0" y="289"/>
                      </a:cubicBezTo>
                      <a:cubicBezTo>
                        <a:pt x="0" y="305"/>
                        <a:pt x="6" y="317"/>
                        <a:pt x="18" y="323"/>
                      </a:cubicBezTo>
                      <a:cubicBezTo>
                        <a:pt x="18" y="323"/>
                        <a:pt x="18" y="323"/>
                        <a:pt x="459" y="574"/>
                      </a:cubicBezTo>
                      <a:cubicBezTo>
                        <a:pt x="464" y="578"/>
                        <a:pt x="471" y="581"/>
                        <a:pt x="478" y="581"/>
                      </a:cubicBezTo>
                      <a:close/>
                      <a:moveTo>
                        <a:pt x="551" y="1208"/>
                      </a:moveTo>
                      <a:cubicBezTo>
                        <a:pt x="558" y="1208"/>
                        <a:pt x="565" y="1206"/>
                        <a:pt x="572" y="1201"/>
                      </a:cubicBezTo>
                      <a:cubicBezTo>
                        <a:pt x="572" y="1201"/>
                        <a:pt x="572" y="1201"/>
                        <a:pt x="1017" y="951"/>
                      </a:cubicBezTo>
                      <a:cubicBezTo>
                        <a:pt x="1031" y="944"/>
                        <a:pt x="1038" y="933"/>
                        <a:pt x="1038" y="919"/>
                      </a:cubicBezTo>
                      <a:cubicBezTo>
                        <a:pt x="1038" y="919"/>
                        <a:pt x="1038" y="919"/>
                        <a:pt x="1038" y="415"/>
                      </a:cubicBezTo>
                      <a:cubicBezTo>
                        <a:pt x="1038" y="402"/>
                        <a:pt x="1031" y="390"/>
                        <a:pt x="1017" y="384"/>
                      </a:cubicBezTo>
                      <a:cubicBezTo>
                        <a:pt x="1013" y="379"/>
                        <a:pt x="1006" y="377"/>
                        <a:pt x="999" y="377"/>
                      </a:cubicBezTo>
                      <a:cubicBezTo>
                        <a:pt x="992" y="377"/>
                        <a:pt x="985" y="379"/>
                        <a:pt x="978" y="384"/>
                      </a:cubicBezTo>
                      <a:cubicBezTo>
                        <a:pt x="978" y="384"/>
                        <a:pt x="978" y="384"/>
                        <a:pt x="532" y="634"/>
                      </a:cubicBezTo>
                      <a:cubicBezTo>
                        <a:pt x="520" y="641"/>
                        <a:pt x="511" y="652"/>
                        <a:pt x="511" y="666"/>
                      </a:cubicBezTo>
                      <a:cubicBezTo>
                        <a:pt x="511" y="666"/>
                        <a:pt x="511" y="666"/>
                        <a:pt x="511" y="1170"/>
                      </a:cubicBezTo>
                      <a:cubicBezTo>
                        <a:pt x="511" y="1183"/>
                        <a:pt x="520" y="1195"/>
                        <a:pt x="532" y="1201"/>
                      </a:cubicBezTo>
                      <a:cubicBezTo>
                        <a:pt x="537" y="1206"/>
                        <a:pt x="544" y="1208"/>
                        <a:pt x="551" y="1208"/>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92" name="Freeform 87">
                  <a:extLst>
                    <a:ext uri="{FF2B5EF4-FFF2-40B4-BE49-F238E27FC236}">
                      <a16:creationId xmlns:a16="http://schemas.microsoft.com/office/drawing/2014/main" id="{9FB89700-4A85-4E59-8AD6-0EFCEB9F9ACF}"/>
                    </a:ext>
                  </a:extLst>
                </p:cNvPr>
                <p:cNvSpPr>
                  <a:spLocks/>
                </p:cNvSpPr>
                <p:nvPr/>
              </p:nvSpPr>
              <p:spPr bwMode="auto">
                <a:xfrm>
                  <a:off x="5120551" y="2428458"/>
                  <a:ext cx="200960" cy="310008"/>
                </a:xfrm>
                <a:custGeom>
                  <a:avLst/>
                  <a:gdLst>
                    <a:gd name="T0" fmla="*/ 40 w 527"/>
                    <a:gd name="T1" fmla="*/ 832 h 832"/>
                    <a:gd name="T2" fmla="*/ 61 w 527"/>
                    <a:gd name="T3" fmla="*/ 827 h 832"/>
                    <a:gd name="T4" fmla="*/ 506 w 527"/>
                    <a:gd name="T5" fmla="*/ 576 h 832"/>
                    <a:gd name="T6" fmla="*/ 527 w 527"/>
                    <a:gd name="T7" fmla="*/ 542 h 832"/>
                    <a:gd name="T8" fmla="*/ 527 w 527"/>
                    <a:gd name="T9" fmla="*/ 39 h 832"/>
                    <a:gd name="T10" fmla="*/ 506 w 527"/>
                    <a:gd name="T11" fmla="*/ 5 h 832"/>
                    <a:gd name="T12" fmla="*/ 488 w 527"/>
                    <a:gd name="T13" fmla="*/ 0 h 832"/>
                    <a:gd name="T14" fmla="*/ 467 w 527"/>
                    <a:gd name="T15" fmla="*/ 5 h 832"/>
                    <a:gd name="T16" fmla="*/ 21 w 527"/>
                    <a:gd name="T17" fmla="*/ 258 h 832"/>
                    <a:gd name="T18" fmla="*/ 0 w 527"/>
                    <a:gd name="T19" fmla="*/ 290 h 832"/>
                    <a:gd name="T20" fmla="*/ 0 w 527"/>
                    <a:gd name="T21" fmla="*/ 793 h 832"/>
                    <a:gd name="T22" fmla="*/ 21 w 527"/>
                    <a:gd name="T23" fmla="*/ 827 h 832"/>
                    <a:gd name="T24" fmla="*/ 40 w 527"/>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2">
                      <a:moveTo>
                        <a:pt x="40" y="832"/>
                      </a:moveTo>
                      <a:cubicBezTo>
                        <a:pt x="47" y="832"/>
                        <a:pt x="54" y="832"/>
                        <a:pt x="61" y="827"/>
                      </a:cubicBezTo>
                      <a:cubicBezTo>
                        <a:pt x="61" y="827"/>
                        <a:pt x="61" y="827"/>
                        <a:pt x="506" y="576"/>
                      </a:cubicBezTo>
                      <a:cubicBezTo>
                        <a:pt x="520" y="569"/>
                        <a:pt x="527" y="555"/>
                        <a:pt x="527" y="542"/>
                      </a:cubicBezTo>
                      <a:cubicBezTo>
                        <a:pt x="527" y="542"/>
                        <a:pt x="527" y="542"/>
                        <a:pt x="527" y="39"/>
                      </a:cubicBezTo>
                      <a:cubicBezTo>
                        <a:pt x="527" y="25"/>
                        <a:pt x="520" y="12"/>
                        <a:pt x="506" y="5"/>
                      </a:cubicBezTo>
                      <a:cubicBezTo>
                        <a:pt x="502" y="2"/>
                        <a:pt x="495" y="0"/>
                        <a:pt x="488" y="0"/>
                      </a:cubicBezTo>
                      <a:cubicBezTo>
                        <a:pt x="481" y="0"/>
                        <a:pt x="474" y="2"/>
                        <a:pt x="467" y="5"/>
                      </a:cubicBezTo>
                      <a:cubicBezTo>
                        <a:pt x="467" y="5"/>
                        <a:pt x="467" y="5"/>
                        <a:pt x="21" y="258"/>
                      </a:cubicBezTo>
                      <a:cubicBezTo>
                        <a:pt x="9" y="265"/>
                        <a:pt x="0" y="277"/>
                        <a:pt x="0" y="290"/>
                      </a:cubicBezTo>
                      <a:cubicBezTo>
                        <a:pt x="0" y="290"/>
                        <a:pt x="0" y="290"/>
                        <a:pt x="0" y="793"/>
                      </a:cubicBezTo>
                      <a:cubicBezTo>
                        <a:pt x="0" y="809"/>
                        <a:pt x="9" y="820"/>
                        <a:pt x="21" y="827"/>
                      </a:cubicBezTo>
                      <a:cubicBezTo>
                        <a:pt x="26" y="832"/>
                        <a:pt x="33" y="832"/>
                        <a:pt x="40" y="832"/>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93" name="Freeform 88">
                  <a:extLst>
                    <a:ext uri="{FF2B5EF4-FFF2-40B4-BE49-F238E27FC236}">
                      <a16:creationId xmlns:a16="http://schemas.microsoft.com/office/drawing/2014/main" id="{FCF6FD04-1D2C-4FD4-A4C1-E6CB058B5BD0}"/>
                    </a:ext>
                  </a:extLst>
                </p:cNvPr>
                <p:cNvSpPr>
                  <a:spLocks noEditPoints="1"/>
                </p:cNvSpPr>
                <p:nvPr/>
              </p:nvSpPr>
              <p:spPr bwMode="auto">
                <a:xfrm>
                  <a:off x="5163132" y="1908144"/>
                  <a:ext cx="384784" cy="455924"/>
                </a:xfrm>
                <a:custGeom>
                  <a:avLst/>
                  <a:gdLst>
                    <a:gd name="T0" fmla="*/ 479 w 1007"/>
                    <a:gd name="T1" fmla="*/ 580 h 1224"/>
                    <a:gd name="T2" fmla="*/ 498 w 1007"/>
                    <a:gd name="T3" fmla="*/ 576 h 1224"/>
                    <a:gd name="T4" fmla="*/ 938 w 1007"/>
                    <a:gd name="T5" fmla="*/ 324 h 1224"/>
                    <a:gd name="T6" fmla="*/ 959 w 1007"/>
                    <a:gd name="T7" fmla="*/ 290 h 1224"/>
                    <a:gd name="T8" fmla="*/ 938 w 1007"/>
                    <a:gd name="T9" fmla="*/ 258 h 1224"/>
                    <a:gd name="T10" fmla="*/ 498 w 1007"/>
                    <a:gd name="T11" fmla="*/ 4 h 1224"/>
                    <a:gd name="T12" fmla="*/ 479 w 1007"/>
                    <a:gd name="T13" fmla="*/ 0 h 1224"/>
                    <a:gd name="T14" fmla="*/ 459 w 1007"/>
                    <a:gd name="T15" fmla="*/ 4 h 1224"/>
                    <a:gd name="T16" fmla="*/ 21 w 1007"/>
                    <a:gd name="T17" fmla="*/ 258 h 1224"/>
                    <a:gd name="T18" fmla="*/ 0 w 1007"/>
                    <a:gd name="T19" fmla="*/ 290 h 1224"/>
                    <a:gd name="T20" fmla="*/ 21 w 1007"/>
                    <a:gd name="T21" fmla="*/ 324 h 1224"/>
                    <a:gd name="T22" fmla="*/ 459 w 1007"/>
                    <a:gd name="T23" fmla="*/ 576 h 1224"/>
                    <a:gd name="T24" fmla="*/ 479 w 1007"/>
                    <a:gd name="T25" fmla="*/ 580 h 1224"/>
                    <a:gd name="T26" fmla="*/ 534 w 1007"/>
                    <a:gd name="T27" fmla="*/ 1224 h 1224"/>
                    <a:gd name="T28" fmla="*/ 552 w 1007"/>
                    <a:gd name="T29" fmla="*/ 1219 h 1224"/>
                    <a:gd name="T30" fmla="*/ 986 w 1007"/>
                    <a:gd name="T31" fmla="*/ 968 h 1224"/>
                    <a:gd name="T32" fmla="*/ 1007 w 1007"/>
                    <a:gd name="T33" fmla="*/ 933 h 1224"/>
                    <a:gd name="T34" fmla="*/ 1007 w 1007"/>
                    <a:gd name="T35" fmla="*/ 431 h 1224"/>
                    <a:gd name="T36" fmla="*/ 986 w 1007"/>
                    <a:gd name="T37" fmla="*/ 396 h 1224"/>
                    <a:gd name="T38" fmla="*/ 968 w 1007"/>
                    <a:gd name="T39" fmla="*/ 392 h 1224"/>
                    <a:gd name="T40" fmla="*/ 948 w 1007"/>
                    <a:gd name="T41" fmla="*/ 396 h 1224"/>
                    <a:gd name="T42" fmla="*/ 514 w 1007"/>
                    <a:gd name="T43" fmla="*/ 650 h 1224"/>
                    <a:gd name="T44" fmla="*/ 495 w 1007"/>
                    <a:gd name="T45" fmla="*/ 682 h 1224"/>
                    <a:gd name="T46" fmla="*/ 495 w 1007"/>
                    <a:gd name="T47" fmla="*/ 1185 h 1224"/>
                    <a:gd name="T48" fmla="*/ 514 w 1007"/>
                    <a:gd name="T49" fmla="*/ 1219 h 1224"/>
                    <a:gd name="T50" fmla="*/ 534 w 1007"/>
                    <a:gd name="T51" fmla="*/ 1224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07" h="1224">
                      <a:moveTo>
                        <a:pt x="479" y="580"/>
                      </a:moveTo>
                      <a:cubicBezTo>
                        <a:pt x="486" y="580"/>
                        <a:pt x="493" y="580"/>
                        <a:pt x="498" y="576"/>
                      </a:cubicBezTo>
                      <a:cubicBezTo>
                        <a:pt x="498" y="576"/>
                        <a:pt x="498" y="576"/>
                        <a:pt x="938" y="324"/>
                      </a:cubicBezTo>
                      <a:cubicBezTo>
                        <a:pt x="950" y="317"/>
                        <a:pt x="959" y="304"/>
                        <a:pt x="959" y="290"/>
                      </a:cubicBezTo>
                      <a:cubicBezTo>
                        <a:pt x="959" y="276"/>
                        <a:pt x="950" y="265"/>
                        <a:pt x="938" y="258"/>
                      </a:cubicBezTo>
                      <a:cubicBezTo>
                        <a:pt x="938" y="258"/>
                        <a:pt x="938" y="258"/>
                        <a:pt x="498" y="4"/>
                      </a:cubicBezTo>
                      <a:cubicBezTo>
                        <a:pt x="493" y="2"/>
                        <a:pt x="486" y="0"/>
                        <a:pt x="479" y="0"/>
                      </a:cubicBezTo>
                      <a:cubicBezTo>
                        <a:pt x="473" y="0"/>
                        <a:pt x="466" y="2"/>
                        <a:pt x="459" y="4"/>
                      </a:cubicBezTo>
                      <a:cubicBezTo>
                        <a:pt x="459" y="4"/>
                        <a:pt x="459" y="4"/>
                        <a:pt x="21" y="258"/>
                      </a:cubicBezTo>
                      <a:cubicBezTo>
                        <a:pt x="7" y="265"/>
                        <a:pt x="0" y="276"/>
                        <a:pt x="0" y="290"/>
                      </a:cubicBezTo>
                      <a:cubicBezTo>
                        <a:pt x="0" y="304"/>
                        <a:pt x="7" y="317"/>
                        <a:pt x="21" y="324"/>
                      </a:cubicBezTo>
                      <a:cubicBezTo>
                        <a:pt x="21" y="324"/>
                        <a:pt x="21" y="324"/>
                        <a:pt x="459" y="576"/>
                      </a:cubicBezTo>
                      <a:cubicBezTo>
                        <a:pt x="466" y="580"/>
                        <a:pt x="473" y="580"/>
                        <a:pt x="479" y="580"/>
                      </a:cubicBezTo>
                      <a:close/>
                      <a:moveTo>
                        <a:pt x="534" y="1224"/>
                      </a:moveTo>
                      <a:cubicBezTo>
                        <a:pt x="541" y="1224"/>
                        <a:pt x="548" y="1224"/>
                        <a:pt x="552" y="1219"/>
                      </a:cubicBezTo>
                      <a:cubicBezTo>
                        <a:pt x="552" y="1219"/>
                        <a:pt x="552" y="1219"/>
                        <a:pt x="986" y="968"/>
                      </a:cubicBezTo>
                      <a:cubicBezTo>
                        <a:pt x="998" y="961"/>
                        <a:pt x="1007" y="947"/>
                        <a:pt x="1007" y="933"/>
                      </a:cubicBezTo>
                      <a:cubicBezTo>
                        <a:pt x="1007" y="933"/>
                        <a:pt x="1007" y="933"/>
                        <a:pt x="1007" y="431"/>
                      </a:cubicBezTo>
                      <a:cubicBezTo>
                        <a:pt x="1007" y="417"/>
                        <a:pt x="998" y="403"/>
                        <a:pt x="986" y="396"/>
                      </a:cubicBezTo>
                      <a:cubicBezTo>
                        <a:pt x="980" y="394"/>
                        <a:pt x="973" y="392"/>
                        <a:pt x="968" y="392"/>
                      </a:cubicBezTo>
                      <a:cubicBezTo>
                        <a:pt x="961" y="392"/>
                        <a:pt x="955" y="394"/>
                        <a:pt x="948" y="396"/>
                      </a:cubicBezTo>
                      <a:cubicBezTo>
                        <a:pt x="948" y="396"/>
                        <a:pt x="948" y="396"/>
                        <a:pt x="514" y="650"/>
                      </a:cubicBezTo>
                      <a:cubicBezTo>
                        <a:pt x="502" y="657"/>
                        <a:pt x="495" y="668"/>
                        <a:pt x="495" y="682"/>
                      </a:cubicBezTo>
                      <a:cubicBezTo>
                        <a:pt x="495" y="682"/>
                        <a:pt x="495" y="682"/>
                        <a:pt x="495" y="1185"/>
                      </a:cubicBezTo>
                      <a:cubicBezTo>
                        <a:pt x="495" y="1201"/>
                        <a:pt x="502" y="1212"/>
                        <a:pt x="514" y="1219"/>
                      </a:cubicBezTo>
                      <a:cubicBezTo>
                        <a:pt x="520" y="1224"/>
                        <a:pt x="527" y="1224"/>
                        <a:pt x="534" y="1224"/>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94" name="Freeform 89">
                  <a:extLst>
                    <a:ext uri="{FF2B5EF4-FFF2-40B4-BE49-F238E27FC236}">
                      <a16:creationId xmlns:a16="http://schemas.microsoft.com/office/drawing/2014/main" id="{8AC6738D-871A-441E-A553-555A6EF5245B}"/>
                    </a:ext>
                  </a:extLst>
                </p:cNvPr>
                <p:cNvSpPr>
                  <a:spLocks/>
                </p:cNvSpPr>
                <p:nvPr/>
              </p:nvSpPr>
              <p:spPr bwMode="auto">
                <a:xfrm>
                  <a:off x="5352148" y="2305909"/>
                  <a:ext cx="195767" cy="309488"/>
                </a:xfrm>
                <a:custGeom>
                  <a:avLst/>
                  <a:gdLst>
                    <a:gd name="T0" fmla="*/ 39 w 512"/>
                    <a:gd name="T1" fmla="*/ 831 h 831"/>
                    <a:gd name="T2" fmla="*/ 57 w 512"/>
                    <a:gd name="T3" fmla="*/ 827 h 831"/>
                    <a:gd name="T4" fmla="*/ 491 w 512"/>
                    <a:gd name="T5" fmla="*/ 575 h 831"/>
                    <a:gd name="T6" fmla="*/ 512 w 512"/>
                    <a:gd name="T7" fmla="*/ 541 h 831"/>
                    <a:gd name="T8" fmla="*/ 512 w 512"/>
                    <a:gd name="T9" fmla="*/ 38 h 831"/>
                    <a:gd name="T10" fmla="*/ 491 w 512"/>
                    <a:gd name="T11" fmla="*/ 4 h 831"/>
                    <a:gd name="T12" fmla="*/ 473 w 512"/>
                    <a:gd name="T13" fmla="*/ 0 h 831"/>
                    <a:gd name="T14" fmla="*/ 453 w 512"/>
                    <a:gd name="T15" fmla="*/ 4 h 831"/>
                    <a:gd name="T16" fmla="*/ 19 w 512"/>
                    <a:gd name="T17" fmla="*/ 255 h 831"/>
                    <a:gd name="T18" fmla="*/ 0 w 512"/>
                    <a:gd name="T19" fmla="*/ 290 h 831"/>
                    <a:gd name="T20" fmla="*/ 0 w 512"/>
                    <a:gd name="T21" fmla="*/ 792 h 831"/>
                    <a:gd name="T22" fmla="*/ 19 w 512"/>
                    <a:gd name="T23" fmla="*/ 827 h 831"/>
                    <a:gd name="T24" fmla="*/ 39 w 512"/>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2" h="831">
                      <a:moveTo>
                        <a:pt x="39" y="831"/>
                      </a:moveTo>
                      <a:cubicBezTo>
                        <a:pt x="46" y="831"/>
                        <a:pt x="53" y="829"/>
                        <a:pt x="57" y="827"/>
                      </a:cubicBezTo>
                      <a:cubicBezTo>
                        <a:pt x="57" y="827"/>
                        <a:pt x="57" y="827"/>
                        <a:pt x="491" y="575"/>
                      </a:cubicBezTo>
                      <a:cubicBezTo>
                        <a:pt x="503" y="568"/>
                        <a:pt x="512" y="555"/>
                        <a:pt x="512" y="541"/>
                      </a:cubicBezTo>
                      <a:cubicBezTo>
                        <a:pt x="512" y="541"/>
                        <a:pt x="512" y="541"/>
                        <a:pt x="512" y="38"/>
                      </a:cubicBezTo>
                      <a:cubicBezTo>
                        <a:pt x="512" y="25"/>
                        <a:pt x="503" y="11"/>
                        <a:pt x="491" y="4"/>
                      </a:cubicBezTo>
                      <a:cubicBezTo>
                        <a:pt x="485" y="2"/>
                        <a:pt x="478" y="0"/>
                        <a:pt x="473" y="0"/>
                      </a:cubicBezTo>
                      <a:cubicBezTo>
                        <a:pt x="466" y="0"/>
                        <a:pt x="460" y="2"/>
                        <a:pt x="453" y="4"/>
                      </a:cubicBezTo>
                      <a:cubicBezTo>
                        <a:pt x="453" y="4"/>
                        <a:pt x="453" y="4"/>
                        <a:pt x="19" y="255"/>
                      </a:cubicBezTo>
                      <a:cubicBezTo>
                        <a:pt x="7" y="262"/>
                        <a:pt x="0" y="276"/>
                        <a:pt x="0" y="290"/>
                      </a:cubicBezTo>
                      <a:cubicBezTo>
                        <a:pt x="0" y="290"/>
                        <a:pt x="0" y="290"/>
                        <a:pt x="0" y="792"/>
                      </a:cubicBezTo>
                      <a:cubicBezTo>
                        <a:pt x="0" y="806"/>
                        <a:pt x="7" y="820"/>
                        <a:pt x="19" y="827"/>
                      </a:cubicBezTo>
                      <a:cubicBezTo>
                        <a:pt x="25" y="829"/>
                        <a:pt x="32" y="831"/>
                        <a:pt x="39" y="831"/>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95" name="Freeform 90">
                  <a:extLst>
                    <a:ext uri="{FF2B5EF4-FFF2-40B4-BE49-F238E27FC236}">
                      <a16:creationId xmlns:a16="http://schemas.microsoft.com/office/drawing/2014/main" id="{A3F7D407-FCD0-4DED-A200-C8F695B8A965}"/>
                    </a:ext>
                  </a:extLst>
                </p:cNvPr>
                <p:cNvSpPr>
                  <a:spLocks/>
                </p:cNvSpPr>
                <p:nvPr/>
              </p:nvSpPr>
              <p:spPr bwMode="auto">
                <a:xfrm>
                  <a:off x="5578553" y="2434169"/>
                  <a:ext cx="200960" cy="310008"/>
                </a:xfrm>
                <a:custGeom>
                  <a:avLst/>
                  <a:gdLst>
                    <a:gd name="T0" fmla="*/ 40 w 527"/>
                    <a:gd name="T1" fmla="*/ 831 h 831"/>
                    <a:gd name="T2" fmla="*/ 59 w 527"/>
                    <a:gd name="T3" fmla="*/ 825 h 831"/>
                    <a:gd name="T4" fmla="*/ 508 w 527"/>
                    <a:gd name="T5" fmla="*/ 574 h 831"/>
                    <a:gd name="T6" fmla="*/ 527 w 527"/>
                    <a:gd name="T7" fmla="*/ 542 h 831"/>
                    <a:gd name="T8" fmla="*/ 527 w 527"/>
                    <a:gd name="T9" fmla="*/ 39 h 831"/>
                    <a:gd name="T10" fmla="*/ 508 w 527"/>
                    <a:gd name="T11" fmla="*/ 7 h 831"/>
                    <a:gd name="T12" fmla="*/ 487 w 527"/>
                    <a:gd name="T13" fmla="*/ 0 h 831"/>
                    <a:gd name="T14" fmla="*/ 468 w 527"/>
                    <a:gd name="T15" fmla="*/ 7 h 831"/>
                    <a:gd name="T16" fmla="*/ 19 w 527"/>
                    <a:gd name="T17" fmla="*/ 257 h 831"/>
                    <a:gd name="T18" fmla="*/ 0 w 527"/>
                    <a:gd name="T19" fmla="*/ 289 h 831"/>
                    <a:gd name="T20" fmla="*/ 0 w 527"/>
                    <a:gd name="T21" fmla="*/ 793 h 831"/>
                    <a:gd name="T22" fmla="*/ 19 w 527"/>
                    <a:gd name="T23" fmla="*/ 825 h 831"/>
                    <a:gd name="T24" fmla="*/ 40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0" y="831"/>
                      </a:moveTo>
                      <a:cubicBezTo>
                        <a:pt x="47" y="831"/>
                        <a:pt x="52" y="829"/>
                        <a:pt x="59" y="825"/>
                      </a:cubicBezTo>
                      <a:cubicBezTo>
                        <a:pt x="59" y="825"/>
                        <a:pt x="59" y="825"/>
                        <a:pt x="508" y="574"/>
                      </a:cubicBezTo>
                      <a:cubicBezTo>
                        <a:pt x="520" y="567"/>
                        <a:pt x="527" y="556"/>
                        <a:pt x="527" y="542"/>
                      </a:cubicBezTo>
                      <a:cubicBezTo>
                        <a:pt x="527" y="542"/>
                        <a:pt x="527" y="542"/>
                        <a:pt x="527" y="39"/>
                      </a:cubicBezTo>
                      <a:cubicBezTo>
                        <a:pt x="527" y="25"/>
                        <a:pt x="520" y="13"/>
                        <a:pt x="508" y="7"/>
                      </a:cubicBezTo>
                      <a:cubicBezTo>
                        <a:pt x="501" y="2"/>
                        <a:pt x="494" y="0"/>
                        <a:pt x="487" y="0"/>
                      </a:cubicBezTo>
                      <a:cubicBezTo>
                        <a:pt x="480" y="0"/>
                        <a:pt x="473" y="2"/>
                        <a:pt x="468" y="7"/>
                      </a:cubicBezTo>
                      <a:cubicBezTo>
                        <a:pt x="468" y="7"/>
                        <a:pt x="468" y="7"/>
                        <a:pt x="19" y="257"/>
                      </a:cubicBezTo>
                      <a:cubicBezTo>
                        <a:pt x="7" y="264"/>
                        <a:pt x="0" y="275"/>
                        <a:pt x="0" y="289"/>
                      </a:cubicBezTo>
                      <a:cubicBezTo>
                        <a:pt x="0" y="289"/>
                        <a:pt x="0" y="289"/>
                        <a:pt x="0" y="793"/>
                      </a:cubicBezTo>
                      <a:cubicBezTo>
                        <a:pt x="0" y="806"/>
                        <a:pt x="7" y="818"/>
                        <a:pt x="19" y="825"/>
                      </a:cubicBezTo>
                      <a:cubicBezTo>
                        <a:pt x="26" y="829"/>
                        <a:pt x="33" y="831"/>
                        <a:pt x="40" y="831"/>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96" name="Freeform 91">
                  <a:extLst>
                    <a:ext uri="{FF2B5EF4-FFF2-40B4-BE49-F238E27FC236}">
                      <a16:creationId xmlns:a16="http://schemas.microsoft.com/office/drawing/2014/main" id="{28C9CCD1-985C-447A-8192-F8D6EBC4F138}"/>
                    </a:ext>
                  </a:extLst>
                </p:cNvPr>
                <p:cNvSpPr>
                  <a:spLocks/>
                </p:cNvSpPr>
                <p:nvPr/>
              </p:nvSpPr>
              <p:spPr bwMode="auto">
                <a:xfrm>
                  <a:off x="5810150" y="2305909"/>
                  <a:ext cx="201480" cy="309488"/>
                </a:xfrm>
                <a:custGeom>
                  <a:avLst/>
                  <a:gdLst>
                    <a:gd name="T0" fmla="*/ 40 w 528"/>
                    <a:gd name="T1" fmla="*/ 831 h 831"/>
                    <a:gd name="T2" fmla="*/ 61 w 528"/>
                    <a:gd name="T3" fmla="*/ 827 h 831"/>
                    <a:gd name="T4" fmla="*/ 507 w 528"/>
                    <a:gd name="T5" fmla="*/ 575 h 831"/>
                    <a:gd name="T6" fmla="*/ 528 w 528"/>
                    <a:gd name="T7" fmla="*/ 541 h 831"/>
                    <a:gd name="T8" fmla="*/ 528 w 528"/>
                    <a:gd name="T9" fmla="*/ 38 h 831"/>
                    <a:gd name="T10" fmla="*/ 507 w 528"/>
                    <a:gd name="T11" fmla="*/ 4 h 831"/>
                    <a:gd name="T12" fmla="*/ 488 w 528"/>
                    <a:gd name="T13" fmla="*/ 0 h 831"/>
                    <a:gd name="T14" fmla="*/ 467 w 528"/>
                    <a:gd name="T15" fmla="*/ 4 h 831"/>
                    <a:gd name="T16" fmla="*/ 21 w 528"/>
                    <a:gd name="T17" fmla="*/ 255 h 831"/>
                    <a:gd name="T18" fmla="*/ 0 w 528"/>
                    <a:gd name="T19" fmla="*/ 290 h 831"/>
                    <a:gd name="T20" fmla="*/ 0 w 528"/>
                    <a:gd name="T21" fmla="*/ 792 h 831"/>
                    <a:gd name="T22" fmla="*/ 21 w 528"/>
                    <a:gd name="T23" fmla="*/ 827 h 831"/>
                    <a:gd name="T24" fmla="*/ 40 w 528"/>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1">
                      <a:moveTo>
                        <a:pt x="40" y="831"/>
                      </a:moveTo>
                      <a:cubicBezTo>
                        <a:pt x="47" y="831"/>
                        <a:pt x="54" y="829"/>
                        <a:pt x="61" y="827"/>
                      </a:cubicBezTo>
                      <a:cubicBezTo>
                        <a:pt x="61" y="827"/>
                        <a:pt x="61" y="827"/>
                        <a:pt x="507" y="575"/>
                      </a:cubicBezTo>
                      <a:cubicBezTo>
                        <a:pt x="521" y="568"/>
                        <a:pt x="528" y="555"/>
                        <a:pt x="528" y="541"/>
                      </a:cubicBezTo>
                      <a:cubicBezTo>
                        <a:pt x="528" y="541"/>
                        <a:pt x="528" y="541"/>
                        <a:pt x="528" y="38"/>
                      </a:cubicBezTo>
                      <a:cubicBezTo>
                        <a:pt x="528" y="25"/>
                        <a:pt x="521" y="11"/>
                        <a:pt x="507" y="4"/>
                      </a:cubicBezTo>
                      <a:cubicBezTo>
                        <a:pt x="502" y="2"/>
                        <a:pt x="495" y="0"/>
                        <a:pt x="488" y="0"/>
                      </a:cubicBezTo>
                      <a:cubicBezTo>
                        <a:pt x="481" y="0"/>
                        <a:pt x="474" y="2"/>
                        <a:pt x="467" y="4"/>
                      </a:cubicBezTo>
                      <a:cubicBezTo>
                        <a:pt x="467" y="4"/>
                        <a:pt x="467" y="4"/>
                        <a:pt x="21" y="255"/>
                      </a:cubicBezTo>
                      <a:cubicBezTo>
                        <a:pt x="10" y="262"/>
                        <a:pt x="0" y="276"/>
                        <a:pt x="0" y="290"/>
                      </a:cubicBezTo>
                      <a:cubicBezTo>
                        <a:pt x="0" y="290"/>
                        <a:pt x="0" y="290"/>
                        <a:pt x="0" y="792"/>
                      </a:cubicBezTo>
                      <a:cubicBezTo>
                        <a:pt x="0" y="806"/>
                        <a:pt x="10" y="820"/>
                        <a:pt x="21" y="827"/>
                      </a:cubicBezTo>
                      <a:cubicBezTo>
                        <a:pt x="26" y="829"/>
                        <a:pt x="33" y="831"/>
                        <a:pt x="40" y="831"/>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97" name="Freeform 92">
                  <a:extLst>
                    <a:ext uri="{FF2B5EF4-FFF2-40B4-BE49-F238E27FC236}">
                      <a16:creationId xmlns:a16="http://schemas.microsoft.com/office/drawing/2014/main" id="{6FA1AA99-A123-4BBF-8CDA-304C6BCC5BC4}"/>
                    </a:ext>
                  </a:extLst>
                </p:cNvPr>
                <p:cNvSpPr>
                  <a:spLocks/>
                </p:cNvSpPr>
                <p:nvPr/>
              </p:nvSpPr>
              <p:spPr bwMode="auto">
                <a:xfrm>
                  <a:off x="5352148" y="3323688"/>
                  <a:ext cx="195767" cy="309488"/>
                </a:xfrm>
                <a:custGeom>
                  <a:avLst/>
                  <a:gdLst>
                    <a:gd name="T0" fmla="*/ 39 w 512"/>
                    <a:gd name="T1" fmla="*/ 831 h 831"/>
                    <a:gd name="T2" fmla="*/ 57 w 512"/>
                    <a:gd name="T3" fmla="*/ 827 h 831"/>
                    <a:gd name="T4" fmla="*/ 491 w 512"/>
                    <a:gd name="T5" fmla="*/ 575 h 831"/>
                    <a:gd name="T6" fmla="*/ 512 w 512"/>
                    <a:gd name="T7" fmla="*/ 541 h 831"/>
                    <a:gd name="T8" fmla="*/ 512 w 512"/>
                    <a:gd name="T9" fmla="*/ 39 h 831"/>
                    <a:gd name="T10" fmla="*/ 491 w 512"/>
                    <a:gd name="T11" fmla="*/ 4 h 831"/>
                    <a:gd name="T12" fmla="*/ 473 w 512"/>
                    <a:gd name="T13" fmla="*/ 0 h 831"/>
                    <a:gd name="T14" fmla="*/ 453 w 512"/>
                    <a:gd name="T15" fmla="*/ 4 h 831"/>
                    <a:gd name="T16" fmla="*/ 19 w 512"/>
                    <a:gd name="T17" fmla="*/ 256 h 831"/>
                    <a:gd name="T18" fmla="*/ 0 w 512"/>
                    <a:gd name="T19" fmla="*/ 290 h 831"/>
                    <a:gd name="T20" fmla="*/ 0 w 512"/>
                    <a:gd name="T21" fmla="*/ 792 h 831"/>
                    <a:gd name="T22" fmla="*/ 19 w 512"/>
                    <a:gd name="T23" fmla="*/ 827 h 831"/>
                    <a:gd name="T24" fmla="*/ 39 w 512"/>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2" h="831">
                      <a:moveTo>
                        <a:pt x="39" y="831"/>
                      </a:moveTo>
                      <a:cubicBezTo>
                        <a:pt x="46" y="831"/>
                        <a:pt x="53" y="829"/>
                        <a:pt x="57" y="827"/>
                      </a:cubicBezTo>
                      <a:cubicBezTo>
                        <a:pt x="57" y="827"/>
                        <a:pt x="57" y="827"/>
                        <a:pt x="491" y="575"/>
                      </a:cubicBezTo>
                      <a:cubicBezTo>
                        <a:pt x="503" y="569"/>
                        <a:pt x="512" y="555"/>
                        <a:pt x="512" y="541"/>
                      </a:cubicBezTo>
                      <a:cubicBezTo>
                        <a:pt x="512" y="541"/>
                        <a:pt x="512" y="541"/>
                        <a:pt x="512" y="39"/>
                      </a:cubicBezTo>
                      <a:cubicBezTo>
                        <a:pt x="512" y="25"/>
                        <a:pt x="503" y="11"/>
                        <a:pt x="491" y="4"/>
                      </a:cubicBezTo>
                      <a:cubicBezTo>
                        <a:pt x="485" y="0"/>
                        <a:pt x="478" y="0"/>
                        <a:pt x="473" y="0"/>
                      </a:cubicBezTo>
                      <a:cubicBezTo>
                        <a:pt x="466" y="0"/>
                        <a:pt x="460" y="0"/>
                        <a:pt x="453" y="4"/>
                      </a:cubicBezTo>
                      <a:cubicBezTo>
                        <a:pt x="453" y="4"/>
                        <a:pt x="453" y="4"/>
                        <a:pt x="19" y="256"/>
                      </a:cubicBezTo>
                      <a:cubicBezTo>
                        <a:pt x="7" y="262"/>
                        <a:pt x="0" y="276"/>
                        <a:pt x="0" y="290"/>
                      </a:cubicBezTo>
                      <a:cubicBezTo>
                        <a:pt x="0" y="290"/>
                        <a:pt x="0" y="290"/>
                        <a:pt x="0" y="792"/>
                      </a:cubicBezTo>
                      <a:cubicBezTo>
                        <a:pt x="0" y="806"/>
                        <a:pt x="7" y="820"/>
                        <a:pt x="19" y="827"/>
                      </a:cubicBezTo>
                      <a:cubicBezTo>
                        <a:pt x="25" y="829"/>
                        <a:pt x="32" y="831"/>
                        <a:pt x="39" y="831"/>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98" name="Freeform 94">
                  <a:extLst>
                    <a:ext uri="{FF2B5EF4-FFF2-40B4-BE49-F238E27FC236}">
                      <a16:creationId xmlns:a16="http://schemas.microsoft.com/office/drawing/2014/main" id="{D2615C66-7869-47BE-8349-A6C01806646A}"/>
                    </a:ext>
                  </a:extLst>
                </p:cNvPr>
                <p:cNvSpPr>
                  <a:spLocks/>
                </p:cNvSpPr>
                <p:nvPr/>
              </p:nvSpPr>
              <p:spPr bwMode="auto">
                <a:xfrm>
                  <a:off x="4894665" y="2557238"/>
                  <a:ext cx="195248" cy="303776"/>
                </a:xfrm>
                <a:custGeom>
                  <a:avLst/>
                  <a:gdLst>
                    <a:gd name="T0" fmla="*/ 38 w 511"/>
                    <a:gd name="T1" fmla="*/ 816 h 816"/>
                    <a:gd name="T2" fmla="*/ 57 w 511"/>
                    <a:gd name="T3" fmla="*/ 812 h 816"/>
                    <a:gd name="T4" fmla="*/ 493 w 511"/>
                    <a:gd name="T5" fmla="*/ 563 h 816"/>
                    <a:gd name="T6" fmla="*/ 511 w 511"/>
                    <a:gd name="T7" fmla="*/ 532 h 816"/>
                    <a:gd name="T8" fmla="*/ 511 w 511"/>
                    <a:gd name="T9" fmla="*/ 38 h 816"/>
                    <a:gd name="T10" fmla="*/ 493 w 511"/>
                    <a:gd name="T11" fmla="*/ 5 h 816"/>
                    <a:gd name="T12" fmla="*/ 472 w 511"/>
                    <a:gd name="T13" fmla="*/ 0 h 816"/>
                    <a:gd name="T14" fmla="*/ 454 w 511"/>
                    <a:gd name="T15" fmla="*/ 5 h 816"/>
                    <a:gd name="T16" fmla="*/ 18 w 511"/>
                    <a:gd name="T17" fmla="*/ 251 h 816"/>
                    <a:gd name="T18" fmla="*/ 0 w 511"/>
                    <a:gd name="T19" fmla="*/ 285 h 816"/>
                    <a:gd name="T20" fmla="*/ 0 w 511"/>
                    <a:gd name="T21" fmla="*/ 778 h 816"/>
                    <a:gd name="T22" fmla="*/ 18 w 511"/>
                    <a:gd name="T23" fmla="*/ 812 h 816"/>
                    <a:gd name="T24" fmla="*/ 38 w 511"/>
                    <a:gd name="T25" fmla="*/ 81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1" h="816">
                      <a:moveTo>
                        <a:pt x="38" y="816"/>
                      </a:moveTo>
                      <a:cubicBezTo>
                        <a:pt x="45" y="816"/>
                        <a:pt x="50" y="814"/>
                        <a:pt x="57" y="812"/>
                      </a:cubicBezTo>
                      <a:cubicBezTo>
                        <a:pt x="57" y="812"/>
                        <a:pt x="57" y="812"/>
                        <a:pt x="493" y="563"/>
                      </a:cubicBezTo>
                      <a:cubicBezTo>
                        <a:pt x="504" y="556"/>
                        <a:pt x="511" y="545"/>
                        <a:pt x="511" y="532"/>
                      </a:cubicBezTo>
                      <a:cubicBezTo>
                        <a:pt x="511" y="532"/>
                        <a:pt x="511" y="532"/>
                        <a:pt x="511" y="38"/>
                      </a:cubicBezTo>
                      <a:cubicBezTo>
                        <a:pt x="511" y="23"/>
                        <a:pt x="504" y="11"/>
                        <a:pt x="493" y="5"/>
                      </a:cubicBezTo>
                      <a:cubicBezTo>
                        <a:pt x="486" y="0"/>
                        <a:pt x="479" y="0"/>
                        <a:pt x="472" y="0"/>
                      </a:cubicBezTo>
                      <a:cubicBezTo>
                        <a:pt x="465" y="0"/>
                        <a:pt x="459" y="0"/>
                        <a:pt x="454" y="5"/>
                      </a:cubicBezTo>
                      <a:cubicBezTo>
                        <a:pt x="454" y="5"/>
                        <a:pt x="454" y="5"/>
                        <a:pt x="18" y="251"/>
                      </a:cubicBezTo>
                      <a:cubicBezTo>
                        <a:pt x="6" y="258"/>
                        <a:pt x="0" y="272"/>
                        <a:pt x="0" y="285"/>
                      </a:cubicBezTo>
                      <a:cubicBezTo>
                        <a:pt x="0" y="285"/>
                        <a:pt x="0" y="285"/>
                        <a:pt x="0" y="778"/>
                      </a:cubicBezTo>
                      <a:cubicBezTo>
                        <a:pt x="0" y="792"/>
                        <a:pt x="6" y="805"/>
                        <a:pt x="18" y="812"/>
                      </a:cubicBezTo>
                      <a:cubicBezTo>
                        <a:pt x="25" y="814"/>
                        <a:pt x="32" y="816"/>
                        <a:pt x="38" y="816"/>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699" name="Freeform 95">
                  <a:extLst>
                    <a:ext uri="{FF2B5EF4-FFF2-40B4-BE49-F238E27FC236}">
                      <a16:creationId xmlns:a16="http://schemas.microsoft.com/office/drawing/2014/main" id="{4CBACFF3-5C86-4354-B46B-05A777F936B6}"/>
                    </a:ext>
                  </a:extLst>
                </p:cNvPr>
                <p:cNvSpPr>
                  <a:spLocks/>
                </p:cNvSpPr>
                <p:nvPr/>
              </p:nvSpPr>
              <p:spPr bwMode="auto">
                <a:xfrm>
                  <a:off x="4894665" y="2808567"/>
                  <a:ext cx="195248" cy="310008"/>
                </a:xfrm>
                <a:custGeom>
                  <a:avLst/>
                  <a:gdLst>
                    <a:gd name="T0" fmla="*/ 38 w 511"/>
                    <a:gd name="T1" fmla="*/ 832 h 832"/>
                    <a:gd name="T2" fmla="*/ 57 w 511"/>
                    <a:gd name="T3" fmla="*/ 825 h 832"/>
                    <a:gd name="T4" fmla="*/ 493 w 511"/>
                    <a:gd name="T5" fmla="*/ 574 h 832"/>
                    <a:gd name="T6" fmla="*/ 511 w 511"/>
                    <a:gd name="T7" fmla="*/ 542 h 832"/>
                    <a:gd name="T8" fmla="*/ 511 w 511"/>
                    <a:gd name="T9" fmla="*/ 39 h 832"/>
                    <a:gd name="T10" fmla="*/ 493 w 511"/>
                    <a:gd name="T11" fmla="*/ 7 h 832"/>
                    <a:gd name="T12" fmla="*/ 472 w 511"/>
                    <a:gd name="T13" fmla="*/ 0 h 832"/>
                    <a:gd name="T14" fmla="*/ 454 w 511"/>
                    <a:gd name="T15" fmla="*/ 7 h 832"/>
                    <a:gd name="T16" fmla="*/ 18 w 511"/>
                    <a:gd name="T17" fmla="*/ 257 h 832"/>
                    <a:gd name="T18" fmla="*/ 0 w 511"/>
                    <a:gd name="T19" fmla="*/ 289 h 832"/>
                    <a:gd name="T20" fmla="*/ 0 w 511"/>
                    <a:gd name="T21" fmla="*/ 793 h 832"/>
                    <a:gd name="T22" fmla="*/ 18 w 511"/>
                    <a:gd name="T23" fmla="*/ 825 h 832"/>
                    <a:gd name="T24" fmla="*/ 38 w 511"/>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1" h="832">
                      <a:moveTo>
                        <a:pt x="38" y="832"/>
                      </a:moveTo>
                      <a:cubicBezTo>
                        <a:pt x="45" y="832"/>
                        <a:pt x="50" y="829"/>
                        <a:pt x="57" y="825"/>
                      </a:cubicBezTo>
                      <a:cubicBezTo>
                        <a:pt x="57" y="825"/>
                        <a:pt x="57" y="825"/>
                        <a:pt x="493" y="574"/>
                      </a:cubicBezTo>
                      <a:cubicBezTo>
                        <a:pt x="504" y="567"/>
                        <a:pt x="511" y="556"/>
                        <a:pt x="511" y="542"/>
                      </a:cubicBezTo>
                      <a:cubicBezTo>
                        <a:pt x="511" y="542"/>
                        <a:pt x="511" y="542"/>
                        <a:pt x="511" y="39"/>
                      </a:cubicBezTo>
                      <a:cubicBezTo>
                        <a:pt x="511" y="25"/>
                        <a:pt x="504" y="14"/>
                        <a:pt x="493" y="7"/>
                      </a:cubicBezTo>
                      <a:cubicBezTo>
                        <a:pt x="486" y="2"/>
                        <a:pt x="479" y="0"/>
                        <a:pt x="472" y="0"/>
                      </a:cubicBezTo>
                      <a:cubicBezTo>
                        <a:pt x="465" y="0"/>
                        <a:pt x="459" y="2"/>
                        <a:pt x="454" y="7"/>
                      </a:cubicBezTo>
                      <a:cubicBezTo>
                        <a:pt x="454" y="7"/>
                        <a:pt x="454" y="7"/>
                        <a:pt x="18" y="257"/>
                      </a:cubicBezTo>
                      <a:cubicBezTo>
                        <a:pt x="6" y="264"/>
                        <a:pt x="0" y="276"/>
                        <a:pt x="0" y="289"/>
                      </a:cubicBezTo>
                      <a:cubicBezTo>
                        <a:pt x="0" y="289"/>
                        <a:pt x="0" y="289"/>
                        <a:pt x="0" y="793"/>
                      </a:cubicBezTo>
                      <a:cubicBezTo>
                        <a:pt x="0" y="807"/>
                        <a:pt x="6" y="818"/>
                        <a:pt x="18" y="825"/>
                      </a:cubicBezTo>
                      <a:cubicBezTo>
                        <a:pt x="25" y="829"/>
                        <a:pt x="32" y="832"/>
                        <a:pt x="38" y="832"/>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700" name="Freeform 96">
                  <a:extLst>
                    <a:ext uri="{FF2B5EF4-FFF2-40B4-BE49-F238E27FC236}">
                      <a16:creationId xmlns:a16="http://schemas.microsoft.com/office/drawing/2014/main" id="{A04603EA-DD26-431B-ADDA-129292BD59A5}"/>
                    </a:ext>
                  </a:extLst>
                </p:cNvPr>
                <p:cNvSpPr>
                  <a:spLocks/>
                </p:cNvSpPr>
                <p:nvPr/>
              </p:nvSpPr>
              <p:spPr bwMode="auto">
                <a:xfrm>
                  <a:off x="5120551" y="2680306"/>
                  <a:ext cx="200960" cy="309488"/>
                </a:xfrm>
                <a:custGeom>
                  <a:avLst/>
                  <a:gdLst>
                    <a:gd name="T0" fmla="*/ 40 w 527"/>
                    <a:gd name="T1" fmla="*/ 831 h 831"/>
                    <a:gd name="T2" fmla="*/ 61 w 527"/>
                    <a:gd name="T3" fmla="*/ 827 h 831"/>
                    <a:gd name="T4" fmla="*/ 506 w 527"/>
                    <a:gd name="T5" fmla="*/ 576 h 831"/>
                    <a:gd name="T6" fmla="*/ 527 w 527"/>
                    <a:gd name="T7" fmla="*/ 541 h 831"/>
                    <a:gd name="T8" fmla="*/ 527 w 527"/>
                    <a:gd name="T9" fmla="*/ 39 h 831"/>
                    <a:gd name="T10" fmla="*/ 506 w 527"/>
                    <a:gd name="T11" fmla="*/ 4 h 831"/>
                    <a:gd name="T12" fmla="*/ 488 w 527"/>
                    <a:gd name="T13" fmla="*/ 0 h 831"/>
                    <a:gd name="T14" fmla="*/ 467 w 527"/>
                    <a:gd name="T15" fmla="*/ 4 h 831"/>
                    <a:gd name="T16" fmla="*/ 21 w 527"/>
                    <a:gd name="T17" fmla="*/ 256 h 831"/>
                    <a:gd name="T18" fmla="*/ 0 w 527"/>
                    <a:gd name="T19" fmla="*/ 290 h 831"/>
                    <a:gd name="T20" fmla="*/ 0 w 527"/>
                    <a:gd name="T21" fmla="*/ 793 h 831"/>
                    <a:gd name="T22" fmla="*/ 21 w 527"/>
                    <a:gd name="T23" fmla="*/ 827 h 831"/>
                    <a:gd name="T24" fmla="*/ 40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0" y="831"/>
                      </a:moveTo>
                      <a:cubicBezTo>
                        <a:pt x="47" y="831"/>
                        <a:pt x="54" y="829"/>
                        <a:pt x="61" y="827"/>
                      </a:cubicBezTo>
                      <a:cubicBezTo>
                        <a:pt x="61" y="827"/>
                        <a:pt x="61" y="827"/>
                        <a:pt x="506" y="576"/>
                      </a:cubicBezTo>
                      <a:cubicBezTo>
                        <a:pt x="520" y="569"/>
                        <a:pt x="527" y="555"/>
                        <a:pt x="527" y="541"/>
                      </a:cubicBezTo>
                      <a:cubicBezTo>
                        <a:pt x="527" y="541"/>
                        <a:pt x="527" y="541"/>
                        <a:pt x="527" y="39"/>
                      </a:cubicBezTo>
                      <a:cubicBezTo>
                        <a:pt x="527" y="25"/>
                        <a:pt x="520" y="11"/>
                        <a:pt x="506" y="4"/>
                      </a:cubicBezTo>
                      <a:cubicBezTo>
                        <a:pt x="502" y="2"/>
                        <a:pt x="495" y="0"/>
                        <a:pt x="488" y="0"/>
                      </a:cubicBezTo>
                      <a:cubicBezTo>
                        <a:pt x="481" y="0"/>
                        <a:pt x="474" y="2"/>
                        <a:pt x="467" y="4"/>
                      </a:cubicBezTo>
                      <a:cubicBezTo>
                        <a:pt x="467" y="4"/>
                        <a:pt x="467" y="4"/>
                        <a:pt x="21" y="256"/>
                      </a:cubicBezTo>
                      <a:cubicBezTo>
                        <a:pt x="9" y="263"/>
                        <a:pt x="0" y="276"/>
                        <a:pt x="0" y="290"/>
                      </a:cubicBezTo>
                      <a:cubicBezTo>
                        <a:pt x="0" y="290"/>
                        <a:pt x="0" y="290"/>
                        <a:pt x="0" y="793"/>
                      </a:cubicBezTo>
                      <a:cubicBezTo>
                        <a:pt x="0" y="806"/>
                        <a:pt x="9" y="820"/>
                        <a:pt x="21" y="827"/>
                      </a:cubicBezTo>
                      <a:cubicBezTo>
                        <a:pt x="26" y="829"/>
                        <a:pt x="33" y="831"/>
                        <a:pt x="40" y="831"/>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701" name="Freeform 97">
                  <a:extLst>
                    <a:ext uri="{FF2B5EF4-FFF2-40B4-BE49-F238E27FC236}">
                      <a16:creationId xmlns:a16="http://schemas.microsoft.com/office/drawing/2014/main" id="{AD980514-5DD2-4B35-8BB9-1286D0FA689B}"/>
                    </a:ext>
                  </a:extLst>
                </p:cNvPr>
                <p:cNvSpPr>
                  <a:spLocks/>
                </p:cNvSpPr>
                <p:nvPr/>
              </p:nvSpPr>
              <p:spPr bwMode="auto">
                <a:xfrm>
                  <a:off x="5120551" y="2931115"/>
                  <a:ext cx="200960" cy="310527"/>
                </a:xfrm>
                <a:custGeom>
                  <a:avLst/>
                  <a:gdLst>
                    <a:gd name="T0" fmla="*/ 40 w 527"/>
                    <a:gd name="T1" fmla="*/ 832 h 832"/>
                    <a:gd name="T2" fmla="*/ 61 w 527"/>
                    <a:gd name="T3" fmla="*/ 825 h 832"/>
                    <a:gd name="T4" fmla="*/ 506 w 527"/>
                    <a:gd name="T5" fmla="*/ 575 h 832"/>
                    <a:gd name="T6" fmla="*/ 527 w 527"/>
                    <a:gd name="T7" fmla="*/ 543 h 832"/>
                    <a:gd name="T8" fmla="*/ 527 w 527"/>
                    <a:gd name="T9" fmla="*/ 39 h 832"/>
                    <a:gd name="T10" fmla="*/ 506 w 527"/>
                    <a:gd name="T11" fmla="*/ 7 h 832"/>
                    <a:gd name="T12" fmla="*/ 488 w 527"/>
                    <a:gd name="T13" fmla="*/ 0 h 832"/>
                    <a:gd name="T14" fmla="*/ 467 w 527"/>
                    <a:gd name="T15" fmla="*/ 7 h 832"/>
                    <a:gd name="T16" fmla="*/ 21 w 527"/>
                    <a:gd name="T17" fmla="*/ 258 h 832"/>
                    <a:gd name="T18" fmla="*/ 0 w 527"/>
                    <a:gd name="T19" fmla="*/ 290 h 832"/>
                    <a:gd name="T20" fmla="*/ 0 w 527"/>
                    <a:gd name="T21" fmla="*/ 793 h 832"/>
                    <a:gd name="T22" fmla="*/ 21 w 527"/>
                    <a:gd name="T23" fmla="*/ 825 h 832"/>
                    <a:gd name="T24" fmla="*/ 40 w 527"/>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2">
                      <a:moveTo>
                        <a:pt x="40" y="832"/>
                      </a:moveTo>
                      <a:cubicBezTo>
                        <a:pt x="47" y="832"/>
                        <a:pt x="54" y="830"/>
                        <a:pt x="61" y="825"/>
                      </a:cubicBezTo>
                      <a:cubicBezTo>
                        <a:pt x="61" y="825"/>
                        <a:pt x="61" y="825"/>
                        <a:pt x="506" y="575"/>
                      </a:cubicBezTo>
                      <a:cubicBezTo>
                        <a:pt x="520" y="568"/>
                        <a:pt x="527" y="556"/>
                        <a:pt x="527" y="543"/>
                      </a:cubicBezTo>
                      <a:cubicBezTo>
                        <a:pt x="527" y="543"/>
                        <a:pt x="527" y="543"/>
                        <a:pt x="527" y="39"/>
                      </a:cubicBezTo>
                      <a:cubicBezTo>
                        <a:pt x="527" y="26"/>
                        <a:pt x="520" y="14"/>
                        <a:pt x="506" y="7"/>
                      </a:cubicBezTo>
                      <a:cubicBezTo>
                        <a:pt x="502" y="3"/>
                        <a:pt x="495" y="0"/>
                        <a:pt x="488" y="0"/>
                      </a:cubicBezTo>
                      <a:cubicBezTo>
                        <a:pt x="481" y="0"/>
                        <a:pt x="474" y="3"/>
                        <a:pt x="467" y="7"/>
                      </a:cubicBezTo>
                      <a:cubicBezTo>
                        <a:pt x="467" y="7"/>
                        <a:pt x="467" y="7"/>
                        <a:pt x="21" y="258"/>
                      </a:cubicBezTo>
                      <a:cubicBezTo>
                        <a:pt x="9" y="265"/>
                        <a:pt x="0" y="276"/>
                        <a:pt x="0" y="290"/>
                      </a:cubicBezTo>
                      <a:cubicBezTo>
                        <a:pt x="0" y="290"/>
                        <a:pt x="0" y="290"/>
                        <a:pt x="0" y="793"/>
                      </a:cubicBezTo>
                      <a:cubicBezTo>
                        <a:pt x="0" y="807"/>
                        <a:pt x="9" y="818"/>
                        <a:pt x="21" y="825"/>
                      </a:cubicBezTo>
                      <a:cubicBezTo>
                        <a:pt x="26" y="830"/>
                        <a:pt x="33" y="832"/>
                        <a:pt x="40" y="832"/>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702" name="Freeform 98">
                  <a:extLst>
                    <a:ext uri="{FF2B5EF4-FFF2-40B4-BE49-F238E27FC236}">
                      <a16:creationId xmlns:a16="http://schemas.microsoft.com/office/drawing/2014/main" id="{6C80A559-5A4A-4F15-9F85-D7DC3D97D819}"/>
                    </a:ext>
                  </a:extLst>
                </p:cNvPr>
                <p:cNvSpPr>
                  <a:spLocks/>
                </p:cNvSpPr>
                <p:nvPr/>
              </p:nvSpPr>
              <p:spPr bwMode="auto">
                <a:xfrm>
                  <a:off x="5352148" y="2814798"/>
                  <a:ext cx="195767" cy="309488"/>
                </a:xfrm>
                <a:custGeom>
                  <a:avLst/>
                  <a:gdLst>
                    <a:gd name="T0" fmla="*/ 39 w 512"/>
                    <a:gd name="T1" fmla="*/ 831 h 831"/>
                    <a:gd name="T2" fmla="*/ 57 w 512"/>
                    <a:gd name="T3" fmla="*/ 827 h 831"/>
                    <a:gd name="T4" fmla="*/ 491 w 512"/>
                    <a:gd name="T5" fmla="*/ 575 h 831"/>
                    <a:gd name="T6" fmla="*/ 512 w 512"/>
                    <a:gd name="T7" fmla="*/ 541 h 831"/>
                    <a:gd name="T8" fmla="*/ 512 w 512"/>
                    <a:gd name="T9" fmla="*/ 39 h 831"/>
                    <a:gd name="T10" fmla="*/ 491 w 512"/>
                    <a:gd name="T11" fmla="*/ 4 h 831"/>
                    <a:gd name="T12" fmla="*/ 473 w 512"/>
                    <a:gd name="T13" fmla="*/ 0 h 831"/>
                    <a:gd name="T14" fmla="*/ 453 w 512"/>
                    <a:gd name="T15" fmla="*/ 4 h 831"/>
                    <a:gd name="T16" fmla="*/ 19 w 512"/>
                    <a:gd name="T17" fmla="*/ 256 h 831"/>
                    <a:gd name="T18" fmla="*/ 0 w 512"/>
                    <a:gd name="T19" fmla="*/ 290 h 831"/>
                    <a:gd name="T20" fmla="*/ 0 w 512"/>
                    <a:gd name="T21" fmla="*/ 792 h 831"/>
                    <a:gd name="T22" fmla="*/ 19 w 512"/>
                    <a:gd name="T23" fmla="*/ 827 h 831"/>
                    <a:gd name="T24" fmla="*/ 39 w 512"/>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2" h="831">
                      <a:moveTo>
                        <a:pt x="39" y="831"/>
                      </a:moveTo>
                      <a:cubicBezTo>
                        <a:pt x="46" y="831"/>
                        <a:pt x="53" y="831"/>
                        <a:pt x="57" y="827"/>
                      </a:cubicBezTo>
                      <a:cubicBezTo>
                        <a:pt x="57" y="827"/>
                        <a:pt x="57" y="827"/>
                        <a:pt x="491" y="575"/>
                      </a:cubicBezTo>
                      <a:cubicBezTo>
                        <a:pt x="503" y="569"/>
                        <a:pt x="512" y="555"/>
                        <a:pt x="512" y="541"/>
                      </a:cubicBezTo>
                      <a:cubicBezTo>
                        <a:pt x="512" y="541"/>
                        <a:pt x="512" y="541"/>
                        <a:pt x="512" y="39"/>
                      </a:cubicBezTo>
                      <a:cubicBezTo>
                        <a:pt x="512" y="25"/>
                        <a:pt x="503" y="11"/>
                        <a:pt x="491" y="4"/>
                      </a:cubicBezTo>
                      <a:cubicBezTo>
                        <a:pt x="485" y="2"/>
                        <a:pt x="478" y="0"/>
                        <a:pt x="473" y="0"/>
                      </a:cubicBezTo>
                      <a:cubicBezTo>
                        <a:pt x="466" y="0"/>
                        <a:pt x="460" y="2"/>
                        <a:pt x="453" y="4"/>
                      </a:cubicBezTo>
                      <a:cubicBezTo>
                        <a:pt x="453" y="4"/>
                        <a:pt x="453" y="4"/>
                        <a:pt x="19" y="256"/>
                      </a:cubicBezTo>
                      <a:cubicBezTo>
                        <a:pt x="7" y="262"/>
                        <a:pt x="0" y="276"/>
                        <a:pt x="0" y="290"/>
                      </a:cubicBezTo>
                      <a:cubicBezTo>
                        <a:pt x="0" y="290"/>
                        <a:pt x="0" y="290"/>
                        <a:pt x="0" y="792"/>
                      </a:cubicBezTo>
                      <a:cubicBezTo>
                        <a:pt x="0" y="806"/>
                        <a:pt x="7" y="820"/>
                        <a:pt x="19" y="827"/>
                      </a:cubicBezTo>
                      <a:cubicBezTo>
                        <a:pt x="25" y="831"/>
                        <a:pt x="32" y="831"/>
                        <a:pt x="39" y="831"/>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703" name="Freeform 99">
                  <a:extLst>
                    <a:ext uri="{FF2B5EF4-FFF2-40B4-BE49-F238E27FC236}">
                      <a16:creationId xmlns:a16="http://schemas.microsoft.com/office/drawing/2014/main" id="{E5E35E98-1A9A-4205-9FC0-9C3A56DCCD56}"/>
                    </a:ext>
                  </a:extLst>
                </p:cNvPr>
                <p:cNvSpPr>
                  <a:spLocks/>
                </p:cNvSpPr>
                <p:nvPr/>
              </p:nvSpPr>
              <p:spPr bwMode="auto">
                <a:xfrm>
                  <a:off x="5578553" y="2937347"/>
                  <a:ext cx="200960" cy="310008"/>
                </a:xfrm>
                <a:custGeom>
                  <a:avLst/>
                  <a:gdLst>
                    <a:gd name="T0" fmla="*/ 40 w 527"/>
                    <a:gd name="T1" fmla="*/ 832 h 832"/>
                    <a:gd name="T2" fmla="*/ 59 w 527"/>
                    <a:gd name="T3" fmla="*/ 827 h 832"/>
                    <a:gd name="T4" fmla="*/ 508 w 527"/>
                    <a:gd name="T5" fmla="*/ 574 h 832"/>
                    <a:gd name="T6" fmla="*/ 527 w 527"/>
                    <a:gd name="T7" fmla="*/ 542 h 832"/>
                    <a:gd name="T8" fmla="*/ 527 w 527"/>
                    <a:gd name="T9" fmla="*/ 39 h 832"/>
                    <a:gd name="T10" fmla="*/ 508 w 527"/>
                    <a:gd name="T11" fmla="*/ 7 h 832"/>
                    <a:gd name="T12" fmla="*/ 487 w 527"/>
                    <a:gd name="T13" fmla="*/ 0 h 832"/>
                    <a:gd name="T14" fmla="*/ 468 w 527"/>
                    <a:gd name="T15" fmla="*/ 7 h 832"/>
                    <a:gd name="T16" fmla="*/ 19 w 527"/>
                    <a:gd name="T17" fmla="*/ 258 h 832"/>
                    <a:gd name="T18" fmla="*/ 0 w 527"/>
                    <a:gd name="T19" fmla="*/ 292 h 832"/>
                    <a:gd name="T20" fmla="*/ 0 w 527"/>
                    <a:gd name="T21" fmla="*/ 793 h 832"/>
                    <a:gd name="T22" fmla="*/ 19 w 527"/>
                    <a:gd name="T23" fmla="*/ 827 h 832"/>
                    <a:gd name="T24" fmla="*/ 40 w 527"/>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2">
                      <a:moveTo>
                        <a:pt x="40" y="832"/>
                      </a:moveTo>
                      <a:cubicBezTo>
                        <a:pt x="47" y="832"/>
                        <a:pt x="52" y="829"/>
                        <a:pt x="59" y="827"/>
                      </a:cubicBezTo>
                      <a:cubicBezTo>
                        <a:pt x="59" y="827"/>
                        <a:pt x="59" y="827"/>
                        <a:pt x="508" y="574"/>
                      </a:cubicBezTo>
                      <a:cubicBezTo>
                        <a:pt x="520" y="567"/>
                        <a:pt x="527" y="556"/>
                        <a:pt x="527" y="542"/>
                      </a:cubicBezTo>
                      <a:cubicBezTo>
                        <a:pt x="527" y="542"/>
                        <a:pt x="527" y="542"/>
                        <a:pt x="527" y="39"/>
                      </a:cubicBezTo>
                      <a:cubicBezTo>
                        <a:pt x="527" y="25"/>
                        <a:pt x="520" y="14"/>
                        <a:pt x="508" y="7"/>
                      </a:cubicBezTo>
                      <a:cubicBezTo>
                        <a:pt x="501" y="2"/>
                        <a:pt x="494" y="0"/>
                        <a:pt x="487" y="0"/>
                      </a:cubicBezTo>
                      <a:cubicBezTo>
                        <a:pt x="480" y="0"/>
                        <a:pt x="473" y="2"/>
                        <a:pt x="468" y="7"/>
                      </a:cubicBezTo>
                      <a:cubicBezTo>
                        <a:pt x="468" y="7"/>
                        <a:pt x="468" y="7"/>
                        <a:pt x="19" y="258"/>
                      </a:cubicBezTo>
                      <a:cubicBezTo>
                        <a:pt x="7" y="264"/>
                        <a:pt x="0" y="278"/>
                        <a:pt x="0" y="292"/>
                      </a:cubicBezTo>
                      <a:cubicBezTo>
                        <a:pt x="0" y="292"/>
                        <a:pt x="0" y="292"/>
                        <a:pt x="0" y="793"/>
                      </a:cubicBezTo>
                      <a:cubicBezTo>
                        <a:pt x="0" y="807"/>
                        <a:pt x="7" y="818"/>
                        <a:pt x="19" y="827"/>
                      </a:cubicBezTo>
                      <a:cubicBezTo>
                        <a:pt x="26" y="829"/>
                        <a:pt x="33" y="832"/>
                        <a:pt x="40" y="832"/>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704" name="Freeform 100">
                  <a:extLst>
                    <a:ext uri="{FF2B5EF4-FFF2-40B4-BE49-F238E27FC236}">
                      <a16:creationId xmlns:a16="http://schemas.microsoft.com/office/drawing/2014/main" id="{D501CF6E-B622-4FE0-A6EF-BB8EF0A7CB76}"/>
                    </a:ext>
                  </a:extLst>
                </p:cNvPr>
                <p:cNvSpPr>
                  <a:spLocks/>
                </p:cNvSpPr>
                <p:nvPr/>
              </p:nvSpPr>
              <p:spPr bwMode="auto">
                <a:xfrm>
                  <a:off x="5578553" y="3194907"/>
                  <a:ext cx="200960" cy="309488"/>
                </a:xfrm>
                <a:custGeom>
                  <a:avLst/>
                  <a:gdLst>
                    <a:gd name="T0" fmla="*/ 40 w 527"/>
                    <a:gd name="T1" fmla="*/ 831 h 831"/>
                    <a:gd name="T2" fmla="*/ 59 w 527"/>
                    <a:gd name="T3" fmla="*/ 824 h 831"/>
                    <a:gd name="T4" fmla="*/ 508 w 527"/>
                    <a:gd name="T5" fmla="*/ 574 h 831"/>
                    <a:gd name="T6" fmla="*/ 527 w 527"/>
                    <a:gd name="T7" fmla="*/ 540 h 831"/>
                    <a:gd name="T8" fmla="*/ 527 w 527"/>
                    <a:gd name="T9" fmla="*/ 38 h 831"/>
                    <a:gd name="T10" fmla="*/ 508 w 527"/>
                    <a:gd name="T11" fmla="*/ 6 h 831"/>
                    <a:gd name="T12" fmla="*/ 487 w 527"/>
                    <a:gd name="T13" fmla="*/ 0 h 831"/>
                    <a:gd name="T14" fmla="*/ 468 w 527"/>
                    <a:gd name="T15" fmla="*/ 6 h 831"/>
                    <a:gd name="T16" fmla="*/ 19 w 527"/>
                    <a:gd name="T17" fmla="*/ 257 h 831"/>
                    <a:gd name="T18" fmla="*/ 0 w 527"/>
                    <a:gd name="T19" fmla="*/ 289 h 831"/>
                    <a:gd name="T20" fmla="*/ 0 w 527"/>
                    <a:gd name="T21" fmla="*/ 792 h 831"/>
                    <a:gd name="T22" fmla="*/ 19 w 527"/>
                    <a:gd name="T23" fmla="*/ 824 h 831"/>
                    <a:gd name="T24" fmla="*/ 40 w 527"/>
                    <a:gd name="T25"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7" h="831">
                      <a:moveTo>
                        <a:pt x="40" y="831"/>
                      </a:moveTo>
                      <a:cubicBezTo>
                        <a:pt x="47" y="831"/>
                        <a:pt x="52" y="829"/>
                        <a:pt x="59" y="824"/>
                      </a:cubicBezTo>
                      <a:cubicBezTo>
                        <a:pt x="59" y="824"/>
                        <a:pt x="59" y="824"/>
                        <a:pt x="508" y="574"/>
                      </a:cubicBezTo>
                      <a:cubicBezTo>
                        <a:pt x="520" y="567"/>
                        <a:pt x="527" y="555"/>
                        <a:pt x="527" y="540"/>
                      </a:cubicBezTo>
                      <a:cubicBezTo>
                        <a:pt x="527" y="540"/>
                        <a:pt x="527" y="540"/>
                        <a:pt x="527" y="38"/>
                      </a:cubicBezTo>
                      <a:cubicBezTo>
                        <a:pt x="527" y="25"/>
                        <a:pt x="520" y="13"/>
                        <a:pt x="508" y="6"/>
                      </a:cubicBezTo>
                      <a:cubicBezTo>
                        <a:pt x="501" y="2"/>
                        <a:pt x="494" y="0"/>
                        <a:pt x="487" y="0"/>
                      </a:cubicBezTo>
                      <a:cubicBezTo>
                        <a:pt x="480" y="0"/>
                        <a:pt x="473" y="2"/>
                        <a:pt x="468" y="6"/>
                      </a:cubicBezTo>
                      <a:cubicBezTo>
                        <a:pt x="468" y="6"/>
                        <a:pt x="468" y="6"/>
                        <a:pt x="19" y="257"/>
                      </a:cubicBezTo>
                      <a:cubicBezTo>
                        <a:pt x="7" y="264"/>
                        <a:pt x="0" y="275"/>
                        <a:pt x="0" y="289"/>
                      </a:cubicBezTo>
                      <a:cubicBezTo>
                        <a:pt x="0" y="289"/>
                        <a:pt x="0" y="289"/>
                        <a:pt x="0" y="792"/>
                      </a:cubicBezTo>
                      <a:cubicBezTo>
                        <a:pt x="0" y="806"/>
                        <a:pt x="7" y="817"/>
                        <a:pt x="19" y="824"/>
                      </a:cubicBezTo>
                      <a:cubicBezTo>
                        <a:pt x="26" y="829"/>
                        <a:pt x="33" y="831"/>
                        <a:pt x="40" y="831"/>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705" name="Freeform 101">
                  <a:extLst>
                    <a:ext uri="{FF2B5EF4-FFF2-40B4-BE49-F238E27FC236}">
                      <a16:creationId xmlns:a16="http://schemas.microsoft.com/office/drawing/2014/main" id="{D8B9955D-3C60-4FA9-A989-B703C0BA0D42}"/>
                    </a:ext>
                  </a:extLst>
                </p:cNvPr>
                <p:cNvSpPr>
                  <a:spLocks/>
                </p:cNvSpPr>
                <p:nvPr/>
              </p:nvSpPr>
              <p:spPr bwMode="auto">
                <a:xfrm>
                  <a:off x="5810150" y="3066128"/>
                  <a:ext cx="201480" cy="310008"/>
                </a:xfrm>
                <a:custGeom>
                  <a:avLst/>
                  <a:gdLst>
                    <a:gd name="T0" fmla="*/ 40 w 528"/>
                    <a:gd name="T1" fmla="*/ 832 h 832"/>
                    <a:gd name="T2" fmla="*/ 61 w 528"/>
                    <a:gd name="T3" fmla="*/ 827 h 832"/>
                    <a:gd name="T4" fmla="*/ 507 w 528"/>
                    <a:gd name="T5" fmla="*/ 576 h 832"/>
                    <a:gd name="T6" fmla="*/ 528 w 528"/>
                    <a:gd name="T7" fmla="*/ 542 h 832"/>
                    <a:gd name="T8" fmla="*/ 528 w 528"/>
                    <a:gd name="T9" fmla="*/ 39 h 832"/>
                    <a:gd name="T10" fmla="*/ 507 w 528"/>
                    <a:gd name="T11" fmla="*/ 5 h 832"/>
                    <a:gd name="T12" fmla="*/ 488 w 528"/>
                    <a:gd name="T13" fmla="*/ 0 h 832"/>
                    <a:gd name="T14" fmla="*/ 467 w 528"/>
                    <a:gd name="T15" fmla="*/ 5 h 832"/>
                    <a:gd name="T16" fmla="*/ 21 w 528"/>
                    <a:gd name="T17" fmla="*/ 256 h 832"/>
                    <a:gd name="T18" fmla="*/ 0 w 528"/>
                    <a:gd name="T19" fmla="*/ 290 h 832"/>
                    <a:gd name="T20" fmla="*/ 0 w 528"/>
                    <a:gd name="T21" fmla="*/ 793 h 832"/>
                    <a:gd name="T22" fmla="*/ 21 w 528"/>
                    <a:gd name="T23" fmla="*/ 827 h 832"/>
                    <a:gd name="T24" fmla="*/ 40 w 528"/>
                    <a:gd name="T25" fmla="*/ 832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832">
                      <a:moveTo>
                        <a:pt x="40" y="832"/>
                      </a:moveTo>
                      <a:cubicBezTo>
                        <a:pt x="47" y="832"/>
                        <a:pt x="54" y="830"/>
                        <a:pt x="61" y="827"/>
                      </a:cubicBezTo>
                      <a:cubicBezTo>
                        <a:pt x="61" y="827"/>
                        <a:pt x="61" y="827"/>
                        <a:pt x="507" y="576"/>
                      </a:cubicBezTo>
                      <a:cubicBezTo>
                        <a:pt x="521" y="569"/>
                        <a:pt x="528" y="556"/>
                        <a:pt x="528" y="542"/>
                      </a:cubicBezTo>
                      <a:cubicBezTo>
                        <a:pt x="528" y="542"/>
                        <a:pt x="528" y="542"/>
                        <a:pt x="528" y="39"/>
                      </a:cubicBezTo>
                      <a:cubicBezTo>
                        <a:pt x="528" y="25"/>
                        <a:pt x="521" y="12"/>
                        <a:pt x="507" y="5"/>
                      </a:cubicBezTo>
                      <a:cubicBezTo>
                        <a:pt x="502" y="3"/>
                        <a:pt x="495" y="0"/>
                        <a:pt x="488" y="0"/>
                      </a:cubicBezTo>
                      <a:cubicBezTo>
                        <a:pt x="481" y="0"/>
                        <a:pt x="474" y="3"/>
                        <a:pt x="467" y="5"/>
                      </a:cubicBezTo>
                      <a:cubicBezTo>
                        <a:pt x="467" y="5"/>
                        <a:pt x="467" y="5"/>
                        <a:pt x="21" y="256"/>
                      </a:cubicBezTo>
                      <a:cubicBezTo>
                        <a:pt x="10" y="263"/>
                        <a:pt x="0" y="277"/>
                        <a:pt x="0" y="290"/>
                      </a:cubicBezTo>
                      <a:cubicBezTo>
                        <a:pt x="0" y="290"/>
                        <a:pt x="0" y="290"/>
                        <a:pt x="0" y="793"/>
                      </a:cubicBezTo>
                      <a:cubicBezTo>
                        <a:pt x="0" y="807"/>
                        <a:pt x="10" y="821"/>
                        <a:pt x="21" y="827"/>
                      </a:cubicBezTo>
                      <a:cubicBezTo>
                        <a:pt x="26" y="830"/>
                        <a:pt x="33" y="832"/>
                        <a:pt x="40" y="832"/>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706" name="Freeform 93">
                  <a:extLst>
                    <a:ext uri="{FF2B5EF4-FFF2-40B4-BE49-F238E27FC236}">
                      <a16:creationId xmlns:a16="http://schemas.microsoft.com/office/drawing/2014/main" id="{75F336D9-5014-4D8A-8853-E58025DBDA63}"/>
                    </a:ext>
                  </a:extLst>
                </p:cNvPr>
                <p:cNvSpPr>
                  <a:spLocks noEditPoints="1"/>
                </p:cNvSpPr>
                <p:nvPr/>
              </p:nvSpPr>
              <p:spPr bwMode="auto">
                <a:xfrm>
                  <a:off x="4430952" y="2680306"/>
                  <a:ext cx="433077" cy="309488"/>
                </a:xfrm>
                <a:custGeom>
                  <a:avLst/>
                  <a:gdLst>
                    <a:gd name="T0" fmla="*/ 487 w 1135"/>
                    <a:gd name="T1" fmla="*/ 831 h 831"/>
                    <a:gd name="T2" fmla="*/ 506 w 1135"/>
                    <a:gd name="T3" fmla="*/ 827 h 831"/>
                    <a:gd name="T4" fmla="*/ 527 w 1135"/>
                    <a:gd name="T5" fmla="*/ 793 h 831"/>
                    <a:gd name="T6" fmla="*/ 527 w 1135"/>
                    <a:gd name="T7" fmla="*/ 290 h 831"/>
                    <a:gd name="T8" fmla="*/ 506 w 1135"/>
                    <a:gd name="T9" fmla="*/ 256 h 831"/>
                    <a:gd name="T10" fmla="*/ 61 w 1135"/>
                    <a:gd name="T11" fmla="*/ 4 h 831"/>
                    <a:gd name="T12" fmla="*/ 40 w 1135"/>
                    <a:gd name="T13" fmla="*/ 0 h 831"/>
                    <a:gd name="T14" fmla="*/ 21 w 1135"/>
                    <a:gd name="T15" fmla="*/ 4 h 831"/>
                    <a:gd name="T16" fmla="*/ 0 w 1135"/>
                    <a:gd name="T17" fmla="*/ 39 h 831"/>
                    <a:gd name="T18" fmla="*/ 0 w 1135"/>
                    <a:gd name="T19" fmla="*/ 541 h 831"/>
                    <a:gd name="T20" fmla="*/ 21 w 1135"/>
                    <a:gd name="T21" fmla="*/ 576 h 831"/>
                    <a:gd name="T22" fmla="*/ 466 w 1135"/>
                    <a:gd name="T23" fmla="*/ 827 h 831"/>
                    <a:gd name="T24" fmla="*/ 487 w 1135"/>
                    <a:gd name="T25" fmla="*/ 831 h 831"/>
                    <a:gd name="T26" fmla="*/ 647 w 1135"/>
                    <a:gd name="T27" fmla="*/ 831 h 831"/>
                    <a:gd name="T28" fmla="*/ 666 w 1135"/>
                    <a:gd name="T29" fmla="*/ 827 h 831"/>
                    <a:gd name="T30" fmla="*/ 1114 w 1135"/>
                    <a:gd name="T31" fmla="*/ 576 h 831"/>
                    <a:gd name="T32" fmla="*/ 1135 w 1135"/>
                    <a:gd name="T33" fmla="*/ 541 h 831"/>
                    <a:gd name="T34" fmla="*/ 1135 w 1135"/>
                    <a:gd name="T35" fmla="*/ 39 h 831"/>
                    <a:gd name="T36" fmla="*/ 1114 w 1135"/>
                    <a:gd name="T37" fmla="*/ 4 h 831"/>
                    <a:gd name="T38" fmla="*/ 1095 w 1135"/>
                    <a:gd name="T39" fmla="*/ 0 h 831"/>
                    <a:gd name="T40" fmla="*/ 1074 w 1135"/>
                    <a:gd name="T41" fmla="*/ 4 h 831"/>
                    <a:gd name="T42" fmla="*/ 626 w 1135"/>
                    <a:gd name="T43" fmla="*/ 256 h 831"/>
                    <a:gd name="T44" fmla="*/ 607 w 1135"/>
                    <a:gd name="T45" fmla="*/ 290 h 831"/>
                    <a:gd name="T46" fmla="*/ 607 w 1135"/>
                    <a:gd name="T47" fmla="*/ 793 h 831"/>
                    <a:gd name="T48" fmla="*/ 626 w 1135"/>
                    <a:gd name="T49" fmla="*/ 827 h 831"/>
                    <a:gd name="T50" fmla="*/ 647 w 1135"/>
                    <a:gd name="T51" fmla="*/ 83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5" h="831">
                      <a:moveTo>
                        <a:pt x="487" y="831"/>
                      </a:moveTo>
                      <a:cubicBezTo>
                        <a:pt x="495" y="831"/>
                        <a:pt x="502" y="829"/>
                        <a:pt x="506" y="827"/>
                      </a:cubicBezTo>
                      <a:cubicBezTo>
                        <a:pt x="520" y="820"/>
                        <a:pt x="527" y="806"/>
                        <a:pt x="527" y="793"/>
                      </a:cubicBezTo>
                      <a:cubicBezTo>
                        <a:pt x="527" y="793"/>
                        <a:pt x="527" y="793"/>
                        <a:pt x="527" y="290"/>
                      </a:cubicBezTo>
                      <a:cubicBezTo>
                        <a:pt x="527" y="276"/>
                        <a:pt x="520" y="263"/>
                        <a:pt x="506" y="256"/>
                      </a:cubicBezTo>
                      <a:cubicBezTo>
                        <a:pt x="506" y="256"/>
                        <a:pt x="506" y="256"/>
                        <a:pt x="61" y="4"/>
                      </a:cubicBezTo>
                      <a:cubicBezTo>
                        <a:pt x="54" y="2"/>
                        <a:pt x="47" y="0"/>
                        <a:pt x="40" y="0"/>
                      </a:cubicBezTo>
                      <a:cubicBezTo>
                        <a:pt x="33" y="0"/>
                        <a:pt x="26" y="2"/>
                        <a:pt x="21" y="4"/>
                      </a:cubicBezTo>
                      <a:cubicBezTo>
                        <a:pt x="7" y="11"/>
                        <a:pt x="0" y="25"/>
                        <a:pt x="0" y="39"/>
                      </a:cubicBezTo>
                      <a:cubicBezTo>
                        <a:pt x="0" y="39"/>
                        <a:pt x="0" y="39"/>
                        <a:pt x="0" y="541"/>
                      </a:cubicBezTo>
                      <a:cubicBezTo>
                        <a:pt x="0" y="555"/>
                        <a:pt x="7" y="569"/>
                        <a:pt x="21" y="576"/>
                      </a:cubicBezTo>
                      <a:cubicBezTo>
                        <a:pt x="21" y="576"/>
                        <a:pt x="21" y="576"/>
                        <a:pt x="466" y="827"/>
                      </a:cubicBezTo>
                      <a:cubicBezTo>
                        <a:pt x="473" y="829"/>
                        <a:pt x="480" y="831"/>
                        <a:pt x="487" y="831"/>
                      </a:cubicBezTo>
                      <a:close/>
                      <a:moveTo>
                        <a:pt x="647" y="831"/>
                      </a:moveTo>
                      <a:cubicBezTo>
                        <a:pt x="654" y="831"/>
                        <a:pt x="661" y="829"/>
                        <a:pt x="666" y="827"/>
                      </a:cubicBezTo>
                      <a:cubicBezTo>
                        <a:pt x="666" y="827"/>
                        <a:pt x="666" y="827"/>
                        <a:pt x="1114" y="576"/>
                      </a:cubicBezTo>
                      <a:cubicBezTo>
                        <a:pt x="1125" y="569"/>
                        <a:pt x="1135" y="555"/>
                        <a:pt x="1135" y="541"/>
                      </a:cubicBezTo>
                      <a:cubicBezTo>
                        <a:pt x="1135" y="541"/>
                        <a:pt x="1135" y="541"/>
                        <a:pt x="1135" y="39"/>
                      </a:cubicBezTo>
                      <a:cubicBezTo>
                        <a:pt x="1135" y="25"/>
                        <a:pt x="1125" y="11"/>
                        <a:pt x="1114" y="4"/>
                      </a:cubicBezTo>
                      <a:cubicBezTo>
                        <a:pt x="1107" y="2"/>
                        <a:pt x="1100" y="0"/>
                        <a:pt x="1095" y="0"/>
                      </a:cubicBezTo>
                      <a:cubicBezTo>
                        <a:pt x="1088" y="0"/>
                        <a:pt x="1081" y="2"/>
                        <a:pt x="1074" y="4"/>
                      </a:cubicBezTo>
                      <a:cubicBezTo>
                        <a:pt x="1074" y="4"/>
                        <a:pt x="1074" y="4"/>
                        <a:pt x="626" y="256"/>
                      </a:cubicBezTo>
                      <a:cubicBezTo>
                        <a:pt x="614" y="263"/>
                        <a:pt x="607" y="276"/>
                        <a:pt x="607" y="290"/>
                      </a:cubicBezTo>
                      <a:cubicBezTo>
                        <a:pt x="607" y="290"/>
                        <a:pt x="607" y="290"/>
                        <a:pt x="607" y="793"/>
                      </a:cubicBezTo>
                      <a:cubicBezTo>
                        <a:pt x="607" y="806"/>
                        <a:pt x="614" y="820"/>
                        <a:pt x="626" y="827"/>
                      </a:cubicBezTo>
                      <a:cubicBezTo>
                        <a:pt x="633" y="829"/>
                        <a:pt x="640" y="831"/>
                        <a:pt x="647" y="83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grpSp>
          <p:nvGrpSpPr>
            <p:cNvPr id="14" name="Group 13"/>
            <p:cNvGrpSpPr/>
            <p:nvPr/>
          </p:nvGrpSpPr>
          <p:grpSpPr>
            <a:xfrm>
              <a:off x="6399766" y="1914152"/>
              <a:ext cx="1471737" cy="1631536"/>
              <a:chOff x="3836493" y="1813095"/>
              <a:chExt cx="1690991" cy="1874596"/>
            </a:xfrm>
          </p:grpSpPr>
          <p:sp>
            <p:nvSpPr>
              <p:cNvPr id="372" name="Oval 371"/>
              <p:cNvSpPr/>
              <p:nvPr/>
            </p:nvSpPr>
            <p:spPr>
              <a:xfrm rot="18468769">
                <a:off x="3889659" y="3502926"/>
                <a:ext cx="131599" cy="237932"/>
              </a:xfrm>
              <a:prstGeom prst="ellipse">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3" name="Oval 12"/>
              <p:cNvSpPr/>
              <p:nvPr/>
            </p:nvSpPr>
            <p:spPr>
              <a:xfrm>
                <a:off x="4250043" y="1813095"/>
                <a:ext cx="1266496" cy="1266496"/>
              </a:xfrm>
              <a:prstGeom prst="ellipse">
                <a:avLst/>
              </a:prstGeom>
              <a:gradFill flip="none" rotWithShape="1">
                <a:gsLst>
                  <a:gs pos="0">
                    <a:schemeClr val="tx1">
                      <a:alpha val="0"/>
                    </a:schemeClr>
                  </a:gs>
                  <a:gs pos="100000">
                    <a:schemeClr val="tx1">
                      <a:alpha val="60000"/>
                    </a:schemeClr>
                  </a:gs>
                </a:gsLst>
                <a:path path="circle">
                  <a:fillToRect l="50000" t="50000" r="50000" b="50000"/>
                </a:path>
                <a:tileRect/>
              </a:gradFill>
              <a:ln w="12700">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373" name="Oval 372"/>
              <p:cNvSpPr/>
              <p:nvPr/>
            </p:nvSpPr>
            <p:spPr>
              <a:xfrm>
                <a:off x="4260988" y="1824041"/>
                <a:ext cx="1266496" cy="1266496"/>
              </a:xfrm>
              <a:prstGeom prst="ellipse">
                <a:avLst/>
              </a:prstGeom>
              <a:gradFill flip="none" rotWithShape="1">
                <a:gsLst>
                  <a:gs pos="25000">
                    <a:schemeClr val="bg2">
                      <a:alpha val="15000"/>
                    </a:schemeClr>
                  </a:gs>
                  <a:gs pos="16000">
                    <a:schemeClr val="bg2"/>
                  </a:gs>
                  <a:gs pos="100000">
                    <a:schemeClr val="bg2">
                      <a:alpha val="0"/>
                    </a:schemeClr>
                  </a:gs>
                </a:gsLst>
                <a:path path="circle">
                  <a:fillToRect r="100000" b="100000"/>
                </a:path>
                <a:tileRect l="-100000" t="-100000"/>
              </a:gradFill>
              <a:ln w="127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grpSp>
          <p:nvGrpSpPr>
            <p:cNvPr id="11" name="Group 10"/>
            <p:cNvGrpSpPr/>
            <p:nvPr/>
          </p:nvGrpSpPr>
          <p:grpSpPr>
            <a:xfrm>
              <a:off x="6715817" y="1681844"/>
              <a:ext cx="1155923" cy="1308017"/>
              <a:chOff x="4213738" y="1627512"/>
              <a:chExt cx="1390008" cy="1572904"/>
            </a:xfrm>
          </p:grpSpPr>
          <p:pic>
            <p:nvPicPr>
              <p:cNvPr id="26" name="Picture 25"/>
              <p:cNvPicPr>
                <a:picLocks noChangeAspect="1"/>
              </p:cNvPicPr>
              <p:nvPr/>
            </p:nvPicPr>
            <p:blipFill>
              <a:blip r:embed="rId6"/>
              <a:stretch>
                <a:fillRect/>
              </a:stretch>
            </p:blipFill>
            <p:spPr>
              <a:xfrm rot="7023363">
                <a:off x="4122290" y="1718960"/>
                <a:ext cx="1572904" cy="1390008"/>
              </a:xfrm>
              <a:prstGeom prst="rect">
                <a:avLst/>
              </a:prstGeom>
            </p:spPr>
          </p:pic>
          <p:grpSp>
            <p:nvGrpSpPr>
              <p:cNvPr id="140" name="Group 139"/>
              <p:cNvGrpSpPr/>
              <p:nvPr/>
            </p:nvGrpSpPr>
            <p:grpSpPr>
              <a:xfrm>
                <a:off x="4697413" y="2204605"/>
                <a:ext cx="415925" cy="523792"/>
                <a:chOff x="6697234" y="1856344"/>
                <a:chExt cx="415925" cy="523792"/>
              </a:xfrm>
            </p:grpSpPr>
            <p:sp>
              <p:nvSpPr>
                <p:cNvPr id="141" name="Freeform 140"/>
                <p:cNvSpPr>
                  <a:spLocks/>
                </p:cNvSpPr>
                <p:nvPr/>
              </p:nvSpPr>
              <p:spPr bwMode="auto">
                <a:xfrm>
                  <a:off x="6697234" y="1856344"/>
                  <a:ext cx="384175" cy="234950"/>
                </a:xfrm>
                <a:custGeom>
                  <a:avLst/>
                  <a:gdLst>
                    <a:gd name="T0" fmla="*/ 208 w 415"/>
                    <a:gd name="T1" fmla="*/ 254 h 254"/>
                    <a:gd name="T2" fmla="*/ 199 w 415"/>
                    <a:gd name="T3" fmla="*/ 252 h 254"/>
                    <a:gd name="T4" fmla="*/ 8 w 415"/>
                    <a:gd name="T5" fmla="*/ 142 h 254"/>
                    <a:gd name="T6" fmla="*/ 0 w 415"/>
                    <a:gd name="T7" fmla="*/ 127 h 254"/>
                    <a:gd name="T8" fmla="*/ 8 w 415"/>
                    <a:gd name="T9" fmla="*/ 112 h 254"/>
                    <a:gd name="T10" fmla="*/ 199 w 415"/>
                    <a:gd name="T11" fmla="*/ 2 h 254"/>
                    <a:gd name="T12" fmla="*/ 208 w 415"/>
                    <a:gd name="T13" fmla="*/ 0 h 254"/>
                    <a:gd name="T14" fmla="*/ 216 w 415"/>
                    <a:gd name="T15" fmla="*/ 2 h 254"/>
                    <a:gd name="T16" fmla="*/ 407 w 415"/>
                    <a:gd name="T17" fmla="*/ 112 h 254"/>
                    <a:gd name="T18" fmla="*/ 415 w 415"/>
                    <a:gd name="T19" fmla="*/ 127 h 254"/>
                    <a:gd name="T20" fmla="*/ 407 w 415"/>
                    <a:gd name="T21" fmla="*/ 142 h 254"/>
                    <a:gd name="T22" fmla="*/ 216 w 415"/>
                    <a:gd name="T23" fmla="*/ 252 h 254"/>
                    <a:gd name="T24" fmla="*/ 208 w 415"/>
                    <a:gd name="T25"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5" h="254">
                      <a:moveTo>
                        <a:pt x="208" y="254"/>
                      </a:moveTo>
                      <a:cubicBezTo>
                        <a:pt x="205" y="254"/>
                        <a:pt x="202" y="253"/>
                        <a:pt x="199" y="252"/>
                      </a:cubicBezTo>
                      <a:cubicBezTo>
                        <a:pt x="8" y="142"/>
                        <a:pt x="8" y="142"/>
                        <a:pt x="8" y="142"/>
                      </a:cubicBezTo>
                      <a:cubicBezTo>
                        <a:pt x="3" y="139"/>
                        <a:pt x="0" y="133"/>
                        <a:pt x="0" y="127"/>
                      </a:cubicBezTo>
                      <a:cubicBezTo>
                        <a:pt x="0" y="121"/>
                        <a:pt x="3" y="115"/>
                        <a:pt x="8" y="112"/>
                      </a:cubicBezTo>
                      <a:cubicBezTo>
                        <a:pt x="199" y="2"/>
                        <a:pt x="199" y="2"/>
                        <a:pt x="199" y="2"/>
                      </a:cubicBezTo>
                      <a:cubicBezTo>
                        <a:pt x="202" y="1"/>
                        <a:pt x="205" y="0"/>
                        <a:pt x="208" y="0"/>
                      </a:cubicBezTo>
                      <a:cubicBezTo>
                        <a:pt x="211" y="0"/>
                        <a:pt x="213" y="1"/>
                        <a:pt x="216" y="2"/>
                      </a:cubicBezTo>
                      <a:cubicBezTo>
                        <a:pt x="407" y="112"/>
                        <a:pt x="407" y="112"/>
                        <a:pt x="407" y="112"/>
                      </a:cubicBezTo>
                      <a:cubicBezTo>
                        <a:pt x="412" y="115"/>
                        <a:pt x="415" y="121"/>
                        <a:pt x="415" y="127"/>
                      </a:cubicBezTo>
                      <a:cubicBezTo>
                        <a:pt x="415" y="133"/>
                        <a:pt x="412" y="139"/>
                        <a:pt x="407" y="142"/>
                      </a:cubicBezTo>
                      <a:cubicBezTo>
                        <a:pt x="216" y="252"/>
                        <a:pt x="216" y="252"/>
                        <a:pt x="216" y="252"/>
                      </a:cubicBezTo>
                      <a:cubicBezTo>
                        <a:pt x="213" y="253"/>
                        <a:pt x="211" y="254"/>
                        <a:pt x="208" y="254"/>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2444"/>
                    </a:solidFill>
                    <a:effectLst/>
                    <a:uLnTx/>
                    <a:uFillTx/>
                    <a:latin typeface="CiscoSansTT ExtraLight"/>
                    <a:ea typeface="ＭＳ Ｐゴシック" pitchFamily="34" charset="-128"/>
                    <a:cs typeface=""/>
                  </a:endParaRPr>
                </a:p>
              </p:txBody>
            </p:sp>
            <p:sp>
              <p:nvSpPr>
                <p:cNvPr id="142" name="Freeform 141"/>
                <p:cNvSpPr>
                  <a:spLocks/>
                </p:cNvSpPr>
                <p:nvPr/>
              </p:nvSpPr>
              <p:spPr bwMode="auto">
                <a:xfrm>
                  <a:off x="6906784" y="2045173"/>
                  <a:ext cx="206375" cy="334963"/>
                </a:xfrm>
                <a:custGeom>
                  <a:avLst/>
                  <a:gdLst>
                    <a:gd name="T0" fmla="*/ 17 w 224"/>
                    <a:gd name="T1" fmla="*/ 364 h 364"/>
                    <a:gd name="T2" fmla="*/ 8 w 224"/>
                    <a:gd name="T3" fmla="*/ 362 h 364"/>
                    <a:gd name="T4" fmla="*/ 0 w 224"/>
                    <a:gd name="T5" fmla="*/ 347 h 364"/>
                    <a:gd name="T6" fmla="*/ 0 w 224"/>
                    <a:gd name="T7" fmla="*/ 127 h 364"/>
                    <a:gd name="T8" fmla="*/ 8 w 224"/>
                    <a:gd name="T9" fmla="*/ 112 h 364"/>
                    <a:gd name="T10" fmla="*/ 199 w 224"/>
                    <a:gd name="T11" fmla="*/ 2 h 364"/>
                    <a:gd name="T12" fmla="*/ 207 w 224"/>
                    <a:gd name="T13" fmla="*/ 0 h 364"/>
                    <a:gd name="T14" fmla="*/ 216 w 224"/>
                    <a:gd name="T15" fmla="*/ 2 h 364"/>
                    <a:gd name="T16" fmla="*/ 224 w 224"/>
                    <a:gd name="T17" fmla="*/ 17 h 364"/>
                    <a:gd name="T18" fmla="*/ 224 w 224"/>
                    <a:gd name="T19" fmla="*/ 237 h 364"/>
                    <a:gd name="T20" fmla="*/ 216 w 224"/>
                    <a:gd name="T21" fmla="*/ 252 h 364"/>
                    <a:gd name="T22" fmla="*/ 25 w 224"/>
                    <a:gd name="T23" fmla="*/ 362 h 364"/>
                    <a:gd name="T24" fmla="*/ 17 w 224"/>
                    <a:gd name="T25"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364">
                      <a:moveTo>
                        <a:pt x="17" y="364"/>
                      </a:moveTo>
                      <a:cubicBezTo>
                        <a:pt x="14" y="364"/>
                        <a:pt x="11" y="363"/>
                        <a:pt x="8" y="362"/>
                      </a:cubicBezTo>
                      <a:cubicBezTo>
                        <a:pt x="3" y="359"/>
                        <a:pt x="0" y="353"/>
                        <a:pt x="0" y="347"/>
                      </a:cubicBezTo>
                      <a:cubicBezTo>
                        <a:pt x="0" y="127"/>
                        <a:pt x="0" y="127"/>
                        <a:pt x="0" y="127"/>
                      </a:cubicBezTo>
                      <a:cubicBezTo>
                        <a:pt x="0" y="121"/>
                        <a:pt x="3" y="115"/>
                        <a:pt x="8" y="112"/>
                      </a:cubicBezTo>
                      <a:cubicBezTo>
                        <a:pt x="199" y="2"/>
                        <a:pt x="199" y="2"/>
                        <a:pt x="199" y="2"/>
                      </a:cubicBezTo>
                      <a:cubicBezTo>
                        <a:pt x="201" y="1"/>
                        <a:pt x="204" y="0"/>
                        <a:pt x="207" y="0"/>
                      </a:cubicBezTo>
                      <a:cubicBezTo>
                        <a:pt x="210" y="0"/>
                        <a:pt x="213" y="1"/>
                        <a:pt x="216" y="2"/>
                      </a:cubicBezTo>
                      <a:cubicBezTo>
                        <a:pt x="221" y="5"/>
                        <a:pt x="224" y="11"/>
                        <a:pt x="224" y="17"/>
                      </a:cubicBezTo>
                      <a:cubicBezTo>
                        <a:pt x="224" y="237"/>
                        <a:pt x="224" y="237"/>
                        <a:pt x="224" y="237"/>
                      </a:cubicBezTo>
                      <a:cubicBezTo>
                        <a:pt x="224" y="243"/>
                        <a:pt x="221" y="249"/>
                        <a:pt x="216" y="252"/>
                      </a:cubicBezTo>
                      <a:cubicBezTo>
                        <a:pt x="25" y="362"/>
                        <a:pt x="25" y="362"/>
                        <a:pt x="25" y="362"/>
                      </a:cubicBezTo>
                      <a:cubicBezTo>
                        <a:pt x="22" y="363"/>
                        <a:pt x="20" y="364"/>
                        <a:pt x="17" y="364"/>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2444"/>
                    </a:solidFill>
                    <a:effectLst/>
                    <a:uLnTx/>
                    <a:uFillTx/>
                    <a:latin typeface="CiscoSansTT ExtraLight"/>
                    <a:ea typeface="ＭＳ Ｐゴシック" pitchFamily="34" charset="-128"/>
                    <a:cs typeface=""/>
                  </a:endParaRPr>
                </a:p>
              </p:txBody>
            </p:sp>
          </p:grpSp>
        </p:grpSp>
        <p:grpSp>
          <p:nvGrpSpPr>
            <p:cNvPr id="214" name="Group 213"/>
            <p:cNvGrpSpPr/>
            <p:nvPr/>
          </p:nvGrpSpPr>
          <p:grpSpPr>
            <a:xfrm>
              <a:off x="6230151" y="1828701"/>
              <a:ext cx="1678993" cy="2131042"/>
              <a:chOff x="3798803" y="1369834"/>
              <a:chExt cx="236598" cy="300299"/>
            </a:xfrm>
            <a:solidFill>
              <a:schemeClr val="tx2"/>
            </a:solidFill>
          </p:grpSpPr>
          <p:sp>
            <p:nvSpPr>
              <p:cNvPr id="215" name="Freeform 6"/>
              <p:cNvSpPr>
                <a:spLocks noEditPoints="1"/>
              </p:cNvSpPr>
              <p:nvPr/>
            </p:nvSpPr>
            <p:spPr bwMode="auto">
              <a:xfrm rot="1800000">
                <a:off x="3859090" y="1369834"/>
                <a:ext cx="176311" cy="176311"/>
              </a:xfrm>
              <a:custGeom>
                <a:avLst/>
                <a:gdLst/>
                <a:ahLst/>
                <a:cxnLst>
                  <a:cxn ang="0">
                    <a:pos x="107" y="0"/>
                  </a:cxn>
                  <a:cxn ang="0">
                    <a:pos x="0" y="107"/>
                  </a:cxn>
                  <a:cxn ang="0">
                    <a:pos x="107" y="214"/>
                  </a:cxn>
                  <a:cxn ang="0">
                    <a:pos x="214" y="107"/>
                  </a:cxn>
                  <a:cxn ang="0">
                    <a:pos x="107" y="0"/>
                  </a:cxn>
                  <a:cxn ang="0">
                    <a:pos x="107" y="184"/>
                  </a:cxn>
                  <a:cxn ang="0">
                    <a:pos x="31" y="107"/>
                  </a:cxn>
                  <a:cxn ang="0">
                    <a:pos x="107" y="31"/>
                  </a:cxn>
                  <a:cxn ang="0">
                    <a:pos x="184" y="107"/>
                  </a:cxn>
                  <a:cxn ang="0">
                    <a:pos x="107" y="184"/>
                  </a:cxn>
                </a:cxnLst>
                <a:rect l="0" t="0" r="r" b="b"/>
                <a:pathLst>
                  <a:path w="214" h="214">
                    <a:moveTo>
                      <a:pt x="107" y="0"/>
                    </a:moveTo>
                    <a:cubicBezTo>
                      <a:pt x="48" y="0"/>
                      <a:pt x="0" y="48"/>
                      <a:pt x="0" y="107"/>
                    </a:cubicBezTo>
                    <a:cubicBezTo>
                      <a:pt x="0" y="166"/>
                      <a:pt x="48" y="214"/>
                      <a:pt x="107" y="214"/>
                    </a:cubicBezTo>
                    <a:cubicBezTo>
                      <a:pt x="166" y="214"/>
                      <a:pt x="214" y="166"/>
                      <a:pt x="214" y="107"/>
                    </a:cubicBezTo>
                    <a:cubicBezTo>
                      <a:pt x="214" y="48"/>
                      <a:pt x="166" y="0"/>
                      <a:pt x="107" y="0"/>
                    </a:cubicBezTo>
                    <a:close/>
                    <a:moveTo>
                      <a:pt x="107" y="184"/>
                    </a:moveTo>
                    <a:cubicBezTo>
                      <a:pt x="65" y="184"/>
                      <a:pt x="31" y="149"/>
                      <a:pt x="31" y="107"/>
                    </a:cubicBezTo>
                    <a:cubicBezTo>
                      <a:pt x="31" y="65"/>
                      <a:pt x="65" y="31"/>
                      <a:pt x="107" y="31"/>
                    </a:cubicBezTo>
                    <a:cubicBezTo>
                      <a:pt x="149" y="31"/>
                      <a:pt x="184" y="65"/>
                      <a:pt x="184" y="107"/>
                    </a:cubicBezTo>
                    <a:cubicBezTo>
                      <a:pt x="184" y="149"/>
                      <a:pt x="149" y="184"/>
                      <a:pt x="107" y="184"/>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216" name="Freeform 8"/>
              <p:cNvSpPr>
                <a:spLocks/>
              </p:cNvSpPr>
              <p:nvPr/>
            </p:nvSpPr>
            <p:spPr bwMode="auto">
              <a:xfrm rot="20700000">
                <a:off x="3798803" y="1547284"/>
                <a:ext cx="122849" cy="122849"/>
              </a:xfrm>
              <a:custGeom>
                <a:avLst/>
                <a:gdLst/>
                <a:ahLst/>
                <a:cxnLst>
                  <a:cxn ang="0">
                    <a:pos x="107" y="0"/>
                  </a:cxn>
                  <a:cxn ang="0">
                    <a:pos x="12" y="92"/>
                  </a:cxn>
                  <a:cxn ang="0">
                    <a:pos x="12" y="135"/>
                  </a:cxn>
                  <a:cxn ang="0">
                    <a:pos x="55" y="136"/>
                  </a:cxn>
                  <a:cxn ang="0">
                    <a:pos x="150" y="44"/>
                  </a:cxn>
                  <a:cxn ang="0">
                    <a:pos x="107" y="0"/>
                  </a:cxn>
                </a:cxnLst>
                <a:rect l="0" t="0" r="r" b="b"/>
                <a:pathLst>
                  <a:path w="150" h="148">
                    <a:moveTo>
                      <a:pt x="107" y="0"/>
                    </a:moveTo>
                    <a:cubicBezTo>
                      <a:pt x="12" y="92"/>
                      <a:pt x="12" y="92"/>
                      <a:pt x="12" y="92"/>
                    </a:cubicBezTo>
                    <a:cubicBezTo>
                      <a:pt x="0" y="104"/>
                      <a:pt x="0" y="123"/>
                      <a:pt x="12" y="135"/>
                    </a:cubicBezTo>
                    <a:cubicBezTo>
                      <a:pt x="23" y="147"/>
                      <a:pt x="43" y="148"/>
                      <a:pt x="55" y="136"/>
                    </a:cubicBezTo>
                    <a:cubicBezTo>
                      <a:pt x="150" y="44"/>
                      <a:pt x="150" y="44"/>
                      <a:pt x="150" y="44"/>
                    </a:cubicBezTo>
                    <a:lnTo>
                      <a:pt x="107"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sp>
            <p:nvSpPr>
              <p:cNvPr id="217" name="Freeform 5"/>
              <p:cNvSpPr>
                <a:spLocks/>
              </p:cNvSpPr>
              <p:nvPr/>
            </p:nvSpPr>
            <p:spPr bwMode="auto">
              <a:xfrm rot="20700000">
                <a:off x="3873308" y="1512036"/>
                <a:ext cx="54599" cy="53462"/>
              </a:xfrm>
              <a:custGeom>
                <a:avLst/>
                <a:gdLst/>
                <a:ahLst/>
                <a:cxnLst>
                  <a:cxn ang="0">
                    <a:pos x="48" y="18"/>
                  </a:cxn>
                  <a:cxn ang="0">
                    <a:pos x="18" y="47"/>
                  </a:cxn>
                  <a:cxn ang="0">
                    <a:pos x="0" y="30"/>
                  </a:cxn>
                  <a:cxn ang="0">
                    <a:pos x="31" y="0"/>
                  </a:cxn>
                  <a:cxn ang="0">
                    <a:pos x="48" y="18"/>
                  </a:cxn>
                </a:cxnLst>
                <a:rect l="0" t="0" r="r" b="b"/>
                <a:pathLst>
                  <a:path w="48" h="47">
                    <a:moveTo>
                      <a:pt x="48" y="18"/>
                    </a:moveTo>
                    <a:lnTo>
                      <a:pt x="18" y="47"/>
                    </a:lnTo>
                    <a:lnTo>
                      <a:pt x="0" y="30"/>
                    </a:lnTo>
                    <a:lnTo>
                      <a:pt x="31" y="0"/>
                    </a:lnTo>
                    <a:lnTo>
                      <a:pt x="48" y="1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ＭＳ Ｐゴシック" charset="0"/>
                </a:endParaRPr>
              </a:p>
            </p:txBody>
          </p:sp>
        </p:grpSp>
      </p:grpSp>
    </p:spTree>
    <p:extLst>
      <p:ext uri="{BB962C8B-B14F-4D97-AF65-F5344CB8AC3E}">
        <p14:creationId xmlns:p14="http://schemas.microsoft.com/office/powerpoint/2010/main" val="1849553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mn-lt"/>
              </a:rPr>
              <a:t>Server process inventory details</a:t>
            </a:r>
          </a:p>
        </p:txBody>
      </p:sp>
      <p:pic>
        <p:nvPicPr>
          <p:cNvPr id="3" name="Picture 2"/>
          <p:cNvPicPr>
            <a:picLocks noChangeAspect="1"/>
          </p:cNvPicPr>
          <p:nvPr/>
        </p:nvPicPr>
        <p:blipFill>
          <a:blip r:embed="rId3"/>
          <a:stretch>
            <a:fillRect/>
          </a:stretch>
        </p:blipFill>
        <p:spPr>
          <a:xfrm>
            <a:off x="276225" y="1681327"/>
            <a:ext cx="6429219" cy="3035136"/>
          </a:xfrm>
          <a:prstGeom prst="rect">
            <a:avLst/>
          </a:prstGeom>
          <a:ln>
            <a:solidFill>
              <a:schemeClr val="bg2">
                <a:lumMod val="75000"/>
              </a:schemeClr>
            </a:solidFill>
          </a:ln>
        </p:spPr>
      </p:pic>
      <p:sp>
        <p:nvSpPr>
          <p:cNvPr id="4" name="Rectangle 3"/>
          <p:cNvSpPr/>
          <p:nvPr/>
        </p:nvSpPr>
        <p:spPr>
          <a:xfrm>
            <a:off x="811486" y="1681327"/>
            <a:ext cx="457200" cy="220391"/>
          </a:xfrm>
          <a:prstGeom prst="rect">
            <a:avLst/>
          </a:prstGeom>
          <a:no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5" name="Rectangle 4"/>
          <p:cNvSpPr/>
          <p:nvPr/>
        </p:nvSpPr>
        <p:spPr>
          <a:xfrm>
            <a:off x="385031" y="2527520"/>
            <a:ext cx="6320413" cy="979973"/>
          </a:xfrm>
          <a:prstGeom prst="rect">
            <a:avLst/>
          </a:prstGeom>
          <a:no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7" name="Rectangle 6"/>
          <p:cNvSpPr/>
          <p:nvPr/>
        </p:nvSpPr>
        <p:spPr>
          <a:xfrm>
            <a:off x="354285" y="1926460"/>
            <a:ext cx="3100039" cy="242888"/>
          </a:xfrm>
          <a:prstGeom prst="rect">
            <a:avLst/>
          </a:prstGeom>
          <a:no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cxnSp>
        <p:nvCxnSpPr>
          <p:cNvPr id="12" name="Elbow Connector 11"/>
          <p:cNvCxnSpPr>
            <a:stCxn id="4" idx="3"/>
            <a:endCxn id="15" idx="1"/>
          </p:cNvCxnSpPr>
          <p:nvPr/>
        </p:nvCxnSpPr>
        <p:spPr>
          <a:xfrm>
            <a:off x="1268686" y="1791523"/>
            <a:ext cx="6012442" cy="147881"/>
          </a:xfrm>
          <a:prstGeom prst="bentConnector3">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7" idx="3"/>
            <a:endCxn id="16" idx="1"/>
          </p:cNvCxnSpPr>
          <p:nvPr/>
        </p:nvCxnSpPr>
        <p:spPr>
          <a:xfrm>
            <a:off x="3454324" y="2047904"/>
            <a:ext cx="3826804" cy="896678"/>
          </a:xfrm>
          <a:prstGeom prst="bentConnector3">
            <a:avLst>
              <a:gd name="adj1" fmla="val 88718"/>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3" idx="3"/>
            <a:endCxn id="17" idx="1"/>
          </p:cNvCxnSpPr>
          <p:nvPr/>
        </p:nvCxnSpPr>
        <p:spPr>
          <a:xfrm>
            <a:off x="6705444" y="3198895"/>
            <a:ext cx="575684" cy="787978"/>
          </a:xfrm>
          <a:prstGeom prst="bentConnector3">
            <a:avLst>
              <a:gd name="adj1" fmla="val 50000"/>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541338" y="1085850"/>
            <a:ext cx="8054975" cy="346234"/>
          </a:xfrm>
          <a:prstGeom prst="roundRect">
            <a:avLst>
              <a:gd name="adj" fmla="val 50000"/>
            </a:avLst>
          </a:prstGeom>
          <a:solidFill>
            <a:schemeClr val="tx2"/>
          </a:solidFill>
        </p:spPr>
        <p:txBody>
          <a:bodyPr wrap="squar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iscoSansTT ExtraLight"/>
                <a:ea typeface="ＭＳ Ｐゴシック" charset="0"/>
              </a:rPr>
              <a:t>Drill down to a specific host to look at the complete process inventory</a:t>
            </a:r>
          </a:p>
        </p:txBody>
      </p:sp>
      <p:sp>
        <p:nvSpPr>
          <p:cNvPr id="15" name="TextBox 14"/>
          <p:cNvSpPr txBox="1"/>
          <p:nvPr/>
        </p:nvSpPr>
        <p:spPr>
          <a:xfrm>
            <a:off x="7281128" y="1596916"/>
            <a:ext cx="1591410" cy="684975"/>
          </a:xfrm>
          <a:prstGeom prst="roundRect">
            <a:avLst/>
          </a:prstGeom>
          <a:solidFill>
            <a:schemeClr val="bg2">
              <a:lumMod val="95000"/>
            </a:schemeClr>
          </a:solidFill>
          <a:ln>
            <a:noFill/>
          </a:ln>
        </p:spPr>
        <p:txBody>
          <a:bodyPr wrap="square" lIns="0" tIns="0" rIns="0" bIns="0" rtlCol="0" anchor="ctr" anchorCtr="0">
            <a:noAutofit/>
          </a:bodyPr>
          <a:lstStyle>
            <a:defPPr>
              <a:defRPr lang="en-US"/>
            </a:defPPr>
            <a:lvl1pPr algn="ctr">
              <a:defRPr sz="1100">
                <a:solidFill>
                  <a:schemeClr val="tx2"/>
                </a:solidFill>
                <a:latin typeface="+mn-lt"/>
                <a:ea typeface="Arial" charset="0"/>
                <a:cs typeface="Arial"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5073"/>
                </a:solidFill>
                <a:effectLst/>
                <a:uLnTx/>
                <a:uFillTx/>
                <a:latin typeface="CiscoSansTT ExtraLight"/>
                <a:cs typeface="Arial" charset="0"/>
              </a:rPr>
              <a:t>Process inventory accessed through</a:t>
            </a:r>
            <a:br>
              <a:rPr kumimoji="0" lang="en-US" sz="1200" b="0" i="0" u="none" strike="noStrike" kern="1200" cap="none" spc="0" normalizeH="0" baseline="0" noProof="0">
                <a:ln>
                  <a:noFill/>
                </a:ln>
                <a:solidFill>
                  <a:srgbClr val="005073"/>
                </a:solidFill>
                <a:effectLst/>
                <a:uLnTx/>
                <a:uFillTx/>
                <a:latin typeface="CiscoSansTT ExtraLight"/>
                <a:cs typeface="Arial" charset="0"/>
              </a:rPr>
            </a:br>
            <a:r>
              <a:rPr kumimoji="0" lang="en-US" sz="1200" b="0" i="0" u="none" strike="noStrike" kern="1200" cap="none" spc="0" normalizeH="0" baseline="0" noProof="0">
                <a:ln>
                  <a:noFill/>
                </a:ln>
                <a:solidFill>
                  <a:srgbClr val="005073"/>
                </a:solidFill>
                <a:effectLst/>
                <a:uLnTx/>
                <a:uFillTx/>
                <a:latin typeface="CiscoSansTT ExtraLight"/>
                <a:cs typeface="Arial" charset="0"/>
              </a:rPr>
              <a:t>the Process tab</a:t>
            </a:r>
          </a:p>
        </p:txBody>
      </p:sp>
      <p:sp>
        <p:nvSpPr>
          <p:cNvPr id="16" name="TextBox 15"/>
          <p:cNvSpPr txBox="1"/>
          <p:nvPr/>
        </p:nvSpPr>
        <p:spPr>
          <a:xfrm>
            <a:off x="7281128" y="2682972"/>
            <a:ext cx="1591410" cy="523220"/>
          </a:xfrm>
          <a:prstGeom prst="roundRect">
            <a:avLst/>
          </a:prstGeom>
          <a:solidFill>
            <a:schemeClr val="bg2">
              <a:lumMod val="95000"/>
            </a:schemeClr>
          </a:solidFill>
          <a:ln>
            <a:noFill/>
          </a:ln>
        </p:spPr>
        <p:txBody>
          <a:bodyPr wrap="square" lIns="0" tIns="0" rIns="0" bIns="0" rtlCol="0" anchor="ctr" anchorCtr="0">
            <a:noAutofit/>
          </a:bodyPr>
          <a:lstStyle>
            <a:defPPr>
              <a:defRPr lang="en-US"/>
            </a:defPPr>
            <a:lvl1pPr algn="ctr">
              <a:defRPr sz="1100">
                <a:solidFill>
                  <a:schemeClr val="tx2"/>
                </a:solidFill>
                <a:latin typeface="+mn-lt"/>
                <a:ea typeface="Arial" charset="0"/>
                <a:cs typeface="Arial"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5073"/>
                </a:solidFill>
                <a:effectLst/>
                <a:uLnTx/>
                <a:uFillTx/>
                <a:latin typeface="CiscoSansTT ExtraLight"/>
                <a:cs typeface="Arial" charset="0"/>
              </a:rPr>
              <a:t>Search for process within a host</a:t>
            </a:r>
          </a:p>
        </p:txBody>
      </p:sp>
      <p:sp>
        <p:nvSpPr>
          <p:cNvPr id="17" name="TextBox 16"/>
          <p:cNvSpPr txBox="1"/>
          <p:nvPr/>
        </p:nvSpPr>
        <p:spPr>
          <a:xfrm>
            <a:off x="7281128" y="3832984"/>
            <a:ext cx="1591410" cy="307777"/>
          </a:xfrm>
          <a:prstGeom prst="roundRect">
            <a:avLst/>
          </a:prstGeom>
          <a:solidFill>
            <a:schemeClr val="bg2">
              <a:lumMod val="95000"/>
            </a:schemeClr>
          </a:solidFill>
          <a:ln>
            <a:noFill/>
          </a:ln>
        </p:spPr>
        <p:txBody>
          <a:bodyPr wrap="square" lIns="0" tIns="0" rIns="0" bIns="0" rtlCol="0" anchor="ctr" anchorCtr="0">
            <a:noAutofit/>
          </a:bodyPr>
          <a:lstStyle>
            <a:defPPr>
              <a:defRPr lang="en-US"/>
            </a:defPPr>
            <a:lvl1pPr algn="ctr">
              <a:defRPr sz="1100">
                <a:solidFill>
                  <a:schemeClr val="tx2"/>
                </a:solidFill>
                <a:latin typeface="+mn-lt"/>
                <a:ea typeface="Arial" charset="0"/>
                <a:cs typeface="Arial"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5073"/>
                </a:solidFill>
                <a:effectLst/>
                <a:uLnTx/>
                <a:uFillTx/>
                <a:latin typeface="CiscoSansTT ExtraLight"/>
                <a:cs typeface="Arial" charset="0"/>
              </a:rPr>
              <a:t>Process details</a:t>
            </a:r>
          </a:p>
        </p:txBody>
      </p:sp>
    </p:spTree>
    <p:extLst>
      <p:ext uri="{BB962C8B-B14F-4D97-AF65-F5344CB8AC3E}">
        <p14:creationId xmlns:p14="http://schemas.microsoft.com/office/powerpoint/2010/main" val="11291918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3" name="think-cell Slide" r:id="rId5" imgW="216" imgH="216" progId="TCLayout.ActiveDocument.1">
                  <p:embed/>
                </p:oleObj>
              </mc:Choice>
              <mc:Fallback>
                <p:oleObj name="think-cell Slide" r:id="rId5" imgW="216" imgH="216"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6" name="Rectangle 25"/>
          <p:cNvSpPr/>
          <p:nvPr/>
        </p:nvSpPr>
        <p:spPr>
          <a:xfrm>
            <a:off x="2602141" y="1073150"/>
            <a:ext cx="6270398" cy="3642144"/>
          </a:xfrm>
          <a:prstGeom prst="rect">
            <a:avLst/>
          </a:prstGeom>
          <a:solidFill>
            <a:schemeClr val="bg2">
              <a:lumMod val="85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3" name="Title 2"/>
          <p:cNvSpPr>
            <a:spLocks noGrp="1"/>
          </p:cNvSpPr>
          <p:nvPr>
            <p:ph type="title"/>
          </p:nvPr>
        </p:nvSpPr>
        <p:spPr/>
        <p:txBody>
          <a:bodyPr/>
          <a:lstStyle/>
          <a:p>
            <a:r>
              <a:rPr lang="en-US">
                <a:latin typeface="+mn-lt"/>
              </a:rPr>
              <a:t>What is really running on my network?</a:t>
            </a:r>
            <a:br>
              <a:rPr lang="en-US">
                <a:latin typeface="+mn-lt"/>
              </a:rPr>
            </a:br>
            <a:r>
              <a:rPr lang="en-US" sz="1800">
                <a:latin typeface="+mn-lt"/>
              </a:rPr>
              <a:t>Cisco Tetration Analytics application insight dependency map</a:t>
            </a:r>
          </a:p>
        </p:txBody>
      </p:sp>
      <p:pic>
        <p:nvPicPr>
          <p:cNvPr id="5" name="Picture 4"/>
          <p:cNvPicPr>
            <a:picLocks noChangeAspect="1"/>
          </p:cNvPicPr>
          <p:nvPr/>
        </p:nvPicPr>
        <p:blipFill>
          <a:blip r:embed="rId7" cstate="print"/>
          <a:stretch>
            <a:fillRect/>
          </a:stretch>
        </p:blipFill>
        <p:spPr>
          <a:xfrm>
            <a:off x="2800495" y="1294136"/>
            <a:ext cx="3680691" cy="3200173"/>
          </a:xfrm>
          <a:prstGeom prst="rect">
            <a:avLst/>
          </a:prstGeom>
          <a:ln>
            <a:solidFill>
              <a:schemeClr val="bg2">
                <a:lumMod val="75000"/>
              </a:schemeClr>
            </a:solidFill>
          </a:ln>
        </p:spPr>
      </p:pic>
      <p:grpSp>
        <p:nvGrpSpPr>
          <p:cNvPr id="30" name="Group 29"/>
          <p:cNvGrpSpPr/>
          <p:nvPr/>
        </p:nvGrpSpPr>
        <p:grpSpPr>
          <a:xfrm>
            <a:off x="276225" y="1073150"/>
            <a:ext cx="2325916" cy="3642144"/>
            <a:chOff x="276225" y="1073150"/>
            <a:chExt cx="2325916" cy="3642144"/>
          </a:xfrm>
        </p:grpSpPr>
        <p:sp>
          <p:nvSpPr>
            <p:cNvPr id="31" name="Rectangle 30"/>
            <p:cNvSpPr/>
            <p:nvPr/>
          </p:nvSpPr>
          <p:spPr>
            <a:xfrm>
              <a:off x="276225" y="1073150"/>
              <a:ext cx="2322521" cy="364214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32" name="TextBox 31"/>
            <p:cNvSpPr txBox="1"/>
            <p:nvPr/>
          </p:nvSpPr>
          <p:spPr>
            <a:xfrm>
              <a:off x="276225" y="2428710"/>
              <a:ext cx="2325916" cy="931024"/>
            </a:xfrm>
            <a:prstGeom prst="rect">
              <a:avLst/>
            </a:prstGeom>
            <a:noFill/>
          </p:spPr>
          <p:txBody>
            <a:bodyPr wrap="square" lIns="91440" tIns="34290" rIns="68580" bIns="34290" rtlCol="0">
              <a:spAutoFit/>
            </a:bodyPr>
            <a:lstStyle/>
            <a:p>
              <a:pPr marL="0" marR="0" lvl="0" indent="0" algn="ctr" defTabSz="457189" rtl="0" eaLnBrk="1" fontAlgn="base" latinLnBrk="0" hangingPunct="1">
                <a:lnSpc>
                  <a:spcPct val="100000"/>
                </a:lnSpc>
                <a:spcBef>
                  <a:spcPts val="300"/>
                </a:spcBef>
                <a:spcAft>
                  <a:spcPct val="0"/>
                </a:spcAft>
                <a:buClrTx/>
                <a:buSzTx/>
                <a:buFontTx/>
                <a:buNone/>
                <a:tabLst/>
                <a:defRPr/>
              </a:pPr>
              <a:r>
                <a:rPr kumimoji="0" lang="en-US" sz="1400" b="1" i="0" u="none" strike="noStrike" kern="1200" cap="none" spc="0" normalizeH="0" baseline="0" noProof="0">
                  <a:ln>
                    <a:noFill/>
                  </a:ln>
                  <a:solidFill>
                    <a:srgbClr val="005073"/>
                  </a:solidFill>
                  <a:effectLst/>
                  <a:uLnTx/>
                  <a:uFillTx/>
                  <a:latin typeface="CiscoSansTT ExtraLight"/>
                  <a:ea typeface="Arial" charset="0"/>
                  <a:cs typeface="Arial" charset="0"/>
                </a:rPr>
                <a:t>Use Cisco</a:t>
              </a:r>
              <a:br>
                <a:rPr kumimoji="0" lang="en-US" sz="1400" b="1" i="0" u="none" strike="noStrike" kern="1200" cap="none" spc="0" normalizeH="0" baseline="0" noProof="0">
                  <a:ln>
                    <a:noFill/>
                  </a:ln>
                  <a:solidFill>
                    <a:srgbClr val="005073"/>
                  </a:solidFill>
                  <a:effectLst/>
                  <a:uLnTx/>
                  <a:uFillTx/>
                  <a:latin typeface="CiscoSansTT ExtraLight"/>
                  <a:ea typeface="Arial" charset="0"/>
                  <a:cs typeface="Arial" charset="0"/>
                </a:rPr>
              </a:br>
              <a:r>
                <a:rPr kumimoji="0" lang="en-US" sz="1400" b="1" i="0" u="none" strike="noStrike" kern="1200" cap="none" spc="0" normalizeH="0" baseline="0" noProof="0">
                  <a:ln>
                    <a:noFill/>
                  </a:ln>
                  <a:solidFill>
                    <a:srgbClr val="005073"/>
                  </a:solidFill>
                  <a:effectLst/>
                  <a:uLnTx/>
                  <a:uFillTx/>
                  <a:latin typeface="CiscoSansTT ExtraLight"/>
                  <a:ea typeface="Arial" charset="0"/>
                  <a:cs typeface="Arial" charset="0"/>
                </a:rPr>
                <a:t>Tetration Analytics™</a:t>
              </a:r>
              <a:br>
                <a:rPr kumimoji="0" lang="en-US" sz="1400" b="1" i="0" u="none" strike="noStrike" kern="1200" cap="none" spc="0" normalizeH="0" baseline="0" noProof="0">
                  <a:ln>
                    <a:noFill/>
                  </a:ln>
                  <a:solidFill>
                    <a:srgbClr val="005073"/>
                  </a:solidFill>
                  <a:effectLst/>
                  <a:uLnTx/>
                  <a:uFillTx/>
                  <a:latin typeface="CiscoSansTT ExtraLight"/>
                  <a:ea typeface="Arial" charset="0"/>
                  <a:cs typeface="Arial" charset="0"/>
                </a:rPr>
              </a:br>
              <a:r>
                <a:rPr kumimoji="0" lang="en-US" sz="1400" b="1" i="0" u="none" strike="noStrike" kern="1200" cap="none" spc="0" normalizeH="0" baseline="0" noProof="0">
                  <a:ln>
                    <a:noFill/>
                  </a:ln>
                  <a:solidFill>
                    <a:srgbClr val="005073"/>
                  </a:solidFill>
                  <a:effectLst/>
                  <a:uLnTx/>
                  <a:uFillTx/>
                  <a:latin typeface="CiscoSansTT ExtraLight"/>
                  <a:ea typeface="Arial" charset="0"/>
                  <a:cs typeface="Arial" charset="0"/>
                </a:rPr>
                <a:t>outcome to generate </a:t>
              </a:r>
              <a:br>
                <a:rPr kumimoji="0" lang="en-US" sz="1400" b="1" i="0" u="none" strike="noStrike" kern="1200" cap="none" spc="0" normalizeH="0" baseline="0" noProof="0">
                  <a:ln>
                    <a:noFill/>
                  </a:ln>
                  <a:solidFill>
                    <a:srgbClr val="005073"/>
                  </a:solidFill>
                  <a:effectLst/>
                  <a:uLnTx/>
                  <a:uFillTx/>
                  <a:latin typeface="CiscoSansTT ExtraLight"/>
                  <a:ea typeface="Arial" charset="0"/>
                  <a:cs typeface="Arial" charset="0"/>
                </a:rPr>
              </a:br>
              <a:r>
                <a:rPr kumimoji="0" lang="en-US" sz="1400" b="1" i="0" u="none" strike="noStrike" kern="1200" cap="none" spc="0" normalizeH="0" baseline="0" noProof="0">
                  <a:ln>
                    <a:noFill/>
                  </a:ln>
                  <a:solidFill>
                    <a:srgbClr val="005073"/>
                  </a:solidFill>
                  <a:effectLst/>
                  <a:uLnTx/>
                  <a:uFillTx/>
                  <a:latin typeface="CiscoSansTT ExtraLight"/>
                  <a:ea typeface="Arial" charset="0"/>
                  <a:cs typeface="Arial" charset="0"/>
                </a:rPr>
                <a:t>whitelist policies</a:t>
              </a:r>
            </a:p>
          </p:txBody>
        </p:sp>
      </p:grpSp>
      <p:grpSp>
        <p:nvGrpSpPr>
          <p:cNvPr id="54" name="Group 53"/>
          <p:cNvGrpSpPr/>
          <p:nvPr/>
        </p:nvGrpSpPr>
        <p:grpSpPr>
          <a:xfrm>
            <a:off x="6679540" y="1417551"/>
            <a:ext cx="2071116" cy="2953342"/>
            <a:chOff x="6679540" y="1475920"/>
            <a:chExt cx="2071116" cy="2953342"/>
          </a:xfrm>
        </p:grpSpPr>
        <p:sp>
          <p:nvSpPr>
            <p:cNvPr id="10" name="Rounded Rectangle 9"/>
            <p:cNvSpPr/>
            <p:nvPr/>
          </p:nvSpPr>
          <p:spPr>
            <a:xfrm>
              <a:off x="6802984" y="3965002"/>
              <a:ext cx="1947672" cy="244314"/>
            </a:xfrm>
            <a:prstGeom prst="roundRect">
              <a:avLst/>
            </a:prstGeom>
            <a:solidFill>
              <a:schemeClr val="accent1">
                <a:lumMod val="60000"/>
                <a:lumOff val="40000"/>
                <a:alpha val="40000"/>
              </a:schemeClr>
            </a:solidFill>
            <a:ln w="19050" cmpd="sng">
              <a:noFill/>
              <a:bevel/>
            </a:ln>
            <a:effectLst/>
          </p:spPr>
          <p:style>
            <a:lnRef idx="2">
              <a:schemeClr val="accent1">
                <a:shade val="50000"/>
              </a:schemeClr>
            </a:lnRef>
            <a:fillRef idx="1">
              <a:schemeClr val="accent1"/>
            </a:fillRef>
            <a:effectRef idx="0">
              <a:schemeClr val="accent1"/>
            </a:effectRef>
            <a:fontRef idx="minor">
              <a:schemeClr val="lt1"/>
            </a:fontRef>
          </p:style>
          <p:txBody>
            <a:bodyPr lIns="228600" tIns="45702" rIns="91404" bIns="45702" rtlCol="0" anchor="ctr"/>
            <a:lstStyle/>
            <a:p>
              <a:pPr marL="0" marR="0" lvl="0" indent="0" algn="l" defTabSz="91323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5073"/>
                  </a:solidFill>
                  <a:effectLst/>
                  <a:uLnTx/>
                  <a:uFillTx/>
                  <a:latin typeface="CiscoSansTT ExtraLight"/>
                  <a:ea typeface="+mn-ea"/>
                  <a:cs typeface="+mn-cs"/>
                </a:rPr>
                <a:t>Security</a:t>
              </a:r>
            </a:p>
          </p:txBody>
        </p:sp>
        <p:sp>
          <p:nvSpPr>
            <p:cNvPr id="11" name="Rounded Rectangle 10"/>
            <p:cNvSpPr/>
            <p:nvPr/>
          </p:nvSpPr>
          <p:spPr>
            <a:xfrm>
              <a:off x="6802984" y="3573733"/>
              <a:ext cx="1947672" cy="244314"/>
            </a:xfrm>
            <a:prstGeom prst="roundRect">
              <a:avLst/>
            </a:prstGeom>
            <a:solidFill>
              <a:schemeClr val="accent1">
                <a:lumMod val="60000"/>
                <a:lumOff val="40000"/>
                <a:alpha val="40000"/>
              </a:schemeClr>
            </a:solidFill>
            <a:ln w="19050" cmpd="sng">
              <a:noFill/>
              <a:bevel/>
            </a:ln>
            <a:effectLst/>
          </p:spPr>
          <p:style>
            <a:lnRef idx="2">
              <a:schemeClr val="accent1">
                <a:shade val="50000"/>
              </a:schemeClr>
            </a:lnRef>
            <a:fillRef idx="1">
              <a:schemeClr val="accent1"/>
            </a:fillRef>
            <a:effectRef idx="0">
              <a:schemeClr val="accent1"/>
            </a:effectRef>
            <a:fontRef idx="minor">
              <a:schemeClr val="lt1"/>
            </a:fontRef>
          </p:style>
          <p:txBody>
            <a:bodyPr lIns="228600" tIns="45702" rIns="91404" bIns="45702" rtlCol="0" anchor="ctr"/>
            <a:lstStyle/>
            <a:p>
              <a:pPr marL="0" marR="0" lvl="0" indent="0" algn="l" defTabSz="91323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5073"/>
                  </a:solidFill>
                  <a:effectLst/>
                  <a:uLnTx/>
                  <a:uFillTx/>
                  <a:latin typeface="CiscoSansTT ExtraLight"/>
                  <a:ea typeface="+mn-ea"/>
                  <a:cs typeface="+mn-cs"/>
                </a:rPr>
                <a:t>Dependencies</a:t>
              </a:r>
            </a:p>
          </p:txBody>
        </p:sp>
        <p:sp>
          <p:nvSpPr>
            <p:cNvPr id="12" name="Rounded Rectangle 11"/>
            <p:cNvSpPr/>
            <p:nvPr/>
          </p:nvSpPr>
          <p:spPr>
            <a:xfrm>
              <a:off x="6802984" y="3182466"/>
              <a:ext cx="1947672" cy="244314"/>
            </a:xfrm>
            <a:prstGeom prst="roundRect">
              <a:avLst/>
            </a:prstGeom>
            <a:solidFill>
              <a:schemeClr val="accent1">
                <a:lumMod val="60000"/>
                <a:lumOff val="40000"/>
                <a:alpha val="40000"/>
              </a:schemeClr>
            </a:solidFill>
            <a:ln w="19050" cmpd="sng">
              <a:noFill/>
              <a:bevel/>
            </a:ln>
            <a:effectLst/>
          </p:spPr>
          <p:style>
            <a:lnRef idx="2">
              <a:schemeClr val="accent1">
                <a:shade val="50000"/>
              </a:schemeClr>
            </a:lnRef>
            <a:fillRef idx="1">
              <a:schemeClr val="accent1"/>
            </a:fillRef>
            <a:effectRef idx="0">
              <a:schemeClr val="accent1"/>
            </a:effectRef>
            <a:fontRef idx="minor">
              <a:schemeClr val="lt1"/>
            </a:fontRef>
          </p:style>
          <p:txBody>
            <a:bodyPr lIns="228600" tIns="45702" rIns="91404" bIns="45702" rtlCol="0" anchor="ctr"/>
            <a:lstStyle/>
            <a:p>
              <a:pPr marL="0" marR="0" lvl="0" indent="0" algn="l" defTabSz="91323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5073"/>
                  </a:solidFill>
                  <a:effectLst/>
                  <a:uLnTx/>
                  <a:uFillTx/>
                  <a:latin typeface="CiscoSansTT ExtraLight"/>
                  <a:ea typeface="+mn-ea"/>
                  <a:cs typeface="+mn-cs"/>
                </a:rPr>
                <a:t>Application</a:t>
              </a:r>
            </a:p>
          </p:txBody>
        </p:sp>
        <p:sp>
          <p:nvSpPr>
            <p:cNvPr id="13" name="Rounded Rectangle 12"/>
            <p:cNvSpPr/>
            <p:nvPr/>
          </p:nvSpPr>
          <p:spPr>
            <a:xfrm>
              <a:off x="6802984" y="2791199"/>
              <a:ext cx="1947672" cy="244314"/>
            </a:xfrm>
            <a:prstGeom prst="roundRect">
              <a:avLst/>
            </a:prstGeom>
            <a:solidFill>
              <a:schemeClr val="accent1">
                <a:lumMod val="60000"/>
                <a:lumOff val="40000"/>
                <a:alpha val="40000"/>
              </a:schemeClr>
            </a:solidFill>
            <a:ln w="19050" cmpd="sng">
              <a:noFill/>
              <a:bevel/>
            </a:ln>
            <a:effectLst/>
          </p:spPr>
          <p:style>
            <a:lnRef idx="2">
              <a:schemeClr val="accent1">
                <a:shade val="50000"/>
              </a:schemeClr>
            </a:lnRef>
            <a:fillRef idx="1">
              <a:schemeClr val="accent1"/>
            </a:fillRef>
            <a:effectRef idx="0">
              <a:schemeClr val="accent1"/>
            </a:effectRef>
            <a:fontRef idx="minor">
              <a:schemeClr val="lt1"/>
            </a:fontRef>
          </p:style>
          <p:txBody>
            <a:bodyPr lIns="228600" tIns="45702" rIns="91404" bIns="45702" rtlCol="0" anchor="ctr"/>
            <a:lstStyle/>
            <a:p>
              <a:pPr marL="0" marR="0" lvl="0" indent="0" algn="l" defTabSz="91323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5073"/>
                  </a:solidFill>
                  <a:effectLst/>
                  <a:uLnTx/>
                  <a:uFillTx/>
                  <a:latin typeface="CiscoSansTT ExtraLight"/>
                  <a:ea typeface="+mn-ea"/>
                  <a:cs typeface="+mn-cs"/>
                </a:rPr>
                <a:t>Service offering</a:t>
              </a:r>
            </a:p>
          </p:txBody>
        </p:sp>
        <p:sp>
          <p:nvSpPr>
            <p:cNvPr id="14" name="Rounded Rectangle 13"/>
            <p:cNvSpPr/>
            <p:nvPr/>
          </p:nvSpPr>
          <p:spPr>
            <a:xfrm>
              <a:off x="6802984" y="2399932"/>
              <a:ext cx="1947672" cy="244314"/>
            </a:xfrm>
            <a:prstGeom prst="roundRect">
              <a:avLst/>
            </a:prstGeom>
            <a:solidFill>
              <a:schemeClr val="accent1">
                <a:lumMod val="60000"/>
                <a:lumOff val="40000"/>
                <a:alpha val="40000"/>
              </a:schemeClr>
            </a:solidFill>
            <a:ln w="19050" cmpd="sng">
              <a:noFill/>
              <a:bevel/>
            </a:ln>
            <a:effectLst/>
          </p:spPr>
          <p:style>
            <a:lnRef idx="2">
              <a:schemeClr val="accent1">
                <a:shade val="50000"/>
              </a:schemeClr>
            </a:lnRef>
            <a:fillRef idx="1">
              <a:schemeClr val="accent1"/>
            </a:fillRef>
            <a:effectRef idx="0">
              <a:schemeClr val="accent1"/>
            </a:effectRef>
            <a:fontRef idx="minor">
              <a:schemeClr val="lt1"/>
            </a:fontRef>
          </p:style>
          <p:txBody>
            <a:bodyPr lIns="228600" tIns="45702" rIns="91404" bIns="45702" rtlCol="0" anchor="ctr"/>
            <a:lstStyle/>
            <a:p>
              <a:pPr marL="0" marR="0" lvl="0" indent="0" algn="l" defTabSz="91323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5073"/>
                  </a:solidFill>
                  <a:effectLst/>
                  <a:uLnTx/>
                  <a:uFillTx/>
                  <a:latin typeface="CiscoSansTT ExtraLight"/>
                  <a:ea typeface="+mn-ea"/>
                  <a:cs typeface="+mn-cs"/>
                </a:rPr>
                <a:t>Service</a:t>
              </a:r>
            </a:p>
          </p:txBody>
        </p:sp>
        <p:sp>
          <p:nvSpPr>
            <p:cNvPr id="15" name="Rounded Rectangle 14"/>
            <p:cNvSpPr/>
            <p:nvPr/>
          </p:nvSpPr>
          <p:spPr>
            <a:xfrm>
              <a:off x="6802984" y="2008665"/>
              <a:ext cx="1947672" cy="244314"/>
            </a:xfrm>
            <a:prstGeom prst="roundRect">
              <a:avLst/>
            </a:prstGeom>
            <a:solidFill>
              <a:schemeClr val="accent1">
                <a:lumMod val="60000"/>
                <a:lumOff val="40000"/>
                <a:alpha val="40000"/>
              </a:schemeClr>
            </a:solidFill>
            <a:ln w="19050" cmpd="sng">
              <a:noFill/>
              <a:bevel/>
            </a:ln>
            <a:effectLst/>
          </p:spPr>
          <p:style>
            <a:lnRef idx="2">
              <a:schemeClr val="accent1">
                <a:shade val="50000"/>
              </a:schemeClr>
            </a:lnRef>
            <a:fillRef idx="1">
              <a:schemeClr val="accent1"/>
            </a:fillRef>
            <a:effectRef idx="0">
              <a:schemeClr val="accent1"/>
            </a:effectRef>
            <a:fontRef idx="minor">
              <a:schemeClr val="lt1"/>
            </a:fontRef>
          </p:style>
          <p:txBody>
            <a:bodyPr lIns="228600" tIns="45702" rIns="91404" bIns="45702" rtlCol="0" anchor="ctr"/>
            <a:lstStyle/>
            <a:p>
              <a:pPr marL="0" marR="0" lvl="0" indent="0" algn="l" defTabSz="91323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5073"/>
                  </a:solidFill>
                  <a:effectLst/>
                  <a:uLnTx/>
                  <a:uFillTx/>
                  <a:latin typeface="CiscoSansTT ExtraLight"/>
                  <a:ea typeface="+mn-ea"/>
                  <a:cs typeface="+mn-cs"/>
                </a:rPr>
                <a:t>Service category</a:t>
              </a:r>
            </a:p>
          </p:txBody>
        </p:sp>
        <p:sp>
          <p:nvSpPr>
            <p:cNvPr id="16" name="Rounded Rectangle 15"/>
            <p:cNvSpPr/>
            <p:nvPr/>
          </p:nvSpPr>
          <p:spPr>
            <a:xfrm>
              <a:off x="6802984" y="1617398"/>
              <a:ext cx="1945336" cy="244314"/>
            </a:xfrm>
            <a:prstGeom prst="roundRect">
              <a:avLst/>
            </a:prstGeom>
            <a:solidFill>
              <a:schemeClr val="accent1">
                <a:lumMod val="60000"/>
                <a:lumOff val="40000"/>
                <a:alpha val="40000"/>
              </a:schemeClr>
            </a:solidFill>
            <a:ln w="19050" cmpd="sng">
              <a:noFill/>
              <a:bevel/>
            </a:ln>
            <a:effectLst/>
          </p:spPr>
          <p:style>
            <a:lnRef idx="2">
              <a:schemeClr val="accent1">
                <a:shade val="50000"/>
              </a:schemeClr>
            </a:lnRef>
            <a:fillRef idx="1">
              <a:schemeClr val="accent1"/>
            </a:fillRef>
            <a:effectRef idx="0">
              <a:schemeClr val="accent1"/>
            </a:effectRef>
            <a:fontRef idx="minor">
              <a:schemeClr val="lt1"/>
            </a:fontRef>
          </p:style>
          <p:txBody>
            <a:bodyPr lIns="228600" tIns="45702" rIns="91404" bIns="45702" rtlCol="0" anchor="ctr"/>
            <a:lstStyle/>
            <a:p>
              <a:pPr marL="0" marR="0" lvl="0" indent="0" algn="l" defTabSz="91323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5073"/>
                  </a:solidFill>
                  <a:effectLst/>
                  <a:uLnTx/>
                  <a:uFillTx/>
                  <a:latin typeface="CiscoSansTT ExtraLight"/>
                  <a:ea typeface="+mn-ea"/>
                  <a:cs typeface="+mn-cs"/>
                </a:rPr>
                <a:t>(Service owner)</a:t>
              </a:r>
            </a:p>
          </p:txBody>
        </p:sp>
        <p:cxnSp>
          <p:nvCxnSpPr>
            <p:cNvPr id="17" name="Straight Arrow Connector 16"/>
            <p:cNvCxnSpPr/>
            <p:nvPr/>
          </p:nvCxnSpPr>
          <p:spPr>
            <a:xfrm>
              <a:off x="6802984" y="1475920"/>
              <a:ext cx="0" cy="2953342"/>
            </a:xfrm>
            <a:prstGeom prst="straightConnector1">
              <a:avLst/>
            </a:prstGeom>
            <a:noFill/>
            <a:ln>
              <a:solidFill>
                <a:schemeClr val="accent1"/>
              </a:solidFill>
              <a:headEnd type="oval"/>
              <a:tailEnd type="triangle" w="lg" len="med"/>
            </a:ln>
            <a:effectLst/>
          </p:spPr>
          <p:style>
            <a:lnRef idx="2">
              <a:schemeClr val="accent1">
                <a:shade val="50000"/>
              </a:schemeClr>
            </a:lnRef>
            <a:fillRef idx="1">
              <a:schemeClr val="accent1"/>
            </a:fillRef>
            <a:effectRef idx="0">
              <a:schemeClr val="accent1"/>
            </a:effectRef>
            <a:fontRef idx="minor">
              <a:schemeClr val="lt1"/>
            </a:fontRef>
          </p:style>
        </p:cxnSp>
        <p:grpSp>
          <p:nvGrpSpPr>
            <p:cNvPr id="9" name="Group 8"/>
            <p:cNvGrpSpPr/>
            <p:nvPr/>
          </p:nvGrpSpPr>
          <p:grpSpPr>
            <a:xfrm>
              <a:off x="6679540" y="1617398"/>
              <a:ext cx="246888" cy="246888"/>
              <a:chOff x="6327924" y="1689006"/>
              <a:chExt cx="246888" cy="246888"/>
            </a:xfrm>
          </p:grpSpPr>
          <p:sp>
            <p:nvSpPr>
              <p:cNvPr id="18" name="Oval 17"/>
              <p:cNvSpPr>
                <a:spLocks noChangeAspect="1"/>
              </p:cNvSpPr>
              <p:nvPr/>
            </p:nvSpPr>
            <p:spPr>
              <a:xfrm>
                <a:off x="6327924" y="1689006"/>
                <a:ext cx="246888" cy="246888"/>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35" name="Freeform 6"/>
              <p:cNvSpPr>
                <a:spLocks noEditPoints="1"/>
              </p:cNvSpPr>
              <p:nvPr/>
            </p:nvSpPr>
            <p:spPr bwMode="auto">
              <a:xfrm>
                <a:off x="6332496" y="1693578"/>
                <a:ext cx="237744" cy="237744"/>
              </a:xfrm>
              <a:custGeom>
                <a:avLst/>
                <a:gdLst/>
                <a:ahLst/>
                <a:cxnLst>
                  <a:cxn ang="0">
                    <a:pos x="292" y="0"/>
                  </a:cxn>
                  <a:cxn ang="0">
                    <a:pos x="0" y="291"/>
                  </a:cxn>
                  <a:cxn ang="0">
                    <a:pos x="292" y="583"/>
                  </a:cxn>
                  <a:cxn ang="0">
                    <a:pos x="584" y="291"/>
                  </a:cxn>
                  <a:cxn ang="0">
                    <a:pos x="292" y="0"/>
                  </a:cxn>
                  <a:cxn ang="0">
                    <a:pos x="432" y="291"/>
                  </a:cxn>
                  <a:cxn ang="0">
                    <a:pos x="432" y="292"/>
                  </a:cxn>
                  <a:cxn ang="0">
                    <a:pos x="432" y="295"/>
                  </a:cxn>
                  <a:cxn ang="0">
                    <a:pos x="432" y="297"/>
                  </a:cxn>
                  <a:cxn ang="0">
                    <a:pos x="432" y="298"/>
                  </a:cxn>
                  <a:cxn ang="0">
                    <a:pos x="431" y="298"/>
                  </a:cxn>
                  <a:cxn ang="0">
                    <a:pos x="430" y="302"/>
                  </a:cxn>
                  <a:cxn ang="0">
                    <a:pos x="430" y="304"/>
                  </a:cxn>
                  <a:cxn ang="0">
                    <a:pos x="430" y="304"/>
                  </a:cxn>
                  <a:cxn ang="0">
                    <a:pos x="430" y="305"/>
                  </a:cxn>
                  <a:cxn ang="0">
                    <a:pos x="422" y="315"/>
                  </a:cxn>
                  <a:cxn ang="0">
                    <a:pos x="272" y="462"/>
                  </a:cxn>
                  <a:cxn ang="0">
                    <a:pos x="224" y="461"/>
                  </a:cxn>
                  <a:cxn ang="0">
                    <a:pos x="225" y="413"/>
                  </a:cxn>
                  <a:cxn ang="0">
                    <a:pos x="351" y="291"/>
                  </a:cxn>
                  <a:cxn ang="0">
                    <a:pos x="225" y="169"/>
                  </a:cxn>
                  <a:cxn ang="0">
                    <a:pos x="224" y="122"/>
                  </a:cxn>
                  <a:cxn ang="0">
                    <a:pos x="248" y="112"/>
                  </a:cxn>
                  <a:cxn ang="0">
                    <a:pos x="272" y="121"/>
                  </a:cxn>
                  <a:cxn ang="0">
                    <a:pos x="422" y="267"/>
                  </a:cxn>
                  <a:cxn ang="0">
                    <a:pos x="426" y="273"/>
                  </a:cxn>
                  <a:cxn ang="0">
                    <a:pos x="427" y="273"/>
                  </a:cxn>
                  <a:cxn ang="0">
                    <a:pos x="430" y="278"/>
                  </a:cxn>
                  <a:cxn ang="0">
                    <a:pos x="430" y="279"/>
                  </a:cxn>
                  <a:cxn ang="0">
                    <a:pos x="430" y="279"/>
                  </a:cxn>
                  <a:cxn ang="0">
                    <a:pos x="430" y="280"/>
                  </a:cxn>
                  <a:cxn ang="0">
                    <a:pos x="431" y="285"/>
                  </a:cxn>
                  <a:cxn ang="0">
                    <a:pos x="432" y="285"/>
                  </a:cxn>
                  <a:cxn ang="0">
                    <a:pos x="432" y="286"/>
                  </a:cxn>
                  <a:cxn ang="0">
                    <a:pos x="432" y="288"/>
                  </a:cxn>
                  <a:cxn ang="0">
                    <a:pos x="432" y="291"/>
                  </a:cxn>
                </a:cxnLst>
                <a:rect l="0" t="0" r="r" b="b"/>
                <a:pathLst>
                  <a:path w="584" h="583">
                    <a:moveTo>
                      <a:pt x="292" y="0"/>
                    </a:moveTo>
                    <a:cubicBezTo>
                      <a:pt x="131" y="0"/>
                      <a:pt x="0" y="130"/>
                      <a:pt x="0" y="291"/>
                    </a:cubicBezTo>
                    <a:cubicBezTo>
                      <a:pt x="0" y="453"/>
                      <a:pt x="131" y="583"/>
                      <a:pt x="292" y="583"/>
                    </a:cubicBezTo>
                    <a:cubicBezTo>
                      <a:pt x="453" y="583"/>
                      <a:pt x="584" y="453"/>
                      <a:pt x="584" y="291"/>
                    </a:cubicBezTo>
                    <a:cubicBezTo>
                      <a:pt x="584" y="130"/>
                      <a:pt x="453" y="0"/>
                      <a:pt x="292" y="0"/>
                    </a:cubicBezTo>
                    <a:close/>
                    <a:moveTo>
                      <a:pt x="432" y="291"/>
                    </a:moveTo>
                    <a:cubicBezTo>
                      <a:pt x="432" y="292"/>
                      <a:pt x="432" y="292"/>
                      <a:pt x="432" y="292"/>
                    </a:cubicBezTo>
                    <a:cubicBezTo>
                      <a:pt x="432" y="295"/>
                      <a:pt x="432" y="295"/>
                      <a:pt x="432" y="295"/>
                    </a:cubicBezTo>
                    <a:cubicBezTo>
                      <a:pt x="432" y="297"/>
                      <a:pt x="432" y="297"/>
                      <a:pt x="432" y="297"/>
                    </a:cubicBezTo>
                    <a:cubicBezTo>
                      <a:pt x="432" y="298"/>
                      <a:pt x="432" y="298"/>
                      <a:pt x="432" y="298"/>
                    </a:cubicBezTo>
                    <a:cubicBezTo>
                      <a:pt x="431" y="298"/>
                      <a:pt x="431" y="298"/>
                      <a:pt x="431" y="298"/>
                    </a:cubicBezTo>
                    <a:cubicBezTo>
                      <a:pt x="430" y="302"/>
                      <a:pt x="430" y="302"/>
                      <a:pt x="430" y="302"/>
                    </a:cubicBezTo>
                    <a:cubicBezTo>
                      <a:pt x="430" y="304"/>
                      <a:pt x="430" y="304"/>
                      <a:pt x="430" y="304"/>
                    </a:cubicBezTo>
                    <a:cubicBezTo>
                      <a:pt x="430" y="304"/>
                      <a:pt x="430" y="304"/>
                      <a:pt x="430" y="304"/>
                    </a:cubicBezTo>
                    <a:cubicBezTo>
                      <a:pt x="430" y="305"/>
                      <a:pt x="430" y="305"/>
                      <a:pt x="430" y="305"/>
                    </a:cubicBezTo>
                    <a:cubicBezTo>
                      <a:pt x="428" y="309"/>
                      <a:pt x="425" y="312"/>
                      <a:pt x="422" y="315"/>
                    </a:cubicBezTo>
                    <a:cubicBezTo>
                      <a:pt x="272" y="462"/>
                      <a:pt x="272" y="462"/>
                      <a:pt x="272" y="462"/>
                    </a:cubicBezTo>
                    <a:cubicBezTo>
                      <a:pt x="259" y="474"/>
                      <a:pt x="237" y="474"/>
                      <a:pt x="224" y="461"/>
                    </a:cubicBezTo>
                    <a:cubicBezTo>
                      <a:pt x="212" y="448"/>
                      <a:pt x="212" y="426"/>
                      <a:pt x="225" y="413"/>
                    </a:cubicBezTo>
                    <a:cubicBezTo>
                      <a:pt x="351" y="291"/>
                      <a:pt x="351" y="291"/>
                      <a:pt x="351" y="291"/>
                    </a:cubicBezTo>
                    <a:cubicBezTo>
                      <a:pt x="225" y="169"/>
                      <a:pt x="225" y="169"/>
                      <a:pt x="225" y="169"/>
                    </a:cubicBezTo>
                    <a:cubicBezTo>
                      <a:pt x="212" y="156"/>
                      <a:pt x="212" y="135"/>
                      <a:pt x="224" y="122"/>
                    </a:cubicBezTo>
                    <a:cubicBezTo>
                      <a:pt x="231" y="115"/>
                      <a:pt x="240" y="112"/>
                      <a:pt x="248" y="112"/>
                    </a:cubicBezTo>
                    <a:cubicBezTo>
                      <a:pt x="257" y="112"/>
                      <a:pt x="265" y="115"/>
                      <a:pt x="272" y="121"/>
                    </a:cubicBezTo>
                    <a:cubicBezTo>
                      <a:pt x="422" y="267"/>
                      <a:pt x="422" y="267"/>
                      <a:pt x="422" y="267"/>
                    </a:cubicBezTo>
                    <a:cubicBezTo>
                      <a:pt x="424" y="269"/>
                      <a:pt x="425" y="271"/>
                      <a:pt x="426" y="273"/>
                    </a:cubicBezTo>
                    <a:cubicBezTo>
                      <a:pt x="427" y="273"/>
                      <a:pt x="427" y="273"/>
                      <a:pt x="427" y="273"/>
                    </a:cubicBezTo>
                    <a:cubicBezTo>
                      <a:pt x="430" y="278"/>
                      <a:pt x="430" y="278"/>
                      <a:pt x="430" y="278"/>
                    </a:cubicBezTo>
                    <a:cubicBezTo>
                      <a:pt x="430" y="279"/>
                      <a:pt x="430" y="279"/>
                      <a:pt x="430" y="279"/>
                    </a:cubicBezTo>
                    <a:cubicBezTo>
                      <a:pt x="430" y="279"/>
                      <a:pt x="430" y="279"/>
                      <a:pt x="430" y="279"/>
                    </a:cubicBezTo>
                    <a:cubicBezTo>
                      <a:pt x="430" y="280"/>
                      <a:pt x="430" y="280"/>
                      <a:pt x="430" y="280"/>
                    </a:cubicBezTo>
                    <a:cubicBezTo>
                      <a:pt x="431" y="285"/>
                      <a:pt x="431" y="285"/>
                      <a:pt x="431" y="285"/>
                    </a:cubicBezTo>
                    <a:cubicBezTo>
                      <a:pt x="432" y="285"/>
                      <a:pt x="432" y="285"/>
                      <a:pt x="432" y="285"/>
                    </a:cubicBezTo>
                    <a:cubicBezTo>
                      <a:pt x="432" y="286"/>
                      <a:pt x="432" y="286"/>
                      <a:pt x="432" y="286"/>
                    </a:cubicBezTo>
                    <a:cubicBezTo>
                      <a:pt x="432" y="288"/>
                      <a:pt x="432" y="288"/>
                      <a:pt x="432" y="288"/>
                    </a:cubicBezTo>
                    <a:cubicBezTo>
                      <a:pt x="432" y="291"/>
                      <a:pt x="432" y="291"/>
                      <a:pt x="432" y="29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36" name="Group 35"/>
            <p:cNvGrpSpPr/>
            <p:nvPr/>
          </p:nvGrpSpPr>
          <p:grpSpPr>
            <a:xfrm>
              <a:off x="6679540" y="2006520"/>
              <a:ext cx="246888" cy="246888"/>
              <a:chOff x="6327924" y="1689006"/>
              <a:chExt cx="246888" cy="246888"/>
            </a:xfrm>
          </p:grpSpPr>
          <p:sp>
            <p:nvSpPr>
              <p:cNvPr id="37" name="Oval 36"/>
              <p:cNvSpPr>
                <a:spLocks noChangeAspect="1"/>
              </p:cNvSpPr>
              <p:nvPr/>
            </p:nvSpPr>
            <p:spPr>
              <a:xfrm>
                <a:off x="6327924" y="1689006"/>
                <a:ext cx="246888" cy="246888"/>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38" name="Freeform 6"/>
              <p:cNvSpPr>
                <a:spLocks noEditPoints="1"/>
              </p:cNvSpPr>
              <p:nvPr/>
            </p:nvSpPr>
            <p:spPr bwMode="auto">
              <a:xfrm>
                <a:off x="6332496" y="1693578"/>
                <a:ext cx="237744" cy="237744"/>
              </a:xfrm>
              <a:custGeom>
                <a:avLst/>
                <a:gdLst/>
                <a:ahLst/>
                <a:cxnLst>
                  <a:cxn ang="0">
                    <a:pos x="292" y="0"/>
                  </a:cxn>
                  <a:cxn ang="0">
                    <a:pos x="0" y="291"/>
                  </a:cxn>
                  <a:cxn ang="0">
                    <a:pos x="292" y="583"/>
                  </a:cxn>
                  <a:cxn ang="0">
                    <a:pos x="584" y="291"/>
                  </a:cxn>
                  <a:cxn ang="0">
                    <a:pos x="292" y="0"/>
                  </a:cxn>
                  <a:cxn ang="0">
                    <a:pos x="432" y="291"/>
                  </a:cxn>
                  <a:cxn ang="0">
                    <a:pos x="432" y="292"/>
                  </a:cxn>
                  <a:cxn ang="0">
                    <a:pos x="432" y="295"/>
                  </a:cxn>
                  <a:cxn ang="0">
                    <a:pos x="432" y="297"/>
                  </a:cxn>
                  <a:cxn ang="0">
                    <a:pos x="432" y="298"/>
                  </a:cxn>
                  <a:cxn ang="0">
                    <a:pos x="431" y="298"/>
                  </a:cxn>
                  <a:cxn ang="0">
                    <a:pos x="430" y="302"/>
                  </a:cxn>
                  <a:cxn ang="0">
                    <a:pos x="430" y="304"/>
                  </a:cxn>
                  <a:cxn ang="0">
                    <a:pos x="430" y="304"/>
                  </a:cxn>
                  <a:cxn ang="0">
                    <a:pos x="430" y="305"/>
                  </a:cxn>
                  <a:cxn ang="0">
                    <a:pos x="422" y="315"/>
                  </a:cxn>
                  <a:cxn ang="0">
                    <a:pos x="272" y="462"/>
                  </a:cxn>
                  <a:cxn ang="0">
                    <a:pos x="224" y="461"/>
                  </a:cxn>
                  <a:cxn ang="0">
                    <a:pos x="225" y="413"/>
                  </a:cxn>
                  <a:cxn ang="0">
                    <a:pos x="351" y="291"/>
                  </a:cxn>
                  <a:cxn ang="0">
                    <a:pos x="225" y="169"/>
                  </a:cxn>
                  <a:cxn ang="0">
                    <a:pos x="224" y="122"/>
                  </a:cxn>
                  <a:cxn ang="0">
                    <a:pos x="248" y="112"/>
                  </a:cxn>
                  <a:cxn ang="0">
                    <a:pos x="272" y="121"/>
                  </a:cxn>
                  <a:cxn ang="0">
                    <a:pos x="422" y="267"/>
                  </a:cxn>
                  <a:cxn ang="0">
                    <a:pos x="426" y="273"/>
                  </a:cxn>
                  <a:cxn ang="0">
                    <a:pos x="427" y="273"/>
                  </a:cxn>
                  <a:cxn ang="0">
                    <a:pos x="430" y="278"/>
                  </a:cxn>
                  <a:cxn ang="0">
                    <a:pos x="430" y="279"/>
                  </a:cxn>
                  <a:cxn ang="0">
                    <a:pos x="430" y="279"/>
                  </a:cxn>
                  <a:cxn ang="0">
                    <a:pos x="430" y="280"/>
                  </a:cxn>
                  <a:cxn ang="0">
                    <a:pos x="431" y="285"/>
                  </a:cxn>
                  <a:cxn ang="0">
                    <a:pos x="432" y="285"/>
                  </a:cxn>
                  <a:cxn ang="0">
                    <a:pos x="432" y="286"/>
                  </a:cxn>
                  <a:cxn ang="0">
                    <a:pos x="432" y="288"/>
                  </a:cxn>
                  <a:cxn ang="0">
                    <a:pos x="432" y="291"/>
                  </a:cxn>
                </a:cxnLst>
                <a:rect l="0" t="0" r="r" b="b"/>
                <a:pathLst>
                  <a:path w="584" h="583">
                    <a:moveTo>
                      <a:pt x="292" y="0"/>
                    </a:moveTo>
                    <a:cubicBezTo>
                      <a:pt x="131" y="0"/>
                      <a:pt x="0" y="130"/>
                      <a:pt x="0" y="291"/>
                    </a:cubicBezTo>
                    <a:cubicBezTo>
                      <a:pt x="0" y="453"/>
                      <a:pt x="131" y="583"/>
                      <a:pt x="292" y="583"/>
                    </a:cubicBezTo>
                    <a:cubicBezTo>
                      <a:pt x="453" y="583"/>
                      <a:pt x="584" y="453"/>
                      <a:pt x="584" y="291"/>
                    </a:cubicBezTo>
                    <a:cubicBezTo>
                      <a:pt x="584" y="130"/>
                      <a:pt x="453" y="0"/>
                      <a:pt x="292" y="0"/>
                    </a:cubicBezTo>
                    <a:close/>
                    <a:moveTo>
                      <a:pt x="432" y="291"/>
                    </a:moveTo>
                    <a:cubicBezTo>
                      <a:pt x="432" y="292"/>
                      <a:pt x="432" y="292"/>
                      <a:pt x="432" y="292"/>
                    </a:cubicBezTo>
                    <a:cubicBezTo>
                      <a:pt x="432" y="295"/>
                      <a:pt x="432" y="295"/>
                      <a:pt x="432" y="295"/>
                    </a:cubicBezTo>
                    <a:cubicBezTo>
                      <a:pt x="432" y="297"/>
                      <a:pt x="432" y="297"/>
                      <a:pt x="432" y="297"/>
                    </a:cubicBezTo>
                    <a:cubicBezTo>
                      <a:pt x="432" y="298"/>
                      <a:pt x="432" y="298"/>
                      <a:pt x="432" y="298"/>
                    </a:cubicBezTo>
                    <a:cubicBezTo>
                      <a:pt x="431" y="298"/>
                      <a:pt x="431" y="298"/>
                      <a:pt x="431" y="298"/>
                    </a:cubicBezTo>
                    <a:cubicBezTo>
                      <a:pt x="430" y="302"/>
                      <a:pt x="430" y="302"/>
                      <a:pt x="430" y="302"/>
                    </a:cubicBezTo>
                    <a:cubicBezTo>
                      <a:pt x="430" y="304"/>
                      <a:pt x="430" y="304"/>
                      <a:pt x="430" y="304"/>
                    </a:cubicBezTo>
                    <a:cubicBezTo>
                      <a:pt x="430" y="304"/>
                      <a:pt x="430" y="304"/>
                      <a:pt x="430" y="304"/>
                    </a:cubicBezTo>
                    <a:cubicBezTo>
                      <a:pt x="430" y="305"/>
                      <a:pt x="430" y="305"/>
                      <a:pt x="430" y="305"/>
                    </a:cubicBezTo>
                    <a:cubicBezTo>
                      <a:pt x="428" y="309"/>
                      <a:pt x="425" y="312"/>
                      <a:pt x="422" y="315"/>
                    </a:cubicBezTo>
                    <a:cubicBezTo>
                      <a:pt x="272" y="462"/>
                      <a:pt x="272" y="462"/>
                      <a:pt x="272" y="462"/>
                    </a:cubicBezTo>
                    <a:cubicBezTo>
                      <a:pt x="259" y="474"/>
                      <a:pt x="237" y="474"/>
                      <a:pt x="224" y="461"/>
                    </a:cubicBezTo>
                    <a:cubicBezTo>
                      <a:pt x="212" y="448"/>
                      <a:pt x="212" y="426"/>
                      <a:pt x="225" y="413"/>
                    </a:cubicBezTo>
                    <a:cubicBezTo>
                      <a:pt x="351" y="291"/>
                      <a:pt x="351" y="291"/>
                      <a:pt x="351" y="291"/>
                    </a:cubicBezTo>
                    <a:cubicBezTo>
                      <a:pt x="225" y="169"/>
                      <a:pt x="225" y="169"/>
                      <a:pt x="225" y="169"/>
                    </a:cubicBezTo>
                    <a:cubicBezTo>
                      <a:pt x="212" y="156"/>
                      <a:pt x="212" y="135"/>
                      <a:pt x="224" y="122"/>
                    </a:cubicBezTo>
                    <a:cubicBezTo>
                      <a:pt x="231" y="115"/>
                      <a:pt x="240" y="112"/>
                      <a:pt x="248" y="112"/>
                    </a:cubicBezTo>
                    <a:cubicBezTo>
                      <a:pt x="257" y="112"/>
                      <a:pt x="265" y="115"/>
                      <a:pt x="272" y="121"/>
                    </a:cubicBezTo>
                    <a:cubicBezTo>
                      <a:pt x="422" y="267"/>
                      <a:pt x="422" y="267"/>
                      <a:pt x="422" y="267"/>
                    </a:cubicBezTo>
                    <a:cubicBezTo>
                      <a:pt x="424" y="269"/>
                      <a:pt x="425" y="271"/>
                      <a:pt x="426" y="273"/>
                    </a:cubicBezTo>
                    <a:cubicBezTo>
                      <a:pt x="427" y="273"/>
                      <a:pt x="427" y="273"/>
                      <a:pt x="427" y="273"/>
                    </a:cubicBezTo>
                    <a:cubicBezTo>
                      <a:pt x="430" y="278"/>
                      <a:pt x="430" y="278"/>
                      <a:pt x="430" y="278"/>
                    </a:cubicBezTo>
                    <a:cubicBezTo>
                      <a:pt x="430" y="279"/>
                      <a:pt x="430" y="279"/>
                      <a:pt x="430" y="279"/>
                    </a:cubicBezTo>
                    <a:cubicBezTo>
                      <a:pt x="430" y="279"/>
                      <a:pt x="430" y="279"/>
                      <a:pt x="430" y="279"/>
                    </a:cubicBezTo>
                    <a:cubicBezTo>
                      <a:pt x="430" y="280"/>
                      <a:pt x="430" y="280"/>
                      <a:pt x="430" y="280"/>
                    </a:cubicBezTo>
                    <a:cubicBezTo>
                      <a:pt x="431" y="285"/>
                      <a:pt x="431" y="285"/>
                      <a:pt x="431" y="285"/>
                    </a:cubicBezTo>
                    <a:cubicBezTo>
                      <a:pt x="432" y="285"/>
                      <a:pt x="432" y="285"/>
                      <a:pt x="432" y="285"/>
                    </a:cubicBezTo>
                    <a:cubicBezTo>
                      <a:pt x="432" y="286"/>
                      <a:pt x="432" y="286"/>
                      <a:pt x="432" y="286"/>
                    </a:cubicBezTo>
                    <a:cubicBezTo>
                      <a:pt x="432" y="288"/>
                      <a:pt x="432" y="288"/>
                      <a:pt x="432" y="288"/>
                    </a:cubicBezTo>
                    <a:cubicBezTo>
                      <a:pt x="432" y="291"/>
                      <a:pt x="432" y="291"/>
                      <a:pt x="432" y="29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39" name="Group 38"/>
            <p:cNvGrpSpPr/>
            <p:nvPr/>
          </p:nvGrpSpPr>
          <p:grpSpPr>
            <a:xfrm>
              <a:off x="6679540" y="2397358"/>
              <a:ext cx="246888" cy="246888"/>
              <a:chOff x="6327924" y="1689006"/>
              <a:chExt cx="246888" cy="246888"/>
            </a:xfrm>
          </p:grpSpPr>
          <p:sp>
            <p:nvSpPr>
              <p:cNvPr id="40" name="Oval 39"/>
              <p:cNvSpPr>
                <a:spLocks noChangeAspect="1"/>
              </p:cNvSpPr>
              <p:nvPr/>
            </p:nvSpPr>
            <p:spPr>
              <a:xfrm>
                <a:off x="6327924" y="1689006"/>
                <a:ext cx="246888" cy="246888"/>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41" name="Freeform 6"/>
              <p:cNvSpPr>
                <a:spLocks noEditPoints="1"/>
              </p:cNvSpPr>
              <p:nvPr/>
            </p:nvSpPr>
            <p:spPr bwMode="auto">
              <a:xfrm>
                <a:off x="6332496" y="1693578"/>
                <a:ext cx="237744" cy="237744"/>
              </a:xfrm>
              <a:custGeom>
                <a:avLst/>
                <a:gdLst/>
                <a:ahLst/>
                <a:cxnLst>
                  <a:cxn ang="0">
                    <a:pos x="292" y="0"/>
                  </a:cxn>
                  <a:cxn ang="0">
                    <a:pos x="0" y="291"/>
                  </a:cxn>
                  <a:cxn ang="0">
                    <a:pos x="292" y="583"/>
                  </a:cxn>
                  <a:cxn ang="0">
                    <a:pos x="584" y="291"/>
                  </a:cxn>
                  <a:cxn ang="0">
                    <a:pos x="292" y="0"/>
                  </a:cxn>
                  <a:cxn ang="0">
                    <a:pos x="432" y="291"/>
                  </a:cxn>
                  <a:cxn ang="0">
                    <a:pos x="432" y="292"/>
                  </a:cxn>
                  <a:cxn ang="0">
                    <a:pos x="432" y="295"/>
                  </a:cxn>
                  <a:cxn ang="0">
                    <a:pos x="432" y="297"/>
                  </a:cxn>
                  <a:cxn ang="0">
                    <a:pos x="432" y="298"/>
                  </a:cxn>
                  <a:cxn ang="0">
                    <a:pos x="431" y="298"/>
                  </a:cxn>
                  <a:cxn ang="0">
                    <a:pos x="430" y="302"/>
                  </a:cxn>
                  <a:cxn ang="0">
                    <a:pos x="430" y="304"/>
                  </a:cxn>
                  <a:cxn ang="0">
                    <a:pos x="430" y="304"/>
                  </a:cxn>
                  <a:cxn ang="0">
                    <a:pos x="430" y="305"/>
                  </a:cxn>
                  <a:cxn ang="0">
                    <a:pos x="422" y="315"/>
                  </a:cxn>
                  <a:cxn ang="0">
                    <a:pos x="272" y="462"/>
                  </a:cxn>
                  <a:cxn ang="0">
                    <a:pos x="224" y="461"/>
                  </a:cxn>
                  <a:cxn ang="0">
                    <a:pos x="225" y="413"/>
                  </a:cxn>
                  <a:cxn ang="0">
                    <a:pos x="351" y="291"/>
                  </a:cxn>
                  <a:cxn ang="0">
                    <a:pos x="225" y="169"/>
                  </a:cxn>
                  <a:cxn ang="0">
                    <a:pos x="224" y="122"/>
                  </a:cxn>
                  <a:cxn ang="0">
                    <a:pos x="248" y="112"/>
                  </a:cxn>
                  <a:cxn ang="0">
                    <a:pos x="272" y="121"/>
                  </a:cxn>
                  <a:cxn ang="0">
                    <a:pos x="422" y="267"/>
                  </a:cxn>
                  <a:cxn ang="0">
                    <a:pos x="426" y="273"/>
                  </a:cxn>
                  <a:cxn ang="0">
                    <a:pos x="427" y="273"/>
                  </a:cxn>
                  <a:cxn ang="0">
                    <a:pos x="430" y="278"/>
                  </a:cxn>
                  <a:cxn ang="0">
                    <a:pos x="430" y="279"/>
                  </a:cxn>
                  <a:cxn ang="0">
                    <a:pos x="430" y="279"/>
                  </a:cxn>
                  <a:cxn ang="0">
                    <a:pos x="430" y="280"/>
                  </a:cxn>
                  <a:cxn ang="0">
                    <a:pos x="431" y="285"/>
                  </a:cxn>
                  <a:cxn ang="0">
                    <a:pos x="432" y="285"/>
                  </a:cxn>
                  <a:cxn ang="0">
                    <a:pos x="432" y="286"/>
                  </a:cxn>
                  <a:cxn ang="0">
                    <a:pos x="432" y="288"/>
                  </a:cxn>
                  <a:cxn ang="0">
                    <a:pos x="432" y="291"/>
                  </a:cxn>
                </a:cxnLst>
                <a:rect l="0" t="0" r="r" b="b"/>
                <a:pathLst>
                  <a:path w="584" h="583">
                    <a:moveTo>
                      <a:pt x="292" y="0"/>
                    </a:moveTo>
                    <a:cubicBezTo>
                      <a:pt x="131" y="0"/>
                      <a:pt x="0" y="130"/>
                      <a:pt x="0" y="291"/>
                    </a:cubicBezTo>
                    <a:cubicBezTo>
                      <a:pt x="0" y="453"/>
                      <a:pt x="131" y="583"/>
                      <a:pt x="292" y="583"/>
                    </a:cubicBezTo>
                    <a:cubicBezTo>
                      <a:pt x="453" y="583"/>
                      <a:pt x="584" y="453"/>
                      <a:pt x="584" y="291"/>
                    </a:cubicBezTo>
                    <a:cubicBezTo>
                      <a:pt x="584" y="130"/>
                      <a:pt x="453" y="0"/>
                      <a:pt x="292" y="0"/>
                    </a:cubicBezTo>
                    <a:close/>
                    <a:moveTo>
                      <a:pt x="432" y="291"/>
                    </a:moveTo>
                    <a:cubicBezTo>
                      <a:pt x="432" y="292"/>
                      <a:pt x="432" y="292"/>
                      <a:pt x="432" y="292"/>
                    </a:cubicBezTo>
                    <a:cubicBezTo>
                      <a:pt x="432" y="295"/>
                      <a:pt x="432" y="295"/>
                      <a:pt x="432" y="295"/>
                    </a:cubicBezTo>
                    <a:cubicBezTo>
                      <a:pt x="432" y="297"/>
                      <a:pt x="432" y="297"/>
                      <a:pt x="432" y="297"/>
                    </a:cubicBezTo>
                    <a:cubicBezTo>
                      <a:pt x="432" y="298"/>
                      <a:pt x="432" y="298"/>
                      <a:pt x="432" y="298"/>
                    </a:cubicBezTo>
                    <a:cubicBezTo>
                      <a:pt x="431" y="298"/>
                      <a:pt x="431" y="298"/>
                      <a:pt x="431" y="298"/>
                    </a:cubicBezTo>
                    <a:cubicBezTo>
                      <a:pt x="430" y="302"/>
                      <a:pt x="430" y="302"/>
                      <a:pt x="430" y="302"/>
                    </a:cubicBezTo>
                    <a:cubicBezTo>
                      <a:pt x="430" y="304"/>
                      <a:pt x="430" y="304"/>
                      <a:pt x="430" y="304"/>
                    </a:cubicBezTo>
                    <a:cubicBezTo>
                      <a:pt x="430" y="304"/>
                      <a:pt x="430" y="304"/>
                      <a:pt x="430" y="304"/>
                    </a:cubicBezTo>
                    <a:cubicBezTo>
                      <a:pt x="430" y="305"/>
                      <a:pt x="430" y="305"/>
                      <a:pt x="430" y="305"/>
                    </a:cubicBezTo>
                    <a:cubicBezTo>
                      <a:pt x="428" y="309"/>
                      <a:pt x="425" y="312"/>
                      <a:pt x="422" y="315"/>
                    </a:cubicBezTo>
                    <a:cubicBezTo>
                      <a:pt x="272" y="462"/>
                      <a:pt x="272" y="462"/>
                      <a:pt x="272" y="462"/>
                    </a:cubicBezTo>
                    <a:cubicBezTo>
                      <a:pt x="259" y="474"/>
                      <a:pt x="237" y="474"/>
                      <a:pt x="224" y="461"/>
                    </a:cubicBezTo>
                    <a:cubicBezTo>
                      <a:pt x="212" y="448"/>
                      <a:pt x="212" y="426"/>
                      <a:pt x="225" y="413"/>
                    </a:cubicBezTo>
                    <a:cubicBezTo>
                      <a:pt x="351" y="291"/>
                      <a:pt x="351" y="291"/>
                      <a:pt x="351" y="291"/>
                    </a:cubicBezTo>
                    <a:cubicBezTo>
                      <a:pt x="225" y="169"/>
                      <a:pt x="225" y="169"/>
                      <a:pt x="225" y="169"/>
                    </a:cubicBezTo>
                    <a:cubicBezTo>
                      <a:pt x="212" y="156"/>
                      <a:pt x="212" y="135"/>
                      <a:pt x="224" y="122"/>
                    </a:cubicBezTo>
                    <a:cubicBezTo>
                      <a:pt x="231" y="115"/>
                      <a:pt x="240" y="112"/>
                      <a:pt x="248" y="112"/>
                    </a:cubicBezTo>
                    <a:cubicBezTo>
                      <a:pt x="257" y="112"/>
                      <a:pt x="265" y="115"/>
                      <a:pt x="272" y="121"/>
                    </a:cubicBezTo>
                    <a:cubicBezTo>
                      <a:pt x="422" y="267"/>
                      <a:pt x="422" y="267"/>
                      <a:pt x="422" y="267"/>
                    </a:cubicBezTo>
                    <a:cubicBezTo>
                      <a:pt x="424" y="269"/>
                      <a:pt x="425" y="271"/>
                      <a:pt x="426" y="273"/>
                    </a:cubicBezTo>
                    <a:cubicBezTo>
                      <a:pt x="427" y="273"/>
                      <a:pt x="427" y="273"/>
                      <a:pt x="427" y="273"/>
                    </a:cubicBezTo>
                    <a:cubicBezTo>
                      <a:pt x="430" y="278"/>
                      <a:pt x="430" y="278"/>
                      <a:pt x="430" y="278"/>
                    </a:cubicBezTo>
                    <a:cubicBezTo>
                      <a:pt x="430" y="279"/>
                      <a:pt x="430" y="279"/>
                      <a:pt x="430" y="279"/>
                    </a:cubicBezTo>
                    <a:cubicBezTo>
                      <a:pt x="430" y="279"/>
                      <a:pt x="430" y="279"/>
                      <a:pt x="430" y="279"/>
                    </a:cubicBezTo>
                    <a:cubicBezTo>
                      <a:pt x="430" y="280"/>
                      <a:pt x="430" y="280"/>
                      <a:pt x="430" y="280"/>
                    </a:cubicBezTo>
                    <a:cubicBezTo>
                      <a:pt x="431" y="285"/>
                      <a:pt x="431" y="285"/>
                      <a:pt x="431" y="285"/>
                    </a:cubicBezTo>
                    <a:cubicBezTo>
                      <a:pt x="432" y="285"/>
                      <a:pt x="432" y="285"/>
                      <a:pt x="432" y="285"/>
                    </a:cubicBezTo>
                    <a:cubicBezTo>
                      <a:pt x="432" y="286"/>
                      <a:pt x="432" y="286"/>
                      <a:pt x="432" y="286"/>
                    </a:cubicBezTo>
                    <a:cubicBezTo>
                      <a:pt x="432" y="288"/>
                      <a:pt x="432" y="288"/>
                      <a:pt x="432" y="288"/>
                    </a:cubicBezTo>
                    <a:cubicBezTo>
                      <a:pt x="432" y="291"/>
                      <a:pt x="432" y="291"/>
                      <a:pt x="432" y="29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42" name="Group 41"/>
            <p:cNvGrpSpPr/>
            <p:nvPr/>
          </p:nvGrpSpPr>
          <p:grpSpPr>
            <a:xfrm>
              <a:off x="6679540" y="2788625"/>
              <a:ext cx="246888" cy="246888"/>
              <a:chOff x="6327924" y="1689006"/>
              <a:chExt cx="246888" cy="246888"/>
            </a:xfrm>
          </p:grpSpPr>
          <p:sp>
            <p:nvSpPr>
              <p:cNvPr id="43" name="Oval 42"/>
              <p:cNvSpPr>
                <a:spLocks noChangeAspect="1"/>
              </p:cNvSpPr>
              <p:nvPr/>
            </p:nvSpPr>
            <p:spPr>
              <a:xfrm>
                <a:off x="6327924" y="1689006"/>
                <a:ext cx="246888" cy="246888"/>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44" name="Freeform 6"/>
              <p:cNvSpPr>
                <a:spLocks noEditPoints="1"/>
              </p:cNvSpPr>
              <p:nvPr/>
            </p:nvSpPr>
            <p:spPr bwMode="auto">
              <a:xfrm>
                <a:off x="6332496" y="1693578"/>
                <a:ext cx="237744" cy="237744"/>
              </a:xfrm>
              <a:custGeom>
                <a:avLst/>
                <a:gdLst/>
                <a:ahLst/>
                <a:cxnLst>
                  <a:cxn ang="0">
                    <a:pos x="292" y="0"/>
                  </a:cxn>
                  <a:cxn ang="0">
                    <a:pos x="0" y="291"/>
                  </a:cxn>
                  <a:cxn ang="0">
                    <a:pos x="292" y="583"/>
                  </a:cxn>
                  <a:cxn ang="0">
                    <a:pos x="584" y="291"/>
                  </a:cxn>
                  <a:cxn ang="0">
                    <a:pos x="292" y="0"/>
                  </a:cxn>
                  <a:cxn ang="0">
                    <a:pos x="432" y="291"/>
                  </a:cxn>
                  <a:cxn ang="0">
                    <a:pos x="432" y="292"/>
                  </a:cxn>
                  <a:cxn ang="0">
                    <a:pos x="432" y="295"/>
                  </a:cxn>
                  <a:cxn ang="0">
                    <a:pos x="432" y="297"/>
                  </a:cxn>
                  <a:cxn ang="0">
                    <a:pos x="432" y="298"/>
                  </a:cxn>
                  <a:cxn ang="0">
                    <a:pos x="431" y="298"/>
                  </a:cxn>
                  <a:cxn ang="0">
                    <a:pos x="430" y="302"/>
                  </a:cxn>
                  <a:cxn ang="0">
                    <a:pos x="430" y="304"/>
                  </a:cxn>
                  <a:cxn ang="0">
                    <a:pos x="430" y="304"/>
                  </a:cxn>
                  <a:cxn ang="0">
                    <a:pos x="430" y="305"/>
                  </a:cxn>
                  <a:cxn ang="0">
                    <a:pos x="422" y="315"/>
                  </a:cxn>
                  <a:cxn ang="0">
                    <a:pos x="272" y="462"/>
                  </a:cxn>
                  <a:cxn ang="0">
                    <a:pos x="224" y="461"/>
                  </a:cxn>
                  <a:cxn ang="0">
                    <a:pos x="225" y="413"/>
                  </a:cxn>
                  <a:cxn ang="0">
                    <a:pos x="351" y="291"/>
                  </a:cxn>
                  <a:cxn ang="0">
                    <a:pos x="225" y="169"/>
                  </a:cxn>
                  <a:cxn ang="0">
                    <a:pos x="224" y="122"/>
                  </a:cxn>
                  <a:cxn ang="0">
                    <a:pos x="248" y="112"/>
                  </a:cxn>
                  <a:cxn ang="0">
                    <a:pos x="272" y="121"/>
                  </a:cxn>
                  <a:cxn ang="0">
                    <a:pos x="422" y="267"/>
                  </a:cxn>
                  <a:cxn ang="0">
                    <a:pos x="426" y="273"/>
                  </a:cxn>
                  <a:cxn ang="0">
                    <a:pos x="427" y="273"/>
                  </a:cxn>
                  <a:cxn ang="0">
                    <a:pos x="430" y="278"/>
                  </a:cxn>
                  <a:cxn ang="0">
                    <a:pos x="430" y="279"/>
                  </a:cxn>
                  <a:cxn ang="0">
                    <a:pos x="430" y="279"/>
                  </a:cxn>
                  <a:cxn ang="0">
                    <a:pos x="430" y="280"/>
                  </a:cxn>
                  <a:cxn ang="0">
                    <a:pos x="431" y="285"/>
                  </a:cxn>
                  <a:cxn ang="0">
                    <a:pos x="432" y="285"/>
                  </a:cxn>
                  <a:cxn ang="0">
                    <a:pos x="432" y="286"/>
                  </a:cxn>
                  <a:cxn ang="0">
                    <a:pos x="432" y="288"/>
                  </a:cxn>
                  <a:cxn ang="0">
                    <a:pos x="432" y="291"/>
                  </a:cxn>
                </a:cxnLst>
                <a:rect l="0" t="0" r="r" b="b"/>
                <a:pathLst>
                  <a:path w="584" h="583">
                    <a:moveTo>
                      <a:pt x="292" y="0"/>
                    </a:moveTo>
                    <a:cubicBezTo>
                      <a:pt x="131" y="0"/>
                      <a:pt x="0" y="130"/>
                      <a:pt x="0" y="291"/>
                    </a:cubicBezTo>
                    <a:cubicBezTo>
                      <a:pt x="0" y="453"/>
                      <a:pt x="131" y="583"/>
                      <a:pt x="292" y="583"/>
                    </a:cubicBezTo>
                    <a:cubicBezTo>
                      <a:pt x="453" y="583"/>
                      <a:pt x="584" y="453"/>
                      <a:pt x="584" y="291"/>
                    </a:cubicBezTo>
                    <a:cubicBezTo>
                      <a:pt x="584" y="130"/>
                      <a:pt x="453" y="0"/>
                      <a:pt x="292" y="0"/>
                    </a:cubicBezTo>
                    <a:close/>
                    <a:moveTo>
                      <a:pt x="432" y="291"/>
                    </a:moveTo>
                    <a:cubicBezTo>
                      <a:pt x="432" y="292"/>
                      <a:pt x="432" y="292"/>
                      <a:pt x="432" y="292"/>
                    </a:cubicBezTo>
                    <a:cubicBezTo>
                      <a:pt x="432" y="295"/>
                      <a:pt x="432" y="295"/>
                      <a:pt x="432" y="295"/>
                    </a:cubicBezTo>
                    <a:cubicBezTo>
                      <a:pt x="432" y="297"/>
                      <a:pt x="432" y="297"/>
                      <a:pt x="432" y="297"/>
                    </a:cubicBezTo>
                    <a:cubicBezTo>
                      <a:pt x="432" y="298"/>
                      <a:pt x="432" y="298"/>
                      <a:pt x="432" y="298"/>
                    </a:cubicBezTo>
                    <a:cubicBezTo>
                      <a:pt x="431" y="298"/>
                      <a:pt x="431" y="298"/>
                      <a:pt x="431" y="298"/>
                    </a:cubicBezTo>
                    <a:cubicBezTo>
                      <a:pt x="430" y="302"/>
                      <a:pt x="430" y="302"/>
                      <a:pt x="430" y="302"/>
                    </a:cubicBezTo>
                    <a:cubicBezTo>
                      <a:pt x="430" y="304"/>
                      <a:pt x="430" y="304"/>
                      <a:pt x="430" y="304"/>
                    </a:cubicBezTo>
                    <a:cubicBezTo>
                      <a:pt x="430" y="304"/>
                      <a:pt x="430" y="304"/>
                      <a:pt x="430" y="304"/>
                    </a:cubicBezTo>
                    <a:cubicBezTo>
                      <a:pt x="430" y="305"/>
                      <a:pt x="430" y="305"/>
                      <a:pt x="430" y="305"/>
                    </a:cubicBezTo>
                    <a:cubicBezTo>
                      <a:pt x="428" y="309"/>
                      <a:pt x="425" y="312"/>
                      <a:pt x="422" y="315"/>
                    </a:cubicBezTo>
                    <a:cubicBezTo>
                      <a:pt x="272" y="462"/>
                      <a:pt x="272" y="462"/>
                      <a:pt x="272" y="462"/>
                    </a:cubicBezTo>
                    <a:cubicBezTo>
                      <a:pt x="259" y="474"/>
                      <a:pt x="237" y="474"/>
                      <a:pt x="224" y="461"/>
                    </a:cubicBezTo>
                    <a:cubicBezTo>
                      <a:pt x="212" y="448"/>
                      <a:pt x="212" y="426"/>
                      <a:pt x="225" y="413"/>
                    </a:cubicBezTo>
                    <a:cubicBezTo>
                      <a:pt x="351" y="291"/>
                      <a:pt x="351" y="291"/>
                      <a:pt x="351" y="291"/>
                    </a:cubicBezTo>
                    <a:cubicBezTo>
                      <a:pt x="225" y="169"/>
                      <a:pt x="225" y="169"/>
                      <a:pt x="225" y="169"/>
                    </a:cubicBezTo>
                    <a:cubicBezTo>
                      <a:pt x="212" y="156"/>
                      <a:pt x="212" y="135"/>
                      <a:pt x="224" y="122"/>
                    </a:cubicBezTo>
                    <a:cubicBezTo>
                      <a:pt x="231" y="115"/>
                      <a:pt x="240" y="112"/>
                      <a:pt x="248" y="112"/>
                    </a:cubicBezTo>
                    <a:cubicBezTo>
                      <a:pt x="257" y="112"/>
                      <a:pt x="265" y="115"/>
                      <a:pt x="272" y="121"/>
                    </a:cubicBezTo>
                    <a:cubicBezTo>
                      <a:pt x="422" y="267"/>
                      <a:pt x="422" y="267"/>
                      <a:pt x="422" y="267"/>
                    </a:cubicBezTo>
                    <a:cubicBezTo>
                      <a:pt x="424" y="269"/>
                      <a:pt x="425" y="271"/>
                      <a:pt x="426" y="273"/>
                    </a:cubicBezTo>
                    <a:cubicBezTo>
                      <a:pt x="427" y="273"/>
                      <a:pt x="427" y="273"/>
                      <a:pt x="427" y="273"/>
                    </a:cubicBezTo>
                    <a:cubicBezTo>
                      <a:pt x="430" y="278"/>
                      <a:pt x="430" y="278"/>
                      <a:pt x="430" y="278"/>
                    </a:cubicBezTo>
                    <a:cubicBezTo>
                      <a:pt x="430" y="279"/>
                      <a:pt x="430" y="279"/>
                      <a:pt x="430" y="279"/>
                    </a:cubicBezTo>
                    <a:cubicBezTo>
                      <a:pt x="430" y="279"/>
                      <a:pt x="430" y="279"/>
                      <a:pt x="430" y="279"/>
                    </a:cubicBezTo>
                    <a:cubicBezTo>
                      <a:pt x="430" y="280"/>
                      <a:pt x="430" y="280"/>
                      <a:pt x="430" y="280"/>
                    </a:cubicBezTo>
                    <a:cubicBezTo>
                      <a:pt x="431" y="285"/>
                      <a:pt x="431" y="285"/>
                      <a:pt x="431" y="285"/>
                    </a:cubicBezTo>
                    <a:cubicBezTo>
                      <a:pt x="432" y="285"/>
                      <a:pt x="432" y="285"/>
                      <a:pt x="432" y="285"/>
                    </a:cubicBezTo>
                    <a:cubicBezTo>
                      <a:pt x="432" y="286"/>
                      <a:pt x="432" y="286"/>
                      <a:pt x="432" y="286"/>
                    </a:cubicBezTo>
                    <a:cubicBezTo>
                      <a:pt x="432" y="288"/>
                      <a:pt x="432" y="288"/>
                      <a:pt x="432" y="288"/>
                    </a:cubicBezTo>
                    <a:cubicBezTo>
                      <a:pt x="432" y="291"/>
                      <a:pt x="432" y="291"/>
                      <a:pt x="432" y="29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45" name="Group 44"/>
            <p:cNvGrpSpPr/>
            <p:nvPr/>
          </p:nvGrpSpPr>
          <p:grpSpPr>
            <a:xfrm>
              <a:off x="6679540" y="3179892"/>
              <a:ext cx="246888" cy="246888"/>
              <a:chOff x="6327924" y="1689006"/>
              <a:chExt cx="246888" cy="246888"/>
            </a:xfrm>
          </p:grpSpPr>
          <p:sp>
            <p:nvSpPr>
              <p:cNvPr id="46" name="Oval 45"/>
              <p:cNvSpPr>
                <a:spLocks noChangeAspect="1"/>
              </p:cNvSpPr>
              <p:nvPr/>
            </p:nvSpPr>
            <p:spPr>
              <a:xfrm>
                <a:off x="6327924" y="1689006"/>
                <a:ext cx="246888" cy="246888"/>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47" name="Freeform 6"/>
              <p:cNvSpPr>
                <a:spLocks noEditPoints="1"/>
              </p:cNvSpPr>
              <p:nvPr/>
            </p:nvSpPr>
            <p:spPr bwMode="auto">
              <a:xfrm>
                <a:off x="6332496" y="1693578"/>
                <a:ext cx="237744" cy="237744"/>
              </a:xfrm>
              <a:custGeom>
                <a:avLst/>
                <a:gdLst/>
                <a:ahLst/>
                <a:cxnLst>
                  <a:cxn ang="0">
                    <a:pos x="292" y="0"/>
                  </a:cxn>
                  <a:cxn ang="0">
                    <a:pos x="0" y="291"/>
                  </a:cxn>
                  <a:cxn ang="0">
                    <a:pos x="292" y="583"/>
                  </a:cxn>
                  <a:cxn ang="0">
                    <a:pos x="584" y="291"/>
                  </a:cxn>
                  <a:cxn ang="0">
                    <a:pos x="292" y="0"/>
                  </a:cxn>
                  <a:cxn ang="0">
                    <a:pos x="432" y="291"/>
                  </a:cxn>
                  <a:cxn ang="0">
                    <a:pos x="432" y="292"/>
                  </a:cxn>
                  <a:cxn ang="0">
                    <a:pos x="432" y="295"/>
                  </a:cxn>
                  <a:cxn ang="0">
                    <a:pos x="432" y="297"/>
                  </a:cxn>
                  <a:cxn ang="0">
                    <a:pos x="432" y="298"/>
                  </a:cxn>
                  <a:cxn ang="0">
                    <a:pos x="431" y="298"/>
                  </a:cxn>
                  <a:cxn ang="0">
                    <a:pos x="430" y="302"/>
                  </a:cxn>
                  <a:cxn ang="0">
                    <a:pos x="430" y="304"/>
                  </a:cxn>
                  <a:cxn ang="0">
                    <a:pos x="430" y="304"/>
                  </a:cxn>
                  <a:cxn ang="0">
                    <a:pos x="430" y="305"/>
                  </a:cxn>
                  <a:cxn ang="0">
                    <a:pos x="422" y="315"/>
                  </a:cxn>
                  <a:cxn ang="0">
                    <a:pos x="272" y="462"/>
                  </a:cxn>
                  <a:cxn ang="0">
                    <a:pos x="224" y="461"/>
                  </a:cxn>
                  <a:cxn ang="0">
                    <a:pos x="225" y="413"/>
                  </a:cxn>
                  <a:cxn ang="0">
                    <a:pos x="351" y="291"/>
                  </a:cxn>
                  <a:cxn ang="0">
                    <a:pos x="225" y="169"/>
                  </a:cxn>
                  <a:cxn ang="0">
                    <a:pos x="224" y="122"/>
                  </a:cxn>
                  <a:cxn ang="0">
                    <a:pos x="248" y="112"/>
                  </a:cxn>
                  <a:cxn ang="0">
                    <a:pos x="272" y="121"/>
                  </a:cxn>
                  <a:cxn ang="0">
                    <a:pos x="422" y="267"/>
                  </a:cxn>
                  <a:cxn ang="0">
                    <a:pos x="426" y="273"/>
                  </a:cxn>
                  <a:cxn ang="0">
                    <a:pos x="427" y="273"/>
                  </a:cxn>
                  <a:cxn ang="0">
                    <a:pos x="430" y="278"/>
                  </a:cxn>
                  <a:cxn ang="0">
                    <a:pos x="430" y="279"/>
                  </a:cxn>
                  <a:cxn ang="0">
                    <a:pos x="430" y="279"/>
                  </a:cxn>
                  <a:cxn ang="0">
                    <a:pos x="430" y="280"/>
                  </a:cxn>
                  <a:cxn ang="0">
                    <a:pos x="431" y="285"/>
                  </a:cxn>
                  <a:cxn ang="0">
                    <a:pos x="432" y="285"/>
                  </a:cxn>
                  <a:cxn ang="0">
                    <a:pos x="432" y="286"/>
                  </a:cxn>
                  <a:cxn ang="0">
                    <a:pos x="432" y="288"/>
                  </a:cxn>
                  <a:cxn ang="0">
                    <a:pos x="432" y="291"/>
                  </a:cxn>
                </a:cxnLst>
                <a:rect l="0" t="0" r="r" b="b"/>
                <a:pathLst>
                  <a:path w="584" h="583">
                    <a:moveTo>
                      <a:pt x="292" y="0"/>
                    </a:moveTo>
                    <a:cubicBezTo>
                      <a:pt x="131" y="0"/>
                      <a:pt x="0" y="130"/>
                      <a:pt x="0" y="291"/>
                    </a:cubicBezTo>
                    <a:cubicBezTo>
                      <a:pt x="0" y="453"/>
                      <a:pt x="131" y="583"/>
                      <a:pt x="292" y="583"/>
                    </a:cubicBezTo>
                    <a:cubicBezTo>
                      <a:pt x="453" y="583"/>
                      <a:pt x="584" y="453"/>
                      <a:pt x="584" y="291"/>
                    </a:cubicBezTo>
                    <a:cubicBezTo>
                      <a:pt x="584" y="130"/>
                      <a:pt x="453" y="0"/>
                      <a:pt x="292" y="0"/>
                    </a:cubicBezTo>
                    <a:close/>
                    <a:moveTo>
                      <a:pt x="432" y="291"/>
                    </a:moveTo>
                    <a:cubicBezTo>
                      <a:pt x="432" y="292"/>
                      <a:pt x="432" y="292"/>
                      <a:pt x="432" y="292"/>
                    </a:cubicBezTo>
                    <a:cubicBezTo>
                      <a:pt x="432" y="295"/>
                      <a:pt x="432" y="295"/>
                      <a:pt x="432" y="295"/>
                    </a:cubicBezTo>
                    <a:cubicBezTo>
                      <a:pt x="432" y="297"/>
                      <a:pt x="432" y="297"/>
                      <a:pt x="432" y="297"/>
                    </a:cubicBezTo>
                    <a:cubicBezTo>
                      <a:pt x="432" y="298"/>
                      <a:pt x="432" y="298"/>
                      <a:pt x="432" y="298"/>
                    </a:cubicBezTo>
                    <a:cubicBezTo>
                      <a:pt x="431" y="298"/>
                      <a:pt x="431" y="298"/>
                      <a:pt x="431" y="298"/>
                    </a:cubicBezTo>
                    <a:cubicBezTo>
                      <a:pt x="430" y="302"/>
                      <a:pt x="430" y="302"/>
                      <a:pt x="430" y="302"/>
                    </a:cubicBezTo>
                    <a:cubicBezTo>
                      <a:pt x="430" y="304"/>
                      <a:pt x="430" y="304"/>
                      <a:pt x="430" y="304"/>
                    </a:cubicBezTo>
                    <a:cubicBezTo>
                      <a:pt x="430" y="304"/>
                      <a:pt x="430" y="304"/>
                      <a:pt x="430" y="304"/>
                    </a:cubicBezTo>
                    <a:cubicBezTo>
                      <a:pt x="430" y="305"/>
                      <a:pt x="430" y="305"/>
                      <a:pt x="430" y="305"/>
                    </a:cubicBezTo>
                    <a:cubicBezTo>
                      <a:pt x="428" y="309"/>
                      <a:pt x="425" y="312"/>
                      <a:pt x="422" y="315"/>
                    </a:cubicBezTo>
                    <a:cubicBezTo>
                      <a:pt x="272" y="462"/>
                      <a:pt x="272" y="462"/>
                      <a:pt x="272" y="462"/>
                    </a:cubicBezTo>
                    <a:cubicBezTo>
                      <a:pt x="259" y="474"/>
                      <a:pt x="237" y="474"/>
                      <a:pt x="224" y="461"/>
                    </a:cubicBezTo>
                    <a:cubicBezTo>
                      <a:pt x="212" y="448"/>
                      <a:pt x="212" y="426"/>
                      <a:pt x="225" y="413"/>
                    </a:cubicBezTo>
                    <a:cubicBezTo>
                      <a:pt x="351" y="291"/>
                      <a:pt x="351" y="291"/>
                      <a:pt x="351" y="291"/>
                    </a:cubicBezTo>
                    <a:cubicBezTo>
                      <a:pt x="225" y="169"/>
                      <a:pt x="225" y="169"/>
                      <a:pt x="225" y="169"/>
                    </a:cubicBezTo>
                    <a:cubicBezTo>
                      <a:pt x="212" y="156"/>
                      <a:pt x="212" y="135"/>
                      <a:pt x="224" y="122"/>
                    </a:cubicBezTo>
                    <a:cubicBezTo>
                      <a:pt x="231" y="115"/>
                      <a:pt x="240" y="112"/>
                      <a:pt x="248" y="112"/>
                    </a:cubicBezTo>
                    <a:cubicBezTo>
                      <a:pt x="257" y="112"/>
                      <a:pt x="265" y="115"/>
                      <a:pt x="272" y="121"/>
                    </a:cubicBezTo>
                    <a:cubicBezTo>
                      <a:pt x="422" y="267"/>
                      <a:pt x="422" y="267"/>
                      <a:pt x="422" y="267"/>
                    </a:cubicBezTo>
                    <a:cubicBezTo>
                      <a:pt x="424" y="269"/>
                      <a:pt x="425" y="271"/>
                      <a:pt x="426" y="273"/>
                    </a:cubicBezTo>
                    <a:cubicBezTo>
                      <a:pt x="427" y="273"/>
                      <a:pt x="427" y="273"/>
                      <a:pt x="427" y="273"/>
                    </a:cubicBezTo>
                    <a:cubicBezTo>
                      <a:pt x="430" y="278"/>
                      <a:pt x="430" y="278"/>
                      <a:pt x="430" y="278"/>
                    </a:cubicBezTo>
                    <a:cubicBezTo>
                      <a:pt x="430" y="279"/>
                      <a:pt x="430" y="279"/>
                      <a:pt x="430" y="279"/>
                    </a:cubicBezTo>
                    <a:cubicBezTo>
                      <a:pt x="430" y="279"/>
                      <a:pt x="430" y="279"/>
                      <a:pt x="430" y="279"/>
                    </a:cubicBezTo>
                    <a:cubicBezTo>
                      <a:pt x="430" y="280"/>
                      <a:pt x="430" y="280"/>
                      <a:pt x="430" y="280"/>
                    </a:cubicBezTo>
                    <a:cubicBezTo>
                      <a:pt x="431" y="285"/>
                      <a:pt x="431" y="285"/>
                      <a:pt x="431" y="285"/>
                    </a:cubicBezTo>
                    <a:cubicBezTo>
                      <a:pt x="432" y="285"/>
                      <a:pt x="432" y="285"/>
                      <a:pt x="432" y="285"/>
                    </a:cubicBezTo>
                    <a:cubicBezTo>
                      <a:pt x="432" y="286"/>
                      <a:pt x="432" y="286"/>
                      <a:pt x="432" y="286"/>
                    </a:cubicBezTo>
                    <a:cubicBezTo>
                      <a:pt x="432" y="288"/>
                      <a:pt x="432" y="288"/>
                      <a:pt x="432" y="288"/>
                    </a:cubicBezTo>
                    <a:cubicBezTo>
                      <a:pt x="432" y="291"/>
                      <a:pt x="432" y="291"/>
                      <a:pt x="432" y="29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48" name="Group 47"/>
            <p:cNvGrpSpPr/>
            <p:nvPr/>
          </p:nvGrpSpPr>
          <p:grpSpPr>
            <a:xfrm>
              <a:off x="6679540" y="3571159"/>
              <a:ext cx="246888" cy="246888"/>
              <a:chOff x="6327924" y="1689006"/>
              <a:chExt cx="246888" cy="246888"/>
            </a:xfrm>
          </p:grpSpPr>
          <p:sp>
            <p:nvSpPr>
              <p:cNvPr id="49" name="Oval 48"/>
              <p:cNvSpPr>
                <a:spLocks noChangeAspect="1"/>
              </p:cNvSpPr>
              <p:nvPr/>
            </p:nvSpPr>
            <p:spPr>
              <a:xfrm>
                <a:off x="6327924" y="1689006"/>
                <a:ext cx="246888" cy="246888"/>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50" name="Freeform 6"/>
              <p:cNvSpPr>
                <a:spLocks noEditPoints="1"/>
              </p:cNvSpPr>
              <p:nvPr/>
            </p:nvSpPr>
            <p:spPr bwMode="auto">
              <a:xfrm>
                <a:off x="6332496" y="1693578"/>
                <a:ext cx="237744" cy="237744"/>
              </a:xfrm>
              <a:custGeom>
                <a:avLst/>
                <a:gdLst/>
                <a:ahLst/>
                <a:cxnLst>
                  <a:cxn ang="0">
                    <a:pos x="292" y="0"/>
                  </a:cxn>
                  <a:cxn ang="0">
                    <a:pos x="0" y="291"/>
                  </a:cxn>
                  <a:cxn ang="0">
                    <a:pos x="292" y="583"/>
                  </a:cxn>
                  <a:cxn ang="0">
                    <a:pos x="584" y="291"/>
                  </a:cxn>
                  <a:cxn ang="0">
                    <a:pos x="292" y="0"/>
                  </a:cxn>
                  <a:cxn ang="0">
                    <a:pos x="432" y="291"/>
                  </a:cxn>
                  <a:cxn ang="0">
                    <a:pos x="432" y="292"/>
                  </a:cxn>
                  <a:cxn ang="0">
                    <a:pos x="432" y="295"/>
                  </a:cxn>
                  <a:cxn ang="0">
                    <a:pos x="432" y="297"/>
                  </a:cxn>
                  <a:cxn ang="0">
                    <a:pos x="432" y="298"/>
                  </a:cxn>
                  <a:cxn ang="0">
                    <a:pos x="431" y="298"/>
                  </a:cxn>
                  <a:cxn ang="0">
                    <a:pos x="430" y="302"/>
                  </a:cxn>
                  <a:cxn ang="0">
                    <a:pos x="430" y="304"/>
                  </a:cxn>
                  <a:cxn ang="0">
                    <a:pos x="430" y="304"/>
                  </a:cxn>
                  <a:cxn ang="0">
                    <a:pos x="430" y="305"/>
                  </a:cxn>
                  <a:cxn ang="0">
                    <a:pos x="422" y="315"/>
                  </a:cxn>
                  <a:cxn ang="0">
                    <a:pos x="272" y="462"/>
                  </a:cxn>
                  <a:cxn ang="0">
                    <a:pos x="224" y="461"/>
                  </a:cxn>
                  <a:cxn ang="0">
                    <a:pos x="225" y="413"/>
                  </a:cxn>
                  <a:cxn ang="0">
                    <a:pos x="351" y="291"/>
                  </a:cxn>
                  <a:cxn ang="0">
                    <a:pos x="225" y="169"/>
                  </a:cxn>
                  <a:cxn ang="0">
                    <a:pos x="224" y="122"/>
                  </a:cxn>
                  <a:cxn ang="0">
                    <a:pos x="248" y="112"/>
                  </a:cxn>
                  <a:cxn ang="0">
                    <a:pos x="272" y="121"/>
                  </a:cxn>
                  <a:cxn ang="0">
                    <a:pos x="422" y="267"/>
                  </a:cxn>
                  <a:cxn ang="0">
                    <a:pos x="426" y="273"/>
                  </a:cxn>
                  <a:cxn ang="0">
                    <a:pos x="427" y="273"/>
                  </a:cxn>
                  <a:cxn ang="0">
                    <a:pos x="430" y="278"/>
                  </a:cxn>
                  <a:cxn ang="0">
                    <a:pos x="430" y="279"/>
                  </a:cxn>
                  <a:cxn ang="0">
                    <a:pos x="430" y="279"/>
                  </a:cxn>
                  <a:cxn ang="0">
                    <a:pos x="430" y="280"/>
                  </a:cxn>
                  <a:cxn ang="0">
                    <a:pos x="431" y="285"/>
                  </a:cxn>
                  <a:cxn ang="0">
                    <a:pos x="432" y="285"/>
                  </a:cxn>
                  <a:cxn ang="0">
                    <a:pos x="432" y="286"/>
                  </a:cxn>
                  <a:cxn ang="0">
                    <a:pos x="432" y="288"/>
                  </a:cxn>
                  <a:cxn ang="0">
                    <a:pos x="432" y="291"/>
                  </a:cxn>
                </a:cxnLst>
                <a:rect l="0" t="0" r="r" b="b"/>
                <a:pathLst>
                  <a:path w="584" h="583">
                    <a:moveTo>
                      <a:pt x="292" y="0"/>
                    </a:moveTo>
                    <a:cubicBezTo>
                      <a:pt x="131" y="0"/>
                      <a:pt x="0" y="130"/>
                      <a:pt x="0" y="291"/>
                    </a:cubicBezTo>
                    <a:cubicBezTo>
                      <a:pt x="0" y="453"/>
                      <a:pt x="131" y="583"/>
                      <a:pt x="292" y="583"/>
                    </a:cubicBezTo>
                    <a:cubicBezTo>
                      <a:pt x="453" y="583"/>
                      <a:pt x="584" y="453"/>
                      <a:pt x="584" y="291"/>
                    </a:cubicBezTo>
                    <a:cubicBezTo>
                      <a:pt x="584" y="130"/>
                      <a:pt x="453" y="0"/>
                      <a:pt x="292" y="0"/>
                    </a:cubicBezTo>
                    <a:close/>
                    <a:moveTo>
                      <a:pt x="432" y="291"/>
                    </a:moveTo>
                    <a:cubicBezTo>
                      <a:pt x="432" y="292"/>
                      <a:pt x="432" y="292"/>
                      <a:pt x="432" y="292"/>
                    </a:cubicBezTo>
                    <a:cubicBezTo>
                      <a:pt x="432" y="295"/>
                      <a:pt x="432" y="295"/>
                      <a:pt x="432" y="295"/>
                    </a:cubicBezTo>
                    <a:cubicBezTo>
                      <a:pt x="432" y="297"/>
                      <a:pt x="432" y="297"/>
                      <a:pt x="432" y="297"/>
                    </a:cubicBezTo>
                    <a:cubicBezTo>
                      <a:pt x="432" y="298"/>
                      <a:pt x="432" y="298"/>
                      <a:pt x="432" y="298"/>
                    </a:cubicBezTo>
                    <a:cubicBezTo>
                      <a:pt x="431" y="298"/>
                      <a:pt x="431" y="298"/>
                      <a:pt x="431" y="298"/>
                    </a:cubicBezTo>
                    <a:cubicBezTo>
                      <a:pt x="430" y="302"/>
                      <a:pt x="430" y="302"/>
                      <a:pt x="430" y="302"/>
                    </a:cubicBezTo>
                    <a:cubicBezTo>
                      <a:pt x="430" y="304"/>
                      <a:pt x="430" y="304"/>
                      <a:pt x="430" y="304"/>
                    </a:cubicBezTo>
                    <a:cubicBezTo>
                      <a:pt x="430" y="304"/>
                      <a:pt x="430" y="304"/>
                      <a:pt x="430" y="304"/>
                    </a:cubicBezTo>
                    <a:cubicBezTo>
                      <a:pt x="430" y="305"/>
                      <a:pt x="430" y="305"/>
                      <a:pt x="430" y="305"/>
                    </a:cubicBezTo>
                    <a:cubicBezTo>
                      <a:pt x="428" y="309"/>
                      <a:pt x="425" y="312"/>
                      <a:pt x="422" y="315"/>
                    </a:cubicBezTo>
                    <a:cubicBezTo>
                      <a:pt x="272" y="462"/>
                      <a:pt x="272" y="462"/>
                      <a:pt x="272" y="462"/>
                    </a:cubicBezTo>
                    <a:cubicBezTo>
                      <a:pt x="259" y="474"/>
                      <a:pt x="237" y="474"/>
                      <a:pt x="224" y="461"/>
                    </a:cubicBezTo>
                    <a:cubicBezTo>
                      <a:pt x="212" y="448"/>
                      <a:pt x="212" y="426"/>
                      <a:pt x="225" y="413"/>
                    </a:cubicBezTo>
                    <a:cubicBezTo>
                      <a:pt x="351" y="291"/>
                      <a:pt x="351" y="291"/>
                      <a:pt x="351" y="291"/>
                    </a:cubicBezTo>
                    <a:cubicBezTo>
                      <a:pt x="225" y="169"/>
                      <a:pt x="225" y="169"/>
                      <a:pt x="225" y="169"/>
                    </a:cubicBezTo>
                    <a:cubicBezTo>
                      <a:pt x="212" y="156"/>
                      <a:pt x="212" y="135"/>
                      <a:pt x="224" y="122"/>
                    </a:cubicBezTo>
                    <a:cubicBezTo>
                      <a:pt x="231" y="115"/>
                      <a:pt x="240" y="112"/>
                      <a:pt x="248" y="112"/>
                    </a:cubicBezTo>
                    <a:cubicBezTo>
                      <a:pt x="257" y="112"/>
                      <a:pt x="265" y="115"/>
                      <a:pt x="272" y="121"/>
                    </a:cubicBezTo>
                    <a:cubicBezTo>
                      <a:pt x="422" y="267"/>
                      <a:pt x="422" y="267"/>
                      <a:pt x="422" y="267"/>
                    </a:cubicBezTo>
                    <a:cubicBezTo>
                      <a:pt x="424" y="269"/>
                      <a:pt x="425" y="271"/>
                      <a:pt x="426" y="273"/>
                    </a:cubicBezTo>
                    <a:cubicBezTo>
                      <a:pt x="427" y="273"/>
                      <a:pt x="427" y="273"/>
                      <a:pt x="427" y="273"/>
                    </a:cubicBezTo>
                    <a:cubicBezTo>
                      <a:pt x="430" y="278"/>
                      <a:pt x="430" y="278"/>
                      <a:pt x="430" y="278"/>
                    </a:cubicBezTo>
                    <a:cubicBezTo>
                      <a:pt x="430" y="279"/>
                      <a:pt x="430" y="279"/>
                      <a:pt x="430" y="279"/>
                    </a:cubicBezTo>
                    <a:cubicBezTo>
                      <a:pt x="430" y="279"/>
                      <a:pt x="430" y="279"/>
                      <a:pt x="430" y="279"/>
                    </a:cubicBezTo>
                    <a:cubicBezTo>
                      <a:pt x="430" y="280"/>
                      <a:pt x="430" y="280"/>
                      <a:pt x="430" y="280"/>
                    </a:cubicBezTo>
                    <a:cubicBezTo>
                      <a:pt x="431" y="285"/>
                      <a:pt x="431" y="285"/>
                      <a:pt x="431" y="285"/>
                    </a:cubicBezTo>
                    <a:cubicBezTo>
                      <a:pt x="432" y="285"/>
                      <a:pt x="432" y="285"/>
                      <a:pt x="432" y="285"/>
                    </a:cubicBezTo>
                    <a:cubicBezTo>
                      <a:pt x="432" y="286"/>
                      <a:pt x="432" y="286"/>
                      <a:pt x="432" y="286"/>
                    </a:cubicBezTo>
                    <a:cubicBezTo>
                      <a:pt x="432" y="288"/>
                      <a:pt x="432" y="288"/>
                      <a:pt x="432" y="288"/>
                    </a:cubicBezTo>
                    <a:cubicBezTo>
                      <a:pt x="432" y="291"/>
                      <a:pt x="432" y="291"/>
                      <a:pt x="432" y="29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nvGrpSpPr>
            <p:cNvPr id="51" name="Group 50"/>
            <p:cNvGrpSpPr/>
            <p:nvPr/>
          </p:nvGrpSpPr>
          <p:grpSpPr>
            <a:xfrm>
              <a:off x="6679540" y="3962428"/>
              <a:ext cx="246888" cy="246888"/>
              <a:chOff x="6327924" y="1689006"/>
              <a:chExt cx="246888" cy="246888"/>
            </a:xfrm>
          </p:grpSpPr>
          <p:sp>
            <p:nvSpPr>
              <p:cNvPr id="52" name="Oval 51"/>
              <p:cNvSpPr>
                <a:spLocks noChangeAspect="1"/>
              </p:cNvSpPr>
              <p:nvPr/>
            </p:nvSpPr>
            <p:spPr>
              <a:xfrm>
                <a:off x="6327924" y="1689006"/>
                <a:ext cx="246888" cy="246888"/>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53" name="Freeform 6"/>
              <p:cNvSpPr>
                <a:spLocks noEditPoints="1"/>
              </p:cNvSpPr>
              <p:nvPr/>
            </p:nvSpPr>
            <p:spPr bwMode="auto">
              <a:xfrm>
                <a:off x="6332496" y="1693578"/>
                <a:ext cx="237744" cy="237744"/>
              </a:xfrm>
              <a:custGeom>
                <a:avLst/>
                <a:gdLst/>
                <a:ahLst/>
                <a:cxnLst>
                  <a:cxn ang="0">
                    <a:pos x="292" y="0"/>
                  </a:cxn>
                  <a:cxn ang="0">
                    <a:pos x="0" y="291"/>
                  </a:cxn>
                  <a:cxn ang="0">
                    <a:pos x="292" y="583"/>
                  </a:cxn>
                  <a:cxn ang="0">
                    <a:pos x="584" y="291"/>
                  </a:cxn>
                  <a:cxn ang="0">
                    <a:pos x="292" y="0"/>
                  </a:cxn>
                  <a:cxn ang="0">
                    <a:pos x="432" y="291"/>
                  </a:cxn>
                  <a:cxn ang="0">
                    <a:pos x="432" y="292"/>
                  </a:cxn>
                  <a:cxn ang="0">
                    <a:pos x="432" y="295"/>
                  </a:cxn>
                  <a:cxn ang="0">
                    <a:pos x="432" y="297"/>
                  </a:cxn>
                  <a:cxn ang="0">
                    <a:pos x="432" y="298"/>
                  </a:cxn>
                  <a:cxn ang="0">
                    <a:pos x="431" y="298"/>
                  </a:cxn>
                  <a:cxn ang="0">
                    <a:pos x="430" y="302"/>
                  </a:cxn>
                  <a:cxn ang="0">
                    <a:pos x="430" y="304"/>
                  </a:cxn>
                  <a:cxn ang="0">
                    <a:pos x="430" y="304"/>
                  </a:cxn>
                  <a:cxn ang="0">
                    <a:pos x="430" y="305"/>
                  </a:cxn>
                  <a:cxn ang="0">
                    <a:pos x="422" y="315"/>
                  </a:cxn>
                  <a:cxn ang="0">
                    <a:pos x="272" y="462"/>
                  </a:cxn>
                  <a:cxn ang="0">
                    <a:pos x="224" y="461"/>
                  </a:cxn>
                  <a:cxn ang="0">
                    <a:pos x="225" y="413"/>
                  </a:cxn>
                  <a:cxn ang="0">
                    <a:pos x="351" y="291"/>
                  </a:cxn>
                  <a:cxn ang="0">
                    <a:pos x="225" y="169"/>
                  </a:cxn>
                  <a:cxn ang="0">
                    <a:pos x="224" y="122"/>
                  </a:cxn>
                  <a:cxn ang="0">
                    <a:pos x="248" y="112"/>
                  </a:cxn>
                  <a:cxn ang="0">
                    <a:pos x="272" y="121"/>
                  </a:cxn>
                  <a:cxn ang="0">
                    <a:pos x="422" y="267"/>
                  </a:cxn>
                  <a:cxn ang="0">
                    <a:pos x="426" y="273"/>
                  </a:cxn>
                  <a:cxn ang="0">
                    <a:pos x="427" y="273"/>
                  </a:cxn>
                  <a:cxn ang="0">
                    <a:pos x="430" y="278"/>
                  </a:cxn>
                  <a:cxn ang="0">
                    <a:pos x="430" y="279"/>
                  </a:cxn>
                  <a:cxn ang="0">
                    <a:pos x="430" y="279"/>
                  </a:cxn>
                  <a:cxn ang="0">
                    <a:pos x="430" y="280"/>
                  </a:cxn>
                  <a:cxn ang="0">
                    <a:pos x="431" y="285"/>
                  </a:cxn>
                  <a:cxn ang="0">
                    <a:pos x="432" y="285"/>
                  </a:cxn>
                  <a:cxn ang="0">
                    <a:pos x="432" y="286"/>
                  </a:cxn>
                  <a:cxn ang="0">
                    <a:pos x="432" y="288"/>
                  </a:cxn>
                  <a:cxn ang="0">
                    <a:pos x="432" y="291"/>
                  </a:cxn>
                </a:cxnLst>
                <a:rect l="0" t="0" r="r" b="b"/>
                <a:pathLst>
                  <a:path w="584" h="583">
                    <a:moveTo>
                      <a:pt x="292" y="0"/>
                    </a:moveTo>
                    <a:cubicBezTo>
                      <a:pt x="131" y="0"/>
                      <a:pt x="0" y="130"/>
                      <a:pt x="0" y="291"/>
                    </a:cubicBezTo>
                    <a:cubicBezTo>
                      <a:pt x="0" y="453"/>
                      <a:pt x="131" y="583"/>
                      <a:pt x="292" y="583"/>
                    </a:cubicBezTo>
                    <a:cubicBezTo>
                      <a:pt x="453" y="583"/>
                      <a:pt x="584" y="453"/>
                      <a:pt x="584" y="291"/>
                    </a:cubicBezTo>
                    <a:cubicBezTo>
                      <a:pt x="584" y="130"/>
                      <a:pt x="453" y="0"/>
                      <a:pt x="292" y="0"/>
                    </a:cubicBezTo>
                    <a:close/>
                    <a:moveTo>
                      <a:pt x="432" y="291"/>
                    </a:moveTo>
                    <a:cubicBezTo>
                      <a:pt x="432" y="292"/>
                      <a:pt x="432" y="292"/>
                      <a:pt x="432" y="292"/>
                    </a:cubicBezTo>
                    <a:cubicBezTo>
                      <a:pt x="432" y="295"/>
                      <a:pt x="432" y="295"/>
                      <a:pt x="432" y="295"/>
                    </a:cubicBezTo>
                    <a:cubicBezTo>
                      <a:pt x="432" y="297"/>
                      <a:pt x="432" y="297"/>
                      <a:pt x="432" y="297"/>
                    </a:cubicBezTo>
                    <a:cubicBezTo>
                      <a:pt x="432" y="298"/>
                      <a:pt x="432" y="298"/>
                      <a:pt x="432" y="298"/>
                    </a:cubicBezTo>
                    <a:cubicBezTo>
                      <a:pt x="431" y="298"/>
                      <a:pt x="431" y="298"/>
                      <a:pt x="431" y="298"/>
                    </a:cubicBezTo>
                    <a:cubicBezTo>
                      <a:pt x="430" y="302"/>
                      <a:pt x="430" y="302"/>
                      <a:pt x="430" y="302"/>
                    </a:cubicBezTo>
                    <a:cubicBezTo>
                      <a:pt x="430" y="304"/>
                      <a:pt x="430" y="304"/>
                      <a:pt x="430" y="304"/>
                    </a:cubicBezTo>
                    <a:cubicBezTo>
                      <a:pt x="430" y="304"/>
                      <a:pt x="430" y="304"/>
                      <a:pt x="430" y="304"/>
                    </a:cubicBezTo>
                    <a:cubicBezTo>
                      <a:pt x="430" y="305"/>
                      <a:pt x="430" y="305"/>
                      <a:pt x="430" y="305"/>
                    </a:cubicBezTo>
                    <a:cubicBezTo>
                      <a:pt x="428" y="309"/>
                      <a:pt x="425" y="312"/>
                      <a:pt x="422" y="315"/>
                    </a:cubicBezTo>
                    <a:cubicBezTo>
                      <a:pt x="272" y="462"/>
                      <a:pt x="272" y="462"/>
                      <a:pt x="272" y="462"/>
                    </a:cubicBezTo>
                    <a:cubicBezTo>
                      <a:pt x="259" y="474"/>
                      <a:pt x="237" y="474"/>
                      <a:pt x="224" y="461"/>
                    </a:cubicBezTo>
                    <a:cubicBezTo>
                      <a:pt x="212" y="448"/>
                      <a:pt x="212" y="426"/>
                      <a:pt x="225" y="413"/>
                    </a:cubicBezTo>
                    <a:cubicBezTo>
                      <a:pt x="351" y="291"/>
                      <a:pt x="351" y="291"/>
                      <a:pt x="351" y="291"/>
                    </a:cubicBezTo>
                    <a:cubicBezTo>
                      <a:pt x="225" y="169"/>
                      <a:pt x="225" y="169"/>
                      <a:pt x="225" y="169"/>
                    </a:cubicBezTo>
                    <a:cubicBezTo>
                      <a:pt x="212" y="156"/>
                      <a:pt x="212" y="135"/>
                      <a:pt x="224" y="122"/>
                    </a:cubicBezTo>
                    <a:cubicBezTo>
                      <a:pt x="231" y="115"/>
                      <a:pt x="240" y="112"/>
                      <a:pt x="248" y="112"/>
                    </a:cubicBezTo>
                    <a:cubicBezTo>
                      <a:pt x="257" y="112"/>
                      <a:pt x="265" y="115"/>
                      <a:pt x="272" y="121"/>
                    </a:cubicBezTo>
                    <a:cubicBezTo>
                      <a:pt x="422" y="267"/>
                      <a:pt x="422" y="267"/>
                      <a:pt x="422" y="267"/>
                    </a:cubicBezTo>
                    <a:cubicBezTo>
                      <a:pt x="424" y="269"/>
                      <a:pt x="425" y="271"/>
                      <a:pt x="426" y="273"/>
                    </a:cubicBezTo>
                    <a:cubicBezTo>
                      <a:pt x="427" y="273"/>
                      <a:pt x="427" y="273"/>
                      <a:pt x="427" y="273"/>
                    </a:cubicBezTo>
                    <a:cubicBezTo>
                      <a:pt x="430" y="278"/>
                      <a:pt x="430" y="278"/>
                      <a:pt x="430" y="278"/>
                    </a:cubicBezTo>
                    <a:cubicBezTo>
                      <a:pt x="430" y="279"/>
                      <a:pt x="430" y="279"/>
                      <a:pt x="430" y="279"/>
                    </a:cubicBezTo>
                    <a:cubicBezTo>
                      <a:pt x="430" y="279"/>
                      <a:pt x="430" y="279"/>
                      <a:pt x="430" y="279"/>
                    </a:cubicBezTo>
                    <a:cubicBezTo>
                      <a:pt x="430" y="280"/>
                      <a:pt x="430" y="280"/>
                      <a:pt x="430" y="280"/>
                    </a:cubicBezTo>
                    <a:cubicBezTo>
                      <a:pt x="431" y="285"/>
                      <a:pt x="431" y="285"/>
                      <a:pt x="431" y="285"/>
                    </a:cubicBezTo>
                    <a:cubicBezTo>
                      <a:pt x="432" y="285"/>
                      <a:pt x="432" y="285"/>
                      <a:pt x="432" y="285"/>
                    </a:cubicBezTo>
                    <a:cubicBezTo>
                      <a:pt x="432" y="286"/>
                      <a:pt x="432" y="286"/>
                      <a:pt x="432" y="286"/>
                    </a:cubicBezTo>
                    <a:cubicBezTo>
                      <a:pt x="432" y="288"/>
                      <a:pt x="432" y="288"/>
                      <a:pt x="432" y="288"/>
                    </a:cubicBezTo>
                    <a:cubicBezTo>
                      <a:pt x="432" y="291"/>
                      <a:pt x="432" y="291"/>
                      <a:pt x="432" y="29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spTree>
    <p:extLst>
      <p:ext uri="{BB962C8B-B14F-4D97-AF65-F5344CB8AC3E}">
        <p14:creationId xmlns:p14="http://schemas.microsoft.com/office/powerpoint/2010/main" val="20811786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87" name="think-cell Slide" r:id="rId5" imgW="476" imgH="357" progId="TCLayout.ActiveDocument.1">
                  <p:embed/>
                </p:oleObj>
              </mc:Choice>
              <mc:Fallback>
                <p:oleObj name="think-cell Slide" r:id="rId5" imgW="476" imgH="357"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 9"/>
          <p:cNvSpPr/>
          <p:nvPr/>
        </p:nvSpPr>
        <p:spPr>
          <a:xfrm>
            <a:off x="4576762" y="1085850"/>
            <a:ext cx="4295776" cy="3630613"/>
          </a:xfrm>
          <a:prstGeom prst="rect">
            <a:avLst/>
          </a:prstGeom>
          <a:solidFill>
            <a:schemeClr val="bg2">
              <a:lumMod val="85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7" name="Rectangle 3"/>
          <p:cNvSpPr>
            <a:spLocks noChangeArrowheads="1"/>
          </p:cNvSpPr>
          <p:nvPr/>
        </p:nvSpPr>
        <p:spPr bwMode="auto">
          <a:xfrm>
            <a:off x="274638" y="1085850"/>
            <a:ext cx="4298950" cy="3628578"/>
          </a:xfrm>
          <a:prstGeom prst="rect">
            <a:avLst/>
          </a:prstGeom>
          <a:solidFill>
            <a:schemeClr val="accent1"/>
          </a:solidFill>
          <a:ln w="25400" cap="flat" cmpd="sng" algn="ctr">
            <a:noFill/>
            <a:prstDash val="solid"/>
          </a:ln>
          <a:extLst/>
        </p:spPr>
        <p:style>
          <a:lnRef idx="2">
            <a:schemeClr val="accent1">
              <a:shade val="50000"/>
            </a:schemeClr>
          </a:lnRef>
          <a:fillRef idx="1">
            <a:schemeClr val="accent1"/>
          </a:fillRef>
          <a:effectRef idx="0">
            <a:schemeClr val="accent1"/>
          </a:effectRef>
          <a:fontRef idx="minor">
            <a:schemeClr val="lt1"/>
          </a:fontRef>
        </p:style>
        <p:txBody>
          <a:bodyPr lIns="246888" rtlCol="0" anchor="ctr"/>
          <a:lstStyle/>
          <a:p>
            <a:pPr marL="169863" marR="0" lvl="1" indent="-169863" algn="l" defTabSz="457200" rtl="0" eaLnBrk="1" fontAlgn="base" latinLnBrk="0" hangingPunct="1">
              <a:lnSpc>
                <a:spcPct val="100000"/>
              </a:lnSpc>
              <a:spcBef>
                <a:spcPct val="0"/>
              </a:spcBef>
              <a:spcAft>
                <a:spcPts val="1200"/>
              </a:spcAft>
              <a:buClrTx/>
              <a:buSzPct val="100000"/>
              <a:buFont typeface="Arial" charset="0"/>
              <a:buChar char="•"/>
              <a:tabLst/>
              <a:defRPr/>
            </a:pPr>
            <a:r>
              <a:rPr kumimoji="0" lang="en-US" sz="1400" b="0" i="0" u="none" strike="noStrike" kern="1200" cap="none" spc="0" normalizeH="0" baseline="0" noProof="0">
                <a:ln>
                  <a:noFill/>
                </a:ln>
                <a:solidFill>
                  <a:srgbClr val="005073"/>
                </a:solidFill>
                <a:effectLst/>
                <a:uLnTx/>
                <a:uFillTx/>
                <a:latin typeface="CiscoSansTT ExtraLight"/>
                <a:ea typeface="+mn-ea"/>
                <a:cs typeface="+mn-cs"/>
              </a:rPr>
              <a:t>Correlate network traffic to a process</a:t>
            </a:r>
            <a:br>
              <a:rPr kumimoji="0" lang="en-US" sz="1400" b="0" i="0" u="none" strike="noStrike" kern="1200" cap="none" spc="0" normalizeH="0" baseline="0" noProof="0">
                <a:ln>
                  <a:noFill/>
                </a:ln>
                <a:solidFill>
                  <a:srgbClr val="005073"/>
                </a:solidFill>
                <a:effectLst/>
                <a:uLnTx/>
                <a:uFillTx/>
                <a:latin typeface="CiscoSansTT ExtraLight"/>
                <a:ea typeface="+mn-ea"/>
                <a:cs typeface="+mn-cs"/>
              </a:rPr>
            </a:br>
            <a:r>
              <a:rPr kumimoji="0" lang="en-US" sz="1400" b="0" i="0" u="none" strike="noStrike" kern="1200" cap="none" spc="0" normalizeH="0" baseline="0" noProof="0">
                <a:ln>
                  <a:noFill/>
                </a:ln>
                <a:solidFill>
                  <a:srgbClr val="005073"/>
                </a:solidFill>
                <a:effectLst/>
                <a:uLnTx/>
                <a:uFillTx/>
                <a:latin typeface="CiscoSansTT ExtraLight"/>
                <a:ea typeface="+mn-ea"/>
                <a:cs typeface="+mn-cs"/>
              </a:rPr>
              <a:t>on a server</a:t>
            </a:r>
          </a:p>
          <a:p>
            <a:pPr marL="169863" marR="0" lvl="1" indent="-169863" algn="l" defTabSz="457200" rtl="0" eaLnBrk="1" fontAlgn="base" latinLnBrk="0" hangingPunct="1">
              <a:lnSpc>
                <a:spcPct val="100000"/>
              </a:lnSpc>
              <a:spcBef>
                <a:spcPct val="0"/>
              </a:spcBef>
              <a:spcAft>
                <a:spcPts val="1200"/>
              </a:spcAft>
              <a:buClrTx/>
              <a:buSzPct val="100000"/>
              <a:buFont typeface="Arial" charset="0"/>
              <a:buChar char="•"/>
              <a:tabLst/>
              <a:defRPr/>
            </a:pPr>
            <a:r>
              <a:rPr kumimoji="0" lang="en-US" sz="1400" b="0" i="0" u="none" strike="noStrike" kern="1200" cap="none" spc="0" normalizeH="0" baseline="0" noProof="0">
                <a:ln>
                  <a:noFill/>
                </a:ln>
                <a:solidFill>
                  <a:srgbClr val="005073"/>
                </a:solidFill>
                <a:effectLst/>
                <a:uLnTx/>
                <a:uFillTx/>
                <a:latin typeface="CiscoSansTT ExtraLight"/>
                <a:ea typeface="+mn-ea"/>
                <a:cs typeface="+mn-cs"/>
              </a:rPr>
              <a:t>For each flow, track the process</a:t>
            </a:r>
            <a:br>
              <a:rPr kumimoji="0" lang="en-US" sz="1400" b="0" i="0" u="none" strike="noStrike" kern="1200" cap="none" spc="0" normalizeH="0" baseline="0" noProof="0">
                <a:ln>
                  <a:noFill/>
                </a:ln>
                <a:solidFill>
                  <a:srgbClr val="005073"/>
                </a:solidFill>
                <a:effectLst/>
                <a:uLnTx/>
                <a:uFillTx/>
                <a:latin typeface="CiscoSansTT ExtraLight"/>
                <a:ea typeface="+mn-ea"/>
                <a:cs typeface="+mn-cs"/>
              </a:rPr>
            </a:br>
            <a:r>
              <a:rPr kumimoji="0" lang="en-US" sz="1400" b="0" i="0" u="none" strike="noStrike" kern="1200" cap="none" spc="0" normalizeH="0" baseline="0" noProof="0">
                <a:ln>
                  <a:noFill/>
                </a:ln>
                <a:solidFill>
                  <a:srgbClr val="005073"/>
                </a:solidFill>
                <a:effectLst/>
                <a:uLnTx/>
                <a:uFillTx/>
                <a:latin typeface="CiscoSansTT ExtraLight"/>
                <a:ea typeface="+mn-ea"/>
                <a:cs typeface="+mn-cs"/>
              </a:rPr>
              <a:t>response times</a:t>
            </a:r>
          </a:p>
          <a:p>
            <a:pPr marL="169863" marR="0" lvl="1" indent="-169863" algn="l" defTabSz="457200" rtl="0" eaLnBrk="1" fontAlgn="base" latinLnBrk="0" hangingPunct="1">
              <a:lnSpc>
                <a:spcPct val="100000"/>
              </a:lnSpc>
              <a:spcBef>
                <a:spcPct val="0"/>
              </a:spcBef>
              <a:spcAft>
                <a:spcPts val="1200"/>
              </a:spcAft>
              <a:buClrTx/>
              <a:buSzPct val="100000"/>
              <a:buFont typeface="Arial" charset="0"/>
              <a:buChar char="•"/>
              <a:tabLst/>
              <a:defRPr/>
            </a:pPr>
            <a:r>
              <a:rPr kumimoji="0" lang="en-US" sz="1400" b="0" i="0" u="none" strike="noStrike" kern="1200" cap="none" spc="0" normalizeH="0" baseline="0" noProof="0">
                <a:ln>
                  <a:noFill/>
                </a:ln>
                <a:solidFill>
                  <a:srgbClr val="005073"/>
                </a:solidFill>
                <a:effectLst/>
                <a:uLnTx/>
                <a:uFillTx/>
                <a:latin typeface="CiscoSansTT ExtraLight"/>
                <a:ea typeface="+mn-ea"/>
                <a:cs typeface="+mn-cs"/>
              </a:rPr>
              <a:t>Drill down into flow details to get process information for forward and reverse direction (where available)</a:t>
            </a:r>
          </a:p>
          <a:p>
            <a:pPr marL="169863" marR="0" lvl="1" indent="-169863" algn="l" defTabSz="457200" rtl="0" eaLnBrk="1" fontAlgn="base" latinLnBrk="0" hangingPunct="1">
              <a:lnSpc>
                <a:spcPct val="100000"/>
              </a:lnSpc>
              <a:spcBef>
                <a:spcPct val="0"/>
              </a:spcBef>
              <a:spcAft>
                <a:spcPts val="1200"/>
              </a:spcAft>
              <a:buClrTx/>
              <a:buSzPct val="100000"/>
              <a:buFont typeface="Arial" charset="0"/>
              <a:buChar char="•"/>
              <a:tabLst/>
              <a:defRPr/>
            </a:pPr>
            <a:r>
              <a:rPr kumimoji="0" lang="en-US" sz="1400" b="0" i="0" u="none" strike="noStrike" kern="1200" cap="none" spc="0" normalizeH="0" baseline="0" noProof="0">
                <a:ln>
                  <a:noFill/>
                </a:ln>
                <a:solidFill>
                  <a:srgbClr val="005073"/>
                </a:solidFill>
                <a:effectLst/>
                <a:uLnTx/>
                <a:uFillTx/>
                <a:latin typeface="CiscoSansTT ExtraLight"/>
                <a:ea typeface="+mn-ea"/>
                <a:cs typeface="+mn-cs"/>
              </a:rPr>
              <a:t>Time-series view of the information allows you to go back in time and analyze the information</a:t>
            </a:r>
          </a:p>
        </p:txBody>
      </p:sp>
      <p:sp>
        <p:nvSpPr>
          <p:cNvPr id="3" name="Title 2"/>
          <p:cNvSpPr>
            <a:spLocks noGrp="1"/>
          </p:cNvSpPr>
          <p:nvPr>
            <p:ph type="title"/>
          </p:nvPr>
        </p:nvSpPr>
        <p:spPr/>
        <p:txBody>
          <a:bodyPr/>
          <a:lstStyle/>
          <a:p>
            <a:r>
              <a:rPr lang="en-US"/>
              <a:t>Tracking process response times</a:t>
            </a:r>
          </a:p>
        </p:txBody>
      </p:sp>
      <p:pic>
        <p:nvPicPr>
          <p:cNvPr id="5" name="Picture 4"/>
          <p:cNvPicPr>
            <a:picLocks noChangeAspect="1"/>
          </p:cNvPicPr>
          <p:nvPr/>
        </p:nvPicPr>
        <p:blipFill>
          <a:blip r:embed="rId7"/>
          <a:stretch>
            <a:fillRect/>
          </a:stretch>
        </p:blipFill>
        <p:spPr>
          <a:xfrm>
            <a:off x="4714875" y="1660502"/>
            <a:ext cx="4019551" cy="2481308"/>
          </a:xfrm>
          <a:prstGeom prst="rect">
            <a:avLst/>
          </a:prstGeom>
          <a:ln>
            <a:solidFill>
              <a:schemeClr val="bg2">
                <a:lumMod val="75000"/>
              </a:schemeClr>
            </a:solidFill>
          </a:ln>
        </p:spPr>
      </p:pic>
    </p:spTree>
    <p:extLst>
      <p:ext uri="{BB962C8B-B14F-4D97-AF65-F5344CB8AC3E}">
        <p14:creationId xmlns:p14="http://schemas.microsoft.com/office/powerpoint/2010/main" val="3738702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a:xfrm rot="16200000">
            <a:off x="-365547" y="1989562"/>
            <a:ext cx="3638585" cy="1805762"/>
          </a:xfrm>
          <a:prstGeom prst="rect">
            <a:avLst/>
          </a:prstGeom>
          <a:solidFill>
            <a:schemeClr val="tx2">
              <a:lumMod val="20000"/>
              <a:lumOff val="80000"/>
              <a:alpha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44" name="Rectangle 43"/>
          <p:cNvSpPr/>
          <p:nvPr/>
        </p:nvSpPr>
        <p:spPr>
          <a:xfrm rot="16200000">
            <a:off x="3576066" y="-308512"/>
            <a:ext cx="3638585" cy="6401910"/>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latin typeface="Calibri"/>
              <a:ea typeface="+mn-ea"/>
              <a:cs typeface="+mn-cs"/>
            </a:endParaRPr>
          </a:p>
        </p:txBody>
      </p:sp>
      <p:graphicFrame>
        <p:nvGraphicFramePr>
          <p:cNvPr id="228" name="Object 227"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216" name="think-cell Slide" r:id="rId5" imgW="216" imgH="216" progId="TCLayout.ActiveDocument.1">
                  <p:embed/>
                </p:oleObj>
              </mc:Choice>
              <mc:Fallback>
                <p:oleObj name="think-cell Slide" r:id="rId5" imgW="216" imgH="216" progId="TCLayout.ActiveDocument.1">
                  <p:embed/>
                  <p:pic>
                    <p:nvPicPr>
                      <p:cNvPr id="228" name="Object 227"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43" name="Title 42"/>
          <p:cNvSpPr>
            <a:spLocks noGrp="1"/>
          </p:cNvSpPr>
          <p:nvPr>
            <p:ph type="title"/>
          </p:nvPr>
        </p:nvSpPr>
        <p:spPr>
          <a:xfrm>
            <a:off x="369804" y="174556"/>
            <a:ext cx="8345488" cy="731837"/>
          </a:xfrm>
        </p:spPr>
        <p:txBody>
          <a:bodyPr/>
          <a:lstStyle/>
          <a:p>
            <a:r>
              <a:rPr lang="en-US" dirty="0"/>
              <a:t>Cisco </a:t>
            </a:r>
            <a:r>
              <a:rPr lang="en-US" dirty="0" err="1"/>
              <a:t>Tetration</a:t>
            </a:r>
            <a:r>
              <a:rPr lang="en-US" dirty="0"/>
              <a:t> Analytics: Ecosystem</a:t>
            </a:r>
          </a:p>
        </p:txBody>
      </p:sp>
      <p:grpSp>
        <p:nvGrpSpPr>
          <p:cNvPr id="2" name="Group 1"/>
          <p:cNvGrpSpPr/>
          <p:nvPr/>
        </p:nvGrpSpPr>
        <p:grpSpPr>
          <a:xfrm>
            <a:off x="2496601" y="1232955"/>
            <a:ext cx="5790080" cy="3305782"/>
            <a:chOff x="2246439" y="1073150"/>
            <a:chExt cx="6349874" cy="3625390"/>
          </a:xfrm>
        </p:grpSpPr>
        <p:sp>
          <p:nvSpPr>
            <p:cNvPr id="79" name="Rectangle 78"/>
            <p:cNvSpPr/>
            <p:nvPr/>
          </p:nvSpPr>
          <p:spPr>
            <a:xfrm>
              <a:off x="2246440" y="2746652"/>
              <a:ext cx="3017520" cy="640080"/>
            </a:xfrm>
            <a:prstGeom prst="rect">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Rectangle 3"/>
            <p:cNvSpPr/>
            <p:nvPr/>
          </p:nvSpPr>
          <p:spPr>
            <a:xfrm>
              <a:off x="2246440" y="1073150"/>
              <a:ext cx="3017520" cy="365760"/>
            </a:xfrm>
            <a:prstGeom prst="rect">
              <a:avLst/>
            </a:prstGeom>
            <a:solidFill>
              <a:schemeClr val="accent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cs typeface="+mn-cs"/>
                </a:rPr>
                <a:t>Service visibility</a:t>
              </a:r>
            </a:p>
          </p:txBody>
        </p:sp>
        <p:sp>
          <p:nvSpPr>
            <p:cNvPr id="54" name="Rectangle 53"/>
            <p:cNvSpPr/>
            <p:nvPr/>
          </p:nvSpPr>
          <p:spPr>
            <a:xfrm>
              <a:off x="2246440" y="1438910"/>
              <a:ext cx="3017520" cy="640080"/>
            </a:xfrm>
            <a:prstGeom prst="rect">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55" name="Picture 54"/>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098270" y="1526171"/>
              <a:ext cx="1313861" cy="465559"/>
            </a:xfrm>
            <a:prstGeom prst="rect">
              <a:avLst/>
            </a:prstGeom>
          </p:spPr>
        </p:pic>
        <p:sp>
          <p:nvSpPr>
            <p:cNvPr id="68" name="Rectangle 67"/>
            <p:cNvSpPr/>
            <p:nvPr/>
          </p:nvSpPr>
          <p:spPr>
            <a:xfrm>
              <a:off x="5578793" y="1073150"/>
              <a:ext cx="3017520" cy="365760"/>
            </a:xfrm>
            <a:prstGeom prst="rect">
              <a:avLst/>
            </a:prstGeom>
            <a:solidFill>
              <a:schemeClr val="accent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cs typeface="+mn-cs"/>
                </a:rPr>
                <a:t>Layer 4-7 services integration</a:t>
              </a:r>
            </a:p>
          </p:txBody>
        </p:sp>
        <p:sp>
          <p:nvSpPr>
            <p:cNvPr id="69" name="Rectangle 68"/>
            <p:cNvSpPr/>
            <p:nvPr/>
          </p:nvSpPr>
          <p:spPr>
            <a:xfrm>
              <a:off x="5578793" y="1438910"/>
              <a:ext cx="3017520" cy="640080"/>
            </a:xfrm>
            <a:prstGeom prst="rect">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72" name="Picture 7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824279" y="1591850"/>
              <a:ext cx="363900" cy="334200"/>
            </a:xfrm>
            <a:prstGeom prst="rect">
              <a:avLst/>
            </a:prstGeom>
          </p:spPr>
        </p:pic>
        <p:pic>
          <p:nvPicPr>
            <p:cNvPr id="73" name="Picture 72"/>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605725" y="1611948"/>
              <a:ext cx="779849" cy="294004"/>
            </a:xfrm>
            <a:prstGeom prst="rect">
              <a:avLst/>
            </a:prstGeom>
          </p:spPr>
        </p:pic>
        <p:pic>
          <p:nvPicPr>
            <p:cNvPr id="74" name="Picture 7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810471" y="1599048"/>
              <a:ext cx="533007" cy="319805"/>
            </a:xfrm>
            <a:prstGeom prst="rect">
              <a:avLst/>
            </a:prstGeom>
          </p:spPr>
        </p:pic>
        <p:pic>
          <p:nvPicPr>
            <p:cNvPr id="64" name="Picture 63"/>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783528" y="2946622"/>
              <a:ext cx="704887" cy="244360"/>
            </a:xfrm>
            <a:prstGeom prst="rect">
              <a:avLst/>
            </a:prstGeom>
          </p:spPr>
        </p:pic>
        <p:sp>
          <p:nvSpPr>
            <p:cNvPr id="78" name="Rectangle 77"/>
            <p:cNvSpPr/>
            <p:nvPr/>
          </p:nvSpPr>
          <p:spPr>
            <a:xfrm>
              <a:off x="2246440" y="2380892"/>
              <a:ext cx="3017520" cy="365760"/>
            </a:xfrm>
            <a:prstGeom prst="rect">
              <a:avLst/>
            </a:prstGeom>
            <a:solidFill>
              <a:schemeClr val="tx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E7E6E6"/>
                  </a:solidFill>
                  <a:effectLst/>
                  <a:uLnTx/>
                  <a:uFillTx/>
                  <a:latin typeface="Calibri"/>
                  <a:ea typeface="+mn-ea"/>
                  <a:cs typeface="+mn-cs"/>
                </a:rPr>
                <a:t>Security orchestration</a:t>
              </a:r>
            </a:p>
          </p:txBody>
        </p:sp>
        <p:sp>
          <p:nvSpPr>
            <p:cNvPr id="86" name="Rectangle 85"/>
            <p:cNvSpPr/>
            <p:nvPr/>
          </p:nvSpPr>
          <p:spPr>
            <a:xfrm>
              <a:off x="5578793" y="2380892"/>
              <a:ext cx="3017520" cy="365760"/>
            </a:xfrm>
            <a:prstGeom prst="rect">
              <a:avLst/>
            </a:prstGeom>
            <a:solidFill>
              <a:schemeClr val="tx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E7E6E6"/>
                  </a:solidFill>
                  <a:effectLst/>
                  <a:uLnTx/>
                  <a:uFillTx/>
                  <a:latin typeface="Calibri"/>
                  <a:ea typeface="+mn-ea"/>
                  <a:cs typeface="+mn-cs"/>
                </a:rPr>
                <a:t>Service assurance</a:t>
              </a:r>
            </a:p>
          </p:txBody>
        </p:sp>
        <p:sp>
          <p:nvSpPr>
            <p:cNvPr id="87" name="Rectangle 86"/>
            <p:cNvSpPr/>
            <p:nvPr/>
          </p:nvSpPr>
          <p:spPr>
            <a:xfrm>
              <a:off x="5578793" y="2746652"/>
              <a:ext cx="3017520" cy="640080"/>
            </a:xfrm>
            <a:prstGeom prst="rect">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24" name="Group 23"/>
            <p:cNvGrpSpPr>
              <a:grpSpLocks noChangeAspect="1"/>
            </p:cNvGrpSpPr>
            <p:nvPr/>
          </p:nvGrpSpPr>
          <p:grpSpPr>
            <a:xfrm>
              <a:off x="5643088" y="2884391"/>
              <a:ext cx="2888931" cy="364602"/>
              <a:chOff x="623953" y="2865307"/>
              <a:chExt cx="2888931" cy="364602"/>
            </a:xfrm>
          </p:grpSpPr>
          <p:pic>
            <p:nvPicPr>
              <p:cNvPr id="92" name="Picture 9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709710" y="2865307"/>
                <a:ext cx="729203" cy="364602"/>
              </a:xfrm>
              <a:prstGeom prst="rect">
                <a:avLst/>
              </a:prstGeom>
            </p:spPr>
          </p:pic>
          <p:pic>
            <p:nvPicPr>
              <p:cNvPr id="93" name="Picture 9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23953" y="2919283"/>
                <a:ext cx="938887" cy="256651"/>
              </a:xfrm>
              <a:prstGeom prst="rect">
                <a:avLst/>
              </a:prstGeom>
            </p:spPr>
          </p:pic>
          <p:pic>
            <p:nvPicPr>
              <p:cNvPr id="94" name="Picture 9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585783" y="2931721"/>
                <a:ext cx="927101" cy="231775"/>
              </a:xfrm>
              <a:prstGeom prst="rect">
                <a:avLst/>
              </a:prstGeom>
            </p:spPr>
          </p:pic>
        </p:grpSp>
        <p:grpSp>
          <p:nvGrpSpPr>
            <p:cNvPr id="245" name="Group 244"/>
            <p:cNvGrpSpPr/>
            <p:nvPr/>
          </p:nvGrpSpPr>
          <p:grpSpPr>
            <a:xfrm>
              <a:off x="2246439" y="3688634"/>
              <a:ext cx="6349873" cy="1009906"/>
              <a:chOff x="2246439" y="3688634"/>
              <a:chExt cx="6349873" cy="1009906"/>
            </a:xfrm>
          </p:grpSpPr>
          <p:sp>
            <p:nvSpPr>
              <p:cNvPr id="96" name="Rectangle 95"/>
              <p:cNvSpPr/>
              <p:nvPr/>
            </p:nvSpPr>
            <p:spPr>
              <a:xfrm>
                <a:off x="2246439" y="3688634"/>
                <a:ext cx="6349873" cy="365760"/>
              </a:xfrm>
              <a:prstGeom prst="rect">
                <a:avLst/>
              </a:prstGeom>
              <a:solidFill>
                <a:schemeClr val="accent2"/>
              </a:solid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cs typeface="+mn-cs"/>
                  </a:rPr>
                  <a:t>Insight exchange</a:t>
                </a:r>
              </a:p>
            </p:txBody>
          </p:sp>
          <p:sp>
            <p:nvSpPr>
              <p:cNvPr id="97" name="Rectangle 96"/>
              <p:cNvSpPr/>
              <p:nvPr/>
            </p:nvSpPr>
            <p:spPr>
              <a:xfrm>
                <a:off x="2246439" y="4058460"/>
                <a:ext cx="6349873" cy="640080"/>
              </a:xfrm>
              <a:prstGeom prst="rect">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03" name="Picture 102"/>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428988" y="4203610"/>
                <a:ext cx="987123" cy="349781"/>
              </a:xfrm>
              <a:prstGeom prst="rect">
                <a:avLst/>
              </a:prstGeom>
            </p:spPr>
          </p:pic>
          <p:pic>
            <p:nvPicPr>
              <p:cNvPr id="104" name="Picture 103"/>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833660" y="4130537"/>
                <a:ext cx="1080486" cy="495926"/>
              </a:xfrm>
              <a:prstGeom prst="rect">
                <a:avLst/>
              </a:prstGeom>
            </p:spPr>
          </p:pic>
          <p:pic>
            <p:nvPicPr>
              <p:cNvPr id="105" name="Picture 104"/>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620907" y="4195745"/>
                <a:ext cx="493934" cy="365511"/>
              </a:xfrm>
              <a:prstGeom prst="rect">
                <a:avLst/>
              </a:prstGeom>
            </p:spPr>
          </p:pic>
          <p:pic>
            <p:nvPicPr>
              <p:cNvPr id="106" name="Picture 105"/>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2315863" y="4223202"/>
                <a:ext cx="908329" cy="310597"/>
              </a:xfrm>
              <a:prstGeom prst="rect">
                <a:avLst/>
              </a:prstGeom>
            </p:spPr>
          </p:pic>
          <p:pic>
            <p:nvPicPr>
              <p:cNvPr id="107" name="Picture 106"/>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8118941" y="4174527"/>
                <a:ext cx="407946" cy="407946"/>
              </a:xfrm>
              <a:prstGeom prst="rect">
                <a:avLst/>
              </a:prstGeom>
            </p:spPr>
          </p:pic>
          <p:pic>
            <p:nvPicPr>
              <p:cNvPr id="108" name="Picture 107"/>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5319637" y="4227939"/>
                <a:ext cx="1309227" cy="301123"/>
              </a:xfrm>
              <a:prstGeom prst="rect">
                <a:avLst/>
              </a:prstGeom>
            </p:spPr>
          </p:pic>
        </p:grpSp>
      </p:grpSp>
      <p:sp>
        <p:nvSpPr>
          <p:cNvPr id="18" name="AutoShape 2" descr="Image result for ibM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
        <p:nvSpPr>
          <p:cNvPr id="244" name="Isosceles Triangle 243"/>
          <p:cNvSpPr/>
          <p:nvPr/>
        </p:nvSpPr>
        <p:spPr>
          <a:xfrm rot="16200000">
            <a:off x="253762" y="2771096"/>
            <a:ext cx="3638585" cy="242697"/>
          </a:xfrm>
          <a:prstGeom prst="triangl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45" name="Group 44"/>
          <p:cNvGrpSpPr/>
          <p:nvPr/>
        </p:nvGrpSpPr>
        <p:grpSpPr>
          <a:xfrm>
            <a:off x="640071" y="2211711"/>
            <a:ext cx="1624836" cy="1183654"/>
            <a:chOff x="550863" y="2267509"/>
            <a:chExt cx="1380744" cy="1005839"/>
          </a:xfrm>
        </p:grpSpPr>
        <p:sp>
          <p:nvSpPr>
            <p:cNvPr id="52" name="Rectangle 51"/>
            <p:cNvSpPr/>
            <p:nvPr/>
          </p:nvSpPr>
          <p:spPr>
            <a:xfrm>
              <a:off x="550863" y="2633268"/>
              <a:ext cx="1380744" cy="640080"/>
            </a:xfrm>
            <a:prstGeom prst="rect">
              <a:avLst/>
            </a:prstGeom>
            <a:solidFill>
              <a:schemeClr val="bg2"/>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46" name="Group 45"/>
            <p:cNvGrpSpPr>
              <a:grpSpLocks noChangeAspect="1"/>
            </p:cNvGrpSpPr>
            <p:nvPr/>
          </p:nvGrpSpPr>
          <p:grpSpPr>
            <a:xfrm>
              <a:off x="968641" y="2684824"/>
              <a:ext cx="555000" cy="549541"/>
              <a:chOff x="544046" y="2226316"/>
              <a:chExt cx="1308659" cy="1295787"/>
            </a:xfrm>
          </p:grpSpPr>
          <p:sp>
            <p:nvSpPr>
              <p:cNvPr id="53" name="Oval 52">
                <a:extLst>
                  <a:ext uri="{FF2B5EF4-FFF2-40B4-BE49-F238E27FC236}">
                    <a16:creationId xmlns:a16="http://schemas.microsoft.com/office/drawing/2014/main" id="{59FBBEC2-7D95-422B-A3F6-07722CA35012}"/>
                  </a:ext>
                </a:extLst>
              </p:cNvPr>
              <p:cNvSpPr/>
              <p:nvPr/>
            </p:nvSpPr>
            <p:spPr>
              <a:xfrm>
                <a:off x="544046" y="2226316"/>
                <a:ext cx="1308659" cy="129578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alibri"/>
                  <a:ea typeface="+mn-ea"/>
                  <a:cs typeface="+mn-cs"/>
                </a:endParaRPr>
              </a:p>
            </p:txBody>
          </p:sp>
          <p:sp>
            <p:nvSpPr>
              <p:cNvPr id="56" name="Freeform 8">
                <a:extLst>
                  <a:ext uri="{FF2B5EF4-FFF2-40B4-BE49-F238E27FC236}">
                    <a16:creationId xmlns:a16="http://schemas.microsoft.com/office/drawing/2014/main" id="{2A9A2B8F-27A1-455A-9955-24BE7B9FEF14}"/>
                  </a:ext>
                </a:extLst>
              </p:cNvPr>
              <p:cNvSpPr>
                <a:spLocks/>
              </p:cNvSpPr>
              <p:nvPr/>
            </p:nvSpPr>
            <p:spPr bwMode="auto">
              <a:xfrm>
                <a:off x="844812" y="2487787"/>
                <a:ext cx="621442" cy="716392"/>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alibri"/>
                  <a:ea typeface="ＭＳ Ｐゴシック" charset="0"/>
                  <a:cs typeface="+mn-cs"/>
                </a:endParaRPr>
              </a:p>
            </p:txBody>
          </p:sp>
          <p:sp>
            <p:nvSpPr>
              <p:cNvPr id="57" name="Freeform 5"/>
              <p:cNvSpPr>
                <a:spLocks noEditPoints="1"/>
              </p:cNvSpPr>
              <p:nvPr/>
            </p:nvSpPr>
            <p:spPr bwMode="auto">
              <a:xfrm>
                <a:off x="727838" y="2385683"/>
                <a:ext cx="934863" cy="93918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282828"/>
                  </a:solidFill>
                  <a:effectLst/>
                  <a:uLnTx/>
                  <a:uFillTx/>
                  <a:latin typeface="Calibri"/>
                  <a:ea typeface="ＭＳ Ｐゴシック" charset="0"/>
                  <a:cs typeface="+mn-cs"/>
                </a:endParaRPr>
              </a:p>
            </p:txBody>
          </p:sp>
        </p:grpSp>
        <p:sp>
          <p:nvSpPr>
            <p:cNvPr id="51" name="Rectangle 50"/>
            <p:cNvSpPr/>
            <p:nvPr/>
          </p:nvSpPr>
          <p:spPr>
            <a:xfrm>
              <a:off x="550863" y="2267509"/>
              <a:ext cx="1380459" cy="365760"/>
            </a:xfrm>
            <a:prstGeom prst="rect">
              <a:avLst/>
            </a:prstGeom>
            <a:solidFill>
              <a:schemeClr val="accent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Cisco </a:t>
              </a:r>
              <a:r>
                <a:rPr kumimoji="0" lang="en-US" sz="1200" b="0" i="0" u="none" strike="noStrike" kern="1200" cap="none" spc="0" normalizeH="0" baseline="0" noProof="0" dirty="0" err="1">
                  <a:ln>
                    <a:noFill/>
                  </a:ln>
                  <a:solidFill>
                    <a:prstClr val="white"/>
                  </a:solidFill>
                  <a:effectLst/>
                  <a:uLnTx/>
                  <a:uFillTx/>
                  <a:latin typeface="Calibri"/>
                  <a:ea typeface="+mn-ea"/>
                  <a:cs typeface="+mn-cs"/>
                </a:rPr>
                <a:t>Tetration</a:t>
              </a:r>
              <a:r>
                <a:rPr kumimoji="0" lang="en-US" sz="1200" b="0" i="0" u="none" strike="noStrike" kern="1200" cap="none" spc="0" normalizeH="0" baseline="0" noProof="0" dirty="0">
                  <a:ln>
                    <a:noFill/>
                  </a:ln>
                  <a:solidFill>
                    <a:prstClr val="white"/>
                  </a:solidFill>
                  <a:effectLst/>
                  <a:uLnTx/>
                  <a:uFillTx/>
                  <a:latin typeface="Calibri"/>
                  <a:ea typeface="+mn-ea"/>
                  <a:cs typeface="+mn-cs"/>
                </a:rPr>
                <a:t> </a:t>
              </a:r>
            </a:p>
            <a:p>
              <a:pPr marL="0" marR="0" lvl="0" indent="0" algn="ctr" defTabSz="68571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Analytics™</a:t>
              </a:r>
            </a:p>
          </p:txBody>
        </p:sp>
      </p:grpSp>
      <p:pic>
        <p:nvPicPr>
          <p:cNvPr id="47" name="Picture 46"/>
          <p:cNvPicPr>
            <a:picLocks noChangeAspect="1"/>
          </p:cNvPicPr>
          <p:nvPr/>
        </p:nvPicPr>
        <p:blipFill rotWithShape="1">
          <a:blip r:embed="rId21">
            <a:extLst>
              <a:ext uri="{28A0092B-C50C-407E-A947-70E740481C1C}">
                <a14:useLocalDpi xmlns:a14="http://schemas.microsoft.com/office/drawing/2010/main" val="0"/>
              </a:ext>
            </a:extLst>
          </a:blip>
          <a:srcRect l="8201" t="35583" r="8898" b="36388"/>
          <a:stretch/>
        </p:blipFill>
        <p:spPr>
          <a:xfrm>
            <a:off x="3820527" y="2953452"/>
            <a:ext cx="1078895" cy="237372"/>
          </a:xfrm>
          <a:prstGeom prst="rect">
            <a:avLst/>
          </a:prstGeom>
        </p:spPr>
      </p:pic>
    </p:spTree>
    <p:extLst>
      <p:ext uri="{BB962C8B-B14F-4D97-AF65-F5344CB8AC3E}">
        <p14:creationId xmlns:p14="http://schemas.microsoft.com/office/powerpoint/2010/main" val="33916597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2380">
            <a:extLst>
              <a:ext uri="{FF2B5EF4-FFF2-40B4-BE49-F238E27FC236}">
                <a16:creationId xmlns:a16="http://schemas.microsoft.com/office/drawing/2014/main" id="{0EFD7B93-539C-4333-90BB-5BC499EC624A}"/>
              </a:ext>
            </a:extLst>
          </p:cNvPr>
          <p:cNvGrpSpPr>
            <a:grpSpLocks noChangeAspect="1"/>
          </p:cNvGrpSpPr>
          <p:nvPr/>
        </p:nvGrpSpPr>
        <p:grpSpPr bwMode="auto">
          <a:xfrm>
            <a:off x="-654269" y="-615394"/>
            <a:ext cx="10035517" cy="6374289"/>
            <a:chOff x="1246" y="0"/>
            <a:chExt cx="3268" cy="3240"/>
          </a:xfrm>
        </p:grpSpPr>
        <p:grpSp>
          <p:nvGrpSpPr>
            <p:cNvPr id="9" name="Group 2581">
              <a:extLst>
                <a:ext uri="{FF2B5EF4-FFF2-40B4-BE49-F238E27FC236}">
                  <a16:creationId xmlns:a16="http://schemas.microsoft.com/office/drawing/2014/main" id="{2B8BC159-D48A-4218-9CEF-2EDF294C23E9}"/>
                </a:ext>
              </a:extLst>
            </p:cNvPr>
            <p:cNvGrpSpPr>
              <a:grpSpLocks/>
            </p:cNvGrpSpPr>
            <p:nvPr/>
          </p:nvGrpSpPr>
          <p:grpSpPr bwMode="auto">
            <a:xfrm>
              <a:off x="1276" y="30"/>
              <a:ext cx="3178" cy="3180"/>
              <a:chOff x="1276" y="30"/>
              <a:chExt cx="3178" cy="3180"/>
            </a:xfrm>
          </p:grpSpPr>
          <p:sp>
            <p:nvSpPr>
              <p:cNvPr id="597" name="Line 2381">
                <a:extLst>
                  <a:ext uri="{FF2B5EF4-FFF2-40B4-BE49-F238E27FC236}">
                    <a16:creationId xmlns:a16="http://schemas.microsoft.com/office/drawing/2014/main" id="{E17EB3E2-F8DC-4385-85AE-3D32C92C7FA7}"/>
                  </a:ext>
                </a:extLst>
              </p:cNvPr>
              <p:cNvSpPr>
                <a:spLocks noChangeShapeType="1"/>
              </p:cNvSpPr>
              <p:nvPr/>
            </p:nvSpPr>
            <p:spPr bwMode="auto">
              <a:xfrm>
                <a:off x="3045" y="147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98" name="Freeform 2382">
                <a:extLst>
                  <a:ext uri="{FF2B5EF4-FFF2-40B4-BE49-F238E27FC236}">
                    <a16:creationId xmlns:a16="http://schemas.microsoft.com/office/drawing/2014/main" id="{5287B118-21C7-4DBD-A584-7EC48C164ABA}"/>
                  </a:ext>
                </a:extLst>
              </p:cNvPr>
              <p:cNvSpPr>
                <a:spLocks/>
              </p:cNvSpPr>
              <p:nvPr/>
            </p:nvSpPr>
            <p:spPr bwMode="auto">
              <a:xfrm>
                <a:off x="2625" y="1410"/>
                <a:ext cx="300" cy="210"/>
              </a:xfrm>
              <a:custGeom>
                <a:avLst/>
                <a:gdLst>
                  <a:gd name="T0" fmla="*/ 210 w 300"/>
                  <a:gd name="T1" fmla="*/ 90 h 210"/>
                  <a:gd name="T2" fmla="*/ 300 w 300"/>
                  <a:gd name="T3" fmla="*/ 30 h 210"/>
                  <a:gd name="T4" fmla="*/ 300 w 300"/>
                  <a:gd name="T5" fmla="*/ 120 h 210"/>
                  <a:gd name="T6" fmla="*/ 240 w 300"/>
                  <a:gd name="T7" fmla="*/ 210 h 210"/>
                  <a:gd name="T8" fmla="*/ 150 w 300"/>
                  <a:gd name="T9" fmla="*/ 150 h 210"/>
                  <a:gd name="T10" fmla="*/ 60 w 300"/>
                  <a:gd name="T11" fmla="*/ 90 h 210"/>
                  <a:gd name="T12" fmla="*/ 0 w 30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210" y="90"/>
                    </a:moveTo>
                    <a:lnTo>
                      <a:pt x="300" y="30"/>
                    </a:lnTo>
                    <a:lnTo>
                      <a:pt x="300" y="120"/>
                    </a:lnTo>
                    <a:lnTo>
                      <a:pt x="240" y="210"/>
                    </a:lnTo>
                    <a:lnTo>
                      <a:pt x="150" y="150"/>
                    </a:lnTo>
                    <a:lnTo>
                      <a:pt x="60" y="9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99" name="Freeform 2383">
                <a:extLst>
                  <a:ext uri="{FF2B5EF4-FFF2-40B4-BE49-F238E27FC236}">
                    <a16:creationId xmlns:a16="http://schemas.microsoft.com/office/drawing/2014/main" id="{EC0AFBB3-D026-43A2-95ED-ED44068A3906}"/>
                  </a:ext>
                </a:extLst>
              </p:cNvPr>
              <p:cNvSpPr>
                <a:spLocks/>
              </p:cNvSpPr>
              <p:nvPr/>
            </p:nvSpPr>
            <p:spPr bwMode="auto">
              <a:xfrm>
                <a:off x="2535" y="1292"/>
                <a:ext cx="180" cy="208"/>
              </a:xfrm>
              <a:custGeom>
                <a:avLst/>
                <a:gdLst>
                  <a:gd name="T0" fmla="*/ 0 w 180"/>
                  <a:gd name="T1" fmla="*/ 149 h 208"/>
                  <a:gd name="T2" fmla="*/ 150 w 180"/>
                  <a:gd name="T3" fmla="*/ 208 h 208"/>
                  <a:gd name="T4" fmla="*/ 180 w 180"/>
                  <a:gd name="T5" fmla="*/ 0 h 208"/>
                </a:gdLst>
                <a:ahLst/>
                <a:cxnLst>
                  <a:cxn ang="0">
                    <a:pos x="T0" y="T1"/>
                  </a:cxn>
                  <a:cxn ang="0">
                    <a:pos x="T2" y="T3"/>
                  </a:cxn>
                  <a:cxn ang="0">
                    <a:pos x="T4" y="T5"/>
                  </a:cxn>
                </a:cxnLst>
                <a:rect l="0" t="0" r="r" b="b"/>
                <a:pathLst>
                  <a:path w="180" h="208">
                    <a:moveTo>
                      <a:pt x="0" y="149"/>
                    </a:moveTo>
                    <a:lnTo>
                      <a:pt x="150" y="208"/>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00" name="Line 2384">
                <a:extLst>
                  <a:ext uri="{FF2B5EF4-FFF2-40B4-BE49-F238E27FC236}">
                    <a16:creationId xmlns:a16="http://schemas.microsoft.com/office/drawing/2014/main" id="{67AF2C16-D845-45BB-9860-CEF39C6217AF}"/>
                  </a:ext>
                </a:extLst>
              </p:cNvPr>
              <p:cNvSpPr>
                <a:spLocks noChangeShapeType="1"/>
              </p:cNvSpPr>
              <p:nvPr/>
            </p:nvSpPr>
            <p:spPr bwMode="auto">
              <a:xfrm flipH="1">
                <a:off x="2535" y="1620"/>
                <a:ext cx="18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01" name="Line 2385">
                <a:extLst>
                  <a:ext uri="{FF2B5EF4-FFF2-40B4-BE49-F238E27FC236}">
                    <a16:creationId xmlns:a16="http://schemas.microsoft.com/office/drawing/2014/main" id="{12A7711A-7CED-4794-BF09-D2E35B5ADC7D}"/>
                  </a:ext>
                </a:extLst>
              </p:cNvPr>
              <p:cNvSpPr>
                <a:spLocks noChangeShapeType="1"/>
              </p:cNvSpPr>
              <p:nvPr/>
            </p:nvSpPr>
            <p:spPr bwMode="auto">
              <a:xfrm>
                <a:off x="2595" y="156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02" name="Freeform 2386">
                <a:extLst>
                  <a:ext uri="{FF2B5EF4-FFF2-40B4-BE49-F238E27FC236}">
                    <a16:creationId xmlns:a16="http://schemas.microsoft.com/office/drawing/2014/main" id="{1280CC53-A3AD-4AE5-AA22-7D439FFD7042}"/>
                  </a:ext>
                </a:extLst>
              </p:cNvPr>
              <p:cNvSpPr>
                <a:spLocks/>
              </p:cNvSpPr>
              <p:nvPr/>
            </p:nvSpPr>
            <p:spPr bwMode="auto">
              <a:xfrm>
                <a:off x="2535" y="1650"/>
                <a:ext cx="210" cy="330"/>
              </a:xfrm>
              <a:custGeom>
                <a:avLst/>
                <a:gdLst>
                  <a:gd name="T0" fmla="*/ 120 w 210"/>
                  <a:gd name="T1" fmla="*/ 60 h 330"/>
                  <a:gd name="T2" fmla="*/ 0 w 210"/>
                  <a:gd name="T3" fmla="*/ 0 h 330"/>
                  <a:gd name="T4" fmla="*/ 0 w 210"/>
                  <a:gd name="T5" fmla="*/ 330 h 330"/>
                  <a:gd name="T6" fmla="*/ 210 w 210"/>
                  <a:gd name="T7" fmla="*/ 270 h 330"/>
                  <a:gd name="T8" fmla="*/ 119 w 210"/>
                  <a:gd name="T9" fmla="*/ 182 h 330"/>
                </a:gdLst>
                <a:ahLst/>
                <a:cxnLst>
                  <a:cxn ang="0">
                    <a:pos x="T0" y="T1"/>
                  </a:cxn>
                  <a:cxn ang="0">
                    <a:pos x="T2" y="T3"/>
                  </a:cxn>
                  <a:cxn ang="0">
                    <a:pos x="T4" y="T5"/>
                  </a:cxn>
                  <a:cxn ang="0">
                    <a:pos x="T6" y="T7"/>
                  </a:cxn>
                  <a:cxn ang="0">
                    <a:pos x="T8" y="T9"/>
                  </a:cxn>
                </a:cxnLst>
                <a:rect l="0" t="0" r="r" b="b"/>
                <a:pathLst>
                  <a:path w="210" h="330">
                    <a:moveTo>
                      <a:pt x="120" y="60"/>
                    </a:moveTo>
                    <a:lnTo>
                      <a:pt x="0" y="0"/>
                    </a:lnTo>
                    <a:lnTo>
                      <a:pt x="0" y="330"/>
                    </a:lnTo>
                    <a:lnTo>
                      <a:pt x="210" y="270"/>
                    </a:lnTo>
                    <a:lnTo>
                      <a:pt x="119" y="18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03" name="Freeform 2387">
                <a:extLst>
                  <a:ext uri="{FF2B5EF4-FFF2-40B4-BE49-F238E27FC236}">
                    <a16:creationId xmlns:a16="http://schemas.microsoft.com/office/drawing/2014/main" id="{0039B235-B137-4B96-801E-CD5DF1DC0415}"/>
                  </a:ext>
                </a:extLst>
              </p:cNvPr>
              <p:cNvSpPr>
                <a:spLocks/>
              </p:cNvSpPr>
              <p:nvPr/>
            </p:nvSpPr>
            <p:spPr bwMode="auto">
              <a:xfrm>
                <a:off x="2654" y="1680"/>
                <a:ext cx="151" cy="152"/>
              </a:xfrm>
              <a:custGeom>
                <a:avLst/>
                <a:gdLst>
                  <a:gd name="T0" fmla="*/ 121 w 151"/>
                  <a:gd name="T1" fmla="*/ 0 h 152"/>
                  <a:gd name="T2" fmla="*/ 151 w 151"/>
                  <a:gd name="T3" fmla="*/ 120 h 152"/>
                  <a:gd name="T4" fmla="*/ 0 w 151"/>
                  <a:gd name="T5" fmla="*/ 152 h 152"/>
                  <a:gd name="T6" fmla="*/ 1 w 151"/>
                  <a:gd name="T7" fmla="*/ 30 h 152"/>
                  <a:gd name="T8" fmla="*/ 121 w 151"/>
                  <a:gd name="T9" fmla="*/ 0 h 152"/>
                </a:gdLst>
                <a:ahLst/>
                <a:cxnLst>
                  <a:cxn ang="0">
                    <a:pos x="T0" y="T1"/>
                  </a:cxn>
                  <a:cxn ang="0">
                    <a:pos x="T2" y="T3"/>
                  </a:cxn>
                  <a:cxn ang="0">
                    <a:pos x="T4" y="T5"/>
                  </a:cxn>
                  <a:cxn ang="0">
                    <a:pos x="T6" y="T7"/>
                  </a:cxn>
                  <a:cxn ang="0">
                    <a:pos x="T8" y="T9"/>
                  </a:cxn>
                </a:cxnLst>
                <a:rect l="0" t="0" r="r" b="b"/>
                <a:pathLst>
                  <a:path w="151" h="152">
                    <a:moveTo>
                      <a:pt x="121" y="0"/>
                    </a:moveTo>
                    <a:lnTo>
                      <a:pt x="151" y="120"/>
                    </a:lnTo>
                    <a:lnTo>
                      <a:pt x="0" y="152"/>
                    </a:lnTo>
                    <a:lnTo>
                      <a:pt x="1" y="30"/>
                    </a:lnTo>
                    <a:lnTo>
                      <a:pt x="121"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04" name="Freeform 2388">
                <a:extLst>
                  <a:ext uri="{FF2B5EF4-FFF2-40B4-BE49-F238E27FC236}">
                    <a16:creationId xmlns:a16="http://schemas.microsoft.com/office/drawing/2014/main" id="{0EC00A8E-6218-41F3-AE82-C6E7E24CFE31}"/>
                  </a:ext>
                </a:extLst>
              </p:cNvPr>
              <p:cNvSpPr>
                <a:spLocks/>
              </p:cNvSpPr>
              <p:nvPr/>
            </p:nvSpPr>
            <p:spPr bwMode="auto">
              <a:xfrm>
                <a:off x="2805" y="1620"/>
                <a:ext cx="240" cy="270"/>
              </a:xfrm>
              <a:custGeom>
                <a:avLst/>
                <a:gdLst>
                  <a:gd name="T0" fmla="*/ 0 w 240"/>
                  <a:gd name="T1" fmla="*/ 180 h 270"/>
                  <a:gd name="T2" fmla="*/ 60 w 240"/>
                  <a:gd name="T3" fmla="*/ 0 h 270"/>
                  <a:gd name="T4" fmla="*/ 90 w 240"/>
                  <a:gd name="T5" fmla="*/ 90 h 270"/>
                  <a:gd name="T6" fmla="*/ 120 w 240"/>
                  <a:gd name="T7" fmla="*/ 180 h 270"/>
                  <a:gd name="T8" fmla="*/ 150 w 240"/>
                  <a:gd name="T9" fmla="*/ 270 h 270"/>
                  <a:gd name="T10" fmla="*/ 240 w 240"/>
                  <a:gd name="T11" fmla="*/ 150 h 270"/>
                </a:gdLst>
                <a:ahLst/>
                <a:cxnLst>
                  <a:cxn ang="0">
                    <a:pos x="T0" y="T1"/>
                  </a:cxn>
                  <a:cxn ang="0">
                    <a:pos x="T2" y="T3"/>
                  </a:cxn>
                  <a:cxn ang="0">
                    <a:pos x="T4" y="T5"/>
                  </a:cxn>
                  <a:cxn ang="0">
                    <a:pos x="T6" y="T7"/>
                  </a:cxn>
                  <a:cxn ang="0">
                    <a:pos x="T8" y="T9"/>
                  </a:cxn>
                  <a:cxn ang="0">
                    <a:pos x="T10" y="T11"/>
                  </a:cxn>
                </a:cxnLst>
                <a:rect l="0" t="0" r="r" b="b"/>
                <a:pathLst>
                  <a:path w="240" h="270">
                    <a:moveTo>
                      <a:pt x="0" y="180"/>
                    </a:moveTo>
                    <a:lnTo>
                      <a:pt x="60" y="0"/>
                    </a:lnTo>
                    <a:lnTo>
                      <a:pt x="90" y="90"/>
                    </a:lnTo>
                    <a:lnTo>
                      <a:pt x="120" y="180"/>
                    </a:lnTo>
                    <a:lnTo>
                      <a:pt x="150" y="270"/>
                    </a:lnTo>
                    <a:lnTo>
                      <a:pt x="24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05" name="Freeform 2389">
                <a:extLst>
                  <a:ext uri="{FF2B5EF4-FFF2-40B4-BE49-F238E27FC236}">
                    <a16:creationId xmlns:a16="http://schemas.microsoft.com/office/drawing/2014/main" id="{C139F480-84A8-448B-9419-45E240DDCDB3}"/>
                  </a:ext>
                </a:extLst>
              </p:cNvPr>
              <p:cNvSpPr>
                <a:spLocks/>
              </p:cNvSpPr>
              <p:nvPr/>
            </p:nvSpPr>
            <p:spPr bwMode="auto">
              <a:xfrm>
                <a:off x="2688" y="1800"/>
                <a:ext cx="237" cy="270"/>
              </a:xfrm>
              <a:custGeom>
                <a:avLst/>
                <a:gdLst>
                  <a:gd name="T0" fmla="*/ 237 w 237"/>
                  <a:gd name="T1" fmla="*/ 0 h 270"/>
                  <a:gd name="T2" fmla="*/ 177 w 237"/>
                  <a:gd name="T3" fmla="*/ 122 h 270"/>
                  <a:gd name="T4" fmla="*/ 117 w 237"/>
                  <a:gd name="T5" fmla="*/ 0 h 270"/>
                  <a:gd name="T6" fmla="*/ 57 w 237"/>
                  <a:gd name="T7" fmla="*/ 120 h 270"/>
                  <a:gd name="T8" fmla="*/ 147 w 237"/>
                  <a:gd name="T9" fmla="*/ 270 h 270"/>
                  <a:gd name="T10" fmla="*/ 0 w 237"/>
                  <a:gd name="T11" fmla="*/ 213 h 270"/>
                </a:gdLst>
                <a:ahLst/>
                <a:cxnLst>
                  <a:cxn ang="0">
                    <a:pos x="T0" y="T1"/>
                  </a:cxn>
                  <a:cxn ang="0">
                    <a:pos x="T2" y="T3"/>
                  </a:cxn>
                  <a:cxn ang="0">
                    <a:pos x="T4" y="T5"/>
                  </a:cxn>
                  <a:cxn ang="0">
                    <a:pos x="T6" y="T7"/>
                  </a:cxn>
                  <a:cxn ang="0">
                    <a:pos x="T8" y="T9"/>
                  </a:cxn>
                  <a:cxn ang="0">
                    <a:pos x="T10" y="T11"/>
                  </a:cxn>
                </a:cxnLst>
                <a:rect l="0" t="0" r="r" b="b"/>
                <a:pathLst>
                  <a:path w="237" h="270">
                    <a:moveTo>
                      <a:pt x="237" y="0"/>
                    </a:moveTo>
                    <a:lnTo>
                      <a:pt x="177" y="122"/>
                    </a:lnTo>
                    <a:lnTo>
                      <a:pt x="117" y="0"/>
                    </a:lnTo>
                    <a:lnTo>
                      <a:pt x="57" y="120"/>
                    </a:lnTo>
                    <a:lnTo>
                      <a:pt x="147" y="270"/>
                    </a:lnTo>
                    <a:lnTo>
                      <a:pt x="0" y="21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06" name="Freeform 2390">
                <a:extLst>
                  <a:ext uri="{FF2B5EF4-FFF2-40B4-BE49-F238E27FC236}">
                    <a16:creationId xmlns:a16="http://schemas.microsoft.com/office/drawing/2014/main" id="{75241061-DDF9-416B-9AAF-F9DD356E7BBC}"/>
                  </a:ext>
                </a:extLst>
              </p:cNvPr>
              <p:cNvSpPr>
                <a:spLocks/>
              </p:cNvSpPr>
              <p:nvPr/>
            </p:nvSpPr>
            <p:spPr bwMode="auto">
              <a:xfrm>
                <a:off x="2355" y="1440"/>
                <a:ext cx="390" cy="570"/>
              </a:xfrm>
              <a:custGeom>
                <a:avLst/>
                <a:gdLst>
                  <a:gd name="T0" fmla="*/ 390 w 390"/>
                  <a:gd name="T1" fmla="*/ 480 h 570"/>
                  <a:gd name="T2" fmla="*/ 330 w 390"/>
                  <a:gd name="T3" fmla="*/ 570 h 570"/>
                  <a:gd name="T4" fmla="*/ 180 w 390"/>
                  <a:gd name="T5" fmla="*/ 540 h 570"/>
                  <a:gd name="T6" fmla="*/ 300 w 390"/>
                  <a:gd name="T7" fmla="*/ 390 h 570"/>
                  <a:gd name="T8" fmla="*/ 120 w 390"/>
                  <a:gd name="T9" fmla="*/ 390 h 570"/>
                  <a:gd name="T10" fmla="*/ 180 w 390"/>
                  <a:gd name="T11" fmla="*/ 210 h 570"/>
                  <a:gd name="T12" fmla="*/ 60 w 390"/>
                  <a:gd name="T13" fmla="*/ 330 h 570"/>
                  <a:gd name="T14" fmla="*/ 0 w 390"/>
                  <a:gd name="T15" fmla="*/ 180 h 570"/>
                  <a:gd name="T16" fmla="*/ 60 w 390"/>
                  <a:gd name="T17" fmla="*/ 60 h 570"/>
                  <a:gd name="T18" fmla="*/ 240 w 390"/>
                  <a:gd name="T19" fmla="*/ 120 h 570"/>
                  <a:gd name="T20" fmla="*/ 180 w 39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570">
                    <a:moveTo>
                      <a:pt x="390" y="480"/>
                    </a:moveTo>
                    <a:lnTo>
                      <a:pt x="330" y="570"/>
                    </a:lnTo>
                    <a:lnTo>
                      <a:pt x="180" y="540"/>
                    </a:lnTo>
                    <a:lnTo>
                      <a:pt x="300" y="390"/>
                    </a:lnTo>
                    <a:lnTo>
                      <a:pt x="120" y="390"/>
                    </a:lnTo>
                    <a:lnTo>
                      <a:pt x="180" y="210"/>
                    </a:lnTo>
                    <a:lnTo>
                      <a:pt x="60" y="330"/>
                    </a:lnTo>
                    <a:lnTo>
                      <a:pt x="0" y="180"/>
                    </a:lnTo>
                    <a:lnTo>
                      <a:pt x="60" y="60"/>
                    </a:lnTo>
                    <a:lnTo>
                      <a:pt x="240" y="120"/>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07" name="Freeform 2391">
                <a:extLst>
                  <a:ext uri="{FF2B5EF4-FFF2-40B4-BE49-F238E27FC236}">
                    <a16:creationId xmlns:a16="http://schemas.microsoft.com/office/drawing/2014/main" id="{27491140-E0F8-46BC-9656-969D15B18023}"/>
                  </a:ext>
                </a:extLst>
              </p:cNvPr>
              <p:cNvSpPr>
                <a:spLocks/>
              </p:cNvSpPr>
              <p:nvPr/>
            </p:nvSpPr>
            <p:spPr bwMode="auto">
              <a:xfrm>
                <a:off x="2355" y="1410"/>
                <a:ext cx="480" cy="420"/>
              </a:xfrm>
              <a:custGeom>
                <a:avLst/>
                <a:gdLst>
                  <a:gd name="T0" fmla="*/ 300 w 480"/>
                  <a:gd name="T1" fmla="*/ 420 h 420"/>
                  <a:gd name="T2" fmla="*/ 0 w 480"/>
                  <a:gd name="T3" fmla="*/ 210 h 420"/>
                  <a:gd name="T4" fmla="*/ 180 w 480"/>
                  <a:gd name="T5" fmla="*/ 240 h 420"/>
                  <a:gd name="T6" fmla="*/ 90 w 480"/>
                  <a:gd name="T7" fmla="*/ 0 h 420"/>
                  <a:gd name="T8" fmla="*/ 240 w 480"/>
                  <a:gd name="T9" fmla="*/ 150 h 420"/>
                  <a:gd name="T10" fmla="*/ 270 w 480"/>
                  <a:gd name="T11" fmla="*/ 0 h 420"/>
                  <a:gd name="T12" fmla="*/ 420 w 480"/>
                  <a:gd name="T13" fmla="*/ 0 h 420"/>
                  <a:gd name="T14" fmla="*/ 480 w 480"/>
                  <a:gd name="T15" fmla="*/ 9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0" h="420">
                    <a:moveTo>
                      <a:pt x="300" y="420"/>
                    </a:moveTo>
                    <a:lnTo>
                      <a:pt x="0" y="210"/>
                    </a:lnTo>
                    <a:lnTo>
                      <a:pt x="180" y="240"/>
                    </a:lnTo>
                    <a:lnTo>
                      <a:pt x="90" y="0"/>
                    </a:lnTo>
                    <a:lnTo>
                      <a:pt x="240" y="150"/>
                    </a:lnTo>
                    <a:lnTo>
                      <a:pt x="270" y="0"/>
                    </a:lnTo>
                    <a:lnTo>
                      <a:pt x="420" y="0"/>
                    </a:lnTo>
                    <a:lnTo>
                      <a:pt x="4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08" name="Freeform 2392">
                <a:extLst>
                  <a:ext uri="{FF2B5EF4-FFF2-40B4-BE49-F238E27FC236}">
                    <a16:creationId xmlns:a16="http://schemas.microsoft.com/office/drawing/2014/main" id="{8416A365-025B-4859-B336-FFA316FD3EA8}"/>
                  </a:ext>
                </a:extLst>
              </p:cNvPr>
              <p:cNvSpPr>
                <a:spLocks/>
              </p:cNvSpPr>
              <p:nvPr/>
            </p:nvSpPr>
            <p:spPr bwMode="auto">
              <a:xfrm>
                <a:off x="2925" y="1260"/>
                <a:ext cx="120" cy="300"/>
              </a:xfrm>
              <a:custGeom>
                <a:avLst/>
                <a:gdLst>
                  <a:gd name="T0" fmla="*/ 0 w 120"/>
                  <a:gd name="T1" fmla="*/ 0 h 300"/>
                  <a:gd name="T2" fmla="*/ 0 w 120"/>
                  <a:gd name="T3" fmla="*/ 180 h 300"/>
                  <a:gd name="T4" fmla="*/ 120 w 120"/>
                  <a:gd name="T5" fmla="*/ 90 h 300"/>
                  <a:gd name="T6" fmla="*/ 120 w 120"/>
                  <a:gd name="T7" fmla="*/ 210 h 300"/>
                  <a:gd name="T8" fmla="*/ 90 w 120"/>
                  <a:gd name="T9" fmla="*/ 300 h 300"/>
                </a:gdLst>
                <a:ahLst/>
                <a:cxnLst>
                  <a:cxn ang="0">
                    <a:pos x="T0" y="T1"/>
                  </a:cxn>
                  <a:cxn ang="0">
                    <a:pos x="T2" y="T3"/>
                  </a:cxn>
                  <a:cxn ang="0">
                    <a:pos x="T4" y="T5"/>
                  </a:cxn>
                  <a:cxn ang="0">
                    <a:pos x="T6" y="T7"/>
                  </a:cxn>
                  <a:cxn ang="0">
                    <a:pos x="T8" y="T9"/>
                  </a:cxn>
                </a:cxnLst>
                <a:rect l="0" t="0" r="r" b="b"/>
                <a:pathLst>
                  <a:path w="120" h="300">
                    <a:moveTo>
                      <a:pt x="0" y="0"/>
                    </a:moveTo>
                    <a:lnTo>
                      <a:pt x="0" y="180"/>
                    </a:lnTo>
                    <a:lnTo>
                      <a:pt x="120" y="90"/>
                    </a:lnTo>
                    <a:lnTo>
                      <a:pt x="120" y="210"/>
                    </a:lnTo>
                    <a:lnTo>
                      <a:pt x="9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09" name="Freeform 2393">
                <a:extLst>
                  <a:ext uri="{FF2B5EF4-FFF2-40B4-BE49-F238E27FC236}">
                    <a16:creationId xmlns:a16="http://schemas.microsoft.com/office/drawing/2014/main" id="{8676567F-3C36-4DAF-9642-17643DA4BB65}"/>
                  </a:ext>
                </a:extLst>
              </p:cNvPr>
              <p:cNvSpPr>
                <a:spLocks/>
              </p:cNvSpPr>
              <p:nvPr/>
            </p:nvSpPr>
            <p:spPr bwMode="auto">
              <a:xfrm>
                <a:off x="2715" y="1292"/>
                <a:ext cx="330" cy="178"/>
              </a:xfrm>
              <a:custGeom>
                <a:avLst/>
                <a:gdLst>
                  <a:gd name="T0" fmla="*/ 0 w 330"/>
                  <a:gd name="T1" fmla="*/ 0 h 178"/>
                  <a:gd name="T2" fmla="*/ 60 w 330"/>
                  <a:gd name="T3" fmla="*/ 118 h 178"/>
                  <a:gd name="T4" fmla="*/ 150 w 330"/>
                  <a:gd name="T5" fmla="*/ 28 h 178"/>
                  <a:gd name="T6" fmla="*/ 330 w 330"/>
                  <a:gd name="T7" fmla="*/ 178 h 178"/>
                </a:gdLst>
                <a:ahLst/>
                <a:cxnLst>
                  <a:cxn ang="0">
                    <a:pos x="T0" y="T1"/>
                  </a:cxn>
                  <a:cxn ang="0">
                    <a:pos x="T2" y="T3"/>
                  </a:cxn>
                  <a:cxn ang="0">
                    <a:pos x="T4" y="T5"/>
                  </a:cxn>
                  <a:cxn ang="0">
                    <a:pos x="T6" y="T7"/>
                  </a:cxn>
                </a:cxnLst>
                <a:rect l="0" t="0" r="r" b="b"/>
                <a:pathLst>
                  <a:path w="330" h="178">
                    <a:moveTo>
                      <a:pt x="0" y="0"/>
                    </a:moveTo>
                    <a:lnTo>
                      <a:pt x="60" y="118"/>
                    </a:lnTo>
                    <a:lnTo>
                      <a:pt x="150" y="28"/>
                    </a:lnTo>
                    <a:lnTo>
                      <a:pt x="330" y="17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10" name="Line 2394">
                <a:extLst>
                  <a:ext uri="{FF2B5EF4-FFF2-40B4-BE49-F238E27FC236}">
                    <a16:creationId xmlns:a16="http://schemas.microsoft.com/office/drawing/2014/main" id="{1BDDBE8C-015E-4C06-BEAB-7EC1BC3E2E7B}"/>
                  </a:ext>
                </a:extLst>
              </p:cNvPr>
              <p:cNvSpPr>
                <a:spLocks noChangeShapeType="1"/>
              </p:cNvSpPr>
              <p:nvPr/>
            </p:nvSpPr>
            <p:spPr bwMode="auto">
              <a:xfrm flipH="1">
                <a:off x="2925" y="1410"/>
                <a:ext cx="24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11" name="Freeform 2395">
                <a:extLst>
                  <a:ext uri="{FF2B5EF4-FFF2-40B4-BE49-F238E27FC236}">
                    <a16:creationId xmlns:a16="http://schemas.microsoft.com/office/drawing/2014/main" id="{FB3C597E-9635-4BC8-97B0-541622858207}"/>
                  </a:ext>
                </a:extLst>
              </p:cNvPr>
              <p:cNvSpPr>
                <a:spLocks/>
              </p:cNvSpPr>
              <p:nvPr/>
            </p:nvSpPr>
            <p:spPr bwMode="auto">
              <a:xfrm>
                <a:off x="2086" y="2070"/>
                <a:ext cx="899" cy="720"/>
              </a:xfrm>
              <a:custGeom>
                <a:avLst/>
                <a:gdLst>
                  <a:gd name="T0" fmla="*/ 59 w 899"/>
                  <a:gd name="T1" fmla="*/ 240 h 720"/>
                  <a:gd name="T2" fmla="*/ 179 w 899"/>
                  <a:gd name="T3" fmla="*/ 390 h 720"/>
                  <a:gd name="T4" fmla="*/ 239 w 899"/>
                  <a:gd name="T5" fmla="*/ 300 h 720"/>
                  <a:gd name="T6" fmla="*/ 329 w 899"/>
                  <a:gd name="T7" fmla="*/ 360 h 720"/>
                  <a:gd name="T8" fmla="*/ 329 w 899"/>
                  <a:gd name="T9" fmla="*/ 240 h 720"/>
                  <a:gd name="T10" fmla="*/ 179 w 899"/>
                  <a:gd name="T11" fmla="*/ 181 h 720"/>
                  <a:gd name="T12" fmla="*/ 269 w 899"/>
                  <a:gd name="T13" fmla="*/ 150 h 720"/>
                  <a:gd name="T14" fmla="*/ 389 w 899"/>
                  <a:gd name="T15" fmla="*/ 120 h 720"/>
                  <a:gd name="T16" fmla="*/ 449 w 899"/>
                  <a:gd name="T17" fmla="*/ 300 h 720"/>
                  <a:gd name="T18" fmla="*/ 539 w 899"/>
                  <a:gd name="T19" fmla="*/ 180 h 720"/>
                  <a:gd name="T20" fmla="*/ 509 w 899"/>
                  <a:gd name="T21" fmla="*/ 60 h 720"/>
                  <a:gd name="T22" fmla="*/ 359 w 899"/>
                  <a:gd name="T23" fmla="*/ 30 h 720"/>
                  <a:gd name="T24" fmla="*/ 569 w 899"/>
                  <a:gd name="T25" fmla="*/ 0 h 720"/>
                  <a:gd name="T26" fmla="*/ 689 w 899"/>
                  <a:gd name="T27" fmla="*/ 90 h 720"/>
                  <a:gd name="T28" fmla="*/ 659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89 w 899"/>
                  <a:gd name="T41" fmla="*/ 390 h 720"/>
                  <a:gd name="T42" fmla="*/ 539 w 899"/>
                  <a:gd name="T43" fmla="*/ 330 h 720"/>
                  <a:gd name="T44" fmla="*/ 569 w 899"/>
                  <a:gd name="T45" fmla="*/ 450 h 720"/>
                  <a:gd name="T46" fmla="*/ 419 w 899"/>
                  <a:gd name="T47" fmla="*/ 420 h 720"/>
                  <a:gd name="T48" fmla="*/ 389 w 899"/>
                  <a:gd name="T49" fmla="*/ 540 h 720"/>
                  <a:gd name="T50" fmla="*/ 509 w 899"/>
                  <a:gd name="T51" fmla="*/ 570 h 720"/>
                  <a:gd name="T52" fmla="*/ 659 w 899"/>
                  <a:gd name="T53" fmla="*/ 570 h 720"/>
                  <a:gd name="T54" fmla="*/ 599 w 899"/>
                  <a:gd name="T55" fmla="*/ 720 h 720"/>
                  <a:gd name="T56" fmla="*/ 299 w 899"/>
                  <a:gd name="T57" fmla="*/ 630 h 720"/>
                  <a:gd name="T58" fmla="*/ 268 w 899"/>
                  <a:gd name="T59" fmla="*/ 482 h 720"/>
                  <a:gd name="T60" fmla="*/ 179 w 899"/>
                  <a:gd name="T61" fmla="*/ 570 h 720"/>
                  <a:gd name="T62" fmla="*/ 59 w 899"/>
                  <a:gd name="T63" fmla="*/ 480 h 720"/>
                  <a:gd name="T64" fmla="*/ 0 w 899"/>
                  <a:gd name="T65" fmla="*/ 360 h 720"/>
                  <a:gd name="T66" fmla="*/ 59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59" y="240"/>
                    </a:move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599" y="720"/>
                    </a:lnTo>
                    <a:lnTo>
                      <a:pt x="299" y="630"/>
                    </a:lnTo>
                    <a:lnTo>
                      <a:pt x="268" y="482"/>
                    </a:lnTo>
                    <a:lnTo>
                      <a:pt x="179" y="570"/>
                    </a:lnTo>
                    <a:lnTo>
                      <a:pt x="59" y="480"/>
                    </a:lnTo>
                    <a:lnTo>
                      <a:pt x="0" y="360"/>
                    </a:lnTo>
                    <a:lnTo>
                      <a:pt x="59"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12" name="Line 2396">
                <a:extLst>
                  <a:ext uri="{FF2B5EF4-FFF2-40B4-BE49-F238E27FC236}">
                    <a16:creationId xmlns:a16="http://schemas.microsoft.com/office/drawing/2014/main" id="{0997670F-99E5-4B79-8442-4FA844DA6D32}"/>
                  </a:ext>
                </a:extLst>
              </p:cNvPr>
              <p:cNvSpPr>
                <a:spLocks noChangeShapeType="1"/>
              </p:cNvSpPr>
              <p:nvPr/>
            </p:nvSpPr>
            <p:spPr bwMode="auto">
              <a:xfrm flipH="1">
                <a:off x="2145" y="225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13" name="Freeform 2397">
                <a:extLst>
                  <a:ext uri="{FF2B5EF4-FFF2-40B4-BE49-F238E27FC236}">
                    <a16:creationId xmlns:a16="http://schemas.microsoft.com/office/drawing/2014/main" id="{FCCE8E8D-A720-4DFA-86FD-7D95C9B25E45}"/>
                  </a:ext>
                </a:extLst>
              </p:cNvPr>
              <p:cNvSpPr>
                <a:spLocks/>
              </p:cNvSpPr>
              <p:nvPr/>
            </p:nvSpPr>
            <p:spPr bwMode="auto">
              <a:xfrm>
                <a:off x="2354" y="243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14" name="Freeform 2398">
                <a:extLst>
                  <a:ext uri="{FF2B5EF4-FFF2-40B4-BE49-F238E27FC236}">
                    <a16:creationId xmlns:a16="http://schemas.microsoft.com/office/drawing/2014/main" id="{CFD4E33D-949E-407F-9D11-9E15CAC47BB7}"/>
                  </a:ext>
                </a:extLst>
              </p:cNvPr>
              <p:cNvSpPr>
                <a:spLocks/>
              </p:cNvSpPr>
              <p:nvPr/>
            </p:nvSpPr>
            <p:spPr bwMode="auto">
              <a:xfrm>
                <a:off x="2415" y="1980"/>
                <a:ext cx="240" cy="330"/>
              </a:xfrm>
              <a:custGeom>
                <a:avLst/>
                <a:gdLst>
                  <a:gd name="T0" fmla="*/ 180 w 240"/>
                  <a:gd name="T1" fmla="*/ 150 h 330"/>
                  <a:gd name="T2" fmla="*/ 120 w 240"/>
                  <a:gd name="T3" fmla="*/ 0 h 330"/>
                  <a:gd name="T4" fmla="*/ 240 w 240"/>
                  <a:gd name="T5" fmla="*/ 90 h 330"/>
                  <a:gd name="T6" fmla="*/ 210 w 240"/>
                  <a:gd name="T7" fmla="*/ 270 h 330"/>
                  <a:gd name="T8" fmla="*/ 0 w 240"/>
                  <a:gd name="T9" fmla="*/ 330 h 330"/>
                </a:gdLst>
                <a:ahLst/>
                <a:cxnLst>
                  <a:cxn ang="0">
                    <a:pos x="T0" y="T1"/>
                  </a:cxn>
                  <a:cxn ang="0">
                    <a:pos x="T2" y="T3"/>
                  </a:cxn>
                  <a:cxn ang="0">
                    <a:pos x="T4" y="T5"/>
                  </a:cxn>
                  <a:cxn ang="0">
                    <a:pos x="T6" y="T7"/>
                  </a:cxn>
                  <a:cxn ang="0">
                    <a:pos x="T8" y="T9"/>
                  </a:cxn>
                </a:cxnLst>
                <a:rect l="0" t="0" r="r" b="b"/>
                <a:pathLst>
                  <a:path w="240" h="330">
                    <a:moveTo>
                      <a:pt x="180" y="150"/>
                    </a:moveTo>
                    <a:lnTo>
                      <a:pt x="120" y="0"/>
                    </a:lnTo>
                    <a:lnTo>
                      <a:pt x="240" y="90"/>
                    </a:lnTo>
                    <a:lnTo>
                      <a:pt x="21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15" name="Line 2399">
                <a:extLst>
                  <a:ext uri="{FF2B5EF4-FFF2-40B4-BE49-F238E27FC236}">
                    <a16:creationId xmlns:a16="http://schemas.microsoft.com/office/drawing/2014/main" id="{4ACDB182-5233-4D93-BDD9-A7AC18B9930C}"/>
                  </a:ext>
                </a:extLst>
              </p:cNvPr>
              <p:cNvSpPr>
                <a:spLocks noChangeShapeType="1"/>
              </p:cNvSpPr>
              <p:nvPr/>
            </p:nvSpPr>
            <p:spPr bwMode="auto">
              <a:xfrm>
                <a:off x="247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16" name="Freeform 2400">
                <a:extLst>
                  <a:ext uri="{FF2B5EF4-FFF2-40B4-BE49-F238E27FC236}">
                    <a16:creationId xmlns:a16="http://schemas.microsoft.com/office/drawing/2014/main" id="{7C6DF5A9-DEF6-478D-8B35-9B6B83188A6F}"/>
                  </a:ext>
                </a:extLst>
              </p:cNvPr>
              <p:cNvSpPr>
                <a:spLocks/>
              </p:cNvSpPr>
              <p:nvPr/>
            </p:nvSpPr>
            <p:spPr bwMode="auto">
              <a:xfrm>
                <a:off x="3045" y="207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17" name="Freeform 2401">
                <a:extLst>
                  <a:ext uri="{FF2B5EF4-FFF2-40B4-BE49-F238E27FC236}">
                    <a16:creationId xmlns:a16="http://schemas.microsoft.com/office/drawing/2014/main" id="{C530EC77-F2E3-4D3B-AAE5-AD8CC9C0D1BB}"/>
                  </a:ext>
                </a:extLst>
              </p:cNvPr>
              <p:cNvSpPr>
                <a:spLocks/>
              </p:cNvSpPr>
              <p:nvPr/>
            </p:nvSpPr>
            <p:spPr bwMode="auto">
              <a:xfrm>
                <a:off x="3105" y="222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18" name="Freeform 2402">
                <a:extLst>
                  <a:ext uri="{FF2B5EF4-FFF2-40B4-BE49-F238E27FC236}">
                    <a16:creationId xmlns:a16="http://schemas.microsoft.com/office/drawing/2014/main" id="{65B7B19B-36D5-4A9F-807B-6CD1AF46F42E}"/>
                  </a:ext>
                </a:extLst>
              </p:cNvPr>
              <p:cNvSpPr>
                <a:spLocks/>
              </p:cNvSpPr>
              <p:nvPr/>
            </p:nvSpPr>
            <p:spPr bwMode="auto">
              <a:xfrm>
                <a:off x="2985" y="225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19" name="Freeform 2403">
                <a:extLst>
                  <a:ext uri="{FF2B5EF4-FFF2-40B4-BE49-F238E27FC236}">
                    <a16:creationId xmlns:a16="http://schemas.microsoft.com/office/drawing/2014/main" id="{F96B5E80-1D92-4D71-8839-92AE90D596EE}"/>
                  </a:ext>
                </a:extLst>
              </p:cNvPr>
              <p:cNvSpPr>
                <a:spLocks/>
              </p:cNvSpPr>
              <p:nvPr/>
            </p:nvSpPr>
            <p:spPr bwMode="auto">
              <a:xfrm>
                <a:off x="3313" y="243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20" name="Freeform 2404">
                <a:extLst>
                  <a:ext uri="{FF2B5EF4-FFF2-40B4-BE49-F238E27FC236}">
                    <a16:creationId xmlns:a16="http://schemas.microsoft.com/office/drawing/2014/main" id="{999086B0-E042-4AA0-9954-9C465E0BF32F}"/>
                  </a:ext>
                </a:extLst>
              </p:cNvPr>
              <p:cNvSpPr>
                <a:spLocks/>
              </p:cNvSpPr>
              <p:nvPr/>
            </p:nvSpPr>
            <p:spPr bwMode="auto">
              <a:xfrm>
                <a:off x="3375" y="204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21" name="Line 2405">
                <a:extLst>
                  <a:ext uri="{FF2B5EF4-FFF2-40B4-BE49-F238E27FC236}">
                    <a16:creationId xmlns:a16="http://schemas.microsoft.com/office/drawing/2014/main" id="{C1DB0B1A-80AD-4CBB-8F9E-BCF4A8CC1EEE}"/>
                  </a:ext>
                </a:extLst>
              </p:cNvPr>
              <p:cNvSpPr>
                <a:spLocks noChangeShapeType="1"/>
              </p:cNvSpPr>
              <p:nvPr/>
            </p:nvSpPr>
            <p:spPr bwMode="auto">
              <a:xfrm>
                <a:off x="343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22" name="Line 2406">
                <a:extLst>
                  <a:ext uri="{FF2B5EF4-FFF2-40B4-BE49-F238E27FC236}">
                    <a16:creationId xmlns:a16="http://schemas.microsoft.com/office/drawing/2014/main" id="{123A07F9-60B6-4DBF-A0E6-0ACE40946A29}"/>
                  </a:ext>
                </a:extLst>
              </p:cNvPr>
              <p:cNvSpPr>
                <a:spLocks noChangeShapeType="1"/>
              </p:cNvSpPr>
              <p:nvPr/>
            </p:nvSpPr>
            <p:spPr bwMode="auto">
              <a:xfrm>
                <a:off x="2955" y="18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23" name="Line 2407">
                <a:extLst>
                  <a:ext uri="{FF2B5EF4-FFF2-40B4-BE49-F238E27FC236}">
                    <a16:creationId xmlns:a16="http://schemas.microsoft.com/office/drawing/2014/main" id="{D637EF9B-BB36-4FDA-B0C8-71CD4861AADD}"/>
                  </a:ext>
                </a:extLst>
              </p:cNvPr>
              <p:cNvSpPr>
                <a:spLocks noChangeShapeType="1"/>
              </p:cNvSpPr>
              <p:nvPr/>
            </p:nvSpPr>
            <p:spPr bwMode="auto">
              <a:xfrm>
                <a:off x="2655" y="18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24" name="Line 2408">
                <a:extLst>
                  <a:ext uri="{FF2B5EF4-FFF2-40B4-BE49-F238E27FC236}">
                    <a16:creationId xmlns:a16="http://schemas.microsoft.com/office/drawing/2014/main" id="{8575CAF0-904A-4068-8F34-41C8D5C21A28}"/>
                  </a:ext>
                </a:extLst>
              </p:cNvPr>
              <p:cNvSpPr>
                <a:spLocks noChangeShapeType="1"/>
              </p:cNvSpPr>
              <p:nvPr/>
            </p:nvSpPr>
            <p:spPr bwMode="auto">
              <a:xfrm>
                <a:off x="3045" y="17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25" name="Line 2409">
                <a:extLst>
                  <a:ext uri="{FF2B5EF4-FFF2-40B4-BE49-F238E27FC236}">
                    <a16:creationId xmlns:a16="http://schemas.microsoft.com/office/drawing/2014/main" id="{86FE618B-342E-41EA-91FE-7B4E387555E2}"/>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26" name="Line 2410">
                <a:extLst>
                  <a:ext uri="{FF2B5EF4-FFF2-40B4-BE49-F238E27FC236}">
                    <a16:creationId xmlns:a16="http://schemas.microsoft.com/office/drawing/2014/main" id="{CC671C04-106B-4B98-A361-D25871EC7518}"/>
                  </a:ext>
                </a:extLst>
              </p:cNvPr>
              <p:cNvSpPr>
                <a:spLocks noChangeShapeType="1"/>
              </p:cNvSpPr>
              <p:nvPr/>
            </p:nvSpPr>
            <p:spPr bwMode="auto">
              <a:xfrm flipH="1" flipV="1">
                <a:off x="2415" y="1770"/>
                <a:ext cx="6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27" name="Line 2411">
                <a:extLst>
                  <a:ext uri="{FF2B5EF4-FFF2-40B4-BE49-F238E27FC236}">
                    <a16:creationId xmlns:a16="http://schemas.microsoft.com/office/drawing/2014/main" id="{D6F86D8F-DF67-4277-9A1D-37540986FA55}"/>
                  </a:ext>
                </a:extLst>
              </p:cNvPr>
              <p:cNvSpPr>
                <a:spLocks noChangeShapeType="1"/>
              </p:cNvSpPr>
              <p:nvPr/>
            </p:nvSpPr>
            <p:spPr bwMode="auto">
              <a:xfrm>
                <a:off x="2475" y="1830"/>
                <a:ext cx="21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28" name="Line 2412">
                <a:extLst>
                  <a:ext uri="{FF2B5EF4-FFF2-40B4-BE49-F238E27FC236}">
                    <a16:creationId xmlns:a16="http://schemas.microsoft.com/office/drawing/2014/main" id="{EA474CEB-A7DA-4A5D-B879-FD3FEF5BD6CC}"/>
                  </a:ext>
                </a:extLst>
              </p:cNvPr>
              <p:cNvSpPr>
                <a:spLocks noChangeShapeType="1"/>
              </p:cNvSpPr>
              <p:nvPr/>
            </p:nvSpPr>
            <p:spPr bwMode="auto">
              <a:xfrm>
                <a:off x="2535" y="16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29" name="Line 2413">
                <a:extLst>
                  <a:ext uri="{FF2B5EF4-FFF2-40B4-BE49-F238E27FC236}">
                    <a16:creationId xmlns:a16="http://schemas.microsoft.com/office/drawing/2014/main" id="{C056C5ED-D7BD-4982-8C98-2057BACCF2A0}"/>
                  </a:ext>
                </a:extLst>
              </p:cNvPr>
              <p:cNvSpPr>
                <a:spLocks noChangeShapeType="1"/>
              </p:cNvSpPr>
              <p:nvPr/>
            </p:nvSpPr>
            <p:spPr bwMode="auto">
              <a:xfrm>
                <a:off x="3045" y="13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30" name="Line 2414">
                <a:extLst>
                  <a:ext uri="{FF2B5EF4-FFF2-40B4-BE49-F238E27FC236}">
                    <a16:creationId xmlns:a16="http://schemas.microsoft.com/office/drawing/2014/main" id="{CE931DD8-DC7A-4024-AD9D-6F7B1824B1F8}"/>
                  </a:ext>
                </a:extLst>
              </p:cNvPr>
              <p:cNvSpPr>
                <a:spLocks noChangeShapeType="1"/>
              </p:cNvSpPr>
              <p:nvPr/>
            </p:nvSpPr>
            <p:spPr bwMode="auto">
              <a:xfrm>
                <a:off x="2925" y="12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31" name="Freeform 2415">
                <a:extLst>
                  <a:ext uri="{FF2B5EF4-FFF2-40B4-BE49-F238E27FC236}">
                    <a16:creationId xmlns:a16="http://schemas.microsoft.com/office/drawing/2014/main" id="{B6DC3E10-8D67-4A92-A8B6-99DE3D5BF164}"/>
                  </a:ext>
                </a:extLst>
              </p:cNvPr>
              <p:cNvSpPr>
                <a:spLocks/>
              </p:cNvSpPr>
              <p:nvPr/>
            </p:nvSpPr>
            <p:spPr bwMode="auto">
              <a:xfrm>
                <a:off x="2865" y="1710"/>
                <a:ext cx="240" cy="240"/>
              </a:xfrm>
              <a:custGeom>
                <a:avLst/>
                <a:gdLst>
                  <a:gd name="T0" fmla="*/ 240 w 240"/>
                  <a:gd name="T1" fmla="*/ 0 h 240"/>
                  <a:gd name="T2" fmla="*/ 210 w 240"/>
                  <a:gd name="T3" fmla="*/ 180 h 240"/>
                  <a:gd name="T4" fmla="*/ 180 w 240"/>
                  <a:gd name="T5" fmla="*/ 60 h 240"/>
                  <a:gd name="T6" fmla="*/ 150 w 240"/>
                  <a:gd name="T7" fmla="*/ 240 h 240"/>
                  <a:gd name="T8" fmla="*/ 90 w 240"/>
                  <a:gd name="T9" fmla="*/ 180 h 240"/>
                  <a:gd name="T10" fmla="*/ 0 w 240"/>
                  <a:gd name="T11" fmla="*/ 210 h 240"/>
                </a:gdLst>
                <a:ahLst/>
                <a:cxnLst>
                  <a:cxn ang="0">
                    <a:pos x="T0" y="T1"/>
                  </a:cxn>
                  <a:cxn ang="0">
                    <a:pos x="T2" y="T3"/>
                  </a:cxn>
                  <a:cxn ang="0">
                    <a:pos x="T4" y="T5"/>
                  </a:cxn>
                  <a:cxn ang="0">
                    <a:pos x="T6" y="T7"/>
                  </a:cxn>
                  <a:cxn ang="0">
                    <a:pos x="T8" y="T9"/>
                  </a:cxn>
                  <a:cxn ang="0">
                    <a:pos x="T10" y="T11"/>
                  </a:cxn>
                </a:cxnLst>
                <a:rect l="0" t="0" r="r" b="b"/>
                <a:pathLst>
                  <a:path w="240" h="240">
                    <a:moveTo>
                      <a:pt x="240" y="0"/>
                    </a:moveTo>
                    <a:lnTo>
                      <a:pt x="210" y="180"/>
                    </a:lnTo>
                    <a:lnTo>
                      <a:pt x="180" y="60"/>
                    </a:lnTo>
                    <a:lnTo>
                      <a:pt x="150" y="240"/>
                    </a:lnTo>
                    <a:lnTo>
                      <a:pt x="90" y="18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32" name="Line 2416">
                <a:extLst>
                  <a:ext uri="{FF2B5EF4-FFF2-40B4-BE49-F238E27FC236}">
                    <a16:creationId xmlns:a16="http://schemas.microsoft.com/office/drawing/2014/main" id="{AF9A48C4-5F7B-49D8-B1FE-ADEE0AAA9111}"/>
                  </a:ext>
                </a:extLst>
              </p:cNvPr>
              <p:cNvSpPr>
                <a:spLocks noChangeShapeType="1"/>
              </p:cNvSpPr>
              <p:nvPr/>
            </p:nvSpPr>
            <p:spPr bwMode="auto">
              <a:xfrm>
                <a:off x="2865" y="19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33" name="Freeform 2417">
                <a:extLst>
                  <a:ext uri="{FF2B5EF4-FFF2-40B4-BE49-F238E27FC236}">
                    <a16:creationId xmlns:a16="http://schemas.microsoft.com/office/drawing/2014/main" id="{160C5DB8-E68C-4C2D-AFE7-79FE330C2012}"/>
                  </a:ext>
                </a:extLst>
              </p:cNvPr>
              <p:cNvSpPr>
                <a:spLocks/>
              </p:cNvSpPr>
              <p:nvPr/>
            </p:nvSpPr>
            <p:spPr bwMode="auto">
              <a:xfrm>
                <a:off x="3045" y="1770"/>
                <a:ext cx="180" cy="120"/>
              </a:xfrm>
              <a:custGeom>
                <a:avLst/>
                <a:gdLst>
                  <a:gd name="T0" fmla="*/ 150 w 180"/>
                  <a:gd name="T1" fmla="*/ 120 h 120"/>
                  <a:gd name="T2" fmla="*/ 180 w 180"/>
                  <a:gd name="T3" fmla="*/ 0 h 120"/>
                  <a:gd name="T4" fmla="*/ 30 w 180"/>
                  <a:gd name="T5" fmla="*/ 120 h 120"/>
                  <a:gd name="T6" fmla="*/ 150 w 180"/>
                  <a:gd name="T7" fmla="*/ 120 h 120"/>
                  <a:gd name="T8" fmla="*/ 0 w 180"/>
                  <a:gd name="T9" fmla="*/ 0 h 120"/>
                </a:gdLst>
                <a:ahLst/>
                <a:cxnLst>
                  <a:cxn ang="0">
                    <a:pos x="T0" y="T1"/>
                  </a:cxn>
                  <a:cxn ang="0">
                    <a:pos x="T2" y="T3"/>
                  </a:cxn>
                  <a:cxn ang="0">
                    <a:pos x="T4" y="T5"/>
                  </a:cxn>
                  <a:cxn ang="0">
                    <a:pos x="T6" y="T7"/>
                  </a:cxn>
                  <a:cxn ang="0">
                    <a:pos x="T8" y="T9"/>
                  </a:cxn>
                </a:cxnLst>
                <a:rect l="0" t="0" r="r" b="b"/>
                <a:pathLst>
                  <a:path w="180" h="120">
                    <a:moveTo>
                      <a:pt x="150" y="120"/>
                    </a:moveTo>
                    <a:lnTo>
                      <a:pt x="180" y="0"/>
                    </a:lnTo>
                    <a:lnTo>
                      <a:pt x="30" y="120"/>
                    </a:lnTo>
                    <a:lnTo>
                      <a:pt x="15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34" name="Freeform 2418">
                <a:extLst>
                  <a:ext uri="{FF2B5EF4-FFF2-40B4-BE49-F238E27FC236}">
                    <a16:creationId xmlns:a16="http://schemas.microsoft.com/office/drawing/2014/main" id="{89F162EF-0881-489D-99F3-13DA0DFA5EB3}"/>
                  </a:ext>
                </a:extLst>
              </p:cNvPr>
              <p:cNvSpPr>
                <a:spLocks/>
              </p:cNvSpPr>
              <p:nvPr/>
            </p:nvSpPr>
            <p:spPr bwMode="auto">
              <a:xfrm>
                <a:off x="3105" y="1530"/>
                <a:ext cx="240" cy="360"/>
              </a:xfrm>
              <a:custGeom>
                <a:avLst/>
                <a:gdLst>
                  <a:gd name="T0" fmla="*/ 120 w 240"/>
                  <a:gd name="T1" fmla="*/ 240 h 360"/>
                  <a:gd name="T2" fmla="*/ 90 w 240"/>
                  <a:gd name="T3" fmla="*/ 120 h 360"/>
                  <a:gd name="T4" fmla="*/ 90 w 240"/>
                  <a:gd name="T5" fmla="*/ 0 h 360"/>
                  <a:gd name="T6" fmla="*/ 210 w 240"/>
                  <a:gd name="T7" fmla="*/ 30 h 360"/>
                  <a:gd name="T8" fmla="*/ 240 w 240"/>
                  <a:gd name="T9" fmla="*/ 180 h 360"/>
                  <a:gd name="T10" fmla="*/ 120 w 240"/>
                  <a:gd name="T11" fmla="*/ 240 h 360"/>
                  <a:gd name="T12" fmla="*/ 210 w 240"/>
                  <a:gd name="T13" fmla="*/ 330 h 360"/>
                  <a:gd name="T14" fmla="*/ 90 w 240"/>
                  <a:gd name="T15" fmla="*/ 360 h 360"/>
                  <a:gd name="T16" fmla="*/ 0 w 240"/>
                  <a:gd name="T17"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360">
                    <a:moveTo>
                      <a:pt x="120" y="240"/>
                    </a:moveTo>
                    <a:lnTo>
                      <a:pt x="90" y="120"/>
                    </a:lnTo>
                    <a:lnTo>
                      <a:pt x="90" y="0"/>
                    </a:lnTo>
                    <a:lnTo>
                      <a:pt x="210" y="30"/>
                    </a:lnTo>
                    <a:lnTo>
                      <a:pt x="240" y="180"/>
                    </a:lnTo>
                    <a:lnTo>
                      <a:pt x="120" y="240"/>
                    </a:lnTo>
                    <a:lnTo>
                      <a:pt x="210" y="330"/>
                    </a:lnTo>
                    <a:lnTo>
                      <a:pt x="90" y="36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35" name="Freeform 2419">
                <a:extLst>
                  <a:ext uri="{FF2B5EF4-FFF2-40B4-BE49-F238E27FC236}">
                    <a16:creationId xmlns:a16="http://schemas.microsoft.com/office/drawing/2014/main" id="{E8321D40-5650-4A34-B3A0-F5FCF57249ED}"/>
                  </a:ext>
                </a:extLst>
              </p:cNvPr>
              <p:cNvSpPr>
                <a:spLocks/>
              </p:cNvSpPr>
              <p:nvPr/>
            </p:nvSpPr>
            <p:spPr bwMode="auto">
              <a:xfrm>
                <a:off x="3105" y="1590"/>
                <a:ext cx="90" cy="120"/>
              </a:xfrm>
              <a:custGeom>
                <a:avLst/>
                <a:gdLst>
                  <a:gd name="T0" fmla="*/ 0 w 90"/>
                  <a:gd name="T1" fmla="*/ 120 h 120"/>
                  <a:gd name="T2" fmla="*/ 90 w 90"/>
                  <a:gd name="T3" fmla="*/ 60 h 120"/>
                  <a:gd name="T4" fmla="*/ 0 w 90"/>
                  <a:gd name="T5" fmla="*/ 0 h 120"/>
                </a:gdLst>
                <a:ahLst/>
                <a:cxnLst>
                  <a:cxn ang="0">
                    <a:pos x="T0" y="T1"/>
                  </a:cxn>
                  <a:cxn ang="0">
                    <a:pos x="T2" y="T3"/>
                  </a:cxn>
                  <a:cxn ang="0">
                    <a:pos x="T4" y="T5"/>
                  </a:cxn>
                </a:cxnLst>
                <a:rect l="0" t="0" r="r" b="b"/>
                <a:pathLst>
                  <a:path w="90" h="120">
                    <a:moveTo>
                      <a:pt x="0" y="120"/>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36" name="Line 2420">
                <a:extLst>
                  <a:ext uri="{FF2B5EF4-FFF2-40B4-BE49-F238E27FC236}">
                    <a16:creationId xmlns:a16="http://schemas.microsoft.com/office/drawing/2014/main" id="{6F5B3182-8A98-4957-94A8-DAA37DA649A6}"/>
                  </a:ext>
                </a:extLst>
              </p:cNvPr>
              <p:cNvSpPr>
                <a:spLocks noChangeShapeType="1"/>
              </p:cNvSpPr>
              <p:nvPr/>
            </p:nvSpPr>
            <p:spPr bwMode="auto">
              <a:xfrm>
                <a:off x="2595" y="15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37" name="Freeform 2421">
                <a:extLst>
                  <a:ext uri="{FF2B5EF4-FFF2-40B4-BE49-F238E27FC236}">
                    <a16:creationId xmlns:a16="http://schemas.microsoft.com/office/drawing/2014/main" id="{54F375CF-E307-488B-8414-44BC164B1BEF}"/>
                  </a:ext>
                </a:extLst>
              </p:cNvPr>
              <p:cNvSpPr>
                <a:spLocks/>
              </p:cNvSpPr>
              <p:nvPr/>
            </p:nvSpPr>
            <p:spPr bwMode="auto">
              <a:xfrm>
                <a:off x="2715" y="1230"/>
                <a:ext cx="450" cy="180"/>
              </a:xfrm>
              <a:custGeom>
                <a:avLst/>
                <a:gdLst>
                  <a:gd name="T0" fmla="*/ 450 w 450"/>
                  <a:gd name="T1" fmla="*/ 180 h 180"/>
                  <a:gd name="T2" fmla="*/ 450 w 450"/>
                  <a:gd name="T3" fmla="*/ 60 h 180"/>
                  <a:gd name="T4" fmla="*/ 330 w 450"/>
                  <a:gd name="T5" fmla="*/ 120 h 180"/>
                  <a:gd name="T6" fmla="*/ 210 w 450"/>
                  <a:gd name="T7" fmla="*/ 30 h 180"/>
                  <a:gd name="T8" fmla="*/ 90 w 450"/>
                  <a:gd name="T9" fmla="*/ 0 h 180"/>
                  <a:gd name="T10" fmla="*/ 150 w 450"/>
                  <a:gd name="T11" fmla="*/ 90 h 180"/>
                  <a:gd name="T12" fmla="*/ 0 w 450"/>
                  <a:gd name="T13" fmla="*/ 60 h 180"/>
                </a:gdLst>
                <a:ahLst/>
                <a:cxnLst>
                  <a:cxn ang="0">
                    <a:pos x="T0" y="T1"/>
                  </a:cxn>
                  <a:cxn ang="0">
                    <a:pos x="T2" y="T3"/>
                  </a:cxn>
                  <a:cxn ang="0">
                    <a:pos x="T4" y="T5"/>
                  </a:cxn>
                  <a:cxn ang="0">
                    <a:pos x="T6" y="T7"/>
                  </a:cxn>
                  <a:cxn ang="0">
                    <a:pos x="T8" y="T9"/>
                  </a:cxn>
                  <a:cxn ang="0">
                    <a:pos x="T10" y="T11"/>
                  </a:cxn>
                  <a:cxn ang="0">
                    <a:pos x="T12" y="T13"/>
                  </a:cxn>
                </a:cxnLst>
                <a:rect l="0" t="0" r="r" b="b"/>
                <a:pathLst>
                  <a:path w="450" h="180">
                    <a:moveTo>
                      <a:pt x="450" y="180"/>
                    </a:moveTo>
                    <a:lnTo>
                      <a:pt x="450" y="60"/>
                    </a:lnTo>
                    <a:lnTo>
                      <a:pt x="330" y="120"/>
                    </a:lnTo>
                    <a:lnTo>
                      <a:pt x="210" y="30"/>
                    </a:lnTo>
                    <a:lnTo>
                      <a:pt x="90" y="0"/>
                    </a:lnTo>
                    <a:lnTo>
                      <a:pt x="150" y="9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38" name="Freeform 2422">
                <a:extLst>
                  <a:ext uri="{FF2B5EF4-FFF2-40B4-BE49-F238E27FC236}">
                    <a16:creationId xmlns:a16="http://schemas.microsoft.com/office/drawing/2014/main" id="{3ED4A8B5-E8DB-4823-95E7-88011B13B9A3}"/>
                  </a:ext>
                </a:extLst>
              </p:cNvPr>
              <p:cNvSpPr>
                <a:spLocks/>
              </p:cNvSpPr>
              <p:nvPr/>
            </p:nvSpPr>
            <p:spPr bwMode="auto">
              <a:xfrm>
                <a:off x="3105" y="1440"/>
                <a:ext cx="180" cy="150"/>
              </a:xfrm>
              <a:custGeom>
                <a:avLst/>
                <a:gdLst>
                  <a:gd name="T0" fmla="*/ 180 w 180"/>
                  <a:gd name="T1" fmla="*/ 0 h 150"/>
                  <a:gd name="T2" fmla="*/ 90 w 180"/>
                  <a:gd name="T3" fmla="*/ 90 h 150"/>
                  <a:gd name="T4" fmla="*/ 0 w 180"/>
                  <a:gd name="T5" fmla="*/ 150 h 150"/>
                </a:gdLst>
                <a:ahLst/>
                <a:cxnLst>
                  <a:cxn ang="0">
                    <a:pos x="T0" y="T1"/>
                  </a:cxn>
                  <a:cxn ang="0">
                    <a:pos x="T2" y="T3"/>
                  </a:cxn>
                  <a:cxn ang="0">
                    <a:pos x="T4" y="T5"/>
                  </a:cxn>
                </a:cxnLst>
                <a:rect l="0" t="0" r="r" b="b"/>
                <a:pathLst>
                  <a:path w="180" h="150">
                    <a:moveTo>
                      <a:pt x="180" y="0"/>
                    </a:moveTo>
                    <a:lnTo>
                      <a:pt x="90" y="9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39" name="Freeform 2423">
                <a:extLst>
                  <a:ext uri="{FF2B5EF4-FFF2-40B4-BE49-F238E27FC236}">
                    <a16:creationId xmlns:a16="http://schemas.microsoft.com/office/drawing/2014/main" id="{DB344CA3-5F19-4FDB-B011-0703C9A22924}"/>
                  </a:ext>
                </a:extLst>
              </p:cNvPr>
              <p:cNvSpPr>
                <a:spLocks/>
              </p:cNvSpPr>
              <p:nvPr/>
            </p:nvSpPr>
            <p:spPr bwMode="auto">
              <a:xfrm>
                <a:off x="2925" y="1260"/>
                <a:ext cx="390" cy="390"/>
              </a:xfrm>
              <a:custGeom>
                <a:avLst/>
                <a:gdLst>
                  <a:gd name="T0" fmla="*/ 270 w 390"/>
                  <a:gd name="T1" fmla="*/ 390 h 390"/>
                  <a:gd name="T2" fmla="*/ 390 w 390"/>
                  <a:gd name="T3" fmla="*/ 300 h 390"/>
                  <a:gd name="T4" fmla="*/ 360 w 390"/>
                  <a:gd name="T5" fmla="*/ 180 h 390"/>
                  <a:gd name="T6" fmla="*/ 240 w 390"/>
                  <a:gd name="T7" fmla="*/ 30 h 390"/>
                  <a:gd name="T8" fmla="*/ 0 w 390"/>
                  <a:gd name="T9" fmla="*/ 0 h 390"/>
                </a:gdLst>
                <a:ahLst/>
                <a:cxnLst>
                  <a:cxn ang="0">
                    <a:pos x="T0" y="T1"/>
                  </a:cxn>
                  <a:cxn ang="0">
                    <a:pos x="T2" y="T3"/>
                  </a:cxn>
                  <a:cxn ang="0">
                    <a:pos x="T4" y="T5"/>
                  </a:cxn>
                  <a:cxn ang="0">
                    <a:pos x="T6" y="T7"/>
                  </a:cxn>
                  <a:cxn ang="0">
                    <a:pos x="T8" y="T9"/>
                  </a:cxn>
                </a:cxnLst>
                <a:rect l="0" t="0" r="r" b="b"/>
                <a:pathLst>
                  <a:path w="390" h="390">
                    <a:moveTo>
                      <a:pt x="270" y="390"/>
                    </a:moveTo>
                    <a:lnTo>
                      <a:pt x="390" y="300"/>
                    </a:lnTo>
                    <a:lnTo>
                      <a:pt x="360" y="180"/>
                    </a:lnTo>
                    <a:lnTo>
                      <a:pt x="24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40" name="Freeform 2424">
                <a:extLst>
                  <a:ext uri="{FF2B5EF4-FFF2-40B4-BE49-F238E27FC236}">
                    <a16:creationId xmlns:a16="http://schemas.microsoft.com/office/drawing/2014/main" id="{F1166E84-22EC-42FC-A8C6-98C39FFE14C5}"/>
                  </a:ext>
                </a:extLst>
              </p:cNvPr>
              <p:cNvSpPr>
                <a:spLocks/>
              </p:cNvSpPr>
              <p:nvPr/>
            </p:nvSpPr>
            <p:spPr bwMode="auto">
              <a:xfrm>
                <a:off x="2445" y="1230"/>
                <a:ext cx="360" cy="210"/>
              </a:xfrm>
              <a:custGeom>
                <a:avLst/>
                <a:gdLst>
                  <a:gd name="T0" fmla="*/ 90 w 360"/>
                  <a:gd name="T1" fmla="*/ 60 h 210"/>
                  <a:gd name="T2" fmla="*/ 0 w 360"/>
                  <a:gd name="T3" fmla="*/ 180 h 210"/>
                  <a:gd name="T4" fmla="*/ 90 w 360"/>
                  <a:gd name="T5" fmla="*/ 210 h 210"/>
                  <a:gd name="T6" fmla="*/ 180 w 360"/>
                  <a:gd name="T7" fmla="*/ 180 h 210"/>
                  <a:gd name="T8" fmla="*/ 90 w 360"/>
                  <a:gd name="T9" fmla="*/ 60 h 210"/>
                  <a:gd name="T10" fmla="*/ 270 w 360"/>
                  <a:gd name="T11" fmla="*/ 60 h 210"/>
                  <a:gd name="T12" fmla="*/ 360 w 36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60" h="210">
                    <a:moveTo>
                      <a:pt x="90" y="60"/>
                    </a:moveTo>
                    <a:lnTo>
                      <a:pt x="0" y="180"/>
                    </a:lnTo>
                    <a:lnTo>
                      <a:pt x="90" y="210"/>
                    </a:lnTo>
                    <a:lnTo>
                      <a:pt x="180" y="180"/>
                    </a:lnTo>
                    <a:lnTo>
                      <a:pt x="90" y="60"/>
                    </a:lnTo>
                    <a:lnTo>
                      <a:pt x="270" y="60"/>
                    </a:lnTo>
                    <a:lnTo>
                      <a:pt x="3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41" name="Line 2425">
                <a:extLst>
                  <a:ext uri="{FF2B5EF4-FFF2-40B4-BE49-F238E27FC236}">
                    <a16:creationId xmlns:a16="http://schemas.microsoft.com/office/drawing/2014/main" id="{7608EC8B-6FF9-4399-982A-29DF9E1DF72B}"/>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42" name="Line 2426">
                <a:extLst>
                  <a:ext uri="{FF2B5EF4-FFF2-40B4-BE49-F238E27FC236}">
                    <a16:creationId xmlns:a16="http://schemas.microsoft.com/office/drawing/2014/main" id="{490EE82E-7FFF-457A-A552-87E2A27A4A32}"/>
                  </a:ext>
                </a:extLst>
              </p:cNvPr>
              <p:cNvSpPr>
                <a:spLocks noChangeShapeType="1"/>
              </p:cNvSpPr>
              <p:nvPr/>
            </p:nvSpPr>
            <p:spPr bwMode="auto">
              <a:xfrm flipH="1">
                <a:off x="3105" y="141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43" name="Freeform 2427">
                <a:extLst>
                  <a:ext uri="{FF2B5EF4-FFF2-40B4-BE49-F238E27FC236}">
                    <a16:creationId xmlns:a16="http://schemas.microsoft.com/office/drawing/2014/main" id="{60BC4186-7FCE-45CA-9B29-7BB91A91F5F5}"/>
                  </a:ext>
                </a:extLst>
              </p:cNvPr>
              <p:cNvSpPr>
                <a:spLocks/>
              </p:cNvSpPr>
              <p:nvPr/>
            </p:nvSpPr>
            <p:spPr bwMode="auto">
              <a:xfrm>
                <a:off x="2505" y="2490"/>
                <a:ext cx="450" cy="300"/>
              </a:xfrm>
              <a:custGeom>
                <a:avLst/>
                <a:gdLst>
                  <a:gd name="T0" fmla="*/ 180 w 450"/>
                  <a:gd name="T1" fmla="*/ 300 h 300"/>
                  <a:gd name="T2" fmla="*/ 300 w 450"/>
                  <a:gd name="T3" fmla="*/ 240 h 300"/>
                  <a:gd name="T4" fmla="*/ 450 w 450"/>
                  <a:gd name="T5" fmla="*/ 300 h 300"/>
                  <a:gd name="T6" fmla="*/ 360 w 450"/>
                  <a:gd name="T7" fmla="*/ 90 h 300"/>
                  <a:gd name="T8" fmla="*/ 240 w 450"/>
                  <a:gd name="T9" fmla="*/ 150 h 300"/>
                  <a:gd name="T10" fmla="*/ 0 w 450"/>
                  <a:gd name="T11" fmla="*/ 0 h 300"/>
                </a:gdLst>
                <a:ahLst/>
                <a:cxnLst>
                  <a:cxn ang="0">
                    <a:pos x="T0" y="T1"/>
                  </a:cxn>
                  <a:cxn ang="0">
                    <a:pos x="T2" y="T3"/>
                  </a:cxn>
                  <a:cxn ang="0">
                    <a:pos x="T4" y="T5"/>
                  </a:cxn>
                  <a:cxn ang="0">
                    <a:pos x="T6" y="T7"/>
                  </a:cxn>
                  <a:cxn ang="0">
                    <a:pos x="T8" y="T9"/>
                  </a:cxn>
                  <a:cxn ang="0">
                    <a:pos x="T10" y="T11"/>
                  </a:cxn>
                </a:cxnLst>
                <a:rect l="0" t="0" r="r" b="b"/>
                <a:pathLst>
                  <a:path w="450" h="300">
                    <a:moveTo>
                      <a:pt x="180" y="300"/>
                    </a:moveTo>
                    <a:lnTo>
                      <a:pt x="300" y="240"/>
                    </a:lnTo>
                    <a:lnTo>
                      <a:pt x="450" y="300"/>
                    </a:lnTo>
                    <a:lnTo>
                      <a:pt x="360" y="9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44" name="Line 2428">
                <a:extLst>
                  <a:ext uri="{FF2B5EF4-FFF2-40B4-BE49-F238E27FC236}">
                    <a16:creationId xmlns:a16="http://schemas.microsoft.com/office/drawing/2014/main" id="{DD80989C-E31B-4E6E-A0FE-76CF40BF28B8}"/>
                  </a:ext>
                </a:extLst>
              </p:cNvPr>
              <p:cNvSpPr>
                <a:spLocks noChangeShapeType="1"/>
              </p:cNvSpPr>
              <p:nvPr/>
            </p:nvSpPr>
            <p:spPr bwMode="auto">
              <a:xfrm flipV="1">
                <a:off x="2925" y="243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45" name="Freeform 2429">
                <a:extLst>
                  <a:ext uri="{FF2B5EF4-FFF2-40B4-BE49-F238E27FC236}">
                    <a16:creationId xmlns:a16="http://schemas.microsoft.com/office/drawing/2014/main" id="{5B3E8514-DE1E-43EC-9DA8-C5F3732ED859}"/>
                  </a:ext>
                </a:extLst>
              </p:cNvPr>
              <p:cNvSpPr>
                <a:spLocks/>
              </p:cNvSpPr>
              <p:nvPr/>
            </p:nvSpPr>
            <p:spPr bwMode="auto">
              <a:xfrm>
                <a:off x="2835" y="2070"/>
                <a:ext cx="300" cy="240"/>
              </a:xfrm>
              <a:custGeom>
                <a:avLst/>
                <a:gdLst>
                  <a:gd name="T0" fmla="*/ 180 w 300"/>
                  <a:gd name="T1" fmla="*/ 0 h 240"/>
                  <a:gd name="T2" fmla="*/ 0 w 300"/>
                  <a:gd name="T3" fmla="*/ 0 h 240"/>
                  <a:gd name="T4" fmla="*/ 60 w 300"/>
                  <a:gd name="T5" fmla="*/ 120 h 240"/>
                  <a:gd name="T6" fmla="*/ 180 w 300"/>
                  <a:gd name="T7" fmla="*/ 0 h 240"/>
                  <a:gd name="T8" fmla="*/ 300 w 300"/>
                  <a:gd name="T9" fmla="*/ 150 h 240"/>
                  <a:gd name="T10" fmla="*/ 150 w 300"/>
                  <a:gd name="T11" fmla="*/ 240 h 240"/>
                </a:gdLst>
                <a:ahLst/>
                <a:cxnLst>
                  <a:cxn ang="0">
                    <a:pos x="T0" y="T1"/>
                  </a:cxn>
                  <a:cxn ang="0">
                    <a:pos x="T2" y="T3"/>
                  </a:cxn>
                  <a:cxn ang="0">
                    <a:pos x="T4" y="T5"/>
                  </a:cxn>
                  <a:cxn ang="0">
                    <a:pos x="T6" y="T7"/>
                  </a:cxn>
                  <a:cxn ang="0">
                    <a:pos x="T8" y="T9"/>
                  </a:cxn>
                  <a:cxn ang="0">
                    <a:pos x="T10" y="T11"/>
                  </a:cxn>
                </a:cxnLst>
                <a:rect l="0" t="0" r="r" b="b"/>
                <a:pathLst>
                  <a:path w="300" h="240">
                    <a:moveTo>
                      <a:pt x="180" y="0"/>
                    </a:moveTo>
                    <a:lnTo>
                      <a:pt x="0" y="0"/>
                    </a:lnTo>
                    <a:lnTo>
                      <a:pt x="60" y="120"/>
                    </a:lnTo>
                    <a:lnTo>
                      <a:pt x="180" y="0"/>
                    </a:lnTo>
                    <a:lnTo>
                      <a:pt x="300" y="15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46" name="Line 2430">
                <a:extLst>
                  <a:ext uri="{FF2B5EF4-FFF2-40B4-BE49-F238E27FC236}">
                    <a16:creationId xmlns:a16="http://schemas.microsoft.com/office/drawing/2014/main" id="{146F9AE8-0B03-4B46-A53E-141EA6701C25}"/>
                  </a:ext>
                </a:extLst>
              </p:cNvPr>
              <p:cNvSpPr>
                <a:spLocks noChangeShapeType="1"/>
              </p:cNvSpPr>
              <p:nvPr/>
            </p:nvSpPr>
            <p:spPr bwMode="auto">
              <a:xfrm>
                <a:off x="3135" y="204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47" name="Freeform 2431">
                <a:extLst>
                  <a:ext uri="{FF2B5EF4-FFF2-40B4-BE49-F238E27FC236}">
                    <a16:creationId xmlns:a16="http://schemas.microsoft.com/office/drawing/2014/main" id="{8E787D4A-AF0D-4FBE-AA2B-F4366D960D3F}"/>
                  </a:ext>
                </a:extLst>
              </p:cNvPr>
              <p:cNvSpPr>
                <a:spLocks/>
              </p:cNvSpPr>
              <p:nvPr/>
            </p:nvSpPr>
            <p:spPr bwMode="auto">
              <a:xfrm>
                <a:off x="2655" y="2310"/>
                <a:ext cx="690" cy="420"/>
              </a:xfrm>
              <a:custGeom>
                <a:avLst/>
                <a:gdLst>
                  <a:gd name="T0" fmla="*/ 120 w 690"/>
                  <a:gd name="T1" fmla="*/ 150 h 420"/>
                  <a:gd name="T2" fmla="*/ 330 w 690"/>
                  <a:gd name="T3" fmla="*/ 0 h 420"/>
                  <a:gd name="T4" fmla="*/ 180 w 690"/>
                  <a:gd name="T5" fmla="*/ 30 h 420"/>
                  <a:gd name="T6" fmla="*/ 270 w 690"/>
                  <a:gd name="T7" fmla="*/ 180 h 420"/>
                  <a:gd name="T8" fmla="*/ 0 w 690"/>
                  <a:gd name="T9" fmla="*/ 210 h 420"/>
                  <a:gd name="T10" fmla="*/ 210 w 690"/>
                  <a:gd name="T11" fmla="*/ 270 h 420"/>
                  <a:gd name="T12" fmla="*/ 330 w 690"/>
                  <a:gd name="T13" fmla="*/ 330 h 420"/>
                  <a:gd name="T14" fmla="*/ 420 w 690"/>
                  <a:gd name="T15" fmla="*/ 420 h 420"/>
                  <a:gd name="T16" fmla="*/ 450 w 690"/>
                  <a:gd name="T17" fmla="*/ 240 h 420"/>
                  <a:gd name="T18" fmla="*/ 570 w 690"/>
                  <a:gd name="T19" fmla="*/ 420 h 420"/>
                  <a:gd name="T20" fmla="*/ 690 w 690"/>
                  <a:gd name="T21" fmla="*/ 39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420">
                    <a:moveTo>
                      <a:pt x="120" y="150"/>
                    </a:moveTo>
                    <a:lnTo>
                      <a:pt x="330" y="0"/>
                    </a:lnTo>
                    <a:lnTo>
                      <a:pt x="180" y="30"/>
                    </a:lnTo>
                    <a:lnTo>
                      <a:pt x="270" y="180"/>
                    </a:lnTo>
                    <a:lnTo>
                      <a:pt x="0" y="210"/>
                    </a:lnTo>
                    <a:lnTo>
                      <a:pt x="210" y="270"/>
                    </a:lnTo>
                    <a:lnTo>
                      <a:pt x="330" y="330"/>
                    </a:lnTo>
                    <a:lnTo>
                      <a:pt x="420" y="420"/>
                    </a:lnTo>
                    <a:lnTo>
                      <a:pt x="450" y="240"/>
                    </a:lnTo>
                    <a:lnTo>
                      <a:pt x="570" y="420"/>
                    </a:lnTo>
                    <a:lnTo>
                      <a:pt x="690" y="3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48" name="Freeform 2432">
                <a:extLst>
                  <a:ext uri="{FF2B5EF4-FFF2-40B4-BE49-F238E27FC236}">
                    <a16:creationId xmlns:a16="http://schemas.microsoft.com/office/drawing/2014/main" id="{05261254-7F26-4025-A791-D80FE00CBBD6}"/>
                  </a:ext>
                </a:extLst>
              </p:cNvPr>
              <p:cNvSpPr>
                <a:spLocks/>
              </p:cNvSpPr>
              <p:nvPr/>
            </p:nvSpPr>
            <p:spPr bwMode="auto">
              <a:xfrm>
                <a:off x="3465" y="249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49" name="Freeform 2433">
                <a:extLst>
                  <a:ext uri="{FF2B5EF4-FFF2-40B4-BE49-F238E27FC236}">
                    <a16:creationId xmlns:a16="http://schemas.microsoft.com/office/drawing/2014/main" id="{56E3E172-C0B1-43A4-BE1E-B950A1F8A358}"/>
                  </a:ext>
                </a:extLst>
              </p:cNvPr>
              <p:cNvSpPr>
                <a:spLocks/>
              </p:cNvSpPr>
              <p:nvPr/>
            </p:nvSpPr>
            <p:spPr bwMode="auto">
              <a:xfrm>
                <a:off x="3615" y="231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50" name="Line 2434">
                <a:extLst>
                  <a:ext uri="{FF2B5EF4-FFF2-40B4-BE49-F238E27FC236}">
                    <a16:creationId xmlns:a16="http://schemas.microsoft.com/office/drawing/2014/main" id="{57622D01-9B64-472C-BDF1-644A3E4E2900}"/>
                  </a:ext>
                </a:extLst>
              </p:cNvPr>
              <p:cNvSpPr>
                <a:spLocks noChangeShapeType="1"/>
              </p:cNvSpPr>
              <p:nvPr/>
            </p:nvSpPr>
            <p:spPr bwMode="auto">
              <a:xfrm>
                <a:off x="3944" y="231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51" name="Freeform 2435">
                <a:extLst>
                  <a:ext uri="{FF2B5EF4-FFF2-40B4-BE49-F238E27FC236}">
                    <a16:creationId xmlns:a16="http://schemas.microsoft.com/office/drawing/2014/main" id="{918FBC26-6D49-4B84-ABA0-9E8CD81783FF}"/>
                  </a:ext>
                </a:extLst>
              </p:cNvPr>
              <p:cNvSpPr>
                <a:spLocks/>
              </p:cNvSpPr>
              <p:nvPr/>
            </p:nvSpPr>
            <p:spPr bwMode="auto">
              <a:xfrm>
                <a:off x="3735" y="216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52" name="Freeform 2436">
                <a:extLst>
                  <a:ext uri="{FF2B5EF4-FFF2-40B4-BE49-F238E27FC236}">
                    <a16:creationId xmlns:a16="http://schemas.microsoft.com/office/drawing/2014/main" id="{0E34EDDA-251F-49D7-9C4B-BD15F29EB263}"/>
                  </a:ext>
                </a:extLst>
              </p:cNvPr>
              <p:cNvSpPr>
                <a:spLocks/>
              </p:cNvSpPr>
              <p:nvPr/>
            </p:nvSpPr>
            <p:spPr bwMode="auto">
              <a:xfrm>
                <a:off x="1786" y="216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53" name="Freeform 2437">
                <a:extLst>
                  <a:ext uri="{FF2B5EF4-FFF2-40B4-BE49-F238E27FC236}">
                    <a16:creationId xmlns:a16="http://schemas.microsoft.com/office/drawing/2014/main" id="{6F7BC6C0-0366-4D60-A01B-C059C7DA0FBC}"/>
                  </a:ext>
                </a:extLst>
              </p:cNvPr>
              <p:cNvSpPr>
                <a:spLocks/>
              </p:cNvSpPr>
              <p:nvPr/>
            </p:nvSpPr>
            <p:spPr bwMode="auto">
              <a:xfrm>
                <a:off x="2056" y="2100"/>
                <a:ext cx="719" cy="690"/>
              </a:xfrm>
              <a:custGeom>
                <a:avLst/>
                <a:gdLst>
                  <a:gd name="T0" fmla="*/ 119 w 719"/>
                  <a:gd name="T1" fmla="*/ 120 h 690"/>
                  <a:gd name="T2" fmla="*/ 0 w 719"/>
                  <a:gd name="T3" fmla="*/ 30 h 690"/>
                  <a:gd name="T4" fmla="*/ 209 w 719"/>
                  <a:gd name="T5" fmla="*/ 0 h 690"/>
                  <a:gd name="T6" fmla="*/ 299 w 719"/>
                  <a:gd name="T7" fmla="*/ 120 h 690"/>
                  <a:gd name="T8" fmla="*/ 389 w 719"/>
                  <a:gd name="T9" fmla="*/ 0 h 690"/>
                  <a:gd name="T10" fmla="*/ 209 w 719"/>
                  <a:gd name="T11" fmla="*/ 0 h 690"/>
                  <a:gd name="T12" fmla="*/ 209 w 719"/>
                  <a:gd name="T13" fmla="*/ 151 h 690"/>
                  <a:gd name="T14" fmla="*/ 119 w 719"/>
                  <a:gd name="T15" fmla="*/ 120 h 690"/>
                  <a:gd name="T16" fmla="*/ 89 w 719"/>
                  <a:gd name="T17" fmla="*/ 210 h 690"/>
                  <a:gd name="T18" fmla="*/ 89 w 719"/>
                  <a:gd name="T19" fmla="*/ 450 h 690"/>
                  <a:gd name="T20" fmla="*/ 209 w 719"/>
                  <a:gd name="T21" fmla="*/ 360 h 690"/>
                  <a:gd name="T22" fmla="*/ 298 w 719"/>
                  <a:gd name="T23" fmla="*/ 452 h 690"/>
                  <a:gd name="T24" fmla="*/ 269 w 719"/>
                  <a:gd name="T25" fmla="*/ 270 h 690"/>
                  <a:gd name="T26" fmla="*/ 359 w 719"/>
                  <a:gd name="T27" fmla="*/ 210 h 690"/>
                  <a:gd name="T28" fmla="*/ 479 w 719"/>
                  <a:gd name="T29" fmla="*/ 270 h 690"/>
                  <a:gd name="T30" fmla="*/ 359 w 719"/>
                  <a:gd name="T31" fmla="*/ 330 h 690"/>
                  <a:gd name="T32" fmla="*/ 449 w 719"/>
                  <a:gd name="T33" fmla="*/ 390 h 690"/>
                  <a:gd name="T34" fmla="*/ 719 w 719"/>
                  <a:gd name="T35" fmla="*/ 360 h 690"/>
                  <a:gd name="T36" fmla="*/ 599 w 719"/>
                  <a:gd name="T37" fmla="*/ 420 h 690"/>
                  <a:gd name="T38" fmla="*/ 629 w 719"/>
                  <a:gd name="T39" fmla="*/ 690 h 690"/>
                  <a:gd name="T40" fmla="*/ 419 w 719"/>
                  <a:gd name="T41" fmla="*/ 51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69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29" y="69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54" name="Freeform 2438">
                <a:extLst>
                  <a:ext uri="{FF2B5EF4-FFF2-40B4-BE49-F238E27FC236}">
                    <a16:creationId xmlns:a16="http://schemas.microsoft.com/office/drawing/2014/main" id="{D9087033-8447-4D4B-BBFA-655C087FA592}"/>
                  </a:ext>
                </a:extLst>
              </p:cNvPr>
              <p:cNvSpPr>
                <a:spLocks/>
              </p:cNvSpPr>
              <p:nvPr/>
            </p:nvSpPr>
            <p:spPr bwMode="auto">
              <a:xfrm>
                <a:off x="1786" y="219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55" name="Freeform 2439">
                <a:extLst>
                  <a:ext uri="{FF2B5EF4-FFF2-40B4-BE49-F238E27FC236}">
                    <a16:creationId xmlns:a16="http://schemas.microsoft.com/office/drawing/2014/main" id="{073801DC-BCCF-43C5-871B-B659F857848E}"/>
                  </a:ext>
                </a:extLst>
              </p:cNvPr>
              <p:cNvSpPr>
                <a:spLocks/>
              </p:cNvSpPr>
              <p:nvPr/>
            </p:nvSpPr>
            <p:spPr bwMode="auto">
              <a:xfrm>
                <a:off x="1906" y="252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56" name="Freeform 2440">
                <a:extLst>
                  <a:ext uri="{FF2B5EF4-FFF2-40B4-BE49-F238E27FC236}">
                    <a16:creationId xmlns:a16="http://schemas.microsoft.com/office/drawing/2014/main" id="{34DD800A-6F6C-44F5-8BF8-1E524FF87B79}"/>
                  </a:ext>
                </a:extLst>
              </p:cNvPr>
              <p:cNvSpPr>
                <a:spLocks/>
              </p:cNvSpPr>
              <p:nvPr/>
            </p:nvSpPr>
            <p:spPr bwMode="auto">
              <a:xfrm>
                <a:off x="2056" y="540"/>
                <a:ext cx="899" cy="750"/>
              </a:xfrm>
              <a:custGeom>
                <a:avLst/>
                <a:gdLst>
                  <a:gd name="T0" fmla="*/ 299 w 899"/>
                  <a:gd name="T1" fmla="*/ 630 h 750"/>
                  <a:gd name="T2" fmla="*/ 268 w 899"/>
                  <a:gd name="T3" fmla="*/ 482 h 750"/>
                  <a:gd name="T4" fmla="*/ 179 w 899"/>
                  <a:gd name="T5" fmla="*/ 570 h 750"/>
                  <a:gd name="T6" fmla="*/ 59 w 899"/>
                  <a:gd name="T7" fmla="*/ 480 h 750"/>
                  <a:gd name="T8" fmla="*/ 0 w 899"/>
                  <a:gd name="T9" fmla="*/ 360 h 750"/>
                  <a:gd name="T10" fmla="*/ 59 w 899"/>
                  <a:gd name="T11" fmla="*/ 240 h 750"/>
                  <a:gd name="T12" fmla="*/ 179 w 899"/>
                  <a:gd name="T13" fmla="*/ 390 h 750"/>
                  <a:gd name="T14" fmla="*/ 239 w 899"/>
                  <a:gd name="T15" fmla="*/ 300 h 750"/>
                  <a:gd name="T16" fmla="*/ 329 w 899"/>
                  <a:gd name="T17" fmla="*/ 360 h 750"/>
                  <a:gd name="T18" fmla="*/ 329 w 899"/>
                  <a:gd name="T19" fmla="*/ 240 h 750"/>
                  <a:gd name="T20" fmla="*/ 179 w 899"/>
                  <a:gd name="T21" fmla="*/ 181 h 750"/>
                  <a:gd name="T22" fmla="*/ 269 w 899"/>
                  <a:gd name="T23" fmla="*/ 150 h 750"/>
                  <a:gd name="T24" fmla="*/ 389 w 899"/>
                  <a:gd name="T25" fmla="*/ 120 h 750"/>
                  <a:gd name="T26" fmla="*/ 449 w 899"/>
                  <a:gd name="T27" fmla="*/ 300 h 750"/>
                  <a:gd name="T28" fmla="*/ 539 w 899"/>
                  <a:gd name="T29" fmla="*/ 180 h 750"/>
                  <a:gd name="T30" fmla="*/ 509 w 899"/>
                  <a:gd name="T31" fmla="*/ 60 h 750"/>
                  <a:gd name="T32" fmla="*/ 359 w 899"/>
                  <a:gd name="T33" fmla="*/ 30 h 750"/>
                  <a:gd name="T34" fmla="*/ 569 w 899"/>
                  <a:gd name="T35" fmla="*/ 0 h 750"/>
                  <a:gd name="T36" fmla="*/ 689 w 899"/>
                  <a:gd name="T37" fmla="*/ 90 h 750"/>
                  <a:gd name="T38" fmla="*/ 659 w 899"/>
                  <a:gd name="T39" fmla="*/ 240 h 750"/>
                  <a:gd name="T40" fmla="*/ 749 w 899"/>
                  <a:gd name="T41" fmla="*/ 270 h 750"/>
                  <a:gd name="T42" fmla="*/ 809 w 899"/>
                  <a:gd name="T43" fmla="*/ 120 h 750"/>
                  <a:gd name="T44" fmla="*/ 899 w 899"/>
                  <a:gd name="T45" fmla="*/ 240 h 750"/>
                  <a:gd name="T46" fmla="*/ 839 w 899"/>
                  <a:gd name="T47" fmla="*/ 420 h 750"/>
                  <a:gd name="T48" fmla="*/ 779 w 899"/>
                  <a:gd name="T49" fmla="*/ 510 h 750"/>
                  <a:gd name="T50" fmla="*/ 689 w 899"/>
                  <a:gd name="T51" fmla="*/ 390 h 750"/>
                  <a:gd name="T52" fmla="*/ 539 w 899"/>
                  <a:gd name="T53" fmla="*/ 330 h 750"/>
                  <a:gd name="T54" fmla="*/ 569 w 899"/>
                  <a:gd name="T55" fmla="*/ 450 h 750"/>
                  <a:gd name="T56" fmla="*/ 419 w 899"/>
                  <a:gd name="T57" fmla="*/ 420 h 750"/>
                  <a:gd name="T58" fmla="*/ 389 w 899"/>
                  <a:gd name="T59" fmla="*/ 540 h 750"/>
                  <a:gd name="T60" fmla="*/ 509 w 899"/>
                  <a:gd name="T61" fmla="*/ 570 h 750"/>
                  <a:gd name="T62" fmla="*/ 659 w 899"/>
                  <a:gd name="T63" fmla="*/ 570 h 750"/>
                  <a:gd name="T64" fmla="*/ 659 w 899"/>
                  <a:gd name="T65"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9" h="750">
                    <a:moveTo>
                      <a:pt x="299" y="630"/>
                    </a:moveTo>
                    <a:lnTo>
                      <a:pt x="268" y="482"/>
                    </a:lnTo>
                    <a:lnTo>
                      <a:pt x="179" y="570"/>
                    </a:lnTo>
                    <a:lnTo>
                      <a:pt x="59" y="480"/>
                    </a:lnTo>
                    <a:lnTo>
                      <a:pt x="0" y="360"/>
                    </a:lnTo>
                    <a:lnTo>
                      <a:pt x="59" y="240"/>
                    </a:ln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659" y="7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57" name="Line 2441">
                <a:extLst>
                  <a:ext uri="{FF2B5EF4-FFF2-40B4-BE49-F238E27FC236}">
                    <a16:creationId xmlns:a16="http://schemas.microsoft.com/office/drawing/2014/main" id="{686F5FAA-56FB-41BE-BE24-D61ED938F89B}"/>
                  </a:ext>
                </a:extLst>
              </p:cNvPr>
              <p:cNvSpPr>
                <a:spLocks noChangeShapeType="1"/>
              </p:cNvSpPr>
              <p:nvPr/>
            </p:nvSpPr>
            <p:spPr bwMode="auto">
              <a:xfrm flipH="1">
                <a:off x="2115" y="72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58" name="Freeform 2442">
                <a:extLst>
                  <a:ext uri="{FF2B5EF4-FFF2-40B4-BE49-F238E27FC236}">
                    <a16:creationId xmlns:a16="http://schemas.microsoft.com/office/drawing/2014/main" id="{912B7488-EEDC-4ABC-806B-F708074587C1}"/>
                  </a:ext>
                </a:extLst>
              </p:cNvPr>
              <p:cNvSpPr>
                <a:spLocks/>
              </p:cNvSpPr>
              <p:nvPr/>
            </p:nvSpPr>
            <p:spPr bwMode="auto">
              <a:xfrm>
                <a:off x="2324" y="90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59" name="Freeform 2443">
                <a:extLst>
                  <a:ext uri="{FF2B5EF4-FFF2-40B4-BE49-F238E27FC236}">
                    <a16:creationId xmlns:a16="http://schemas.microsoft.com/office/drawing/2014/main" id="{79D5F726-FBA9-4798-91A6-E0AFD6B7F5C9}"/>
                  </a:ext>
                </a:extLst>
              </p:cNvPr>
              <p:cNvSpPr>
                <a:spLocks/>
              </p:cNvSpPr>
              <p:nvPr/>
            </p:nvSpPr>
            <p:spPr bwMode="auto">
              <a:xfrm>
                <a:off x="238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60" name="Line 2444">
                <a:extLst>
                  <a:ext uri="{FF2B5EF4-FFF2-40B4-BE49-F238E27FC236}">
                    <a16:creationId xmlns:a16="http://schemas.microsoft.com/office/drawing/2014/main" id="{0118C876-4A2C-49F4-ADC7-595646B43DA8}"/>
                  </a:ext>
                </a:extLst>
              </p:cNvPr>
              <p:cNvSpPr>
                <a:spLocks noChangeShapeType="1"/>
              </p:cNvSpPr>
              <p:nvPr/>
            </p:nvSpPr>
            <p:spPr bwMode="auto">
              <a:xfrm>
                <a:off x="244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61" name="Freeform 2445">
                <a:extLst>
                  <a:ext uri="{FF2B5EF4-FFF2-40B4-BE49-F238E27FC236}">
                    <a16:creationId xmlns:a16="http://schemas.microsoft.com/office/drawing/2014/main" id="{E32308EA-443D-431B-A661-874C60C553F7}"/>
                  </a:ext>
                </a:extLst>
              </p:cNvPr>
              <p:cNvSpPr>
                <a:spLocks/>
              </p:cNvSpPr>
              <p:nvPr/>
            </p:nvSpPr>
            <p:spPr bwMode="auto">
              <a:xfrm>
                <a:off x="1966" y="600"/>
                <a:ext cx="599" cy="630"/>
              </a:xfrm>
              <a:custGeom>
                <a:avLst/>
                <a:gdLst>
                  <a:gd name="T0" fmla="*/ 599 w 599"/>
                  <a:gd name="T1" fmla="*/ 510 h 630"/>
                  <a:gd name="T2" fmla="*/ 389 w 599"/>
                  <a:gd name="T3" fmla="*/ 570 h 630"/>
                  <a:gd name="T4" fmla="*/ 269 w 599"/>
                  <a:gd name="T5" fmla="*/ 510 h 630"/>
                  <a:gd name="T6" fmla="*/ 90 w 599"/>
                  <a:gd name="T7" fmla="*/ 540 h 630"/>
                  <a:gd name="T8" fmla="*/ 0 w 599"/>
                  <a:gd name="T9" fmla="*/ 390 h 630"/>
                  <a:gd name="T10" fmla="*/ 0 w 599"/>
                  <a:gd name="T11" fmla="*/ 630 h 630"/>
                  <a:gd name="T12" fmla="*/ 90 w 599"/>
                  <a:gd name="T13" fmla="*/ 300 h 630"/>
                  <a:gd name="T14" fmla="*/ 0 w 599"/>
                  <a:gd name="T15" fmla="*/ 210 h 630"/>
                  <a:gd name="T16" fmla="*/ 0 w 599"/>
                  <a:gd name="T17" fmla="*/ 60 h 630"/>
                  <a:gd name="T18" fmla="*/ 60 w 599"/>
                  <a:gd name="T19" fmla="*/ 0 h 630"/>
                  <a:gd name="T20" fmla="*/ 149 w 599"/>
                  <a:gd name="T21" fmla="*/ 180 h 630"/>
                  <a:gd name="T22" fmla="*/ 329 w 599"/>
                  <a:gd name="T23" fmla="*/ 240 h 630"/>
                  <a:gd name="T24" fmla="*/ 359 w 599"/>
                  <a:gd name="T25" fmla="*/ 9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9" h="630">
                    <a:moveTo>
                      <a:pt x="599" y="510"/>
                    </a:move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62" name="Freeform 2446">
                <a:extLst>
                  <a:ext uri="{FF2B5EF4-FFF2-40B4-BE49-F238E27FC236}">
                    <a16:creationId xmlns:a16="http://schemas.microsoft.com/office/drawing/2014/main" id="{535761B5-235B-482E-B969-DDE462EDA688}"/>
                  </a:ext>
                </a:extLst>
              </p:cNvPr>
              <p:cNvSpPr>
                <a:spLocks/>
              </p:cNvSpPr>
              <p:nvPr/>
            </p:nvSpPr>
            <p:spPr bwMode="auto">
              <a:xfrm>
                <a:off x="3015" y="54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63" name="Freeform 2447">
                <a:extLst>
                  <a:ext uri="{FF2B5EF4-FFF2-40B4-BE49-F238E27FC236}">
                    <a16:creationId xmlns:a16="http://schemas.microsoft.com/office/drawing/2014/main" id="{DACD7C44-0654-4EF8-958B-3F89C3814796}"/>
                  </a:ext>
                </a:extLst>
              </p:cNvPr>
              <p:cNvSpPr>
                <a:spLocks/>
              </p:cNvSpPr>
              <p:nvPr/>
            </p:nvSpPr>
            <p:spPr bwMode="auto">
              <a:xfrm>
                <a:off x="3075" y="69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64" name="Freeform 2448">
                <a:extLst>
                  <a:ext uri="{FF2B5EF4-FFF2-40B4-BE49-F238E27FC236}">
                    <a16:creationId xmlns:a16="http://schemas.microsoft.com/office/drawing/2014/main" id="{261BCCF1-D397-4EFE-B684-E835EB8E5DFC}"/>
                  </a:ext>
                </a:extLst>
              </p:cNvPr>
              <p:cNvSpPr>
                <a:spLocks/>
              </p:cNvSpPr>
              <p:nvPr/>
            </p:nvSpPr>
            <p:spPr bwMode="auto">
              <a:xfrm>
                <a:off x="2955" y="72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65" name="Freeform 2449">
                <a:extLst>
                  <a:ext uri="{FF2B5EF4-FFF2-40B4-BE49-F238E27FC236}">
                    <a16:creationId xmlns:a16="http://schemas.microsoft.com/office/drawing/2014/main" id="{253DC200-D809-42BD-9A8C-C4BB4EA781E9}"/>
                  </a:ext>
                </a:extLst>
              </p:cNvPr>
              <p:cNvSpPr>
                <a:spLocks/>
              </p:cNvSpPr>
              <p:nvPr/>
            </p:nvSpPr>
            <p:spPr bwMode="auto">
              <a:xfrm>
                <a:off x="3283" y="90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66" name="Freeform 2450">
                <a:extLst>
                  <a:ext uri="{FF2B5EF4-FFF2-40B4-BE49-F238E27FC236}">
                    <a16:creationId xmlns:a16="http://schemas.microsoft.com/office/drawing/2014/main" id="{63919562-9B6F-48A1-A803-0ADACBDA2907}"/>
                  </a:ext>
                </a:extLst>
              </p:cNvPr>
              <p:cNvSpPr>
                <a:spLocks/>
              </p:cNvSpPr>
              <p:nvPr/>
            </p:nvSpPr>
            <p:spPr bwMode="auto">
              <a:xfrm>
                <a:off x="334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67" name="Line 2451">
                <a:extLst>
                  <a:ext uri="{FF2B5EF4-FFF2-40B4-BE49-F238E27FC236}">
                    <a16:creationId xmlns:a16="http://schemas.microsoft.com/office/drawing/2014/main" id="{A9448435-E0BE-49E5-BA9D-C9DA857A4C30}"/>
                  </a:ext>
                </a:extLst>
              </p:cNvPr>
              <p:cNvSpPr>
                <a:spLocks noChangeShapeType="1"/>
              </p:cNvSpPr>
              <p:nvPr/>
            </p:nvSpPr>
            <p:spPr bwMode="auto">
              <a:xfrm>
                <a:off x="340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68" name="Freeform 2452">
                <a:extLst>
                  <a:ext uri="{FF2B5EF4-FFF2-40B4-BE49-F238E27FC236}">
                    <a16:creationId xmlns:a16="http://schemas.microsoft.com/office/drawing/2014/main" id="{BE3832B4-74F3-4D4A-AE32-BBE93B66EEEB}"/>
                  </a:ext>
                </a:extLst>
              </p:cNvPr>
              <p:cNvSpPr>
                <a:spLocks/>
              </p:cNvSpPr>
              <p:nvPr/>
            </p:nvSpPr>
            <p:spPr bwMode="auto">
              <a:xfrm>
                <a:off x="3075" y="780"/>
                <a:ext cx="450" cy="390"/>
              </a:xfrm>
              <a:custGeom>
                <a:avLst/>
                <a:gdLst>
                  <a:gd name="T0" fmla="*/ 450 w 450"/>
                  <a:gd name="T1" fmla="*/ 330 h 390"/>
                  <a:gd name="T2" fmla="*/ 240 w 450"/>
                  <a:gd name="T3" fmla="*/ 390 h 390"/>
                  <a:gd name="T4" fmla="*/ 120 w 450"/>
                  <a:gd name="T5" fmla="*/ 330 h 390"/>
                  <a:gd name="T6" fmla="*/ 0 w 450"/>
                  <a:gd name="T7" fmla="*/ 0 h 390"/>
                </a:gdLst>
                <a:ahLst/>
                <a:cxnLst>
                  <a:cxn ang="0">
                    <a:pos x="T0" y="T1"/>
                  </a:cxn>
                  <a:cxn ang="0">
                    <a:pos x="T2" y="T3"/>
                  </a:cxn>
                  <a:cxn ang="0">
                    <a:pos x="T4" y="T5"/>
                  </a:cxn>
                  <a:cxn ang="0">
                    <a:pos x="T6" y="T7"/>
                  </a:cxn>
                </a:cxnLst>
                <a:rect l="0" t="0" r="r" b="b"/>
                <a:pathLst>
                  <a:path w="450" h="390">
                    <a:moveTo>
                      <a:pt x="450" y="330"/>
                    </a:moveTo>
                    <a:lnTo>
                      <a:pt x="240" y="390"/>
                    </a:lnTo>
                    <a:lnTo>
                      <a:pt x="12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69" name="Freeform 2453">
                <a:extLst>
                  <a:ext uri="{FF2B5EF4-FFF2-40B4-BE49-F238E27FC236}">
                    <a16:creationId xmlns:a16="http://schemas.microsoft.com/office/drawing/2014/main" id="{271F98DD-E9BD-44D2-9865-A1A05CC4A8A6}"/>
                  </a:ext>
                </a:extLst>
              </p:cNvPr>
              <p:cNvSpPr>
                <a:spLocks/>
              </p:cNvSpPr>
              <p:nvPr/>
            </p:nvSpPr>
            <p:spPr bwMode="auto">
              <a:xfrm>
                <a:off x="2475" y="960"/>
                <a:ext cx="570" cy="300"/>
              </a:xfrm>
              <a:custGeom>
                <a:avLst/>
                <a:gdLst>
                  <a:gd name="T0" fmla="*/ 0 w 570"/>
                  <a:gd name="T1" fmla="*/ 0 h 300"/>
                  <a:gd name="T2" fmla="*/ 240 w 570"/>
                  <a:gd name="T3" fmla="*/ 150 h 300"/>
                  <a:gd name="T4" fmla="*/ 360 w 570"/>
                  <a:gd name="T5" fmla="*/ 90 h 300"/>
                  <a:gd name="T6" fmla="*/ 450 w 570"/>
                  <a:gd name="T7" fmla="*/ 300 h 300"/>
                  <a:gd name="T8" fmla="*/ 570 w 570"/>
                  <a:gd name="T9" fmla="*/ 240 h 300"/>
                </a:gdLst>
                <a:ahLst/>
                <a:cxnLst>
                  <a:cxn ang="0">
                    <a:pos x="T0" y="T1"/>
                  </a:cxn>
                  <a:cxn ang="0">
                    <a:pos x="T2" y="T3"/>
                  </a:cxn>
                  <a:cxn ang="0">
                    <a:pos x="T4" y="T5"/>
                  </a:cxn>
                  <a:cxn ang="0">
                    <a:pos x="T6" y="T7"/>
                  </a:cxn>
                  <a:cxn ang="0">
                    <a:pos x="T8" y="T9"/>
                  </a:cxn>
                </a:cxnLst>
                <a:rect l="0" t="0" r="r" b="b"/>
                <a:pathLst>
                  <a:path w="570" h="300">
                    <a:moveTo>
                      <a:pt x="0" y="0"/>
                    </a:moveTo>
                    <a:lnTo>
                      <a:pt x="240" y="150"/>
                    </a:lnTo>
                    <a:lnTo>
                      <a:pt x="360" y="90"/>
                    </a:lnTo>
                    <a:lnTo>
                      <a:pt x="450" y="300"/>
                    </a:lnTo>
                    <a:lnTo>
                      <a:pt x="57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70" name="Line 2454">
                <a:extLst>
                  <a:ext uri="{FF2B5EF4-FFF2-40B4-BE49-F238E27FC236}">
                    <a16:creationId xmlns:a16="http://schemas.microsoft.com/office/drawing/2014/main" id="{1687F78F-7AE8-4C4F-9CB9-C51F3E2CC423}"/>
                  </a:ext>
                </a:extLst>
              </p:cNvPr>
              <p:cNvSpPr>
                <a:spLocks noChangeShapeType="1"/>
              </p:cNvSpPr>
              <p:nvPr/>
            </p:nvSpPr>
            <p:spPr bwMode="auto">
              <a:xfrm flipV="1">
                <a:off x="2895" y="90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71" name="Line 2455">
                <a:extLst>
                  <a:ext uri="{FF2B5EF4-FFF2-40B4-BE49-F238E27FC236}">
                    <a16:creationId xmlns:a16="http://schemas.microsoft.com/office/drawing/2014/main" id="{20B67DB4-D10E-4FFA-8054-34028E5BD688}"/>
                  </a:ext>
                </a:extLst>
              </p:cNvPr>
              <p:cNvSpPr>
                <a:spLocks noChangeShapeType="1"/>
              </p:cNvSpPr>
              <p:nvPr/>
            </p:nvSpPr>
            <p:spPr bwMode="auto">
              <a:xfrm>
                <a:off x="3105" y="51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72" name="Freeform 2456">
                <a:extLst>
                  <a:ext uri="{FF2B5EF4-FFF2-40B4-BE49-F238E27FC236}">
                    <a16:creationId xmlns:a16="http://schemas.microsoft.com/office/drawing/2014/main" id="{F97BDC0C-D642-4329-A738-49A618DD3C1B}"/>
                  </a:ext>
                </a:extLst>
              </p:cNvPr>
              <p:cNvSpPr>
                <a:spLocks/>
              </p:cNvSpPr>
              <p:nvPr/>
            </p:nvSpPr>
            <p:spPr bwMode="auto">
              <a:xfrm>
                <a:off x="3435" y="96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73" name="Freeform 2457">
                <a:extLst>
                  <a:ext uri="{FF2B5EF4-FFF2-40B4-BE49-F238E27FC236}">
                    <a16:creationId xmlns:a16="http://schemas.microsoft.com/office/drawing/2014/main" id="{8A129D54-09C9-4994-B55B-EEE644E4AD80}"/>
                  </a:ext>
                </a:extLst>
              </p:cNvPr>
              <p:cNvSpPr>
                <a:spLocks/>
              </p:cNvSpPr>
              <p:nvPr/>
            </p:nvSpPr>
            <p:spPr bwMode="auto">
              <a:xfrm>
                <a:off x="3585" y="78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74" name="Line 2458">
                <a:extLst>
                  <a:ext uri="{FF2B5EF4-FFF2-40B4-BE49-F238E27FC236}">
                    <a16:creationId xmlns:a16="http://schemas.microsoft.com/office/drawing/2014/main" id="{F2F5BAF9-3CB2-4227-8220-3D639877F0F7}"/>
                  </a:ext>
                </a:extLst>
              </p:cNvPr>
              <p:cNvSpPr>
                <a:spLocks noChangeShapeType="1"/>
              </p:cNvSpPr>
              <p:nvPr/>
            </p:nvSpPr>
            <p:spPr bwMode="auto">
              <a:xfrm>
                <a:off x="3914" y="78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75" name="Freeform 2459">
                <a:extLst>
                  <a:ext uri="{FF2B5EF4-FFF2-40B4-BE49-F238E27FC236}">
                    <a16:creationId xmlns:a16="http://schemas.microsoft.com/office/drawing/2014/main" id="{ADBB73C0-C43B-4A3F-B25A-39AB45A4F16A}"/>
                  </a:ext>
                </a:extLst>
              </p:cNvPr>
              <p:cNvSpPr>
                <a:spLocks/>
              </p:cNvSpPr>
              <p:nvPr/>
            </p:nvSpPr>
            <p:spPr bwMode="auto">
              <a:xfrm>
                <a:off x="3705" y="63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76" name="Freeform 2460">
                <a:extLst>
                  <a:ext uri="{FF2B5EF4-FFF2-40B4-BE49-F238E27FC236}">
                    <a16:creationId xmlns:a16="http://schemas.microsoft.com/office/drawing/2014/main" id="{A362746D-D0E4-4B52-86E6-64B7F14EA187}"/>
                  </a:ext>
                </a:extLst>
              </p:cNvPr>
              <p:cNvSpPr>
                <a:spLocks/>
              </p:cNvSpPr>
              <p:nvPr/>
            </p:nvSpPr>
            <p:spPr bwMode="auto">
              <a:xfrm>
                <a:off x="1756" y="63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77" name="Freeform 2461">
                <a:extLst>
                  <a:ext uri="{FF2B5EF4-FFF2-40B4-BE49-F238E27FC236}">
                    <a16:creationId xmlns:a16="http://schemas.microsoft.com/office/drawing/2014/main" id="{5400A4CF-CDAD-4C94-8294-1FE01BC47909}"/>
                  </a:ext>
                </a:extLst>
              </p:cNvPr>
              <p:cNvSpPr>
                <a:spLocks/>
              </p:cNvSpPr>
              <p:nvPr/>
            </p:nvSpPr>
            <p:spPr bwMode="auto">
              <a:xfrm>
                <a:off x="2026" y="570"/>
                <a:ext cx="719" cy="720"/>
              </a:xfrm>
              <a:custGeom>
                <a:avLst/>
                <a:gdLst>
                  <a:gd name="T0" fmla="*/ 119 w 719"/>
                  <a:gd name="T1" fmla="*/ 120 h 720"/>
                  <a:gd name="T2" fmla="*/ 0 w 719"/>
                  <a:gd name="T3" fmla="*/ 30 h 720"/>
                  <a:gd name="T4" fmla="*/ 209 w 719"/>
                  <a:gd name="T5" fmla="*/ 0 h 720"/>
                  <a:gd name="T6" fmla="*/ 299 w 719"/>
                  <a:gd name="T7" fmla="*/ 120 h 720"/>
                  <a:gd name="T8" fmla="*/ 389 w 719"/>
                  <a:gd name="T9" fmla="*/ 0 h 720"/>
                  <a:gd name="T10" fmla="*/ 209 w 719"/>
                  <a:gd name="T11" fmla="*/ 0 h 720"/>
                  <a:gd name="T12" fmla="*/ 209 w 719"/>
                  <a:gd name="T13" fmla="*/ 151 h 720"/>
                  <a:gd name="T14" fmla="*/ 119 w 719"/>
                  <a:gd name="T15" fmla="*/ 120 h 720"/>
                  <a:gd name="T16" fmla="*/ 89 w 719"/>
                  <a:gd name="T17" fmla="*/ 210 h 720"/>
                  <a:gd name="T18" fmla="*/ 89 w 719"/>
                  <a:gd name="T19" fmla="*/ 450 h 720"/>
                  <a:gd name="T20" fmla="*/ 209 w 719"/>
                  <a:gd name="T21" fmla="*/ 360 h 720"/>
                  <a:gd name="T22" fmla="*/ 298 w 719"/>
                  <a:gd name="T23" fmla="*/ 452 h 720"/>
                  <a:gd name="T24" fmla="*/ 269 w 719"/>
                  <a:gd name="T25" fmla="*/ 270 h 720"/>
                  <a:gd name="T26" fmla="*/ 359 w 719"/>
                  <a:gd name="T27" fmla="*/ 210 h 720"/>
                  <a:gd name="T28" fmla="*/ 479 w 719"/>
                  <a:gd name="T29" fmla="*/ 270 h 720"/>
                  <a:gd name="T30" fmla="*/ 359 w 719"/>
                  <a:gd name="T31" fmla="*/ 330 h 720"/>
                  <a:gd name="T32" fmla="*/ 449 w 719"/>
                  <a:gd name="T33" fmla="*/ 390 h 720"/>
                  <a:gd name="T34" fmla="*/ 719 w 719"/>
                  <a:gd name="T35" fmla="*/ 360 h 720"/>
                  <a:gd name="T36" fmla="*/ 599 w 719"/>
                  <a:gd name="T37" fmla="*/ 420 h 720"/>
                  <a:gd name="T38" fmla="*/ 689 w 719"/>
                  <a:gd name="T39" fmla="*/ 720 h 720"/>
                  <a:gd name="T40" fmla="*/ 419 w 719"/>
                  <a:gd name="T41" fmla="*/ 51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72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89" y="72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78" name="Freeform 2462">
                <a:extLst>
                  <a:ext uri="{FF2B5EF4-FFF2-40B4-BE49-F238E27FC236}">
                    <a16:creationId xmlns:a16="http://schemas.microsoft.com/office/drawing/2014/main" id="{AE1CC2D5-2A8E-445A-980F-F0B558F3A1C7}"/>
                  </a:ext>
                </a:extLst>
              </p:cNvPr>
              <p:cNvSpPr>
                <a:spLocks/>
              </p:cNvSpPr>
              <p:nvPr/>
            </p:nvSpPr>
            <p:spPr bwMode="auto">
              <a:xfrm>
                <a:off x="1756" y="66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79" name="Freeform 2463">
                <a:extLst>
                  <a:ext uri="{FF2B5EF4-FFF2-40B4-BE49-F238E27FC236}">
                    <a16:creationId xmlns:a16="http://schemas.microsoft.com/office/drawing/2014/main" id="{170C1905-92FA-4F48-88ED-7B365C97B749}"/>
                  </a:ext>
                </a:extLst>
              </p:cNvPr>
              <p:cNvSpPr>
                <a:spLocks/>
              </p:cNvSpPr>
              <p:nvPr/>
            </p:nvSpPr>
            <p:spPr bwMode="auto">
              <a:xfrm>
                <a:off x="1876" y="99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80" name="Freeform 2464">
                <a:extLst>
                  <a:ext uri="{FF2B5EF4-FFF2-40B4-BE49-F238E27FC236}">
                    <a16:creationId xmlns:a16="http://schemas.microsoft.com/office/drawing/2014/main" id="{D31AD73A-B859-4C09-B328-E68836EC4B74}"/>
                  </a:ext>
                </a:extLst>
              </p:cNvPr>
              <p:cNvSpPr>
                <a:spLocks/>
              </p:cNvSpPr>
              <p:nvPr/>
            </p:nvSpPr>
            <p:spPr bwMode="auto">
              <a:xfrm>
                <a:off x="2355" y="1170"/>
                <a:ext cx="360" cy="120"/>
              </a:xfrm>
              <a:custGeom>
                <a:avLst/>
                <a:gdLst>
                  <a:gd name="T0" fmla="*/ 360 w 360"/>
                  <a:gd name="T1" fmla="*/ 120 h 120"/>
                  <a:gd name="T2" fmla="*/ 150 w 360"/>
                  <a:gd name="T3" fmla="*/ 30 h 120"/>
                  <a:gd name="T4" fmla="*/ 0 w 360"/>
                  <a:gd name="T5" fmla="*/ 0 h 120"/>
                </a:gdLst>
                <a:ahLst/>
                <a:cxnLst>
                  <a:cxn ang="0">
                    <a:pos x="T0" y="T1"/>
                  </a:cxn>
                  <a:cxn ang="0">
                    <a:pos x="T2" y="T3"/>
                  </a:cxn>
                  <a:cxn ang="0">
                    <a:pos x="T4" y="T5"/>
                  </a:cxn>
                </a:cxnLst>
                <a:rect l="0" t="0" r="r" b="b"/>
                <a:pathLst>
                  <a:path w="360" h="120">
                    <a:moveTo>
                      <a:pt x="360" y="120"/>
                    </a:moveTo>
                    <a:lnTo>
                      <a:pt x="15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81" name="Freeform 2465">
                <a:extLst>
                  <a:ext uri="{FF2B5EF4-FFF2-40B4-BE49-F238E27FC236}">
                    <a16:creationId xmlns:a16="http://schemas.microsoft.com/office/drawing/2014/main" id="{45209096-0F91-4E1D-92E3-F831E689D120}"/>
                  </a:ext>
                </a:extLst>
              </p:cNvPr>
              <p:cNvSpPr>
                <a:spLocks/>
              </p:cNvSpPr>
              <p:nvPr/>
            </p:nvSpPr>
            <p:spPr bwMode="auto">
              <a:xfrm>
                <a:off x="2235" y="930"/>
                <a:ext cx="720" cy="360"/>
              </a:xfrm>
              <a:custGeom>
                <a:avLst/>
                <a:gdLst>
                  <a:gd name="T0" fmla="*/ 510 w 720"/>
                  <a:gd name="T1" fmla="*/ 0 h 360"/>
                  <a:gd name="T2" fmla="*/ 570 w 720"/>
                  <a:gd name="T3" fmla="*/ 300 h 360"/>
                  <a:gd name="T4" fmla="*/ 720 w 720"/>
                  <a:gd name="T5" fmla="*/ 180 h 360"/>
                  <a:gd name="T6" fmla="*/ 480 w 720"/>
                  <a:gd name="T7" fmla="*/ 180 h 360"/>
                  <a:gd name="T8" fmla="*/ 300 w 720"/>
                  <a:gd name="T9" fmla="*/ 360 h 360"/>
                  <a:gd name="T10" fmla="*/ 270 w 720"/>
                  <a:gd name="T11" fmla="*/ 270 h 360"/>
                  <a:gd name="T12" fmla="*/ 120 w 720"/>
                  <a:gd name="T13" fmla="*/ 360 h 360"/>
                  <a:gd name="T14" fmla="*/ 0 w 720"/>
                  <a:gd name="T15" fmla="*/ 301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0" h="360">
                    <a:moveTo>
                      <a:pt x="510" y="0"/>
                    </a:moveTo>
                    <a:lnTo>
                      <a:pt x="570" y="300"/>
                    </a:lnTo>
                    <a:lnTo>
                      <a:pt x="720" y="180"/>
                    </a:lnTo>
                    <a:lnTo>
                      <a:pt x="480" y="180"/>
                    </a:lnTo>
                    <a:lnTo>
                      <a:pt x="300" y="360"/>
                    </a:lnTo>
                    <a:lnTo>
                      <a:pt x="270" y="270"/>
                    </a:lnTo>
                    <a:lnTo>
                      <a:pt x="120" y="360"/>
                    </a:lnTo>
                    <a:lnTo>
                      <a:pt x="0" y="301"/>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82" name="Freeform 2466">
                <a:extLst>
                  <a:ext uri="{FF2B5EF4-FFF2-40B4-BE49-F238E27FC236}">
                    <a16:creationId xmlns:a16="http://schemas.microsoft.com/office/drawing/2014/main" id="{E255D939-6BC4-4B5A-88BE-724F44454BDD}"/>
                  </a:ext>
                </a:extLst>
              </p:cNvPr>
              <p:cNvSpPr>
                <a:spLocks/>
              </p:cNvSpPr>
              <p:nvPr/>
            </p:nvSpPr>
            <p:spPr bwMode="auto">
              <a:xfrm>
                <a:off x="3045" y="1200"/>
                <a:ext cx="150" cy="90"/>
              </a:xfrm>
              <a:custGeom>
                <a:avLst/>
                <a:gdLst>
                  <a:gd name="T0" fmla="*/ 150 w 150"/>
                  <a:gd name="T1" fmla="*/ 0 h 90"/>
                  <a:gd name="T2" fmla="*/ 0 w 150"/>
                  <a:gd name="T3" fmla="*/ 0 h 90"/>
                  <a:gd name="T4" fmla="*/ 120 w 150"/>
                  <a:gd name="T5" fmla="*/ 90 h 90"/>
                  <a:gd name="T6" fmla="*/ 150 w 150"/>
                  <a:gd name="T7" fmla="*/ 0 h 90"/>
                </a:gdLst>
                <a:ahLst/>
                <a:cxnLst>
                  <a:cxn ang="0">
                    <a:pos x="T0" y="T1"/>
                  </a:cxn>
                  <a:cxn ang="0">
                    <a:pos x="T2" y="T3"/>
                  </a:cxn>
                  <a:cxn ang="0">
                    <a:pos x="T4" y="T5"/>
                  </a:cxn>
                  <a:cxn ang="0">
                    <a:pos x="T6" y="T7"/>
                  </a:cxn>
                </a:cxnLst>
                <a:rect l="0" t="0" r="r" b="b"/>
                <a:pathLst>
                  <a:path w="150" h="90">
                    <a:moveTo>
                      <a:pt x="150" y="0"/>
                    </a:moveTo>
                    <a:lnTo>
                      <a:pt x="0" y="0"/>
                    </a:lnTo>
                    <a:lnTo>
                      <a:pt x="120" y="90"/>
                    </a:lnTo>
                    <a:lnTo>
                      <a:pt x="15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83" name="Freeform 2467">
                <a:extLst>
                  <a:ext uri="{FF2B5EF4-FFF2-40B4-BE49-F238E27FC236}">
                    <a16:creationId xmlns:a16="http://schemas.microsoft.com/office/drawing/2014/main" id="{FAF0461E-6E75-4EBB-9E31-A73237287321}"/>
                  </a:ext>
                </a:extLst>
              </p:cNvPr>
              <p:cNvSpPr>
                <a:spLocks/>
              </p:cNvSpPr>
              <p:nvPr/>
            </p:nvSpPr>
            <p:spPr bwMode="auto">
              <a:xfrm>
                <a:off x="1696" y="480"/>
                <a:ext cx="390" cy="360"/>
              </a:xfrm>
              <a:custGeom>
                <a:avLst/>
                <a:gdLst>
                  <a:gd name="T0" fmla="*/ 180 w 390"/>
                  <a:gd name="T1" fmla="*/ 360 h 360"/>
                  <a:gd name="T2" fmla="*/ 150 w 390"/>
                  <a:gd name="T3" fmla="*/ 150 h 360"/>
                  <a:gd name="T4" fmla="*/ 30 w 390"/>
                  <a:gd name="T5" fmla="*/ 0 h 360"/>
                  <a:gd name="T6" fmla="*/ 330 w 390"/>
                  <a:gd name="T7" fmla="*/ 120 h 360"/>
                  <a:gd name="T8" fmla="*/ 390 w 390"/>
                  <a:gd name="T9" fmla="*/ 0 h 360"/>
                  <a:gd name="T10" fmla="*/ 210 w 390"/>
                  <a:gd name="T11" fmla="*/ 30 h 360"/>
                  <a:gd name="T12" fmla="*/ 0 w 390"/>
                  <a:gd name="T13" fmla="*/ 180 h 360"/>
                  <a:gd name="T14" fmla="*/ 270 w 390"/>
                  <a:gd name="T15" fmla="*/ 33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360">
                    <a:moveTo>
                      <a:pt x="180" y="360"/>
                    </a:moveTo>
                    <a:lnTo>
                      <a:pt x="150" y="150"/>
                    </a:lnTo>
                    <a:lnTo>
                      <a:pt x="30" y="0"/>
                    </a:lnTo>
                    <a:lnTo>
                      <a:pt x="330" y="120"/>
                    </a:lnTo>
                    <a:lnTo>
                      <a:pt x="390" y="0"/>
                    </a:lnTo>
                    <a:lnTo>
                      <a:pt x="210" y="30"/>
                    </a:lnTo>
                    <a:lnTo>
                      <a:pt x="0" y="180"/>
                    </a:lnTo>
                    <a:lnTo>
                      <a:pt x="27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84" name="Line 2468">
                <a:extLst>
                  <a:ext uri="{FF2B5EF4-FFF2-40B4-BE49-F238E27FC236}">
                    <a16:creationId xmlns:a16="http://schemas.microsoft.com/office/drawing/2014/main" id="{A2700F58-63AC-4CD0-8F3E-2C5385100786}"/>
                  </a:ext>
                </a:extLst>
              </p:cNvPr>
              <p:cNvSpPr>
                <a:spLocks noChangeShapeType="1"/>
              </p:cNvSpPr>
              <p:nvPr/>
            </p:nvSpPr>
            <p:spPr bwMode="auto">
              <a:xfrm flipV="1">
                <a:off x="1846" y="510"/>
                <a:ext cx="6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85" name="Freeform 2469">
                <a:extLst>
                  <a:ext uri="{FF2B5EF4-FFF2-40B4-BE49-F238E27FC236}">
                    <a16:creationId xmlns:a16="http://schemas.microsoft.com/office/drawing/2014/main" id="{68FCC229-80D9-4A9F-8884-53F18479C194}"/>
                  </a:ext>
                </a:extLst>
              </p:cNvPr>
              <p:cNvSpPr>
                <a:spLocks/>
              </p:cNvSpPr>
              <p:nvPr/>
            </p:nvSpPr>
            <p:spPr bwMode="auto">
              <a:xfrm>
                <a:off x="2086" y="450"/>
                <a:ext cx="239" cy="120"/>
              </a:xfrm>
              <a:custGeom>
                <a:avLst/>
                <a:gdLst>
                  <a:gd name="T0" fmla="*/ 239 w 239"/>
                  <a:gd name="T1" fmla="*/ 0 h 120"/>
                  <a:gd name="T2" fmla="*/ 0 w 239"/>
                  <a:gd name="T3" fmla="*/ 30 h 120"/>
                  <a:gd name="T4" fmla="*/ 149 w 239"/>
                  <a:gd name="T5" fmla="*/ 120 h 120"/>
                  <a:gd name="T6" fmla="*/ 239 w 239"/>
                  <a:gd name="T7" fmla="*/ 0 h 120"/>
                </a:gdLst>
                <a:ahLst/>
                <a:cxnLst>
                  <a:cxn ang="0">
                    <a:pos x="T0" y="T1"/>
                  </a:cxn>
                  <a:cxn ang="0">
                    <a:pos x="T2" y="T3"/>
                  </a:cxn>
                  <a:cxn ang="0">
                    <a:pos x="T4" y="T5"/>
                  </a:cxn>
                  <a:cxn ang="0">
                    <a:pos x="T6" y="T7"/>
                  </a:cxn>
                </a:cxnLst>
                <a:rect l="0" t="0" r="r" b="b"/>
                <a:pathLst>
                  <a:path w="239" h="120">
                    <a:moveTo>
                      <a:pt x="239" y="0"/>
                    </a:moveTo>
                    <a:lnTo>
                      <a:pt x="0" y="30"/>
                    </a:lnTo>
                    <a:lnTo>
                      <a:pt x="149" y="120"/>
                    </a:lnTo>
                    <a:lnTo>
                      <a:pt x="239"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86" name="Line 2470">
                <a:extLst>
                  <a:ext uri="{FF2B5EF4-FFF2-40B4-BE49-F238E27FC236}">
                    <a16:creationId xmlns:a16="http://schemas.microsoft.com/office/drawing/2014/main" id="{29EB0A10-FF18-4D5A-81E5-52949BA64222}"/>
                  </a:ext>
                </a:extLst>
              </p:cNvPr>
              <p:cNvSpPr>
                <a:spLocks noChangeShapeType="1"/>
              </p:cNvSpPr>
              <p:nvPr/>
            </p:nvSpPr>
            <p:spPr bwMode="auto">
              <a:xfrm>
                <a:off x="2625" y="540"/>
                <a:ext cx="18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87" name="Freeform 2471">
                <a:extLst>
                  <a:ext uri="{FF2B5EF4-FFF2-40B4-BE49-F238E27FC236}">
                    <a16:creationId xmlns:a16="http://schemas.microsoft.com/office/drawing/2014/main" id="{246A0F60-1191-4ACC-8C07-CE126AA671B2}"/>
                  </a:ext>
                </a:extLst>
              </p:cNvPr>
              <p:cNvSpPr>
                <a:spLocks/>
              </p:cNvSpPr>
              <p:nvPr/>
            </p:nvSpPr>
            <p:spPr bwMode="auto">
              <a:xfrm>
                <a:off x="2805" y="450"/>
                <a:ext cx="300" cy="330"/>
              </a:xfrm>
              <a:custGeom>
                <a:avLst/>
                <a:gdLst>
                  <a:gd name="T0" fmla="*/ 90 w 300"/>
                  <a:gd name="T1" fmla="*/ 0 h 330"/>
                  <a:gd name="T2" fmla="*/ 180 w 300"/>
                  <a:gd name="T3" fmla="*/ 90 h 330"/>
                  <a:gd name="T4" fmla="*/ 0 w 300"/>
                  <a:gd name="T5" fmla="*/ 90 h 330"/>
                  <a:gd name="T6" fmla="*/ 60 w 300"/>
                  <a:gd name="T7" fmla="*/ 210 h 330"/>
                  <a:gd name="T8" fmla="*/ 180 w 300"/>
                  <a:gd name="T9" fmla="*/ 90 h 330"/>
                  <a:gd name="T10" fmla="*/ 300 w 300"/>
                  <a:gd name="T11" fmla="*/ 240 h 330"/>
                  <a:gd name="T12" fmla="*/ 150 w 300"/>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300" h="330">
                    <a:moveTo>
                      <a:pt x="90" y="0"/>
                    </a:moveTo>
                    <a:lnTo>
                      <a:pt x="180" y="90"/>
                    </a:lnTo>
                    <a:lnTo>
                      <a:pt x="0" y="90"/>
                    </a:lnTo>
                    <a:lnTo>
                      <a:pt x="60" y="210"/>
                    </a:lnTo>
                    <a:lnTo>
                      <a:pt x="180" y="90"/>
                    </a:lnTo>
                    <a:lnTo>
                      <a:pt x="300" y="240"/>
                    </a:lnTo>
                    <a:lnTo>
                      <a:pt x="15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88" name="Freeform 2472">
                <a:extLst>
                  <a:ext uri="{FF2B5EF4-FFF2-40B4-BE49-F238E27FC236}">
                    <a16:creationId xmlns:a16="http://schemas.microsoft.com/office/drawing/2014/main" id="{C6DD2919-D3DB-4275-9285-9EC797174AB2}"/>
                  </a:ext>
                </a:extLst>
              </p:cNvPr>
              <p:cNvSpPr>
                <a:spLocks/>
              </p:cNvSpPr>
              <p:nvPr/>
            </p:nvSpPr>
            <p:spPr bwMode="auto">
              <a:xfrm>
                <a:off x="3195" y="480"/>
                <a:ext cx="180" cy="90"/>
              </a:xfrm>
              <a:custGeom>
                <a:avLst/>
                <a:gdLst>
                  <a:gd name="T0" fmla="*/ 0 w 180"/>
                  <a:gd name="T1" fmla="*/ 90 h 90"/>
                  <a:gd name="T2" fmla="*/ 90 w 180"/>
                  <a:gd name="T3" fmla="*/ 0 h 90"/>
                  <a:gd name="T4" fmla="*/ 180 w 180"/>
                  <a:gd name="T5" fmla="*/ 90 h 90"/>
                </a:gdLst>
                <a:ahLst/>
                <a:cxnLst>
                  <a:cxn ang="0">
                    <a:pos x="T0" y="T1"/>
                  </a:cxn>
                  <a:cxn ang="0">
                    <a:pos x="T2" y="T3"/>
                  </a:cxn>
                  <a:cxn ang="0">
                    <a:pos x="T4" y="T5"/>
                  </a:cxn>
                </a:cxnLst>
                <a:rect l="0" t="0" r="r" b="b"/>
                <a:pathLst>
                  <a:path w="180" h="90">
                    <a:moveTo>
                      <a:pt x="0" y="90"/>
                    </a:moveTo>
                    <a:lnTo>
                      <a:pt x="9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89" name="Freeform 2473">
                <a:extLst>
                  <a:ext uri="{FF2B5EF4-FFF2-40B4-BE49-F238E27FC236}">
                    <a16:creationId xmlns:a16="http://schemas.microsoft.com/office/drawing/2014/main" id="{B6CC6B7A-3837-404B-ACDA-E3C8FC668A3F}"/>
                  </a:ext>
                </a:extLst>
              </p:cNvPr>
              <p:cNvSpPr>
                <a:spLocks/>
              </p:cNvSpPr>
              <p:nvPr/>
            </p:nvSpPr>
            <p:spPr bwMode="auto">
              <a:xfrm>
                <a:off x="3675" y="450"/>
                <a:ext cx="269" cy="210"/>
              </a:xfrm>
              <a:custGeom>
                <a:avLst/>
                <a:gdLst>
                  <a:gd name="T0" fmla="*/ 119 w 269"/>
                  <a:gd name="T1" fmla="*/ 60 h 210"/>
                  <a:gd name="T2" fmla="*/ 269 w 269"/>
                  <a:gd name="T3" fmla="*/ 30 h 210"/>
                  <a:gd name="T4" fmla="*/ 149 w 269"/>
                  <a:gd name="T5" fmla="*/ 210 h 210"/>
                  <a:gd name="T6" fmla="*/ 0 w 269"/>
                  <a:gd name="T7" fmla="*/ 0 h 210"/>
                  <a:gd name="T8" fmla="*/ 30 w 269"/>
                  <a:gd name="T9" fmla="*/ 180 h 210"/>
                </a:gdLst>
                <a:ahLst/>
                <a:cxnLst>
                  <a:cxn ang="0">
                    <a:pos x="T0" y="T1"/>
                  </a:cxn>
                  <a:cxn ang="0">
                    <a:pos x="T2" y="T3"/>
                  </a:cxn>
                  <a:cxn ang="0">
                    <a:pos x="T4" y="T5"/>
                  </a:cxn>
                  <a:cxn ang="0">
                    <a:pos x="T6" y="T7"/>
                  </a:cxn>
                  <a:cxn ang="0">
                    <a:pos x="T8" y="T9"/>
                  </a:cxn>
                </a:cxnLst>
                <a:rect l="0" t="0" r="r" b="b"/>
                <a:pathLst>
                  <a:path w="269" h="210">
                    <a:moveTo>
                      <a:pt x="119" y="60"/>
                    </a:moveTo>
                    <a:lnTo>
                      <a:pt x="269" y="30"/>
                    </a:lnTo>
                    <a:lnTo>
                      <a:pt x="149" y="210"/>
                    </a:lnTo>
                    <a:lnTo>
                      <a:pt x="0" y="0"/>
                    </a:lnTo>
                    <a:lnTo>
                      <a:pt x="3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90" name="Freeform 2474">
                <a:extLst>
                  <a:ext uri="{FF2B5EF4-FFF2-40B4-BE49-F238E27FC236}">
                    <a16:creationId xmlns:a16="http://schemas.microsoft.com/office/drawing/2014/main" id="{09A73422-2FA8-443A-85B3-62949CA20028}"/>
                  </a:ext>
                </a:extLst>
              </p:cNvPr>
              <p:cNvSpPr>
                <a:spLocks/>
              </p:cNvSpPr>
              <p:nvPr/>
            </p:nvSpPr>
            <p:spPr bwMode="auto">
              <a:xfrm>
                <a:off x="1756"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91" name="Freeform 2475">
                <a:extLst>
                  <a:ext uri="{FF2B5EF4-FFF2-40B4-BE49-F238E27FC236}">
                    <a16:creationId xmlns:a16="http://schemas.microsoft.com/office/drawing/2014/main" id="{9DA06FC6-988B-48F7-9DF0-FCF8ECCD66A9}"/>
                  </a:ext>
                </a:extLst>
              </p:cNvPr>
              <p:cNvSpPr>
                <a:spLocks/>
              </p:cNvSpPr>
              <p:nvPr/>
            </p:nvSpPr>
            <p:spPr bwMode="auto">
              <a:xfrm>
                <a:off x="1936"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92" name="Freeform 2476">
                <a:extLst>
                  <a:ext uri="{FF2B5EF4-FFF2-40B4-BE49-F238E27FC236}">
                    <a16:creationId xmlns:a16="http://schemas.microsoft.com/office/drawing/2014/main" id="{CF659F96-96BD-4361-A6A5-44CE5850E2D1}"/>
                  </a:ext>
                </a:extLst>
              </p:cNvPr>
              <p:cNvSpPr>
                <a:spLocks/>
              </p:cNvSpPr>
              <p:nvPr/>
            </p:nvSpPr>
            <p:spPr bwMode="auto">
              <a:xfrm>
                <a:off x="1876" y="1740"/>
                <a:ext cx="479" cy="270"/>
              </a:xfrm>
              <a:custGeom>
                <a:avLst/>
                <a:gdLst>
                  <a:gd name="T0" fmla="*/ 0 w 479"/>
                  <a:gd name="T1" fmla="*/ 90 h 270"/>
                  <a:gd name="T2" fmla="*/ 180 w 479"/>
                  <a:gd name="T3" fmla="*/ 30 h 270"/>
                  <a:gd name="T4" fmla="*/ 299 w 479"/>
                  <a:gd name="T5" fmla="*/ 150 h 270"/>
                  <a:gd name="T6" fmla="*/ 210 w 479"/>
                  <a:gd name="T7" fmla="*/ 270 h 270"/>
                  <a:gd name="T8" fmla="*/ 30 w 479"/>
                  <a:gd name="T9" fmla="*/ 270 h 270"/>
                  <a:gd name="T10" fmla="*/ 0 w 479"/>
                  <a:gd name="T11" fmla="*/ 90 h 270"/>
                  <a:gd name="T12" fmla="*/ 150 w 479"/>
                  <a:gd name="T13" fmla="*/ 150 h 270"/>
                  <a:gd name="T14" fmla="*/ 299 w 479"/>
                  <a:gd name="T15" fmla="*/ 0 h 270"/>
                  <a:gd name="T16" fmla="*/ 479 w 479"/>
                  <a:gd name="T17" fmla="*/ 210 h 270"/>
                  <a:gd name="T18" fmla="*/ 419 w 479"/>
                  <a:gd name="T19" fmla="*/ 6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70">
                    <a:moveTo>
                      <a:pt x="0" y="90"/>
                    </a:moveTo>
                    <a:lnTo>
                      <a:pt x="180" y="30"/>
                    </a:lnTo>
                    <a:lnTo>
                      <a:pt x="299" y="150"/>
                    </a:lnTo>
                    <a:lnTo>
                      <a:pt x="210" y="270"/>
                    </a:lnTo>
                    <a:lnTo>
                      <a:pt x="30" y="270"/>
                    </a:lnTo>
                    <a:lnTo>
                      <a:pt x="0" y="90"/>
                    </a:lnTo>
                    <a:lnTo>
                      <a:pt x="150" y="150"/>
                    </a:lnTo>
                    <a:lnTo>
                      <a:pt x="299" y="0"/>
                    </a:lnTo>
                    <a:lnTo>
                      <a:pt x="479" y="210"/>
                    </a:lnTo>
                    <a:lnTo>
                      <a:pt x="41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93" name="Freeform 2477">
                <a:extLst>
                  <a:ext uri="{FF2B5EF4-FFF2-40B4-BE49-F238E27FC236}">
                    <a16:creationId xmlns:a16="http://schemas.microsoft.com/office/drawing/2014/main" id="{3CBA9173-B356-40E2-A69E-0098C50F9FDD}"/>
                  </a:ext>
                </a:extLst>
              </p:cNvPr>
              <p:cNvSpPr>
                <a:spLocks/>
              </p:cNvSpPr>
              <p:nvPr/>
            </p:nvSpPr>
            <p:spPr bwMode="auto">
              <a:xfrm>
                <a:off x="2026"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94" name="Freeform 2478">
                <a:extLst>
                  <a:ext uri="{FF2B5EF4-FFF2-40B4-BE49-F238E27FC236}">
                    <a16:creationId xmlns:a16="http://schemas.microsoft.com/office/drawing/2014/main" id="{209CA86A-57D6-46F0-AC4B-1A38ECD50D7F}"/>
                  </a:ext>
                </a:extLst>
              </p:cNvPr>
              <p:cNvSpPr>
                <a:spLocks/>
              </p:cNvSpPr>
              <p:nvPr/>
            </p:nvSpPr>
            <p:spPr bwMode="auto">
              <a:xfrm>
                <a:off x="3405"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95" name="Freeform 2479">
                <a:extLst>
                  <a:ext uri="{FF2B5EF4-FFF2-40B4-BE49-F238E27FC236}">
                    <a16:creationId xmlns:a16="http://schemas.microsoft.com/office/drawing/2014/main" id="{90467849-1360-4330-B782-103439C59821}"/>
                  </a:ext>
                </a:extLst>
              </p:cNvPr>
              <p:cNvSpPr>
                <a:spLocks/>
              </p:cNvSpPr>
              <p:nvPr/>
            </p:nvSpPr>
            <p:spPr bwMode="auto">
              <a:xfrm>
                <a:off x="3405" y="1290"/>
                <a:ext cx="300" cy="540"/>
              </a:xfrm>
              <a:custGeom>
                <a:avLst/>
                <a:gdLst>
                  <a:gd name="T0" fmla="*/ 0 w 300"/>
                  <a:gd name="T1" fmla="*/ 390 h 540"/>
                  <a:gd name="T2" fmla="*/ 180 w 300"/>
                  <a:gd name="T3" fmla="*/ 240 h 540"/>
                  <a:gd name="T4" fmla="*/ 0 w 300"/>
                  <a:gd name="T5" fmla="*/ 150 h 540"/>
                  <a:gd name="T6" fmla="*/ 120 w 300"/>
                  <a:gd name="T7" fmla="*/ 120 h 540"/>
                  <a:gd name="T8" fmla="*/ 300 w 300"/>
                  <a:gd name="T9" fmla="*/ 180 h 540"/>
                  <a:gd name="T10" fmla="*/ 270 w 300"/>
                  <a:gd name="T11" fmla="*/ 30 h 540"/>
                  <a:gd name="T12" fmla="*/ 120 w 300"/>
                  <a:gd name="T13" fmla="*/ 120 h 540"/>
                  <a:gd name="T14" fmla="*/ 30 w 300"/>
                  <a:gd name="T15" fmla="*/ 0 h 540"/>
                  <a:gd name="T16" fmla="*/ 0 w 300"/>
                  <a:gd name="T17" fmla="*/ 150 h 540"/>
                  <a:gd name="T18" fmla="*/ 30 w 300"/>
                  <a:gd name="T19" fmla="*/ 300 h 540"/>
                  <a:gd name="T20" fmla="*/ 0 w 300"/>
                  <a:gd name="T21" fmla="*/ 390 h 540"/>
                  <a:gd name="T22" fmla="*/ 120 w 300"/>
                  <a:gd name="T23"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0" h="540">
                    <a:moveTo>
                      <a:pt x="0" y="390"/>
                    </a:moveTo>
                    <a:lnTo>
                      <a:pt x="180" y="240"/>
                    </a:lnTo>
                    <a:lnTo>
                      <a:pt x="0" y="150"/>
                    </a:lnTo>
                    <a:lnTo>
                      <a:pt x="120" y="120"/>
                    </a:lnTo>
                    <a:lnTo>
                      <a:pt x="300" y="180"/>
                    </a:lnTo>
                    <a:lnTo>
                      <a:pt x="270" y="30"/>
                    </a:lnTo>
                    <a:lnTo>
                      <a:pt x="120" y="120"/>
                    </a:lnTo>
                    <a:lnTo>
                      <a:pt x="30" y="0"/>
                    </a:lnTo>
                    <a:lnTo>
                      <a:pt x="0" y="150"/>
                    </a:lnTo>
                    <a:lnTo>
                      <a:pt x="30" y="300"/>
                    </a:lnTo>
                    <a:lnTo>
                      <a:pt x="0" y="390"/>
                    </a:lnTo>
                    <a:lnTo>
                      <a:pt x="12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96" name="Freeform 2480">
                <a:extLst>
                  <a:ext uri="{FF2B5EF4-FFF2-40B4-BE49-F238E27FC236}">
                    <a16:creationId xmlns:a16="http://schemas.microsoft.com/office/drawing/2014/main" id="{32576972-2CFA-4221-9A7D-5DC121522356}"/>
                  </a:ext>
                </a:extLst>
              </p:cNvPr>
              <p:cNvSpPr>
                <a:spLocks/>
              </p:cNvSpPr>
              <p:nvPr/>
            </p:nvSpPr>
            <p:spPr bwMode="auto">
              <a:xfrm>
                <a:off x="3585"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97" name="Freeform 2481">
                <a:extLst>
                  <a:ext uri="{FF2B5EF4-FFF2-40B4-BE49-F238E27FC236}">
                    <a16:creationId xmlns:a16="http://schemas.microsoft.com/office/drawing/2014/main" id="{C69CB639-D300-4DC9-B4F5-26220AD6BFF4}"/>
                  </a:ext>
                </a:extLst>
              </p:cNvPr>
              <p:cNvSpPr>
                <a:spLocks/>
              </p:cNvSpPr>
              <p:nvPr/>
            </p:nvSpPr>
            <p:spPr bwMode="auto">
              <a:xfrm>
                <a:off x="3405" y="1320"/>
                <a:ext cx="599" cy="750"/>
              </a:xfrm>
              <a:custGeom>
                <a:avLst/>
                <a:gdLst>
                  <a:gd name="T0" fmla="*/ 300 w 599"/>
                  <a:gd name="T1" fmla="*/ 150 h 750"/>
                  <a:gd name="T2" fmla="*/ 479 w 599"/>
                  <a:gd name="T3" fmla="*/ 210 h 750"/>
                  <a:gd name="T4" fmla="*/ 479 w 599"/>
                  <a:gd name="T5" fmla="*/ 60 h 750"/>
                  <a:gd name="T6" fmla="*/ 359 w 599"/>
                  <a:gd name="T7" fmla="*/ 300 h 750"/>
                  <a:gd name="T8" fmla="*/ 419 w 599"/>
                  <a:gd name="T9" fmla="*/ 420 h 750"/>
                  <a:gd name="T10" fmla="*/ 539 w 599"/>
                  <a:gd name="T11" fmla="*/ 480 h 750"/>
                  <a:gd name="T12" fmla="*/ 479 w 599"/>
                  <a:gd name="T13" fmla="*/ 210 h 750"/>
                  <a:gd name="T14" fmla="*/ 419 w 599"/>
                  <a:gd name="T15" fmla="*/ 420 h 750"/>
                  <a:gd name="T16" fmla="*/ 419 w 599"/>
                  <a:gd name="T17" fmla="*/ 570 h 750"/>
                  <a:gd name="T18" fmla="*/ 599 w 599"/>
                  <a:gd name="T19" fmla="*/ 630 h 750"/>
                  <a:gd name="T20" fmla="*/ 300 w 599"/>
                  <a:gd name="T21" fmla="*/ 660 h 750"/>
                  <a:gd name="T22" fmla="*/ 270 w 599"/>
                  <a:gd name="T23" fmla="*/ 570 h 750"/>
                  <a:gd name="T24" fmla="*/ 210 w 599"/>
                  <a:gd name="T25" fmla="*/ 750 h 750"/>
                  <a:gd name="T26" fmla="*/ 0 w 599"/>
                  <a:gd name="T27" fmla="*/ 600 h 750"/>
                  <a:gd name="T28" fmla="*/ 120 w 599"/>
                  <a:gd name="T29" fmla="*/ 510 h 750"/>
                  <a:gd name="T30" fmla="*/ 180 w 599"/>
                  <a:gd name="T31" fmla="*/ 360 h 750"/>
                  <a:gd name="T32" fmla="*/ 300 w 599"/>
                  <a:gd name="T33" fmla="*/ 450 h 750"/>
                  <a:gd name="T34" fmla="*/ 359 w 599"/>
                  <a:gd name="T35" fmla="*/ 300 h 750"/>
                  <a:gd name="T36" fmla="*/ 180 w 599"/>
                  <a:gd name="T37" fmla="*/ 210 h 750"/>
                  <a:gd name="T38" fmla="*/ 300 w 599"/>
                  <a:gd name="T39" fmla="*/ 150 h 750"/>
                  <a:gd name="T40" fmla="*/ 389 w 599"/>
                  <a:gd name="T41" fmla="*/ 90 h 750"/>
                  <a:gd name="T42" fmla="*/ 270 w 599"/>
                  <a:gd name="T43" fmla="*/ 0 h 750"/>
                  <a:gd name="T44" fmla="*/ 479 w 599"/>
                  <a:gd name="T45" fmla="*/ 6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9" h="750">
                    <a:moveTo>
                      <a:pt x="300" y="150"/>
                    </a:moveTo>
                    <a:lnTo>
                      <a:pt x="479" y="210"/>
                    </a:lnTo>
                    <a:lnTo>
                      <a:pt x="479" y="60"/>
                    </a:lnTo>
                    <a:lnTo>
                      <a:pt x="359" y="300"/>
                    </a:lnTo>
                    <a:lnTo>
                      <a:pt x="419" y="420"/>
                    </a:lnTo>
                    <a:lnTo>
                      <a:pt x="539" y="480"/>
                    </a:lnTo>
                    <a:lnTo>
                      <a:pt x="479" y="210"/>
                    </a:lnTo>
                    <a:lnTo>
                      <a:pt x="419" y="420"/>
                    </a:lnTo>
                    <a:lnTo>
                      <a:pt x="419" y="570"/>
                    </a:lnTo>
                    <a:lnTo>
                      <a:pt x="599" y="630"/>
                    </a:lnTo>
                    <a:lnTo>
                      <a:pt x="300" y="660"/>
                    </a:lnTo>
                    <a:lnTo>
                      <a:pt x="270" y="570"/>
                    </a:lnTo>
                    <a:lnTo>
                      <a:pt x="210" y="750"/>
                    </a:lnTo>
                    <a:lnTo>
                      <a:pt x="0" y="600"/>
                    </a:lnTo>
                    <a:lnTo>
                      <a:pt x="120" y="510"/>
                    </a:lnTo>
                    <a:lnTo>
                      <a:pt x="180" y="360"/>
                    </a:lnTo>
                    <a:lnTo>
                      <a:pt x="300" y="450"/>
                    </a:lnTo>
                    <a:lnTo>
                      <a:pt x="359" y="300"/>
                    </a:lnTo>
                    <a:lnTo>
                      <a:pt x="180" y="210"/>
                    </a:lnTo>
                    <a:lnTo>
                      <a:pt x="300" y="150"/>
                    </a:lnTo>
                    <a:lnTo>
                      <a:pt x="389" y="90"/>
                    </a:lnTo>
                    <a:lnTo>
                      <a:pt x="270" y="0"/>
                    </a:lnTo>
                    <a:lnTo>
                      <a:pt x="47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98" name="Freeform 2482">
                <a:extLst>
                  <a:ext uri="{FF2B5EF4-FFF2-40B4-BE49-F238E27FC236}">
                    <a16:creationId xmlns:a16="http://schemas.microsoft.com/office/drawing/2014/main" id="{54EF1A16-7AA1-492D-9E64-2E161D9C9298}"/>
                  </a:ext>
                </a:extLst>
              </p:cNvPr>
              <p:cNvSpPr>
                <a:spLocks/>
              </p:cNvSpPr>
              <p:nvPr/>
            </p:nvSpPr>
            <p:spPr bwMode="auto">
              <a:xfrm>
                <a:off x="3525" y="1770"/>
                <a:ext cx="299" cy="210"/>
              </a:xfrm>
              <a:custGeom>
                <a:avLst/>
                <a:gdLst>
                  <a:gd name="T0" fmla="*/ 0 w 299"/>
                  <a:gd name="T1" fmla="*/ 60 h 210"/>
                  <a:gd name="T2" fmla="*/ 180 w 299"/>
                  <a:gd name="T3" fmla="*/ 0 h 210"/>
                  <a:gd name="T4" fmla="*/ 299 w 299"/>
                  <a:gd name="T5" fmla="*/ 120 h 210"/>
                  <a:gd name="T6" fmla="*/ 180 w 299"/>
                  <a:gd name="T7" fmla="*/ 210 h 210"/>
                </a:gdLst>
                <a:ahLst/>
                <a:cxnLst>
                  <a:cxn ang="0">
                    <a:pos x="T0" y="T1"/>
                  </a:cxn>
                  <a:cxn ang="0">
                    <a:pos x="T2" y="T3"/>
                  </a:cxn>
                  <a:cxn ang="0">
                    <a:pos x="T4" y="T5"/>
                  </a:cxn>
                  <a:cxn ang="0">
                    <a:pos x="T6" y="T7"/>
                  </a:cxn>
                </a:cxnLst>
                <a:rect l="0" t="0" r="r" b="b"/>
                <a:pathLst>
                  <a:path w="299" h="210">
                    <a:moveTo>
                      <a:pt x="0" y="60"/>
                    </a:moveTo>
                    <a:lnTo>
                      <a:pt x="180" y="0"/>
                    </a:lnTo>
                    <a:lnTo>
                      <a:pt x="299" y="120"/>
                    </a:lnTo>
                    <a:lnTo>
                      <a:pt x="18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99" name="Freeform 2483">
                <a:extLst>
                  <a:ext uri="{FF2B5EF4-FFF2-40B4-BE49-F238E27FC236}">
                    <a16:creationId xmlns:a16="http://schemas.microsoft.com/office/drawing/2014/main" id="{6BA06047-F12C-4EC0-8390-5234E9C9C80D}"/>
                  </a:ext>
                </a:extLst>
              </p:cNvPr>
              <p:cNvSpPr>
                <a:spLocks/>
              </p:cNvSpPr>
              <p:nvPr/>
            </p:nvSpPr>
            <p:spPr bwMode="auto">
              <a:xfrm>
                <a:off x="3675"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00" name="Line 2484">
                <a:extLst>
                  <a:ext uri="{FF2B5EF4-FFF2-40B4-BE49-F238E27FC236}">
                    <a16:creationId xmlns:a16="http://schemas.microsoft.com/office/drawing/2014/main" id="{F99E3E13-B7F5-42CC-AC1A-A9CA4CC1076A}"/>
                  </a:ext>
                </a:extLst>
              </p:cNvPr>
              <p:cNvSpPr>
                <a:spLocks noChangeShapeType="1"/>
              </p:cNvSpPr>
              <p:nvPr/>
            </p:nvSpPr>
            <p:spPr bwMode="auto">
              <a:xfrm flipV="1">
                <a:off x="1786" y="1233"/>
                <a:ext cx="181" cy="5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01" name="Line 2485">
                <a:extLst>
                  <a:ext uri="{FF2B5EF4-FFF2-40B4-BE49-F238E27FC236}">
                    <a16:creationId xmlns:a16="http://schemas.microsoft.com/office/drawing/2014/main" id="{9404EB8E-35D2-42BE-92C4-591B233A6C2D}"/>
                  </a:ext>
                </a:extLst>
              </p:cNvPr>
              <p:cNvSpPr>
                <a:spLocks noChangeShapeType="1"/>
              </p:cNvSpPr>
              <p:nvPr/>
            </p:nvSpPr>
            <p:spPr bwMode="auto">
              <a:xfrm flipH="1">
                <a:off x="1936" y="1233"/>
                <a:ext cx="31"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02" name="Freeform 2486">
                <a:extLst>
                  <a:ext uri="{FF2B5EF4-FFF2-40B4-BE49-F238E27FC236}">
                    <a16:creationId xmlns:a16="http://schemas.microsoft.com/office/drawing/2014/main" id="{F5B8E432-BDA1-4C9A-9D73-25A50AB0ECDA}"/>
                  </a:ext>
                </a:extLst>
              </p:cNvPr>
              <p:cNvSpPr>
                <a:spLocks/>
              </p:cNvSpPr>
              <p:nvPr/>
            </p:nvSpPr>
            <p:spPr bwMode="auto">
              <a:xfrm>
                <a:off x="2235" y="1231"/>
                <a:ext cx="210" cy="302"/>
              </a:xfrm>
              <a:custGeom>
                <a:avLst/>
                <a:gdLst>
                  <a:gd name="T0" fmla="*/ 0 w 210"/>
                  <a:gd name="T1" fmla="*/ 0 h 302"/>
                  <a:gd name="T2" fmla="*/ 180 w 210"/>
                  <a:gd name="T3" fmla="*/ 269 h 302"/>
                  <a:gd name="T4" fmla="*/ 2 w 210"/>
                  <a:gd name="T5" fmla="*/ 302 h 302"/>
                  <a:gd name="T6" fmla="*/ 210 w 210"/>
                  <a:gd name="T7" fmla="*/ 179 h 302"/>
                </a:gdLst>
                <a:ahLst/>
                <a:cxnLst>
                  <a:cxn ang="0">
                    <a:pos x="T0" y="T1"/>
                  </a:cxn>
                  <a:cxn ang="0">
                    <a:pos x="T2" y="T3"/>
                  </a:cxn>
                  <a:cxn ang="0">
                    <a:pos x="T4" y="T5"/>
                  </a:cxn>
                  <a:cxn ang="0">
                    <a:pos x="T6" y="T7"/>
                  </a:cxn>
                </a:cxnLst>
                <a:rect l="0" t="0" r="r" b="b"/>
                <a:pathLst>
                  <a:path w="210" h="302">
                    <a:moveTo>
                      <a:pt x="0" y="0"/>
                    </a:moveTo>
                    <a:lnTo>
                      <a:pt x="180" y="269"/>
                    </a:lnTo>
                    <a:lnTo>
                      <a:pt x="2" y="302"/>
                    </a:lnTo>
                    <a:lnTo>
                      <a:pt x="210" y="17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03" name="Line 2487">
                <a:extLst>
                  <a:ext uri="{FF2B5EF4-FFF2-40B4-BE49-F238E27FC236}">
                    <a16:creationId xmlns:a16="http://schemas.microsoft.com/office/drawing/2014/main" id="{CF534D32-0D33-46AF-95A1-EA790CC14953}"/>
                  </a:ext>
                </a:extLst>
              </p:cNvPr>
              <p:cNvSpPr>
                <a:spLocks noChangeShapeType="1"/>
              </p:cNvSpPr>
              <p:nvPr/>
            </p:nvSpPr>
            <p:spPr bwMode="auto">
              <a:xfrm>
                <a:off x="2235" y="1380"/>
                <a:ext cx="21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04" name="Freeform 2488">
                <a:extLst>
                  <a:ext uri="{FF2B5EF4-FFF2-40B4-BE49-F238E27FC236}">
                    <a16:creationId xmlns:a16="http://schemas.microsoft.com/office/drawing/2014/main" id="{51DF704E-206E-4FA5-8231-7DFE38D3E0F0}"/>
                  </a:ext>
                </a:extLst>
              </p:cNvPr>
              <p:cNvSpPr>
                <a:spLocks/>
              </p:cNvSpPr>
              <p:nvPr/>
            </p:nvSpPr>
            <p:spPr bwMode="auto">
              <a:xfrm>
                <a:off x="1756" y="1140"/>
                <a:ext cx="599" cy="870"/>
              </a:xfrm>
              <a:custGeom>
                <a:avLst/>
                <a:gdLst>
                  <a:gd name="T0" fmla="*/ 300 w 599"/>
                  <a:gd name="T1" fmla="*/ 0 h 870"/>
                  <a:gd name="T2" fmla="*/ 479 w 599"/>
                  <a:gd name="T3" fmla="*/ 91 h 870"/>
                  <a:gd name="T4" fmla="*/ 300 w 599"/>
                  <a:gd name="T5" fmla="*/ 330 h 870"/>
                  <a:gd name="T6" fmla="*/ 479 w 599"/>
                  <a:gd name="T7" fmla="*/ 390 h 870"/>
                  <a:gd name="T8" fmla="*/ 479 w 599"/>
                  <a:gd name="T9" fmla="*/ 240 h 870"/>
                  <a:gd name="T10" fmla="*/ 359 w 599"/>
                  <a:gd name="T11" fmla="*/ 480 h 870"/>
                  <a:gd name="T12" fmla="*/ 419 w 599"/>
                  <a:gd name="T13" fmla="*/ 600 h 870"/>
                  <a:gd name="T14" fmla="*/ 539 w 599"/>
                  <a:gd name="T15" fmla="*/ 660 h 870"/>
                  <a:gd name="T16" fmla="*/ 479 w 599"/>
                  <a:gd name="T17" fmla="*/ 390 h 870"/>
                  <a:gd name="T18" fmla="*/ 419 w 599"/>
                  <a:gd name="T19" fmla="*/ 600 h 870"/>
                  <a:gd name="T20" fmla="*/ 419 w 599"/>
                  <a:gd name="T21" fmla="*/ 750 h 870"/>
                  <a:gd name="T22" fmla="*/ 599 w 599"/>
                  <a:gd name="T23" fmla="*/ 810 h 870"/>
                  <a:gd name="T24" fmla="*/ 330 w 599"/>
                  <a:gd name="T25" fmla="*/ 870 h 870"/>
                  <a:gd name="T26" fmla="*/ 270 w 599"/>
                  <a:gd name="T27" fmla="*/ 750 h 870"/>
                  <a:gd name="T28" fmla="*/ 150 w 599"/>
                  <a:gd name="T29" fmla="*/ 870 h 870"/>
                  <a:gd name="T30" fmla="*/ 0 w 599"/>
                  <a:gd name="T31" fmla="*/ 780 h 870"/>
                  <a:gd name="T32" fmla="*/ 120 w 599"/>
                  <a:gd name="T33" fmla="*/ 690 h 870"/>
                  <a:gd name="T34" fmla="*/ 180 w 599"/>
                  <a:gd name="T35" fmla="*/ 540 h 870"/>
                  <a:gd name="T36" fmla="*/ 300 w 599"/>
                  <a:gd name="T37" fmla="*/ 630 h 870"/>
                  <a:gd name="T38" fmla="*/ 359 w 599"/>
                  <a:gd name="T39" fmla="*/ 480 h 870"/>
                  <a:gd name="T40" fmla="*/ 180 w 599"/>
                  <a:gd name="T41" fmla="*/ 390 h 870"/>
                  <a:gd name="T42" fmla="*/ 300 w 599"/>
                  <a:gd name="T43" fmla="*/ 330 h 870"/>
                  <a:gd name="T44" fmla="*/ 389 w 599"/>
                  <a:gd name="T45" fmla="*/ 270 h 870"/>
                  <a:gd name="T46" fmla="*/ 270 w 599"/>
                  <a:gd name="T47" fmla="*/ 180 h 870"/>
                  <a:gd name="T48" fmla="*/ 479 w 599"/>
                  <a:gd name="T49" fmla="*/ 240 h 870"/>
                  <a:gd name="T50" fmla="*/ 479 w 599"/>
                  <a:gd name="T51" fmla="*/ 90 h 870"/>
                  <a:gd name="T52" fmla="*/ 210 w 599"/>
                  <a:gd name="T53" fmla="*/ 9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9" h="870">
                    <a:moveTo>
                      <a:pt x="300" y="0"/>
                    </a:moveTo>
                    <a:lnTo>
                      <a:pt x="479" y="91"/>
                    </a:lnTo>
                    <a:lnTo>
                      <a:pt x="300" y="330"/>
                    </a:lnTo>
                    <a:lnTo>
                      <a:pt x="479" y="390"/>
                    </a:lnTo>
                    <a:lnTo>
                      <a:pt x="479" y="240"/>
                    </a:lnTo>
                    <a:lnTo>
                      <a:pt x="359" y="480"/>
                    </a:lnTo>
                    <a:lnTo>
                      <a:pt x="419" y="600"/>
                    </a:lnTo>
                    <a:lnTo>
                      <a:pt x="539" y="660"/>
                    </a:lnTo>
                    <a:lnTo>
                      <a:pt x="479" y="390"/>
                    </a:lnTo>
                    <a:lnTo>
                      <a:pt x="419" y="600"/>
                    </a:lnTo>
                    <a:lnTo>
                      <a:pt x="419" y="750"/>
                    </a:lnTo>
                    <a:lnTo>
                      <a:pt x="599" y="810"/>
                    </a:lnTo>
                    <a:lnTo>
                      <a:pt x="330" y="870"/>
                    </a:lnTo>
                    <a:lnTo>
                      <a:pt x="270" y="750"/>
                    </a:lnTo>
                    <a:lnTo>
                      <a:pt x="150" y="870"/>
                    </a:lnTo>
                    <a:lnTo>
                      <a:pt x="0" y="780"/>
                    </a:lnTo>
                    <a:lnTo>
                      <a:pt x="120" y="690"/>
                    </a:lnTo>
                    <a:lnTo>
                      <a:pt x="180" y="540"/>
                    </a:lnTo>
                    <a:lnTo>
                      <a:pt x="300" y="630"/>
                    </a:lnTo>
                    <a:lnTo>
                      <a:pt x="359" y="480"/>
                    </a:lnTo>
                    <a:lnTo>
                      <a:pt x="180" y="390"/>
                    </a:lnTo>
                    <a:lnTo>
                      <a:pt x="300" y="330"/>
                    </a:lnTo>
                    <a:lnTo>
                      <a:pt x="389" y="270"/>
                    </a:lnTo>
                    <a:lnTo>
                      <a:pt x="270" y="180"/>
                    </a:lnTo>
                    <a:lnTo>
                      <a:pt x="479" y="240"/>
                    </a:lnTo>
                    <a:lnTo>
                      <a:pt x="479" y="9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05" name="Line 2489">
                <a:extLst>
                  <a:ext uri="{FF2B5EF4-FFF2-40B4-BE49-F238E27FC236}">
                    <a16:creationId xmlns:a16="http://schemas.microsoft.com/office/drawing/2014/main" id="{9CD846B1-6F58-4871-9989-9D6390146769}"/>
                  </a:ext>
                </a:extLst>
              </p:cNvPr>
              <p:cNvSpPr>
                <a:spLocks noChangeShapeType="1"/>
              </p:cNvSpPr>
              <p:nvPr/>
            </p:nvSpPr>
            <p:spPr bwMode="auto">
              <a:xfrm flipV="1">
                <a:off x="2026" y="1110"/>
                <a:ext cx="209"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06" name="Freeform 2490">
                <a:extLst>
                  <a:ext uri="{FF2B5EF4-FFF2-40B4-BE49-F238E27FC236}">
                    <a16:creationId xmlns:a16="http://schemas.microsoft.com/office/drawing/2014/main" id="{24540AF6-D83F-4942-BA45-B47AA4FA8144}"/>
                  </a:ext>
                </a:extLst>
              </p:cNvPr>
              <p:cNvSpPr>
                <a:spLocks/>
              </p:cNvSpPr>
              <p:nvPr/>
            </p:nvSpPr>
            <p:spPr bwMode="auto">
              <a:xfrm>
                <a:off x="1276" y="1290"/>
                <a:ext cx="780" cy="1080"/>
              </a:xfrm>
              <a:custGeom>
                <a:avLst/>
                <a:gdLst>
                  <a:gd name="T0" fmla="*/ 630 w 780"/>
                  <a:gd name="T1" fmla="*/ 1080 h 1080"/>
                  <a:gd name="T2" fmla="*/ 600 w 780"/>
                  <a:gd name="T3" fmla="*/ 870 h 1080"/>
                  <a:gd name="T4" fmla="*/ 480 w 780"/>
                  <a:gd name="T5" fmla="*/ 630 h 1080"/>
                  <a:gd name="T6" fmla="*/ 390 w 780"/>
                  <a:gd name="T7" fmla="*/ 720 h 1080"/>
                  <a:gd name="T8" fmla="*/ 270 w 780"/>
                  <a:gd name="T9" fmla="*/ 870 h 1080"/>
                  <a:gd name="T10" fmla="*/ 180 w 780"/>
                  <a:gd name="T11" fmla="*/ 750 h 1080"/>
                  <a:gd name="T12" fmla="*/ 210 w 780"/>
                  <a:gd name="T13" fmla="*/ 600 h 1080"/>
                  <a:gd name="T14" fmla="*/ 90 w 780"/>
                  <a:gd name="T15" fmla="*/ 660 h 1080"/>
                  <a:gd name="T16" fmla="*/ 0 w 780"/>
                  <a:gd name="T17" fmla="*/ 870 h 1080"/>
                  <a:gd name="T18" fmla="*/ 60 w 780"/>
                  <a:gd name="T19" fmla="*/ 510 h 1080"/>
                  <a:gd name="T20" fmla="*/ 0 w 780"/>
                  <a:gd name="T21" fmla="*/ 420 h 1080"/>
                  <a:gd name="T22" fmla="*/ 120 w 780"/>
                  <a:gd name="T23" fmla="*/ 330 h 1080"/>
                  <a:gd name="T24" fmla="*/ 300 w 780"/>
                  <a:gd name="T25" fmla="*/ 390 h 1080"/>
                  <a:gd name="T26" fmla="*/ 330 w 780"/>
                  <a:gd name="T27" fmla="*/ 510 h 1080"/>
                  <a:gd name="T28" fmla="*/ 480 w 780"/>
                  <a:gd name="T29" fmla="*/ 390 h 1080"/>
                  <a:gd name="T30" fmla="*/ 660 w 780"/>
                  <a:gd name="T31" fmla="*/ 240 h 1080"/>
                  <a:gd name="T32" fmla="*/ 480 w 780"/>
                  <a:gd name="T33" fmla="*/ 150 h 1080"/>
                  <a:gd name="T34" fmla="*/ 600 w 780"/>
                  <a:gd name="T35" fmla="*/ 120 h 1080"/>
                  <a:gd name="T36" fmla="*/ 780 w 780"/>
                  <a:gd name="T37" fmla="*/ 180 h 1080"/>
                  <a:gd name="T38" fmla="*/ 750 w 780"/>
                  <a:gd name="T39" fmla="*/ 30 h 1080"/>
                  <a:gd name="T40" fmla="*/ 600 w 780"/>
                  <a:gd name="T41" fmla="*/ 120 h 1080"/>
                  <a:gd name="T42" fmla="*/ 510 w 780"/>
                  <a:gd name="T43" fmla="*/ 0 h 1080"/>
                  <a:gd name="T44" fmla="*/ 480 w 780"/>
                  <a:gd name="T45" fmla="*/ 150 h 1080"/>
                  <a:gd name="T46" fmla="*/ 510 w 780"/>
                  <a:gd name="T47" fmla="*/ 300 h 1080"/>
                  <a:gd name="T48" fmla="*/ 480 w 780"/>
                  <a:gd name="T49" fmla="*/ 390 h 1080"/>
                  <a:gd name="T50" fmla="*/ 600 w 780"/>
                  <a:gd name="T51" fmla="*/ 54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1080">
                    <a:moveTo>
                      <a:pt x="630" y="1080"/>
                    </a:moveTo>
                    <a:lnTo>
                      <a:pt x="600" y="870"/>
                    </a:lnTo>
                    <a:lnTo>
                      <a:pt x="480" y="630"/>
                    </a:lnTo>
                    <a:lnTo>
                      <a:pt x="390" y="720"/>
                    </a:lnTo>
                    <a:lnTo>
                      <a:pt x="270" y="870"/>
                    </a:lnTo>
                    <a:lnTo>
                      <a:pt x="180" y="750"/>
                    </a:lnTo>
                    <a:lnTo>
                      <a:pt x="210" y="600"/>
                    </a:lnTo>
                    <a:lnTo>
                      <a:pt x="90" y="660"/>
                    </a:lnTo>
                    <a:lnTo>
                      <a:pt x="0" y="870"/>
                    </a:lnTo>
                    <a:lnTo>
                      <a:pt x="60" y="510"/>
                    </a:lnTo>
                    <a:lnTo>
                      <a:pt x="0" y="420"/>
                    </a:lnTo>
                    <a:lnTo>
                      <a:pt x="120" y="330"/>
                    </a:lnTo>
                    <a:lnTo>
                      <a:pt x="300" y="390"/>
                    </a:lnTo>
                    <a:lnTo>
                      <a:pt x="330" y="510"/>
                    </a:lnTo>
                    <a:lnTo>
                      <a:pt x="480" y="390"/>
                    </a:lnTo>
                    <a:lnTo>
                      <a:pt x="660" y="240"/>
                    </a:lnTo>
                    <a:lnTo>
                      <a:pt x="480" y="150"/>
                    </a:lnTo>
                    <a:lnTo>
                      <a:pt x="600" y="120"/>
                    </a:lnTo>
                    <a:lnTo>
                      <a:pt x="780" y="180"/>
                    </a:lnTo>
                    <a:lnTo>
                      <a:pt x="750" y="30"/>
                    </a:lnTo>
                    <a:lnTo>
                      <a:pt x="600" y="120"/>
                    </a:lnTo>
                    <a:lnTo>
                      <a:pt x="510" y="0"/>
                    </a:lnTo>
                    <a:lnTo>
                      <a:pt x="480" y="150"/>
                    </a:lnTo>
                    <a:lnTo>
                      <a:pt x="510" y="300"/>
                    </a:lnTo>
                    <a:lnTo>
                      <a:pt x="480" y="390"/>
                    </a:lnTo>
                    <a:lnTo>
                      <a:pt x="60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07" name="Line 2491">
                <a:extLst>
                  <a:ext uri="{FF2B5EF4-FFF2-40B4-BE49-F238E27FC236}">
                    <a16:creationId xmlns:a16="http://schemas.microsoft.com/office/drawing/2014/main" id="{6DB33B85-81DF-4ABE-9185-FB377B00EEA5}"/>
                  </a:ext>
                </a:extLst>
              </p:cNvPr>
              <p:cNvSpPr>
                <a:spLocks noChangeShapeType="1"/>
              </p:cNvSpPr>
              <p:nvPr/>
            </p:nvSpPr>
            <p:spPr bwMode="auto">
              <a:xfrm>
                <a:off x="1909" y="2013"/>
                <a:ext cx="87" cy="17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08" name="Freeform 2492">
                <a:extLst>
                  <a:ext uri="{FF2B5EF4-FFF2-40B4-BE49-F238E27FC236}">
                    <a16:creationId xmlns:a16="http://schemas.microsoft.com/office/drawing/2014/main" id="{E041B0CC-B721-4D4C-966B-944BB360CEF9}"/>
                  </a:ext>
                </a:extLst>
              </p:cNvPr>
              <p:cNvSpPr>
                <a:spLocks/>
              </p:cNvSpPr>
              <p:nvPr/>
            </p:nvSpPr>
            <p:spPr bwMode="auto">
              <a:xfrm>
                <a:off x="1876" y="1890"/>
                <a:ext cx="210" cy="270"/>
              </a:xfrm>
              <a:custGeom>
                <a:avLst/>
                <a:gdLst>
                  <a:gd name="T0" fmla="*/ 210 w 210"/>
                  <a:gd name="T1" fmla="*/ 120 h 270"/>
                  <a:gd name="T2" fmla="*/ 0 w 210"/>
                  <a:gd name="T3" fmla="*/ 270 h 270"/>
                  <a:gd name="T4" fmla="*/ 150 w 210"/>
                  <a:gd name="T5" fmla="*/ 0 h 270"/>
                </a:gdLst>
                <a:ahLst/>
                <a:cxnLst>
                  <a:cxn ang="0">
                    <a:pos x="T0" y="T1"/>
                  </a:cxn>
                  <a:cxn ang="0">
                    <a:pos x="T2" y="T3"/>
                  </a:cxn>
                  <a:cxn ang="0">
                    <a:pos x="T4" y="T5"/>
                  </a:cxn>
                </a:cxnLst>
                <a:rect l="0" t="0" r="r" b="b"/>
                <a:pathLst>
                  <a:path w="210" h="270">
                    <a:moveTo>
                      <a:pt x="210" y="120"/>
                    </a:moveTo>
                    <a:lnTo>
                      <a:pt x="0" y="27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09" name="Freeform 2493">
                <a:extLst>
                  <a:ext uri="{FF2B5EF4-FFF2-40B4-BE49-F238E27FC236}">
                    <a16:creationId xmlns:a16="http://schemas.microsoft.com/office/drawing/2014/main" id="{061927F7-B5BB-4AFD-9441-17117BEE5D3E}"/>
                  </a:ext>
                </a:extLst>
              </p:cNvPr>
              <p:cNvSpPr>
                <a:spLocks/>
              </p:cNvSpPr>
              <p:nvPr/>
            </p:nvSpPr>
            <p:spPr bwMode="auto">
              <a:xfrm>
                <a:off x="2175" y="1620"/>
                <a:ext cx="360" cy="483"/>
              </a:xfrm>
              <a:custGeom>
                <a:avLst/>
                <a:gdLst>
                  <a:gd name="T0" fmla="*/ 0 w 432"/>
                  <a:gd name="T1" fmla="*/ 146 h 579"/>
                  <a:gd name="T2" fmla="*/ 216 w 432"/>
                  <a:gd name="T3" fmla="*/ 0 h 579"/>
                  <a:gd name="T4" fmla="*/ 144 w 432"/>
                  <a:gd name="T5" fmla="*/ 216 h 579"/>
                  <a:gd name="T6" fmla="*/ 360 w 432"/>
                  <a:gd name="T7" fmla="*/ 252 h 579"/>
                  <a:gd name="T8" fmla="*/ 324 w 432"/>
                  <a:gd name="T9" fmla="*/ 578 h 579"/>
                  <a:gd name="T10" fmla="*/ 432 w 432"/>
                  <a:gd name="T11" fmla="*/ 432 h 579"/>
                  <a:gd name="T12" fmla="*/ 220 w 432"/>
                  <a:gd name="T13" fmla="*/ 399 h 579"/>
                  <a:gd name="T14" fmla="*/ 112 w 432"/>
                  <a:gd name="T15" fmla="*/ 579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579">
                    <a:moveTo>
                      <a:pt x="0" y="146"/>
                    </a:moveTo>
                    <a:cubicBezTo>
                      <a:pt x="216" y="0"/>
                      <a:pt x="216" y="0"/>
                      <a:pt x="216" y="0"/>
                    </a:cubicBezTo>
                    <a:cubicBezTo>
                      <a:pt x="144" y="216"/>
                      <a:pt x="144" y="216"/>
                      <a:pt x="144" y="216"/>
                    </a:cubicBezTo>
                    <a:cubicBezTo>
                      <a:pt x="360" y="252"/>
                      <a:pt x="360" y="252"/>
                      <a:pt x="360" y="252"/>
                    </a:cubicBezTo>
                    <a:cubicBezTo>
                      <a:pt x="324" y="578"/>
                      <a:pt x="324" y="578"/>
                      <a:pt x="324" y="578"/>
                    </a:cubicBezTo>
                    <a:cubicBezTo>
                      <a:pt x="432" y="432"/>
                      <a:pt x="432" y="432"/>
                      <a:pt x="432" y="432"/>
                    </a:cubicBezTo>
                    <a:cubicBezTo>
                      <a:pt x="220" y="399"/>
                      <a:pt x="220" y="399"/>
                      <a:pt x="220" y="399"/>
                    </a:cubicBezTo>
                    <a:cubicBezTo>
                      <a:pt x="220" y="399"/>
                      <a:pt x="108" y="576"/>
                      <a:pt x="112" y="579"/>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10" name="Freeform 2494">
                <a:extLst>
                  <a:ext uri="{FF2B5EF4-FFF2-40B4-BE49-F238E27FC236}">
                    <a16:creationId xmlns:a16="http://schemas.microsoft.com/office/drawing/2014/main" id="{71939199-E841-40FD-B92B-69017DA24C1D}"/>
                  </a:ext>
                </a:extLst>
              </p:cNvPr>
              <p:cNvSpPr>
                <a:spLocks/>
              </p:cNvSpPr>
              <p:nvPr/>
            </p:nvSpPr>
            <p:spPr bwMode="auto">
              <a:xfrm>
                <a:off x="2175" y="1800"/>
                <a:ext cx="120" cy="303"/>
              </a:xfrm>
              <a:custGeom>
                <a:avLst/>
                <a:gdLst>
                  <a:gd name="T0" fmla="*/ 0 w 120"/>
                  <a:gd name="T1" fmla="*/ 90 h 303"/>
                  <a:gd name="T2" fmla="*/ 120 w 120"/>
                  <a:gd name="T3" fmla="*/ 0 h 303"/>
                  <a:gd name="T4" fmla="*/ 94 w 120"/>
                  <a:gd name="T5" fmla="*/ 303 h 303"/>
                </a:gdLst>
                <a:ahLst/>
                <a:cxnLst>
                  <a:cxn ang="0">
                    <a:pos x="T0" y="T1"/>
                  </a:cxn>
                  <a:cxn ang="0">
                    <a:pos x="T2" y="T3"/>
                  </a:cxn>
                  <a:cxn ang="0">
                    <a:pos x="T4" y="T5"/>
                  </a:cxn>
                </a:cxnLst>
                <a:rect l="0" t="0" r="r" b="b"/>
                <a:pathLst>
                  <a:path w="120" h="303">
                    <a:moveTo>
                      <a:pt x="0" y="90"/>
                    </a:moveTo>
                    <a:lnTo>
                      <a:pt x="120" y="0"/>
                    </a:lnTo>
                    <a:lnTo>
                      <a:pt x="94" y="30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11" name="Freeform 2495">
                <a:extLst>
                  <a:ext uri="{FF2B5EF4-FFF2-40B4-BE49-F238E27FC236}">
                    <a16:creationId xmlns:a16="http://schemas.microsoft.com/office/drawing/2014/main" id="{F4C725DA-6D49-42D6-870E-851BC31FD8AF}"/>
                  </a:ext>
                </a:extLst>
              </p:cNvPr>
              <p:cNvSpPr>
                <a:spLocks/>
              </p:cNvSpPr>
              <p:nvPr/>
            </p:nvSpPr>
            <p:spPr bwMode="auto">
              <a:xfrm>
                <a:off x="2625" y="1922"/>
                <a:ext cx="1110" cy="868"/>
              </a:xfrm>
              <a:custGeom>
                <a:avLst/>
                <a:gdLst>
                  <a:gd name="T0" fmla="*/ 240 w 1110"/>
                  <a:gd name="T1" fmla="*/ 0 h 868"/>
                  <a:gd name="T2" fmla="*/ 210 w 1110"/>
                  <a:gd name="T3" fmla="*/ 148 h 868"/>
                  <a:gd name="T4" fmla="*/ 150 w 1110"/>
                  <a:gd name="T5" fmla="*/ 238 h 868"/>
                  <a:gd name="T6" fmla="*/ 0 w 1110"/>
                  <a:gd name="T7" fmla="*/ 328 h 868"/>
                  <a:gd name="T8" fmla="*/ 0 w 1110"/>
                  <a:gd name="T9" fmla="*/ 478 h 868"/>
                  <a:gd name="T10" fmla="*/ 120 w 1110"/>
                  <a:gd name="T11" fmla="*/ 388 h 868"/>
                  <a:gd name="T12" fmla="*/ 270 w 1110"/>
                  <a:gd name="T13" fmla="*/ 268 h 868"/>
                  <a:gd name="T14" fmla="*/ 510 w 1110"/>
                  <a:gd name="T15" fmla="*/ 118 h 868"/>
                  <a:gd name="T16" fmla="*/ 600 w 1110"/>
                  <a:gd name="T17" fmla="*/ 178 h 868"/>
                  <a:gd name="T18" fmla="*/ 690 w 1110"/>
                  <a:gd name="T19" fmla="*/ 298 h 868"/>
                  <a:gd name="T20" fmla="*/ 780 w 1110"/>
                  <a:gd name="T21" fmla="*/ 178 h 868"/>
                  <a:gd name="T22" fmla="*/ 600 w 1110"/>
                  <a:gd name="T23" fmla="*/ 178 h 868"/>
                  <a:gd name="T24" fmla="*/ 600 w 1110"/>
                  <a:gd name="T25" fmla="*/ 329 h 868"/>
                  <a:gd name="T26" fmla="*/ 510 w 1110"/>
                  <a:gd name="T27" fmla="*/ 298 h 868"/>
                  <a:gd name="T28" fmla="*/ 480 w 1110"/>
                  <a:gd name="T29" fmla="*/ 388 h 868"/>
                  <a:gd name="T30" fmla="*/ 480 w 1110"/>
                  <a:gd name="T31" fmla="*/ 628 h 868"/>
                  <a:gd name="T32" fmla="*/ 600 w 1110"/>
                  <a:gd name="T33" fmla="*/ 538 h 868"/>
                  <a:gd name="T34" fmla="*/ 688 w 1110"/>
                  <a:gd name="T35" fmla="*/ 630 h 868"/>
                  <a:gd name="T36" fmla="*/ 660 w 1110"/>
                  <a:gd name="T37" fmla="*/ 448 h 868"/>
                  <a:gd name="T38" fmla="*/ 750 w 1110"/>
                  <a:gd name="T39" fmla="*/ 388 h 868"/>
                  <a:gd name="T40" fmla="*/ 870 w 1110"/>
                  <a:gd name="T41" fmla="*/ 448 h 868"/>
                  <a:gd name="T42" fmla="*/ 750 w 1110"/>
                  <a:gd name="T43" fmla="*/ 508 h 868"/>
                  <a:gd name="T44" fmla="*/ 840 w 1110"/>
                  <a:gd name="T45" fmla="*/ 568 h 868"/>
                  <a:gd name="T46" fmla="*/ 1110 w 1110"/>
                  <a:gd name="T47" fmla="*/ 538 h 868"/>
                  <a:gd name="T48" fmla="*/ 990 w 1110"/>
                  <a:gd name="T49" fmla="*/ 598 h 868"/>
                  <a:gd name="T50" fmla="*/ 1020 w 1110"/>
                  <a:gd name="T51" fmla="*/ 868 h 868"/>
                  <a:gd name="T52" fmla="*/ 810 w 1110"/>
                  <a:gd name="T53" fmla="*/ 68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0" h="868">
                    <a:moveTo>
                      <a:pt x="240" y="0"/>
                    </a:moveTo>
                    <a:lnTo>
                      <a:pt x="210" y="148"/>
                    </a:lnTo>
                    <a:lnTo>
                      <a:pt x="150" y="238"/>
                    </a:lnTo>
                    <a:lnTo>
                      <a:pt x="0" y="328"/>
                    </a:lnTo>
                    <a:lnTo>
                      <a:pt x="0" y="478"/>
                    </a:lnTo>
                    <a:lnTo>
                      <a:pt x="120" y="388"/>
                    </a:lnTo>
                    <a:lnTo>
                      <a:pt x="270" y="268"/>
                    </a:lnTo>
                    <a:lnTo>
                      <a:pt x="510" y="118"/>
                    </a:lnTo>
                    <a:lnTo>
                      <a:pt x="600" y="178"/>
                    </a:lnTo>
                    <a:lnTo>
                      <a:pt x="690" y="298"/>
                    </a:lnTo>
                    <a:lnTo>
                      <a:pt x="780" y="178"/>
                    </a:lnTo>
                    <a:lnTo>
                      <a:pt x="600" y="178"/>
                    </a:lnTo>
                    <a:lnTo>
                      <a:pt x="600" y="329"/>
                    </a:lnTo>
                    <a:lnTo>
                      <a:pt x="510" y="298"/>
                    </a:lnTo>
                    <a:lnTo>
                      <a:pt x="480" y="388"/>
                    </a:lnTo>
                    <a:lnTo>
                      <a:pt x="480" y="628"/>
                    </a:lnTo>
                    <a:lnTo>
                      <a:pt x="600" y="538"/>
                    </a:lnTo>
                    <a:lnTo>
                      <a:pt x="688" y="630"/>
                    </a:lnTo>
                    <a:lnTo>
                      <a:pt x="660" y="448"/>
                    </a:lnTo>
                    <a:lnTo>
                      <a:pt x="750" y="388"/>
                    </a:lnTo>
                    <a:lnTo>
                      <a:pt x="870" y="448"/>
                    </a:lnTo>
                    <a:lnTo>
                      <a:pt x="750" y="508"/>
                    </a:lnTo>
                    <a:lnTo>
                      <a:pt x="840" y="568"/>
                    </a:lnTo>
                    <a:lnTo>
                      <a:pt x="1110" y="538"/>
                    </a:lnTo>
                    <a:lnTo>
                      <a:pt x="990" y="598"/>
                    </a:lnTo>
                    <a:lnTo>
                      <a:pt x="1020" y="868"/>
                    </a:lnTo>
                    <a:lnTo>
                      <a:pt x="810" y="6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12" name="Line 2496">
                <a:extLst>
                  <a:ext uri="{FF2B5EF4-FFF2-40B4-BE49-F238E27FC236}">
                    <a16:creationId xmlns:a16="http://schemas.microsoft.com/office/drawing/2014/main" id="{734ADB4E-DB9E-4B32-BD85-64A9FD36027E}"/>
                  </a:ext>
                </a:extLst>
              </p:cNvPr>
              <p:cNvSpPr>
                <a:spLocks noChangeShapeType="1"/>
              </p:cNvSpPr>
              <p:nvPr/>
            </p:nvSpPr>
            <p:spPr bwMode="auto">
              <a:xfrm flipV="1">
                <a:off x="2835" y="195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13" name="Line 2497">
                <a:extLst>
                  <a:ext uri="{FF2B5EF4-FFF2-40B4-BE49-F238E27FC236}">
                    <a16:creationId xmlns:a16="http://schemas.microsoft.com/office/drawing/2014/main" id="{BF56A6E3-7696-4575-BEEC-F9E92561C600}"/>
                  </a:ext>
                </a:extLst>
              </p:cNvPr>
              <p:cNvSpPr>
                <a:spLocks noChangeShapeType="1"/>
              </p:cNvSpPr>
              <p:nvPr/>
            </p:nvSpPr>
            <p:spPr bwMode="auto">
              <a:xfrm flipH="1" flipV="1">
                <a:off x="2865" y="1922"/>
                <a:ext cx="152" cy="15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14" name="Freeform 2498">
                <a:extLst>
                  <a:ext uri="{FF2B5EF4-FFF2-40B4-BE49-F238E27FC236}">
                    <a16:creationId xmlns:a16="http://schemas.microsoft.com/office/drawing/2014/main" id="{1D08EDBD-7C70-4D4B-833F-EEFAA2991463}"/>
                  </a:ext>
                </a:extLst>
              </p:cNvPr>
              <p:cNvSpPr>
                <a:spLocks/>
              </p:cNvSpPr>
              <p:nvPr/>
            </p:nvSpPr>
            <p:spPr bwMode="auto">
              <a:xfrm>
                <a:off x="3077" y="1713"/>
                <a:ext cx="328" cy="390"/>
              </a:xfrm>
              <a:custGeom>
                <a:avLst/>
                <a:gdLst>
                  <a:gd name="T0" fmla="*/ 271 w 328"/>
                  <a:gd name="T1" fmla="*/ 0 h 390"/>
                  <a:gd name="T2" fmla="*/ 238 w 328"/>
                  <a:gd name="T3" fmla="*/ 147 h 390"/>
                  <a:gd name="T4" fmla="*/ 151 w 328"/>
                  <a:gd name="T5" fmla="*/ 390 h 390"/>
                  <a:gd name="T6" fmla="*/ 328 w 328"/>
                  <a:gd name="T7" fmla="*/ 207 h 390"/>
                  <a:gd name="T8" fmla="*/ 328 w 328"/>
                  <a:gd name="T9" fmla="*/ 389 h 390"/>
                  <a:gd name="T10" fmla="*/ 118 w 328"/>
                  <a:gd name="T11" fmla="*/ 177 h 390"/>
                  <a:gd name="T12" fmla="*/ 58 w 328"/>
                  <a:gd name="T13" fmla="*/ 327 h 390"/>
                  <a:gd name="T14" fmla="*/ 0 w 328"/>
                  <a:gd name="T15" fmla="*/ 180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90">
                    <a:moveTo>
                      <a:pt x="271" y="0"/>
                    </a:moveTo>
                    <a:lnTo>
                      <a:pt x="238" y="147"/>
                    </a:lnTo>
                    <a:lnTo>
                      <a:pt x="151" y="390"/>
                    </a:lnTo>
                    <a:lnTo>
                      <a:pt x="328" y="207"/>
                    </a:lnTo>
                    <a:lnTo>
                      <a:pt x="328" y="389"/>
                    </a:lnTo>
                    <a:lnTo>
                      <a:pt x="118" y="177"/>
                    </a:lnTo>
                    <a:lnTo>
                      <a:pt x="58" y="327"/>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15" name="Line 2499">
                <a:extLst>
                  <a:ext uri="{FF2B5EF4-FFF2-40B4-BE49-F238E27FC236}">
                    <a16:creationId xmlns:a16="http://schemas.microsoft.com/office/drawing/2014/main" id="{DE078C39-A503-4B1F-9AA9-7FF90CDCFCC4}"/>
                  </a:ext>
                </a:extLst>
              </p:cNvPr>
              <p:cNvSpPr>
                <a:spLocks noChangeShapeType="1"/>
              </p:cNvSpPr>
              <p:nvPr/>
            </p:nvSpPr>
            <p:spPr bwMode="auto">
              <a:xfrm flipH="1" flipV="1">
                <a:off x="3348" y="1713"/>
                <a:ext cx="177" cy="11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16" name="Line 2500">
                <a:extLst>
                  <a:ext uri="{FF2B5EF4-FFF2-40B4-BE49-F238E27FC236}">
                    <a16:creationId xmlns:a16="http://schemas.microsoft.com/office/drawing/2014/main" id="{C7347B80-A008-4FBB-8D0B-1E0F20EF2932}"/>
                  </a:ext>
                </a:extLst>
              </p:cNvPr>
              <p:cNvSpPr>
                <a:spLocks noChangeShapeType="1"/>
              </p:cNvSpPr>
              <p:nvPr/>
            </p:nvSpPr>
            <p:spPr bwMode="auto">
              <a:xfrm flipV="1">
                <a:off x="3315" y="1442"/>
                <a:ext cx="88" cy="118"/>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17" name="Freeform 2501">
                <a:extLst>
                  <a:ext uri="{FF2B5EF4-FFF2-40B4-BE49-F238E27FC236}">
                    <a16:creationId xmlns:a16="http://schemas.microsoft.com/office/drawing/2014/main" id="{C233318B-A42B-4D8D-8F18-1917F04F22CE}"/>
                  </a:ext>
                </a:extLst>
              </p:cNvPr>
              <p:cNvSpPr>
                <a:spLocks/>
              </p:cNvSpPr>
              <p:nvPr/>
            </p:nvSpPr>
            <p:spPr bwMode="auto">
              <a:xfrm>
                <a:off x="2625" y="780"/>
                <a:ext cx="690" cy="630"/>
              </a:xfrm>
              <a:custGeom>
                <a:avLst/>
                <a:gdLst>
                  <a:gd name="T0" fmla="*/ 660 w 690"/>
                  <a:gd name="T1" fmla="*/ 630 h 630"/>
                  <a:gd name="T2" fmla="*/ 690 w 690"/>
                  <a:gd name="T3" fmla="*/ 390 h 630"/>
                  <a:gd name="T4" fmla="*/ 570 w 690"/>
                  <a:gd name="T5" fmla="*/ 420 h 630"/>
                  <a:gd name="T6" fmla="*/ 450 w 690"/>
                  <a:gd name="T7" fmla="*/ 240 h 630"/>
                  <a:gd name="T8" fmla="*/ 420 w 690"/>
                  <a:gd name="T9" fmla="*/ 420 h 630"/>
                  <a:gd name="T10" fmla="*/ 330 w 690"/>
                  <a:gd name="T11" fmla="*/ 330 h 630"/>
                  <a:gd name="T12" fmla="*/ 210 w 690"/>
                  <a:gd name="T13" fmla="*/ 270 h 630"/>
                  <a:gd name="T14" fmla="*/ 0 w 690"/>
                  <a:gd name="T15" fmla="*/ 210 h 630"/>
                  <a:gd name="T16" fmla="*/ 270 w 690"/>
                  <a:gd name="T17" fmla="*/ 180 h 630"/>
                  <a:gd name="T18" fmla="*/ 180 w 690"/>
                  <a:gd name="T19" fmla="*/ 30 h 630"/>
                  <a:gd name="T20" fmla="*/ 330 w 690"/>
                  <a:gd name="T21" fmla="*/ 0 h 630"/>
                  <a:gd name="T22" fmla="*/ 120 w 690"/>
                  <a:gd name="T23" fmla="*/ 15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0" h="630">
                    <a:moveTo>
                      <a:pt x="660" y="630"/>
                    </a:moveTo>
                    <a:lnTo>
                      <a:pt x="690" y="390"/>
                    </a:lnTo>
                    <a:lnTo>
                      <a:pt x="570" y="420"/>
                    </a:lnTo>
                    <a:lnTo>
                      <a:pt x="450" y="240"/>
                    </a:lnTo>
                    <a:lnTo>
                      <a:pt x="420" y="420"/>
                    </a:lnTo>
                    <a:lnTo>
                      <a:pt x="330" y="330"/>
                    </a:lnTo>
                    <a:lnTo>
                      <a:pt x="210" y="270"/>
                    </a:lnTo>
                    <a:lnTo>
                      <a:pt x="0" y="210"/>
                    </a:lnTo>
                    <a:lnTo>
                      <a:pt x="270" y="180"/>
                    </a:lnTo>
                    <a:lnTo>
                      <a:pt x="180" y="30"/>
                    </a:lnTo>
                    <a:lnTo>
                      <a:pt x="330"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18" name="Line 2502">
                <a:extLst>
                  <a:ext uri="{FF2B5EF4-FFF2-40B4-BE49-F238E27FC236}">
                    <a16:creationId xmlns:a16="http://schemas.microsoft.com/office/drawing/2014/main" id="{2A2CCA26-0108-4F72-8D7D-151123DCC11D}"/>
                  </a:ext>
                </a:extLst>
              </p:cNvPr>
              <p:cNvSpPr>
                <a:spLocks noChangeShapeType="1"/>
              </p:cNvSpPr>
              <p:nvPr/>
            </p:nvSpPr>
            <p:spPr bwMode="auto">
              <a:xfrm flipH="1">
                <a:off x="3285" y="1290"/>
                <a:ext cx="15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19" name="Freeform 2503">
                <a:extLst>
                  <a:ext uri="{FF2B5EF4-FFF2-40B4-BE49-F238E27FC236}">
                    <a16:creationId xmlns:a16="http://schemas.microsoft.com/office/drawing/2014/main" id="{929E5EFD-6506-46E4-B6C0-F2571E50FBD3}"/>
                  </a:ext>
                </a:extLst>
              </p:cNvPr>
              <p:cNvSpPr>
                <a:spLocks/>
              </p:cNvSpPr>
              <p:nvPr/>
            </p:nvSpPr>
            <p:spPr bwMode="auto">
              <a:xfrm>
                <a:off x="3315" y="1082"/>
                <a:ext cx="120" cy="208"/>
              </a:xfrm>
              <a:custGeom>
                <a:avLst/>
                <a:gdLst>
                  <a:gd name="T0" fmla="*/ 120 w 120"/>
                  <a:gd name="T1" fmla="*/ 208 h 208"/>
                  <a:gd name="T2" fmla="*/ 90 w 120"/>
                  <a:gd name="T3" fmla="*/ 0 h 208"/>
                  <a:gd name="T4" fmla="*/ 0 w 120"/>
                  <a:gd name="T5" fmla="*/ 88 h 208"/>
                </a:gdLst>
                <a:ahLst/>
                <a:cxnLst>
                  <a:cxn ang="0">
                    <a:pos x="T0" y="T1"/>
                  </a:cxn>
                  <a:cxn ang="0">
                    <a:pos x="T2" y="T3"/>
                  </a:cxn>
                  <a:cxn ang="0">
                    <a:pos x="T4" y="T5"/>
                  </a:cxn>
                </a:cxnLst>
                <a:rect l="0" t="0" r="r" b="b"/>
                <a:pathLst>
                  <a:path w="120" h="208">
                    <a:moveTo>
                      <a:pt x="120" y="208"/>
                    </a:moveTo>
                    <a:lnTo>
                      <a:pt x="90" y="0"/>
                    </a:lnTo>
                    <a:lnTo>
                      <a:pt x="0" y="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20" name="Freeform 2504">
                <a:extLst>
                  <a:ext uri="{FF2B5EF4-FFF2-40B4-BE49-F238E27FC236}">
                    <a16:creationId xmlns:a16="http://schemas.microsoft.com/office/drawing/2014/main" id="{4DD891DA-9E89-405B-AAE2-9E56B2F444A6}"/>
                  </a:ext>
                </a:extLst>
              </p:cNvPr>
              <p:cNvSpPr>
                <a:spLocks/>
              </p:cNvSpPr>
              <p:nvPr/>
            </p:nvSpPr>
            <p:spPr bwMode="auto">
              <a:xfrm>
                <a:off x="3195" y="1200"/>
                <a:ext cx="240" cy="242"/>
              </a:xfrm>
              <a:custGeom>
                <a:avLst/>
                <a:gdLst>
                  <a:gd name="T0" fmla="*/ 240 w 240"/>
                  <a:gd name="T1" fmla="*/ 90 h 242"/>
                  <a:gd name="T2" fmla="*/ 0 w 240"/>
                  <a:gd name="T3" fmla="*/ 0 h 242"/>
                  <a:gd name="T4" fmla="*/ 208 w 240"/>
                  <a:gd name="T5" fmla="*/ 242 h 242"/>
                </a:gdLst>
                <a:ahLst/>
                <a:cxnLst>
                  <a:cxn ang="0">
                    <a:pos x="T0" y="T1"/>
                  </a:cxn>
                  <a:cxn ang="0">
                    <a:pos x="T2" y="T3"/>
                  </a:cxn>
                  <a:cxn ang="0">
                    <a:pos x="T4" y="T5"/>
                  </a:cxn>
                </a:cxnLst>
                <a:rect l="0" t="0" r="r" b="b"/>
                <a:pathLst>
                  <a:path w="240" h="242">
                    <a:moveTo>
                      <a:pt x="240" y="90"/>
                    </a:moveTo>
                    <a:lnTo>
                      <a:pt x="0" y="0"/>
                    </a:lnTo>
                    <a:lnTo>
                      <a:pt x="208" y="24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21" name="Line 2505">
                <a:extLst>
                  <a:ext uri="{FF2B5EF4-FFF2-40B4-BE49-F238E27FC236}">
                    <a16:creationId xmlns:a16="http://schemas.microsoft.com/office/drawing/2014/main" id="{5267D8E2-F139-4232-8633-4FBAC9E10D52}"/>
                  </a:ext>
                </a:extLst>
              </p:cNvPr>
              <p:cNvSpPr>
                <a:spLocks noChangeShapeType="1"/>
              </p:cNvSpPr>
              <p:nvPr/>
            </p:nvSpPr>
            <p:spPr bwMode="auto">
              <a:xfrm flipH="1">
                <a:off x="3585" y="1260"/>
                <a:ext cx="30" cy="272"/>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22" name="Freeform 2506">
                <a:extLst>
                  <a:ext uri="{FF2B5EF4-FFF2-40B4-BE49-F238E27FC236}">
                    <a16:creationId xmlns:a16="http://schemas.microsoft.com/office/drawing/2014/main" id="{B0CA60F6-C0DA-4B48-9ACE-1AD8527BF462}"/>
                  </a:ext>
                </a:extLst>
              </p:cNvPr>
              <p:cNvSpPr>
                <a:spLocks/>
              </p:cNvSpPr>
              <p:nvPr/>
            </p:nvSpPr>
            <p:spPr bwMode="auto">
              <a:xfrm>
                <a:off x="3555" y="450"/>
                <a:ext cx="449" cy="1140"/>
              </a:xfrm>
              <a:custGeom>
                <a:avLst/>
                <a:gdLst>
                  <a:gd name="T0" fmla="*/ 449 w 449"/>
                  <a:gd name="T1" fmla="*/ 1140 h 1140"/>
                  <a:gd name="T2" fmla="*/ 329 w 449"/>
                  <a:gd name="T3" fmla="*/ 930 h 1140"/>
                  <a:gd name="T4" fmla="*/ 419 w 449"/>
                  <a:gd name="T5" fmla="*/ 690 h 1140"/>
                  <a:gd name="T6" fmla="*/ 239 w 449"/>
                  <a:gd name="T7" fmla="*/ 600 h 1140"/>
                  <a:gd name="T8" fmla="*/ 269 w 449"/>
                  <a:gd name="T9" fmla="*/ 780 h 1140"/>
                  <a:gd name="T10" fmla="*/ 389 w 449"/>
                  <a:gd name="T11" fmla="*/ 570 h 1140"/>
                  <a:gd name="T12" fmla="*/ 419 w 449"/>
                  <a:gd name="T13" fmla="*/ 450 h 1140"/>
                  <a:gd name="T14" fmla="*/ 359 w 449"/>
                  <a:gd name="T15" fmla="*/ 330 h 1140"/>
                  <a:gd name="T16" fmla="*/ 389 w 449"/>
                  <a:gd name="T17" fmla="*/ 180 h 1140"/>
                  <a:gd name="T18" fmla="*/ 239 w 449"/>
                  <a:gd name="T19" fmla="*/ 60 h 1140"/>
                  <a:gd name="T20" fmla="*/ 150 w 449"/>
                  <a:gd name="T21" fmla="*/ 180 h 1140"/>
                  <a:gd name="T22" fmla="*/ 0 w 449"/>
                  <a:gd name="T23" fmla="*/ 270 h 1140"/>
                  <a:gd name="T24" fmla="*/ 0 w 449"/>
                  <a:gd name="T25" fmla="*/ 420 h 1140"/>
                  <a:gd name="T26" fmla="*/ 120 w 449"/>
                  <a:gd name="T27" fmla="*/ 330 h 1140"/>
                  <a:gd name="T28" fmla="*/ 269 w 449"/>
                  <a:gd name="T29" fmla="*/ 210 h 1140"/>
                  <a:gd name="T30" fmla="*/ 239 w 449"/>
                  <a:gd name="T31" fmla="*/ 60 h 1140"/>
                  <a:gd name="T32" fmla="*/ 120 w 449"/>
                  <a:gd name="T33" fmla="*/ 0 h 1140"/>
                  <a:gd name="T34" fmla="*/ 30 w 449"/>
                  <a:gd name="T35" fmla="*/ 9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1140">
                    <a:moveTo>
                      <a:pt x="449" y="1140"/>
                    </a:moveTo>
                    <a:lnTo>
                      <a:pt x="329" y="930"/>
                    </a:lnTo>
                    <a:lnTo>
                      <a:pt x="419" y="690"/>
                    </a:lnTo>
                    <a:lnTo>
                      <a:pt x="239" y="600"/>
                    </a:lnTo>
                    <a:lnTo>
                      <a:pt x="269" y="780"/>
                    </a:lnTo>
                    <a:lnTo>
                      <a:pt x="389" y="570"/>
                    </a:lnTo>
                    <a:lnTo>
                      <a:pt x="419" y="450"/>
                    </a:lnTo>
                    <a:lnTo>
                      <a:pt x="359" y="330"/>
                    </a:lnTo>
                    <a:lnTo>
                      <a:pt x="389" y="180"/>
                    </a:lnTo>
                    <a:lnTo>
                      <a:pt x="239" y="60"/>
                    </a:lnTo>
                    <a:lnTo>
                      <a:pt x="150" y="180"/>
                    </a:lnTo>
                    <a:lnTo>
                      <a:pt x="0" y="270"/>
                    </a:lnTo>
                    <a:lnTo>
                      <a:pt x="0" y="420"/>
                    </a:lnTo>
                    <a:lnTo>
                      <a:pt x="120" y="330"/>
                    </a:lnTo>
                    <a:lnTo>
                      <a:pt x="269" y="210"/>
                    </a:lnTo>
                    <a:lnTo>
                      <a:pt x="239" y="60"/>
                    </a:lnTo>
                    <a:lnTo>
                      <a:pt x="120" y="0"/>
                    </a:lnTo>
                    <a:lnTo>
                      <a:pt x="3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23" name="Line 2507">
                <a:extLst>
                  <a:ext uri="{FF2B5EF4-FFF2-40B4-BE49-F238E27FC236}">
                    <a16:creationId xmlns:a16="http://schemas.microsoft.com/office/drawing/2014/main" id="{AB94A7C2-CEC0-4C09-B9DB-03FDF5BC04B1}"/>
                  </a:ext>
                </a:extLst>
              </p:cNvPr>
              <p:cNvSpPr>
                <a:spLocks noChangeShapeType="1"/>
              </p:cNvSpPr>
              <p:nvPr/>
            </p:nvSpPr>
            <p:spPr bwMode="auto">
              <a:xfrm>
                <a:off x="4004"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24" name="Freeform 2508">
                <a:extLst>
                  <a:ext uri="{FF2B5EF4-FFF2-40B4-BE49-F238E27FC236}">
                    <a16:creationId xmlns:a16="http://schemas.microsoft.com/office/drawing/2014/main" id="{B196DE9C-C7B0-4BFC-886D-C17D34243D86}"/>
                  </a:ext>
                </a:extLst>
              </p:cNvPr>
              <p:cNvSpPr>
                <a:spLocks/>
              </p:cNvSpPr>
              <p:nvPr/>
            </p:nvSpPr>
            <p:spPr bwMode="auto">
              <a:xfrm>
                <a:off x="3525" y="1740"/>
                <a:ext cx="659" cy="423"/>
              </a:xfrm>
              <a:custGeom>
                <a:avLst/>
                <a:gdLst>
                  <a:gd name="T0" fmla="*/ 300 w 659"/>
                  <a:gd name="T1" fmla="*/ 303 h 423"/>
                  <a:gd name="T2" fmla="*/ 299 w 659"/>
                  <a:gd name="T3" fmla="*/ 150 h 423"/>
                  <a:gd name="T4" fmla="*/ 451 w 659"/>
                  <a:gd name="T5" fmla="*/ 423 h 423"/>
                  <a:gd name="T6" fmla="*/ 483 w 659"/>
                  <a:gd name="T7" fmla="*/ 213 h 423"/>
                  <a:gd name="T8" fmla="*/ 659 w 659"/>
                  <a:gd name="T9" fmla="*/ 300 h 423"/>
                  <a:gd name="T10" fmla="*/ 419 w 659"/>
                  <a:gd name="T11" fmla="*/ 60 h 423"/>
                  <a:gd name="T12" fmla="*/ 479 w 659"/>
                  <a:gd name="T13" fmla="*/ 210 h 423"/>
                  <a:gd name="T14" fmla="*/ 299 w 659"/>
                  <a:gd name="T15" fmla="*/ 0 h 423"/>
                  <a:gd name="T16" fmla="*/ 150 w 659"/>
                  <a:gd name="T17" fmla="*/ 150 h 423"/>
                  <a:gd name="T18" fmla="*/ 0 w 659"/>
                  <a:gd name="T19" fmla="*/ 9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9" h="423">
                    <a:moveTo>
                      <a:pt x="300" y="303"/>
                    </a:moveTo>
                    <a:lnTo>
                      <a:pt x="299" y="150"/>
                    </a:lnTo>
                    <a:lnTo>
                      <a:pt x="451" y="423"/>
                    </a:lnTo>
                    <a:lnTo>
                      <a:pt x="483" y="213"/>
                    </a:lnTo>
                    <a:lnTo>
                      <a:pt x="659" y="300"/>
                    </a:lnTo>
                    <a:lnTo>
                      <a:pt x="419" y="60"/>
                    </a:lnTo>
                    <a:lnTo>
                      <a:pt x="479" y="210"/>
                    </a:lnTo>
                    <a:lnTo>
                      <a:pt x="299" y="0"/>
                    </a:lnTo>
                    <a:lnTo>
                      <a:pt x="150" y="15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25" name="Freeform 2509">
                <a:extLst>
                  <a:ext uri="{FF2B5EF4-FFF2-40B4-BE49-F238E27FC236}">
                    <a16:creationId xmlns:a16="http://schemas.microsoft.com/office/drawing/2014/main" id="{056385CA-86CA-4FFB-A099-FEA37137EF74}"/>
                  </a:ext>
                </a:extLst>
              </p:cNvPr>
              <p:cNvSpPr>
                <a:spLocks/>
              </p:cNvSpPr>
              <p:nvPr/>
            </p:nvSpPr>
            <p:spPr bwMode="auto">
              <a:xfrm>
                <a:off x="3315" y="1860"/>
                <a:ext cx="393" cy="123"/>
              </a:xfrm>
              <a:custGeom>
                <a:avLst/>
                <a:gdLst>
                  <a:gd name="T0" fmla="*/ 393 w 393"/>
                  <a:gd name="T1" fmla="*/ 123 h 123"/>
                  <a:gd name="T2" fmla="*/ 90 w 393"/>
                  <a:gd name="T3" fmla="*/ 60 h 123"/>
                  <a:gd name="T4" fmla="*/ 0 w 393"/>
                  <a:gd name="T5" fmla="*/ 0 h 123"/>
                </a:gdLst>
                <a:ahLst/>
                <a:cxnLst>
                  <a:cxn ang="0">
                    <a:pos x="T0" y="T1"/>
                  </a:cxn>
                  <a:cxn ang="0">
                    <a:pos x="T2" y="T3"/>
                  </a:cxn>
                  <a:cxn ang="0">
                    <a:pos x="T4" y="T5"/>
                  </a:cxn>
                </a:cxnLst>
                <a:rect l="0" t="0" r="r" b="b"/>
                <a:pathLst>
                  <a:path w="393" h="123">
                    <a:moveTo>
                      <a:pt x="393" y="123"/>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26" name="Freeform 2510">
                <a:extLst>
                  <a:ext uri="{FF2B5EF4-FFF2-40B4-BE49-F238E27FC236}">
                    <a16:creationId xmlns:a16="http://schemas.microsoft.com/office/drawing/2014/main" id="{87F0DB6B-F8D7-4C11-965B-E25E73134392}"/>
                  </a:ext>
                </a:extLst>
              </p:cNvPr>
              <p:cNvSpPr>
                <a:spLocks/>
              </p:cNvSpPr>
              <p:nvPr/>
            </p:nvSpPr>
            <p:spPr bwMode="auto">
              <a:xfrm>
                <a:off x="1276" y="60"/>
                <a:ext cx="690" cy="600"/>
              </a:xfrm>
              <a:custGeom>
                <a:avLst/>
                <a:gdLst>
                  <a:gd name="T0" fmla="*/ 690 w 690"/>
                  <a:gd name="T1" fmla="*/ 600 h 600"/>
                  <a:gd name="T2" fmla="*/ 630 w 690"/>
                  <a:gd name="T3" fmla="*/ 450 h 600"/>
                  <a:gd name="T4" fmla="*/ 480 w 690"/>
                  <a:gd name="T5" fmla="*/ 210 h 600"/>
                  <a:gd name="T6" fmla="*/ 330 w 690"/>
                  <a:gd name="T7" fmla="*/ 0 h 600"/>
                  <a:gd name="T8" fmla="*/ 150 w 690"/>
                  <a:gd name="T9" fmla="*/ 90 h 600"/>
                  <a:gd name="T10" fmla="*/ 60 w 690"/>
                  <a:gd name="T11" fmla="*/ 210 h 600"/>
                  <a:gd name="T12" fmla="*/ 300 w 690"/>
                  <a:gd name="T13" fmla="*/ 210 h 600"/>
                  <a:gd name="T14" fmla="*/ 330 w 690"/>
                  <a:gd name="T15" fmla="*/ 0 h 600"/>
                  <a:gd name="T16" fmla="*/ 0 w 690"/>
                  <a:gd name="T17" fmla="*/ 60 h 600"/>
                  <a:gd name="T18" fmla="*/ 150 w 690"/>
                  <a:gd name="T19" fmla="*/ 90 h 600"/>
                  <a:gd name="T20" fmla="*/ 180 w 690"/>
                  <a:gd name="T21" fmla="*/ 240 h 600"/>
                  <a:gd name="T22" fmla="*/ 60 w 690"/>
                  <a:gd name="T23" fmla="*/ 210 h 600"/>
                  <a:gd name="T24" fmla="*/ 30 w 690"/>
                  <a:gd name="T25" fmla="*/ 360 h 600"/>
                  <a:gd name="T26" fmla="*/ 60 w 690"/>
                  <a:gd name="T27" fmla="*/ 51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0" h="600">
                    <a:moveTo>
                      <a:pt x="690" y="600"/>
                    </a:moveTo>
                    <a:lnTo>
                      <a:pt x="630" y="450"/>
                    </a:lnTo>
                    <a:lnTo>
                      <a:pt x="480" y="210"/>
                    </a:lnTo>
                    <a:lnTo>
                      <a:pt x="330" y="0"/>
                    </a:lnTo>
                    <a:lnTo>
                      <a:pt x="150" y="90"/>
                    </a:lnTo>
                    <a:lnTo>
                      <a:pt x="60" y="210"/>
                    </a:lnTo>
                    <a:lnTo>
                      <a:pt x="300" y="210"/>
                    </a:lnTo>
                    <a:lnTo>
                      <a:pt x="330" y="0"/>
                    </a:lnTo>
                    <a:lnTo>
                      <a:pt x="0" y="60"/>
                    </a:lnTo>
                    <a:lnTo>
                      <a:pt x="150" y="90"/>
                    </a:lnTo>
                    <a:lnTo>
                      <a:pt x="180" y="240"/>
                    </a:lnTo>
                    <a:lnTo>
                      <a:pt x="60" y="210"/>
                    </a:lnTo>
                    <a:lnTo>
                      <a:pt x="30" y="360"/>
                    </a:lnTo>
                    <a:lnTo>
                      <a:pt x="60"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27" name="Freeform 2511">
                <a:extLst>
                  <a:ext uri="{FF2B5EF4-FFF2-40B4-BE49-F238E27FC236}">
                    <a16:creationId xmlns:a16="http://schemas.microsoft.com/office/drawing/2014/main" id="{597054A9-3255-4C4D-9381-A0270677FBA1}"/>
                  </a:ext>
                </a:extLst>
              </p:cNvPr>
              <p:cNvSpPr>
                <a:spLocks/>
              </p:cNvSpPr>
              <p:nvPr/>
            </p:nvSpPr>
            <p:spPr bwMode="auto">
              <a:xfrm>
                <a:off x="1306" y="2700"/>
                <a:ext cx="600" cy="510"/>
              </a:xfrm>
              <a:custGeom>
                <a:avLst/>
                <a:gdLst>
                  <a:gd name="T0" fmla="*/ 540 w 600"/>
                  <a:gd name="T1" fmla="*/ 90 h 510"/>
                  <a:gd name="T2" fmla="*/ 600 w 600"/>
                  <a:gd name="T3" fmla="*/ 270 h 510"/>
                  <a:gd name="T4" fmla="*/ 480 w 600"/>
                  <a:gd name="T5" fmla="*/ 270 h 510"/>
                  <a:gd name="T6" fmla="*/ 570 w 600"/>
                  <a:gd name="T7" fmla="*/ 420 h 510"/>
                  <a:gd name="T8" fmla="*/ 510 w 600"/>
                  <a:gd name="T9" fmla="*/ 510 h 510"/>
                  <a:gd name="T10" fmla="*/ 420 w 600"/>
                  <a:gd name="T11" fmla="*/ 360 h 510"/>
                  <a:gd name="T12" fmla="*/ 240 w 600"/>
                  <a:gd name="T13" fmla="*/ 450 h 510"/>
                  <a:gd name="T14" fmla="*/ 300 w 600"/>
                  <a:gd name="T15" fmla="*/ 270 h 510"/>
                  <a:gd name="T16" fmla="*/ 150 w 600"/>
                  <a:gd name="T17" fmla="*/ 420 h 510"/>
                  <a:gd name="T18" fmla="*/ 180 w 600"/>
                  <a:gd name="T19" fmla="*/ 300 h 510"/>
                  <a:gd name="T20" fmla="*/ 30 w 600"/>
                  <a:gd name="T21" fmla="*/ 360 h 510"/>
                  <a:gd name="T22" fmla="*/ 0 w 600"/>
                  <a:gd name="T23" fmla="*/ 510 h 510"/>
                  <a:gd name="T24" fmla="*/ 180 w 600"/>
                  <a:gd name="T25" fmla="*/ 210 h 510"/>
                  <a:gd name="T26" fmla="*/ 60 w 600"/>
                  <a:gd name="T27" fmla="*/ 120 h 510"/>
                  <a:gd name="T28" fmla="*/ 0 w 600"/>
                  <a:gd name="T29" fmla="*/ 210 h 510"/>
                  <a:gd name="T30" fmla="*/ 0 w 600"/>
                  <a:gd name="T31" fmla="*/ 0 h 510"/>
                  <a:gd name="T32" fmla="*/ 180 w 600"/>
                  <a:gd name="T33" fmla="*/ 30 h 510"/>
                  <a:gd name="T34" fmla="*/ 270 w 600"/>
                  <a:gd name="T35" fmla="*/ 120 h 510"/>
                  <a:gd name="T36" fmla="*/ 390 w 600"/>
                  <a:gd name="T37" fmla="*/ 150 h 510"/>
                  <a:gd name="T38" fmla="*/ 540 w 600"/>
                  <a:gd name="T39" fmla="*/ 9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0" h="510">
                    <a:moveTo>
                      <a:pt x="540" y="90"/>
                    </a:moveTo>
                    <a:lnTo>
                      <a:pt x="600" y="270"/>
                    </a:lnTo>
                    <a:lnTo>
                      <a:pt x="480" y="270"/>
                    </a:lnTo>
                    <a:lnTo>
                      <a:pt x="570" y="420"/>
                    </a:lnTo>
                    <a:lnTo>
                      <a:pt x="510" y="510"/>
                    </a:lnTo>
                    <a:lnTo>
                      <a:pt x="420" y="360"/>
                    </a:lnTo>
                    <a:lnTo>
                      <a:pt x="240" y="450"/>
                    </a:lnTo>
                    <a:lnTo>
                      <a:pt x="300" y="270"/>
                    </a:lnTo>
                    <a:lnTo>
                      <a:pt x="150" y="420"/>
                    </a:lnTo>
                    <a:lnTo>
                      <a:pt x="180" y="300"/>
                    </a:lnTo>
                    <a:lnTo>
                      <a:pt x="30" y="360"/>
                    </a:lnTo>
                    <a:lnTo>
                      <a:pt x="0" y="510"/>
                    </a:lnTo>
                    <a:lnTo>
                      <a:pt x="180" y="210"/>
                    </a:lnTo>
                    <a:lnTo>
                      <a:pt x="60" y="120"/>
                    </a:lnTo>
                    <a:lnTo>
                      <a:pt x="0" y="210"/>
                    </a:lnTo>
                    <a:lnTo>
                      <a:pt x="0" y="0"/>
                    </a:lnTo>
                    <a:lnTo>
                      <a:pt x="180" y="30"/>
                    </a:lnTo>
                    <a:lnTo>
                      <a:pt x="270" y="120"/>
                    </a:lnTo>
                    <a:lnTo>
                      <a:pt x="390" y="150"/>
                    </a:lnTo>
                    <a:lnTo>
                      <a:pt x="54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28" name="Freeform 2512">
                <a:extLst>
                  <a:ext uri="{FF2B5EF4-FFF2-40B4-BE49-F238E27FC236}">
                    <a16:creationId xmlns:a16="http://schemas.microsoft.com/office/drawing/2014/main" id="{BBB6A667-C647-404E-942B-1E669D9906E0}"/>
                  </a:ext>
                </a:extLst>
              </p:cNvPr>
              <p:cNvSpPr>
                <a:spLocks/>
              </p:cNvSpPr>
              <p:nvPr/>
            </p:nvSpPr>
            <p:spPr bwMode="auto">
              <a:xfrm>
                <a:off x="1636" y="2700"/>
                <a:ext cx="539" cy="360"/>
              </a:xfrm>
              <a:custGeom>
                <a:avLst/>
                <a:gdLst>
                  <a:gd name="T0" fmla="*/ 90 w 539"/>
                  <a:gd name="T1" fmla="*/ 360 h 360"/>
                  <a:gd name="T2" fmla="*/ 60 w 539"/>
                  <a:gd name="T3" fmla="*/ 150 h 360"/>
                  <a:gd name="T4" fmla="*/ 0 w 539"/>
                  <a:gd name="T5" fmla="*/ 0 h 360"/>
                  <a:gd name="T6" fmla="*/ 210 w 539"/>
                  <a:gd name="T7" fmla="*/ 90 h 360"/>
                  <a:gd name="T8" fmla="*/ 360 w 539"/>
                  <a:gd name="T9" fmla="*/ 180 h 360"/>
                  <a:gd name="T10" fmla="*/ 270 w 539"/>
                  <a:gd name="T11" fmla="*/ 270 h 360"/>
                  <a:gd name="T12" fmla="*/ 450 w 539"/>
                  <a:gd name="T13" fmla="*/ 330 h 360"/>
                  <a:gd name="T14" fmla="*/ 509 w 539"/>
                  <a:gd name="T15" fmla="*/ 210 h 360"/>
                  <a:gd name="T16" fmla="*/ 360 w 539"/>
                  <a:gd name="T17" fmla="*/ 60 h 360"/>
                  <a:gd name="T18" fmla="*/ 539 w 539"/>
                  <a:gd name="T1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360">
                    <a:moveTo>
                      <a:pt x="90" y="360"/>
                    </a:moveTo>
                    <a:lnTo>
                      <a:pt x="60" y="150"/>
                    </a:lnTo>
                    <a:lnTo>
                      <a:pt x="0" y="0"/>
                    </a:lnTo>
                    <a:lnTo>
                      <a:pt x="210" y="90"/>
                    </a:lnTo>
                    <a:lnTo>
                      <a:pt x="360" y="180"/>
                    </a:lnTo>
                    <a:lnTo>
                      <a:pt x="270" y="270"/>
                    </a:lnTo>
                    <a:lnTo>
                      <a:pt x="450" y="330"/>
                    </a:lnTo>
                    <a:lnTo>
                      <a:pt x="509" y="210"/>
                    </a:lnTo>
                    <a:lnTo>
                      <a:pt x="360" y="60"/>
                    </a:lnTo>
                    <a:lnTo>
                      <a:pt x="53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29" name="Freeform 2513">
                <a:extLst>
                  <a:ext uri="{FF2B5EF4-FFF2-40B4-BE49-F238E27FC236}">
                    <a16:creationId xmlns:a16="http://schemas.microsoft.com/office/drawing/2014/main" id="{7D54AA93-D24E-440C-9E77-6F99E6A98299}"/>
                  </a:ext>
                </a:extLst>
              </p:cNvPr>
              <p:cNvSpPr>
                <a:spLocks/>
              </p:cNvSpPr>
              <p:nvPr/>
            </p:nvSpPr>
            <p:spPr bwMode="auto">
              <a:xfrm>
                <a:off x="1456" y="3120"/>
                <a:ext cx="360" cy="90"/>
              </a:xfrm>
              <a:custGeom>
                <a:avLst/>
                <a:gdLst>
                  <a:gd name="T0" fmla="*/ 360 w 360"/>
                  <a:gd name="T1" fmla="*/ 90 h 90"/>
                  <a:gd name="T2" fmla="*/ 90 w 360"/>
                  <a:gd name="T3" fmla="*/ 30 h 90"/>
                  <a:gd name="T4" fmla="*/ 0 w 360"/>
                  <a:gd name="T5" fmla="*/ 0 h 90"/>
                </a:gdLst>
                <a:ahLst/>
                <a:cxnLst>
                  <a:cxn ang="0">
                    <a:pos x="T0" y="T1"/>
                  </a:cxn>
                  <a:cxn ang="0">
                    <a:pos x="T2" y="T3"/>
                  </a:cxn>
                  <a:cxn ang="0">
                    <a:pos x="T4" y="T5"/>
                  </a:cxn>
                </a:cxnLst>
                <a:rect l="0" t="0" r="r" b="b"/>
                <a:pathLst>
                  <a:path w="360" h="90">
                    <a:moveTo>
                      <a:pt x="360" y="90"/>
                    </a:moveTo>
                    <a:lnTo>
                      <a:pt x="9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30" name="Freeform 2514">
                <a:extLst>
                  <a:ext uri="{FF2B5EF4-FFF2-40B4-BE49-F238E27FC236}">
                    <a16:creationId xmlns:a16="http://schemas.microsoft.com/office/drawing/2014/main" id="{AAE9C4D2-6A1A-4CC5-9EC6-F29F34D2679A}"/>
                  </a:ext>
                </a:extLst>
              </p:cNvPr>
              <p:cNvSpPr>
                <a:spLocks/>
              </p:cNvSpPr>
              <p:nvPr/>
            </p:nvSpPr>
            <p:spPr bwMode="auto">
              <a:xfrm>
                <a:off x="1306" y="2820"/>
                <a:ext cx="270" cy="240"/>
              </a:xfrm>
              <a:custGeom>
                <a:avLst/>
                <a:gdLst>
                  <a:gd name="T0" fmla="*/ 30 w 270"/>
                  <a:gd name="T1" fmla="*/ 240 h 240"/>
                  <a:gd name="T2" fmla="*/ 0 w 270"/>
                  <a:gd name="T3" fmla="*/ 90 h 240"/>
                  <a:gd name="T4" fmla="*/ 270 w 270"/>
                  <a:gd name="T5" fmla="*/ 0 h 240"/>
                </a:gdLst>
                <a:ahLst/>
                <a:cxnLst>
                  <a:cxn ang="0">
                    <a:pos x="T0" y="T1"/>
                  </a:cxn>
                  <a:cxn ang="0">
                    <a:pos x="T2" y="T3"/>
                  </a:cxn>
                  <a:cxn ang="0">
                    <a:pos x="T4" y="T5"/>
                  </a:cxn>
                </a:cxnLst>
                <a:rect l="0" t="0" r="r" b="b"/>
                <a:pathLst>
                  <a:path w="270" h="240">
                    <a:moveTo>
                      <a:pt x="30" y="240"/>
                    </a:moveTo>
                    <a:lnTo>
                      <a:pt x="0" y="90"/>
                    </a:lnTo>
                    <a:lnTo>
                      <a:pt x="27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31" name="Freeform 2515">
                <a:extLst>
                  <a:ext uri="{FF2B5EF4-FFF2-40B4-BE49-F238E27FC236}">
                    <a16:creationId xmlns:a16="http://schemas.microsoft.com/office/drawing/2014/main" id="{31681D70-3531-4DC4-91E6-14B2A7929A6C}"/>
                  </a:ext>
                </a:extLst>
              </p:cNvPr>
              <p:cNvSpPr>
                <a:spLocks/>
              </p:cNvSpPr>
              <p:nvPr/>
            </p:nvSpPr>
            <p:spPr bwMode="auto">
              <a:xfrm>
                <a:off x="1486" y="2490"/>
                <a:ext cx="210" cy="240"/>
              </a:xfrm>
              <a:custGeom>
                <a:avLst/>
                <a:gdLst>
                  <a:gd name="T0" fmla="*/ 0 w 210"/>
                  <a:gd name="T1" fmla="*/ 240 h 240"/>
                  <a:gd name="T2" fmla="*/ 150 w 210"/>
                  <a:gd name="T3" fmla="*/ 210 h 240"/>
                  <a:gd name="T4" fmla="*/ 120 w 210"/>
                  <a:gd name="T5" fmla="*/ 0 h 240"/>
                  <a:gd name="T6" fmla="*/ 210 w 210"/>
                  <a:gd name="T7" fmla="*/ 60 h 240"/>
                </a:gdLst>
                <a:ahLst/>
                <a:cxnLst>
                  <a:cxn ang="0">
                    <a:pos x="T0" y="T1"/>
                  </a:cxn>
                  <a:cxn ang="0">
                    <a:pos x="T2" y="T3"/>
                  </a:cxn>
                  <a:cxn ang="0">
                    <a:pos x="T4" y="T5"/>
                  </a:cxn>
                  <a:cxn ang="0">
                    <a:pos x="T6" y="T7"/>
                  </a:cxn>
                </a:cxnLst>
                <a:rect l="0" t="0" r="r" b="b"/>
                <a:pathLst>
                  <a:path w="210" h="240">
                    <a:moveTo>
                      <a:pt x="0" y="240"/>
                    </a:moveTo>
                    <a:lnTo>
                      <a:pt x="150" y="210"/>
                    </a:lnTo>
                    <a:lnTo>
                      <a:pt x="120" y="0"/>
                    </a:lnTo>
                    <a:lnTo>
                      <a:pt x="21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32" name="Freeform 2516">
                <a:extLst>
                  <a:ext uri="{FF2B5EF4-FFF2-40B4-BE49-F238E27FC236}">
                    <a16:creationId xmlns:a16="http://schemas.microsoft.com/office/drawing/2014/main" id="{A75AFB66-98CC-4E98-81F8-7ABC8E153543}"/>
                  </a:ext>
                </a:extLst>
              </p:cNvPr>
              <p:cNvSpPr>
                <a:spLocks/>
              </p:cNvSpPr>
              <p:nvPr/>
            </p:nvSpPr>
            <p:spPr bwMode="auto">
              <a:xfrm>
                <a:off x="1276" y="2190"/>
                <a:ext cx="510" cy="630"/>
              </a:xfrm>
              <a:custGeom>
                <a:avLst/>
                <a:gdLst>
                  <a:gd name="T0" fmla="*/ 270 w 510"/>
                  <a:gd name="T1" fmla="*/ 450 h 630"/>
                  <a:gd name="T2" fmla="*/ 0 w 510"/>
                  <a:gd name="T3" fmla="*/ 390 h 630"/>
                  <a:gd name="T4" fmla="*/ 30 w 510"/>
                  <a:gd name="T5" fmla="*/ 300 h 630"/>
                  <a:gd name="T6" fmla="*/ 210 w 510"/>
                  <a:gd name="T7" fmla="*/ 330 h 630"/>
                  <a:gd name="T8" fmla="*/ 150 w 510"/>
                  <a:gd name="T9" fmla="*/ 120 h 630"/>
                  <a:gd name="T10" fmla="*/ 90 w 510"/>
                  <a:gd name="T11" fmla="*/ 210 h 630"/>
                  <a:gd name="T12" fmla="*/ 60 w 510"/>
                  <a:gd name="T13" fmla="*/ 120 h 630"/>
                  <a:gd name="T14" fmla="*/ 180 w 510"/>
                  <a:gd name="T15" fmla="*/ 0 h 630"/>
                  <a:gd name="T16" fmla="*/ 300 w 510"/>
                  <a:gd name="T17" fmla="*/ 120 h 630"/>
                  <a:gd name="T18" fmla="*/ 510 w 510"/>
                  <a:gd name="T19" fmla="*/ 150 h 630"/>
                  <a:gd name="T20" fmla="*/ 330 w 510"/>
                  <a:gd name="T21" fmla="*/ 300 h 630"/>
                  <a:gd name="T22" fmla="*/ 270 w 510"/>
                  <a:gd name="T23" fmla="*/ 450 h 630"/>
                  <a:gd name="T24" fmla="*/ 30 w 510"/>
                  <a:gd name="T25" fmla="*/ 510 h 630"/>
                  <a:gd name="T26" fmla="*/ 300 w 510"/>
                  <a:gd name="T27" fmla="*/ 120 h 630"/>
                  <a:gd name="T28" fmla="*/ 30 w 510"/>
                  <a:gd name="T29" fmla="*/ 300 h 630"/>
                  <a:gd name="T30" fmla="*/ 90 w 510"/>
                  <a:gd name="T31" fmla="*/ 210 h 630"/>
                  <a:gd name="T32" fmla="*/ 330 w 510"/>
                  <a:gd name="T33" fmla="*/ 300 h 630"/>
                  <a:gd name="T34" fmla="*/ 210 w 510"/>
                  <a:gd name="T35" fmla="*/ 330 h 630"/>
                  <a:gd name="T36" fmla="*/ 270 w 510"/>
                  <a:gd name="T37" fmla="*/ 450 h 630"/>
                  <a:gd name="T38" fmla="*/ 210 w 510"/>
                  <a:gd name="T39" fmla="*/ 540 h 630"/>
                  <a:gd name="T40" fmla="*/ 90 w 510"/>
                  <a:gd name="T41"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0" h="630">
                    <a:moveTo>
                      <a:pt x="270" y="450"/>
                    </a:moveTo>
                    <a:lnTo>
                      <a:pt x="0" y="390"/>
                    </a:lnTo>
                    <a:lnTo>
                      <a:pt x="30" y="300"/>
                    </a:lnTo>
                    <a:lnTo>
                      <a:pt x="210" y="330"/>
                    </a:lnTo>
                    <a:lnTo>
                      <a:pt x="150" y="120"/>
                    </a:lnTo>
                    <a:lnTo>
                      <a:pt x="90" y="210"/>
                    </a:lnTo>
                    <a:lnTo>
                      <a:pt x="60" y="120"/>
                    </a:lnTo>
                    <a:lnTo>
                      <a:pt x="180" y="0"/>
                    </a:lnTo>
                    <a:lnTo>
                      <a:pt x="300" y="120"/>
                    </a:lnTo>
                    <a:lnTo>
                      <a:pt x="510" y="150"/>
                    </a:lnTo>
                    <a:lnTo>
                      <a:pt x="330" y="300"/>
                    </a:lnTo>
                    <a:lnTo>
                      <a:pt x="270" y="450"/>
                    </a:lnTo>
                    <a:lnTo>
                      <a:pt x="30" y="510"/>
                    </a:lnTo>
                    <a:lnTo>
                      <a:pt x="300" y="120"/>
                    </a:lnTo>
                    <a:lnTo>
                      <a:pt x="30" y="300"/>
                    </a:lnTo>
                    <a:lnTo>
                      <a:pt x="90" y="210"/>
                    </a:lnTo>
                    <a:lnTo>
                      <a:pt x="330" y="300"/>
                    </a:lnTo>
                    <a:lnTo>
                      <a:pt x="210" y="330"/>
                    </a:lnTo>
                    <a:lnTo>
                      <a:pt x="270" y="450"/>
                    </a:lnTo>
                    <a:lnTo>
                      <a:pt x="210" y="540"/>
                    </a:lnTo>
                    <a:lnTo>
                      <a:pt x="90" y="6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33" name="Freeform 2517">
                <a:extLst>
                  <a:ext uri="{FF2B5EF4-FFF2-40B4-BE49-F238E27FC236}">
                    <a16:creationId xmlns:a16="http://schemas.microsoft.com/office/drawing/2014/main" id="{D64D2C8B-EB72-413B-8E7C-8F89495C1AE4}"/>
                  </a:ext>
                </a:extLst>
              </p:cNvPr>
              <p:cNvSpPr>
                <a:spLocks/>
              </p:cNvSpPr>
              <p:nvPr/>
            </p:nvSpPr>
            <p:spPr bwMode="auto">
              <a:xfrm>
                <a:off x="1576" y="2190"/>
                <a:ext cx="420" cy="480"/>
              </a:xfrm>
              <a:custGeom>
                <a:avLst/>
                <a:gdLst>
                  <a:gd name="T0" fmla="*/ 420 w 420"/>
                  <a:gd name="T1" fmla="*/ 150 h 480"/>
                  <a:gd name="T2" fmla="*/ 120 w 420"/>
                  <a:gd name="T3" fmla="*/ 0 h 480"/>
                  <a:gd name="T4" fmla="*/ 0 w 420"/>
                  <a:gd name="T5" fmla="*/ 120 h 480"/>
                  <a:gd name="T6" fmla="*/ 240 w 420"/>
                  <a:gd name="T7" fmla="*/ 300 h 480"/>
                  <a:gd name="T8" fmla="*/ 120 w 420"/>
                  <a:gd name="T9" fmla="*/ 360 h 480"/>
                  <a:gd name="T10" fmla="*/ 210 w 420"/>
                  <a:gd name="T11" fmla="*/ 480 h 480"/>
                </a:gdLst>
                <a:ahLst/>
                <a:cxnLst>
                  <a:cxn ang="0">
                    <a:pos x="T0" y="T1"/>
                  </a:cxn>
                  <a:cxn ang="0">
                    <a:pos x="T2" y="T3"/>
                  </a:cxn>
                  <a:cxn ang="0">
                    <a:pos x="T4" y="T5"/>
                  </a:cxn>
                  <a:cxn ang="0">
                    <a:pos x="T6" y="T7"/>
                  </a:cxn>
                  <a:cxn ang="0">
                    <a:pos x="T8" y="T9"/>
                  </a:cxn>
                  <a:cxn ang="0">
                    <a:pos x="T10" y="T11"/>
                  </a:cxn>
                </a:cxnLst>
                <a:rect l="0" t="0" r="r" b="b"/>
                <a:pathLst>
                  <a:path w="420" h="480">
                    <a:moveTo>
                      <a:pt x="420" y="150"/>
                    </a:moveTo>
                    <a:lnTo>
                      <a:pt x="120" y="0"/>
                    </a:lnTo>
                    <a:lnTo>
                      <a:pt x="0" y="120"/>
                    </a:lnTo>
                    <a:lnTo>
                      <a:pt x="240" y="300"/>
                    </a:lnTo>
                    <a:lnTo>
                      <a:pt x="120" y="360"/>
                    </a:lnTo>
                    <a:lnTo>
                      <a:pt x="210" y="4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34" name="Freeform 2518">
                <a:extLst>
                  <a:ext uri="{FF2B5EF4-FFF2-40B4-BE49-F238E27FC236}">
                    <a16:creationId xmlns:a16="http://schemas.microsoft.com/office/drawing/2014/main" id="{2F7351E8-D3BB-47EA-A24F-5DB556D4A494}"/>
                  </a:ext>
                </a:extLst>
              </p:cNvPr>
              <p:cNvSpPr>
                <a:spLocks/>
              </p:cNvSpPr>
              <p:nvPr/>
            </p:nvSpPr>
            <p:spPr bwMode="auto">
              <a:xfrm>
                <a:off x="1336" y="1620"/>
                <a:ext cx="420" cy="690"/>
              </a:xfrm>
              <a:custGeom>
                <a:avLst/>
                <a:gdLst>
                  <a:gd name="T0" fmla="*/ 240 w 420"/>
                  <a:gd name="T1" fmla="*/ 690 h 690"/>
                  <a:gd name="T2" fmla="*/ 210 w 420"/>
                  <a:gd name="T3" fmla="*/ 540 h 690"/>
                  <a:gd name="T4" fmla="*/ 150 w 420"/>
                  <a:gd name="T5" fmla="*/ 270 h 690"/>
                  <a:gd name="T6" fmla="*/ 60 w 420"/>
                  <a:gd name="T7" fmla="*/ 0 h 690"/>
                  <a:gd name="T8" fmla="*/ 0 w 420"/>
                  <a:gd name="T9" fmla="*/ 180 h 690"/>
                  <a:gd name="T10" fmla="*/ 150 w 420"/>
                  <a:gd name="T11" fmla="*/ 270 h 690"/>
                  <a:gd name="T12" fmla="*/ 330 w 420"/>
                  <a:gd name="T13" fmla="*/ 390 h 690"/>
                  <a:gd name="T14" fmla="*/ 270 w 420"/>
                  <a:gd name="T15" fmla="*/ 180 h 690"/>
                  <a:gd name="T16" fmla="*/ 420 w 420"/>
                  <a:gd name="T17" fmla="*/ 30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690">
                    <a:moveTo>
                      <a:pt x="240" y="690"/>
                    </a:moveTo>
                    <a:lnTo>
                      <a:pt x="210" y="540"/>
                    </a:lnTo>
                    <a:lnTo>
                      <a:pt x="150" y="270"/>
                    </a:lnTo>
                    <a:lnTo>
                      <a:pt x="60" y="0"/>
                    </a:lnTo>
                    <a:lnTo>
                      <a:pt x="0" y="180"/>
                    </a:lnTo>
                    <a:lnTo>
                      <a:pt x="150" y="270"/>
                    </a:lnTo>
                    <a:lnTo>
                      <a:pt x="330" y="390"/>
                    </a:lnTo>
                    <a:lnTo>
                      <a:pt x="270" y="180"/>
                    </a:lnTo>
                    <a:lnTo>
                      <a:pt x="42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35" name="Freeform 2519">
                <a:extLst>
                  <a:ext uri="{FF2B5EF4-FFF2-40B4-BE49-F238E27FC236}">
                    <a16:creationId xmlns:a16="http://schemas.microsoft.com/office/drawing/2014/main" id="{184F615B-D180-45AF-9A32-882DE2250F55}"/>
                  </a:ext>
                </a:extLst>
              </p:cNvPr>
              <p:cNvSpPr>
                <a:spLocks/>
              </p:cNvSpPr>
              <p:nvPr/>
            </p:nvSpPr>
            <p:spPr bwMode="auto">
              <a:xfrm>
                <a:off x="1666" y="2010"/>
                <a:ext cx="420" cy="180"/>
              </a:xfrm>
              <a:custGeom>
                <a:avLst/>
                <a:gdLst>
                  <a:gd name="T0" fmla="*/ 210 w 420"/>
                  <a:gd name="T1" fmla="*/ 150 h 180"/>
                  <a:gd name="T2" fmla="*/ 0 w 420"/>
                  <a:gd name="T3" fmla="*/ 0 h 180"/>
                  <a:gd name="T4" fmla="*/ 30 w 420"/>
                  <a:gd name="T5" fmla="*/ 180 h 180"/>
                  <a:gd name="T6" fmla="*/ 243 w 420"/>
                  <a:gd name="T7" fmla="*/ 3 h 180"/>
                  <a:gd name="T8" fmla="*/ 390 w 420"/>
                  <a:gd name="T9" fmla="*/ 120 h 180"/>
                  <a:gd name="T10" fmla="*/ 420 w 420"/>
                  <a:gd name="T11" fmla="*/ 0 h 180"/>
                </a:gdLst>
                <a:ahLst/>
                <a:cxnLst>
                  <a:cxn ang="0">
                    <a:pos x="T0" y="T1"/>
                  </a:cxn>
                  <a:cxn ang="0">
                    <a:pos x="T2" y="T3"/>
                  </a:cxn>
                  <a:cxn ang="0">
                    <a:pos x="T4" y="T5"/>
                  </a:cxn>
                  <a:cxn ang="0">
                    <a:pos x="T6" y="T7"/>
                  </a:cxn>
                  <a:cxn ang="0">
                    <a:pos x="T8" y="T9"/>
                  </a:cxn>
                  <a:cxn ang="0">
                    <a:pos x="T10" y="T11"/>
                  </a:cxn>
                </a:cxnLst>
                <a:rect l="0" t="0" r="r" b="b"/>
                <a:pathLst>
                  <a:path w="420" h="180">
                    <a:moveTo>
                      <a:pt x="210" y="150"/>
                    </a:moveTo>
                    <a:lnTo>
                      <a:pt x="0" y="0"/>
                    </a:lnTo>
                    <a:lnTo>
                      <a:pt x="30" y="180"/>
                    </a:lnTo>
                    <a:lnTo>
                      <a:pt x="243" y="3"/>
                    </a:lnTo>
                    <a:lnTo>
                      <a:pt x="390" y="12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36" name="Line 2520">
                <a:extLst>
                  <a:ext uri="{FF2B5EF4-FFF2-40B4-BE49-F238E27FC236}">
                    <a16:creationId xmlns:a16="http://schemas.microsoft.com/office/drawing/2014/main" id="{A66A779A-FCA7-45AD-A065-EAD6D152A66B}"/>
                  </a:ext>
                </a:extLst>
              </p:cNvPr>
              <p:cNvSpPr>
                <a:spLocks noChangeShapeType="1"/>
              </p:cNvSpPr>
              <p:nvPr/>
            </p:nvSpPr>
            <p:spPr bwMode="auto">
              <a:xfrm>
                <a:off x="1696" y="2190"/>
                <a:ext cx="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37" name="Line 2521">
                <a:extLst>
                  <a:ext uri="{FF2B5EF4-FFF2-40B4-BE49-F238E27FC236}">
                    <a16:creationId xmlns:a16="http://schemas.microsoft.com/office/drawing/2014/main" id="{7ED0D93B-5813-4301-B36E-17B1E53F46B9}"/>
                  </a:ext>
                </a:extLst>
              </p:cNvPr>
              <p:cNvSpPr>
                <a:spLocks noChangeShapeType="1"/>
              </p:cNvSpPr>
              <p:nvPr/>
            </p:nvSpPr>
            <p:spPr bwMode="auto">
              <a:xfrm flipH="1" flipV="1">
                <a:off x="1426" y="2310"/>
                <a:ext cx="39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38" name="Freeform 2522">
                <a:extLst>
                  <a:ext uri="{FF2B5EF4-FFF2-40B4-BE49-F238E27FC236}">
                    <a16:creationId xmlns:a16="http://schemas.microsoft.com/office/drawing/2014/main" id="{F7112768-08F0-42E0-BA42-DB0AF1B39233}"/>
                  </a:ext>
                </a:extLst>
              </p:cNvPr>
              <p:cNvSpPr>
                <a:spLocks/>
              </p:cNvSpPr>
              <p:nvPr/>
            </p:nvSpPr>
            <p:spPr bwMode="auto">
              <a:xfrm>
                <a:off x="1276" y="1950"/>
                <a:ext cx="180" cy="360"/>
              </a:xfrm>
              <a:custGeom>
                <a:avLst/>
                <a:gdLst>
                  <a:gd name="T0" fmla="*/ 180 w 180"/>
                  <a:gd name="T1" fmla="*/ 240 h 360"/>
                  <a:gd name="T2" fmla="*/ 0 w 180"/>
                  <a:gd name="T3" fmla="*/ 210 h 360"/>
                  <a:gd name="T4" fmla="*/ 60 w 180"/>
                  <a:gd name="T5" fmla="*/ 360 h 360"/>
                  <a:gd name="T6" fmla="*/ 180 w 180"/>
                  <a:gd name="T7" fmla="*/ 90 h 360"/>
                  <a:gd name="T8" fmla="*/ 90 w 180"/>
                  <a:gd name="T9" fmla="*/ 0 h 360"/>
                </a:gdLst>
                <a:ahLst/>
                <a:cxnLst>
                  <a:cxn ang="0">
                    <a:pos x="T0" y="T1"/>
                  </a:cxn>
                  <a:cxn ang="0">
                    <a:pos x="T2" y="T3"/>
                  </a:cxn>
                  <a:cxn ang="0">
                    <a:pos x="T4" y="T5"/>
                  </a:cxn>
                  <a:cxn ang="0">
                    <a:pos x="T6" y="T7"/>
                  </a:cxn>
                  <a:cxn ang="0">
                    <a:pos x="T8" y="T9"/>
                  </a:cxn>
                </a:cxnLst>
                <a:rect l="0" t="0" r="r" b="b"/>
                <a:pathLst>
                  <a:path w="180" h="360">
                    <a:moveTo>
                      <a:pt x="180" y="240"/>
                    </a:moveTo>
                    <a:lnTo>
                      <a:pt x="0" y="210"/>
                    </a:lnTo>
                    <a:lnTo>
                      <a:pt x="60" y="360"/>
                    </a:lnTo>
                    <a:lnTo>
                      <a:pt x="180" y="90"/>
                    </a:lnTo>
                    <a:lnTo>
                      <a:pt x="9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39" name="Line 2523">
                <a:extLst>
                  <a:ext uri="{FF2B5EF4-FFF2-40B4-BE49-F238E27FC236}">
                    <a16:creationId xmlns:a16="http://schemas.microsoft.com/office/drawing/2014/main" id="{3D43FFC8-9229-4360-B507-ACE9176A0C59}"/>
                  </a:ext>
                </a:extLst>
              </p:cNvPr>
              <p:cNvSpPr>
                <a:spLocks noChangeShapeType="1"/>
              </p:cNvSpPr>
              <p:nvPr/>
            </p:nvSpPr>
            <p:spPr bwMode="auto">
              <a:xfrm flipV="1">
                <a:off x="1276" y="204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40" name="Freeform 2524">
                <a:extLst>
                  <a:ext uri="{FF2B5EF4-FFF2-40B4-BE49-F238E27FC236}">
                    <a16:creationId xmlns:a16="http://schemas.microsoft.com/office/drawing/2014/main" id="{46FC9402-7FCA-4D74-8C40-D833514ECE38}"/>
                  </a:ext>
                </a:extLst>
              </p:cNvPr>
              <p:cNvSpPr>
                <a:spLocks/>
              </p:cNvSpPr>
              <p:nvPr/>
            </p:nvSpPr>
            <p:spPr bwMode="auto">
              <a:xfrm>
                <a:off x="1606" y="1260"/>
                <a:ext cx="180" cy="330"/>
              </a:xfrm>
              <a:custGeom>
                <a:avLst/>
                <a:gdLst>
                  <a:gd name="T0" fmla="*/ 60 w 180"/>
                  <a:gd name="T1" fmla="*/ 0 h 330"/>
                  <a:gd name="T2" fmla="*/ 180 w 180"/>
                  <a:gd name="T3" fmla="*/ 30 h 330"/>
                  <a:gd name="T4" fmla="*/ 0 w 180"/>
                  <a:gd name="T5" fmla="*/ 120 h 330"/>
                  <a:gd name="T6" fmla="*/ 180 w 180"/>
                  <a:gd name="T7" fmla="*/ 330 h 330"/>
                </a:gdLst>
                <a:ahLst/>
                <a:cxnLst>
                  <a:cxn ang="0">
                    <a:pos x="T0" y="T1"/>
                  </a:cxn>
                  <a:cxn ang="0">
                    <a:pos x="T2" y="T3"/>
                  </a:cxn>
                  <a:cxn ang="0">
                    <a:pos x="T4" y="T5"/>
                  </a:cxn>
                  <a:cxn ang="0">
                    <a:pos x="T6" y="T7"/>
                  </a:cxn>
                </a:cxnLst>
                <a:rect l="0" t="0" r="r" b="b"/>
                <a:pathLst>
                  <a:path w="180" h="330">
                    <a:moveTo>
                      <a:pt x="60" y="0"/>
                    </a:moveTo>
                    <a:lnTo>
                      <a:pt x="180" y="30"/>
                    </a:lnTo>
                    <a:lnTo>
                      <a:pt x="0" y="120"/>
                    </a:lnTo>
                    <a:lnTo>
                      <a:pt x="18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41" name="Freeform 2525">
                <a:extLst>
                  <a:ext uri="{FF2B5EF4-FFF2-40B4-BE49-F238E27FC236}">
                    <a16:creationId xmlns:a16="http://schemas.microsoft.com/office/drawing/2014/main" id="{85DE2F1F-FAE6-4512-BEBA-A02E72A9F7C9}"/>
                  </a:ext>
                </a:extLst>
              </p:cNvPr>
              <p:cNvSpPr>
                <a:spLocks/>
              </p:cNvSpPr>
              <p:nvPr/>
            </p:nvSpPr>
            <p:spPr bwMode="auto">
              <a:xfrm>
                <a:off x="1576" y="1530"/>
                <a:ext cx="180" cy="150"/>
              </a:xfrm>
              <a:custGeom>
                <a:avLst/>
                <a:gdLst>
                  <a:gd name="T0" fmla="*/ 60 w 180"/>
                  <a:gd name="T1" fmla="*/ 0 h 150"/>
                  <a:gd name="T2" fmla="*/ 180 w 180"/>
                  <a:gd name="T3" fmla="*/ 150 h 150"/>
                  <a:gd name="T4" fmla="*/ 0 w 180"/>
                  <a:gd name="T5" fmla="*/ 150 h 150"/>
                </a:gdLst>
                <a:ahLst/>
                <a:cxnLst>
                  <a:cxn ang="0">
                    <a:pos x="T0" y="T1"/>
                  </a:cxn>
                  <a:cxn ang="0">
                    <a:pos x="T2" y="T3"/>
                  </a:cxn>
                  <a:cxn ang="0">
                    <a:pos x="T4" y="T5"/>
                  </a:cxn>
                </a:cxnLst>
                <a:rect l="0" t="0" r="r" b="b"/>
                <a:pathLst>
                  <a:path w="180" h="150">
                    <a:moveTo>
                      <a:pt x="60" y="0"/>
                    </a:moveTo>
                    <a:lnTo>
                      <a:pt x="180" y="15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42" name="Freeform 2526">
                <a:extLst>
                  <a:ext uri="{FF2B5EF4-FFF2-40B4-BE49-F238E27FC236}">
                    <a16:creationId xmlns:a16="http://schemas.microsoft.com/office/drawing/2014/main" id="{CFA4CB4D-0A2F-4FED-823E-79740AACE787}"/>
                  </a:ext>
                </a:extLst>
              </p:cNvPr>
              <p:cNvSpPr>
                <a:spLocks/>
              </p:cNvSpPr>
              <p:nvPr/>
            </p:nvSpPr>
            <p:spPr bwMode="auto">
              <a:xfrm>
                <a:off x="1276" y="1110"/>
                <a:ext cx="690" cy="300"/>
              </a:xfrm>
              <a:custGeom>
                <a:avLst/>
                <a:gdLst>
                  <a:gd name="T0" fmla="*/ 330 w 690"/>
                  <a:gd name="T1" fmla="*/ 270 h 300"/>
                  <a:gd name="T2" fmla="*/ 240 w 690"/>
                  <a:gd name="T3" fmla="*/ 150 h 300"/>
                  <a:gd name="T4" fmla="*/ 180 w 690"/>
                  <a:gd name="T5" fmla="*/ 300 h 300"/>
                  <a:gd name="T6" fmla="*/ 0 w 690"/>
                  <a:gd name="T7" fmla="*/ 210 h 300"/>
                  <a:gd name="T8" fmla="*/ 60 w 690"/>
                  <a:gd name="T9" fmla="*/ 90 h 300"/>
                  <a:gd name="T10" fmla="*/ 240 w 690"/>
                  <a:gd name="T11" fmla="*/ 150 h 300"/>
                  <a:gd name="T12" fmla="*/ 360 w 690"/>
                  <a:gd name="T13" fmla="*/ 30 h 300"/>
                  <a:gd name="T14" fmla="*/ 390 w 690"/>
                  <a:gd name="T15" fmla="*/ 150 h 300"/>
                  <a:gd name="T16" fmla="*/ 480 w 690"/>
                  <a:gd name="T17" fmla="*/ 30 h 300"/>
                  <a:gd name="T18" fmla="*/ 690 w 690"/>
                  <a:gd name="T19" fmla="*/ 120 h 300"/>
                  <a:gd name="T20" fmla="*/ 600 w 690"/>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300">
                    <a:moveTo>
                      <a:pt x="330" y="270"/>
                    </a:moveTo>
                    <a:lnTo>
                      <a:pt x="240" y="150"/>
                    </a:lnTo>
                    <a:lnTo>
                      <a:pt x="180" y="300"/>
                    </a:lnTo>
                    <a:lnTo>
                      <a:pt x="0" y="210"/>
                    </a:lnTo>
                    <a:lnTo>
                      <a:pt x="60" y="90"/>
                    </a:lnTo>
                    <a:lnTo>
                      <a:pt x="240" y="150"/>
                    </a:lnTo>
                    <a:lnTo>
                      <a:pt x="360" y="30"/>
                    </a:lnTo>
                    <a:lnTo>
                      <a:pt x="390" y="150"/>
                    </a:lnTo>
                    <a:lnTo>
                      <a:pt x="480" y="30"/>
                    </a:lnTo>
                    <a:lnTo>
                      <a:pt x="690" y="120"/>
                    </a:lnTo>
                    <a:lnTo>
                      <a:pt x="60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43" name="Freeform 2527">
                <a:extLst>
                  <a:ext uri="{FF2B5EF4-FFF2-40B4-BE49-F238E27FC236}">
                    <a16:creationId xmlns:a16="http://schemas.microsoft.com/office/drawing/2014/main" id="{35820B95-1B26-4A0B-BD87-E272D041902C}"/>
                  </a:ext>
                </a:extLst>
              </p:cNvPr>
              <p:cNvSpPr>
                <a:spLocks/>
              </p:cNvSpPr>
              <p:nvPr/>
            </p:nvSpPr>
            <p:spPr bwMode="auto">
              <a:xfrm>
                <a:off x="1276" y="600"/>
                <a:ext cx="480" cy="600"/>
              </a:xfrm>
              <a:custGeom>
                <a:avLst/>
                <a:gdLst>
                  <a:gd name="T0" fmla="*/ 60 w 480"/>
                  <a:gd name="T1" fmla="*/ 480 h 600"/>
                  <a:gd name="T2" fmla="*/ 180 w 480"/>
                  <a:gd name="T3" fmla="*/ 540 h 600"/>
                  <a:gd name="T4" fmla="*/ 300 w 480"/>
                  <a:gd name="T5" fmla="*/ 420 h 600"/>
                  <a:gd name="T6" fmla="*/ 330 w 480"/>
                  <a:gd name="T7" fmla="*/ 180 h 600"/>
                  <a:gd name="T8" fmla="*/ 390 w 480"/>
                  <a:gd name="T9" fmla="*/ 300 h 600"/>
                  <a:gd name="T10" fmla="*/ 480 w 480"/>
                  <a:gd name="T11" fmla="*/ 210 h 600"/>
                  <a:gd name="T12" fmla="*/ 420 w 480"/>
                  <a:gd name="T13" fmla="*/ 60 h 600"/>
                  <a:gd name="T14" fmla="*/ 300 w 480"/>
                  <a:gd name="T15" fmla="*/ 60 h 600"/>
                  <a:gd name="T16" fmla="*/ 210 w 480"/>
                  <a:gd name="T17" fmla="*/ 0 h 600"/>
                  <a:gd name="T18" fmla="*/ 150 w 480"/>
                  <a:gd name="T19" fmla="*/ 90 h 600"/>
                  <a:gd name="T20" fmla="*/ 180 w 480"/>
                  <a:gd name="T21" fmla="*/ 270 h 600"/>
                  <a:gd name="T22" fmla="*/ 30 w 480"/>
                  <a:gd name="T23" fmla="*/ 150 h 600"/>
                  <a:gd name="T24" fmla="*/ 0 w 480"/>
                  <a:gd name="T25" fmla="*/ 300 h 600"/>
                  <a:gd name="T26" fmla="*/ 120 w 480"/>
                  <a:gd name="T27" fmla="*/ 390 h 600"/>
                  <a:gd name="T28" fmla="*/ 60 w 480"/>
                  <a:gd name="T29" fmla="*/ 480 h 600"/>
                  <a:gd name="T30" fmla="*/ 60 w 480"/>
                  <a:gd name="T3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0" h="600">
                    <a:moveTo>
                      <a:pt x="60" y="480"/>
                    </a:moveTo>
                    <a:lnTo>
                      <a:pt x="180" y="540"/>
                    </a:lnTo>
                    <a:lnTo>
                      <a:pt x="300" y="420"/>
                    </a:lnTo>
                    <a:lnTo>
                      <a:pt x="330" y="180"/>
                    </a:lnTo>
                    <a:lnTo>
                      <a:pt x="390" y="300"/>
                    </a:lnTo>
                    <a:lnTo>
                      <a:pt x="480" y="210"/>
                    </a:lnTo>
                    <a:lnTo>
                      <a:pt x="420" y="60"/>
                    </a:lnTo>
                    <a:lnTo>
                      <a:pt x="300" y="60"/>
                    </a:lnTo>
                    <a:lnTo>
                      <a:pt x="210" y="0"/>
                    </a:lnTo>
                    <a:lnTo>
                      <a:pt x="150" y="90"/>
                    </a:lnTo>
                    <a:lnTo>
                      <a:pt x="180" y="270"/>
                    </a:lnTo>
                    <a:lnTo>
                      <a:pt x="30" y="150"/>
                    </a:lnTo>
                    <a:lnTo>
                      <a:pt x="0" y="300"/>
                    </a:lnTo>
                    <a:lnTo>
                      <a:pt x="120" y="390"/>
                    </a:lnTo>
                    <a:lnTo>
                      <a:pt x="60" y="480"/>
                    </a:lnTo>
                    <a:lnTo>
                      <a:pt x="60" y="6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44" name="Freeform 2528">
                <a:extLst>
                  <a:ext uri="{FF2B5EF4-FFF2-40B4-BE49-F238E27FC236}">
                    <a16:creationId xmlns:a16="http://schemas.microsoft.com/office/drawing/2014/main" id="{60A818B1-9F27-4476-A11A-0EFA165AFD06}"/>
                  </a:ext>
                </a:extLst>
              </p:cNvPr>
              <p:cNvSpPr>
                <a:spLocks/>
              </p:cNvSpPr>
              <p:nvPr/>
            </p:nvSpPr>
            <p:spPr bwMode="auto">
              <a:xfrm>
                <a:off x="1336" y="450"/>
                <a:ext cx="90" cy="240"/>
              </a:xfrm>
              <a:custGeom>
                <a:avLst/>
                <a:gdLst>
                  <a:gd name="T0" fmla="*/ 0 w 90"/>
                  <a:gd name="T1" fmla="*/ 120 h 240"/>
                  <a:gd name="T2" fmla="*/ 90 w 90"/>
                  <a:gd name="T3" fmla="*/ 240 h 240"/>
                  <a:gd name="T4" fmla="*/ 60 w 90"/>
                  <a:gd name="T5" fmla="*/ 0 h 240"/>
                </a:gdLst>
                <a:ahLst/>
                <a:cxnLst>
                  <a:cxn ang="0">
                    <a:pos x="T0" y="T1"/>
                  </a:cxn>
                  <a:cxn ang="0">
                    <a:pos x="T2" y="T3"/>
                  </a:cxn>
                  <a:cxn ang="0">
                    <a:pos x="T4" y="T5"/>
                  </a:cxn>
                </a:cxnLst>
                <a:rect l="0" t="0" r="r" b="b"/>
                <a:pathLst>
                  <a:path w="90" h="240">
                    <a:moveTo>
                      <a:pt x="0" y="120"/>
                    </a:moveTo>
                    <a:lnTo>
                      <a:pt x="90" y="24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45" name="Freeform 2529">
                <a:extLst>
                  <a:ext uri="{FF2B5EF4-FFF2-40B4-BE49-F238E27FC236}">
                    <a16:creationId xmlns:a16="http://schemas.microsoft.com/office/drawing/2014/main" id="{D3D4825A-9490-4668-878A-EC37BF519AF2}"/>
                  </a:ext>
                </a:extLst>
              </p:cNvPr>
              <p:cNvSpPr>
                <a:spLocks/>
              </p:cNvSpPr>
              <p:nvPr/>
            </p:nvSpPr>
            <p:spPr bwMode="auto">
              <a:xfrm>
                <a:off x="1426" y="690"/>
                <a:ext cx="180" cy="330"/>
              </a:xfrm>
              <a:custGeom>
                <a:avLst/>
                <a:gdLst>
                  <a:gd name="T0" fmla="*/ 180 w 180"/>
                  <a:gd name="T1" fmla="*/ 90 h 330"/>
                  <a:gd name="T2" fmla="*/ 30 w 180"/>
                  <a:gd name="T3" fmla="*/ 180 h 330"/>
                  <a:gd name="T4" fmla="*/ 150 w 180"/>
                  <a:gd name="T5" fmla="*/ 330 h 330"/>
                  <a:gd name="T6" fmla="*/ 0 w 180"/>
                  <a:gd name="T7" fmla="*/ 0 h 330"/>
                </a:gdLst>
                <a:ahLst/>
                <a:cxnLst>
                  <a:cxn ang="0">
                    <a:pos x="T0" y="T1"/>
                  </a:cxn>
                  <a:cxn ang="0">
                    <a:pos x="T2" y="T3"/>
                  </a:cxn>
                  <a:cxn ang="0">
                    <a:pos x="T4" y="T5"/>
                  </a:cxn>
                  <a:cxn ang="0">
                    <a:pos x="T6" y="T7"/>
                  </a:cxn>
                </a:cxnLst>
                <a:rect l="0" t="0" r="r" b="b"/>
                <a:pathLst>
                  <a:path w="180" h="330">
                    <a:moveTo>
                      <a:pt x="180" y="90"/>
                    </a:moveTo>
                    <a:lnTo>
                      <a:pt x="30" y="180"/>
                    </a:lnTo>
                    <a:lnTo>
                      <a:pt x="15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46" name="Freeform 2530">
                <a:extLst>
                  <a:ext uri="{FF2B5EF4-FFF2-40B4-BE49-F238E27FC236}">
                    <a16:creationId xmlns:a16="http://schemas.microsoft.com/office/drawing/2014/main" id="{D6467133-62A1-4522-A290-A93BD5FDCF39}"/>
                  </a:ext>
                </a:extLst>
              </p:cNvPr>
              <p:cNvSpPr>
                <a:spLocks/>
              </p:cNvSpPr>
              <p:nvPr/>
            </p:nvSpPr>
            <p:spPr bwMode="auto">
              <a:xfrm>
                <a:off x="1576" y="900"/>
                <a:ext cx="210" cy="240"/>
              </a:xfrm>
              <a:custGeom>
                <a:avLst/>
                <a:gdLst>
                  <a:gd name="T0" fmla="*/ 90 w 210"/>
                  <a:gd name="T1" fmla="*/ 0 h 240"/>
                  <a:gd name="T2" fmla="*/ 60 w 210"/>
                  <a:gd name="T3" fmla="*/ 240 h 240"/>
                  <a:gd name="T4" fmla="*/ 0 w 210"/>
                  <a:gd name="T5" fmla="*/ 120 h 240"/>
                  <a:gd name="T6" fmla="*/ 180 w 210"/>
                  <a:gd name="T7" fmla="*/ 240 h 240"/>
                  <a:gd name="T8" fmla="*/ 210 w 210"/>
                  <a:gd name="T9" fmla="*/ 60 h 240"/>
                  <a:gd name="T10" fmla="*/ 90 w 210"/>
                  <a:gd name="T11" fmla="*/ 0 h 240"/>
                </a:gdLst>
                <a:ahLst/>
                <a:cxnLst>
                  <a:cxn ang="0">
                    <a:pos x="T0" y="T1"/>
                  </a:cxn>
                  <a:cxn ang="0">
                    <a:pos x="T2" y="T3"/>
                  </a:cxn>
                  <a:cxn ang="0">
                    <a:pos x="T4" y="T5"/>
                  </a:cxn>
                  <a:cxn ang="0">
                    <a:pos x="T6" y="T7"/>
                  </a:cxn>
                  <a:cxn ang="0">
                    <a:pos x="T8" y="T9"/>
                  </a:cxn>
                  <a:cxn ang="0">
                    <a:pos x="T10" y="T11"/>
                  </a:cxn>
                </a:cxnLst>
                <a:rect l="0" t="0" r="r" b="b"/>
                <a:pathLst>
                  <a:path w="210" h="240">
                    <a:moveTo>
                      <a:pt x="90" y="0"/>
                    </a:moveTo>
                    <a:lnTo>
                      <a:pt x="60" y="240"/>
                    </a:lnTo>
                    <a:lnTo>
                      <a:pt x="0" y="120"/>
                    </a:lnTo>
                    <a:lnTo>
                      <a:pt x="180" y="240"/>
                    </a:lnTo>
                    <a:lnTo>
                      <a:pt x="210" y="6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47" name="Line 2531">
                <a:extLst>
                  <a:ext uri="{FF2B5EF4-FFF2-40B4-BE49-F238E27FC236}">
                    <a16:creationId xmlns:a16="http://schemas.microsoft.com/office/drawing/2014/main" id="{959B0319-02A6-449F-9B0B-3F2CD3720215}"/>
                  </a:ext>
                </a:extLst>
              </p:cNvPr>
              <p:cNvSpPr>
                <a:spLocks noChangeShapeType="1"/>
              </p:cNvSpPr>
              <p:nvPr/>
            </p:nvSpPr>
            <p:spPr bwMode="auto">
              <a:xfrm flipV="1">
                <a:off x="1576" y="960"/>
                <a:ext cx="21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48" name="Freeform 2532">
                <a:extLst>
                  <a:ext uri="{FF2B5EF4-FFF2-40B4-BE49-F238E27FC236}">
                    <a16:creationId xmlns:a16="http://schemas.microsoft.com/office/drawing/2014/main" id="{49B1494E-AC3F-4568-9EE4-2D73ACFAF002}"/>
                  </a:ext>
                </a:extLst>
              </p:cNvPr>
              <p:cNvSpPr>
                <a:spLocks/>
              </p:cNvSpPr>
              <p:nvPr/>
            </p:nvSpPr>
            <p:spPr bwMode="auto">
              <a:xfrm>
                <a:off x="1276" y="990"/>
                <a:ext cx="360" cy="330"/>
              </a:xfrm>
              <a:custGeom>
                <a:avLst/>
                <a:gdLst>
                  <a:gd name="T0" fmla="*/ 120 w 360"/>
                  <a:gd name="T1" fmla="*/ 0 h 330"/>
                  <a:gd name="T2" fmla="*/ 360 w 360"/>
                  <a:gd name="T3" fmla="*/ 150 h 330"/>
                  <a:gd name="T4" fmla="*/ 180 w 360"/>
                  <a:gd name="T5" fmla="*/ 150 h 330"/>
                  <a:gd name="T6" fmla="*/ 240 w 360"/>
                  <a:gd name="T7" fmla="*/ 270 h 330"/>
                  <a:gd name="T8" fmla="*/ 0 w 360"/>
                  <a:gd name="T9" fmla="*/ 330 h 330"/>
                </a:gdLst>
                <a:ahLst/>
                <a:cxnLst>
                  <a:cxn ang="0">
                    <a:pos x="T0" y="T1"/>
                  </a:cxn>
                  <a:cxn ang="0">
                    <a:pos x="T2" y="T3"/>
                  </a:cxn>
                  <a:cxn ang="0">
                    <a:pos x="T4" y="T5"/>
                  </a:cxn>
                  <a:cxn ang="0">
                    <a:pos x="T6" y="T7"/>
                  </a:cxn>
                  <a:cxn ang="0">
                    <a:pos x="T8" y="T9"/>
                  </a:cxn>
                </a:cxnLst>
                <a:rect l="0" t="0" r="r" b="b"/>
                <a:pathLst>
                  <a:path w="360" h="330">
                    <a:moveTo>
                      <a:pt x="120" y="0"/>
                    </a:moveTo>
                    <a:lnTo>
                      <a:pt x="360" y="150"/>
                    </a:lnTo>
                    <a:lnTo>
                      <a:pt x="180" y="150"/>
                    </a:lnTo>
                    <a:lnTo>
                      <a:pt x="24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49" name="Line 2533">
                <a:extLst>
                  <a:ext uri="{FF2B5EF4-FFF2-40B4-BE49-F238E27FC236}">
                    <a16:creationId xmlns:a16="http://schemas.microsoft.com/office/drawing/2014/main" id="{85ED0CCF-B969-40ED-B29B-453267924413}"/>
                  </a:ext>
                </a:extLst>
              </p:cNvPr>
              <p:cNvSpPr>
                <a:spLocks noChangeShapeType="1"/>
              </p:cNvSpPr>
              <p:nvPr/>
            </p:nvSpPr>
            <p:spPr bwMode="auto">
              <a:xfrm flipV="1">
                <a:off x="1336" y="1140"/>
                <a:ext cx="12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50" name="Freeform 2534">
                <a:extLst>
                  <a:ext uri="{FF2B5EF4-FFF2-40B4-BE49-F238E27FC236}">
                    <a16:creationId xmlns:a16="http://schemas.microsoft.com/office/drawing/2014/main" id="{BA6FDBE5-72FE-46A6-A149-CB874F2DB583}"/>
                  </a:ext>
                </a:extLst>
              </p:cNvPr>
              <p:cNvSpPr>
                <a:spLocks/>
              </p:cNvSpPr>
              <p:nvPr/>
            </p:nvSpPr>
            <p:spPr bwMode="auto">
              <a:xfrm>
                <a:off x="1336" y="1290"/>
                <a:ext cx="450" cy="600"/>
              </a:xfrm>
              <a:custGeom>
                <a:avLst/>
                <a:gdLst>
                  <a:gd name="T0" fmla="*/ 270 w 450"/>
                  <a:gd name="T1" fmla="*/ 510 h 600"/>
                  <a:gd name="T2" fmla="*/ 150 w 450"/>
                  <a:gd name="T3" fmla="*/ 600 h 600"/>
                  <a:gd name="T4" fmla="*/ 270 w 450"/>
                  <a:gd name="T5" fmla="*/ 90 h 600"/>
                  <a:gd name="T6" fmla="*/ 60 w 450"/>
                  <a:gd name="T7" fmla="*/ 330 h 600"/>
                  <a:gd name="T8" fmla="*/ 0 w 450"/>
                  <a:gd name="T9" fmla="*/ 210 h 600"/>
                  <a:gd name="T10" fmla="*/ 120 w 450"/>
                  <a:gd name="T11" fmla="*/ 120 h 600"/>
                  <a:gd name="T12" fmla="*/ 240 w 450"/>
                  <a:gd name="T13" fmla="*/ 390 h 600"/>
                  <a:gd name="T14" fmla="*/ 300 w 450"/>
                  <a:gd name="T15" fmla="*/ 240 h 600"/>
                  <a:gd name="T16" fmla="*/ 450 w 45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 h="600">
                    <a:moveTo>
                      <a:pt x="270" y="510"/>
                    </a:moveTo>
                    <a:lnTo>
                      <a:pt x="150" y="600"/>
                    </a:lnTo>
                    <a:lnTo>
                      <a:pt x="270" y="90"/>
                    </a:lnTo>
                    <a:lnTo>
                      <a:pt x="60" y="330"/>
                    </a:lnTo>
                    <a:lnTo>
                      <a:pt x="0" y="210"/>
                    </a:lnTo>
                    <a:lnTo>
                      <a:pt x="120" y="120"/>
                    </a:lnTo>
                    <a:lnTo>
                      <a:pt x="240" y="390"/>
                    </a:lnTo>
                    <a:lnTo>
                      <a:pt x="300" y="24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51" name="Freeform 2535">
                <a:extLst>
                  <a:ext uri="{FF2B5EF4-FFF2-40B4-BE49-F238E27FC236}">
                    <a16:creationId xmlns:a16="http://schemas.microsoft.com/office/drawing/2014/main" id="{96F9F3EF-EF6A-4D78-A64B-F18FF8B7B6D4}"/>
                  </a:ext>
                </a:extLst>
              </p:cNvPr>
              <p:cNvSpPr>
                <a:spLocks/>
              </p:cNvSpPr>
              <p:nvPr/>
            </p:nvSpPr>
            <p:spPr bwMode="auto">
              <a:xfrm>
                <a:off x="1486" y="60"/>
                <a:ext cx="390" cy="540"/>
              </a:xfrm>
              <a:custGeom>
                <a:avLst/>
                <a:gdLst>
                  <a:gd name="T0" fmla="*/ 90 w 390"/>
                  <a:gd name="T1" fmla="*/ 210 h 540"/>
                  <a:gd name="T2" fmla="*/ 270 w 390"/>
                  <a:gd name="T3" fmla="*/ 0 h 540"/>
                  <a:gd name="T4" fmla="*/ 390 w 390"/>
                  <a:gd name="T5" fmla="*/ 90 h 540"/>
                  <a:gd name="T6" fmla="*/ 360 w 390"/>
                  <a:gd name="T7" fmla="*/ 240 h 540"/>
                  <a:gd name="T8" fmla="*/ 270 w 390"/>
                  <a:gd name="T9" fmla="*/ 210 h 540"/>
                  <a:gd name="T10" fmla="*/ 60 w 390"/>
                  <a:gd name="T11" fmla="*/ 360 h 540"/>
                  <a:gd name="T12" fmla="*/ 90 w 390"/>
                  <a:gd name="T13" fmla="*/ 210 h 540"/>
                  <a:gd name="T14" fmla="*/ 240 w 390"/>
                  <a:gd name="T15" fmla="*/ 300 h 540"/>
                  <a:gd name="T16" fmla="*/ 0 w 390"/>
                  <a:gd name="T1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40">
                    <a:moveTo>
                      <a:pt x="90" y="210"/>
                    </a:moveTo>
                    <a:lnTo>
                      <a:pt x="270" y="0"/>
                    </a:lnTo>
                    <a:lnTo>
                      <a:pt x="390" y="90"/>
                    </a:lnTo>
                    <a:lnTo>
                      <a:pt x="360" y="240"/>
                    </a:lnTo>
                    <a:lnTo>
                      <a:pt x="270" y="210"/>
                    </a:lnTo>
                    <a:lnTo>
                      <a:pt x="60" y="360"/>
                    </a:lnTo>
                    <a:lnTo>
                      <a:pt x="90" y="210"/>
                    </a:lnTo>
                    <a:lnTo>
                      <a:pt x="240" y="300"/>
                    </a:lnTo>
                    <a:lnTo>
                      <a:pt x="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52" name="Line 2536">
                <a:extLst>
                  <a:ext uri="{FF2B5EF4-FFF2-40B4-BE49-F238E27FC236}">
                    <a16:creationId xmlns:a16="http://schemas.microsoft.com/office/drawing/2014/main" id="{74B700ED-AC6B-4196-8C58-0B57BAD5FC61}"/>
                  </a:ext>
                </a:extLst>
              </p:cNvPr>
              <p:cNvSpPr>
                <a:spLocks noChangeShapeType="1"/>
              </p:cNvSpPr>
              <p:nvPr/>
            </p:nvSpPr>
            <p:spPr bwMode="auto">
              <a:xfrm>
                <a:off x="1276" y="12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53" name="Freeform 2537">
                <a:extLst>
                  <a:ext uri="{FF2B5EF4-FFF2-40B4-BE49-F238E27FC236}">
                    <a16:creationId xmlns:a16="http://schemas.microsoft.com/office/drawing/2014/main" id="{04373BF5-395B-4596-B966-672EC0AC958E}"/>
                  </a:ext>
                </a:extLst>
              </p:cNvPr>
              <p:cNvSpPr>
                <a:spLocks/>
              </p:cNvSpPr>
              <p:nvPr/>
            </p:nvSpPr>
            <p:spPr bwMode="auto">
              <a:xfrm>
                <a:off x="1306" y="420"/>
                <a:ext cx="300" cy="570"/>
              </a:xfrm>
              <a:custGeom>
                <a:avLst/>
                <a:gdLst>
                  <a:gd name="T0" fmla="*/ 90 w 300"/>
                  <a:gd name="T1" fmla="*/ 30 h 570"/>
                  <a:gd name="T2" fmla="*/ 240 w 300"/>
                  <a:gd name="T3" fmla="*/ 0 h 570"/>
                  <a:gd name="T4" fmla="*/ 180 w 300"/>
                  <a:gd name="T5" fmla="*/ 180 h 570"/>
                  <a:gd name="T6" fmla="*/ 90 w 300"/>
                  <a:gd name="T7" fmla="*/ 30 h 570"/>
                  <a:gd name="T8" fmla="*/ 30 w 300"/>
                  <a:gd name="T9" fmla="*/ 150 h 570"/>
                  <a:gd name="T10" fmla="*/ 0 w 300"/>
                  <a:gd name="T11" fmla="*/ 330 h 570"/>
                  <a:gd name="T12" fmla="*/ 90 w 300"/>
                  <a:gd name="T13" fmla="*/ 570 h 570"/>
                  <a:gd name="T14" fmla="*/ 150 w 300"/>
                  <a:gd name="T15" fmla="*/ 450 h 570"/>
                  <a:gd name="T16" fmla="*/ 270 w 300"/>
                  <a:gd name="T17" fmla="*/ 240 h 570"/>
                  <a:gd name="T18" fmla="*/ 300 w 300"/>
                  <a:gd name="T19" fmla="*/ 120 h 570"/>
                  <a:gd name="T20" fmla="*/ 240 w 30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570">
                    <a:moveTo>
                      <a:pt x="90" y="30"/>
                    </a:moveTo>
                    <a:lnTo>
                      <a:pt x="240" y="0"/>
                    </a:lnTo>
                    <a:lnTo>
                      <a:pt x="180" y="180"/>
                    </a:lnTo>
                    <a:lnTo>
                      <a:pt x="90" y="30"/>
                    </a:lnTo>
                    <a:lnTo>
                      <a:pt x="30" y="150"/>
                    </a:lnTo>
                    <a:lnTo>
                      <a:pt x="0" y="330"/>
                    </a:lnTo>
                    <a:lnTo>
                      <a:pt x="90" y="570"/>
                    </a:lnTo>
                    <a:lnTo>
                      <a:pt x="150" y="450"/>
                    </a:lnTo>
                    <a:lnTo>
                      <a:pt x="270" y="240"/>
                    </a:lnTo>
                    <a:lnTo>
                      <a:pt x="300" y="12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54" name="Freeform 2538">
                <a:extLst>
                  <a:ext uri="{FF2B5EF4-FFF2-40B4-BE49-F238E27FC236}">
                    <a16:creationId xmlns:a16="http://schemas.microsoft.com/office/drawing/2014/main" id="{19D224D4-5C0A-42DC-9AA0-B718AA770CCC}"/>
                  </a:ext>
                </a:extLst>
              </p:cNvPr>
              <p:cNvSpPr>
                <a:spLocks/>
              </p:cNvSpPr>
              <p:nvPr/>
            </p:nvSpPr>
            <p:spPr bwMode="auto">
              <a:xfrm>
                <a:off x="1696" y="300"/>
                <a:ext cx="150" cy="360"/>
              </a:xfrm>
              <a:custGeom>
                <a:avLst/>
                <a:gdLst>
                  <a:gd name="T0" fmla="*/ 0 w 150"/>
                  <a:gd name="T1" fmla="*/ 360 h 360"/>
                  <a:gd name="T2" fmla="*/ 30 w 150"/>
                  <a:gd name="T3" fmla="*/ 180 h 360"/>
                  <a:gd name="T4" fmla="*/ 150 w 150"/>
                  <a:gd name="T5" fmla="*/ 0 h 360"/>
                  <a:gd name="T6" fmla="*/ 30 w 150"/>
                  <a:gd name="T7" fmla="*/ 60 h 360"/>
                </a:gdLst>
                <a:ahLst/>
                <a:cxnLst>
                  <a:cxn ang="0">
                    <a:pos x="T0" y="T1"/>
                  </a:cxn>
                  <a:cxn ang="0">
                    <a:pos x="T2" y="T3"/>
                  </a:cxn>
                  <a:cxn ang="0">
                    <a:pos x="T4" y="T5"/>
                  </a:cxn>
                  <a:cxn ang="0">
                    <a:pos x="T6" y="T7"/>
                  </a:cxn>
                </a:cxnLst>
                <a:rect l="0" t="0" r="r" b="b"/>
                <a:pathLst>
                  <a:path w="150" h="360">
                    <a:moveTo>
                      <a:pt x="0" y="360"/>
                    </a:moveTo>
                    <a:lnTo>
                      <a:pt x="30" y="180"/>
                    </a:lnTo>
                    <a:lnTo>
                      <a:pt x="150" y="0"/>
                    </a:lnTo>
                    <a:lnTo>
                      <a:pt x="3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55" name="Freeform 2539">
                <a:extLst>
                  <a:ext uri="{FF2B5EF4-FFF2-40B4-BE49-F238E27FC236}">
                    <a16:creationId xmlns:a16="http://schemas.microsoft.com/office/drawing/2014/main" id="{00A29E9D-7517-420C-9EB1-529CC872042F}"/>
                  </a:ext>
                </a:extLst>
              </p:cNvPr>
              <p:cNvSpPr>
                <a:spLocks/>
              </p:cNvSpPr>
              <p:nvPr/>
            </p:nvSpPr>
            <p:spPr bwMode="auto">
              <a:xfrm>
                <a:off x="1456" y="60"/>
                <a:ext cx="390" cy="240"/>
              </a:xfrm>
              <a:custGeom>
                <a:avLst/>
                <a:gdLst>
                  <a:gd name="T0" fmla="*/ 390 w 390"/>
                  <a:gd name="T1" fmla="*/ 210 h 240"/>
                  <a:gd name="T2" fmla="*/ 300 w 390"/>
                  <a:gd name="T3" fmla="*/ 0 h 240"/>
                  <a:gd name="T4" fmla="*/ 0 w 390"/>
                  <a:gd name="T5" fmla="*/ 240 h 240"/>
                </a:gdLst>
                <a:ahLst/>
                <a:cxnLst>
                  <a:cxn ang="0">
                    <a:pos x="T0" y="T1"/>
                  </a:cxn>
                  <a:cxn ang="0">
                    <a:pos x="T2" y="T3"/>
                  </a:cxn>
                  <a:cxn ang="0">
                    <a:pos x="T4" y="T5"/>
                  </a:cxn>
                </a:cxnLst>
                <a:rect l="0" t="0" r="r" b="b"/>
                <a:pathLst>
                  <a:path w="390" h="240">
                    <a:moveTo>
                      <a:pt x="390" y="210"/>
                    </a:moveTo>
                    <a:lnTo>
                      <a:pt x="300" y="0"/>
                    </a:lnTo>
                    <a:lnTo>
                      <a:pt x="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56" name="Freeform 2540">
                <a:extLst>
                  <a:ext uri="{FF2B5EF4-FFF2-40B4-BE49-F238E27FC236}">
                    <a16:creationId xmlns:a16="http://schemas.microsoft.com/office/drawing/2014/main" id="{1BB35091-C0EF-49C3-91DC-64D3BE1F4311}"/>
                  </a:ext>
                </a:extLst>
              </p:cNvPr>
              <p:cNvSpPr>
                <a:spLocks/>
              </p:cNvSpPr>
              <p:nvPr/>
            </p:nvSpPr>
            <p:spPr bwMode="auto">
              <a:xfrm>
                <a:off x="3974" y="2700"/>
                <a:ext cx="480" cy="360"/>
              </a:xfrm>
              <a:custGeom>
                <a:avLst/>
                <a:gdLst>
                  <a:gd name="T0" fmla="*/ 0 w 480"/>
                  <a:gd name="T1" fmla="*/ 300 h 360"/>
                  <a:gd name="T2" fmla="*/ 30 w 480"/>
                  <a:gd name="T3" fmla="*/ 150 h 360"/>
                  <a:gd name="T4" fmla="*/ 180 w 480"/>
                  <a:gd name="T5" fmla="*/ 360 h 360"/>
                  <a:gd name="T6" fmla="*/ 330 w 480"/>
                  <a:gd name="T7" fmla="*/ 300 h 360"/>
                  <a:gd name="T8" fmla="*/ 330 w 480"/>
                  <a:gd name="T9" fmla="*/ 210 h 360"/>
                  <a:gd name="T10" fmla="*/ 150 w 480"/>
                  <a:gd name="T11" fmla="*/ 210 h 360"/>
                  <a:gd name="T12" fmla="*/ 420 w 480"/>
                  <a:gd name="T13" fmla="*/ 120 h 360"/>
                  <a:gd name="T14" fmla="*/ 450 w 480"/>
                  <a:gd name="T15" fmla="*/ 270 h 360"/>
                  <a:gd name="T16" fmla="*/ 480 w 480"/>
                  <a:gd name="T1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360">
                    <a:moveTo>
                      <a:pt x="0" y="300"/>
                    </a:moveTo>
                    <a:lnTo>
                      <a:pt x="30" y="150"/>
                    </a:lnTo>
                    <a:lnTo>
                      <a:pt x="180" y="360"/>
                    </a:lnTo>
                    <a:lnTo>
                      <a:pt x="330" y="300"/>
                    </a:lnTo>
                    <a:lnTo>
                      <a:pt x="330" y="210"/>
                    </a:lnTo>
                    <a:lnTo>
                      <a:pt x="150" y="210"/>
                    </a:lnTo>
                    <a:lnTo>
                      <a:pt x="420" y="120"/>
                    </a:lnTo>
                    <a:lnTo>
                      <a:pt x="450" y="270"/>
                    </a:lnTo>
                    <a:lnTo>
                      <a:pt x="4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57" name="Freeform 2541">
                <a:extLst>
                  <a:ext uri="{FF2B5EF4-FFF2-40B4-BE49-F238E27FC236}">
                    <a16:creationId xmlns:a16="http://schemas.microsoft.com/office/drawing/2014/main" id="{F4FC7495-9DE0-45B9-8255-339F7C1FE1B5}"/>
                  </a:ext>
                </a:extLst>
              </p:cNvPr>
              <p:cNvSpPr>
                <a:spLocks/>
              </p:cNvSpPr>
              <p:nvPr/>
            </p:nvSpPr>
            <p:spPr bwMode="auto">
              <a:xfrm>
                <a:off x="3824" y="1950"/>
                <a:ext cx="570" cy="1260"/>
              </a:xfrm>
              <a:custGeom>
                <a:avLst/>
                <a:gdLst>
                  <a:gd name="T0" fmla="*/ 540 w 570"/>
                  <a:gd name="T1" fmla="*/ 1200 h 1260"/>
                  <a:gd name="T2" fmla="*/ 300 w 570"/>
                  <a:gd name="T3" fmla="*/ 1260 h 1260"/>
                  <a:gd name="T4" fmla="*/ 210 w 570"/>
                  <a:gd name="T5" fmla="*/ 1170 h 1260"/>
                  <a:gd name="T6" fmla="*/ 90 w 570"/>
                  <a:gd name="T7" fmla="*/ 1140 h 1260"/>
                  <a:gd name="T8" fmla="*/ 0 w 570"/>
                  <a:gd name="T9" fmla="*/ 990 h 1260"/>
                  <a:gd name="T10" fmla="*/ 180 w 570"/>
                  <a:gd name="T11" fmla="*/ 900 h 1260"/>
                  <a:gd name="T12" fmla="*/ 180 w 570"/>
                  <a:gd name="T13" fmla="*/ 720 h 1260"/>
                  <a:gd name="T14" fmla="*/ 300 w 570"/>
                  <a:gd name="T15" fmla="*/ 960 h 1260"/>
                  <a:gd name="T16" fmla="*/ 300 w 570"/>
                  <a:gd name="T17" fmla="*/ 750 h 1260"/>
                  <a:gd name="T18" fmla="*/ 480 w 570"/>
                  <a:gd name="T19" fmla="*/ 570 h 1260"/>
                  <a:gd name="T20" fmla="*/ 270 w 570"/>
                  <a:gd name="T21" fmla="*/ 630 h 1260"/>
                  <a:gd name="T22" fmla="*/ 150 w 570"/>
                  <a:gd name="T23" fmla="*/ 600 h 1260"/>
                  <a:gd name="T24" fmla="*/ 360 w 570"/>
                  <a:gd name="T25" fmla="*/ 450 h 1260"/>
                  <a:gd name="T26" fmla="*/ 240 w 570"/>
                  <a:gd name="T27" fmla="*/ 300 h 1260"/>
                  <a:gd name="T28" fmla="*/ 120 w 570"/>
                  <a:gd name="T29" fmla="*/ 360 h 1260"/>
                  <a:gd name="T30" fmla="*/ 360 w 570"/>
                  <a:gd name="T31" fmla="*/ 0 h 1260"/>
                  <a:gd name="T32" fmla="*/ 450 w 570"/>
                  <a:gd name="T33" fmla="*/ 210 h 1260"/>
                  <a:gd name="T34" fmla="*/ 570 w 570"/>
                  <a:gd name="T35" fmla="*/ 60 h 1260"/>
                  <a:gd name="T36" fmla="*/ 540 w 570"/>
                  <a:gd name="T37" fmla="*/ 420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1260">
                    <a:moveTo>
                      <a:pt x="540" y="1200"/>
                    </a:moveTo>
                    <a:lnTo>
                      <a:pt x="300" y="1260"/>
                    </a:lnTo>
                    <a:lnTo>
                      <a:pt x="210" y="1170"/>
                    </a:lnTo>
                    <a:lnTo>
                      <a:pt x="90" y="1140"/>
                    </a:lnTo>
                    <a:lnTo>
                      <a:pt x="0" y="990"/>
                    </a:lnTo>
                    <a:lnTo>
                      <a:pt x="180" y="900"/>
                    </a:lnTo>
                    <a:lnTo>
                      <a:pt x="180" y="720"/>
                    </a:lnTo>
                    <a:lnTo>
                      <a:pt x="300" y="960"/>
                    </a:lnTo>
                    <a:lnTo>
                      <a:pt x="300" y="750"/>
                    </a:lnTo>
                    <a:lnTo>
                      <a:pt x="480" y="570"/>
                    </a:lnTo>
                    <a:lnTo>
                      <a:pt x="270" y="630"/>
                    </a:lnTo>
                    <a:lnTo>
                      <a:pt x="150" y="600"/>
                    </a:lnTo>
                    <a:lnTo>
                      <a:pt x="360" y="450"/>
                    </a:lnTo>
                    <a:lnTo>
                      <a:pt x="240" y="300"/>
                    </a:lnTo>
                    <a:lnTo>
                      <a:pt x="120" y="360"/>
                    </a:lnTo>
                    <a:lnTo>
                      <a:pt x="360" y="0"/>
                    </a:lnTo>
                    <a:lnTo>
                      <a:pt x="450" y="210"/>
                    </a:lnTo>
                    <a:lnTo>
                      <a:pt x="570" y="60"/>
                    </a:lnTo>
                    <a:lnTo>
                      <a:pt x="540"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58" name="Freeform 2542">
                <a:extLst>
                  <a:ext uri="{FF2B5EF4-FFF2-40B4-BE49-F238E27FC236}">
                    <a16:creationId xmlns:a16="http://schemas.microsoft.com/office/drawing/2014/main" id="{EF7B2218-CA5C-4FFA-9C2B-F5E9FCA37F40}"/>
                  </a:ext>
                </a:extLst>
              </p:cNvPr>
              <p:cNvSpPr>
                <a:spLocks/>
              </p:cNvSpPr>
              <p:nvPr/>
            </p:nvSpPr>
            <p:spPr bwMode="auto">
              <a:xfrm>
                <a:off x="3585" y="1890"/>
                <a:ext cx="869" cy="1320"/>
              </a:xfrm>
              <a:custGeom>
                <a:avLst/>
                <a:gdLst>
                  <a:gd name="T0" fmla="*/ 869 w 869"/>
                  <a:gd name="T1" fmla="*/ 660 h 1320"/>
                  <a:gd name="T2" fmla="*/ 839 w 869"/>
                  <a:gd name="T3" fmla="*/ 300 h 1320"/>
                  <a:gd name="T4" fmla="*/ 809 w 869"/>
                  <a:gd name="T5" fmla="*/ 120 h 1320"/>
                  <a:gd name="T6" fmla="*/ 719 w 869"/>
                  <a:gd name="T7" fmla="*/ 0 h 1320"/>
                  <a:gd name="T8" fmla="*/ 599 w 869"/>
                  <a:gd name="T9" fmla="*/ 60 h 1320"/>
                  <a:gd name="T10" fmla="*/ 599 w 869"/>
                  <a:gd name="T11" fmla="*/ 150 h 1320"/>
                  <a:gd name="T12" fmla="*/ 509 w 869"/>
                  <a:gd name="T13" fmla="*/ 270 h 1320"/>
                  <a:gd name="T14" fmla="*/ 479 w 869"/>
                  <a:gd name="T15" fmla="*/ 360 h 1320"/>
                  <a:gd name="T16" fmla="*/ 599 w 869"/>
                  <a:gd name="T17" fmla="*/ 300 h 1320"/>
                  <a:gd name="T18" fmla="*/ 689 w 869"/>
                  <a:gd name="T19" fmla="*/ 270 h 1320"/>
                  <a:gd name="T20" fmla="*/ 659 w 869"/>
                  <a:gd name="T21" fmla="*/ 420 h 1320"/>
                  <a:gd name="T22" fmla="*/ 779 w 869"/>
                  <a:gd name="T23" fmla="*/ 480 h 1320"/>
                  <a:gd name="T24" fmla="*/ 869 w 869"/>
                  <a:gd name="T25" fmla="*/ 660 h 1320"/>
                  <a:gd name="T26" fmla="*/ 719 w 869"/>
                  <a:gd name="T27" fmla="*/ 630 h 1320"/>
                  <a:gd name="T28" fmla="*/ 599 w 869"/>
                  <a:gd name="T29" fmla="*/ 510 h 1320"/>
                  <a:gd name="T30" fmla="*/ 539 w 869"/>
                  <a:gd name="T31" fmla="*/ 600 h 1320"/>
                  <a:gd name="T32" fmla="*/ 509 w 869"/>
                  <a:gd name="T33" fmla="*/ 690 h 1320"/>
                  <a:gd name="T34" fmla="*/ 539 w 869"/>
                  <a:gd name="T35" fmla="*/ 810 h 1320"/>
                  <a:gd name="T36" fmla="*/ 269 w 869"/>
                  <a:gd name="T37" fmla="*/ 870 h 1320"/>
                  <a:gd name="T38" fmla="*/ 419 w 869"/>
                  <a:gd name="T39" fmla="*/ 960 h 1320"/>
                  <a:gd name="T40" fmla="*/ 539 w 869"/>
                  <a:gd name="T41" fmla="*/ 1020 h 1320"/>
                  <a:gd name="T42" fmla="*/ 599 w 869"/>
                  <a:gd name="T43" fmla="*/ 930 h 1320"/>
                  <a:gd name="T44" fmla="*/ 719 w 869"/>
                  <a:gd name="T45" fmla="*/ 840 h 1320"/>
                  <a:gd name="T46" fmla="*/ 779 w 869"/>
                  <a:gd name="T47" fmla="*/ 750 h 1320"/>
                  <a:gd name="T48" fmla="*/ 869 w 869"/>
                  <a:gd name="T49" fmla="*/ 810 h 1320"/>
                  <a:gd name="T50" fmla="*/ 809 w 869"/>
                  <a:gd name="T51" fmla="*/ 930 h 1320"/>
                  <a:gd name="T52" fmla="*/ 719 w 869"/>
                  <a:gd name="T53" fmla="*/ 1020 h 1320"/>
                  <a:gd name="T54" fmla="*/ 839 w 869"/>
                  <a:gd name="T55" fmla="*/ 1080 h 1320"/>
                  <a:gd name="T56" fmla="*/ 719 w 869"/>
                  <a:gd name="T57" fmla="*/ 1110 h 1320"/>
                  <a:gd name="T58" fmla="*/ 779 w 869"/>
                  <a:gd name="T59" fmla="*/ 1260 h 1320"/>
                  <a:gd name="T60" fmla="*/ 689 w 869"/>
                  <a:gd name="T61" fmla="*/ 1230 h 1320"/>
                  <a:gd name="T62" fmla="*/ 539 w 869"/>
                  <a:gd name="T63" fmla="*/ 1320 h 1320"/>
                  <a:gd name="T64" fmla="*/ 569 w 869"/>
                  <a:gd name="T65" fmla="*/ 1170 h 1320"/>
                  <a:gd name="T66" fmla="*/ 449 w 869"/>
                  <a:gd name="T67" fmla="*/ 1230 h 1320"/>
                  <a:gd name="T68" fmla="*/ 389 w 869"/>
                  <a:gd name="T69" fmla="*/ 1110 h 1320"/>
                  <a:gd name="T70" fmla="*/ 329 w 869"/>
                  <a:gd name="T71" fmla="*/ 1200 h 1320"/>
                  <a:gd name="T72" fmla="*/ 299 w 869"/>
                  <a:gd name="T73" fmla="*/ 960 h 1320"/>
                  <a:gd name="T74" fmla="*/ 239 w 869"/>
                  <a:gd name="T75" fmla="*/ 1050 h 1320"/>
                  <a:gd name="T76" fmla="*/ 269 w 869"/>
                  <a:gd name="T77" fmla="*/ 870 h 1320"/>
                  <a:gd name="T78" fmla="*/ 419 w 869"/>
                  <a:gd name="T79" fmla="*/ 780 h 1320"/>
                  <a:gd name="T80" fmla="*/ 239 w 869"/>
                  <a:gd name="T81" fmla="*/ 690 h 1320"/>
                  <a:gd name="T82" fmla="*/ 269 w 869"/>
                  <a:gd name="T83" fmla="*/ 870 h 1320"/>
                  <a:gd name="T84" fmla="*/ 389 w 869"/>
                  <a:gd name="T85" fmla="*/ 660 h 1320"/>
                  <a:gd name="T86" fmla="*/ 419 w 869"/>
                  <a:gd name="T87" fmla="*/ 540 h 1320"/>
                  <a:gd name="T88" fmla="*/ 359 w 869"/>
                  <a:gd name="T89" fmla="*/ 420 h 1320"/>
                  <a:gd name="T90" fmla="*/ 389 w 869"/>
                  <a:gd name="T91" fmla="*/ 270 h 1320"/>
                  <a:gd name="T92" fmla="*/ 239 w 869"/>
                  <a:gd name="T93" fmla="*/ 150 h 1320"/>
                  <a:gd name="T94" fmla="*/ 150 w 869"/>
                  <a:gd name="T95" fmla="*/ 270 h 1320"/>
                  <a:gd name="T96" fmla="*/ 0 w 869"/>
                  <a:gd name="T97" fmla="*/ 360 h 1320"/>
                  <a:gd name="T98" fmla="*/ 0 w 869"/>
                  <a:gd name="T99" fmla="*/ 510 h 1320"/>
                  <a:gd name="T100" fmla="*/ 120 w 869"/>
                  <a:gd name="T101" fmla="*/ 420 h 1320"/>
                  <a:gd name="T102" fmla="*/ 269 w 869"/>
                  <a:gd name="T103" fmla="*/ 300 h 1320"/>
                  <a:gd name="T104" fmla="*/ 239 w 869"/>
                  <a:gd name="T105" fmla="*/ 15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9" h="1320">
                    <a:moveTo>
                      <a:pt x="869" y="660"/>
                    </a:moveTo>
                    <a:lnTo>
                      <a:pt x="839" y="300"/>
                    </a:lnTo>
                    <a:lnTo>
                      <a:pt x="809" y="120"/>
                    </a:lnTo>
                    <a:lnTo>
                      <a:pt x="719" y="0"/>
                    </a:lnTo>
                    <a:lnTo>
                      <a:pt x="599" y="60"/>
                    </a:lnTo>
                    <a:lnTo>
                      <a:pt x="599" y="150"/>
                    </a:lnTo>
                    <a:lnTo>
                      <a:pt x="509" y="270"/>
                    </a:lnTo>
                    <a:lnTo>
                      <a:pt x="479" y="360"/>
                    </a:lnTo>
                    <a:lnTo>
                      <a:pt x="599" y="300"/>
                    </a:lnTo>
                    <a:lnTo>
                      <a:pt x="689" y="270"/>
                    </a:lnTo>
                    <a:lnTo>
                      <a:pt x="659" y="420"/>
                    </a:lnTo>
                    <a:lnTo>
                      <a:pt x="779" y="480"/>
                    </a:lnTo>
                    <a:lnTo>
                      <a:pt x="869" y="660"/>
                    </a:lnTo>
                    <a:lnTo>
                      <a:pt x="719" y="630"/>
                    </a:lnTo>
                    <a:lnTo>
                      <a:pt x="599" y="510"/>
                    </a:lnTo>
                    <a:lnTo>
                      <a:pt x="539" y="600"/>
                    </a:lnTo>
                    <a:lnTo>
                      <a:pt x="509" y="690"/>
                    </a:lnTo>
                    <a:lnTo>
                      <a:pt x="539" y="810"/>
                    </a:lnTo>
                    <a:lnTo>
                      <a:pt x="269" y="870"/>
                    </a:lnTo>
                    <a:lnTo>
                      <a:pt x="419" y="960"/>
                    </a:lnTo>
                    <a:lnTo>
                      <a:pt x="539" y="1020"/>
                    </a:lnTo>
                    <a:lnTo>
                      <a:pt x="599" y="930"/>
                    </a:lnTo>
                    <a:lnTo>
                      <a:pt x="719" y="840"/>
                    </a:lnTo>
                    <a:lnTo>
                      <a:pt x="779" y="750"/>
                    </a:lnTo>
                    <a:lnTo>
                      <a:pt x="869" y="810"/>
                    </a:lnTo>
                    <a:lnTo>
                      <a:pt x="809" y="930"/>
                    </a:lnTo>
                    <a:lnTo>
                      <a:pt x="719" y="1020"/>
                    </a:lnTo>
                    <a:lnTo>
                      <a:pt x="839" y="1080"/>
                    </a:lnTo>
                    <a:lnTo>
                      <a:pt x="719" y="1110"/>
                    </a:lnTo>
                    <a:lnTo>
                      <a:pt x="779" y="1260"/>
                    </a:lnTo>
                    <a:lnTo>
                      <a:pt x="689" y="1230"/>
                    </a:lnTo>
                    <a:lnTo>
                      <a:pt x="539" y="1320"/>
                    </a:lnTo>
                    <a:lnTo>
                      <a:pt x="569" y="1170"/>
                    </a:lnTo>
                    <a:lnTo>
                      <a:pt x="449" y="1230"/>
                    </a:lnTo>
                    <a:lnTo>
                      <a:pt x="389" y="1110"/>
                    </a:lnTo>
                    <a:lnTo>
                      <a:pt x="329" y="1200"/>
                    </a:lnTo>
                    <a:lnTo>
                      <a:pt x="299" y="960"/>
                    </a:lnTo>
                    <a:lnTo>
                      <a:pt x="239" y="1050"/>
                    </a:lnTo>
                    <a:lnTo>
                      <a:pt x="269" y="870"/>
                    </a:lnTo>
                    <a:lnTo>
                      <a:pt x="419" y="780"/>
                    </a:lnTo>
                    <a:lnTo>
                      <a:pt x="239" y="690"/>
                    </a:lnTo>
                    <a:lnTo>
                      <a:pt x="269" y="870"/>
                    </a:lnTo>
                    <a:lnTo>
                      <a:pt x="389" y="660"/>
                    </a:lnTo>
                    <a:lnTo>
                      <a:pt x="419" y="540"/>
                    </a:lnTo>
                    <a:lnTo>
                      <a:pt x="359" y="420"/>
                    </a:lnTo>
                    <a:lnTo>
                      <a:pt x="389" y="270"/>
                    </a:lnTo>
                    <a:lnTo>
                      <a:pt x="239" y="150"/>
                    </a:lnTo>
                    <a:lnTo>
                      <a:pt x="150" y="270"/>
                    </a:lnTo>
                    <a:lnTo>
                      <a:pt x="0" y="360"/>
                    </a:lnTo>
                    <a:lnTo>
                      <a:pt x="0" y="510"/>
                    </a:lnTo>
                    <a:lnTo>
                      <a:pt x="120" y="420"/>
                    </a:lnTo>
                    <a:lnTo>
                      <a:pt x="269" y="300"/>
                    </a:lnTo>
                    <a:lnTo>
                      <a:pt x="239"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59" name="Freeform 2543">
                <a:extLst>
                  <a:ext uri="{FF2B5EF4-FFF2-40B4-BE49-F238E27FC236}">
                    <a16:creationId xmlns:a16="http://schemas.microsoft.com/office/drawing/2014/main" id="{7229599E-250B-4557-9947-B5916200E0BB}"/>
                  </a:ext>
                </a:extLst>
              </p:cNvPr>
              <p:cNvSpPr>
                <a:spLocks/>
              </p:cNvSpPr>
              <p:nvPr/>
            </p:nvSpPr>
            <p:spPr bwMode="auto">
              <a:xfrm>
                <a:off x="4004" y="2250"/>
                <a:ext cx="390" cy="570"/>
              </a:xfrm>
              <a:custGeom>
                <a:avLst/>
                <a:gdLst>
                  <a:gd name="T0" fmla="*/ 120 w 390"/>
                  <a:gd name="T1" fmla="*/ 450 h 570"/>
                  <a:gd name="T2" fmla="*/ 300 w 390"/>
                  <a:gd name="T3" fmla="*/ 480 h 570"/>
                  <a:gd name="T4" fmla="*/ 390 w 390"/>
                  <a:gd name="T5" fmla="*/ 570 h 570"/>
                  <a:gd name="T6" fmla="*/ 180 w 390"/>
                  <a:gd name="T7" fmla="*/ 570 h 570"/>
                  <a:gd name="T8" fmla="*/ 300 w 390"/>
                  <a:gd name="T9" fmla="*/ 270 h 570"/>
                  <a:gd name="T10" fmla="*/ 300 w 390"/>
                  <a:gd name="T11" fmla="*/ 480 h 570"/>
                  <a:gd name="T12" fmla="*/ 120 w 390"/>
                  <a:gd name="T13" fmla="*/ 240 h 570"/>
                  <a:gd name="T14" fmla="*/ 60 w 390"/>
                  <a:gd name="T15" fmla="*/ 0 h 570"/>
                  <a:gd name="T16" fmla="*/ 0 w 390"/>
                  <a:gd name="T17" fmla="*/ 18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70">
                    <a:moveTo>
                      <a:pt x="120" y="450"/>
                    </a:moveTo>
                    <a:lnTo>
                      <a:pt x="300" y="480"/>
                    </a:lnTo>
                    <a:lnTo>
                      <a:pt x="390" y="570"/>
                    </a:lnTo>
                    <a:lnTo>
                      <a:pt x="180" y="570"/>
                    </a:lnTo>
                    <a:lnTo>
                      <a:pt x="300" y="270"/>
                    </a:lnTo>
                    <a:lnTo>
                      <a:pt x="300" y="480"/>
                    </a:lnTo>
                    <a:lnTo>
                      <a:pt x="120" y="240"/>
                    </a:lnTo>
                    <a:lnTo>
                      <a:pt x="60" y="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60" name="Freeform 2544">
                <a:extLst>
                  <a:ext uri="{FF2B5EF4-FFF2-40B4-BE49-F238E27FC236}">
                    <a16:creationId xmlns:a16="http://schemas.microsoft.com/office/drawing/2014/main" id="{B6779D72-A944-4903-A7A0-4B43CD5499E2}"/>
                  </a:ext>
                </a:extLst>
              </p:cNvPr>
              <p:cNvSpPr>
                <a:spLocks/>
              </p:cNvSpPr>
              <p:nvPr/>
            </p:nvSpPr>
            <p:spPr bwMode="auto">
              <a:xfrm>
                <a:off x="3884" y="2850"/>
                <a:ext cx="420" cy="210"/>
              </a:xfrm>
              <a:custGeom>
                <a:avLst/>
                <a:gdLst>
                  <a:gd name="T0" fmla="*/ 0 w 420"/>
                  <a:gd name="T1" fmla="*/ 0 h 210"/>
                  <a:gd name="T2" fmla="*/ 90 w 420"/>
                  <a:gd name="T3" fmla="*/ 150 h 210"/>
                  <a:gd name="T4" fmla="*/ 270 w 420"/>
                  <a:gd name="T5" fmla="*/ 210 h 210"/>
                  <a:gd name="T6" fmla="*/ 420 w 420"/>
                  <a:gd name="T7" fmla="*/ 60 h 210"/>
                </a:gdLst>
                <a:ahLst/>
                <a:cxnLst>
                  <a:cxn ang="0">
                    <a:pos x="T0" y="T1"/>
                  </a:cxn>
                  <a:cxn ang="0">
                    <a:pos x="T2" y="T3"/>
                  </a:cxn>
                  <a:cxn ang="0">
                    <a:pos x="T4" y="T5"/>
                  </a:cxn>
                  <a:cxn ang="0">
                    <a:pos x="T6" y="T7"/>
                  </a:cxn>
                </a:cxnLst>
                <a:rect l="0" t="0" r="r" b="b"/>
                <a:pathLst>
                  <a:path w="420" h="210">
                    <a:moveTo>
                      <a:pt x="0" y="0"/>
                    </a:moveTo>
                    <a:lnTo>
                      <a:pt x="90" y="150"/>
                    </a:lnTo>
                    <a:lnTo>
                      <a:pt x="270" y="210"/>
                    </a:lnTo>
                    <a:lnTo>
                      <a:pt x="4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61" name="Freeform 2545">
                <a:extLst>
                  <a:ext uri="{FF2B5EF4-FFF2-40B4-BE49-F238E27FC236}">
                    <a16:creationId xmlns:a16="http://schemas.microsoft.com/office/drawing/2014/main" id="{0223DF83-3092-43F3-828C-C1957CB80CB0}"/>
                  </a:ext>
                </a:extLst>
              </p:cNvPr>
              <p:cNvSpPr>
                <a:spLocks/>
              </p:cNvSpPr>
              <p:nvPr/>
            </p:nvSpPr>
            <p:spPr bwMode="auto">
              <a:xfrm>
                <a:off x="4124" y="2910"/>
                <a:ext cx="180" cy="210"/>
              </a:xfrm>
              <a:custGeom>
                <a:avLst/>
                <a:gdLst>
                  <a:gd name="T0" fmla="*/ 150 w 180"/>
                  <a:gd name="T1" fmla="*/ 210 h 210"/>
                  <a:gd name="T2" fmla="*/ 30 w 180"/>
                  <a:gd name="T3" fmla="*/ 150 h 210"/>
                  <a:gd name="T4" fmla="*/ 0 w 180"/>
                  <a:gd name="T5" fmla="*/ 0 h 210"/>
                  <a:gd name="T6" fmla="*/ 180 w 180"/>
                  <a:gd name="T7" fmla="*/ 90 h 210"/>
                </a:gdLst>
                <a:ahLst/>
                <a:cxnLst>
                  <a:cxn ang="0">
                    <a:pos x="T0" y="T1"/>
                  </a:cxn>
                  <a:cxn ang="0">
                    <a:pos x="T2" y="T3"/>
                  </a:cxn>
                  <a:cxn ang="0">
                    <a:pos x="T4" y="T5"/>
                  </a:cxn>
                  <a:cxn ang="0">
                    <a:pos x="T6" y="T7"/>
                  </a:cxn>
                </a:cxnLst>
                <a:rect l="0" t="0" r="r" b="b"/>
                <a:pathLst>
                  <a:path w="180" h="210">
                    <a:moveTo>
                      <a:pt x="150" y="210"/>
                    </a:moveTo>
                    <a:lnTo>
                      <a:pt x="30" y="150"/>
                    </a:lnTo>
                    <a:lnTo>
                      <a:pt x="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62" name="Line 2546">
                <a:extLst>
                  <a:ext uri="{FF2B5EF4-FFF2-40B4-BE49-F238E27FC236}">
                    <a16:creationId xmlns:a16="http://schemas.microsoft.com/office/drawing/2014/main" id="{CC30BCE3-2BA2-49EC-9266-9FCCFCC6C93F}"/>
                  </a:ext>
                </a:extLst>
              </p:cNvPr>
              <p:cNvSpPr>
                <a:spLocks noChangeShapeType="1"/>
              </p:cNvSpPr>
              <p:nvPr/>
            </p:nvSpPr>
            <p:spPr bwMode="auto">
              <a:xfrm flipV="1">
                <a:off x="4364"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63" name="Freeform 2547">
                <a:extLst>
                  <a:ext uri="{FF2B5EF4-FFF2-40B4-BE49-F238E27FC236}">
                    <a16:creationId xmlns:a16="http://schemas.microsoft.com/office/drawing/2014/main" id="{8B5C1121-5E65-4651-857A-44BBE81C1E65}"/>
                  </a:ext>
                </a:extLst>
              </p:cNvPr>
              <p:cNvSpPr>
                <a:spLocks/>
              </p:cNvSpPr>
              <p:nvPr/>
            </p:nvSpPr>
            <p:spPr bwMode="auto">
              <a:xfrm>
                <a:off x="3944" y="2160"/>
                <a:ext cx="300" cy="150"/>
              </a:xfrm>
              <a:custGeom>
                <a:avLst/>
                <a:gdLst>
                  <a:gd name="T0" fmla="*/ 0 w 300"/>
                  <a:gd name="T1" fmla="*/ 150 h 150"/>
                  <a:gd name="T2" fmla="*/ 300 w 300"/>
                  <a:gd name="T3" fmla="*/ 150 h 150"/>
                  <a:gd name="T4" fmla="*/ 240 w 300"/>
                  <a:gd name="T5" fmla="*/ 30 h 150"/>
                  <a:gd name="T6" fmla="*/ 150 w 300"/>
                  <a:gd name="T7" fmla="*/ 0 h 150"/>
                  <a:gd name="T8" fmla="*/ 30 w 300"/>
                  <a:gd name="T9" fmla="*/ 0 h 150"/>
                </a:gdLst>
                <a:ahLst/>
                <a:cxnLst>
                  <a:cxn ang="0">
                    <a:pos x="T0" y="T1"/>
                  </a:cxn>
                  <a:cxn ang="0">
                    <a:pos x="T2" y="T3"/>
                  </a:cxn>
                  <a:cxn ang="0">
                    <a:pos x="T4" y="T5"/>
                  </a:cxn>
                  <a:cxn ang="0">
                    <a:pos x="T6" y="T7"/>
                  </a:cxn>
                  <a:cxn ang="0">
                    <a:pos x="T8" y="T9"/>
                  </a:cxn>
                </a:cxnLst>
                <a:rect l="0" t="0" r="r" b="b"/>
                <a:pathLst>
                  <a:path w="300" h="150">
                    <a:moveTo>
                      <a:pt x="0" y="150"/>
                    </a:moveTo>
                    <a:lnTo>
                      <a:pt x="300" y="150"/>
                    </a:lnTo>
                    <a:lnTo>
                      <a:pt x="240" y="30"/>
                    </a:lnTo>
                    <a:lnTo>
                      <a:pt x="150" y="0"/>
                    </a:lnTo>
                    <a:lnTo>
                      <a:pt x="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64" name="Freeform 2548">
                <a:extLst>
                  <a:ext uri="{FF2B5EF4-FFF2-40B4-BE49-F238E27FC236}">
                    <a16:creationId xmlns:a16="http://schemas.microsoft.com/office/drawing/2014/main" id="{ADAE5091-FBC9-4C77-900E-2651212E9DA2}"/>
                  </a:ext>
                </a:extLst>
              </p:cNvPr>
              <p:cNvSpPr>
                <a:spLocks/>
              </p:cNvSpPr>
              <p:nvPr/>
            </p:nvSpPr>
            <p:spPr bwMode="auto">
              <a:xfrm>
                <a:off x="3914" y="510"/>
                <a:ext cx="180" cy="390"/>
              </a:xfrm>
              <a:custGeom>
                <a:avLst/>
                <a:gdLst>
                  <a:gd name="T0" fmla="*/ 0 w 180"/>
                  <a:gd name="T1" fmla="*/ 270 h 390"/>
                  <a:gd name="T2" fmla="*/ 180 w 180"/>
                  <a:gd name="T3" fmla="*/ 390 h 390"/>
                  <a:gd name="T4" fmla="*/ 30 w 180"/>
                  <a:gd name="T5" fmla="*/ 120 h 390"/>
                  <a:gd name="T6" fmla="*/ 150 w 180"/>
                  <a:gd name="T7" fmla="*/ 0 h 390"/>
                </a:gdLst>
                <a:ahLst/>
                <a:cxnLst>
                  <a:cxn ang="0">
                    <a:pos x="T0" y="T1"/>
                  </a:cxn>
                  <a:cxn ang="0">
                    <a:pos x="T2" y="T3"/>
                  </a:cxn>
                  <a:cxn ang="0">
                    <a:pos x="T4" y="T5"/>
                  </a:cxn>
                  <a:cxn ang="0">
                    <a:pos x="T6" y="T7"/>
                  </a:cxn>
                </a:cxnLst>
                <a:rect l="0" t="0" r="r" b="b"/>
                <a:pathLst>
                  <a:path w="180" h="390">
                    <a:moveTo>
                      <a:pt x="0" y="270"/>
                    </a:moveTo>
                    <a:lnTo>
                      <a:pt x="180" y="390"/>
                    </a:lnTo>
                    <a:lnTo>
                      <a:pt x="30" y="12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65" name="Freeform 2549">
                <a:extLst>
                  <a:ext uri="{FF2B5EF4-FFF2-40B4-BE49-F238E27FC236}">
                    <a16:creationId xmlns:a16="http://schemas.microsoft.com/office/drawing/2014/main" id="{D0F23EFF-2A54-4111-83DB-B20EB3734868}"/>
                  </a:ext>
                </a:extLst>
              </p:cNvPr>
              <p:cNvSpPr>
                <a:spLocks/>
              </p:cNvSpPr>
              <p:nvPr/>
            </p:nvSpPr>
            <p:spPr bwMode="auto">
              <a:xfrm>
                <a:off x="3974" y="870"/>
                <a:ext cx="300" cy="330"/>
              </a:xfrm>
              <a:custGeom>
                <a:avLst/>
                <a:gdLst>
                  <a:gd name="T0" fmla="*/ 300 w 300"/>
                  <a:gd name="T1" fmla="*/ 0 h 330"/>
                  <a:gd name="T2" fmla="*/ 240 w 300"/>
                  <a:gd name="T3" fmla="*/ 120 h 330"/>
                  <a:gd name="T4" fmla="*/ 180 w 300"/>
                  <a:gd name="T5" fmla="*/ 330 h 330"/>
                  <a:gd name="T6" fmla="*/ 0 w 300"/>
                  <a:gd name="T7" fmla="*/ 270 h 330"/>
                </a:gdLst>
                <a:ahLst/>
                <a:cxnLst>
                  <a:cxn ang="0">
                    <a:pos x="T0" y="T1"/>
                  </a:cxn>
                  <a:cxn ang="0">
                    <a:pos x="T2" y="T3"/>
                  </a:cxn>
                  <a:cxn ang="0">
                    <a:pos x="T4" y="T5"/>
                  </a:cxn>
                  <a:cxn ang="0">
                    <a:pos x="T6" y="T7"/>
                  </a:cxn>
                </a:cxnLst>
                <a:rect l="0" t="0" r="r" b="b"/>
                <a:pathLst>
                  <a:path w="300" h="330">
                    <a:moveTo>
                      <a:pt x="300" y="0"/>
                    </a:moveTo>
                    <a:lnTo>
                      <a:pt x="240" y="120"/>
                    </a:lnTo>
                    <a:lnTo>
                      <a:pt x="180" y="33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66" name="Freeform 2550">
                <a:extLst>
                  <a:ext uri="{FF2B5EF4-FFF2-40B4-BE49-F238E27FC236}">
                    <a16:creationId xmlns:a16="http://schemas.microsoft.com/office/drawing/2014/main" id="{4140996F-EB27-44D8-B6EA-E4EBBFE906A8}"/>
                  </a:ext>
                </a:extLst>
              </p:cNvPr>
              <p:cNvSpPr>
                <a:spLocks/>
              </p:cNvSpPr>
              <p:nvPr/>
            </p:nvSpPr>
            <p:spPr bwMode="auto">
              <a:xfrm>
                <a:off x="3824" y="1050"/>
                <a:ext cx="600" cy="750"/>
              </a:xfrm>
              <a:custGeom>
                <a:avLst/>
                <a:gdLst>
                  <a:gd name="T0" fmla="*/ 600 w 600"/>
                  <a:gd name="T1" fmla="*/ 750 h 750"/>
                  <a:gd name="T2" fmla="*/ 570 w 600"/>
                  <a:gd name="T3" fmla="*/ 630 h 750"/>
                  <a:gd name="T4" fmla="*/ 330 w 600"/>
                  <a:gd name="T5" fmla="*/ 750 h 750"/>
                  <a:gd name="T6" fmla="*/ 270 w 600"/>
                  <a:gd name="T7" fmla="*/ 660 h 750"/>
                  <a:gd name="T8" fmla="*/ 180 w 600"/>
                  <a:gd name="T9" fmla="*/ 540 h 750"/>
                  <a:gd name="T10" fmla="*/ 150 w 600"/>
                  <a:gd name="T11" fmla="*/ 90 h 750"/>
                  <a:gd name="T12" fmla="*/ 0 w 600"/>
                  <a:gd name="T13" fmla="*/ 180 h 750"/>
                  <a:gd name="T14" fmla="*/ 210 w 600"/>
                  <a:gd name="T15" fmla="*/ 300 h 750"/>
                  <a:gd name="T16" fmla="*/ 240 w 600"/>
                  <a:gd name="T17"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0" h="750">
                    <a:moveTo>
                      <a:pt x="600" y="750"/>
                    </a:moveTo>
                    <a:lnTo>
                      <a:pt x="570" y="630"/>
                    </a:lnTo>
                    <a:lnTo>
                      <a:pt x="330" y="750"/>
                    </a:lnTo>
                    <a:lnTo>
                      <a:pt x="270" y="660"/>
                    </a:lnTo>
                    <a:lnTo>
                      <a:pt x="180" y="540"/>
                    </a:lnTo>
                    <a:lnTo>
                      <a:pt x="150" y="90"/>
                    </a:lnTo>
                    <a:lnTo>
                      <a:pt x="0" y="180"/>
                    </a:lnTo>
                    <a:lnTo>
                      <a:pt x="210" y="30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67" name="Freeform 2551">
                <a:extLst>
                  <a:ext uri="{FF2B5EF4-FFF2-40B4-BE49-F238E27FC236}">
                    <a16:creationId xmlns:a16="http://schemas.microsoft.com/office/drawing/2014/main" id="{BECA2049-DF83-461B-81A9-1FB49C995B47}"/>
                  </a:ext>
                </a:extLst>
              </p:cNvPr>
              <p:cNvSpPr>
                <a:spLocks/>
              </p:cNvSpPr>
              <p:nvPr/>
            </p:nvSpPr>
            <p:spPr bwMode="auto">
              <a:xfrm>
                <a:off x="3884" y="1530"/>
                <a:ext cx="450" cy="420"/>
              </a:xfrm>
              <a:custGeom>
                <a:avLst/>
                <a:gdLst>
                  <a:gd name="T0" fmla="*/ 270 w 450"/>
                  <a:gd name="T1" fmla="*/ 270 h 420"/>
                  <a:gd name="T2" fmla="*/ 60 w 450"/>
                  <a:gd name="T3" fmla="*/ 270 h 420"/>
                  <a:gd name="T4" fmla="*/ 120 w 450"/>
                  <a:gd name="T5" fmla="*/ 60 h 420"/>
                  <a:gd name="T6" fmla="*/ 0 w 450"/>
                  <a:gd name="T7" fmla="*/ 0 h 420"/>
                  <a:gd name="T8" fmla="*/ 300 w 450"/>
                  <a:gd name="T9" fmla="*/ 420 h 420"/>
                  <a:gd name="T10" fmla="*/ 450 w 450"/>
                  <a:gd name="T11" fmla="*/ 0 h 420"/>
                </a:gdLst>
                <a:ahLst/>
                <a:cxnLst>
                  <a:cxn ang="0">
                    <a:pos x="T0" y="T1"/>
                  </a:cxn>
                  <a:cxn ang="0">
                    <a:pos x="T2" y="T3"/>
                  </a:cxn>
                  <a:cxn ang="0">
                    <a:pos x="T4" y="T5"/>
                  </a:cxn>
                  <a:cxn ang="0">
                    <a:pos x="T6" y="T7"/>
                  </a:cxn>
                  <a:cxn ang="0">
                    <a:pos x="T8" y="T9"/>
                  </a:cxn>
                  <a:cxn ang="0">
                    <a:pos x="T10" y="T11"/>
                  </a:cxn>
                </a:cxnLst>
                <a:rect l="0" t="0" r="r" b="b"/>
                <a:pathLst>
                  <a:path w="450" h="420">
                    <a:moveTo>
                      <a:pt x="270" y="270"/>
                    </a:moveTo>
                    <a:lnTo>
                      <a:pt x="60" y="270"/>
                    </a:lnTo>
                    <a:lnTo>
                      <a:pt x="120" y="60"/>
                    </a:lnTo>
                    <a:lnTo>
                      <a:pt x="0" y="0"/>
                    </a:lnTo>
                    <a:lnTo>
                      <a:pt x="300" y="42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68" name="Freeform 2552">
                <a:extLst>
                  <a:ext uri="{FF2B5EF4-FFF2-40B4-BE49-F238E27FC236}">
                    <a16:creationId xmlns:a16="http://schemas.microsoft.com/office/drawing/2014/main" id="{2E8FC939-BD4D-4603-8740-9B98772A79FB}"/>
                  </a:ext>
                </a:extLst>
              </p:cNvPr>
              <p:cNvSpPr>
                <a:spLocks/>
              </p:cNvSpPr>
              <p:nvPr/>
            </p:nvSpPr>
            <p:spPr bwMode="auto">
              <a:xfrm>
                <a:off x="4004" y="1410"/>
                <a:ext cx="210" cy="210"/>
              </a:xfrm>
              <a:custGeom>
                <a:avLst/>
                <a:gdLst>
                  <a:gd name="T0" fmla="*/ 0 w 210"/>
                  <a:gd name="T1" fmla="*/ 180 h 210"/>
                  <a:gd name="T2" fmla="*/ 150 w 210"/>
                  <a:gd name="T3" fmla="*/ 0 h 210"/>
                  <a:gd name="T4" fmla="*/ 210 w 210"/>
                  <a:gd name="T5" fmla="*/ 210 h 210"/>
                </a:gdLst>
                <a:ahLst/>
                <a:cxnLst>
                  <a:cxn ang="0">
                    <a:pos x="T0" y="T1"/>
                  </a:cxn>
                  <a:cxn ang="0">
                    <a:pos x="T2" y="T3"/>
                  </a:cxn>
                  <a:cxn ang="0">
                    <a:pos x="T4" y="T5"/>
                  </a:cxn>
                </a:cxnLst>
                <a:rect l="0" t="0" r="r" b="b"/>
                <a:pathLst>
                  <a:path w="210" h="210">
                    <a:moveTo>
                      <a:pt x="0" y="180"/>
                    </a:moveTo>
                    <a:lnTo>
                      <a:pt x="150" y="0"/>
                    </a:lnTo>
                    <a:lnTo>
                      <a:pt x="21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69" name="Freeform 2553">
                <a:extLst>
                  <a:ext uri="{FF2B5EF4-FFF2-40B4-BE49-F238E27FC236}">
                    <a16:creationId xmlns:a16="http://schemas.microsoft.com/office/drawing/2014/main" id="{1B244027-0DED-4351-8546-C00E37546FB8}"/>
                  </a:ext>
                </a:extLst>
              </p:cNvPr>
              <p:cNvSpPr>
                <a:spLocks/>
              </p:cNvSpPr>
              <p:nvPr/>
            </p:nvSpPr>
            <p:spPr bwMode="auto">
              <a:xfrm>
                <a:off x="4004" y="1710"/>
                <a:ext cx="90" cy="450"/>
              </a:xfrm>
              <a:custGeom>
                <a:avLst/>
                <a:gdLst>
                  <a:gd name="T0" fmla="*/ 90 w 90"/>
                  <a:gd name="T1" fmla="*/ 0 h 450"/>
                  <a:gd name="T2" fmla="*/ 0 w 90"/>
                  <a:gd name="T3" fmla="*/ 240 h 450"/>
                  <a:gd name="T4" fmla="*/ 90 w 90"/>
                  <a:gd name="T5" fmla="*/ 450 h 450"/>
                </a:gdLst>
                <a:ahLst/>
                <a:cxnLst>
                  <a:cxn ang="0">
                    <a:pos x="T0" y="T1"/>
                  </a:cxn>
                  <a:cxn ang="0">
                    <a:pos x="T2" y="T3"/>
                  </a:cxn>
                  <a:cxn ang="0">
                    <a:pos x="T4" y="T5"/>
                  </a:cxn>
                </a:cxnLst>
                <a:rect l="0" t="0" r="r" b="b"/>
                <a:pathLst>
                  <a:path w="90" h="450">
                    <a:moveTo>
                      <a:pt x="90" y="0"/>
                    </a:moveTo>
                    <a:lnTo>
                      <a:pt x="0" y="240"/>
                    </a:lnTo>
                    <a:lnTo>
                      <a:pt x="90" y="4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70" name="Freeform 2554">
                <a:extLst>
                  <a:ext uri="{FF2B5EF4-FFF2-40B4-BE49-F238E27FC236}">
                    <a16:creationId xmlns:a16="http://schemas.microsoft.com/office/drawing/2014/main" id="{D5464C5A-93EE-47D5-BB6F-5783C503B35D}"/>
                  </a:ext>
                </a:extLst>
              </p:cNvPr>
              <p:cNvSpPr>
                <a:spLocks/>
              </p:cNvSpPr>
              <p:nvPr/>
            </p:nvSpPr>
            <p:spPr bwMode="auto">
              <a:xfrm>
                <a:off x="4184" y="2190"/>
                <a:ext cx="180" cy="330"/>
              </a:xfrm>
              <a:custGeom>
                <a:avLst/>
                <a:gdLst>
                  <a:gd name="T0" fmla="*/ 120 w 180"/>
                  <a:gd name="T1" fmla="*/ 330 h 330"/>
                  <a:gd name="T2" fmla="*/ 180 w 180"/>
                  <a:gd name="T3" fmla="*/ 180 h 330"/>
                  <a:gd name="T4" fmla="*/ 0 w 180"/>
                  <a:gd name="T5" fmla="*/ 210 h 330"/>
                  <a:gd name="T6" fmla="*/ 0 w 180"/>
                  <a:gd name="T7" fmla="*/ 0 h 330"/>
                </a:gdLst>
                <a:ahLst/>
                <a:cxnLst>
                  <a:cxn ang="0">
                    <a:pos x="T0" y="T1"/>
                  </a:cxn>
                  <a:cxn ang="0">
                    <a:pos x="T2" y="T3"/>
                  </a:cxn>
                  <a:cxn ang="0">
                    <a:pos x="T4" y="T5"/>
                  </a:cxn>
                  <a:cxn ang="0">
                    <a:pos x="T6" y="T7"/>
                  </a:cxn>
                </a:cxnLst>
                <a:rect l="0" t="0" r="r" b="b"/>
                <a:pathLst>
                  <a:path w="180" h="330">
                    <a:moveTo>
                      <a:pt x="120" y="330"/>
                    </a:moveTo>
                    <a:lnTo>
                      <a:pt x="180" y="180"/>
                    </a:lnTo>
                    <a:lnTo>
                      <a:pt x="0" y="21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71" name="Line 2555">
                <a:extLst>
                  <a:ext uri="{FF2B5EF4-FFF2-40B4-BE49-F238E27FC236}">
                    <a16:creationId xmlns:a16="http://schemas.microsoft.com/office/drawing/2014/main" id="{5E127A32-612E-4739-A622-8358C7093869}"/>
                  </a:ext>
                </a:extLst>
              </p:cNvPr>
              <p:cNvSpPr>
                <a:spLocks noChangeShapeType="1"/>
              </p:cNvSpPr>
              <p:nvPr/>
            </p:nvSpPr>
            <p:spPr bwMode="auto">
              <a:xfrm>
                <a:off x="4004" y="2670"/>
                <a:ext cx="18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72" name="Freeform 2556">
                <a:extLst>
                  <a:ext uri="{FF2B5EF4-FFF2-40B4-BE49-F238E27FC236}">
                    <a16:creationId xmlns:a16="http://schemas.microsoft.com/office/drawing/2014/main" id="{98F77628-D34C-4DE6-9167-02EC7100CCD6}"/>
                  </a:ext>
                </a:extLst>
              </p:cNvPr>
              <p:cNvSpPr>
                <a:spLocks/>
              </p:cNvSpPr>
              <p:nvPr/>
            </p:nvSpPr>
            <p:spPr bwMode="auto">
              <a:xfrm>
                <a:off x="4244" y="2010"/>
                <a:ext cx="180" cy="300"/>
              </a:xfrm>
              <a:custGeom>
                <a:avLst/>
                <a:gdLst>
                  <a:gd name="T0" fmla="*/ 180 w 180"/>
                  <a:gd name="T1" fmla="*/ 180 h 300"/>
                  <a:gd name="T2" fmla="*/ 0 w 180"/>
                  <a:gd name="T3" fmla="*/ 300 h 300"/>
                  <a:gd name="T4" fmla="*/ 150 w 180"/>
                  <a:gd name="T5" fmla="*/ 0 h 300"/>
                </a:gdLst>
                <a:ahLst/>
                <a:cxnLst>
                  <a:cxn ang="0">
                    <a:pos x="T0" y="T1"/>
                  </a:cxn>
                  <a:cxn ang="0">
                    <a:pos x="T2" y="T3"/>
                  </a:cxn>
                  <a:cxn ang="0">
                    <a:pos x="T4" y="T5"/>
                  </a:cxn>
                </a:cxnLst>
                <a:rect l="0" t="0" r="r" b="b"/>
                <a:pathLst>
                  <a:path w="180" h="300">
                    <a:moveTo>
                      <a:pt x="180" y="180"/>
                    </a:moveTo>
                    <a:lnTo>
                      <a:pt x="0" y="30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73" name="Freeform 2557">
                <a:extLst>
                  <a:ext uri="{FF2B5EF4-FFF2-40B4-BE49-F238E27FC236}">
                    <a16:creationId xmlns:a16="http://schemas.microsoft.com/office/drawing/2014/main" id="{C06A2D3C-CA23-4206-A821-C4BC46C1355F}"/>
                  </a:ext>
                </a:extLst>
              </p:cNvPr>
              <p:cNvSpPr>
                <a:spLocks/>
              </p:cNvSpPr>
              <p:nvPr/>
            </p:nvSpPr>
            <p:spPr bwMode="auto">
              <a:xfrm>
                <a:off x="3974" y="1140"/>
                <a:ext cx="180" cy="270"/>
              </a:xfrm>
              <a:custGeom>
                <a:avLst/>
                <a:gdLst>
                  <a:gd name="T0" fmla="*/ 0 w 180"/>
                  <a:gd name="T1" fmla="*/ 0 h 270"/>
                  <a:gd name="T2" fmla="*/ 180 w 180"/>
                  <a:gd name="T3" fmla="*/ 270 h 270"/>
                  <a:gd name="T4" fmla="*/ 180 w 180"/>
                  <a:gd name="T5" fmla="*/ 60 h 270"/>
                </a:gdLst>
                <a:ahLst/>
                <a:cxnLst>
                  <a:cxn ang="0">
                    <a:pos x="T0" y="T1"/>
                  </a:cxn>
                  <a:cxn ang="0">
                    <a:pos x="T2" y="T3"/>
                  </a:cxn>
                  <a:cxn ang="0">
                    <a:pos x="T4" y="T5"/>
                  </a:cxn>
                </a:cxnLst>
                <a:rect l="0" t="0" r="r" b="b"/>
                <a:pathLst>
                  <a:path w="180" h="270">
                    <a:moveTo>
                      <a:pt x="0" y="0"/>
                    </a:moveTo>
                    <a:lnTo>
                      <a:pt x="180" y="270"/>
                    </a:lnTo>
                    <a:lnTo>
                      <a:pt x="18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74" name="Freeform 2558">
                <a:extLst>
                  <a:ext uri="{FF2B5EF4-FFF2-40B4-BE49-F238E27FC236}">
                    <a16:creationId xmlns:a16="http://schemas.microsoft.com/office/drawing/2014/main" id="{0DBE9507-2309-403B-8757-D6C6B82B349C}"/>
                  </a:ext>
                </a:extLst>
              </p:cNvPr>
              <p:cNvSpPr>
                <a:spLocks/>
              </p:cNvSpPr>
              <p:nvPr/>
            </p:nvSpPr>
            <p:spPr bwMode="auto">
              <a:xfrm>
                <a:off x="3884" y="60"/>
                <a:ext cx="540" cy="1830"/>
              </a:xfrm>
              <a:custGeom>
                <a:avLst/>
                <a:gdLst>
                  <a:gd name="T0" fmla="*/ 180 w 540"/>
                  <a:gd name="T1" fmla="*/ 990 h 1830"/>
                  <a:gd name="T2" fmla="*/ 330 w 540"/>
                  <a:gd name="T3" fmla="*/ 930 h 1830"/>
                  <a:gd name="T4" fmla="*/ 330 w 540"/>
                  <a:gd name="T5" fmla="*/ 1560 h 1830"/>
                  <a:gd name="T6" fmla="*/ 270 w 540"/>
                  <a:gd name="T7" fmla="*/ 1350 h 1830"/>
                  <a:gd name="T8" fmla="*/ 540 w 540"/>
                  <a:gd name="T9" fmla="*/ 1740 h 1830"/>
                  <a:gd name="T10" fmla="*/ 330 w 540"/>
                  <a:gd name="T11" fmla="*/ 1560 h 1830"/>
                  <a:gd name="T12" fmla="*/ 450 w 540"/>
                  <a:gd name="T13" fmla="*/ 1470 h 1830"/>
                  <a:gd name="T14" fmla="*/ 480 w 540"/>
                  <a:gd name="T15" fmla="*/ 1200 h 1830"/>
                  <a:gd name="T16" fmla="*/ 150 w 540"/>
                  <a:gd name="T17" fmla="*/ 1290 h 1830"/>
                  <a:gd name="T18" fmla="*/ 270 w 540"/>
                  <a:gd name="T19" fmla="*/ 1140 h 1830"/>
                  <a:gd name="T20" fmla="*/ 510 w 540"/>
                  <a:gd name="T21" fmla="*/ 960 h 1830"/>
                  <a:gd name="T22" fmla="*/ 180 w 540"/>
                  <a:gd name="T23" fmla="*/ 990 h 1830"/>
                  <a:gd name="T24" fmla="*/ 390 w 540"/>
                  <a:gd name="T25" fmla="*/ 810 h 1830"/>
                  <a:gd name="T26" fmla="*/ 360 w 540"/>
                  <a:gd name="T27" fmla="*/ 630 h 1830"/>
                  <a:gd name="T28" fmla="*/ 150 w 540"/>
                  <a:gd name="T29" fmla="*/ 630 h 1830"/>
                  <a:gd name="T30" fmla="*/ 270 w 540"/>
                  <a:gd name="T31" fmla="*/ 510 h 1830"/>
                  <a:gd name="T32" fmla="*/ 510 w 540"/>
                  <a:gd name="T33" fmla="*/ 600 h 1830"/>
                  <a:gd name="T34" fmla="*/ 480 w 540"/>
                  <a:gd name="T35" fmla="*/ 360 h 1830"/>
                  <a:gd name="T36" fmla="*/ 240 w 540"/>
                  <a:gd name="T37" fmla="*/ 360 h 1830"/>
                  <a:gd name="T38" fmla="*/ 60 w 540"/>
                  <a:gd name="T39" fmla="*/ 300 h 1830"/>
                  <a:gd name="T40" fmla="*/ 270 w 540"/>
                  <a:gd name="T41" fmla="*/ 210 h 1830"/>
                  <a:gd name="T42" fmla="*/ 90 w 540"/>
                  <a:gd name="T43" fmla="*/ 0 h 1830"/>
                  <a:gd name="T44" fmla="*/ 210 w 540"/>
                  <a:gd name="T45" fmla="*/ 60 h 1830"/>
                  <a:gd name="T46" fmla="*/ 510 w 540"/>
                  <a:gd name="T47" fmla="*/ 210 h 1830"/>
                  <a:gd name="T48" fmla="*/ 390 w 540"/>
                  <a:gd name="T49" fmla="*/ 240 h 1830"/>
                  <a:gd name="T50" fmla="*/ 270 w 540"/>
                  <a:gd name="T51" fmla="*/ 210 h 1830"/>
                  <a:gd name="T52" fmla="*/ 180 w 540"/>
                  <a:gd name="T53" fmla="*/ 240 h 1830"/>
                  <a:gd name="T54" fmla="*/ 60 w 540"/>
                  <a:gd name="T55" fmla="*/ 300 h 1830"/>
                  <a:gd name="T56" fmla="*/ 330 w 540"/>
                  <a:gd name="T57" fmla="*/ 390 h 1830"/>
                  <a:gd name="T58" fmla="*/ 480 w 540"/>
                  <a:gd name="T59" fmla="*/ 360 h 1830"/>
                  <a:gd name="T60" fmla="*/ 360 w 540"/>
                  <a:gd name="T61" fmla="*/ 630 h 1830"/>
                  <a:gd name="T62" fmla="*/ 90 w 540"/>
                  <a:gd name="T63" fmla="*/ 84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1830">
                    <a:moveTo>
                      <a:pt x="60" y="960"/>
                    </a:moveTo>
                    <a:lnTo>
                      <a:pt x="180" y="990"/>
                    </a:lnTo>
                    <a:lnTo>
                      <a:pt x="390" y="1080"/>
                    </a:lnTo>
                    <a:lnTo>
                      <a:pt x="330" y="930"/>
                    </a:lnTo>
                    <a:lnTo>
                      <a:pt x="0" y="1320"/>
                    </a:lnTo>
                    <a:lnTo>
                      <a:pt x="330" y="1560"/>
                    </a:lnTo>
                    <a:lnTo>
                      <a:pt x="450" y="1470"/>
                    </a:lnTo>
                    <a:lnTo>
                      <a:pt x="270" y="1350"/>
                    </a:lnTo>
                    <a:lnTo>
                      <a:pt x="210" y="1650"/>
                    </a:lnTo>
                    <a:lnTo>
                      <a:pt x="540" y="1740"/>
                    </a:lnTo>
                    <a:lnTo>
                      <a:pt x="420" y="1830"/>
                    </a:lnTo>
                    <a:lnTo>
                      <a:pt x="330" y="1560"/>
                    </a:lnTo>
                    <a:lnTo>
                      <a:pt x="510" y="1620"/>
                    </a:lnTo>
                    <a:lnTo>
                      <a:pt x="450" y="1470"/>
                    </a:lnTo>
                    <a:lnTo>
                      <a:pt x="420" y="1320"/>
                    </a:lnTo>
                    <a:lnTo>
                      <a:pt x="480" y="1200"/>
                    </a:lnTo>
                    <a:lnTo>
                      <a:pt x="270" y="1350"/>
                    </a:lnTo>
                    <a:lnTo>
                      <a:pt x="150" y="1290"/>
                    </a:lnTo>
                    <a:lnTo>
                      <a:pt x="330" y="1200"/>
                    </a:lnTo>
                    <a:lnTo>
                      <a:pt x="270" y="1140"/>
                    </a:lnTo>
                    <a:lnTo>
                      <a:pt x="390" y="1080"/>
                    </a:lnTo>
                    <a:lnTo>
                      <a:pt x="510" y="960"/>
                    </a:lnTo>
                    <a:lnTo>
                      <a:pt x="330" y="930"/>
                    </a:lnTo>
                    <a:lnTo>
                      <a:pt x="180" y="990"/>
                    </a:lnTo>
                    <a:lnTo>
                      <a:pt x="210" y="840"/>
                    </a:lnTo>
                    <a:lnTo>
                      <a:pt x="390" y="810"/>
                    </a:lnTo>
                    <a:lnTo>
                      <a:pt x="540" y="720"/>
                    </a:lnTo>
                    <a:lnTo>
                      <a:pt x="360" y="630"/>
                    </a:lnTo>
                    <a:lnTo>
                      <a:pt x="240" y="690"/>
                    </a:lnTo>
                    <a:lnTo>
                      <a:pt x="150" y="630"/>
                    </a:lnTo>
                    <a:lnTo>
                      <a:pt x="180" y="450"/>
                    </a:lnTo>
                    <a:lnTo>
                      <a:pt x="270" y="510"/>
                    </a:lnTo>
                    <a:lnTo>
                      <a:pt x="420" y="540"/>
                    </a:lnTo>
                    <a:lnTo>
                      <a:pt x="510" y="600"/>
                    </a:lnTo>
                    <a:lnTo>
                      <a:pt x="540" y="480"/>
                    </a:lnTo>
                    <a:lnTo>
                      <a:pt x="480" y="360"/>
                    </a:lnTo>
                    <a:lnTo>
                      <a:pt x="330" y="390"/>
                    </a:lnTo>
                    <a:lnTo>
                      <a:pt x="240" y="360"/>
                    </a:lnTo>
                    <a:lnTo>
                      <a:pt x="60" y="420"/>
                    </a:lnTo>
                    <a:lnTo>
                      <a:pt x="60" y="300"/>
                    </a:lnTo>
                    <a:lnTo>
                      <a:pt x="180" y="240"/>
                    </a:lnTo>
                    <a:lnTo>
                      <a:pt x="270" y="210"/>
                    </a:lnTo>
                    <a:lnTo>
                      <a:pt x="210" y="60"/>
                    </a:lnTo>
                    <a:lnTo>
                      <a:pt x="90" y="0"/>
                    </a:lnTo>
                    <a:lnTo>
                      <a:pt x="540" y="0"/>
                    </a:lnTo>
                    <a:lnTo>
                      <a:pt x="210" y="60"/>
                    </a:lnTo>
                    <a:lnTo>
                      <a:pt x="360" y="90"/>
                    </a:lnTo>
                    <a:lnTo>
                      <a:pt x="510" y="210"/>
                    </a:lnTo>
                    <a:lnTo>
                      <a:pt x="480" y="360"/>
                    </a:lnTo>
                    <a:lnTo>
                      <a:pt x="390" y="240"/>
                    </a:lnTo>
                    <a:lnTo>
                      <a:pt x="330" y="390"/>
                    </a:lnTo>
                    <a:lnTo>
                      <a:pt x="270" y="210"/>
                    </a:lnTo>
                    <a:lnTo>
                      <a:pt x="240" y="360"/>
                    </a:lnTo>
                    <a:lnTo>
                      <a:pt x="180" y="240"/>
                    </a:lnTo>
                    <a:lnTo>
                      <a:pt x="90" y="210"/>
                    </a:lnTo>
                    <a:lnTo>
                      <a:pt x="60" y="300"/>
                    </a:lnTo>
                    <a:lnTo>
                      <a:pt x="180" y="450"/>
                    </a:lnTo>
                    <a:lnTo>
                      <a:pt x="330" y="390"/>
                    </a:lnTo>
                    <a:lnTo>
                      <a:pt x="420" y="540"/>
                    </a:lnTo>
                    <a:lnTo>
                      <a:pt x="480" y="360"/>
                    </a:lnTo>
                    <a:lnTo>
                      <a:pt x="270" y="510"/>
                    </a:lnTo>
                    <a:lnTo>
                      <a:pt x="360" y="630"/>
                    </a:lnTo>
                    <a:lnTo>
                      <a:pt x="150" y="630"/>
                    </a:lnTo>
                    <a:lnTo>
                      <a:pt x="90" y="840"/>
                    </a:lnTo>
                    <a:lnTo>
                      <a:pt x="330" y="9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75" name="Freeform 2559">
                <a:extLst>
                  <a:ext uri="{FF2B5EF4-FFF2-40B4-BE49-F238E27FC236}">
                    <a16:creationId xmlns:a16="http://schemas.microsoft.com/office/drawing/2014/main" id="{68AD8332-456B-43FA-AC4D-E3230D7705B2}"/>
                  </a:ext>
                </a:extLst>
              </p:cNvPr>
              <p:cNvSpPr>
                <a:spLocks/>
              </p:cNvSpPr>
              <p:nvPr/>
            </p:nvSpPr>
            <p:spPr bwMode="auto">
              <a:xfrm>
                <a:off x="4244" y="600"/>
                <a:ext cx="150" cy="420"/>
              </a:xfrm>
              <a:custGeom>
                <a:avLst/>
                <a:gdLst>
                  <a:gd name="T0" fmla="*/ 30 w 150"/>
                  <a:gd name="T1" fmla="*/ 270 h 420"/>
                  <a:gd name="T2" fmla="*/ 150 w 150"/>
                  <a:gd name="T3" fmla="*/ 420 h 420"/>
                  <a:gd name="T4" fmla="*/ 60 w 150"/>
                  <a:gd name="T5" fmla="*/ 0 h 420"/>
                  <a:gd name="T6" fmla="*/ 0 w 150"/>
                  <a:gd name="T7" fmla="*/ 90 h 420"/>
                  <a:gd name="T8" fmla="*/ 30 w 150"/>
                  <a:gd name="T9" fmla="*/ 270 h 420"/>
                </a:gdLst>
                <a:ahLst/>
                <a:cxnLst>
                  <a:cxn ang="0">
                    <a:pos x="T0" y="T1"/>
                  </a:cxn>
                  <a:cxn ang="0">
                    <a:pos x="T2" y="T3"/>
                  </a:cxn>
                  <a:cxn ang="0">
                    <a:pos x="T4" y="T5"/>
                  </a:cxn>
                  <a:cxn ang="0">
                    <a:pos x="T6" y="T7"/>
                  </a:cxn>
                  <a:cxn ang="0">
                    <a:pos x="T8" y="T9"/>
                  </a:cxn>
                </a:cxnLst>
                <a:rect l="0" t="0" r="r" b="b"/>
                <a:pathLst>
                  <a:path w="150" h="420">
                    <a:moveTo>
                      <a:pt x="30" y="270"/>
                    </a:moveTo>
                    <a:lnTo>
                      <a:pt x="150" y="420"/>
                    </a:lnTo>
                    <a:lnTo>
                      <a:pt x="60" y="0"/>
                    </a:lnTo>
                    <a:lnTo>
                      <a:pt x="0" y="90"/>
                    </a:lnTo>
                    <a:lnTo>
                      <a:pt x="30" y="27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76" name="Freeform 2560">
                <a:extLst>
                  <a:ext uri="{FF2B5EF4-FFF2-40B4-BE49-F238E27FC236}">
                    <a16:creationId xmlns:a16="http://schemas.microsoft.com/office/drawing/2014/main" id="{C0C7B5B0-A338-432D-B5CA-9A2DE99383A9}"/>
                  </a:ext>
                </a:extLst>
              </p:cNvPr>
              <p:cNvSpPr>
                <a:spLocks/>
              </p:cNvSpPr>
              <p:nvPr/>
            </p:nvSpPr>
            <p:spPr bwMode="auto">
              <a:xfrm>
                <a:off x="4094" y="570"/>
                <a:ext cx="180" cy="420"/>
              </a:xfrm>
              <a:custGeom>
                <a:avLst/>
                <a:gdLst>
                  <a:gd name="T0" fmla="*/ 180 w 180"/>
                  <a:gd name="T1" fmla="*/ 300 h 420"/>
                  <a:gd name="T2" fmla="*/ 30 w 180"/>
                  <a:gd name="T3" fmla="*/ 180 h 420"/>
                  <a:gd name="T4" fmla="*/ 0 w 180"/>
                  <a:gd name="T5" fmla="*/ 330 h 420"/>
                  <a:gd name="T6" fmla="*/ 120 w 180"/>
                  <a:gd name="T7" fmla="*/ 420 h 420"/>
                  <a:gd name="T8" fmla="*/ 60 w 180"/>
                  <a:gd name="T9" fmla="*/ 0 h 420"/>
                </a:gdLst>
                <a:ahLst/>
                <a:cxnLst>
                  <a:cxn ang="0">
                    <a:pos x="T0" y="T1"/>
                  </a:cxn>
                  <a:cxn ang="0">
                    <a:pos x="T2" y="T3"/>
                  </a:cxn>
                  <a:cxn ang="0">
                    <a:pos x="T4" y="T5"/>
                  </a:cxn>
                  <a:cxn ang="0">
                    <a:pos x="T6" y="T7"/>
                  </a:cxn>
                  <a:cxn ang="0">
                    <a:pos x="T8" y="T9"/>
                  </a:cxn>
                </a:cxnLst>
                <a:rect l="0" t="0" r="r" b="b"/>
                <a:pathLst>
                  <a:path w="180" h="420">
                    <a:moveTo>
                      <a:pt x="180" y="300"/>
                    </a:moveTo>
                    <a:lnTo>
                      <a:pt x="30" y="180"/>
                    </a:lnTo>
                    <a:lnTo>
                      <a:pt x="0" y="330"/>
                    </a:lnTo>
                    <a:lnTo>
                      <a:pt x="120" y="42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77" name="Freeform 2561">
                <a:extLst>
                  <a:ext uri="{FF2B5EF4-FFF2-40B4-BE49-F238E27FC236}">
                    <a16:creationId xmlns:a16="http://schemas.microsoft.com/office/drawing/2014/main" id="{5DF8F4B4-8971-4E08-8E44-C71F340DA5FA}"/>
                  </a:ext>
                </a:extLst>
              </p:cNvPr>
              <p:cNvSpPr>
                <a:spLocks/>
              </p:cNvSpPr>
              <p:nvPr/>
            </p:nvSpPr>
            <p:spPr bwMode="auto">
              <a:xfrm>
                <a:off x="4244" y="60"/>
                <a:ext cx="180" cy="240"/>
              </a:xfrm>
              <a:custGeom>
                <a:avLst/>
                <a:gdLst>
                  <a:gd name="T0" fmla="*/ 30 w 180"/>
                  <a:gd name="T1" fmla="*/ 240 h 240"/>
                  <a:gd name="T2" fmla="*/ 0 w 180"/>
                  <a:gd name="T3" fmla="*/ 90 h 240"/>
                  <a:gd name="T4" fmla="*/ 180 w 180"/>
                  <a:gd name="T5" fmla="*/ 0 h 240"/>
                  <a:gd name="T6" fmla="*/ 150 w 180"/>
                  <a:gd name="T7" fmla="*/ 210 h 240"/>
                  <a:gd name="T8" fmla="*/ 30 w 180"/>
                  <a:gd name="T9" fmla="*/ 240 h 240"/>
                </a:gdLst>
                <a:ahLst/>
                <a:cxnLst>
                  <a:cxn ang="0">
                    <a:pos x="T0" y="T1"/>
                  </a:cxn>
                  <a:cxn ang="0">
                    <a:pos x="T2" y="T3"/>
                  </a:cxn>
                  <a:cxn ang="0">
                    <a:pos x="T4" y="T5"/>
                  </a:cxn>
                  <a:cxn ang="0">
                    <a:pos x="T6" y="T7"/>
                  </a:cxn>
                  <a:cxn ang="0">
                    <a:pos x="T8" y="T9"/>
                  </a:cxn>
                </a:cxnLst>
                <a:rect l="0" t="0" r="r" b="b"/>
                <a:pathLst>
                  <a:path w="180" h="240">
                    <a:moveTo>
                      <a:pt x="30" y="240"/>
                    </a:moveTo>
                    <a:lnTo>
                      <a:pt x="0" y="90"/>
                    </a:lnTo>
                    <a:lnTo>
                      <a:pt x="180" y="0"/>
                    </a:lnTo>
                    <a:lnTo>
                      <a:pt x="150" y="210"/>
                    </a:lnTo>
                    <a:lnTo>
                      <a:pt x="3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78" name="Line 2562">
                <a:extLst>
                  <a:ext uri="{FF2B5EF4-FFF2-40B4-BE49-F238E27FC236}">
                    <a16:creationId xmlns:a16="http://schemas.microsoft.com/office/drawing/2014/main" id="{D8FDE66B-5856-47B6-82BD-AF53D95B6DA5}"/>
                  </a:ext>
                </a:extLst>
              </p:cNvPr>
              <p:cNvSpPr>
                <a:spLocks noChangeShapeType="1"/>
              </p:cNvSpPr>
              <p:nvPr/>
            </p:nvSpPr>
            <p:spPr bwMode="auto">
              <a:xfrm flipH="1">
                <a:off x="4304" y="54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79" name="Freeform 2563">
                <a:extLst>
                  <a:ext uri="{FF2B5EF4-FFF2-40B4-BE49-F238E27FC236}">
                    <a16:creationId xmlns:a16="http://schemas.microsoft.com/office/drawing/2014/main" id="{6104AB49-31ED-4EC0-BB7A-D30F929EB1C5}"/>
                  </a:ext>
                </a:extLst>
              </p:cNvPr>
              <p:cNvSpPr>
                <a:spLocks/>
              </p:cNvSpPr>
              <p:nvPr/>
            </p:nvSpPr>
            <p:spPr bwMode="auto">
              <a:xfrm>
                <a:off x="2985" y="330"/>
                <a:ext cx="120" cy="210"/>
              </a:xfrm>
              <a:custGeom>
                <a:avLst/>
                <a:gdLst>
                  <a:gd name="T0" fmla="*/ 90 w 120"/>
                  <a:gd name="T1" fmla="*/ 0 h 210"/>
                  <a:gd name="T2" fmla="*/ 0 w 120"/>
                  <a:gd name="T3" fmla="*/ 210 h 210"/>
                  <a:gd name="T4" fmla="*/ 120 w 120"/>
                  <a:gd name="T5" fmla="*/ 180 h 210"/>
                  <a:gd name="T6" fmla="*/ 90 w 120"/>
                  <a:gd name="T7" fmla="*/ 0 h 210"/>
                </a:gdLst>
                <a:ahLst/>
                <a:cxnLst>
                  <a:cxn ang="0">
                    <a:pos x="T0" y="T1"/>
                  </a:cxn>
                  <a:cxn ang="0">
                    <a:pos x="T2" y="T3"/>
                  </a:cxn>
                  <a:cxn ang="0">
                    <a:pos x="T4" y="T5"/>
                  </a:cxn>
                  <a:cxn ang="0">
                    <a:pos x="T6" y="T7"/>
                  </a:cxn>
                </a:cxnLst>
                <a:rect l="0" t="0" r="r" b="b"/>
                <a:pathLst>
                  <a:path w="120" h="210">
                    <a:moveTo>
                      <a:pt x="90" y="0"/>
                    </a:moveTo>
                    <a:lnTo>
                      <a:pt x="0" y="210"/>
                    </a:lnTo>
                    <a:lnTo>
                      <a:pt x="120" y="18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80" name="Freeform 2564">
                <a:extLst>
                  <a:ext uri="{FF2B5EF4-FFF2-40B4-BE49-F238E27FC236}">
                    <a16:creationId xmlns:a16="http://schemas.microsoft.com/office/drawing/2014/main" id="{DC575706-257C-49E2-B66C-9BE19728CB6B}"/>
                  </a:ext>
                </a:extLst>
              </p:cNvPr>
              <p:cNvSpPr>
                <a:spLocks/>
              </p:cNvSpPr>
              <p:nvPr/>
            </p:nvSpPr>
            <p:spPr bwMode="auto">
              <a:xfrm>
                <a:off x="3195" y="240"/>
                <a:ext cx="480" cy="270"/>
              </a:xfrm>
              <a:custGeom>
                <a:avLst/>
                <a:gdLst>
                  <a:gd name="T0" fmla="*/ 0 w 480"/>
                  <a:gd name="T1" fmla="*/ 0 h 270"/>
                  <a:gd name="T2" fmla="*/ 90 w 480"/>
                  <a:gd name="T3" fmla="*/ 240 h 270"/>
                  <a:gd name="T4" fmla="*/ 300 w 480"/>
                  <a:gd name="T5" fmla="*/ 150 h 270"/>
                  <a:gd name="T6" fmla="*/ 480 w 480"/>
                  <a:gd name="T7" fmla="*/ 210 h 270"/>
                  <a:gd name="T8" fmla="*/ 270 w 480"/>
                  <a:gd name="T9" fmla="*/ 270 h 270"/>
                  <a:gd name="T10" fmla="*/ 120 w 480"/>
                  <a:gd name="T11" fmla="*/ 60 h 270"/>
                </a:gdLst>
                <a:ahLst/>
                <a:cxnLst>
                  <a:cxn ang="0">
                    <a:pos x="T0" y="T1"/>
                  </a:cxn>
                  <a:cxn ang="0">
                    <a:pos x="T2" y="T3"/>
                  </a:cxn>
                  <a:cxn ang="0">
                    <a:pos x="T4" y="T5"/>
                  </a:cxn>
                  <a:cxn ang="0">
                    <a:pos x="T6" y="T7"/>
                  </a:cxn>
                  <a:cxn ang="0">
                    <a:pos x="T8" y="T9"/>
                  </a:cxn>
                  <a:cxn ang="0">
                    <a:pos x="T10" y="T11"/>
                  </a:cxn>
                </a:cxnLst>
                <a:rect l="0" t="0" r="r" b="b"/>
                <a:pathLst>
                  <a:path w="480" h="270">
                    <a:moveTo>
                      <a:pt x="0" y="0"/>
                    </a:moveTo>
                    <a:lnTo>
                      <a:pt x="90" y="240"/>
                    </a:lnTo>
                    <a:lnTo>
                      <a:pt x="300" y="150"/>
                    </a:lnTo>
                    <a:lnTo>
                      <a:pt x="480" y="210"/>
                    </a:lnTo>
                    <a:lnTo>
                      <a:pt x="270" y="270"/>
                    </a:lnTo>
                    <a:lnTo>
                      <a:pt x="1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81" name="Freeform 2565">
                <a:extLst>
                  <a:ext uri="{FF2B5EF4-FFF2-40B4-BE49-F238E27FC236}">
                    <a16:creationId xmlns:a16="http://schemas.microsoft.com/office/drawing/2014/main" id="{0FD44618-A4FD-488B-BDF9-A392A4F18609}"/>
                  </a:ext>
                </a:extLst>
              </p:cNvPr>
              <p:cNvSpPr>
                <a:spLocks/>
              </p:cNvSpPr>
              <p:nvPr/>
            </p:nvSpPr>
            <p:spPr bwMode="auto">
              <a:xfrm>
                <a:off x="2805" y="60"/>
                <a:ext cx="1289" cy="300"/>
              </a:xfrm>
              <a:custGeom>
                <a:avLst/>
                <a:gdLst>
                  <a:gd name="T0" fmla="*/ 1169 w 1289"/>
                  <a:gd name="T1" fmla="*/ 210 h 300"/>
                  <a:gd name="T2" fmla="*/ 1169 w 1289"/>
                  <a:gd name="T3" fmla="*/ 0 h 300"/>
                  <a:gd name="T4" fmla="*/ 1049 w 1289"/>
                  <a:gd name="T5" fmla="*/ 90 h 300"/>
                  <a:gd name="T6" fmla="*/ 1169 w 1289"/>
                  <a:gd name="T7" fmla="*/ 210 h 300"/>
                  <a:gd name="T8" fmla="*/ 1289 w 1289"/>
                  <a:gd name="T9" fmla="*/ 60 h 300"/>
                  <a:gd name="T10" fmla="*/ 1259 w 1289"/>
                  <a:gd name="T11" fmla="*/ 240 h 300"/>
                  <a:gd name="T12" fmla="*/ 1169 w 1289"/>
                  <a:gd name="T13" fmla="*/ 0 h 300"/>
                  <a:gd name="T14" fmla="*/ 870 w 1289"/>
                  <a:gd name="T15" fmla="*/ 30 h 300"/>
                  <a:gd name="T16" fmla="*/ 780 w 1289"/>
                  <a:gd name="T17" fmla="*/ 240 h 300"/>
                  <a:gd name="T18" fmla="*/ 660 w 1289"/>
                  <a:gd name="T19" fmla="*/ 90 h 300"/>
                  <a:gd name="T20" fmla="*/ 450 w 1289"/>
                  <a:gd name="T21" fmla="*/ 90 h 300"/>
                  <a:gd name="T22" fmla="*/ 630 w 1289"/>
                  <a:gd name="T23" fmla="*/ 210 h 300"/>
                  <a:gd name="T24" fmla="*/ 390 w 1289"/>
                  <a:gd name="T25" fmla="*/ 180 h 300"/>
                  <a:gd name="T26" fmla="*/ 270 w 1289"/>
                  <a:gd name="T27" fmla="*/ 30 h 300"/>
                  <a:gd name="T28" fmla="*/ 210 w 1289"/>
                  <a:gd name="T29" fmla="*/ 150 h 300"/>
                  <a:gd name="T30" fmla="*/ 90 w 1289"/>
                  <a:gd name="T31" fmla="*/ 210 h 300"/>
                  <a:gd name="T32" fmla="*/ 0 w 1289"/>
                  <a:gd name="T33" fmla="*/ 60 h 300"/>
                  <a:gd name="T34" fmla="*/ 150 w 1289"/>
                  <a:gd name="T35" fmla="*/ 30 h 300"/>
                  <a:gd name="T36" fmla="*/ 150 w 1289"/>
                  <a:gd name="T3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9" h="300">
                    <a:moveTo>
                      <a:pt x="1169" y="210"/>
                    </a:moveTo>
                    <a:lnTo>
                      <a:pt x="1169" y="0"/>
                    </a:lnTo>
                    <a:lnTo>
                      <a:pt x="1049" y="90"/>
                    </a:lnTo>
                    <a:lnTo>
                      <a:pt x="1169" y="210"/>
                    </a:lnTo>
                    <a:lnTo>
                      <a:pt x="1289" y="60"/>
                    </a:lnTo>
                    <a:lnTo>
                      <a:pt x="1259" y="240"/>
                    </a:lnTo>
                    <a:lnTo>
                      <a:pt x="1169" y="0"/>
                    </a:lnTo>
                    <a:lnTo>
                      <a:pt x="870" y="30"/>
                    </a:lnTo>
                    <a:lnTo>
                      <a:pt x="780" y="240"/>
                    </a:lnTo>
                    <a:lnTo>
                      <a:pt x="660" y="90"/>
                    </a:lnTo>
                    <a:lnTo>
                      <a:pt x="450" y="90"/>
                    </a:lnTo>
                    <a:lnTo>
                      <a:pt x="630" y="210"/>
                    </a:lnTo>
                    <a:lnTo>
                      <a:pt x="390" y="180"/>
                    </a:lnTo>
                    <a:lnTo>
                      <a:pt x="270" y="30"/>
                    </a:lnTo>
                    <a:lnTo>
                      <a:pt x="210" y="150"/>
                    </a:lnTo>
                    <a:lnTo>
                      <a:pt x="90" y="210"/>
                    </a:lnTo>
                    <a:lnTo>
                      <a:pt x="0" y="60"/>
                    </a:lnTo>
                    <a:lnTo>
                      <a:pt x="150" y="3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82" name="Freeform 2566">
                <a:extLst>
                  <a:ext uri="{FF2B5EF4-FFF2-40B4-BE49-F238E27FC236}">
                    <a16:creationId xmlns:a16="http://schemas.microsoft.com/office/drawing/2014/main" id="{63D3F7E8-4D11-435D-9990-694F758FDFF6}"/>
                  </a:ext>
                </a:extLst>
              </p:cNvPr>
              <p:cNvSpPr>
                <a:spLocks/>
              </p:cNvSpPr>
              <p:nvPr/>
            </p:nvSpPr>
            <p:spPr bwMode="auto">
              <a:xfrm>
                <a:off x="3675" y="90"/>
                <a:ext cx="269" cy="270"/>
              </a:xfrm>
              <a:custGeom>
                <a:avLst/>
                <a:gdLst>
                  <a:gd name="T0" fmla="*/ 0 w 269"/>
                  <a:gd name="T1" fmla="*/ 0 h 270"/>
                  <a:gd name="T2" fmla="*/ 179 w 269"/>
                  <a:gd name="T3" fmla="*/ 60 h 270"/>
                  <a:gd name="T4" fmla="*/ 269 w 269"/>
                  <a:gd name="T5" fmla="*/ 270 h 270"/>
                </a:gdLst>
                <a:ahLst/>
                <a:cxnLst>
                  <a:cxn ang="0">
                    <a:pos x="T0" y="T1"/>
                  </a:cxn>
                  <a:cxn ang="0">
                    <a:pos x="T2" y="T3"/>
                  </a:cxn>
                  <a:cxn ang="0">
                    <a:pos x="T4" y="T5"/>
                  </a:cxn>
                </a:cxnLst>
                <a:rect l="0" t="0" r="r" b="b"/>
                <a:pathLst>
                  <a:path w="269" h="270">
                    <a:moveTo>
                      <a:pt x="0" y="0"/>
                    </a:moveTo>
                    <a:lnTo>
                      <a:pt x="179" y="60"/>
                    </a:lnTo>
                    <a:lnTo>
                      <a:pt x="26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83" name="Freeform 2567">
                <a:extLst>
                  <a:ext uri="{FF2B5EF4-FFF2-40B4-BE49-F238E27FC236}">
                    <a16:creationId xmlns:a16="http://schemas.microsoft.com/office/drawing/2014/main" id="{227976E7-12C3-48C6-B679-F2AF872E5B5E}"/>
                  </a:ext>
                </a:extLst>
              </p:cNvPr>
              <p:cNvSpPr>
                <a:spLocks/>
              </p:cNvSpPr>
              <p:nvPr/>
            </p:nvSpPr>
            <p:spPr bwMode="auto">
              <a:xfrm>
                <a:off x="3195" y="30"/>
                <a:ext cx="360" cy="60"/>
              </a:xfrm>
              <a:custGeom>
                <a:avLst/>
                <a:gdLst>
                  <a:gd name="T0" fmla="*/ 360 w 360"/>
                  <a:gd name="T1" fmla="*/ 0 h 60"/>
                  <a:gd name="T2" fmla="*/ 150 w 360"/>
                  <a:gd name="T3" fmla="*/ 60 h 60"/>
                  <a:gd name="T4" fmla="*/ 0 w 360"/>
                  <a:gd name="T5" fmla="*/ 0 h 60"/>
                </a:gdLst>
                <a:ahLst/>
                <a:cxnLst>
                  <a:cxn ang="0">
                    <a:pos x="T0" y="T1"/>
                  </a:cxn>
                  <a:cxn ang="0">
                    <a:pos x="T2" y="T3"/>
                  </a:cxn>
                  <a:cxn ang="0">
                    <a:pos x="T4" y="T5"/>
                  </a:cxn>
                </a:cxnLst>
                <a:rect l="0" t="0" r="r" b="b"/>
                <a:pathLst>
                  <a:path w="360" h="60">
                    <a:moveTo>
                      <a:pt x="360" y="0"/>
                    </a:moveTo>
                    <a:lnTo>
                      <a:pt x="15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84" name="Freeform 2568">
                <a:extLst>
                  <a:ext uri="{FF2B5EF4-FFF2-40B4-BE49-F238E27FC236}">
                    <a16:creationId xmlns:a16="http://schemas.microsoft.com/office/drawing/2014/main" id="{53876A7A-DDDB-493A-9698-929B49B89147}"/>
                  </a:ext>
                </a:extLst>
              </p:cNvPr>
              <p:cNvSpPr>
                <a:spLocks/>
              </p:cNvSpPr>
              <p:nvPr/>
            </p:nvSpPr>
            <p:spPr bwMode="auto">
              <a:xfrm>
                <a:off x="1846" y="210"/>
                <a:ext cx="389" cy="300"/>
              </a:xfrm>
              <a:custGeom>
                <a:avLst/>
                <a:gdLst>
                  <a:gd name="T0" fmla="*/ 120 w 389"/>
                  <a:gd name="T1" fmla="*/ 150 h 300"/>
                  <a:gd name="T2" fmla="*/ 0 w 389"/>
                  <a:gd name="T3" fmla="*/ 90 h 300"/>
                  <a:gd name="T4" fmla="*/ 60 w 389"/>
                  <a:gd name="T5" fmla="*/ 300 h 300"/>
                  <a:gd name="T6" fmla="*/ 269 w 389"/>
                  <a:gd name="T7" fmla="*/ 120 h 300"/>
                  <a:gd name="T8" fmla="*/ 389 w 389"/>
                  <a:gd name="T9" fmla="*/ 180 h 300"/>
                  <a:gd name="T10" fmla="*/ 210 w 389"/>
                  <a:gd name="T11" fmla="*/ 0 h 300"/>
                  <a:gd name="T12" fmla="*/ 0 w 389"/>
                  <a:gd name="T13" fmla="*/ 90 h 300"/>
                </a:gdLst>
                <a:ahLst/>
                <a:cxnLst>
                  <a:cxn ang="0">
                    <a:pos x="T0" y="T1"/>
                  </a:cxn>
                  <a:cxn ang="0">
                    <a:pos x="T2" y="T3"/>
                  </a:cxn>
                  <a:cxn ang="0">
                    <a:pos x="T4" y="T5"/>
                  </a:cxn>
                  <a:cxn ang="0">
                    <a:pos x="T6" y="T7"/>
                  </a:cxn>
                  <a:cxn ang="0">
                    <a:pos x="T8" y="T9"/>
                  </a:cxn>
                  <a:cxn ang="0">
                    <a:pos x="T10" y="T11"/>
                  </a:cxn>
                  <a:cxn ang="0">
                    <a:pos x="T12" y="T13"/>
                  </a:cxn>
                </a:cxnLst>
                <a:rect l="0" t="0" r="r" b="b"/>
                <a:pathLst>
                  <a:path w="389" h="300">
                    <a:moveTo>
                      <a:pt x="120" y="150"/>
                    </a:moveTo>
                    <a:lnTo>
                      <a:pt x="0" y="90"/>
                    </a:lnTo>
                    <a:lnTo>
                      <a:pt x="60" y="300"/>
                    </a:lnTo>
                    <a:lnTo>
                      <a:pt x="269" y="120"/>
                    </a:lnTo>
                    <a:lnTo>
                      <a:pt x="389" y="180"/>
                    </a:lnTo>
                    <a:lnTo>
                      <a:pt x="210" y="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85" name="Freeform 2569">
                <a:extLst>
                  <a:ext uri="{FF2B5EF4-FFF2-40B4-BE49-F238E27FC236}">
                    <a16:creationId xmlns:a16="http://schemas.microsoft.com/office/drawing/2014/main" id="{9CC15AA7-2132-4BDB-A665-20B1D3C1A501}"/>
                  </a:ext>
                </a:extLst>
              </p:cNvPr>
              <p:cNvSpPr>
                <a:spLocks/>
              </p:cNvSpPr>
              <p:nvPr/>
            </p:nvSpPr>
            <p:spPr bwMode="auto">
              <a:xfrm>
                <a:off x="1966" y="60"/>
                <a:ext cx="149" cy="150"/>
              </a:xfrm>
              <a:custGeom>
                <a:avLst/>
                <a:gdLst>
                  <a:gd name="T0" fmla="*/ 0 w 149"/>
                  <a:gd name="T1" fmla="*/ 0 h 150"/>
                  <a:gd name="T2" fmla="*/ 90 w 149"/>
                  <a:gd name="T3" fmla="*/ 150 h 150"/>
                  <a:gd name="T4" fmla="*/ 149 w 149"/>
                  <a:gd name="T5" fmla="*/ 30 h 150"/>
                </a:gdLst>
                <a:ahLst/>
                <a:cxnLst>
                  <a:cxn ang="0">
                    <a:pos x="T0" y="T1"/>
                  </a:cxn>
                  <a:cxn ang="0">
                    <a:pos x="T2" y="T3"/>
                  </a:cxn>
                  <a:cxn ang="0">
                    <a:pos x="T4" y="T5"/>
                  </a:cxn>
                </a:cxnLst>
                <a:rect l="0" t="0" r="r" b="b"/>
                <a:pathLst>
                  <a:path w="149" h="150">
                    <a:moveTo>
                      <a:pt x="0" y="0"/>
                    </a:moveTo>
                    <a:lnTo>
                      <a:pt x="90" y="150"/>
                    </a:lnTo>
                    <a:lnTo>
                      <a:pt x="14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86" name="Freeform 2570">
                <a:extLst>
                  <a:ext uri="{FF2B5EF4-FFF2-40B4-BE49-F238E27FC236}">
                    <a16:creationId xmlns:a16="http://schemas.microsoft.com/office/drawing/2014/main" id="{8C0E38B8-553C-41E5-B4A5-0C5654F5BBC1}"/>
                  </a:ext>
                </a:extLst>
              </p:cNvPr>
              <p:cNvSpPr>
                <a:spLocks/>
              </p:cNvSpPr>
              <p:nvPr/>
            </p:nvSpPr>
            <p:spPr bwMode="auto">
              <a:xfrm>
                <a:off x="2056" y="210"/>
                <a:ext cx="1649" cy="1050"/>
              </a:xfrm>
              <a:custGeom>
                <a:avLst/>
                <a:gdLst>
                  <a:gd name="T0" fmla="*/ 0 w 1649"/>
                  <a:gd name="T1" fmla="*/ 0 h 1050"/>
                  <a:gd name="T2" fmla="*/ 179 w 1649"/>
                  <a:gd name="T3" fmla="*/ 30 h 1050"/>
                  <a:gd name="T4" fmla="*/ 299 w 1649"/>
                  <a:gd name="T5" fmla="*/ 120 h 1050"/>
                  <a:gd name="T6" fmla="*/ 269 w 1649"/>
                  <a:gd name="T7" fmla="*/ 240 h 1050"/>
                  <a:gd name="T8" fmla="*/ 479 w 1649"/>
                  <a:gd name="T9" fmla="*/ 180 h 1050"/>
                  <a:gd name="T10" fmla="*/ 449 w 1649"/>
                  <a:gd name="T11" fmla="*/ 300 h 1050"/>
                  <a:gd name="T12" fmla="*/ 269 w 1649"/>
                  <a:gd name="T13" fmla="*/ 240 h 1050"/>
                  <a:gd name="T14" fmla="*/ 359 w 1649"/>
                  <a:gd name="T15" fmla="*/ 360 h 1050"/>
                  <a:gd name="T16" fmla="*/ 449 w 1649"/>
                  <a:gd name="T17" fmla="*/ 300 h 1050"/>
                  <a:gd name="T18" fmla="*/ 839 w 1649"/>
                  <a:gd name="T19" fmla="*/ 240 h 1050"/>
                  <a:gd name="T20" fmla="*/ 749 w 1649"/>
                  <a:gd name="T21" fmla="*/ 330 h 1050"/>
                  <a:gd name="T22" fmla="*/ 689 w 1649"/>
                  <a:gd name="T23" fmla="*/ 420 h 1050"/>
                  <a:gd name="T24" fmla="*/ 539 w 1649"/>
                  <a:gd name="T25" fmla="*/ 510 h 1050"/>
                  <a:gd name="T26" fmla="*/ 539 w 1649"/>
                  <a:gd name="T27" fmla="*/ 660 h 1050"/>
                  <a:gd name="T28" fmla="*/ 659 w 1649"/>
                  <a:gd name="T29" fmla="*/ 570 h 1050"/>
                  <a:gd name="T30" fmla="*/ 809 w 1649"/>
                  <a:gd name="T31" fmla="*/ 450 h 1050"/>
                  <a:gd name="T32" fmla="*/ 1049 w 1649"/>
                  <a:gd name="T33" fmla="*/ 300 h 1050"/>
                  <a:gd name="T34" fmla="*/ 1139 w 1649"/>
                  <a:gd name="T35" fmla="*/ 360 h 1050"/>
                  <a:gd name="T36" fmla="*/ 1229 w 1649"/>
                  <a:gd name="T37" fmla="*/ 480 h 1050"/>
                  <a:gd name="T38" fmla="*/ 1319 w 1649"/>
                  <a:gd name="T39" fmla="*/ 360 h 1050"/>
                  <a:gd name="T40" fmla="*/ 1139 w 1649"/>
                  <a:gd name="T41" fmla="*/ 360 h 1050"/>
                  <a:gd name="T42" fmla="*/ 1139 w 1649"/>
                  <a:gd name="T43" fmla="*/ 511 h 1050"/>
                  <a:gd name="T44" fmla="*/ 1049 w 1649"/>
                  <a:gd name="T45" fmla="*/ 480 h 1050"/>
                  <a:gd name="T46" fmla="*/ 1019 w 1649"/>
                  <a:gd name="T47" fmla="*/ 570 h 1050"/>
                  <a:gd name="T48" fmla="*/ 1019 w 1649"/>
                  <a:gd name="T49" fmla="*/ 810 h 1050"/>
                  <a:gd name="T50" fmla="*/ 1139 w 1649"/>
                  <a:gd name="T51" fmla="*/ 720 h 1050"/>
                  <a:gd name="T52" fmla="*/ 1227 w 1649"/>
                  <a:gd name="T53" fmla="*/ 812 h 1050"/>
                  <a:gd name="T54" fmla="*/ 1199 w 1649"/>
                  <a:gd name="T55" fmla="*/ 630 h 1050"/>
                  <a:gd name="T56" fmla="*/ 1289 w 1649"/>
                  <a:gd name="T57" fmla="*/ 570 h 1050"/>
                  <a:gd name="T58" fmla="*/ 1409 w 1649"/>
                  <a:gd name="T59" fmla="*/ 630 h 1050"/>
                  <a:gd name="T60" fmla="*/ 1289 w 1649"/>
                  <a:gd name="T61" fmla="*/ 690 h 1050"/>
                  <a:gd name="T62" fmla="*/ 1379 w 1649"/>
                  <a:gd name="T63" fmla="*/ 750 h 1050"/>
                  <a:gd name="T64" fmla="*/ 1649 w 1649"/>
                  <a:gd name="T65" fmla="*/ 720 h 1050"/>
                  <a:gd name="T66" fmla="*/ 1529 w 1649"/>
                  <a:gd name="T67" fmla="*/ 780 h 1050"/>
                  <a:gd name="T68" fmla="*/ 1559 w 1649"/>
                  <a:gd name="T69" fmla="*/ 1050 h 1050"/>
                  <a:gd name="T70" fmla="*/ 1349 w 1649"/>
                  <a:gd name="T71" fmla="*/ 87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1050">
                    <a:moveTo>
                      <a:pt x="0" y="0"/>
                    </a:moveTo>
                    <a:lnTo>
                      <a:pt x="179" y="30"/>
                    </a:lnTo>
                    <a:lnTo>
                      <a:pt x="299" y="120"/>
                    </a:lnTo>
                    <a:lnTo>
                      <a:pt x="269" y="240"/>
                    </a:lnTo>
                    <a:lnTo>
                      <a:pt x="479" y="180"/>
                    </a:lnTo>
                    <a:lnTo>
                      <a:pt x="449" y="300"/>
                    </a:lnTo>
                    <a:lnTo>
                      <a:pt x="269" y="240"/>
                    </a:lnTo>
                    <a:lnTo>
                      <a:pt x="359" y="360"/>
                    </a:lnTo>
                    <a:lnTo>
                      <a:pt x="449" y="300"/>
                    </a:lnTo>
                    <a:lnTo>
                      <a:pt x="839" y="240"/>
                    </a:lnTo>
                    <a:lnTo>
                      <a:pt x="749" y="330"/>
                    </a:lnTo>
                    <a:lnTo>
                      <a:pt x="689" y="420"/>
                    </a:lnTo>
                    <a:lnTo>
                      <a:pt x="539" y="510"/>
                    </a:lnTo>
                    <a:lnTo>
                      <a:pt x="539" y="660"/>
                    </a:lnTo>
                    <a:lnTo>
                      <a:pt x="659" y="570"/>
                    </a:lnTo>
                    <a:lnTo>
                      <a:pt x="809" y="450"/>
                    </a:lnTo>
                    <a:lnTo>
                      <a:pt x="1049" y="300"/>
                    </a:lnTo>
                    <a:lnTo>
                      <a:pt x="1139" y="360"/>
                    </a:lnTo>
                    <a:lnTo>
                      <a:pt x="1229" y="480"/>
                    </a:lnTo>
                    <a:lnTo>
                      <a:pt x="1319" y="360"/>
                    </a:lnTo>
                    <a:lnTo>
                      <a:pt x="1139" y="360"/>
                    </a:lnTo>
                    <a:lnTo>
                      <a:pt x="1139" y="511"/>
                    </a:lnTo>
                    <a:lnTo>
                      <a:pt x="1049" y="480"/>
                    </a:lnTo>
                    <a:lnTo>
                      <a:pt x="1019" y="570"/>
                    </a:lnTo>
                    <a:lnTo>
                      <a:pt x="1019" y="810"/>
                    </a:lnTo>
                    <a:lnTo>
                      <a:pt x="1139" y="720"/>
                    </a:lnTo>
                    <a:lnTo>
                      <a:pt x="1227" y="812"/>
                    </a:lnTo>
                    <a:lnTo>
                      <a:pt x="1199" y="630"/>
                    </a:lnTo>
                    <a:lnTo>
                      <a:pt x="1289" y="570"/>
                    </a:lnTo>
                    <a:lnTo>
                      <a:pt x="1409" y="630"/>
                    </a:lnTo>
                    <a:lnTo>
                      <a:pt x="1289" y="690"/>
                    </a:lnTo>
                    <a:lnTo>
                      <a:pt x="1379" y="750"/>
                    </a:lnTo>
                    <a:lnTo>
                      <a:pt x="1649" y="720"/>
                    </a:lnTo>
                    <a:lnTo>
                      <a:pt x="1529" y="780"/>
                    </a:lnTo>
                    <a:lnTo>
                      <a:pt x="1559" y="1050"/>
                    </a:lnTo>
                    <a:lnTo>
                      <a:pt x="1349" y="8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87" name="Freeform 2571">
                <a:extLst>
                  <a:ext uri="{FF2B5EF4-FFF2-40B4-BE49-F238E27FC236}">
                    <a16:creationId xmlns:a16="http://schemas.microsoft.com/office/drawing/2014/main" id="{30E96AD4-A3BC-412D-8856-F76AD27A8B3D}"/>
                  </a:ext>
                </a:extLst>
              </p:cNvPr>
              <p:cNvSpPr>
                <a:spLocks/>
              </p:cNvSpPr>
              <p:nvPr/>
            </p:nvSpPr>
            <p:spPr bwMode="auto">
              <a:xfrm>
                <a:off x="2505" y="300"/>
                <a:ext cx="270" cy="210"/>
              </a:xfrm>
              <a:custGeom>
                <a:avLst/>
                <a:gdLst>
                  <a:gd name="T0" fmla="*/ 120 w 270"/>
                  <a:gd name="T1" fmla="*/ 0 h 210"/>
                  <a:gd name="T2" fmla="*/ 270 w 270"/>
                  <a:gd name="T3" fmla="*/ 60 h 210"/>
                  <a:gd name="T4" fmla="*/ 0 w 270"/>
                  <a:gd name="T5" fmla="*/ 210 h 210"/>
                </a:gdLst>
                <a:ahLst/>
                <a:cxnLst>
                  <a:cxn ang="0">
                    <a:pos x="T0" y="T1"/>
                  </a:cxn>
                  <a:cxn ang="0">
                    <a:pos x="T2" y="T3"/>
                  </a:cxn>
                  <a:cxn ang="0">
                    <a:pos x="T4" y="T5"/>
                  </a:cxn>
                </a:cxnLst>
                <a:rect l="0" t="0" r="r" b="b"/>
                <a:pathLst>
                  <a:path w="270" h="210">
                    <a:moveTo>
                      <a:pt x="120" y="0"/>
                    </a:move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88" name="Freeform 2572">
                <a:extLst>
                  <a:ext uri="{FF2B5EF4-FFF2-40B4-BE49-F238E27FC236}">
                    <a16:creationId xmlns:a16="http://schemas.microsoft.com/office/drawing/2014/main" id="{0D7CDB19-E77E-4992-A8C8-012ECF49F28B}"/>
                  </a:ext>
                </a:extLst>
              </p:cNvPr>
              <p:cNvSpPr>
                <a:spLocks/>
              </p:cNvSpPr>
              <p:nvPr/>
            </p:nvSpPr>
            <p:spPr bwMode="auto">
              <a:xfrm>
                <a:off x="2775" y="360"/>
                <a:ext cx="180" cy="90"/>
              </a:xfrm>
              <a:custGeom>
                <a:avLst/>
                <a:gdLst>
                  <a:gd name="T0" fmla="*/ 120 w 180"/>
                  <a:gd name="T1" fmla="*/ 90 h 90"/>
                  <a:gd name="T2" fmla="*/ 0 w 180"/>
                  <a:gd name="T3" fmla="*/ 0 h 90"/>
                  <a:gd name="T4" fmla="*/ 180 w 180"/>
                  <a:gd name="T5" fmla="*/ 0 h 90"/>
                  <a:gd name="T6" fmla="*/ 120 w 180"/>
                  <a:gd name="T7" fmla="*/ 90 h 90"/>
                </a:gdLst>
                <a:ahLst/>
                <a:cxnLst>
                  <a:cxn ang="0">
                    <a:pos x="T0" y="T1"/>
                  </a:cxn>
                  <a:cxn ang="0">
                    <a:pos x="T2" y="T3"/>
                  </a:cxn>
                  <a:cxn ang="0">
                    <a:pos x="T4" y="T5"/>
                  </a:cxn>
                  <a:cxn ang="0">
                    <a:pos x="T6" y="T7"/>
                  </a:cxn>
                </a:cxnLst>
                <a:rect l="0" t="0" r="r" b="b"/>
                <a:pathLst>
                  <a:path w="180" h="90">
                    <a:moveTo>
                      <a:pt x="120" y="90"/>
                    </a:moveTo>
                    <a:lnTo>
                      <a:pt x="0" y="0"/>
                    </a:lnTo>
                    <a:lnTo>
                      <a:pt x="180" y="0"/>
                    </a:lnTo>
                    <a:lnTo>
                      <a:pt x="12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89" name="Freeform 2573">
                <a:extLst>
                  <a:ext uri="{FF2B5EF4-FFF2-40B4-BE49-F238E27FC236}">
                    <a16:creationId xmlns:a16="http://schemas.microsoft.com/office/drawing/2014/main" id="{51C5185B-F323-48DD-AAA4-37C51C6BB380}"/>
                  </a:ext>
                </a:extLst>
              </p:cNvPr>
              <p:cNvSpPr>
                <a:spLocks/>
              </p:cNvSpPr>
              <p:nvPr/>
            </p:nvSpPr>
            <p:spPr bwMode="auto">
              <a:xfrm>
                <a:off x="2595" y="30"/>
                <a:ext cx="210" cy="150"/>
              </a:xfrm>
              <a:custGeom>
                <a:avLst/>
                <a:gdLst>
                  <a:gd name="T0" fmla="*/ 120 w 210"/>
                  <a:gd name="T1" fmla="*/ 60 h 150"/>
                  <a:gd name="T2" fmla="*/ 210 w 210"/>
                  <a:gd name="T3" fmla="*/ 90 h 150"/>
                  <a:gd name="T4" fmla="*/ 0 w 210"/>
                  <a:gd name="T5" fmla="*/ 150 h 150"/>
                  <a:gd name="T6" fmla="*/ 0 w 210"/>
                  <a:gd name="T7" fmla="*/ 0 h 150"/>
                  <a:gd name="T8" fmla="*/ 120 w 210"/>
                  <a:gd name="T9" fmla="*/ 60 h 150"/>
                </a:gdLst>
                <a:ahLst/>
                <a:cxnLst>
                  <a:cxn ang="0">
                    <a:pos x="T0" y="T1"/>
                  </a:cxn>
                  <a:cxn ang="0">
                    <a:pos x="T2" y="T3"/>
                  </a:cxn>
                  <a:cxn ang="0">
                    <a:pos x="T4" y="T5"/>
                  </a:cxn>
                  <a:cxn ang="0">
                    <a:pos x="T6" y="T7"/>
                  </a:cxn>
                  <a:cxn ang="0">
                    <a:pos x="T8" y="T9"/>
                  </a:cxn>
                </a:cxnLst>
                <a:rect l="0" t="0" r="r" b="b"/>
                <a:pathLst>
                  <a:path w="210" h="150">
                    <a:moveTo>
                      <a:pt x="120" y="60"/>
                    </a:moveTo>
                    <a:lnTo>
                      <a:pt x="210" y="90"/>
                    </a:lnTo>
                    <a:lnTo>
                      <a:pt x="0" y="150"/>
                    </a:lnTo>
                    <a:lnTo>
                      <a:pt x="0" y="0"/>
                    </a:lnTo>
                    <a:lnTo>
                      <a:pt x="120" y="6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90" name="Line 2574">
                <a:extLst>
                  <a:ext uri="{FF2B5EF4-FFF2-40B4-BE49-F238E27FC236}">
                    <a16:creationId xmlns:a16="http://schemas.microsoft.com/office/drawing/2014/main" id="{BA5B93E6-4B50-4E24-A4AE-93F030B6AAF6}"/>
                  </a:ext>
                </a:extLst>
              </p:cNvPr>
              <p:cNvSpPr>
                <a:spLocks noChangeShapeType="1"/>
              </p:cNvSpPr>
              <p:nvPr/>
            </p:nvSpPr>
            <p:spPr bwMode="auto">
              <a:xfrm flipH="1">
                <a:off x="2385" y="1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91" name="Freeform 2575">
                <a:extLst>
                  <a:ext uri="{FF2B5EF4-FFF2-40B4-BE49-F238E27FC236}">
                    <a16:creationId xmlns:a16="http://schemas.microsoft.com/office/drawing/2014/main" id="{31D94363-294E-44E7-8EDF-82A79BC928E5}"/>
                  </a:ext>
                </a:extLst>
              </p:cNvPr>
              <p:cNvSpPr>
                <a:spLocks/>
              </p:cNvSpPr>
              <p:nvPr/>
            </p:nvSpPr>
            <p:spPr bwMode="auto">
              <a:xfrm>
                <a:off x="1876" y="30"/>
                <a:ext cx="2398" cy="390"/>
              </a:xfrm>
              <a:custGeom>
                <a:avLst/>
                <a:gdLst>
                  <a:gd name="T0" fmla="*/ 509 w 2398"/>
                  <a:gd name="T1" fmla="*/ 60 h 390"/>
                  <a:gd name="T2" fmla="*/ 419 w 2398"/>
                  <a:gd name="T3" fmla="*/ 120 h 390"/>
                  <a:gd name="T4" fmla="*/ 239 w 2398"/>
                  <a:gd name="T5" fmla="*/ 60 h 390"/>
                  <a:gd name="T6" fmla="*/ 90 w 2398"/>
                  <a:gd name="T7" fmla="*/ 30 h 390"/>
                  <a:gd name="T8" fmla="*/ 0 w 2398"/>
                  <a:gd name="T9" fmla="*/ 120 h 390"/>
                  <a:gd name="T10" fmla="*/ 180 w 2398"/>
                  <a:gd name="T11" fmla="*/ 180 h 390"/>
                  <a:gd name="T12" fmla="*/ 90 w 2398"/>
                  <a:gd name="T13" fmla="*/ 330 h 390"/>
                  <a:gd name="T14" fmla="*/ 239 w 2398"/>
                  <a:gd name="T15" fmla="*/ 300 h 390"/>
                  <a:gd name="T16" fmla="*/ 239 w 2398"/>
                  <a:gd name="T17" fmla="*/ 60 h 390"/>
                  <a:gd name="T18" fmla="*/ 359 w 2398"/>
                  <a:gd name="T19" fmla="*/ 210 h 390"/>
                  <a:gd name="T20" fmla="*/ 359 w 2398"/>
                  <a:gd name="T21" fmla="*/ 360 h 390"/>
                  <a:gd name="T22" fmla="*/ 479 w 2398"/>
                  <a:gd name="T23" fmla="*/ 300 h 390"/>
                  <a:gd name="T24" fmla="*/ 419 w 2398"/>
                  <a:gd name="T25" fmla="*/ 120 h 390"/>
                  <a:gd name="T26" fmla="*/ 509 w 2398"/>
                  <a:gd name="T27" fmla="*/ 180 h 390"/>
                  <a:gd name="T28" fmla="*/ 509 w 2398"/>
                  <a:gd name="T29" fmla="*/ 60 h 390"/>
                  <a:gd name="T30" fmla="*/ 629 w 2398"/>
                  <a:gd name="T31" fmla="*/ 30 h 390"/>
                  <a:gd name="T32" fmla="*/ 719 w 2398"/>
                  <a:gd name="T33" fmla="*/ 0 h 390"/>
                  <a:gd name="T34" fmla="*/ 629 w 2398"/>
                  <a:gd name="T35" fmla="*/ 120 h 390"/>
                  <a:gd name="T36" fmla="*/ 719 w 2398"/>
                  <a:gd name="T37" fmla="*/ 150 h 390"/>
                  <a:gd name="T38" fmla="*/ 599 w 2398"/>
                  <a:gd name="T39" fmla="*/ 240 h 390"/>
                  <a:gd name="T40" fmla="*/ 659 w 2398"/>
                  <a:gd name="T41" fmla="*/ 360 h 390"/>
                  <a:gd name="T42" fmla="*/ 749 w 2398"/>
                  <a:gd name="T43" fmla="*/ 270 h 390"/>
                  <a:gd name="T44" fmla="*/ 839 w 2398"/>
                  <a:gd name="T45" fmla="*/ 60 h 390"/>
                  <a:gd name="T46" fmla="*/ 869 w 2398"/>
                  <a:gd name="T47" fmla="*/ 210 h 390"/>
                  <a:gd name="T48" fmla="*/ 929 w 2398"/>
                  <a:gd name="T49" fmla="*/ 90 h 390"/>
                  <a:gd name="T50" fmla="*/ 899 w 2398"/>
                  <a:gd name="T51" fmla="*/ 330 h 390"/>
                  <a:gd name="T52" fmla="*/ 1019 w 2398"/>
                  <a:gd name="T53" fmla="*/ 240 h 390"/>
                  <a:gd name="T54" fmla="*/ 1079 w 2398"/>
                  <a:gd name="T55" fmla="*/ 330 h 390"/>
                  <a:gd name="T56" fmla="*/ 1139 w 2398"/>
                  <a:gd name="T57" fmla="*/ 180 h 390"/>
                  <a:gd name="T58" fmla="*/ 1079 w 2398"/>
                  <a:gd name="T59" fmla="*/ 60 h 390"/>
                  <a:gd name="T60" fmla="*/ 1199 w 2398"/>
                  <a:gd name="T61" fmla="*/ 60 h 390"/>
                  <a:gd name="T62" fmla="*/ 1319 w 2398"/>
                  <a:gd name="T63" fmla="*/ 0 h 390"/>
                  <a:gd name="T64" fmla="*/ 1319 w 2398"/>
                  <a:gd name="T65" fmla="*/ 210 h 390"/>
                  <a:gd name="T66" fmla="*/ 1199 w 2398"/>
                  <a:gd name="T67" fmla="*/ 300 h 390"/>
                  <a:gd name="T68" fmla="*/ 1319 w 2398"/>
                  <a:gd name="T69" fmla="*/ 360 h 390"/>
                  <a:gd name="T70" fmla="*/ 1439 w 2398"/>
                  <a:gd name="T71" fmla="*/ 270 h 390"/>
                  <a:gd name="T72" fmla="*/ 1379 w 2398"/>
                  <a:gd name="T73" fmla="*/ 120 h 390"/>
                  <a:gd name="T74" fmla="*/ 1469 w 2398"/>
                  <a:gd name="T75" fmla="*/ 60 h 390"/>
                  <a:gd name="T76" fmla="*/ 1589 w 2398"/>
                  <a:gd name="T77" fmla="*/ 120 h 390"/>
                  <a:gd name="T78" fmla="*/ 1559 w 2398"/>
                  <a:gd name="T79" fmla="*/ 240 h 390"/>
                  <a:gd name="T80" fmla="*/ 1619 w 2398"/>
                  <a:gd name="T81" fmla="*/ 360 h 390"/>
                  <a:gd name="T82" fmla="*/ 1709 w 2398"/>
                  <a:gd name="T83" fmla="*/ 270 h 390"/>
                  <a:gd name="T84" fmla="*/ 1679 w 2398"/>
                  <a:gd name="T85" fmla="*/ 150 h 390"/>
                  <a:gd name="T86" fmla="*/ 1679 w 2398"/>
                  <a:gd name="T87" fmla="*/ 0 h 390"/>
                  <a:gd name="T88" fmla="*/ 1799 w 2398"/>
                  <a:gd name="T89" fmla="*/ 60 h 390"/>
                  <a:gd name="T90" fmla="*/ 1829 w 2398"/>
                  <a:gd name="T91" fmla="*/ 210 h 390"/>
                  <a:gd name="T92" fmla="*/ 1978 w 2398"/>
                  <a:gd name="T93" fmla="*/ 120 h 390"/>
                  <a:gd name="T94" fmla="*/ 1948 w 2398"/>
                  <a:gd name="T95" fmla="*/ 240 h 390"/>
                  <a:gd name="T96" fmla="*/ 1888 w 2398"/>
                  <a:gd name="T97" fmla="*/ 360 h 390"/>
                  <a:gd name="T98" fmla="*/ 2068 w 2398"/>
                  <a:gd name="T99" fmla="*/ 330 h 390"/>
                  <a:gd name="T100" fmla="*/ 2248 w 2398"/>
                  <a:gd name="T101" fmla="*/ 390 h 390"/>
                  <a:gd name="T102" fmla="*/ 2398 w 2398"/>
                  <a:gd name="T103" fmla="*/ 270 h 390"/>
                  <a:gd name="T104" fmla="*/ 2278 w 2398"/>
                  <a:gd name="T105" fmla="*/ 240 h 390"/>
                  <a:gd name="T106" fmla="*/ 2368 w 2398"/>
                  <a:gd name="T107" fmla="*/ 12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8" h="390">
                    <a:moveTo>
                      <a:pt x="509" y="60"/>
                    </a:moveTo>
                    <a:lnTo>
                      <a:pt x="419" y="120"/>
                    </a:lnTo>
                    <a:lnTo>
                      <a:pt x="239" y="60"/>
                    </a:lnTo>
                    <a:lnTo>
                      <a:pt x="90" y="30"/>
                    </a:lnTo>
                    <a:lnTo>
                      <a:pt x="0" y="120"/>
                    </a:lnTo>
                    <a:lnTo>
                      <a:pt x="180" y="180"/>
                    </a:lnTo>
                    <a:lnTo>
                      <a:pt x="90" y="330"/>
                    </a:lnTo>
                    <a:lnTo>
                      <a:pt x="239" y="300"/>
                    </a:lnTo>
                    <a:lnTo>
                      <a:pt x="239" y="60"/>
                    </a:lnTo>
                    <a:lnTo>
                      <a:pt x="359" y="210"/>
                    </a:lnTo>
                    <a:lnTo>
                      <a:pt x="359" y="360"/>
                    </a:lnTo>
                    <a:lnTo>
                      <a:pt x="479" y="300"/>
                    </a:lnTo>
                    <a:lnTo>
                      <a:pt x="419" y="120"/>
                    </a:lnTo>
                    <a:lnTo>
                      <a:pt x="509" y="180"/>
                    </a:lnTo>
                    <a:lnTo>
                      <a:pt x="509" y="60"/>
                    </a:lnTo>
                    <a:lnTo>
                      <a:pt x="629" y="30"/>
                    </a:lnTo>
                    <a:lnTo>
                      <a:pt x="719" y="0"/>
                    </a:lnTo>
                    <a:lnTo>
                      <a:pt x="629" y="120"/>
                    </a:lnTo>
                    <a:lnTo>
                      <a:pt x="719" y="150"/>
                    </a:lnTo>
                    <a:lnTo>
                      <a:pt x="599" y="240"/>
                    </a:lnTo>
                    <a:lnTo>
                      <a:pt x="659" y="360"/>
                    </a:lnTo>
                    <a:lnTo>
                      <a:pt x="749" y="270"/>
                    </a:lnTo>
                    <a:lnTo>
                      <a:pt x="839" y="60"/>
                    </a:lnTo>
                    <a:lnTo>
                      <a:pt x="869" y="210"/>
                    </a:lnTo>
                    <a:lnTo>
                      <a:pt x="929" y="90"/>
                    </a:lnTo>
                    <a:lnTo>
                      <a:pt x="899" y="330"/>
                    </a:lnTo>
                    <a:lnTo>
                      <a:pt x="1019" y="240"/>
                    </a:lnTo>
                    <a:lnTo>
                      <a:pt x="1079" y="330"/>
                    </a:lnTo>
                    <a:lnTo>
                      <a:pt x="1139" y="180"/>
                    </a:lnTo>
                    <a:lnTo>
                      <a:pt x="1079" y="60"/>
                    </a:lnTo>
                    <a:lnTo>
                      <a:pt x="1199" y="60"/>
                    </a:lnTo>
                    <a:lnTo>
                      <a:pt x="1319" y="0"/>
                    </a:lnTo>
                    <a:lnTo>
                      <a:pt x="1319" y="210"/>
                    </a:lnTo>
                    <a:lnTo>
                      <a:pt x="1199" y="300"/>
                    </a:lnTo>
                    <a:lnTo>
                      <a:pt x="1319" y="360"/>
                    </a:lnTo>
                    <a:lnTo>
                      <a:pt x="1439" y="270"/>
                    </a:lnTo>
                    <a:lnTo>
                      <a:pt x="1379" y="120"/>
                    </a:lnTo>
                    <a:lnTo>
                      <a:pt x="1469" y="60"/>
                    </a:lnTo>
                    <a:lnTo>
                      <a:pt x="1589" y="120"/>
                    </a:lnTo>
                    <a:lnTo>
                      <a:pt x="1559" y="240"/>
                    </a:lnTo>
                    <a:lnTo>
                      <a:pt x="1619" y="360"/>
                    </a:lnTo>
                    <a:lnTo>
                      <a:pt x="1709" y="270"/>
                    </a:lnTo>
                    <a:lnTo>
                      <a:pt x="1679" y="150"/>
                    </a:lnTo>
                    <a:lnTo>
                      <a:pt x="1679" y="0"/>
                    </a:lnTo>
                    <a:lnTo>
                      <a:pt x="1799" y="60"/>
                    </a:lnTo>
                    <a:lnTo>
                      <a:pt x="1829" y="210"/>
                    </a:lnTo>
                    <a:lnTo>
                      <a:pt x="1978" y="120"/>
                    </a:lnTo>
                    <a:lnTo>
                      <a:pt x="1948" y="240"/>
                    </a:lnTo>
                    <a:lnTo>
                      <a:pt x="1888" y="360"/>
                    </a:lnTo>
                    <a:lnTo>
                      <a:pt x="2068" y="330"/>
                    </a:lnTo>
                    <a:lnTo>
                      <a:pt x="2248" y="390"/>
                    </a:lnTo>
                    <a:lnTo>
                      <a:pt x="2398" y="270"/>
                    </a:lnTo>
                    <a:lnTo>
                      <a:pt x="2278" y="240"/>
                    </a:lnTo>
                    <a:lnTo>
                      <a:pt x="2368"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92" name="Line 2576">
                <a:extLst>
                  <a:ext uri="{FF2B5EF4-FFF2-40B4-BE49-F238E27FC236}">
                    <a16:creationId xmlns:a16="http://schemas.microsoft.com/office/drawing/2014/main" id="{5839E011-6068-48EB-8FA5-55D45E3823EA}"/>
                  </a:ext>
                </a:extLst>
              </p:cNvPr>
              <p:cNvSpPr>
                <a:spLocks noChangeShapeType="1"/>
              </p:cNvSpPr>
              <p:nvPr/>
            </p:nvSpPr>
            <p:spPr bwMode="auto">
              <a:xfrm flipV="1">
                <a:off x="2235" y="15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93" name="Freeform 2577">
                <a:extLst>
                  <a:ext uri="{FF2B5EF4-FFF2-40B4-BE49-F238E27FC236}">
                    <a16:creationId xmlns:a16="http://schemas.microsoft.com/office/drawing/2014/main" id="{9B7C29E2-58D2-428B-94B7-BCA998F2F783}"/>
                  </a:ext>
                </a:extLst>
              </p:cNvPr>
              <p:cNvSpPr>
                <a:spLocks/>
              </p:cNvSpPr>
              <p:nvPr/>
            </p:nvSpPr>
            <p:spPr bwMode="auto">
              <a:xfrm>
                <a:off x="2355" y="210"/>
                <a:ext cx="180" cy="360"/>
              </a:xfrm>
              <a:custGeom>
                <a:avLst/>
                <a:gdLst>
                  <a:gd name="T0" fmla="*/ 180 w 180"/>
                  <a:gd name="T1" fmla="*/ 180 h 360"/>
                  <a:gd name="T2" fmla="*/ 0 w 180"/>
                  <a:gd name="T3" fmla="*/ 120 h 360"/>
                  <a:gd name="T4" fmla="*/ 30 w 180"/>
                  <a:gd name="T5" fmla="*/ 0 h 360"/>
                  <a:gd name="T6" fmla="*/ 120 w 180"/>
                  <a:gd name="T7" fmla="*/ 60 h 360"/>
                  <a:gd name="T8" fmla="*/ 60 w 180"/>
                  <a:gd name="T9" fmla="*/ 360 h 360"/>
                </a:gdLst>
                <a:ahLst/>
                <a:cxnLst>
                  <a:cxn ang="0">
                    <a:pos x="T0" y="T1"/>
                  </a:cxn>
                  <a:cxn ang="0">
                    <a:pos x="T2" y="T3"/>
                  </a:cxn>
                  <a:cxn ang="0">
                    <a:pos x="T4" y="T5"/>
                  </a:cxn>
                  <a:cxn ang="0">
                    <a:pos x="T6" y="T7"/>
                  </a:cxn>
                  <a:cxn ang="0">
                    <a:pos x="T8" y="T9"/>
                  </a:cxn>
                </a:cxnLst>
                <a:rect l="0" t="0" r="r" b="b"/>
                <a:pathLst>
                  <a:path w="180" h="360">
                    <a:moveTo>
                      <a:pt x="180" y="180"/>
                    </a:moveTo>
                    <a:lnTo>
                      <a:pt x="0" y="120"/>
                    </a:lnTo>
                    <a:lnTo>
                      <a:pt x="30" y="0"/>
                    </a:lnTo>
                    <a:lnTo>
                      <a:pt x="120" y="60"/>
                    </a:lnTo>
                    <a:lnTo>
                      <a:pt x="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94" name="Line 2578">
                <a:extLst>
                  <a:ext uri="{FF2B5EF4-FFF2-40B4-BE49-F238E27FC236}">
                    <a16:creationId xmlns:a16="http://schemas.microsoft.com/office/drawing/2014/main" id="{0C12757D-AB37-4E74-BDC5-9B5F865D90E9}"/>
                  </a:ext>
                </a:extLst>
              </p:cNvPr>
              <p:cNvSpPr>
                <a:spLocks noChangeShapeType="1"/>
              </p:cNvSpPr>
              <p:nvPr/>
            </p:nvSpPr>
            <p:spPr bwMode="auto">
              <a:xfrm>
                <a:off x="2235" y="390"/>
                <a:ext cx="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95" name="Freeform 2579">
                <a:extLst>
                  <a:ext uri="{FF2B5EF4-FFF2-40B4-BE49-F238E27FC236}">
                    <a16:creationId xmlns:a16="http://schemas.microsoft.com/office/drawing/2014/main" id="{67314A82-2761-4115-8F01-E7FF69659BD6}"/>
                  </a:ext>
                </a:extLst>
              </p:cNvPr>
              <p:cNvSpPr>
                <a:spLocks/>
              </p:cNvSpPr>
              <p:nvPr/>
            </p:nvSpPr>
            <p:spPr bwMode="auto">
              <a:xfrm>
                <a:off x="2625" y="300"/>
                <a:ext cx="180" cy="330"/>
              </a:xfrm>
              <a:custGeom>
                <a:avLst/>
                <a:gdLst>
                  <a:gd name="T0" fmla="*/ 180 w 180"/>
                  <a:gd name="T1" fmla="*/ 240 h 330"/>
                  <a:gd name="T2" fmla="*/ 0 w 180"/>
                  <a:gd name="T3" fmla="*/ 0 h 330"/>
                  <a:gd name="T4" fmla="*/ 120 w 180"/>
                  <a:gd name="T5" fmla="*/ 330 h 330"/>
                </a:gdLst>
                <a:ahLst/>
                <a:cxnLst>
                  <a:cxn ang="0">
                    <a:pos x="T0" y="T1"/>
                  </a:cxn>
                  <a:cxn ang="0">
                    <a:pos x="T2" y="T3"/>
                  </a:cxn>
                  <a:cxn ang="0">
                    <a:pos x="T4" y="T5"/>
                  </a:cxn>
                </a:cxnLst>
                <a:rect l="0" t="0" r="r" b="b"/>
                <a:pathLst>
                  <a:path w="180" h="330">
                    <a:moveTo>
                      <a:pt x="180" y="240"/>
                    </a:moveTo>
                    <a:lnTo>
                      <a:pt x="0" y="0"/>
                    </a:lnTo>
                    <a:lnTo>
                      <a:pt x="12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96" name="Line 2580">
                <a:extLst>
                  <a:ext uri="{FF2B5EF4-FFF2-40B4-BE49-F238E27FC236}">
                    <a16:creationId xmlns:a16="http://schemas.microsoft.com/office/drawing/2014/main" id="{D6EE9666-A495-4997-B1C3-2580ADBF7108}"/>
                  </a:ext>
                </a:extLst>
              </p:cNvPr>
              <p:cNvSpPr>
                <a:spLocks noChangeShapeType="1"/>
              </p:cNvSpPr>
              <p:nvPr/>
            </p:nvSpPr>
            <p:spPr bwMode="auto">
              <a:xfrm>
                <a:off x="2595" y="18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grpSp>
        <p:grpSp>
          <p:nvGrpSpPr>
            <p:cNvPr id="10" name="Group 2782">
              <a:extLst>
                <a:ext uri="{FF2B5EF4-FFF2-40B4-BE49-F238E27FC236}">
                  <a16:creationId xmlns:a16="http://schemas.microsoft.com/office/drawing/2014/main" id="{785A3362-B51B-485E-AB6E-C03C3E4910F0}"/>
                </a:ext>
              </a:extLst>
            </p:cNvPr>
            <p:cNvGrpSpPr>
              <a:grpSpLocks/>
            </p:cNvGrpSpPr>
            <p:nvPr/>
          </p:nvGrpSpPr>
          <p:grpSpPr bwMode="auto">
            <a:xfrm>
              <a:off x="1246" y="0"/>
              <a:ext cx="3268" cy="3210"/>
              <a:chOff x="1246" y="0"/>
              <a:chExt cx="3268" cy="3210"/>
            </a:xfrm>
          </p:grpSpPr>
          <p:sp>
            <p:nvSpPr>
              <p:cNvPr id="397" name="Freeform 2582">
                <a:extLst>
                  <a:ext uri="{FF2B5EF4-FFF2-40B4-BE49-F238E27FC236}">
                    <a16:creationId xmlns:a16="http://schemas.microsoft.com/office/drawing/2014/main" id="{A38E53EB-5BF8-44E9-BE48-54D20AD59F0D}"/>
                  </a:ext>
                </a:extLst>
              </p:cNvPr>
              <p:cNvSpPr>
                <a:spLocks/>
              </p:cNvSpPr>
              <p:nvPr/>
            </p:nvSpPr>
            <p:spPr bwMode="auto">
              <a:xfrm>
                <a:off x="2895" y="90"/>
                <a:ext cx="180" cy="240"/>
              </a:xfrm>
              <a:custGeom>
                <a:avLst/>
                <a:gdLst>
                  <a:gd name="T0" fmla="*/ 180 w 180"/>
                  <a:gd name="T1" fmla="*/ 0 h 240"/>
                  <a:gd name="T2" fmla="*/ 180 w 180"/>
                  <a:gd name="T3" fmla="*/ 240 h 240"/>
                  <a:gd name="T4" fmla="*/ 0 w 180"/>
                  <a:gd name="T5" fmla="*/ 180 h 240"/>
                </a:gdLst>
                <a:ahLst/>
                <a:cxnLst>
                  <a:cxn ang="0">
                    <a:pos x="T0" y="T1"/>
                  </a:cxn>
                  <a:cxn ang="0">
                    <a:pos x="T2" y="T3"/>
                  </a:cxn>
                  <a:cxn ang="0">
                    <a:pos x="T4" y="T5"/>
                  </a:cxn>
                </a:cxnLst>
                <a:rect l="0" t="0" r="r" b="b"/>
                <a:pathLst>
                  <a:path w="180" h="240">
                    <a:moveTo>
                      <a:pt x="180" y="0"/>
                    </a:moveTo>
                    <a:lnTo>
                      <a:pt x="180" y="24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98" name="Freeform 2583">
                <a:extLst>
                  <a:ext uri="{FF2B5EF4-FFF2-40B4-BE49-F238E27FC236}">
                    <a16:creationId xmlns:a16="http://schemas.microsoft.com/office/drawing/2014/main" id="{66D8973D-BD42-4FEC-884F-50FE07286068}"/>
                  </a:ext>
                </a:extLst>
              </p:cNvPr>
              <p:cNvSpPr>
                <a:spLocks/>
              </p:cNvSpPr>
              <p:nvPr/>
            </p:nvSpPr>
            <p:spPr bwMode="auto">
              <a:xfrm>
                <a:off x="2805" y="120"/>
                <a:ext cx="450" cy="90"/>
              </a:xfrm>
              <a:custGeom>
                <a:avLst/>
                <a:gdLst>
                  <a:gd name="T0" fmla="*/ 0 w 450"/>
                  <a:gd name="T1" fmla="*/ 0 h 90"/>
                  <a:gd name="T2" fmla="*/ 210 w 450"/>
                  <a:gd name="T3" fmla="*/ 90 h 90"/>
                  <a:gd name="T4" fmla="*/ 450 w 450"/>
                  <a:gd name="T5" fmla="*/ 30 h 90"/>
                </a:gdLst>
                <a:ahLst/>
                <a:cxnLst>
                  <a:cxn ang="0">
                    <a:pos x="T0" y="T1"/>
                  </a:cxn>
                  <a:cxn ang="0">
                    <a:pos x="T2" y="T3"/>
                  </a:cxn>
                  <a:cxn ang="0">
                    <a:pos x="T4" y="T5"/>
                  </a:cxn>
                </a:cxnLst>
                <a:rect l="0" t="0" r="r" b="b"/>
                <a:pathLst>
                  <a:path w="450" h="90">
                    <a:moveTo>
                      <a:pt x="0" y="0"/>
                    </a:moveTo>
                    <a:lnTo>
                      <a:pt x="210" y="90"/>
                    </a:lnTo>
                    <a:lnTo>
                      <a:pt x="45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99" name="Freeform 2584">
                <a:extLst>
                  <a:ext uri="{FF2B5EF4-FFF2-40B4-BE49-F238E27FC236}">
                    <a16:creationId xmlns:a16="http://schemas.microsoft.com/office/drawing/2014/main" id="{E961C200-2599-4F20-B7CB-6FB6267D2511}"/>
                  </a:ext>
                </a:extLst>
              </p:cNvPr>
              <p:cNvSpPr>
                <a:spLocks/>
              </p:cNvSpPr>
              <p:nvPr/>
            </p:nvSpPr>
            <p:spPr bwMode="auto">
              <a:xfrm>
                <a:off x="2955" y="270"/>
                <a:ext cx="480" cy="240"/>
              </a:xfrm>
              <a:custGeom>
                <a:avLst/>
                <a:gdLst>
                  <a:gd name="T0" fmla="*/ 480 w 480"/>
                  <a:gd name="T1" fmla="*/ 0 h 240"/>
                  <a:gd name="T2" fmla="*/ 330 w 480"/>
                  <a:gd name="T3" fmla="*/ 210 h 240"/>
                  <a:gd name="T4" fmla="*/ 0 w 480"/>
                  <a:gd name="T5" fmla="*/ 90 h 240"/>
                  <a:gd name="T6" fmla="*/ 150 w 480"/>
                  <a:gd name="T7" fmla="*/ 240 h 240"/>
                </a:gdLst>
                <a:ahLst/>
                <a:cxnLst>
                  <a:cxn ang="0">
                    <a:pos x="T0" y="T1"/>
                  </a:cxn>
                  <a:cxn ang="0">
                    <a:pos x="T2" y="T3"/>
                  </a:cxn>
                  <a:cxn ang="0">
                    <a:pos x="T4" y="T5"/>
                  </a:cxn>
                  <a:cxn ang="0">
                    <a:pos x="T6" y="T7"/>
                  </a:cxn>
                </a:cxnLst>
                <a:rect l="0" t="0" r="r" b="b"/>
                <a:pathLst>
                  <a:path w="480" h="240">
                    <a:moveTo>
                      <a:pt x="480" y="0"/>
                    </a:moveTo>
                    <a:lnTo>
                      <a:pt x="330" y="210"/>
                    </a:lnTo>
                    <a:lnTo>
                      <a:pt x="0" y="9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00" name="Line 2585">
                <a:extLst>
                  <a:ext uri="{FF2B5EF4-FFF2-40B4-BE49-F238E27FC236}">
                    <a16:creationId xmlns:a16="http://schemas.microsoft.com/office/drawing/2014/main" id="{70799D87-2D0B-40CD-80DD-0AA40881628F}"/>
                  </a:ext>
                </a:extLst>
              </p:cNvPr>
              <p:cNvSpPr>
                <a:spLocks noChangeShapeType="1"/>
              </p:cNvSpPr>
              <p:nvPr/>
            </p:nvSpPr>
            <p:spPr bwMode="auto">
              <a:xfrm flipV="1">
                <a:off x="3465" y="39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01" name="Freeform 2586">
                <a:extLst>
                  <a:ext uri="{FF2B5EF4-FFF2-40B4-BE49-F238E27FC236}">
                    <a16:creationId xmlns:a16="http://schemas.microsoft.com/office/drawing/2014/main" id="{CB8486A4-CF25-4480-86EA-F201C29099CA}"/>
                  </a:ext>
                </a:extLst>
              </p:cNvPr>
              <p:cNvSpPr>
                <a:spLocks/>
              </p:cNvSpPr>
              <p:nvPr/>
            </p:nvSpPr>
            <p:spPr bwMode="auto">
              <a:xfrm>
                <a:off x="3585" y="240"/>
                <a:ext cx="209" cy="270"/>
              </a:xfrm>
              <a:custGeom>
                <a:avLst/>
                <a:gdLst>
                  <a:gd name="T0" fmla="*/ 0 w 209"/>
                  <a:gd name="T1" fmla="*/ 60 h 270"/>
                  <a:gd name="T2" fmla="*/ 90 w 209"/>
                  <a:gd name="T3" fmla="*/ 210 h 270"/>
                  <a:gd name="T4" fmla="*/ 120 w 209"/>
                  <a:gd name="T5" fmla="*/ 0 h 270"/>
                  <a:gd name="T6" fmla="*/ 179 w 209"/>
                  <a:gd name="T7" fmla="*/ 150 h 270"/>
                  <a:gd name="T8" fmla="*/ 209 w 209"/>
                  <a:gd name="T9" fmla="*/ 270 h 270"/>
                </a:gdLst>
                <a:ahLst/>
                <a:cxnLst>
                  <a:cxn ang="0">
                    <a:pos x="T0" y="T1"/>
                  </a:cxn>
                  <a:cxn ang="0">
                    <a:pos x="T2" y="T3"/>
                  </a:cxn>
                  <a:cxn ang="0">
                    <a:pos x="T4" y="T5"/>
                  </a:cxn>
                  <a:cxn ang="0">
                    <a:pos x="T6" y="T7"/>
                  </a:cxn>
                  <a:cxn ang="0">
                    <a:pos x="T8" y="T9"/>
                  </a:cxn>
                </a:cxnLst>
                <a:rect l="0" t="0" r="r" b="b"/>
                <a:pathLst>
                  <a:path w="209" h="270">
                    <a:moveTo>
                      <a:pt x="0" y="60"/>
                    </a:moveTo>
                    <a:lnTo>
                      <a:pt x="90" y="210"/>
                    </a:lnTo>
                    <a:lnTo>
                      <a:pt x="120" y="0"/>
                    </a:lnTo>
                    <a:lnTo>
                      <a:pt x="179" y="150"/>
                    </a:lnTo>
                    <a:lnTo>
                      <a:pt x="20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02" name="Freeform 2587">
                <a:extLst>
                  <a:ext uri="{FF2B5EF4-FFF2-40B4-BE49-F238E27FC236}">
                    <a16:creationId xmlns:a16="http://schemas.microsoft.com/office/drawing/2014/main" id="{08F84276-6113-4515-B4BF-4D6A7EBAD2A1}"/>
                  </a:ext>
                </a:extLst>
              </p:cNvPr>
              <p:cNvSpPr>
                <a:spLocks/>
              </p:cNvSpPr>
              <p:nvPr/>
            </p:nvSpPr>
            <p:spPr bwMode="auto">
              <a:xfrm>
                <a:off x="3555" y="90"/>
                <a:ext cx="389" cy="270"/>
              </a:xfrm>
              <a:custGeom>
                <a:avLst/>
                <a:gdLst>
                  <a:gd name="T0" fmla="*/ 150 w 389"/>
                  <a:gd name="T1" fmla="*/ 150 h 270"/>
                  <a:gd name="T2" fmla="*/ 0 w 389"/>
                  <a:gd name="T3" fmla="*/ 90 h 270"/>
                  <a:gd name="T4" fmla="*/ 120 w 389"/>
                  <a:gd name="T5" fmla="*/ 0 h 270"/>
                  <a:gd name="T6" fmla="*/ 269 w 389"/>
                  <a:gd name="T7" fmla="*/ 180 h 270"/>
                  <a:gd name="T8" fmla="*/ 389 w 389"/>
                  <a:gd name="T9" fmla="*/ 270 h 270"/>
                </a:gdLst>
                <a:ahLst/>
                <a:cxnLst>
                  <a:cxn ang="0">
                    <a:pos x="T0" y="T1"/>
                  </a:cxn>
                  <a:cxn ang="0">
                    <a:pos x="T2" y="T3"/>
                  </a:cxn>
                  <a:cxn ang="0">
                    <a:pos x="T4" y="T5"/>
                  </a:cxn>
                  <a:cxn ang="0">
                    <a:pos x="T6" y="T7"/>
                  </a:cxn>
                  <a:cxn ang="0">
                    <a:pos x="T8" y="T9"/>
                  </a:cxn>
                </a:cxnLst>
                <a:rect l="0" t="0" r="r" b="b"/>
                <a:pathLst>
                  <a:path w="389" h="270">
                    <a:moveTo>
                      <a:pt x="150" y="150"/>
                    </a:moveTo>
                    <a:lnTo>
                      <a:pt x="0" y="90"/>
                    </a:lnTo>
                    <a:lnTo>
                      <a:pt x="120" y="0"/>
                    </a:lnTo>
                    <a:lnTo>
                      <a:pt x="269" y="180"/>
                    </a:lnTo>
                    <a:lnTo>
                      <a:pt x="38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03" name="Freeform 2588">
                <a:extLst>
                  <a:ext uri="{FF2B5EF4-FFF2-40B4-BE49-F238E27FC236}">
                    <a16:creationId xmlns:a16="http://schemas.microsoft.com/office/drawing/2014/main" id="{BEB24055-519A-4BA3-BEA1-EBC425449AB7}"/>
                  </a:ext>
                </a:extLst>
              </p:cNvPr>
              <p:cNvSpPr>
                <a:spLocks/>
              </p:cNvSpPr>
              <p:nvPr/>
            </p:nvSpPr>
            <p:spPr bwMode="auto">
              <a:xfrm>
                <a:off x="3764" y="390"/>
                <a:ext cx="360" cy="360"/>
              </a:xfrm>
              <a:custGeom>
                <a:avLst/>
                <a:gdLst>
                  <a:gd name="T0" fmla="*/ 0 w 360"/>
                  <a:gd name="T1" fmla="*/ 0 h 360"/>
                  <a:gd name="T2" fmla="*/ 180 w 360"/>
                  <a:gd name="T3" fmla="*/ 90 h 360"/>
                  <a:gd name="T4" fmla="*/ 360 w 360"/>
                  <a:gd name="T5" fmla="*/ 360 h 360"/>
                </a:gdLst>
                <a:ahLst/>
                <a:cxnLst>
                  <a:cxn ang="0">
                    <a:pos x="T0" y="T1"/>
                  </a:cxn>
                  <a:cxn ang="0">
                    <a:pos x="T2" y="T3"/>
                  </a:cxn>
                  <a:cxn ang="0">
                    <a:pos x="T4" y="T5"/>
                  </a:cxn>
                </a:cxnLst>
                <a:rect l="0" t="0" r="r" b="b"/>
                <a:pathLst>
                  <a:path w="360" h="360">
                    <a:moveTo>
                      <a:pt x="0" y="0"/>
                    </a:moveTo>
                    <a:lnTo>
                      <a:pt x="180" y="90"/>
                    </a:lnTo>
                    <a:lnTo>
                      <a:pt x="3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04" name="Freeform 2589">
                <a:extLst>
                  <a:ext uri="{FF2B5EF4-FFF2-40B4-BE49-F238E27FC236}">
                    <a16:creationId xmlns:a16="http://schemas.microsoft.com/office/drawing/2014/main" id="{65184E9D-5272-4018-BC72-E95E37BD086A}"/>
                  </a:ext>
                </a:extLst>
              </p:cNvPr>
              <p:cNvSpPr>
                <a:spLocks/>
              </p:cNvSpPr>
              <p:nvPr/>
            </p:nvSpPr>
            <p:spPr bwMode="auto">
              <a:xfrm>
                <a:off x="3824" y="60"/>
                <a:ext cx="600" cy="240"/>
              </a:xfrm>
              <a:custGeom>
                <a:avLst/>
                <a:gdLst>
                  <a:gd name="T0" fmla="*/ 600 w 600"/>
                  <a:gd name="T1" fmla="*/ 0 h 240"/>
                  <a:gd name="T2" fmla="*/ 450 w 600"/>
                  <a:gd name="T3" fmla="*/ 240 h 240"/>
                  <a:gd name="T4" fmla="*/ 270 w 600"/>
                  <a:gd name="T5" fmla="*/ 60 h 240"/>
                  <a:gd name="T6" fmla="*/ 0 w 600"/>
                  <a:gd name="T7" fmla="*/ 210 h 240"/>
                </a:gdLst>
                <a:ahLst/>
                <a:cxnLst>
                  <a:cxn ang="0">
                    <a:pos x="T0" y="T1"/>
                  </a:cxn>
                  <a:cxn ang="0">
                    <a:pos x="T2" y="T3"/>
                  </a:cxn>
                  <a:cxn ang="0">
                    <a:pos x="T4" y="T5"/>
                  </a:cxn>
                  <a:cxn ang="0">
                    <a:pos x="T6" y="T7"/>
                  </a:cxn>
                </a:cxnLst>
                <a:rect l="0" t="0" r="r" b="b"/>
                <a:pathLst>
                  <a:path w="600" h="240">
                    <a:moveTo>
                      <a:pt x="600" y="0"/>
                    </a:moveTo>
                    <a:lnTo>
                      <a:pt x="450" y="240"/>
                    </a:ln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05" name="Freeform 2590">
                <a:extLst>
                  <a:ext uri="{FF2B5EF4-FFF2-40B4-BE49-F238E27FC236}">
                    <a16:creationId xmlns:a16="http://schemas.microsoft.com/office/drawing/2014/main" id="{F0FC279B-EDD9-47B1-82DF-3B4BA0F8B8EC}"/>
                  </a:ext>
                </a:extLst>
              </p:cNvPr>
              <p:cNvSpPr>
                <a:spLocks/>
              </p:cNvSpPr>
              <p:nvPr/>
            </p:nvSpPr>
            <p:spPr bwMode="auto">
              <a:xfrm>
                <a:off x="1576" y="2550"/>
                <a:ext cx="2338" cy="660"/>
              </a:xfrm>
              <a:custGeom>
                <a:avLst/>
                <a:gdLst>
                  <a:gd name="T0" fmla="*/ 30 w 2338"/>
                  <a:gd name="T1" fmla="*/ 420 h 660"/>
                  <a:gd name="T2" fmla="*/ 0 w 2338"/>
                  <a:gd name="T3" fmla="*/ 270 h 660"/>
                  <a:gd name="T4" fmla="*/ 150 w 2338"/>
                  <a:gd name="T5" fmla="*/ 510 h 660"/>
                  <a:gd name="T6" fmla="*/ 210 w 2338"/>
                  <a:gd name="T7" fmla="*/ 420 h 660"/>
                  <a:gd name="T8" fmla="*/ 210 w 2338"/>
                  <a:gd name="T9" fmla="*/ 120 h 660"/>
                  <a:gd name="T10" fmla="*/ 60 w 2338"/>
                  <a:gd name="T11" fmla="*/ 150 h 660"/>
                  <a:gd name="T12" fmla="*/ 120 w 2338"/>
                  <a:gd name="T13" fmla="*/ 0 h 660"/>
                  <a:gd name="T14" fmla="*/ 330 w 2338"/>
                  <a:gd name="T15" fmla="*/ 90 h 660"/>
                  <a:gd name="T16" fmla="*/ 420 w 2338"/>
                  <a:gd name="T17" fmla="*/ 210 h 660"/>
                  <a:gd name="T18" fmla="*/ 210 w 2338"/>
                  <a:gd name="T19" fmla="*/ 120 h 660"/>
                  <a:gd name="T20" fmla="*/ 270 w 2338"/>
                  <a:gd name="T21" fmla="*/ 240 h 660"/>
                  <a:gd name="T22" fmla="*/ 420 w 2338"/>
                  <a:gd name="T23" fmla="*/ 210 h 660"/>
                  <a:gd name="T24" fmla="*/ 510 w 2338"/>
                  <a:gd name="T25" fmla="*/ 120 h 660"/>
                  <a:gd name="T26" fmla="*/ 599 w 2338"/>
                  <a:gd name="T27" fmla="*/ 210 h 660"/>
                  <a:gd name="T28" fmla="*/ 809 w 2338"/>
                  <a:gd name="T29" fmla="*/ 150 h 660"/>
                  <a:gd name="T30" fmla="*/ 719 w 2338"/>
                  <a:gd name="T31" fmla="*/ 240 h 660"/>
                  <a:gd name="T32" fmla="*/ 510 w 2338"/>
                  <a:gd name="T33" fmla="*/ 480 h 660"/>
                  <a:gd name="T34" fmla="*/ 689 w 2338"/>
                  <a:gd name="T35" fmla="*/ 510 h 660"/>
                  <a:gd name="T36" fmla="*/ 689 w 2338"/>
                  <a:gd name="T37" fmla="*/ 660 h 660"/>
                  <a:gd name="T38" fmla="*/ 569 w 2338"/>
                  <a:gd name="T39" fmla="*/ 600 h 660"/>
                  <a:gd name="T40" fmla="*/ 300 w 2338"/>
                  <a:gd name="T41" fmla="*/ 570 h 660"/>
                  <a:gd name="T42" fmla="*/ 420 w 2338"/>
                  <a:gd name="T43" fmla="*/ 330 h 660"/>
                  <a:gd name="T44" fmla="*/ 569 w 2338"/>
                  <a:gd name="T45" fmla="*/ 360 h 660"/>
                  <a:gd name="T46" fmla="*/ 599 w 2338"/>
                  <a:gd name="T47" fmla="*/ 210 h 660"/>
                  <a:gd name="T48" fmla="*/ 749 w 2338"/>
                  <a:gd name="T49" fmla="*/ 420 h 660"/>
                  <a:gd name="T50" fmla="*/ 689 w 2338"/>
                  <a:gd name="T51" fmla="*/ 510 h 660"/>
                  <a:gd name="T52" fmla="*/ 809 w 2338"/>
                  <a:gd name="T53" fmla="*/ 600 h 660"/>
                  <a:gd name="T54" fmla="*/ 929 w 2338"/>
                  <a:gd name="T55" fmla="*/ 540 h 660"/>
                  <a:gd name="T56" fmla="*/ 1079 w 2338"/>
                  <a:gd name="T57" fmla="*/ 570 h 660"/>
                  <a:gd name="T58" fmla="*/ 1049 w 2338"/>
                  <a:gd name="T59" fmla="*/ 450 h 660"/>
                  <a:gd name="T60" fmla="*/ 959 w 2338"/>
                  <a:gd name="T61" fmla="*/ 420 h 660"/>
                  <a:gd name="T62" fmla="*/ 1049 w 2338"/>
                  <a:gd name="T63" fmla="*/ 300 h 660"/>
                  <a:gd name="T64" fmla="*/ 1169 w 2338"/>
                  <a:gd name="T65" fmla="*/ 360 h 660"/>
                  <a:gd name="T66" fmla="*/ 1259 w 2338"/>
                  <a:gd name="T67" fmla="*/ 390 h 660"/>
                  <a:gd name="T68" fmla="*/ 1199 w 2338"/>
                  <a:gd name="T69" fmla="*/ 510 h 660"/>
                  <a:gd name="T70" fmla="*/ 1349 w 2338"/>
                  <a:gd name="T71" fmla="*/ 540 h 660"/>
                  <a:gd name="T72" fmla="*/ 1409 w 2338"/>
                  <a:gd name="T73" fmla="*/ 360 h 660"/>
                  <a:gd name="T74" fmla="*/ 1469 w 2338"/>
                  <a:gd name="T75" fmla="*/ 480 h 660"/>
                  <a:gd name="T76" fmla="*/ 1529 w 2338"/>
                  <a:gd name="T77" fmla="*/ 360 h 660"/>
                  <a:gd name="T78" fmla="*/ 1529 w 2338"/>
                  <a:gd name="T79" fmla="*/ 600 h 660"/>
                  <a:gd name="T80" fmla="*/ 1409 w 2338"/>
                  <a:gd name="T81" fmla="*/ 630 h 660"/>
                  <a:gd name="T82" fmla="*/ 1649 w 2338"/>
                  <a:gd name="T83" fmla="*/ 300 h 660"/>
                  <a:gd name="T84" fmla="*/ 1649 w 2338"/>
                  <a:gd name="T85" fmla="*/ 510 h 660"/>
                  <a:gd name="T86" fmla="*/ 1709 w 2338"/>
                  <a:gd name="T87" fmla="*/ 420 h 660"/>
                  <a:gd name="T88" fmla="*/ 1799 w 2338"/>
                  <a:gd name="T89" fmla="*/ 360 h 660"/>
                  <a:gd name="T90" fmla="*/ 1799 w 2338"/>
                  <a:gd name="T91" fmla="*/ 480 h 660"/>
                  <a:gd name="T92" fmla="*/ 1739 w 2338"/>
                  <a:gd name="T93" fmla="*/ 600 h 660"/>
                  <a:gd name="T94" fmla="*/ 1889 w 2338"/>
                  <a:gd name="T95" fmla="*/ 540 h 660"/>
                  <a:gd name="T96" fmla="*/ 1949 w 2338"/>
                  <a:gd name="T97" fmla="*/ 660 h 660"/>
                  <a:gd name="T98" fmla="*/ 2039 w 2338"/>
                  <a:gd name="T99" fmla="*/ 570 h 660"/>
                  <a:gd name="T100" fmla="*/ 2009 w 2338"/>
                  <a:gd name="T101" fmla="*/ 450 h 660"/>
                  <a:gd name="T102" fmla="*/ 1919 w 2338"/>
                  <a:gd name="T103" fmla="*/ 420 h 660"/>
                  <a:gd name="T104" fmla="*/ 2009 w 2338"/>
                  <a:gd name="T105" fmla="*/ 300 h 660"/>
                  <a:gd name="T106" fmla="*/ 2129 w 2338"/>
                  <a:gd name="T107" fmla="*/ 360 h 660"/>
                  <a:gd name="T108" fmla="*/ 2159 w 2338"/>
                  <a:gd name="T109" fmla="*/ 510 h 660"/>
                  <a:gd name="T110" fmla="*/ 2338 w 2338"/>
                  <a:gd name="T111" fmla="*/ 540 h 660"/>
                  <a:gd name="T112" fmla="*/ 2218 w 2338"/>
                  <a:gd name="T113" fmla="*/ 660 h 660"/>
                  <a:gd name="T114" fmla="*/ 2248 w 2338"/>
                  <a:gd name="T115" fmla="*/ 390 h 660"/>
                  <a:gd name="T116" fmla="*/ 2069 w 2338"/>
                  <a:gd name="T117" fmla="*/ 24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8" h="660">
                    <a:moveTo>
                      <a:pt x="30" y="420"/>
                    </a:moveTo>
                    <a:lnTo>
                      <a:pt x="0" y="270"/>
                    </a:lnTo>
                    <a:lnTo>
                      <a:pt x="150" y="510"/>
                    </a:lnTo>
                    <a:lnTo>
                      <a:pt x="210" y="420"/>
                    </a:lnTo>
                    <a:lnTo>
                      <a:pt x="210" y="120"/>
                    </a:lnTo>
                    <a:lnTo>
                      <a:pt x="60" y="150"/>
                    </a:lnTo>
                    <a:lnTo>
                      <a:pt x="120" y="0"/>
                    </a:lnTo>
                    <a:lnTo>
                      <a:pt x="330" y="90"/>
                    </a:lnTo>
                    <a:lnTo>
                      <a:pt x="420" y="210"/>
                    </a:lnTo>
                    <a:lnTo>
                      <a:pt x="210" y="120"/>
                    </a:lnTo>
                    <a:lnTo>
                      <a:pt x="270" y="240"/>
                    </a:lnTo>
                    <a:lnTo>
                      <a:pt x="420" y="210"/>
                    </a:lnTo>
                    <a:lnTo>
                      <a:pt x="510" y="120"/>
                    </a:lnTo>
                    <a:lnTo>
                      <a:pt x="599" y="210"/>
                    </a:lnTo>
                    <a:lnTo>
                      <a:pt x="809" y="150"/>
                    </a:lnTo>
                    <a:lnTo>
                      <a:pt x="719" y="240"/>
                    </a:lnTo>
                    <a:lnTo>
                      <a:pt x="510" y="480"/>
                    </a:lnTo>
                    <a:lnTo>
                      <a:pt x="689" y="510"/>
                    </a:lnTo>
                    <a:lnTo>
                      <a:pt x="689" y="660"/>
                    </a:lnTo>
                    <a:lnTo>
                      <a:pt x="569" y="600"/>
                    </a:lnTo>
                    <a:lnTo>
                      <a:pt x="300" y="570"/>
                    </a:lnTo>
                    <a:lnTo>
                      <a:pt x="420" y="330"/>
                    </a:lnTo>
                    <a:lnTo>
                      <a:pt x="569" y="360"/>
                    </a:lnTo>
                    <a:lnTo>
                      <a:pt x="599" y="210"/>
                    </a:lnTo>
                    <a:lnTo>
                      <a:pt x="749" y="420"/>
                    </a:lnTo>
                    <a:lnTo>
                      <a:pt x="689" y="510"/>
                    </a:lnTo>
                    <a:lnTo>
                      <a:pt x="809" y="600"/>
                    </a:lnTo>
                    <a:lnTo>
                      <a:pt x="929" y="540"/>
                    </a:lnTo>
                    <a:lnTo>
                      <a:pt x="1079" y="570"/>
                    </a:lnTo>
                    <a:lnTo>
                      <a:pt x="1049" y="450"/>
                    </a:lnTo>
                    <a:lnTo>
                      <a:pt x="959" y="420"/>
                    </a:lnTo>
                    <a:lnTo>
                      <a:pt x="1049" y="300"/>
                    </a:lnTo>
                    <a:lnTo>
                      <a:pt x="1169" y="360"/>
                    </a:lnTo>
                    <a:lnTo>
                      <a:pt x="1259" y="390"/>
                    </a:lnTo>
                    <a:lnTo>
                      <a:pt x="1199" y="510"/>
                    </a:lnTo>
                    <a:lnTo>
                      <a:pt x="1349" y="540"/>
                    </a:lnTo>
                    <a:lnTo>
                      <a:pt x="1409" y="360"/>
                    </a:lnTo>
                    <a:lnTo>
                      <a:pt x="1469" y="480"/>
                    </a:lnTo>
                    <a:lnTo>
                      <a:pt x="1529" y="360"/>
                    </a:lnTo>
                    <a:lnTo>
                      <a:pt x="1529" y="600"/>
                    </a:lnTo>
                    <a:lnTo>
                      <a:pt x="1409" y="630"/>
                    </a:lnTo>
                    <a:lnTo>
                      <a:pt x="1649" y="300"/>
                    </a:lnTo>
                    <a:lnTo>
                      <a:pt x="1649" y="510"/>
                    </a:lnTo>
                    <a:lnTo>
                      <a:pt x="1709" y="420"/>
                    </a:lnTo>
                    <a:lnTo>
                      <a:pt x="1799" y="360"/>
                    </a:lnTo>
                    <a:lnTo>
                      <a:pt x="1799" y="480"/>
                    </a:lnTo>
                    <a:lnTo>
                      <a:pt x="1739" y="600"/>
                    </a:lnTo>
                    <a:lnTo>
                      <a:pt x="1889" y="540"/>
                    </a:lnTo>
                    <a:lnTo>
                      <a:pt x="1949" y="660"/>
                    </a:lnTo>
                    <a:lnTo>
                      <a:pt x="2039" y="570"/>
                    </a:lnTo>
                    <a:lnTo>
                      <a:pt x="2009" y="450"/>
                    </a:lnTo>
                    <a:lnTo>
                      <a:pt x="1919" y="420"/>
                    </a:lnTo>
                    <a:lnTo>
                      <a:pt x="2009" y="300"/>
                    </a:lnTo>
                    <a:lnTo>
                      <a:pt x="2129" y="360"/>
                    </a:lnTo>
                    <a:lnTo>
                      <a:pt x="2159" y="510"/>
                    </a:lnTo>
                    <a:lnTo>
                      <a:pt x="2338" y="540"/>
                    </a:lnTo>
                    <a:lnTo>
                      <a:pt x="2218" y="660"/>
                    </a:lnTo>
                    <a:lnTo>
                      <a:pt x="2248" y="390"/>
                    </a:lnTo>
                    <a:lnTo>
                      <a:pt x="2069"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06" name="Freeform 2591">
                <a:extLst>
                  <a:ext uri="{FF2B5EF4-FFF2-40B4-BE49-F238E27FC236}">
                    <a16:creationId xmlns:a16="http://schemas.microsoft.com/office/drawing/2014/main" id="{5E53CBE0-47E7-4693-8C51-E828AFCA8C8B}"/>
                  </a:ext>
                </a:extLst>
              </p:cNvPr>
              <p:cNvSpPr>
                <a:spLocks/>
              </p:cNvSpPr>
              <p:nvPr/>
            </p:nvSpPr>
            <p:spPr bwMode="auto">
              <a:xfrm>
                <a:off x="3585" y="2760"/>
                <a:ext cx="269" cy="300"/>
              </a:xfrm>
              <a:custGeom>
                <a:avLst/>
                <a:gdLst>
                  <a:gd name="T0" fmla="*/ 269 w 269"/>
                  <a:gd name="T1" fmla="*/ 0 h 300"/>
                  <a:gd name="T2" fmla="*/ 120 w 269"/>
                  <a:gd name="T3" fmla="*/ 150 h 300"/>
                  <a:gd name="T4" fmla="*/ 0 w 269"/>
                  <a:gd name="T5" fmla="*/ 240 h 300"/>
                  <a:gd name="T6" fmla="*/ 150 w 269"/>
                  <a:gd name="T7" fmla="*/ 300 h 300"/>
                </a:gdLst>
                <a:ahLst/>
                <a:cxnLst>
                  <a:cxn ang="0">
                    <a:pos x="T0" y="T1"/>
                  </a:cxn>
                  <a:cxn ang="0">
                    <a:pos x="T2" y="T3"/>
                  </a:cxn>
                  <a:cxn ang="0">
                    <a:pos x="T4" y="T5"/>
                  </a:cxn>
                  <a:cxn ang="0">
                    <a:pos x="T6" y="T7"/>
                  </a:cxn>
                </a:cxnLst>
                <a:rect l="0" t="0" r="r" b="b"/>
                <a:pathLst>
                  <a:path w="269" h="300">
                    <a:moveTo>
                      <a:pt x="269" y="0"/>
                    </a:moveTo>
                    <a:lnTo>
                      <a:pt x="120" y="150"/>
                    </a:lnTo>
                    <a:lnTo>
                      <a:pt x="0" y="24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07" name="Freeform 2592">
                <a:extLst>
                  <a:ext uri="{FF2B5EF4-FFF2-40B4-BE49-F238E27FC236}">
                    <a16:creationId xmlns:a16="http://schemas.microsoft.com/office/drawing/2014/main" id="{0B0C83CF-ED40-4E16-BDFC-6E35ECFAC21E}"/>
                  </a:ext>
                </a:extLst>
              </p:cNvPr>
              <p:cNvSpPr>
                <a:spLocks/>
              </p:cNvSpPr>
              <p:nvPr/>
            </p:nvSpPr>
            <p:spPr bwMode="auto">
              <a:xfrm>
                <a:off x="2835" y="2790"/>
                <a:ext cx="1289" cy="420"/>
              </a:xfrm>
              <a:custGeom>
                <a:avLst/>
                <a:gdLst>
                  <a:gd name="T0" fmla="*/ 210 w 1289"/>
                  <a:gd name="T1" fmla="*/ 240 h 420"/>
                  <a:gd name="T2" fmla="*/ 150 w 1289"/>
                  <a:gd name="T3" fmla="*/ 390 h 420"/>
                  <a:gd name="T4" fmla="*/ 90 w 1289"/>
                  <a:gd name="T5" fmla="*/ 300 h 420"/>
                  <a:gd name="T6" fmla="*/ 0 w 1289"/>
                  <a:gd name="T7" fmla="*/ 150 h 420"/>
                  <a:gd name="T8" fmla="*/ 150 w 1289"/>
                  <a:gd name="T9" fmla="*/ 120 h 420"/>
                  <a:gd name="T10" fmla="*/ 300 w 1289"/>
                  <a:gd name="T11" fmla="*/ 30 h 420"/>
                  <a:gd name="T12" fmla="*/ 390 w 1289"/>
                  <a:gd name="T13" fmla="*/ 60 h 420"/>
                  <a:gd name="T14" fmla="*/ 450 w 1289"/>
                  <a:gd name="T15" fmla="*/ 180 h 420"/>
                  <a:gd name="T16" fmla="*/ 480 w 1289"/>
                  <a:gd name="T17" fmla="*/ 30 h 420"/>
                  <a:gd name="T18" fmla="*/ 600 w 1289"/>
                  <a:gd name="T19" fmla="*/ 0 h 420"/>
                  <a:gd name="T20" fmla="*/ 540 w 1289"/>
                  <a:gd name="T21" fmla="*/ 120 h 420"/>
                  <a:gd name="T22" fmla="*/ 660 w 1289"/>
                  <a:gd name="T23" fmla="*/ 180 h 420"/>
                  <a:gd name="T24" fmla="*/ 630 w 1289"/>
                  <a:gd name="T25" fmla="*/ 300 h 420"/>
                  <a:gd name="T26" fmla="*/ 780 w 1289"/>
                  <a:gd name="T27" fmla="*/ 330 h 420"/>
                  <a:gd name="T28" fmla="*/ 959 w 1289"/>
                  <a:gd name="T29" fmla="*/ 420 h 420"/>
                  <a:gd name="T30" fmla="*/ 1289 w 1289"/>
                  <a:gd name="T3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9" h="420">
                    <a:moveTo>
                      <a:pt x="210" y="240"/>
                    </a:moveTo>
                    <a:lnTo>
                      <a:pt x="150" y="390"/>
                    </a:lnTo>
                    <a:lnTo>
                      <a:pt x="90" y="300"/>
                    </a:lnTo>
                    <a:lnTo>
                      <a:pt x="0" y="150"/>
                    </a:lnTo>
                    <a:lnTo>
                      <a:pt x="150" y="120"/>
                    </a:lnTo>
                    <a:lnTo>
                      <a:pt x="300" y="30"/>
                    </a:lnTo>
                    <a:lnTo>
                      <a:pt x="390" y="60"/>
                    </a:lnTo>
                    <a:lnTo>
                      <a:pt x="450" y="180"/>
                    </a:lnTo>
                    <a:lnTo>
                      <a:pt x="480" y="30"/>
                    </a:lnTo>
                    <a:lnTo>
                      <a:pt x="600" y="0"/>
                    </a:lnTo>
                    <a:lnTo>
                      <a:pt x="540" y="120"/>
                    </a:lnTo>
                    <a:lnTo>
                      <a:pt x="660" y="180"/>
                    </a:lnTo>
                    <a:lnTo>
                      <a:pt x="630" y="300"/>
                    </a:lnTo>
                    <a:lnTo>
                      <a:pt x="780" y="330"/>
                    </a:lnTo>
                    <a:lnTo>
                      <a:pt x="959" y="420"/>
                    </a:lnTo>
                    <a:lnTo>
                      <a:pt x="1289"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08" name="Freeform 2593">
                <a:extLst>
                  <a:ext uri="{FF2B5EF4-FFF2-40B4-BE49-F238E27FC236}">
                    <a16:creationId xmlns:a16="http://schemas.microsoft.com/office/drawing/2014/main" id="{8341C45E-7503-4B86-B3C4-92A408E7978D}"/>
                  </a:ext>
                </a:extLst>
              </p:cNvPr>
              <p:cNvSpPr>
                <a:spLocks/>
              </p:cNvSpPr>
              <p:nvPr/>
            </p:nvSpPr>
            <p:spPr bwMode="auto">
              <a:xfrm>
                <a:off x="1996" y="2130"/>
                <a:ext cx="629" cy="720"/>
              </a:xfrm>
              <a:custGeom>
                <a:avLst/>
                <a:gdLst>
                  <a:gd name="T0" fmla="*/ 629 w 629"/>
                  <a:gd name="T1" fmla="*/ 720 h 720"/>
                  <a:gd name="T2" fmla="*/ 479 w 629"/>
                  <a:gd name="T3" fmla="*/ 690 h 720"/>
                  <a:gd name="T4" fmla="*/ 599 w 629"/>
                  <a:gd name="T5" fmla="*/ 510 h 720"/>
                  <a:gd name="T6" fmla="*/ 389 w 629"/>
                  <a:gd name="T7" fmla="*/ 570 h 720"/>
                  <a:gd name="T8" fmla="*/ 269 w 629"/>
                  <a:gd name="T9" fmla="*/ 510 h 720"/>
                  <a:gd name="T10" fmla="*/ 90 w 629"/>
                  <a:gd name="T11" fmla="*/ 540 h 720"/>
                  <a:gd name="T12" fmla="*/ 0 w 629"/>
                  <a:gd name="T13" fmla="*/ 390 h 720"/>
                  <a:gd name="T14" fmla="*/ 0 w 629"/>
                  <a:gd name="T15" fmla="*/ 630 h 720"/>
                  <a:gd name="T16" fmla="*/ 90 w 629"/>
                  <a:gd name="T17" fmla="*/ 300 h 720"/>
                  <a:gd name="T18" fmla="*/ 0 w 629"/>
                  <a:gd name="T19" fmla="*/ 210 h 720"/>
                  <a:gd name="T20" fmla="*/ 0 w 629"/>
                  <a:gd name="T21" fmla="*/ 60 h 720"/>
                  <a:gd name="T22" fmla="*/ 60 w 629"/>
                  <a:gd name="T23" fmla="*/ 0 h 720"/>
                  <a:gd name="T24" fmla="*/ 149 w 629"/>
                  <a:gd name="T25" fmla="*/ 180 h 720"/>
                  <a:gd name="T26" fmla="*/ 329 w 629"/>
                  <a:gd name="T27" fmla="*/ 240 h 720"/>
                  <a:gd name="T28" fmla="*/ 359 w 629"/>
                  <a:gd name="T29" fmla="*/ 9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9" h="720">
                    <a:moveTo>
                      <a:pt x="629" y="720"/>
                    </a:moveTo>
                    <a:lnTo>
                      <a:pt x="479" y="690"/>
                    </a:lnTo>
                    <a:lnTo>
                      <a:pt x="599" y="510"/>
                    </a:ln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09" name="Freeform 2594">
                <a:extLst>
                  <a:ext uri="{FF2B5EF4-FFF2-40B4-BE49-F238E27FC236}">
                    <a16:creationId xmlns:a16="http://schemas.microsoft.com/office/drawing/2014/main" id="{44E0A960-B758-42FD-A2F8-D30DF9364AF5}"/>
                  </a:ext>
                </a:extLst>
              </p:cNvPr>
              <p:cNvSpPr>
                <a:spLocks/>
              </p:cNvSpPr>
              <p:nvPr/>
            </p:nvSpPr>
            <p:spPr bwMode="auto">
              <a:xfrm>
                <a:off x="2295" y="2640"/>
                <a:ext cx="780" cy="480"/>
              </a:xfrm>
              <a:custGeom>
                <a:avLst/>
                <a:gdLst>
                  <a:gd name="T0" fmla="*/ 330 w 780"/>
                  <a:gd name="T1" fmla="*/ 360 h 480"/>
                  <a:gd name="T2" fmla="*/ 210 w 780"/>
                  <a:gd name="T3" fmla="*/ 450 h 480"/>
                  <a:gd name="T4" fmla="*/ 120 w 780"/>
                  <a:gd name="T5" fmla="*/ 390 h 480"/>
                  <a:gd name="T6" fmla="*/ 120 w 780"/>
                  <a:gd name="T7" fmla="*/ 270 h 480"/>
                  <a:gd name="T8" fmla="*/ 180 w 780"/>
                  <a:gd name="T9" fmla="*/ 180 h 480"/>
                  <a:gd name="T10" fmla="*/ 0 w 780"/>
                  <a:gd name="T11" fmla="*/ 150 h 480"/>
                  <a:gd name="T12" fmla="*/ 30 w 780"/>
                  <a:gd name="T13" fmla="*/ 330 h 480"/>
                  <a:gd name="T14" fmla="*/ 120 w 780"/>
                  <a:gd name="T15" fmla="*/ 270 h 480"/>
                  <a:gd name="T16" fmla="*/ 240 w 780"/>
                  <a:gd name="T17" fmla="*/ 330 h 480"/>
                  <a:gd name="T18" fmla="*/ 360 w 780"/>
                  <a:gd name="T19" fmla="*/ 480 h 480"/>
                  <a:gd name="T20" fmla="*/ 480 w 780"/>
                  <a:gd name="T21" fmla="*/ 420 h 480"/>
                  <a:gd name="T22" fmla="*/ 330 w 780"/>
                  <a:gd name="T23" fmla="*/ 360 h 480"/>
                  <a:gd name="T24" fmla="*/ 450 w 780"/>
                  <a:gd name="T25" fmla="*/ 270 h 480"/>
                  <a:gd name="T26" fmla="*/ 510 w 780"/>
                  <a:gd name="T27" fmla="*/ 90 h 480"/>
                  <a:gd name="T28" fmla="*/ 690 w 780"/>
                  <a:gd name="T29" fmla="*/ 0 h 480"/>
                  <a:gd name="T30" fmla="*/ 450 w 780"/>
                  <a:gd name="T31" fmla="*/ 0 h 480"/>
                  <a:gd name="T32" fmla="*/ 780 w 780"/>
                  <a:gd name="T33" fmla="*/ 9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80">
                    <a:moveTo>
                      <a:pt x="330" y="360"/>
                    </a:moveTo>
                    <a:lnTo>
                      <a:pt x="210" y="450"/>
                    </a:lnTo>
                    <a:lnTo>
                      <a:pt x="120" y="390"/>
                    </a:lnTo>
                    <a:lnTo>
                      <a:pt x="120" y="270"/>
                    </a:lnTo>
                    <a:lnTo>
                      <a:pt x="180" y="180"/>
                    </a:lnTo>
                    <a:lnTo>
                      <a:pt x="0" y="150"/>
                    </a:lnTo>
                    <a:lnTo>
                      <a:pt x="30" y="330"/>
                    </a:lnTo>
                    <a:lnTo>
                      <a:pt x="120" y="270"/>
                    </a:lnTo>
                    <a:lnTo>
                      <a:pt x="240" y="330"/>
                    </a:lnTo>
                    <a:lnTo>
                      <a:pt x="360" y="480"/>
                    </a:lnTo>
                    <a:lnTo>
                      <a:pt x="480" y="420"/>
                    </a:lnTo>
                    <a:lnTo>
                      <a:pt x="330" y="360"/>
                    </a:lnTo>
                    <a:lnTo>
                      <a:pt x="450" y="270"/>
                    </a:lnTo>
                    <a:lnTo>
                      <a:pt x="510" y="90"/>
                    </a:lnTo>
                    <a:lnTo>
                      <a:pt x="690" y="0"/>
                    </a:lnTo>
                    <a:lnTo>
                      <a:pt x="450" y="0"/>
                    </a:lnTo>
                    <a:lnTo>
                      <a:pt x="7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10" name="Line 2595">
                <a:extLst>
                  <a:ext uri="{FF2B5EF4-FFF2-40B4-BE49-F238E27FC236}">
                    <a16:creationId xmlns:a16="http://schemas.microsoft.com/office/drawing/2014/main" id="{C5264984-1E81-4BCD-A7F1-5BDD838F897E}"/>
                  </a:ext>
                </a:extLst>
              </p:cNvPr>
              <p:cNvSpPr>
                <a:spLocks noChangeShapeType="1"/>
              </p:cNvSpPr>
              <p:nvPr/>
            </p:nvSpPr>
            <p:spPr bwMode="auto">
              <a:xfrm flipH="1" flipV="1">
                <a:off x="2325"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11" name="Freeform 2596">
                <a:extLst>
                  <a:ext uri="{FF2B5EF4-FFF2-40B4-BE49-F238E27FC236}">
                    <a16:creationId xmlns:a16="http://schemas.microsoft.com/office/drawing/2014/main" id="{1BF41D78-4FA8-43F4-A6C1-D8EBF57C6589}"/>
                  </a:ext>
                </a:extLst>
              </p:cNvPr>
              <p:cNvSpPr>
                <a:spLocks/>
              </p:cNvSpPr>
              <p:nvPr/>
            </p:nvSpPr>
            <p:spPr bwMode="auto">
              <a:xfrm>
                <a:off x="2086" y="2820"/>
                <a:ext cx="449" cy="390"/>
              </a:xfrm>
              <a:custGeom>
                <a:avLst/>
                <a:gdLst>
                  <a:gd name="T0" fmla="*/ 179 w 449"/>
                  <a:gd name="T1" fmla="*/ 390 h 390"/>
                  <a:gd name="T2" fmla="*/ 329 w 449"/>
                  <a:gd name="T3" fmla="*/ 210 h 390"/>
                  <a:gd name="T4" fmla="*/ 449 w 449"/>
                  <a:gd name="T5" fmla="*/ 150 h 390"/>
                  <a:gd name="T6" fmla="*/ 389 w 449"/>
                  <a:gd name="T7" fmla="*/ 0 h 390"/>
                  <a:gd name="T8" fmla="*/ 0 w 449"/>
                  <a:gd name="T9" fmla="*/ 210 h 390"/>
                </a:gdLst>
                <a:ahLst/>
                <a:cxnLst>
                  <a:cxn ang="0">
                    <a:pos x="T0" y="T1"/>
                  </a:cxn>
                  <a:cxn ang="0">
                    <a:pos x="T2" y="T3"/>
                  </a:cxn>
                  <a:cxn ang="0">
                    <a:pos x="T4" y="T5"/>
                  </a:cxn>
                  <a:cxn ang="0">
                    <a:pos x="T6" y="T7"/>
                  </a:cxn>
                  <a:cxn ang="0">
                    <a:pos x="T8" y="T9"/>
                  </a:cxn>
                </a:cxnLst>
                <a:rect l="0" t="0" r="r" b="b"/>
                <a:pathLst>
                  <a:path w="449" h="390">
                    <a:moveTo>
                      <a:pt x="179" y="390"/>
                    </a:moveTo>
                    <a:lnTo>
                      <a:pt x="329" y="210"/>
                    </a:lnTo>
                    <a:lnTo>
                      <a:pt x="449" y="150"/>
                    </a:lnTo>
                    <a:lnTo>
                      <a:pt x="389" y="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12" name="Freeform 2597">
                <a:extLst>
                  <a:ext uri="{FF2B5EF4-FFF2-40B4-BE49-F238E27FC236}">
                    <a16:creationId xmlns:a16="http://schemas.microsoft.com/office/drawing/2014/main" id="{3ECC2B7E-F032-4F80-9805-F5C161351F3F}"/>
                  </a:ext>
                </a:extLst>
              </p:cNvPr>
              <p:cNvSpPr>
                <a:spLocks/>
              </p:cNvSpPr>
              <p:nvPr/>
            </p:nvSpPr>
            <p:spPr bwMode="auto">
              <a:xfrm>
                <a:off x="2685" y="2310"/>
                <a:ext cx="870" cy="600"/>
              </a:xfrm>
              <a:custGeom>
                <a:avLst/>
                <a:gdLst>
                  <a:gd name="T0" fmla="*/ 0 w 870"/>
                  <a:gd name="T1" fmla="*/ 480 h 600"/>
                  <a:gd name="T2" fmla="*/ 60 w 870"/>
                  <a:gd name="T3" fmla="*/ 600 h 600"/>
                  <a:gd name="T4" fmla="*/ 270 w 870"/>
                  <a:gd name="T5" fmla="*/ 480 h 600"/>
                  <a:gd name="T6" fmla="*/ 390 w 870"/>
                  <a:gd name="T7" fmla="*/ 420 h 600"/>
                  <a:gd name="T8" fmla="*/ 540 w 870"/>
                  <a:gd name="T9" fmla="*/ 420 h 600"/>
                  <a:gd name="T10" fmla="*/ 750 w 870"/>
                  <a:gd name="T11" fmla="*/ 480 h 600"/>
                  <a:gd name="T12" fmla="*/ 870 w 870"/>
                  <a:gd name="T13" fmla="*/ 330 h 600"/>
                  <a:gd name="T14" fmla="*/ 660 w 870"/>
                  <a:gd name="T15" fmla="*/ 390 h 600"/>
                  <a:gd name="T16" fmla="*/ 540 w 870"/>
                  <a:gd name="T17" fmla="*/ 330 h 600"/>
                  <a:gd name="T18" fmla="*/ 420 w 870"/>
                  <a:gd name="T1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600">
                    <a:moveTo>
                      <a:pt x="0" y="480"/>
                    </a:moveTo>
                    <a:lnTo>
                      <a:pt x="60" y="600"/>
                    </a:lnTo>
                    <a:lnTo>
                      <a:pt x="270" y="480"/>
                    </a:lnTo>
                    <a:lnTo>
                      <a:pt x="390" y="420"/>
                    </a:lnTo>
                    <a:lnTo>
                      <a:pt x="540" y="420"/>
                    </a:lnTo>
                    <a:lnTo>
                      <a:pt x="750" y="480"/>
                    </a:lnTo>
                    <a:lnTo>
                      <a:pt x="870" y="330"/>
                    </a:lnTo>
                    <a:lnTo>
                      <a:pt x="660" y="390"/>
                    </a:lnTo>
                    <a:lnTo>
                      <a:pt x="540" y="33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13" name="Line 2598">
                <a:extLst>
                  <a:ext uri="{FF2B5EF4-FFF2-40B4-BE49-F238E27FC236}">
                    <a16:creationId xmlns:a16="http://schemas.microsoft.com/office/drawing/2014/main" id="{0F0179BD-86C1-403C-83FF-4E72B4046EC9}"/>
                  </a:ext>
                </a:extLst>
              </p:cNvPr>
              <p:cNvSpPr>
                <a:spLocks noChangeShapeType="1"/>
              </p:cNvSpPr>
              <p:nvPr/>
            </p:nvSpPr>
            <p:spPr bwMode="auto">
              <a:xfrm flipH="1" flipV="1">
                <a:off x="2745" y="2910"/>
                <a:ext cx="3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14" name="Freeform 2599">
                <a:extLst>
                  <a:ext uri="{FF2B5EF4-FFF2-40B4-BE49-F238E27FC236}">
                    <a16:creationId xmlns:a16="http://schemas.microsoft.com/office/drawing/2014/main" id="{9A62BFBF-9AF6-450A-9D1E-3E4503B2026C}"/>
                  </a:ext>
                </a:extLst>
              </p:cNvPr>
              <p:cNvSpPr>
                <a:spLocks/>
              </p:cNvSpPr>
              <p:nvPr/>
            </p:nvSpPr>
            <p:spPr bwMode="auto">
              <a:xfrm>
                <a:off x="3105" y="3060"/>
                <a:ext cx="210" cy="90"/>
              </a:xfrm>
              <a:custGeom>
                <a:avLst/>
                <a:gdLst>
                  <a:gd name="T0" fmla="*/ 0 w 210"/>
                  <a:gd name="T1" fmla="*/ 90 h 90"/>
                  <a:gd name="T2" fmla="*/ 120 w 210"/>
                  <a:gd name="T3" fmla="*/ 0 h 90"/>
                  <a:gd name="T4" fmla="*/ 210 w 210"/>
                  <a:gd name="T5" fmla="*/ 90 h 90"/>
                </a:gdLst>
                <a:ahLst/>
                <a:cxnLst>
                  <a:cxn ang="0">
                    <a:pos x="T0" y="T1"/>
                  </a:cxn>
                  <a:cxn ang="0">
                    <a:pos x="T2" y="T3"/>
                  </a:cxn>
                  <a:cxn ang="0">
                    <a:pos x="T4" y="T5"/>
                  </a:cxn>
                </a:cxnLst>
                <a:rect l="0" t="0" r="r" b="b"/>
                <a:pathLst>
                  <a:path w="210" h="90">
                    <a:moveTo>
                      <a:pt x="0" y="90"/>
                    </a:moveTo>
                    <a:lnTo>
                      <a:pt x="120" y="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15" name="Line 2600">
                <a:extLst>
                  <a:ext uri="{FF2B5EF4-FFF2-40B4-BE49-F238E27FC236}">
                    <a16:creationId xmlns:a16="http://schemas.microsoft.com/office/drawing/2014/main" id="{E59C5D6C-6D72-4076-901E-656EE8B2BE76}"/>
                  </a:ext>
                </a:extLst>
              </p:cNvPr>
              <p:cNvSpPr>
                <a:spLocks noChangeShapeType="1"/>
              </p:cNvSpPr>
              <p:nvPr/>
            </p:nvSpPr>
            <p:spPr bwMode="auto">
              <a:xfrm flipH="1" flipV="1">
                <a:off x="2805" y="2730"/>
                <a:ext cx="30"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16" name="Freeform 2601">
                <a:extLst>
                  <a:ext uri="{FF2B5EF4-FFF2-40B4-BE49-F238E27FC236}">
                    <a16:creationId xmlns:a16="http://schemas.microsoft.com/office/drawing/2014/main" id="{D3A73BDC-FA85-4BED-A570-BE8B721526FC}"/>
                  </a:ext>
                </a:extLst>
              </p:cNvPr>
              <p:cNvSpPr>
                <a:spLocks/>
              </p:cNvSpPr>
              <p:nvPr/>
            </p:nvSpPr>
            <p:spPr bwMode="auto">
              <a:xfrm>
                <a:off x="3225" y="2730"/>
                <a:ext cx="90" cy="120"/>
              </a:xfrm>
              <a:custGeom>
                <a:avLst/>
                <a:gdLst>
                  <a:gd name="T0" fmla="*/ 0 w 90"/>
                  <a:gd name="T1" fmla="*/ 0 h 120"/>
                  <a:gd name="T2" fmla="*/ 90 w 90"/>
                  <a:gd name="T3" fmla="*/ 90 h 120"/>
                  <a:gd name="T4" fmla="*/ 0 w 90"/>
                  <a:gd name="T5" fmla="*/ 120 h 120"/>
                  <a:gd name="T6" fmla="*/ 0 w 90"/>
                  <a:gd name="T7" fmla="*/ 0 h 120"/>
                </a:gdLst>
                <a:ahLst/>
                <a:cxnLst>
                  <a:cxn ang="0">
                    <a:pos x="T0" y="T1"/>
                  </a:cxn>
                  <a:cxn ang="0">
                    <a:pos x="T2" y="T3"/>
                  </a:cxn>
                  <a:cxn ang="0">
                    <a:pos x="T4" y="T5"/>
                  </a:cxn>
                  <a:cxn ang="0">
                    <a:pos x="T6" y="T7"/>
                  </a:cxn>
                </a:cxnLst>
                <a:rect l="0" t="0" r="r" b="b"/>
                <a:pathLst>
                  <a:path w="90" h="120">
                    <a:moveTo>
                      <a:pt x="0" y="0"/>
                    </a:moveTo>
                    <a:lnTo>
                      <a:pt x="90" y="90"/>
                    </a:lnTo>
                    <a:lnTo>
                      <a:pt x="0" y="120"/>
                    </a:lnTo>
                    <a:lnTo>
                      <a:pt x="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17" name="Freeform 2602">
                <a:extLst>
                  <a:ext uri="{FF2B5EF4-FFF2-40B4-BE49-F238E27FC236}">
                    <a16:creationId xmlns:a16="http://schemas.microsoft.com/office/drawing/2014/main" id="{8C23AB40-DD0F-4D70-BAAE-95C18BD71BA7}"/>
                  </a:ext>
                </a:extLst>
              </p:cNvPr>
              <p:cNvSpPr>
                <a:spLocks/>
              </p:cNvSpPr>
              <p:nvPr/>
            </p:nvSpPr>
            <p:spPr bwMode="auto">
              <a:xfrm>
                <a:off x="3315" y="2820"/>
                <a:ext cx="270" cy="90"/>
              </a:xfrm>
              <a:custGeom>
                <a:avLst/>
                <a:gdLst>
                  <a:gd name="T0" fmla="*/ 60 w 270"/>
                  <a:gd name="T1" fmla="*/ 90 h 90"/>
                  <a:gd name="T2" fmla="*/ 0 w 270"/>
                  <a:gd name="T3" fmla="*/ 0 h 90"/>
                  <a:gd name="T4" fmla="*/ 270 w 270"/>
                  <a:gd name="T5" fmla="*/ 30 h 90"/>
                </a:gdLst>
                <a:ahLst/>
                <a:cxnLst>
                  <a:cxn ang="0">
                    <a:pos x="T0" y="T1"/>
                  </a:cxn>
                  <a:cxn ang="0">
                    <a:pos x="T2" y="T3"/>
                  </a:cxn>
                  <a:cxn ang="0">
                    <a:pos x="T4" y="T5"/>
                  </a:cxn>
                </a:cxnLst>
                <a:rect l="0" t="0" r="r" b="b"/>
                <a:pathLst>
                  <a:path w="270" h="90">
                    <a:moveTo>
                      <a:pt x="60" y="90"/>
                    </a:moveTo>
                    <a:lnTo>
                      <a:pt x="0" y="0"/>
                    </a:lnTo>
                    <a:lnTo>
                      <a:pt x="27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18" name="Freeform 2603">
                <a:extLst>
                  <a:ext uri="{FF2B5EF4-FFF2-40B4-BE49-F238E27FC236}">
                    <a16:creationId xmlns:a16="http://schemas.microsoft.com/office/drawing/2014/main" id="{E7900B12-920C-4409-86A1-E01267306B74}"/>
                  </a:ext>
                </a:extLst>
              </p:cNvPr>
              <p:cNvSpPr>
                <a:spLocks/>
              </p:cNvSpPr>
              <p:nvPr/>
            </p:nvSpPr>
            <p:spPr bwMode="auto">
              <a:xfrm>
                <a:off x="2955" y="2730"/>
                <a:ext cx="540" cy="330"/>
              </a:xfrm>
              <a:custGeom>
                <a:avLst/>
                <a:gdLst>
                  <a:gd name="T0" fmla="*/ 540 w 540"/>
                  <a:gd name="T1" fmla="*/ 240 h 330"/>
                  <a:gd name="T2" fmla="*/ 420 w 540"/>
                  <a:gd name="T3" fmla="*/ 300 h 330"/>
                  <a:gd name="T4" fmla="*/ 270 w 540"/>
                  <a:gd name="T5" fmla="*/ 330 h 330"/>
                  <a:gd name="T6" fmla="*/ 150 w 540"/>
                  <a:gd name="T7" fmla="*/ 180 h 330"/>
                  <a:gd name="T8" fmla="*/ 180 w 540"/>
                  <a:gd name="T9" fmla="*/ 90 h 330"/>
                  <a:gd name="T10" fmla="*/ 120 w 540"/>
                  <a:gd name="T11" fmla="*/ 0 h 330"/>
                  <a:gd name="T12" fmla="*/ 30 w 540"/>
                  <a:gd name="T13" fmla="*/ 180 h 330"/>
                  <a:gd name="T14" fmla="*/ 0 w 540"/>
                  <a:gd name="T15" fmla="*/ 60 h 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330">
                    <a:moveTo>
                      <a:pt x="540" y="240"/>
                    </a:moveTo>
                    <a:lnTo>
                      <a:pt x="420" y="300"/>
                    </a:lnTo>
                    <a:lnTo>
                      <a:pt x="270" y="330"/>
                    </a:lnTo>
                    <a:lnTo>
                      <a:pt x="150" y="180"/>
                    </a:lnTo>
                    <a:lnTo>
                      <a:pt x="180" y="90"/>
                    </a:lnTo>
                    <a:lnTo>
                      <a:pt x="120" y="0"/>
                    </a:lnTo>
                    <a:lnTo>
                      <a:pt x="30" y="18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19" name="Line 2604">
                <a:extLst>
                  <a:ext uri="{FF2B5EF4-FFF2-40B4-BE49-F238E27FC236}">
                    <a16:creationId xmlns:a16="http://schemas.microsoft.com/office/drawing/2014/main" id="{4447E057-CAC7-4B73-902C-F849DE1AFE6D}"/>
                  </a:ext>
                </a:extLst>
              </p:cNvPr>
              <p:cNvSpPr>
                <a:spLocks noChangeShapeType="1"/>
              </p:cNvSpPr>
              <p:nvPr/>
            </p:nvSpPr>
            <p:spPr bwMode="auto">
              <a:xfrm>
                <a:off x="3195" y="15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20" name="Freeform 2605">
                <a:extLst>
                  <a:ext uri="{FF2B5EF4-FFF2-40B4-BE49-F238E27FC236}">
                    <a16:creationId xmlns:a16="http://schemas.microsoft.com/office/drawing/2014/main" id="{72D3FC30-9EDB-4FA7-8AF5-9CCFE21B73F0}"/>
                  </a:ext>
                </a:extLst>
              </p:cNvPr>
              <p:cNvSpPr>
                <a:spLocks/>
              </p:cNvSpPr>
              <p:nvPr/>
            </p:nvSpPr>
            <p:spPr bwMode="auto">
              <a:xfrm>
                <a:off x="2865" y="1620"/>
                <a:ext cx="180" cy="150"/>
              </a:xfrm>
              <a:custGeom>
                <a:avLst/>
                <a:gdLst>
                  <a:gd name="T0" fmla="*/ 0 w 180"/>
                  <a:gd name="T1" fmla="*/ 0 h 150"/>
                  <a:gd name="T2" fmla="*/ 180 w 180"/>
                  <a:gd name="T3" fmla="*/ 150 h 150"/>
                  <a:gd name="T4" fmla="*/ 120 w 180"/>
                  <a:gd name="T5" fmla="*/ 30 h 150"/>
                </a:gdLst>
                <a:ahLst/>
                <a:cxnLst>
                  <a:cxn ang="0">
                    <a:pos x="T0" y="T1"/>
                  </a:cxn>
                  <a:cxn ang="0">
                    <a:pos x="T2" y="T3"/>
                  </a:cxn>
                  <a:cxn ang="0">
                    <a:pos x="T4" y="T5"/>
                  </a:cxn>
                </a:cxnLst>
                <a:rect l="0" t="0" r="r" b="b"/>
                <a:pathLst>
                  <a:path w="180" h="150">
                    <a:moveTo>
                      <a:pt x="0" y="0"/>
                    </a:moveTo>
                    <a:lnTo>
                      <a:pt x="180" y="150"/>
                    </a:lnTo>
                    <a:lnTo>
                      <a:pt x="12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21" name="Line 2606">
                <a:extLst>
                  <a:ext uri="{FF2B5EF4-FFF2-40B4-BE49-F238E27FC236}">
                    <a16:creationId xmlns:a16="http://schemas.microsoft.com/office/drawing/2014/main" id="{78378E19-78BD-43A5-BAC6-8CEAB6A02489}"/>
                  </a:ext>
                </a:extLst>
              </p:cNvPr>
              <p:cNvSpPr>
                <a:spLocks noChangeShapeType="1"/>
              </p:cNvSpPr>
              <p:nvPr/>
            </p:nvSpPr>
            <p:spPr bwMode="auto">
              <a:xfrm flipH="1" flipV="1">
                <a:off x="2985" y="16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22" name="Line 2607">
                <a:extLst>
                  <a:ext uri="{FF2B5EF4-FFF2-40B4-BE49-F238E27FC236}">
                    <a16:creationId xmlns:a16="http://schemas.microsoft.com/office/drawing/2014/main" id="{4DD99E60-2050-4C6B-AC46-F9C013C1A58B}"/>
                  </a:ext>
                </a:extLst>
              </p:cNvPr>
              <p:cNvSpPr>
                <a:spLocks noChangeShapeType="1"/>
              </p:cNvSpPr>
              <p:nvPr/>
            </p:nvSpPr>
            <p:spPr bwMode="auto">
              <a:xfrm>
                <a:off x="2715"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23" name="Line 2608">
                <a:extLst>
                  <a:ext uri="{FF2B5EF4-FFF2-40B4-BE49-F238E27FC236}">
                    <a16:creationId xmlns:a16="http://schemas.microsoft.com/office/drawing/2014/main" id="{8DA4C1D7-0CE3-4414-B744-935AE2E95402}"/>
                  </a:ext>
                </a:extLst>
              </p:cNvPr>
              <p:cNvSpPr>
                <a:spLocks noChangeShapeType="1"/>
              </p:cNvSpPr>
              <p:nvPr/>
            </p:nvSpPr>
            <p:spPr bwMode="auto">
              <a:xfrm>
                <a:off x="2685" y="150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24" name="Freeform 2609">
                <a:extLst>
                  <a:ext uri="{FF2B5EF4-FFF2-40B4-BE49-F238E27FC236}">
                    <a16:creationId xmlns:a16="http://schemas.microsoft.com/office/drawing/2014/main" id="{80EB1087-DC45-4095-B809-0171C67E9B40}"/>
                  </a:ext>
                </a:extLst>
              </p:cNvPr>
              <p:cNvSpPr>
                <a:spLocks/>
              </p:cNvSpPr>
              <p:nvPr/>
            </p:nvSpPr>
            <p:spPr bwMode="auto">
              <a:xfrm>
                <a:off x="2715" y="1470"/>
                <a:ext cx="330" cy="210"/>
              </a:xfrm>
              <a:custGeom>
                <a:avLst/>
                <a:gdLst>
                  <a:gd name="T0" fmla="*/ 0 w 330"/>
                  <a:gd name="T1" fmla="*/ 150 h 210"/>
                  <a:gd name="T2" fmla="*/ 60 w 330"/>
                  <a:gd name="T3" fmla="*/ 210 h 210"/>
                  <a:gd name="T4" fmla="*/ 150 w 330"/>
                  <a:gd name="T5" fmla="*/ 150 h 210"/>
                  <a:gd name="T6" fmla="*/ 210 w 330"/>
                  <a:gd name="T7" fmla="*/ 60 h 210"/>
                  <a:gd name="T8" fmla="*/ 330 w 330"/>
                  <a:gd name="T9" fmla="*/ 0 h 210"/>
                </a:gdLst>
                <a:ahLst/>
                <a:cxnLst>
                  <a:cxn ang="0">
                    <a:pos x="T0" y="T1"/>
                  </a:cxn>
                  <a:cxn ang="0">
                    <a:pos x="T2" y="T3"/>
                  </a:cxn>
                  <a:cxn ang="0">
                    <a:pos x="T4" y="T5"/>
                  </a:cxn>
                  <a:cxn ang="0">
                    <a:pos x="T6" y="T7"/>
                  </a:cxn>
                  <a:cxn ang="0">
                    <a:pos x="T8" y="T9"/>
                  </a:cxn>
                </a:cxnLst>
                <a:rect l="0" t="0" r="r" b="b"/>
                <a:pathLst>
                  <a:path w="330" h="210">
                    <a:moveTo>
                      <a:pt x="0" y="150"/>
                    </a:moveTo>
                    <a:lnTo>
                      <a:pt x="60" y="210"/>
                    </a:lnTo>
                    <a:lnTo>
                      <a:pt x="150" y="150"/>
                    </a:lnTo>
                    <a:lnTo>
                      <a:pt x="210" y="60"/>
                    </a:lnTo>
                    <a:lnTo>
                      <a:pt x="3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25" name="Freeform 2610">
                <a:extLst>
                  <a:ext uri="{FF2B5EF4-FFF2-40B4-BE49-F238E27FC236}">
                    <a16:creationId xmlns:a16="http://schemas.microsoft.com/office/drawing/2014/main" id="{24C43D64-F46B-407A-944F-6B0F7B7ED545}"/>
                  </a:ext>
                </a:extLst>
              </p:cNvPr>
              <p:cNvSpPr>
                <a:spLocks/>
              </p:cNvSpPr>
              <p:nvPr/>
            </p:nvSpPr>
            <p:spPr bwMode="auto">
              <a:xfrm>
                <a:off x="2835" y="1500"/>
                <a:ext cx="270" cy="150"/>
              </a:xfrm>
              <a:custGeom>
                <a:avLst/>
                <a:gdLst>
                  <a:gd name="T0" fmla="*/ 270 w 270"/>
                  <a:gd name="T1" fmla="*/ 90 h 150"/>
                  <a:gd name="T2" fmla="*/ 150 w 270"/>
                  <a:gd name="T3" fmla="*/ 150 h 150"/>
                  <a:gd name="T4" fmla="*/ 30 w 270"/>
                  <a:gd name="T5" fmla="*/ 120 h 150"/>
                  <a:gd name="T6" fmla="*/ 0 w 270"/>
                  <a:gd name="T7" fmla="*/ 0 h 150"/>
                </a:gdLst>
                <a:ahLst/>
                <a:cxnLst>
                  <a:cxn ang="0">
                    <a:pos x="T0" y="T1"/>
                  </a:cxn>
                  <a:cxn ang="0">
                    <a:pos x="T2" y="T3"/>
                  </a:cxn>
                  <a:cxn ang="0">
                    <a:pos x="T4" y="T5"/>
                  </a:cxn>
                  <a:cxn ang="0">
                    <a:pos x="T6" y="T7"/>
                  </a:cxn>
                </a:cxnLst>
                <a:rect l="0" t="0" r="r" b="b"/>
                <a:pathLst>
                  <a:path w="270" h="150">
                    <a:moveTo>
                      <a:pt x="270" y="90"/>
                    </a:moveTo>
                    <a:lnTo>
                      <a:pt x="150" y="150"/>
                    </a:lnTo>
                    <a:lnTo>
                      <a:pt x="3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26" name="Line 2611">
                <a:extLst>
                  <a:ext uri="{FF2B5EF4-FFF2-40B4-BE49-F238E27FC236}">
                    <a16:creationId xmlns:a16="http://schemas.microsoft.com/office/drawing/2014/main" id="{1727FC6B-43EE-4998-BDC7-91F0BB89600F}"/>
                  </a:ext>
                </a:extLst>
              </p:cNvPr>
              <p:cNvSpPr>
                <a:spLocks noChangeShapeType="1"/>
              </p:cNvSpPr>
              <p:nvPr/>
            </p:nvSpPr>
            <p:spPr bwMode="auto">
              <a:xfrm>
                <a:off x="3045" y="14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27" name="Line 2612">
                <a:extLst>
                  <a:ext uri="{FF2B5EF4-FFF2-40B4-BE49-F238E27FC236}">
                    <a16:creationId xmlns:a16="http://schemas.microsoft.com/office/drawing/2014/main" id="{BE04F2C5-0542-4A99-901C-E9E7718CEDAD}"/>
                  </a:ext>
                </a:extLst>
              </p:cNvPr>
              <p:cNvSpPr>
                <a:spLocks noChangeShapeType="1"/>
              </p:cNvSpPr>
              <p:nvPr/>
            </p:nvSpPr>
            <p:spPr bwMode="auto">
              <a:xfrm>
                <a:off x="2775" y="141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28" name="Line 2613">
                <a:extLst>
                  <a:ext uri="{FF2B5EF4-FFF2-40B4-BE49-F238E27FC236}">
                    <a16:creationId xmlns:a16="http://schemas.microsoft.com/office/drawing/2014/main" id="{2287376F-E8A3-4562-B502-5088BEC028DB}"/>
                  </a:ext>
                </a:extLst>
              </p:cNvPr>
              <p:cNvSpPr>
                <a:spLocks noChangeShapeType="1"/>
              </p:cNvSpPr>
              <p:nvPr/>
            </p:nvSpPr>
            <p:spPr bwMode="auto">
              <a:xfrm flipV="1">
                <a:off x="2865" y="15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29" name="Freeform 2614">
                <a:extLst>
                  <a:ext uri="{FF2B5EF4-FFF2-40B4-BE49-F238E27FC236}">
                    <a16:creationId xmlns:a16="http://schemas.microsoft.com/office/drawing/2014/main" id="{5F37B1A3-CE79-4C50-9F58-A539317046C5}"/>
                  </a:ext>
                </a:extLst>
              </p:cNvPr>
              <p:cNvSpPr>
                <a:spLocks/>
              </p:cNvSpPr>
              <p:nvPr/>
            </p:nvSpPr>
            <p:spPr bwMode="auto">
              <a:xfrm>
                <a:off x="2685" y="1500"/>
                <a:ext cx="180" cy="120"/>
              </a:xfrm>
              <a:custGeom>
                <a:avLst/>
                <a:gdLst>
                  <a:gd name="T0" fmla="*/ 150 w 180"/>
                  <a:gd name="T1" fmla="*/ 0 h 120"/>
                  <a:gd name="T2" fmla="*/ 0 w 180"/>
                  <a:gd name="T3" fmla="*/ 0 h 120"/>
                  <a:gd name="T4" fmla="*/ 30 w 180"/>
                  <a:gd name="T5" fmla="*/ 120 h 120"/>
                  <a:gd name="T6" fmla="*/ 180 w 180"/>
                  <a:gd name="T7" fmla="*/ 120 h 120"/>
                </a:gdLst>
                <a:ahLst/>
                <a:cxnLst>
                  <a:cxn ang="0">
                    <a:pos x="T0" y="T1"/>
                  </a:cxn>
                  <a:cxn ang="0">
                    <a:pos x="T2" y="T3"/>
                  </a:cxn>
                  <a:cxn ang="0">
                    <a:pos x="T4" y="T5"/>
                  </a:cxn>
                  <a:cxn ang="0">
                    <a:pos x="T6" y="T7"/>
                  </a:cxn>
                </a:cxnLst>
                <a:rect l="0" t="0" r="r" b="b"/>
                <a:pathLst>
                  <a:path w="180" h="120">
                    <a:moveTo>
                      <a:pt x="150" y="0"/>
                    </a:moveTo>
                    <a:lnTo>
                      <a:pt x="0" y="0"/>
                    </a:lnTo>
                    <a:lnTo>
                      <a:pt x="30" y="120"/>
                    </a:lnTo>
                    <a:lnTo>
                      <a:pt x="180"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30" name="Freeform 2615">
                <a:extLst>
                  <a:ext uri="{FF2B5EF4-FFF2-40B4-BE49-F238E27FC236}">
                    <a16:creationId xmlns:a16="http://schemas.microsoft.com/office/drawing/2014/main" id="{FCB1E67A-E7F0-4432-9478-DA2CD8FE0CEE}"/>
                  </a:ext>
                </a:extLst>
              </p:cNvPr>
              <p:cNvSpPr>
                <a:spLocks/>
              </p:cNvSpPr>
              <p:nvPr/>
            </p:nvSpPr>
            <p:spPr bwMode="auto">
              <a:xfrm>
                <a:off x="2554" y="125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31" name="Freeform 2616">
                <a:extLst>
                  <a:ext uri="{FF2B5EF4-FFF2-40B4-BE49-F238E27FC236}">
                    <a16:creationId xmlns:a16="http://schemas.microsoft.com/office/drawing/2014/main" id="{E3DCA41D-0AD2-4143-BB75-75C76A3EE1D1}"/>
                  </a:ext>
                </a:extLst>
              </p:cNvPr>
              <p:cNvSpPr>
                <a:spLocks/>
              </p:cNvSpPr>
              <p:nvPr/>
            </p:nvSpPr>
            <p:spPr bwMode="auto">
              <a:xfrm>
                <a:off x="2284"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32" name="Freeform 2617">
                <a:extLst>
                  <a:ext uri="{FF2B5EF4-FFF2-40B4-BE49-F238E27FC236}">
                    <a16:creationId xmlns:a16="http://schemas.microsoft.com/office/drawing/2014/main" id="{AE757A60-FD28-4DFC-86A0-4BF3538FE6FD}"/>
                  </a:ext>
                </a:extLst>
              </p:cNvPr>
              <p:cNvSpPr>
                <a:spLocks/>
              </p:cNvSpPr>
              <p:nvPr/>
            </p:nvSpPr>
            <p:spPr bwMode="auto">
              <a:xfrm>
                <a:off x="3243"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33" name="Freeform 2618">
                <a:extLst>
                  <a:ext uri="{FF2B5EF4-FFF2-40B4-BE49-F238E27FC236}">
                    <a16:creationId xmlns:a16="http://schemas.microsoft.com/office/drawing/2014/main" id="{859CA085-4D1D-404E-BE7C-05CC4A718C62}"/>
                  </a:ext>
                </a:extLst>
              </p:cNvPr>
              <p:cNvSpPr>
                <a:spLocks/>
              </p:cNvSpPr>
              <p:nvPr/>
            </p:nvSpPr>
            <p:spPr bwMode="auto">
              <a:xfrm>
                <a:off x="2254"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34" name="Freeform 2619">
                <a:extLst>
                  <a:ext uri="{FF2B5EF4-FFF2-40B4-BE49-F238E27FC236}">
                    <a16:creationId xmlns:a16="http://schemas.microsoft.com/office/drawing/2014/main" id="{228E4109-BEB8-49BB-9D5D-1E47E047E96A}"/>
                  </a:ext>
                </a:extLst>
              </p:cNvPr>
              <p:cNvSpPr>
                <a:spLocks/>
              </p:cNvSpPr>
              <p:nvPr/>
            </p:nvSpPr>
            <p:spPr bwMode="auto">
              <a:xfrm>
                <a:off x="3213"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35" name="Oval 2620">
                <a:extLst>
                  <a:ext uri="{FF2B5EF4-FFF2-40B4-BE49-F238E27FC236}">
                    <a16:creationId xmlns:a16="http://schemas.microsoft.com/office/drawing/2014/main" id="{7AAF18FC-2E21-4A96-A307-08105C652694}"/>
                  </a:ext>
                </a:extLst>
              </p:cNvPr>
              <p:cNvSpPr>
                <a:spLocks noChangeArrowheads="1"/>
              </p:cNvSpPr>
              <p:nvPr/>
            </p:nvSpPr>
            <p:spPr bwMode="auto">
              <a:xfrm>
                <a:off x="4334"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36" name="Oval 2621">
                <a:extLst>
                  <a:ext uri="{FF2B5EF4-FFF2-40B4-BE49-F238E27FC236}">
                    <a16:creationId xmlns:a16="http://schemas.microsoft.com/office/drawing/2014/main" id="{A559E0E4-10C5-440D-A275-6681B5115304}"/>
                  </a:ext>
                </a:extLst>
              </p:cNvPr>
              <p:cNvSpPr>
                <a:spLocks noChangeArrowheads="1"/>
              </p:cNvSpPr>
              <p:nvPr/>
            </p:nvSpPr>
            <p:spPr bwMode="auto">
              <a:xfrm>
                <a:off x="427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37" name="Oval 2622">
                <a:extLst>
                  <a:ext uri="{FF2B5EF4-FFF2-40B4-BE49-F238E27FC236}">
                    <a16:creationId xmlns:a16="http://schemas.microsoft.com/office/drawing/2014/main" id="{30900F75-1439-464D-8ECB-7F66FA7844AA}"/>
                  </a:ext>
                </a:extLst>
              </p:cNvPr>
              <p:cNvSpPr>
                <a:spLocks noChangeArrowheads="1"/>
              </p:cNvSpPr>
              <p:nvPr/>
            </p:nvSpPr>
            <p:spPr bwMode="auto">
              <a:xfrm>
                <a:off x="4394"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38" name="Oval 2623">
                <a:extLst>
                  <a:ext uri="{FF2B5EF4-FFF2-40B4-BE49-F238E27FC236}">
                    <a16:creationId xmlns:a16="http://schemas.microsoft.com/office/drawing/2014/main" id="{E95AD63D-998C-4463-B945-A20C7EC9B7A1}"/>
                  </a:ext>
                </a:extLst>
              </p:cNvPr>
              <p:cNvSpPr>
                <a:spLocks noChangeArrowheads="1"/>
              </p:cNvSpPr>
              <p:nvPr/>
            </p:nvSpPr>
            <p:spPr bwMode="auto">
              <a:xfrm>
                <a:off x="436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39" name="Oval 2624">
                <a:extLst>
                  <a:ext uri="{FF2B5EF4-FFF2-40B4-BE49-F238E27FC236}">
                    <a16:creationId xmlns:a16="http://schemas.microsoft.com/office/drawing/2014/main" id="{DB263609-60A3-4690-91DF-31F27DB4181D}"/>
                  </a:ext>
                </a:extLst>
              </p:cNvPr>
              <p:cNvSpPr>
                <a:spLocks noChangeArrowheads="1"/>
              </p:cNvSpPr>
              <p:nvPr/>
            </p:nvSpPr>
            <p:spPr bwMode="auto">
              <a:xfrm>
                <a:off x="445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40" name="Oval 2625">
                <a:extLst>
                  <a:ext uri="{FF2B5EF4-FFF2-40B4-BE49-F238E27FC236}">
                    <a16:creationId xmlns:a16="http://schemas.microsoft.com/office/drawing/2014/main" id="{AE25005D-B2A1-4B39-A7A2-143592E6B686}"/>
                  </a:ext>
                </a:extLst>
              </p:cNvPr>
              <p:cNvSpPr>
                <a:spLocks noChangeArrowheads="1"/>
              </p:cNvSpPr>
              <p:nvPr/>
            </p:nvSpPr>
            <p:spPr bwMode="auto">
              <a:xfrm>
                <a:off x="442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41" name="Oval 2626">
                <a:extLst>
                  <a:ext uri="{FF2B5EF4-FFF2-40B4-BE49-F238E27FC236}">
                    <a16:creationId xmlns:a16="http://schemas.microsoft.com/office/drawing/2014/main" id="{BD2B11AD-1FAD-4257-ACB4-5AF0C8D1A16D}"/>
                  </a:ext>
                </a:extLst>
              </p:cNvPr>
              <p:cNvSpPr>
                <a:spLocks noChangeArrowheads="1"/>
              </p:cNvSpPr>
              <p:nvPr/>
            </p:nvSpPr>
            <p:spPr bwMode="auto">
              <a:xfrm>
                <a:off x="442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42" name="Oval 2627">
                <a:extLst>
                  <a:ext uri="{FF2B5EF4-FFF2-40B4-BE49-F238E27FC236}">
                    <a16:creationId xmlns:a16="http://schemas.microsoft.com/office/drawing/2014/main" id="{93D59A25-CF33-4508-94AF-AFCB0F53A54F}"/>
                  </a:ext>
                </a:extLst>
              </p:cNvPr>
              <p:cNvSpPr>
                <a:spLocks noChangeArrowheads="1"/>
              </p:cNvSpPr>
              <p:nvPr/>
            </p:nvSpPr>
            <p:spPr bwMode="auto">
              <a:xfrm>
                <a:off x="433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43" name="Oval 2628">
                <a:extLst>
                  <a:ext uri="{FF2B5EF4-FFF2-40B4-BE49-F238E27FC236}">
                    <a16:creationId xmlns:a16="http://schemas.microsoft.com/office/drawing/2014/main" id="{F8CBEC9A-CCD9-42F3-9945-9EB2558AA7E9}"/>
                  </a:ext>
                </a:extLst>
              </p:cNvPr>
              <p:cNvSpPr>
                <a:spLocks noChangeArrowheads="1"/>
              </p:cNvSpPr>
              <p:nvPr/>
            </p:nvSpPr>
            <p:spPr bwMode="auto">
              <a:xfrm>
                <a:off x="4274"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44" name="Oval 2629">
                <a:extLst>
                  <a:ext uri="{FF2B5EF4-FFF2-40B4-BE49-F238E27FC236}">
                    <a16:creationId xmlns:a16="http://schemas.microsoft.com/office/drawing/2014/main" id="{147D9A96-A75F-4943-8AC1-DC3AA7035EA6}"/>
                  </a:ext>
                </a:extLst>
              </p:cNvPr>
              <p:cNvSpPr>
                <a:spLocks noChangeArrowheads="1"/>
              </p:cNvSpPr>
              <p:nvPr/>
            </p:nvSpPr>
            <p:spPr bwMode="auto">
              <a:xfrm>
                <a:off x="406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45" name="Oval 2630">
                <a:extLst>
                  <a:ext uri="{FF2B5EF4-FFF2-40B4-BE49-F238E27FC236}">
                    <a16:creationId xmlns:a16="http://schemas.microsoft.com/office/drawing/2014/main" id="{64E182BC-218B-4D70-B25B-C23A6A9B41F2}"/>
                  </a:ext>
                </a:extLst>
              </p:cNvPr>
              <p:cNvSpPr>
                <a:spLocks noChangeArrowheads="1"/>
              </p:cNvSpPr>
              <p:nvPr/>
            </p:nvSpPr>
            <p:spPr bwMode="auto">
              <a:xfrm>
                <a:off x="409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46" name="Oval 2631">
                <a:extLst>
                  <a:ext uri="{FF2B5EF4-FFF2-40B4-BE49-F238E27FC236}">
                    <a16:creationId xmlns:a16="http://schemas.microsoft.com/office/drawing/2014/main" id="{C5221C7E-2554-4612-9B51-A2160EF29C0A}"/>
                  </a:ext>
                </a:extLst>
              </p:cNvPr>
              <p:cNvSpPr>
                <a:spLocks noChangeArrowheads="1"/>
              </p:cNvSpPr>
              <p:nvPr/>
            </p:nvSpPr>
            <p:spPr bwMode="auto">
              <a:xfrm>
                <a:off x="3974"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47" name="Oval 2632">
                <a:extLst>
                  <a:ext uri="{FF2B5EF4-FFF2-40B4-BE49-F238E27FC236}">
                    <a16:creationId xmlns:a16="http://schemas.microsoft.com/office/drawing/2014/main" id="{6D65643F-0D76-4A60-B017-7CFE08238862}"/>
                  </a:ext>
                </a:extLst>
              </p:cNvPr>
              <p:cNvSpPr>
                <a:spLocks noChangeArrowheads="1"/>
              </p:cNvSpPr>
              <p:nvPr/>
            </p:nvSpPr>
            <p:spPr bwMode="auto">
              <a:xfrm>
                <a:off x="3824"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48" name="Oval 2633">
                <a:extLst>
                  <a:ext uri="{FF2B5EF4-FFF2-40B4-BE49-F238E27FC236}">
                    <a16:creationId xmlns:a16="http://schemas.microsoft.com/office/drawing/2014/main" id="{D6F129C9-A142-4AC4-92AF-E4C450C572F3}"/>
                  </a:ext>
                </a:extLst>
              </p:cNvPr>
              <p:cNvSpPr>
                <a:spLocks noChangeArrowheads="1"/>
              </p:cNvSpPr>
              <p:nvPr/>
            </p:nvSpPr>
            <p:spPr bwMode="auto">
              <a:xfrm>
                <a:off x="409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49" name="Oval 2634">
                <a:extLst>
                  <a:ext uri="{FF2B5EF4-FFF2-40B4-BE49-F238E27FC236}">
                    <a16:creationId xmlns:a16="http://schemas.microsoft.com/office/drawing/2014/main" id="{F86966DC-8B0D-421B-873B-BFE64A575B81}"/>
                  </a:ext>
                </a:extLst>
              </p:cNvPr>
              <p:cNvSpPr>
                <a:spLocks noChangeArrowheads="1"/>
              </p:cNvSpPr>
              <p:nvPr/>
            </p:nvSpPr>
            <p:spPr bwMode="auto">
              <a:xfrm>
                <a:off x="4334"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50" name="Oval 2635">
                <a:extLst>
                  <a:ext uri="{FF2B5EF4-FFF2-40B4-BE49-F238E27FC236}">
                    <a16:creationId xmlns:a16="http://schemas.microsoft.com/office/drawing/2014/main" id="{875DF222-2E11-4856-8E1C-724017254FC1}"/>
                  </a:ext>
                </a:extLst>
              </p:cNvPr>
              <p:cNvSpPr>
                <a:spLocks noChangeArrowheads="1"/>
              </p:cNvSpPr>
              <p:nvPr/>
            </p:nvSpPr>
            <p:spPr bwMode="auto">
              <a:xfrm>
                <a:off x="439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51" name="Oval 2636">
                <a:extLst>
                  <a:ext uri="{FF2B5EF4-FFF2-40B4-BE49-F238E27FC236}">
                    <a16:creationId xmlns:a16="http://schemas.microsoft.com/office/drawing/2014/main" id="{826DE954-BCC3-4D4E-8B41-199DB3390C93}"/>
                  </a:ext>
                </a:extLst>
              </p:cNvPr>
              <p:cNvSpPr>
                <a:spLocks noChangeArrowheads="1"/>
              </p:cNvSpPr>
              <p:nvPr/>
            </p:nvSpPr>
            <p:spPr bwMode="auto">
              <a:xfrm>
                <a:off x="42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52" name="Oval 2637">
                <a:extLst>
                  <a:ext uri="{FF2B5EF4-FFF2-40B4-BE49-F238E27FC236}">
                    <a16:creationId xmlns:a16="http://schemas.microsoft.com/office/drawing/2014/main" id="{BDD84DF5-9341-4300-B5B7-38E06743C7F6}"/>
                  </a:ext>
                </a:extLst>
              </p:cNvPr>
              <p:cNvSpPr>
                <a:spLocks noChangeArrowheads="1"/>
              </p:cNvSpPr>
              <p:nvPr/>
            </p:nvSpPr>
            <p:spPr bwMode="auto">
              <a:xfrm>
                <a:off x="415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53" name="Oval 2638">
                <a:extLst>
                  <a:ext uri="{FF2B5EF4-FFF2-40B4-BE49-F238E27FC236}">
                    <a16:creationId xmlns:a16="http://schemas.microsoft.com/office/drawing/2014/main" id="{137BD1E2-8D63-4F7C-A850-9BE874378373}"/>
                  </a:ext>
                </a:extLst>
              </p:cNvPr>
              <p:cNvSpPr>
                <a:spLocks noChangeArrowheads="1"/>
              </p:cNvSpPr>
              <p:nvPr/>
            </p:nvSpPr>
            <p:spPr bwMode="auto">
              <a:xfrm>
                <a:off x="4364"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54" name="Oval 2639">
                <a:extLst>
                  <a:ext uri="{FF2B5EF4-FFF2-40B4-BE49-F238E27FC236}">
                    <a16:creationId xmlns:a16="http://schemas.microsoft.com/office/drawing/2014/main" id="{86135355-4687-4247-9752-88966B15448A}"/>
                  </a:ext>
                </a:extLst>
              </p:cNvPr>
              <p:cNvSpPr>
                <a:spLocks noChangeArrowheads="1"/>
              </p:cNvSpPr>
              <p:nvPr/>
            </p:nvSpPr>
            <p:spPr bwMode="auto">
              <a:xfrm>
                <a:off x="439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55" name="Oval 2640">
                <a:extLst>
                  <a:ext uri="{FF2B5EF4-FFF2-40B4-BE49-F238E27FC236}">
                    <a16:creationId xmlns:a16="http://schemas.microsoft.com/office/drawing/2014/main" id="{D26B5AFE-B19F-4B78-8B89-D6177BA98AD4}"/>
                  </a:ext>
                </a:extLst>
              </p:cNvPr>
              <p:cNvSpPr>
                <a:spLocks noChangeArrowheads="1"/>
              </p:cNvSpPr>
              <p:nvPr/>
            </p:nvSpPr>
            <p:spPr bwMode="auto">
              <a:xfrm>
                <a:off x="427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56" name="Oval 2641">
                <a:extLst>
                  <a:ext uri="{FF2B5EF4-FFF2-40B4-BE49-F238E27FC236}">
                    <a16:creationId xmlns:a16="http://schemas.microsoft.com/office/drawing/2014/main" id="{C3B7E6F2-8F53-4EDE-8E19-23E7820FF4BB}"/>
                  </a:ext>
                </a:extLst>
              </p:cNvPr>
              <p:cNvSpPr>
                <a:spLocks noChangeArrowheads="1"/>
              </p:cNvSpPr>
              <p:nvPr/>
            </p:nvSpPr>
            <p:spPr bwMode="auto">
              <a:xfrm>
                <a:off x="415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57" name="Oval 2642">
                <a:extLst>
                  <a:ext uri="{FF2B5EF4-FFF2-40B4-BE49-F238E27FC236}">
                    <a16:creationId xmlns:a16="http://schemas.microsoft.com/office/drawing/2014/main" id="{E891011F-3B2F-497E-86C7-F96BBC131108}"/>
                  </a:ext>
                </a:extLst>
              </p:cNvPr>
              <p:cNvSpPr>
                <a:spLocks noChangeArrowheads="1"/>
              </p:cNvSpPr>
              <p:nvPr/>
            </p:nvSpPr>
            <p:spPr bwMode="auto">
              <a:xfrm>
                <a:off x="412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58" name="Oval 2643">
                <a:extLst>
                  <a:ext uri="{FF2B5EF4-FFF2-40B4-BE49-F238E27FC236}">
                    <a16:creationId xmlns:a16="http://schemas.microsoft.com/office/drawing/2014/main" id="{0987F0F7-5EE5-478B-B094-E82A812FA25A}"/>
                  </a:ext>
                </a:extLst>
              </p:cNvPr>
              <p:cNvSpPr>
                <a:spLocks noChangeArrowheads="1"/>
              </p:cNvSpPr>
              <p:nvPr/>
            </p:nvSpPr>
            <p:spPr bwMode="auto">
              <a:xfrm>
                <a:off x="4364"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59" name="Oval 2644">
                <a:extLst>
                  <a:ext uri="{FF2B5EF4-FFF2-40B4-BE49-F238E27FC236}">
                    <a16:creationId xmlns:a16="http://schemas.microsoft.com/office/drawing/2014/main" id="{0FB7FC37-4BCB-43E2-83DE-9E797F9B3609}"/>
                  </a:ext>
                </a:extLst>
              </p:cNvPr>
              <p:cNvSpPr>
                <a:spLocks noChangeArrowheads="1"/>
              </p:cNvSpPr>
              <p:nvPr/>
            </p:nvSpPr>
            <p:spPr bwMode="auto">
              <a:xfrm>
                <a:off x="430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60" name="Oval 2645">
                <a:extLst>
                  <a:ext uri="{FF2B5EF4-FFF2-40B4-BE49-F238E27FC236}">
                    <a16:creationId xmlns:a16="http://schemas.microsoft.com/office/drawing/2014/main" id="{6B0451CE-CBE2-48AD-AE62-FF87B8096646}"/>
                  </a:ext>
                </a:extLst>
              </p:cNvPr>
              <p:cNvSpPr>
                <a:spLocks noChangeArrowheads="1"/>
              </p:cNvSpPr>
              <p:nvPr/>
            </p:nvSpPr>
            <p:spPr bwMode="auto">
              <a:xfrm>
                <a:off x="427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61" name="Oval 2646">
                <a:extLst>
                  <a:ext uri="{FF2B5EF4-FFF2-40B4-BE49-F238E27FC236}">
                    <a16:creationId xmlns:a16="http://schemas.microsoft.com/office/drawing/2014/main" id="{9C562BDC-A2ED-487D-AA0A-DF92019F5941}"/>
                  </a:ext>
                </a:extLst>
              </p:cNvPr>
              <p:cNvSpPr>
                <a:spLocks noChangeArrowheads="1"/>
              </p:cNvSpPr>
              <p:nvPr/>
            </p:nvSpPr>
            <p:spPr bwMode="auto">
              <a:xfrm>
                <a:off x="433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62" name="Oval 2647">
                <a:extLst>
                  <a:ext uri="{FF2B5EF4-FFF2-40B4-BE49-F238E27FC236}">
                    <a16:creationId xmlns:a16="http://schemas.microsoft.com/office/drawing/2014/main" id="{A87171A5-0ED7-4229-B573-44617A63EA01}"/>
                  </a:ext>
                </a:extLst>
              </p:cNvPr>
              <p:cNvSpPr>
                <a:spLocks noChangeArrowheads="1"/>
              </p:cNvSpPr>
              <p:nvPr/>
            </p:nvSpPr>
            <p:spPr bwMode="auto">
              <a:xfrm>
                <a:off x="418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63" name="Oval 2648">
                <a:extLst>
                  <a:ext uri="{FF2B5EF4-FFF2-40B4-BE49-F238E27FC236}">
                    <a16:creationId xmlns:a16="http://schemas.microsoft.com/office/drawing/2014/main" id="{624E2FC6-8333-42F1-A975-D47C3D3457FB}"/>
                  </a:ext>
                </a:extLst>
              </p:cNvPr>
              <p:cNvSpPr>
                <a:spLocks noChangeArrowheads="1"/>
              </p:cNvSpPr>
              <p:nvPr/>
            </p:nvSpPr>
            <p:spPr bwMode="auto">
              <a:xfrm>
                <a:off x="4124"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64" name="Oval 2649">
                <a:extLst>
                  <a:ext uri="{FF2B5EF4-FFF2-40B4-BE49-F238E27FC236}">
                    <a16:creationId xmlns:a16="http://schemas.microsoft.com/office/drawing/2014/main" id="{7A516EC9-D4AC-4F55-ACF2-81D8420236EF}"/>
                  </a:ext>
                </a:extLst>
              </p:cNvPr>
              <p:cNvSpPr>
                <a:spLocks noChangeArrowheads="1"/>
              </p:cNvSpPr>
              <p:nvPr/>
            </p:nvSpPr>
            <p:spPr bwMode="auto">
              <a:xfrm>
                <a:off x="42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65" name="Oval 2650">
                <a:extLst>
                  <a:ext uri="{FF2B5EF4-FFF2-40B4-BE49-F238E27FC236}">
                    <a16:creationId xmlns:a16="http://schemas.microsoft.com/office/drawing/2014/main" id="{0AC5004B-3296-48F6-9786-531FABBECA43}"/>
                  </a:ext>
                </a:extLst>
              </p:cNvPr>
              <p:cNvSpPr>
                <a:spLocks noChangeArrowheads="1"/>
              </p:cNvSpPr>
              <p:nvPr/>
            </p:nvSpPr>
            <p:spPr bwMode="auto">
              <a:xfrm>
                <a:off x="4184"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66" name="Oval 2651">
                <a:extLst>
                  <a:ext uri="{FF2B5EF4-FFF2-40B4-BE49-F238E27FC236}">
                    <a16:creationId xmlns:a16="http://schemas.microsoft.com/office/drawing/2014/main" id="{9F1AA085-D8ED-4918-ACC6-8E3D2F208B34}"/>
                  </a:ext>
                </a:extLst>
              </p:cNvPr>
              <p:cNvSpPr>
                <a:spLocks noChangeArrowheads="1"/>
              </p:cNvSpPr>
              <p:nvPr/>
            </p:nvSpPr>
            <p:spPr bwMode="auto">
              <a:xfrm>
                <a:off x="436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67" name="Oval 2652">
                <a:extLst>
                  <a:ext uri="{FF2B5EF4-FFF2-40B4-BE49-F238E27FC236}">
                    <a16:creationId xmlns:a16="http://schemas.microsoft.com/office/drawing/2014/main" id="{EAAC4986-C66F-4989-90D5-664D8754E60A}"/>
                  </a:ext>
                </a:extLst>
              </p:cNvPr>
              <p:cNvSpPr>
                <a:spLocks noChangeArrowheads="1"/>
              </p:cNvSpPr>
              <p:nvPr/>
            </p:nvSpPr>
            <p:spPr bwMode="auto">
              <a:xfrm>
                <a:off x="439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68" name="Oval 2653">
                <a:extLst>
                  <a:ext uri="{FF2B5EF4-FFF2-40B4-BE49-F238E27FC236}">
                    <a16:creationId xmlns:a16="http://schemas.microsoft.com/office/drawing/2014/main" id="{6459456E-B148-4FB3-8DDD-955C66B27E1D}"/>
                  </a:ext>
                </a:extLst>
              </p:cNvPr>
              <p:cNvSpPr>
                <a:spLocks noChangeArrowheads="1"/>
              </p:cNvSpPr>
              <p:nvPr/>
            </p:nvSpPr>
            <p:spPr bwMode="auto">
              <a:xfrm>
                <a:off x="436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69" name="Oval 2654">
                <a:extLst>
                  <a:ext uri="{FF2B5EF4-FFF2-40B4-BE49-F238E27FC236}">
                    <a16:creationId xmlns:a16="http://schemas.microsoft.com/office/drawing/2014/main" id="{8E2DC2A8-F87A-498F-9538-B8EF22D50276}"/>
                  </a:ext>
                </a:extLst>
              </p:cNvPr>
              <p:cNvSpPr>
                <a:spLocks noChangeArrowheads="1"/>
              </p:cNvSpPr>
              <p:nvPr/>
            </p:nvSpPr>
            <p:spPr bwMode="auto">
              <a:xfrm>
                <a:off x="4394"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70" name="Oval 2655">
                <a:extLst>
                  <a:ext uri="{FF2B5EF4-FFF2-40B4-BE49-F238E27FC236}">
                    <a16:creationId xmlns:a16="http://schemas.microsoft.com/office/drawing/2014/main" id="{7C697090-87CE-4A17-9832-EEC25E260AD8}"/>
                  </a:ext>
                </a:extLst>
              </p:cNvPr>
              <p:cNvSpPr>
                <a:spLocks noChangeArrowheads="1"/>
              </p:cNvSpPr>
              <p:nvPr/>
            </p:nvSpPr>
            <p:spPr bwMode="auto">
              <a:xfrm>
                <a:off x="433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71" name="Oval 2656">
                <a:extLst>
                  <a:ext uri="{FF2B5EF4-FFF2-40B4-BE49-F238E27FC236}">
                    <a16:creationId xmlns:a16="http://schemas.microsoft.com/office/drawing/2014/main" id="{2D7AD320-773A-4779-A493-B7680EF05650}"/>
                  </a:ext>
                </a:extLst>
              </p:cNvPr>
              <p:cNvSpPr>
                <a:spLocks noChangeArrowheads="1"/>
              </p:cNvSpPr>
              <p:nvPr/>
            </p:nvSpPr>
            <p:spPr bwMode="auto">
              <a:xfrm>
                <a:off x="436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72" name="Oval 2657">
                <a:extLst>
                  <a:ext uri="{FF2B5EF4-FFF2-40B4-BE49-F238E27FC236}">
                    <a16:creationId xmlns:a16="http://schemas.microsoft.com/office/drawing/2014/main" id="{92B17FC4-D26C-4747-BA02-3EFF88A31439}"/>
                  </a:ext>
                </a:extLst>
              </p:cNvPr>
              <p:cNvSpPr>
                <a:spLocks noChangeArrowheads="1"/>
              </p:cNvSpPr>
              <p:nvPr/>
            </p:nvSpPr>
            <p:spPr bwMode="auto">
              <a:xfrm>
                <a:off x="439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73" name="Oval 2658">
                <a:extLst>
                  <a:ext uri="{FF2B5EF4-FFF2-40B4-BE49-F238E27FC236}">
                    <a16:creationId xmlns:a16="http://schemas.microsoft.com/office/drawing/2014/main" id="{DBC1CFA2-6B91-4C76-912A-7C0603A57587}"/>
                  </a:ext>
                </a:extLst>
              </p:cNvPr>
              <p:cNvSpPr>
                <a:spLocks noChangeArrowheads="1"/>
              </p:cNvSpPr>
              <p:nvPr/>
            </p:nvSpPr>
            <p:spPr bwMode="auto">
              <a:xfrm>
                <a:off x="421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74" name="Oval 2659">
                <a:extLst>
                  <a:ext uri="{FF2B5EF4-FFF2-40B4-BE49-F238E27FC236}">
                    <a16:creationId xmlns:a16="http://schemas.microsoft.com/office/drawing/2014/main" id="{270C25DD-613B-4448-9231-ACC876B1C2A1}"/>
                  </a:ext>
                </a:extLst>
              </p:cNvPr>
              <p:cNvSpPr>
                <a:spLocks noChangeArrowheads="1"/>
              </p:cNvSpPr>
              <p:nvPr/>
            </p:nvSpPr>
            <p:spPr bwMode="auto">
              <a:xfrm>
                <a:off x="424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75" name="Oval 2660">
                <a:extLst>
                  <a:ext uri="{FF2B5EF4-FFF2-40B4-BE49-F238E27FC236}">
                    <a16:creationId xmlns:a16="http://schemas.microsoft.com/office/drawing/2014/main" id="{0D2A618F-58DC-4154-B974-F3F3639FF12D}"/>
                  </a:ext>
                </a:extLst>
              </p:cNvPr>
              <p:cNvSpPr>
                <a:spLocks noChangeArrowheads="1"/>
              </p:cNvSpPr>
              <p:nvPr/>
            </p:nvSpPr>
            <p:spPr bwMode="auto">
              <a:xfrm>
                <a:off x="412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76" name="Oval 2661">
                <a:extLst>
                  <a:ext uri="{FF2B5EF4-FFF2-40B4-BE49-F238E27FC236}">
                    <a16:creationId xmlns:a16="http://schemas.microsoft.com/office/drawing/2014/main" id="{696D8137-539B-4838-AE39-8684528B18C6}"/>
                  </a:ext>
                </a:extLst>
              </p:cNvPr>
              <p:cNvSpPr>
                <a:spLocks noChangeArrowheads="1"/>
              </p:cNvSpPr>
              <p:nvPr/>
            </p:nvSpPr>
            <p:spPr bwMode="auto">
              <a:xfrm>
                <a:off x="409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77" name="Oval 2662">
                <a:extLst>
                  <a:ext uri="{FF2B5EF4-FFF2-40B4-BE49-F238E27FC236}">
                    <a16:creationId xmlns:a16="http://schemas.microsoft.com/office/drawing/2014/main" id="{CACF9277-0BF1-4C78-BE12-27868469812F}"/>
                  </a:ext>
                </a:extLst>
              </p:cNvPr>
              <p:cNvSpPr>
                <a:spLocks noChangeArrowheads="1"/>
              </p:cNvSpPr>
              <p:nvPr/>
            </p:nvSpPr>
            <p:spPr bwMode="auto">
              <a:xfrm>
                <a:off x="4124"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78" name="Oval 2663">
                <a:extLst>
                  <a:ext uri="{FF2B5EF4-FFF2-40B4-BE49-F238E27FC236}">
                    <a16:creationId xmlns:a16="http://schemas.microsoft.com/office/drawing/2014/main" id="{5B9E1857-46B5-46B4-8245-0B65EED399C1}"/>
                  </a:ext>
                </a:extLst>
              </p:cNvPr>
              <p:cNvSpPr>
                <a:spLocks noChangeArrowheads="1"/>
              </p:cNvSpPr>
              <p:nvPr/>
            </p:nvSpPr>
            <p:spPr bwMode="auto">
              <a:xfrm>
                <a:off x="403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79" name="Oval 2664">
                <a:extLst>
                  <a:ext uri="{FF2B5EF4-FFF2-40B4-BE49-F238E27FC236}">
                    <a16:creationId xmlns:a16="http://schemas.microsoft.com/office/drawing/2014/main" id="{7EAF2A81-0DCC-4FCC-8777-501386108AEC}"/>
                  </a:ext>
                </a:extLst>
              </p:cNvPr>
              <p:cNvSpPr>
                <a:spLocks noChangeArrowheads="1"/>
              </p:cNvSpPr>
              <p:nvPr/>
            </p:nvSpPr>
            <p:spPr bwMode="auto">
              <a:xfrm>
                <a:off x="4064"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80" name="Oval 2665">
                <a:extLst>
                  <a:ext uri="{FF2B5EF4-FFF2-40B4-BE49-F238E27FC236}">
                    <a16:creationId xmlns:a16="http://schemas.microsoft.com/office/drawing/2014/main" id="{6F609C9C-06C5-4F31-AC49-ADB815C54003}"/>
                  </a:ext>
                </a:extLst>
              </p:cNvPr>
              <p:cNvSpPr>
                <a:spLocks noChangeArrowheads="1"/>
              </p:cNvSpPr>
              <p:nvPr/>
            </p:nvSpPr>
            <p:spPr bwMode="auto">
              <a:xfrm>
                <a:off x="394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81" name="Oval 2666">
                <a:extLst>
                  <a:ext uri="{FF2B5EF4-FFF2-40B4-BE49-F238E27FC236}">
                    <a16:creationId xmlns:a16="http://schemas.microsoft.com/office/drawing/2014/main" id="{385753E7-24D4-49A4-B2C9-828FCB7D3BB6}"/>
                  </a:ext>
                </a:extLst>
              </p:cNvPr>
              <p:cNvSpPr>
                <a:spLocks noChangeArrowheads="1"/>
              </p:cNvSpPr>
              <p:nvPr/>
            </p:nvSpPr>
            <p:spPr bwMode="auto">
              <a:xfrm>
                <a:off x="382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82" name="Oval 2667">
                <a:extLst>
                  <a:ext uri="{FF2B5EF4-FFF2-40B4-BE49-F238E27FC236}">
                    <a16:creationId xmlns:a16="http://schemas.microsoft.com/office/drawing/2014/main" id="{B571EA91-5C41-449C-BD5F-183544DF3B55}"/>
                  </a:ext>
                </a:extLst>
              </p:cNvPr>
              <p:cNvSpPr>
                <a:spLocks noChangeArrowheads="1"/>
              </p:cNvSpPr>
              <p:nvPr/>
            </p:nvSpPr>
            <p:spPr bwMode="auto">
              <a:xfrm>
                <a:off x="36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83" name="Oval 2668">
                <a:extLst>
                  <a:ext uri="{FF2B5EF4-FFF2-40B4-BE49-F238E27FC236}">
                    <a16:creationId xmlns:a16="http://schemas.microsoft.com/office/drawing/2014/main" id="{5B2FB416-14C6-45B3-B827-1AB1FD27C705}"/>
                  </a:ext>
                </a:extLst>
              </p:cNvPr>
              <p:cNvSpPr>
                <a:spLocks noChangeArrowheads="1"/>
              </p:cNvSpPr>
              <p:nvPr/>
            </p:nvSpPr>
            <p:spPr bwMode="auto">
              <a:xfrm>
                <a:off x="367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84" name="Oval 2669">
                <a:extLst>
                  <a:ext uri="{FF2B5EF4-FFF2-40B4-BE49-F238E27FC236}">
                    <a16:creationId xmlns:a16="http://schemas.microsoft.com/office/drawing/2014/main" id="{BD145D2B-95B0-4565-AD31-565CDD19FE5B}"/>
                  </a:ext>
                </a:extLst>
              </p:cNvPr>
              <p:cNvSpPr>
                <a:spLocks noChangeArrowheads="1"/>
              </p:cNvSpPr>
              <p:nvPr/>
            </p:nvSpPr>
            <p:spPr bwMode="auto">
              <a:xfrm>
                <a:off x="379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85" name="Oval 2670">
                <a:extLst>
                  <a:ext uri="{FF2B5EF4-FFF2-40B4-BE49-F238E27FC236}">
                    <a16:creationId xmlns:a16="http://schemas.microsoft.com/office/drawing/2014/main" id="{716DDDC0-44AD-42B0-9504-F50D77AADE39}"/>
                  </a:ext>
                </a:extLst>
              </p:cNvPr>
              <p:cNvSpPr>
                <a:spLocks noChangeArrowheads="1"/>
              </p:cNvSpPr>
              <p:nvPr/>
            </p:nvSpPr>
            <p:spPr bwMode="auto">
              <a:xfrm>
                <a:off x="3735" y="3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86" name="Oval 2671">
                <a:extLst>
                  <a:ext uri="{FF2B5EF4-FFF2-40B4-BE49-F238E27FC236}">
                    <a16:creationId xmlns:a16="http://schemas.microsoft.com/office/drawing/2014/main" id="{CB5FF835-4CAF-4E81-80F9-5F4EA134BDD9}"/>
                  </a:ext>
                </a:extLst>
              </p:cNvPr>
              <p:cNvSpPr>
                <a:spLocks noChangeArrowheads="1"/>
              </p:cNvSpPr>
              <p:nvPr/>
            </p:nvSpPr>
            <p:spPr bwMode="auto">
              <a:xfrm>
                <a:off x="376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87" name="Oval 2672">
                <a:extLst>
                  <a:ext uri="{FF2B5EF4-FFF2-40B4-BE49-F238E27FC236}">
                    <a16:creationId xmlns:a16="http://schemas.microsoft.com/office/drawing/2014/main" id="{266E4A22-57E9-40D5-93B2-C99337267AB5}"/>
                  </a:ext>
                </a:extLst>
              </p:cNvPr>
              <p:cNvSpPr>
                <a:spLocks noChangeArrowheads="1"/>
              </p:cNvSpPr>
              <p:nvPr/>
            </p:nvSpPr>
            <p:spPr bwMode="auto">
              <a:xfrm>
                <a:off x="379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88" name="Oval 2673">
                <a:extLst>
                  <a:ext uri="{FF2B5EF4-FFF2-40B4-BE49-F238E27FC236}">
                    <a16:creationId xmlns:a16="http://schemas.microsoft.com/office/drawing/2014/main" id="{8B904A09-C06A-4C9D-AF3D-7E7D0E3585A2}"/>
                  </a:ext>
                </a:extLst>
              </p:cNvPr>
              <p:cNvSpPr>
                <a:spLocks noChangeArrowheads="1"/>
              </p:cNvSpPr>
              <p:nvPr/>
            </p:nvSpPr>
            <p:spPr bwMode="auto">
              <a:xfrm>
                <a:off x="3735" y="7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89" name="Oval 2674">
                <a:extLst>
                  <a:ext uri="{FF2B5EF4-FFF2-40B4-BE49-F238E27FC236}">
                    <a16:creationId xmlns:a16="http://schemas.microsoft.com/office/drawing/2014/main" id="{1AC19FEB-23C3-4BED-9A6C-5C8A835359EE}"/>
                  </a:ext>
                </a:extLst>
              </p:cNvPr>
              <p:cNvSpPr>
                <a:spLocks noChangeArrowheads="1"/>
              </p:cNvSpPr>
              <p:nvPr/>
            </p:nvSpPr>
            <p:spPr bwMode="auto">
              <a:xfrm>
                <a:off x="36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90" name="Oval 2675">
                <a:extLst>
                  <a:ext uri="{FF2B5EF4-FFF2-40B4-BE49-F238E27FC236}">
                    <a16:creationId xmlns:a16="http://schemas.microsoft.com/office/drawing/2014/main" id="{098B9364-2027-45AA-9199-49857769D443}"/>
                  </a:ext>
                </a:extLst>
              </p:cNvPr>
              <p:cNvSpPr>
                <a:spLocks noChangeArrowheads="1"/>
              </p:cNvSpPr>
              <p:nvPr/>
            </p:nvSpPr>
            <p:spPr bwMode="auto">
              <a:xfrm>
                <a:off x="352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91" name="Oval 2676">
                <a:extLst>
                  <a:ext uri="{FF2B5EF4-FFF2-40B4-BE49-F238E27FC236}">
                    <a16:creationId xmlns:a16="http://schemas.microsoft.com/office/drawing/2014/main" id="{AC438A9E-6154-48CC-B513-D5780E5CDEA9}"/>
                  </a:ext>
                </a:extLst>
              </p:cNvPr>
              <p:cNvSpPr>
                <a:spLocks noChangeArrowheads="1"/>
              </p:cNvSpPr>
              <p:nvPr/>
            </p:nvSpPr>
            <p:spPr bwMode="auto">
              <a:xfrm>
                <a:off x="343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92" name="Oval 2677">
                <a:extLst>
                  <a:ext uri="{FF2B5EF4-FFF2-40B4-BE49-F238E27FC236}">
                    <a16:creationId xmlns:a16="http://schemas.microsoft.com/office/drawing/2014/main" id="{6F1ED348-69FF-4377-A993-F8F3ED8AAF51}"/>
                  </a:ext>
                </a:extLst>
              </p:cNvPr>
              <p:cNvSpPr>
                <a:spLocks noChangeArrowheads="1"/>
              </p:cNvSpPr>
              <p:nvPr/>
            </p:nvSpPr>
            <p:spPr bwMode="auto">
              <a:xfrm>
                <a:off x="331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93" name="Oval 2678">
                <a:extLst>
                  <a:ext uri="{FF2B5EF4-FFF2-40B4-BE49-F238E27FC236}">
                    <a16:creationId xmlns:a16="http://schemas.microsoft.com/office/drawing/2014/main" id="{B27F9A48-08F1-4518-A0E5-E14A2DB192DF}"/>
                  </a:ext>
                </a:extLst>
              </p:cNvPr>
              <p:cNvSpPr>
                <a:spLocks noChangeArrowheads="1"/>
              </p:cNvSpPr>
              <p:nvPr/>
            </p:nvSpPr>
            <p:spPr bwMode="auto">
              <a:xfrm>
                <a:off x="325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94" name="Oval 2679">
                <a:extLst>
                  <a:ext uri="{FF2B5EF4-FFF2-40B4-BE49-F238E27FC236}">
                    <a16:creationId xmlns:a16="http://schemas.microsoft.com/office/drawing/2014/main" id="{1E3777A6-5778-4BA8-8EC9-983293D30C80}"/>
                  </a:ext>
                </a:extLst>
              </p:cNvPr>
              <p:cNvSpPr>
                <a:spLocks noChangeArrowheads="1"/>
              </p:cNvSpPr>
              <p:nvPr/>
            </p:nvSpPr>
            <p:spPr bwMode="auto">
              <a:xfrm>
                <a:off x="337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95" name="Oval 2680">
                <a:extLst>
                  <a:ext uri="{FF2B5EF4-FFF2-40B4-BE49-F238E27FC236}">
                    <a16:creationId xmlns:a16="http://schemas.microsoft.com/office/drawing/2014/main" id="{52FF395A-1E38-402B-97BA-FF1E84689DED}"/>
                  </a:ext>
                </a:extLst>
              </p:cNvPr>
              <p:cNvSpPr>
                <a:spLocks noChangeArrowheads="1"/>
              </p:cNvSpPr>
              <p:nvPr/>
            </p:nvSpPr>
            <p:spPr bwMode="auto">
              <a:xfrm>
                <a:off x="367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96" name="Oval 2681">
                <a:extLst>
                  <a:ext uri="{FF2B5EF4-FFF2-40B4-BE49-F238E27FC236}">
                    <a16:creationId xmlns:a16="http://schemas.microsoft.com/office/drawing/2014/main" id="{F8A69DC0-FD9A-464B-9135-99F25EE98063}"/>
                  </a:ext>
                </a:extLst>
              </p:cNvPr>
              <p:cNvSpPr>
                <a:spLocks noChangeArrowheads="1"/>
              </p:cNvSpPr>
              <p:nvPr/>
            </p:nvSpPr>
            <p:spPr bwMode="auto">
              <a:xfrm>
                <a:off x="349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97" name="Oval 2682">
                <a:extLst>
                  <a:ext uri="{FF2B5EF4-FFF2-40B4-BE49-F238E27FC236}">
                    <a16:creationId xmlns:a16="http://schemas.microsoft.com/office/drawing/2014/main" id="{5EE5E598-FD40-4EA8-AF40-A226FBD3A33C}"/>
                  </a:ext>
                </a:extLst>
              </p:cNvPr>
              <p:cNvSpPr>
                <a:spLocks noChangeArrowheads="1"/>
              </p:cNvSpPr>
              <p:nvPr/>
            </p:nvSpPr>
            <p:spPr bwMode="auto">
              <a:xfrm>
                <a:off x="35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98" name="Oval 2683">
                <a:extLst>
                  <a:ext uri="{FF2B5EF4-FFF2-40B4-BE49-F238E27FC236}">
                    <a16:creationId xmlns:a16="http://schemas.microsoft.com/office/drawing/2014/main" id="{D581C553-446D-4E7A-8C3F-35E7DD725C9A}"/>
                  </a:ext>
                </a:extLst>
              </p:cNvPr>
              <p:cNvSpPr>
                <a:spLocks noChangeArrowheads="1"/>
              </p:cNvSpPr>
              <p:nvPr/>
            </p:nvSpPr>
            <p:spPr bwMode="auto">
              <a:xfrm>
                <a:off x="343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99" name="Oval 2684">
                <a:extLst>
                  <a:ext uri="{FF2B5EF4-FFF2-40B4-BE49-F238E27FC236}">
                    <a16:creationId xmlns:a16="http://schemas.microsoft.com/office/drawing/2014/main" id="{0A1ED11A-CF25-44BA-91A1-F148DD3D9363}"/>
                  </a:ext>
                </a:extLst>
              </p:cNvPr>
              <p:cNvSpPr>
                <a:spLocks noChangeArrowheads="1"/>
              </p:cNvSpPr>
              <p:nvPr/>
            </p:nvSpPr>
            <p:spPr bwMode="auto">
              <a:xfrm>
                <a:off x="364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00" name="Oval 2685">
                <a:extLst>
                  <a:ext uri="{FF2B5EF4-FFF2-40B4-BE49-F238E27FC236}">
                    <a16:creationId xmlns:a16="http://schemas.microsoft.com/office/drawing/2014/main" id="{93E8B384-6961-4183-A71B-D449B7D49389}"/>
                  </a:ext>
                </a:extLst>
              </p:cNvPr>
              <p:cNvSpPr>
                <a:spLocks noChangeArrowheads="1"/>
              </p:cNvSpPr>
              <p:nvPr/>
            </p:nvSpPr>
            <p:spPr bwMode="auto">
              <a:xfrm>
                <a:off x="355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01" name="Oval 2686">
                <a:extLst>
                  <a:ext uri="{FF2B5EF4-FFF2-40B4-BE49-F238E27FC236}">
                    <a16:creationId xmlns:a16="http://schemas.microsoft.com/office/drawing/2014/main" id="{6F629EE3-004F-4FB9-AB6D-E1DDEB572C09}"/>
                  </a:ext>
                </a:extLst>
              </p:cNvPr>
              <p:cNvSpPr>
                <a:spLocks noChangeArrowheads="1"/>
              </p:cNvSpPr>
              <p:nvPr/>
            </p:nvSpPr>
            <p:spPr bwMode="auto">
              <a:xfrm>
                <a:off x="34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02" name="Oval 2687">
                <a:extLst>
                  <a:ext uri="{FF2B5EF4-FFF2-40B4-BE49-F238E27FC236}">
                    <a16:creationId xmlns:a16="http://schemas.microsoft.com/office/drawing/2014/main" id="{0BC425A5-8E66-4C92-B578-665CB192E4D3}"/>
                  </a:ext>
                </a:extLst>
              </p:cNvPr>
              <p:cNvSpPr>
                <a:spLocks noChangeArrowheads="1"/>
              </p:cNvSpPr>
              <p:nvPr/>
            </p:nvSpPr>
            <p:spPr bwMode="auto">
              <a:xfrm>
                <a:off x="31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03" name="Oval 2688">
                <a:extLst>
                  <a:ext uri="{FF2B5EF4-FFF2-40B4-BE49-F238E27FC236}">
                    <a16:creationId xmlns:a16="http://schemas.microsoft.com/office/drawing/2014/main" id="{C1AD77E8-D7CA-4C38-9198-38DD1CEABD3F}"/>
                  </a:ext>
                </a:extLst>
              </p:cNvPr>
              <p:cNvSpPr>
                <a:spLocks noChangeArrowheads="1"/>
              </p:cNvSpPr>
              <p:nvPr/>
            </p:nvSpPr>
            <p:spPr bwMode="auto">
              <a:xfrm>
                <a:off x="304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04" name="Oval 2689">
                <a:extLst>
                  <a:ext uri="{FF2B5EF4-FFF2-40B4-BE49-F238E27FC236}">
                    <a16:creationId xmlns:a16="http://schemas.microsoft.com/office/drawing/2014/main" id="{994C1383-0232-4A91-8881-285D13CCEB20}"/>
                  </a:ext>
                </a:extLst>
              </p:cNvPr>
              <p:cNvSpPr>
                <a:spLocks noChangeArrowheads="1"/>
              </p:cNvSpPr>
              <p:nvPr/>
            </p:nvSpPr>
            <p:spPr bwMode="auto">
              <a:xfrm>
                <a:off x="29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05" name="Oval 2690">
                <a:extLst>
                  <a:ext uri="{FF2B5EF4-FFF2-40B4-BE49-F238E27FC236}">
                    <a16:creationId xmlns:a16="http://schemas.microsoft.com/office/drawing/2014/main" id="{9D1D68A1-BE9E-410B-93D5-84116CDCECB5}"/>
                  </a:ext>
                </a:extLst>
              </p:cNvPr>
              <p:cNvSpPr>
                <a:spLocks noChangeArrowheads="1"/>
              </p:cNvSpPr>
              <p:nvPr/>
            </p:nvSpPr>
            <p:spPr bwMode="auto">
              <a:xfrm>
                <a:off x="30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06" name="Oval 2691">
                <a:extLst>
                  <a:ext uri="{FF2B5EF4-FFF2-40B4-BE49-F238E27FC236}">
                    <a16:creationId xmlns:a16="http://schemas.microsoft.com/office/drawing/2014/main" id="{9A391276-D9C8-40A0-9292-56F1C7398FE7}"/>
                  </a:ext>
                </a:extLst>
              </p:cNvPr>
              <p:cNvSpPr>
                <a:spLocks noChangeArrowheads="1"/>
              </p:cNvSpPr>
              <p:nvPr/>
            </p:nvSpPr>
            <p:spPr bwMode="auto">
              <a:xfrm>
                <a:off x="316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07" name="Oval 2692">
                <a:extLst>
                  <a:ext uri="{FF2B5EF4-FFF2-40B4-BE49-F238E27FC236}">
                    <a16:creationId xmlns:a16="http://schemas.microsoft.com/office/drawing/2014/main" id="{1BDED39E-299F-4252-8F0C-791F33412001}"/>
                  </a:ext>
                </a:extLst>
              </p:cNvPr>
              <p:cNvSpPr>
                <a:spLocks noChangeArrowheads="1"/>
              </p:cNvSpPr>
              <p:nvPr/>
            </p:nvSpPr>
            <p:spPr bwMode="auto">
              <a:xfrm>
                <a:off x="334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08" name="Oval 2693">
                <a:extLst>
                  <a:ext uri="{FF2B5EF4-FFF2-40B4-BE49-F238E27FC236}">
                    <a16:creationId xmlns:a16="http://schemas.microsoft.com/office/drawing/2014/main" id="{DF5F27D5-2F56-463D-9CBC-C29778196FAA}"/>
                  </a:ext>
                </a:extLst>
              </p:cNvPr>
              <p:cNvSpPr>
                <a:spLocks noChangeArrowheads="1"/>
              </p:cNvSpPr>
              <p:nvPr/>
            </p:nvSpPr>
            <p:spPr bwMode="auto">
              <a:xfrm>
                <a:off x="31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09" name="Oval 2694">
                <a:extLst>
                  <a:ext uri="{FF2B5EF4-FFF2-40B4-BE49-F238E27FC236}">
                    <a16:creationId xmlns:a16="http://schemas.microsoft.com/office/drawing/2014/main" id="{20A9579E-FFBD-450A-87AD-EFD56997F87F}"/>
                  </a:ext>
                </a:extLst>
              </p:cNvPr>
              <p:cNvSpPr>
                <a:spLocks noChangeArrowheads="1"/>
              </p:cNvSpPr>
              <p:nvPr/>
            </p:nvSpPr>
            <p:spPr bwMode="auto">
              <a:xfrm>
                <a:off x="307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10" name="Oval 2695">
                <a:extLst>
                  <a:ext uri="{FF2B5EF4-FFF2-40B4-BE49-F238E27FC236}">
                    <a16:creationId xmlns:a16="http://schemas.microsoft.com/office/drawing/2014/main" id="{D42FC889-822A-4B44-80D8-EF66C2773A2C}"/>
                  </a:ext>
                </a:extLst>
              </p:cNvPr>
              <p:cNvSpPr>
                <a:spLocks noChangeArrowheads="1"/>
              </p:cNvSpPr>
              <p:nvPr/>
            </p:nvSpPr>
            <p:spPr bwMode="auto">
              <a:xfrm>
                <a:off x="30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11" name="Oval 2696">
                <a:extLst>
                  <a:ext uri="{FF2B5EF4-FFF2-40B4-BE49-F238E27FC236}">
                    <a16:creationId xmlns:a16="http://schemas.microsoft.com/office/drawing/2014/main" id="{9DD8D825-87F7-48F3-A47A-925DA0774609}"/>
                  </a:ext>
                </a:extLst>
              </p:cNvPr>
              <p:cNvSpPr>
                <a:spLocks noChangeArrowheads="1"/>
              </p:cNvSpPr>
              <p:nvPr/>
            </p:nvSpPr>
            <p:spPr bwMode="auto">
              <a:xfrm>
                <a:off x="292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12" name="Oval 2697">
                <a:extLst>
                  <a:ext uri="{FF2B5EF4-FFF2-40B4-BE49-F238E27FC236}">
                    <a16:creationId xmlns:a16="http://schemas.microsoft.com/office/drawing/2014/main" id="{25D9C884-E421-4994-9020-3AD0FEE51BDE}"/>
                  </a:ext>
                </a:extLst>
              </p:cNvPr>
              <p:cNvSpPr>
                <a:spLocks noChangeArrowheads="1"/>
              </p:cNvSpPr>
              <p:nvPr/>
            </p:nvSpPr>
            <p:spPr bwMode="auto">
              <a:xfrm>
                <a:off x="298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13" name="Oval 2698">
                <a:extLst>
                  <a:ext uri="{FF2B5EF4-FFF2-40B4-BE49-F238E27FC236}">
                    <a16:creationId xmlns:a16="http://schemas.microsoft.com/office/drawing/2014/main" id="{82DE3424-E4EB-455E-ABDF-CD0D37F29112}"/>
                  </a:ext>
                </a:extLst>
              </p:cNvPr>
              <p:cNvSpPr>
                <a:spLocks noChangeArrowheads="1"/>
              </p:cNvSpPr>
              <p:nvPr/>
            </p:nvSpPr>
            <p:spPr bwMode="auto">
              <a:xfrm>
                <a:off x="316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14" name="Oval 2699">
                <a:extLst>
                  <a:ext uri="{FF2B5EF4-FFF2-40B4-BE49-F238E27FC236}">
                    <a16:creationId xmlns:a16="http://schemas.microsoft.com/office/drawing/2014/main" id="{CBB6FA95-D0BD-45FF-BC06-8BD054E930CF}"/>
                  </a:ext>
                </a:extLst>
              </p:cNvPr>
              <p:cNvSpPr>
                <a:spLocks noChangeArrowheads="1"/>
              </p:cNvSpPr>
              <p:nvPr/>
            </p:nvSpPr>
            <p:spPr bwMode="auto">
              <a:xfrm>
                <a:off x="316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15" name="Oval 2700">
                <a:extLst>
                  <a:ext uri="{FF2B5EF4-FFF2-40B4-BE49-F238E27FC236}">
                    <a16:creationId xmlns:a16="http://schemas.microsoft.com/office/drawing/2014/main" id="{70B06BEC-A675-4FD1-9F8F-87AF3ADFB82B}"/>
                  </a:ext>
                </a:extLst>
              </p:cNvPr>
              <p:cNvSpPr>
                <a:spLocks noChangeArrowheads="1"/>
              </p:cNvSpPr>
              <p:nvPr/>
            </p:nvSpPr>
            <p:spPr bwMode="auto">
              <a:xfrm>
                <a:off x="316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16" name="Oval 2701">
                <a:extLst>
                  <a:ext uri="{FF2B5EF4-FFF2-40B4-BE49-F238E27FC236}">
                    <a16:creationId xmlns:a16="http://schemas.microsoft.com/office/drawing/2014/main" id="{99A04173-4152-49EA-A842-402ECC2C46D1}"/>
                  </a:ext>
                </a:extLst>
              </p:cNvPr>
              <p:cNvSpPr>
                <a:spLocks noChangeArrowheads="1"/>
              </p:cNvSpPr>
              <p:nvPr/>
            </p:nvSpPr>
            <p:spPr bwMode="auto">
              <a:xfrm>
                <a:off x="316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17" name="Oval 2702">
                <a:extLst>
                  <a:ext uri="{FF2B5EF4-FFF2-40B4-BE49-F238E27FC236}">
                    <a16:creationId xmlns:a16="http://schemas.microsoft.com/office/drawing/2014/main" id="{AD046532-BA66-4481-A559-1149C2F42782}"/>
                  </a:ext>
                </a:extLst>
              </p:cNvPr>
              <p:cNvSpPr>
                <a:spLocks noChangeArrowheads="1"/>
              </p:cNvSpPr>
              <p:nvPr/>
            </p:nvSpPr>
            <p:spPr bwMode="auto">
              <a:xfrm>
                <a:off x="29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18" name="Oval 2703">
                <a:extLst>
                  <a:ext uri="{FF2B5EF4-FFF2-40B4-BE49-F238E27FC236}">
                    <a16:creationId xmlns:a16="http://schemas.microsoft.com/office/drawing/2014/main" id="{06D27BA4-43B3-45C4-ABBC-839A85CA8290}"/>
                  </a:ext>
                </a:extLst>
              </p:cNvPr>
              <p:cNvSpPr>
                <a:spLocks noChangeArrowheads="1"/>
              </p:cNvSpPr>
              <p:nvPr/>
            </p:nvSpPr>
            <p:spPr bwMode="auto">
              <a:xfrm>
                <a:off x="289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19" name="Oval 2704">
                <a:extLst>
                  <a:ext uri="{FF2B5EF4-FFF2-40B4-BE49-F238E27FC236}">
                    <a16:creationId xmlns:a16="http://schemas.microsoft.com/office/drawing/2014/main" id="{825185D5-D907-45AC-8D8A-C853CB409724}"/>
                  </a:ext>
                </a:extLst>
              </p:cNvPr>
              <p:cNvSpPr>
                <a:spLocks noChangeArrowheads="1"/>
              </p:cNvSpPr>
              <p:nvPr/>
            </p:nvSpPr>
            <p:spPr bwMode="auto">
              <a:xfrm>
                <a:off x="289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20" name="Oval 2705">
                <a:extLst>
                  <a:ext uri="{FF2B5EF4-FFF2-40B4-BE49-F238E27FC236}">
                    <a16:creationId xmlns:a16="http://schemas.microsoft.com/office/drawing/2014/main" id="{8FEDCD68-0D03-49EA-BCE4-7BB6E2845A86}"/>
                  </a:ext>
                </a:extLst>
              </p:cNvPr>
              <p:cNvSpPr>
                <a:spLocks noChangeArrowheads="1"/>
              </p:cNvSpPr>
              <p:nvPr/>
            </p:nvSpPr>
            <p:spPr bwMode="auto">
              <a:xfrm>
                <a:off x="289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21" name="Oval 2706">
                <a:extLst>
                  <a:ext uri="{FF2B5EF4-FFF2-40B4-BE49-F238E27FC236}">
                    <a16:creationId xmlns:a16="http://schemas.microsoft.com/office/drawing/2014/main" id="{C5CC83A2-5AC7-418C-8D26-C21D3E3F4734}"/>
                  </a:ext>
                </a:extLst>
              </p:cNvPr>
              <p:cNvSpPr>
                <a:spLocks noChangeArrowheads="1"/>
              </p:cNvSpPr>
              <p:nvPr/>
            </p:nvSpPr>
            <p:spPr bwMode="auto">
              <a:xfrm>
                <a:off x="277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22" name="Oval 2707">
                <a:extLst>
                  <a:ext uri="{FF2B5EF4-FFF2-40B4-BE49-F238E27FC236}">
                    <a16:creationId xmlns:a16="http://schemas.microsoft.com/office/drawing/2014/main" id="{F72B99DB-FFAC-4594-85DE-F0EB2224F279}"/>
                  </a:ext>
                </a:extLst>
              </p:cNvPr>
              <p:cNvSpPr>
                <a:spLocks noChangeArrowheads="1"/>
              </p:cNvSpPr>
              <p:nvPr/>
            </p:nvSpPr>
            <p:spPr bwMode="auto">
              <a:xfrm>
                <a:off x="2805"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23" name="Oval 2708">
                <a:extLst>
                  <a:ext uri="{FF2B5EF4-FFF2-40B4-BE49-F238E27FC236}">
                    <a16:creationId xmlns:a16="http://schemas.microsoft.com/office/drawing/2014/main" id="{888ADD28-C7E5-4E23-BBB9-F704AE163F70}"/>
                  </a:ext>
                </a:extLst>
              </p:cNvPr>
              <p:cNvSpPr>
                <a:spLocks noChangeArrowheads="1"/>
              </p:cNvSpPr>
              <p:nvPr/>
            </p:nvSpPr>
            <p:spPr bwMode="auto">
              <a:xfrm>
                <a:off x="286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24" name="Oval 2709">
                <a:extLst>
                  <a:ext uri="{FF2B5EF4-FFF2-40B4-BE49-F238E27FC236}">
                    <a16:creationId xmlns:a16="http://schemas.microsoft.com/office/drawing/2014/main" id="{0B123D8D-5E3D-44D1-AE4F-427BD1FFF0E2}"/>
                  </a:ext>
                </a:extLst>
              </p:cNvPr>
              <p:cNvSpPr>
                <a:spLocks noChangeArrowheads="1"/>
              </p:cNvSpPr>
              <p:nvPr/>
            </p:nvSpPr>
            <p:spPr bwMode="auto">
              <a:xfrm>
                <a:off x="2775"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25" name="Oval 2710">
                <a:extLst>
                  <a:ext uri="{FF2B5EF4-FFF2-40B4-BE49-F238E27FC236}">
                    <a16:creationId xmlns:a16="http://schemas.microsoft.com/office/drawing/2014/main" id="{01A033DC-339B-48FC-87A1-B3DBD7454F8C}"/>
                  </a:ext>
                </a:extLst>
              </p:cNvPr>
              <p:cNvSpPr>
                <a:spLocks noChangeArrowheads="1"/>
              </p:cNvSpPr>
              <p:nvPr/>
            </p:nvSpPr>
            <p:spPr bwMode="auto">
              <a:xfrm>
                <a:off x="283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26" name="Oval 2711">
                <a:extLst>
                  <a:ext uri="{FF2B5EF4-FFF2-40B4-BE49-F238E27FC236}">
                    <a16:creationId xmlns:a16="http://schemas.microsoft.com/office/drawing/2014/main" id="{0B5A68D5-AD77-4751-ADAD-89E479E25E3B}"/>
                  </a:ext>
                </a:extLst>
              </p:cNvPr>
              <p:cNvSpPr>
                <a:spLocks noChangeArrowheads="1"/>
              </p:cNvSpPr>
              <p:nvPr/>
            </p:nvSpPr>
            <p:spPr bwMode="auto">
              <a:xfrm>
                <a:off x="286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27" name="Oval 2712">
                <a:extLst>
                  <a:ext uri="{FF2B5EF4-FFF2-40B4-BE49-F238E27FC236}">
                    <a16:creationId xmlns:a16="http://schemas.microsoft.com/office/drawing/2014/main" id="{11106ABA-052A-4A2B-8AE1-ADBB8A88A3E0}"/>
                  </a:ext>
                </a:extLst>
              </p:cNvPr>
              <p:cNvSpPr>
                <a:spLocks noChangeArrowheads="1"/>
              </p:cNvSpPr>
              <p:nvPr/>
            </p:nvSpPr>
            <p:spPr bwMode="auto">
              <a:xfrm>
                <a:off x="2775"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28" name="Oval 2713">
                <a:extLst>
                  <a:ext uri="{FF2B5EF4-FFF2-40B4-BE49-F238E27FC236}">
                    <a16:creationId xmlns:a16="http://schemas.microsoft.com/office/drawing/2014/main" id="{02AD6CBC-1D9B-4F18-9738-F92FB5A7788C}"/>
                  </a:ext>
                </a:extLst>
              </p:cNvPr>
              <p:cNvSpPr>
                <a:spLocks noChangeArrowheads="1"/>
              </p:cNvSpPr>
              <p:nvPr/>
            </p:nvSpPr>
            <p:spPr bwMode="auto">
              <a:xfrm>
                <a:off x="25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29" name="Oval 2714">
                <a:extLst>
                  <a:ext uri="{FF2B5EF4-FFF2-40B4-BE49-F238E27FC236}">
                    <a16:creationId xmlns:a16="http://schemas.microsoft.com/office/drawing/2014/main" id="{F864E49B-2A6C-407F-A1D1-B9035FC03640}"/>
                  </a:ext>
                </a:extLst>
              </p:cNvPr>
              <p:cNvSpPr>
                <a:spLocks noChangeArrowheads="1"/>
              </p:cNvSpPr>
              <p:nvPr/>
            </p:nvSpPr>
            <p:spPr bwMode="auto">
              <a:xfrm>
                <a:off x="256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30" name="Oval 2715">
                <a:extLst>
                  <a:ext uri="{FF2B5EF4-FFF2-40B4-BE49-F238E27FC236}">
                    <a16:creationId xmlns:a16="http://schemas.microsoft.com/office/drawing/2014/main" id="{69DDE30E-6363-4E55-B591-7689E2537C3B}"/>
                  </a:ext>
                </a:extLst>
              </p:cNvPr>
              <p:cNvSpPr>
                <a:spLocks noChangeArrowheads="1"/>
              </p:cNvSpPr>
              <p:nvPr/>
            </p:nvSpPr>
            <p:spPr bwMode="auto">
              <a:xfrm>
                <a:off x="259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31" name="Oval 2716">
                <a:extLst>
                  <a:ext uri="{FF2B5EF4-FFF2-40B4-BE49-F238E27FC236}">
                    <a16:creationId xmlns:a16="http://schemas.microsoft.com/office/drawing/2014/main" id="{9133E79E-3537-4852-B2D1-7E73AD3C61E7}"/>
                  </a:ext>
                </a:extLst>
              </p:cNvPr>
              <p:cNvSpPr>
                <a:spLocks noChangeArrowheads="1"/>
              </p:cNvSpPr>
              <p:nvPr/>
            </p:nvSpPr>
            <p:spPr bwMode="auto">
              <a:xfrm>
                <a:off x="244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32" name="Oval 2717">
                <a:extLst>
                  <a:ext uri="{FF2B5EF4-FFF2-40B4-BE49-F238E27FC236}">
                    <a16:creationId xmlns:a16="http://schemas.microsoft.com/office/drawing/2014/main" id="{92A51A2B-5D3D-4721-9842-1506984E82E7}"/>
                  </a:ext>
                </a:extLst>
              </p:cNvPr>
              <p:cNvSpPr>
                <a:spLocks noChangeArrowheads="1"/>
              </p:cNvSpPr>
              <p:nvPr/>
            </p:nvSpPr>
            <p:spPr bwMode="auto">
              <a:xfrm>
                <a:off x="24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33" name="Oval 2718">
                <a:extLst>
                  <a:ext uri="{FF2B5EF4-FFF2-40B4-BE49-F238E27FC236}">
                    <a16:creationId xmlns:a16="http://schemas.microsoft.com/office/drawing/2014/main" id="{9CF1BB29-4BFB-4888-90B3-24A60F8E95A1}"/>
                  </a:ext>
                </a:extLst>
              </p:cNvPr>
              <p:cNvSpPr>
                <a:spLocks noChangeArrowheads="1"/>
              </p:cNvSpPr>
              <p:nvPr/>
            </p:nvSpPr>
            <p:spPr bwMode="auto">
              <a:xfrm>
                <a:off x="247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34" name="Oval 2719">
                <a:extLst>
                  <a:ext uri="{FF2B5EF4-FFF2-40B4-BE49-F238E27FC236}">
                    <a16:creationId xmlns:a16="http://schemas.microsoft.com/office/drawing/2014/main" id="{C4AFBAEA-3F8F-44C3-8E44-7204E6EB685A}"/>
                  </a:ext>
                </a:extLst>
              </p:cNvPr>
              <p:cNvSpPr>
                <a:spLocks noChangeArrowheads="1"/>
              </p:cNvSpPr>
              <p:nvPr/>
            </p:nvSpPr>
            <p:spPr bwMode="auto">
              <a:xfrm>
                <a:off x="2475"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35" name="Oval 2720">
                <a:extLst>
                  <a:ext uri="{FF2B5EF4-FFF2-40B4-BE49-F238E27FC236}">
                    <a16:creationId xmlns:a16="http://schemas.microsoft.com/office/drawing/2014/main" id="{7F99E6FA-011F-45BB-BAF5-650FE8512597}"/>
                  </a:ext>
                </a:extLst>
              </p:cNvPr>
              <p:cNvSpPr>
                <a:spLocks noChangeArrowheads="1"/>
              </p:cNvSpPr>
              <p:nvPr/>
            </p:nvSpPr>
            <p:spPr bwMode="auto">
              <a:xfrm>
                <a:off x="286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36" name="Oval 2721">
                <a:extLst>
                  <a:ext uri="{FF2B5EF4-FFF2-40B4-BE49-F238E27FC236}">
                    <a16:creationId xmlns:a16="http://schemas.microsoft.com/office/drawing/2014/main" id="{00E12BDA-CB21-4277-B770-DA938FAF3FFD}"/>
                  </a:ext>
                </a:extLst>
              </p:cNvPr>
              <p:cNvSpPr>
                <a:spLocks noChangeArrowheads="1"/>
              </p:cNvSpPr>
              <p:nvPr/>
            </p:nvSpPr>
            <p:spPr bwMode="auto">
              <a:xfrm>
                <a:off x="268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37" name="Oval 2722">
                <a:extLst>
                  <a:ext uri="{FF2B5EF4-FFF2-40B4-BE49-F238E27FC236}">
                    <a16:creationId xmlns:a16="http://schemas.microsoft.com/office/drawing/2014/main" id="{634B3ED7-C238-410D-BA13-A33CC9E2F243}"/>
                  </a:ext>
                </a:extLst>
              </p:cNvPr>
              <p:cNvSpPr>
                <a:spLocks noChangeArrowheads="1"/>
              </p:cNvSpPr>
              <p:nvPr/>
            </p:nvSpPr>
            <p:spPr bwMode="auto">
              <a:xfrm>
                <a:off x="235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38" name="Oval 2723">
                <a:extLst>
                  <a:ext uri="{FF2B5EF4-FFF2-40B4-BE49-F238E27FC236}">
                    <a16:creationId xmlns:a16="http://schemas.microsoft.com/office/drawing/2014/main" id="{EEAB58E9-0144-4ADE-9C6C-4C65B857E1B0}"/>
                  </a:ext>
                </a:extLst>
              </p:cNvPr>
              <p:cNvSpPr>
                <a:spLocks noChangeArrowheads="1"/>
              </p:cNvSpPr>
              <p:nvPr/>
            </p:nvSpPr>
            <p:spPr bwMode="auto">
              <a:xfrm>
                <a:off x="235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39" name="Oval 2724">
                <a:extLst>
                  <a:ext uri="{FF2B5EF4-FFF2-40B4-BE49-F238E27FC236}">
                    <a16:creationId xmlns:a16="http://schemas.microsoft.com/office/drawing/2014/main" id="{D8D865A7-DEC3-4F65-A732-3284370C9D1B}"/>
                  </a:ext>
                </a:extLst>
              </p:cNvPr>
              <p:cNvSpPr>
                <a:spLocks noChangeArrowheads="1"/>
              </p:cNvSpPr>
              <p:nvPr/>
            </p:nvSpPr>
            <p:spPr bwMode="auto">
              <a:xfrm>
                <a:off x="25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40" name="Oval 2725">
                <a:extLst>
                  <a:ext uri="{FF2B5EF4-FFF2-40B4-BE49-F238E27FC236}">
                    <a16:creationId xmlns:a16="http://schemas.microsoft.com/office/drawing/2014/main" id="{F139A54F-04C3-4B92-B96E-AF5B93B56ED3}"/>
                  </a:ext>
                </a:extLst>
              </p:cNvPr>
              <p:cNvSpPr>
                <a:spLocks noChangeArrowheads="1"/>
              </p:cNvSpPr>
              <p:nvPr/>
            </p:nvSpPr>
            <p:spPr bwMode="auto">
              <a:xfrm>
                <a:off x="259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41" name="Oval 2726">
                <a:extLst>
                  <a:ext uri="{FF2B5EF4-FFF2-40B4-BE49-F238E27FC236}">
                    <a16:creationId xmlns:a16="http://schemas.microsoft.com/office/drawing/2014/main" id="{F621F4D6-D60F-40DD-8529-06083F117115}"/>
                  </a:ext>
                </a:extLst>
              </p:cNvPr>
              <p:cNvSpPr>
                <a:spLocks noChangeArrowheads="1"/>
              </p:cNvSpPr>
              <p:nvPr/>
            </p:nvSpPr>
            <p:spPr bwMode="auto">
              <a:xfrm>
                <a:off x="25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42" name="Oval 2727">
                <a:extLst>
                  <a:ext uri="{FF2B5EF4-FFF2-40B4-BE49-F238E27FC236}">
                    <a16:creationId xmlns:a16="http://schemas.microsoft.com/office/drawing/2014/main" id="{4DC68A42-3684-4AA2-9B0A-2D84D36D3840}"/>
                  </a:ext>
                </a:extLst>
              </p:cNvPr>
              <p:cNvSpPr>
                <a:spLocks noChangeArrowheads="1"/>
              </p:cNvSpPr>
              <p:nvPr/>
            </p:nvSpPr>
            <p:spPr bwMode="auto">
              <a:xfrm>
                <a:off x="256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43" name="Oval 2728">
                <a:extLst>
                  <a:ext uri="{FF2B5EF4-FFF2-40B4-BE49-F238E27FC236}">
                    <a16:creationId xmlns:a16="http://schemas.microsoft.com/office/drawing/2014/main" id="{4E996689-6573-4172-8748-509110AE2753}"/>
                  </a:ext>
                </a:extLst>
              </p:cNvPr>
              <p:cNvSpPr>
                <a:spLocks noChangeArrowheads="1"/>
              </p:cNvSpPr>
              <p:nvPr/>
            </p:nvSpPr>
            <p:spPr bwMode="auto">
              <a:xfrm>
                <a:off x="247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44" name="Oval 2729">
                <a:extLst>
                  <a:ext uri="{FF2B5EF4-FFF2-40B4-BE49-F238E27FC236}">
                    <a16:creationId xmlns:a16="http://schemas.microsoft.com/office/drawing/2014/main" id="{DE33641C-6B71-4EEC-8907-EC0C3BF09FEB}"/>
                  </a:ext>
                </a:extLst>
              </p:cNvPr>
              <p:cNvSpPr>
                <a:spLocks noChangeArrowheads="1"/>
              </p:cNvSpPr>
              <p:nvPr/>
            </p:nvSpPr>
            <p:spPr bwMode="auto">
              <a:xfrm>
                <a:off x="235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45" name="Oval 2730">
                <a:extLst>
                  <a:ext uri="{FF2B5EF4-FFF2-40B4-BE49-F238E27FC236}">
                    <a16:creationId xmlns:a16="http://schemas.microsoft.com/office/drawing/2014/main" id="{D0756A43-0E9A-4A76-91B2-6C34801B379F}"/>
                  </a:ext>
                </a:extLst>
              </p:cNvPr>
              <p:cNvSpPr>
                <a:spLocks noChangeArrowheads="1"/>
              </p:cNvSpPr>
              <p:nvPr/>
            </p:nvSpPr>
            <p:spPr bwMode="auto">
              <a:xfrm>
                <a:off x="229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46" name="Oval 2731">
                <a:extLst>
                  <a:ext uri="{FF2B5EF4-FFF2-40B4-BE49-F238E27FC236}">
                    <a16:creationId xmlns:a16="http://schemas.microsoft.com/office/drawing/2014/main" id="{F27A513C-F0F9-494E-90C2-600136D7B974}"/>
                  </a:ext>
                </a:extLst>
              </p:cNvPr>
              <p:cNvSpPr>
                <a:spLocks noChangeArrowheads="1"/>
              </p:cNvSpPr>
              <p:nvPr/>
            </p:nvSpPr>
            <p:spPr bwMode="auto">
              <a:xfrm>
                <a:off x="226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47" name="Oval 2732">
                <a:extLst>
                  <a:ext uri="{FF2B5EF4-FFF2-40B4-BE49-F238E27FC236}">
                    <a16:creationId xmlns:a16="http://schemas.microsoft.com/office/drawing/2014/main" id="{1AEF89EC-C7F4-4767-BE87-EC39E76B5CEE}"/>
                  </a:ext>
                </a:extLst>
              </p:cNvPr>
              <p:cNvSpPr>
                <a:spLocks noChangeArrowheads="1"/>
              </p:cNvSpPr>
              <p:nvPr/>
            </p:nvSpPr>
            <p:spPr bwMode="auto">
              <a:xfrm>
                <a:off x="229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48" name="Oval 2733">
                <a:extLst>
                  <a:ext uri="{FF2B5EF4-FFF2-40B4-BE49-F238E27FC236}">
                    <a16:creationId xmlns:a16="http://schemas.microsoft.com/office/drawing/2014/main" id="{19A9529C-1C7E-4E10-B7A1-794F768E7936}"/>
                  </a:ext>
                </a:extLst>
              </p:cNvPr>
              <p:cNvSpPr>
                <a:spLocks noChangeArrowheads="1"/>
              </p:cNvSpPr>
              <p:nvPr/>
            </p:nvSpPr>
            <p:spPr bwMode="auto">
              <a:xfrm>
                <a:off x="235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49" name="Oval 2734">
                <a:extLst>
                  <a:ext uri="{FF2B5EF4-FFF2-40B4-BE49-F238E27FC236}">
                    <a16:creationId xmlns:a16="http://schemas.microsoft.com/office/drawing/2014/main" id="{4F675FD2-6B90-49ED-AD3F-0FEAAC0C14EE}"/>
                  </a:ext>
                </a:extLst>
              </p:cNvPr>
              <p:cNvSpPr>
                <a:spLocks noChangeArrowheads="1"/>
              </p:cNvSpPr>
              <p:nvPr/>
            </p:nvSpPr>
            <p:spPr bwMode="auto">
              <a:xfrm>
                <a:off x="244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50" name="Oval 2735">
                <a:extLst>
                  <a:ext uri="{FF2B5EF4-FFF2-40B4-BE49-F238E27FC236}">
                    <a16:creationId xmlns:a16="http://schemas.microsoft.com/office/drawing/2014/main" id="{F70E6307-4686-4367-9E9E-8EFF9424899F}"/>
                  </a:ext>
                </a:extLst>
              </p:cNvPr>
              <p:cNvSpPr>
                <a:spLocks noChangeArrowheads="1"/>
              </p:cNvSpPr>
              <p:nvPr/>
            </p:nvSpPr>
            <p:spPr bwMode="auto">
              <a:xfrm>
                <a:off x="268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51" name="Oval 2736">
                <a:extLst>
                  <a:ext uri="{FF2B5EF4-FFF2-40B4-BE49-F238E27FC236}">
                    <a16:creationId xmlns:a16="http://schemas.microsoft.com/office/drawing/2014/main" id="{2A61AADD-960D-465F-AB8C-CDCBC221793F}"/>
                  </a:ext>
                </a:extLst>
              </p:cNvPr>
              <p:cNvSpPr>
                <a:spLocks noChangeArrowheads="1"/>
              </p:cNvSpPr>
              <p:nvPr/>
            </p:nvSpPr>
            <p:spPr bwMode="auto">
              <a:xfrm>
                <a:off x="253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52" name="Oval 2737">
                <a:extLst>
                  <a:ext uri="{FF2B5EF4-FFF2-40B4-BE49-F238E27FC236}">
                    <a16:creationId xmlns:a16="http://schemas.microsoft.com/office/drawing/2014/main" id="{C3428BB4-3B2B-4A9E-90C3-ACB19DA35333}"/>
                  </a:ext>
                </a:extLst>
              </p:cNvPr>
              <p:cNvSpPr>
                <a:spLocks noChangeArrowheads="1"/>
              </p:cNvSpPr>
              <p:nvPr/>
            </p:nvSpPr>
            <p:spPr bwMode="auto">
              <a:xfrm>
                <a:off x="25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53" name="Oval 2738">
                <a:extLst>
                  <a:ext uri="{FF2B5EF4-FFF2-40B4-BE49-F238E27FC236}">
                    <a16:creationId xmlns:a16="http://schemas.microsoft.com/office/drawing/2014/main" id="{2C19BBBC-FA00-4B6C-A1BE-98D3A86B1EBF}"/>
                  </a:ext>
                </a:extLst>
              </p:cNvPr>
              <p:cNvSpPr>
                <a:spLocks noChangeArrowheads="1"/>
              </p:cNvSpPr>
              <p:nvPr/>
            </p:nvSpPr>
            <p:spPr bwMode="auto">
              <a:xfrm>
                <a:off x="247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54" name="Oval 2739">
                <a:extLst>
                  <a:ext uri="{FF2B5EF4-FFF2-40B4-BE49-F238E27FC236}">
                    <a16:creationId xmlns:a16="http://schemas.microsoft.com/office/drawing/2014/main" id="{81DF304F-3698-4D04-B655-0B964E62D820}"/>
                  </a:ext>
                </a:extLst>
              </p:cNvPr>
              <p:cNvSpPr>
                <a:spLocks noChangeArrowheads="1"/>
              </p:cNvSpPr>
              <p:nvPr/>
            </p:nvSpPr>
            <p:spPr bwMode="auto">
              <a:xfrm>
                <a:off x="250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55" name="Oval 2740">
                <a:extLst>
                  <a:ext uri="{FF2B5EF4-FFF2-40B4-BE49-F238E27FC236}">
                    <a16:creationId xmlns:a16="http://schemas.microsoft.com/office/drawing/2014/main" id="{F25114D6-910F-4B82-AA3B-9948ACC356A1}"/>
                  </a:ext>
                </a:extLst>
              </p:cNvPr>
              <p:cNvSpPr>
                <a:spLocks noChangeArrowheads="1"/>
              </p:cNvSpPr>
              <p:nvPr/>
            </p:nvSpPr>
            <p:spPr bwMode="auto">
              <a:xfrm>
                <a:off x="232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56" name="Oval 2741">
                <a:extLst>
                  <a:ext uri="{FF2B5EF4-FFF2-40B4-BE49-F238E27FC236}">
                    <a16:creationId xmlns:a16="http://schemas.microsoft.com/office/drawing/2014/main" id="{948E74D9-1F85-4CBC-9D06-5F267216924B}"/>
                  </a:ext>
                </a:extLst>
              </p:cNvPr>
              <p:cNvSpPr>
                <a:spLocks noChangeArrowheads="1"/>
              </p:cNvSpPr>
              <p:nvPr/>
            </p:nvSpPr>
            <p:spPr bwMode="auto">
              <a:xfrm>
                <a:off x="232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57" name="Oval 2742">
                <a:extLst>
                  <a:ext uri="{FF2B5EF4-FFF2-40B4-BE49-F238E27FC236}">
                    <a16:creationId xmlns:a16="http://schemas.microsoft.com/office/drawing/2014/main" id="{33D22FA9-D4B5-4619-981A-D3B36E6AB224}"/>
                  </a:ext>
                </a:extLst>
              </p:cNvPr>
              <p:cNvSpPr>
                <a:spLocks noChangeArrowheads="1"/>
              </p:cNvSpPr>
              <p:nvPr/>
            </p:nvSpPr>
            <p:spPr bwMode="auto">
              <a:xfrm>
                <a:off x="220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58" name="Oval 2743">
                <a:extLst>
                  <a:ext uri="{FF2B5EF4-FFF2-40B4-BE49-F238E27FC236}">
                    <a16:creationId xmlns:a16="http://schemas.microsoft.com/office/drawing/2014/main" id="{E0534C1B-288E-4777-B92C-5882443B0D3C}"/>
                  </a:ext>
                </a:extLst>
              </p:cNvPr>
              <p:cNvSpPr>
                <a:spLocks noChangeArrowheads="1"/>
              </p:cNvSpPr>
              <p:nvPr/>
            </p:nvSpPr>
            <p:spPr bwMode="auto">
              <a:xfrm>
                <a:off x="220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59" name="Oval 2744">
                <a:extLst>
                  <a:ext uri="{FF2B5EF4-FFF2-40B4-BE49-F238E27FC236}">
                    <a16:creationId xmlns:a16="http://schemas.microsoft.com/office/drawing/2014/main" id="{651926E8-3D1F-4376-9423-CA7056441CAE}"/>
                  </a:ext>
                </a:extLst>
              </p:cNvPr>
              <p:cNvSpPr>
                <a:spLocks noChangeArrowheads="1"/>
              </p:cNvSpPr>
              <p:nvPr/>
            </p:nvSpPr>
            <p:spPr bwMode="auto">
              <a:xfrm>
                <a:off x="20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60" name="Oval 2745">
                <a:extLst>
                  <a:ext uri="{FF2B5EF4-FFF2-40B4-BE49-F238E27FC236}">
                    <a16:creationId xmlns:a16="http://schemas.microsoft.com/office/drawing/2014/main" id="{69FE7F99-FBBA-46FF-A7B9-A39148A57DF0}"/>
                  </a:ext>
                </a:extLst>
              </p:cNvPr>
              <p:cNvSpPr>
                <a:spLocks noChangeArrowheads="1"/>
              </p:cNvSpPr>
              <p:nvPr/>
            </p:nvSpPr>
            <p:spPr bwMode="auto">
              <a:xfrm>
                <a:off x="2086" y="9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61" name="Oval 2746">
                <a:extLst>
                  <a:ext uri="{FF2B5EF4-FFF2-40B4-BE49-F238E27FC236}">
                    <a16:creationId xmlns:a16="http://schemas.microsoft.com/office/drawing/2014/main" id="{47B9CB14-4B6B-4508-8E31-A4270EB5796B}"/>
                  </a:ext>
                </a:extLst>
              </p:cNvPr>
              <p:cNvSpPr>
                <a:spLocks noChangeArrowheads="1"/>
              </p:cNvSpPr>
              <p:nvPr/>
            </p:nvSpPr>
            <p:spPr bwMode="auto">
              <a:xfrm>
                <a:off x="1936"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62" name="Oval 2747">
                <a:extLst>
                  <a:ext uri="{FF2B5EF4-FFF2-40B4-BE49-F238E27FC236}">
                    <a16:creationId xmlns:a16="http://schemas.microsoft.com/office/drawing/2014/main" id="{FAE30DD7-FAB5-4D06-BB28-8BA5BF7E5471}"/>
                  </a:ext>
                </a:extLst>
              </p:cNvPr>
              <p:cNvSpPr>
                <a:spLocks noChangeArrowheads="1"/>
              </p:cNvSpPr>
              <p:nvPr/>
            </p:nvSpPr>
            <p:spPr bwMode="auto">
              <a:xfrm>
                <a:off x="1936"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63" name="Oval 2748">
                <a:extLst>
                  <a:ext uri="{FF2B5EF4-FFF2-40B4-BE49-F238E27FC236}">
                    <a16:creationId xmlns:a16="http://schemas.microsoft.com/office/drawing/2014/main" id="{F01F8584-0FF3-4D57-B094-46C9BB86E0A3}"/>
                  </a:ext>
                </a:extLst>
              </p:cNvPr>
              <p:cNvSpPr>
                <a:spLocks noChangeArrowheads="1"/>
              </p:cNvSpPr>
              <p:nvPr/>
            </p:nvSpPr>
            <p:spPr bwMode="auto">
              <a:xfrm>
                <a:off x="193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64" name="Oval 2749">
                <a:extLst>
                  <a:ext uri="{FF2B5EF4-FFF2-40B4-BE49-F238E27FC236}">
                    <a16:creationId xmlns:a16="http://schemas.microsoft.com/office/drawing/2014/main" id="{8E608C19-6ADE-4515-A901-B473B7CFEFA9}"/>
                  </a:ext>
                </a:extLst>
              </p:cNvPr>
              <p:cNvSpPr>
                <a:spLocks noChangeArrowheads="1"/>
              </p:cNvSpPr>
              <p:nvPr/>
            </p:nvSpPr>
            <p:spPr bwMode="auto">
              <a:xfrm>
                <a:off x="1876"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65" name="Oval 2750">
                <a:extLst>
                  <a:ext uri="{FF2B5EF4-FFF2-40B4-BE49-F238E27FC236}">
                    <a16:creationId xmlns:a16="http://schemas.microsoft.com/office/drawing/2014/main" id="{8E224B2F-2BA9-443D-87AE-469D629F76F3}"/>
                  </a:ext>
                </a:extLst>
              </p:cNvPr>
              <p:cNvSpPr>
                <a:spLocks noChangeArrowheads="1"/>
              </p:cNvSpPr>
              <p:nvPr/>
            </p:nvSpPr>
            <p:spPr bwMode="auto">
              <a:xfrm>
                <a:off x="2056" y="4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66" name="Oval 2751">
                <a:extLst>
                  <a:ext uri="{FF2B5EF4-FFF2-40B4-BE49-F238E27FC236}">
                    <a16:creationId xmlns:a16="http://schemas.microsoft.com/office/drawing/2014/main" id="{B351734A-811C-44F8-9B1E-814F7684728E}"/>
                  </a:ext>
                </a:extLst>
              </p:cNvPr>
              <p:cNvSpPr>
                <a:spLocks noChangeArrowheads="1"/>
              </p:cNvSpPr>
              <p:nvPr/>
            </p:nvSpPr>
            <p:spPr bwMode="auto">
              <a:xfrm>
                <a:off x="2086" y="3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67" name="Oval 2752">
                <a:extLst>
                  <a:ext uri="{FF2B5EF4-FFF2-40B4-BE49-F238E27FC236}">
                    <a16:creationId xmlns:a16="http://schemas.microsoft.com/office/drawing/2014/main" id="{B0342130-8EDD-400C-91F8-993A7F02EA8E}"/>
                  </a:ext>
                </a:extLst>
              </p:cNvPr>
              <p:cNvSpPr>
                <a:spLocks noChangeArrowheads="1"/>
              </p:cNvSpPr>
              <p:nvPr/>
            </p:nvSpPr>
            <p:spPr bwMode="auto">
              <a:xfrm>
                <a:off x="193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68" name="Oval 2753">
                <a:extLst>
                  <a:ext uri="{FF2B5EF4-FFF2-40B4-BE49-F238E27FC236}">
                    <a16:creationId xmlns:a16="http://schemas.microsoft.com/office/drawing/2014/main" id="{51B9B659-A8B6-43E2-AC18-26E99D74FCCF}"/>
                  </a:ext>
                </a:extLst>
              </p:cNvPr>
              <p:cNvSpPr>
                <a:spLocks noChangeArrowheads="1"/>
              </p:cNvSpPr>
              <p:nvPr/>
            </p:nvSpPr>
            <p:spPr bwMode="auto">
              <a:xfrm>
                <a:off x="2026"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69" name="Oval 2754">
                <a:extLst>
                  <a:ext uri="{FF2B5EF4-FFF2-40B4-BE49-F238E27FC236}">
                    <a16:creationId xmlns:a16="http://schemas.microsoft.com/office/drawing/2014/main" id="{9B77445A-A8FF-4EA3-928D-317F74989782}"/>
                  </a:ext>
                </a:extLst>
              </p:cNvPr>
              <p:cNvSpPr>
                <a:spLocks noChangeArrowheads="1"/>
              </p:cNvSpPr>
              <p:nvPr/>
            </p:nvSpPr>
            <p:spPr bwMode="auto">
              <a:xfrm>
                <a:off x="2086" y="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70" name="Oval 2755">
                <a:extLst>
                  <a:ext uri="{FF2B5EF4-FFF2-40B4-BE49-F238E27FC236}">
                    <a16:creationId xmlns:a16="http://schemas.microsoft.com/office/drawing/2014/main" id="{AE6B612B-21B1-4CD8-9E12-019FFA6ECCF6}"/>
                  </a:ext>
                </a:extLst>
              </p:cNvPr>
              <p:cNvSpPr>
                <a:spLocks noChangeArrowheads="1"/>
              </p:cNvSpPr>
              <p:nvPr/>
            </p:nvSpPr>
            <p:spPr bwMode="auto">
              <a:xfrm>
                <a:off x="193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71" name="Oval 2756">
                <a:extLst>
                  <a:ext uri="{FF2B5EF4-FFF2-40B4-BE49-F238E27FC236}">
                    <a16:creationId xmlns:a16="http://schemas.microsoft.com/office/drawing/2014/main" id="{602A2A8E-B825-4511-AA2C-1894BBD35553}"/>
                  </a:ext>
                </a:extLst>
              </p:cNvPr>
              <p:cNvSpPr>
                <a:spLocks noChangeArrowheads="1"/>
              </p:cNvSpPr>
              <p:nvPr/>
            </p:nvSpPr>
            <p:spPr bwMode="auto">
              <a:xfrm>
                <a:off x="172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72" name="Oval 2757">
                <a:extLst>
                  <a:ext uri="{FF2B5EF4-FFF2-40B4-BE49-F238E27FC236}">
                    <a16:creationId xmlns:a16="http://schemas.microsoft.com/office/drawing/2014/main" id="{0981DA12-E2A7-4A39-8DE0-2780457F42E3}"/>
                  </a:ext>
                </a:extLst>
              </p:cNvPr>
              <p:cNvSpPr>
                <a:spLocks noChangeArrowheads="1"/>
              </p:cNvSpPr>
              <p:nvPr/>
            </p:nvSpPr>
            <p:spPr bwMode="auto">
              <a:xfrm>
                <a:off x="157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73" name="Oval 2758">
                <a:extLst>
                  <a:ext uri="{FF2B5EF4-FFF2-40B4-BE49-F238E27FC236}">
                    <a16:creationId xmlns:a16="http://schemas.microsoft.com/office/drawing/2014/main" id="{DBEAF7BC-4730-4D94-AA2C-F1077F673C7E}"/>
                  </a:ext>
                </a:extLst>
              </p:cNvPr>
              <p:cNvSpPr>
                <a:spLocks noChangeArrowheads="1"/>
              </p:cNvSpPr>
              <p:nvPr/>
            </p:nvSpPr>
            <p:spPr bwMode="auto">
              <a:xfrm>
                <a:off x="154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74" name="Oval 2759">
                <a:extLst>
                  <a:ext uri="{FF2B5EF4-FFF2-40B4-BE49-F238E27FC236}">
                    <a16:creationId xmlns:a16="http://schemas.microsoft.com/office/drawing/2014/main" id="{5E3C018B-B2CA-44AF-8904-1C0DABC70E0E}"/>
                  </a:ext>
                </a:extLst>
              </p:cNvPr>
              <p:cNvSpPr>
                <a:spLocks noChangeArrowheads="1"/>
              </p:cNvSpPr>
              <p:nvPr/>
            </p:nvSpPr>
            <p:spPr bwMode="auto">
              <a:xfrm>
                <a:off x="142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75" name="Oval 2760">
                <a:extLst>
                  <a:ext uri="{FF2B5EF4-FFF2-40B4-BE49-F238E27FC236}">
                    <a16:creationId xmlns:a16="http://schemas.microsoft.com/office/drawing/2014/main" id="{2088F027-A34C-422C-8542-7E14D577DD57}"/>
                  </a:ext>
                </a:extLst>
              </p:cNvPr>
              <p:cNvSpPr>
                <a:spLocks noChangeArrowheads="1"/>
              </p:cNvSpPr>
              <p:nvPr/>
            </p:nvSpPr>
            <p:spPr bwMode="auto">
              <a:xfrm>
                <a:off x="130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76" name="Oval 2761">
                <a:extLst>
                  <a:ext uri="{FF2B5EF4-FFF2-40B4-BE49-F238E27FC236}">
                    <a16:creationId xmlns:a16="http://schemas.microsoft.com/office/drawing/2014/main" id="{08137203-B7AF-4D8E-AC7E-F4E28892FE60}"/>
                  </a:ext>
                </a:extLst>
              </p:cNvPr>
              <p:cNvSpPr>
                <a:spLocks noChangeArrowheads="1"/>
              </p:cNvSpPr>
              <p:nvPr/>
            </p:nvSpPr>
            <p:spPr bwMode="auto">
              <a:xfrm>
                <a:off x="1246"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77" name="Oval 2762">
                <a:extLst>
                  <a:ext uri="{FF2B5EF4-FFF2-40B4-BE49-F238E27FC236}">
                    <a16:creationId xmlns:a16="http://schemas.microsoft.com/office/drawing/2014/main" id="{9D79315D-1BB5-4D02-A3FE-41454CD390F2}"/>
                  </a:ext>
                </a:extLst>
              </p:cNvPr>
              <p:cNvSpPr>
                <a:spLocks noChangeArrowheads="1"/>
              </p:cNvSpPr>
              <p:nvPr/>
            </p:nvSpPr>
            <p:spPr bwMode="auto">
              <a:xfrm>
                <a:off x="139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78" name="Oval 2763">
                <a:extLst>
                  <a:ext uri="{FF2B5EF4-FFF2-40B4-BE49-F238E27FC236}">
                    <a16:creationId xmlns:a16="http://schemas.microsoft.com/office/drawing/2014/main" id="{BD82854C-4DBB-4B56-8FB8-E3A882114F62}"/>
                  </a:ext>
                </a:extLst>
              </p:cNvPr>
              <p:cNvSpPr>
                <a:spLocks noChangeArrowheads="1"/>
              </p:cNvSpPr>
              <p:nvPr/>
            </p:nvSpPr>
            <p:spPr bwMode="auto">
              <a:xfrm>
                <a:off x="172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79" name="Oval 2764">
                <a:extLst>
                  <a:ext uri="{FF2B5EF4-FFF2-40B4-BE49-F238E27FC236}">
                    <a16:creationId xmlns:a16="http://schemas.microsoft.com/office/drawing/2014/main" id="{D7CC9A60-715D-451D-8774-1AFD0C0CDA55}"/>
                  </a:ext>
                </a:extLst>
              </p:cNvPr>
              <p:cNvSpPr>
                <a:spLocks noChangeArrowheads="1"/>
              </p:cNvSpPr>
              <p:nvPr/>
            </p:nvSpPr>
            <p:spPr bwMode="auto">
              <a:xfrm>
                <a:off x="169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80" name="Oval 2765">
                <a:extLst>
                  <a:ext uri="{FF2B5EF4-FFF2-40B4-BE49-F238E27FC236}">
                    <a16:creationId xmlns:a16="http://schemas.microsoft.com/office/drawing/2014/main" id="{BE17D053-F77A-408F-942E-734D916B4A98}"/>
                  </a:ext>
                </a:extLst>
              </p:cNvPr>
              <p:cNvSpPr>
                <a:spLocks noChangeArrowheads="1"/>
              </p:cNvSpPr>
              <p:nvPr/>
            </p:nvSpPr>
            <p:spPr bwMode="auto">
              <a:xfrm>
                <a:off x="1696"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81" name="Oval 2766">
                <a:extLst>
                  <a:ext uri="{FF2B5EF4-FFF2-40B4-BE49-F238E27FC236}">
                    <a16:creationId xmlns:a16="http://schemas.microsoft.com/office/drawing/2014/main" id="{37E1E06B-09FC-4DEA-AF1D-91C5E3532967}"/>
                  </a:ext>
                </a:extLst>
              </p:cNvPr>
              <p:cNvSpPr>
                <a:spLocks noChangeArrowheads="1"/>
              </p:cNvSpPr>
              <p:nvPr/>
            </p:nvSpPr>
            <p:spPr bwMode="auto">
              <a:xfrm>
                <a:off x="151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82" name="Oval 2767">
                <a:extLst>
                  <a:ext uri="{FF2B5EF4-FFF2-40B4-BE49-F238E27FC236}">
                    <a16:creationId xmlns:a16="http://schemas.microsoft.com/office/drawing/2014/main" id="{C6F3B11A-39C5-42AD-B7DC-19D76465A8EF}"/>
                  </a:ext>
                </a:extLst>
              </p:cNvPr>
              <p:cNvSpPr>
                <a:spLocks noChangeArrowheads="1"/>
              </p:cNvSpPr>
              <p:nvPr/>
            </p:nvSpPr>
            <p:spPr bwMode="auto">
              <a:xfrm>
                <a:off x="1576"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83" name="Oval 2768">
                <a:extLst>
                  <a:ext uri="{FF2B5EF4-FFF2-40B4-BE49-F238E27FC236}">
                    <a16:creationId xmlns:a16="http://schemas.microsoft.com/office/drawing/2014/main" id="{1988AD61-7B05-43C0-8CE4-0C854F223D2B}"/>
                  </a:ext>
                </a:extLst>
              </p:cNvPr>
              <p:cNvSpPr>
                <a:spLocks noChangeArrowheads="1"/>
              </p:cNvSpPr>
              <p:nvPr/>
            </p:nvSpPr>
            <p:spPr bwMode="auto">
              <a:xfrm>
                <a:off x="154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84" name="Oval 2769">
                <a:extLst>
                  <a:ext uri="{FF2B5EF4-FFF2-40B4-BE49-F238E27FC236}">
                    <a16:creationId xmlns:a16="http://schemas.microsoft.com/office/drawing/2014/main" id="{162AA4E0-9FCF-4782-8DBA-AC40D85D0ECB}"/>
                  </a:ext>
                </a:extLst>
              </p:cNvPr>
              <p:cNvSpPr>
                <a:spLocks noChangeArrowheads="1"/>
              </p:cNvSpPr>
              <p:nvPr/>
            </p:nvSpPr>
            <p:spPr bwMode="auto">
              <a:xfrm>
                <a:off x="163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85" name="Oval 2770">
                <a:extLst>
                  <a:ext uri="{FF2B5EF4-FFF2-40B4-BE49-F238E27FC236}">
                    <a16:creationId xmlns:a16="http://schemas.microsoft.com/office/drawing/2014/main" id="{4D592EAF-8EFF-4003-AF56-39E0418D338D}"/>
                  </a:ext>
                </a:extLst>
              </p:cNvPr>
              <p:cNvSpPr>
                <a:spLocks noChangeArrowheads="1"/>
              </p:cNvSpPr>
              <p:nvPr/>
            </p:nvSpPr>
            <p:spPr bwMode="auto">
              <a:xfrm>
                <a:off x="1546"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86" name="Oval 2771">
                <a:extLst>
                  <a:ext uri="{FF2B5EF4-FFF2-40B4-BE49-F238E27FC236}">
                    <a16:creationId xmlns:a16="http://schemas.microsoft.com/office/drawing/2014/main" id="{F52A6FF3-9438-4AB0-A8DA-99B84E9E1901}"/>
                  </a:ext>
                </a:extLst>
              </p:cNvPr>
              <p:cNvSpPr>
                <a:spLocks noChangeArrowheads="1"/>
              </p:cNvSpPr>
              <p:nvPr/>
            </p:nvSpPr>
            <p:spPr bwMode="auto">
              <a:xfrm>
                <a:off x="160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87" name="Oval 2772">
                <a:extLst>
                  <a:ext uri="{FF2B5EF4-FFF2-40B4-BE49-F238E27FC236}">
                    <a16:creationId xmlns:a16="http://schemas.microsoft.com/office/drawing/2014/main" id="{4993886F-09B3-4B5E-804B-A4326A331D74}"/>
                  </a:ext>
                </a:extLst>
              </p:cNvPr>
              <p:cNvSpPr>
                <a:spLocks noChangeArrowheads="1"/>
              </p:cNvSpPr>
              <p:nvPr/>
            </p:nvSpPr>
            <p:spPr bwMode="auto">
              <a:xfrm>
                <a:off x="17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88" name="Oval 2773">
                <a:extLst>
                  <a:ext uri="{FF2B5EF4-FFF2-40B4-BE49-F238E27FC236}">
                    <a16:creationId xmlns:a16="http://schemas.microsoft.com/office/drawing/2014/main" id="{CB5D827E-8E20-4AC3-BFA6-A5B29EA7FFB8}"/>
                  </a:ext>
                </a:extLst>
              </p:cNvPr>
              <p:cNvSpPr>
                <a:spLocks noChangeArrowheads="1"/>
              </p:cNvSpPr>
              <p:nvPr/>
            </p:nvSpPr>
            <p:spPr bwMode="auto">
              <a:xfrm>
                <a:off x="1756"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89" name="Oval 2774">
                <a:extLst>
                  <a:ext uri="{FF2B5EF4-FFF2-40B4-BE49-F238E27FC236}">
                    <a16:creationId xmlns:a16="http://schemas.microsoft.com/office/drawing/2014/main" id="{257C1A52-4A5E-4908-8A02-3AFFA92F5199}"/>
                  </a:ext>
                </a:extLst>
              </p:cNvPr>
              <p:cNvSpPr>
                <a:spLocks noChangeArrowheads="1"/>
              </p:cNvSpPr>
              <p:nvPr/>
            </p:nvSpPr>
            <p:spPr bwMode="auto">
              <a:xfrm>
                <a:off x="1756"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90" name="Oval 2775">
                <a:extLst>
                  <a:ext uri="{FF2B5EF4-FFF2-40B4-BE49-F238E27FC236}">
                    <a16:creationId xmlns:a16="http://schemas.microsoft.com/office/drawing/2014/main" id="{A672F8E5-F6AF-4680-A4FA-ECE095532FB2}"/>
                  </a:ext>
                </a:extLst>
              </p:cNvPr>
              <p:cNvSpPr>
                <a:spLocks noChangeArrowheads="1"/>
              </p:cNvSpPr>
              <p:nvPr/>
            </p:nvSpPr>
            <p:spPr bwMode="auto">
              <a:xfrm>
                <a:off x="184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91" name="Oval 2776">
                <a:extLst>
                  <a:ext uri="{FF2B5EF4-FFF2-40B4-BE49-F238E27FC236}">
                    <a16:creationId xmlns:a16="http://schemas.microsoft.com/office/drawing/2014/main" id="{CE6245EE-5243-45A9-AD5B-72C125429929}"/>
                  </a:ext>
                </a:extLst>
              </p:cNvPr>
              <p:cNvSpPr>
                <a:spLocks noChangeArrowheads="1"/>
              </p:cNvSpPr>
              <p:nvPr/>
            </p:nvSpPr>
            <p:spPr bwMode="auto">
              <a:xfrm>
                <a:off x="1726"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92" name="Oval 2777">
                <a:extLst>
                  <a:ext uri="{FF2B5EF4-FFF2-40B4-BE49-F238E27FC236}">
                    <a16:creationId xmlns:a16="http://schemas.microsoft.com/office/drawing/2014/main" id="{927009A8-4D1F-47B0-B5C8-4F88F682DD3C}"/>
                  </a:ext>
                </a:extLst>
              </p:cNvPr>
              <p:cNvSpPr>
                <a:spLocks noChangeArrowheads="1"/>
              </p:cNvSpPr>
              <p:nvPr/>
            </p:nvSpPr>
            <p:spPr bwMode="auto">
              <a:xfrm>
                <a:off x="163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93" name="Oval 2778">
                <a:extLst>
                  <a:ext uri="{FF2B5EF4-FFF2-40B4-BE49-F238E27FC236}">
                    <a16:creationId xmlns:a16="http://schemas.microsoft.com/office/drawing/2014/main" id="{8F2F4E72-B52B-4CC3-A556-A7369BA451EF}"/>
                  </a:ext>
                </a:extLst>
              </p:cNvPr>
              <p:cNvSpPr>
                <a:spLocks noChangeArrowheads="1"/>
              </p:cNvSpPr>
              <p:nvPr/>
            </p:nvSpPr>
            <p:spPr bwMode="auto">
              <a:xfrm>
                <a:off x="148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94" name="Oval 2779">
                <a:extLst>
                  <a:ext uri="{FF2B5EF4-FFF2-40B4-BE49-F238E27FC236}">
                    <a16:creationId xmlns:a16="http://schemas.microsoft.com/office/drawing/2014/main" id="{2FB756A9-F047-4966-9F66-E5740F362426}"/>
                  </a:ext>
                </a:extLst>
              </p:cNvPr>
              <p:cNvSpPr>
                <a:spLocks noChangeArrowheads="1"/>
              </p:cNvSpPr>
              <p:nvPr/>
            </p:nvSpPr>
            <p:spPr bwMode="auto">
              <a:xfrm>
                <a:off x="124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95" name="Oval 2780">
                <a:extLst>
                  <a:ext uri="{FF2B5EF4-FFF2-40B4-BE49-F238E27FC236}">
                    <a16:creationId xmlns:a16="http://schemas.microsoft.com/office/drawing/2014/main" id="{88A521D9-3405-4899-8A66-72FF87457A77}"/>
                  </a:ext>
                </a:extLst>
              </p:cNvPr>
              <p:cNvSpPr>
                <a:spLocks noChangeArrowheads="1"/>
              </p:cNvSpPr>
              <p:nvPr/>
            </p:nvSpPr>
            <p:spPr bwMode="auto">
              <a:xfrm>
                <a:off x="1306"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96" name="Oval 2781">
                <a:extLst>
                  <a:ext uri="{FF2B5EF4-FFF2-40B4-BE49-F238E27FC236}">
                    <a16:creationId xmlns:a16="http://schemas.microsoft.com/office/drawing/2014/main" id="{FD40587E-633A-417B-A0CF-5AE0B00C043C}"/>
                  </a:ext>
                </a:extLst>
              </p:cNvPr>
              <p:cNvSpPr>
                <a:spLocks noChangeArrowheads="1"/>
              </p:cNvSpPr>
              <p:nvPr/>
            </p:nvSpPr>
            <p:spPr bwMode="auto">
              <a:xfrm>
                <a:off x="14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grpSp>
        <p:grpSp>
          <p:nvGrpSpPr>
            <p:cNvPr id="11" name="Group 2983">
              <a:extLst>
                <a:ext uri="{FF2B5EF4-FFF2-40B4-BE49-F238E27FC236}">
                  <a16:creationId xmlns:a16="http://schemas.microsoft.com/office/drawing/2014/main" id="{EA56343E-61AD-4F37-9027-814418529CA9}"/>
                </a:ext>
              </a:extLst>
            </p:cNvPr>
            <p:cNvGrpSpPr>
              <a:grpSpLocks/>
            </p:cNvGrpSpPr>
            <p:nvPr/>
          </p:nvGrpSpPr>
          <p:grpSpPr bwMode="auto">
            <a:xfrm>
              <a:off x="1246" y="120"/>
              <a:ext cx="1979" cy="3120"/>
              <a:chOff x="1246" y="120"/>
              <a:chExt cx="1979" cy="3120"/>
            </a:xfrm>
          </p:grpSpPr>
          <p:sp>
            <p:nvSpPr>
              <p:cNvPr id="197" name="Oval 2783">
                <a:extLst>
                  <a:ext uri="{FF2B5EF4-FFF2-40B4-BE49-F238E27FC236}">
                    <a16:creationId xmlns:a16="http://schemas.microsoft.com/office/drawing/2014/main" id="{91F4D02C-C0D9-4E46-AD32-391FCA2EB5B9}"/>
                  </a:ext>
                </a:extLst>
              </p:cNvPr>
              <p:cNvSpPr>
                <a:spLocks noChangeArrowheads="1"/>
              </p:cNvSpPr>
              <p:nvPr/>
            </p:nvSpPr>
            <p:spPr bwMode="auto">
              <a:xfrm>
                <a:off x="142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98" name="Oval 2784">
                <a:extLst>
                  <a:ext uri="{FF2B5EF4-FFF2-40B4-BE49-F238E27FC236}">
                    <a16:creationId xmlns:a16="http://schemas.microsoft.com/office/drawing/2014/main" id="{E12B967F-C654-44B8-A7A7-98FD6364C9B4}"/>
                  </a:ext>
                </a:extLst>
              </p:cNvPr>
              <p:cNvSpPr>
                <a:spLocks noChangeArrowheads="1"/>
              </p:cNvSpPr>
              <p:nvPr/>
            </p:nvSpPr>
            <p:spPr bwMode="auto">
              <a:xfrm>
                <a:off x="1396"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99" name="Oval 2785">
                <a:extLst>
                  <a:ext uri="{FF2B5EF4-FFF2-40B4-BE49-F238E27FC236}">
                    <a16:creationId xmlns:a16="http://schemas.microsoft.com/office/drawing/2014/main" id="{D73F0D5E-4640-42F3-8B72-1026BC93A4F8}"/>
                  </a:ext>
                </a:extLst>
              </p:cNvPr>
              <p:cNvSpPr>
                <a:spLocks noChangeArrowheads="1"/>
              </p:cNvSpPr>
              <p:nvPr/>
            </p:nvSpPr>
            <p:spPr bwMode="auto">
              <a:xfrm>
                <a:off x="145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00" name="Oval 2786">
                <a:extLst>
                  <a:ext uri="{FF2B5EF4-FFF2-40B4-BE49-F238E27FC236}">
                    <a16:creationId xmlns:a16="http://schemas.microsoft.com/office/drawing/2014/main" id="{6DE1D0E1-D86B-4CFE-934F-ADEC8C7E7959}"/>
                  </a:ext>
                </a:extLst>
              </p:cNvPr>
              <p:cNvSpPr>
                <a:spLocks noChangeArrowheads="1"/>
              </p:cNvSpPr>
              <p:nvPr/>
            </p:nvSpPr>
            <p:spPr bwMode="auto">
              <a:xfrm>
                <a:off x="1366"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01" name="Oval 2787">
                <a:extLst>
                  <a:ext uri="{FF2B5EF4-FFF2-40B4-BE49-F238E27FC236}">
                    <a16:creationId xmlns:a16="http://schemas.microsoft.com/office/drawing/2014/main" id="{4B14BEF1-9DEC-44D2-840F-AA3835EFE77E}"/>
                  </a:ext>
                </a:extLst>
              </p:cNvPr>
              <p:cNvSpPr>
                <a:spLocks noChangeArrowheads="1"/>
              </p:cNvSpPr>
              <p:nvPr/>
            </p:nvSpPr>
            <p:spPr bwMode="auto">
              <a:xfrm>
                <a:off x="127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02" name="Oval 2788">
                <a:extLst>
                  <a:ext uri="{FF2B5EF4-FFF2-40B4-BE49-F238E27FC236}">
                    <a16:creationId xmlns:a16="http://schemas.microsoft.com/office/drawing/2014/main" id="{AD19615C-30E5-4C43-9557-7DFA24CAC8B7}"/>
                  </a:ext>
                </a:extLst>
              </p:cNvPr>
              <p:cNvSpPr>
                <a:spLocks noChangeArrowheads="1"/>
              </p:cNvSpPr>
              <p:nvPr/>
            </p:nvSpPr>
            <p:spPr bwMode="auto">
              <a:xfrm>
                <a:off x="1306"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03" name="Oval 2789">
                <a:extLst>
                  <a:ext uri="{FF2B5EF4-FFF2-40B4-BE49-F238E27FC236}">
                    <a16:creationId xmlns:a16="http://schemas.microsoft.com/office/drawing/2014/main" id="{766C43C6-9B5E-4338-8ED1-DE022D2D3FA3}"/>
                  </a:ext>
                </a:extLst>
              </p:cNvPr>
              <p:cNvSpPr>
                <a:spLocks noChangeArrowheads="1"/>
              </p:cNvSpPr>
              <p:nvPr/>
            </p:nvSpPr>
            <p:spPr bwMode="auto">
              <a:xfrm>
                <a:off x="1276"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04" name="Oval 2790">
                <a:extLst>
                  <a:ext uri="{FF2B5EF4-FFF2-40B4-BE49-F238E27FC236}">
                    <a16:creationId xmlns:a16="http://schemas.microsoft.com/office/drawing/2014/main" id="{343E5B46-E07A-4E3F-B362-5DC8A338708C}"/>
                  </a:ext>
                </a:extLst>
              </p:cNvPr>
              <p:cNvSpPr>
                <a:spLocks noChangeArrowheads="1"/>
              </p:cNvSpPr>
              <p:nvPr/>
            </p:nvSpPr>
            <p:spPr bwMode="auto">
              <a:xfrm>
                <a:off x="124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05" name="Oval 2791">
                <a:extLst>
                  <a:ext uri="{FF2B5EF4-FFF2-40B4-BE49-F238E27FC236}">
                    <a16:creationId xmlns:a16="http://schemas.microsoft.com/office/drawing/2014/main" id="{58287BF2-894C-4252-8A95-33357A4D664A}"/>
                  </a:ext>
                </a:extLst>
              </p:cNvPr>
              <p:cNvSpPr>
                <a:spLocks noChangeArrowheads="1"/>
              </p:cNvSpPr>
              <p:nvPr/>
            </p:nvSpPr>
            <p:spPr bwMode="auto">
              <a:xfrm>
                <a:off x="1306"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06" name="Oval 2792">
                <a:extLst>
                  <a:ext uri="{FF2B5EF4-FFF2-40B4-BE49-F238E27FC236}">
                    <a16:creationId xmlns:a16="http://schemas.microsoft.com/office/drawing/2014/main" id="{62C183BF-1A0C-4381-BD19-5514D1E137DC}"/>
                  </a:ext>
                </a:extLst>
              </p:cNvPr>
              <p:cNvSpPr>
                <a:spLocks noChangeArrowheads="1"/>
              </p:cNvSpPr>
              <p:nvPr/>
            </p:nvSpPr>
            <p:spPr bwMode="auto">
              <a:xfrm>
                <a:off x="1576"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07" name="Oval 2793">
                <a:extLst>
                  <a:ext uri="{FF2B5EF4-FFF2-40B4-BE49-F238E27FC236}">
                    <a16:creationId xmlns:a16="http://schemas.microsoft.com/office/drawing/2014/main" id="{B9654B34-4FFA-4F37-870A-4D7383E86EB3}"/>
                  </a:ext>
                </a:extLst>
              </p:cNvPr>
              <p:cNvSpPr>
                <a:spLocks noChangeArrowheads="1"/>
              </p:cNvSpPr>
              <p:nvPr/>
            </p:nvSpPr>
            <p:spPr bwMode="auto">
              <a:xfrm>
                <a:off x="16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08" name="Oval 2794">
                <a:extLst>
                  <a:ext uri="{FF2B5EF4-FFF2-40B4-BE49-F238E27FC236}">
                    <a16:creationId xmlns:a16="http://schemas.microsoft.com/office/drawing/2014/main" id="{F8E649C2-D566-4B63-A904-E046201D6EDF}"/>
                  </a:ext>
                </a:extLst>
              </p:cNvPr>
              <p:cNvSpPr>
                <a:spLocks noChangeArrowheads="1"/>
              </p:cNvSpPr>
              <p:nvPr/>
            </p:nvSpPr>
            <p:spPr bwMode="auto">
              <a:xfrm>
                <a:off x="1756"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09" name="Oval 2795">
                <a:extLst>
                  <a:ext uri="{FF2B5EF4-FFF2-40B4-BE49-F238E27FC236}">
                    <a16:creationId xmlns:a16="http://schemas.microsoft.com/office/drawing/2014/main" id="{51494D10-AF5C-40D2-8A41-416D66FCDC87}"/>
                  </a:ext>
                </a:extLst>
              </p:cNvPr>
              <p:cNvSpPr>
                <a:spLocks noChangeArrowheads="1"/>
              </p:cNvSpPr>
              <p:nvPr/>
            </p:nvSpPr>
            <p:spPr bwMode="auto">
              <a:xfrm>
                <a:off x="172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10" name="Oval 2796">
                <a:extLst>
                  <a:ext uri="{FF2B5EF4-FFF2-40B4-BE49-F238E27FC236}">
                    <a16:creationId xmlns:a16="http://schemas.microsoft.com/office/drawing/2014/main" id="{C5407477-18D6-468B-A99D-1E8DE90D2C0D}"/>
                  </a:ext>
                </a:extLst>
              </p:cNvPr>
              <p:cNvSpPr>
                <a:spLocks noChangeArrowheads="1"/>
              </p:cNvSpPr>
              <p:nvPr/>
            </p:nvSpPr>
            <p:spPr bwMode="auto">
              <a:xfrm>
                <a:off x="1726"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11" name="Oval 2797">
                <a:extLst>
                  <a:ext uri="{FF2B5EF4-FFF2-40B4-BE49-F238E27FC236}">
                    <a16:creationId xmlns:a16="http://schemas.microsoft.com/office/drawing/2014/main" id="{BCC5F0A9-2F13-4BBB-B05E-90B82DF59991}"/>
                  </a:ext>
                </a:extLst>
              </p:cNvPr>
              <p:cNvSpPr>
                <a:spLocks noChangeArrowheads="1"/>
              </p:cNvSpPr>
              <p:nvPr/>
            </p:nvSpPr>
            <p:spPr bwMode="auto">
              <a:xfrm>
                <a:off x="163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12" name="Oval 2798">
                <a:extLst>
                  <a:ext uri="{FF2B5EF4-FFF2-40B4-BE49-F238E27FC236}">
                    <a16:creationId xmlns:a16="http://schemas.microsoft.com/office/drawing/2014/main" id="{983CD9D5-C39D-490A-ABA2-160BCF3FAA3F}"/>
                  </a:ext>
                </a:extLst>
              </p:cNvPr>
              <p:cNvSpPr>
                <a:spLocks noChangeArrowheads="1"/>
              </p:cNvSpPr>
              <p:nvPr/>
            </p:nvSpPr>
            <p:spPr bwMode="auto">
              <a:xfrm>
                <a:off x="16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13" name="Oval 2799">
                <a:extLst>
                  <a:ext uri="{FF2B5EF4-FFF2-40B4-BE49-F238E27FC236}">
                    <a16:creationId xmlns:a16="http://schemas.microsoft.com/office/drawing/2014/main" id="{F08440AA-D483-4CDD-8272-CE4291BC80A8}"/>
                  </a:ext>
                </a:extLst>
              </p:cNvPr>
              <p:cNvSpPr>
                <a:spLocks noChangeArrowheads="1"/>
              </p:cNvSpPr>
              <p:nvPr/>
            </p:nvSpPr>
            <p:spPr bwMode="auto">
              <a:xfrm>
                <a:off x="175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14" name="Oval 2800">
                <a:extLst>
                  <a:ext uri="{FF2B5EF4-FFF2-40B4-BE49-F238E27FC236}">
                    <a16:creationId xmlns:a16="http://schemas.microsoft.com/office/drawing/2014/main" id="{2474050D-AB26-4710-A9CD-8F80D05E4A79}"/>
                  </a:ext>
                </a:extLst>
              </p:cNvPr>
              <p:cNvSpPr>
                <a:spLocks noChangeArrowheads="1"/>
              </p:cNvSpPr>
              <p:nvPr/>
            </p:nvSpPr>
            <p:spPr bwMode="auto">
              <a:xfrm>
                <a:off x="154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15" name="Oval 2801">
                <a:extLst>
                  <a:ext uri="{FF2B5EF4-FFF2-40B4-BE49-F238E27FC236}">
                    <a16:creationId xmlns:a16="http://schemas.microsoft.com/office/drawing/2014/main" id="{A7F54910-CD0D-4A02-A119-82A0A96278DB}"/>
                  </a:ext>
                </a:extLst>
              </p:cNvPr>
              <p:cNvSpPr>
                <a:spLocks noChangeArrowheads="1"/>
              </p:cNvSpPr>
              <p:nvPr/>
            </p:nvSpPr>
            <p:spPr bwMode="auto">
              <a:xfrm>
                <a:off x="15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16" name="Oval 2802">
                <a:extLst>
                  <a:ext uri="{FF2B5EF4-FFF2-40B4-BE49-F238E27FC236}">
                    <a16:creationId xmlns:a16="http://schemas.microsoft.com/office/drawing/2014/main" id="{BACDFF33-C9BF-4AB0-8967-E98DABC11F5B}"/>
                  </a:ext>
                </a:extLst>
              </p:cNvPr>
              <p:cNvSpPr>
                <a:spLocks noChangeArrowheads="1"/>
              </p:cNvSpPr>
              <p:nvPr/>
            </p:nvSpPr>
            <p:spPr bwMode="auto">
              <a:xfrm>
                <a:off x="160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17" name="Oval 2803">
                <a:extLst>
                  <a:ext uri="{FF2B5EF4-FFF2-40B4-BE49-F238E27FC236}">
                    <a16:creationId xmlns:a16="http://schemas.microsoft.com/office/drawing/2014/main" id="{BD1C21F3-2A50-49C6-B3CB-9B26BC65359D}"/>
                  </a:ext>
                </a:extLst>
              </p:cNvPr>
              <p:cNvSpPr>
                <a:spLocks noChangeArrowheads="1"/>
              </p:cNvSpPr>
              <p:nvPr/>
            </p:nvSpPr>
            <p:spPr bwMode="auto">
              <a:xfrm>
                <a:off x="1666"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18" name="Oval 2804">
                <a:extLst>
                  <a:ext uri="{FF2B5EF4-FFF2-40B4-BE49-F238E27FC236}">
                    <a16:creationId xmlns:a16="http://schemas.microsoft.com/office/drawing/2014/main" id="{AAC4C762-9280-4A87-9ADF-88D6232F0992}"/>
                  </a:ext>
                </a:extLst>
              </p:cNvPr>
              <p:cNvSpPr>
                <a:spLocks noChangeArrowheads="1"/>
              </p:cNvSpPr>
              <p:nvPr/>
            </p:nvSpPr>
            <p:spPr bwMode="auto">
              <a:xfrm>
                <a:off x="175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19" name="Oval 2805">
                <a:extLst>
                  <a:ext uri="{FF2B5EF4-FFF2-40B4-BE49-F238E27FC236}">
                    <a16:creationId xmlns:a16="http://schemas.microsoft.com/office/drawing/2014/main" id="{C24974E1-B9FD-4A2E-B85F-F77324F7A673}"/>
                  </a:ext>
                </a:extLst>
              </p:cNvPr>
              <p:cNvSpPr>
                <a:spLocks noChangeArrowheads="1"/>
              </p:cNvSpPr>
              <p:nvPr/>
            </p:nvSpPr>
            <p:spPr bwMode="auto">
              <a:xfrm>
                <a:off x="169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20" name="Oval 2806">
                <a:extLst>
                  <a:ext uri="{FF2B5EF4-FFF2-40B4-BE49-F238E27FC236}">
                    <a16:creationId xmlns:a16="http://schemas.microsoft.com/office/drawing/2014/main" id="{42D5A0FB-8B31-4670-B736-3BD5695111DE}"/>
                  </a:ext>
                </a:extLst>
              </p:cNvPr>
              <p:cNvSpPr>
                <a:spLocks noChangeArrowheads="1"/>
              </p:cNvSpPr>
              <p:nvPr/>
            </p:nvSpPr>
            <p:spPr bwMode="auto">
              <a:xfrm>
                <a:off x="1456"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21" name="Oval 2807">
                <a:extLst>
                  <a:ext uri="{FF2B5EF4-FFF2-40B4-BE49-F238E27FC236}">
                    <a16:creationId xmlns:a16="http://schemas.microsoft.com/office/drawing/2014/main" id="{A8920B77-D23C-4E6E-8D5E-DFF73C905ADB}"/>
                  </a:ext>
                </a:extLst>
              </p:cNvPr>
              <p:cNvSpPr>
                <a:spLocks noChangeArrowheads="1"/>
              </p:cNvSpPr>
              <p:nvPr/>
            </p:nvSpPr>
            <p:spPr bwMode="auto">
              <a:xfrm>
                <a:off x="142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22" name="Oval 2808">
                <a:extLst>
                  <a:ext uri="{FF2B5EF4-FFF2-40B4-BE49-F238E27FC236}">
                    <a16:creationId xmlns:a16="http://schemas.microsoft.com/office/drawing/2014/main" id="{882869CB-85C7-4E99-9E6B-6058DB3E7186}"/>
                  </a:ext>
                </a:extLst>
              </p:cNvPr>
              <p:cNvSpPr>
                <a:spLocks noChangeArrowheads="1"/>
              </p:cNvSpPr>
              <p:nvPr/>
            </p:nvSpPr>
            <p:spPr bwMode="auto">
              <a:xfrm>
                <a:off x="127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23" name="Oval 2809">
                <a:extLst>
                  <a:ext uri="{FF2B5EF4-FFF2-40B4-BE49-F238E27FC236}">
                    <a16:creationId xmlns:a16="http://schemas.microsoft.com/office/drawing/2014/main" id="{28AF8D30-F474-444E-A5C8-42A665A1DAD7}"/>
                  </a:ext>
                </a:extLst>
              </p:cNvPr>
              <p:cNvSpPr>
                <a:spLocks noChangeArrowheads="1"/>
              </p:cNvSpPr>
              <p:nvPr/>
            </p:nvSpPr>
            <p:spPr bwMode="auto">
              <a:xfrm>
                <a:off x="130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24" name="Oval 2810">
                <a:extLst>
                  <a:ext uri="{FF2B5EF4-FFF2-40B4-BE49-F238E27FC236}">
                    <a16:creationId xmlns:a16="http://schemas.microsoft.com/office/drawing/2014/main" id="{194FFDED-BC96-4DF2-9046-908B95D6D9AF}"/>
                  </a:ext>
                </a:extLst>
              </p:cNvPr>
              <p:cNvSpPr>
                <a:spLocks noChangeArrowheads="1"/>
              </p:cNvSpPr>
              <p:nvPr/>
            </p:nvSpPr>
            <p:spPr bwMode="auto">
              <a:xfrm>
                <a:off x="127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25" name="Oval 2811">
                <a:extLst>
                  <a:ext uri="{FF2B5EF4-FFF2-40B4-BE49-F238E27FC236}">
                    <a16:creationId xmlns:a16="http://schemas.microsoft.com/office/drawing/2014/main" id="{FB48950A-14CE-4059-A273-D6E284D5D2F8}"/>
                  </a:ext>
                </a:extLst>
              </p:cNvPr>
              <p:cNvSpPr>
                <a:spLocks noChangeArrowheads="1"/>
              </p:cNvSpPr>
              <p:nvPr/>
            </p:nvSpPr>
            <p:spPr bwMode="auto">
              <a:xfrm>
                <a:off x="127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26" name="Oval 2812">
                <a:extLst>
                  <a:ext uri="{FF2B5EF4-FFF2-40B4-BE49-F238E27FC236}">
                    <a16:creationId xmlns:a16="http://schemas.microsoft.com/office/drawing/2014/main" id="{4E227A48-B498-4B79-9D0F-E36E239F3B7F}"/>
                  </a:ext>
                </a:extLst>
              </p:cNvPr>
              <p:cNvSpPr>
                <a:spLocks noChangeArrowheads="1"/>
              </p:cNvSpPr>
              <p:nvPr/>
            </p:nvSpPr>
            <p:spPr bwMode="auto">
              <a:xfrm>
                <a:off x="1246"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27" name="Oval 2813">
                <a:extLst>
                  <a:ext uri="{FF2B5EF4-FFF2-40B4-BE49-F238E27FC236}">
                    <a16:creationId xmlns:a16="http://schemas.microsoft.com/office/drawing/2014/main" id="{2BC04569-BD9D-4887-8A1A-2DF6CD99D198}"/>
                  </a:ext>
                </a:extLst>
              </p:cNvPr>
              <p:cNvSpPr>
                <a:spLocks noChangeArrowheads="1"/>
              </p:cNvSpPr>
              <p:nvPr/>
            </p:nvSpPr>
            <p:spPr bwMode="auto">
              <a:xfrm>
                <a:off x="12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28" name="Oval 2814">
                <a:extLst>
                  <a:ext uri="{FF2B5EF4-FFF2-40B4-BE49-F238E27FC236}">
                    <a16:creationId xmlns:a16="http://schemas.microsoft.com/office/drawing/2014/main" id="{B087B0A5-2D9C-406D-B5CC-71E4C226020E}"/>
                  </a:ext>
                </a:extLst>
              </p:cNvPr>
              <p:cNvSpPr>
                <a:spLocks noChangeArrowheads="1"/>
              </p:cNvSpPr>
              <p:nvPr/>
            </p:nvSpPr>
            <p:spPr bwMode="auto">
              <a:xfrm>
                <a:off x="133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29" name="Oval 2815">
                <a:extLst>
                  <a:ext uri="{FF2B5EF4-FFF2-40B4-BE49-F238E27FC236}">
                    <a16:creationId xmlns:a16="http://schemas.microsoft.com/office/drawing/2014/main" id="{BA8CA904-432F-482D-A516-D659675CA3F7}"/>
                  </a:ext>
                </a:extLst>
              </p:cNvPr>
              <p:cNvSpPr>
                <a:spLocks noChangeArrowheads="1"/>
              </p:cNvSpPr>
              <p:nvPr/>
            </p:nvSpPr>
            <p:spPr bwMode="auto">
              <a:xfrm>
                <a:off x="130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30" name="Oval 2816">
                <a:extLst>
                  <a:ext uri="{FF2B5EF4-FFF2-40B4-BE49-F238E27FC236}">
                    <a16:creationId xmlns:a16="http://schemas.microsoft.com/office/drawing/2014/main" id="{A402D2EB-0632-494B-8800-B84EE8E95696}"/>
                  </a:ext>
                </a:extLst>
              </p:cNvPr>
              <p:cNvSpPr>
                <a:spLocks noChangeArrowheads="1"/>
              </p:cNvSpPr>
              <p:nvPr/>
            </p:nvSpPr>
            <p:spPr bwMode="auto">
              <a:xfrm>
                <a:off x="145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31" name="Oval 2817">
                <a:extLst>
                  <a:ext uri="{FF2B5EF4-FFF2-40B4-BE49-F238E27FC236}">
                    <a16:creationId xmlns:a16="http://schemas.microsoft.com/office/drawing/2014/main" id="{93C505BC-1F6B-4356-A929-8190858B9EDB}"/>
                  </a:ext>
                </a:extLst>
              </p:cNvPr>
              <p:cNvSpPr>
                <a:spLocks noChangeArrowheads="1"/>
              </p:cNvSpPr>
              <p:nvPr/>
            </p:nvSpPr>
            <p:spPr bwMode="auto">
              <a:xfrm>
                <a:off x="133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32" name="Oval 2818">
                <a:extLst>
                  <a:ext uri="{FF2B5EF4-FFF2-40B4-BE49-F238E27FC236}">
                    <a16:creationId xmlns:a16="http://schemas.microsoft.com/office/drawing/2014/main" id="{6DB237CB-434F-462F-B35B-534D77AB0C51}"/>
                  </a:ext>
                </a:extLst>
              </p:cNvPr>
              <p:cNvSpPr>
                <a:spLocks noChangeArrowheads="1"/>
              </p:cNvSpPr>
              <p:nvPr/>
            </p:nvSpPr>
            <p:spPr bwMode="auto">
              <a:xfrm>
                <a:off x="1516"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33" name="Oval 2819">
                <a:extLst>
                  <a:ext uri="{FF2B5EF4-FFF2-40B4-BE49-F238E27FC236}">
                    <a16:creationId xmlns:a16="http://schemas.microsoft.com/office/drawing/2014/main" id="{99FE79A1-2846-4BE1-B92B-CED6BE132D05}"/>
                  </a:ext>
                </a:extLst>
              </p:cNvPr>
              <p:cNvSpPr>
                <a:spLocks noChangeArrowheads="1"/>
              </p:cNvSpPr>
              <p:nvPr/>
            </p:nvSpPr>
            <p:spPr bwMode="auto">
              <a:xfrm>
                <a:off x="178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34" name="Oval 2820">
                <a:extLst>
                  <a:ext uri="{FF2B5EF4-FFF2-40B4-BE49-F238E27FC236}">
                    <a16:creationId xmlns:a16="http://schemas.microsoft.com/office/drawing/2014/main" id="{78C6F55F-B178-4FCB-8658-347B0A27CFA1}"/>
                  </a:ext>
                </a:extLst>
              </p:cNvPr>
              <p:cNvSpPr>
                <a:spLocks noChangeArrowheads="1"/>
              </p:cNvSpPr>
              <p:nvPr/>
            </p:nvSpPr>
            <p:spPr bwMode="auto">
              <a:xfrm>
                <a:off x="15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35" name="Oval 2821">
                <a:extLst>
                  <a:ext uri="{FF2B5EF4-FFF2-40B4-BE49-F238E27FC236}">
                    <a16:creationId xmlns:a16="http://schemas.microsoft.com/office/drawing/2014/main" id="{920F99E2-9F90-4135-BAC0-9B9E71AD807F}"/>
                  </a:ext>
                </a:extLst>
              </p:cNvPr>
              <p:cNvSpPr>
                <a:spLocks noChangeArrowheads="1"/>
              </p:cNvSpPr>
              <p:nvPr/>
            </p:nvSpPr>
            <p:spPr bwMode="auto">
              <a:xfrm>
                <a:off x="154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36" name="Oval 2822">
                <a:extLst>
                  <a:ext uri="{FF2B5EF4-FFF2-40B4-BE49-F238E27FC236}">
                    <a16:creationId xmlns:a16="http://schemas.microsoft.com/office/drawing/2014/main" id="{D4ED5D71-978D-4FEF-BC8B-6542AFC401E7}"/>
                  </a:ext>
                </a:extLst>
              </p:cNvPr>
              <p:cNvSpPr>
                <a:spLocks noChangeArrowheads="1"/>
              </p:cNvSpPr>
              <p:nvPr/>
            </p:nvSpPr>
            <p:spPr bwMode="auto">
              <a:xfrm>
                <a:off x="1666"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37" name="Oval 2823">
                <a:extLst>
                  <a:ext uri="{FF2B5EF4-FFF2-40B4-BE49-F238E27FC236}">
                    <a16:creationId xmlns:a16="http://schemas.microsoft.com/office/drawing/2014/main" id="{3C10EF27-504D-4EA9-9EA2-268648BBE43C}"/>
                  </a:ext>
                </a:extLst>
              </p:cNvPr>
              <p:cNvSpPr>
                <a:spLocks noChangeArrowheads="1"/>
              </p:cNvSpPr>
              <p:nvPr/>
            </p:nvSpPr>
            <p:spPr bwMode="auto">
              <a:xfrm>
                <a:off x="151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38" name="Oval 2824">
                <a:extLst>
                  <a:ext uri="{FF2B5EF4-FFF2-40B4-BE49-F238E27FC236}">
                    <a16:creationId xmlns:a16="http://schemas.microsoft.com/office/drawing/2014/main" id="{F15E8A5E-357F-4A98-9BC0-08A1ABE3F0F9}"/>
                  </a:ext>
                </a:extLst>
              </p:cNvPr>
              <p:cNvSpPr>
                <a:spLocks noChangeArrowheads="1"/>
              </p:cNvSpPr>
              <p:nvPr/>
            </p:nvSpPr>
            <p:spPr bwMode="auto">
              <a:xfrm>
                <a:off x="145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39" name="Oval 2825">
                <a:extLst>
                  <a:ext uri="{FF2B5EF4-FFF2-40B4-BE49-F238E27FC236}">
                    <a16:creationId xmlns:a16="http://schemas.microsoft.com/office/drawing/2014/main" id="{1376D8E5-47CC-4C20-8C14-DDC8DCDD9FD8}"/>
                  </a:ext>
                </a:extLst>
              </p:cNvPr>
              <p:cNvSpPr>
                <a:spLocks noChangeArrowheads="1"/>
              </p:cNvSpPr>
              <p:nvPr/>
            </p:nvSpPr>
            <p:spPr bwMode="auto">
              <a:xfrm>
                <a:off x="139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40" name="Oval 2826">
                <a:extLst>
                  <a:ext uri="{FF2B5EF4-FFF2-40B4-BE49-F238E27FC236}">
                    <a16:creationId xmlns:a16="http://schemas.microsoft.com/office/drawing/2014/main" id="{5466B37C-030F-48BE-94D6-4FA3E3825145}"/>
                  </a:ext>
                </a:extLst>
              </p:cNvPr>
              <p:cNvSpPr>
                <a:spLocks noChangeArrowheads="1"/>
              </p:cNvSpPr>
              <p:nvPr/>
            </p:nvSpPr>
            <p:spPr bwMode="auto">
              <a:xfrm>
                <a:off x="1456"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41" name="Oval 2827">
                <a:extLst>
                  <a:ext uri="{FF2B5EF4-FFF2-40B4-BE49-F238E27FC236}">
                    <a16:creationId xmlns:a16="http://schemas.microsoft.com/office/drawing/2014/main" id="{D59F3355-1EDF-4620-8E6D-A2BB98DD4C75}"/>
                  </a:ext>
                </a:extLst>
              </p:cNvPr>
              <p:cNvSpPr>
                <a:spLocks noChangeArrowheads="1"/>
              </p:cNvSpPr>
              <p:nvPr/>
            </p:nvSpPr>
            <p:spPr bwMode="auto">
              <a:xfrm>
                <a:off x="151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42" name="Oval 2828">
                <a:extLst>
                  <a:ext uri="{FF2B5EF4-FFF2-40B4-BE49-F238E27FC236}">
                    <a16:creationId xmlns:a16="http://schemas.microsoft.com/office/drawing/2014/main" id="{E1CA2106-A1A2-4B2A-8FAA-7AE9DA0AC776}"/>
                  </a:ext>
                </a:extLst>
              </p:cNvPr>
              <p:cNvSpPr>
                <a:spLocks noChangeArrowheads="1"/>
              </p:cNvSpPr>
              <p:nvPr/>
            </p:nvSpPr>
            <p:spPr bwMode="auto">
              <a:xfrm>
                <a:off x="145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43" name="Oval 2829">
                <a:extLst>
                  <a:ext uri="{FF2B5EF4-FFF2-40B4-BE49-F238E27FC236}">
                    <a16:creationId xmlns:a16="http://schemas.microsoft.com/office/drawing/2014/main" id="{B2DFC50C-5CF4-4E4B-A084-F64A1B67DEC9}"/>
                  </a:ext>
                </a:extLst>
              </p:cNvPr>
              <p:cNvSpPr>
                <a:spLocks noChangeArrowheads="1"/>
              </p:cNvSpPr>
              <p:nvPr/>
            </p:nvSpPr>
            <p:spPr bwMode="auto">
              <a:xfrm>
                <a:off x="1426"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44" name="Oval 2830">
                <a:extLst>
                  <a:ext uri="{FF2B5EF4-FFF2-40B4-BE49-F238E27FC236}">
                    <a16:creationId xmlns:a16="http://schemas.microsoft.com/office/drawing/2014/main" id="{7C298239-791C-40EB-9976-B67D8B194120}"/>
                  </a:ext>
                </a:extLst>
              </p:cNvPr>
              <p:cNvSpPr>
                <a:spLocks noChangeArrowheads="1"/>
              </p:cNvSpPr>
              <p:nvPr/>
            </p:nvSpPr>
            <p:spPr bwMode="auto">
              <a:xfrm>
                <a:off x="1336"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45" name="Oval 2831">
                <a:extLst>
                  <a:ext uri="{FF2B5EF4-FFF2-40B4-BE49-F238E27FC236}">
                    <a16:creationId xmlns:a16="http://schemas.microsoft.com/office/drawing/2014/main" id="{E1914709-52AE-42BE-8C83-3EC7A2E0ACA5}"/>
                  </a:ext>
                </a:extLst>
              </p:cNvPr>
              <p:cNvSpPr>
                <a:spLocks noChangeArrowheads="1"/>
              </p:cNvSpPr>
              <p:nvPr/>
            </p:nvSpPr>
            <p:spPr bwMode="auto">
              <a:xfrm>
                <a:off x="130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46" name="Oval 2832">
                <a:extLst>
                  <a:ext uri="{FF2B5EF4-FFF2-40B4-BE49-F238E27FC236}">
                    <a16:creationId xmlns:a16="http://schemas.microsoft.com/office/drawing/2014/main" id="{8B123277-1B03-48D7-AAC5-D48CC98E14D5}"/>
                  </a:ext>
                </a:extLst>
              </p:cNvPr>
              <p:cNvSpPr>
                <a:spLocks noChangeArrowheads="1"/>
              </p:cNvSpPr>
              <p:nvPr/>
            </p:nvSpPr>
            <p:spPr bwMode="auto">
              <a:xfrm>
                <a:off x="1366"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47" name="Oval 2833">
                <a:extLst>
                  <a:ext uri="{FF2B5EF4-FFF2-40B4-BE49-F238E27FC236}">
                    <a16:creationId xmlns:a16="http://schemas.microsoft.com/office/drawing/2014/main" id="{348055E5-266A-46FB-9125-B11E9BBA4900}"/>
                  </a:ext>
                </a:extLst>
              </p:cNvPr>
              <p:cNvSpPr>
                <a:spLocks noChangeArrowheads="1"/>
              </p:cNvSpPr>
              <p:nvPr/>
            </p:nvSpPr>
            <p:spPr bwMode="auto">
              <a:xfrm>
                <a:off x="1246"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48" name="Oval 2834">
                <a:extLst>
                  <a:ext uri="{FF2B5EF4-FFF2-40B4-BE49-F238E27FC236}">
                    <a16:creationId xmlns:a16="http://schemas.microsoft.com/office/drawing/2014/main" id="{22B7C0D3-A91B-4835-B178-E0054ECFFD0C}"/>
                  </a:ext>
                </a:extLst>
              </p:cNvPr>
              <p:cNvSpPr>
                <a:spLocks noChangeArrowheads="1"/>
              </p:cNvSpPr>
              <p:nvPr/>
            </p:nvSpPr>
            <p:spPr bwMode="auto">
              <a:xfrm>
                <a:off x="142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49" name="Oval 2835">
                <a:extLst>
                  <a:ext uri="{FF2B5EF4-FFF2-40B4-BE49-F238E27FC236}">
                    <a16:creationId xmlns:a16="http://schemas.microsoft.com/office/drawing/2014/main" id="{4397A5B0-14D0-41BC-9CF4-261A6C4014AD}"/>
                  </a:ext>
                </a:extLst>
              </p:cNvPr>
              <p:cNvSpPr>
                <a:spLocks noChangeArrowheads="1"/>
              </p:cNvSpPr>
              <p:nvPr/>
            </p:nvSpPr>
            <p:spPr bwMode="auto">
              <a:xfrm>
                <a:off x="1306"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50" name="Oval 2836">
                <a:extLst>
                  <a:ext uri="{FF2B5EF4-FFF2-40B4-BE49-F238E27FC236}">
                    <a16:creationId xmlns:a16="http://schemas.microsoft.com/office/drawing/2014/main" id="{5B3D03C4-EE5E-4411-9184-C326C31BB155}"/>
                  </a:ext>
                </a:extLst>
              </p:cNvPr>
              <p:cNvSpPr>
                <a:spLocks noChangeArrowheads="1"/>
              </p:cNvSpPr>
              <p:nvPr/>
            </p:nvSpPr>
            <p:spPr bwMode="auto">
              <a:xfrm>
                <a:off x="142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51" name="Oval 2837">
                <a:extLst>
                  <a:ext uri="{FF2B5EF4-FFF2-40B4-BE49-F238E27FC236}">
                    <a16:creationId xmlns:a16="http://schemas.microsoft.com/office/drawing/2014/main" id="{EC1281AE-8756-4AF6-9C57-10FCE6CDBDF5}"/>
                  </a:ext>
                </a:extLst>
              </p:cNvPr>
              <p:cNvSpPr>
                <a:spLocks noChangeArrowheads="1"/>
              </p:cNvSpPr>
              <p:nvPr/>
            </p:nvSpPr>
            <p:spPr bwMode="auto">
              <a:xfrm>
                <a:off x="12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52" name="Oval 2838">
                <a:extLst>
                  <a:ext uri="{FF2B5EF4-FFF2-40B4-BE49-F238E27FC236}">
                    <a16:creationId xmlns:a16="http://schemas.microsoft.com/office/drawing/2014/main" id="{39A394CC-8719-4F18-A325-875DF86C151C}"/>
                  </a:ext>
                </a:extLst>
              </p:cNvPr>
              <p:cNvSpPr>
                <a:spLocks noChangeArrowheads="1"/>
              </p:cNvSpPr>
              <p:nvPr/>
            </p:nvSpPr>
            <p:spPr bwMode="auto">
              <a:xfrm>
                <a:off x="166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53" name="Oval 2839">
                <a:extLst>
                  <a:ext uri="{FF2B5EF4-FFF2-40B4-BE49-F238E27FC236}">
                    <a16:creationId xmlns:a16="http://schemas.microsoft.com/office/drawing/2014/main" id="{448C8547-6E92-4FAF-A657-8AE7555DE00D}"/>
                  </a:ext>
                </a:extLst>
              </p:cNvPr>
              <p:cNvSpPr>
                <a:spLocks noChangeArrowheads="1"/>
              </p:cNvSpPr>
              <p:nvPr/>
            </p:nvSpPr>
            <p:spPr bwMode="auto">
              <a:xfrm>
                <a:off x="172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54" name="Oval 2840">
                <a:extLst>
                  <a:ext uri="{FF2B5EF4-FFF2-40B4-BE49-F238E27FC236}">
                    <a16:creationId xmlns:a16="http://schemas.microsoft.com/office/drawing/2014/main" id="{375DE420-FC2B-44E5-A3B1-B19EF8B2565E}"/>
                  </a:ext>
                </a:extLst>
              </p:cNvPr>
              <p:cNvSpPr>
                <a:spLocks noChangeArrowheads="1"/>
              </p:cNvSpPr>
              <p:nvPr/>
            </p:nvSpPr>
            <p:spPr bwMode="auto">
              <a:xfrm>
                <a:off x="1576"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55" name="Oval 2841">
                <a:extLst>
                  <a:ext uri="{FF2B5EF4-FFF2-40B4-BE49-F238E27FC236}">
                    <a16:creationId xmlns:a16="http://schemas.microsoft.com/office/drawing/2014/main" id="{510DDFB0-1689-4270-92E8-414C0E4B7404}"/>
                  </a:ext>
                </a:extLst>
              </p:cNvPr>
              <p:cNvSpPr>
                <a:spLocks noChangeArrowheads="1"/>
              </p:cNvSpPr>
              <p:nvPr/>
            </p:nvSpPr>
            <p:spPr bwMode="auto">
              <a:xfrm>
                <a:off x="184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56" name="Oval 2842">
                <a:extLst>
                  <a:ext uri="{FF2B5EF4-FFF2-40B4-BE49-F238E27FC236}">
                    <a16:creationId xmlns:a16="http://schemas.microsoft.com/office/drawing/2014/main" id="{E1BA8D2A-6043-4CD5-AD49-6C12E21186FB}"/>
                  </a:ext>
                </a:extLst>
              </p:cNvPr>
              <p:cNvSpPr>
                <a:spLocks noChangeArrowheads="1"/>
              </p:cNvSpPr>
              <p:nvPr/>
            </p:nvSpPr>
            <p:spPr bwMode="auto">
              <a:xfrm>
                <a:off x="181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57" name="Oval 2843">
                <a:extLst>
                  <a:ext uri="{FF2B5EF4-FFF2-40B4-BE49-F238E27FC236}">
                    <a16:creationId xmlns:a16="http://schemas.microsoft.com/office/drawing/2014/main" id="{42E39CD6-6EB5-49DD-9FAF-09F54FAE265B}"/>
                  </a:ext>
                </a:extLst>
              </p:cNvPr>
              <p:cNvSpPr>
                <a:spLocks noChangeArrowheads="1"/>
              </p:cNvSpPr>
              <p:nvPr/>
            </p:nvSpPr>
            <p:spPr bwMode="auto">
              <a:xfrm>
                <a:off x="1816"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58" name="Oval 2844">
                <a:extLst>
                  <a:ext uri="{FF2B5EF4-FFF2-40B4-BE49-F238E27FC236}">
                    <a16:creationId xmlns:a16="http://schemas.microsoft.com/office/drawing/2014/main" id="{D4A42F51-EEAE-4A8D-836E-24A15C503BF5}"/>
                  </a:ext>
                </a:extLst>
              </p:cNvPr>
              <p:cNvSpPr>
                <a:spLocks noChangeArrowheads="1"/>
              </p:cNvSpPr>
              <p:nvPr/>
            </p:nvSpPr>
            <p:spPr bwMode="auto">
              <a:xfrm>
                <a:off x="193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59" name="Oval 2845">
                <a:extLst>
                  <a:ext uri="{FF2B5EF4-FFF2-40B4-BE49-F238E27FC236}">
                    <a16:creationId xmlns:a16="http://schemas.microsoft.com/office/drawing/2014/main" id="{09F66D26-F52C-430A-92D9-D916966BE73F}"/>
                  </a:ext>
                </a:extLst>
              </p:cNvPr>
              <p:cNvSpPr>
                <a:spLocks noChangeArrowheads="1"/>
              </p:cNvSpPr>
              <p:nvPr/>
            </p:nvSpPr>
            <p:spPr bwMode="auto">
              <a:xfrm>
                <a:off x="2086" y="7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60" name="Oval 2846">
                <a:extLst>
                  <a:ext uri="{FF2B5EF4-FFF2-40B4-BE49-F238E27FC236}">
                    <a16:creationId xmlns:a16="http://schemas.microsoft.com/office/drawing/2014/main" id="{9BDA394F-ECE4-4BC1-9942-4456CACF23F4}"/>
                  </a:ext>
                </a:extLst>
              </p:cNvPr>
              <p:cNvSpPr>
                <a:spLocks noChangeArrowheads="1"/>
              </p:cNvSpPr>
              <p:nvPr/>
            </p:nvSpPr>
            <p:spPr bwMode="auto">
              <a:xfrm>
                <a:off x="211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61" name="Oval 2847">
                <a:extLst>
                  <a:ext uri="{FF2B5EF4-FFF2-40B4-BE49-F238E27FC236}">
                    <a16:creationId xmlns:a16="http://schemas.microsoft.com/office/drawing/2014/main" id="{CF9E1CDC-8F22-447C-B385-46F8B2E2B432}"/>
                  </a:ext>
                </a:extLst>
              </p:cNvPr>
              <p:cNvSpPr>
                <a:spLocks noChangeArrowheads="1"/>
              </p:cNvSpPr>
              <p:nvPr/>
            </p:nvSpPr>
            <p:spPr bwMode="auto">
              <a:xfrm>
                <a:off x="199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62" name="Oval 2848">
                <a:extLst>
                  <a:ext uri="{FF2B5EF4-FFF2-40B4-BE49-F238E27FC236}">
                    <a16:creationId xmlns:a16="http://schemas.microsoft.com/office/drawing/2014/main" id="{C4C2229A-C0B0-421E-A0A9-7A514968C779}"/>
                  </a:ext>
                </a:extLst>
              </p:cNvPr>
              <p:cNvSpPr>
                <a:spLocks noChangeArrowheads="1"/>
              </p:cNvSpPr>
              <p:nvPr/>
            </p:nvSpPr>
            <p:spPr bwMode="auto">
              <a:xfrm>
                <a:off x="202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63" name="Oval 2849">
                <a:extLst>
                  <a:ext uri="{FF2B5EF4-FFF2-40B4-BE49-F238E27FC236}">
                    <a16:creationId xmlns:a16="http://schemas.microsoft.com/office/drawing/2014/main" id="{0C47ACF9-D18D-4EAD-BD27-FEDA90492CE8}"/>
                  </a:ext>
                </a:extLst>
              </p:cNvPr>
              <p:cNvSpPr>
                <a:spLocks noChangeArrowheads="1"/>
              </p:cNvSpPr>
              <p:nvPr/>
            </p:nvSpPr>
            <p:spPr bwMode="auto">
              <a:xfrm>
                <a:off x="184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64" name="Oval 2850">
                <a:extLst>
                  <a:ext uri="{FF2B5EF4-FFF2-40B4-BE49-F238E27FC236}">
                    <a16:creationId xmlns:a16="http://schemas.microsoft.com/office/drawing/2014/main" id="{45708906-2C68-4A61-BF41-2D895D54A08D}"/>
                  </a:ext>
                </a:extLst>
              </p:cNvPr>
              <p:cNvSpPr>
                <a:spLocks noChangeArrowheads="1"/>
              </p:cNvSpPr>
              <p:nvPr/>
            </p:nvSpPr>
            <p:spPr bwMode="auto">
              <a:xfrm>
                <a:off x="1846"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65" name="Oval 2851">
                <a:extLst>
                  <a:ext uri="{FF2B5EF4-FFF2-40B4-BE49-F238E27FC236}">
                    <a16:creationId xmlns:a16="http://schemas.microsoft.com/office/drawing/2014/main" id="{DCF7F581-CC74-41C4-8314-69179789DF82}"/>
                  </a:ext>
                </a:extLst>
              </p:cNvPr>
              <p:cNvSpPr>
                <a:spLocks noChangeArrowheads="1"/>
              </p:cNvSpPr>
              <p:nvPr/>
            </p:nvSpPr>
            <p:spPr bwMode="auto">
              <a:xfrm>
                <a:off x="241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66" name="Oval 2852">
                <a:extLst>
                  <a:ext uri="{FF2B5EF4-FFF2-40B4-BE49-F238E27FC236}">
                    <a16:creationId xmlns:a16="http://schemas.microsoft.com/office/drawing/2014/main" id="{3ECFE1BC-3136-4C12-80B2-9D57344197FE}"/>
                  </a:ext>
                </a:extLst>
              </p:cNvPr>
              <p:cNvSpPr>
                <a:spLocks noChangeArrowheads="1"/>
              </p:cNvSpPr>
              <p:nvPr/>
            </p:nvSpPr>
            <p:spPr bwMode="auto">
              <a:xfrm>
                <a:off x="259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67" name="Oval 2853">
                <a:extLst>
                  <a:ext uri="{FF2B5EF4-FFF2-40B4-BE49-F238E27FC236}">
                    <a16:creationId xmlns:a16="http://schemas.microsoft.com/office/drawing/2014/main" id="{29D3C8C8-D4F2-43A3-A316-A21C4AA4F197}"/>
                  </a:ext>
                </a:extLst>
              </p:cNvPr>
              <p:cNvSpPr>
                <a:spLocks noChangeArrowheads="1"/>
              </p:cNvSpPr>
              <p:nvPr/>
            </p:nvSpPr>
            <p:spPr bwMode="auto">
              <a:xfrm>
                <a:off x="220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68" name="Oval 2854">
                <a:extLst>
                  <a:ext uri="{FF2B5EF4-FFF2-40B4-BE49-F238E27FC236}">
                    <a16:creationId xmlns:a16="http://schemas.microsoft.com/office/drawing/2014/main" id="{796D56F3-55FE-4240-B065-986A7B3FA9CA}"/>
                  </a:ext>
                </a:extLst>
              </p:cNvPr>
              <p:cNvSpPr>
                <a:spLocks noChangeArrowheads="1"/>
              </p:cNvSpPr>
              <p:nvPr/>
            </p:nvSpPr>
            <p:spPr bwMode="auto">
              <a:xfrm>
                <a:off x="253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69" name="Oval 2855">
                <a:extLst>
                  <a:ext uri="{FF2B5EF4-FFF2-40B4-BE49-F238E27FC236}">
                    <a16:creationId xmlns:a16="http://schemas.microsoft.com/office/drawing/2014/main" id="{F278A1F4-F8E1-4CB0-A0BA-9BA55D9FFFEB}"/>
                  </a:ext>
                </a:extLst>
              </p:cNvPr>
              <p:cNvSpPr>
                <a:spLocks noChangeArrowheads="1"/>
              </p:cNvSpPr>
              <p:nvPr/>
            </p:nvSpPr>
            <p:spPr bwMode="auto">
              <a:xfrm>
                <a:off x="238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70" name="Oval 2856">
                <a:extLst>
                  <a:ext uri="{FF2B5EF4-FFF2-40B4-BE49-F238E27FC236}">
                    <a16:creationId xmlns:a16="http://schemas.microsoft.com/office/drawing/2014/main" id="{D19857CC-8B78-44CC-9BCC-7CB8B9A831EE}"/>
                  </a:ext>
                </a:extLst>
              </p:cNvPr>
              <p:cNvSpPr>
                <a:spLocks noChangeArrowheads="1"/>
              </p:cNvSpPr>
              <p:nvPr/>
            </p:nvSpPr>
            <p:spPr bwMode="auto">
              <a:xfrm>
                <a:off x="241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71" name="Oval 2857">
                <a:extLst>
                  <a:ext uri="{FF2B5EF4-FFF2-40B4-BE49-F238E27FC236}">
                    <a16:creationId xmlns:a16="http://schemas.microsoft.com/office/drawing/2014/main" id="{B6067C13-DEE2-4462-BF62-94664E416D3A}"/>
                  </a:ext>
                </a:extLst>
              </p:cNvPr>
              <p:cNvSpPr>
                <a:spLocks noChangeArrowheads="1"/>
              </p:cNvSpPr>
              <p:nvPr/>
            </p:nvSpPr>
            <p:spPr bwMode="auto">
              <a:xfrm>
                <a:off x="232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72" name="Oval 2858">
                <a:extLst>
                  <a:ext uri="{FF2B5EF4-FFF2-40B4-BE49-F238E27FC236}">
                    <a16:creationId xmlns:a16="http://schemas.microsoft.com/office/drawing/2014/main" id="{04918AC9-5BA1-4DB5-A5C9-CD3942B6B65E}"/>
                  </a:ext>
                </a:extLst>
              </p:cNvPr>
              <p:cNvSpPr>
                <a:spLocks noChangeArrowheads="1"/>
              </p:cNvSpPr>
              <p:nvPr/>
            </p:nvSpPr>
            <p:spPr bwMode="auto">
              <a:xfrm>
                <a:off x="229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73" name="Oval 2859">
                <a:extLst>
                  <a:ext uri="{FF2B5EF4-FFF2-40B4-BE49-F238E27FC236}">
                    <a16:creationId xmlns:a16="http://schemas.microsoft.com/office/drawing/2014/main" id="{795EF7DF-75BC-4E52-A164-E6000FAAFFC6}"/>
                  </a:ext>
                </a:extLst>
              </p:cNvPr>
              <p:cNvSpPr>
                <a:spLocks noChangeArrowheads="1"/>
              </p:cNvSpPr>
              <p:nvPr/>
            </p:nvSpPr>
            <p:spPr bwMode="auto">
              <a:xfrm>
                <a:off x="220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74" name="Oval 2860">
                <a:extLst>
                  <a:ext uri="{FF2B5EF4-FFF2-40B4-BE49-F238E27FC236}">
                    <a16:creationId xmlns:a16="http://schemas.microsoft.com/office/drawing/2014/main" id="{B62D9913-2400-4E01-9DA9-DC4E8030D0CF}"/>
                  </a:ext>
                </a:extLst>
              </p:cNvPr>
              <p:cNvSpPr>
                <a:spLocks noChangeArrowheads="1"/>
              </p:cNvSpPr>
              <p:nvPr/>
            </p:nvSpPr>
            <p:spPr bwMode="auto">
              <a:xfrm>
                <a:off x="22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75" name="Oval 2861">
                <a:extLst>
                  <a:ext uri="{FF2B5EF4-FFF2-40B4-BE49-F238E27FC236}">
                    <a16:creationId xmlns:a16="http://schemas.microsoft.com/office/drawing/2014/main" id="{BDACF247-ADE8-42AF-9774-FA8D6179C70A}"/>
                  </a:ext>
                </a:extLst>
              </p:cNvPr>
              <p:cNvSpPr>
                <a:spLocks noChangeArrowheads="1"/>
              </p:cNvSpPr>
              <p:nvPr/>
            </p:nvSpPr>
            <p:spPr bwMode="auto">
              <a:xfrm>
                <a:off x="220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76" name="Oval 2862">
                <a:extLst>
                  <a:ext uri="{FF2B5EF4-FFF2-40B4-BE49-F238E27FC236}">
                    <a16:creationId xmlns:a16="http://schemas.microsoft.com/office/drawing/2014/main" id="{C684C532-2BA6-46DB-AEB8-4A9B848F7C6C}"/>
                  </a:ext>
                </a:extLst>
              </p:cNvPr>
              <p:cNvSpPr>
                <a:spLocks noChangeArrowheads="1"/>
              </p:cNvSpPr>
              <p:nvPr/>
            </p:nvSpPr>
            <p:spPr bwMode="auto">
              <a:xfrm>
                <a:off x="220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77" name="Oval 2863">
                <a:extLst>
                  <a:ext uri="{FF2B5EF4-FFF2-40B4-BE49-F238E27FC236}">
                    <a16:creationId xmlns:a16="http://schemas.microsoft.com/office/drawing/2014/main" id="{078E7009-3070-4827-8D43-3239EC30F289}"/>
                  </a:ext>
                </a:extLst>
              </p:cNvPr>
              <p:cNvSpPr>
                <a:spLocks noChangeArrowheads="1"/>
              </p:cNvSpPr>
              <p:nvPr/>
            </p:nvSpPr>
            <p:spPr bwMode="auto">
              <a:xfrm>
                <a:off x="226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78" name="Oval 2864">
                <a:extLst>
                  <a:ext uri="{FF2B5EF4-FFF2-40B4-BE49-F238E27FC236}">
                    <a16:creationId xmlns:a16="http://schemas.microsoft.com/office/drawing/2014/main" id="{F18A63CE-FDBF-4B14-BD19-1F10D7DF3D0A}"/>
                  </a:ext>
                </a:extLst>
              </p:cNvPr>
              <p:cNvSpPr>
                <a:spLocks noChangeArrowheads="1"/>
              </p:cNvSpPr>
              <p:nvPr/>
            </p:nvSpPr>
            <p:spPr bwMode="auto">
              <a:xfrm>
                <a:off x="271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79" name="Oval 2865">
                <a:extLst>
                  <a:ext uri="{FF2B5EF4-FFF2-40B4-BE49-F238E27FC236}">
                    <a16:creationId xmlns:a16="http://schemas.microsoft.com/office/drawing/2014/main" id="{6EBCB0D3-187D-48AC-AE55-C1BC45929757}"/>
                  </a:ext>
                </a:extLst>
              </p:cNvPr>
              <p:cNvSpPr>
                <a:spLocks noChangeArrowheads="1"/>
              </p:cNvSpPr>
              <p:nvPr/>
            </p:nvSpPr>
            <p:spPr bwMode="auto">
              <a:xfrm>
                <a:off x="274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80" name="Oval 2866">
                <a:extLst>
                  <a:ext uri="{FF2B5EF4-FFF2-40B4-BE49-F238E27FC236}">
                    <a16:creationId xmlns:a16="http://schemas.microsoft.com/office/drawing/2014/main" id="{98D23ABB-DC02-4D00-8686-28B09F8FBE6D}"/>
                  </a:ext>
                </a:extLst>
              </p:cNvPr>
              <p:cNvSpPr>
                <a:spLocks noChangeArrowheads="1"/>
              </p:cNvSpPr>
              <p:nvPr/>
            </p:nvSpPr>
            <p:spPr bwMode="auto">
              <a:xfrm>
                <a:off x="277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81" name="Oval 2867">
                <a:extLst>
                  <a:ext uri="{FF2B5EF4-FFF2-40B4-BE49-F238E27FC236}">
                    <a16:creationId xmlns:a16="http://schemas.microsoft.com/office/drawing/2014/main" id="{B14E99B2-FEB9-4A3A-8BB7-B85EE236A8EB}"/>
                  </a:ext>
                </a:extLst>
              </p:cNvPr>
              <p:cNvSpPr>
                <a:spLocks noChangeArrowheads="1"/>
              </p:cNvSpPr>
              <p:nvPr/>
            </p:nvSpPr>
            <p:spPr bwMode="auto">
              <a:xfrm>
                <a:off x="271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82" name="Oval 2868">
                <a:extLst>
                  <a:ext uri="{FF2B5EF4-FFF2-40B4-BE49-F238E27FC236}">
                    <a16:creationId xmlns:a16="http://schemas.microsoft.com/office/drawing/2014/main" id="{AEFDF30B-1DCC-460B-8A75-9419C9951283}"/>
                  </a:ext>
                </a:extLst>
              </p:cNvPr>
              <p:cNvSpPr>
                <a:spLocks noChangeArrowheads="1"/>
              </p:cNvSpPr>
              <p:nvPr/>
            </p:nvSpPr>
            <p:spPr bwMode="auto">
              <a:xfrm>
                <a:off x="268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83" name="Oval 2869">
                <a:extLst>
                  <a:ext uri="{FF2B5EF4-FFF2-40B4-BE49-F238E27FC236}">
                    <a16:creationId xmlns:a16="http://schemas.microsoft.com/office/drawing/2014/main" id="{D3D8966A-A530-49AF-AD93-971E5BE4AD8C}"/>
                  </a:ext>
                </a:extLst>
              </p:cNvPr>
              <p:cNvSpPr>
                <a:spLocks noChangeArrowheads="1"/>
              </p:cNvSpPr>
              <p:nvPr/>
            </p:nvSpPr>
            <p:spPr bwMode="auto">
              <a:xfrm>
                <a:off x="271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84" name="Oval 2870">
                <a:extLst>
                  <a:ext uri="{FF2B5EF4-FFF2-40B4-BE49-F238E27FC236}">
                    <a16:creationId xmlns:a16="http://schemas.microsoft.com/office/drawing/2014/main" id="{B3579EBD-8911-4659-8D44-1F96A6E1F82E}"/>
                  </a:ext>
                </a:extLst>
              </p:cNvPr>
              <p:cNvSpPr>
                <a:spLocks noChangeArrowheads="1"/>
              </p:cNvSpPr>
              <p:nvPr/>
            </p:nvSpPr>
            <p:spPr bwMode="auto">
              <a:xfrm>
                <a:off x="292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85" name="Oval 2871">
                <a:extLst>
                  <a:ext uri="{FF2B5EF4-FFF2-40B4-BE49-F238E27FC236}">
                    <a16:creationId xmlns:a16="http://schemas.microsoft.com/office/drawing/2014/main" id="{112FDCD1-E357-4D49-8CEE-9698A34BE705}"/>
                  </a:ext>
                </a:extLst>
              </p:cNvPr>
              <p:cNvSpPr>
                <a:spLocks noChangeArrowheads="1"/>
              </p:cNvSpPr>
              <p:nvPr/>
            </p:nvSpPr>
            <p:spPr bwMode="auto">
              <a:xfrm>
                <a:off x="268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86" name="Oval 2872">
                <a:extLst>
                  <a:ext uri="{FF2B5EF4-FFF2-40B4-BE49-F238E27FC236}">
                    <a16:creationId xmlns:a16="http://schemas.microsoft.com/office/drawing/2014/main" id="{421E3860-D48C-4C0E-BF7A-79F126E402FA}"/>
                  </a:ext>
                </a:extLst>
              </p:cNvPr>
              <p:cNvSpPr>
                <a:spLocks noChangeArrowheads="1"/>
              </p:cNvSpPr>
              <p:nvPr/>
            </p:nvSpPr>
            <p:spPr bwMode="auto">
              <a:xfrm>
                <a:off x="280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87" name="Oval 2873">
                <a:extLst>
                  <a:ext uri="{FF2B5EF4-FFF2-40B4-BE49-F238E27FC236}">
                    <a16:creationId xmlns:a16="http://schemas.microsoft.com/office/drawing/2014/main" id="{8B2CFAC1-8CF6-4206-93DA-580B1997DC65}"/>
                  </a:ext>
                </a:extLst>
              </p:cNvPr>
              <p:cNvSpPr>
                <a:spLocks noChangeArrowheads="1"/>
              </p:cNvSpPr>
              <p:nvPr/>
            </p:nvSpPr>
            <p:spPr bwMode="auto">
              <a:xfrm>
                <a:off x="301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88" name="Oval 2874">
                <a:extLst>
                  <a:ext uri="{FF2B5EF4-FFF2-40B4-BE49-F238E27FC236}">
                    <a16:creationId xmlns:a16="http://schemas.microsoft.com/office/drawing/2014/main" id="{75F59936-0A5F-41A6-98E4-AABB39D23039}"/>
                  </a:ext>
                </a:extLst>
              </p:cNvPr>
              <p:cNvSpPr>
                <a:spLocks noChangeArrowheads="1"/>
              </p:cNvSpPr>
              <p:nvPr/>
            </p:nvSpPr>
            <p:spPr bwMode="auto">
              <a:xfrm>
                <a:off x="316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89" name="Oval 2875">
                <a:extLst>
                  <a:ext uri="{FF2B5EF4-FFF2-40B4-BE49-F238E27FC236}">
                    <a16:creationId xmlns:a16="http://schemas.microsoft.com/office/drawing/2014/main" id="{BA25C199-CEFE-4512-8E67-8A72DBD2955F}"/>
                  </a:ext>
                </a:extLst>
              </p:cNvPr>
              <p:cNvSpPr>
                <a:spLocks noChangeArrowheads="1"/>
              </p:cNvSpPr>
              <p:nvPr/>
            </p:nvSpPr>
            <p:spPr bwMode="auto">
              <a:xfrm>
                <a:off x="307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90" name="Oval 2876">
                <a:extLst>
                  <a:ext uri="{FF2B5EF4-FFF2-40B4-BE49-F238E27FC236}">
                    <a16:creationId xmlns:a16="http://schemas.microsoft.com/office/drawing/2014/main" id="{BDCDC9AC-A244-41D8-85D2-4873547A2A26}"/>
                  </a:ext>
                </a:extLst>
              </p:cNvPr>
              <p:cNvSpPr>
                <a:spLocks noChangeArrowheads="1"/>
              </p:cNvSpPr>
              <p:nvPr/>
            </p:nvSpPr>
            <p:spPr bwMode="auto">
              <a:xfrm>
                <a:off x="295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91" name="Oval 2877">
                <a:extLst>
                  <a:ext uri="{FF2B5EF4-FFF2-40B4-BE49-F238E27FC236}">
                    <a16:creationId xmlns:a16="http://schemas.microsoft.com/office/drawing/2014/main" id="{E7D3A70B-897A-4836-84A3-652DCFD13A25}"/>
                  </a:ext>
                </a:extLst>
              </p:cNvPr>
              <p:cNvSpPr>
                <a:spLocks noChangeArrowheads="1"/>
              </p:cNvSpPr>
              <p:nvPr/>
            </p:nvSpPr>
            <p:spPr bwMode="auto">
              <a:xfrm>
                <a:off x="301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92" name="Oval 2878">
                <a:extLst>
                  <a:ext uri="{FF2B5EF4-FFF2-40B4-BE49-F238E27FC236}">
                    <a16:creationId xmlns:a16="http://schemas.microsoft.com/office/drawing/2014/main" id="{B3056C8B-1FDD-4DD4-8522-8FDB947FD1A0}"/>
                  </a:ext>
                </a:extLst>
              </p:cNvPr>
              <p:cNvSpPr>
                <a:spLocks noChangeArrowheads="1"/>
              </p:cNvSpPr>
              <p:nvPr/>
            </p:nvSpPr>
            <p:spPr bwMode="auto">
              <a:xfrm>
                <a:off x="298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93" name="Oval 2879">
                <a:extLst>
                  <a:ext uri="{FF2B5EF4-FFF2-40B4-BE49-F238E27FC236}">
                    <a16:creationId xmlns:a16="http://schemas.microsoft.com/office/drawing/2014/main" id="{9CF31676-9B22-4A09-9951-D44C8D78B089}"/>
                  </a:ext>
                </a:extLst>
              </p:cNvPr>
              <p:cNvSpPr>
                <a:spLocks noChangeArrowheads="1"/>
              </p:cNvSpPr>
              <p:nvPr/>
            </p:nvSpPr>
            <p:spPr bwMode="auto">
              <a:xfrm>
                <a:off x="30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94" name="Oval 2880">
                <a:extLst>
                  <a:ext uri="{FF2B5EF4-FFF2-40B4-BE49-F238E27FC236}">
                    <a16:creationId xmlns:a16="http://schemas.microsoft.com/office/drawing/2014/main" id="{93F4908A-B9A1-4D9B-BBF8-9549C80BBA59}"/>
                  </a:ext>
                </a:extLst>
              </p:cNvPr>
              <p:cNvSpPr>
                <a:spLocks noChangeArrowheads="1"/>
              </p:cNvSpPr>
              <p:nvPr/>
            </p:nvSpPr>
            <p:spPr bwMode="auto">
              <a:xfrm>
                <a:off x="310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95" name="Oval 2881">
                <a:extLst>
                  <a:ext uri="{FF2B5EF4-FFF2-40B4-BE49-F238E27FC236}">
                    <a16:creationId xmlns:a16="http://schemas.microsoft.com/office/drawing/2014/main" id="{E7C7F290-2158-414C-8EDA-837E98BE895B}"/>
                  </a:ext>
                </a:extLst>
              </p:cNvPr>
              <p:cNvSpPr>
                <a:spLocks noChangeArrowheads="1"/>
              </p:cNvSpPr>
              <p:nvPr/>
            </p:nvSpPr>
            <p:spPr bwMode="auto">
              <a:xfrm>
                <a:off x="310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96" name="Oval 2882">
                <a:extLst>
                  <a:ext uri="{FF2B5EF4-FFF2-40B4-BE49-F238E27FC236}">
                    <a16:creationId xmlns:a16="http://schemas.microsoft.com/office/drawing/2014/main" id="{AA6AACAD-CB3D-4728-AF0E-C43AB877957F}"/>
                  </a:ext>
                </a:extLst>
              </p:cNvPr>
              <p:cNvSpPr>
                <a:spLocks noChangeArrowheads="1"/>
              </p:cNvSpPr>
              <p:nvPr/>
            </p:nvSpPr>
            <p:spPr bwMode="auto">
              <a:xfrm>
                <a:off x="29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97" name="Oval 2883">
                <a:extLst>
                  <a:ext uri="{FF2B5EF4-FFF2-40B4-BE49-F238E27FC236}">
                    <a16:creationId xmlns:a16="http://schemas.microsoft.com/office/drawing/2014/main" id="{B529E0F2-9283-4148-B33E-67C51A94BD73}"/>
                  </a:ext>
                </a:extLst>
              </p:cNvPr>
              <p:cNvSpPr>
                <a:spLocks noChangeArrowheads="1"/>
              </p:cNvSpPr>
              <p:nvPr/>
            </p:nvSpPr>
            <p:spPr bwMode="auto">
              <a:xfrm>
                <a:off x="280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98" name="Oval 2884">
                <a:extLst>
                  <a:ext uri="{FF2B5EF4-FFF2-40B4-BE49-F238E27FC236}">
                    <a16:creationId xmlns:a16="http://schemas.microsoft.com/office/drawing/2014/main" id="{BEDECA92-5598-4312-B961-ABDD64944CAD}"/>
                  </a:ext>
                </a:extLst>
              </p:cNvPr>
              <p:cNvSpPr>
                <a:spLocks noChangeArrowheads="1"/>
              </p:cNvSpPr>
              <p:nvPr/>
            </p:nvSpPr>
            <p:spPr bwMode="auto">
              <a:xfrm>
                <a:off x="289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99" name="Oval 2885">
                <a:extLst>
                  <a:ext uri="{FF2B5EF4-FFF2-40B4-BE49-F238E27FC236}">
                    <a16:creationId xmlns:a16="http://schemas.microsoft.com/office/drawing/2014/main" id="{27D7A7A2-41BC-4F05-930D-BADF048AC52F}"/>
                  </a:ext>
                </a:extLst>
              </p:cNvPr>
              <p:cNvSpPr>
                <a:spLocks noChangeArrowheads="1"/>
              </p:cNvSpPr>
              <p:nvPr/>
            </p:nvSpPr>
            <p:spPr bwMode="auto">
              <a:xfrm>
                <a:off x="292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00" name="Oval 2886">
                <a:extLst>
                  <a:ext uri="{FF2B5EF4-FFF2-40B4-BE49-F238E27FC236}">
                    <a16:creationId xmlns:a16="http://schemas.microsoft.com/office/drawing/2014/main" id="{E8EB5354-0F62-46D4-AB85-B155B9D1E71D}"/>
                  </a:ext>
                </a:extLst>
              </p:cNvPr>
              <p:cNvSpPr>
                <a:spLocks noChangeArrowheads="1"/>
              </p:cNvSpPr>
              <p:nvPr/>
            </p:nvSpPr>
            <p:spPr bwMode="auto">
              <a:xfrm>
                <a:off x="283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01" name="Oval 2887">
                <a:extLst>
                  <a:ext uri="{FF2B5EF4-FFF2-40B4-BE49-F238E27FC236}">
                    <a16:creationId xmlns:a16="http://schemas.microsoft.com/office/drawing/2014/main" id="{53F2613D-4414-4A00-8BB2-5A0603B55901}"/>
                  </a:ext>
                </a:extLst>
              </p:cNvPr>
              <p:cNvSpPr>
                <a:spLocks noChangeArrowheads="1"/>
              </p:cNvSpPr>
              <p:nvPr/>
            </p:nvSpPr>
            <p:spPr bwMode="auto">
              <a:xfrm>
                <a:off x="286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02" name="Oval 2888">
                <a:extLst>
                  <a:ext uri="{FF2B5EF4-FFF2-40B4-BE49-F238E27FC236}">
                    <a16:creationId xmlns:a16="http://schemas.microsoft.com/office/drawing/2014/main" id="{455C3C85-4056-456A-9C9B-69ED6AB38EAC}"/>
                  </a:ext>
                </a:extLst>
              </p:cNvPr>
              <p:cNvSpPr>
                <a:spLocks noChangeArrowheads="1"/>
              </p:cNvSpPr>
              <p:nvPr/>
            </p:nvSpPr>
            <p:spPr bwMode="auto">
              <a:xfrm>
                <a:off x="30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03" name="Oval 2889">
                <a:extLst>
                  <a:ext uri="{FF2B5EF4-FFF2-40B4-BE49-F238E27FC236}">
                    <a16:creationId xmlns:a16="http://schemas.microsoft.com/office/drawing/2014/main" id="{7DE60504-81DF-4358-B29A-84D8850C99AC}"/>
                  </a:ext>
                </a:extLst>
              </p:cNvPr>
              <p:cNvSpPr>
                <a:spLocks noChangeArrowheads="1"/>
              </p:cNvSpPr>
              <p:nvPr/>
            </p:nvSpPr>
            <p:spPr bwMode="auto">
              <a:xfrm>
                <a:off x="295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04" name="Oval 2890">
                <a:extLst>
                  <a:ext uri="{FF2B5EF4-FFF2-40B4-BE49-F238E27FC236}">
                    <a16:creationId xmlns:a16="http://schemas.microsoft.com/office/drawing/2014/main" id="{DF8C9944-6067-45DF-AFAE-99FC84FCA8F7}"/>
                  </a:ext>
                </a:extLst>
              </p:cNvPr>
              <p:cNvSpPr>
                <a:spLocks noChangeArrowheads="1"/>
              </p:cNvSpPr>
              <p:nvPr/>
            </p:nvSpPr>
            <p:spPr bwMode="auto">
              <a:xfrm>
                <a:off x="295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05" name="Oval 2891">
                <a:extLst>
                  <a:ext uri="{FF2B5EF4-FFF2-40B4-BE49-F238E27FC236}">
                    <a16:creationId xmlns:a16="http://schemas.microsoft.com/office/drawing/2014/main" id="{1580C79C-17A5-49C8-9BB3-598E7A920D98}"/>
                  </a:ext>
                </a:extLst>
              </p:cNvPr>
              <p:cNvSpPr>
                <a:spLocks noChangeArrowheads="1"/>
              </p:cNvSpPr>
              <p:nvPr/>
            </p:nvSpPr>
            <p:spPr bwMode="auto">
              <a:xfrm>
                <a:off x="301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06" name="Oval 2892">
                <a:extLst>
                  <a:ext uri="{FF2B5EF4-FFF2-40B4-BE49-F238E27FC236}">
                    <a16:creationId xmlns:a16="http://schemas.microsoft.com/office/drawing/2014/main" id="{90A88E9F-F511-47CB-91C9-6B19632A1D38}"/>
                  </a:ext>
                </a:extLst>
              </p:cNvPr>
              <p:cNvSpPr>
                <a:spLocks noChangeArrowheads="1"/>
              </p:cNvSpPr>
              <p:nvPr/>
            </p:nvSpPr>
            <p:spPr bwMode="auto">
              <a:xfrm>
                <a:off x="289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07" name="Oval 2893">
                <a:extLst>
                  <a:ext uri="{FF2B5EF4-FFF2-40B4-BE49-F238E27FC236}">
                    <a16:creationId xmlns:a16="http://schemas.microsoft.com/office/drawing/2014/main" id="{88E69365-0E0F-41EC-88C7-A6C60C732A52}"/>
                  </a:ext>
                </a:extLst>
              </p:cNvPr>
              <p:cNvSpPr>
                <a:spLocks noChangeArrowheads="1"/>
              </p:cNvSpPr>
              <p:nvPr/>
            </p:nvSpPr>
            <p:spPr bwMode="auto">
              <a:xfrm>
                <a:off x="307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08" name="Oval 2894">
                <a:extLst>
                  <a:ext uri="{FF2B5EF4-FFF2-40B4-BE49-F238E27FC236}">
                    <a16:creationId xmlns:a16="http://schemas.microsoft.com/office/drawing/2014/main" id="{C8641205-04D1-46DA-9B64-5CFB5E55AE44}"/>
                  </a:ext>
                </a:extLst>
              </p:cNvPr>
              <p:cNvSpPr>
                <a:spLocks noChangeArrowheads="1"/>
              </p:cNvSpPr>
              <p:nvPr/>
            </p:nvSpPr>
            <p:spPr bwMode="auto">
              <a:xfrm>
                <a:off x="310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09" name="Oval 2895">
                <a:extLst>
                  <a:ext uri="{FF2B5EF4-FFF2-40B4-BE49-F238E27FC236}">
                    <a16:creationId xmlns:a16="http://schemas.microsoft.com/office/drawing/2014/main" id="{15809880-760B-4F84-BAE2-684C05CAB22B}"/>
                  </a:ext>
                </a:extLst>
              </p:cNvPr>
              <p:cNvSpPr>
                <a:spLocks noChangeArrowheads="1"/>
              </p:cNvSpPr>
              <p:nvPr/>
            </p:nvSpPr>
            <p:spPr bwMode="auto">
              <a:xfrm>
                <a:off x="30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10" name="Oval 2896">
                <a:extLst>
                  <a:ext uri="{FF2B5EF4-FFF2-40B4-BE49-F238E27FC236}">
                    <a16:creationId xmlns:a16="http://schemas.microsoft.com/office/drawing/2014/main" id="{35AE2FB9-3761-4194-84BA-E914F856DC8D}"/>
                  </a:ext>
                </a:extLst>
              </p:cNvPr>
              <p:cNvSpPr>
                <a:spLocks noChangeArrowheads="1"/>
              </p:cNvSpPr>
              <p:nvPr/>
            </p:nvSpPr>
            <p:spPr bwMode="auto">
              <a:xfrm>
                <a:off x="295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11" name="Oval 2897">
                <a:extLst>
                  <a:ext uri="{FF2B5EF4-FFF2-40B4-BE49-F238E27FC236}">
                    <a16:creationId xmlns:a16="http://schemas.microsoft.com/office/drawing/2014/main" id="{A7461C29-230E-43C5-80A3-4E03C02C7AF8}"/>
                  </a:ext>
                </a:extLst>
              </p:cNvPr>
              <p:cNvSpPr>
                <a:spLocks noChangeArrowheads="1"/>
              </p:cNvSpPr>
              <p:nvPr/>
            </p:nvSpPr>
            <p:spPr bwMode="auto">
              <a:xfrm>
                <a:off x="292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12" name="Oval 2898">
                <a:extLst>
                  <a:ext uri="{FF2B5EF4-FFF2-40B4-BE49-F238E27FC236}">
                    <a16:creationId xmlns:a16="http://schemas.microsoft.com/office/drawing/2014/main" id="{C7171D62-A0CE-4B9D-9D42-8DF5A44CB777}"/>
                  </a:ext>
                </a:extLst>
              </p:cNvPr>
              <p:cNvSpPr>
                <a:spLocks noChangeArrowheads="1"/>
              </p:cNvSpPr>
              <p:nvPr/>
            </p:nvSpPr>
            <p:spPr bwMode="auto">
              <a:xfrm>
                <a:off x="2835"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13" name="Oval 2899">
                <a:extLst>
                  <a:ext uri="{FF2B5EF4-FFF2-40B4-BE49-F238E27FC236}">
                    <a16:creationId xmlns:a16="http://schemas.microsoft.com/office/drawing/2014/main" id="{F89BB97E-063F-47B0-8B59-7131D50EDD05}"/>
                  </a:ext>
                </a:extLst>
              </p:cNvPr>
              <p:cNvSpPr>
                <a:spLocks noChangeArrowheads="1"/>
              </p:cNvSpPr>
              <p:nvPr/>
            </p:nvSpPr>
            <p:spPr bwMode="auto">
              <a:xfrm>
                <a:off x="277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14" name="Oval 2900">
                <a:extLst>
                  <a:ext uri="{FF2B5EF4-FFF2-40B4-BE49-F238E27FC236}">
                    <a16:creationId xmlns:a16="http://schemas.microsoft.com/office/drawing/2014/main" id="{E2C980F1-6B81-488E-AFBB-F42EE7B5041E}"/>
                  </a:ext>
                </a:extLst>
              </p:cNvPr>
              <p:cNvSpPr>
                <a:spLocks noChangeArrowheads="1"/>
              </p:cNvSpPr>
              <p:nvPr/>
            </p:nvSpPr>
            <p:spPr bwMode="auto">
              <a:xfrm>
                <a:off x="271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15" name="Oval 2901">
                <a:extLst>
                  <a:ext uri="{FF2B5EF4-FFF2-40B4-BE49-F238E27FC236}">
                    <a16:creationId xmlns:a16="http://schemas.microsoft.com/office/drawing/2014/main" id="{B215359A-4156-4899-AB87-165D8AD34EF3}"/>
                  </a:ext>
                </a:extLst>
              </p:cNvPr>
              <p:cNvSpPr>
                <a:spLocks noChangeArrowheads="1"/>
              </p:cNvSpPr>
              <p:nvPr/>
            </p:nvSpPr>
            <p:spPr bwMode="auto">
              <a:xfrm>
                <a:off x="274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16" name="Oval 2902">
                <a:extLst>
                  <a:ext uri="{FF2B5EF4-FFF2-40B4-BE49-F238E27FC236}">
                    <a16:creationId xmlns:a16="http://schemas.microsoft.com/office/drawing/2014/main" id="{6FDD74E9-3638-4B19-A200-CEADB482E2C0}"/>
                  </a:ext>
                </a:extLst>
              </p:cNvPr>
              <p:cNvSpPr>
                <a:spLocks noChangeArrowheads="1"/>
              </p:cNvSpPr>
              <p:nvPr/>
            </p:nvSpPr>
            <p:spPr bwMode="auto">
              <a:xfrm>
                <a:off x="2805"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17" name="Oval 2903">
                <a:extLst>
                  <a:ext uri="{FF2B5EF4-FFF2-40B4-BE49-F238E27FC236}">
                    <a16:creationId xmlns:a16="http://schemas.microsoft.com/office/drawing/2014/main" id="{6D3A4A2B-F45E-4663-A670-E3EECD02FB3A}"/>
                  </a:ext>
                </a:extLst>
              </p:cNvPr>
              <p:cNvSpPr>
                <a:spLocks noChangeArrowheads="1"/>
              </p:cNvSpPr>
              <p:nvPr/>
            </p:nvSpPr>
            <p:spPr bwMode="auto">
              <a:xfrm>
                <a:off x="27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18" name="Oval 2904">
                <a:extLst>
                  <a:ext uri="{FF2B5EF4-FFF2-40B4-BE49-F238E27FC236}">
                    <a16:creationId xmlns:a16="http://schemas.microsoft.com/office/drawing/2014/main" id="{57A5F6E9-3DC5-426A-BF49-25B4141290A7}"/>
                  </a:ext>
                </a:extLst>
              </p:cNvPr>
              <p:cNvSpPr>
                <a:spLocks noChangeArrowheads="1"/>
              </p:cNvSpPr>
              <p:nvPr/>
            </p:nvSpPr>
            <p:spPr bwMode="auto">
              <a:xfrm>
                <a:off x="2745"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19" name="Oval 2905">
                <a:extLst>
                  <a:ext uri="{FF2B5EF4-FFF2-40B4-BE49-F238E27FC236}">
                    <a16:creationId xmlns:a16="http://schemas.microsoft.com/office/drawing/2014/main" id="{6363F10A-DC33-4B64-A2FA-A5B91FDCCC71}"/>
                  </a:ext>
                </a:extLst>
              </p:cNvPr>
              <p:cNvSpPr>
                <a:spLocks noChangeArrowheads="1"/>
              </p:cNvSpPr>
              <p:nvPr/>
            </p:nvSpPr>
            <p:spPr bwMode="auto">
              <a:xfrm>
                <a:off x="25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20" name="Oval 2906">
                <a:extLst>
                  <a:ext uri="{FF2B5EF4-FFF2-40B4-BE49-F238E27FC236}">
                    <a16:creationId xmlns:a16="http://schemas.microsoft.com/office/drawing/2014/main" id="{09C21686-E346-4CAF-BF69-45983F9DA781}"/>
                  </a:ext>
                </a:extLst>
              </p:cNvPr>
              <p:cNvSpPr>
                <a:spLocks noChangeArrowheads="1"/>
              </p:cNvSpPr>
              <p:nvPr/>
            </p:nvSpPr>
            <p:spPr bwMode="auto">
              <a:xfrm>
                <a:off x="259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21" name="Oval 2907">
                <a:extLst>
                  <a:ext uri="{FF2B5EF4-FFF2-40B4-BE49-F238E27FC236}">
                    <a16:creationId xmlns:a16="http://schemas.microsoft.com/office/drawing/2014/main" id="{7A22FA28-6744-479A-AEA2-13361471C99B}"/>
                  </a:ext>
                </a:extLst>
              </p:cNvPr>
              <p:cNvSpPr>
                <a:spLocks noChangeArrowheads="1"/>
              </p:cNvSpPr>
              <p:nvPr/>
            </p:nvSpPr>
            <p:spPr bwMode="auto">
              <a:xfrm>
                <a:off x="262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22" name="Oval 2908">
                <a:extLst>
                  <a:ext uri="{FF2B5EF4-FFF2-40B4-BE49-F238E27FC236}">
                    <a16:creationId xmlns:a16="http://schemas.microsoft.com/office/drawing/2014/main" id="{21D39261-5FC7-4D29-9DB2-9AC8B3EC376D}"/>
                  </a:ext>
                </a:extLst>
              </p:cNvPr>
              <p:cNvSpPr>
                <a:spLocks noChangeArrowheads="1"/>
              </p:cNvSpPr>
              <p:nvPr/>
            </p:nvSpPr>
            <p:spPr bwMode="auto">
              <a:xfrm>
                <a:off x="2655"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23" name="Oval 2909">
                <a:extLst>
                  <a:ext uri="{FF2B5EF4-FFF2-40B4-BE49-F238E27FC236}">
                    <a16:creationId xmlns:a16="http://schemas.microsoft.com/office/drawing/2014/main" id="{962668EE-E2B2-445C-9FBF-C9E94FAEB600}"/>
                  </a:ext>
                </a:extLst>
              </p:cNvPr>
              <p:cNvSpPr>
                <a:spLocks noChangeArrowheads="1"/>
              </p:cNvSpPr>
              <p:nvPr/>
            </p:nvSpPr>
            <p:spPr bwMode="auto">
              <a:xfrm>
                <a:off x="271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24" name="Oval 2910">
                <a:extLst>
                  <a:ext uri="{FF2B5EF4-FFF2-40B4-BE49-F238E27FC236}">
                    <a16:creationId xmlns:a16="http://schemas.microsoft.com/office/drawing/2014/main" id="{A8C88345-BAA9-40F0-9D68-5F76D0896015}"/>
                  </a:ext>
                </a:extLst>
              </p:cNvPr>
              <p:cNvSpPr>
                <a:spLocks noChangeArrowheads="1"/>
              </p:cNvSpPr>
              <p:nvPr/>
            </p:nvSpPr>
            <p:spPr bwMode="auto">
              <a:xfrm>
                <a:off x="262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25" name="Oval 2911">
                <a:extLst>
                  <a:ext uri="{FF2B5EF4-FFF2-40B4-BE49-F238E27FC236}">
                    <a16:creationId xmlns:a16="http://schemas.microsoft.com/office/drawing/2014/main" id="{C732D858-7502-4B1B-861B-D120C69658E1}"/>
                  </a:ext>
                </a:extLst>
              </p:cNvPr>
              <p:cNvSpPr>
                <a:spLocks noChangeArrowheads="1"/>
              </p:cNvSpPr>
              <p:nvPr/>
            </p:nvSpPr>
            <p:spPr bwMode="auto">
              <a:xfrm>
                <a:off x="256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26" name="Oval 2912">
                <a:extLst>
                  <a:ext uri="{FF2B5EF4-FFF2-40B4-BE49-F238E27FC236}">
                    <a16:creationId xmlns:a16="http://schemas.microsoft.com/office/drawing/2014/main" id="{535E6ADC-0693-4A54-84EE-221CF57289A3}"/>
                  </a:ext>
                </a:extLst>
              </p:cNvPr>
              <p:cNvSpPr>
                <a:spLocks noChangeArrowheads="1"/>
              </p:cNvSpPr>
              <p:nvPr/>
            </p:nvSpPr>
            <p:spPr bwMode="auto">
              <a:xfrm>
                <a:off x="27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27" name="Oval 2913">
                <a:extLst>
                  <a:ext uri="{FF2B5EF4-FFF2-40B4-BE49-F238E27FC236}">
                    <a16:creationId xmlns:a16="http://schemas.microsoft.com/office/drawing/2014/main" id="{50817147-AACA-443A-959A-D2D60DFCB7CC}"/>
                  </a:ext>
                </a:extLst>
              </p:cNvPr>
              <p:cNvSpPr>
                <a:spLocks noChangeArrowheads="1"/>
              </p:cNvSpPr>
              <p:nvPr/>
            </p:nvSpPr>
            <p:spPr bwMode="auto">
              <a:xfrm>
                <a:off x="265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28" name="Oval 2914">
                <a:extLst>
                  <a:ext uri="{FF2B5EF4-FFF2-40B4-BE49-F238E27FC236}">
                    <a16:creationId xmlns:a16="http://schemas.microsoft.com/office/drawing/2014/main" id="{2090208E-56E0-46DB-ACA4-69158BB38135}"/>
                  </a:ext>
                </a:extLst>
              </p:cNvPr>
              <p:cNvSpPr>
                <a:spLocks noChangeArrowheads="1"/>
              </p:cNvSpPr>
              <p:nvPr/>
            </p:nvSpPr>
            <p:spPr bwMode="auto">
              <a:xfrm>
                <a:off x="25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29" name="Oval 2915">
                <a:extLst>
                  <a:ext uri="{FF2B5EF4-FFF2-40B4-BE49-F238E27FC236}">
                    <a16:creationId xmlns:a16="http://schemas.microsoft.com/office/drawing/2014/main" id="{0D6E099A-F618-44A1-9F4B-409F84D62998}"/>
                  </a:ext>
                </a:extLst>
              </p:cNvPr>
              <p:cNvSpPr>
                <a:spLocks noChangeArrowheads="1"/>
              </p:cNvSpPr>
              <p:nvPr/>
            </p:nvSpPr>
            <p:spPr bwMode="auto">
              <a:xfrm>
                <a:off x="2805"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30" name="Oval 2916">
                <a:extLst>
                  <a:ext uri="{FF2B5EF4-FFF2-40B4-BE49-F238E27FC236}">
                    <a16:creationId xmlns:a16="http://schemas.microsoft.com/office/drawing/2014/main" id="{894BEA7F-DA3E-4DB9-80BF-476E5E5250C2}"/>
                  </a:ext>
                </a:extLst>
              </p:cNvPr>
              <p:cNvSpPr>
                <a:spLocks noChangeArrowheads="1"/>
              </p:cNvSpPr>
              <p:nvPr/>
            </p:nvSpPr>
            <p:spPr bwMode="auto">
              <a:xfrm>
                <a:off x="307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31" name="Oval 2917">
                <a:extLst>
                  <a:ext uri="{FF2B5EF4-FFF2-40B4-BE49-F238E27FC236}">
                    <a16:creationId xmlns:a16="http://schemas.microsoft.com/office/drawing/2014/main" id="{0FBCA07F-9B02-4D36-95A6-5368964F8CB1}"/>
                  </a:ext>
                </a:extLst>
              </p:cNvPr>
              <p:cNvSpPr>
                <a:spLocks noChangeArrowheads="1"/>
              </p:cNvSpPr>
              <p:nvPr/>
            </p:nvSpPr>
            <p:spPr bwMode="auto">
              <a:xfrm>
                <a:off x="301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32" name="Oval 2918">
                <a:extLst>
                  <a:ext uri="{FF2B5EF4-FFF2-40B4-BE49-F238E27FC236}">
                    <a16:creationId xmlns:a16="http://schemas.microsoft.com/office/drawing/2014/main" id="{8F6D476F-64EB-48DD-9003-8F1B316ED36B}"/>
                  </a:ext>
                </a:extLst>
              </p:cNvPr>
              <p:cNvSpPr>
                <a:spLocks noChangeArrowheads="1"/>
              </p:cNvSpPr>
              <p:nvPr/>
            </p:nvSpPr>
            <p:spPr bwMode="auto">
              <a:xfrm>
                <a:off x="289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33" name="Oval 2919">
                <a:extLst>
                  <a:ext uri="{FF2B5EF4-FFF2-40B4-BE49-F238E27FC236}">
                    <a16:creationId xmlns:a16="http://schemas.microsoft.com/office/drawing/2014/main" id="{ACC2EE52-4360-4682-AD13-A7494D378DCE}"/>
                  </a:ext>
                </a:extLst>
              </p:cNvPr>
              <p:cNvSpPr>
                <a:spLocks noChangeArrowheads="1"/>
              </p:cNvSpPr>
              <p:nvPr/>
            </p:nvSpPr>
            <p:spPr bwMode="auto">
              <a:xfrm>
                <a:off x="274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34" name="Oval 2920">
                <a:extLst>
                  <a:ext uri="{FF2B5EF4-FFF2-40B4-BE49-F238E27FC236}">
                    <a16:creationId xmlns:a16="http://schemas.microsoft.com/office/drawing/2014/main" id="{75C4BBE8-A9AF-43CC-973C-735B9D0829B1}"/>
                  </a:ext>
                </a:extLst>
              </p:cNvPr>
              <p:cNvSpPr>
                <a:spLocks noChangeArrowheads="1"/>
              </p:cNvSpPr>
              <p:nvPr/>
            </p:nvSpPr>
            <p:spPr bwMode="auto">
              <a:xfrm>
                <a:off x="259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35" name="Oval 2921">
                <a:extLst>
                  <a:ext uri="{FF2B5EF4-FFF2-40B4-BE49-F238E27FC236}">
                    <a16:creationId xmlns:a16="http://schemas.microsoft.com/office/drawing/2014/main" id="{2A746822-631D-4130-8894-98F79E42EDC7}"/>
                  </a:ext>
                </a:extLst>
              </p:cNvPr>
              <p:cNvSpPr>
                <a:spLocks noChangeArrowheads="1"/>
              </p:cNvSpPr>
              <p:nvPr/>
            </p:nvSpPr>
            <p:spPr bwMode="auto">
              <a:xfrm>
                <a:off x="262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36" name="Oval 2922">
                <a:extLst>
                  <a:ext uri="{FF2B5EF4-FFF2-40B4-BE49-F238E27FC236}">
                    <a16:creationId xmlns:a16="http://schemas.microsoft.com/office/drawing/2014/main" id="{C17BD411-C804-430C-A5F2-DCA778BF2CDE}"/>
                  </a:ext>
                </a:extLst>
              </p:cNvPr>
              <p:cNvSpPr>
                <a:spLocks noChangeArrowheads="1"/>
              </p:cNvSpPr>
              <p:nvPr/>
            </p:nvSpPr>
            <p:spPr bwMode="auto">
              <a:xfrm>
                <a:off x="2955" y="3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37" name="Oval 2923">
                <a:extLst>
                  <a:ext uri="{FF2B5EF4-FFF2-40B4-BE49-F238E27FC236}">
                    <a16:creationId xmlns:a16="http://schemas.microsoft.com/office/drawing/2014/main" id="{18D317F2-221F-4EA0-8CFF-69AF281B0036}"/>
                  </a:ext>
                </a:extLst>
              </p:cNvPr>
              <p:cNvSpPr>
                <a:spLocks noChangeArrowheads="1"/>
              </p:cNvSpPr>
              <p:nvPr/>
            </p:nvSpPr>
            <p:spPr bwMode="auto">
              <a:xfrm>
                <a:off x="304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38" name="Oval 2924">
                <a:extLst>
                  <a:ext uri="{FF2B5EF4-FFF2-40B4-BE49-F238E27FC236}">
                    <a16:creationId xmlns:a16="http://schemas.microsoft.com/office/drawing/2014/main" id="{26ECF951-1BAF-44E9-BF23-3D2CEC96F415}"/>
                  </a:ext>
                </a:extLst>
              </p:cNvPr>
              <p:cNvSpPr>
                <a:spLocks noChangeArrowheads="1"/>
              </p:cNvSpPr>
              <p:nvPr/>
            </p:nvSpPr>
            <p:spPr bwMode="auto">
              <a:xfrm>
                <a:off x="286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39" name="Oval 2925">
                <a:extLst>
                  <a:ext uri="{FF2B5EF4-FFF2-40B4-BE49-F238E27FC236}">
                    <a16:creationId xmlns:a16="http://schemas.microsoft.com/office/drawing/2014/main" id="{C1F6BB94-005B-438F-B357-2E95398234FC}"/>
                  </a:ext>
                </a:extLst>
              </p:cNvPr>
              <p:cNvSpPr>
                <a:spLocks noChangeArrowheads="1"/>
              </p:cNvSpPr>
              <p:nvPr/>
            </p:nvSpPr>
            <p:spPr bwMode="auto">
              <a:xfrm>
                <a:off x="274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40" name="Oval 2926">
                <a:extLst>
                  <a:ext uri="{FF2B5EF4-FFF2-40B4-BE49-F238E27FC236}">
                    <a16:creationId xmlns:a16="http://schemas.microsoft.com/office/drawing/2014/main" id="{BBE0731B-3C00-4C74-833B-0D2DDC561704}"/>
                  </a:ext>
                </a:extLst>
              </p:cNvPr>
              <p:cNvSpPr>
                <a:spLocks noChangeArrowheads="1"/>
              </p:cNvSpPr>
              <p:nvPr/>
            </p:nvSpPr>
            <p:spPr bwMode="auto">
              <a:xfrm>
                <a:off x="283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41" name="Oval 2927">
                <a:extLst>
                  <a:ext uri="{FF2B5EF4-FFF2-40B4-BE49-F238E27FC236}">
                    <a16:creationId xmlns:a16="http://schemas.microsoft.com/office/drawing/2014/main" id="{535A6C73-ED50-4A66-9FFB-A3E57CA801D2}"/>
                  </a:ext>
                </a:extLst>
              </p:cNvPr>
              <p:cNvSpPr>
                <a:spLocks noChangeArrowheads="1"/>
              </p:cNvSpPr>
              <p:nvPr/>
            </p:nvSpPr>
            <p:spPr bwMode="auto">
              <a:xfrm>
                <a:off x="277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42" name="Oval 2928">
                <a:extLst>
                  <a:ext uri="{FF2B5EF4-FFF2-40B4-BE49-F238E27FC236}">
                    <a16:creationId xmlns:a16="http://schemas.microsoft.com/office/drawing/2014/main" id="{840B9700-1F9B-42BD-A0A4-10E75D9F4837}"/>
                  </a:ext>
                </a:extLst>
              </p:cNvPr>
              <p:cNvSpPr>
                <a:spLocks noChangeArrowheads="1"/>
              </p:cNvSpPr>
              <p:nvPr/>
            </p:nvSpPr>
            <p:spPr bwMode="auto">
              <a:xfrm>
                <a:off x="301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43" name="Oval 2929">
                <a:extLst>
                  <a:ext uri="{FF2B5EF4-FFF2-40B4-BE49-F238E27FC236}">
                    <a16:creationId xmlns:a16="http://schemas.microsoft.com/office/drawing/2014/main" id="{53C6F5C6-94F8-4AA3-AE62-853DDF18D3F5}"/>
                  </a:ext>
                </a:extLst>
              </p:cNvPr>
              <p:cNvSpPr>
                <a:spLocks noChangeArrowheads="1"/>
              </p:cNvSpPr>
              <p:nvPr/>
            </p:nvSpPr>
            <p:spPr bwMode="auto">
              <a:xfrm>
                <a:off x="3015"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44" name="Oval 2930">
                <a:extLst>
                  <a:ext uri="{FF2B5EF4-FFF2-40B4-BE49-F238E27FC236}">
                    <a16:creationId xmlns:a16="http://schemas.microsoft.com/office/drawing/2014/main" id="{6A64982B-7C98-41E0-AD56-7E1FD2370FAE}"/>
                  </a:ext>
                </a:extLst>
              </p:cNvPr>
              <p:cNvSpPr>
                <a:spLocks noChangeArrowheads="1"/>
              </p:cNvSpPr>
              <p:nvPr/>
            </p:nvSpPr>
            <p:spPr bwMode="auto">
              <a:xfrm>
                <a:off x="283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45" name="Oval 2931">
                <a:extLst>
                  <a:ext uri="{FF2B5EF4-FFF2-40B4-BE49-F238E27FC236}">
                    <a16:creationId xmlns:a16="http://schemas.microsoft.com/office/drawing/2014/main" id="{79D36256-7327-4F2F-B111-933374B3309D}"/>
                  </a:ext>
                </a:extLst>
              </p:cNvPr>
              <p:cNvSpPr>
                <a:spLocks noChangeArrowheads="1"/>
              </p:cNvSpPr>
              <p:nvPr/>
            </p:nvSpPr>
            <p:spPr bwMode="auto">
              <a:xfrm>
                <a:off x="274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46" name="Oval 2932">
                <a:extLst>
                  <a:ext uri="{FF2B5EF4-FFF2-40B4-BE49-F238E27FC236}">
                    <a16:creationId xmlns:a16="http://schemas.microsoft.com/office/drawing/2014/main" id="{03E053E1-C360-430F-BA76-F80A73514087}"/>
                  </a:ext>
                </a:extLst>
              </p:cNvPr>
              <p:cNvSpPr>
                <a:spLocks noChangeArrowheads="1"/>
              </p:cNvSpPr>
              <p:nvPr/>
            </p:nvSpPr>
            <p:spPr bwMode="auto">
              <a:xfrm>
                <a:off x="25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47" name="Oval 2933">
                <a:extLst>
                  <a:ext uri="{FF2B5EF4-FFF2-40B4-BE49-F238E27FC236}">
                    <a16:creationId xmlns:a16="http://schemas.microsoft.com/office/drawing/2014/main" id="{8E7833C2-5A08-4288-A9DA-15FEC03FA8F5}"/>
                  </a:ext>
                </a:extLst>
              </p:cNvPr>
              <p:cNvSpPr>
                <a:spLocks noChangeArrowheads="1"/>
              </p:cNvSpPr>
              <p:nvPr/>
            </p:nvSpPr>
            <p:spPr bwMode="auto">
              <a:xfrm>
                <a:off x="24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48" name="Oval 2934">
                <a:extLst>
                  <a:ext uri="{FF2B5EF4-FFF2-40B4-BE49-F238E27FC236}">
                    <a16:creationId xmlns:a16="http://schemas.microsoft.com/office/drawing/2014/main" id="{4A031C5D-7E47-407C-84FC-70D93AF0F7C6}"/>
                  </a:ext>
                </a:extLst>
              </p:cNvPr>
              <p:cNvSpPr>
                <a:spLocks noChangeArrowheads="1"/>
              </p:cNvSpPr>
              <p:nvPr/>
            </p:nvSpPr>
            <p:spPr bwMode="auto">
              <a:xfrm>
                <a:off x="238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49" name="Oval 2935">
                <a:extLst>
                  <a:ext uri="{FF2B5EF4-FFF2-40B4-BE49-F238E27FC236}">
                    <a16:creationId xmlns:a16="http://schemas.microsoft.com/office/drawing/2014/main" id="{7BDB65D5-DDEE-40F4-8A4B-8C84A0D5899F}"/>
                  </a:ext>
                </a:extLst>
              </p:cNvPr>
              <p:cNvSpPr>
                <a:spLocks noChangeArrowheads="1"/>
              </p:cNvSpPr>
              <p:nvPr/>
            </p:nvSpPr>
            <p:spPr bwMode="auto">
              <a:xfrm>
                <a:off x="256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50" name="Oval 2936">
                <a:extLst>
                  <a:ext uri="{FF2B5EF4-FFF2-40B4-BE49-F238E27FC236}">
                    <a16:creationId xmlns:a16="http://schemas.microsoft.com/office/drawing/2014/main" id="{5D9367E7-BC26-4345-B1E8-3CA42CF36A29}"/>
                  </a:ext>
                </a:extLst>
              </p:cNvPr>
              <p:cNvSpPr>
                <a:spLocks noChangeArrowheads="1"/>
              </p:cNvSpPr>
              <p:nvPr/>
            </p:nvSpPr>
            <p:spPr bwMode="auto">
              <a:xfrm>
                <a:off x="232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51" name="Oval 2937">
                <a:extLst>
                  <a:ext uri="{FF2B5EF4-FFF2-40B4-BE49-F238E27FC236}">
                    <a16:creationId xmlns:a16="http://schemas.microsoft.com/office/drawing/2014/main" id="{007F53EF-DC0B-4428-BB4E-95392C9BE2B4}"/>
                  </a:ext>
                </a:extLst>
              </p:cNvPr>
              <p:cNvSpPr>
                <a:spLocks noChangeArrowheads="1"/>
              </p:cNvSpPr>
              <p:nvPr/>
            </p:nvSpPr>
            <p:spPr bwMode="auto">
              <a:xfrm>
                <a:off x="250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52" name="Oval 2938">
                <a:extLst>
                  <a:ext uri="{FF2B5EF4-FFF2-40B4-BE49-F238E27FC236}">
                    <a16:creationId xmlns:a16="http://schemas.microsoft.com/office/drawing/2014/main" id="{CDFB961D-4604-4EC7-87F8-99EFCCC817C5}"/>
                  </a:ext>
                </a:extLst>
              </p:cNvPr>
              <p:cNvSpPr>
                <a:spLocks noChangeArrowheads="1"/>
              </p:cNvSpPr>
              <p:nvPr/>
            </p:nvSpPr>
            <p:spPr bwMode="auto">
              <a:xfrm>
                <a:off x="238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53" name="Oval 2939">
                <a:extLst>
                  <a:ext uri="{FF2B5EF4-FFF2-40B4-BE49-F238E27FC236}">
                    <a16:creationId xmlns:a16="http://schemas.microsoft.com/office/drawing/2014/main" id="{70C1AB44-7716-4A0E-B1C3-D6F4A863A340}"/>
                  </a:ext>
                </a:extLst>
              </p:cNvPr>
              <p:cNvSpPr>
                <a:spLocks noChangeArrowheads="1"/>
              </p:cNvSpPr>
              <p:nvPr/>
            </p:nvSpPr>
            <p:spPr bwMode="auto">
              <a:xfrm>
                <a:off x="244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54" name="Oval 2940">
                <a:extLst>
                  <a:ext uri="{FF2B5EF4-FFF2-40B4-BE49-F238E27FC236}">
                    <a16:creationId xmlns:a16="http://schemas.microsoft.com/office/drawing/2014/main" id="{E5F10C23-5914-4F5E-A55E-C592AD3940BC}"/>
                  </a:ext>
                </a:extLst>
              </p:cNvPr>
              <p:cNvSpPr>
                <a:spLocks noChangeArrowheads="1"/>
              </p:cNvSpPr>
              <p:nvPr/>
            </p:nvSpPr>
            <p:spPr bwMode="auto">
              <a:xfrm>
                <a:off x="250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55" name="Oval 2941">
                <a:extLst>
                  <a:ext uri="{FF2B5EF4-FFF2-40B4-BE49-F238E27FC236}">
                    <a16:creationId xmlns:a16="http://schemas.microsoft.com/office/drawing/2014/main" id="{E20BC217-B1F5-412E-8D28-0C32F6DA0845}"/>
                  </a:ext>
                </a:extLst>
              </p:cNvPr>
              <p:cNvSpPr>
                <a:spLocks noChangeArrowheads="1"/>
              </p:cNvSpPr>
              <p:nvPr/>
            </p:nvSpPr>
            <p:spPr bwMode="auto">
              <a:xfrm>
                <a:off x="256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56" name="Oval 2942">
                <a:extLst>
                  <a:ext uri="{FF2B5EF4-FFF2-40B4-BE49-F238E27FC236}">
                    <a16:creationId xmlns:a16="http://schemas.microsoft.com/office/drawing/2014/main" id="{6333250F-96ED-419D-847E-20A7B3AF5186}"/>
                  </a:ext>
                </a:extLst>
              </p:cNvPr>
              <p:cNvSpPr>
                <a:spLocks noChangeArrowheads="1"/>
              </p:cNvSpPr>
              <p:nvPr/>
            </p:nvSpPr>
            <p:spPr bwMode="auto">
              <a:xfrm>
                <a:off x="244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57" name="Oval 2943">
                <a:extLst>
                  <a:ext uri="{FF2B5EF4-FFF2-40B4-BE49-F238E27FC236}">
                    <a16:creationId xmlns:a16="http://schemas.microsoft.com/office/drawing/2014/main" id="{B84AE878-AE2E-4AC0-9A3B-D0A25724FC29}"/>
                  </a:ext>
                </a:extLst>
              </p:cNvPr>
              <p:cNvSpPr>
                <a:spLocks noChangeArrowheads="1"/>
              </p:cNvSpPr>
              <p:nvPr/>
            </p:nvSpPr>
            <p:spPr bwMode="auto">
              <a:xfrm>
                <a:off x="238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58" name="Oval 2944">
                <a:extLst>
                  <a:ext uri="{FF2B5EF4-FFF2-40B4-BE49-F238E27FC236}">
                    <a16:creationId xmlns:a16="http://schemas.microsoft.com/office/drawing/2014/main" id="{5B7350C0-B339-4137-A2F0-CB6AABA6AD17}"/>
                  </a:ext>
                </a:extLst>
              </p:cNvPr>
              <p:cNvSpPr>
                <a:spLocks noChangeArrowheads="1"/>
              </p:cNvSpPr>
              <p:nvPr/>
            </p:nvSpPr>
            <p:spPr bwMode="auto">
              <a:xfrm>
                <a:off x="238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59" name="Oval 2945">
                <a:extLst>
                  <a:ext uri="{FF2B5EF4-FFF2-40B4-BE49-F238E27FC236}">
                    <a16:creationId xmlns:a16="http://schemas.microsoft.com/office/drawing/2014/main" id="{B9335976-CB74-4EFC-8250-493FDB73A749}"/>
                  </a:ext>
                </a:extLst>
              </p:cNvPr>
              <p:cNvSpPr>
                <a:spLocks noChangeArrowheads="1"/>
              </p:cNvSpPr>
              <p:nvPr/>
            </p:nvSpPr>
            <p:spPr bwMode="auto">
              <a:xfrm>
                <a:off x="250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60" name="Oval 2946">
                <a:extLst>
                  <a:ext uri="{FF2B5EF4-FFF2-40B4-BE49-F238E27FC236}">
                    <a16:creationId xmlns:a16="http://schemas.microsoft.com/office/drawing/2014/main" id="{D400857F-BE3B-453D-B96E-DEC65F6296B6}"/>
                  </a:ext>
                </a:extLst>
              </p:cNvPr>
              <p:cNvSpPr>
                <a:spLocks noChangeArrowheads="1"/>
              </p:cNvSpPr>
              <p:nvPr/>
            </p:nvSpPr>
            <p:spPr bwMode="auto">
              <a:xfrm>
                <a:off x="232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61" name="Oval 2947">
                <a:extLst>
                  <a:ext uri="{FF2B5EF4-FFF2-40B4-BE49-F238E27FC236}">
                    <a16:creationId xmlns:a16="http://schemas.microsoft.com/office/drawing/2014/main" id="{BA5C0F6A-0D73-40EB-BD7E-62505D43951D}"/>
                  </a:ext>
                </a:extLst>
              </p:cNvPr>
              <p:cNvSpPr>
                <a:spLocks noChangeArrowheads="1"/>
              </p:cNvSpPr>
              <p:nvPr/>
            </p:nvSpPr>
            <p:spPr bwMode="auto">
              <a:xfrm>
                <a:off x="247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62" name="Oval 2948">
                <a:extLst>
                  <a:ext uri="{FF2B5EF4-FFF2-40B4-BE49-F238E27FC236}">
                    <a16:creationId xmlns:a16="http://schemas.microsoft.com/office/drawing/2014/main" id="{F5C5D7E9-CE23-4A3C-BC11-91D34AA0CE2E}"/>
                  </a:ext>
                </a:extLst>
              </p:cNvPr>
              <p:cNvSpPr>
                <a:spLocks noChangeArrowheads="1"/>
              </p:cNvSpPr>
              <p:nvPr/>
            </p:nvSpPr>
            <p:spPr bwMode="auto">
              <a:xfrm>
                <a:off x="244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63" name="Oval 2949">
                <a:extLst>
                  <a:ext uri="{FF2B5EF4-FFF2-40B4-BE49-F238E27FC236}">
                    <a16:creationId xmlns:a16="http://schemas.microsoft.com/office/drawing/2014/main" id="{813AD230-3CF8-4AAC-ADEB-5E35CA4D4041}"/>
                  </a:ext>
                </a:extLst>
              </p:cNvPr>
              <p:cNvSpPr>
                <a:spLocks noChangeArrowheads="1"/>
              </p:cNvSpPr>
              <p:nvPr/>
            </p:nvSpPr>
            <p:spPr bwMode="auto">
              <a:xfrm>
                <a:off x="223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64" name="Oval 2950">
                <a:extLst>
                  <a:ext uri="{FF2B5EF4-FFF2-40B4-BE49-F238E27FC236}">
                    <a16:creationId xmlns:a16="http://schemas.microsoft.com/office/drawing/2014/main" id="{33B76E41-F424-4556-B666-0514FE097572}"/>
                  </a:ext>
                </a:extLst>
              </p:cNvPr>
              <p:cNvSpPr>
                <a:spLocks noChangeArrowheads="1"/>
              </p:cNvSpPr>
              <p:nvPr/>
            </p:nvSpPr>
            <p:spPr bwMode="auto">
              <a:xfrm>
                <a:off x="223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65" name="Oval 2951">
                <a:extLst>
                  <a:ext uri="{FF2B5EF4-FFF2-40B4-BE49-F238E27FC236}">
                    <a16:creationId xmlns:a16="http://schemas.microsoft.com/office/drawing/2014/main" id="{A4C61ACB-9542-4924-8D33-EC1C86499294}"/>
                  </a:ext>
                </a:extLst>
              </p:cNvPr>
              <p:cNvSpPr>
                <a:spLocks noChangeArrowheads="1"/>
              </p:cNvSpPr>
              <p:nvPr/>
            </p:nvSpPr>
            <p:spPr bwMode="auto">
              <a:xfrm>
                <a:off x="235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66" name="Oval 2952">
                <a:extLst>
                  <a:ext uri="{FF2B5EF4-FFF2-40B4-BE49-F238E27FC236}">
                    <a16:creationId xmlns:a16="http://schemas.microsoft.com/office/drawing/2014/main" id="{B676065F-47B3-46E0-ABCA-462AF6C07EE9}"/>
                  </a:ext>
                </a:extLst>
              </p:cNvPr>
              <p:cNvSpPr>
                <a:spLocks noChangeArrowheads="1"/>
              </p:cNvSpPr>
              <p:nvPr/>
            </p:nvSpPr>
            <p:spPr bwMode="auto">
              <a:xfrm>
                <a:off x="244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67" name="Oval 2953">
                <a:extLst>
                  <a:ext uri="{FF2B5EF4-FFF2-40B4-BE49-F238E27FC236}">
                    <a16:creationId xmlns:a16="http://schemas.microsoft.com/office/drawing/2014/main" id="{2571D461-B79B-462E-AC2F-D30945DC8AD2}"/>
                  </a:ext>
                </a:extLst>
              </p:cNvPr>
              <p:cNvSpPr>
                <a:spLocks noChangeArrowheads="1"/>
              </p:cNvSpPr>
              <p:nvPr/>
            </p:nvSpPr>
            <p:spPr bwMode="auto">
              <a:xfrm>
                <a:off x="250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68" name="Oval 2954">
                <a:extLst>
                  <a:ext uri="{FF2B5EF4-FFF2-40B4-BE49-F238E27FC236}">
                    <a16:creationId xmlns:a16="http://schemas.microsoft.com/office/drawing/2014/main" id="{8FAEA4AC-2E0B-4E47-89B6-B8C44E1327AE}"/>
                  </a:ext>
                </a:extLst>
              </p:cNvPr>
              <p:cNvSpPr>
                <a:spLocks noChangeArrowheads="1"/>
              </p:cNvSpPr>
              <p:nvPr/>
            </p:nvSpPr>
            <p:spPr bwMode="auto">
              <a:xfrm>
                <a:off x="247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69" name="Oval 2955">
                <a:extLst>
                  <a:ext uri="{FF2B5EF4-FFF2-40B4-BE49-F238E27FC236}">
                    <a16:creationId xmlns:a16="http://schemas.microsoft.com/office/drawing/2014/main" id="{7AC81E8C-E769-444D-AEF1-EDBFFF6CB9C3}"/>
                  </a:ext>
                </a:extLst>
              </p:cNvPr>
              <p:cNvSpPr>
                <a:spLocks noChangeArrowheads="1"/>
              </p:cNvSpPr>
              <p:nvPr/>
            </p:nvSpPr>
            <p:spPr bwMode="auto">
              <a:xfrm>
                <a:off x="235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70" name="Oval 2956">
                <a:extLst>
                  <a:ext uri="{FF2B5EF4-FFF2-40B4-BE49-F238E27FC236}">
                    <a16:creationId xmlns:a16="http://schemas.microsoft.com/office/drawing/2014/main" id="{C6B4251C-221B-44C7-8B39-E80098A15FB7}"/>
                  </a:ext>
                </a:extLst>
              </p:cNvPr>
              <p:cNvSpPr>
                <a:spLocks noChangeArrowheads="1"/>
              </p:cNvSpPr>
              <p:nvPr/>
            </p:nvSpPr>
            <p:spPr bwMode="auto">
              <a:xfrm>
                <a:off x="229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71" name="Oval 2957">
                <a:extLst>
                  <a:ext uri="{FF2B5EF4-FFF2-40B4-BE49-F238E27FC236}">
                    <a16:creationId xmlns:a16="http://schemas.microsoft.com/office/drawing/2014/main" id="{01A4ABC1-C25C-49F1-916E-B453331004A5}"/>
                  </a:ext>
                </a:extLst>
              </p:cNvPr>
              <p:cNvSpPr>
                <a:spLocks noChangeArrowheads="1"/>
              </p:cNvSpPr>
              <p:nvPr/>
            </p:nvSpPr>
            <p:spPr bwMode="auto">
              <a:xfrm>
                <a:off x="223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72" name="Oval 2958">
                <a:extLst>
                  <a:ext uri="{FF2B5EF4-FFF2-40B4-BE49-F238E27FC236}">
                    <a16:creationId xmlns:a16="http://schemas.microsoft.com/office/drawing/2014/main" id="{EA6E6519-6688-4E57-8D67-A14514AC8DEE}"/>
                  </a:ext>
                </a:extLst>
              </p:cNvPr>
              <p:cNvSpPr>
                <a:spLocks noChangeArrowheads="1"/>
              </p:cNvSpPr>
              <p:nvPr/>
            </p:nvSpPr>
            <p:spPr bwMode="auto">
              <a:xfrm>
                <a:off x="223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73" name="Oval 2959">
                <a:extLst>
                  <a:ext uri="{FF2B5EF4-FFF2-40B4-BE49-F238E27FC236}">
                    <a16:creationId xmlns:a16="http://schemas.microsoft.com/office/drawing/2014/main" id="{521BC910-0DE7-40B0-8FE6-170ABC49F532}"/>
                  </a:ext>
                </a:extLst>
              </p:cNvPr>
              <p:cNvSpPr>
                <a:spLocks noChangeArrowheads="1"/>
              </p:cNvSpPr>
              <p:nvPr/>
            </p:nvSpPr>
            <p:spPr bwMode="auto">
              <a:xfrm>
                <a:off x="211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74" name="Oval 2960">
                <a:extLst>
                  <a:ext uri="{FF2B5EF4-FFF2-40B4-BE49-F238E27FC236}">
                    <a16:creationId xmlns:a16="http://schemas.microsoft.com/office/drawing/2014/main" id="{6634A09A-DE1D-49DF-9711-F0144F99D898}"/>
                  </a:ext>
                </a:extLst>
              </p:cNvPr>
              <p:cNvSpPr>
                <a:spLocks noChangeArrowheads="1"/>
              </p:cNvSpPr>
              <p:nvPr/>
            </p:nvSpPr>
            <p:spPr bwMode="auto">
              <a:xfrm>
                <a:off x="21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75" name="Oval 2961">
                <a:extLst>
                  <a:ext uri="{FF2B5EF4-FFF2-40B4-BE49-F238E27FC236}">
                    <a16:creationId xmlns:a16="http://schemas.microsoft.com/office/drawing/2014/main" id="{6F632774-FFB3-4F60-9898-2120EC58FBC6}"/>
                  </a:ext>
                </a:extLst>
              </p:cNvPr>
              <p:cNvSpPr>
                <a:spLocks noChangeArrowheads="1"/>
              </p:cNvSpPr>
              <p:nvPr/>
            </p:nvSpPr>
            <p:spPr bwMode="auto">
              <a:xfrm>
                <a:off x="238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76" name="Oval 2962">
                <a:extLst>
                  <a:ext uri="{FF2B5EF4-FFF2-40B4-BE49-F238E27FC236}">
                    <a16:creationId xmlns:a16="http://schemas.microsoft.com/office/drawing/2014/main" id="{F4F97578-29EB-41CD-A258-2FD82874C67F}"/>
                  </a:ext>
                </a:extLst>
              </p:cNvPr>
              <p:cNvSpPr>
                <a:spLocks noChangeArrowheads="1"/>
              </p:cNvSpPr>
              <p:nvPr/>
            </p:nvSpPr>
            <p:spPr bwMode="auto">
              <a:xfrm>
                <a:off x="238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77" name="Oval 2963">
                <a:extLst>
                  <a:ext uri="{FF2B5EF4-FFF2-40B4-BE49-F238E27FC236}">
                    <a16:creationId xmlns:a16="http://schemas.microsoft.com/office/drawing/2014/main" id="{4DEDD640-EAF3-48B4-B5F7-7DC0D745FA4E}"/>
                  </a:ext>
                </a:extLst>
              </p:cNvPr>
              <p:cNvSpPr>
                <a:spLocks noChangeArrowheads="1"/>
              </p:cNvSpPr>
              <p:nvPr/>
            </p:nvSpPr>
            <p:spPr bwMode="auto">
              <a:xfrm>
                <a:off x="226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78" name="Oval 2964">
                <a:extLst>
                  <a:ext uri="{FF2B5EF4-FFF2-40B4-BE49-F238E27FC236}">
                    <a16:creationId xmlns:a16="http://schemas.microsoft.com/office/drawing/2014/main" id="{EB8248D2-E166-43E6-8FD9-B4236E6CD339}"/>
                  </a:ext>
                </a:extLst>
              </p:cNvPr>
              <p:cNvSpPr>
                <a:spLocks noChangeArrowheads="1"/>
              </p:cNvSpPr>
              <p:nvPr/>
            </p:nvSpPr>
            <p:spPr bwMode="auto">
              <a:xfrm>
                <a:off x="2145"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79" name="Oval 2965">
                <a:extLst>
                  <a:ext uri="{FF2B5EF4-FFF2-40B4-BE49-F238E27FC236}">
                    <a16:creationId xmlns:a16="http://schemas.microsoft.com/office/drawing/2014/main" id="{D7CD4624-23E6-4422-9500-C7D8609780B1}"/>
                  </a:ext>
                </a:extLst>
              </p:cNvPr>
              <p:cNvSpPr>
                <a:spLocks noChangeArrowheads="1"/>
              </p:cNvSpPr>
              <p:nvPr/>
            </p:nvSpPr>
            <p:spPr bwMode="auto">
              <a:xfrm>
                <a:off x="2056" y="30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80" name="Oval 2966">
                <a:extLst>
                  <a:ext uri="{FF2B5EF4-FFF2-40B4-BE49-F238E27FC236}">
                    <a16:creationId xmlns:a16="http://schemas.microsoft.com/office/drawing/2014/main" id="{30E33389-6523-4C46-B7AD-A9A24F86851F}"/>
                  </a:ext>
                </a:extLst>
              </p:cNvPr>
              <p:cNvSpPr>
                <a:spLocks noChangeArrowheads="1"/>
              </p:cNvSpPr>
              <p:nvPr/>
            </p:nvSpPr>
            <p:spPr bwMode="auto">
              <a:xfrm>
                <a:off x="1966" y="28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81" name="Oval 2967">
                <a:extLst>
                  <a:ext uri="{FF2B5EF4-FFF2-40B4-BE49-F238E27FC236}">
                    <a16:creationId xmlns:a16="http://schemas.microsoft.com/office/drawing/2014/main" id="{0064FDFD-EAC5-48E5-9D7D-786E354F234E}"/>
                  </a:ext>
                </a:extLst>
              </p:cNvPr>
              <p:cNvSpPr>
                <a:spLocks noChangeArrowheads="1"/>
              </p:cNvSpPr>
              <p:nvPr/>
            </p:nvSpPr>
            <p:spPr bwMode="auto">
              <a:xfrm>
                <a:off x="1966"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82" name="Oval 2968">
                <a:extLst>
                  <a:ext uri="{FF2B5EF4-FFF2-40B4-BE49-F238E27FC236}">
                    <a16:creationId xmlns:a16="http://schemas.microsoft.com/office/drawing/2014/main" id="{AD63C13D-8244-4730-9AEF-D09AB12C5993}"/>
                  </a:ext>
                </a:extLst>
              </p:cNvPr>
              <p:cNvSpPr>
                <a:spLocks noChangeArrowheads="1"/>
              </p:cNvSpPr>
              <p:nvPr/>
            </p:nvSpPr>
            <p:spPr bwMode="auto">
              <a:xfrm>
                <a:off x="2056" y="264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83" name="Oval 2969">
                <a:extLst>
                  <a:ext uri="{FF2B5EF4-FFF2-40B4-BE49-F238E27FC236}">
                    <a16:creationId xmlns:a16="http://schemas.microsoft.com/office/drawing/2014/main" id="{63ED1D62-C1EB-444F-B56A-744B318AA98B}"/>
                  </a:ext>
                </a:extLst>
              </p:cNvPr>
              <p:cNvSpPr>
                <a:spLocks noChangeArrowheads="1"/>
              </p:cNvSpPr>
              <p:nvPr/>
            </p:nvSpPr>
            <p:spPr bwMode="auto">
              <a:xfrm>
                <a:off x="211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84" name="Oval 2970">
                <a:extLst>
                  <a:ext uri="{FF2B5EF4-FFF2-40B4-BE49-F238E27FC236}">
                    <a16:creationId xmlns:a16="http://schemas.microsoft.com/office/drawing/2014/main" id="{DAC9B837-6683-4BA6-9A76-9083498EC9B1}"/>
                  </a:ext>
                </a:extLst>
              </p:cNvPr>
              <p:cNvSpPr>
                <a:spLocks noChangeArrowheads="1"/>
              </p:cNvSpPr>
              <p:nvPr/>
            </p:nvSpPr>
            <p:spPr bwMode="auto">
              <a:xfrm>
                <a:off x="196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85" name="Oval 2971">
                <a:extLst>
                  <a:ext uri="{FF2B5EF4-FFF2-40B4-BE49-F238E27FC236}">
                    <a16:creationId xmlns:a16="http://schemas.microsoft.com/office/drawing/2014/main" id="{77CA008B-101A-4E6D-86F7-943E4CC96598}"/>
                  </a:ext>
                </a:extLst>
              </p:cNvPr>
              <p:cNvSpPr>
                <a:spLocks noChangeArrowheads="1"/>
              </p:cNvSpPr>
              <p:nvPr/>
            </p:nvSpPr>
            <p:spPr bwMode="auto">
              <a:xfrm>
                <a:off x="2056" y="24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86" name="Oval 2972">
                <a:extLst>
                  <a:ext uri="{FF2B5EF4-FFF2-40B4-BE49-F238E27FC236}">
                    <a16:creationId xmlns:a16="http://schemas.microsoft.com/office/drawing/2014/main" id="{6D7FD997-C98E-447E-82FC-40717CD450E5}"/>
                  </a:ext>
                </a:extLst>
              </p:cNvPr>
              <p:cNvSpPr>
                <a:spLocks noChangeArrowheads="1"/>
              </p:cNvSpPr>
              <p:nvPr/>
            </p:nvSpPr>
            <p:spPr bwMode="auto">
              <a:xfrm>
                <a:off x="21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87" name="Oval 2973">
                <a:extLst>
                  <a:ext uri="{FF2B5EF4-FFF2-40B4-BE49-F238E27FC236}">
                    <a16:creationId xmlns:a16="http://schemas.microsoft.com/office/drawing/2014/main" id="{68042273-2364-4557-B5C8-BD6E749548B4}"/>
                  </a:ext>
                </a:extLst>
              </p:cNvPr>
              <p:cNvSpPr>
                <a:spLocks noChangeArrowheads="1"/>
              </p:cNvSpPr>
              <p:nvPr/>
            </p:nvSpPr>
            <p:spPr bwMode="auto">
              <a:xfrm>
                <a:off x="196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88" name="Oval 2974">
                <a:extLst>
                  <a:ext uri="{FF2B5EF4-FFF2-40B4-BE49-F238E27FC236}">
                    <a16:creationId xmlns:a16="http://schemas.microsoft.com/office/drawing/2014/main" id="{D7790109-342F-4303-AF83-B5EC0B7C2F01}"/>
                  </a:ext>
                </a:extLst>
              </p:cNvPr>
              <p:cNvSpPr>
                <a:spLocks noChangeArrowheads="1"/>
              </p:cNvSpPr>
              <p:nvPr/>
            </p:nvSpPr>
            <p:spPr bwMode="auto">
              <a:xfrm>
                <a:off x="187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89" name="Oval 2975">
                <a:extLst>
                  <a:ext uri="{FF2B5EF4-FFF2-40B4-BE49-F238E27FC236}">
                    <a16:creationId xmlns:a16="http://schemas.microsoft.com/office/drawing/2014/main" id="{69044413-9060-4903-8568-2B735496DDA9}"/>
                  </a:ext>
                </a:extLst>
              </p:cNvPr>
              <p:cNvSpPr>
                <a:spLocks noChangeArrowheads="1"/>
              </p:cNvSpPr>
              <p:nvPr/>
            </p:nvSpPr>
            <p:spPr bwMode="auto">
              <a:xfrm>
                <a:off x="178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90" name="Oval 2976">
                <a:extLst>
                  <a:ext uri="{FF2B5EF4-FFF2-40B4-BE49-F238E27FC236}">
                    <a16:creationId xmlns:a16="http://schemas.microsoft.com/office/drawing/2014/main" id="{B5FC25B4-D4BF-41D9-833A-E4C6A78F6B64}"/>
                  </a:ext>
                </a:extLst>
              </p:cNvPr>
              <p:cNvSpPr>
                <a:spLocks noChangeArrowheads="1"/>
              </p:cNvSpPr>
              <p:nvPr/>
            </p:nvSpPr>
            <p:spPr bwMode="auto">
              <a:xfrm>
                <a:off x="1756"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91" name="Oval 2977">
                <a:extLst>
                  <a:ext uri="{FF2B5EF4-FFF2-40B4-BE49-F238E27FC236}">
                    <a16:creationId xmlns:a16="http://schemas.microsoft.com/office/drawing/2014/main" id="{B98E4AB9-BB3D-4133-93C2-88B1DEF3BAFC}"/>
                  </a:ext>
                </a:extLst>
              </p:cNvPr>
              <p:cNvSpPr>
                <a:spLocks noChangeArrowheads="1"/>
              </p:cNvSpPr>
              <p:nvPr/>
            </p:nvSpPr>
            <p:spPr bwMode="auto">
              <a:xfrm>
                <a:off x="187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92" name="Oval 2978">
                <a:extLst>
                  <a:ext uri="{FF2B5EF4-FFF2-40B4-BE49-F238E27FC236}">
                    <a16:creationId xmlns:a16="http://schemas.microsoft.com/office/drawing/2014/main" id="{2AEADBF4-552E-4CC2-AE01-1416E603AB43}"/>
                  </a:ext>
                </a:extLst>
              </p:cNvPr>
              <p:cNvSpPr>
                <a:spLocks noChangeArrowheads="1"/>
              </p:cNvSpPr>
              <p:nvPr/>
            </p:nvSpPr>
            <p:spPr bwMode="auto">
              <a:xfrm>
                <a:off x="1816"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93" name="Oval 2979">
                <a:extLst>
                  <a:ext uri="{FF2B5EF4-FFF2-40B4-BE49-F238E27FC236}">
                    <a16:creationId xmlns:a16="http://schemas.microsoft.com/office/drawing/2014/main" id="{92BBB966-8D1E-4979-8423-4FADDC597B13}"/>
                  </a:ext>
                </a:extLst>
              </p:cNvPr>
              <p:cNvSpPr>
                <a:spLocks noChangeArrowheads="1"/>
              </p:cNvSpPr>
              <p:nvPr/>
            </p:nvSpPr>
            <p:spPr bwMode="auto">
              <a:xfrm>
                <a:off x="18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94" name="Oval 2980">
                <a:extLst>
                  <a:ext uri="{FF2B5EF4-FFF2-40B4-BE49-F238E27FC236}">
                    <a16:creationId xmlns:a16="http://schemas.microsoft.com/office/drawing/2014/main" id="{016D6A60-5B45-43C8-B31C-D283E1B9364A}"/>
                  </a:ext>
                </a:extLst>
              </p:cNvPr>
              <p:cNvSpPr>
                <a:spLocks noChangeArrowheads="1"/>
              </p:cNvSpPr>
              <p:nvPr/>
            </p:nvSpPr>
            <p:spPr bwMode="auto">
              <a:xfrm>
                <a:off x="184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95" name="Oval 2981">
                <a:extLst>
                  <a:ext uri="{FF2B5EF4-FFF2-40B4-BE49-F238E27FC236}">
                    <a16:creationId xmlns:a16="http://schemas.microsoft.com/office/drawing/2014/main" id="{7749B50E-295A-49B4-A8C0-64EF0C5F22C6}"/>
                  </a:ext>
                </a:extLst>
              </p:cNvPr>
              <p:cNvSpPr>
                <a:spLocks noChangeArrowheads="1"/>
              </p:cNvSpPr>
              <p:nvPr/>
            </p:nvSpPr>
            <p:spPr bwMode="auto">
              <a:xfrm>
                <a:off x="229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96" name="Oval 2982">
                <a:extLst>
                  <a:ext uri="{FF2B5EF4-FFF2-40B4-BE49-F238E27FC236}">
                    <a16:creationId xmlns:a16="http://schemas.microsoft.com/office/drawing/2014/main" id="{AA003ED7-A514-4E68-9A77-4A9EF9B025A6}"/>
                  </a:ext>
                </a:extLst>
              </p:cNvPr>
              <p:cNvSpPr>
                <a:spLocks noChangeArrowheads="1"/>
              </p:cNvSpPr>
              <p:nvPr/>
            </p:nvSpPr>
            <p:spPr bwMode="auto">
              <a:xfrm>
                <a:off x="232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grpSp>
        <p:sp>
          <p:nvSpPr>
            <p:cNvPr id="12" name="Oval 2984">
              <a:extLst>
                <a:ext uri="{FF2B5EF4-FFF2-40B4-BE49-F238E27FC236}">
                  <a16:creationId xmlns:a16="http://schemas.microsoft.com/office/drawing/2014/main" id="{99CBCAC9-2774-40DE-A502-59A958BF43C0}"/>
                </a:ext>
              </a:extLst>
            </p:cNvPr>
            <p:cNvSpPr>
              <a:spLocks noChangeArrowheads="1"/>
            </p:cNvSpPr>
            <p:nvPr/>
          </p:nvSpPr>
          <p:spPr bwMode="auto">
            <a:xfrm>
              <a:off x="232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3" name="Oval 2985">
              <a:extLst>
                <a:ext uri="{FF2B5EF4-FFF2-40B4-BE49-F238E27FC236}">
                  <a16:creationId xmlns:a16="http://schemas.microsoft.com/office/drawing/2014/main" id="{9E709CD9-024E-4DDC-BB5F-5498137E54F3}"/>
                </a:ext>
              </a:extLst>
            </p:cNvPr>
            <p:cNvSpPr>
              <a:spLocks noChangeArrowheads="1"/>
            </p:cNvSpPr>
            <p:nvPr/>
          </p:nvSpPr>
          <p:spPr bwMode="auto">
            <a:xfrm>
              <a:off x="214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4" name="Oval 2986">
              <a:extLst>
                <a:ext uri="{FF2B5EF4-FFF2-40B4-BE49-F238E27FC236}">
                  <a16:creationId xmlns:a16="http://schemas.microsoft.com/office/drawing/2014/main" id="{AD13E149-AB86-44A1-9026-FDAC0C028055}"/>
                </a:ext>
              </a:extLst>
            </p:cNvPr>
            <p:cNvSpPr>
              <a:spLocks noChangeArrowheads="1"/>
            </p:cNvSpPr>
            <p:nvPr/>
          </p:nvSpPr>
          <p:spPr bwMode="auto">
            <a:xfrm>
              <a:off x="2026"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5" name="Oval 2987">
              <a:extLst>
                <a:ext uri="{FF2B5EF4-FFF2-40B4-BE49-F238E27FC236}">
                  <a16:creationId xmlns:a16="http://schemas.microsoft.com/office/drawing/2014/main" id="{EAF8A41B-863B-434C-952F-22A7EA2D5A11}"/>
                </a:ext>
              </a:extLst>
            </p:cNvPr>
            <p:cNvSpPr>
              <a:spLocks noChangeArrowheads="1"/>
            </p:cNvSpPr>
            <p:nvPr/>
          </p:nvSpPr>
          <p:spPr bwMode="auto">
            <a:xfrm>
              <a:off x="18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6" name="Oval 2988">
              <a:extLst>
                <a:ext uri="{FF2B5EF4-FFF2-40B4-BE49-F238E27FC236}">
                  <a16:creationId xmlns:a16="http://schemas.microsoft.com/office/drawing/2014/main" id="{FD49F3EF-342D-41B1-BBD2-C53F5E668F87}"/>
                </a:ext>
              </a:extLst>
            </p:cNvPr>
            <p:cNvSpPr>
              <a:spLocks noChangeArrowheads="1"/>
            </p:cNvSpPr>
            <p:nvPr/>
          </p:nvSpPr>
          <p:spPr bwMode="auto">
            <a:xfrm>
              <a:off x="2056" y="19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7" name="Oval 2989">
              <a:extLst>
                <a:ext uri="{FF2B5EF4-FFF2-40B4-BE49-F238E27FC236}">
                  <a16:creationId xmlns:a16="http://schemas.microsoft.com/office/drawing/2014/main" id="{3126D52C-3589-43C9-8DF9-E4E2A898A01C}"/>
                </a:ext>
              </a:extLst>
            </p:cNvPr>
            <p:cNvSpPr>
              <a:spLocks noChangeArrowheads="1"/>
            </p:cNvSpPr>
            <p:nvPr/>
          </p:nvSpPr>
          <p:spPr bwMode="auto">
            <a:xfrm>
              <a:off x="199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8" name="Oval 2990">
              <a:extLst>
                <a:ext uri="{FF2B5EF4-FFF2-40B4-BE49-F238E27FC236}">
                  <a16:creationId xmlns:a16="http://schemas.microsoft.com/office/drawing/2014/main" id="{9FFB40C4-5450-473E-A374-DC9871775D67}"/>
                </a:ext>
              </a:extLst>
            </p:cNvPr>
            <p:cNvSpPr>
              <a:spLocks noChangeArrowheads="1"/>
            </p:cNvSpPr>
            <p:nvPr/>
          </p:nvSpPr>
          <p:spPr bwMode="auto">
            <a:xfrm>
              <a:off x="21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9" name="Oval 2991">
              <a:extLst>
                <a:ext uri="{FF2B5EF4-FFF2-40B4-BE49-F238E27FC236}">
                  <a16:creationId xmlns:a16="http://schemas.microsoft.com/office/drawing/2014/main" id="{9DFA0572-DE38-43E2-8108-AD7660D0445E}"/>
                </a:ext>
              </a:extLst>
            </p:cNvPr>
            <p:cNvSpPr>
              <a:spLocks noChangeArrowheads="1"/>
            </p:cNvSpPr>
            <p:nvPr/>
          </p:nvSpPr>
          <p:spPr bwMode="auto">
            <a:xfrm>
              <a:off x="2145"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0" name="Oval 2992">
              <a:extLst>
                <a:ext uri="{FF2B5EF4-FFF2-40B4-BE49-F238E27FC236}">
                  <a16:creationId xmlns:a16="http://schemas.microsoft.com/office/drawing/2014/main" id="{DE01796A-DB78-4956-9FBC-A73AF33BA191}"/>
                </a:ext>
              </a:extLst>
            </p:cNvPr>
            <p:cNvSpPr>
              <a:spLocks noChangeArrowheads="1"/>
            </p:cNvSpPr>
            <p:nvPr/>
          </p:nvSpPr>
          <p:spPr bwMode="auto">
            <a:xfrm>
              <a:off x="220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1" name="Oval 2993">
              <a:extLst>
                <a:ext uri="{FF2B5EF4-FFF2-40B4-BE49-F238E27FC236}">
                  <a16:creationId xmlns:a16="http://schemas.microsoft.com/office/drawing/2014/main" id="{AFAB0371-545B-47AB-A2B7-44E7CC834703}"/>
                </a:ext>
              </a:extLst>
            </p:cNvPr>
            <p:cNvSpPr>
              <a:spLocks noChangeArrowheads="1"/>
            </p:cNvSpPr>
            <p:nvPr/>
          </p:nvSpPr>
          <p:spPr bwMode="auto">
            <a:xfrm>
              <a:off x="2086"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2" name="Oval 2994">
              <a:extLst>
                <a:ext uri="{FF2B5EF4-FFF2-40B4-BE49-F238E27FC236}">
                  <a16:creationId xmlns:a16="http://schemas.microsoft.com/office/drawing/2014/main" id="{94DF091A-633B-476B-9978-5F7AE36F569B}"/>
                </a:ext>
              </a:extLst>
            </p:cNvPr>
            <p:cNvSpPr>
              <a:spLocks noChangeArrowheads="1"/>
            </p:cNvSpPr>
            <p:nvPr/>
          </p:nvSpPr>
          <p:spPr bwMode="auto">
            <a:xfrm>
              <a:off x="2205"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3" name="Oval 2995">
              <a:extLst>
                <a:ext uri="{FF2B5EF4-FFF2-40B4-BE49-F238E27FC236}">
                  <a16:creationId xmlns:a16="http://schemas.microsoft.com/office/drawing/2014/main" id="{E7196DAB-02F5-4FD8-928E-B52B89743C6F}"/>
                </a:ext>
              </a:extLst>
            </p:cNvPr>
            <p:cNvSpPr>
              <a:spLocks noChangeArrowheads="1"/>
            </p:cNvSpPr>
            <p:nvPr/>
          </p:nvSpPr>
          <p:spPr bwMode="auto">
            <a:xfrm>
              <a:off x="21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4" name="Oval 2996">
              <a:extLst>
                <a:ext uri="{FF2B5EF4-FFF2-40B4-BE49-F238E27FC236}">
                  <a16:creationId xmlns:a16="http://schemas.microsoft.com/office/drawing/2014/main" id="{6E3F25B1-2DF1-4038-9FD9-1DA82C353CE6}"/>
                </a:ext>
              </a:extLst>
            </p:cNvPr>
            <p:cNvSpPr>
              <a:spLocks noChangeArrowheads="1"/>
            </p:cNvSpPr>
            <p:nvPr/>
          </p:nvSpPr>
          <p:spPr bwMode="auto">
            <a:xfrm>
              <a:off x="2026"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5" name="Oval 2997">
              <a:extLst>
                <a:ext uri="{FF2B5EF4-FFF2-40B4-BE49-F238E27FC236}">
                  <a16:creationId xmlns:a16="http://schemas.microsoft.com/office/drawing/2014/main" id="{76636D4A-4D94-4089-922C-C9F6E686FC84}"/>
                </a:ext>
              </a:extLst>
            </p:cNvPr>
            <p:cNvSpPr>
              <a:spLocks noChangeArrowheads="1"/>
            </p:cNvSpPr>
            <p:nvPr/>
          </p:nvSpPr>
          <p:spPr bwMode="auto">
            <a:xfrm>
              <a:off x="199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6" name="Oval 2998">
              <a:extLst>
                <a:ext uri="{FF2B5EF4-FFF2-40B4-BE49-F238E27FC236}">
                  <a16:creationId xmlns:a16="http://schemas.microsoft.com/office/drawing/2014/main" id="{A138E22E-848A-4FF4-B539-D94F1B06E700}"/>
                </a:ext>
              </a:extLst>
            </p:cNvPr>
            <p:cNvSpPr>
              <a:spLocks noChangeArrowheads="1"/>
            </p:cNvSpPr>
            <p:nvPr/>
          </p:nvSpPr>
          <p:spPr bwMode="auto">
            <a:xfrm>
              <a:off x="19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7" name="Oval 2999">
              <a:extLst>
                <a:ext uri="{FF2B5EF4-FFF2-40B4-BE49-F238E27FC236}">
                  <a16:creationId xmlns:a16="http://schemas.microsoft.com/office/drawing/2014/main" id="{DEF33E37-7B06-4D91-89FA-299004ECDA17}"/>
                </a:ext>
              </a:extLst>
            </p:cNvPr>
            <p:cNvSpPr>
              <a:spLocks noChangeArrowheads="1"/>
            </p:cNvSpPr>
            <p:nvPr/>
          </p:nvSpPr>
          <p:spPr bwMode="auto">
            <a:xfrm>
              <a:off x="190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8" name="Oval 3000">
              <a:extLst>
                <a:ext uri="{FF2B5EF4-FFF2-40B4-BE49-F238E27FC236}">
                  <a16:creationId xmlns:a16="http://schemas.microsoft.com/office/drawing/2014/main" id="{9BAFBE99-C452-420A-A565-4635732CB442}"/>
                </a:ext>
              </a:extLst>
            </p:cNvPr>
            <p:cNvSpPr>
              <a:spLocks noChangeArrowheads="1"/>
            </p:cNvSpPr>
            <p:nvPr/>
          </p:nvSpPr>
          <p:spPr bwMode="auto">
            <a:xfrm>
              <a:off x="2026"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9" name="Oval 3001">
              <a:extLst>
                <a:ext uri="{FF2B5EF4-FFF2-40B4-BE49-F238E27FC236}">
                  <a16:creationId xmlns:a16="http://schemas.microsoft.com/office/drawing/2014/main" id="{449B4914-FD5F-4DE8-8240-FD72348A6151}"/>
                </a:ext>
              </a:extLst>
            </p:cNvPr>
            <p:cNvSpPr>
              <a:spLocks noChangeArrowheads="1"/>
            </p:cNvSpPr>
            <p:nvPr/>
          </p:nvSpPr>
          <p:spPr bwMode="auto">
            <a:xfrm>
              <a:off x="1846"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0" name="Oval 3002">
              <a:extLst>
                <a:ext uri="{FF2B5EF4-FFF2-40B4-BE49-F238E27FC236}">
                  <a16:creationId xmlns:a16="http://schemas.microsoft.com/office/drawing/2014/main" id="{D801864C-F8E6-43B0-8F22-1AB2A362EECC}"/>
                </a:ext>
              </a:extLst>
            </p:cNvPr>
            <p:cNvSpPr>
              <a:spLocks noChangeArrowheads="1"/>
            </p:cNvSpPr>
            <p:nvPr/>
          </p:nvSpPr>
          <p:spPr bwMode="auto">
            <a:xfrm>
              <a:off x="157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1" name="Oval 3003">
              <a:extLst>
                <a:ext uri="{FF2B5EF4-FFF2-40B4-BE49-F238E27FC236}">
                  <a16:creationId xmlns:a16="http://schemas.microsoft.com/office/drawing/2014/main" id="{79C33C9E-1E15-4439-80D8-1C61908A838E}"/>
                </a:ext>
              </a:extLst>
            </p:cNvPr>
            <p:cNvSpPr>
              <a:spLocks noChangeArrowheads="1"/>
            </p:cNvSpPr>
            <p:nvPr/>
          </p:nvSpPr>
          <p:spPr bwMode="auto">
            <a:xfrm>
              <a:off x="154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2" name="Oval 3004">
              <a:extLst>
                <a:ext uri="{FF2B5EF4-FFF2-40B4-BE49-F238E27FC236}">
                  <a16:creationId xmlns:a16="http://schemas.microsoft.com/office/drawing/2014/main" id="{77C23087-B6B5-448E-82CB-08CB7043CFB2}"/>
                </a:ext>
              </a:extLst>
            </p:cNvPr>
            <p:cNvSpPr>
              <a:spLocks noChangeArrowheads="1"/>
            </p:cNvSpPr>
            <p:nvPr/>
          </p:nvSpPr>
          <p:spPr bwMode="auto">
            <a:xfrm>
              <a:off x="187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3" name="Oval 3005">
              <a:extLst>
                <a:ext uri="{FF2B5EF4-FFF2-40B4-BE49-F238E27FC236}">
                  <a16:creationId xmlns:a16="http://schemas.microsoft.com/office/drawing/2014/main" id="{5BA51177-2C58-4C95-BB74-D8D654562928}"/>
                </a:ext>
              </a:extLst>
            </p:cNvPr>
            <p:cNvSpPr>
              <a:spLocks noChangeArrowheads="1"/>
            </p:cNvSpPr>
            <p:nvPr/>
          </p:nvSpPr>
          <p:spPr bwMode="auto">
            <a:xfrm>
              <a:off x="19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4" name="Oval 3006">
              <a:extLst>
                <a:ext uri="{FF2B5EF4-FFF2-40B4-BE49-F238E27FC236}">
                  <a16:creationId xmlns:a16="http://schemas.microsoft.com/office/drawing/2014/main" id="{BE506AEE-A63F-4128-A1D1-91B6F139CED4}"/>
                </a:ext>
              </a:extLst>
            </p:cNvPr>
            <p:cNvSpPr>
              <a:spLocks noChangeArrowheads="1"/>
            </p:cNvSpPr>
            <p:nvPr/>
          </p:nvSpPr>
          <p:spPr bwMode="auto">
            <a:xfrm>
              <a:off x="226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5" name="Oval 3007">
              <a:extLst>
                <a:ext uri="{FF2B5EF4-FFF2-40B4-BE49-F238E27FC236}">
                  <a16:creationId xmlns:a16="http://schemas.microsoft.com/office/drawing/2014/main" id="{94A60A45-F086-4233-B065-81BC6DE94577}"/>
                </a:ext>
              </a:extLst>
            </p:cNvPr>
            <p:cNvSpPr>
              <a:spLocks noChangeArrowheads="1"/>
            </p:cNvSpPr>
            <p:nvPr/>
          </p:nvSpPr>
          <p:spPr bwMode="auto">
            <a:xfrm>
              <a:off x="223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6" name="Oval 3008">
              <a:extLst>
                <a:ext uri="{FF2B5EF4-FFF2-40B4-BE49-F238E27FC236}">
                  <a16:creationId xmlns:a16="http://schemas.microsoft.com/office/drawing/2014/main" id="{52600514-0E7E-439E-B921-750005A536FD}"/>
                </a:ext>
              </a:extLst>
            </p:cNvPr>
            <p:cNvSpPr>
              <a:spLocks noChangeArrowheads="1"/>
            </p:cNvSpPr>
            <p:nvPr/>
          </p:nvSpPr>
          <p:spPr bwMode="auto">
            <a:xfrm>
              <a:off x="223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7" name="Oval 3009">
              <a:extLst>
                <a:ext uri="{FF2B5EF4-FFF2-40B4-BE49-F238E27FC236}">
                  <a16:creationId xmlns:a16="http://schemas.microsoft.com/office/drawing/2014/main" id="{7F365928-12F9-4D5A-AA5E-AF6A9FF8B4C2}"/>
                </a:ext>
              </a:extLst>
            </p:cNvPr>
            <p:cNvSpPr>
              <a:spLocks noChangeArrowheads="1"/>
            </p:cNvSpPr>
            <p:nvPr/>
          </p:nvSpPr>
          <p:spPr bwMode="auto">
            <a:xfrm>
              <a:off x="241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8" name="Oval 3010">
              <a:extLst>
                <a:ext uri="{FF2B5EF4-FFF2-40B4-BE49-F238E27FC236}">
                  <a16:creationId xmlns:a16="http://schemas.microsoft.com/office/drawing/2014/main" id="{0B71736C-6C26-46EA-AC8D-0E077FED4218}"/>
                </a:ext>
              </a:extLst>
            </p:cNvPr>
            <p:cNvSpPr>
              <a:spLocks noChangeArrowheads="1"/>
            </p:cNvSpPr>
            <p:nvPr/>
          </p:nvSpPr>
          <p:spPr bwMode="auto">
            <a:xfrm>
              <a:off x="274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39" name="Oval 3011">
              <a:extLst>
                <a:ext uri="{FF2B5EF4-FFF2-40B4-BE49-F238E27FC236}">
                  <a16:creationId xmlns:a16="http://schemas.microsoft.com/office/drawing/2014/main" id="{7E4E8A59-32AD-4E02-B909-777A7C5E565E}"/>
                </a:ext>
              </a:extLst>
            </p:cNvPr>
            <p:cNvSpPr>
              <a:spLocks noChangeArrowheads="1"/>
            </p:cNvSpPr>
            <p:nvPr/>
          </p:nvSpPr>
          <p:spPr bwMode="auto">
            <a:xfrm>
              <a:off x="265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0" name="Oval 3012">
              <a:extLst>
                <a:ext uri="{FF2B5EF4-FFF2-40B4-BE49-F238E27FC236}">
                  <a16:creationId xmlns:a16="http://schemas.microsoft.com/office/drawing/2014/main" id="{95EEB6A0-8958-4AAA-A5EF-BDF4F36F96DB}"/>
                </a:ext>
              </a:extLst>
            </p:cNvPr>
            <p:cNvSpPr>
              <a:spLocks noChangeArrowheads="1"/>
            </p:cNvSpPr>
            <p:nvPr/>
          </p:nvSpPr>
          <p:spPr bwMode="auto">
            <a:xfrm>
              <a:off x="268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1" name="Oval 3013">
              <a:extLst>
                <a:ext uri="{FF2B5EF4-FFF2-40B4-BE49-F238E27FC236}">
                  <a16:creationId xmlns:a16="http://schemas.microsoft.com/office/drawing/2014/main" id="{552ED6B1-23BF-4956-90D5-5CBB3EACB002}"/>
                </a:ext>
              </a:extLst>
            </p:cNvPr>
            <p:cNvSpPr>
              <a:spLocks noChangeArrowheads="1"/>
            </p:cNvSpPr>
            <p:nvPr/>
          </p:nvSpPr>
          <p:spPr bwMode="auto">
            <a:xfrm>
              <a:off x="262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2" name="Oval 3014">
              <a:extLst>
                <a:ext uri="{FF2B5EF4-FFF2-40B4-BE49-F238E27FC236}">
                  <a16:creationId xmlns:a16="http://schemas.microsoft.com/office/drawing/2014/main" id="{F59576C2-90CC-44EA-9CC1-A9C8E5D71AE9}"/>
                </a:ext>
              </a:extLst>
            </p:cNvPr>
            <p:cNvSpPr>
              <a:spLocks noChangeArrowheads="1"/>
            </p:cNvSpPr>
            <p:nvPr/>
          </p:nvSpPr>
          <p:spPr bwMode="auto">
            <a:xfrm>
              <a:off x="262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3" name="Oval 3015">
              <a:extLst>
                <a:ext uri="{FF2B5EF4-FFF2-40B4-BE49-F238E27FC236}">
                  <a16:creationId xmlns:a16="http://schemas.microsoft.com/office/drawing/2014/main" id="{64D90D30-5F60-4870-99D0-F1444A3B47A9}"/>
                </a:ext>
              </a:extLst>
            </p:cNvPr>
            <p:cNvSpPr>
              <a:spLocks noChangeArrowheads="1"/>
            </p:cNvSpPr>
            <p:nvPr/>
          </p:nvSpPr>
          <p:spPr bwMode="auto">
            <a:xfrm>
              <a:off x="304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4" name="Oval 3016">
              <a:extLst>
                <a:ext uri="{FF2B5EF4-FFF2-40B4-BE49-F238E27FC236}">
                  <a16:creationId xmlns:a16="http://schemas.microsoft.com/office/drawing/2014/main" id="{48D7F783-3B2A-447A-9F64-528D21C0BC14}"/>
                </a:ext>
              </a:extLst>
            </p:cNvPr>
            <p:cNvSpPr>
              <a:spLocks noChangeArrowheads="1"/>
            </p:cNvSpPr>
            <p:nvPr/>
          </p:nvSpPr>
          <p:spPr bwMode="auto">
            <a:xfrm>
              <a:off x="343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5" name="Oval 3017">
              <a:extLst>
                <a:ext uri="{FF2B5EF4-FFF2-40B4-BE49-F238E27FC236}">
                  <a16:creationId xmlns:a16="http://schemas.microsoft.com/office/drawing/2014/main" id="{20F6BBD3-8578-40F4-9971-DC51A7EBA76E}"/>
                </a:ext>
              </a:extLst>
            </p:cNvPr>
            <p:cNvSpPr>
              <a:spLocks noChangeArrowheads="1"/>
            </p:cNvSpPr>
            <p:nvPr/>
          </p:nvSpPr>
          <p:spPr bwMode="auto">
            <a:xfrm>
              <a:off x="352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6" name="Oval 3018">
              <a:extLst>
                <a:ext uri="{FF2B5EF4-FFF2-40B4-BE49-F238E27FC236}">
                  <a16:creationId xmlns:a16="http://schemas.microsoft.com/office/drawing/2014/main" id="{CF1F0E6C-C604-41C3-9C66-69C1BBD06102}"/>
                </a:ext>
              </a:extLst>
            </p:cNvPr>
            <p:cNvSpPr>
              <a:spLocks noChangeArrowheads="1"/>
            </p:cNvSpPr>
            <p:nvPr/>
          </p:nvSpPr>
          <p:spPr bwMode="auto">
            <a:xfrm>
              <a:off x="352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7" name="Oval 3019">
              <a:extLst>
                <a:ext uri="{FF2B5EF4-FFF2-40B4-BE49-F238E27FC236}">
                  <a16:creationId xmlns:a16="http://schemas.microsoft.com/office/drawing/2014/main" id="{453EA479-857B-4596-8038-EA395E638F5C}"/>
                </a:ext>
              </a:extLst>
            </p:cNvPr>
            <p:cNvSpPr>
              <a:spLocks noChangeArrowheads="1"/>
            </p:cNvSpPr>
            <p:nvPr/>
          </p:nvSpPr>
          <p:spPr bwMode="auto">
            <a:xfrm>
              <a:off x="331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8" name="Oval 3020">
              <a:extLst>
                <a:ext uri="{FF2B5EF4-FFF2-40B4-BE49-F238E27FC236}">
                  <a16:creationId xmlns:a16="http://schemas.microsoft.com/office/drawing/2014/main" id="{F5A973BA-ACD6-4046-9D9B-FA218ABC1F46}"/>
                </a:ext>
              </a:extLst>
            </p:cNvPr>
            <p:cNvSpPr>
              <a:spLocks noChangeArrowheads="1"/>
            </p:cNvSpPr>
            <p:nvPr/>
          </p:nvSpPr>
          <p:spPr bwMode="auto">
            <a:xfrm>
              <a:off x="30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49" name="Oval 3021">
              <a:extLst>
                <a:ext uri="{FF2B5EF4-FFF2-40B4-BE49-F238E27FC236}">
                  <a16:creationId xmlns:a16="http://schemas.microsoft.com/office/drawing/2014/main" id="{F5AA153B-C2FF-47D2-944F-05332B1E7C30}"/>
                </a:ext>
              </a:extLst>
            </p:cNvPr>
            <p:cNvSpPr>
              <a:spLocks noChangeArrowheads="1"/>
            </p:cNvSpPr>
            <p:nvPr/>
          </p:nvSpPr>
          <p:spPr bwMode="auto">
            <a:xfrm>
              <a:off x="292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0" name="Oval 3022">
              <a:extLst>
                <a:ext uri="{FF2B5EF4-FFF2-40B4-BE49-F238E27FC236}">
                  <a16:creationId xmlns:a16="http://schemas.microsoft.com/office/drawing/2014/main" id="{147A33BD-27CB-4453-ABA6-7CD7BE0AE0CE}"/>
                </a:ext>
              </a:extLst>
            </p:cNvPr>
            <p:cNvSpPr>
              <a:spLocks noChangeArrowheads="1"/>
            </p:cNvSpPr>
            <p:nvPr/>
          </p:nvSpPr>
          <p:spPr bwMode="auto">
            <a:xfrm>
              <a:off x="298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1" name="Oval 3023">
              <a:extLst>
                <a:ext uri="{FF2B5EF4-FFF2-40B4-BE49-F238E27FC236}">
                  <a16:creationId xmlns:a16="http://schemas.microsoft.com/office/drawing/2014/main" id="{AE862B0E-326F-4736-9025-43D562471BC8}"/>
                </a:ext>
              </a:extLst>
            </p:cNvPr>
            <p:cNvSpPr>
              <a:spLocks noChangeArrowheads="1"/>
            </p:cNvSpPr>
            <p:nvPr/>
          </p:nvSpPr>
          <p:spPr bwMode="auto">
            <a:xfrm>
              <a:off x="292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2" name="Oval 3024">
              <a:extLst>
                <a:ext uri="{FF2B5EF4-FFF2-40B4-BE49-F238E27FC236}">
                  <a16:creationId xmlns:a16="http://schemas.microsoft.com/office/drawing/2014/main" id="{22046606-DBFD-4E78-A226-10B46AB93928}"/>
                </a:ext>
              </a:extLst>
            </p:cNvPr>
            <p:cNvSpPr>
              <a:spLocks noChangeArrowheads="1"/>
            </p:cNvSpPr>
            <p:nvPr/>
          </p:nvSpPr>
          <p:spPr bwMode="auto">
            <a:xfrm>
              <a:off x="328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3" name="Oval 3025">
              <a:extLst>
                <a:ext uri="{FF2B5EF4-FFF2-40B4-BE49-F238E27FC236}">
                  <a16:creationId xmlns:a16="http://schemas.microsoft.com/office/drawing/2014/main" id="{7337236F-18CA-4EA0-B01A-2269964084A2}"/>
                </a:ext>
              </a:extLst>
            </p:cNvPr>
            <p:cNvSpPr>
              <a:spLocks noChangeArrowheads="1"/>
            </p:cNvSpPr>
            <p:nvPr/>
          </p:nvSpPr>
          <p:spPr bwMode="auto">
            <a:xfrm>
              <a:off x="3255"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4" name="Oval 3026">
              <a:extLst>
                <a:ext uri="{FF2B5EF4-FFF2-40B4-BE49-F238E27FC236}">
                  <a16:creationId xmlns:a16="http://schemas.microsoft.com/office/drawing/2014/main" id="{379A36AF-B7BD-4F11-9368-32F5BE89E514}"/>
                </a:ext>
              </a:extLst>
            </p:cNvPr>
            <p:cNvSpPr>
              <a:spLocks noChangeArrowheads="1"/>
            </p:cNvSpPr>
            <p:nvPr/>
          </p:nvSpPr>
          <p:spPr bwMode="auto">
            <a:xfrm>
              <a:off x="340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5" name="Oval 3027">
              <a:extLst>
                <a:ext uri="{FF2B5EF4-FFF2-40B4-BE49-F238E27FC236}">
                  <a16:creationId xmlns:a16="http://schemas.microsoft.com/office/drawing/2014/main" id="{50440C4C-95F6-443C-ACD8-C6A49AC5E837}"/>
                </a:ext>
              </a:extLst>
            </p:cNvPr>
            <p:cNvSpPr>
              <a:spLocks noChangeArrowheads="1"/>
            </p:cNvSpPr>
            <p:nvPr/>
          </p:nvSpPr>
          <p:spPr bwMode="auto">
            <a:xfrm>
              <a:off x="322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6" name="Oval 3028">
              <a:extLst>
                <a:ext uri="{FF2B5EF4-FFF2-40B4-BE49-F238E27FC236}">
                  <a16:creationId xmlns:a16="http://schemas.microsoft.com/office/drawing/2014/main" id="{21A9F44F-A9D9-49B3-935A-C413AE9E5A42}"/>
                </a:ext>
              </a:extLst>
            </p:cNvPr>
            <p:cNvSpPr>
              <a:spLocks noChangeArrowheads="1"/>
            </p:cNvSpPr>
            <p:nvPr/>
          </p:nvSpPr>
          <p:spPr bwMode="auto">
            <a:xfrm>
              <a:off x="316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7" name="Oval 3029">
              <a:extLst>
                <a:ext uri="{FF2B5EF4-FFF2-40B4-BE49-F238E27FC236}">
                  <a16:creationId xmlns:a16="http://schemas.microsoft.com/office/drawing/2014/main" id="{8E47F487-DEF4-4FE8-99F0-8F8734F48F46}"/>
                </a:ext>
              </a:extLst>
            </p:cNvPr>
            <p:cNvSpPr>
              <a:spLocks noChangeArrowheads="1"/>
            </p:cNvSpPr>
            <p:nvPr/>
          </p:nvSpPr>
          <p:spPr bwMode="auto">
            <a:xfrm>
              <a:off x="31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8" name="Oval 3030">
              <a:extLst>
                <a:ext uri="{FF2B5EF4-FFF2-40B4-BE49-F238E27FC236}">
                  <a16:creationId xmlns:a16="http://schemas.microsoft.com/office/drawing/2014/main" id="{084338F5-A0D9-4BCE-BE5C-05F1A86D6D3F}"/>
                </a:ext>
              </a:extLst>
            </p:cNvPr>
            <p:cNvSpPr>
              <a:spLocks noChangeArrowheads="1"/>
            </p:cNvSpPr>
            <p:nvPr/>
          </p:nvSpPr>
          <p:spPr bwMode="auto">
            <a:xfrm>
              <a:off x="394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9" name="Oval 3031">
              <a:extLst>
                <a:ext uri="{FF2B5EF4-FFF2-40B4-BE49-F238E27FC236}">
                  <a16:creationId xmlns:a16="http://schemas.microsoft.com/office/drawing/2014/main" id="{C669E382-14D9-42DF-BE0C-A32FF8C633F8}"/>
                </a:ext>
              </a:extLst>
            </p:cNvPr>
            <p:cNvSpPr>
              <a:spLocks noChangeArrowheads="1"/>
            </p:cNvSpPr>
            <p:nvPr/>
          </p:nvSpPr>
          <p:spPr bwMode="auto">
            <a:xfrm>
              <a:off x="3914"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0" name="Oval 3032">
              <a:extLst>
                <a:ext uri="{FF2B5EF4-FFF2-40B4-BE49-F238E27FC236}">
                  <a16:creationId xmlns:a16="http://schemas.microsoft.com/office/drawing/2014/main" id="{C3D58DB7-A21E-4769-ADBE-1F9544CADFC1}"/>
                </a:ext>
              </a:extLst>
            </p:cNvPr>
            <p:cNvSpPr>
              <a:spLocks noChangeArrowheads="1"/>
            </p:cNvSpPr>
            <p:nvPr/>
          </p:nvSpPr>
          <p:spPr bwMode="auto">
            <a:xfrm>
              <a:off x="403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1" name="Oval 3033">
              <a:extLst>
                <a:ext uri="{FF2B5EF4-FFF2-40B4-BE49-F238E27FC236}">
                  <a16:creationId xmlns:a16="http://schemas.microsoft.com/office/drawing/2014/main" id="{D90EC7B9-3FAD-4E89-8A33-8C002A501260}"/>
                </a:ext>
              </a:extLst>
            </p:cNvPr>
            <p:cNvSpPr>
              <a:spLocks noChangeArrowheads="1"/>
            </p:cNvSpPr>
            <p:nvPr/>
          </p:nvSpPr>
          <p:spPr bwMode="auto">
            <a:xfrm>
              <a:off x="3914"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2" name="Oval 3034">
              <a:extLst>
                <a:ext uri="{FF2B5EF4-FFF2-40B4-BE49-F238E27FC236}">
                  <a16:creationId xmlns:a16="http://schemas.microsoft.com/office/drawing/2014/main" id="{1B5CBEB9-D723-4829-9044-DEC6573A7E4D}"/>
                </a:ext>
              </a:extLst>
            </p:cNvPr>
            <p:cNvSpPr>
              <a:spLocks noChangeArrowheads="1"/>
            </p:cNvSpPr>
            <p:nvPr/>
          </p:nvSpPr>
          <p:spPr bwMode="auto">
            <a:xfrm>
              <a:off x="400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3" name="Oval 3035">
              <a:extLst>
                <a:ext uri="{FF2B5EF4-FFF2-40B4-BE49-F238E27FC236}">
                  <a16:creationId xmlns:a16="http://schemas.microsoft.com/office/drawing/2014/main" id="{BF08AC09-AFFC-46CD-A7B5-9CB0CCCFB704}"/>
                </a:ext>
              </a:extLst>
            </p:cNvPr>
            <p:cNvSpPr>
              <a:spLocks noChangeArrowheads="1"/>
            </p:cNvSpPr>
            <p:nvPr/>
          </p:nvSpPr>
          <p:spPr bwMode="auto">
            <a:xfrm>
              <a:off x="388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4" name="Oval 3036">
              <a:extLst>
                <a:ext uri="{FF2B5EF4-FFF2-40B4-BE49-F238E27FC236}">
                  <a16:creationId xmlns:a16="http://schemas.microsoft.com/office/drawing/2014/main" id="{9135BF76-E1D0-4AD2-AF2F-799B04CA71D0}"/>
                </a:ext>
              </a:extLst>
            </p:cNvPr>
            <p:cNvSpPr>
              <a:spLocks noChangeArrowheads="1"/>
            </p:cNvSpPr>
            <p:nvPr/>
          </p:nvSpPr>
          <p:spPr bwMode="auto">
            <a:xfrm>
              <a:off x="367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5" name="Oval 3037">
              <a:extLst>
                <a:ext uri="{FF2B5EF4-FFF2-40B4-BE49-F238E27FC236}">
                  <a16:creationId xmlns:a16="http://schemas.microsoft.com/office/drawing/2014/main" id="{089A142E-FF81-44CF-897F-2DB73B0687F8}"/>
                </a:ext>
              </a:extLst>
            </p:cNvPr>
            <p:cNvSpPr>
              <a:spLocks noChangeArrowheads="1"/>
            </p:cNvSpPr>
            <p:nvPr/>
          </p:nvSpPr>
          <p:spPr bwMode="auto">
            <a:xfrm>
              <a:off x="364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6" name="Oval 3038">
              <a:extLst>
                <a:ext uri="{FF2B5EF4-FFF2-40B4-BE49-F238E27FC236}">
                  <a16:creationId xmlns:a16="http://schemas.microsoft.com/office/drawing/2014/main" id="{D00F2122-9229-4947-9F5D-60E14A4B4F07}"/>
                </a:ext>
              </a:extLst>
            </p:cNvPr>
            <p:cNvSpPr>
              <a:spLocks noChangeArrowheads="1"/>
            </p:cNvSpPr>
            <p:nvPr/>
          </p:nvSpPr>
          <p:spPr bwMode="auto">
            <a:xfrm>
              <a:off x="364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7" name="Oval 3039">
              <a:extLst>
                <a:ext uri="{FF2B5EF4-FFF2-40B4-BE49-F238E27FC236}">
                  <a16:creationId xmlns:a16="http://schemas.microsoft.com/office/drawing/2014/main" id="{B2517A11-BECA-452D-B948-DA785519C1ED}"/>
                </a:ext>
              </a:extLst>
            </p:cNvPr>
            <p:cNvSpPr>
              <a:spLocks noChangeArrowheads="1"/>
            </p:cNvSpPr>
            <p:nvPr/>
          </p:nvSpPr>
          <p:spPr bwMode="auto">
            <a:xfrm>
              <a:off x="394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8" name="Oval 3040">
              <a:extLst>
                <a:ext uri="{FF2B5EF4-FFF2-40B4-BE49-F238E27FC236}">
                  <a16:creationId xmlns:a16="http://schemas.microsoft.com/office/drawing/2014/main" id="{78C3E46A-ABAF-4AC6-B681-949778495FE7}"/>
                </a:ext>
              </a:extLst>
            </p:cNvPr>
            <p:cNvSpPr>
              <a:spLocks noChangeArrowheads="1"/>
            </p:cNvSpPr>
            <p:nvPr/>
          </p:nvSpPr>
          <p:spPr bwMode="auto">
            <a:xfrm>
              <a:off x="3824"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69" name="Oval 3041">
              <a:extLst>
                <a:ext uri="{FF2B5EF4-FFF2-40B4-BE49-F238E27FC236}">
                  <a16:creationId xmlns:a16="http://schemas.microsoft.com/office/drawing/2014/main" id="{4579F27F-87A1-4A75-9337-1A157262445A}"/>
                </a:ext>
              </a:extLst>
            </p:cNvPr>
            <p:cNvSpPr>
              <a:spLocks noChangeArrowheads="1"/>
            </p:cNvSpPr>
            <p:nvPr/>
          </p:nvSpPr>
          <p:spPr bwMode="auto">
            <a:xfrm>
              <a:off x="391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0" name="Oval 3042">
              <a:extLst>
                <a:ext uri="{FF2B5EF4-FFF2-40B4-BE49-F238E27FC236}">
                  <a16:creationId xmlns:a16="http://schemas.microsoft.com/office/drawing/2014/main" id="{229F1060-C4C4-484C-B9E1-4B1E9966E377}"/>
                </a:ext>
              </a:extLst>
            </p:cNvPr>
            <p:cNvSpPr>
              <a:spLocks noChangeArrowheads="1"/>
            </p:cNvSpPr>
            <p:nvPr/>
          </p:nvSpPr>
          <p:spPr bwMode="auto">
            <a:xfrm>
              <a:off x="376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1" name="Oval 3043">
              <a:extLst>
                <a:ext uri="{FF2B5EF4-FFF2-40B4-BE49-F238E27FC236}">
                  <a16:creationId xmlns:a16="http://schemas.microsoft.com/office/drawing/2014/main" id="{D56BD8DA-F2BF-4F22-8CA9-76033134E293}"/>
                </a:ext>
              </a:extLst>
            </p:cNvPr>
            <p:cNvSpPr>
              <a:spLocks noChangeArrowheads="1"/>
            </p:cNvSpPr>
            <p:nvPr/>
          </p:nvSpPr>
          <p:spPr bwMode="auto">
            <a:xfrm>
              <a:off x="403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2" name="Oval 3044">
              <a:extLst>
                <a:ext uri="{FF2B5EF4-FFF2-40B4-BE49-F238E27FC236}">
                  <a16:creationId xmlns:a16="http://schemas.microsoft.com/office/drawing/2014/main" id="{81F5D780-6216-4C4C-A33A-E44E467D5807}"/>
                </a:ext>
              </a:extLst>
            </p:cNvPr>
            <p:cNvSpPr>
              <a:spLocks noChangeArrowheads="1"/>
            </p:cNvSpPr>
            <p:nvPr/>
          </p:nvSpPr>
          <p:spPr bwMode="auto">
            <a:xfrm>
              <a:off x="39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3" name="Oval 3045">
              <a:extLst>
                <a:ext uri="{FF2B5EF4-FFF2-40B4-BE49-F238E27FC236}">
                  <a16:creationId xmlns:a16="http://schemas.microsoft.com/office/drawing/2014/main" id="{875E8225-2303-41E4-851A-B223EFF4A5BA}"/>
                </a:ext>
              </a:extLst>
            </p:cNvPr>
            <p:cNvSpPr>
              <a:spLocks noChangeArrowheads="1"/>
            </p:cNvSpPr>
            <p:nvPr/>
          </p:nvSpPr>
          <p:spPr bwMode="auto">
            <a:xfrm>
              <a:off x="3794"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4" name="Oval 3046">
              <a:extLst>
                <a:ext uri="{FF2B5EF4-FFF2-40B4-BE49-F238E27FC236}">
                  <a16:creationId xmlns:a16="http://schemas.microsoft.com/office/drawing/2014/main" id="{E2AD4366-3206-40D4-BF61-E48DDCEDB174}"/>
                </a:ext>
              </a:extLst>
            </p:cNvPr>
            <p:cNvSpPr>
              <a:spLocks noChangeArrowheads="1"/>
            </p:cNvSpPr>
            <p:nvPr/>
          </p:nvSpPr>
          <p:spPr bwMode="auto">
            <a:xfrm>
              <a:off x="376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5" name="Oval 3047">
              <a:extLst>
                <a:ext uri="{FF2B5EF4-FFF2-40B4-BE49-F238E27FC236}">
                  <a16:creationId xmlns:a16="http://schemas.microsoft.com/office/drawing/2014/main" id="{578F0E4F-962E-4B58-9E10-3A0490C23769}"/>
                </a:ext>
              </a:extLst>
            </p:cNvPr>
            <p:cNvSpPr>
              <a:spLocks noChangeArrowheads="1"/>
            </p:cNvSpPr>
            <p:nvPr/>
          </p:nvSpPr>
          <p:spPr bwMode="auto">
            <a:xfrm>
              <a:off x="367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6" name="Oval 3048">
              <a:extLst>
                <a:ext uri="{FF2B5EF4-FFF2-40B4-BE49-F238E27FC236}">
                  <a16:creationId xmlns:a16="http://schemas.microsoft.com/office/drawing/2014/main" id="{B4ABEC1B-B1DD-4440-A668-0B1FC10E2CD0}"/>
                </a:ext>
              </a:extLst>
            </p:cNvPr>
            <p:cNvSpPr>
              <a:spLocks noChangeArrowheads="1"/>
            </p:cNvSpPr>
            <p:nvPr/>
          </p:nvSpPr>
          <p:spPr bwMode="auto">
            <a:xfrm>
              <a:off x="355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7" name="Oval 3049">
              <a:extLst>
                <a:ext uri="{FF2B5EF4-FFF2-40B4-BE49-F238E27FC236}">
                  <a16:creationId xmlns:a16="http://schemas.microsoft.com/office/drawing/2014/main" id="{2938FA4E-078B-4AEE-A260-98AFB3E72A31}"/>
                </a:ext>
              </a:extLst>
            </p:cNvPr>
            <p:cNvSpPr>
              <a:spLocks noChangeArrowheads="1"/>
            </p:cNvSpPr>
            <p:nvPr/>
          </p:nvSpPr>
          <p:spPr bwMode="auto">
            <a:xfrm>
              <a:off x="34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8" name="Oval 3050">
              <a:extLst>
                <a:ext uri="{FF2B5EF4-FFF2-40B4-BE49-F238E27FC236}">
                  <a16:creationId xmlns:a16="http://schemas.microsoft.com/office/drawing/2014/main" id="{9EA70D2F-1539-42C7-97E4-2305317049EF}"/>
                </a:ext>
              </a:extLst>
            </p:cNvPr>
            <p:cNvSpPr>
              <a:spLocks noChangeArrowheads="1"/>
            </p:cNvSpPr>
            <p:nvPr/>
          </p:nvSpPr>
          <p:spPr bwMode="auto">
            <a:xfrm>
              <a:off x="349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79" name="Oval 3051">
              <a:extLst>
                <a:ext uri="{FF2B5EF4-FFF2-40B4-BE49-F238E27FC236}">
                  <a16:creationId xmlns:a16="http://schemas.microsoft.com/office/drawing/2014/main" id="{4A23932E-E13B-4E23-8538-075B999F8992}"/>
                </a:ext>
              </a:extLst>
            </p:cNvPr>
            <p:cNvSpPr>
              <a:spLocks noChangeArrowheads="1"/>
            </p:cNvSpPr>
            <p:nvPr/>
          </p:nvSpPr>
          <p:spPr bwMode="auto">
            <a:xfrm>
              <a:off x="3285" y="18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80" name="Oval 3052">
              <a:extLst>
                <a:ext uri="{FF2B5EF4-FFF2-40B4-BE49-F238E27FC236}">
                  <a16:creationId xmlns:a16="http://schemas.microsoft.com/office/drawing/2014/main" id="{B2682926-16CA-44C0-8699-440FD91D2D1D}"/>
                </a:ext>
              </a:extLst>
            </p:cNvPr>
            <p:cNvSpPr>
              <a:spLocks noChangeArrowheads="1"/>
            </p:cNvSpPr>
            <p:nvPr/>
          </p:nvSpPr>
          <p:spPr bwMode="auto">
            <a:xfrm>
              <a:off x="331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81" name="Oval 3053">
              <a:extLst>
                <a:ext uri="{FF2B5EF4-FFF2-40B4-BE49-F238E27FC236}">
                  <a16:creationId xmlns:a16="http://schemas.microsoft.com/office/drawing/2014/main" id="{983970F0-B66C-4F0B-8688-F60FCB34ADD6}"/>
                </a:ext>
              </a:extLst>
            </p:cNvPr>
            <p:cNvSpPr>
              <a:spLocks noChangeArrowheads="1"/>
            </p:cNvSpPr>
            <p:nvPr/>
          </p:nvSpPr>
          <p:spPr bwMode="auto">
            <a:xfrm>
              <a:off x="32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82" name="Oval 3054">
              <a:extLst>
                <a:ext uri="{FF2B5EF4-FFF2-40B4-BE49-F238E27FC236}">
                  <a16:creationId xmlns:a16="http://schemas.microsoft.com/office/drawing/2014/main" id="{76460C34-92A8-4C1E-A902-12476B5E6DD4}"/>
                </a:ext>
              </a:extLst>
            </p:cNvPr>
            <p:cNvSpPr>
              <a:spLocks noChangeArrowheads="1"/>
            </p:cNvSpPr>
            <p:nvPr/>
          </p:nvSpPr>
          <p:spPr bwMode="auto">
            <a:xfrm>
              <a:off x="325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83" name="Oval 3055">
              <a:extLst>
                <a:ext uri="{FF2B5EF4-FFF2-40B4-BE49-F238E27FC236}">
                  <a16:creationId xmlns:a16="http://schemas.microsoft.com/office/drawing/2014/main" id="{55DAC8F6-C1B7-417F-A6FB-5B13F597A29F}"/>
                </a:ext>
              </a:extLst>
            </p:cNvPr>
            <p:cNvSpPr>
              <a:spLocks noChangeArrowheads="1"/>
            </p:cNvSpPr>
            <p:nvPr/>
          </p:nvSpPr>
          <p:spPr bwMode="auto">
            <a:xfrm>
              <a:off x="337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84" name="Oval 3056">
              <a:extLst>
                <a:ext uri="{FF2B5EF4-FFF2-40B4-BE49-F238E27FC236}">
                  <a16:creationId xmlns:a16="http://schemas.microsoft.com/office/drawing/2014/main" id="{DC997B9B-584E-4604-9243-1AEB31F2A15B}"/>
                </a:ext>
              </a:extLst>
            </p:cNvPr>
            <p:cNvSpPr>
              <a:spLocks noChangeArrowheads="1"/>
            </p:cNvSpPr>
            <p:nvPr/>
          </p:nvSpPr>
          <p:spPr bwMode="auto">
            <a:xfrm>
              <a:off x="340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85" name="Oval 3057">
              <a:extLst>
                <a:ext uri="{FF2B5EF4-FFF2-40B4-BE49-F238E27FC236}">
                  <a16:creationId xmlns:a16="http://schemas.microsoft.com/office/drawing/2014/main" id="{955DC055-56BD-45A0-B281-5A01958FD6CC}"/>
                </a:ext>
              </a:extLst>
            </p:cNvPr>
            <p:cNvSpPr>
              <a:spLocks noChangeArrowheads="1"/>
            </p:cNvSpPr>
            <p:nvPr/>
          </p:nvSpPr>
          <p:spPr bwMode="auto">
            <a:xfrm>
              <a:off x="337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86" name="Oval 3058">
              <a:extLst>
                <a:ext uri="{FF2B5EF4-FFF2-40B4-BE49-F238E27FC236}">
                  <a16:creationId xmlns:a16="http://schemas.microsoft.com/office/drawing/2014/main" id="{97EE7F8E-C9DA-4845-B6D7-55E1B8607A41}"/>
                </a:ext>
              </a:extLst>
            </p:cNvPr>
            <p:cNvSpPr>
              <a:spLocks noChangeArrowheads="1"/>
            </p:cNvSpPr>
            <p:nvPr/>
          </p:nvSpPr>
          <p:spPr bwMode="auto">
            <a:xfrm>
              <a:off x="34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87" name="Oval 3059">
              <a:extLst>
                <a:ext uri="{FF2B5EF4-FFF2-40B4-BE49-F238E27FC236}">
                  <a16:creationId xmlns:a16="http://schemas.microsoft.com/office/drawing/2014/main" id="{BDE8EEB2-7AE8-4C14-A7A9-D67A0A10B737}"/>
                </a:ext>
              </a:extLst>
            </p:cNvPr>
            <p:cNvSpPr>
              <a:spLocks noChangeArrowheads="1"/>
            </p:cNvSpPr>
            <p:nvPr/>
          </p:nvSpPr>
          <p:spPr bwMode="auto">
            <a:xfrm>
              <a:off x="313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88" name="Oval 3060">
              <a:extLst>
                <a:ext uri="{FF2B5EF4-FFF2-40B4-BE49-F238E27FC236}">
                  <a16:creationId xmlns:a16="http://schemas.microsoft.com/office/drawing/2014/main" id="{CAB70022-AA4C-48E6-8218-5EA02EDB2ACF}"/>
                </a:ext>
              </a:extLst>
            </p:cNvPr>
            <p:cNvSpPr>
              <a:spLocks noChangeArrowheads="1"/>
            </p:cNvSpPr>
            <p:nvPr/>
          </p:nvSpPr>
          <p:spPr bwMode="auto">
            <a:xfrm>
              <a:off x="313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89" name="Oval 3061">
              <a:extLst>
                <a:ext uri="{FF2B5EF4-FFF2-40B4-BE49-F238E27FC236}">
                  <a16:creationId xmlns:a16="http://schemas.microsoft.com/office/drawing/2014/main" id="{8AF59646-8C05-423C-814D-D8C95C5647EB}"/>
                </a:ext>
              </a:extLst>
            </p:cNvPr>
            <p:cNvSpPr>
              <a:spLocks noChangeArrowheads="1"/>
            </p:cNvSpPr>
            <p:nvPr/>
          </p:nvSpPr>
          <p:spPr bwMode="auto">
            <a:xfrm>
              <a:off x="307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90" name="Oval 3062">
              <a:extLst>
                <a:ext uri="{FF2B5EF4-FFF2-40B4-BE49-F238E27FC236}">
                  <a16:creationId xmlns:a16="http://schemas.microsoft.com/office/drawing/2014/main" id="{6B6A7474-C32C-47BD-932D-AE89D18B3223}"/>
                </a:ext>
              </a:extLst>
            </p:cNvPr>
            <p:cNvSpPr>
              <a:spLocks noChangeArrowheads="1"/>
            </p:cNvSpPr>
            <p:nvPr/>
          </p:nvSpPr>
          <p:spPr bwMode="auto">
            <a:xfrm>
              <a:off x="328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91" name="Oval 3063">
              <a:extLst>
                <a:ext uri="{FF2B5EF4-FFF2-40B4-BE49-F238E27FC236}">
                  <a16:creationId xmlns:a16="http://schemas.microsoft.com/office/drawing/2014/main" id="{DEB40DD4-62A2-4C89-8308-0E2082678AF6}"/>
                </a:ext>
              </a:extLst>
            </p:cNvPr>
            <p:cNvSpPr>
              <a:spLocks noChangeArrowheads="1"/>
            </p:cNvSpPr>
            <p:nvPr/>
          </p:nvSpPr>
          <p:spPr bwMode="auto">
            <a:xfrm>
              <a:off x="337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92" name="Oval 3064">
              <a:extLst>
                <a:ext uri="{FF2B5EF4-FFF2-40B4-BE49-F238E27FC236}">
                  <a16:creationId xmlns:a16="http://schemas.microsoft.com/office/drawing/2014/main" id="{F5CD61E1-706D-4F6C-A9AF-6FB6EDD2D873}"/>
                </a:ext>
              </a:extLst>
            </p:cNvPr>
            <p:cNvSpPr>
              <a:spLocks noChangeArrowheads="1"/>
            </p:cNvSpPr>
            <p:nvPr/>
          </p:nvSpPr>
          <p:spPr bwMode="auto">
            <a:xfrm>
              <a:off x="3735"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93" name="Oval 3065">
              <a:extLst>
                <a:ext uri="{FF2B5EF4-FFF2-40B4-BE49-F238E27FC236}">
                  <a16:creationId xmlns:a16="http://schemas.microsoft.com/office/drawing/2014/main" id="{B567455C-88A2-478A-B6EA-BB8D81F5930C}"/>
                </a:ext>
              </a:extLst>
            </p:cNvPr>
            <p:cNvSpPr>
              <a:spLocks noChangeArrowheads="1"/>
            </p:cNvSpPr>
            <p:nvPr/>
          </p:nvSpPr>
          <p:spPr bwMode="auto">
            <a:xfrm>
              <a:off x="358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94" name="Oval 3066">
              <a:extLst>
                <a:ext uri="{FF2B5EF4-FFF2-40B4-BE49-F238E27FC236}">
                  <a16:creationId xmlns:a16="http://schemas.microsoft.com/office/drawing/2014/main" id="{42EB66B3-0244-4E0C-AF7A-7B292EB3745D}"/>
                </a:ext>
              </a:extLst>
            </p:cNvPr>
            <p:cNvSpPr>
              <a:spLocks noChangeArrowheads="1"/>
            </p:cNvSpPr>
            <p:nvPr/>
          </p:nvSpPr>
          <p:spPr bwMode="auto">
            <a:xfrm>
              <a:off x="355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95" name="Oval 3067">
              <a:extLst>
                <a:ext uri="{FF2B5EF4-FFF2-40B4-BE49-F238E27FC236}">
                  <a16:creationId xmlns:a16="http://schemas.microsoft.com/office/drawing/2014/main" id="{404A49B0-BDE8-4C31-AFEA-1385CF4154E1}"/>
                </a:ext>
              </a:extLst>
            </p:cNvPr>
            <p:cNvSpPr>
              <a:spLocks noChangeArrowheads="1"/>
            </p:cNvSpPr>
            <p:nvPr/>
          </p:nvSpPr>
          <p:spPr bwMode="auto">
            <a:xfrm>
              <a:off x="349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96" name="Oval 3068">
              <a:extLst>
                <a:ext uri="{FF2B5EF4-FFF2-40B4-BE49-F238E27FC236}">
                  <a16:creationId xmlns:a16="http://schemas.microsoft.com/office/drawing/2014/main" id="{8B8138BA-13A0-407E-89DD-7B09EA79EF61}"/>
                </a:ext>
              </a:extLst>
            </p:cNvPr>
            <p:cNvSpPr>
              <a:spLocks noChangeArrowheads="1"/>
            </p:cNvSpPr>
            <p:nvPr/>
          </p:nvSpPr>
          <p:spPr bwMode="auto">
            <a:xfrm>
              <a:off x="337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97" name="Oval 3069">
              <a:extLst>
                <a:ext uri="{FF2B5EF4-FFF2-40B4-BE49-F238E27FC236}">
                  <a16:creationId xmlns:a16="http://schemas.microsoft.com/office/drawing/2014/main" id="{ABF5B9E0-12B4-46BC-BFBD-D30BE03E64E8}"/>
                </a:ext>
              </a:extLst>
            </p:cNvPr>
            <p:cNvSpPr>
              <a:spLocks noChangeArrowheads="1"/>
            </p:cNvSpPr>
            <p:nvPr/>
          </p:nvSpPr>
          <p:spPr bwMode="auto">
            <a:xfrm>
              <a:off x="340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98" name="Oval 3070">
              <a:extLst>
                <a:ext uri="{FF2B5EF4-FFF2-40B4-BE49-F238E27FC236}">
                  <a16:creationId xmlns:a16="http://schemas.microsoft.com/office/drawing/2014/main" id="{68815A90-AD5F-464E-9B11-44A35D0DDB6A}"/>
                </a:ext>
              </a:extLst>
            </p:cNvPr>
            <p:cNvSpPr>
              <a:spLocks noChangeArrowheads="1"/>
            </p:cNvSpPr>
            <p:nvPr/>
          </p:nvSpPr>
          <p:spPr bwMode="auto">
            <a:xfrm>
              <a:off x="325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99" name="Oval 3071">
              <a:extLst>
                <a:ext uri="{FF2B5EF4-FFF2-40B4-BE49-F238E27FC236}">
                  <a16:creationId xmlns:a16="http://schemas.microsoft.com/office/drawing/2014/main" id="{CFB1E209-1E6A-4322-A64D-D3AFF2F2B685}"/>
                </a:ext>
              </a:extLst>
            </p:cNvPr>
            <p:cNvSpPr>
              <a:spLocks noChangeArrowheads="1"/>
            </p:cNvSpPr>
            <p:nvPr/>
          </p:nvSpPr>
          <p:spPr bwMode="auto">
            <a:xfrm>
              <a:off x="322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00" name="Oval 3072">
              <a:extLst>
                <a:ext uri="{FF2B5EF4-FFF2-40B4-BE49-F238E27FC236}">
                  <a16:creationId xmlns:a16="http://schemas.microsoft.com/office/drawing/2014/main" id="{9D6FBB7D-DFA9-4675-9839-F8BBB5B19EE8}"/>
                </a:ext>
              </a:extLst>
            </p:cNvPr>
            <p:cNvSpPr>
              <a:spLocks noChangeArrowheads="1"/>
            </p:cNvSpPr>
            <p:nvPr/>
          </p:nvSpPr>
          <p:spPr bwMode="auto">
            <a:xfrm>
              <a:off x="331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01" name="Oval 3073">
              <a:extLst>
                <a:ext uri="{FF2B5EF4-FFF2-40B4-BE49-F238E27FC236}">
                  <a16:creationId xmlns:a16="http://schemas.microsoft.com/office/drawing/2014/main" id="{73963FCE-BABE-47E8-A0FE-7F0E9F98A997}"/>
                </a:ext>
              </a:extLst>
            </p:cNvPr>
            <p:cNvSpPr>
              <a:spLocks noChangeArrowheads="1"/>
            </p:cNvSpPr>
            <p:nvPr/>
          </p:nvSpPr>
          <p:spPr bwMode="auto">
            <a:xfrm>
              <a:off x="352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02" name="Oval 3074">
              <a:extLst>
                <a:ext uri="{FF2B5EF4-FFF2-40B4-BE49-F238E27FC236}">
                  <a16:creationId xmlns:a16="http://schemas.microsoft.com/office/drawing/2014/main" id="{2D61DE45-F76A-45AD-A929-6CBFC8397A3C}"/>
                </a:ext>
              </a:extLst>
            </p:cNvPr>
            <p:cNvSpPr>
              <a:spLocks noChangeArrowheads="1"/>
            </p:cNvSpPr>
            <p:nvPr/>
          </p:nvSpPr>
          <p:spPr bwMode="auto">
            <a:xfrm>
              <a:off x="3914"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03" name="Oval 3075">
              <a:extLst>
                <a:ext uri="{FF2B5EF4-FFF2-40B4-BE49-F238E27FC236}">
                  <a16:creationId xmlns:a16="http://schemas.microsoft.com/office/drawing/2014/main" id="{F3276934-97D7-4E4C-AAD3-6D4E826D7CB3}"/>
                </a:ext>
              </a:extLst>
            </p:cNvPr>
            <p:cNvSpPr>
              <a:spLocks noChangeArrowheads="1"/>
            </p:cNvSpPr>
            <p:nvPr/>
          </p:nvSpPr>
          <p:spPr bwMode="auto">
            <a:xfrm>
              <a:off x="4274"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04" name="Oval 3076">
              <a:extLst>
                <a:ext uri="{FF2B5EF4-FFF2-40B4-BE49-F238E27FC236}">
                  <a16:creationId xmlns:a16="http://schemas.microsoft.com/office/drawing/2014/main" id="{4D09355D-31A2-4FEE-B4ED-18EF295318F5}"/>
                </a:ext>
              </a:extLst>
            </p:cNvPr>
            <p:cNvSpPr>
              <a:spLocks noChangeArrowheads="1"/>
            </p:cNvSpPr>
            <p:nvPr/>
          </p:nvSpPr>
          <p:spPr bwMode="auto">
            <a:xfrm>
              <a:off x="4184"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05" name="Oval 3077">
              <a:extLst>
                <a:ext uri="{FF2B5EF4-FFF2-40B4-BE49-F238E27FC236}">
                  <a16:creationId xmlns:a16="http://schemas.microsoft.com/office/drawing/2014/main" id="{DA28AA1F-7BED-4948-A9EF-C7B41660397B}"/>
                </a:ext>
              </a:extLst>
            </p:cNvPr>
            <p:cNvSpPr>
              <a:spLocks noChangeArrowheads="1"/>
            </p:cNvSpPr>
            <p:nvPr/>
          </p:nvSpPr>
          <p:spPr bwMode="auto">
            <a:xfrm>
              <a:off x="421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06" name="Oval 3078">
              <a:extLst>
                <a:ext uri="{FF2B5EF4-FFF2-40B4-BE49-F238E27FC236}">
                  <a16:creationId xmlns:a16="http://schemas.microsoft.com/office/drawing/2014/main" id="{90725A13-258E-49FE-AF09-B0BC707B31B0}"/>
                </a:ext>
              </a:extLst>
            </p:cNvPr>
            <p:cNvSpPr>
              <a:spLocks noChangeArrowheads="1"/>
            </p:cNvSpPr>
            <p:nvPr/>
          </p:nvSpPr>
          <p:spPr bwMode="auto">
            <a:xfrm>
              <a:off x="4244"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07" name="Oval 3079">
              <a:extLst>
                <a:ext uri="{FF2B5EF4-FFF2-40B4-BE49-F238E27FC236}">
                  <a16:creationId xmlns:a16="http://schemas.microsoft.com/office/drawing/2014/main" id="{7F7EE36C-EC04-4EAC-8858-F6699B0CE0CF}"/>
                </a:ext>
              </a:extLst>
            </p:cNvPr>
            <p:cNvSpPr>
              <a:spLocks noChangeArrowheads="1"/>
            </p:cNvSpPr>
            <p:nvPr/>
          </p:nvSpPr>
          <p:spPr bwMode="auto">
            <a:xfrm>
              <a:off x="4094"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08" name="Oval 3080">
              <a:extLst>
                <a:ext uri="{FF2B5EF4-FFF2-40B4-BE49-F238E27FC236}">
                  <a16:creationId xmlns:a16="http://schemas.microsoft.com/office/drawing/2014/main" id="{6368EBCE-DB3E-486B-92A5-57C1E26204DD}"/>
                </a:ext>
              </a:extLst>
            </p:cNvPr>
            <p:cNvSpPr>
              <a:spLocks noChangeArrowheads="1"/>
            </p:cNvSpPr>
            <p:nvPr/>
          </p:nvSpPr>
          <p:spPr bwMode="auto">
            <a:xfrm>
              <a:off x="406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09" name="Oval 3081">
              <a:extLst>
                <a:ext uri="{FF2B5EF4-FFF2-40B4-BE49-F238E27FC236}">
                  <a16:creationId xmlns:a16="http://schemas.microsoft.com/office/drawing/2014/main" id="{20C6A567-CC01-4CB0-85D7-A536D22954EB}"/>
                </a:ext>
              </a:extLst>
            </p:cNvPr>
            <p:cNvSpPr>
              <a:spLocks noChangeArrowheads="1"/>
            </p:cNvSpPr>
            <p:nvPr/>
          </p:nvSpPr>
          <p:spPr bwMode="auto">
            <a:xfrm>
              <a:off x="4004"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10" name="Oval 3082">
              <a:extLst>
                <a:ext uri="{FF2B5EF4-FFF2-40B4-BE49-F238E27FC236}">
                  <a16:creationId xmlns:a16="http://schemas.microsoft.com/office/drawing/2014/main" id="{73F3825F-9632-4A8A-8538-B62A05A3859A}"/>
                </a:ext>
              </a:extLst>
            </p:cNvPr>
            <p:cNvSpPr>
              <a:spLocks noChangeArrowheads="1"/>
            </p:cNvSpPr>
            <p:nvPr/>
          </p:nvSpPr>
          <p:spPr bwMode="auto">
            <a:xfrm>
              <a:off x="385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11" name="Oval 3083">
              <a:extLst>
                <a:ext uri="{FF2B5EF4-FFF2-40B4-BE49-F238E27FC236}">
                  <a16:creationId xmlns:a16="http://schemas.microsoft.com/office/drawing/2014/main" id="{1461D895-C352-4447-AA40-DEC5D57C2585}"/>
                </a:ext>
              </a:extLst>
            </p:cNvPr>
            <p:cNvSpPr>
              <a:spLocks noChangeArrowheads="1"/>
            </p:cNvSpPr>
            <p:nvPr/>
          </p:nvSpPr>
          <p:spPr bwMode="auto">
            <a:xfrm>
              <a:off x="4184"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12" name="Oval 3084">
              <a:extLst>
                <a:ext uri="{FF2B5EF4-FFF2-40B4-BE49-F238E27FC236}">
                  <a16:creationId xmlns:a16="http://schemas.microsoft.com/office/drawing/2014/main" id="{759546A7-9B35-4C30-990C-FF2D92132965}"/>
                </a:ext>
              </a:extLst>
            </p:cNvPr>
            <p:cNvSpPr>
              <a:spLocks noChangeArrowheads="1"/>
            </p:cNvSpPr>
            <p:nvPr/>
          </p:nvSpPr>
          <p:spPr bwMode="auto">
            <a:xfrm>
              <a:off x="412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13" name="Oval 3085">
              <a:extLst>
                <a:ext uri="{FF2B5EF4-FFF2-40B4-BE49-F238E27FC236}">
                  <a16:creationId xmlns:a16="http://schemas.microsoft.com/office/drawing/2014/main" id="{32F0C3DE-9F73-4CCC-AF97-9834F43CAAD4}"/>
                </a:ext>
              </a:extLst>
            </p:cNvPr>
            <p:cNvSpPr>
              <a:spLocks noChangeArrowheads="1"/>
            </p:cNvSpPr>
            <p:nvPr/>
          </p:nvSpPr>
          <p:spPr bwMode="auto">
            <a:xfrm>
              <a:off x="4064"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14" name="Oval 3086">
              <a:extLst>
                <a:ext uri="{FF2B5EF4-FFF2-40B4-BE49-F238E27FC236}">
                  <a16:creationId xmlns:a16="http://schemas.microsoft.com/office/drawing/2014/main" id="{38B40BF0-0463-4E20-AAE5-BE8A1B1C510A}"/>
                </a:ext>
              </a:extLst>
            </p:cNvPr>
            <p:cNvSpPr>
              <a:spLocks noChangeArrowheads="1"/>
            </p:cNvSpPr>
            <p:nvPr/>
          </p:nvSpPr>
          <p:spPr bwMode="auto">
            <a:xfrm>
              <a:off x="3974"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15" name="Oval 3087">
              <a:extLst>
                <a:ext uri="{FF2B5EF4-FFF2-40B4-BE49-F238E27FC236}">
                  <a16:creationId xmlns:a16="http://schemas.microsoft.com/office/drawing/2014/main" id="{8F7E04EF-A52B-41E3-9560-DBCF586BB83F}"/>
                </a:ext>
              </a:extLst>
            </p:cNvPr>
            <p:cNvSpPr>
              <a:spLocks noChangeArrowheads="1"/>
            </p:cNvSpPr>
            <p:nvPr/>
          </p:nvSpPr>
          <p:spPr bwMode="auto">
            <a:xfrm>
              <a:off x="385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16" name="Oval 3088">
              <a:extLst>
                <a:ext uri="{FF2B5EF4-FFF2-40B4-BE49-F238E27FC236}">
                  <a16:creationId xmlns:a16="http://schemas.microsoft.com/office/drawing/2014/main" id="{81CDC098-01BF-439E-84D0-83F1B7397785}"/>
                </a:ext>
              </a:extLst>
            </p:cNvPr>
            <p:cNvSpPr>
              <a:spLocks noChangeArrowheads="1"/>
            </p:cNvSpPr>
            <p:nvPr/>
          </p:nvSpPr>
          <p:spPr bwMode="auto">
            <a:xfrm>
              <a:off x="367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17" name="Oval 3089">
              <a:extLst>
                <a:ext uri="{FF2B5EF4-FFF2-40B4-BE49-F238E27FC236}">
                  <a16:creationId xmlns:a16="http://schemas.microsoft.com/office/drawing/2014/main" id="{DCBEB01F-F4CC-4DBA-863E-F0223DA69ACB}"/>
                </a:ext>
              </a:extLst>
            </p:cNvPr>
            <p:cNvSpPr>
              <a:spLocks noChangeArrowheads="1"/>
            </p:cNvSpPr>
            <p:nvPr/>
          </p:nvSpPr>
          <p:spPr bwMode="auto">
            <a:xfrm>
              <a:off x="367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18" name="Oval 3090">
              <a:extLst>
                <a:ext uri="{FF2B5EF4-FFF2-40B4-BE49-F238E27FC236}">
                  <a16:creationId xmlns:a16="http://schemas.microsoft.com/office/drawing/2014/main" id="{D27348CE-7486-40EC-92C8-EC629B49ACDA}"/>
                </a:ext>
              </a:extLst>
            </p:cNvPr>
            <p:cNvSpPr>
              <a:spLocks noChangeArrowheads="1"/>
            </p:cNvSpPr>
            <p:nvPr/>
          </p:nvSpPr>
          <p:spPr bwMode="auto">
            <a:xfrm>
              <a:off x="35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19" name="Oval 3091">
              <a:extLst>
                <a:ext uri="{FF2B5EF4-FFF2-40B4-BE49-F238E27FC236}">
                  <a16:creationId xmlns:a16="http://schemas.microsoft.com/office/drawing/2014/main" id="{F0488894-DC16-4E9B-92E4-CE3ABF9C5246}"/>
                </a:ext>
              </a:extLst>
            </p:cNvPr>
            <p:cNvSpPr>
              <a:spLocks noChangeArrowheads="1"/>
            </p:cNvSpPr>
            <p:nvPr/>
          </p:nvSpPr>
          <p:spPr bwMode="auto">
            <a:xfrm>
              <a:off x="355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20" name="Oval 3092">
              <a:extLst>
                <a:ext uri="{FF2B5EF4-FFF2-40B4-BE49-F238E27FC236}">
                  <a16:creationId xmlns:a16="http://schemas.microsoft.com/office/drawing/2014/main" id="{81CB97E6-1DB4-4848-B5F6-C8B19D880ADC}"/>
                </a:ext>
              </a:extLst>
            </p:cNvPr>
            <p:cNvSpPr>
              <a:spLocks noChangeArrowheads="1"/>
            </p:cNvSpPr>
            <p:nvPr/>
          </p:nvSpPr>
          <p:spPr bwMode="auto">
            <a:xfrm>
              <a:off x="355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21" name="Oval 3093">
              <a:extLst>
                <a:ext uri="{FF2B5EF4-FFF2-40B4-BE49-F238E27FC236}">
                  <a16:creationId xmlns:a16="http://schemas.microsoft.com/office/drawing/2014/main" id="{189D386E-B715-465B-A598-615C20D62327}"/>
                </a:ext>
              </a:extLst>
            </p:cNvPr>
            <p:cNvSpPr>
              <a:spLocks noChangeArrowheads="1"/>
            </p:cNvSpPr>
            <p:nvPr/>
          </p:nvSpPr>
          <p:spPr bwMode="auto">
            <a:xfrm>
              <a:off x="358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22" name="Oval 3094">
              <a:extLst>
                <a:ext uri="{FF2B5EF4-FFF2-40B4-BE49-F238E27FC236}">
                  <a16:creationId xmlns:a16="http://schemas.microsoft.com/office/drawing/2014/main" id="{52F180F1-D04E-4055-951C-8FA646A84FB1}"/>
                </a:ext>
              </a:extLst>
            </p:cNvPr>
            <p:cNvSpPr>
              <a:spLocks noChangeArrowheads="1"/>
            </p:cNvSpPr>
            <p:nvPr/>
          </p:nvSpPr>
          <p:spPr bwMode="auto">
            <a:xfrm>
              <a:off x="343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23" name="Oval 3095">
              <a:extLst>
                <a:ext uri="{FF2B5EF4-FFF2-40B4-BE49-F238E27FC236}">
                  <a16:creationId xmlns:a16="http://schemas.microsoft.com/office/drawing/2014/main" id="{9EEBFAA9-F3B4-45D4-AD04-A97BA70C547C}"/>
                </a:ext>
              </a:extLst>
            </p:cNvPr>
            <p:cNvSpPr>
              <a:spLocks noChangeArrowheads="1"/>
            </p:cNvSpPr>
            <p:nvPr/>
          </p:nvSpPr>
          <p:spPr bwMode="auto">
            <a:xfrm>
              <a:off x="340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24" name="Oval 3096">
              <a:extLst>
                <a:ext uri="{FF2B5EF4-FFF2-40B4-BE49-F238E27FC236}">
                  <a16:creationId xmlns:a16="http://schemas.microsoft.com/office/drawing/2014/main" id="{5EC2549D-F8BD-46B7-8E35-8FD67DDA98B7}"/>
                </a:ext>
              </a:extLst>
            </p:cNvPr>
            <p:cNvSpPr>
              <a:spLocks noChangeArrowheads="1"/>
            </p:cNvSpPr>
            <p:nvPr/>
          </p:nvSpPr>
          <p:spPr bwMode="auto">
            <a:xfrm>
              <a:off x="331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25" name="Oval 3097">
              <a:extLst>
                <a:ext uri="{FF2B5EF4-FFF2-40B4-BE49-F238E27FC236}">
                  <a16:creationId xmlns:a16="http://schemas.microsoft.com/office/drawing/2014/main" id="{1F5192DD-F468-4E29-9C4E-DB5A70C401AD}"/>
                </a:ext>
              </a:extLst>
            </p:cNvPr>
            <p:cNvSpPr>
              <a:spLocks noChangeArrowheads="1"/>
            </p:cNvSpPr>
            <p:nvPr/>
          </p:nvSpPr>
          <p:spPr bwMode="auto">
            <a:xfrm>
              <a:off x="340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26" name="Oval 3098">
              <a:extLst>
                <a:ext uri="{FF2B5EF4-FFF2-40B4-BE49-F238E27FC236}">
                  <a16:creationId xmlns:a16="http://schemas.microsoft.com/office/drawing/2014/main" id="{C523C88B-4736-49FF-8FFB-1C5966D1C4B6}"/>
                </a:ext>
              </a:extLst>
            </p:cNvPr>
            <p:cNvSpPr>
              <a:spLocks noChangeArrowheads="1"/>
            </p:cNvSpPr>
            <p:nvPr/>
          </p:nvSpPr>
          <p:spPr bwMode="auto">
            <a:xfrm>
              <a:off x="328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27" name="Oval 3099">
              <a:extLst>
                <a:ext uri="{FF2B5EF4-FFF2-40B4-BE49-F238E27FC236}">
                  <a16:creationId xmlns:a16="http://schemas.microsoft.com/office/drawing/2014/main" id="{C1AF59EE-B741-4F76-88F4-C5FD5EAF40A0}"/>
                </a:ext>
              </a:extLst>
            </p:cNvPr>
            <p:cNvSpPr>
              <a:spLocks noChangeArrowheads="1"/>
            </p:cNvSpPr>
            <p:nvPr/>
          </p:nvSpPr>
          <p:spPr bwMode="auto">
            <a:xfrm>
              <a:off x="334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28" name="Oval 3100">
              <a:extLst>
                <a:ext uri="{FF2B5EF4-FFF2-40B4-BE49-F238E27FC236}">
                  <a16:creationId xmlns:a16="http://schemas.microsoft.com/office/drawing/2014/main" id="{D9350580-11F9-4134-85C7-B01F82E535B7}"/>
                </a:ext>
              </a:extLst>
            </p:cNvPr>
            <p:cNvSpPr>
              <a:spLocks noChangeArrowheads="1"/>
            </p:cNvSpPr>
            <p:nvPr/>
          </p:nvSpPr>
          <p:spPr bwMode="auto">
            <a:xfrm>
              <a:off x="334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29" name="Oval 3101">
              <a:extLst>
                <a:ext uri="{FF2B5EF4-FFF2-40B4-BE49-F238E27FC236}">
                  <a16:creationId xmlns:a16="http://schemas.microsoft.com/office/drawing/2014/main" id="{06E5BC0E-3F72-402A-8751-68B9F3D216C5}"/>
                </a:ext>
              </a:extLst>
            </p:cNvPr>
            <p:cNvSpPr>
              <a:spLocks noChangeArrowheads="1"/>
            </p:cNvSpPr>
            <p:nvPr/>
          </p:nvSpPr>
          <p:spPr bwMode="auto">
            <a:xfrm>
              <a:off x="325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30" name="Oval 3102">
              <a:extLst>
                <a:ext uri="{FF2B5EF4-FFF2-40B4-BE49-F238E27FC236}">
                  <a16:creationId xmlns:a16="http://schemas.microsoft.com/office/drawing/2014/main" id="{7AA3611B-BEFE-45FC-B446-CF32BD8BF27A}"/>
                </a:ext>
              </a:extLst>
            </p:cNvPr>
            <p:cNvSpPr>
              <a:spLocks noChangeArrowheads="1"/>
            </p:cNvSpPr>
            <p:nvPr/>
          </p:nvSpPr>
          <p:spPr bwMode="auto">
            <a:xfrm>
              <a:off x="319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31" name="Oval 3103">
              <a:extLst>
                <a:ext uri="{FF2B5EF4-FFF2-40B4-BE49-F238E27FC236}">
                  <a16:creationId xmlns:a16="http://schemas.microsoft.com/office/drawing/2014/main" id="{BABAD6A8-70C2-47F7-AA4E-6C7121AAC0A9}"/>
                </a:ext>
              </a:extLst>
            </p:cNvPr>
            <p:cNvSpPr>
              <a:spLocks noChangeArrowheads="1"/>
            </p:cNvSpPr>
            <p:nvPr/>
          </p:nvSpPr>
          <p:spPr bwMode="auto">
            <a:xfrm>
              <a:off x="31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32" name="Oval 3104">
              <a:extLst>
                <a:ext uri="{FF2B5EF4-FFF2-40B4-BE49-F238E27FC236}">
                  <a16:creationId xmlns:a16="http://schemas.microsoft.com/office/drawing/2014/main" id="{08402F9E-66E3-45F5-AAE7-63BE504AACA0}"/>
                </a:ext>
              </a:extLst>
            </p:cNvPr>
            <p:cNvSpPr>
              <a:spLocks noChangeArrowheads="1"/>
            </p:cNvSpPr>
            <p:nvPr/>
          </p:nvSpPr>
          <p:spPr bwMode="auto">
            <a:xfrm>
              <a:off x="319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33" name="Oval 3105">
              <a:extLst>
                <a:ext uri="{FF2B5EF4-FFF2-40B4-BE49-F238E27FC236}">
                  <a16:creationId xmlns:a16="http://schemas.microsoft.com/office/drawing/2014/main" id="{CD13E24D-75C8-482F-8EBF-174D5A9CA813}"/>
                </a:ext>
              </a:extLst>
            </p:cNvPr>
            <p:cNvSpPr>
              <a:spLocks noChangeArrowheads="1"/>
            </p:cNvSpPr>
            <p:nvPr/>
          </p:nvSpPr>
          <p:spPr bwMode="auto">
            <a:xfrm>
              <a:off x="319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34" name="Oval 3106">
              <a:extLst>
                <a:ext uri="{FF2B5EF4-FFF2-40B4-BE49-F238E27FC236}">
                  <a16:creationId xmlns:a16="http://schemas.microsoft.com/office/drawing/2014/main" id="{5D5C3FE7-265B-4E47-8983-5C91DBDC2DC3}"/>
                </a:ext>
              </a:extLst>
            </p:cNvPr>
            <p:cNvSpPr>
              <a:spLocks noChangeArrowheads="1"/>
            </p:cNvSpPr>
            <p:nvPr/>
          </p:nvSpPr>
          <p:spPr bwMode="auto">
            <a:xfrm>
              <a:off x="319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35" name="Oval 3107">
              <a:extLst>
                <a:ext uri="{FF2B5EF4-FFF2-40B4-BE49-F238E27FC236}">
                  <a16:creationId xmlns:a16="http://schemas.microsoft.com/office/drawing/2014/main" id="{C22031A4-FFD2-43B4-82B5-E0AF35D26ABE}"/>
                </a:ext>
              </a:extLst>
            </p:cNvPr>
            <p:cNvSpPr>
              <a:spLocks noChangeArrowheads="1"/>
            </p:cNvSpPr>
            <p:nvPr/>
          </p:nvSpPr>
          <p:spPr bwMode="auto">
            <a:xfrm>
              <a:off x="31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36" name="Oval 3108">
              <a:extLst>
                <a:ext uri="{FF2B5EF4-FFF2-40B4-BE49-F238E27FC236}">
                  <a16:creationId xmlns:a16="http://schemas.microsoft.com/office/drawing/2014/main" id="{1B858622-5DE0-4FCE-9382-1952AAFD4F4A}"/>
                </a:ext>
              </a:extLst>
            </p:cNvPr>
            <p:cNvSpPr>
              <a:spLocks noChangeArrowheads="1"/>
            </p:cNvSpPr>
            <p:nvPr/>
          </p:nvSpPr>
          <p:spPr bwMode="auto">
            <a:xfrm>
              <a:off x="319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37" name="Oval 3109">
              <a:extLst>
                <a:ext uri="{FF2B5EF4-FFF2-40B4-BE49-F238E27FC236}">
                  <a16:creationId xmlns:a16="http://schemas.microsoft.com/office/drawing/2014/main" id="{A0FE37F8-C9B1-437C-90CE-57206DFC17A4}"/>
                </a:ext>
              </a:extLst>
            </p:cNvPr>
            <p:cNvSpPr>
              <a:spLocks noChangeArrowheads="1"/>
            </p:cNvSpPr>
            <p:nvPr/>
          </p:nvSpPr>
          <p:spPr bwMode="auto">
            <a:xfrm>
              <a:off x="319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38" name="Oval 3110">
              <a:extLst>
                <a:ext uri="{FF2B5EF4-FFF2-40B4-BE49-F238E27FC236}">
                  <a16:creationId xmlns:a16="http://schemas.microsoft.com/office/drawing/2014/main" id="{86FCFEEE-0618-4B0E-B3AD-7D3DF095C453}"/>
                </a:ext>
              </a:extLst>
            </p:cNvPr>
            <p:cNvSpPr>
              <a:spLocks noChangeArrowheads="1"/>
            </p:cNvSpPr>
            <p:nvPr/>
          </p:nvSpPr>
          <p:spPr bwMode="auto">
            <a:xfrm>
              <a:off x="316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39" name="Oval 3111">
              <a:extLst>
                <a:ext uri="{FF2B5EF4-FFF2-40B4-BE49-F238E27FC236}">
                  <a16:creationId xmlns:a16="http://schemas.microsoft.com/office/drawing/2014/main" id="{1A943F17-BB1D-441D-B146-2804B2F14FFD}"/>
                </a:ext>
              </a:extLst>
            </p:cNvPr>
            <p:cNvSpPr>
              <a:spLocks noChangeArrowheads="1"/>
            </p:cNvSpPr>
            <p:nvPr/>
          </p:nvSpPr>
          <p:spPr bwMode="auto">
            <a:xfrm>
              <a:off x="328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40" name="Oval 3112">
              <a:extLst>
                <a:ext uri="{FF2B5EF4-FFF2-40B4-BE49-F238E27FC236}">
                  <a16:creationId xmlns:a16="http://schemas.microsoft.com/office/drawing/2014/main" id="{E3180A88-34F5-47AE-8077-DD8E2C30BAD3}"/>
                </a:ext>
              </a:extLst>
            </p:cNvPr>
            <p:cNvSpPr>
              <a:spLocks noChangeArrowheads="1"/>
            </p:cNvSpPr>
            <p:nvPr/>
          </p:nvSpPr>
          <p:spPr bwMode="auto">
            <a:xfrm>
              <a:off x="325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41" name="Oval 3113">
              <a:extLst>
                <a:ext uri="{FF2B5EF4-FFF2-40B4-BE49-F238E27FC236}">
                  <a16:creationId xmlns:a16="http://schemas.microsoft.com/office/drawing/2014/main" id="{8E7CCCF1-D72B-45BA-A604-7FFB6C2C4698}"/>
                </a:ext>
              </a:extLst>
            </p:cNvPr>
            <p:cNvSpPr>
              <a:spLocks noChangeArrowheads="1"/>
            </p:cNvSpPr>
            <p:nvPr/>
          </p:nvSpPr>
          <p:spPr bwMode="auto">
            <a:xfrm>
              <a:off x="328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42" name="Oval 3114">
              <a:extLst>
                <a:ext uri="{FF2B5EF4-FFF2-40B4-BE49-F238E27FC236}">
                  <a16:creationId xmlns:a16="http://schemas.microsoft.com/office/drawing/2014/main" id="{E8462FCB-E835-4F58-8FBF-FF7DB3305792}"/>
                </a:ext>
              </a:extLst>
            </p:cNvPr>
            <p:cNvSpPr>
              <a:spLocks noChangeArrowheads="1"/>
            </p:cNvSpPr>
            <p:nvPr/>
          </p:nvSpPr>
          <p:spPr bwMode="auto">
            <a:xfrm>
              <a:off x="352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43" name="Oval 3115">
              <a:extLst>
                <a:ext uri="{FF2B5EF4-FFF2-40B4-BE49-F238E27FC236}">
                  <a16:creationId xmlns:a16="http://schemas.microsoft.com/office/drawing/2014/main" id="{925DB842-B8B4-4DE5-B87D-786755C86A0E}"/>
                </a:ext>
              </a:extLst>
            </p:cNvPr>
            <p:cNvSpPr>
              <a:spLocks noChangeArrowheads="1"/>
            </p:cNvSpPr>
            <p:nvPr/>
          </p:nvSpPr>
          <p:spPr bwMode="auto">
            <a:xfrm>
              <a:off x="352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44" name="Oval 3116">
              <a:extLst>
                <a:ext uri="{FF2B5EF4-FFF2-40B4-BE49-F238E27FC236}">
                  <a16:creationId xmlns:a16="http://schemas.microsoft.com/office/drawing/2014/main" id="{E9B4DB4A-3A77-49C7-AD4D-AAE27CC55FF2}"/>
                </a:ext>
              </a:extLst>
            </p:cNvPr>
            <p:cNvSpPr>
              <a:spLocks noChangeArrowheads="1"/>
            </p:cNvSpPr>
            <p:nvPr/>
          </p:nvSpPr>
          <p:spPr bwMode="auto">
            <a:xfrm>
              <a:off x="346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45" name="Oval 3117">
              <a:extLst>
                <a:ext uri="{FF2B5EF4-FFF2-40B4-BE49-F238E27FC236}">
                  <a16:creationId xmlns:a16="http://schemas.microsoft.com/office/drawing/2014/main" id="{0CC3A816-83F5-4B66-9B1E-2AD8A605A27B}"/>
                </a:ext>
              </a:extLst>
            </p:cNvPr>
            <p:cNvSpPr>
              <a:spLocks noChangeArrowheads="1"/>
            </p:cNvSpPr>
            <p:nvPr/>
          </p:nvSpPr>
          <p:spPr bwMode="auto">
            <a:xfrm>
              <a:off x="346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46" name="Oval 3118">
              <a:extLst>
                <a:ext uri="{FF2B5EF4-FFF2-40B4-BE49-F238E27FC236}">
                  <a16:creationId xmlns:a16="http://schemas.microsoft.com/office/drawing/2014/main" id="{F4375130-7121-4B76-B72E-EFE2D91C5EBC}"/>
                </a:ext>
              </a:extLst>
            </p:cNvPr>
            <p:cNvSpPr>
              <a:spLocks noChangeArrowheads="1"/>
            </p:cNvSpPr>
            <p:nvPr/>
          </p:nvSpPr>
          <p:spPr bwMode="auto">
            <a:xfrm>
              <a:off x="334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47" name="Oval 3119">
              <a:extLst>
                <a:ext uri="{FF2B5EF4-FFF2-40B4-BE49-F238E27FC236}">
                  <a16:creationId xmlns:a16="http://schemas.microsoft.com/office/drawing/2014/main" id="{0460DA8A-9E29-4D6C-9EA1-16C0AEE4C94D}"/>
                </a:ext>
              </a:extLst>
            </p:cNvPr>
            <p:cNvSpPr>
              <a:spLocks noChangeArrowheads="1"/>
            </p:cNvSpPr>
            <p:nvPr/>
          </p:nvSpPr>
          <p:spPr bwMode="auto">
            <a:xfrm>
              <a:off x="334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48" name="Oval 3120">
              <a:extLst>
                <a:ext uri="{FF2B5EF4-FFF2-40B4-BE49-F238E27FC236}">
                  <a16:creationId xmlns:a16="http://schemas.microsoft.com/office/drawing/2014/main" id="{42164578-499C-4DC5-9816-39AF3F5B59F5}"/>
                </a:ext>
              </a:extLst>
            </p:cNvPr>
            <p:cNvSpPr>
              <a:spLocks noChangeArrowheads="1"/>
            </p:cNvSpPr>
            <p:nvPr/>
          </p:nvSpPr>
          <p:spPr bwMode="auto">
            <a:xfrm>
              <a:off x="328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49" name="Oval 3121">
              <a:extLst>
                <a:ext uri="{FF2B5EF4-FFF2-40B4-BE49-F238E27FC236}">
                  <a16:creationId xmlns:a16="http://schemas.microsoft.com/office/drawing/2014/main" id="{B0E1B1F3-DD73-4F3C-B72E-CE8D2E8B3439}"/>
                </a:ext>
              </a:extLst>
            </p:cNvPr>
            <p:cNvSpPr>
              <a:spLocks noChangeArrowheads="1"/>
            </p:cNvSpPr>
            <p:nvPr/>
          </p:nvSpPr>
          <p:spPr bwMode="auto">
            <a:xfrm>
              <a:off x="337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50" name="Oval 3122">
              <a:extLst>
                <a:ext uri="{FF2B5EF4-FFF2-40B4-BE49-F238E27FC236}">
                  <a16:creationId xmlns:a16="http://schemas.microsoft.com/office/drawing/2014/main" id="{1AF1E062-F0CA-4596-B68A-FD811E5A5940}"/>
                </a:ext>
              </a:extLst>
            </p:cNvPr>
            <p:cNvSpPr>
              <a:spLocks noChangeArrowheads="1"/>
            </p:cNvSpPr>
            <p:nvPr/>
          </p:nvSpPr>
          <p:spPr bwMode="auto">
            <a:xfrm>
              <a:off x="340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51" name="Oval 3123">
              <a:extLst>
                <a:ext uri="{FF2B5EF4-FFF2-40B4-BE49-F238E27FC236}">
                  <a16:creationId xmlns:a16="http://schemas.microsoft.com/office/drawing/2014/main" id="{E26FAA68-8642-4DD8-AB35-FC387FECA12B}"/>
                </a:ext>
              </a:extLst>
            </p:cNvPr>
            <p:cNvSpPr>
              <a:spLocks noChangeArrowheads="1"/>
            </p:cNvSpPr>
            <p:nvPr/>
          </p:nvSpPr>
          <p:spPr bwMode="auto">
            <a:xfrm>
              <a:off x="36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52" name="Oval 3124">
              <a:extLst>
                <a:ext uri="{FF2B5EF4-FFF2-40B4-BE49-F238E27FC236}">
                  <a16:creationId xmlns:a16="http://schemas.microsoft.com/office/drawing/2014/main" id="{7CEA03B6-C4A6-42DE-A55F-0704B22E89F5}"/>
                </a:ext>
              </a:extLst>
            </p:cNvPr>
            <p:cNvSpPr>
              <a:spLocks noChangeArrowheads="1"/>
            </p:cNvSpPr>
            <p:nvPr/>
          </p:nvSpPr>
          <p:spPr bwMode="auto">
            <a:xfrm>
              <a:off x="355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53" name="Oval 3125">
              <a:extLst>
                <a:ext uri="{FF2B5EF4-FFF2-40B4-BE49-F238E27FC236}">
                  <a16:creationId xmlns:a16="http://schemas.microsoft.com/office/drawing/2014/main" id="{917D21C1-7EA2-4639-832C-4E1EA6C63D30}"/>
                </a:ext>
              </a:extLst>
            </p:cNvPr>
            <p:cNvSpPr>
              <a:spLocks noChangeArrowheads="1"/>
            </p:cNvSpPr>
            <p:nvPr/>
          </p:nvSpPr>
          <p:spPr bwMode="auto">
            <a:xfrm>
              <a:off x="397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54" name="Oval 3126">
              <a:extLst>
                <a:ext uri="{FF2B5EF4-FFF2-40B4-BE49-F238E27FC236}">
                  <a16:creationId xmlns:a16="http://schemas.microsoft.com/office/drawing/2014/main" id="{359A4E15-0781-4C9A-A663-AAED88140EFE}"/>
                </a:ext>
              </a:extLst>
            </p:cNvPr>
            <p:cNvSpPr>
              <a:spLocks noChangeArrowheads="1"/>
            </p:cNvSpPr>
            <p:nvPr/>
          </p:nvSpPr>
          <p:spPr bwMode="auto">
            <a:xfrm>
              <a:off x="379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55" name="Oval 3127">
              <a:extLst>
                <a:ext uri="{FF2B5EF4-FFF2-40B4-BE49-F238E27FC236}">
                  <a16:creationId xmlns:a16="http://schemas.microsoft.com/office/drawing/2014/main" id="{96B8D5A9-DE09-43E1-A788-AA98B3A4B771}"/>
                </a:ext>
              </a:extLst>
            </p:cNvPr>
            <p:cNvSpPr>
              <a:spLocks noChangeArrowheads="1"/>
            </p:cNvSpPr>
            <p:nvPr/>
          </p:nvSpPr>
          <p:spPr bwMode="auto">
            <a:xfrm>
              <a:off x="3914"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56" name="Oval 3128">
              <a:extLst>
                <a:ext uri="{FF2B5EF4-FFF2-40B4-BE49-F238E27FC236}">
                  <a16:creationId xmlns:a16="http://schemas.microsoft.com/office/drawing/2014/main" id="{B101C526-3B19-483D-822B-661377D2DABC}"/>
                </a:ext>
              </a:extLst>
            </p:cNvPr>
            <p:cNvSpPr>
              <a:spLocks noChangeArrowheads="1"/>
            </p:cNvSpPr>
            <p:nvPr/>
          </p:nvSpPr>
          <p:spPr bwMode="auto">
            <a:xfrm>
              <a:off x="391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57" name="Oval 3129">
              <a:extLst>
                <a:ext uri="{FF2B5EF4-FFF2-40B4-BE49-F238E27FC236}">
                  <a16:creationId xmlns:a16="http://schemas.microsoft.com/office/drawing/2014/main" id="{846BB30E-3DFE-40C6-A94B-C0C8F137241F}"/>
                </a:ext>
              </a:extLst>
            </p:cNvPr>
            <p:cNvSpPr>
              <a:spLocks noChangeArrowheads="1"/>
            </p:cNvSpPr>
            <p:nvPr/>
          </p:nvSpPr>
          <p:spPr bwMode="auto">
            <a:xfrm>
              <a:off x="379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58" name="Oval 3130">
              <a:extLst>
                <a:ext uri="{FF2B5EF4-FFF2-40B4-BE49-F238E27FC236}">
                  <a16:creationId xmlns:a16="http://schemas.microsoft.com/office/drawing/2014/main" id="{1FBD597E-7181-466F-A95C-C48CDD81D20C}"/>
                </a:ext>
              </a:extLst>
            </p:cNvPr>
            <p:cNvSpPr>
              <a:spLocks noChangeArrowheads="1"/>
            </p:cNvSpPr>
            <p:nvPr/>
          </p:nvSpPr>
          <p:spPr bwMode="auto">
            <a:xfrm>
              <a:off x="3794"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59" name="Oval 3131">
              <a:extLst>
                <a:ext uri="{FF2B5EF4-FFF2-40B4-BE49-F238E27FC236}">
                  <a16:creationId xmlns:a16="http://schemas.microsoft.com/office/drawing/2014/main" id="{7558BB36-E6AB-4667-AEC0-C88A2E03CDD6}"/>
                </a:ext>
              </a:extLst>
            </p:cNvPr>
            <p:cNvSpPr>
              <a:spLocks noChangeArrowheads="1"/>
            </p:cNvSpPr>
            <p:nvPr/>
          </p:nvSpPr>
          <p:spPr bwMode="auto">
            <a:xfrm>
              <a:off x="415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60" name="Oval 3132">
              <a:extLst>
                <a:ext uri="{FF2B5EF4-FFF2-40B4-BE49-F238E27FC236}">
                  <a16:creationId xmlns:a16="http://schemas.microsoft.com/office/drawing/2014/main" id="{173969D9-195C-490A-879F-A7495D20F739}"/>
                </a:ext>
              </a:extLst>
            </p:cNvPr>
            <p:cNvSpPr>
              <a:spLocks noChangeArrowheads="1"/>
            </p:cNvSpPr>
            <p:nvPr/>
          </p:nvSpPr>
          <p:spPr bwMode="auto">
            <a:xfrm>
              <a:off x="406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61" name="Oval 3133">
              <a:extLst>
                <a:ext uri="{FF2B5EF4-FFF2-40B4-BE49-F238E27FC236}">
                  <a16:creationId xmlns:a16="http://schemas.microsoft.com/office/drawing/2014/main" id="{2CABD0C7-CB77-461E-8C15-7481581AA7F9}"/>
                </a:ext>
              </a:extLst>
            </p:cNvPr>
            <p:cNvSpPr>
              <a:spLocks noChangeArrowheads="1"/>
            </p:cNvSpPr>
            <p:nvPr/>
          </p:nvSpPr>
          <p:spPr bwMode="auto">
            <a:xfrm>
              <a:off x="4034"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62" name="Oval 3134">
              <a:extLst>
                <a:ext uri="{FF2B5EF4-FFF2-40B4-BE49-F238E27FC236}">
                  <a16:creationId xmlns:a16="http://schemas.microsoft.com/office/drawing/2014/main" id="{AD56B41E-0B1A-48CB-B7BE-F1CC416D71B0}"/>
                </a:ext>
              </a:extLst>
            </p:cNvPr>
            <p:cNvSpPr>
              <a:spLocks noChangeArrowheads="1"/>
            </p:cNvSpPr>
            <p:nvPr/>
          </p:nvSpPr>
          <p:spPr bwMode="auto">
            <a:xfrm>
              <a:off x="3974"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63" name="Oval 3135">
              <a:extLst>
                <a:ext uri="{FF2B5EF4-FFF2-40B4-BE49-F238E27FC236}">
                  <a16:creationId xmlns:a16="http://schemas.microsoft.com/office/drawing/2014/main" id="{4F46000D-29E5-46D7-A540-987157934853}"/>
                </a:ext>
              </a:extLst>
            </p:cNvPr>
            <p:cNvSpPr>
              <a:spLocks noChangeArrowheads="1"/>
            </p:cNvSpPr>
            <p:nvPr/>
          </p:nvSpPr>
          <p:spPr bwMode="auto">
            <a:xfrm>
              <a:off x="394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64" name="Oval 3136">
              <a:extLst>
                <a:ext uri="{FF2B5EF4-FFF2-40B4-BE49-F238E27FC236}">
                  <a16:creationId xmlns:a16="http://schemas.microsoft.com/office/drawing/2014/main" id="{5002D72F-1C49-41DF-8054-84E9E34D9621}"/>
                </a:ext>
              </a:extLst>
            </p:cNvPr>
            <p:cNvSpPr>
              <a:spLocks noChangeArrowheads="1"/>
            </p:cNvSpPr>
            <p:nvPr/>
          </p:nvSpPr>
          <p:spPr bwMode="auto">
            <a:xfrm>
              <a:off x="379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65" name="Oval 3137">
              <a:extLst>
                <a:ext uri="{FF2B5EF4-FFF2-40B4-BE49-F238E27FC236}">
                  <a16:creationId xmlns:a16="http://schemas.microsoft.com/office/drawing/2014/main" id="{B93F91E4-18FC-4A32-BF8B-0D30D52B9A56}"/>
                </a:ext>
              </a:extLst>
            </p:cNvPr>
            <p:cNvSpPr>
              <a:spLocks noChangeArrowheads="1"/>
            </p:cNvSpPr>
            <p:nvPr/>
          </p:nvSpPr>
          <p:spPr bwMode="auto">
            <a:xfrm>
              <a:off x="385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66" name="Oval 3138">
              <a:extLst>
                <a:ext uri="{FF2B5EF4-FFF2-40B4-BE49-F238E27FC236}">
                  <a16:creationId xmlns:a16="http://schemas.microsoft.com/office/drawing/2014/main" id="{69C874FB-E2DE-4EAF-A5F9-1A637B691C5F}"/>
                </a:ext>
              </a:extLst>
            </p:cNvPr>
            <p:cNvSpPr>
              <a:spLocks noChangeArrowheads="1"/>
            </p:cNvSpPr>
            <p:nvPr/>
          </p:nvSpPr>
          <p:spPr bwMode="auto">
            <a:xfrm>
              <a:off x="3764"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67" name="Oval 3139">
              <a:extLst>
                <a:ext uri="{FF2B5EF4-FFF2-40B4-BE49-F238E27FC236}">
                  <a16:creationId xmlns:a16="http://schemas.microsoft.com/office/drawing/2014/main" id="{D80A22B5-A62C-428A-94B6-92980D59036A}"/>
                </a:ext>
              </a:extLst>
            </p:cNvPr>
            <p:cNvSpPr>
              <a:spLocks noChangeArrowheads="1"/>
            </p:cNvSpPr>
            <p:nvPr/>
          </p:nvSpPr>
          <p:spPr bwMode="auto">
            <a:xfrm>
              <a:off x="3705" y="24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68" name="Oval 3140">
              <a:extLst>
                <a:ext uri="{FF2B5EF4-FFF2-40B4-BE49-F238E27FC236}">
                  <a16:creationId xmlns:a16="http://schemas.microsoft.com/office/drawing/2014/main" id="{5F56AF93-7381-490A-B3B6-99C7B92D0BAA}"/>
                </a:ext>
              </a:extLst>
            </p:cNvPr>
            <p:cNvSpPr>
              <a:spLocks noChangeArrowheads="1"/>
            </p:cNvSpPr>
            <p:nvPr/>
          </p:nvSpPr>
          <p:spPr bwMode="auto">
            <a:xfrm>
              <a:off x="367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69" name="Oval 3141">
              <a:extLst>
                <a:ext uri="{FF2B5EF4-FFF2-40B4-BE49-F238E27FC236}">
                  <a16:creationId xmlns:a16="http://schemas.microsoft.com/office/drawing/2014/main" id="{A56238BF-4DBA-4775-B4A9-D87272BBB551}"/>
                </a:ext>
              </a:extLst>
            </p:cNvPr>
            <p:cNvSpPr>
              <a:spLocks noChangeArrowheads="1"/>
            </p:cNvSpPr>
            <p:nvPr/>
          </p:nvSpPr>
          <p:spPr bwMode="auto">
            <a:xfrm>
              <a:off x="361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70" name="Oval 3142">
              <a:extLst>
                <a:ext uri="{FF2B5EF4-FFF2-40B4-BE49-F238E27FC236}">
                  <a16:creationId xmlns:a16="http://schemas.microsoft.com/office/drawing/2014/main" id="{CF87C266-1868-4A2A-8A9E-CCE8D9E543F3}"/>
                </a:ext>
              </a:extLst>
            </p:cNvPr>
            <p:cNvSpPr>
              <a:spLocks noChangeArrowheads="1"/>
            </p:cNvSpPr>
            <p:nvPr/>
          </p:nvSpPr>
          <p:spPr bwMode="auto">
            <a:xfrm>
              <a:off x="355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71" name="Oval 3143">
              <a:extLst>
                <a:ext uri="{FF2B5EF4-FFF2-40B4-BE49-F238E27FC236}">
                  <a16:creationId xmlns:a16="http://schemas.microsoft.com/office/drawing/2014/main" id="{54A381E2-A23A-4792-A5FC-25713F97AD0F}"/>
                </a:ext>
              </a:extLst>
            </p:cNvPr>
            <p:cNvSpPr>
              <a:spLocks noChangeArrowheads="1"/>
            </p:cNvSpPr>
            <p:nvPr/>
          </p:nvSpPr>
          <p:spPr bwMode="auto">
            <a:xfrm>
              <a:off x="346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72" name="Oval 3144">
              <a:extLst>
                <a:ext uri="{FF2B5EF4-FFF2-40B4-BE49-F238E27FC236}">
                  <a16:creationId xmlns:a16="http://schemas.microsoft.com/office/drawing/2014/main" id="{E7811110-02C2-4AC8-B51A-95EDB4C8A1BA}"/>
                </a:ext>
              </a:extLst>
            </p:cNvPr>
            <p:cNvSpPr>
              <a:spLocks noChangeArrowheads="1"/>
            </p:cNvSpPr>
            <p:nvPr/>
          </p:nvSpPr>
          <p:spPr bwMode="auto">
            <a:xfrm>
              <a:off x="343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73" name="Oval 3145">
              <a:extLst>
                <a:ext uri="{FF2B5EF4-FFF2-40B4-BE49-F238E27FC236}">
                  <a16:creationId xmlns:a16="http://schemas.microsoft.com/office/drawing/2014/main" id="{5ABAA963-15AF-4CD3-B2D5-9D7942049B45}"/>
                </a:ext>
              </a:extLst>
            </p:cNvPr>
            <p:cNvSpPr>
              <a:spLocks noChangeArrowheads="1"/>
            </p:cNvSpPr>
            <p:nvPr/>
          </p:nvSpPr>
          <p:spPr bwMode="auto">
            <a:xfrm>
              <a:off x="39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74" name="Oval 3146">
              <a:extLst>
                <a:ext uri="{FF2B5EF4-FFF2-40B4-BE49-F238E27FC236}">
                  <a16:creationId xmlns:a16="http://schemas.microsoft.com/office/drawing/2014/main" id="{5781C060-C347-4DF1-97C4-649A83AAB199}"/>
                </a:ext>
              </a:extLst>
            </p:cNvPr>
            <p:cNvSpPr>
              <a:spLocks noChangeArrowheads="1"/>
            </p:cNvSpPr>
            <p:nvPr/>
          </p:nvSpPr>
          <p:spPr bwMode="auto">
            <a:xfrm>
              <a:off x="382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75" name="Oval 3147">
              <a:extLst>
                <a:ext uri="{FF2B5EF4-FFF2-40B4-BE49-F238E27FC236}">
                  <a16:creationId xmlns:a16="http://schemas.microsoft.com/office/drawing/2014/main" id="{D93747EC-EBC5-4770-9479-D2C424D8098F}"/>
                </a:ext>
              </a:extLst>
            </p:cNvPr>
            <p:cNvSpPr>
              <a:spLocks noChangeArrowheads="1"/>
            </p:cNvSpPr>
            <p:nvPr/>
          </p:nvSpPr>
          <p:spPr bwMode="auto">
            <a:xfrm>
              <a:off x="3705" y="21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76" name="Oval 3148">
              <a:extLst>
                <a:ext uri="{FF2B5EF4-FFF2-40B4-BE49-F238E27FC236}">
                  <a16:creationId xmlns:a16="http://schemas.microsoft.com/office/drawing/2014/main" id="{353C523D-12B2-4E33-933D-D500103198C0}"/>
                </a:ext>
              </a:extLst>
            </p:cNvPr>
            <p:cNvSpPr>
              <a:spLocks noChangeArrowheads="1"/>
            </p:cNvSpPr>
            <p:nvPr/>
          </p:nvSpPr>
          <p:spPr bwMode="auto">
            <a:xfrm>
              <a:off x="36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77" name="Oval 3149">
              <a:extLst>
                <a:ext uri="{FF2B5EF4-FFF2-40B4-BE49-F238E27FC236}">
                  <a16:creationId xmlns:a16="http://schemas.microsoft.com/office/drawing/2014/main" id="{A0D11C82-4836-4C3D-AB5F-A0FC983F4B89}"/>
                </a:ext>
              </a:extLst>
            </p:cNvPr>
            <p:cNvSpPr>
              <a:spLocks noChangeArrowheads="1"/>
            </p:cNvSpPr>
            <p:nvPr/>
          </p:nvSpPr>
          <p:spPr bwMode="auto">
            <a:xfrm>
              <a:off x="4154"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78" name="Oval 3150">
              <a:extLst>
                <a:ext uri="{FF2B5EF4-FFF2-40B4-BE49-F238E27FC236}">
                  <a16:creationId xmlns:a16="http://schemas.microsoft.com/office/drawing/2014/main" id="{5441C87D-9D2D-4931-8CB5-A756390C9ED1}"/>
                </a:ext>
              </a:extLst>
            </p:cNvPr>
            <p:cNvSpPr>
              <a:spLocks noChangeArrowheads="1"/>
            </p:cNvSpPr>
            <p:nvPr/>
          </p:nvSpPr>
          <p:spPr bwMode="auto">
            <a:xfrm>
              <a:off x="4274"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79" name="Oval 3151">
              <a:extLst>
                <a:ext uri="{FF2B5EF4-FFF2-40B4-BE49-F238E27FC236}">
                  <a16:creationId xmlns:a16="http://schemas.microsoft.com/office/drawing/2014/main" id="{E17DB5FA-A503-4E6B-AF3B-B5DCCC0B357F}"/>
                </a:ext>
              </a:extLst>
            </p:cNvPr>
            <p:cNvSpPr>
              <a:spLocks noChangeArrowheads="1"/>
            </p:cNvSpPr>
            <p:nvPr/>
          </p:nvSpPr>
          <p:spPr bwMode="auto">
            <a:xfrm>
              <a:off x="409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80" name="Oval 3152">
              <a:extLst>
                <a:ext uri="{FF2B5EF4-FFF2-40B4-BE49-F238E27FC236}">
                  <a16:creationId xmlns:a16="http://schemas.microsoft.com/office/drawing/2014/main" id="{F01EB203-ACEE-48FD-AE15-FB6A8E6164D7}"/>
                </a:ext>
              </a:extLst>
            </p:cNvPr>
            <p:cNvSpPr>
              <a:spLocks noChangeArrowheads="1"/>
            </p:cNvSpPr>
            <p:nvPr/>
          </p:nvSpPr>
          <p:spPr bwMode="auto">
            <a:xfrm>
              <a:off x="397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81" name="Oval 3153">
              <a:extLst>
                <a:ext uri="{FF2B5EF4-FFF2-40B4-BE49-F238E27FC236}">
                  <a16:creationId xmlns:a16="http://schemas.microsoft.com/office/drawing/2014/main" id="{E97693D6-64C4-4059-A2C2-EFCA43E7FCCB}"/>
                </a:ext>
              </a:extLst>
            </p:cNvPr>
            <p:cNvSpPr>
              <a:spLocks noChangeArrowheads="1"/>
            </p:cNvSpPr>
            <p:nvPr/>
          </p:nvSpPr>
          <p:spPr bwMode="auto">
            <a:xfrm>
              <a:off x="385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82" name="Oval 3154">
              <a:extLst>
                <a:ext uri="{FF2B5EF4-FFF2-40B4-BE49-F238E27FC236}">
                  <a16:creationId xmlns:a16="http://schemas.microsoft.com/office/drawing/2014/main" id="{DB8B5D5B-3754-4874-9CCF-4B4DA3E898A4}"/>
                </a:ext>
              </a:extLst>
            </p:cNvPr>
            <p:cNvSpPr>
              <a:spLocks noChangeArrowheads="1"/>
            </p:cNvSpPr>
            <p:nvPr/>
          </p:nvSpPr>
          <p:spPr bwMode="auto">
            <a:xfrm>
              <a:off x="3794"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83" name="Oval 3155">
              <a:extLst>
                <a:ext uri="{FF2B5EF4-FFF2-40B4-BE49-F238E27FC236}">
                  <a16:creationId xmlns:a16="http://schemas.microsoft.com/office/drawing/2014/main" id="{72F1B8D1-D80A-4F4B-90CC-4687187F1E03}"/>
                </a:ext>
              </a:extLst>
            </p:cNvPr>
            <p:cNvSpPr>
              <a:spLocks noChangeArrowheads="1"/>
            </p:cNvSpPr>
            <p:nvPr/>
          </p:nvSpPr>
          <p:spPr bwMode="auto">
            <a:xfrm>
              <a:off x="36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84" name="Oval 3156">
              <a:extLst>
                <a:ext uri="{FF2B5EF4-FFF2-40B4-BE49-F238E27FC236}">
                  <a16:creationId xmlns:a16="http://schemas.microsoft.com/office/drawing/2014/main" id="{C5DB0107-4647-4726-B196-12F8AEAB6A3C}"/>
                </a:ext>
              </a:extLst>
            </p:cNvPr>
            <p:cNvSpPr>
              <a:spLocks noChangeArrowheads="1"/>
            </p:cNvSpPr>
            <p:nvPr/>
          </p:nvSpPr>
          <p:spPr bwMode="auto">
            <a:xfrm>
              <a:off x="409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85" name="Oval 3157">
              <a:extLst>
                <a:ext uri="{FF2B5EF4-FFF2-40B4-BE49-F238E27FC236}">
                  <a16:creationId xmlns:a16="http://schemas.microsoft.com/office/drawing/2014/main" id="{3E79BA6D-6041-4A12-B6E2-CE78DAF76911}"/>
                </a:ext>
              </a:extLst>
            </p:cNvPr>
            <p:cNvSpPr>
              <a:spLocks noChangeArrowheads="1"/>
            </p:cNvSpPr>
            <p:nvPr/>
          </p:nvSpPr>
          <p:spPr bwMode="auto">
            <a:xfrm>
              <a:off x="400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86" name="Oval 3158">
              <a:extLst>
                <a:ext uri="{FF2B5EF4-FFF2-40B4-BE49-F238E27FC236}">
                  <a16:creationId xmlns:a16="http://schemas.microsoft.com/office/drawing/2014/main" id="{81ABFBFD-A33D-4E61-B9AF-BAEBC98AAFFC}"/>
                </a:ext>
              </a:extLst>
            </p:cNvPr>
            <p:cNvSpPr>
              <a:spLocks noChangeArrowheads="1"/>
            </p:cNvSpPr>
            <p:nvPr/>
          </p:nvSpPr>
          <p:spPr bwMode="auto">
            <a:xfrm>
              <a:off x="415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87" name="Oval 3159">
              <a:extLst>
                <a:ext uri="{FF2B5EF4-FFF2-40B4-BE49-F238E27FC236}">
                  <a16:creationId xmlns:a16="http://schemas.microsoft.com/office/drawing/2014/main" id="{8DC3D354-6DAF-4BD2-852A-CE7C4A75E62E}"/>
                </a:ext>
              </a:extLst>
            </p:cNvPr>
            <p:cNvSpPr>
              <a:spLocks noChangeArrowheads="1"/>
            </p:cNvSpPr>
            <p:nvPr/>
          </p:nvSpPr>
          <p:spPr bwMode="auto">
            <a:xfrm>
              <a:off x="424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88" name="Oval 3160">
              <a:extLst>
                <a:ext uri="{FF2B5EF4-FFF2-40B4-BE49-F238E27FC236}">
                  <a16:creationId xmlns:a16="http://schemas.microsoft.com/office/drawing/2014/main" id="{33A89BD1-ADDB-46FC-B663-C031005D739B}"/>
                </a:ext>
              </a:extLst>
            </p:cNvPr>
            <p:cNvSpPr>
              <a:spLocks noChangeArrowheads="1"/>
            </p:cNvSpPr>
            <p:nvPr/>
          </p:nvSpPr>
          <p:spPr bwMode="auto">
            <a:xfrm>
              <a:off x="427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89" name="Oval 3161">
              <a:extLst>
                <a:ext uri="{FF2B5EF4-FFF2-40B4-BE49-F238E27FC236}">
                  <a16:creationId xmlns:a16="http://schemas.microsoft.com/office/drawing/2014/main" id="{83233BA9-9FCD-40A5-B9EB-AB88CF3CA54B}"/>
                </a:ext>
              </a:extLst>
            </p:cNvPr>
            <p:cNvSpPr>
              <a:spLocks noChangeArrowheads="1"/>
            </p:cNvSpPr>
            <p:nvPr/>
          </p:nvSpPr>
          <p:spPr bwMode="auto">
            <a:xfrm>
              <a:off x="4124"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90" name="Oval 3162">
              <a:extLst>
                <a:ext uri="{FF2B5EF4-FFF2-40B4-BE49-F238E27FC236}">
                  <a16:creationId xmlns:a16="http://schemas.microsoft.com/office/drawing/2014/main" id="{A465CD93-1634-4622-9894-D63EA45304DE}"/>
                </a:ext>
              </a:extLst>
            </p:cNvPr>
            <p:cNvSpPr>
              <a:spLocks noChangeArrowheads="1"/>
            </p:cNvSpPr>
            <p:nvPr/>
          </p:nvSpPr>
          <p:spPr bwMode="auto">
            <a:xfrm>
              <a:off x="394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91" name="Oval 3163">
              <a:extLst>
                <a:ext uri="{FF2B5EF4-FFF2-40B4-BE49-F238E27FC236}">
                  <a16:creationId xmlns:a16="http://schemas.microsoft.com/office/drawing/2014/main" id="{96F010A8-53D7-4051-9C45-95F52952C15A}"/>
                </a:ext>
              </a:extLst>
            </p:cNvPr>
            <p:cNvSpPr>
              <a:spLocks noChangeArrowheads="1"/>
            </p:cNvSpPr>
            <p:nvPr/>
          </p:nvSpPr>
          <p:spPr bwMode="auto">
            <a:xfrm>
              <a:off x="3884"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92" name="Oval 3164">
              <a:extLst>
                <a:ext uri="{FF2B5EF4-FFF2-40B4-BE49-F238E27FC236}">
                  <a16:creationId xmlns:a16="http://schemas.microsoft.com/office/drawing/2014/main" id="{52E66BE7-F81E-455E-A8D8-AA7596DF5888}"/>
                </a:ext>
              </a:extLst>
            </p:cNvPr>
            <p:cNvSpPr>
              <a:spLocks noChangeArrowheads="1"/>
            </p:cNvSpPr>
            <p:nvPr/>
          </p:nvSpPr>
          <p:spPr bwMode="auto">
            <a:xfrm>
              <a:off x="376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93" name="Oval 3165">
              <a:extLst>
                <a:ext uri="{FF2B5EF4-FFF2-40B4-BE49-F238E27FC236}">
                  <a16:creationId xmlns:a16="http://schemas.microsoft.com/office/drawing/2014/main" id="{A8E74A10-5F5C-4270-860A-871504F589E6}"/>
                </a:ext>
              </a:extLst>
            </p:cNvPr>
            <p:cNvSpPr>
              <a:spLocks noChangeArrowheads="1"/>
            </p:cNvSpPr>
            <p:nvPr/>
          </p:nvSpPr>
          <p:spPr bwMode="auto">
            <a:xfrm>
              <a:off x="3705" y="30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94" name="Oval 3166">
              <a:extLst>
                <a:ext uri="{FF2B5EF4-FFF2-40B4-BE49-F238E27FC236}">
                  <a16:creationId xmlns:a16="http://schemas.microsoft.com/office/drawing/2014/main" id="{A24ED07F-3F27-407D-8489-4FF0C3EC4192}"/>
                </a:ext>
              </a:extLst>
            </p:cNvPr>
            <p:cNvSpPr>
              <a:spLocks noChangeArrowheads="1"/>
            </p:cNvSpPr>
            <p:nvPr/>
          </p:nvSpPr>
          <p:spPr bwMode="auto">
            <a:xfrm>
              <a:off x="349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95" name="Oval 3167">
              <a:extLst>
                <a:ext uri="{FF2B5EF4-FFF2-40B4-BE49-F238E27FC236}">
                  <a16:creationId xmlns:a16="http://schemas.microsoft.com/office/drawing/2014/main" id="{C4CDA581-9397-4C96-92F9-343ACE7A9965}"/>
                </a:ext>
              </a:extLst>
            </p:cNvPr>
            <p:cNvSpPr>
              <a:spLocks noChangeArrowheads="1"/>
            </p:cNvSpPr>
            <p:nvPr/>
          </p:nvSpPr>
          <p:spPr bwMode="auto">
            <a:xfrm>
              <a:off x="358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96" name="Oval 3168">
              <a:extLst>
                <a:ext uri="{FF2B5EF4-FFF2-40B4-BE49-F238E27FC236}">
                  <a16:creationId xmlns:a16="http://schemas.microsoft.com/office/drawing/2014/main" id="{3F8067B2-BDC0-45DA-BE98-28C83E65EC85}"/>
                </a:ext>
              </a:extLst>
            </p:cNvPr>
            <p:cNvSpPr>
              <a:spLocks noChangeArrowheads="1"/>
            </p:cNvSpPr>
            <p:nvPr/>
          </p:nvSpPr>
          <p:spPr bwMode="auto">
            <a:xfrm>
              <a:off x="355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0"/>
              </a:endParaRPr>
            </a:p>
          </p:txBody>
        </p:sp>
      </p:grpSp>
      <p:cxnSp>
        <p:nvCxnSpPr>
          <p:cNvPr id="5" name="Straight Connector 4"/>
          <p:cNvCxnSpPr>
            <a:cxnSpLocks/>
          </p:cNvCxnSpPr>
          <p:nvPr/>
        </p:nvCxnSpPr>
        <p:spPr>
          <a:xfrm>
            <a:off x="2980374" y="2755813"/>
            <a:ext cx="3363810"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itle 1"/>
          <p:cNvSpPr>
            <a:spLocks noGrp="1"/>
          </p:cNvSpPr>
          <p:nvPr>
            <p:ph type="title"/>
          </p:nvPr>
        </p:nvSpPr>
        <p:spPr>
          <a:xfrm>
            <a:off x="2411199" y="2028422"/>
            <a:ext cx="6006705" cy="812357"/>
          </a:xfrm>
        </p:spPr>
        <p:txBody>
          <a:bodyPr>
            <a:noAutofit/>
          </a:bodyPr>
          <a:lstStyle/>
          <a:p>
            <a:pPr algn="l"/>
            <a:r>
              <a:rPr lang="en-US" sz="4000" b="1" dirty="0"/>
              <a:t>Cisco </a:t>
            </a:r>
            <a:r>
              <a:rPr lang="en-US" sz="4000" b="1" dirty="0" err="1"/>
              <a:t>Tetration</a:t>
            </a:r>
            <a:r>
              <a:rPr lang="en-US" sz="4000" b="1" dirty="0"/>
              <a:t> Demo</a:t>
            </a:r>
            <a:endParaRPr lang="en-US" sz="4000" b="1" i="1" dirty="0"/>
          </a:p>
        </p:txBody>
      </p:sp>
      <p:pic>
        <p:nvPicPr>
          <p:cNvPr id="7" name="Picture 2" descr="C:\Users\spius\Pictures\cisco logo blue gradient.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6160373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812800" y="2921356"/>
            <a:ext cx="4604453" cy="0"/>
          </a:xfrm>
          <a:prstGeom prst="line">
            <a:avLst/>
          </a:prstGeom>
        </p:spPr>
        <p:style>
          <a:lnRef idx="2">
            <a:schemeClr val="accent1"/>
          </a:lnRef>
          <a:fillRef idx="0">
            <a:schemeClr val="accent1"/>
          </a:fillRef>
          <a:effectRef idx="1">
            <a:schemeClr val="accent1"/>
          </a:effectRef>
          <a:fontRef idx="minor">
            <a:schemeClr val="tx1"/>
          </a:fontRef>
        </p:style>
      </p:cxnSp>
      <p:sp>
        <p:nvSpPr>
          <p:cNvPr id="6" name="Title 1"/>
          <p:cNvSpPr>
            <a:spLocks noGrp="1"/>
          </p:cNvSpPr>
          <p:nvPr>
            <p:ph type="title"/>
          </p:nvPr>
        </p:nvSpPr>
        <p:spPr>
          <a:xfrm>
            <a:off x="711200" y="2028422"/>
            <a:ext cx="4706052" cy="812357"/>
          </a:xfrm>
        </p:spPr>
        <p:txBody>
          <a:bodyPr>
            <a:normAutofit fontScale="90000"/>
          </a:bodyPr>
          <a:lstStyle/>
          <a:p>
            <a:pPr algn="l"/>
            <a:r>
              <a:rPr lang="en-US" sz="2200" b="1" i="1" dirty="0"/>
              <a:t>The Power Twins…</a:t>
            </a:r>
            <a:br>
              <a:rPr lang="en-US" sz="3200" b="1" dirty="0"/>
            </a:br>
            <a:r>
              <a:rPr lang="en-US" sz="3200" b="1" dirty="0"/>
              <a:t>Cisco </a:t>
            </a:r>
            <a:r>
              <a:rPr lang="en-US" sz="3200" b="1" dirty="0" err="1"/>
              <a:t>Stealthwatch</a:t>
            </a:r>
            <a:r>
              <a:rPr lang="en-US" sz="3200" b="1" dirty="0"/>
              <a:t> + </a:t>
            </a:r>
            <a:r>
              <a:rPr lang="en-US" sz="3200" b="1" dirty="0" err="1"/>
              <a:t>Tetration</a:t>
            </a:r>
            <a:endParaRPr lang="en-US" sz="3200" b="1" i="1" dirty="0"/>
          </a:p>
        </p:txBody>
      </p:sp>
      <p:pic>
        <p:nvPicPr>
          <p:cNvPr id="3" name="Picture 2"/>
          <p:cNvPicPr>
            <a:picLocks noChangeAspect="1"/>
          </p:cNvPicPr>
          <p:nvPr/>
        </p:nvPicPr>
        <p:blipFill>
          <a:blip r:embed="rId3"/>
          <a:stretch>
            <a:fillRect/>
          </a:stretch>
        </p:blipFill>
        <p:spPr>
          <a:xfrm>
            <a:off x="5935995" y="1351142"/>
            <a:ext cx="2153906" cy="1570215"/>
          </a:xfrm>
          <a:prstGeom prst="rect">
            <a:avLst/>
          </a:prstGeom>
        </p:spPr>
      </p:pic>
      <p:pic>
        <p:nvPicPr>
          <p:cNvPr id="7" name="Picture 2" descr="C:\Users\spius\Pictures\cisco logo blue gradient.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58890109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Rectangle 107"/>
          <p:cNvSpPr/>
          <p:nvPr/>
        </p:nvSpPr>
        <p:spPr>
          <a:xfrm>
            <a:off x="0" y="1081390"/>
            <a:ext cx="9144000" cy="3639312"/>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sp>
        <p:nvSpPr>
          <p:cNvPr id="8" name="Title 7"/>
          <p:cNvSpPr>
            <a:spLocks noGrp="1"/>
          </p:cNvSpPr>
          <p:nvPr>
            <p:ph type="title"/>
          </p:nvPr>
        </p:nvSpPr>
        <p:spPr>
          <a:xfrm>
            <a:off x="1" y="341313"/>
            <a:ext cx="9196898" cy="731837"/>
          </a:xfrm>
        </p:spPr>
        <p:txBody>
          <a:bodyPr/>
          <a:lstStyle/>
          <a:p>
            <a:r>
              <a:rPr lang="en-US" sz="2000" dirty="0">
                <a:solidFill>
                  <a:schemeClr val="accent6"/>
                </a:solidFill>
                <a:latin typeface="CiscoSans ExtraLight" charset="0"/>
                <a:ea typeface="CiscoSans ExtraLight" charset="0"/>
                <a:cs typeface="CiscoSans ExtraLight" charset="0"/>
              </a:rPr>
              <a:t>   Truly End-to-End Visibility and Enforcement: </a:t>
            </a:r>
            <a:br>
              <a:rPr lang="en-US" sz="2000" dirty="0">
                <a:solidFill>
                  <a:schemeClr val="accent6"/>
                </a:solidFill>
                <a:latin typeface="CiscoSans ExtraLight" charset="0"/>
                <a:ea typeface="CiscoSans ExtraLight" charset="0"/>
                <a:cs typeface="CiscoSans ExtraLight" charset="0"/>
              </a:rPr>
            </a:br>
            <a:r>
              <a:rPr lang="en-US" sz="2000" dirty="0">
                <a:solidFill>
                  <a:schemeClr val="accent6"/>
                </a:solidFill>
                <a:latin typeface="CiscoSans ExtraLight" charset="0"/>
                <a:ea typeface="CiscoSans ExtraLight" charset="0"/>
                <a:cs typeface="CiscoSans ExtraLight" charset="0"/>
              </a:rPr>
              <a:t>    </a:t>
            </a:r>
            <a:r>
              <a:rPr lang="en-US" sz="2000" i="1" dirty="0">
                <a:solidFill>
                  <a:schemeClr val="accent6"/>
                </a:solidFill>
                <a:latin typeface="CiscoSans ExtraLight" charset="0"/>
                <a:ea typeface="CiscoSans ExtraLight" charset="0"/>
                <a:cs typeface="CiscoSans ExtraLight" charset="0"/>
              </a:rPr>
              <a:t>…Cisco </a:t>
            </a:r>
            <a:r>
              <a:rPr lang="en-US" sz="2000" i="1" dirty="0" err="1">
                <a:solidFill>
                  <a:schemeClr val="accent6"/>
                </a:solidFill>
                <a:latin typeface="CiscoSans ExtraLight" charset="0"/>
                <a:ea typeface="CiscoSans ExtraLight" charset="0"/>
                <a:cs typeface="CiscoSans ExtraLight" charset="0"/>
              </a:rPr>
              <a:t>Stealthwatch</a:t>
            </a:r>
            <a:r>
              <a:rPr lang="en-US" sz="2000" i="1" dirty="0">
                <a:solidFill>
                  <a:schemeClr val="accent6"/>
                </a:solidFill>
                <a:latin typeface="CiscoSans ExtraLight" charset="0"/>
                <a:ea typeface="CiscoSans ExtraLight" charset="0"/>
                <a:cs typeface="CiscoSans ExtraLight" charset="0"/>
              </a:rPr>
              <a:t> + </a:t>
            </a:r>
            <a:r>
              <a:rPr lang="en-US" sz="2000" i="1" dirty="0" err="1">
                <a:solidFill>
                  <a:schemeClr val="accent6"/>
                </a:solidFill>
                <a:latin typeface="CiscoSans ExtraLight" charset="0"/>
                <a:ea typeface="CiscoSans ExtraLight" charset="0"/>
                <a:cs typeface="CiscoSans ExtraLight" charset="0"/>
              </a:rPr>
              <a:t>Tetration</a:t>
            </a:r>
            <a:endParaRPr lang="en-US" sz="2000" i="1" dirty="0">
              <a:solidFill>
                <a:schemeClr val="accent6"/>
              </a:solidFill>
              <a:latin typeface="CiscoSans ExtraLight" charset="0"/>
              <a:ea typeface="CiscoSans ExtraLight" charset="0"/>
              <a:cs typeface="CiscoSans ExtraLight" charset="0"/>
            </a:endParaRPr>
          </a:p>
        </p:txBody>
      </p:sp>
      <p:sp>
        <p:nvSpPr>
          <p:cNvPr id="31" name="Rectangle 30"/>
          <p:cNvSpPr/>
          <p:nvPr/>
        </p:nvSpPr>
        <p:spPr>
          <a:xfrm>
            <a:off x="556370" y="1079780"/>
            <a:ext cx="4023360" cy="502920"/>
          </a:xfrm>
          <a:prstGeom prst="rect">
            <a:avLst/>
          </a:prstGeom>
          <a:solidFill>
            <a:schemeClr val="accent2">
              <a:lumMod val="75000"/>
            </a:schemeClr>
          </a:solidFill>
        </p:spPr>
        <p:txBody>
          <a:bodyPr wrap="square"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49CD4">
                    <a:lumMod val="40000"/>
                    <a:lumOff val="60000"/>
                  </a:srgbClr>
                </a:solidFill>
                <a:effectLst/>
                <a:uLnTx/>
                <a:uFillTx/>
                <a:latin typeface="CiscoSans ExtraLight" charset="0"/>
                <a:ea typeface="CiscoSans ExtraLight" charset="0"/>
                <a:cs typeface="CiscoSans ExtraLight" charset="0"/>
              </a:rPr>
              <a:t>Cisco </a:t>
            </a:r>
            <a:r>
              <a:rPr kumimoji="0" lang="en-US" sz="1400" b="0" i="0" u="none" strike="noStrike" kern="1200" cap="none" spc="0" normalizeH="0" baseline="0" noProof="0" dirty="0" err="1">
                <a:ln>
                  <a:noFill/>
                </a:ln>
                <a:solidFill>
                  <a:srgbClr val="049CD4">
                    <a:lumMod val="40000"/>
                    <a:lumOff val="60000"/>
                  </a:srgbClr>
                </a:solidFill>
                <a:effectLst/>
                <a:uLnTx/>
                <a:uFillTx/>
                <a:latin typeface="CiscoSans ExtraLight" charset="0"/>
                <a:ea typeface="CiscoSans ExtraLight" charset="0"/>
                <a:cs typeface="CiscoSans ExtraLight" charset="0"/>
              </a:rPr>
              <a:t>Tetration</a:t>
            </a:r>
            <a:r>
              <a:rPr kumimoji="0" lang="en-US" sz="1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 for Application Insight, Application Segmentation &amp; Policy Enforcement </a:t>
            </a:r>
          </a:p>
        </p:txBody>
      </p:sp>
      <p:sp>
        <p:nvSpPr>
          <p:cNvPr id="32" name="Rectangle 31"/>
          <p:cNvSpPr/>
          <p:nvPr/>
        </p:nvSpPr>
        <p:spPr>
          <a:xfrm>
            <a:off x="4580298" y="1079780"/>
            <a:ext cx="4023360" cy="502920"/>
          </a:xfrm>
          <a:prstGeom prst="rect">
            <a:avLst/>
          </a:prstGeom>
          <a:solidFill>
            <a:schemeClr val="accent1">
              <a:lumMod val="75000"/>
            </a:schemeClr>
          </a:solidFill>
        </p:spPr>
        <p:txBody>
          <a:bodyPr wrap="square"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49CD4">
                    <a:lumMod val="40000"/>
                    <a:lumOff val="60000"/>
                  </a:srgbClr>
                </a:solidFill>
                <a:effectLst/>
                <a:uLnTx/>
                <a:uFillTx/>
                <a:latin typeface="CiscoSans ExtraLight" charset="0"/>
                <a:ea typeface="CiscoSans ExtraLight" charset="0"/>
                <a:cs typeface="CiscoSans ExtraLight" charset="0"/>
              </a:rPr>
              <a:t>Cisco Stealthwatch</a:t>
            </a:r>
            <a:r>
              <a:rPr kumimoji="0" lang="en-US" sz="1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 for Enterprise-wide Network Visibility &amp; Threat Detection</a:t>
            </a:r>
          </a:p>
        </p:txBody>
      </p:sp>
      <p:sp>
        <p:nvSpPr>
          <p:cNvPr id="46" name="Rectangle 45"/>
          <p:cNvSpPr/>
          <p:nvPr/>
        </p:nvSpPr>
        <p:spPr>
          <a:xfrm>
            <a:off x="552450" y="1980209"/>
            <a:ext cx="1965960" cy="2743200"/>
          </a:xfrm>
          <a:prstGeom prst="rect">
            <a:avLst/>
          </a:prstGeom>
          <a:solidFill>
            <a:schemeClr val="accent2">
              <a:lumMod val="20000"/>
              <a:lumOff val="80000"/>
            </a:schemeClr>
          </a:solidFill>
        </p:spPr>
        <p:txBody>
          <a:bodyPr wrap="square" tIns="91440" anchor="t"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498D1"/>
                </a:solidFill>
                <a:effectLst/>
                <a:uLnTx/>
                <a:uFillTx/>
                <a:latin typeface="CiscoSans ExtraLight" charset="0"/>
                <a:ea typeface="CiscoSans ExtraLight" charset="0"/>
                <a:cs typeface="CiscoSans ExtraLight" charset="0"/>
              </a:rPr>
              <a:t>Tetration</a:t>
            </a:r>
          </a:p>
        </p:txBody>
      </p:sp>
      <p:sp>
        <p:nvSpPr>
          <p:cNvPr id="48" name="Rectangle 47"/>
          <p:cNvSpPr/>
          <p:nvPr/>
        </p:nvSpPr>
        <p:spPr>
          <a:xfrm>
            <a:off x="6633579" y="1980209"/>
            <a:ext cx="1965960" cy="2743200"/>
          </a:xfrm>
          <a:prstGeom prst="rect">
            <a:avLst/>
          </a:prstGeom>
          <a:solidFill>
            <a:schemeClr val="accent1">
              <a:lumMod val="20000"/>
              <a:lumOff val="80000"/>
              <a:alpha val="36000"/>
            </a:schemeClr>
          </a:solidFill>
        </p:spPr>
        <p:txBody>
          <a:bodyPr wrap="square" tIns="91440" anchor="t"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14093"/>
                </a:solidFill>
                <a:effectLst/>
                <a:uLnTx/>
                <a:uFillTx/>
                <a:latin typeface="CiscoSans ExtraLight" charset="0"/>
                <a:ea typeface="CiscoSans ExtraLight" charset="0"/>
                <a:cs typeface="CiscoSans ExtraLight" charset="0"/>
              </a:rPr>
              <a:t>Stealthwatch</a:t>
            </a:r>
          </a:p>
        </p:txBody>
      </p:sp>
      <p:sp>
        <p:nvSpPr>
          <p:cNvPr id="57" name="Rectangle 56"/>
          <p:cNvSpPr/>
          <p:nvPr/>
        </p:nvSpPr>
        <p:spPr>
          <a:xfrm>
            <a:off x="621030" y="2414164"/>
            <a:ext cx="1828800" cy="6858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Discovery and grouping based on application components &amp; application behavior in the DC</a:t>
            </a:r>
          </a:p>
        </p:txBody>
      </p:sp>
      <p:sp>
        <p:nvSpPr>
          <p:cNvPr id="64" name="Rectangle 63"/>
          <p:cNvSpPr/>
          <p:nvPr/>
        </p:nvSpPr>
        <p:spPr>
          <a:xfrm>
            <a:off x="621030" y="3932910"/>
            <a:ext cx="1828800" cy="6858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Application attribute &amp; intent-based capture and policy enforcement</a:t>
            </a:r>
          </a:p>
        </p:txBody>
      </p:sp>
      <p:sp>
        <p:nvSpPr>
          <p:cNvPr id="74" name="Rectangle 73"/>
          <p:cNvSpPr/>
          <p:nvPr/>
        </p:nvSpPr>
        <p:spPr>
          <a:xfrm>
            <a:off x="621030" y="3173537"/>
            <a:ext cx="1828800" cy="6858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Data Center Flow Forensics and Policy Simulation</a:t>
            </a:r>
          </a:p>
        </p:txBody>
      </p:sp>
      <p:sp>
        <p:nvSpPr>
          <p:cNvPr id="94" name="Rectangle 93"/>
          <p:cNvSpPr/>
          <p:nvPr/>
        </p:nvSpPr>
        <p:spPr>
          <a:xfrm>
            <a:off x="6702159" y="2414164"/>
            <a:ext cx="1828800" cy="6858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Enterprise Network-wide: routers, switches, servers, firewalls, proxies, endpoints</a:t>
            </a:r>
          </a:p>
        </p:txBody>
      </p:sp>
      <p:sp>
        <p:nvSpPr>
          <p:cNvPr id="95" name="Rectangle 94"/>
          <p:cNvSpPr/>
          <p:nvPr/>
        </p:nvSpPr>
        <p:spPr>
          <a:xfrm>
            <a:off x="6702159" y="3932910"/>
            <a:ext cx="1828800" cy="6858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Network Forensics for Incident Response</a:t>
            </a:r>
          </a:p>
        </p:txBody>
      </p:sp>
      <p:sp>
        <p:nvSpPr>
          <p:cNvPr id="96" name="Rectangle 95"/>
          <p:cNvSpPr/>
          <p:nvPr/>
        </p:nvSpPr>
        <p:spPr>
          <a:xfrm>
            <a:off x="6702159" y="3173537"/>
            <a:ext cx="1828800" cy="6858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Detects threats via network behavioral analytics &amp; machine learning</a:t>
            </a:r>
          </a:p>
        </p:txBody>
      </p:sp>
      <p:sp>
        <p:nvSpPr>
          <p:cNvPr id="102" name="Rectangle 101"/>
          <p:cNvSpPr/>
          <p:nvPr/>
        </p:nvSpPr>
        <p:spPr>
          <a:xfrm>
            <a:off x="552450" y="1938463"/>
            <a:ext cx="1965960" cy="4572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sp>
        <p:nvSpPr>
          <p:cNvPr id="104" name="Rectangle 103"/>
          <p:cNvSpPr/>
          <p:nvPr/>
        </p:nvSpPr>
        <p:spPr>
          <a:xfrm>
            <a:off x="6633579" y="1938463"/>
            <a:ext cx="1965960" cy="457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sp>
        <p:nvSpPr>
          <p:cNvPr id="109" name="Rectangle 108"/>
          <p:cNvSpPr/>
          <p:nvPr/>
        </p:nvSpPr>
        <p:spPr>
          <a:xfrm>
            <a:off x="556370" y="1079780"/>
            <a:ext cx="4023360" cy="3638618"/>
          </a:xfrm>
          <a:prstGeom prst="rect">
            <a:avLst/>
          </a:prstGeom>
          <a:noFill/>
          <a:ln w="19050">
            <a:solidFill>
              <a:schemeClr val="accent2"/>
            </a:solidFill>
            <a:prstDash val="dash"/>
          </a:ln>
        </p:spPr>
        <p:txBody>
          <a:bodyPr wrap="square"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sp>
        <p:nvSpPr>
          <p:cNvPr id="110" name="Rectangle 109"/>
          <p:cNvSpPr/>
          <p:nvPr/>
        </p:nvSpPr>
        <p:spPr>
          <a:xfrm>
            <a:off x="4580298" y="1079780"/>
            <a:ext cx="4023360" cy="3638618"/>
          </a:xfrm>
          <a:prstGeom prst="rect">
            <a:avLst/>
          </a:prstGeom>
          <a:noFill/>
          <a:ln w="19050">
            <a:solidFill>
              <a:schemeClr val="accent1"/>
            </a:solidFill>
            <a:prstDash val="dash"/>
          </a:ln>
        </p:spPr>
        <p:txBody>
          <a:bodyPr wrap="square"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grpSp>
        <p:nvGrpSpPr>
          <p:cNvPr id="3" name="Group 2"/>
          <p:cNvGrpSpPr/>
          <p:nvPr/>
        </p:nvGrpSpPr>
        <p:grpSpPr>
          <a:xfrm>
            <a:off x="2514600" y="2057400"/>
            <a:ext cx="1095375" cy="2505075"/>
            <a:chOff x="2514600" y="2057400"/>
            <a:chExt cx="1095375" cy="2505075"/>
          </a:xfrm>
        </p:grpSpPr>
        <p:sp>
          <p:nvSpPr>
            <p:cNvPr id="2" name="Freeform 1"/>
            <p:cNvSpPr/>
            <p:nvPr/>
          </p:nvSpPr>
          <p:spPr>
            <a:xfrm>
              <a:off x="2514600" y="2057400"/>
              <a:ext cx="1095375" cy="2505075"/>
            </a:xfrm>
            <a:custGeom>
              <a:avLst/>
              <a:gdLst>
                <a:gd name="connsiteX0" fmla="*/ 0 w 1095375"/>
                <a:gd name="connsiteY0" fmla="*/ 0 h 2505075"/>
                <a:gd name="connsiteX1" fmla="*/ 0 w 1095375"/>
                <a:gd name="connsiteY1" fmla="*/ 2505075 h 2505075"/>
                <a:gd name="connsiteX2" fmla="*/ 1085850 w 1095375"/>
                <a:gd name="connsiteY2" fmla="*/ 2047875 h 2505075"/>
                <a:gd name="connsiteX3" fmla="*/ 1095375 w 1095375"/>
                <a:gd name="connsiteY3" fmla="*/ 600075 h 2505075"/>
                <a:gd name="connsiteX4" fmla="*/ 0 w 1095375"/>
                <a:gd name="connsiteY4" fmla="*/ 0 h 2505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75" h="2505075">
                  <a:moveTo>
                    <a:pt x="0" y="0"/>
                  </a:moveTo>
                  <a:lnTo>
                    <a:pt x="0" y="2505075"/>
                  </a:lnTo>
                  <a:lnTo>
                    <a:pt x="1085850" y="2047875"/>
                  </a:lnTo>
                  <a:lnTo>
                    <a:pt x="1095375" y="600075"/>
                  </a:lnTo>
                  <a:lnTo>
                    <a:pt x="0" y="0"/>
                  </a:lnTo>
                  <a:close/>
                </a:path>
              </a:pathLst>
            </a:custGeom>
            <a:gradFill flip="none" rotWithShape="1">
              <a:gsLst>
                <a:gs pos="0">
                  <a:schemeClr val="accent2">
                    <a:lumMod val="20000"/>
                    <a:lumOff val="80000"/>
                    <a:alpha val="0"/>
                  </a:schemeClr>
                </a:gs>
                <a:gs pos="100000">
                  <a:schemeClr val="tx2"/>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pic>
          <p:nvPicPr>
            <p:cNvPr id="99" name="Picture 98"/>
            <p:cNvPicPr>
              <a:picLocks noChangeAspect="1"/>
            </p:cNvPicPr>
            <p:nvPr/>
          </p:nvPicPr>
          <p:blipFill rotWithShape="1">
            <a:blip r:embed="rId3" cstate="print">
              <a:extLst>
                <a:ext uri="{28A0092B-C50C-407E-A947-70E740481C1C}">
                  <a14:useLocalDpi xmlns:a14="http://schemas.microsoft.com/office/drawing/2010/main"/>
                </a:ext>
              </a:extLst>
            </a:blip>
            <a:stretch/>
          </p:blipFill>
          <p:spPr>
            <a:xfrm>
              <a:off x="2667092" y="3022061"/>
              <a:ext cx="777240" cy="689892"/>
            </a:xfrm>
            <a:prstGeom prst="rect">
              <a:avLst/>
            </a:prstGeom>
            <a:noFill/>
            <a:ln>
              <a:solidFill>
                <a:schemeClr val="tx2">
                  <a:lumMod val="60000"/>
                  <a:lumOff val="40000"/>
                </a:schemeClr>
              </a:solidFill>
            </a:ln>
          </p:spPr>
        </p:pic>
      </p:grpSp>
      <p:grpSp>
        <p:nvGrpSpPr>
          <p:cNvPr id="4" name="Group 3"/>
          <p:cNvGrpSpPr/>
          <p:nvPr/>
        </p:nvGrpSpPr>
        <p:grpSpPr>
          <a:xfrm>
            <a:off x="5530245" y="2057400"/>
            <a:ext cx="1095375" cy="2505075"/>
            <a:chOff x="5530245" y="2057400"/>
            <a:chExt cx="1095375" cy="2505075"/>
          </a:xfrm>
        </p:grpSpPr>
        <p:sp>
          <p:nvSpPr>
            <p:cNvPr id="33" name="Freeform 32"/>
            <p:cNvSpPr/>
            <p:nvPr/>
          </p:nvSpPr>
          <p:spPr>
            <a:xfrm flipH="1">
              <a:off x="5530245" y="2057400"/>
              <a:ext cx="1095375" cy="2505075"/>
            </a:xfrm>
            <a:custGeom>
              <a:avLst/>
              <a:gdLst>
                <a:gd name="connsiteX0" fmla="*/ 0 w 1095375"/>
                <a:gd name="connsiteY0" fmla="*/ 0 h 2505075"/>
                <a:gd name="connsiteX1" fmla="*/ 0 w 1095375"/>
                <a:gd name="connsiteY1" fmla="*/ 2505075 h 2505075"/>
                <a:gd name="connsiteX2" fmla="*/ 1085850 w 1095375"/>
                <a:gd name="connsiteY2" fmla="*/ 2047875 h 2505075"/>
                <a:gd name="connsiteX3" fmla="*/ 1095375 w 1095375"/>
                <a:gd name="connsiteY3" fmla="*/ 600075 h 2505075"/>
                <a:gd name="connsiteX4" fmla="*/ 0 w 1095375"/>
                <a:gd name="connsiteY4" fmla="*/ 0 h 2505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75" h="2505075">
                  <a:moveTo>
                    <a:pt x="0" y="0"/>
                  </a:moveTo>
                  <a:lnTo>
                    <a:pt x="0" y="2505075"/>
                  </a:lnTo>
                  <a:lnTo>
                    <a:pt x="1085850" y="2047875"/>
                  </a:lnTo>
                  <a:lnTo>
                    <a:pt x="1095375" y="600075"/>
                  </a:lnTo>
                  <a:lnTo>
                    <a:pt x="0" y="0"/>
                  </a:lnTo>
                  <a:close/>
                </a:path>
              </a:pathLst>
            </a:custGeom>
            <a:gradFill flip="none" rotWithShape="1">
              <a:gsLst>
                <a:gs pos="0">
                  <a:schemeClr val="accent4">
                    <a:lumMod val="20000"/>
                    <a:lumOff val="80000"/>
                    <a:alpha val="0"/>
                  </a:schemeClr>
                </a:gs>
                <a:gs pos="100000">
                  <a:schemeClr val="tx2"/>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pic>
          <p:nvPicPr>
            <p:cNvPr id="101" name="Picture 100" descr="https://saas.hpe.com/marketplace/sites/default/files/87/screenshots/LancopeScreenshot2.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5707656" y="3012267"/>
              <a:ext cx="777240" cy="709480"/>
            </a:xfrm>
            <a:prstGeom prst="rect">
              <a:avLst/>
            </a:prstGeom>
            <a:noFill/>
            <a:ln>
              <a:solidFill>
                <a:schemeClr val="tx2">
                  <a:lumMod val="60000"/>
                  <a:lumOff val="40000"/>
                </a:schemeClr>
              </a:solidFill>
            </a:ln>
            <a:extLst>
              <a:ext uri="{909E8E84-426E-40dd-AFC4-6F175D3DCCD1}">
                <a14:hiddenFill xmlns="" xmlns:a14="http://schemas.microsoft.com/office/drawing/2010/main">
                  <a:solidFill>
                    <a:srgbClr val="FFFFFF"/>
                  </a:solidFill>
                </a14:hiddenFill>
              </a:ext>
            </a:extLst>
          </p:spPr>
        </p:pic>
      </p:grpSp>
      <p:grpSp>
        <p:nvGrpSpPr>
          <p:cNvPr id="5" name="Group 106"/>
          <p:cNvGrpSpPr/>
          <p:nvPr/>
        </p:nvGrpSpPr>
        <p:grpSpPr>
          <a:xfrm>
            <a:off x="3593014" y="1921987"/>
            <a:ext cx="1965960" cy="2784946"/>
            <a:chOff x="3593014" y="1938463"/>
            <a:chExt cx="1965960" cy="2784946"/>
          </a:xfrm>
        </p:grpSpPr>
        <p:sp>
          <p:nvSpPr>
            <p:cNvPr id="47" name="Rectangle 46"/>
            <p:cNvSpPr/>
            <p:nvPr/>
          </p:nvSpPr>
          <p:spPr>
            <a:xfrm>
              <a:off x="3593014" y="1980209"/>
              <a:ext cx="1965960" cy="2743200"/>
            </a:xfrm>
            <a:prstGeom prst="rect">
              <a:avLst/>
            </a:prstGeom>
            <a:solidFill>
              <a:schemeClr val="bg1">
                <a:lumMod val="95000"/>
              </a:schemeClr>
            </a:solidFill>
          </p:spPr>
          <p:txBody>
            <a:bodyPr wrap="square" tIns="91440" anchor="t"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555558"/>
                  </a:solidFill>
                  <a:effectLst/>
                  <a:uLnTx/>
                  <a:uFillTx/>
                  <a:latin typeface="CiscoSans ExtraLight" charset="0"/>
                  <a:ea typeface="CiscoSans ExtraLight" charset="0"/>
                  <a:cs typeface="CiscoSans ExtraLight" charset="0"/>
                </a:rPr>
                <a:t>Together</a:t>
              </a:r>
              <a:endParaRPr kumimoji="0" lang="en-US" sz="1400" b="0" i="0" u="none" strike="noStrike" kern="1200" cap="none" spc="0" normalizeH="0" baseline="0" noProof="0" dirty="0">
                <a:ln>
                  <a:noFill/>
                </a:ln>
                <a:solidFill>
                  <a:srgbClr val="555558"/>
                </a:solidFill>
                <a:effectLst/>
                <a:uLnTx/>
                <a:uFillTx/>
                <a:latin typeface="CiscoSans ExtraLight" charset="0"/>
                <a:ea typeface="CiscoSans ExtraLight" charset="0"/>
                <a:cs typeface="CiscoSans ExtraLight" charset="0"/>
              </a:endParaRPr>
            </a:p>
          </p:txBody>
        </p:sp>
        <p:sp>
          <p:nvSpPr>
            <p:cNvPr id="91" name="Rectangle 90"/>
            <p:cNvSpPr/>
            <p:nvPr/>
          </p:nvSpPr>
          <p:spPr>
            <a:xfrm>
              <a:off x="3659535" y="2414164"/>
              <a:ext cx="1828800" cy="6858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Complete visibility and control of users, hosts, networks, applications, and workloads</a:t>
              </a:r>
            </a:p>
          </p:txBody>
        </p:sp>
        <p:sp>
          <p:nvSpPr>
            <p:cNvPr id="92" name="Rectangle 91"/>
            <p:cNvSpPr/>
            <p:nvPr/>
          </p:nvSpPr>
          <p:spPr>
            <a:xfrm>
              <a:off x="3659535" y="3932910"/>
              <a:ext cx="1828800" cy="6858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Analytics and </a:t>
              </a:r>
              <a:b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b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forensics for applications &amp; workloads, network traffic, and threats</a:t>
              </a:r>
            </a:p>
          </p:txBody>
        </p:sp>
        <p:sp>
          <p:nvSpPr>
            <p:cNvPr id="93" name="Rectangle 92"/>
            <p:cNvSpPr/>
            <p:nvPr/>
          </p:nvSpPr>
          <p:spPr>
            <a:xfrm>
              <a:off x="3659535" y="3173537"/>
              <a:ext cx="1828800" cy="6858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Automated segmentation &amp; policy monitoring</a:t>
              </a:r>
            </a:p>
          </p:txBody>
        </p:sp>
        <p:sp>
          <p:nvSpPr>
            <p:cNvPr id="103" name="Rectangle 102"/>
            <p:cNvSpPr/>
            <p:nvPr/>
          </p:nvSpPr>
          <p:spPr>
            <a:xfrm>
              <a:off x="3593014" y="1938463"/>
              <a:ext cx="1965960" cy="457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grpSp>
    </p:spTree>
    <p:extLst>
      <p:ext uri="{BB962C8B-B14F-4D97-AF65-F5344CB8AC3E}">
        <p14:creationId xmlns:p14="http://schemas.microsoft.com/office/powerpoint/2010/main" val="785658719"/>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par>
                                <p:cTn id="8" presetID="22" presetClass="entr" presetSubtype="2"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right)">
                                      <p:cBhvr>
                                        <p:cTn id="10" dur="500"/>
                                        <p:tgtEl>
                                          <p:spTgt spid="4"/>
                                        </p:tgtEl>
                                      </p:cBhvr>
                                    </p:animEffect>
                                  </p:childTnLst>
                                </p:cTn>
                              </p:par>
                            </p:childTnLst>
                          </p:cTn>
                        </p:par>
                        <p:par>
                          <p:cTn id="11" fill="hold">
                            <p:stCondLst>
                              <p:cond delay="500"/>
                            </p:stCondLst>
                            <p:childTnLst>
                              <p:par>
                                <p:cTn id="12" presetID="53" presetClass="entr" presetSubtype="16"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p:cTn id="14" dur="500" fill="hold"/>
                                        <p:tgtEl>
                                          <p:spTgt spid="5"/>
                                        </p:tgtEl>
                                        <p:attrNameLst>
                                          <p:attrName>ppt_w</p:attrName>
                                        </p:attrNameLst>
                                      </p:cBhvr>
                                      <p:tavLst>
                                        <p:tav tm="0">
                                          <p:val>
                                            <p:fltVal val="0"/>
                                          </p:val>
                                        </p:tav>
                                        <p:tav tm="100000">
                                          <p:val>
                                            <p:strVal val="#ppt_w"/>
                                          </p:val>
                                        </p:tav>
                                      </p:tavLst>
                                    </p:anim>
                                    <p:anim calcmode="lin" valueType="num">
                                      <p:cBhvr>
                                        <p:cTn id="15" dur="500" fill="hold"/>
                                        <p:tgtEl>
                                          <p:spTgt spid="5"/>
                                        </p:tgtEl>
                                        <p:attrNameLst>
                                          <p:attrName>ppt_h</p:attrName>
                                        </p:attrNameLst>
                                      </p:cBhvr>
                                      <p:tavLst>
                                        <p:tav tm="0">
                                          <p:val>
                                            <p:fltVal val="0"/>
                                          </p:val>
                                        </p:tav>
                                        <p:tav tm="100000">
                                          <p:val>
                                            <p:strVal val="#ppt_h"/>
                                          </p:val>
                                        </p:tav>
                                      </p:tavLst>
                                    </p:anim>
                                    <p:animEffect transition="in" filter="fade">
                                      <p:cBhvr>
                                        <p:cTn id="1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4243847" y="2130183"/>
            <a:ext cx="4748476" cy="2574614"/>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8" name="Rectangle 7"/>
          <p:cNvSpPr/>
          <p:nvPr/>
        </p:nvSpPr>
        <p:spPr>
          <a:xfrm>
            <a:off x="54110" y="2124332"/>
            <a:ext cx="4186610" cy="2574614"/>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4" name="Title 3"/>
          <p:cNvSpPr>
            <a:spLocks noGrp="1"/>
          </p:cNvSpPr>
          <p:nvPr>
            <p:ph type="title"/>
          </p:nvPr>
        </p:nvSpPr>
        <p:spPr/>
        <p:txBody>
          <a:bodyPr/>
          <a:lstStyle/>
          <a:p>
            <a:r>
              <a:rPr lang="en-US" dirty="0"/>
              <a:t>Example: Hospital </a:t>
            </a:r>
          </a:p>
        </p:txBody>
      </p:sp>
      <p:sp>
        <p:nvSpPr>
          <p:cNvPr id="5" name="TextBox 4"/>
          <p:cNvSpPr txBox="1"/>
          <p:nvPr/>
        </p:nvSpPr>
        <p:spPr>
          <a:xfrm>
            <a:off x="934663" y="1120672"/>
            <a:ext cx="7601761"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rPr>
              <a:t>Requirement  : Patient data must be protected, business must operate</a:t>
            </a:r>
          </a:p>
        </p:txBody>
      </p:sp>
      <p:sp>
        <p:nvSpPr>
          <p:cNvPr id="6" name="TextBox 5"/>
          <p:cNvSpPr txBox="1"/>
          <p:nvPr/>
        </p:nvSpPr>
        <p:spPr>
          <a:xfrm>
            <a:off x="929825" y="1537526"/>
            <a:ext cx="4211409"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rPr>
              <a:t>Challenge      : Distributed Applications</a:t>
            </a:r>
          </a:p>
        </p:txBody>
      </p:sp>
      <p:sp>
        <p:nvSpPr>
          <p:cNvPr id="7" name="Rectangle 6"/>
          <p:cNvSpPr/>
          <p:nvPr/>
        </p:nvSpPr>
        <p:spPr>
          <a:xfrm>
            <a:off x="3063546" y="3315437"/>
            <a:ext cx="1099984" cy="642537"/>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mn-ea"/>
                <a:cs typeface="+mn-cs"/>
              </a:rPr>
              <a:t>Application Client Devices</a:t>
            </a:r>
          </a:p>
        </p:txBody>
      </p:sp>
      <p:sp>
        <p:nvSpPr>
          <p:cNvPr id="9" name="Oval 8"/>
          <p:cNvSpPr/>
          <p:nvPr/>
        </p:nvSpPr>
        <p:spPr>
          <a:xfrm>
            <a:off x="4387884" y="3105890"/>
            <a:ext cx="1651215" cy="105482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mn-ea"/>
                <a:cs typeface="+mn-cs"/>
              </a:rPr>
              <a:t>Application controls</a:t>
            </a:r>
          </a:p>
        </p:txBody>
      </p:sp>
      <p:sp>
        <p:nvSpPr>
          <p:cNvPr id="10" name="Rectangle 9"/>
          <p:cNvSpPr/>
          <p:nvPr/>
        </p:nvSpPr>
        <p:spPr>
          <a:xfrm>
            <a:off x="6117035" y="2227527"/>
            <a:ext cx="2293244" cy="52449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mn-ea"/>
                <a:cs typeface="+mn-cs"/>
              </a:rPr>
              <a:t>Application Components</a:t>
            </a:r>
          </a:p>
        </p:txBody>
      </p:sp>
      <p:sp>
        <p:nvSpPr>
          <p:cNvPr id="12" name="Oval 11"/>
          <p:cNvSpPr/>
          <p:nvPr/>
        </p:nvSpPr>
        <p:spPr>
          <a:xfrm>
            <a:off x="6644949" y="3182308"/>
            <a:ext cx="1245809" cy="52905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mn-ea"/>
                <a:cs typeface="+mn-cs"/>
              </a:rPr>
              <a:t>App Policies</a:t>
            </a:r>
          </a:p>
        </p:txBody>
      </p:sp>
      <p:sp>
        <p:nvSpPr>
          <p:cNvPr id="13" name="Rectangle 12"/>
          <p:cNvSpPr/>
          <p:nvPr/>
        </p:nvSpPr>
        <p:spPr>
          <a:xfrm>
            <a:off x="6117035" y="4081171"/>
            <a:ext cx="2293244" cy="59403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mn-ea"/>
                <a:cs typeface="+mn-cs"/>
              </a:rPr>
              <a:t>Shared Services</a:t>
            </a:r>
          </a:p>
        </p:txBody>
      </p:sp>
      <p:sp>
        <p:nvSpPr>
          <p:cNvPr id="14" name="Rectangle 13"/>
          <p:cNvSpPr/>
          <p:nvPr/>
        </p:nvSpPr>
        <p:spPr>
          <a:xfrm>
            <a:off x="207129" y="2752026"/>
            <a:ext cx="985565" cy="58101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mn-ea"/>
                <a:cs typeface="+mn-cs"/>
              </a:rPr>
              <a:t>Users</a:t>
            </a: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 name="Rectangle 15"/>
          <p:cNvSpPr/>
          <p:nvPr/>
        </p:nvSpPr>
        <p:spPr>
          <a:xfrm>
            <a:off x="205206" y="3773873"/>
            <a:ext cx="989410" cy="62437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mn-ea"/>
                <a:cs typeface="+mn-cs"/>
              </a:rPr>
              <a:t>Devices</a:t>
            </a: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 name="Oval 17"/>
          <p:cNvSpPr/>
          <p:nvPr/>
        </p:nvSpPr>
        <p:spPr>
          <a:xfrm>
            <a:off x="1442790" y="3215835"/>
            <a:ext cx="1303754" cy="83493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mn-ea"/>
                <a:cs typeface="+mn-cs"/>
              </a:rPr>
              <a:t>Access Controls</a:t>
            </a:r>
          </a:p>
        </p:txBody>
      </p:sp>
      <p:cxnSp>
        <p:nvCxnSpPr>
          <p:cNvPr id="20" name="Straight Arrow Connector 19"/>
          <p:cNvCxnSpPr>
            <a:stCxn id="14" idx="3"/>
            <a:endCxn id="18" idx="1"/>
          </p:cNvCxnSpPr>
          <p:nvPr/>
        </p:nvCxnSpPr>
        <p:spPr>
          <a:xfrm>
            <a:off x="1192694" y="3042533"/>
            <a:ext cx="441026" cy="295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16" idx="3"/>
            <a:endCxn id="18" idx="3"/>
          </p:cNvCxnSpPr>
          <p:nvPr/>
        </p:nvCxnSpPr>
        <p:spPr>
          <a:xfrm flipV="1">
            <a:off x="1194616" y="3928496"/>
            <a:ext cx="439104" cy="1575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8" idx="6"/>
            <a:endCxn id="7" idx="1"/>
          </p:cNvCxnSpPr>
          <p:nvPr/>
        </p:nvCxnSpPr>
        <p:spPr>
          <a:xfrm>
            <a:off x="2746544" y="3633302"/>
            <a:ext cx="317002" cy="34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7" idx="3"/>
            <a:endCxn id="9" idx="2"/>
          </p:cNvCxnSpPr>
          <p:nvPr/>
        </p:nvCxnSpPr>
        <p:spPr>
          <a:xfrm flipV="1">
            <a:off x="4163530" y="3633302"/>
            <a:ext cx="224354" cy="34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9" idx="7"/>
            <a:endCxn id="10" idx="1"/>
          </p:cNvCxnSpPr>
          <p:nvPr/>
        </p:nvCxnSpPr>
        <p:spPr>
          <a:xfrm flipV="1">
            <a:off x="5797284" y="2489777"/>
            <a:ext cx="319751" cy="7705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9" idx="5"/>
            <a:endCxn id="13" idx="1"/>
          </p:cNvCxnSpPr>
          <p:nvPr/>
        </p:nvCxnSpPr>
        <p:spPr>
          <a:xfrm>
            <a:off x="5797284" y="4006238"/>
            <a:ext cx="319751" cy="3719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flipV="1">
            <a:off x="6371503" y="2752026"/>
            <a:ext cx="28120" cy="132914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13" idx="0"/>
            <a:endCxn id="12" idx="4"/>
          </p:cNvCxnSpPr>
          <p:nvPr/>
        </p:nvCxnSpPr>
        <p:spPr>
          <a:xfrm flipV="1">
            <a:off x="7263657" y="3711359"/>
            <a:ext cx="4197" cy="36981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12" idx="0"/>
            <a:endCxn id="10" idx="2"/>
          </p:cNvCxnSpPr>
          <p:nvPr/>
        </p:nvCxnSpPr>
        <p:spPr>
          <a:xfrm flipH="1" flipV="1">
            <a:off x="7263657" y="2752026"/>
            <a:ext cx="4197" cy="43028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70" name="&quot;No&quot; Symbol 69"/>
          <p:cNvSpPr/>
          <p:nvPr/>
        </p:nvSpPr>
        <p:spPr>
          <a:xfrm>
            <a:off x="6217649" y="3105890"/>
            <a:ext cx="344682" cy="326930"/>
          </a:xfrm>
          <a:prstGeom prst="noSmoking">
            <a:avLst/>
          </a:prstGeom>
          <a:ln/>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71" name="&quot;No&quot; Symbol 70"/>
          <p:cNvSpPr/>
          <p:nvPr/>
        </p:nvSpPr>
        <p:spPr>
          <a:xfrm>
            <a:off x="5726297" y="4006238"/>
            <a:ext cx="344682" cy="326930"/>
          </a:xfrm>
          <a:prstGeom prst="noSmoking">
            <a:avLst/>
          </a:prstGeom>
          <a:ln/>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72" name="TextBox 71"/>
          <p:cNvSpPr txBox="1"/>
          <p:nvPr/>
        </p:nvSpPr>
        <p:spPr>
          <a:xfrm>
            <a:off x="1164764" y="2153595"/>
            <a:ext cx="1859805"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2828"/>
                </a:solidFill>
                <a:effectLst/>
                <a:uLnTx/>
                <a:uFillTx/>
                <a:latin typeface="CiscoSansTT ExtraLight"/>
                <a:ea typeface="ＭＳ Ｐゴシック" charset="0"/>
              </a:rPr>
              <a:t>Campus/Branch</a:t>
            </a: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3" name="TextBox 72"/>
          <p:cNvSpPr txBox="1"/>
          <p:nvPr/>
        </p:nvSpPr>
        <p:spPr>
          <a:xfrm>
            <a:off x="4250527" y="2194018"/>
            <a:ext cx="1428596"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rPr>
              <a:t>Data Center</a:t>
            </a:r>
          </a:p>
        </p:txBody>
      </p:sp>
    </p:spTree>
    <p:extLst>
      <p:ext uri="{BB962C8B-B14F-4D97-AF65-F5344CB8AC3E}">
        <p14:creationId xmlns:p14="http://schemas.microsoft.com/office/powerpoint/2010/main" val="32975809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6DAB65-DE9A-44C5-83FD-585EBB7A94D7}"/>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23"/>
          <a:stretch/>
        </p:blipFill>
        <p:spPr>
          <a:xfrm>
            <a:off x="-855454" y="-482600"/>
            <a:ext cx="10854908" cy="6108700"/>
          </a:xfrm>
          <a:prstGeom prst="rect">
            <a:avLst/>
          </a:prstGeom>
        </p:spPr>
      </p:pic>
      <p:sp>
        <p:nvSpPr>
          <p:cNvPr id="6" name="Rectangle 5">
            <a:extLst>
              <a:ext uri="{FF2B5EF4-FFF2-40B4-BE49-F238E27FC236}">
                <a16:creationId xmlns:a16="http://schemas.microsoft.com/office/drawing/2014/main" id="{44B68097-7F19-41A9-BB7A-D8C1CBDABA5F}"/>
              </a:ext>
            </a:extLst>
          </p:cNvPr>
          <p:cNvSpPr/>
          <p:nvPr/>
        </p:nvSpPr>
        <p:spPr>
          <a:xfrm>
            <a:off x="0" y="0"/>
            <a:ext cx="9144000" cy="5143500"/>
          </a:xfrm>
          <a:prstGeom prst="rect">
            <a:avLst/>
          </a:prstGeom>
          <a:gradFill flip="none" rotWithShape="1">
            <a:gsLst>
              <a:gs pos="0">
                <a:schemeClr val="bg2"/>
              </a:gs>
              <a:gs pos="27000">
                <a:schemeClr val="bg2">
                  <a:alpha val="35000"/>
                </a:schemeClr>
              </a:gs>
              <a:gs pos="56000">
                <a:schemeClr val="bg2">
                  <a:alpha val="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B17E77A6-F8F0-484C-ABDE-5A0F35EFA78B}"/>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0" y="-16615"/>
            <a:ext cx="9144000" cy="5176731"/>
          </a:xfrm>
          <a:prstGeom prst="rect">
            <a:avLst/>
          </a:prstGeom>
        </p:spPr>
      </p:pic>
      <p:sp>
        <p:nvSpPr>
          <p:cNvPr id="9" name="Rectangle 8">
            <a:extLst>
              <a:ext uri="{FF2B5EF4-FFF2-40B4-BE49-F238E27FC236}">
                <a16:creationId xmlns:a16="http://schemas.microsoft.com/office/drawing/2014/main" id="{32256C61-43D4-47D1-92AA-1407AB884401}"/>
              </a:ext>
            </a:extLst>
          </p:cNvPr>
          <p:cNvSpPr/>
          <p:nvPr/>
        </p:nvSpPr>
        <p:spPr>
          <a:xfrm>
            <a:off x="0" y="0"/>
            <a:ext cx="9144000" cy="5143500"/>
          </a:xfrm>
          <a:prstGeom prst="rect">
            <a:avLst/>
          </a:prstGeom>
          <a:gradFill flip="none" rotWithShape="1">
            <a:gsLst>
              <a:gs pos="0">
                <a:schemeClr val="bg2"/>
              </a:gs>
              <a:gs pos="39000">
                <a:schemeClr val="bg2">
                  <a:alpha val="35000"/>
                </a:schemeClr>
              </a:gs>
              <a:gs pos="69000">
                <a:schemeClr val="bg2">
                  <a:alpha val="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14" name="Group 313">
            <a:extLst>
              <a:ext uri="{FF2B5EF4-FFF2-40B4-BE49-F238E27FC236}">
                <a16:creationId xmlns:a16="http://schemas.microsoft.com/office/drawing/2014/main" id="{62D7BA11-D01E-4AD0-9315-259C7C3D8F27}"/>
              </a:ext>
            </a:extLst>
          </p:cNvPr>
          <p:cNvGrpSpPr/>
          <p:nvPr/>
        </p:nvGrpSpPr>
        <p:grpSpPr>
          <a:xfrm>
            <a:off x="781050" y="852294"/>
            <a:ext cx="3348134" cy="1836282"/>
            <a:chOff x="781050" y="852294"/>
            <a:chExt cx="3348134" cy="1836282"/>
          </a:xfrm>
        </p:grpSpPr>
        <p:sp>
          <p:nvSpPr>
            <p:cNvPr id="4" name="TextBox 3">
              <a:extLst>
                <a:ext uri="{FF2B5EF4-FFF2-40B4-BE49-F238E27FC236}">
                  <a16:creationId xmlns:a16="http://schemas.microsoft.com/office/drawing/2014/main" id="{7CC7E6C1-438B-46B4-A220-34EF6DDA38A2}"/>
                </a:ext>
              </a:extLst>
            </p:cNvPr>
            <p:cNvSpPr txBox="1"/>
            <p:nvPr/>
          </p:nvSpPr>
          <p:spPr>
            <a:xfrm>
              <a:off x="781050" y="852294"/>
              <a:ext cx="3314700" cy="492443"/>
            </a:xfrm>
            <a:prstGeom prst="rect">
              <a:avLst/>
            </a:prstGeom>
            <a:noFill/>
          </p:spPr>
          <p:txBody>
            <a:bodyPr wrap="square" lIns="0" tIns="0" rIns="0" bIns="0" rtlCol="0" anchor="b">
              <a:spAutoFit/>
            </a:bodyPr>
            <a:lstStyle/>
            <a:p>
              <a:pPr defTabSz="685800" fontAlgn="auto">
                <a:spcBef>
                  <a:spcPts val="600"/>
                </a:spcBef>
                <a:spcAft>
                  <a:spcPts val="0"/>
                </a:spcAft>
              </a:pPr>
              <a:r>
                <a:rPr lang="en-US" sz="3200" dirty="0">
                  <a:solidFill>
                    <a:schemeClr val="bg1"/>
                  </a:solidFill>
                  <a:latin typeface="CiscoSansTT ExtraLight"/>
                  <a:ea typeface="+mn-ea"/>
                  <a:cs typeface="CiscoSansTT" panose="020B0503020201020303" pitchFamily="34" charset="0"/>
                </a:rPr>
                <a:t>As a Result</a:t>
              </a:r>
            </a:p>
          </p:txBody>
        </p:sp>
        <p:sp>
          <p:nvSpPr>
            <p:cNvPr id="5" name="TextBox 4">
              <a:extLst>
                <a:ext uri="{FF2B5EF4-FFF2-40B4-BE49-F238E27FC236}">
                  <a16:creationId xmlns:a16="http://schemas.microsoft.com/office/drawing/2014/main" id="{41BBED8D-B9F1-4155-9F27-7501CCDBD565}"/>
                </a:ext>
              </a:extLst>
            </p:cNvPr>
            <p:cNvSpPr txBox="1"/>
            <p:nvPr/>
          </p:nvSpPr>
          <p:spPr>
            <a:xfrm>
              <a:off x="781050" y="1571347"/>
              <a:ext cx="3348134" cy="1117229"/>
            </a:xfrm>
            <a:prstGeom prst="rect">
              <a:avLst/>
            </a:prstGeom>
            <a:noFill/>
          </p:spPr>
          <p:txBody>
            <a:bodyPr wrap="square" lIns="0" tIns="0" rIns="0" bIns="0" rtlCol="0">
              <a:spAutoFit/>
            </a:bodyPr>
            <a:lstStyle/>
            <a:p>
              <a:pPr defTabSz="685800" fontAlgn="auto">
                <a:lnSpc>
                  <a:spcPct val="90000"/>
                </a:lnSpc>
                <a:spcBef>
                  <a:spcPts val="1200"/>
                </a:spcBef>
                <a:spcAft>
                  <a:spcPts val="600"/>
                </a:spcAft>
              </a:pPr>
              <a:r>
                <a:rPr lang="en-US" sz="1600" dirty="0">
                  <a:solidFill>
                    <a:schemeClr val="bg1"/>
                  </a:solidFill>
                  <a:latin typeface="CiscoSansTT ExtraLight"/>
                  <a:ea typeface="+mn-ea"/>
                  <a:cs typeface="CiscoSansTT" panose="020B0503020201020303" pitchFamily="34" charset="0"/>
                </a:rPr>
                <a:t>The data center is no longer </a:t>
              </a:r>
              <a:br>
                <a:rPr lang="en-US" sz="1600" dirty="0">
                  <a:solidFill>
                    <a:schemeClr val="bg1"/>
                  </a:solidFill>
                  <a:latin typeface="CiscoSansTT ExtraLight"/>
                  <a:ea typeface="+mn-ea"/>
                  <a:cs typeface="CiscoSansTT" panose="020B0503020201020303" pitchFamily="34" charset="0"/>
                </a:rPr>
              </a:br>
              <a:r>
                <a:rPr lang="en-US" sz="1600" dirty="0">
                  <a:solidFill>
                    <a:schemeClr val="bg1"/>
                  </a:solidFill>
                  <a:latin typeface="CiscoSansTT ExtraLight"/>
                  <a:ea typeface="+mn-ea"/>
                  <a:cs typeface="CiscoSansTT" panose="020B0503020201020303" pitchFamily="34" charset="0"/>
                </a:rPr>
                <a:t>a place or fixed location</a:t>
              </a:r>
            </a:p>
            <a:p>
              <a:pPr defTabSz="685800" fontAlgn="auto">
                <a:lnSpc>
                  <a:spcPct val="90000"/>
                </a:lnSpc>
                <a:spcBef>
                  <a:spcPts val="1200"/>
                </a:spcBef>
                <a:spcAft>
                  <a:spcPts val="600"/>
                </a:spcAft>
              </a:pPr>
              <a:r>
                <a:rPr lang="en-US" sz="1600" dirty="0">
                  <a:solidFill>
                    <a:schemeClr val="bg1"/>
                  </a:solidFill>
                  <a:latin typeface="CiscoSansTT ExtraLight"/>
                  <a:ea typeface="+mn-ea"/>
                  <a:cs typeface="CiscoSansTT" panose="020B0503020201020303" pitchFamily="34" charset="0"/>
                </a:rPr>
                <a:t>It’s defined as wherever the data </a:t>
              </a:r>
              <a:br>
                <a:rPr lang="en-US" sz="1600" dirty="0">
                  <a:solidFill>
                    <a:schemeClr val="bg1"/>
                  </a:solidFill>
                  <a:latin typeface="CiscoSansTT ExtraLight"/>
                  <a:ea typeface="+mn-ea"/>
                  <a:cs typeface="CiscoSansTT" panose="020B0503020201020303" pitchFamily="34" charset="0"/>
                </a:rPr>
              </a:br>
              <a:r>
                <a:rPr lang="en-US" sz="1600" dirty="0">
                  <a:solidFill>
                    <a:schemeClr val="bg1"/>
                  </a:solidFill>
                  <a:latin typeface="CiscoSansTT ExtraLight"/>
                  <a:ea typeface="+mn-ea"/>
                  <a:cs typeface="CiscoSansTT" panose="020B0503020201020303" pitchFamily="34" charset="0"/>
                </a:rPr>
                <a:t>is created, processed and used</a:t>
              </a:r>
            </a:p>
          </p:txBody>
        </p:sp>
      </p:grpSp>
      <p:grpSp>
        <p:nvGrpSpPr>
          <p:cNvPr id="14" name="Group 13">
            <a:extLst>
              <a:ext uri="{FF2B5EF4-FFF2-40B4-BE49-F238E27FC236}">
                <a16:creationId xmlns:a16="http://schemas.microsoft.com/office/drawing/2014/main" id="{D9E82205-B7A8-4D27-B5C6-7E4A800ACF90}"/>
              </a:ext>
            </a:extLst>
          </p:cNvPr>
          <p:cNvGrpSpPr/>
          <p:nvPr/>
        </p:nvGrpSpPr>
        <p:grpSpPr>
          <a:xfrm>
            <a:off x="-1117600" y="-1275156"/>
            <a:ext cx="11379200" cy="7710427"/>
            <a:chOff x="-1117600" y="-1275156"/>
            <a:chExt cx="11379200" cy="7710427"/>
          </a:xfrm>
        </p:grpSpPr>
        <p:sp>
          <p:nvSpPr>
            <p:cNvPr id="10" name="Rectangle 9">
              <a:extLst>
                <a:ext uri="{FF2B5EF4-FFF2-40B4-BE49-F238E27FC236}">
                  <a16:creationId xmlns:a16="http://schemas.microsoft.com/office/drawing/2014/main" id="{7321903C-4A6A-469C-8F9E-A470F7D172AD}"/>
                </a:ext>
              </a:extLst>
            </p:cNvPr>
            <p:cNvSpPr/>
            <p:nvPr/>
          </p:nvSpPr>
          <p:spPr>
            <a:xfrm>
              <a:off x="-1117600" y="-1275156"/>
              <a:ext cx="11379200" cy="1275156"/>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5FB8DBB7-4CC2-4DCD-80B3-3B6D296551F6}"/>
                </a:ext>
              </a:extLst>
            </p:cNvPr>
            <p:cNvSpPr/>
            <p:nvPr/>
          </p:nvSpPr>
          <p:spPr>
            <a:xfrm>
              <a:off x="-1117600" y="5160115"/>
              <a:ext cx="11379200" cy="1275156"/>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DE085CE9-7816-42BB-950C-172D78FF5921}"/>
                </a:ext>
              </a:extLst>
            </p:cNvPr>
            <p:cNvSpPr/>
            <p:nvPr/>
          </p:nvSpPr>
          <p:spPr>
            <a:xfrm>
              <a:off x="9144000" y="-228600"/>
              <a:ext cx="1117600" cy="56007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9FB2800-7200-41A9-AADB-8A6DAC6008F7}"/>
                </a:ext>
              </a:extLst>
            </p:cNvPr>
            <p:cNvSpPr/>
            <p:nvPr/>
          </p:nvSpPr>
          <p:spPr>
            <a:xfrm>
              <a:off x="-1117600" y="-228600"/>
              <a:ext cx="1117600" cy="5600700"/>
            </a:xfrm>
            <a:prstGeom prst="rect">
              <a:avLst/>
            </a:pr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91" name="Straight Connector 290">
            <a:extLst>
              <a:ext uri="{FF2B5EF4-FFF2-40B4-BE49-F238E27FC236}">
                <a16:creationId xmlns:a16="http://schemas.microsoft.com/office/drawing/2014/main" id="{5A6B39F1-C38B-4100-9723-A30E3296DD85}"/>
              </a:ext>
            </a:extLst>
          </p:cNvPr>
          <p:cNvCxnSpPr/>
          <p:nvPr/>
        </p:nvCxnSpPr>
        <p:spPr>
          <a:xfrm>
            <a:off x="4628450" y="2539296"/>
            <a:ext cx="0" cy="1352129"/>
          </a:xfrm>
          <a:prstGeom prst="line">
            <a:avLst/>
          </a:prstGeom>
          <a:ln w="12700" cap="rnd">
            <a:gradFill>
              <a:gsLst>
                <a:gs pos="0">
                  <a:schemeClr val="accent1"/>
                </a:gs>
                <a:gs pos="50000">
                  <a:srgbClr val="00BCEB"/>
                </a:gs>
                <a:gs pos="84000">
                  <a:schemeClr val="accent1">
                    <a:alpha val="0"/>
                  </a:schemeClr>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78C2C8F2-03DC-4BA1-8676-6D63A39C0DB6}"/>
              </a:ext>
            </a:extLst>
          </p:cNvPr>
          <p:cNvCxnSpPr>
            <a:cxnSpLocks/>
          </p:cNvCxnSpPr>
          <p:nvPr/>
        </p:nvCxnSpPr>
        <p:spPr>
          <a:xfrm>
            <a:off x="5493751" y="2819768"/>
            <a:ext cx="0" cy="580657"/>
          </a:xfrm>
          <a:prstGeom prst="line">
            <a:avLst/>
          </a:prstGeom>
          <a:ln w="6350" cap="rnd">
            <a:gradFill>
              <a:gsLst>
                <a:gs pos="0">
                  <a:schemeClr val="accent1"/>
                </a:gs>
                <a:gs pos="50000">
                  <a:srgbClr val="00BCEB"/>
                </a:gs>
                <a:gs pos="84000">
                  <a:schemeClr val="accent1">
                    <a:alpha val="0"/>
                  </a:schemeClr>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44266279-A505-4B07-8B22-39390920501C}"/>
              </a:ext>
            </a:extLst>
          </p:cNvPr>
          <p:cNvCxnSpPr>
            <a:cxnSpLocks/>
          </p:cNvCxnSpPr>
          <p:nvPr/>
        </p:nvCxnSpPr>
        <p:spPr>
          <a:xfrm>
            <a:off x="5242647" y="1693553"/>
            <a:ext cx="0" cy="1659854"/>
          </a:xfrm>
          <a:prstGeom prst="line">
            <a:avLst/>
          </a:prstGeom>
          <a:ln w="12700" cap="rnd">
            <a:gradFill>
              <a:gsLst>
                <a:gs pos="0">
                  <a:schemeClr val="accent1"/>
                </a:gs>
                <a:gs pos="50000">
                  <a:srgbClr val="00BCEB"/>
                </a:gs>
                <a:gs pos="84000">
                  <a:schemeClr val="accent1">
                    <a:alpha val="0"/>
                  </a:schemeClr>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DD827316-279D-4D5D-ACF6-BBEA99BDE300}"/>
              </a:ext>
            </a:extLst>
          </p:cNvPr>
          <p:cNvCxnSpPr>
            <a:cxnSpLocks/>
          </p:cNvCxnSpPr>
          <p:nvPr/>
        </p:nvCxnSpPr>
        <p:spPr>
          <a:xfrm>
            <a:off x="6117007" y="2056035"/>
            <a:ext cx="0" cy="1377728"/>
          </a:xfrm>
          <a:prstGeom prst="line">
            <a:avLst/>
          </a:prstGeom>
          <a:ln w="12700" cap="rnd">
            <a:gradFill>
              <a:gsLst>
                <a:gs pos="0">
                  <a:schemeClr val="accent1"/>
                </a:gs>
                <a:gs pos="50000">
                  <a:srgbClr val="00BCEB"/>
                </a:gs>
                <a:gs pos="84000">
                  <a:schemeClr val="accent1">
                    <a:alpha val="0"/>
                  </a:schemeClr>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111CB7C0-A8B4-40EA-8151-0B58576CD006}"/>
              </a:ext>
            </a:extLst>
          </p:cNvPr>
          <p:cNvCxnSpPr>
            <a:cxnSpLocks/>
          </p:cNvCxnSpPr>
          <p:nvPr/>
        </p:nvCxnSpPr>
        <p:spPr>
          <a:xfrm>
            <a:off x="6887434" y="1172212"/>
            <a:ext cx="0" cy="2547301"/>
          </a:xfrm>
          <a:prstGeom prst="line">
            <a:avLst/>
          </a:prstGeom>
          <a:ln w="12700" cap="rnd">
            <a:gradFill>
              <a:gsLst>
                <a:gs pos="0">
                  <a:schemeClr val="accent1"/>
                </a:gs>
                <a:gs pos="50000">
                  <a:srgbClr val="00BCEB"/>
                </a:gs>
                <a:gs pos="84000">
                  <a:schemeClr val="accent1">
                    <a:alpha val="0"/>
                  </a:schemeClr>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9661AE63-9443-493C-BD5C-7AA42D0E706E}"/>
              </a:ext>
            </a:extLst>
          </p:cNvPr>
          <p:cNvCxnSpPr>
            <a:cxnSpLocks/>
          </p:cNvCxnSpPr>
          <p:nvPr/>
        </p:nvCxnSpPr>
        <p:spPr>
          <a:xfrm>
            <a:off x="7382585" y="2586602"/>
            <a:ext cx="0" cy="1039248"/>
          </a:xfrm>
          <a:prstGeom prst="line">
            <a:avLst/>
          </a:prstGeom>
          <a:ln w="12700" cap="rnd">
            <a:gradFill>
              <a:gsLst>
                <a:gs pos="0">
                  <a:schemeClr val="accent1"/>
                </a:gs>
                <a:gs pos="50000">
                  <a:srgbClr val="00BCEB"/>
                </a:gs>
                <a:gs pos="84000">
                  <a:schemeClr val="accent1">
                    <a:alpha val="0"/>
                  </a:schemeClr>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025D01F0-B3BE-4516-9560-55250F0B859A}"/>
              </a:ext>
            </a:extLst>
          </p:cNvPr>
          <p:cNvCxnSpPr>
            <a:cxnSpLocks/>
          </p:cNvCxnSpPr>
          <p:nvPr/>
        </p:nvCxnSpPr>
        <p:spPr>
          <a:xfrm>
            <a:off x="8119783" y="2029922"/>
            <a:ext cx="0" cy="1689591"/>
          </a:xfrm>
          <a:prstGeom prst="line">
            <a:avLst/>
          </a:prstGeom>
          <a:ln w="12700" cap="rnd">
            <a:gradFill>
              <a:gsLst>
                <a:gs pos="0">
                  <a:schemeClr val="accent1"/>
                </a:gs>
                <a:gs pos="50000">
                  <a:srgbClr val="00BCEB"/>
                </a:gs>
                <a:gs pos="84000">
                  <a:schemeClr val="accent1">
                    <a:alpha val="0"/>
                  </a:schemeClr>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5045E16F-16BA-43AC-AD97-018927AD4AA8}"/>
              </a:ext>
            </a:extLst>
          </p:cNvPr>
          <p:cNvCxnSpPr>
            <a:cxnSpLocks/>
          </p:cNvCxnSpPr>
          <p:nvPr/>
        </p:nvCxnSpPr>
        <p:spPr>
          <a:xfrm>
            <a:off x="8335003" y="2663665"/>
            <a:ext cx="0" cy="901860"/>
          </a:xfrm>
          <a:prstGeom prst="line">
            <a:avLst/>
          </a:prstGeom>
          <a:ln w="6350" cap="rnd">
            <a:gradFill>
              <a:gsLst>
                <a:gs pos="0">
                  <a:schemeClr val="accent1"/>
                </a:gs>
                <a:gs pos="50000">
                  <a:srgbClr val="00BCEB"/>
                </a:gs>
                <a:gs pos="84000">
                  <a:schemeClr val="accent1">
                    <a:alpha val="0"/>
                  </a:schemeClr>
                </a:gs>
              </a:gsLst>
              <a:lin ang="5400000" scaled="1"/>
            </a:gradFill>
            <a:prstDash val="sysDot"/>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4FB18D5B-FD44-4CEC-9F33-EF4469AC4348}"/>
              </a:ext>
            </a:extLst>
          </p:cNvPr>
          <p:cNvCxnSpPr>
            <a:cxnSpLocks/>
          </p:cNvCxnSpPr>
          <p:nvPr/>
        </p:nvCxnSpPr>
        <p:spPr>
          <a:xfrm>
            <a:off x="8639911" y="3362932"/>
            <a:ext cx="0" cy="528493"/>
          </a:xfrm>
          <a:prstGeom prst="line">
            <a:avLst/>
          </a:prstGeom>
          <a:ln w="6350" cap="rnd">
            <a:gradFill>
              <a:gsLst>
                <a:gs pos="0">
                  <a:schemeClr val="accent1"/>
                </a:gs>
                <a:gs pos="50000">
                  <a:srgbClr val="00BCEB"/>
                </a:gs>
                <a:gs pos="84000">
                  <a:schemeClr val="accent1">
                    <a:alpha val="0"/>
                  </a:schemeClr>
                </a:gs>
              </a:gsLst>
              <a:lin ang="5400000" scaled="1"/>
            </a:gradFill>
            <a:prstDash val="sysDot"/>
          </a:ln>
        </p:spPr>
        <p:style>
          <a:lnRef idx="1">
            <a:schemeClr val="accent1"/>
          </a:lnRef>
          <a:fillRef idx="0">
            <a:schemeClr val="accent1"/>
          </a:fillRef>
          <a:effectRef idx="0">
            <a:schemeClr val="accent1"/>
          </a:effectRef>
          <a:fontRef idx="minor">
            <a:schemeClr val="tx1"/>
          </a:fontRef>
        </p:style>
      </p:cxnSp>
      <p:grpSp>
        <p:nvGrpSpPr>
          <p:cNvPr id="27" name="Group 4">
            <a:extLst>
              <a:ext uri="{FF2B5EF4-FFF2-40B4-BE49-F238E27FC236}">
                <a16:creationId xmlns:a16="http://schemas.microsoft.com/office/drawing/2014/main" id="{9DE36C74-77BC-4BAE-9CFB-731763D90F78}"/>
              </a:ext>
            </a:extLst>
          </p:cNvPr>
          <p:cNvGrpSpPr>
            <a:grpSpLocks noChangeAspect="1"/>
          </p:cNvGrpSpPr>
          <p:nvPr/>
        </p:nvGrpSpPr>
        <p:grpSpPr bwMode="auto">
          <a:xfrm>
            <a:off x="5054903" y="1320788"/>
            <a:ext cx="375489" cy="375783"/>
            <a:chOff x="1608" y="347"/>
            <a:chExt cx="2544" cy="2546"/>
          </a:xfrm>
        </p:grpSpPr>
        <p:sp>
          <p:nvSpPr>
            <p:cNvPr id="28" name="Oval 5">
              <a:extLst>
                <a:ext uri="{FF2B5EF4-FFF2-40B4-BE49-F238E27FC236}">
                  <a16:creationId xmlns:a16="http://schemas.microsoft.com/office/drawing/2014/main" id="{1C1FBFD9-A538-42C7-AEE3-98231DA0425C}"/>
                </a:ext>
              </a:extLst>
            </p:cNvPr>
            <p:cNvSpPr>
              <a:spLocks noChangeArrowheads="1"/>
            </p:cNvSpPr>
            <p:nvPr/>
          </p:nvSpPr>
          <p:spPr bwMode="auto">
            <a:xfrm>
              <a:off x="1608" y="347"/>
              <a:ext cx="2544" cy="2546"/>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a:extLst>
                <a:ext uri="{FF2B5EF4-FFF2-40B4-BE49-F238E27FC236}">
                  <a16:creationId xmlns:a16="http://schemas.microsoft.com/office/drawing/2014/main" id="{598FEA80-F6A6-4E7A-84E5-2315EA0A3A8D}"/>
                </a:ext>
              </a:extLst>
            </p:cNvPr>
            <p:cNvSpPr>
              <a:spLocks/>
            </p:cNvSpPr>
            <p:nvPr/>
          </p:nvSpPr>
          <p:spPr bwMode="auto">
            <a:xfrm>
              <a:off x="2297" y="839"/>
              <a:ext cx="1844" cy="2054"/>
            </a:xfrm>
            <a:custGeom>
              <a:avLst/>
              <a:gdLst>
                <a:gd name="T0" fmla="*/ 508 w 1044"/>
                <a:gd name="T1" fmla="*/ 1 h 1162"/>
                <a:gd name="T2" fmla="*/ 507 w 1044"/>
                <a:gd name="T3" fmla="*/ 0 h 1162"/>
                <a:gd name="T4" fmla="*/ 507 w 1044"/>
                <a:gd name="T5" fmla="*/ 1 h 1162"/>
                <a:gd name="T6" fmla="*/ 63 w 1044"/>
                <a:gd name="T7" fmla="*/ 1 h 1162"/>
                <a:gd name="T8" fmla="*/ 0 w 1044"/>
                <a:gd name="T9" fmla="*/ 64 h 1162"/>
                <a:gd name="T10" fmla="*/ 0 w 1044"/>
                <a:gd name="T11" fmla="*/ 829 h 1162"/>
                <a:gd name="T12" fmla="*/ 32 w 1044"/>
                <a:gd name="T13" fmla="*/ 883 h 1162"/>
                <a:gd name="T14" fmla="*/ 310 w 1044"/>
                <a:gd name="T15" fmla="*/ 1161 h 1162"/>
                <a:gd name="T16" fmla="*/ 330 w 1044"/>
                <a:gd name="T17" fmla="*/ 1162 h 1162"/>
                <a:gd name="T18" fmla="*/ 1044 w 1044"/>
                <a:gd name="T19" fmla="*/ 533 h 1162"/>
                <a:gd name="T20" fmla="*/ 508 w 1044"/>
                <a:gd name="T21" fmla="*/ 1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4" h="1162">
                  <a:moveTo>
                    <a:pt x="508" y="1"/>
                  </a:moveTo>
                  <a:cubicBezTo>
                    <a:pt x="507" y="0"/>
                    <a:pt x="507" y="0"/>
                    <a:pt x="507" y="0"/>
                  </a:cubicBezTo>
                  <a:cubicBezTo>
                    <a:pt x="507" y="1"/>
                    <a:pt x="507" y="1"/>
                    <a:pt x="507" y="1"/>
                  </a:cubicBezTo>
                  <a:cubicBezTo>
                    <a:pt x="63" y="1"/>
                    <a:pt x="63" y="1"/>
                    <a:pt x="63" y="1"/>
                  </a:cubicBezTo>
                  <a:cubicBezTo>
                    <a:pt x="28" y="1"/>
                    <a:pt x="0" y="29"/>
                    <a:pt x="0" y="64"/>
                  </a:cubicBezTo>
                  <a:cubicBezTo>
                    <a:pt x="0" y="829"/>
                    <a:pt x="0" y="829"/>
                    <a:pt x="0" y="829"/>
                  </a:cubicBezTo>
                  <a:cubicBezTo>
                    <a:pt x="0" y="852"/>
                    <a:pt x="13" y="872"/>
                    <a:pt x="32" y="883"/>
                  </a:cubicBezTo>
                  <a:cubicBezTo>
                    <a:pt x="310" y="1161"/>
                    <a:pt x="310" y="1161"/>
                    <a:pt x="310" y="1161"/>
                  </a:cubicBezTo>
                  <a:cubicBezTo>
                    <a:pt x="317" y="1162"/>
                    <a:pt x="324" y="1162"/>
                    <a:pt x="330" y="1162"/>
                  </a:cubicBezTo>
                  <a:cubicBezTo>
                    <a:pt x="697" y="1162"/>
                    <a:pt x="999" y="888"/>
                    <a:pt x="1044" y="533"/>
                  </a:cubicBezTo>
                  <a:lnTo>
                    <a:pt x="508" y="1"/>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
              <a:extLst>
                <a:ext uri="{FF2B5EF4-FFF2-40B4-BE49-F238E27FC236}">
                  <a16:creationId xmlns:a16="http://schemas.microsoft.com/office/drawing/2014/main" id="{78B8BAA1-C09E-41C9-AF8D-C46CDA6DF8CC}"/>
                </a:ext>
              </a:extLst>
            </p:cNvPr>
            <p:cNvSpPr>
              <a:spLocks/>
            </p:cNvSpPr>
            <p:nvPr/>
          </p:nvSpPr>
          <p:spPr bwMode="auto">
            <a:xfrm>
              <a:off x="2297" y="840"/>
              <a:ext cx="1297" cy="1576"/>
            </a:xfrm>
            <a:custGeom>
              <a:avLst/>
              <a:gdLst>
                <a:gd name="T0" fmla="*/ 732 w 734"/>
                <a:gd name="T1" fmla="*/ 223 h 891"/>
                <a:gd name="T2" fmla="*/ 508 w 734"/>
                <a:gd name="T3" fmla="*/ 0 h 891"/>
                <a:gd name="T4" fmla="*/ 63 w 734"/>
                <a:gd name="T5" fmla="*/ 0 h 891"/>
                <a:gd name="T6" fmla="*/ 0 w 734"/>
                <a:gd name="T7" fmla="*/ 63 h 891"/>
                <a:gd name="T8" fmla="*/ 0 w 734"/>
                <a:gd name="T9" fmla="*/ 828 h 891"/>
                <a:gd name="T10" fmla="*/ 63 w 734"/>
                <a:gd name="T11" fmla="*/ 891 h 891"/>
                <a:gd name="T12" fmla="*/ 671 w 734"/>
                <a:gd name="T13" fmla="*/ 891 h 891"/>
                <a:gd name="T14" fmla="*/ 734 w 734"/>
                <a:gd name="T15" fmla="*/ 828 h 891"/>
                <a:gd name="T16" fmla="*/ 734 w 734"/>
                <a:gd name="T17" fmla="*/ 226 h 891"/>
                <a:gd name="T18" fmla="*/ 732 w 734"/>
                <a:gd name="T19" fmla="*/ 223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891">
                  <a:moveTo>
                    <a:pt x="732" y="223"/>
                  </a:moveTo>
                  <a:cubicBezTo>
                    <a:pt x="508" y="0"/>
                    <a:pt x="508" y="0"/>
                    <a:pt x="508" y="0"/>
                  </a:cubicBezTo>
                  <a:cubicBezTo>
                    <a:pt x="63" y="0"/>
                    <a:pt x="63" y="0"/>
                    <a:pt x="63" y="0"/>
                  </a:cubicBezTo>
                  <a:cubicBezTo>
                    <a:pt x="28" y="0"/>
                    <a:pt x="0" y="28"/>
                    <a:pt x="0" y="63"/>
                  </a:cubicBezTo>
                  <a:cubicBezTo>
                    <a:pt x="0" y="828"/>
                    <a:pt x="0" y="828"/>
                    <a:pt x="0" y="828"/>
                  </a:cubicBezTo>
                  <a:cubicBezTo>
                    <a:pt x="0" y="863"/>
                    <a:pt x="28" y="891"/>
                    <a:pt x="63" y="891"/>
                  </a:cubicBezTo>
                  <a:cubicBezTo>
                    <a:pt x="671" y="891"/>
                    <a:pt x="671" y="891"/>
                    <a:pt x="671" y="891"/>
                  </a:cubicBezTo>
                  <a:cubicBezTo>
                    <a:pt x="706" y="891"/>
                    <a:pt x="734" y="863"/>
                    <a:pt x="734" y="828"/>
                  </a:cubicBezTo>
                  <a:cubicBezTo>
                    <a:pt x="734" y="226"/>
                    <a:pt x="734" y="226"/>
                    <a:pt x="734" y="226"/>
                  </a:cubicBezTo>
                  <a:lnTo>
                    <a:pt x="732" y="2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8">
              <a:extLst>
                <a:ext uri="{FF2B5EF4-FFF2-40B4-BE49-F238E27FC236}">
                  <a16:creationId xmlns:a16="http://schemas.microsoft.com/office/drawing/2014/main" id="{F21AE2DA-9B53-4FB4-A33D-5FD009508D48}"/>
                </a:ext>
              </a:extLst>
            </p:cNvPr>
            <p:cNvSpPr>
              <a:spLocks/>
            </p:cNvSpPr>
            <p:nvPr/>
          </p:nvSpPr>
          <p:spPr bwMode="auto">
            <a:xfrm>
              <a:off x="3193" y="839"/>
              <a:ext cx="401" cy="401"/>
            </a:xfrm>
            <a:custGeom>
              <a:avLst/>
              <a:gdLst>
                <a:gd name="T0" fmla="*/ 0 w 227"/>
                <a:gd name="T1" fmla="*/ 163 h 227"/>
                <a:gd name="T2" fmla="*/ 64 w 227"/>
                <a:gd name="T3" fmla="*/ 227 h 227"/>
                <a:gd name="T4" fmla="*/ 227 w 227"/>
                <a:gd name="T5" fmla="*/ 227 h 227"/>
                <a:gd name="T6" fmla="*/ 0 w 227"/>
                <a:gd name="T7" fmla="*/ 0 h 227"/>
                <a:gd name="T8" fmla="*/ 0 w 227"/>
                <a:gd name="T9" fmla="*/ 163 h 227"/>
              </a:gdLst>
              <a:ahLst/>
              <a:cxnLst>
                <a:cxn ang="0">
                  <a:pos x="T0" y="T1"/>
                </a:cxn>
                <a:cxn ang="0">
                  <a:pos x="T2" y="T3"/>
                </a:cxn>
                <a:cxn ang="0">
                  <a:pos x="T4" y="T5"/>
                </a:cxn>
                <a:cxn ang="0">
                  <a:pos x="T6" y="T7"/>
                </a:cxn>
                <a:cxn ang="0">
                  <a:pos x="T8" y="T9"/>
                </a:cxn>
              </a:cxnLst>
              <a:rect l="0" t="0" r="r" b="b"/>
              <a:pathLst>
                <a:path w="227" h="227">
                  <a:moveTo>
                    <a:pt x="0" y="163"/>
                  </a:moveTo>
                  <a:cubicBezTo>
                    <a:pt x="0" y="198"/>
                    <a:pt x="29" y="227"/>
                    <a:pt x="64" y="227"/>
                  </a:cubicBezTo>
                  <a:cubicBezTo>
                    <a:pt x="227" y="227"/>
                    <a:pt x="227" y="227"/>
                    <a:pt x="227" y="227"/>
                  </a:cubicBezTo>
                  <a:cubicBezTo>
                    <a:pt x="0" y="0"/>
                    <a:pt x="0" y="0"/>
                    <a:pt x="0" y="0"/>
                  </a:cubicBezTo>
                  <a:lnTo>
                    <a:pt x="0" y="163"/>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9">
              <a:extLst>
                <a:ext uri="{FF2B5EF4-FFF2-40B4-BE49-F238E27FC236}">
                  <a16:creationId xmlns:a16="http://schemas.microsoft.com/office/drawing/2014/main" id="{1CFC68DD-6BC0-4B9B-B1C1-73A2015F558C}"/>
                </a:ext>
              </a:extLst>
            </p:cNvPr>
            <p:cNvSpPr>
              <a:spLocks/>
            </p:cNvSpPr>
            <p:nvPr/>
          </p:nvSpPr>
          <p:spPr bwMode="auto">
            <a:xfrm>
              <a:off x="2585" y="1671"/>
              <a:ext cx="175" cy="499"/>
            </a:xfrm>
            <a:custGeom>
              <a:avLst/>
              <a:gdLst>
                <a:gd name="T0" fmla="*/ 99 w 99"/>
                <a:gd name="T1" fmla="*/ 49 h 282"/>
                <a:gd name="T2" fmla="*/ 99 w 99"/>
                <a:gd name="T3" fmla="*/ 282 h 282"/>
                <a:gd name="T4" fmla="*/ 0 w 99"/>
                <a:gd name="T5" fmla="*/ 282 h 282"/>
                <a:gd name="T6" fmla="*/ 0 w 99"/>
                <a:gd name="T7" fmla="*/ 49 h 282"/>
                <a:gd name="T8" fmla="*/ 49 w 99"/>
                <a:gd name="T9" fmla="*/ 0 h 282"/>
                <a:gd name="T10" fmla="*/ 84 w 99"/>
                <a:gd name="T11" fmla="*/ 14 h 282"/>
                <a:gd name="T12" fmla="*/ 99 w 99"/>
                <a:gd name="T13" fmla="*/ 49 h 282"/>
              </a:gdLst>
              <a:ahLst/>
              <a:cxnLst>
                <a:cxn ang="0">
                  <a:pos x="T0" y="T1"/>
                </a:cxn>
                <a:cxn ang="0">
                  <a:pos x="T2" y="T3"/>
                </a:cxn>
                <a:cxn ang="0">
                  <a:pos x="T4" y="T5"/>
                </a:cxn>
                <a:cxn ang="0">
                  <a:pos x="T6" y="T7"/>
                </a:cxn>
                <a:cxn ang="0">
                  <a:pos x="T8" y="T9"/>
                </a:cxn>
                <a:cxn ang="0">
                  <a:pos x="T10" y="T11"/>
                </a:cxn>
                <a:cxn ang="0">
                  <a:pos x="T12" y="T13"/>
                </a:cxn>
              </a:cxnLst>
              <a:rect l="0" t="0" r="r" b="b"/>
              <a:pathLst>
                <a:path w="99" h="282">
                  <a:moveTo>
                    <a:pt x="99" y="49"/>
                  </a:moveTo>
                  <a:cubicBezTo>
                    <a:pt x="99" y="282"/>
                    <a:pt x="99" y="282"/>
                    <a:pt x="99" y="282"/>
                  </a:cubicBezTo>
                  <a:cubicBezTo>
                    <a:pt x="0" y="282"/>
                    <a:pt x="0" y="282"/>
                    <a:pt x="0" y="282"/>
                  </a:cubicBezTo>
                  <a:cubicBezTo>
                    <a:pt x="0" y="49"/>
                    <a:pt x="0" y="49"/>
                    <a:pt x="0" y="49"/>
                  </a:cubicBezTo>
                  <a:cubicBezTo>
                    <a:pt x="0" y="22"/>
                    <a:pt x="22" y="0"/>
                    <a:pt x="49" y="0"/>
                  </a:cubicBezTo>
                  <a:cubicBezTo>
                    <a:pt x="63" y="0"/>
                    <a:pt x="75" y="5"/>
                    <a:pt x="84" y="14"/>
                  </a:cubicBezTo>
                  <a:cubicBezTo>
                    <a:pt x="93" y="23"/>
                    <a:pt x="99" y="35"/>
                    <a:pt x="99" y="49"/>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
              <a:extLst>
                <a:ext uri="{FF2B5EF4-FFF2-40B4-BE49-F238E27FC236}">
                  <a16:creationId xmlns:a16="http://schemas.microsoft.com/office/drawing/2014/main" id="{2B55AB03-694A-4ACF-BACD-02A1827B513B}"/>
                </a:ext>
              </a:extLst>
            </p:cNvPr>
            <p:cNvSpPr>
              <a:spLocks/>
            </p:cNvSpPr>
            <p:nvPr/>
          </p:nvSpPr>
          <p:spPr bwMode="auto">
            <a:xfrm>
              <a:off x="3140" y="1374"/>
              <a:ext cx="175" cy="796"/>
            </a:xfrm>
            <a:custGeom>
              <a:avLst/>
              <a:gdLst>
                <a:gd name="T0" fmla="*/ 99 w 99"/>
                <a:gd name="T1" fmla="*/ 50 h 450"/>
                <a:gd name="T2" fmla="*/ 99 w 99"/>
                <a:gd name="T3" fmla="*/ 450 h 450"/>
                <a:gd name="T4" fmla="*/ 0 w 99"/>
                <a:gd name="T5" fmla="*/ 450 h 450"/>
                <a:gd name="T6" fmla="*/ 0 w 99"/>
                <a:gd name="T7" fmla="*/ 50 h 450"/>
                <a:gd name="T8" fmla="*/ 50 w 99"/>
                <a:gd name="T9" fmla="*/ 0 h 450"/>
                <a:gd name="T10" fmla="*/ 85 w 99"/>
                <a:gd name="T11" fmla="*/ 15 h 450"/>
                <a:gd name="T12" fmla="*/ 99 w 99"/>
                <a:gd name="T13" fmla="*/ 50 h 450"/>
              </a:gdLst>
              <a:ahLst/>
              <a:cxnLst>
                <a:cxn ang="0">
                  <a:pos x="T0" y="T1"/>
                </a:cxn>
                <a:cxn ang="0">
                  <a:pos x="T2" y="T3"/>
                </a:cxn>
                <a:cxn ang="0">
                  <a:pos x="T4" y="T5"/>
                </a:cxn>
                <a:cxn ang="0">
                  <a:pos x="T6" y="T7"/>
                </a:cxn>
                <a:cxn ang="0">
                  <a:pos x="T8" y="T9"/>
                </a:cxn>
                <a:cxn ang="0">
                  <a:pos x="T10" y="T11"/>
                </a:cxn>
                <a:cxn ang="0">
                  <a:pos x="T12" y="T13"/>
                </a:cxn>
              </a:cxnLst>
              <a:rect l="0" t="0" r="r" b="b"/>
              <a:pathLst>
                <a:path w="99" h="450">
                  <a:moveTo>
                    <a:pt x="99" y="50"/>
                  </a:moveTo>
                  <a:cubicBezTo>
                    <a:pt x="99" y="450"/>
                    <a:pt x="99" y="450"/>
                    <a:pt x="99" y="450"/>
                  </a:cubicBezTo>
                  <a:cubicBezTo>
                    <a:pt x="0" y="450"/>
                    <a:pt x="0" y="450"/>
                    <a:pt x="0" y="450"/>
                  </a:cubicBezTo>
                  <a:cubicBezTo>
                    <a:pt x="0" y="50"/>
                    <a:pt x="0" y="50"/>
                    <a:pt x="0" y="50"/>
                  </a:cubicBezTo>
                  <a:cubicBezTo>
                    <a:pt x="0" y="23"/>
                    <a:pt x="23" y="0"/>
                    <a:pt x="50" y="0"/>
                  </a:cubicBezTo>
                  <a:cubicBezTo>
                    <a:pt x="63" y="0"/>
                    <a:pt x="76" y="6"/>
                    <a:pt x="85" y="15"/>
                  </a:cubicBezTo>
                  <a:cubicBezTo>
                    <a:pt x="94" y="24"/>
                    <a:pt x="99" y="36"/>
                    <a:pt x="99" y="5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1">
              <a:extLst>
                <a:ext uri="{FF2B5EF4-FFF2-40B4-BE49-F238E27FC236}">
                  <a16:creationId xmlns:a16="http://schemas.microsoft.com/office/drawing/2014/main" id="{B581B293-3115-452A-A8C7-FFD18A297F79}"/>
                </a:ext>
              </a:extLst>
            </p:cNvPr>
            <p:cNvSpPr>
              <a:spLocks/>
            </p:cNvSpPr>
            <p:nvPr/>
          </p:nvSpPr>
          <p:spPr bwMode="auto">
            <a:xfrm>
              <a:off x="2458" y="2170"/>
              <a:ext cx="984" cy="92"/>
            </a:xfrm>
            <a:custGeom>
              <a:avLst/>
              <a:gdLst>
                <a:gd name="T0" fmla="*/ 531 w 557"/>
                <a:gd name="T1" fmla="*/ 0 h 52"/>
                <a:gd name="T2" fmla="*/ 26 w 557"/>
                <a:gd name="T3" fmla="*/ 0 h 52"/>
                <a:gd name="T4" fmla="*/ 8 w 557"/>
                <a:gd name="T5" fmla="*/ 7 h 52"/>
                <a:gd name="T6" fmla="*/ 0 w 557"/>
                <a:gd name="T7" fmla="*/ 26 h 52"/>
                <a:gd name="T8" fmla="*/ 26 w 557"/>
                <a:gd name="T9" fmla="*/ 52 h 52"/>
                <a:gd name="T10" fmla="*/ 531 w 557"/>
                <a:gd name="T11" fmla="*/ 52 h 52"/>
                <a:gd name="T12" fmla="*/ 550 w 557"/>
                <a:gd name="T13" fmla="*/ 44 h 52"/>
                <a:gd name="T14" fmla="*/ 557 w 557"/>
                <a:gd name="T15" fmla="*/ 26 h 52"/>
                <a:gd name="T16" fmla="*/ 531 w 557"/>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52">
                  <a:moveTo>
                    <a:pt x="531" y="0"/>
                  </a:moveTo>
                  <a:cubicBezTo>
                    <a:pt x="26" y="0"/>
                    <a:pt x="26" y="0"/>
                    <a:pt x="26" y="0"/>
                  </a:cubicBezTo>
                  <a:cubicBezTo>
                    <a:pt x="19" y="0"/>
                    <a:pt x="12" y="3"/>
                    <a:pt x="8" y="7"/>
                  </a:cubicBezTo>
                  <a:cubicBezTo>
                    <a:pt x="3" y="12"/>
                    <a:pt x="0" y="19"/>
                    <a:pt x="0" y="26"/>
                  </a:cubicBezTo>
                  <a:cubicBezTo>
                    <a:pt x="0" y="40"/>
                    <a:pt x="12" y="52"/>
                    <a:pt x="26" y="52"/>
                  </a:cubicBezTo>
                  <a:cubicBezTo>
                    <a:pt x="531" y="52"/>
                    <a:pt x="531" y="52"/>
                    <a:pt x="531" y="52"/>
                  </a:cubicBezTo>
                  <a:cubicBezTo>
                    <a:pt x="538" y="52"/>
                    <a:pt x="545" y="49"/>
                    <a:pt x="550" y="44"/>
                  </a:cubicBezTo>
                  <a:cubicBezTo>
                    <a:pt x="554" y="39"/>
                    <a:pt x="557" y="33"/>
                    <a:pt x="557" y="26"/>
                  </a:cubicBezTo>
                  <a:cubicBezTo>
                    <a:pt x="557" y="11"/>
                    <a:pt x="545" y="0"/>
                    <a:pt x="531"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2">
              <a:extLst>
                <a:ext uri="{FF2B5EF4-FFF2-40B4-BE49-F238E27FC236}">
                  <a16:creationId xmlns:a16="http://schemas.microsoft.com/office/drawing/2014/main" id="{1675E0D0-CB52-4048-9502-05D8F499A416}"/>
                </a:ext>
              </a:extLst>
            </p:cNvPr>
            <p:cNvSpPr>
              <a:spLocks/>
            </p:cNvSpPr>
            <p:nvPr/>
          </p:nvSpPr>
          <p:spPr bwMode="auto">
            <a:xfrm>
              <a:off x="2862" y="1578"/>
              <a:ext cx="175" cy="592"/>
            </a:xfrm>
            <a:custGeom>
              <a:avLst/>
              <a:gdLst>
                <a:gd name="T0" fmla="*/ 99 w 99"/>
                <a:gd name="T1" fmla="*/ 49 h 335"/>
                <a:gd name="T2" fmla="*/ 99 w 99"/>
                <a:gd name="T3" fmla="*/ 335 h 335"/>
                <a:gd name="T4" fmla="*/ 0 w 99"/>
                <a:gd name="T5" fmla="*/ 335 h 335"/>
                <a:gd name="T6" fmla="*/ 0 w 99"/>
                <a:gd name="T7" fmla="*/ 49 h 335"/>
                <a:gd name="T8" fmla="*/ 50 w 99"/>
                <a:gd name="T9" fmla="*/ 0 h 335"/>
                <a:gd name="T10" fmla="*/ 84 w 99"/>
                <a:gd name="T11" fmla="*/ 14 h 335"/>
                <a:gd name="T12" fmla="*/ 99 w 99"/>
                <a:gd name="T13" fmla="*/ 49 h 335"/>
              </a:gdLst>
              <a:ahLst/>
              <a:cxnLst>
                <a:cxn ang="0">
                  <a:pos x="T0" y="T1"/>
                </a:cxn>
                <a:cxn ang="0">
                  <a:pos x="T2" y="T3"/>
                </a:cxn>
                <a:cxn ang="0">
                  <a:pos x="T4" y="T5"/>
                </a:cxn>
                <a:cxn ang="0">
                  <a:pos x="T6" y="T7"/>
                </a:cxn>
                <a:cxn ang="0">
                  <a:pos x="T8" y="T9"/>
                </a:cxn>
                <a:cxn ang="0">
                  <a:pos x="T10" y="T11"/>
                </a:cxn>
                <a:cxn ang="0">
                  <a:pos x="T12" y="T13"/>
                </a:cxn>
              </a:cxnLst>
              <a:rect l="0" t="0" r="r" b="b"/>
              <a:pathLst>
                <a:path w="99" h="335">
                  <a:moveTo>
                    <a:pt x="99" y="49"/>
                  </a:moveTo>
                  <a:cubicBezTo>
                    <a:pt x="99" y="335"/>
                    <a:pt x="99" y="335"/>
                    <a:pt x="99" y="335"/>
                  </a:cubicBezTo>
                  <a:cubicBezTo>
                    <a:pt x="0" y="335"/>
                    <a:pt x="0" y="335"/>
                    <a:pt x="0" y="335"/>
                  </a:cubicBezTo>
                  <a:cubicBezTo>
                    <a:pt x="0" y="49"/>
                    <a:pt x="0" y="49"/>
                    <a:pt x="0" y="49"/>
                  </a:cubicBezTo>
                  <a:cubicBezTo>
                    <a:pt x="0" y="22"/>
                    <a:pt x="22" y="0"/>
                    <a:pt x="50" y="0"/>
                  </a:cubicBezTo>
                  <a:cubicBezTo>
                    <a:pt x="63" y="0"/>
                    <a:pt x="75" y="5"/>
                    <a:pt x="84" y="14"/>
                  </a:cubicBezTo>
                  <a:cubicBezTo>
                    <a:pt x="93" y="23"/>
                    <a:pt x="99" y="36"/>
                    <a:pt x="99" y="49"/>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13">
              <a:extLst>
                <a:ext uri="{FF2B5EF4-FFF2-40B4-BE49-F238E27FC236}">
                  <a16:creationId xmlns:a16="http://schemas.microsoft.com/office/drawing/2014/main" id="{D43F9B56-CC37-45C0-A1D2-D90C2F6DEA9A}"/>
                </a:ext>
              </a:extLst>
            </p:cNvPr>
            <p:cNvSpPr>
              <a:spLocks noChangeArrowheads="1"/>
            </p:cNvSpPr>
            <p:nvPr/>
          </p:nvSpPr>
          <p:spPr bwMode="auto">
            <a:xfrm>
              <a:off x="2585" y="2170"/>
              <a:ext cx="175" cy="92"/>
            </a:xfrm>
            <a:prstGeom prst="rect">
              <a:avLst/>
            </a:prstGeom>
            <a:solidFill>
              <a:srgbClr val="013F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14">
              <a:extLst>
                <a:ext uri="{FF2B5EF4-FFF2-40B4-BE49-F238E27FC236}">
                  <a16:creationId xmlns:a16="http://schemas.microsoft.com/office/drawing/2014/main" id="{A701158C-82C2-43D7-8B5D-71EE44311797}"/>
                </a:ext>
              </a:extLst>
            </p:cNvPr>
            <p:cNvSpPr>
              <a:spLocks noChangeArrowheads="1"/>
            </p:cNvSpPr>
            <p:nvPr/>
          </p:nvSpPr>
          <p:spPr bwMode="auto">
            <a:xfrm>
              <a:off x="2862" y="2170"/>
              <a:ext cx="175" cy="92"/>
            </a:xfrm>
            <a:prstGeom prst="rect">
              <a:avLst/>
            </a:prstGeom>
            <a:solidFill>
              <a:srgbClr val="013F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15">
              <a:extLst>
                <a:ext uri="{FF2B5EF4-FFF2-40B4-BE49-F238E27FC236}">
                  <a16:creationId xmlns:a16="http://schemas.microsoft.com/office/drawing/2014/main" id="{AE30C323-A16F-4B82-8C46-D3A68CF46E91}"/>
                </a:ext>
              </a:extLst>
            </p:cNvPr>
            <p:cNvSpPr>
              <a:spLocks noChangeArrowheads="1"/>
            </p:cNvSpPr>
            <p:nvPr/>
          </p:nvSpPr>
          <p:spPr bwMode="auto">
            <a:xfrm>
              <a:off x="3140" y="2170"/>
              <a:ext cx="175" cy="92"/>
            </a:xfrm>
            <a:prstGeom prst="rect">
              <a:avLst/>
            </a:prstGeom>
            <a:solidFill>
              <a:srgbClr val="013F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6">
              <a:extLst>
                <a:ext uri="{FF2B5EF4-FFF2-40B4-BE49-F238E27FC236}">
                  <a16:creationId xmlns:a16="http://schemas.microsoft.com/office/drawing/2014/main" id="{D5702F36-DD05-4495-9925-D9AEF6B26374}"/>
                </a:ext>
              </a:extLst>
            </p:cNvPr>
            <p:cNvSpPr>
              <a:spLocks/>
            </p:cNvSpPr>
            <p:nvPr/>
          </p:nvSpPr>
          <p:spPr bwMode="auto">
            <a:xfrm>
              <a:off x="2458" y="1049"/>
              <a:ext cx="629" cy="81"/>
            </a:xfrm>
            <a:custGeom>
              <a:avLst/>
              <a:gdLst>
                <a:gd name="T0" fmla="*/ 334 w 356"/>
                <a:gd name="T1" fmla="*/ 46 h 46"/>
                <a:gd name="T2" fmla="*/ 22 w 356"/>
                <a:gd name="T3" fmla="*/ 46 h 46"/>
                <a:gd name="T4" fmla="*/ 0 w 356"/>
                <a:gd name="T5" fmla="*/ 24 h 46"/>
                <a:gd name="T6" fmla="*/ 0 w 356"/>
                <a:gd name="T7" fmla="*/ 22 h 46"/>
                <a:gd name="T8" fmla="*/ 22 w 356"/>
                <a:gd name="T9" fmla="*/ 0 h 46"/>
                <a:gd name="T10" fmla="*/ 334 w 356"/>
                <a:gd name="T11" fmla="*/ 0 h 46"/>
                <a:gd name="T12" fmla="*/ 356 w 356"/>
                <a:gd name="T13" fmla="*/ 22 h 46"/>
                <a:gd name="T14" fmla="*/ 356 w 356"/>
                <a:gd name="T15" fmla="*/ 24 h 46"/>
                <a:gd name="T16" fmla="*/ 334 w 35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6" h="46">
                  <a:moveTo>
                    <a:pt x="334" y="46"/>
                  </a:moveTo>
                  <a:cubicBezTo>
                    <a:pt x="22" y="46"/>
                    <a:pt x="22" y="46"/>
                    <a:pt x="22" y="46"/>
                  </a:cubicBezTo>
                  <a:cubicBezTo>
                    <a:pt x="10" y="46"/>
                    <a:pt x="0" y="36"/>
                    <a:pt x="0" y="24"/>
                  </a:cubicBezTo>
                  <a:cubicBezTo>
                    <a:pt x="0" y="22"/>
                    <a:pt x="0" y="22"/>
                    <a:pt x="0" y="22"/>
                  </a:cubicBezTo>
                  <a:cubicBezTo>
                    <a:pt x="0" y="10"/>
                    <a:pt x="10" y="0"/>
                    <a:pt x="22" y="0"/>
                  </a:cubicBezTo>
                  <a:cubicBezTo>
                    <a:pt x="334" y="0"/>
                    <a:pt x="334" y="0"/>
                    <a:pt x="334" y="0"/>
                  </a:cubicBezTo>
                  <a:cubicBezTo>
                    <a:pt x="346" y="0"/>
                    <a:pt x="356" y="10"/>
                    <a:pt x="356" y="22"/>
                  </a:cubicBezTo>
                  <a:cubicBezTo>
                    <a:pt x="356" y="24"/>
                    <a:pt x="356" y="24"/>
                    <a:pt x="356" y="24"/>
                  </a:cubicBezTo>
                  <a:cubicBezTo>
                    <a:pt x="356" y="36"/>
                    <a:pt x="346" y="46"/>
                    <a:pt x="334" y="46"/>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7">
              <a:extLst>
                <a:ext uri="{FF2B5EF4-FFF2-40B4-BE49-F238E27FC236}">
                  <a16:creationId xmlns:a16="http://schemas.microsoft.com/office/drawing/2014/main" id="{1ED0CE22-ECE2-4C08-92F5-B2F4A73C52FF}"/>
                </a:ext>
              </a:extLst>
            </p:cNvPr>
            <p:cNvSpPr>
              <a:spLocks/>
            </p:cNvSpPr>
            <p:nvPr/>
          </p:nvSpPr>
          <p:spPr bwMode="auto">
            <a:xfrm>
              <a:off x="2458" y="1196"/>
              <a:ext cx="431" cy="81"/>
            </a:xfrm>
            <a:custGeom>
              <a:avLst/>
              <a:gdLst>
                <a:gd name="T0" fmla="*/ 222 w 244"/>
                <a:gd name="T1" fmla="*/ 46 h 46"/>
                <a:gd name="T2" fmla="*/ 22 w 244"/>
                <a:gd name="T3" fmla="*/ 46 h 46"/>
                <a:gd name="T4" fmla="*/ 0 w 244"/>
                <a:gd name="T5" fmla="*/ 25 h 46"/>
                <a:gd name="T6" fmla="*/ 0 w 244"/>
                <a:gd name="T7" fmla="*/ 22 h 46"/>
                <a:gd name="T8" fmla="*/ 22 w 244"/>
                <a:gd name="T9" fmla="*/ 0 h 46"/>
                <a:gd name="T10" fmla="*/ 222 w 244"/>
                <a:gd name="T11" fmla="*/ 0 h 46"/>
                <a:gd name="T12" fmla="*/ 244 w 244"/>
                <a:gd name="T13" fmla="*/ 22 h 46"/>
                <a:gd name="T14" fmla="*/ 244 w 244"/>
                <a:gd name="T15" fmla="*/ 25 h 46"/>
                <a:gd name="T16" fmla="*/ 222 w 244"/>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6">
                  <a:moveTo>
                    <a:pt x="222" y="46"/>
                  </a:moveTo>
                  <a:cubicBezTo>
                    <a:pt x="22" y="46"/>
                    <a:pt x="22" y="46"/>
                    <a:pt x="22" y="46"/>
                  </a:cubicBezTo>
                  <a:cubicBezTo>
                    <a:pt x="10" y="46"/>
                    <a:pt x="0" y="37"/>
                    <a:pt x="0" y="25"/>
                  </a:cubicBezTo>
                  <a:cubicBezTo>
                    <a:pt x="0" y="22"/>
                    <a:pt x="0" y="22"/>
                    <a:pt x="0" y="22"/>
                  </a:cubicBezTo>
                  <a:cubicBezTo>
                    <a:pt x="0" y="10"/>
                    <a:pt x="10" y="0"/>
                    <a:pt x="22" y="0"/>
                  </a:cubicBezTo>
                  <a:cubicBezTo>
                    <a:pt x="222" y="0"/>
                    <a:pt x="222" y="0"/>
                    <a:pt x="222" y="0"/>
                  </a:cubicBezTo>
                  <a:cubicBezTo>
                    <a:pt x="234" y="0"/>
                    <a:pt x="244" y="10"/>
                    <a:pt x="244" y="22"/>
                  </a:cubicBezTo>
                  <a:cubicBezTo>
                    <a:pt x="244" y="25"/>
                    <a:pt x="244" y="25"/>
                    <a:pt x="244" y="25"/>
                  </a:cubicBezTo>
                  <a:cubicBezTo>
                    <a:pt x="244" y="37"/>
                    <a:pt x="234" y="46"/>
                    <a:pt x="222" y="46"/>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1" name="Group 13">
            <a:extLst>
              <a:ext uri="{FF2B5EF4-FFF2-40B4-BE49-F238E27FC236}">
                <a16:creationId xmlns:a16="http://schemas.microsoft.com/office/drawing/2014/main" id="{893D36DF-E6CD-4038-A7D8-0AA1E6A0218C}"/>
              </a:ext>
            </a:extLst>
          </p:cNvPr>
          <p:cNvGrpSpPr>
            <a:grpSpLocks noChangeAspect="1"/>
          </p:cNvGrpSpPr>
          <p:nvPr/>
        </p:nvGrpSpPr>
        <p:grpSpPr bwMode="auto">
          <a:xfrm>
            <a:off x="7088022" y="2008192"/>
            <a:ext cx="589127" cy="590051"/>
            <a:chOff x="1608" y="345"/>
            <a:chExt cx="2544" cy="2548"/>
          </a:xfrm>
        </p:grpSpPr>
        <p:sp>
          <p:nvSpPr>
            <p:cNvPr id="42" name="Oval 14">
              <a:extLst>
                <a:ext uri="{FF2B5EF4-FFF2-40B4-BE49-F238E27FC236}">
                  <a16:creationId xmlns:a16="http://schemas.microsoft.com/office/drawing/2014/main" id="{A4C9335F-466A-417C-B80A-E441DA016430}"/>
                </a:ext>
              </a:extLst>
            </p:cNvPr>
            <p:cNvSpPr>
              <a:spLocks noChangeArrowheads="1"/>
            </p:cNvSpPr>
            <p:nvPr/>
          </p:nvSpPr>
          <p:spPr bwMode="auto">
            <a:xfrm>
              <a:off x="1608" y="345"/>
              <a:ext cx="2544" cy="2548"/>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5">
              <a:extLst>
                <a:ext uri="{FF2B5EF4-FFF2-40B4-BE49-F238E27FC236}">
                  <a16:creationId xmlns:a16="http://schemas.microsoft.com/office/drawing/2014/main" id="{61979ED1-C361-402B-8608-BA72EF6DC9C1}"/>
                </a:ext>
              </a:extLst>
            </p:cNvPr>
            <p:cNvSpPr>
              <a:spLocks/>
            </p:cNvSpPr>
            <p:nvPr/>
          </p:nvSpPr>
          <p:spPr bwMode="auto">
            <a:xfrm>
              <a:off x="2278" y="798"/>
              <a:ext cx="1860" cy="2010"/>
            </a:xfrm>
            <a:custGeom>
              <a:avLst/>
              <a:gdLst>
                <a:gd name="T0" fmla="*/ 604 w 1053"/>
                <a:gd name="T1" fmla="*/ 125 h 1137"/>
                <a:gd name="T2" fmla="*/ 341 w 1053"/>
                <a:gd name="T3" fmla="*/ 0 h 1137"/>
                <a:gd name="T4" fmla="*/ 0 w 1053"/>
                <a:gd name="T5" fmla="*/ 341 h 1137"/>
                <a:gd name="T6" fmla="*/ 334 w 1053"/>
                <a:gd name="T7" fmla="*/ 869 h 1137"/>
                <a:gd name="T8" fmla="*/ 602 w 1053"/>
                <a:gd name="T9" fmla="*/ 1137 h 1137"/>
                <a:gd name="T10" fmla="*/ 1053 w 1053"/>
                <a:gd name="T11" fmla="*/ 573 h 1137"/>
                <a:gd name="T12" fmla="*/ 604 w 1053"/>
                <a:gd name="T13" fmla="*/ 125 h 1137"/>
              </a:gdLst>
              <a:ahLst/>
              <a:cxnLst>
                <a:cxn ang="0">
                  <a:pos x="T0" y="T1"/>
                </a:cxn>
                <a:cxn ang="0">
                  <a:pos x="T2" y="T3"/>
                </a:cxn>
                <a:cxn ang="0">
                  <a:pos x="T4" y="T5"/>
                </a:cxn>
                <a:cxn ang="0">
                  <a:pos x="T6" y="T7"/>
                </a:cxn>
                <a:cxn ang="0">
                  <a:pos x="T8" y="T9"/>
                </a:cxn>
                <a:cxn ang="0">
                  <a:pos x="T10" y="T11"/>
                </a:cxn>
                <a:cxn ang="0">
                  <a:pos x="T12" y="T13"/>
                </a:cxn>
              </a:cxnLst>
              <a:rect l="0" t="0" r="r" b="b"/>
              <a:pathLst>
                <a:path w="1053" h="1137">
                  <a:moveTo>
                    <a:pt x="604" y="125"/>
                  </a:moveTo>
                  <a:cubicBezTo>
                    <a:pt x="542" y="49"/>
                    <a:pt x="447" y="0"/>
                    <a:pt x="341" y="0"/>
                  </a:cubicBezTo>
                  <a:cubicBezTo>
                    <a:pt x="152" y="0"/>
                    <a:pt x="0" y="153"/>
                    <a:pt x="0" y="341"/>
                  </a:cubicBezTo>
                  <a:cubicBezTo>
                    <a:pt x="0" y="520"/>
                    <a:pt x="281" y="835"/>
                    <a:pt x="334" y="869"/>
                  </a:cubicBezTo>
                  <a:cubicBezTo>
                    <a:pt x="602" y="1137"/>
                    <a:pt x="602" y="1137"/>
                    <a:pt x="602" y="1137"/>
                  </a:cubicBezTo>
                  <a:cubicBezTo>
                    <a:pt x="838" y="1045"/>
                    <a:pt x="1014" y="831"/>
                    <a:pt x="1053" y="573"/>
                  </a:cubicBezTo>
                  <a:lnTo>
                    <a:pt x="604" y="125"/>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6">
              <a:extLst>
                <a:ext uri="{FF2B5EF4-FFF2-40B4-BE49-F238E27FC236}">
                  <a16:creationId xmlns:a16="http://schemas.microsoft.com/office/drawing/2014/main" id="{66BC85E4-DB44-41D3-BDBD-88E00710DBF5}"/>
                </a:ext>
              </a:extLst>
            </p:cNvPr>
            <p:cNvSpPr>
              <a:spLocks/>
            </p:cNvSpPr>
            <p:nvPr/>
          </p:nvSpPr>
          <p:spPr bwMode="auto">
            <a:xfrm>
              <a:off x="2278" y="798"/>
              <a:ext cx="1204" cy="1542"/>
            </a:xfrm>
            <a:custGeom>
              <a:avLst/>
              <a:gdLst>
                <a:gd name="T0" fmla="*/ 682 w 682"/>
                <a:gd name="T1" fmla="*/ 341 h 872"/>
                <a:gd name="T2" fmla="*/ 341 w 682"/>
                <a:gd name="T3" fmla="*/ 872 h 872"/>
                <a:gd name="T4" fmla="*/ 0 w 682"/>
                <a:gd name="T5" fmla="*/ 341 h 872"/>
                <a:gd name="T6" fmla="*/ 341 w 682"/>
                <a:gd name="T7" fmla="*/ 0 h 872"/>
                <a:gd name="T8" fmla="*/ 682 w 682"/>
                <a:gd name="T9" fmla="*/ 341 h 872"/>
              </a:gdLst>
              <a:ahLst/>
              <a:cxnLst>
                <a:cxn ang="0">
                  <a:pos x="T0" y="T1"/>
                </a:cxn>
                <a:cxn ang="0">
                  <a:pos x="T2" y="T3"/>
                </a:cxn>
                <a:cxn ang="0">
                  <a:pos x="T4" y="T5"/>
                </a:cxn>
                <a:cxn ang="0">
                  <a:pos x="T6" y="T7"/>
                </a:cxn>
                <a:cxn ang="0">
                  <a:pos x="T8" y="T9"/>
                </a:cxn>
              </a:cxnLst>
              <a:rect l="0" t="0" r="r" b="b"/>
              <a:pathLst>
                <a:path w="682" h="872">
                  <a:moveTo>
                    <a:pt x="682" y="341"/>
                  </a:moveTo>
                  <a:cubicBezTo>
                    <a:pt x="682" y="530"/>
                    <a:pt x="367" y="872"/>
                    <a:pt x="341" y="872"/>
                  </a:cubicBezTo>
                  <a:cubicBezTo>
                    <a:pt x="314" y="872"/>
                    <a:pt x="0" y="530"/>
                    <a:pt x="0" y="341"/>
                  </a:cubicBezTo>
                  <a:cubicBezTo>
                    <a:pt x="0" y="153"/>
                    <a:pt x="152" y="0"/>
                    <a:pt x="341" y="0"/>
                  </a:cubicBezTo>
                  <a:cubicBezTo>
                    <a:pt x="529" y="0"/>
                    <a:pt x="682" y="153"/>
                    <a:pt x="682"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17">
              <a:extLst>
                <a:ext uri="{FF2B5EF4-FFF2-40B4-BE49-F238E27FC236}">
                  <a16:creationId xmlns:a16="http://schemas.microsoft.com/office/drawing/2014/main" id="{75EBE69D-848E-45AC-A2D6-DF4B5A954DBC}"/>
                </a:ext>
              </a:extLst>
            </p:cNvPr>
            <p:cNvSpPr>
              <a:spLocks noChangeArrowheads="1"/>
            </p:cNvSpPr>
            <p:nvPr/>
          </p:nvSpPr>
          <p:spPr bwMode="auto">
            <a:xfrm>
              <a:off x="2456" y="968"/>
              <a:ext cx="848" cy="848"/>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8">
              <a:extLst>
                <a:ext uri="{FF2B5EF4-FFF2-40B4-BE49-F238E27FC236}">
                  <a16:creationId xmlns:a16="http://schemas.microsoft.com/office/drawing/2014/main" id="{8BF81ABA-27B5-46C4-B602-7233DD5EDC77}"/>
                </a:ext>
              </a:extLst>
            </p:cNvPr>
            <p:cNvSpPr>
              <a:spLocks noEditPoints="1"/>
            </p:cNvSpPr>
            <p:nvPr/>
          </p:nvSpPr>
          <p:spPr bwMode="auto">
            <a:xfrm>
              <a:off x="2631" y="1137"/>
              <a:ext cx="496" cy="384"/>
            </a:xfrm>
            <a:custGeom>
              <a:avLst/>
              <a:gdLst>
                <a:gd name="T0" fmla="*/ 278 w 281"/>
                <a:gd name="T1" fmla="*/ 52 h 217"/>
                <a:gd name="T2" fmla="*/ 269 w 281"/>
                <a:gd name="T3" fmla="*/ 47 h 217"/>
                <a:gd name="T4" fmla="*/ 68 w 281"/>
                <a:gd name="T5" fmla="*/ 47 h 217"/>
                <a:gd name="T6" fmla="*/ 68 w 281"/>
                <a:gd name="T7" fmla="*/ 11 h 217"/>
                <a:gd name="T8" fmla="*/ 57 w 281"/>
                <a:gd name="T9" fmla="*/ 0 h 217"/>
                <a:gd name="T10" fmla="*/ 10 w 281"/>
                <a:gd name="T11" fmla="*/ 0 h 217"/>
                <a:gd name="T12" fmla="*/ 0 w 281"/>
                <a:gd name="T13" fmla="*/ 11 h 217"/>
                <a:gd name="T14" fmla="*/ 10 w 281"/>
                <a:gd name="T15" fmla="*/ 22 h 217"/>
                <a:gd name="T16" fmla="*/ 47 w 281"/>
                <a:gd name="T17" fmla="*/ 22 h 217"/>
                <a:gd name="T18" fmla="*/ 47 w 281"/>
                <a:gd name="T19" fmla="*/ 58 h 217"/>
                <a:gd name="T20" fmla="*/ 47 w 281"/>
                <a:gd name="T21" fmla="*/ 171 h 217"/>
                <a:gd name="T22" fmla="*/ 47 w 281"/>
                <a:gd name="T23" fmla="*/ 206 h 217"/>
                <a:gd name="T24" fmla="*/ 57 w 281"/>
                <a:gd name="T25" fmla="*/ 217 h 217"/>
                <a:gd name="T26" fmla="*/ 222 w 281"/>
                <a:gd name="T27" fmla="*/ 217 h 217"/>
                <a:gd name="T28" fmla="*/ 233 w 281"/>
                <a:gd name="T29" fmla="*/ 206 h 217"/>
                <a:gd name="T30" fmla="*/ 222 w 281"/>
                <a:gd name="T31" fmla="*/ 195 h 217"/>
                <a:gd name="T32" fmla="*/ 68 w 281"/>
                <a:gd name="T33" fmla="*/ 195 h 217"/>
                <a:gd name="T34" fmla="*/ 68 w 281"/>
                <a:gd name="T35" fmla="*/ 182 h 217"/>
                <a:gd name="T36" fmla="*/ 222 w 281"/>
                <a:gd name="T37" fmla="*/ 182 h 217"/>
                <a:gd name="T38" fmla="*/ 232 w 281"/>
                <a:gd name="T39" fmla="*/ 175 h 217"/>
                <a:gd name="T40" fmla="*/ 279 w 281"/>
                <a:gd name="T41" fmla="*/ 62 h 217"/>
                <a:gd name="T42" fmla="*/ 278 w 281"/>
                <a:gd name="T43" fmla="*/ 52 h 217"/>
                <a:gd name="T44" fmla="*/ 215 w 281"/>
                <a:gd name="T45" fmla="*/ 161 h 217"/>
                <a:gd name="T46" fmla="*/ 68 w 281"/>
                <a:gd name="T47" fmla="*/ 161 h 217"/>
                <a:gd name="T48" fmla="*/ 68 w 281"/>
                <a:gd name="T49" fmla="*/ 69 h 217"/>
                <a:gd name="T50" fmla="*/ 253 w 281"/>
                <a:gd name="T51" fmla="*/ 69 h 217"/>
                <a:gd name="T52" fmla="*/ 215 w 281"/>
                <a:gd name="T53" fmla="*/ 16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1" h="217">
                  <a:moveTo>
                    <a:pt x="278" y="52"/>
                  </a:moveTo>
                  <a:cubicBezTo>
                    <a:pt x="276" y="49"/>
                    <a:pt x="273" y="47"/>
                    <a:pt x="269" y="47"/>
                  </a:cubicBezTo>
                  <a:cubicBezTo>
                    <a:pt x="68" y="47"/>
                    <a:pt x="68" y="47"/>
                    <a:pt x="68" y="47"/>
                  </a:cubicBezTo>
                  <a:cubicBezTo>
                    <a:pt x="68" y="11"/>
                    <a:pt x="68" y="11"/>
                    <a:pt x="68" y="11"/>
                  </a:cubicBezTo>
                  <a:cubicBezTo>
                    <a:pt x="68" y="5"/>
                    <a:pt x="63" y="0"/>
                    <a:pt x="57" y="0"/>
                  </a:cubicBezTo>
                  <a:cubicBezTo>
                    <a:pt x="10" y="0"/>
                    <a:pt x="10" y="0"/>
                    <a:pt x="10" y="0"/>
                  </a:cubicBezTo>
                  <a:cubicBezTo>
                    <a:pt x="4" y="0"/>
                    <a:pt x="0" y="5"/>
                    <a:pt x="0" y="11"/>
                  </a:cubicBezTo>
                  <a:cubicBezTo>
                    <a:pt x="0" y="17"/>
                    <a:pt x="4" y="22"/>
                    <a:pt x="10" y="22"/>
                  </a:cubicBezTo>
                  <a:cubicBezTo>
                    <a:pt x="47" y="22"/>
                    <a:pt x="47" y="22"/>
                    <a:pt x="47" y="22"/>
                  </a:cubicBezTo>
                  <a:cubicBezTo>
                    <a:pt x="47" y="58"/>
                    <a:pt x="47" y="58"/>
                    <a:pt x="47" y="58"/>
                  </a:cubicBezTo>
                  <a:cubicBezTo>
                    <a:pt x="47" y="171"/>
                    <a:pt x="47" y="171"/>
                    <a:pt x="47" y="171"/>
                  </a:cubicBezTo>
                  <a:cubicBezTo>
                    <a:pt x="47" y="206"/>
                    <a:pt x="47" y="206"/>
                    <a:pt x="47" y="206"/>
                  </a:cubicBezTo>
                  <a:cubicBezTo>
                    <a:pt x="47" y="212"/>
                    <a:pt x="51" y="217"/>
                    <a:pt x="57" y="217"/>
                  </a:cubicBezTo>
                  <a:cubicBezTo>
                    <a:pt x="222" y="217"/>
                    <a:pt x="222" y="217"/>
                    <a:pt x="222" y="217"/>
                  </a:cubicBezTo>
                  <a:cubicBezTo>
                    <a:pt x="228" y="217"/>
                    <a:pt x="233" y="212"/>
                    <a:pt x="233" y="206"/>
                  </a:cubicBezTo>
                  <a:cubicBezTo>
                    <a:pt x="233" y="200"/>
                    <a:pt x="228" y="195"/>
                    <a:pt x="222" y="195"/>
                  </a:cubicBezTo>
                  <a:cubicBezTo>
                    <a:pt x="68" y="195"/>
                    <a:pt x="68" y="195"/>
                    <a:pt x="68" y="195"/>
                  </a:cubicBezTo>
                  <a:cubicBezTo>
                    <a:pt x="68" y="182"/>
                    <a:pt x="68" y="182"/>
                    <a:pt x="68" y="182"/>
                  </a:cubicBezTo>
                  <a:cubicBezTo>
                    <a:pt x="222" y="182"/>
                    <a:pt x="222" y="182"/>
                    <a:pt x="222" y="182"/>
                  </a:cubicBezTo>
                  <a:cubicBezTo>
                    <a:pt x="227" y="182"/>
                    <a:pt x="230" y="179"/>
                    <a:pt x="232" y="175"/>
                  </a:cubicBezTo>
                  <a:cubicBezTo>
                    <a:pt x="279" y="62"/>
                    <a:pt x="279" y="62"/>
                    <a:pt x="279" y="62"/>
                  </a:cubicBezTo>
                  <a:cubicBezTo>
                    <a:pt x="281" y="59"/>
                    <a:pt x="280" y="55"/>
                    <a:pt x="278" y="52"/>
                  </a:cubicBezTo>
                  <a:close/>
                  <a:moveTo>
                    <a:pt x="215" y="161"/>
                  </a:moveTo>
                  <a:cubicBezTo>
                    <a:pt x="68" y="161"/>
                    <a:pt x="68" y="161"/>
                    <a:pt x="68" y="161"/>
                  </a:cubicBezTo>
                  <a:cubicBezTo>
                    <a:pt x="68" y="69"/>
                    <a:pt x="68" y="69"/>
                    <a:pt x="68" y="69"/>
                  </a:cubicBezTo>
                  <a:cubicBezTo>
                    <a:pt x="253" y="69"/>
                    <a:pt x="253" y="69"/>
                    <a:pt x="253" y="69"/>
                  </a:cubicBezTo>
                  <a:lnTo>
                    <a:pt x="215" y="161"/>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9">
              <a:extLst>
                <a:ext uri="{FF2B5EF4-FFF2-40B4-BE49-F238E27FC236}">
                  <a16:creationId xmlns:a16="http://schemas.microsoft.com/office/drawing/2014/main" id="{B5362B0C-B43A-4D12-9864-9546934C23BF}"/>
                </a:ext>
              </a:extLst>
            </p:cNvPr>
            <p:cNvSpPr>
              <a:spLocks noEditPoints="1"/>
            </p:cNvSpPr>
            <p:nvPr/>
          </p:nvSpPr>
          <p:spPr bwMode="auto">
            <a:xfrm>
              <a:off x="2710" y="1532"/>
              <a:ext cx="108" cy="107"/>
            </a:xfrm>
            <a:custGeom>
              <a:avLst/>
              <a:gdLst>
                <a:gd name="T0" fmla="*/ 31 w 61"/>
                <a:gd name="T1" fmla="*/ 0 h 61"/>
                <a:gd name="T2" fmla="*/ 0 w 61"/>
                <a:gd name="T3" fmla="*/ 30 h 61"/>
                <a:gd name="T4" fmla="*/ 31 w 61"/>
                <a:gd name="T5" fmla="*/ 61 h 61"/>
                <a:gd name="T6" fmla="*/ 61 w 61"/>
                <a:gd name="T7" fmla="*/ 30 h 61"/>
                <a:gd name="T8" fmla="*/ 31 w 61"/>
                <a:gd name="T9" fmla="*/ 0 h 61"/>
                <a:gd name="T10" fmla="*/ 31 w 61"/>
                <a:gd name="T11" fmla="*/ 39 h 61"/>
                <a:gd name="T12" fmla="*/ 22 w 61"/>
                <a:gd name="T13" fmla="*/ 30 h 61"/>
                <a:gd name="T14" fmla="*/ 31 w 61"/>
                <a:gd name="T15" fmla="*/ 22 h 61"/>
                <a:gd name="T16" fmla="*/ 39 w 61"/>
                <a:gd name="T17" fmla="*/ 30 h 61"/>
                <a:gd name="T18" fmla="*/ 31 w 61"/>
                <a:gd name="T19" fmla="*/ 3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31" y="0"/>
                  </a:moveTo>
                  <a:cubicBezTo>
                    <a:pt x="14" y="0"/>
                    <a:pt x="0" y="14"/>
                    <a:pt x="0" y="30"/>
                  </a:cubicBezTo>
                  <a:cubicBezTo>
                    <a:pt x="0" y="47"/>
                    <a:pt x="14" y="61"/>
                    <a:pt x="31" y="61"/>
                  </a:cubicBezTo>
                  <a:cubicBezTo>
                    <a:pt x="47" y="61"/>
                    <a:pt x="61" y="47"/>
                    <a:pt x="61" y="30"/>
                  </a:cubicBezTo>
                  <a:cubicBezTo>
                    <a:pt x="61" y="14"/>
                    <a:pt x="47" y="0"/>
                    <a:pt x="31" y="0"/>
                  </a:cubicBezTo>
                  <a:close/>
                  <a:moveTo>
                    <a:pt x="31" y="39"/>
                  </a:moveTo>
                  <a:cubicBezTo>
                    <a:pt x="26" y="39"/>
                    <a:pt x="22" y="35"/>
                    <a:pt x="22" y="30"/>
                  </a:cubicBezTo>
                  <a:cubicBezTo>
                    <a:pt x="22" y="26"/>
                    <a:pt x="26" y="22"/>
                    <a:pt x="31" y="22"/>
                  </a:cubicBezTo>
                  <a:cubicBezTo>
                    <a:pt x="35" y="22"/>
                    <a:pt x="39" y="26"/>
                    <a:pt x="39" y="30"/>
                  </a:cubicBezTo>
                  <a:cubicBezTo>
                    <a:pt x="39" y="35"/>
                    <a:pt x="35" y="39"/>
                    <a:pt x="31" y="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0">
              <a:extLst>
                <a:ext uri="{FF2B5EF4-FFF2-40B4-BE49-F238E27FC236}">
                  <a16:creationId xmlns:a16="http://schemas.microsoft.com/office/drawing/2014/main" id="{5A8C8B94-4BA0-4202-88EC-5ABFCC4D62F8}"/>
                </a:ext>
              </a:extLst>
            </p:cNvPr>
            <p:cNvSpPr>
              <a:spLocks noEditPoints="1"/>
            </p:cNvSpPr>
            <p:nvPr/>
          </p:nvSpPr>
          <p:spPr bwMode="auto">
            <a:xfrm>
              <a:off x="2935" y="1532"/>
              <a:ext cx="108" cy="107"/>
            </a:xfrm>
            <a:custGeom>
              <a:avLst/>
              <a:gdLst>
                <a:gd name="T0" fmla="*/ 31 w 61"/>
                <a:gd name="T1" fmla="*/ 0 h 61"/>
                <a:gd name="T2" fmla="*/ 0 w 61"/>
                <a:gd name="T3" fmla="*/ 30 h 61"/>
                <a:gd name="T4" fmla="*/ 31 w 61"/>
                <a:gd name="T5" fmla="*/ 61 h 61"/>
                <a:gd name="T6" fmla="*/ 61 w 61"/>
                <a:gd name="T7" fmla="*/ 30 h 61"/>
                <a:gd name="T8" fmla="*/ 31 w 61"/>
                <a:gd name="T9" fmla="*/ 0 h 61"/>
                <a:gd name="T10" fmla="*/ 31 w 61"/>
                <a:gd name="T11" fmla="*/ 39 h 61"/>
                <a:gd name="T12" fmla="*/ 22 w 61"/>
                <a:gd name="T13" fmla="*/ 30 h 61"/>
                <a:gd name="T14" fmla="*/ 31 w 61"/>
                <a:gd name="T15" fmla="*/ 22 h 61"/>
                <a:gd name="T16" fmla="*/ 40 w 61"/>
                <a:gd name="T17" fmla="*/ 30 h 61"/>
                <a:gd name="T18" fmla="*/ 31 w 61"/>
                <a:gd name="T19" fmla="*/ 3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31" y="0"/>
                  </a:moveTo>
                  <a:cubicBezTo>
                    <a:pt x="14" y="0"/>
                    <a:pt x="0" y="14"/>
                    <a:pt x="0" y="30"/>
                  </a:cubicBezTo>
                  <a:cubicBezTo>
                    <a:pt x="0" y="47"/>
                    <a:pt x="14" y="61"/>
                    <a:pt x="31" y="61"/>
                  </a:cubicBezTo>
                  <a:cubicBezTo>
                    <a:pt x="47" y="61"/>
                    <a:pt x="61" y="47"/>
                    <a:pt x="61" y="30"/>
                  </a:cubicBezTo>
                  <a:cubicBezTo>
                    <a:pt x="61" y="14"/>
                    <a:pt x="47" y="0"/>
                    <a:pt x="31" y="0"/>
                  </a:cubicBezTo>
                  <a:close/>
                  <a:moveTo>
                    <a:pt x="31" y="39"/>
                  </a:moveTo>
                  <a:cubicBezTo>
                    <a:pt x="26" y="39"/>
                    <a:pt x="22" y="35"/>
                    <a:pt x="22" y="30"/>
                  </a:cubicBezTo>
                  <a:cubicBezTo>
                    <a:pt x="22" y="26"/>
                    <a:pt x="26" y="22"/>
                    <a:pt x="31" y="22"/>
                  </a:cubicBezTo>
                  <a:cubicBezTo>
                    <a:pt x="36" y="22"/>
                    <a:pt x="40" y="26"/>
                    <a:pt x="40" y="30"/>
                  </a:cubicBezTo>
                  <a:cubicBezTo>
                    <a:pt x="40" y="35"/>
                    <a:pt x="36" y="39"/>
                    <a:pt x="31" y="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9" name="Group 53">
            <a:extLst>
              <a:ext uri="{FF2B5EF4-FFF2-40B4-BE49-F238E27FC236}">
                <a16:creationId xmlns:a16="http://schemas.microsoft.com/office/drawing/2014/main" id="{88142CB6-1E7C-4BCB-86F1-B75C32C87EF2}"/>
              </a:ext>
            </a:extLst>
          </p:cNvPr>
          <p:cNvGrpSpPr>
            <a:grpSpLocks noChangeAspect="1"/>
          </p:cNvGrpSpPr>
          <p:nvPr/>
        </p:nvGrpSpPr>
        <p:grpSpPr bwMode="auto">
          <a:xfrm>
            <a:off x="7917606" y="1620876"/>
            <a:ext cx="404353" cy="404670"/>
            <a:chOff x="1992" y="731"/>
            <a:chExt cx="2544" cy="2546"/>
          </a:xfrm>
        </p:grpSpPr>
        <p:sp>
          <p:nvSpPr>
            <p:cNvPr id="50" name="Oval 54">
              <a:extLst>
                <a:ext uri="{FF2B5EF4-FFF2-40B4-BE49-F238E27FC236}">
                  <a16:creationId xmlns:a16="http://schemas.microsoft.com/office/drawing/2014/main" id="{5E63609E-03EB-4F53-B971-24629F356E0C}"/>
                </a:ext>
              </a:extLst>
            </p:cNvPr>
            <p:cNvSpPr>
              <a:spLocks noChangeArrowheads="1"/>
            </p:cNvSpPr>
            <p:nvPr/>
          </p:nvSpPr>
          <p:spPr bwMode="auto">
            <a:xfrm>
              <a:off x="1992" y="731"/>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5">
              <a:extLst>
                <a:ext uri="{FF2B5EF4-FFF2-40B4-BE49-F238E27FC236}">
                  <a16:creationId xmlns:a16="http://schemas.microsoft.com/office/drawing/2014/main" id="{CCDD6D45-D55D-4357-9F32-73120E878992}"/>
                </a:ext>
              </a:extLst>
            </p:cNvPr>
            <p:cNvSpPr>
              <a:spLocks/>
            </p:cNvSpPr>
            <p:nvPr/>
          </p:nvSpPr>
          <p:spPr bwMode="auto">
            <a:xfrm>
              <a:off x="2080" y="2469"/>
              <a:ext cx="75" cy="157"/>
            </a:xfrm>
            <a:custGeom>
              <a:avLst/>
              <a:gdLst>
                <a:gd name="T0" fmla="*/ 0 w 42"/>
                <a:gd name="T1" fmla="*/ 0 h 89"/>
                <a:gd name="T2" fmla="*/ 42 w 42"/>
                <a:gd name="T3" fmla="*/ 89 h 89"/>
                <a:gd name="T4" fmla="*/ 42 w 42"/>
                <a:gd name="T5" fmla="*/ 83 h 89"/>
                <a:gd name="T6" fmla="*/ 0 w 42"/>
                <a:gd name="T7" fmla="*/ 0 h 89"/>
              </a:gdLst>
              <a:ahLst/>
              <a:cxnLst>
                <a:cxn ang="0">
                  <a:pos x="T0" y="T1"/>
                </a:cxn>
                <a:cxn ang="0">
                  <a:pos x="T2" y="T3"/>
                </a:cxn>
                <a:cxn ang="0">
                  <a:pos x="T4" y="T5"/>
                </a:cxn>
                <a:cxn ang="0">
                  <a:pos x="T6" y="T7"/>
                </a:cxn>
              </a:cxnLst>
              <a:rect l="0" t="0" r="r" b="b"/>
              <a:pathLst>
                <a:path w="42" h="89">
                  <a:moveTo>
                    <a:pt x="0" y="0"/>
                  </a:moveTo>
                  <a:cubicBezTo>
                    <a:pt x="12" y="31"/>
                    <a:pt x="26" y="61"/>
                    <a:pt x="42" y="89"/>
                  </a:cubicBezTo>
                  <a:cubicBezTo>
                    <a:pt x="42" y="87"/>
                    <a:pt x="42" y="85"/>
                    <a:pt x="42" y="83"/>
                  </a:cubicBezTo>
                  <a:cubicBezTo>
                    <a:pt x="42" y="47"/>
                    <a:pt x="25" y="1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6">
              <a:extLst>
                <a:ext uri="{FF2B5EF4-FFF2-40B4-BE49-F238E27FC236}">
                  <a16:creationId xmlns:a16="http://schemas.microsoft.com/office/drawing/2014/main" id="{103D4A29-1932-48D9-9B73-AE24F0A3523A}"/>
                </a:ext>
              </a:extLst>
            </p:cNvPr>
            <p:cNvSpPr>
              <a:spLocks noEditPoints="1"/>
            </p:cNvSpPr>
            <p:nvPr/>
          </p:nvSpPr>
          <p:spPr bwMode="auto">
            <a:xfrm>
              <a:off x="2400"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8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7">
              <a:extLst>
                <a:ext uri="{FF2B5EF4-FFF2-40B4-BE49-F238E27FC236}">
                  <a16:creationId xmlns:a16="http://schemas.microsoft.com/office/drawing/2014/main" id="{2FE0210F-C0FA-44F8-B760-A74B531C9D1B}"/>
                </a:ext>
              </a:extLst>
            </p:cNvPr>
            <p:cNvSpPr>
              <a:spLocks noEditPoints="1"/>
            </p:cNvSpPr>
            <p:nvPr/>
          </p:nvSpPr>
          <p:spPr bwMode="auto">
            <a:xfrm>
              <a:off x="2718"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8">
              <a:extLst>
                <a:ext uri="{FF2B5EF4-FFF2-40B4-BE49-F238E27FC236}">
                  <a16:creationId xmlns:a16="http://schemas.microsoft.com/office/drawing/2014/main" id="{34E6FA35-4560-41E8-BD22-0963390FB3AF}"/>
                </a:ext>
              </a:extLst>
            </p:cNvPr>
            <p:cNvSpPr>
              <a:spLocks/>
            </p:cNvSpPr>
            <p:nvPr/>
          </p:nvSpPr>
          <p:spPr bwMode="auto">
            <a:xfrm>
              <a:off x="2185" y="2453"/>
              <a:ext cx="192" cy="331"/>
            </a:xfrm>
            <a:custGeom>
              <a:avLst/>
              <a:gdLst>
                <a:gd name="T0" fmla="*/ 109 w 109"/>
                <a:gd name="T1" fmla="*/ 168 h 187"/>
                <a:gd name="T2" fmla="*/ 90 w 109"/>
                <a:gd name="T3" fmla="*/ 149 h 187"/>
                <a:gd name="T4" fmla="*/ 72 w 109"/>
                <a:gd name="T5" fmla="*/ 149 h 187"/>
                <a:gd name="T6" fmla="*/ 72 w 109"/>
                <a:gd name="T7" fmla="*/ 20 h 187"/>
                <a:gd name="T8" fmla="*/ 73 w 109"/>
                <a:gd name="T9" fmla="*/ 19 h 187"/>
                <a:gd name="T10" fmla="*/ 54 w 109"/>
                <a:gd name="T11" fmla="*/ 0 h 187"/>
                <a:gd name="T12" fmla="*/ 53 w 109"/>
                <a:gd name="T13" fmla="*/ 0 h 187"/>
                <a:gd name="T14" fmla="*/ 19 w 109"/>
                <a:gd name="T15" fmla="*/ 1 h 187"/>
                <a:gd name="T16" fmla="*/ 1 w 109"/>
                <a:gd name="T17" fmla="*/ 20 h 187"/>
                <a:gd name="T18" fmla="*/ 20 w 109"/>
                <a:gd name="T19" fmla="*/ 38 h 187"/>
                <a:gd name="T20" fmla="*/ 20 w 109"/>
                <a:gd name="T21" fmla="*/ 38 h 187"/>
                <a:gd name="T22" fmla="*/ 35 w 109"/>
                <a:gd name="T23" fmla="*/ 38 h 187"/>
                <a:gd name="T24" fmla="*/ 35 w 109"/>
                <a:gd name="T25" fmla="*/ 149 h 187"/>
                <a:gd name="T26" fmla="*/ 16 w 109"/>
                <a:gd name="T27" fmla="*/ 149 h 187"/>
                <a:gd name="T28" fmla="*/ 14 w 109"/>
                <a:gd name="T29" fmla="*/ 149 h 187"/>
                <a:gd name="T30" fmla="*/ 42 w 109"/>
                <a:gd name="T31" fmla="*/ 187 h 187"/>
                <a:gd name="T32" fmla="*/ 90 w 109"/>
                <a:gd name="T33" fmla="*/ 187 h 187"/>
                <a:gd name="T34" fmla="*/ 109 w 109"/>
                <a:gd name="T35"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87">
                  <a:moveTo>
                    <a:pt x="109" y="168"/>
                  </a:moveTo>
                  <a:cubicBezTo>
                    <a:pt x="109" y="157"/>
                    <a:pt x="100" y="149"/>
                    <a:pt x="90" y="149"/>
                  </a:cubicBezTo>
                  <a:cubicBezTo>
                    <a:pt x="72" y="149"/>
                    <a:pt x="72" y="149"/>
                    <a:pt x="72" y="149"/>
                  </a:cubicBezTo>
                  <a:cubicBezTo>
                    <a:pt x="72" y="20"/>
                    <a:pt x="72" y="20"/>
                    <a:pt x="72" y="20"/>
                  </a:cubicBezTo>
                  <a:cubicBezTo>
                    <a:pt x="72" y="20"/>
                    <a:pt x="73" y="19"/>
                    <a:pt x="73" y="19"/>
                  </a:cubicBezTo>
                  <a:cubicBezTo>
                    <a:pt x="72" y="8"/>
                    <a:pt x="64" y="0"/>
                    <a:pt x="54" y="0"/>
                  </a:cubicBezTo>
                  <a:cubicBezTo>
                    <a:pt x="54" y="0"/>
                    <a:pt x="53" y="0"/>
                    <a:pt x="53" y="0"/>
                  </a:cubicBezTo>
                  <a:cubicBezTo>
                    <a:pt x="19" y="1"/>
                    <a:pt x="19" y="1"/>
                    <a:pt x="19" y="1"/>
                  </a:cubicBezTo>
                  <a:cubicBezTo>
                    <a:pt x="9" y="1"/>
                    <a:pt x="0" y="10"/>
                    <a:pt x="1" y="20"/>
                  </a:cubicBezTo>
                  <a:cubicBezTo>
                    <a:pt x="1" y="30"/>
                    <a:pt x="9" y="38"/>
                    <a:pt x="20" y="38"/>
                  </a:cubicBezTo>
                  <a:cubicBezTo>
                    <a:pt x="20" y="38"/>
                    <a:pt x="20" y="38"/>
                    <a:pt x="20" y="38"/>
                  </a:cubicBezTo>
                  <a:cubicBezTo>
                    <a:pt x="35" y="38"/>
                    <a:pt x="35" y="38"/>
                    <a:pt x="35" y="38"/>
                  </a:cubicBezTo>
                  <a:cubicBezTo>
                    <a:pt x="35" y="149"/>
                    <a:pt x="35" y="149"/>
                    <a:pt x="35" y="149"/>
                  </a:cubicBezTo>
                  <a:cubicBezTo>
                    <a:pt x="16" y="149"/>
                    <a:pt x="16" y="149"/>
                    <a:pt x="16" y="149"/>
                  </a:cubicBezTo>
                  <a:cubicBezTo>
                    <a:pt x="15" y="149"/>
                    <a:pt x="15" y="149"/>
                    <a:pt x="14" y="149"/>
                  </a:cubicBezTo>
                  <a:cubicBezTo>
                    <a:pt x="23" y="162"/>
                    <a:pt x="32" y="174"/>
                    <a:pt x="42" y="187"/>
                  </a:cubicBezTo>
                  <a:cubicBezTo>
                    <a:pt x="90" y="187"/>
                    <a:pt x="90" y="187"/>
                    <a:pt x="90" y="187"/>
                  </a:cubicBezTo>
                  <a:cubicBezTo>
                    <a:pt x="100" y="187"/>
                    <a:pt x="109" y="178"/>
                    <a:pt x="109" y="16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9">
              <a:extLst>
                <a:ext uri="{FF2B5EF4-FFF2-40B4-BE49-F238E27FC236}">
                  <a16:creationId xmlns:a16="http://schemas.microsoft.com/office/drawing/2014/main" id="{CA8099ED-C2A6-4A73-A3E7-7CA648A99AF4}"/>
                </a:ext>
              </a:extLst>
            </p:cNvPr>
            <p:cNvSpPr>
              <a:spLocks noEditPoints="1"/>
            </p:cNvSpPr>
            <p:nvPr/>
          </p:nvSpPr>
          <p:spPr bwMode="auto">
            <a:xfrm>
              <a:off x="3238" y="2451"/>
              <a:ext cx="275"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8 w 156"/>
                <a:gd name="T13" fmla="*/ 93 h 187"/>
                <a:gd name="T14" fmla="*/ 78 w 156"/>
                <a:gd name="T15" fmla="*/ 149 h 187"/>
                <a:gd name="T16" fmla="*/ 37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60">
              <a:extLst>
                <a:ext uri="{FF2B5EF4-FFF2-40B4-BE49-F238E27FC236}">
                  <a16:creationId xmlns:a16="http://schemas.microsoft.com/office/drawing/2014/main" id="{9CFCF142-E61B-4DD5-9EAF-0A2B04A66B81}"/>
                </a:ext>
              </a:extLst>
            </p:cNvPr>
            <p:cNvSpPr>
              <a:spLocks/>
            </p:cNvSpPr>
            <p:nvPr/>
          </p:nvSpPr>
          <p:spPr bwMode="auto">
            <a:xfrm>
              <a:off x="3015" y="2453"/>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8 h 187"/>
                <a:gd name="T24" fmla="*/ 23 w 112"/>
                <a:gd name="T25" fmla="*/ 38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7"/>
                    <a:pt x="104" y="149"/>
                    <a:pt x="93" y="149"/>
                  </a:cubicBez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1">
              <a:extLst>
                <a:ext uri="{FF2B5EF4-FFF2-40B4-BE49-F238E27FC236}">
                  <a16:creationId xmlns:a16="http://schemas.microsoft.com/office/drawing/2014/main" id="{2350C9C5-F0B7-43AD-B62E-294012198E3A}"/>
                </a:ext>
              </a:extLst>
            </p:cNvPr>
            <p:cNvSpPr>
              <a:spLocks noEditPoints="1"/>
            </p:cNvSpPr>
            <p:nvPr/>
          </p:nvSpPr>
          <p:spPr bwMode="auto">
            <a:xfrm>
              <a:off x="3759" y="2451"/>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2">
              <a:extLst>
                <a:ext uri="{FF2B5EF4-FFF2-40B4-BE49-F238E27FC236}">
                  <a16:creationId xmlns:a16="http://schemas.microsoft.com/office/drawing/2014/main" id="{BD4FAD81-8D08-4C86-A199-86070094DF2E}"/>
                </a:ext>
              </a:extLst>
            </p:cNvPr>
            <p:cNvSpPr>
              <a:spLocks/>
            </p:cNvSpPr>
            <p:nvPr/>
          </p:nvSpPr>
          <p:spPr bwMode="auto">
            <a:xfrm>
              <a:off x="4296" y="2686"/>
              <a:ext cx="42" cy="62"/>
            </a:xfrm>
            <a:custGeom>
              <a:avLst/>
              <a:gdLst>
                <a:gd name="T0" fmla="*/ 24 w 24"/>
                <a:gd name="T1" fmla="*/ 0 h 35"/>
                <a:gd name="T2" fmla="*/ 0 w 24"/>
                <a:gd name="T3" fmla="*/ 35 h 35"/>
                <a:gd name="T4" fmla="*/ 24 w 24"/>
                <a:gd name="T5" fmla="*/ 0 h 35"/>
              </a:gdLst>
              <a:ahLst/>
              <a:cxnLst>
                <a:cxn ang="0">
                  <a:pos x="T0" y="T1"/>
                </a:cxn>
                <a:cxn ang="0">
                  <a:pos x="T2" y="T3"/>
                </a:cxn>
                <a:cxn ang="0">
                  <a:pos x="T4" y="T5"/>
                </a:cxn>
              </a:cxnLst>
              <a:rect l="0" t="0" r="r" b="b"/>
              <a:pathLst>
                <a:path w="24" h="35">
                  <a:moveTo>
                    <a:pt x="24" y="0"/>
                  </a:moveTo>
                  <a:cubicBezTo>
                    <a:pt x="16" y="12"/>
                    <a:pt x="8" y="24"/>
                    <a:pt x="0" y="35"/>
                  </a:cubicBezTo>
                  <a:cubicBezTo>
                    <a:pt x="10" y="26"/>
                    <a:pt x="18" y="14"/>
                    <a:pt x="24"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3">
              <a:extLst>
                <a:ext uri="{FF2B5EF4-FFF2-40B4-BE49-F238E27FC236}">
                  <a16:creationId xmlns:a16="http://schemas.microsoft.com/office/drawing/2014/main" id="{2210A513-99CB-4607-ACCC-23430C3344A8}"/>
                </a:ext>
              </a:extLst>
            </p:cNvPr>
            <p:cNvSpPr>
              <a:spLocks noEditPoints="1"/>
            </p:cNvSpPr>
            <p:nvPr/>
          </p:nvSpPr>
          <p:spPr bwMode="auto">
            <a:xfrm>
              <a:off x="4075" y="2451"/>
              <a:ext cx="276" cy="331"/>
            </a:xfrm>
            <a:custGeom>
              <a:avLst/>
              <a:gdLst>
                <a:gd name="T0" fmla="*/ 78 w 156"/>
                <a:gd name="T1" fmla="*/ 0 h 187"/>
                <a:gd name="T2" fmla="*/ 0 w 156"/>
                <a:gd name="T3" fmla="*/ 93 h 187"/>
                <a:gd name="T4" fmla="*/ 78 w 156"/>
                <a:gd name="T5" fmla="*/ 187 h 187"/>
                <a:gd name="T6" fmla="*/ 125 w 156"/>
                <a:gd name="T7" fmla="*/ 168 h 187"/>
                <a:gd name="T8" fmla="*/ 149 w 156"/>
                <a:gd name="T9" fmla="*/ 133 h 187"/>
                <a:gd name="T10" fmla="*/ 156 w 156"/>
                <a:gd name="T11" fmla="*/ 93 h 187"/>
                <a:gd name="T12" fmla="*/ 78 w 156"/>
                <a:gd name="T13" fmla="*/ 0 h 187"/>
                <a:gd name="T14" fmla="*/ 78 w 156"/>
                <a:gd name="T15" fmla="*/ 149 h 187"/>
                <a:gd name="T16" fmla="*/ 38 w 156"/>
                <a:gd name="T17" fmla="*/ 93 h 187"/>
                <a:gd name="T18" fmla="*/ 78 w 156"/>
                <a:gd name="T19" fmla="*/ 38 h 187"/>
                <a:gd name="T20" fmla="*/ 119 w 156"/>
                <a:gd name="T21" fmla="*/ 93 h 187"/>
                <a:gd name="T22" fmla="*/ 78 w 156"/>
                <a:gd name="T23"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78" y="0"/>
                  </a:moveTo>
                  <a:cubicBezTo>
                    <a:pt x="35" y="0"/>
                    <a:pt x="0" y="42"/>
                    <a:pt x="0" y="93"/>
                  </a:cubicBezTo>
                  <a:cubicBezTo>
                    <a:pt x="0" y="145"/>
                    <a:pt x="35" y="187"/>
                    <a:pt x="78" y="187"/>
                  </a:cubicBezTo>
                  <a:cubicBezTo>
                    <a:pt x="96" y="187"/>
                    <a:pt x="112" y="180"/>
                    <a:pt x="125" y="168"/>
                  </a:cubicBezTo>
                  <a:cubicBezTo>
                    <a:pt x="133" y="157"/>
                    <a:pt x="141" y="145"/>
                    <a:pt x="149" y="133"/>
                  </a:cubicBezTo>
                  <a:cubicBezTo>
                    <a:pt x="154" y="121"/>
                    <a:pt x="156" y="107"/>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4">
              <a:extLst>
                <a:ext uri="{FF2B5EF4-FFF2-40B4-BE49-F238E27FC236}">
                  <a16:creationId xmlns:a16="http://schemas.microsoft.com/office/drawing/2014/main" id="{A494D634-6508-42E3-BA02-966C079C593A}"/>
                </a:ext>
              </a:extLst>
            </p:cNvPr>
            <p:cNvSpPr>
              <a:spLocks/>
            </p:cNvSpPr>
            <p:nvPr/>
          </p:nvSpPr>
          <p:spPr bwMode="auto">
            <a:xfrm>
              <a:off x="3536" y="2453"/>
              <a:ext cx="198" cy="331"/>
            </a:xfrm>
            <a:custGeom>
              <a:avLst/>
              <a:gdLst>
                <a:gd name="T0" fmla="*/ 93 w 112"/>
                <a:gd name="T1" fmla="*/ 149 h 187"/>
                <a:gd name="T2" fmla="*/ 76 w 112"/>
                <a:gd name="T3" fmla="*/ 149 h 187"/>
                <a:gd name="T4" fmla="*/ 76 w 112"/>
                <a:gd name="T5" fmla="*/ 20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5">
              <a:extLst>
                <a:ext uri="{FF2B5EF4-FFF2-40B4-BE49-F238E27FC236}">
                  <a16:creationId xmlns:a16="http://schemas.microsoft.com/office/drawing/2014/main" id="{3752B3A6-6876-4D3A-8F6A-B11E321D225D}"/>
                </a:ext>
              </a:extLst>
            </p:cNvPr>
            <p:cNvSpPr>
              <a:spLocks noEditPoints="1"/>
            </p:cNvSpPr>
            <p:nvPr/>
          </p:nvSpPr>
          <p:spPr bwMode="auto">
            <a:xfrm>
              <a:off x="2722" y="2876"/>
              <a:ext cx="275" cy="330"/>
            </a:xfrm>
            <a:custGeom>
              <a:avLst/>
              <a:gdLst>
                <a:gd name="T0" fmla="*/ 156 w 156"/>
                <a:gd name="T1" fmla="*/ 94 h 187"/>
                <a:gd name="T2" fmla="*/ 78 w 156"/>
                <a:gd name="T3" fmla="*/ 0 h 187"/>
                <a:gd name="T4" fmla="*/ 0 w 156"/>
                <a:gd name="T5" fmla="*/ 94 h 187"/>
                <a:gd name="T6" fmla="*/ 41 w 156"/>
                <a:gd name="T7" fmla="*/ 176 h 187"/>
                <a:gd name="T8" fmla="*/ 69 w 156"/>
                <a:gd name="T9" fmla="*/ 187 h 187"/>
                <a:gd name="T10" fmla="*/ 78 w 156"/>
                <a:gd name="T11" fmla="*/ 187 h 187"/>
                <a:gd name="T12" fmla="*/ 156 w 156"/>
                <a:gd name="T13" fmla="*/ 94 h 187"/>
                <a:gd name="T14" fmla="*/ 38 w 156"/>
                <a:gd name="T15" fmla="*/ 94 h 187"/>
                <a:gd name="T16" fmla="*/ 78 w 156"/>
                <a:gd name="T17" fmla="*/ 38 h 187"/>
                <a:gd name="T18" fmla="*/ 118 w 156"/>
                <a:gd name="T19" fmla="*/ 94 h 187"/>
                <a:gd name="T20" fmla="*/ 78 w 156"/>
                <a:gd name="T21" fmla="*/ 150 h 187"/>
                <a:gd name="T22" fmla="*/ 38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156" y="94"/>
                  </a:moveTo>
                  <a:cubicBezTo>
                    <a:pt x="156" y="42"/>
                    <a:pt x="121" y="0"/>
                    <a:pt x="78" y="0"/>
                  </a:cubicBezTo>
                  <a:cubicBezTo>
                    <a:pt x="35" y="0"/>
                    <a:pt x="0" y="42"/>
                    <a:pt x="0" y="94"/>
                  </a:cubicBezTo>
                  <a:cubicBezTo>
                    <a:pt x="0" y="130"/>
                    <a:pt x="17" y="161"/>
                    <a:pt x="41" y="176"/>
                  </a:cubicBezTo>
                  <a:cubicBezTo>
                    <a:pt x="51" y="180"/>
                    <a:pt x="60" y="183"/>
                    <a:pt x="69" y="187"/>
                  </a:cubicBezTo>
                  <a:cubicBezTo>
                    <a:pt x="72" y="187"/>
                    <a:pt x="75" y="187"/>
                    <a:pt x="78" y="187"/>
                  </a:cubicBezTo>
                  <a:cubicBezTo>
                    <a:pt x="121" y="187"/>
                    <a:pt x="156" y="145"/>
                    <a:pt x="156" y="94"/>
                  </a:cubicBezTo>
                  <a:close/>
                  <a:moveTo>
                    <a:pt x="38" y="94"/>
                  </a:moveTo>
                  <a:cubicBezTo>
                    <a:pt x="38" y="64"/>
                    <a:pt x="56" y="38"/>
                    <a:pt x="78" y="38"/>
                  </a:cubicBezTo>
                  <a:cubicBezTo>
                    <a:pt x="100" y="38"/>
                    <a:pt x="118" y="64"/>
                    <a:pt x="118" y="94"/>
                  </a:cubicBezTo>
                  <a:cubicBezTo>
                    <a:pt x="118" y="124"/>
                    <a:pt x="100" y="150"/>
                    <a:pt x="78" y="150"/>
                  </a:cubicBezTo>
                  <a:cubicBezTo>
                    <a:pt x="56" y="150"/>
                    <a:pt x="38" y="124"/>
                    <a:pt x="38"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6">
              <a:extLst>
                <a:ext uri="{FF2B5EF4-FFF2-40B4-BE49-F238E27FC236}">
                  <a16:creationId xmlns:a16="http://schemas.microsoft.com/office/drawing/2014/main" id="{A4B9A2F3-DDC7-480F-8DFD-B4AF566A94F2}"/>
                </a:ext>
              </a:extLst>
            </p:cNvPr>
            <p:cNvSpPr>
              <a:spLocks/>
            </p:cNvSpPr>
            <p:nvPr/>
          </p:nvSpPr>
          <p:spPr bwMode="auto">
            <a:xfrm>
              <a:off x="2506" y="2877"/>
              <a:ext cx="127" cy="232"/>
            </a:xfrm>
            <a:custGeom>
              <a:avLst/>
              <a:gdLst>
                <a:gd name="T0" fmla="*/ 72 w 72"/>
                <a:gd name="T1" fmla="*/ 19 h 131"/>
                <a:gd name="T2" fmla="*/ 53 w 72"/>
                <a:gd name="T3" fmla="*/ 0 h 131"/>
                <a:gd name="T4" fmla="*/ 53 w 72"/>
                <a:gd name="T5" fmla="*/ 0 h 131"/>
                <a:gd name="T6" fmla="*/ 19 w 72"/>
                <a:gd name="T7" fmla="*/ 1 h 131"/>
                <a:gd name="T8" fmla="*/ 0 w 72"/>
                <a:gd name="T9" fmla="*/ 20 h 131"/>
                <a:gd name="T10" fmla="*/ 19 w 72"/>
                <a:gd name="T11" fmla="*/ 39 h 131"/>
                <a:gd name="T12" fmla="*/ 20 w 72"/>
                <a:gd name="T13" fmla="*/ 39 h 131"/>
                <a:gd name="T14" fmla="*/ 34 w 72"/>
                <a:gd name="T15" fmla="*/ 39 h 131"/>
                <a:gd name="T16" fmla="*/ 34 w 72"/>
                <a:gd name="T17" fmla="*/ 108 h 131"/>
                <a:gd name="T18" fmla="*/ 72 w 72"/>
                <a:gd name="T19" fmla="*/ 131 h 131"/>
                <a:gd name="T20" fmla="*/ 72 w 72"/>
                <a:gd name="T21" fmla="*/ 21 h 131"/>
                <a:gd name="T22" fmla="*/ 72 w 72"/>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31">
                  <a:moveTo>
                    <a:pt x="72" y="19"/>
                  </a:moveTo>
                  <a:cubicBezTo>
                    <a:pt x="72" y="9"/>
                    <a:pt x="64" y="0"/>
                    <a:pt x="53" y="0"/>
                  </a:cubicBezTo>
                  <a:cubicBezTo>
                    <a:pt x="53" y="0"/>
                    <a:pt x="53" y="0"/>
                    <a:pt x="53" y="0"/>
                  </a:cubicBezTo>
                  <a:cubicBezTo>
                    <a:pt x="19" y="1"/>
                    <a:pt x="19" y="1"/>
                    <a:pt x="19" y="1"/>
                  </a:cubicBezTo>
                  <a:cubicBezTo>
                    <a:pt x="8" y="1"/>
                    <a:pt x="0" y="10"/>
                    <a:pt x="0" y="20"/>
                  </a:cubicBezTo>
                  <a:cubicBezTo>
                    <a:pt x="1" y="31"/>
                    <a:pt x="9" y="39"/>
                    <a:pt x="19" y="39"/>
                  </a:cubicBezTo>
                  <a:cubicBezTo>
                    <a:pt x="19" y="39"/>
                    <a:pt x="20" y="39"/>
                    <a:pt x="20" y="39"/>
                  </a:cubicBezTo>
                  <a:cubicBezTo>
                    <a:pt x="34" y="39"/>
                    <a:pt x="34" y="39"/>
                    <a:pt x="34" y="39"/>
                  </a:cubicBezTo>
                  <a:cubicBezTo>
                    <a:pt x="34" y="108"/>
                    <a:pt x="34" y="108"/>
                    <a:pt x="34" y="108"/>
                  </a:cubicBezTo>
                  <a:cubicBezTo>
                    <a:pt x="47" y="116"/>
                    <a:pt x="59" y="124"/>
                    <a:pt x="72" y="131"/>
                  </a:cubicBezTo>
                  <a:cubicBezTo>
                    <a:pt x="72" y="21"/>
                    <a:pt x="72" y="21"/>
                    <a:pt x="72" y="21"/>
                  </a:cubicBezTo>
                  <a:cubicBezTo>
                    <a:pt x="72" y="20"/>
                    <a:pt x="72" y="19"/>
                    <a:pt x="72"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7">
              <a:extLst>
                <a:ext uri="{FF2B5EF4-FFF2-40B4-BE49-F238E27FC236}">
                  <a16:creationId xmlns:a16="http://schemas.microsoft.com/office/drawing/2014/main" id="{80CC47AE-653A-45F4-8E61-0C5137473522}"/>
                </a:ext>
              </a:extLst>
            </p:cNvPr>
            <p:cNvSpPr>
              <a:spLocks noEditPoints="1"/>
            </p:cNvSpPr>
            <p:nvPr/>
          </p:nvSpPr>
          <p:spPr bwMode="auto">
            <a:xfrm>
              <a:off x="3243" y="2876"/>
              <a:ext cx="275" cy="330"/>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8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8" y="124"/>
                    <a:pt x="38" y="94"/>
                  </a:cubicBezTo>
                  <a:cubicBezTo>
                    <a:pt x="38" y="64"/>
                    <a:pt x="56" y="38"/>
                    <a:pt x="78" y="38"/>
                  </a:cubicBezTo>
                  <a:cubicBezTo>
                    <a:pt x="100" y="38"/>
                    <a:pt x="118" y="64"/>
                    <a:pt x="118" y="94"/>
                  </a:cubicBezTo>
                  <a:cubicBezTo>
                    <a:pt x="118" y="124"/>
                    <a:pt x="100" y="150"/>
                    <a:pt x="78" y="15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8">
              <a:extLst>
                <a:ext uri="{FF2B5EF4-FFF2-40B4-BE49-F238E27FC236}">
                  <a16:creationId xmlns:a16="http://schemas.microsoft.com/office/drawing/2014/main" id="{DF2B68C0-DE81-4B6D-993C-69FB3C84D299}"/>
                </a:ext>
              </a:extLst>
            </p:cNvPr>
            <p:cNvSpPr>
              <a:spLocks/>
            </p:cNvSpPr>
            <p:nvPr/>
          </p:nvSpPr>
          <p:spPr bwMode="auto">
            <a:xfrm>
              <a:off x="3684" y="3162"/>
              <a:ext cx="106" cy="44"/>
            </a:xfrm>
            <a:custGeom>
              <a:avLst/>
              <a:gdLst>
                <a:gd name="T0" fmla="*/ 7 w 60"/>
                <a:gd name="T1" fmla="*/ 25 h 25"/>
                <a:gd name="T2" fmla="*/ 60 w 60"/>
                <a:gd name="T3" fmla="*/ 0 h 25"/>
                <a:gd name="T4" fmla="*/ 0 w 60"/>
                <a:gd name="T5" fmla="*/ 25 h 25"/>
                <a:gd name="T6" fmla="*/ 7 w 60"/>
                <a:gd name="T7" fmla="*/ 25 h 25"/>
              </a:gdLst>
              <a:ahLst/>
              <a:cxnLst>
                <a:cxn ang="0">
                  <a:pos x="T0" y="T1"/>
                </a:cxn>
                <a:cxn ang="0">
                  <a:pos x="T2" y="T3"/>
                </a:cxn>
                <a:cxn ang="0">
                  <a:pos x="T4" y="T5"/>
                </a:cxn>
                <a:cxn ang="0">
                  <a:pos x="T6" y="T7"/>
                </a:cxn>
              </a:cxnLst>
              <a:rect l="0" t="0" r="r" b="b"/>
              <a:pathLst>
                <a:path w="60" h="25">
                  <a:moveTo>
                    <a:pt x="7" y="25"/>
                  </a:moveTo>
                  <a:cubicBezTo>
                    <a:pt x="28" y="25"/>
                    <a:pt x="46" y="16"/>
                    <a:pt x="60" y="0"/>
                  </a:cubicBezTo>
                  <a:cubicBezTo>
                    <a:pt x="41" y="9"/>
                    <a:pt x="20" y="18"/>
                    <a:pt x="0" y="25"/>
                  </a:cubicBezTo>
                  <a:cubicBezTo>
                    <a:pt x="2" y="25"/>
                    <a:pt x="5" y="25"/>
                    <a:pt x="7" y="2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9">
              <a:extLst>
                <a:ext uri="{FF2B5EF4-FFF2-40B4-BE49-F238E27FC236}">
                  <a16:creationId xmlns:a16="http://schemas.microsoft.com/office/drawing/2014/main" id="{449485D4-757F-43D9-8428-CF95201861B5}"/>
                </a:ext>
              </a:extLst>
            </p:cNvPr>
            <p:cNvSpPr>
              <a:spLocks noEditPoints="1"/>
            </p:cNvSpPr>
            <p:nvPr/>
          </p:nvSpPr>
          <p:spPr bwMode="auto">
            <a:xfrm>
              <a:off x="3559" y="2876"/>
              <a:ext cx="276" cy="330"/>
            </a:xfrm>
            <a:custGeom>
              <a:avLst/>
              <a:gdLst>
                <a:gd name="T0" fmla="*/ 78 w 156"/>
                <a:gd name="T1" fmla="*/ 0 h 187"/>
                <a:gd name="T2" fmla="*/ 0 w 156"/>
                <a:gd name="T3" fmla="*/ 94 h 187"/>
                <a:gd name="T4" fmla="*/ 71 w 156"/>
                <a:gd name="T5" fmla="*/ 187 h 187"/>
                <a:gd name="T6" fmla="*/ 131 w 156"/>
                <a:gd name="T7" fmla="*/ 162 h 187"/>
                <a:gd name="T8" fmla="*/ 156 w 156"/>
                <a:gd name="T9" fmla="*/ 94 h 187"/>
                <a:gd name="T10" fmla="*/ 78 w 156"/>
                <a:gd name="T11" fmla="*/ 0 h 187"/>
                <a:gd name="T12" fmla="*/ 78 w 156"/>
                <a:gd name="T13" fmla="*/ 150 h 187"/>
                <a:gd name="T14" fmla="*/ 38 w 156"/>
                <a:gd name="T15" fmla="*/ 94 h 187"/>
                <a:gd name="T16" fmla="*/ 78 w 156"/>
                <a:gd name="T17" fmla="*/ 38 h 187"/>
                <a:gd name="T18" fmla="*/ 119 w 156"/>
                <a:gd name="T19" fmla="*/ 94 h 187"/>
                <a:gd name="T20" fmla="*/ 78 w 156"/>
                <a:gd name="T21"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0"/>
                  </a:moveTo>
                  <a:cubicBezTo>
                    <a:pt x="35" y="0"/>
                    <a:pt x="0" y="42"/>
                    <a:pt x="0" y="94"/>
                  </a:cubicBezTo>
                  <a:cubicBezTo>
                    <a:pt x="0" y="142"/>
                    <a:pt x="31" y="182"/>
                    <a:pt x="71" y="187"/>
                  </a:cubicBezTo>
                  <a:cubicBezTo>
                    <a:pt x="91" y="180"/>
                    <a:pt x="112" y="171"/>
                    <a:pt x="131" y="162"/>
                  </a:cubicBezTo>
                  <a:cubicBezTo>
                    <a:pt x="147" y="145"/>
                    <a:pt x="156" y="121"/>
                    <a:pt x="156" y="94"/>
                  </a:cubicBezTo>
                  <a:cubicBezTo>
                    <a:pt x="156" y="42"/>
                    <a:pt x="121" y="0"/>
                    <a:pt x="78" y="0"/>
                  </a:cubicBezTo>
                  <a:close/>
                  <a:moveTo>
                    <a:pt x="78" y="150"/>
                  </a:moveTo>
                  <a:cubicBezTo>
                    <a:pt x="57" y="150"/>
                    <a:pt x="38" y="124"/>
                    <a:pt x="38" y="94"/>
                  </a:cubicBezTo>
                  <a:cubicBezTo>
                    <a:pt x="38" y="64"/>
                    <a:pt x="57" y="38"/>
                    <a:pt x="78" y="38"/>
                  </a:cubicBezTo>
                  <a:cubicBezTo>
                    <a:pt x="100" y="38"/>
                    <a:pt x="119" y="64"/>
                    <a:pt x="119" y="94"/>
                  </a:cubicBezTo>
                  <a:cubicBezTo>
                    <a:pt x="119" y="124"/>
                    <a:pt x="100" y="150"/>
                    <a:pt x="78"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0">
              <a:extLst>
                <a:ext uri="{FF2B5EF4-FFF2-40B4-BE49-F238E27FC236}">
                  <a16:creationId xmlns:a16="http://schemas.microsoft.com/office/drawing/2014/main" id="{B2C6089F-E414-437F-AAE9-E68145B2B6CA}"/>
                </a:ext>
              </a:extLst>
            </p:cNvPr>
            <p:cNvSpPr>
              <a:spLocks/>
            </p:cNvSpPr>
            <p:nvPr/>
          </p:nvSpPr>
          <p:spPr bwMode="auto">
            <a:xfrm>
              <a:off x="3020" y="2877"/>
              <a:ext cx="198" cy="331"/>
            </a:xfrm>
            <a:custGeom>
              <a:avLst/>
              <a:gdLst>
                <a:gd name="T0" fmla="*/ 94 w 112"/>
                <a:gd name="T1" fmla="*/ 149 h 187"/>
                <a:gd name="T2" fmla="*/ 76 w 112"/>
                <a:gd name="T3" fmla="*/ 149 h 187"/>
                <a:gd name="T4" fmla="*/ 76 w 112"/>
                <a:gd name="T5" fmla="*/ 21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9 h 187"/>
                <a:gd name="T18" fmla="*/ 24 w 112"/>
                <a:gd name="T19" fmla="*/ 39 h 187"/>
                <a:gd name="T20" fmla="*/ 38 w 112"/>
                <a:gd name="T21" fmla="*/ 39 h 187"/>
                <a:gd name="T22" fmla="*/ 38 w 112"/>
                <a:gd name="T23" fmla="*/ 149 h 187"/>
                <a:gd name="T24" fmla="*/ 19 w 112"/>
                <a:gd name="T25" fmla="*/ 149 h 187"/>
                <a:gd name="T26" fmla="*/ 0 w 112"/>
                <a:gd name="T27" fmla="*/ 168 h 187"/>
                <a:gd name="T28" fmla="*/ 19 w 112"/>
                <a:gd name="T29" fmla="*/ 187 h 187"/>
                <a:gd name="T30" fmla="*/ 94 w 112"/>
                <a:gd name="T31" fmla="*/ 187 h 187"/>
                <a:gd name="T32" fmla="*/ 112 w 112"/>
                <a:gd name="T33" fmla="*/ 168 h 187"/>
                <a:gd name="T34" fmla="*/ 94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4" y="149"/>
                  </a:moveTo>
                  <a:cubicBezTo>
                    <a:pt x="76" y="149"/>
                    <a:pt x="76" y="149"/>
                    <a:pt x="76" y="149"/>
                  </a:cubicBezTo>
                  <a:cubicBezTo>
                    <a:pt x="76" y="21"/>
                    <a:pt x="76" y="21"/>
                    <a:pt x="76" y="21"/>
                  </a:cubicBezTo>
                  <a:cubicBezTo>
                    <a:pt x="76" y="20"/>
                    <a:pt x="76" y="19"/>
                    <a:pt x="76" y="19"/>
                  </a:cubicBezTo>
                  <a:cubicBezTo>
                    <a:pt x="76" y="9"/>
                    <a:pt x="68" y="0"/>
                    <a:pt x="57" y="0"/>
                  </a:cubicBezTo>
                  <a:cubicBezTo>
                    <a:pt x="57" y="0"/>
                    <a:pt x="57" y="0"/>
                    <a:pt x="57" y="0"/>
                  </a:cubicBezTo>
                  <a:cubicBezTo>
                    <a:pt x="23" y="1"/>
                    <a:pt x="23" y="1"/>
                    <a:pt x="23" y="1"/>
                  </a:cubicBezTo>
                  <a:cubicBezTo>
                    <a:pt x="13" y="1"/>
                    <a:pt x="4" y="10"/>
                    <a:pt x="4" y="20"/>
                  </a:cubicBezTo>
                  <a:cubicBezTo>
                    <a:pt x="5" y="31"/>
                    <a:pt x="13" y="39"/>
                    <a:pt x="23" y="39"/>
                  </a:cubicBezTo>
                  <a:cubicBezTo>
                    <a:pt x="23" y="39"/>
                    <a:pt x="24" y="39"/>
                    <a:pt x="24" y="39"/>
                  </a:cubicBezTo>
                  <a:cubicBezTo>
                    <a:pt x="38" y="39"/>
                    <a:pt x="38" y="39"/>
                    <a:pt x="38" y="39"/>
                  </a:cubicBezTo>
                  <a:cubicBezTo>
                    <a:pt x="38" y="149"/>
                    <a:pt x="38" y="149"/>
                    <a:pt x="38" y="149"/>
                  </a:cubicBezTo>
                  <a:cubicBezTo>
                    <a:pt x="19" y="149"/>
                    <a:pt x="19" y="149"/>
                    <a:pt x="19" y="149"/>
                  </a:cubicBezTo>
                  <a:cubicBezTo>
                    <a:pt x="9" y="149"/>
                    <a:pt x="0" y="158"/>
                    <a:pt x="0" y="168"/>
                  </a:cubicBezTo>
                  <a:cubicBezTo>
                    <a:pt x="0" y="179"/>
                    <a:pt x="9" y="187"/>
                    <a:pt x="19" y="187"/>
                  </a:cubicBezTo>
                  <a:cubicBezTo>
                    <a:pt x="94" y="187"/>
                    <a:pt x="94" y="187"/>
                    <a:pt x="94" y="187"/>
                  </a:cubicBezTo>
                  <a:cubicBezTo>
                    <a:pt x="104" y="187"/>
                    <a:pt x="112" y="179"/>
                    <a:pt x="112" y="168"/>
                  </a:cubicBezTo>
                  <a:cubicBezTo>
                    <a:pt x="112" y="158"/>
                    <a:pt x="104" y="149"/>
                    <a:pt x="94"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1">
              <a:extLst>
                <a:ext uri="{FF2B5EF4-FFF2-40B4-BE49-F238E27FC236}">
                  <a16:creationId xmlns:a16="http://schemas.microsoft.com/office/drawing/2014/main" id="{2A3B0B39-E6AE-4AF0-A69C-9EF0ACB852D5}"/>
                </a:ext>
              </a:extLst>
            </p:cNvPr>
            <p:cNvSpPr>
              <a:spLocks/>
            </p:cNvSpPr>
            <p:nvPr/>
          </p:nvSpPr>
          <p:spPr bwMode="auto">
            <a:xfrm>
              <a:off x="4093" y="2881"/>
              <a:ext cx="93" cy="88"/>
            </a:xfrm>
            <a:custGeom>
              <a:avLst/>
              <a:gdLst>
                <a:gd name="T0" fmla="*/ 53 w 53"/>
                <a:gd name="T1" fmla="*/ 0 h 50"/>
                <a:gd name="T2" fmla="*/ 0 w 53"/>
                <a:gd name="T3" fmla="*/ 50 h 50"/>
                <a:gd name="T4" fmla="*/ 53 w 53"/>
                <a:gd name="T5" fmla="*/ 0 h 50"/>
              </a:gdLst>
              <a:ahLst/>
              <a:cxnLst>
                <a:cxn ang="0">
                  <a:pos x="T0" y="T1"/>
                </a:cxn>
                <a:cxn ang="0">
                  <a:pos x="T2" y="T3"/>
                </a:cxn>
                <a:cxn ang="0">
                  <a:pos x="T4" y="T5"/>
                </a:cxn>
              </a:cxnLst>
              <a:rect l="0" t="0" r="r" b="b"/>
              <a:pathLst>
                <a:path w="53" h="50">
                  <a:moveTo>
                    <a:pt x="53" y="0"/>
                  </a:moveTo>
                  <a:cubicBezTo>
                    <a:pt x="30" y="6"/>
                    <a:pt x="10" y="25"/>
                    <a:pt x="0" y="50"/>
                  </a:cubicBezTo>
                  <a:cubicBezTo>
                    <a:pt x="19" y="34"/>
                    <a:pt x="37" y="17"/>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72">
              <a:extLst>
                <a:ext uri="{FF2B5EF4-FFF2-40B4-BE49-F238E27FC236}">
                  <a16:creationId xmlns:a16="http://schemas.microsoft.com/office/drawing/2014/main" id="{9ED9FCD6-5AA6-40FC-96CF-8A2801219F7E}"/>
                </a:ext>
              </a:extLst>
            </p:cNvPr>
            <p:cNvSpPr>
              <a:spLocks/>
            </p:cNvSpPr>
            <p:nvPr/>
          </p:nvSpPr>
          <p:spPr bwMode="auto">
            <a:xfrm>
              <a:off x="3865" y="2877"/>
              <a:ext cx="127" cy="214"/>
            </a:xfrm>
            <a:custGeom>
              <a:avLst/>
              <a:gdLst>
                <a:gd name="T0" fmla="*/ 72 w 72"/>
                <a:gd name="T1" fmla="*/ 19 h 121"/>
                <a:gd name="T2" fmla="*/ 53 w 72"/>
                <a:gd name="T3" fmla="*/ 0 h 121"/>
                <a:gd name="T4" fmla="*/ 53 w 72"/>
                <a:gd name="T5" fmla="*/ 0 h 121"/>
                <a:gd name="T6" fmla="*/ 18 w 72"/>
                <a:gd name="T7" fmla="*/ 1 h 121"/>
                <a:gd name="T8" fmla="*/ 0 w 72"/>
                <a:gd name="T9" fmla="*/ 20 h 121"/>
                <a:gd name="T10" fmla="*/ 19 w 72"/>
                <a:gd name="T11" fmla="*/ 39 h 121"/>
                <a:gd name="T12" fmla="*/ 19 w 72"/>
                <a:gd name="T13" fmla="*/ 39 h 121"/>
                <a:gd name="T14" fmla="*/ 34 w 72"/>
                <a:gd name="T15" fmla="*/ 39 h 121"/>
                <a:gd name="T16" fmla="*/ 34 w 72"/>
                <a:gd name="T17" fmla="*/ 121 h 121"/>
                <a:gd name="T18" fmla="*/ 72 w 72"/>
                <a:gd name="T19" fmla="*/ 97 h 121"/>
                <a:gd name="T20" fmla="*/ 72 w 72"/>
                <a:gd name="T21" fmla="*/ 21 h 121"/>
                <a:gd name="T22" fmla="*/ 72 w 72"/>
                <a:gd name="T23" fmla="*/ 1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21">
                  <a:moveTo>
                    <a:pt x="72" y="19"/>
                  </a:moveTo>
                  <a:cubicBezTo>
                    <a:pt x="72" y="9"/>
                    <a:pt x="63" y="0"/>
                    <a:pt x="53" y="0"/>
                  </a:cubicBezTo>
                  <a:cubicBezTo>
                    <a:pt x="53" y="0"/>
                    <a:pt x="53" y="0"/>
                    <a:pt x="53" y="0"/>
                  </a:cubicBezTo>
                  <a:cubicBezTo>
                    <a:pt x="18" y="1"/>
                    <a:pt x="18" y="1"/>
                    <a:pt x="18" y="1"/>
                  </a:cubicBezTo>
                  <a:cubicBezTo>
                    <a:pt x="8" y="1"/>
                    <a:pt x="0" y="10"/>
                    <a:pt x="0" y="20"/>
                  </a:cubicBezTo>
                  <a:cubicBezTo>
                    <a:pt x="0" y="31"/>
                    <a:pt x="9" y="39"/>
                    <a:pt x="19" y="39"/>
                  </a:cubicBezTo>
                  <a:cubicBezTo>
                    <a:pt x="19" y="39"/>
                    <a:pt x="19" y="39"/>
                    <a:pt x="19" y="39"/>
                  </a:cubicBezTo>
                  <a:cubicBezTo>
                    <a:pt x="34" y="39"/>
                    <a:pt x="34" y="39"/>
                    <a:pt x="34" y="39"/>
                  </a:cubicBezTo>
                  <a:cubicBezTo>
                    <a:pt x="34" y="121"/>
                    <a:pt x="34" y="121"/>
                    <a:pt x="34" y="121"/>
                  </a:cubicBezTo>
                  <a:cubicBezTo>
                    <a:pt x="47" y="114"/>
                    <a:pt x="59" y="105"/>
                    <a:pt x="72" y="97"/>
                  </a:cubicBezTo>
                  <a:cubicBezTo>
                    <a:pt x="72" y="21"/>
                    <a:pt x="72" y="21"/>
                    <a:pt x="72" y="21"/>
                  </a:cubicBezTo>
                  <a:cubicBezTo>
                    <a:pt x="72" y="20"/>
                    <a:pt x="72" y="19"/>
                    <a:pt x="72"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3">
              <a:extLst>
                <a:ext uri="{FF2B5EF4-FFF2-40B4-BE49-F238E27FC236}">
                  <a16:creationId xmlns:a16="http://schemas.microsoft.com/office/drawing/2014/main" id="{2FC3FE7A-0792-4870-A0FF-0A47ED79C1C8}"/>
                </a:ext>
              </a:extLst>
            </p:cNvPr>
            <p:cNvSpPr>
              <a:spLocks/>
            </p:cNvSpPr>
            <p:nvPr/>
          </p:nvSpPr>
          <p:spPr bwMode="auto">
            <a:xfrm>
              <a:off x="4386" y="2453"/>
              <a:ext cx="69" cy="67"/>
            </a:xfrm>
            <a:custGeom>
              <a:avLst/>
              <a:gdLst>
                <a:gd name="T0" fmla="*/ 0 w 39"/>
                <a:gd name="T1" fmla="*/ 20 h 38"/>
                <a:gd name="T2" fmla="*/ 19 w 39"/>
                <a:gd name="T3" fmla="*/ 38 h 38"/>
                <a:gd name="T4" fmla="*/ 19 w 39"/>
                <a:gd name="T5" fmla="*/ 38 h 38"/>
                <a:gd name="T6" fmla="*/ 23 w 39"/>
                <a:gd name="T7" fmla="*/ 38 h 38"/>
                <a:gd name="T8" fmla="*/ 39 w 39"/>
                <a:gd name="T9" fmla="*/ 0 h 38"/>
                <a:gd name="T10" fmla="*/ 18 w 39"/>
                <a:gd name="T11" fmla="*/ 0 h 38"/>
                <a:gd name="T12" fmla="*/ 0 w 39"/>
                <a:gd name="T13" fmla="*/ 20 h 38"/>
              </a:gdLst>
              <a:ahLst/>
              <a:cxnLst>
                <a:cxn ang="0">
                  <a:pos x="T0" y="T1"/>
                </a:cxn>
                <a:cxn ang="0">
                  <a:pos x="T2" y="T3"/>
                </a:cxn>
                <a:cxn ang="0">
                  <a:pos x="T4" y="T5"/>
                </a:cxn>
                <a:cxn ang="0">
                  <a:pos x="T6" y="T7"/>
                </a:cxn>
                <a:cxn ang="0">
                  <a:pos x="T8" y="T9"/>
                </a:cxn>
                <a:cxn ang="0">
                  <a:pos x="T10" y="T11"/>
                </a:cxn>
                <a:cxn ang="0">
                  <a:pos x="T12" y="T13"/>
                </a:cxn>
              </a:cxnLst>
              <a:rect l="0" t="0" r="r" b="b"/>
              <a:pathLst>
                <a:path w="39" h="38">
                  <a:moveTo>
                    <a:pt x="0" y="20"/>
                  </a:moveTo>
                  <a:cubicBezTo>
                    <a:pt x="0" y="30"/>
                    <a:pt x="9" y="38"/>
                    <a:pt x="19" y="38"/>
                  </a:cubicBezTo>
                  <a:cubicBezTo>
                    <a:pt x="19" y="38"/>
                    <a:pt x="19" y="38"/>
                    <a:pt x="19" y="38"/>
                  </a:cubicBezTo>
                  <a:cubicBezTo>
                    <a:pt x="23" y="38"/>
                    <a:pt x="23" y="38"/>
                    <a:pt x="23" y="38"/>
                  </a:cubicBezTo>
                  <a:cubicBezTo>
                    <a:pt x="29" y="26"/>
                    <a:pt x="34" y="13"/>
                    <a:pt x="39" y="0"/>
                  </a:cubicBezTo>
                  <a:cubicBezTo>
                    <a:pt x="18" y="0"/>
                    <a:pt x="18" y="0"/>
                    <a:pt x="18" y="0"/>
                  </a:cubicBezTo>
                  <a:cubicBezTo>
                    <a:pt x="8" y="1"/>
                    <a:pt x="0" y="9"/>
                    <a:pt x="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74">
              <a:extLst>
                <a:ext uri="{FF2B5EF4-FFF2-40B4-BE49-F238E27FC236}">
                  <a16:creationId xmlns:a16="http://schemas.microsoft.com/office/drawing/2014/main" id="{A8E6A8A6-DC3C-4B94-9774-72C8B8114B53}"/>
                </a:ext>
              </a:extLst>
            </p:cNvPr>
            <p:cNvSpPr>
              <a:spLocks/>
            </p:cNvSpPr>
            <p:nvPr/>
          </p:nvSpPr>
          <p:spPr bwMode="auto">
            <a:xfrm>
              <a:off x="2338" y="2876"/>
              <a:ext cx="136" cy="125"/>
            </a:xfrm>
            <a:custGeom>
              <a:avLst/>
              <a:gdLst>
                <a:gd name="T0" fmla="*/ 1 w 77"/>
                <a:gd name="T1" fmla="*/ 0 h 71"/>
                <a:gd name="T2" fmla="*/ 0 w 77"/>
                <a:gd name="T3" fmla="*/ 0 h 71"/>
                <a:gd name="T4" fmla="*/ 77 w 77"/>
                <a:gd name="T5" fmla="*/ 71 h 71"/>
                <a:gd name="T6" fmla="*/ 1 w 77"/>
                <a:gd name="T7" fmla="*/ 0 h 71"/>
              </a:gdLst>
              <a:ahLst/>
              <a:cxnLst>
                <a:cxn ang="0">
                  <a:pos x="T0" y="T1"/>
                </a:cxn>
                <a:cxn ang="0">
                  <a:pos x="T2" y="T3"/>
                </a:cxn>
                <a:cxn ang="0">
                  <a:pos x="T4" y="T5"/>
                </a:cxn>
                <a:cxn ang="0">
                  <a:pos x="T6" y="T7"/>
                </a:cxn>
              </a:cxnLst>
              <a:rect l="0" t="0" r="r" b="b"/>
              <a:pathLst>
                <a:path w="77" h="71">
                  <a:moveTo>
                    <a:pt x="1" y="0"/>
                  </a:moveTo>
                  <a:cubicBezTo>
                    <a:pt x="0" y="0"/>
                    <a:pt x="0" y="0"/>
                    <a:pt x="0" y="0"/>
                  </a:cubicBezTo>
                  <a:cubicBezTo>
                    <a:pt x="23" y="26"/>
                    <a:pt x="49" y="49"/>
                    <a:pt x="77" y="71"/>
                  </a:cubicBezTo>
                  <a:cubicBezTo>
                    <a:pt x="68" y="30"/>
                    <a:pt x="37" y="0"/>
                    <a:pt x="1"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5">
              <a:extLst>
                <a:ext uri="{FF2B5EF4-FFF2-40B4-BE49-F238E27FC236}">
                  <a16:creationId xmlns:a16="http://schemas.microsoft.com/office/drawing/2014/main" id="{19449631-E6E6-459E-A7DE-47E48700C624}"/>
                </a:ext>
              </a:extLst>
            </p:cNvPr>
            <p:cNvSpPr>
              <a:spLocks/>
            </p:cNvSpPr>
            <p:nvPr/>
          </p:nvSpPr>
          <p:spPr bwMode="auto">
            <a:xfrm>
              <a:off x="2344" y="1032"/>
              <a:ext cx="100" cy="93"/>
            </a:xfrm>
            <a:custGeom>
              <a:avLst/>
              <a:gdLst>
                <a:gd name="T0" fmla="*/ 57 w 57"/>
                <a:gd name="T1" fmla="*/ 0 h 53"/>
                <a:gd name="T2" fmla="*/ 0 w 57"/>
                <a:gd name="T3" fmla="*/ 53 h 53"/>
                <a:gd name="T4" fmla="*/ 57 w 57"/>
                <a:gd name="T5" fmla="*/ 0 h 53"/>
              </a:gdLst>
              <a:ahLst/>
              <a:cxnLst>
                <a:cxn ang="0">
                  <a:pos x="T0" y="T1"/>
                </a:cxn>
                <a:cxn ang="0">
                  <a:pos x="T2" y="T3"/>
                </a:cxn>
                <a:cxn ang="0">
                  <a:pos x="T4" y="T5"/>
                </a:cxn>
              </a:cxnLst>
              <a:rect l="0" t="0" r="r" b="b"/>
              <a:pathLst>
                <a:path w="57" h="53">
                  <a:moveTo>
                    <a:pt x="57" y="0"/>
                  </a:moveTo>
                  <a:cubicBezTo>
                    <a:pt x="37" y="16"/>
                    <a:pt x="18" y="34"/>
                    <a:pt x="0" y="53"/>
                  </a:cubicBezTo>
                  <a:cubicBezTo>
                    <a:pt x="25" y="48"/>
                    <a:pt x="47" y="27"/>
                    <a:pt x="57"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76">
              <a:extLst>
                <a:ext uri="{FF2B5EF4-FFF2-40B4-BE49-F238E27FC236}">
                  <a16:creationId xmlns:a16="http://schemas.microsoft.com/office/drawing/2014/main" id="{9ABEBE17-52FC-401C-8B26-2B2DF13D9E72}"/>
                </a:ext>
              </a:extLst>
            </p:cNvPr>
            <p:cNvSpPr>
              <a:spLocks noEditPoints="1"/>
            </p:cNvSpPr>
            <p:nvPr/>
          </p:nvSpPr>
          <p:spPr bwMode="auto">
            <a:xfrm>
              <a:off x="2702" y="798"/>
              <a:ext cx="276" cy="331"/>
            </a:xfrm>
            <a:custGeom>
              <a:avLst/>
              <a:gdLst>
                <a:gd name="T0" fmla="*/ 78 w 156"/>
                <a:gd name="T1" fmla="*/ 187 h 187"/>
                <a:gd name="T2" fmla="*/ 156 w 156"/>
                <a:gd name="T3" fmla="*/ 93 h 187"/>
                <a:gd name="T4" fmla="*/ 86 w 156"/>
                <a:gd name="T5" fmla="*/ 0 h 187"/>
                <a:gd name="T6" fmla="*/ 26 w 156"/>
                <a:gd name="T7" fmla="*/ 24 h 187"/>
                <a:gd name="T8" fmla="*/ 0 w 156"/>
                <a:gd name="T9" fmla="*/ 93 h 187"/>
                <a:gd name="T10" fmla="*/ 78 w 156"/>
                <a:gd name="T11" fmla="*/ 187 h 187"/>
                <a:gd name="T12" fmla="*/ 78 w 156"/>
                <a:gd name="T13" fmla="*/ 38 h 187"/>
                <a:gd name="T14" fmla="*/ 118 w 156"/>
                <a:gd name="T15" fmla="*/ 93 h 187"/>
                <a:gd name="T16" fmla="*/ 78 w 156"/>
                <a:gd name="T17" fmla="*/ 149 h 187"/>
                <a:gd name="T18" fmla="*/ 37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187"/>
                  </a:moveTo>
                  <a:cubicBezTo>
                    <a:pt x="121" y="187"/>
                    <a:pt x="156" y="145"/>
                    <a:pt x="156" y="93"/>
                  </a:cubicBezTo>
                  <a:cubicBezTo>
                    <a:pt x="156" y="45"/>
                    <a:pt x="125" y="5"/>
                    <a:pt x="86" y="0"/>
                  </a:cubicBezTo>
                  <a:cubicBezTo>
                    <a:pt x="65" y="7"/>
                    <a:pt x="45" y="15"/>
                    <a:pt x="26" y="24"/>
                  </a:cubicBezTo>
                  <a:cubicBezTo>
                    <a:pt x="10" y="41"/>
                    <a:pt x="0" y="66"/>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7">
              <a:extLst>
                <a:ext uri="{FF2B5EF4-FFF2-40B4-BE49-F238E27FC236}">
                  <a16:creationId xmlns:a16="http://schemas.microsoft.com/office/drawing/2014/main" id="{09DF367D-1618-4FAD-9E4A-86E6B005BF82}"/>
                </a:ext>
              </a:extLst>
            </p:cNvPr>
            <p:cNvSpPr>
              <a:spLocks noEditPoints="1"/>
            </p:cNvSpPr>
            <p:nvPr/>
          </p:nvSpPr>
          <p:spPr bwMode="auto">
            <a:xfrm>
              <a:off x="3018" y="79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9 w 156"/>
                <a:gd name="T13" fmla="*/ 93 h 187"/>
                <a:gd name="T14" fmla="*/ 78 w 156"/>
                <a:gd name="T15" fmla="*/ 149 h 187"/>
                <a:gd name="T16" fmla="*/ 38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8">
              <a:extLst>
                <a:ext uri="{FF2B5EF4-FFF2-40B4-BE49-F238E27FC236}">
                  <a16:creationId xmlns:a16="http://schemas.microsoft.com/office/drawing/2014/main" id="{BF944304-FA91-4030-9BFD-04F411EF0756}"/>
                </a:ext>
              </a:extLst>
            </p:cNvPr>
            <p:cNvSpPr>
              <a:spLocks/>
            </p:cNvSpPr>
            <p:nvPr/>
          </p:nvSpPr>
          <p:spPr bwMode="auto">
            <a:xfrm>
              <a:off x="2480" y="910"/>
              <a:ext cx="197" cy="221"/>
            </a:xfrm>
            <a:custGeom>
              <a:avLst/>
              <a:gdLst>
                <a:gd name="T0" fmla="*/ 19 w 112"/>
                <a:gd name="T1" fmla="*/ 87 h 125"/>
                <a:gd name="T2" fmla="*/ 0 w 112"/>
                <a:gd name="T3" fmla="*/ 106 h 125"/>
                <a:gd name="T4" fmla="*/ 19 w 112"/>
                <a:gd name="T5" fmla="*/ 125 h 125"/>
                <a:gd name="T6" fmla="*/ 93 w 112"/>
                <a:gd name="T7" fmla="*/ 125 h 125"/>
                <a:gd name="T8" fmla="*/ 112 w 112"/>
                <a:gd name="T9" fmla="*/ 106 h 125"/>
                <a:gd name="T10" fmla="*/ 93 w 112"/>
                <a:gd name="T11" fmla="*/ 87 h 125"/>
                <a:gd name="T12" fmla="*/ 76 w 112"/>
                <a:gd name="T13" fmla="*/ 87 h 125"/>
                <a:gd name="T14" fmla="*/ 76 w 112"/>
                <a:gd name="T15" fmla="*/ 0 h 125"/>
                <a:gd name="T16" fmla="*/ 38 w 112"/>
                <a:gd name="T17" fmla="*/ 24 h 125"/>
                <a:gd name="T18" fmla="*/ 38 w 112"/>
                <a:gd name="T19" fmla="*/ 87 h 125"/>
                <a:gd name="T20" fmla="*/ 19 w 112"/>
                <a:gd name="T21"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5">
                  <a:moveTo>
                    <a:pt x="19" y="87"/>
                  </a:moveTo>
                  <a:cubicBezTo>
                    <a:pt x="9" y="87"/>
                    <a:pt x="0" y="95"/>
                    <a:pt x="0" y="106"/>
                  </a:cubicBezTo>
                  <a:cubicBezTo>
                    <a:pt x="0" y="116"/>
                    <a:pt x="9" y="125"/>
                    <a:pt x="19" y="125"/>
                  </a:cubicBezTo>
                  <a:cubicBezTo>
                    <a:pt x="93" y="125"/>
                    <a:pt x="93" y="125"/>
                    <a:pt x="93" y="125"/>
                  </a:cubicBezTo>
                  <a:cubicBezTo>
                    <a:pt x="104" y="125"/>
                    <a:pt x="112" y="116"/>
                    <a:pt x="112" y="106"/>
                  </a:cubicBezTo>
                  <a:cubicBezTo>
                    <a:pt x="112" y="95"/>
                    <a:pt x="104" y="87"/>
                    <a:pt x="93" y="87"/>
                  </a:cubicBezTo>
                  <a:cubicBezTo>
                    <a:pt x="76" y="87"/>
                    <a:pt x="76" y="87"/>
                    <a:pt x="76" y="87"/>
                  </a:cubicBezTo>
                  <a:cubicBezTo>
                    <a:pt x="76" y="0"/>
                    <a:pt x="76" y="0"/>
                    <a:pt x="76" y="0"/>
                  </a:cubicBezTo>
                  <a:cubicBezTo>
                    <a:pt x="63" y="8"/>
                    <a:pt x="51" y="16"/>
                    <a:pt x="38" y="24"/>
                  </a:cubicBezTo>
                  <a:cubicBezTo>
                    <a:pt x="38" y="87"/>
                    <a:pt x="38" y="87"/>
                    <a:pt x="38" y="87"/>
                  </a:cubicBezTo>
                  <a:lnTo>
                    <a:pt x="19" y="87"/>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9">
              <a:extLst>
                <a:ext uri="{FF2B5EF4-FFF2-40B4-BE49-F238E27FC236}">
                  <a16:creationId xmlns:a16="http://schemas.microsoft.com/office/drawing/2014/main" id="{39E409FD-4EE6-4A9A-BF38-30C2BBCF677D}"/>
                </a:ext>
              </a:extLst>
            </p:cNvPr>
            <p:cNvSpPr>
              <a:spLocks noEditPoints="1"/>
            </p:cNvSpPr>
            <p:nvPr/>
          </p:nvSpPr>
          <p:spPr bwMode="auto">
            <a:xfrm>
              <a:off x="3538" y="798"/>
              <a:ext cx="275" cy="331"/>
            </a:xfrm>
            <a:custGeom>
              <a:avLst/>
              <a:gdLst>
                <a:gd name="T0" fmla="*/ 0 w 156"/>
                <a:gd name="T1" fmla="*/ 93 h 187"/>
                <a:gd name="T2" fmla="*/ 78 w 156"/>
                <a:gd name="T3" fmla="*/ 187 h 187"/>
                <a:gd name="T4" fmla="*/ 156 w 156"/>
                <a:gd name="T5" fmla="*/ 93 h 187"/>
                <a:gd name="T6" fmla="*/ 125 w 156"/>
                <a:gd name="T7" fmla="*/ 18 h 187"/>
                <a:gd name="T8" fmla="*/ 76 w 156"/>
                <a:gd name="T9" fmla="*/ 0 h 187"/>
                <a:gd name="T10" fmla="*/ 0 w 156"/>
                <a:gd name="T11" fmla="*/ 93 h 187"/>
                <a:gd name="T12" fmla="*/ 78 w 156"/>
                <a:gd name="T13" fmla="*/ 38 h 187"/>
                <a:gd name="T14" fmla="*/ 119 w 156"/>
                <a:gd name="T15" fmla="*/ 93 h 187"/>
                <a:gd name="T16" fmla="*/ 78 w 156"/>
                <a:gd name="T17" fmla="*/ 149 h 187"/>
                <a:gd name="T18" fmla="*/ 38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0" y="93"/>
                  </a:moveTo>
                  <a:cubicBezTo>
                    <a:pt x="0" y="145"/>
                    <a:pt x="35" y="187"/>
                    <a:pt x="78" y="187"/>
                  </a:cubicBezTo>
                  <a:cubicBezTo>
                    <a:pt x="121" y="187"/>
                    <a:pt x="156" y="145"/>
                    <a:pt x="156" y="93"/>
                  </a:cubicBezTo>
                  <a:cubicBezTo>
                    <a:pt x="156" y="63"/>
                    <a:pt x="144" y="36"/>
                    <a:pt x="125" y="18"/>
                  </a:cubicBezTo>
                  <a:cubicBezTo>
                    <a:pt x="109" y="12"/>
                    <a:pt x="93" y="5"/>
                    <a:pt x="76" y="0"/>
                  </a:cubicBezTo>
                  <a:cubicBezTo>
                    <a:pt x="34" y="1"/>
                    <a:pt x="0" y="43"/>
                    <a:pt x="0" y="93"/>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0">
              <a:extLst>
                <a:ext uri="{FF2B5EF4-FFF2-40B4-BE49-F238E27FC236}">
                  <a16:creationId xmlns:a16="http://schemas.microsoft.com/office/drawing/2014/main" id="{908454CE-2471-4401-B706-78D89A5D6650}"/>
                </a:ext>
              </a:extLst>
            </p:cNvPr>
            <p:cNvSpPr>
              <a:spLocks/>
            </p:cNvSpPr>
            <p:nvPr/>
          </p:nvSpPr>
          <p:spPr bwMode="auto">
            <a:xfrm>
              <a:off x="3317" y="80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9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20"/>
                    <a:pt x="76" y="19"/>
                    <a:pt x="76" y="19"/>
                  </a:cubicBezTo>
                  <a:cubicBezTo>
                    <a:pt x="75" y="8"/>
                    <a:pt x="67" y="0"/>
                    <a:pt x="57" y="0"/>
                  </a:cubicBezTo>
                  <a:cubicBezTo>
                    <a:pt x="57" y="0"/>
                    <a:pt x="57" y="0"/>
                    <a:pt x="56" y="0"/>
                  </a:cubicBezTo>
                  <a:cubicBezTo>
                    <a:pt x="22" y="1"/>
                    <a:pt x="22" y="1"/>
                    <a:pt x="22" y="1"/>
                  </a:cubicBezTo>
                  <a:cubicBezTo>
                    <a:pt x="12" y="1"/>
                    <a:pt x="4" y="10"/>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81">
              <a:extLst>
                <a:ext uri="{FF2B5EF4-FFF2-40B4-BE49-F238E27FC236}">
                  <a16:creationId xmlns:a16="http://schemas.microsoft.com/office/drawing/2014/main" id="{6742883F-08F0-4CD5-9E25-F819EB488E7C}"/>
                </a:ext>
              </a:extLst>
            </p:cNvPr>
            <p:cNvSpPr>
              <a:spLocks/>
            </p:cNvSpPr>
            <p:nvPr/>
          </p:nvSpPr>
          <p:spPr bwMode="auto">
            <a:xfrm>
              <a:off x="4066" y="1017"/>
              <a:ext cx="120" cy="112"/>
            </a:xfrm>
            <a:custGeom>
              <a:avLst/>
              <a:gdLst>
                <a:gd name="T0" fmla="*/ 68 w 68"/>
                <a:gd name="T1" fmla="*/ 63 h 63"/>
                <a:gd name="T2" fmla="*/ 0 w 68"/>
                <a:gd name="T3" fmla="*/ 0 h 63"/>
                <a:gd name="T4" fmla="*/ 68 w 68"/>
                <a:gd name="T5" fmla="*/ 63 h 63"/>
              </a:gdLst>
              <a:ahLst/>
              <a:cxnLst>
                <a:cxn ang="0">
                  <a:pos x="T0" y="T1"/>
                </a:cxn>
                <a:cxn ang="0">
                  <a:pos x="T2" y="T3"/>
                </a:cxn>
                <a:cxn ang="0">
                  <a:pos x="T4" y="T5"/>
                </a:cxn>
              </a:cxnLst>
              <a:rect l="0" t="0" r="r" b="b"/>
              <a:pathLst>
                <a:path w="68" h="63">
                  <a:moveTo>
                    <a:pt x="68" y="63"/>
                  </a:moveTo>
                  <a:cubicBezTo>
                    <a:pt x="47" y="40"/>
                    <a:pt x="24" y="19"/>
                    <a:pt x="0" y="0"/>
                  </a:cubicBezTo>
                  <a:cubicBezTo>
                    <a:pt x="10" y="34"/>
                    <a:pt x="37" y="60"/>
                    <a:pt x="68"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2">
              <a:extLst>
                <a:ext uri="{FF2B5EF4-FFF2-40B4-BE49-F238E27FC236}">
                  <a16:creationId xmlns:a16="http://schemas.microsoft.com/office/drawing/2014/main" id="{99286308-9393-44B8-A1E2-D6B112746AC9}"/>
                </a:ext>
              </a:extLst>
            </p:cNvPr>
            <p:cNvSpPr>
              <a:spLocks/>
            </p:cNvSpPr>
            <p:nvPr/>
          </p:nvSpPr>
          <p:spPr bwMode="auto">
            <a:xfrm>
              <a:off x="3838" y="904"/>
              <a:ext cx="198" cy="227"/>
            </a:xfrm>
            <a:custGeom>
              <a:avLst/>
              <a:gdLst>
                <a:gd name="T0" fmla="*/ 19 w 112"/>
                <a:gd name="T1" fmla="*/ 90 h 128"/>
                <a:gd name="T2" fmla="*/ 0 w 112"/>
                <a:gd name="T3" fmla="*/ 109 h 128"/>
                <a:gd name="T4" fmla="*/ 19 w 112"/>
                <a:gd name="T5" fmla="*/ 128 h 128"/>
                <a:gd name="T6" fmla="*/ 93 w 112"/>
                <a:gd name="T7" fmla="*/ 128 h 128"/>
                <a:gd name="T8" fmla="*/ 112 w 112"/>
                <a:gd name="T9" fmla="*/ 109 h 128"/>
                <a:gd name="T10" fmla="*/ 93 w 112"/>
                <a:gd name="T11" fmla="*/ 90 h 128"/>
                <a:gd name="T12" fmla="*/ 76 w 112"/>
                <a:gd name="T13" fmla="*/ 90 h 128"/>
                <a:gd name="T14" fmla="*/ 76 w 112"/>
                <a:gd name="T15" fmla="*/ 24 h 128"/>
                <a:gd name="T16" fmla="*/ 38 w 112"/>
                <a:gd name="T17" fmla="*/ 0 h 128"/>
                <a:gd name="T18" fmla="*/ 38 w 112"/>
                <a:gd name="T19" fmla="*/ 90 h 128"/>
                <a:gd name="T20" fmla="*/ 19 w 112"/>
                <a:gd name="T21" fmla="*/ 9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8">
                  <a:moveTo>
                    <a:pt x="19" y="90"/>
                  </a:moveTo>
                  <a:cubicBezTo>
                    <a:pt x="8" y="90"/>
                    <a:pt x="0" y="98"/>
                    <a:pt x="0" y="109"/>
                  </a:cubicBezTo>
                  <a:cubicBezTo>
                    <a:pt x="0" y="119"/>
                    <a:pt x="8" y="128"/>
                    <a:pt x="19" y="128"/>
                  </a:cubicBezTo>
                  <a:cubicBezTo>
                    <a:pt x="93" y="128"/>
                    <a:pt x="93" y="128"/>
                    <a:pt x="93" y="128"/>
                  </a:cubicBezTo>
                  <a:cubicBezTo>
                    <a:pt x="103" y="128"/>
                    <a:pt x="112" y="119"/>
                    <a:pt x="112" y="109"/>
                  </a:cubicBezTo>
                  <a:cubicBezTo>
                    <a:pt x="112" y="98"/>
                    <a:pt x="103" y="90"/>
                    <a:pt x="93" y="90"/>
                  </a:cubicBezTo>
                  <a:cubicBezTo>
                    <a:pt x="76" y="90"/>
                    <a:pt x="76" y="90"/>
                    <a:pt x="76" y="90"/>
                  </a:cubicBezTo>
                  <a:cubicBezTo>
                    <a:pt x="76" y="24"/>
                    <a:pt x="76" y="24"/>
                    <a:pt x="76" y="24"/>
                  </a:cubicBezTo>
                  <a:cubicBezTo>
                    <a:pt x="63" y="15"/>
                    <a:pt x="51" y="8"/>
                    <a:pt x="38" y="0"/>
                  </a:cubicBezTo>
                  <a:cubicBezTo>
                    <a:pt x="38" y="90"/>
                    <a:pt x="38" y="90"/>
                    <a:pt x="38" y="90"/>
                  </a:cubicBezTo>
                  <a:lnTo>
                    <a:pt x="19" y="90"/>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83">
              <a:extLst>
                <a:ext uri="{FF2B5EF4-FFF2-40B4-BE49-F238E27FC236}">
                  <a16:creationId xmlns:a16="http://schemas.microsoft.com/office/drawing/2014/main" id="{3E769766-AFD7-4E46-86BB-976154D6B6E9}"/>
                </a:ext>
              </a:extLst>
            </p:cNvPr>
            <p:cNvSpPr>
              <a:spLocks/>
            </p:cNvSpPr>
            <p:nvPr/>
          </p:nvSpPr>
          <p:spPr bwMode="auto">
            <a:xfrm>
              <a:off x="2086" y="1380"/>
              <a:ext cx="69" cy="145"/>
            </a:xfrm>
            <a:custGeom>
              <a:avLst/>
              <a:gdLst>
                <a:gd name="T0" fmla="*/ 39 w 39"/>
                <a:gd name="T1" fmla="*/ 1 h 82"/>
                <a:gd name="T2" fmla="*/ 39 w 39"/>
                <a:gd name="T3" fmla="*/ 0 h 82"/>
                <a:gd name="T4" fmla="*/ 0 w 39"/>
                <a:gd name="T5" fmla="*/ 82 h 82"/>
                <a:gd name="T6" fmla="*/ 39 w 39"/>
                <a:gd name="T7" fmla="*/ 1 h 82"/>
              </a:gdLst>
              <a:ahLst/>
              <a:cxnLst>
                <a:cxn ang="0">
                  <a:pos x="T0" y="T1"/>
                </a:cxn>
                <a:cxn ang="0">
                  <a:pos x="T2" y="T3"/>
                </a:cxn>
                <a:cxn ang="0">
                  <a:pos x="T4" y="T5"/>
                </a:cxn>
                <a:cxn ang="0">
                  <a:pos x="T6" y="T7"/>
                </a:cxn>
              </a:cxnLst>
              <a:rect l="0" t="0" r="r" b="b"/>
              <a:pathLst>
                <a:path w="39" h="82">
                  <a:moveTo>
                    <a:pt x="39" y="1"/>
                  </a:moveTo>
                  <a:cubicBezTo>
                    <a:pt x="39" y="1"/>
                    <a:pt x="39" y="0"/>
                    <a:pt x="39" y="0"/>
                  </a:cubicBezTo>
                  <a:cubicBezTo>
                    <a:pt x="24" y="27"/>
                    <a:pt x="11" y="54"/>
                    <a:pt x="0" y="82"/>
                  </a:cubicBezTo>
                  <a:cubicBezTo>
                    <a:pt x="23" y="66"/>
                    <a:pt x="39" y="35"/>
                    <a:pt x="39" y="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84">
              <a:extLst>
                <a:ext uri="{FF2B5EF4-FFF2-40B4-BE49-F238E27FC236}">
                  <a16:creationId xmlns:a16="http://schemas.microsoft.com/office/drawing/2014/main" id="{6C15B612-F3E3-4EBE-994A-47C2D18F25E7}"/>
                </a:ext>
              </a:extLst>
            </p:cNvPr>
            <p:cNvSpPr>
              <a:spLocks noEditPoints="1"/>
            </p:cNvSpPr>
            <p:nvPr/>
          </p:nvSpPr>
          <p:spPr bwMode="auto">
            <a:xfrm>
              <a:off x="2400"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9 w 156"/>
                <a:gd name="T13" fmla="*/ 94 h 187"/>
                <a:gd name="T14" fmla="*/ 78 w 156"/>
                <a:gd name="T15" fmla="*/ 150 h 187"/>
                <a:gd name="T16" fmla="*/ 38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9" y="63"/>
                    <a:pt x="119" y="94"/>
                  </a:cubicBezTo>
                  <a:cubicBezTo>
                    <a:pt x="119" y="124"/>
                    <a:pt x="100" y="150"/>
                    <a:pt x="78" y="150"/>
                  </a:cubicBezTo>
                  <a:cubicBezTo>
                    <a:pt x="56" y="150"/>
                    <a:pt x="38" y="124"/>
                    <a:pt x="38" y="94"/>
                  </a:cubicBezTo>
                  <a:cubicBezTo>
                    <a:pt x="38" y="63"/>
                    <a:pt x="56" y="38"/>
                    <a:pt x="78"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85">
              <a:extLst>
                <a:ext uri="{FF2B5EF4-FFF2-40B4-BE49-F238E27FC236}">
                  <a16:creationId xmlns:a16="http://schemas.microsoft.com/office/drawing/2014/main" id="{12486B09-4EB2-4D8B-BD35-C16D98422F8E}"/>
                </a:ext>
              </a:extLst>
            </p:cNvPr>
            <p:cNvSpPr>
              <a:spLocks noEditPoints="1"/>
            </p:cNvSpPr>
            <p:nvPr/>
          </p:nvSpPr>
          <p:spPr bwMode="auto">
            <a:xfrm>
              <a:off x="2718"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6">
              <a:extLst>
                <a:ext uri="{FF2B5EF4-FFF2-40B4-BE49-F238E27FC236}">
                  <a16:creationId xmlns:a16="http://schemas.microsoft.com/office/drawing/2014/main" id="{A3C150F4-4061-4AF8-8AA2-1E731A6563DD}"/>
                </a:ext>
              </a:extLst>
            </p:cNvPr>
            <p:cNvSpPr>
              <a:spLocks/>
            </p:cNvSpPr>
            <p:nvPr/>
          </p:nvSpPr>
          <p:spPr bwMode="auto">
            <a:xfrm>
              <a:off x="2179" y="1217"/>
              <a:ext cx="198" cy="331"/>
            </a:xfrm>
            <a:custGeom>
              <a:avLst/>
              <a:gdLst>
                <a:gd name="T0" fmla="*/ 23 w 112"/>
                <a:gd name="T1" fmla="*/ 39 h 187"/>
                <a:gd name="T2" fmla="*/ 38 w 112"/>
                <a:gd name="T3" fmla="*/ 38 h 187"/>
                <a:gd name="T4" fmla="*/ 38 w 112"/>
                <a:gd name="T5" fmla="*/ 149 h 187"/>
                <a:gd name="T6" fmla="*/ 19 w 112"/>
                <a:gd name="T7" fmla="*/ 149 h 187"/>
                <a:gd name="T8" fmla="*/ 0 w 112"/>
                <a:gd name="T9" fmla="*/ 168 h 187"/>
                <a:gd name="T10" fmla="*/ 19 w 112"/>
                <a:gd name="T11" fmla="*/ 187 h 187"/>
                <a:gd name="T12" fmla="*/ 93 w 112"/>
                <a:gd name="T13" fmla="*/ 187 h 187"/>
                <a:gd name="T14" fmla="*/ 112 w 112"/>
                <a:gd name="T15" fmla="*/ 168 h 187"/>
                <a:gd name="T16" fmla="*/ 93 w 112"/>
                <a:gd name="T17" fmla="*/ 149 h 187"/>
                <a:gd name="T18" fmla="*/ 75 w 112"/>
                <a:gd name="T19" fmla="*/ 149 h 187"/>
                <a:gd name="T20" fmla="*/ 75 w 112"/>
                <a:gd name="T21" fmla="*/ 20 h 187"/>
                <a:gd name="T22" fmla="*/ 76 w 112"/>
                <a:gd name="T23" fmla="*/ 19 h 187"/>
                <a:gd name="T24" fmla="*/ 57 w 112"/>
                <a:gd name="T25" fmla="*/ 0 h 187"/>
                <a:gd name="T26" fmla="*/ 56 w 112"/>
                <a:gd name="T27" fmla="*/ 0 h 187"/>
                <a:gd name="T28" fmla="*/ 48 w 112"/>
                <a:gd name="T29" fmla="*/ 1 h 187"/>
                <a:gd name="T30" fmla="*/ 20 w 112"/>
                <a:gd name="T31" fmla="*/ 39 h 187"/>
                <a:gd name="T32" fmla="*/ 23 w 112"/>
                <a:gd name="T33" fmla="*/ 39 h 187"/>
                <a:gd name="T34" fmla="*/ 23 w 112"/>
                <a:gd name="T35" fmla="*/ 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23" y="39"/>
                  </a:moveTo>
                  <a:cubicBezTo>
                    <a:pt x="38" y="38"/>
                    <a:pt x="38" y="38"/>
                    <a:pt x="38" y="38"/>
                  </a:cubicBezTo>
                  <a:cubicBezTo>
                    <a:pt x="38" y="149"/>
                    <a:pt x="38" y="149"/>
                    <a:pt x="38" y="149"/>
                  </a:cubicBezTo>
                  <a:cubicBezTo>
                    <a:pt x="19" y="149"/>
                    <a:pt x="19" y="149"/>
                    <a:pt x="19" y="149"/>
                  </a:cubicBezTo>
                  <a:cubicBezTo>
                    <a:pt x="8" y="149"/>
                    <a:pt x="0" y="158"/>
                    <a:pt x="0" y="168"/>
                  </a:cubicBezTo>
                  <a:cubicBezTo>
                    <a:pt x="0" y="178"/>
                    <a:pt x="8" y="187"/>
                    <a:pt x="19" y="187"/>
                  </a:cubicBezTo>
                  <a:cubicBezTo>
                    <a:pt x="93" y="187"/>
                    <a:pt x="93" y="187"/>
                    <a:pt x="93" y="187"/>
                  </a:cubicBezTo>
                  <a:cubicBezTo>
                    <a:pt x="103" y="187"/>
                    <a:pt x="112" y="178"/>
                    <a:pt x="112" y="168"/>
                  </a:cubicBezTo>
                  <a:cubicBezTo>
                    <a:pt x="112" y="158"/>
                    <a:pt x="103" y="149"/>
                    <a:pt x="93" y="149"/>
                  </a:cubicBezTo>
                  <a:cubicBezTo>
                    <a:pt x="75" y="149"/>
                    <a:pt x="75" y="149"/>
                    <a:pt x="75" y="149"/>
                  </a:cubicBezTo>
                  <a:cubicBezTo>
                    <a:pt x="75" y="20"/>
                    <a:pt x="75" y="20"/>
                    <a:pt x="75" y="20"/>
                  </a:cubicBezTo>
                  <a:cubicBezTo>
                    <a:pt x="75" y="20"/>
                    <a:pt x="76" y="19"/>
                    <a:pt x="76" y="19"/>
                  </a:cubicBezTo>
                  <a:cubicBezTo>
                    <a:pt x="75" y="9"/>
                    <a:pt x="67" y="0"/>
                    <a:pt x="57" y="0"/>
                  </a:cubicBezTo>
                  <a:cubicBezTo>
                    <a:pt x="57" y="0"/>
                    <a:pt x="56" y="0"/>
                    <a:pt x="56" y="0"/>
                  </a:cubicBezTo>
                  <a:cubicBezTo>
                    <a:pt x="48" y="1"/>
                    <a:pt x="48" y="1"/>
                    <a:pt x="48" y="1"/>
                  </a:cubicBezTo>
                  <a:cubicBezTo>
                    <a:pt x="38" y="13"/>
                    <a:pt x="29" y="26"/>
                    <a:pt x="20" y="39"/>
                  </a:cubicBezTo>
                  <a:cubicBezTo>
                    <a:pt x="21" y="39"/>
                    <a:pt x="22" y="39"/>
                    <a:pt x="23" y="39"/>
                  </a:cubicBezTo>
                  <a:cubicBezTo>
                    <a:pt x="23" y="39"/>
                    <a:pt x="23" y="39"/>
                    <a:pt x="23"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7">
              <a:extLst>
                <a:ext uri="{FF2B5EF4-FFF2-40B4-BE49-F238E27FC236}">
                  <a16:creationId xmlns:a16="http://schemas.microsoft.com/office/drawing/2014/main" id="{1358B440-E805-4CE2-BC62-B5CDEE2F325D}"/>
                </a:ext>
              </a:extLst>
            </p:cNvPr>
            <p:cNvSpPr>
              <a:spLocks noEditPoints="1"/>
            </p:cNvSpPr>
            <p:nvPr/>
          </p:nvSpPr>
          <p:spPr bwMode="auto">
            <a:xfrm>
              <a:off x="3238" y="1215"/>
              <a:ext cx="275" cy="331"/>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7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7" y="124"/>
                    <a:pt x="37" y="94"/>
                  </a:cubicBezTo>
                  <a:cubicBezTo>
                    <a:pt x="37" y="63"/>
                    <a:pt x="56" y="38"/>
                    <a:pt x="78" y="38"/>
                  </a:cubicBezTo>
                  <a:cubicBezTo>
                    <a:pt x="100" y="38"/>
                    <a:pt x="118" y="63"/>
                    <a:pt x="118" y="94"/>
                  </a:cubicBezTo>
                  <a:cubicBezTo>
                    <a:pt x="118" y="124"/>
                    <a:pt x="100" y="150"/>
                    <a:pt x="78" y="15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8">
              <a:extLst>
                <a:ext uri="{FF2B5EF4-FFF2-40B4-BE49-F238E27FC236}">
                  <a16:creationId xmlns:a16="http://schemas.microsoft.com/office/drawing/2014/main" id="{FF9F5B0F-5EEE-4891-8102-51D86D5012C2}"/>
                </a:ext>
              </a:extLst>
            </p:cNvPr>
            <p:cNvSpPr>
              <a:spLocks/>
            </p:cNvSpPr>
            <p:nvPr/>
          </p:nvSpPr>
          <p:spPr bwMode="auto">
            <a:xfrm>
              <a:off x="3015"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3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3"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9">
              <a:extLst>
                <a:ext uri="{FF2B5EF4-FFF2-40B4-BE49-F238E27FC236}">
                  <a16:creationId xmlns:a16="http://schemas.microsoft.com/office/drawing/2014/main" id="{39A14924-5C8D-41EB-9E60-40D58EF35D3E}"/>
                </a:ext>
              </a:extLst>
            </p:cNvPr>
            <p:cNvSpPr>
              <a:spLocks noEditPoints="1"/>
            </p:cNvSpPr>
            <p:nvPr/>
          </p:nvSpPr>
          <p:spPr bwMode="auto">
            <a:xfrm>
              <a:off x="3759" y="1215"/>
              <a:ext cx="275"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0">
              <a:extLst>
                <a:ext uri="{FF2B5EF4-FFF2-40B4-BE49-F238E27FC236}">
                  <a16:creationId xmlns:a16="http://schemas.microsoft.com/office/drawing/2014/main" id="{AA156A16-37C5-463C-9F90-D137631E9F8D}"/>
                </a:ext>
              </a:extLst>
            </p:cNvPr>
            <p:cNvSpPr>
              <a:spLocks noEditPoints="1"/>
            </p:cNvSpPr>
            <p:nvPr/>
          </p:nvSpPr>
          <p:spPr bwMode="auto">
            <a:xfrm>
              <a:off x="4075" y="1215"/>
              <a:ext cx="276" cy="331"/>
            </a:xfrm>
            <a:custGeom>
              <a:avLst/>
              <a:gdLst>
                <a:gd name="T0" fmla="*/ 0 w 156"/>
                <a:gd name="T1" fmla="*/ 94 h 187"/>
                <a:gd name="T2" fmla="*/ 78 w 156"/>
                <a:gd name="T3" fmla="*/ 187 h 187"/>
                <a:gd name="T4" fmla="*/ 156 w 156"/>
                <a:gd name="T5" fmla="*/ 94 h 187"/>
                <a:gd name="T6" fmla="*/ 153 w 156"/>
                <a:gd name="T7" fmla="*/ 66 h 187"/>
                <a:gd name="T8" fmla="*/ 115 w 156"/>
                <a:gd name="T9" fmla="*/ 11 h 187"/>
                <a:gd name="T10" fmla="*/ 78 w 156"/>
                <a:gd name="T11" fmla="*/ 0 h 187"/>
                <a:gd name="T12" fmla="*/ 0 w 156"/>
                <a:gd name="T13" fmla="*/ 94 h 187"/>
                <a:gd name="T14" fmla="*/ 119 w 156"/>
                <a:gd name="T15" fmla="*/ 94 h 187"/>
                <a:gd name="T16" fmla="*/ 78 w 156"/>
                <a:gd name="T17" fmla="*/ 150 h 187"/>
                <a:gd name="T18" fmla="*/ 38 w 156"/>
                <a:gd name="T19" fmla="*/ 94 h 187"/>
                <a:gd name="T20" fmla="*/ 78 w 156"/>
                <a:gd name="T21" fmla="*/ 38 h 187"/>
                <a:gd name="T22" fmla="*/ 119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0" y="94"/>
                  </a:moveTo>
                  <a:cubicBezTo>
                    <a:pt x="0" y="145"/>
                    <a:pt x="35" y="187"/>
                    <a:pt x="78" y="187"/>
                  </a:cubicBezTo>
                  <a:cubicBezTo>
                    <a:pt x="121" y="187"/>
                    <a:pt x="156" y="145"/>
                    <a:pt x="156" y="94"/>
                  </a:cubicBezTo>
                  <a:cubicBezTo>
                    <a:pt x="156" y="84"/>
                    <a:pt x="155" y="75"/>
                    <a:pt x="153" y="66"/>
                  </a:cubicBezTo>
                  <a:cubicBezTo>
                    <a:pt x="141" y="47"/>
                    <a:pt x="128" y="29"/>
                    <a:pt x="115" y="11"/>
                  </a:cubicBezTo>
                  <a:cubicBezTo>
                    <a:pt x="104" y="4"/>
                    <a:pt x="91" y="0"/>
                    <a:pt x="78" y="0"/>
                  </a:cubicBezTo>
                  <a:cubicBezTo>
                    <a:pt x="35" y="0"/>
                    <a:pt x="0" y="42"/>
                    <a:pt x="0" y="94"/>
                  </a:cubicBezTo>
                  <a:close/>
                  <a:moveTo>
                    <a:pt x="119" y="94"/>
                  </a:moveTo>
                  <a:cubicBezTo>
                    <a:pt x="119" y="124"/>
                    <a:pt x="100" y="150"/>
                    <a:pt x="78" y="150"/>
                  </a:cubicBezTo>
                  <a:cubicBezTo>
                    <a:pt x="56" y="150"/>
                    <a:pt x="38" y="124"/>
                    <a:pt x="38" y="94"/>
                  </a:cubicBezTo>
                  <a:cubicBezTo>
                    <a:pt x="38" y="63"/>
                    <a:pt x="56" y="38"/>
                    <a:pt x="78" y="38"/>
                  </a:cubicBezTo>
                  <a:cubicBezTo>
                    <a:pt x="100" y="38"/>
                    <a:pt x="119" y="63"/>
                    <a:pt x="119" y="94"/>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1">
              <a:extLst>
                <a:ext uri="{FF2B5EF4-FFF2-40B4-BE49-F238E27FC236}">
                  <a16:creationId xmlns:a16="http://schemas.microsoft.com/office/drawing/2014/main" id="{32788FD8-9F1B-4A34-B341-9AC9E4ABE783}"/>
                </a:ext>
              </a:extLst>
            </p:cNvPr>
            <p:cNvSpPr>
              <a:spLocks/>
            </p:cNvSpPr>
            <p:nvPr/>
          </p:nvSpPr>
          <p:spPr bwMode="auto">
            <a:xfrm>
              <a:off x="3536"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4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4"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2">
              <a:extLst>
                <a:ext uri="{FF2B5EF4-FFF2-40B4-BE49-F238E27FC236}">
                  <a16:creationId xmlns:a16="http://schemas.microsoft.com/office/drawing/2014/main" id="{F6DBF203-324B-4195-B7B5-99AA3B8688A4}"/>
                </a:ext>
              </a:extLst>
            </p:cNvPr>
            <p:cNvSpPr>
              <a:spLocks noEditPoints="1"/>
            </p:cNvSpPr>
            <p:nvPr/>
          </p:nvSpPr>
          <p:spPr bwMode="auto">
            <a:xfrm>
              <a:off x="2722"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3">
              <a:extLst>
                <a:ext uri="{FF2B5EF4-FFF2-40B4-BE49-F238E27FC236}">
                  <a16:creationId xmlns:a16="http://schemas.microsoft.com/office/drawing/2014/main" id="{AA53B079-6CDB-4C57-91E8-BACF3C29FEEE}"/>
                </a:ext>
              </a:extLst>
            </p:cNvPr>
            <p:cNvSpPr>
              <a:spLocks/>
            </p:cNvSpPr>
            <p:nvPr/>
          </p:nvSpPr>
          <p:spPr bwMode="auto">
            <a:xfrm>
              <a:off x="2499" y="1643"/>
              <a:ext cx="198" cy="329"/>
            </a:xfrm>
            <a:custGeom>
              <a:avLst/>
              <a:gdLst>
                <a:gd name="T0" fmla="*/ 94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3 w 112"/>
                <a:gd name="T13" fmla="*/ 1 h 186"/>
                <a:gd name="T14" fmla="*/ 4 w 112"/>
                <a:gd name="T15" fmla="*/ 20 h 186"/>
                <a:gd name="T16" fmla="*/ 23 w 112"/>
                <a:gd name="T17" fmla="*/ 38 h 186"/>
                <a:gd name="T18" fmla="*/ 24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4 w 112"/>
                <a:gd name="T31" fmla="*/ 186 h 186"/>
                <a:gd name="T32" fmla="*/ 112 w 112"/>
                <a:gd name="T33" fmla="*/ 168 h 186"/>
                <a:gd name="T34" fmla="*/ 94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4" y="149"/>
                  </a:move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2"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4">
              <a:extLst>
                <a:ext uri="{FF2B5EF4-FFF2-40B4-BE49-F238E27FC236}">
                  <a16:creationId xmlns:a16="http://schemas.microsoft.com/office/drawing/2014/main" id="{598A5258-82FB-4316-AE1D-8A6EA3F5BC28}"/>
                </a:ext>
              </a:extLst>
            </p:cNvPr>
            <p:cNvSpPr>
              <a:spLocks noEditPoints="1"/>
            </p:cNvSpPr>
            <p:nvPr/>
          </p:nvSpPr>
          <p:spPr bwMode="auto">
            <a:xfrm>
              <a:off x="3243"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5">
              <a:extLst>
                <a:ext uri="{FF2B5EF4-FFF2-40B4-BE49-F238E27FC236}">
                  <a16:creationId xmlns:a16="http://schemas.microsoft.com/office/drawing/2014/main" id="{762DB37B-060A-4F3D-9579-71D89AAFBE03}"/>
                </a:ext>
              </a:extLst>
            </p:cNvPr>
            <p:cNvSpPr>
              <a:spLocks noEditPoints="1"/>
            </p:cNvSpPr>
            <p:nvPr/>
          </p:nvSpPr>
          <p:spPr bwMode="auto">
            <a:xfrm>
              <a:off x="3559" y="1642"/>
              <a:ext cx="276"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7" y="149"/>
                    <a:pt x="38" y="123"/>
                    <a:pt x="38" y="93"/>
                  </a:cubicBezTo>
                  <a:cubicBezTo>
                    <a:pt x="38" y="63"/>
                    <a:pt x="57" y="37"/>
                    <a:pt x="78" y="37"/>
                  </a:cubicBezTo>
                  <a:cubicBezTo>
                    <a:pt x="100" y="37"/>
                    <a:pt x="119" y="63"/>
                    <a:pt x="119" y="93"/>
                  </a:cubicBezTo>
                  <a:cubicBezTo>
                    <a:pt x="119" y="123"/>
                    <a:pt x="100" y="149"/>
                    <a:pt x="78"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6">
              <a:extLst>
                <a:ext uri="{FF2B5EF4-FFF2-40B4-BE49-F238E27FC236}">
                  <a16:creationId xmlns:a16="http://schemas.microsoft.com/office/drawing/2014/main" id="{9459A503-3534-454E-A65F-B15A0DB8FAB3}"/>
                </a:ext>
              </a:extLst>
            </p:cNvPr>
            <p:cNvSpPr>
              <a:spLocks/>
            </p:cNvSpPr>
            <p:nvPr/>
          </p:nvSpPr>
          <p:spPr bwMode="auto">
            <a:xfrm>
              <a:off x="3020" y="1643"/>
              <a:ext cx="198" cy="329"/>
            </a:xfrm>
            <a:custGeom>
              <a:avLst/>
              <a:gdLst>
                <a:gd name="T0" fmla="*/ 19 w 112"/>
                <a:gd name="T1" fmla="*/ 149 h 186"/>
                <a:gd name="T2" fmla="*/ 0 w 112"/>
                <a:gd name="T3" fmla="*/ 168 h 186"/>
                <a:gd name="T4" fmla="*/ 19 w 112"/>
                <a:gd name="T5" fmla="*/ 186 h 186"/>
                <a:gd name="T6" fmla="*/ 94 w 112"/>
                <a:gd name="T7" fmla="*/ 186 h 186"/>
                <a:gd name="T8" fmla="*/ 112 w 112"/>
                <a:gd name="T9" fmla="*/ 168 h 186"/>
                <a:gd name="T10" fmla="*/ 94 w 112"/>
                <a:gd name="T11" fmla="*/ 149 h 186"/>
                <a:gd name="T12" fmla="*/ 76 w 112"/>
                <a:gd name="T13" fmla="*/ 149 h 186"/>
                <a:gd name="T14" fmla="*/ 76 w 112"/>
                <a:gd name="T15" fmla="*/ 20 h 186"/>
                <a:gd name="T16" fmla="*/ 76 w 112"/>
                <a:gd name="T17" fmla="*/ 18 h 186"/>
                <a:gd name="T18" fmla="*/ 57 w 112"/>
                <a:gd name="T19" fmla="*/ 0 h 186"/>
                <a:gd name="T20" fmla="*/ 57 w 112"/>
                <a:gd name="T21" fmla="*/ 0 h 186"/>
                <a:gd name="T22" fmla="*/ 23 w 112"/>
                <a:gd name="T23" fmla="*/ 1 h 186"/>
                <a:gd name="T24" fmla="*/ 4 w 112"/>
                <a:gd name="T25" fmla="*/ 20 h 186"/>
                <a:gd name="T26" fmla="*/ 23 w 112"/>
                <a:gd name="T27" fmla="*/ 38 h 186"/>
                <a:gd name="T28" fmla="*/ 24 w 112"/>
                <a:gd name="T29" fmla="*/ 38 h 186"/>
                <a:gd name="T30" fmla="*/ 38 w 112"/>
                <a:gd name="T31" fmla="*/ 38 h 186"/>
                <a:gd name="T32" fmla="*/ 38 w 112"/>
                <a:gd name="T33" fmla="*/ 149 h 186"/>
                <a:gd name="T34" fmla="*/ 19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19" y="149"/>
                  </a:move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3"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lnTo>
                    <a:pt x="19" y="1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7">
              <a:extLst>
                <a:ext uri="{FF2B5EF4-FFF2-40B4-BE49-F238E27FC236}">
                  <a16:creationId xmlns:a16="http://schemas.microsoft.com/office/drawing/2014/main" id="{801099EB-E4DB-4647-A50A-BF1B2CA8192C}"/>
                </a:ext>
              </a:extLst>
            </p:cNvPr>
            <p:cNvSpPr>
              <a:spLocks noEditPoints="1"/>
            </p:cNvSpPr>
            <p:nvPr/>
          </p:nvSpPr>
          <p:spPr bwMode="auto">
            <a:xfrm>
              <a:off x="4078" y="1642"/>
              <a:ext cx="278" cy="330"/>
            </a:xfrm>
            <a:custGeom>
              <a:avLst/>
              <a:gdLst>
                <a:gd name="T0" fmla="*/ 78 w 157"/>
                <a:gd name="T1" fmla="*/ 187 h 187"/>
                <a:gd name="T2" fmla="*/ 157 w 157"/>
                <a:gd name="T3" fmla="*/ 93 h 187"/>
                <a:gd name="T4" fmla="*/ 78 w 157"/>
                <a:gd name="T5" fmla="*/ 0 h 187"/>
                <a:gd name="T6" fmla="*/ 0 w 157"/>
                <a:gd name="T7" fmla="*/ 93 h 187"/>
                <a:gd name="T8" fmla="*/ 78 w 157"/>
                <a:gd name="T9" fmla="*/ 187 h 187"/>
                <a:gd name="T10" fmla="*/ 78 w 157"/>
                <a:gd name="T11" fmla="*/ 37 h 187"/>
                <a:gd name="T12" fmla="*/ 119 w 157"/>
                <a:gd name="T13" fmla="*/ 93 h 187"/>
                <a:gd name="T14" fmla="*/ 78 w 157"/>
                <a:gd name="T15" fmla="*/ 149 h 187"/>
                <a:gd name="T16" fmla="*/ 38 w 157"/>
                <a:gd name="T17" fmla="*/ 93 h 187"/>
                <a:gd name="T18" fmla="*/ 78 w 157"/>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87">
                  <a:moveTo>
                    <a:pt x="78" y="187"/>
                  </a:moveTo>
                  <a:cubicBezTo>
                    <a:pt x="121" y="187"/>
                    <a:pt x="157" y="145"/>
                    <a:pt x="157" y="93"/>
                  </a:cubicBezTo>
                  <a:cubicBezTo>
                    <a:pt x="157"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3"/>
                    <a:pt x="100" y="149"/>
                    <a:pt x="78" y="149"/>
                  </a:cubicBezTo>
                  <a:cubicBezTo>
                    <a:pt x="57" y="149"/>
                    <a:pt x="38" y="123"/>
                    <a:pt x="38" y="93"/>
                  </a:cubicBezTo>
                  <a:cubicBezTo>
                    <a:pt x="38" y="63"/>
                    <a:pt x="57" y="37"/>
                    <a:pt x="78" y="3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98">
              <a:extLst>
                <a:ext uri="{FF2B5EF4-FFF2-40B4-BE49-F238E27FC236}">
                  <a16:creationId xmlns:a16="http://schemas.microsoft.com/office/drawing/2014/main" id="{C9713854-32A4-48E7-96A3-7B9014FE952D}"/>
                </a:ext>
              </a:extLst>
            </p:cNvPr>
            <p:cNvSpPr>
              <a:spLocks/>
            </p:cNvSpPr>
            <p:nvPr/>
          </p:nvSpPr>
          <p:spPr bwMode="auto">
            <a:xfrm>
              <a:off x="3858" y="1643"/>
              <a:ext cx="197" cy="329"/>
            </a:xfrm>
            <a:custGeom>
              <a:avLst/>
              <a:gdLst>
                <a:gd name="T0" fmla="*/ 93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2 w 112"/>
                <a:gd name="T13" fmla="*/ 1 h 186"/>
                <a:gd name="T14" fmla="*/ 4 w 112"/>
                <a:gd name="T15" fmla="*/ 20 h 186"/>
                <a:gd name="T16" fmla="*/ 23 w 112"/>
                <a:gd name="T17" fmla="*/ 38 h 186"/>
                <a:gd name="T18" fmla="*/ 23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3 w 112"/>
                <a:gd name="T31" fmla="*/ 186 h 186"/>
                <a:gd name="T32" fmla="*/ 112 w 112"/>
                <a:gd name="T33" fmla="*/ 168 h 186"/>
                <a:gd name="T34" fmla="*/ 93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93" y="186"/>
                    <a:pt x="93" y="186"/>
                    <a:pt x="93" y="186"/>
                  </a:cubicBezTo>
                  <a:cubicBezTo>
                    <a:pt x="104" y="186"/>
                    <a:pt x="112" y="178"/>
                    <a:pt x="112" y="168"/>
                  </a:cubicBezTo>
                  <a:cubicBezTo>
                    <a:pt x="112" y="157"/>
                    <a:pt x="104" y="149"/>
                    <a:pt x="93"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9">
              <a:extLst>
                <a:ext uri="{FF2B5EF4-FFF2-40B4-BE49-F238E27FC236}">
                  <a16:creationId xmlns:a16="http://schemas.microsoft.com/office/drawing/2014/main" id="{50FA1103-2453-474A-8EC0-6E4114AE1CF5}"/>
                </a:ext>
              </a:extLst>
            </p:cNvPr>
            <p:cNvSpPr>
              <a:spLocks/>
            </p:cNvSpPr>
            <p:nvPr/>
          </p:nvSpPr>
          <p:spPr bwMode="auto">
            <a:xfrm>
              <a:off x="4379" y="1643"/>
              <a:ext cx="157" cy="329"/>
            </a:xfrm>
            <a:custGeom>
              <a:avLst/>
              <a:gdLst>
                <a:gd name="T0" fmla="*/ 57 w 89"/>
                <a:gd name="T1" fmla="*/ 0 h 186"/>
                <a:gd name="T2" fmla="*/ 22 w 89"/>
                <a:gd name="T3" fmla="*/ 1 h 186"/>
                <a:gd name="T4" fmla="*/ 4 w 89"/>
                <a:gd name="T5" fmla="*/ 20 h 186"/>
                <a:gd name="T6" fmla="*/ 23 w 89"/>
                <a:gd name="T7" fmla="*/ 38 h 186"/>
                <a:gd name="T8" fmla="*/ 23 w 89"/>
                <a:gd name="T9" fmla="*/ 38 h 186"/>
                <a:gd name="T10" fmla="*/ 38 w 89"/>
                <a:gd name="T11" fmla="*/ 38 h 186"/>
                <a:gd name="T12" fmla="*/ 38 w 89"/>
                <a:gd name="T13" fmla="*/ 149 h 186"/>
                <a:gd name="T14" fmla="*/ 19 w 89"/>
                <a:gd name="T15" fmla="*/ 149 h 186"/>
                <a:gd name="T16" fmla="*/ 0 w 89"/>
                <a:gd name="T17" fmla="*/ 168 h 186"/>
                <a:gd name="T18" fmla="*/ 19 w 89"/>
                <a:gd name="T19" fmla="*/ 186 h 186"/>
                <a:gd name="T20" fmla="*/ 89 w 89"/>
                <a:gd name="T21" fmla="*/ 186 h 186"/>
                <a:gd name="T22" fmla="*/ 87 w 89"/>
                <a:gd name="T23" fmla="*/ 149 h 186"/>
                <a:gd name="T24" fmla="*/ 76 w 89"/>
                <a:gd name="T25" fmla="*/ 149 h 186"/>
                <a:gd name="T26" fmla="*/ 76 w 89"/>
                <a:gd name="T27" fmla="*/ 66 h 186"/>
                <a:gd name="T28" fmla="*/ 60 w 89"/>
                <a:gd name="T29" fmla="*/ 0 h 186"/>
                <a:gd name="T30" fmla="*/ 57 w 89"/>
                <a:gd name="T31" fmla="*/ 0 h 186"/>
                <a:gd name="T32" fmla="*/ 57 w 89"/>
                <a:gd name="T3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86">
                  <a:moveTo>
                    <a:pt x="57" y="0"/>
                  </a:move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89" y="186"/>
                    <a:pt x="89" y="186"/>
                    <a:pt x="89" y="186"/>
                  </a:cubicBezTo>
                  <a:cubicBezTo>
                    <a:pt x="88" y="174"/>
                    <a:pt x="88" y="161"/>
                    <a:pt x="87" y="149"/>
                  </a:cubicBezTo>
                  <a:cubicBezTo>
                    <a:pt x="76" y="149"/>
                    <a:pt x="76" y="149"/>
                    <a:pt x="76" y="149"/>
                  </a:cubicBezTo>
                  <a:cubicBezTo>
                    <a:pt x="76" y="66"/>
                    <a:pt x="76" y="66"/>
                    <a:pt x="76" y="66"/>
                  </a:cubicBezTo>
                  <a:cubicBezTo>
                    <a:pt x="71" y="44"/>
                    <a:pt x="66" y="22"/>
                    <a:pt x="60" y="0"/>
                  </a:cubicBezTo>
                  <a:cubicBezTo>
                    <a:pt x="59" y="0"/>
                    <a:pt x="58" y="0"/>
                    <a:pt x="57" y="0"/>
                  </a:cubicBezTo>
                  <a:cubicBezTo>
                    <a:pt x="57" y="0"/>
                    <a:pt x="57" y="0"/>
                    <a:pt x="5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0">
              <a:extLst>
                <a:ext uri="{FF2B5EF4-FFF2-40B4-BE49-F238E27FC236}">
                  <a16:creationId xmlns:a16="http://schemas.microsoft.com/office/drawing/2014/main" id="{8FA070BC-D0C3-4253-8408-72B3B0FBC922}"/>
                </a:ext>
              </a:extLst>
            </p:cNvPr>
            <p:cNvSpPr>
              <a:spLocks/>
            </p:cNvSpPr>
            <p:nvPr/>
          </p:nvSpPr>
          <p:spPr bwMode="auto">
            <a:xfrm>
              <a:off x="4379" y="1481"/>
              <a:ext cx="72" cy="67"/>
            </a:xfrm>
            <a:custGeom>
              <a:avLst/>
              <a:gdLst>
                <a:gd name="T0" fmla="*/ 0 w 41"/>
                <a:gd name="T1" fmla="*/ 19 h 38"/>
                <a:gd name="T2" fmla="*/ 19 w 41"/>
                <a:gd name="T3" fmla="*/ 38 h 38"/>
                <a:gd name="T4" fmla="*/ 41 w 41"/>
                <a:gd name="T5" fmla="*/ 38 h 38"/>
                <a:gd name="T6" fmla="*/ 25 w 41"/>
                <a:gd name="T7" fmla="*/ 0 h 38"/>
                <a:gd name="T8" fmla="*/ 19 w 41"/>
                <a:gd name="T9" fmla="*/ 0 h 38"/>
                <a:gd name="T10" fmla="*/ 0 w 41"/>
                <a:gd name="T11" fmla="*/ 19 h 38"/>
              </a:gdLst>
              <a:ahLst/>
              <a:cxnLst>
                <a:cxn ang="0">
                  <a:pos x="T0" y="T1"/>
                </a:cxn>
                <a:cxn ang="0">
                  <a:pos x="T2" y="T3"/>
                </a:cxn>
                <a:cxn ang="0">
                  <a:pos x="T4" y="T5"/>
                </a:cxn>
                <a:cxn ang="0">
                  <a:pos x="T6" y="T7"/>
                </a:cxn>
                <a:cxn ang="0">
                  <a:pos x="T8" y="T9"/>
                </a:cxn>
                <a:cxn ang="0">
                  <a:pos x="T10" y="T11"/>
                </a:cxn>
              </a:cxnLst>
              <a:rect l="0" t="0" r="r" b="b"/>
              <a:pathLst>
                <a:path w="41" h="38">
                  <a:moveTo>
                    <a:pt x="0" y="19"/>
                  </a:moveTo>
                  <a:cubicBezTo>
                    <a:pt x="0" y="29"/>
                    <a:pt x="8" y="38"/>
                    <a:pt x="19" y="38"/>
                  </a:cubicBezTo>
                  <a:cubicBezTo>
                    <a:pt x="41" y="38"/>
                    <a:pt x="41" y="38"/>
                    <a:pt x="41" y="38"/>
                  </a:cubicBezTo>
                  <a:cubicBezTo>
                    <a:pt x="36" y="25"/>
                    <a:pt x="31" y="12"/>
                    <a:pt x="25" y="0"/>
                  </a:cubicBezTo>
                  <a:cubicBezTo>
                    <a:pt x="19" y="0"/>
                    <a:pt x="19" y="0"/>
                    <a:pt x="19" y="0"/>
                  </a:cubicBezTo>
                  <a:cubicBezTo>
                    <a:pt x="8" y="0"/>
                    <a:pt x="0" y="8"/>
                    <a:pt x="0"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01">
              <a:extLst>
                <a:ext uri="{FF2B5EF4-FFF2-40B4-BE49-F238E27FC236}">
                  <a16:creationId xmlns:a16="http://schemas.microsoft.com/office/drawing/2014/main" id="{1D020BED-04F2-4874-AAF4-C4B14384B810}"/>
                </a:ext>
              </a:extLst>
            </p:cNvPr>
            <p:cNvSpPr>
              <a:spLocks/>
            </p:cNvSpPr>
            <p:nvPr/>
          </p:nvSpPr>
          <p:spPr bwMode="auto">
            <a:xfrm>
              <a:off x="1992" y="1643"/>
              <a:ext cx="163" cy="329"/>
            </a:xfrm>
            <a:custGeom>
              <a:avLst/>
              <a:gdLst>
                <a:gd name="T0" fmla="*/ 92 w 92"/>
                <a:gd name="T1" fmla="*/ 92 h 186"/>
                <a:gd name="T2" fmla="*/ 29 w 92"/>
                <a:gd name="T3" fmla="*/ 0 h 186"/>
                <a:gd name="T4" fmla="*/ 20 w 92"/>
                <a:gd name="T5" fmla="*/ 37 h 186"/>
                <a:gd name="T6" fmla="*/ 55 w 92"/>
                <a:gd name="T7" fmla="*/ 92 h 186"/>
                <a:gd name="T8" fmla="*/ 14 w 92"/>
                <a:gd name="T9" fmla="*/ 148 h 186"/>
                <a:gd name="T10" fmla="*/ 2 w 92"/>
                <a:gd name="T11" fmla="*/ 145 h 186"/>
                <a:gd name="T12" fmla="*/ 0 w 92"/>
                <a:gd name="T13" fmla="*/ 184 h 186"/>
                <a:gd name="T14" fmla="*/ 14 w 92"/>
                <a:gd name="T15" fmla="*/ 186 h 186"/>
                <a:gd name="T16" fmla="*/ 92 w 92"/>
                <a:gd name="T17" fmla="*/ 9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86">
                  <a:moveTo>
                    <a:pt x="92" y="92"/>
                  </a:moveTo>
                  <a:cubicBezTo>
                    <a:pt x="92" y="47"/>
                    <a:pt x="65" y="9"/>
                    <a:pt x="29" y="0"/>
                  </a:cubicBezTo>
                  <a:cubicBezTo>
                    <a:pt x="26" y="12"/>
                    <a:pt x="22" y="25"/>
                    <a:pt x="20" y="37"/>
                  </a:cubicBezTo>
                  <a:cubicBezTo>
                    <a:pt x="39" y="41"/>
                    <a:pt x="55" y="64"/>
                    <a:pt x="55" y="92"/>
                  </a:cubicBezTo>
                  <a:cubicBezTo>
                    <a:pt x="55" y="122"/>
                    <a:pt x="36" y="148"/>
                    <a:pt x="14" y="148"/>
                  </a:cubicBezTo>
                  <a:cubicBezTo>
                    <a:pt x="10" y="148"/>
                    <a:pt x="6" y="147"/>
                    <a:pt x="2" y="145"/>
                  </a:cubicBezTo>
                  <a:cubicBezTo>
                    <a:pt x="1" y="158"/>
                    <a:pt x="1" y="171"/>
                    <a:pt x="0" y="184"/>
                  </a:cubicBezTo>
                  <a:cubicBezTo>
                    <a:pt x="5" y="185"/>
                    <a:pt x="9" y="186"/>
                    <a:pt x="14" y="186"/>
                  </a:cubicBezTo>
                  <a:cubicBezTo>
                    <a:pt x="57" y="186"/>
                    <a:pt x="92" y="144"/>
                    <a:pt x="92" y="92"/>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2">
              <a:extLst>
                <a:ext uri="{FF2B5EF4-FFF2-40B4-BE49-F238E27FC236}">
                  <a16:creationId xmlns:a16="http://schemas.microsoft.com/office/drawing/2014/main" id="{F97828E1-C3A5-4B48-BF4E-02A880A296DF}"/>
                </a:ext>
              </a:extLst>
            </p:cNvPr>
            <p:cNvSpPr>
              <a:spLocks noEditPoints="1"/>
            </p:cNvSpPr>
            <p:nvPr/>
          </p:nvSpPr>
          <p:spPr bwMode="auto">
            <a:xfrm>
              <a:off x="2202" y="1642"/>
              <a:ext cx="276" cy="330"/>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3"/>
                    <a:pt x="100" y="149"/>
                    <a:pt x="78" y="149"/>
                  </a:cubicBezTo>
                  <a:cubicBezTo>
                    <a:pt x="56" y="149"/>
                    <a:pt x="38" y="123"/>
                    <a:pt x="38" y="93"/>
                  </a:cubicBezTo>
                  <a:cubicBezTo>
                    <a:pt x="38" y="63"/>
                    <a:pt x="56" y="37"/>
                    <a:pt x="78" y="3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03">
              <a:extLst>
                <a:ext uri="{FF2B5EF4-FFF2-40B4-BE49-F238E27FC236}">
                  <a16:creationId xmlns:a16="http://schemas.microsoft.com/office/drawing/2014/main" id="{E7F7D751-B97C-41E5-BDE2-A2B324F3AAA4}"/>
                </a:ext>
              </a:extLst>
            </p:cNvPr>
            <p:cNvSpPr>
              <a:spLocks noEditPoints="1"/>
            </p:cNvSpPr>
            <p:nvPr/>
          </p:nvSpPr>
          <p:spPr bwMode="auto">
            <a:xfrm>
              <a:off x="2181" y="2048"/>
              <a:ext cx="276" cy="331"/>
            </a:xfrm>
            <a:custGeom>
              <a:avLst/>
              <a:gdLst>
                <a:gd name="T0" fmla="*/ 156 w 156"/>
                <a:gd name="T1" fmla="*/ 93 h 187"/>
                <a:gd name="T2" fmla="*/ 78 w 156"/>
                <a:gd name="T3" fmla="*/ 0 h 187"/>
                <a:gd name="T4" fmla="*/ 0 w 156"/>
                <a:gd name="T5" fmla="*/ 93 h 187"/>
                <a:gd name="T6" fmla="*/ 78 w 156"/>
                <a:gd name="T7" fmla="*/ 187 h 187"/>
                <a:gd name="T8" fmla="*/ 156 w 156"/>
                <a:gd name="T9" fmla="*/ 93 h 187"/>
                <a:gd name="T10" fmla="*/ 78 w 156"/>
                <a:gd name="T11" fmla="*/ 149 h 187"/>
                <a:gd name="T12" fmla="*/ 37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156" y="93"/>
                  </a:moveTo>
                  <a:cubicBezTo>
                    <a:pt x="156" y="42"/>
                    <a:pt x="121" y="0"/>
                    <a:pt x="78" y="0"/>
                  </a:cubicBezTo>
                  <a:cubicBezTo>
                    <a:pt x="35" y="0"/>
                    <a:pt x="0" y="42"/>
                    <a:pt x="0" y="93"/>
                  </a:cubicBezTo>
                  <a:cubicBezTo>
                    <a:pt x="0" y="145"/>
                    <a:pt x="35" y="187"/>
                    <a:pt x="78" y="187"/>
                  </a:cubicBezTo>
                  <a:cubicBezTo>
                    <a:pt x="121" y="187"/>
                    <a:pt x="156" y="145"/>
                    <a:pt x="156" y="93"/>
                  </a:cubicBezTo>
                  <a:close/>
                  <a:moveTo>
                    <a:pt x="78" y="149"/>
                  </a:moveTo>
                  <a:cubicBezTo>
                    <a:pt x="56" y="149"/>
                    <a:pt x="37" y="124"/>
                    <a:pt x="37" y="93"/>
                  </a:cubicBezTo>
                  <a:cubicBezTo>
                    <a:pt x="37" y="63"/>
                    <a:pt x="56" y="37"/>
                    <a:pt x="78" y="37"/>
                  </a:cubicBezTo>
                  <a:cubicBezTo>
                    <a:pt x="100" y="37"/>
                    <a:pt x="118" y="63"/>
                    <a:pt x="118" y="93"/>
                  </a:cubicBezTo>
                  <a:cubicBezTo>
                    <a:pt x="118" y="124"/>
                    <a:pt x="100" y="149"/>
                    <a:pt x="78"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04">
              <a:extLst>
                <a:ext uri="{FF2B5EF4-FFF2-40B4-BE49-F238E27FC236}">
                  <a16:creationId xmlns:a16="http://schemas.microsoft.com/office/drawing/2014/main" id="{6B9E3BFD-1179-487C-A81D-B830E10D6B42}"/>
                </a:ext>
              </a:extLst>
            </p:cNvPr>
            <p:cNvSpPr>
              <a:spLocks/>
            </p:cNvSpPr>
            <p:nvPr/>
          </p:nvSpPr>
          <p:spPr bwMode="auto">
            <a:xfrm>
              <a:off x="1994" y="2050"/>
              <a:ext cx="162" cy="331"/>
            </a:xfrm>
            <a:custGeom>
              <a:avLst/>
              <a:gdLst>
                <a:gd name="T0" fmla="*/ 92 w 92"/>
                <a:gd name="T1" fmla="*/ 168 h 187"/>
                <a:gd name="T2" fmla="*/ 73 w 92"/>
                <a:gd name="T3" fmla="*/ 149 h 187"/>
                <a:gd name="T4" fmla="*/ 56 w 92"/>
                <a:gd name="T5" fmla="*/ 149 h 187"/>
                <a:gd name="T6" fmla="*/ 56 w 92"/>
                <a:gd name="T7" fmla="*/ 20 h 187"/>
                <a:gd name="T8" fmla="*/ 56 w 92"/>
                <a:gd name="T9" fmla="*/ 18 h 187"/>
                <a:gd name="T10" fmla="*/ 37 w 92"/>
                <a:gd name="T11" fmla="*/ 0 h 187"/>
                <a:gd name="T12" fmla="*/ 37 w 92"/>
                <a:gd name="T13" fmla="*/ 0 h 187"/>
                <a:gd name="T14" fmla="*/ 3 w 92"/>
                <a:gd name="T15" fmla="*/ 1 h 187"/>
                <a:gd name="T16" fmla="*/ 0 w 92"/>
                <a:gd name="T17" fmla="*/ 1 h 187"/>
                <a:gd name="T18" fmla="*/ 2 w 92"/>
                <a:gd name="T19" fmla="*/ 38 h 187"/>
                <a:gd name="T20" fmla="*/ 3 w 92"/>
                <a:gd name="T21" fmla="*/ 38 h 187"/>
                <a:gd name="T22" fmla="*/ 3 w 92"/>
                <a:gd name="T23" fmla="*/ 38 h 187"/>
                <a:gd name="T24" fmla="*/ 18 w 92"/>
                <a:gd name="T25" fmla="*/ 38 h 187"/>
                <a:gd name="T26" fmla="*/ 18 w 92"/>
                <a:gd name="T27" fmla="*/ 140 h 187"/>
                <a:gd name="T28" fmla="*/ 31 w 92"/>
                <a:gd name="T29" fmla="*/ 187 h 187"/>
                <a:gd name="T30" fmla="*/ 73 w 92"/>
                <a:gd name="T31" fmla="*/ 187 h 187"/>
                <a:gd name="T32" fmla="*/ 92 w 92"/>
                <a:gd name="T33"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87">
                  <a:moveTo>
                    <a:pt x="92" y="168"/>
                  </a:moveTo>
                  <a:cubicBezTo>
                    <a:pt x="92" y="157"/>
                    <a:pt x="84" y="149"/>
                    <a:pt x="73" y="149"/>
                  </a:cubicBezTo>
                  <a:cubicBezTo>
                    <a:pt x="56" y="149"/>
                    <a:pt x="56" y="149"/>
                    <a:pt x="56" y="149"/>
                  </a:cubicBezTo>
                  <a:cubicBezTo>
                    <a:pt x="56" y="20"/>
                    <a:pt x="56" y="20"/>
                    <a:pt x="56" y="20"/>
                  </a:cubicBezTo>
                  <a:cubicBezTo>
                    <a:pt x="56" y="19"/>
                    <a:pt x="56" y="19"/>
                    <a:pt x="56" y="18"/>
                  </a:cubicBezTo>
                  <a:cubicBezTo>
                    <a:pt x="56" y="8"/>
                    <a:pt x="47" y="0"/>
                    <a:pt x="37" y="0"/>
                  </a:cubicBezTo>
                  <a:cubicBezTo>
                    <a:pt x="37" y="0"/>
                    <a:pt x="37" y="0"/>
                    <a:pt x="37" y="0"/>
                  </a:cubicBezTo>
                  <a:cubicBezTo>
                    <a:pt x="3" y="1"/>
                    <a:pt x="3" y="1"/>
                    <a:pt x="3" y="1"/>
                  </a:cubicBezTo>
                  <a:cubicBezTo>
                    <a:pt x="2" y="1"/>
                    <a:pt x="1" y="1"/>
                    <a:pt x="0" y="1"/>
                  </a:cubicBezTo>
                  <a:cubicBezTo>
                    <a:pt x="0" y="14"/>
                    <a:pt x="1" y="26"/>
                    <a:pt x="2" y="38"/>
                  </a:cubicBezTo>
                  <a:cubicBezTo>
                    <a:pt x="2" y="38"/>
                    <a:pt x="3" y="38"/>
                    <a:pt x="3" y="38"/>
                  </a:cubicBezTo>
                  <a:cubicBezTo>
                    <a:pt x="3" y="38"/>
                    <a:pt x="3" y="38"/>
                    <a:pt x="3" y="38"/>
                  </a:cubicBezTo>
                  <a:cubicBezTo>
                    <a:pt x="18" y="38"/>
                    <a:pt x="18" y="38"/>
                    <a:pt x="18" y="38"/>
                  </a:cubicBezTo>
                  <a:cubicBezTo>
                    <a:pt x="18" y="140"/>
                    <a:pt x="18" y="140"/>
                    <a:pt x="18" y="140"/>
                  </a:cubicBezTo>
                  <a:cubicBezTo>
                    <a:pt x="22" y="156"/>
                    <a:pt x="26" y="171"/>
                    <a:pt x="31" y="187"/>
                  </a:cubicBezTo>
                  <a:cubicBezTo>
                    <a:pt x="73" y="187"/>
                    <a:pt x="73" y="187"/>
                    <a:pt x="73" y="187"/>
                  </a:cubicBezTo>
                  <a:cubicBezTo>
                    <a:pt x="84" y="187"/>
                    <a:pt x="92" y="178"/>
                    <a:pt x="92" y="16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05">
              <a:extLst>
                <a:ext uri="{FF2B5EF4-FFF2-40B4-BE49-F238E27FC236}">
                  <a16:creationId xmlns:a16="http://schemas.microsoft.com/office/drawing/2014/main" id="{B34851B2-F9CB-4E35-A75F-E24DD5CFC5AC}"/>
                </a:ext>
              </a:extLst>
            </p:cNvPr>
            <p:cNvSpPr>
              <a:spLocks noEditPoints="1"/>
            </p:cNvSpPr>
            <p:nvPr/>
          </p:nvSpPr>
          <p:spPr bwMode="auto">
            <a:xfrm>
              <a:off x="2702"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7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4"/>
                    <a:pt x="100" y="149"/>
                    <a:pt x="78" y="149"/>
                  </a:cubicBezTo>
                  <a:cubicBezTo>
                    <a:pt x="56" y="149"/>
                    <a:pt x="37" y="124"/>
                    <a:pt x="37" y="93"/>
                  </a:cubicBezTo>
                  <a:cubicBezTo>
                    <a:pt x="37" y="63"/>
                    <a:pt x="56" y="37"/>
                    <a:pt x="78" y="3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6">
              <a:extLst>
                <a:ext uri="{FF2B5EF4-FFF2-40B4-BE49-F238E27FC236}">
                  <a16:creationId xmlns:a16="http://schemas.microsoft.com/office/drawing/2014/main" id="{48A8B7F7-B3A7-4616-A591-944C90F19684}"/>
                </a:ext>
              </a:extLst>
            </p:cNvPr>
            <p:cNvSpPr>
              <a:spLocks noEditPoints="1"/>
            </p:cNvSpPr>
            <p:nvPr/>
          </p:nvSpPr>
          <p:spPr bwMode="auto">
            <a:xfrm>
              <a:off x="3018"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7">
              <a:extLst>
                <a:ext uri="{FF2B5EF4-FFF2-40B4-BE49-F238E27FC236}">
                  <a16:creationId xmlns:a16="http://schemas.microsoft.com/office/drawing/2014/main" id="{C3E4DA0E-1111-4969-A952-B94362869BAF}"/>
                </a:ext>
              </a:extLst>
            </p:cNvPr>
            <p:cNvSpPr>
              <a:spLocks/>
            </p:cNvSpPr>
            <p:nvPr/>
          </p:nvSpPr>
          <p:spPr bwMode="auto">
            <a:xfrm>
              <a:off x="2480" y="2050"/>
              <a:ext cx="197"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3" y="1"/>
                    <a:pt x="23" y="1"/>
                    <a:pt x="23" y="1"/>
                  </a:cubicBezTo>
                  <a:cubicBezTo>
                    <a:pt x="12" y="1"/>
                    <a:pt x="4" y="9"/>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8">
              <a:extLst>
                <a:ext uri="{FF2B5EF4-FFF2-40B4-BE49-F238E27FC236}">
                  <a16:creationId xmlns:a16="http://schemas.microsoft.com/office/drawing/2014/main" id="{7BB300DA-86F9-40F2-8A29-E082F0E05ED1}"/>
                </a:ext>
              </a:extLst>
            </p:cNvPr>
            <p:cNvSpPr>
              <a:spLocks noEditPoints="1"/>
            </p:cNvSpPr>
            <p:nvPr/>
          </p:nvSpPr>
          <p:spPr bwMode="auto">
            <a:xfrm>
              <a:off x="3538" y="2048"/>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7"/>
                    <a:pt x="78" y="37"/>
                  </a:cubicBezTo>
                  <a:cubicBezTo>
                    <a:pt x="100" y="37"/>
                    <a:pt x="119" y="63"/>
                    <a:pt x="119" y="93"/>
                  </a:cubicBezTo>
                  <a:cubicBezTo>
                    <a:pt x="119" y="124"/>
                    <a:pt x="100" y="149"/>
                    <a:pt x="78"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9">
              <a:extLst>
                <a:ext uri="{FF2B5EF4-FFF2-40B4-BE49-F238E27FC236}">
                  <a16:creationId xmlns:a16="http://schemas.microsoft.com/office/drawing/2014/main" id="{F3D81E01-7764-4D9F-9082-88E39A3CF12C}"/>
                </a:ext>
              </a:extLst>
            </p:cNvPr>
            <p:cNvSpPr>
              <a:spLocks/>
            </p:cNvSpPr>
            <p:nvPr/>
          </p:nvSpPr>
          <p:spPr bwMode="auto">
            <a:xfrm>
              <a:off x="3317" y="205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8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10">
              <a:extLst>
                <a:ext uri="{FF2B5EF4-FFF2-40B4-BE49-F238E27FC236}">
                  <a16:creationId xmlns:a16="http://schemas.microsoft.com/office/drawing/2014/main" id="{4E59A313-AAD0-4AE9-894B-00247D8E5F1D}"/>
                </a:ext>
              </a:extLst>
            </p:cNvPr>
            <p:cNvSpPr>
              <a:spLocks noEditPoints="1"/>
            </p:cNvSpPr>
            <p:nvPr/>
          </p:nvSpPr>
          <p:spPr bwMode="auto">
            <a:xfrm>
              <a:off x="4059"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11">
              <a:extLst>
                <a:ext uri="{FF2B5EF4-FFF2-40B4-BE49-F238E27FC236}">
                  <a16:creationId xmlns:a16="http://schemas.microsoft.com/office/drawing/2014/main" id="{36BB27A1-FDFF-436C-8BF1-9E1AD37286A6}"/>
                </a:ext>
              </a:extLst>
            </p:cNvPr>
            <p:cNvSpPr>
              <a:spLocks/>
            </p:cNvSpPr>
            <p:nvPr/>
          </p:nvSpPr>
          <p:spPr bwMode="auto">
            <a:xfrm>
              <a:off x="4377" y="2048"/>
              <a:ext cx="157" cy="326"/>
            </a:xfrm>
            <a:custGeom>
              <a:avLst/>
              <a:gdLst>
                <a:gd name="T0" fmla="*/ 0 w 89"/>
                <a:gd name="T1" fmla="*/ 93 h 184"/>
                <a:gd name="T2" fmla="*/ 59 w 89"/>
                <a:gd name="T3" fmla="*/ 184 h 184"/>
                <a:gd name="T4" fmla="*/ 69 w 89"/>
                <a:gd name="T5" fmla="*/ 148 h 184"/>
                <a:gd name="T6" fmla="*/ 37 w 89"/>
                <a:gd name="T7" fmla="*/ 93 h 184"/>
                <a:gd name="T8" fmla="*/ 78 w 89"/>
                <a:gd name="T9" fmla="*/ 37 h 184"/>
                <a:gd name="T10" fmla="*/ 87 w 89"/>
                <a:gd name="T11" fmla="*/ 39 h 184"/>
                <a:gd name="T12" fmla="*/ 89 w 89"/>
                <a:gd name="T13" fmla="*/ 1 h 184"/>
                <a:gd name="T14" fmla="*/ 78 w 89"/>
                <a:gd name="T15" fmla="*/ 0 h 184"/>
                <a:gd name="T16" fmla="*/ 0 w 89"/>
                <a:gd name="T17" fmla="*/ 9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84">
                  <a:moveTo>
                    <a:pt x="0" y="93"/>
                  </a:moveTo>
                  <a:cubicBezTo>
                    <a:pt x="0" y="137"/>
                    <a:pt x="25" y="174"/>
                    <a:pt x="59" y="184"/>
                  </a:cubicBezTo>
                  <a:cubicBezTo>
                    <a:pt x="63" y="172"/>
                    <a:pt x="66" y="160"/>
                    <a:pt x="69" y="148"/>
                  </a:cubicBezTo>
                  <a:cubicBezTo>
                    <a:pt x="51" y="142"/>
                    <a:pt x="37" y="119"/>
                    <a:pt x="37" y="93"/>
                  </a:cubicBezTo>
                  <a:cubicBezTo>
                    <a:pt x="37" y="63"/>
                    <a:pt x="56" y="37"/>
                    <a:pt x="78" y="37"/>
                  </a:cubicBezTo>
                  <a:cubicBezTo>
                    <a:pt x="81" y="37"/>
                    <a:pt x="84" y="38"/>
                    <a:pt x="87" y="39"/>
                  </a:cubicBezTo>
                  <a:cubicBezTo>
                    <a:pt x="88" y="26"/>
                    <a:pt x="89" y="14"/>
                    <a:pt x="89" y="1"/>
                  </a:cubicBezTo>
                  <a:cubicBezTo>
                    <a:pt x="86" y="0"/>
                    <a:pt x="82" y="0"/>
                    <a:pt x="78" y="0"/>
                  </a:cubicBezTo>
                  <a:cubicBezTo>
                    <a:pt x="35" y="0"/>
                    <a:pt x="0" y="42"/>
                    <a:pt x="0" y="93"/>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12">
              <a:extLst>
                <a:ext uri="{FF2B5EF4-FFF2-40B4-BE49-F238E27FC236}">
                  <a16:creationId xmlns:a16="http://schemas.microsoft.com/office/drawing/2014/main" id="{0C83FEE7-8629-4CD5-BE51-04096D353CFF}"/>
                </a:ext>
              </a:extLst>
            </p:cNvPr>
            <p:cNvSpPr>
              <a:spLocks/>
            </p:cNvSpPr>
            <p:nvPr/>
          </p:nvSpPr>
          <p:spPr bwMode="auto">
            <a:xfrm>
              <a:off x="3838" y="2050"/>
              <a:ext cx="198"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6 w 112"/>
                <a:gd name="T11" fmla="*/ 0 h 187"/>
                <a:gd name="T12" fmla="*/ 22 w 112"/>
                <a:gd name="T13" fmla="*/ 1 h 187"/>
                <a:gd name="T14" fmla="*/ 4 w 112"/>
                <a:gd name="T15" fmla="*/ 20 h 187"/>
                <a:gd name="T16" fmla="*/ 23 w 112"/>
                <a:gd name="T17" fmla="*/ 38 h 187"/>
                <a:gd name="T18" fmla="*/ 23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9" name="Group 4">
            <a:extLst>
              <a:ext uri="{FF2B5EF4-FFF2-40B4-BE49-F238E27FC236}">
                <a16:creationId xmlns:a16="http://schemas.microsoft.com/office/drawing/2014/main" id="{37C69A93-D36C-4EB8-86C8-EFA0BA7F1B7A}"/>
              </a:ext>
            </a:extLst>
          </p:cNvPr>
          <p:cNvGrpSpPr>
            <a:grpSpLocks noChangeAspect="1"/>
          </p:cNvGrpSpPr>
          <p:nvPr/>
        </p:nvGrpSpPr>
        <p:grpSpPr bwMode="auto">
          <a:xfrm>
            <a:off x="6746212" y="878399"/>
            <a:ext cx="282443" cy="282664"/>
            <a:chOff x="1608" y="347"/>
            <a:chExt cx="2544" cy="2546"/>
          </a:xfrm>
        </p:grpSpPr>
        <p:sp>
          <p:nvSpPr>
            <p:cNvPr id="110" name="Oval 5">
              <a:extLst>
                <a:ext uri="{FF2B5EF4-FFF2-40B4-BE49-F238E27FC236}">
                  <a16:creationId xmlns:a16="http://schemas.microsoft.com/office/drawing/2014/main" id="{DF8D32AE-CF9B-49AB-A80B-78EF9EDC2A8D}"/>
                </a:ext>
              </a:extLst>
            </p:cNvPr>
            <p:cNvSpPr>
              <a:spLocks noChangeArrowheads="1"/>
            </p:cNvSpPr>
            <p:nvPr/>
          </p:nvSpPr>
          <p:spPr bwMode="auto">
            <a:xfrm>
              <a:off x="1608" y="347"/>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6">
              <a:extLst>
                <a:ext uri="{FF2B5EF4-FFF2-40B4-BE49-F238E27FC236}">
                  <a16:creationId xmlns:a16="http://schemas.microsoft.com/office/drawing/2014/main" id="{C2F22CD5-5EB9-4166-AF21-D52D34652F6E}"/>
                </a:ext>
              </a:extLst>
            </p:cNvPr>
            <p:cNvSpPr>
              <a:spLocks/>
            </p:cNvSpPr>
            <p:nvPr/>
          </p:nvSpPr>
          <p:spPr bwMode="auto">
            <a:xfrm>
              <a:off x="2184" y="923"/>
              <a:ext cx="1968" cy="1970"/>
            </a:xfrm>
            <a:custGeom>
              <a:avLst/>
              <a:gdLst>
                <a:gd name="T0" fmla="*/ 1110 w 1114"/>
                <a:gd name="T1" fmla="*/ 322 h 1114"/>
                <a:gd name="T2" fmla="*/ 792 w 1114"/>
                <a:gd name="T3" fmla="*/ 5 h 1114"/>
                <a:gd name="T4" fmla="*/ 780 w 1114"/>
                <a:gd name="T5" fmla="*/ 16 h 1114"/>
                <a:gd name="T6" fmla="*/ 744 w 1114"/>
                <a:gd name="T7" fmla="*/ 0 h 1114"/>
                <a:gd name="T8" fmla="*/ 484 w 1114"/>
                <a:gd name="T9" fmla="*/ 0 h 1114"/>
                <a:gd name="T10" fmla="*/ 436 w 1114"/>
                <a:gd name="T11" fmla="*/ 47 h 1114"/>
                <a:gd name="T12" fmla="*/ 436 w 1114"/>
                <a:gd name="T13" fmla="*/ 85 h 1114"/>
                <a:gd name="T14" fmla="*/ 351 w 1114"/>
                <a:gd name="T15" fmla="*/ 1 h 1114"/>
                <a:gd name="T16" fmla="*/ 340 w 1114"/>
                <a:gd name="T17" fmla="*/ 12 h 1114"/>
                <a:gd name="T18" fmla="*/ 308 w 1114"/>
                <a:gd name="T19" fmla="*/ 0 h 1114"/>
                <a:gd name="T20" fmla="*/ 48 w 1114"/>
                <a:gd name="T21" fmla="*/ 0 h 1114"/>
                <a:gd name="T22" fmla="*/ 0 w 1114"/>
                <a:gd name="T23" fmla="*/ 47 h 1114"/>
                <a:gd name="T24" fmla="*/ 0 w 1114"/>
                <a:gd name="T25" fmla="*/ 307 h 1114"/>
                <a:gd name="T26" fmla="*/ 13 w 1114"/>
                <a:gd name="T27" fmla="*/ 339 h 1114"/>
                <a:gd name="T28" fmla="*/ 1 w 1114"/>
                <a:gd name="T29" fmla="*/ 350 h 1114"/>
                <a:gd name="T30" fmla="*/ 91 w 1114"/>
                <a:gd name="T31" fmla="*/ 439 h 1114"/>
                <a:gd name="T32" fmla="*/ 48 w 1114"/>
                <a:gd name="T33" fmla="*/ 439 h 1114"/>
                <a:gd name="T34" fmla="*/ 0 w 1114"/>
                <a:gd name="T35" fmla="*/ 487 h 1114"/>
                <a:gd name="T36" fmla="*/ 0 w 1114"/>
                <a:gd name="T37" fmla="*/ 747 h 1114"/>
                <a:gd name="T38" fmla="*/ 15 w 1114"/>
                <a:gd name="T39" fmla="*/ 781 h 1114"/>
                <a:gd name="T40" fmla="*/ 4 w 1114"/>
                <a:gd name="T41" fmla="*/ 792 h 1114"/>
                <a:gd name="T42" fmla="*/ 323 w 1114"/>
                <a:gd name="T43" fmla="*/ 1110 h 1114"/>
                <a:gd name="T44" fmla="*/ 396 w 1114"/>
                <a:gd name="T45" fmla="*/ 1114 h 1114"/>
                <a:gd name="T46" fmla="*/ 1114 w 1114"/>
                <a:gd name="T47" fmla="*/ 398 h 1114"/>
                <a:gd name="T48" fmla="*/ 1110 w 1114"/>
                <a:gd name="T49" fmla="*/ 322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4" h="1114">
                  <a:moveTo>
                    <a:pt x="1110" y="322"/>
                  </a:moveTo>
                  <a:cubicBezTo>
                    <a:pt x="792" y="5"/>
                    <a:pt x="792" y="5"/>
                    <a:pt x="792" y="5"/>
                  </a:cubicBezTo>
                  <a:cubicBezTo>
                    <a:pt x="780" y="16"/>
                    <a:pt x="780" y="16"/>
                    <a:pt x="780" y="16"/>
                  </a:cubicBezTo>
                  <a:cubicBezTo>
                    <a:pt x="772" y="6"/>
                    <a:pt x="758" y="0"/>
                    <a:pt x="744" y="0"/>
                  </a:cubicBezTo>
                  <a:cubicBezTo>
                    <a:pt x="484" y="0"/>
                    <a:pt x="484" y="0"/>
                    <a:pt x="484" y="0"/>
                  </a:cubicBezTo>
                  <a:cubicBezTo>
                    <a:pt x="458" y="0"/>
                    <a:pt x="436" y="20"/>
                    <a:pt x="436" y="47"/>
                  </a:cubicBezTo>
                  <a:cubicBezTo>
                    <a:pt x="436" y="85"/>
                    <a:pt x="436" y="85"/>
                    <a:pt x="436" y="85"/>
                  </a:cubicBezTo>
                  <a:cubicBezTo>
                    <a:pt x="351" y="1"/>
                    <a:pt x="351" y="1"/>
                    <a:pt x="351" y="1"/>
                  </a:cubicBezTo>
                  <a:cubicBezTo>
                    <a:pt x="340" y="12"/>
                    <a:pt x="340" y="12"/>
                    <a:pt x="340" y="12"/>
                  </a:cubicBezTo>
                  <a:cubicBezTo>
                    <a:pt x="332" y="5"/>
                    <a:pt x="321" y="0"/>
                    <a:pt x="308" y="0"/>
                  </a:cubicBezTo>
                  <a:cubicBezTo>
                    <a:pt x="48" y="0"/>
                    <a:pt x="48" y="0"/>
                    <a:pt x="48" y="0"/>
                  </a:cubicBezTo>
                  <a:cubicBezTo>
                    <a:pt x="22" y="0"/>
                    <a:pt x="0" y="20"/>
                    <a:pt x="0" y="47"/>
                  </a:cubicBezTo>
                  <a:cubicBezTo>
                    <a:pt x="0" y="307"/>
                    <a:pt x="0" y="307"/>
                    <a:pt x="0" y="307"/>
                  </a:cubicBezTo>
                  <a:cubicBezTo>
                    <a:pt x="0" y="319"/>
                    <a:pt x="5" y="330"/>
                    <a:pt x="13" y="339"/>
                  </a:cubicBezTo>
                  <a:cubicBezTo>
                    <a:pt x="1" y="350"/>
                    <a:pt x="1" y="350"/>
                    <a:pt x="1" y="350"/>
                  </a:cubicBezTo>
                  <a:cubicBezTo>
                    <a:pt x="91" y="439"/>
                    <a:pt x="91" y="439"/>
                    <a:pt x="91" y="439"/>
                  </a:cubicBezTo>
                  <a:cubicBezTo>
                    <a:pt x="48" y="439"/>
                    <a:pt x="48" y="439"/>
                    <a:pt x="48" y="439"/>
                  </a:cubicBezTo>
                  <a:cubicBezTo>
                    <a:pt x="22" y="439"/>
                    <a:pt x="0" y="461"/>
                    <a:pt x="0" y="487"/>
                  </a:cubicBezTo>
                  <a:cubicBezTo>
                    <a:pt x="0" y="747"/>
                    <a:pt x="0" y="747"/>
                    <a:pt x="0" y="747"/>
                  </a:cubicBezTo>
                  <a:cubicBezTo>
                    <a:pt x="0" y="761"/>
                    <a:pt x="6" y="773"/>
                    <a:pt x="15" y="781"/>
                  </a:cubicBezTo>
                  <a:cubicBezTo>
                    <a:pt x="4" y="792"/>
                    <a:pt x="4" y="792"/>
                    <a:pt x="4" y="792"/>
                  </a:cubicBezTo>
                  <a:cubicBezTo>
                    <a:pt x="323" y="1110"/>
                    <a:pt x="323" y="1110"/>
                    <a:pt x="323" y="1110"/>
                  </a:cubicBezTo>
                  <a:cubicBezTo>
                    <a:pt x="346" y="1112"/>
                    <a:pt x="371" y="1114"/>
                    <a:pt x="396" y="1114"/>
                  </a:cubicBezTo>
                  <a:cubicBezTo>
                    <a:pt x="792" y="1114"/>
                    <a:pt x="1114" y="793"/>
                    <a:pt x="1114" y="398"/>
                  </a:cubicBezTo>
                  <a:cubicBezTo>
                    <a:pt x="1114" y="372"/>
                    <a:pt x="1112" y="347"/>
                    <a:pt x="1110" y="322"/>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7">
              <a:extLst>
                <a:ext uri="{FF2B5EF4-FFF2-40B4-BE49-F238E27FC236}">
                  <a16:creationId xmlns:a16="http://schemas.microsoft.com/office/drawing/2014/main" id="{1A0BF237-CE59-433B-BC2E-F966B32F742B}"/>
                </a:ext>
              </a:extLst>
            </p:cNvPr>
            <p:cNvSpPr>
              <a:spLocks noEditPoints="1"/>
            </p:cNvSpPr>
            <p:nvPr/>
          </p:nvSpPr>
          <p:spPr bwMode="auto">
            <a:xfrm>
              <a:off x="2140" y="879"/>
              <a:ext cx="685" cy="707"/>
            </a:xfrm>
            <a:custGeom>
              <a:avLst/>
              <a:gdLst>
                <a:gd name="T0" fmla="*/ 324 w 388"/>
                <a:gd name="T1" fmla="*/ 400 h 400"/>
                <a:gd name="T2" fmla="*/ 64 w 388"/>
                <a:gd name="T3" fmla="*/ 400 h 400"/>
                <a:gd name="T4" fmla="*/ 0 w 388"/>
                <a:gd name="T5" fmla="*/ 334 h 400"/>
                <a:gd name="T6" fmla="*/ 0 w 388"/>
                <a:gd name="T7" fmla="*/ 65 h 400"/>
                <a:gd name="T8" fmla="*/ 64 w 388"/>
                <a:gd name="T9" fmla="*/ 0 h 400"/>
                <a:gd name="T10" fmla="*/ 324 w 388"/>
                <a:gd name="T11" fmla="*/ 0 h 400"/>
                <a:gd name="T12" fmla="*/ 388 w 388"/>
                <a:gd name="T13" fmla="*/ 65 h 400"/>
                <a:gd name="T14" fmla="*/ 388 w 388"/>
                <a:gd name="T15" fmla="*/ 334 h 400"/>
                <a:gd name="T16" fmla="*/ 324 w 388"/>
                <a:gd name="T17" fmla="*/ 400 h 400"/>
                <a:gd name="T18" fmla="*/ 64 w 388"/>
                <a:gd name="T19" fmla="*/ 32 h 400"/>
                <a:gd name="T20" fmla="*/ 32 w 388"/>
                <a:gd name="T21" fmla="*/ 65 h 400"/>
                <a:gd name="T22" fmla="*/ 32 w 388"/>
                <a:gd name="T23" fmla="*/ 334 h 400"/>
                <a:gd name="T24" fmla="*/ 64 w 388"/>
                <a:gd name="T25" fmla="*/ 367 h 400"/>
                <a:gd name="T26" fmla="*/ 324 w 388"/>
                <a:gd name="T27" fmla="*/ 367 h 400"/>
                <a:gd name="T28" fmla="*/ 356 w 388"/>
                <a:gd name="T29" fmla="*/ 334 h 400"/>
                <a:gd name="T30" fmla="*/ 356 w 388"/>
                <a:gd name="T31" fmla="*/ 65 h 400"/>
                <a:gd name="T32" fmla="*/ 324 w 388"/>
                <a:gd name="T33" fmla="*/ 32 h 400"/>
                <a:gd name="T34" fmla="*/ 64 w 388"/>
                <a:gd name="T35" fmla="*/ 32 h 400"/>
                <a:gd name="T36" fmla="*/ 64 w 388"/>
                <a:gd name="T37" fmla="*/ 3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8" h="400">
                  <a:moveTo>
                    <a:pt x="324" y="400"/>
                  </a:moveTo>
                  <a:cubicBezTo>
                    <a:pt x="64" y="400"/>
                    <a:pt x="64" y="400"/>
                    <a:pt x="64" y="400"/>
                  </a:cubicBezTo>
                  <a:cubicBezTo>
                    <a:pt x="29" y="400"/>
                    <a:pt x="0" y="370"/>
                    <a:pt x="0" y="334"/>
                  </a:cubicBezTo>
                  <a:cubicBezTo>
                    <a:pt x="0" y="65"/>
                    <a:pt x="0" y="65"/>
                    <a:pt x="0" y="65"/>
                  </a:cubicBezTo>
                  <a:cubicBezTo>
                    <a:pt x="0" y="28"/>
                    <a:pt x="29" y="0"/>
                    <a:pt x="64" y="0"/>
                  </a:cubicBezTo>
                  <a:cubicBezTo>
                    <a:pt x="324" y="0"/>
                    <a:pt x="324" y="0"/>
                    <a:pt x="324" y="0"/>
                  </a:cubicBezTo>
                  <a:cubicBezTo>
                    <a:pt x="360" y="0"/>
                    <a:pt x="388" y="28"/>
                    <a:pt x="388" y="65"/>
                  </a:cubicBezTo>
                  <a:cubicBezTo>
                    <a:pt x="388" y="334"/>
                    <a:pt x="388" y="334"/>
                    <a:pt x="388" y="334"/>
                  </a:cubicBezTo>
                  <a:cubicBezTo>
                    <a:pt x="388" y="370"/>
                    <a:pt x="360" y="400"/>
                    <a:pt x="324" y="400"/>
                  </a:cubicBezTo>
                  <a:close/>
                  <a:moveTo>
                    <a:pt x="64" y="32"/>
                  </a:moveTo>
                  <a:cubicBezTo>
                    <a:pt x="47" y="32"/>
                    <a:pt x="32" y="47"/>
                    <a:pt x="32" y="65"/>
                  </a:cubicBezTo>
                  <a:cubicBezTo>
                    <a:pt x="32" y="334"/>
                    <a:pt x="32" y="334"/>
                    <a:pt x="32" y="334"/>
                  </a:cubicBezTo>
                  <a:cubicBezTo>
                    <a:pt x="32" y="352"/>
                    <a:pt x="47" y="367"/>
                    <a:pt x="64" y="367"/>
                  </a:cubicBezTo>
                  <a:cubicBezTo>
                    <a:pt x="324" y="367"/>
                    <a:pt x="324" y="367"/>
                    <a:pt x="324" y="367"/>
                  </a:cubicBezTo>
                  <a:cubicBezTo>
                    <a:pt x="342" y="367"/>
                    <a:pt x="356" y="352"/>
                    <a:pt x="356" y="334"/>
                  </a:cubicBezTo>
                  <a:cubicBezTo>
                    <a:pt x="356" y="65"/>
                    <a:pt x="356" y="65"/>
                    <a:pt x="356" y="65"/>
                  </a:cubicBezTo>
                  <a:cubicBezTo>
                    <a:pt x="356" y="47"/>
                    <a:pt x="342" y="32"/>
                    <a:pt x="324" y="32"/>
                  </a:cubicBezTo>
                  <a:cubicBezTo>
                    <a:pt x="64" y="32"/>
                    <a:pt x="64" y="32"/>
                    <a:pt x="64" y="32"/>
                  </a:cubicBezTo>
                  <a:cubicBezTo>
                    <a:pt x="64" y="32"/>
                    <a:pt x="64" y="32"/>
                    <a:pt x="6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8">
              <a:extLst>
                <a:ext uri="{FF2B5EF4-FFF2-40B4-BE49-F238E27FC236}">
                  <a16:creationId xmlns:a16="http://schemas.microsoft.com/office/drawing/2014/main" id="{91821264-99F5-4915-B370-59FF088B6A8B}"/>
                </a:ext>
              </a:extLst>
            </p:cNvPr>
            <p:cNvSpPr>
              <a:spLocks noEditPoints="1"/>
            </p:cNvSpPr>
            <p:nvPr/>
          </p:nvSpPr>
          <p:spPr bwMode="auto">
            <a:xfrm>
              <a:off x="2140" y="1675"/>
              <a:ext cx="685" cy="686"/>
            </a:xfrm>
            <a:custGeom>
              <a:avLst/>
              <a:gdLst>
                <a:gd name="T0" fmla="*/ 324 w 388"/>
                <a:gd name="T1" fmla="*/ 388 h 388"/>
                <a:gd name="T2" fmla="*/ 64 w 388"/>
                <a:gd name="T3" fmla="*/ 388 h 388"/>
                <a:gd name="T4" fmla="*/ 0 w 388"/>
                <a:gd name="T5" fmla="*/ 325 h 388"/>
                <a:gd name="T6" fmla="*/ 0 w 388"/>
                <a:gd name="T7" fmla="*/ 64 h 388"/>
                <a:gd name="T8" fmla="*/ 64 w 388"/>
                <a:gd name="T9" fmla="*/ 0 h 388"/>
                <a:gd name="T10" fmla="*/ 324 w 388"/>
                <a:gd name="T11" fmla="*/ 0 h 388"/>
                <a:gd name="T12" fmla="*/ 388 w 388"/>
                <a:gd name="T13" fmla="*/ 64 h 388"/>
                <a:gd name="T14" fmla="*/ 388 w 388"/>
                <a:gd name="T15" fmla="*/ 325 h 388"/>
                <a:gd name="T16" fmla="*/ 324 w 388"/>
                <a:gd name="T17" fmla="*/ 388 h 388"/>
                <a:gd name="T18" fmla="*/ 64 w 388"/>
                <a:gd name="T19" fmla="*/ 32 h 388"/>
                <a:gd name="T20" fmla="*/ 32 w 388"/>
                <a:gd name="T21" fmla="*/ 64 h 388"/>
                <a:gd name="T22" fmla="*/ 32 w 388"/>
                <a:gd name="T23" fmla="*/ 325 h 388"/>
                <a:gd name="T24" fmla="*/ 64 w 388"/>
                <a:gd name="T25" fmla="*/ 357 h 388"/>
                <a:gd name="T26" fmla="*/ 324 w 388"/>
                <a:gd name="T27" fmla="*/ 357 h 388"/>
                <a:gd name="T28" fmla="*/ 356 w 388"/>
                <a:gd name="T29" fmla="*/ 325 h 388"/>
                <a:gd name="T30" fmla="*/ 356 w 388"/>
                <a:gd name="T31" fmla="*/ 64 h 388"/>
                <a:gd name="T32" fmla="*/ 324 w 388"/>
                <a:gd name="T33" fmla="*/ 32 h 388"/>
                <a:gd name="T34" fmla="*/ 64 w 388"/>
                <a:gd name="T35" fmla="*/ 32 h 388"/>
                <a:gd name="T36" fmla="*/ 64 w 388"/>
                <a:gd name="T37" fmla="*/ 3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8" h="388">
                  <a:moveTo>
                    <a:pt x="324" y="388"/>
                  </a:moveTo>
                  <a:cubicBezTo>
                    <a:pt x="64" y="388"/>
                    <a:pt x="64" y="388"/>
                    <a:pt x="64" y="388"/>
                  </a:cubicBezTo>
                  <a:cubicBezTo>
                    <a:pt x="29" y="388"/>
                    <a:pt x="0" y="361"/>
                    <a:pt x="0" y="325"/>
                  </a:cubicBezTo>
                  <a:cubicBezTo>
                    <a:pt x="0" y="64"/>
                    <a:pt x="0" y="64"/>
                    <a:pt x="0" y="64"/>
                  </a:cubicBezTo>
                  <a:cubicBezTo>
                    <a:pt x="0" y="29"/>
                    <a:pt x="29" y="0"/>
                    <a:pt x="64" y="0"/>
                  </a:cubicBezTo>
                  <a:cubicBezTo>
                    <a:pt x="324" y="0"/>
                    <a:pt x="324" y="0"/>
                    <a:pt x="324" y="0"/>
                  </a:cubicBezTo>
                  <a:cubicBezTo>
                    <a:pt x="360" y="0"/>
                    <a:pt x="388" y="29"/>
                    <a:pt x="388" y="64"/>
                  </a:cubicBezTo>
                  <a:cubicBezTo>
                    <a:pt x="388" y="325"/>
                    <a:pt x="388" y="325"/>
                    <a:pt x="388" y="325"/>
                  </a:cubicBezTo>
                  <a:cubicBezTo>
                    <a:pt x="388" y="361"/>
                    <a:pt x="360" y="388"/>
                    <a:pt x="324" y="388"/>
                  </a:cubicBezTo>
                  <a:close/>
                  <a:moveTo>
                    <a:pt x="64" y="32"/>
                  </a:moveTo>
                  <a:cubicBezTo>
                    <a:pt x="47" y="32"/>
                    <a:pt x="32" y="47"/>
                    <a:pt x="32" y="64"/>
                  </a:cubicBezTo>
                  <a:cubicBezTo>
                    <a:pt x="32" y="325"/>
                    <a:pt x="32" y="325"/>
                    <a:pt x="32" y="325"/>
                  </a:cubicBezTo>
                  <a:cubicBezTo>
                    <a:pt x="32" y="343"/>
                    <a:pt x="47" y="357"/>
                    <a:pt x="64" y="357"/>
                  </a:cubicBezTo>
                  <a:cubicBezTo>
                    <a:pt x="324" y="357"/>
                    <a:pt x="324" y="357"/>
                    <a:pt x="324" y="357"/>
                  </a:cubicBezTo>
                  <a:cubicBezTo>
                    <a:pt x="342" y="357"/>
                    <a:pt x="356" y="343"/>
                    <a:pt x="356" y="325"/>
                  </a:cubicBezTo>
                  <a:cubicBezTo>
                    <a:pt x="356" y="64"/>
                    <a:pt x="356" y="64"/>
                    <a:pt x="356" y="64"/>
                  </a:cubicBezTo>
                  <a:cubicBezTo>
                    <a:pt x="356" y="47"/>
                    <a:pt x="342" y="32"/>
                    <a:pt x="324" y="32"/>
                  </a:cubicBezTo>
                  <a:cubicBezTo>
                    <a:pt x="64" y="32"/>
                    <a:pt x="64" y="32"/>
                    <a:pt x="64" y="32"/>
                  </a:cubicBezTo>
                  <a:cubicBezTo>
                    <a:pt x="64" y="32"/>
                    <a:pt x="64" y="32"/>
                    <a:pt x="6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9">
              <a:extLst>
                <a:ext uri="{FF2B5EF4-FFF2-40B4-BE49-F238E27FC236}">
                  <a16:creationId xmlns:a16="http://schemas.microsoft.com/office/drawing/2014/main" id="{591BB077-01F6-4146-9D99-BD5EC6E9ABB9}"/>
                </a:ext>
              </a:extLst>
            </p:cNvPr>
            <p:cNvSpPr>
              <a:spLocks noEditPoints="1"/>
            </p:cNvSpPr>
            <p:nvPr/>
          </p:nvSpPr>
          <p:spPr bwMode="auto">
            <a:xfrm>
              <a:off x="2914" y="1675"/>
              <a:ext cx="685" cy="686"/>
            </a:xfrm>
            <a:custGeom>
              <a:avLst/>
              <a:gdLst>
                <a:gd name="T0" fmla="*/ 324 w 388"/>
                <a:gd name="T1" fmla="*/ 388 h 388"/>
                <a:gd name="T2" fmla="*/ 64 w 388"/>
                <a:gd name="T3" fmla="*/ 388 h 388"/>
                <a:gd name="T4" fmla="*/ 0 w 388"/>
                <a:gd name="T5" fmla="*/ 325 h 388"/>
                <a:gd name="T6" fmla="*/ 0 w 388"/>
                <a:gd name="T7" fmla="*/ 64 h 388"/>
                <a:gd name="T8" fmla="*/ 64 w 388"/>
                <a:gd name="T9" fmla="*/ 0 h 388"/>
                <a:gd name="T10" fmla="*/ 324 w 388"/>
                <a:gd name="T11" fmla="*/ 0 h 388"/>
                <a:gd name="T12" fmla="*/ 388 w 388"/>
                <a:gd name="T13" fmla="*/ 64 h 388"/>
                <a:gd name="T14" fmla="*/ 388 w 388"/>
                <a:gd name="T15" fmla="*/ 325 h 388"/>
                <a:gd name="T16" fmla="*/ 324 w 388"/>
                <a:gd name="T17" fmla="*/ 388 h 388"/>
                <a:gd name="T18" fmla="*/ 64 w 388"/>
                <a:gd name="T19" fmla="*/ 32 h 388"/>
                <a:gd name="T20" fmla="*/ 32 w 388"/>
                <a:gd name="T21" fmla="*/ 64 h 388"/>
                <a:gd name="T22" fmla="*/ 32 w 388"/>
                <a:gd name="T23" fmla="*/ 325 h 388"/>
                <a:gd name="T24" fmla="*/ 64 w 388"/>
                <a:gd name="T25" fmla="*/ 357 h 388"/>
                <a:gd name="T26" fmla="*/ 324 w 388"/>
                <a:gd name="T27" fmla="*/ 357 h 388"/>
                <a:gd name="T28" fmla="*/ 356 w 388"/>
                <a:gd name="T29" fmla="*/ 325 h 388"/>
                <a:gd name="T30" fmla="*/ 356 w 388"/>
                <a:gd name="T31" fmla="*/ 64 h 388"/>
                <a:gd name="T32" fmla="*/ 324 w 388"/>
                <a:gd name="T33" fmla="*/ 32 h 388"/>
                <a:gd name="T34" fmla="*/ 64 w 388"/>
                <a:gd name="T35" fmla="*/ 32 h 388"/>
                <a:gd name="T36" fmla="*/ 64 w 388"/>
                <a:gd name="T37" fmla="*/ 3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8" h="388">
                  <a:moveTo>
                    <a:pt x="324" y="388"/>
                  </a:moveTo>
                  <a:cubicBezTo>
                    <a:pt x="64" y="388"/>
                    <a:pt x="64" y="388"/>
                    <a:pt x="64" y="388"/>
                  </a:cubicBezTo>
                  <a:cubicBezTo>
                    <a:pt x="29" y="388"/>
                    <a:pt x="0" y="361"/>
                    <a:pt x="0" y="325"/>
                  </a:cubicBezTo>
                  <a:cubicBezTo>
                    <a:pt x="0" y="64"/>
                    <a:pt x="0" y="64"/>
                    <a:pt x="0" y="64"/>
                  </a:cubicBezTo>
                  <a:cubicBezTo>
                    <a:pt x="0" y="29"/>
                    <a:pt x="29" y="0"/>
                    <a:pt x="64" y="0"/>
                  </a:cubicBezTo>
                  <a:cubicBezTo>
                    <a:pt x="324" y="0"/>
                    <a:pt x="324" y="0"/>
                    <a:pt x="324" y="0"/>
                  </a:cubicBezTo>
                  <a:cubicBezTo>
                    <a:pt x="359" y="0"/>
                    <a:pt x="388" y="29"/>
                    <a:pt x="388" y="64"/>
                  </a:cubicBezTo>
                  <a:cubicBezTo>
                    <a:pt x="388" y="325"/>
                    <a:pt x="388" y="325"/>
                    <a:pt x="388" y="325"/>
                  </a:cubicBezTo>
                  <a:cubicBezTo>
                    <a:pt x="388" y="361"/>
                    <a:pt x="359" y="388"/>
                    <a:pt x="324" y="388"/>
                  </a:cubicBezTo>
                  <a:close/>
                  <a:moveTo>
                    <a:pt x="64" y="32"/>
                  </a:moveTo>
                  <a:cubicBezTo>
                    <a:pt x="46" y="32"/>
                    <a:pt x="32" y="47"/>
                    <a:pt x="32" y="64"/>
                  </a:cubicBezTo>
                  <a:cubicBezTo>
                    <a:pt x="32" y="325"/>
                    <a:pt x="32" y="325"/>
                    <a:pt x="32" y="325"/>
                  </a:cubicBezTo>
                  <a:cubicBezTo>
                    <a:pt x="32" y="343"/>
                    <a:pt x="46" y="357"/>
                    <a:pt x="64" y="357"/>
                  </a:cubicBezTo>
                  <a:cubicBezTo>
                    <a:pt x="324" y="357"/>
                    <a:pt x="324" y="357"/>
                    <a:pt x="324" y="357"/>
                  </a:cubicBezTo>
                  <a:cubicBezTo>
                    <a:pt x="341" y="357"/>
                    <a:pt x="356" y="343"/>
                    <a:pt x="356" y="325"/>
                  </a:cubicBezTo>
                  <a:cubicBezTo>
                    <a:pt x="356" y="64"/>
                    <a:pt x="356" y="64"/>
                    <a:pt x="356" y="64"/>
                  </a:cubicBezTo>
                  <a:cubicBezTo>
                    <a:pt x="356" y="47"/>
                    <a:pt x="341" y="32"/>
                    <a:pt x="324" y="32"/>
                  </a:cubicBezTo>
                  <a:cubicBezTo>
                    <a:pt x="64" y="32"/>
                    <a:pt x="64" y="32"/>
                    <a:pt x="64" y="32"/>
                  </a:cubicBezTo>
                  <a:cubicBezTo>
                    <a:pt x="64" y="32"/>
                    <a:pt x="64" y="32"/>
                    <a:pt x="6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
              <a:extLst>
                <a:ext uri="{FF2B5EF4-FFF2-40B4-BE49-F238E27FC236}">
                  <a16:creationId xmlns:a16="http://schemas.microsoft.com/office/drawing/2014/main" id="{F360F60B-7139-4506-B384-F6E529AF3B4C}"/>
                </a:ext>
              </a:extLst>
            </p:cNvPr>
            <p:cNvSpPr>
              <a:spLocks/>
            </p:cNvSpPr>
            <p:nvPr/>
          </p:nvSpPr>
          <p:spPr bwMode="auto">
            <a:xfrm>
              <a:off x="2293" y="1077"/>
              <a:ext cx="400" cy="67"/>
            </a:xfrm>
            <a:custGeom>
              <a:avLst/>
              <a:gdLst>
                <a:gd name="T0" fmla="*/ 209 w 226"/>
                <a:gd name="T1" fmla="*/ 38 h 38"/>
                <a:gd name="T2" fmla="*/ 17 w 226"/>
                <a:gd name="T3" fmla="*/ 38 h 38"/>
                <a:gd name="T4" fmla="*/ 0 w 226"/>
                <a:gd name="T5" fmla="*/ 19 h 38"/>
                <a:gd name="T6" fmla="*/ 17 w 226"/>
                <a:gd name="T7" fmla="*/ 0 h 38"/>
                <a:gd name="T8" fmla="*/ 209 w 226"/>
                <a:gd name="T9" fmla="*/ 0 h 38"/>
                <a:gd name="T10" fmla="*/ 226 w 226"/>
                <a:gd name="T11" fmla="*/ 19 h 38"/>
                <a:gd name="T12" fmla="*/ 209 w 22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226" h="38">
                  <a:moveTo>
                    <a:pt x="209" y="38"/>
                  </a:moveTo>
                  <a:cubicBezTo>
                    <a:pt x="17" y="38"/>
                    <a:pt x="17" y="38"/>
                    <a:pt x="17" y="38"/>
                  </a:cubicBezTo>
                  <a:cubicBezTo>
                    <a:pt x="7" y="38"/>
                    <a:pt x="0" y="30"/>
                    <a:pt x="0" y="19"/>
                  </a:cubicBezTo>
                  <a:cubicBezTo>
                    <a:pt x="0" y="8"/>
                    <a:pt x="7" y="0"/>
                    <a:pt x="17" y="0"/>
                  </a:cubicBezTo>
                  <a:cubicBezTo>
                    <a:pt x="209" y="0"/>
                    <a:pt x="209" y="0"/>
                    <a:pt x="209" y="0"/>
                  </a:cubicBezTo>
                  <a:cubicBezTo>
                    <a:pt x="218" y="0"/>
                    <a:pt x="226" y="8"/>
                    <a:pt x="226" y="19"/>
                  </a:cubicBezTo>
                  <a:cubicBezTo>
                    <a:pt x="226" y="30"/>
                    <a:pt x="218" y="38"/>
                    <a:pt x="209"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1">
              <a:extLst>
                <a:ext uri="{FF2B5EF4-FFF2-40B4-BE49-F238E27FC236}">
                  <a16:creationId xmlns:a16="http://schemas.microsoft.com/office/drawing/2014/main" id="{87A3FEE6-2FA6-4F41-A634-4CD32C633275}"/>
                </a:ext>
              </a:extLst>
            </p:cNvPr>
            <p:cNvSpPr>
              <a:spLocks/>
            </p:cNvSpPr>
            <p:nvPr/>
          </p:nvSpPr>
          <p:spPr bwMode="auto">
            <a:xfrm>
              <a:off x="2293" y="1197"/>
              <a:ext cx="400" cy="68"/>
            </a:xfrm>
            <a:custGeom>
              <a:avLst/>
              <a:gdLst>
                <a:gd name="T0" fmla="*/ 209 w 226"/>
                <a:gd name="T1" fmla="*/ 38 h 38"/>
                <a:gd name="T2" fmla="*/ 17 w 226"/>
                <a:gd name="T3" fmla="*/ 38 h 38"/>
                <a:gd name="T4" fmla="*/ 0 w 226"/>
                <a:gd name="T5" fmla="*/ 19 h 38"/>
                <a:gd name="T6" fmla="*/ 17 w 226"/>
                <a:gd name="T7" fmla="*/ 0 h 38"/>
                <a:gd name="T8" fmla="*/ 209 w 226"/>
                <a:gd name="T9" fmla="*/ 0 h 38"/>
                <a:gd name="T10" fmla="*/ 226 w 226"/>
                <a:gd name="T11" fmla="*/ 19 h 38"/>
                <a:gd name="T12" fmla="*/ 209 w 22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226" h="38">
                  <a:moveTo>
                    <a:pt x="209" y="38"/>
                  </a:moveTo>
                  <a:cubicBezTo>
                    <a:pt x="17" y="38"/>
                    <a:pt x="17" y="38"/>
                    <a:pt x="17" y="38"/>
                  </a:cubicBezTo>
                  <a:cubicBezTo>
                    <a:pt x="7" y="38"/>
                    <a:pt x="0" y="29"/>
                    <a:pt x="0" y="19"/>
                  </a:cubicBezTo>
                  <a:cubicBezTo>
                    <a:pt x="0" y="8"/>
                    <a:pt x="7" y="0"/>
                    <a:pt x="17" y="0"/>
                  </a:cubicBezTo>
                  <a:cubicBezTo>
                    <a:pt x="209" y="0"/>
                    <a:pt x="209" y="0"/>
                    <a:pt x="209" y="0"/>
                  </a:cubicBezTo>
                  <a:cubicBezTo>
                    <a:pt x="218" y="0"/>
                    <a:pt x="226" y="8"/>
                    <a:pt x="226" y="19"/>
                  </a:cubicBezTo>
                  <a:cubicBezTo>
                    <a:pt x="226" y="29"/>
                    <a:pt x="218" y="38"/>
                    <a:pt x="209"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2">
              <a:extLst>
                <a:ext uri="{FF2B5EF4-FFF2-40B4-BE49-F238E27FC236}">
                  <a16:creationId xmlns:a16="http://schemas.microsoft.com/office/drawing/2014/main" id="{F6E889D0-0184-45E7-9978-5492BECA863D}"/>
                </a:ext>
              </a:extLst>
            </p:cNvPr>
            <p:cNvSpPr>
              <a:spLocks/>
            </p:cNvSpPr>
            <p:nvPr/>
          </p:nvSpPr>
          <p:spPr bwMode="auto">
            <a:xfrm>
              <a:off x="2293" y="1321"/>
              <a:ext cx="400" cy="67"/>
            </a:xfrm>
            <a:custGeom>
              <a:avLst/>
              <a:gdLst>
                <a:gd name="T0" fmla="*/ 209 w 226"/>
                <a:gd name="T1" fmla="*/ 38 h 38"/>
                <a:gd name="T2" fmla="*/ 17 w 226"/>
                <a:gd name="T3" fmla="*/ 38 h 38"/>
                <a:gd name="T4" fmla="*/ 0 w 226"/>
                <a:gd name="T5" fmla="*/ 19 h 38"/>
                <a:gd name="T6" fmla="*/ 17 w 226"/>
                <a:gd name="T7" fmla="*/ 0 h 38"/>
                <a:gd name="T8" fmla="*/ 209 w 226"/>
                <a:gd name="T9" fmla="*/ 0 h 38"/>
                <a:gd name="T10" fmla="*/ 226 w 226"/>
                <a:gd name="T11" fmla="*/ 19 h 38"/>
                <a:gd name="T12" fmla="*/ 209 w 22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226" h="38">
                  <a:moveTo>
                    <a:pt x="209" y="38"/>
                  </a:moveTo>
                  <a:cubicBezTo>
                    <a:pt x="17" y="38"/>
                    <a:pt x="17" y="38"/>
                    <a:pt x="17" y="38"/>
                  </a:cubicBezTo>
                  <a:cubicBezTo>
                    <a:pt x="7" y="38"/>
                    <a:pt x="0" y="28"/>
                    <a:pt x="0" y="19"/>
                  </a:cubicBezTo>
                  <a:cubicBezTo>
                    <a:pt x="0" y="8"/>
                    <a:pt x="7" y="0"/>
                    <a:pt x="17" y="0"/>
                  </a:cubicBezTo>
                  <a:cubicBezTo>
                    <a:pt x="209" y="0"/>
                    <a:pt x="209" y="0"/>
                    <a:pt x="209" y="0"/>
                  </a:cubicBezTo>
                  <a:cubicBezTo>
                    <a:pt x="218" y="0"/>
                    <a:pt x="226" y="8"/>
                    <a:pt x="226" y="19"/>
                  </a:cubicBezTo>
                  <a:cubicBezTo>
                    <a:pt x="226" y="28"/>
                    <a:pt x="218" y="38"/>
                    <a:pt x="209"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3">
              <a:extLst>
                <a:ext uri="{FF2B5EF4-FFF2-40B4-BE49-F238E27FC236}">
                  <a16:creationId xmlns:a16="http://schemas.microsoft.com/office/drawing/2014/main" id="{AF222C22-019B-4545-AFB0-1A15A82BD775}"/>
                </a:ext>
              </a:extLst>
            </p:cNvPr>
            <p:cNvSpPr>
              <a:spLocks noEditPoints="1"/>
            </p:cNvSpPr>
            <p:nvPr/>
          </p:nvSpPr>
          <p:spPr bwMode="auto">
            <a:xfrm>
              <a:off x="2914" y="879"/>
              <a:ext cx="685" cy="707"/>
            </a:xfrm>
            <a:custGeom>
              <a:avLst/>
              <a:gdLst>
                <a:gd name="T0" fmla="*/ 324 w 388"/>
                <a:gd name="T1" fmla="*/ 0 h 400"/>
                <a:gd name="T2" fmla="*/ 64 w 388"/>
                <a:gd name="T3" fmla="*/ 0 h 400"/>
                <a:gd name="T4" fmla="*/ 0 w 388"/>
                <a:gd name="T5" fmla="*/ 65 h 400"/>
                <a:gd name="T6" fmla="*/ 0 w 388"/>
                <a:gd name="T7" fmla="*/ 334 h 400"/>
                <a:gd name="T8" fmla="*/ 64 w 388"/>
                <a:gd name="T9" fmla="*/ 400 h 400"/>
                <a:gd name="T10" fmla="*/ 324 w 388"/>
                <a:gd name="T11" fmla="*/ 400 h 400"/>
                <a:gd name="T12" fmla="*/ 388 w 388"/>
                <a:gd name="T13" fmla="*/ 334 h 400"/>
                <a:gd name="T14" fmla="*/ 388 w 388"/>
                <a:gd name="T15" fmla="*/ 65 h 400"/>
                <a:gd name="T16" fmla="*/ 324 w 388"/>
                <a:gd name="T17" fmla="*/ 0 h 400"/>
                <a:gd name="T18" fmla="*/ 356 w 388"/>
                <a:gd name="T19" fmla="*/ 65 h 400"/>
                <a:gd name="T20" fmla="*/ 356 w 388"/>
                <a:gd name="T21" fmla="*/ 183 h 400"/>
                <a:gd name="T22" fmla="*/ 209 w 388"/>
                <a:gd name="T23" fmla="*/ 183 h 400"/>
                <a:gd name="T24" fmla="*/ 209 w 388"/>
                <a:gd name="T25" fmla="*/ 32 h 400"/>
                <a:gd name="T26" fmla="*/ 324 w 388"/>
                <a:gd name="T27" fmla="*/ 32 h 400"/>
                <a:gd name="T28" fmla="*/ 356 w 388"/>
                <a:gd name="T29" fmla="*/ 65 h 400"/>
                <a:gd name="T30" fmla="*/ 32 w 388"/>
                <a:gd name="T31" fmla="*/ 65 h 400"/>
                <a:gd name="T32" fmla="*/ 64 w 388"/>
                <a:gd name="T33" fmla="*/ 32 h 400"/>
                <a:gd name="T34" fmla="*/ 177 w 388"/>
                <a:gd name="T35" fmla="*/ 32 h 400"/>
                <a:gd name="T36" fmla="*/ 177 w 388"/>
                <a:gd name="T37" fmla="*/ 183 h 400"/>
                <a:gd name="T38" fmla="*/ 32 w 388"/>
                <a:gd name="T39" fmla="*/ 183 h 400"/>
                <a:gd name="T40" fmla="*/ 32 w 388"/>
                <a:gd name="T41" fmla="*/ 65 h 400"/>
                <a:gd name="T42" fmla="*/ 32 w 388"/>
                <a:gd name="T43" fmla="*/ 65 h 400"/>
                <a:gd name="T44" fmla="*/ 32 w 388"/>
                <a:gd name="T45" fmla="*/ 334 h 400"/>
                <a:gd name="T46" fmla="*/ 32 w 388"/>
                <a:gd name="T47" fmla="*/ 216 h 400"/>
                <a:gd name="T48" fmla="*/ 177 w 388"/>
                <a:gd name="T49" fmla="*/ 216 h 400"/>
                <a:gd name="T50" fmla="*/ 177 w 388"/>
                <a:gd name="T51" fmla="*/ 362 h 400"/>
                <a:gd name="T52" fmla="*/ 178 w 388"/>
                <a:gd name="T53" fmla="*/ 367 h 400"/>
                <a:gd name="T54" fmla="*/ 64 w 388"/>
                <a:gd name="T55" fmla="*/ 367 h 400"/>
                <a:gd name="T56" fmla="*/ 32 w 388"/>
                <a:gd name="T57" fmla="*/ 334 h 400"/>
                <a:gd name="T58" fmla="*/ 324 w 388"/>
                <a:gd name="T59" fmla="*/ 367 h 400"/>
                <a:gd name="T60" fmla="*/ 209 w 388"/>
                <a:gd name="T61" fmla="*/ 367 h 400"/>
                <a:gd name="T62" fmla="*/ 209 w 388"/>
                <a:gd name="T63" fmla="*/ 362 h 400"/>
                <a:gd name="T64" fmla="*/ 209 w 388"/>
                <a:gd name="T65" fmla="*/ 216 h 400"/>
                <a:gd name="T66" fmla="*/ 356 w 388"/>
                <a:gd name="T67" fmla="*/ 216 h 400"/>
                <a:gd name="T68" fmla="*/ 356 w 388"/>
                <a:gd name="T69" fmla="*/ 334 h 400"/>
                <a:gd name="T70" fmla="*/ 324 w 388"/>
                <a:gd name="T71" fmla="*/ 367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8" h="400">
                  <a:moveTo>
                    <a:pt x="324" y="0"/>
                  </a:moveTo>
                  <a:cubicBezTo>
                    <a:pt x="64" y="0"/>
                    <a:pt x="64" y="0"/>
                    <a:pt x="64" y="0"/>
                  </a:cubicBezTo>
                  <a:cubicBezTo>
                    <a:pt x="29" y="0"/>
                    <a:pt x="0" y="28"/>
                    <a:pt x="0" y="65"/>
                  </a:cubicBezTo>
                  <a:cubicBezTo>
                    <a:pt x="0" y="334"/>
                    <a:pt x="0" y="334"/>
                    <a:pt x="0" y="334"/>
                  </a:cubicBezTo>
                  <a:cubicBezTo>
                    <a:pt x="0" y="370"/>
                    <a:pt x="29" y="400"/>
                    <a:pt x="64" y="400"/>
                  </a:cubicBezTo>
                  <a:cubicBezTo>
                    <a:pt x="324" y="400"/>
                    <a:pt x="324" y="400"/>
                    <a:pt x="324" y="400"/>
                  </a:cubicBezTo>
                  <a:cubicBezTo>
                    <a:pt x="359" y="400"/>
                    <a:pt x="388" y="370"/>
                    <a:pt x="388" y="334"/>
                  </a:cubicBezTo>
                  <a:cubicBezTo>
                    <a:pt x="388" y="65"/>
                    <a:pt x="388" y="65"/>
                    <a:pt x="388" y="65"/>
                  </a:cubicBezTo>
                  <a:cubicBezTo>
                    <a:pt x="388" y="28"/>
                    <a:pt x="359" y="0"/>
                    <a:pt x="324" y="0"/>
                  </a:cubicBezTo>
                  <a:close/>
                  <a:moveTo>
                    <a:pt x="356" y="65"/>
                  </a:moveTo>
                  <a:cubicBezTo>
                    <a:pt x="356" y="183"/>
                    <a:pt x="356" y="183"/>
                    <a:pt x="356" y="183"/>
                  </a:cubicBezTo>
                  <a:cubicBezTo>
                    <a:pt x="209" y="183"/>
                    <a:pt x="209" y="183"/>
                    <a:pt x="209" y="183"/>
                  </a:cubicBezTo>
                  <a:cubicBezTo>
                    <a:pt x="209" y="32"/>
                    <a:pt x="209" y="32"/>
                    <a:pt x="209" y="32"/>
                  </a:cubicBezTo>
                  <a:cubicBezTo>
                    <a:pt x="324" y="32"/>
                    <a:pt x="324" y="32"/>
                    <a:pt x="324" y="32"/>
                  </a:cubicBezTo>
                  <a:cubicBezTo>
                    <a:pt x="341" y="32"/>
                    <a:pt x="356" y="47"/>
                    <a:pt x="356" y="65"/>
                  </a:cubicBezTo>
                  <a:close/>
                  <a:moveTo>
                    <a:pt x="32" y="65"/>
                  </a:moveTo>
                  <a:cubicBezTo>
                    <a:pt x="32" y="47"/>
                    <a:pt x="46" y="32"/>
                    <a:pt x="64" y="32"/>
                  </a:cubicBezTo>
                  <a:cubicBezTo>
                    <a:pt x="177" y="32"/>
                    <a:pt x="177" y="32"/>
                    <a:pt x="177" y="32"/>
                  </a:cubicBezTo>
                  <a:cubicBezTo>
                    <a:pt x="177" y="183"/>
                    <a:pt x="177" y="183"/>
                    <a:pt x="177" y="183"/>
                  </a:cubicBezTo>
                  <a:cubicBezTo>
                    <a:pt x="32" y="183"/>
                    <a:pt x="32" y="183"/>
                    <a:pt x="32" y="183"/>
                  </a:cubicBezTo>
                  <a:cubicBezTo>
                    <a:pt x="32" y="65"/>
                    <a:pt x="32" y="65"/>
                    <a:pt x="32" y="65"/>
                  </a:cubicBezTo>
                  <a:cubicBezTo>
                    <a:pt x="32" y="65"/>
                    <a:pt x="32" y="65"/>
                    <a:pt x="32" y="65"/>
                  </a:cubicBezTo>
                  <a:close/>
                  <a:moveTo>
                    <a:pt x="32" y="334"/>
                  </a:moveTo>
                  <a:cubicBezTo>
                    <a:pt x="32" y="216"/>
                    <a:pt x="32" y="216"/>
                    <a:pt x="32" y="216"/>
                  </a:cubicBezTo>
                  <a:cubicBezTo>
                    <a:pt x="177" y="216"/>
                    <a:pt x="177" y="216"/>
                    <a:pt x="177" y="216"/>
                  </a:cubicBezTo>
                  <a:cubicBezTo>
                    <a:pt x="177" y="362"/>
                    <a:pt x="177" y="362"/>
                    <a:pt x="177" y="362"/>
                  </a:cubicBezTo>
                  <a:cubicBezTo>
                    <a:pt x="177" y="364"/>
                    <a:pt x="178" y="365"/>
                    <a:pt x="178" y="367"/>
                  </a:cubicBezTo>
                  <a:cubicBezTo>
                    <a:pt x="64" y="367"/>
                    <a:pt x="64" y="367"/>
                    <a:pt x="64" y="367"/>
                  </a:cubicBezTo>
                  <a:cubicBezTo>
                    <a:pt x="46" y="367"/>
                    <a:pt x="32" y="352"/>
                    <a:pt x="32" y="334"/>
                  </a:cubicBezTo>
                  <a:close/>
                  <a:moveTo>
                    <a:pt x="324" y="367"/>
                  </a:moveTo>
                  <a:cubicBezTo>
                    <a:pt x="209" y="367"/>
                    <a:pt x="209" y="367"/>
                    <a:pt x="209" y="367"/>
                  </a:cubicBezTo>
                  <a:cubicBezTo>
                    <a:pt x="209" y="365"/>
                    <a:pt x="209" y="364"/>
                    <a:pt x="209" y="362"/>
                  </a:cubicBezTo>
                  <a:cubicBezTo>
                    <a:pt x="209" y="216"/>
                    <a:pt x="209" y="216"/>
                    <a:pt x="209" y="216"/>
                  </a:cubicBezTo>
                  <a:cubicBezTo>
                    <a:pt x="356" y="216"/>
                    <a:pt x="356" y="216"/>
                    <a:pt x="356" y="216"/>
                  </a:cubicBezTo>
                  <a:cubicBezTo>
                    <a:pt x="356" y="334"/>
                    <a:pt x="356" y="334"/>
                    <a:pt x="356" y="334"/>
                  </a:cubicBezTo>
                  <a:cubicBezTo>
                    <a:pt x="356" y="352"/>
                    <a:pt x="341" y="367"/>
                    <a:pt x="324" y="3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4">
              <a:extLst>
                <a:ext uri="{FF2B5EF4-FFF2-40B4-BE49-F238E27FC236}">
                  <a16:creationId xmlns:a16="http://schemas.microsoft.com/office/drawing/2014/main" id="{5A4A714C-77F8-44F1-91B3-3E7C1A1D0839}"/>
                </a:ext>
              </a:extLst>
            </p:cNvPr>
            <p:cNvSpPr>
              <a:spLocks/>
            </p:cNvSpPr>
            <p:nvPr/>
          </p:nvSpPr>
          <p:spPr bwMode="auto">
            <a:xfrm>
              <a:off x="2293" y="1830"/>
              <a:ext cx="223" cy="377"/>
            </a:xfrm>
            <a:custGeom>
              <a:avLst/>
              <a:gdLst>
                <a:gd name="T0" fmla="*/ 126 w 126"/>
                <a:gd name="T1" fmla="*/ 0 h 213"/>
                <a:gd name="T2" fmla="*/ 27 w 126"/>
                <a:gd name="T3" fmla="*/ 0 h 213"/>
                <a:gd name="T4" fmla="*/ 0 w 126"/>
                <a:gd name="T5" fmla="*/ 26 h 213"/>
                <a:gd name="T6" fmla="*/ 0 w 126"/>
                <a:gd name="T7" fmla="*/ 186 h 213"/>
                <a:gd name="T8" fmla="*/ 27 w 126"/>
                <a:gd name="T9" fmla="*/ 213 h 213"/>
                <a:gd name="T10" fmla="*/ 126 w 126"/>
                <a:gd name="T11" fmla="*/ 213 h 213"/>
                <a:gd name="T12" fmla="*/ 126 w 126"/>
                <a:gd name="T13" fmla="*/ 0 h 213"/>
                <a:gd name="T14" fmla="*/ 126 w 126"/>
                <a:gd name="T15" fmla="*/ 0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213">
                  <a:moveTo>
                    <a:pt x="126" y="0"/>
                  </a:moveTo>
                  <a:cubicBezTo>
                    <a:pt x="27" y="0"/>
                    <a:pt x="27" y="0"/>
                    <a:pt x="27" y="0"/>
                  </a:cubicBezTo>
                  <a:cubicBezTo>
                    <a:pt x="12" y="0"/>
                    <a:pt x="0" y="12"/>
                    <a:pt x="0" y="26"/>
                  </a:cubicBezTo>
                  <a:cubicBezTo>
                    <a:pt x="0" y="186"/>
                    <a:pt x="0" y="186"/>
                    <a:pt x="0" y="186"/>
                  </a:cubicBezTo>
                  <a:cubicBezTo>
                    <a:pt x="0" y="201"/>
                    <a:pt x="12" y="213"/>
                    <a:pt x="27" y="213"/>
                  </a:cubicBezTo>
                  <a:cubicBezTo>
                    <a:pt x="126" y="213"/>
                    <a:pt x="126" y="213"/>
                    <a:pt x="126" y="213"/>
                  </a:cubicBezTo>
                  <a:cubicBezTo>
                    <a:pt x="126" y="0"/>
                    <a:pt x="126" y="0"/>
                    <a:pt x="126" y="0"/>
                  </a:cubicBezTo>
                  <a:cubicBezTo>
                    <a:pt x="126" y="0"/>
                    <a:pt x="126" y="0"/>
                    <a:pt x="126"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5">
              <a:extLst>
                <a:ext uri="{FF2B5EF4-FFF2-40B4-BE49-F238E27FC236}">
                  <a16:creationId xmlns:a16="http://schemas.microsoft.com/office/drawing/2014/main" id="{F5044E1C-9F0C-429F-98C6-8D91A1366142}"/>
                </a:ext>
              </a:extLst>
            </p:cNvPr>
            <p:cNvSpPr>
              <a:spLocks/>
            </p:cNvSpPr>
            <p:nvPr/>
          </p:nvSpPr>
          <p:spPr bwMode="auto">
            <a:xfrm>
              <a:off x="2581" y="1830"/>
              <a:ext cx="89" cy="377"/>
            </a:xfrm>
            <a:custGeom>
              <a:avLst/>
              <a:gdLst>
                <a:gd name="T0" fmla="*/ 27 w 50"/>
                <a:gd name="T1" fmla="*/ 0 h 213"/>
                <a:gd name="T2" fmla="*/ 0 w 50"/>
                <a:gd name="T3" fmla="*/ 0 h 213"/>
                <a:gd name="T4" fmla="*/ 0 w 50"/>
                <a:gd name="T5" fmla="*/ 0 h 213"/>
                <a:gd name="T6" fmla="*/ 0 w 50"/>
                <a:gd name="T7" fmla="*/ 213 h 213"/>
                <a:gd name="T8" fmla="*/ 27 w 50"/>
                <a:gd name="T9" fmla="*/ 213 h 213"/>
                <a:gd name="T10" fmla="*/ 50 w 50"/>
                <a:gd name="T11" fmla="*/ 186 h 213"/>
                <a:gd name="T12" fmla="*/ 50 w 50"/>
                <a:gd name="T13" fmla="*/ 26 h 213"/>
                <a:gd name="T14" fmla="*/ 27 w 50"/>
                <a:gd name="T15" fmla="*/ 0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13">
                  <a:moveTo>
                    <a:pt x="27" y="0"/>
                  </a:moveTo>
                  <a:cubicBezTo>
                    <a:pt x="0" y="0"/>
                    <a:pt x="0" y="0"/>
                    <a:pt x="0" y="0"/>
                  </a:cubicBezTo>
                  <a:cubicBezTo>
                    <a:pt x="0" y="0"/>
                    <a:pt x="0" y="0"/>
                    <a:pt x="0" y="0"/>
                  </a:cubicBezTo>
                  <a:cubicBezTo>
                    <a:pt x="0" y="213"/>
                    <a:pt x="0" y="213"/>
                    <a:pt x="0" y="213"/>
                  </a:cubicBezTo>
                  <a:cubicBezTo>
                    <a:pt x="27" y="213"/>
                    <a:pt x="27" y="213"/>
                    <a:pt x="27" y="213"/>
                  </a:cubicBezTo>
                  <a:cubicBezTo>
                    <a:pt x="40" y="213"/>
                    <a:pt x="50" y="201"/>
                    <a:pt x="50" y="186"/>
                  </a:cubicBezTo>
                  <a:cubicBezTo>
                    <a:pt x="50" y="26"/>
                    <a:pt x="50" y="26"/>
                    <a:pt x="50" y="26"/>
                  </a:cubicBezTo>
                  <a:cubicBezTo>
                    <a:pt x="50" y="12"/>
                    <a:pt x="40" y="0"/>
                    <a:pt x="27"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16">
              <a:extLst>
                <a:ext uri="{FF2B5EF4-FFF2-40B4-BE49-F238E27FC236}">
                  <a16:creationId xmlns:a16="http://schemas.microsoft.com/office/drawing/2014/main" id="{84FC76AA-4977-4379-A126-6FB163D246F9}"/>
                </a:ext>
              </a:extLst>
            </p:cNvPr>
            <p:cNvSpPr>
              <a:spLocks noChangeArrowheads="1"/>
            </p:cNvSpPr>
            <p:nvPr/>
          </p:nvSpPr>
          <p:spPr bwMode="auto">
            <a:xfrm>
              <a:off x="3126" y="1889"/>
              <a:ext cx="259" cy="260"/>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2" name="Group 53">
            <a:extLst>
              <a:ext uri="{FF2B5EF4-FFF2-40B4-BE49-F238E27FC236}">
                <a16:creationId xmlns:a16="http://schemas.microsoft.com/office/drawing/2014/main" id="{63FD4EF9-8D39-424B-8796-A495DF9420B9}"/>
              </a:ext>
            </a:extLst>
          </p:cNvPr>
          <p:cNvGrpSpPr>
            <a:grpSpLocks noChangeAspect="1"/>
          </p:cNvGrpSpPr>
          <p:nvPr/>
        </p:nvGrpSpPr>
        <p:grpSpPr bwMode="auto">
          <a:xfrm>
            <a:off x="5395466" y="2623043"/>
            <a:ext cx="196571" cy="196725"/>
            <a:chOff x="1992" y="731"/>
            <a:chExt cx="2544" cy="2546"/>
          </a:xfrm>
        </p:grpSpPr>
        <p:sp>
          <p:nvSpPr>
            <p:cNvPr id="123" name="Oval 54">
              <a:extLst>
                <a:ext uri="{FF2B5EF4-FFF2-40B4-BE49-F238E27FC236}">
                  <a16:creationId xmlns:a16="http://schemas.microsoft.com/office/drawing/2014/main" id="{82A04F85-46D1-46FE-A78A-FED7D69F8029}"/>
                </a:ext>
              </a:extLst>
            </p:cNvPr>
            <p:cNvSpPr>
              <a:spLocks noChangeArrowheads="1"/>
            </p:cNvSpPr>
            <p:nvPr/>
          </p:nvSpPr>
          <p:spPr bwMode="auto">
            <a:xfrm>
              <a:off x="1992" y="731"/>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55">
              <a:extLst>
                <a:ext uri="{FF2B5EF4-FFF2-40B4-BE49-F238E27FC236}">
                  <a16:creationId xmlns:a16="http://schemas.microsoft.com/office/drawing/2014/main" id="{A242EF92-FF3E-49E1-9266-AE0FFBFB0C62}"/>
                </a:ext>
              </a:extLst>
            </p:cNvPr>
            <p:cNvSpPr>
              <a:spLocks/>
            </p:cNvSpPr>
            <p:nvPr/>
          </p:nvSpPr>
          <p:spPr bwMode="auto">
            <a:xfrm>
              <a:off x="2080" y="2469"/>
              <a:ext cx="75" cy="157"/>
            </a:xfrm>
            <a:custGeom>
              <a:avLst/>
              <a:gdLst>
                <a:gd name="T0" fmla="*/ 0 w 42"/>
                <a:gd name="T1" fmla="*/ 0 h 89"/>
                <a:gd name="T2" fmla="*/ 42 w 42"/>
                <a:gd name="T3" fmla="*/ 89 h 89"/>
                <a:gd name="T4" fmla="*/ 42 w 42"/>
                <a:gd name="T5" fmla="*/ 83 h 89"/>
                <a:gd name="T6" fmla="*/ 0 w 42"/>
                <a:gd name="T7" fmla="*/ 0 h 89"/>
              </a:gdLst>
              <a:ahLst/>
              <a:cxnLst>
                <a:cxn ang="0">
                  <a:pos x="T0" y="T1"/>
                </a:cxn>
                <a:cxn ang="0">
                  <a:pos x="T2" y="T3"/>
                </a:cxn>
                <a:cxn ang="0">
                  <a:pos x="T4" y="T5"/>
                </a:cxn>
                <a:cxn ang="0">
                  <a:pos x="T6" y="T7"/>
                </a:cxn>
              </a:cxnLst>
              <a:rect l="0" t="0" r="r" b="b"/>
              <a:pathLst>
                <a:path w="42" h="89">
                  <a:moveTo>
                    <a:pt x="0" y="0"/>
                  </a:moveTo>
                  <a:cubicBezTo>
                    <a:pt x="12" y="31"/>
                    <a:pt x="26" y="61"/>
                    <a:pt x="42" y="89"/>
                  </a:cubicBezTo>
                  <a:cubicBezTo>
                    <a:pt x="42" y="87"/>
                    <a:pt x="42" y="85"/>
                    <a:pt x="42" y="83"/>
                  </a:cubicBezTo>
                  <a:cubicBezTo>
                    <a:pt x="42" y="47"/>
                    <a:pt x="25" y="1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56">
              <a:extLst>
                <a:ext uri="{FF2B5EF4-FFF2-40B4-BE49-F238E27FC236}">
                  <a16:creationId xmlns:a16="http://schemas.microsoft.com/office/drawing/2014/main" id="{38BEA80D-B1C0-4077-BE35-B7312A7880A3}"/>
                </a:ext>
              </a:extLst>
            </p:cNvPr>
            <p:cNvSpPr>
              <a:spLocks noEditPoints="1"/>
            </p:cNvSpPr>
            <p:nvPr/>
          </p:nvSpPr>
          <p:spPr bwMode="auto">
            <a:xfrm>
              <a:off x="2400"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8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57">
              <a:extLst>
                <a:ext uri="{FF2B5EF4-FFF2-40B4-BE49-F238E27FC236}">
                  <a16:creationId xmlns:a16="http://schemas.microsoft.com/office/drawing/2014/main" id="{57014D7A-5EB3-4C06-9AAD-6AF01998F7CD}"/>
                </a:ext>
              </a:extLst>
            </p:cNvPr>
            <p:cNvSpPr>
              <a:spLocks noEditPoints="1"/>
            </p:cNvSpPr>
            <p:nvPr/>
          </p:nvSpPr>
          <p:spPr bwMode="auto">
            <a:xfrm>
              <a:off x="2718"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58">
              <a:extLst>
                <a:ext uri="{FF2B5EF4-FFF2-40B4-BE49-F238E27FC236}">
                  <a16:creationId xmlns:a16="http://schemas.microsoft.com/office/drawing/2014/main" id="{70A8DB93-69ED-4E61-8851-BA16959D8CDE}"/>
                </a:ext>
              </a:extLst>
            </p:cNvPr>
            <p:cNvSpPr>
              <a:spLocks/>
            </p:cNvSpPr>
            <p:nvPr/>
          </p:nvSpPr>
          <p:spPr bwMode="auto">
            <a:xfrm>
              <a:off x="2185" y="2453"/>
              <a:ext cx="192" cy="331"/>
            </a:xfrm>
            <a:custGeom>
              <a:avLst/>
              <a:gdLst>
                <a:gd name="T0" fmla="*/ 109 w 109"/>
                <a:gd name="T1" fmla="*/ 168 h 187"/>
                <a:gd name="T2" fmla="*/ 90 w 109"/>
                <a:gd name="T3" fmla="*/ 149 h 187"/>
                <a:gd name="T4" fmla="*/ 72 w 109"/>
                <a:gd name="T5" fmla="*/ 149 h 187"/>
                <a:gd name="T6" fmla="*/ 72 w 109"/>
                <a:gd name="T7" fmla="*/ 20 h 187"/>
                <a:gd name="T8" fmla="*/ 73 w 109"/>
                <a:gd name="T9" fmla="*/ 19 h 187"/>
                <a:gd name="T10" fmla="*/ 54 w 109"/>
                <a:gd name="T11" fmla="*/ 0 h 187"/>
                <a:gd name="T12" fmla="*/ 53 w 109"/>
                <a:gd name="T13" fmla="*/ 0 h 187"/>
                <a:gd name="T14" fmla="*/ 19 w 109"/>
                <a:gd name="T15" fmla="*/ 1 h 187"/>
                <a:gd name="T16" fmla="*/ 1 w 109"/>
                <a:gd name="T17" fmla="*/ 20 h 187"/>
                <a:gd name="T18" fmla="*/ 20 w 109"/>
                <a:gd name="T19" fmla="*/ 38 h 187"/>
                <a:gd name="T20" fmla="*/ 20 w 109"/>
                <a:gd name="T21" fmla="*/ 38 h 187"/>
                <a:gd name="T22" fmla="*/ 35 w 109"/>
                <a:gd name="T23" fmla="*/ 38 h 187"/>
                <a:gd name="T24" fmla="*/ 35 w 109"/>
                <a:gd name="T25" fmla="*/ 149 h 187"/>
                <a:gd name="T26" fmla="*/ 16 w 109"/>
                <a:gd name="T27" fmla="*/ 149 h 187"/>
                <a:gd name="T28" fmla="*/ 14 w 109"/>
                <a:gd name="T29" fmla="*/ 149 h 187"/>
                <a:gd name="T30" fmla="*/ 42 w 109"/>
                <a:gd name="T31" fmla="*/ 187 h 187"/>
                <a:gd name="T32" fmla="*/ 90 w 109"/>
                <a:gd name="T33" fmla="*/ 187 h 187"/>
                <a:gd name="T34" fmla="*/ 109 w 109"/>
                <a:gd name="T35"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87">
                  <a:moveTo>
                    <a:pt x="109" y="168"/>
                  </a:moveTo>
                  <a:cubicBezTo>
                    <a:pt x="109" y="157"/>
                    <a:pt x="100" y="149"/>
                    <a:pt x="90" y="149"/>
                  </a:cubicBezTo>
                  <a:cubicBezTo>
                    <a:pt x="72" y="149"/>
                    <a:pt x="72" y="149"/>
                    <a:pt x="72" y="149"/>
                  </a:cubicBezTo>
                  <a:cubicBezTo>
                    <a:pt x="72" y="20"/>
                    <a:pt x="72" y="20"/>
                    <a:pt x="72" y="20"/>
                  </a:cubicBezTo>
                  <a:cubicBezTo>
                    <a:pt x="72" y="20"/>
                    <a:pt x="73" y="19"/>
                    <a:pt x="73" y="19"/>
                  </a:cubicBezTo>
                  <a:cubicBezTo>
                    <a:pt x="72" y="8"/>
                    <a:pt x="64" y="0"/>
                    <a:pt x="54" y="0"/>
                  </a:cubicBezTo>
                  <a:cubicBezTo>
                    <a:pt x="54" y="0"/>
                    <a:pt x="53" y="0"/>
                    <a:pt x="53" y="0"/>
                  </a:cubicBezTo>
                  <a:cubicBezTo>
                    <a:pt x="19" y="1"/>
                    <a:pt x="19" y="1"/>
                    <a:pt x="19" y="1"/>
                  </a:cubicBezTo>
                  <a:cubicBezTo>
                    <a:pt x="9" y="1"/>
                    <a:pt x="0" y="10"/>
                    <a:pt x="1" y="20"/>
                  </a:cubicBezTo>
                  <a:cubicBezTo>
                    <a:pt x="1" y="30"/>
                    <a:pt x="9" y="38"/>
                    <a:pt x="20" y="38"/>
                  </a:cubicBezTo>
                  <a:cubicBezTo>
                    <a:pt x="20" y="38"/>
                    <a:pt x="20" y="38"/>
                    <a:pt x="20" y="38"/>
                  </a:cubicBezTo>
                  <a:cubicBezTo>
                    <a:pt x="35" y="38"/>
                    <a:pt x="35" y="38"/>
                    <a:pt x="35" y="38"/>
                  </a:cubicBezTo>
                  <a:cubicBezTo>
                    <a:pt x="35" y="149"/>
                    <a:pt x="35" y="149"/>
                    <a:pt x="35" y="149"/>
                  </a:cubicBezTo>
                  <a:cubicBezTo>
                    <a:pt x="16" y="149"/>
                    <a:pt x="16" y="149"/>
                    <a:pt x="16" y="149"/>
                  </a:cubicBezTo>
                  <a:cubicBezTo>
                    <a:pt x="15" y="149"/>
                    <a:pt x="15" y="149"/>
                    <a:pt x="14" y="149"/>
                  </a:cubicBezTo>
                  <a:cubicBezTo>
                    <a:pt x="23" y="162"/>
                    <a:pt x="32" y="174"/>
                    <a:pt x="42" y="187"/>
                  </a:cubicBezTo>
                  <a:cubicBezTo>
                    <a:pt x="90" y="187"/>
                    <a:pt x="90" y="187"/>
                    <a:pt x="90" y="187"/>
                  </a:cubicBezTo>
                  <a:cubicBezTo>
                    <a:pt x="100" y="187"/>
                    <a:pt x="109" y="178"/>
                    <a:pt x="109" y="16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59">
              <a:extLst>
                <a:ext uri="{FF2B5EF4-FFF2-40B4-BE49-F238E27FC236}">
                  <a16:creationId xmlns:a16="http://schemas.microsoft.com/office/drawing/2014/main" id="{B0F6B1F6-996A-4D12-BACE-7EE3DD2981B5}"/>
                </a:ext>
              </a:extLst>
            </p:cNvPr>
            <p:cNvSpPr>
              <a:spLocks noEditPoints="1"/>
            </p:cNvSpPr>
            <p:nvPr/>
          </p:nvSpPr>
          <p:spPr bwMode="auto">
            <a:xfrm>
              <a:off x="3238" y="2451"/>
              <a:ext cx="275"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8 w 156"/>
                <a:gd name="T13" fmla="*/ 93 h 187"/>
                <a:gd name="T14" fmla="*/ 78 w 156"/>
                <a:gd name="T15" fmla="*/ 149 h 187"/>
                <a:gd name="T16" fmla="*/ 37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60">
              <a:extLst>
                <a:ext uri="{FF2B5EF4-FFF2-40B4-BE49-F238E27FC236}">
                  <a16:creationId xmlns:a16="http://schemas.microsoft.com/office/drawing/2014/main" id="{E4D05C2E-9989-415B-84F8-0301E7AD057A}"/>
                </a:ext>
              </a:extLst>
            </p:cNvPr>
            <p:cNvSpPr>
              <a:spLocks/>
            </p:cNvSpPr>
            <p:nvPr/>
          </p:nvSpPr>
          <p:spPr bwMode="auto">
            <a:xfrm>
              <a:off x="3015" y="2453"/>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8 h 187"/>
                <a:gd name="T24" fmla="*/ 23 w 112"/>
                <a:gd name="T25" fmla="*/ 38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7"/>
                    <a:pt x="104" y="149"/>
                    <a:pt x="93" y="149"/>
                  </a:cubicBez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61">
              <a:extLst>
                <a:ext uri="{FF2B5EF4-FFF2-40B4-BE49-F238E27FC236}">
                  <a16:creationId xmlns:a16="http://schemas.microsoft.com/office/drawing/2014/main" id="{0BEF6F17-7D60-41C5-AA19-8960FD9DA057}"/>
                </a:ext>
              </a:extLst>
            </p:cNvPr>
            <p:cNvSpPr>
              <a:spLocks noEditPoints="1"/>
            </p:cNvSpPr>
            <p:nvPr/>
          </p:nvSpPr>
          <p:spPr bwMode="auto">
            <a:xfrm>
              <a:off x="3759" y="2451"/>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62">
              <a:extLst>
                <a:ext uri="{FF2B5EF4-FFF2-40B4-BE49-F238E27FC236}">
                  <a16:creationId xmlns:a16="http://schemas.microsoft.com/office/drawing/2014/main" id="{A0ECC24F-7A5F-4921-99A5-F99DD7A0CB24}"/>
                </a:ext>
              </a:extLst>
            </p:cNvPr>
            <p:cNvSpPr>
              <a:spLocks/>
            </p:cNvSpPr>
            <p:nvPr/>
          </p:nvSpPr>
          <p:spPr bwMode="auto">
            <a:xfrm>
              <a:off x="4296" y="2686"/>
              <a:ext cx="42" cy="62"/>
            </a:xfrm>
            <a:custGeom>
              <a:avLst/>
              <a:gdLst>
                <a:gd name="T0" fmla="*/ 24 w 24"/>
                <a:gd name="T1" fmla="*/ 0 h 35"/>
                <a:gd name="T2" fmla="*/ 0 w 24"/>
                <a:gd name="T3" fmla="*/ 35 h 35"/>
                <a:gd name="T4" fmla="*/ 24 w 24"/>
                <a:gd name="T5" fmla="*/ 0 h 35"/>
              </a:gdLst>
              <a:ahLst/>
              <a:cxnLst>
                <a:cxn ang="0">
                  <a:pos x="T0" y="T1"/>
                </a:cxn>
                <a:cxn ang="0">
                  <a:pos x="T2" y="T3"/>
                </a:cxn>
                <a:cxn ang="0">
                  <a:pos x="T4" y="T5"/>
                </a:cxn>
              </a:cxnLst>
              <a:rect l="0" t="0" r="r" b="b"/>
              <a:pathLst>
                <a:path w="24" h="35">
                  <a:moveTo>
                    <a:pt x="24" y="0"/>
                  </a:moveTo>
                  <a:cubicBezTo>
                    <a:pt x="16" y="12"/>
                    <a:pt x="8" y="24"/>
                    <a:pt x="0" y="35"/>
                  </a:cubicBezTo>
                  <a:cubicBezTo>
                    <a:pt x="10" y="26"/>
                    <a:pt x="18" y="14"/>
                    <a:pt x="24"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63">
              <a:extLst>
                <a:ext uri="{FF2B5EF4-FFF2-40B4-BE49-F238E27FC236}">
                  <a16:creationId xmlns:a16="http://schemas.microsoft.com/office/drawing/2014/main" id="{4AF88143-5162-4967-BA94-855EEF4E39AB}"/>
                </a:ext>
              </a:extLst>
            </p:cNvPr>
            <p:cNvSpPr>
              <a:spLocks noEditPoints="1"/>
            </p:cNvSpPr>
            <p:nvPr/>
          </p:nvSpPr>
          <p:spPr bwMode="auto">
            <a:xfrm>
              <a:off x="4075" y="2451"/>
              <a:ext cx="276" cy="331"/>
            </a:xfrm>
            <a:custGeom>
              <a:avLst/>
              <a:gdLst>
                <a:gd name="T0" fmla="*/ 78 w 156"/>
                <a:gd name="T1" fmla="*/ 0 h 187"/>
                <a:gd name="T2" fmla="*/ 0 w 156"/>
                <a:gd name="T3" fmla="*/ 93 h 187"/>
                <a:gd name="T4" fmla="*/ 78 w 156"/>
                <a:gd name="T5" fmla="*/ 187 h 187"/>
                <a:gd name="T6" fmla="*/ 125 w 156"/>
                <a:gd name="T7" fmla="*/ 168 h 187"/>
                <a:gd name="T8" fmla="*/ 149 w 156"/>
                <a:gd name="T9" fmla="*/ 133 h 187"/>
                <a:gd name="T10" fmla="*/ 156 w 156"/>
                <a:gd name="T11" fmla="*/ 93 h 187"/>
                <a:gd name="T12" fmla="*/ 78 w 156"/>
                <a:gd name="T13" fmla="*/ 0 h 187"/>
                <a:gd name="T14" fmla="*/ 78 w 156"/>
                <a:gd name="T15" fmla="*/ 149 h 187"/>
                <a:gd name="T16" fmla="*/ 38 w 156"/>
                <a:gd name="T17" fmla="*/ 93 h 187"/>
                <a:gd name="T18" fmla="*/ 78 w 156"/>
                <a:gd name="T19" fmla="*/ 38 h 187"/>
                <a:gd name="T20" fmla="*/ 119 w 156"/>
                <a:gd name="T21" fmla="*/ 93 h 187"/>
                <a:gd name="T22" fmla="*/ 78 w 156"/>
                <a:gd name="T23"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78" y="0"/>
                  </a:moveTo>
                  <a:cubicBezTo>
                    <a:pt x="35" y="0"/>
                    <a:pt x="0" y="42"/>
                    <a:pt x="0" y="93"/>
                  </a:cubicBezTo>
                  <a:cubicBezTo>
                    <a:pt x="0" y="145"/>
                    <a:pt x="35" y="187"/>
                    <a:pt x="78" y="187"/>
                  </a:cubicBezTo>
                  <a:cubicBezTo>
                    <a:pt x="96" y="187"/>
                    <a:pt x="112" y="180"/>
                    <a:pt x="125" y="168"/>
                  </a:cubicBezTo>
                  <a:cubicBezTo>
                    <a:pt x="133" y="157"/>
                    <a:pt x="141" y="145"/>
                    <a:pt x="149" y="133"/>
                  </a:cubicBezTo>
                  <a:cubicBezTo>
                    <a:pt x="154" y="121"/>
                    <a:pt x="156" y="107"/>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64">
              <a:extLst>
                <a:ext uri="{FF2B5EF4-FFF2-40B4-BE49-F238E27FC236}">
                  <a16:creationId xmlns:a16="http://schemas.microsoft.com/office/drawing/2014/main" id="{EA93C718-3DEC-4A24-A434-3B0F84E75DA9}"/>
                </a:ext>
              </a:extLst>
            </p:cNvPr>
            <p:cNvSpPr>
              <a:spLocks/>
            </p:cNvSpPr>
            <p:nvPr/>
          </p:nvSpPr>
          <p:spPr bwMode="auto">
            <a:xfrm>
              <a:off x="3536" y="2453"/>
              <a:ext cx="198" cy="331"/>
            </a:xfrm>
            <a:custGeom>
              <a:avLst/>
              <a:gdLst>
                <a:gd name="T0" fmla="*/ 93 w 112"/>
                <a:gd name="T1" fmla="*/ 149 h 187"/>
                <a:gd name="T2" fmla="*/ 76 w 112"/>
                <a:gd name="T3" fmla="*/ 149 h 187"/>
                <a:gd name="T4" fmla="*/ 76 w 112"/>
                <a:gd name="T5" fmla="*/ 20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65">
              <a:extLst>
                <a:ext uri="{FF2B5EF4-FFF2-40B4-BE49-F238E27FC236}">
                  <a16:creationId xmlns:a16="http://schemas.microsoft.com/office/drawing/2014/main" id="{C3F8FE32-642A-4EBC-92A5-F4EBDC2F74CA}"/>
                </a:ext>
              </a:extLst>
            </p:cNvPr>
            <p:cNvSpPr>
              <a:spLocks noEditPoints="1"/>
            </p:cNvSpPr>
            <p:nvPr/>
          </p:nvSpPr>
          <p:spPr bwMode="auto">
            <a:xfrm>
              <a:off x="2722" y="2876"/>
              <a:ext cx="275" cy="330"/>
            </a:xfrm>
            <a:custGeom>
              <a:avLst/>
              <a:gdLst>
                <a:gd name="T0" fmla="*/ 156 w 156"/>
                <a:gd name="T1" fmla="*/ 94 h 187"/>
                <a:gd name="T2" fmla="*/ 78 w 156"/>
                <a:gd name="T3" fmla="*/ 0 h 187"/>
                <a:gd name="T4" fmla="*/ 0 w 156"/>
                <a:gd name="T5" fmla="*/ 94 h 187"/>
                <a:gd name="T6" fmla="*/ 41 w 156"/>
                <a:gd name="T7" fmla="*/ 176 h 187"/>
                <a:gd name="T8" fmla="*/ 69 w 156"/>
                <a:gd name="T9" fmla="*/ 187 h 187"/>
                <a:gd name="T10" fmla="*/ 78 w 156"/>
                <a:gd name="T11" fmla="*/ 187 h 187"/>
                <a:gd name="T12" fmla="*/ 156 w 156"/>
                <a:gd name="T13" fmla="*/ 94 h 187"/>
                <a:gd name="T14" fmla="*/ 38 w 156"/>
                <a:gd name="T15" fmla="*/ 94 h 187"/>
                <a:gd name="T16" fmla="*/ 78 w 156"/>
                <a:gd name="T17" fmla="*/ 38 h 187"/>
                <a:gd name="T18" fmla="*/ 118 w 156"/>
                <a:gd name="T19" fmla="*/ 94 h 187"/>
                <a:gd name="T20" fmla="*/ 78 w 156"/>
                <a:gd name="T21" fmla="*/ 150 h 187"/>
                <a:gd name="T22" fmla="*/ 38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156" y="94"/>
                  </a:moveTo>
                  <a:cubicBezTo>
                    <a:pt x="156" y="42"/>
                    <a:pt x="121" y="0"/>
                    <a:pt x="78" y="0"/>
                  </a:cubicBezTo>
                  <a:cubicBezTo>
                    <a:pt x="35" y="0"/>
                    <a:pt x="0" y="42"/>
                    <a:pt x="0" y="94"/>
                  </a:cubicBezTo>
                  <a:cubicBezTo>
                    <a:pt x="0" y="130"/>
                    <a:pt x="17" y="161"/>
                    <a:pt x="41" y="176"/>
                  </a:cubicBezTo>
                  <a:cubicBezTo>
                    <a:pt x="51" y="180"/>
                    <a:pt x="60" y="183"/>
                    <a:pt x="69" y="187"/>
                  </a:cubicBezTo>
                  <a:cubicBezTo>
                    <a:pt x="72" y="187"/>
                    <a:pt x="75" y="187"/>
                    <a:pt x="78" y="187"/>
                  </a:cubicBezTo>
                  <a:cubicBezTo>
                    <a:pt x="121" y="187"/>
                    <a:pt x="156" y="145"/>
                    <a:pt x="156" y="94"/>
                  </a:cubicBezTo>
                  <a:close/>
                  <a:moveTo>
                    <a:pt x="38" y="94"/>
                  </a:moveTo>
                  <a:cubicBezTo>
                    <a:pt x="38" y="64"/>
                    <a:pt x="56" y="38"/>
                    <a:pt x="78" y="38"/>
                  </a:cubicBezTo>
                  <a:cubicBezTo>
                    <a:pt x="100" y="38"/>
                    <a:pt x="118" y="64"/>
                    <a:pt x="118" y="94"/>
                  </a:cubicBezTo>
                  <a:cubicBezTo>
                    <a:pt x="118" y="124"/>
                    <a:pt x="100" y="150"/>
                    <a:pt x="78" y="150"/>
                  </a:cubicBezTo>
                  <a:cubicBezTo>
                    <a:pt x="56" y="150"/>
                    <a:pt x="38" y="124"/>
                    <a:pt x="38"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66">
              <a:extLst>
                <a:ext uri="{FF2B5EF4-FFF2-40B4-BE49-F238E27FC236}">
                  <a16:creationId xmlns:a16="http://schemas.microsoft.com/office/drawing/2014/main" id="{A99B3C02-9147-467F-8B1F-336B2D966ACF}"/>
                </a:ext>
              </a:extLst>
            </p:cNvPr>
            <p:cNvSpPr>
              <a:spLocks/>
            </p:cNvSpPr>
            <p:nvPr/>
          </p:nvSpPr>
          <p:spPr bwMode="auto">
            <a:xfrm>
              <a:off x="2506" y="2877"/>
              <a:ext cx="127" cy="232"/>
            </a:xfrm>
            <a:custGeom>
              <a:avLst/>
              <a:gdLst>
                <a:gd name="T0" fmla="*/ 72 w 72"/>
                <a:gd name="T1" fmla="*/ 19 h 131"/>
                <a:gd name="T2" fmla="*/ 53 w 72"/>
                <a:gd name="T3" fmla="*/ 0 h 131"/>
                <a:gd name="T4" fmla="*/ 53 w 72"/>
                <a:gd name="T5" fmla="*/ 0 h 131"/>
                <a:gd name="T6" fmla="*/ 19 w 72"/>
                <a:gd name="T7" fmla="*/ 1 h 131"/>
                <a:gd name="T8" fmla="*/ 0 w 72"/>
                <a:gd name="T9" fmla="*/ 20 h 131"/>
                <a:gd name="T10" fmla="*/ 19 w 72"/>
                <a:gd name="T11" fmla="*/ 39 h 131"/>
                <a:gd name="T12" fmla="*/ 20 w 72"/>
                <a:gd name="T13" fmla="*/ 39 h 131"/>
                <a:gd name="T14" fmla="*/ 34 w 72"/>
                <a:gd name="T15" fmla="*/ 39 h 131"/>
                <a:gd name="T16" fmla="*/ 34 w 72"/>
                <a:gd name="T17" fmla="*/ 108 h 131"/>
                <a:gd name="T18" fmla="*/ 72 w 72"/>
                <a:gd name="T19" fmla="*/ 131 h 131"/>
                <a:gd name="T20" fmla="*/ 72 w 72"/>
                <a:gd name="T21" fmla="*/ 21 h 131"/>
                <a:gd name="T22" fmla="*/ 72 w 72"/>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31">
                  <a:moveTo>
                    <a:pt x="72" y="19"/>
                  </a:moveTo>
                  <a:cubicBezTo>
                    <a:pt x="72" y="9"/>
                    <a:pt x="64" y="0"/>
                    <a:pt x="53" y="0"/>
                  </a:cubicBezTo>
                  <a:cubicBezTo>
                    <a:pt x="53" y="0"/>
                    <a:pt x="53" y="0"/>
                    <a:pt x="53" y="0"/>
                  </a:cubicBezTo>
                  <a:cubicBezTo>
                    <a:pt x="19" y="1"/>
                    <a:pt x="19" y="1"/>
                    <a:pt x="19" y="1"/>
                  </a:cubicBezTo>
                  <a:cubicBezTo>
                    <a:pt x="8" y="1"/>
                    <a:pt x="0" y="10"/>
                    <a:pt x="0" y="20"/>
                  </a:cubicBezTo>
                  <a:cubicBezTo>
                    <a:pt x="1" y="31"/>
                    <a:pt x="9" y="39"/>
                    <a:pt x="19" y="39"/>
                  </a:cubicBezTo>
                  <a:cubicBezTo>
                    <a:pt x="19" y="39"/>
                    <a:pt x="20" y="39"/>
                    <a:pt x="20" y="39"/>
                  </a:cubicBezTo>
                  <a:cubicBezTo>
                    <a:pt x="34" y="39"/>
                    <a:pt x="34" y="39"/>
                    <a:pt x="34" y="39"/>
                  </a:cubicBezTo>
                  <a:cubicBezTo>
                    <a:pt x="34" y="108"/>
                    <a:pt x="34" y="108"/>
                    <a:pt x="34" y="108"/>
                  </a:cubicBezTo>
                  <a:cubicBezTo>
                    <a:pt x="47" y="116"/>
                    <a:pt x="59" y="124"/>
                    <a:pt x="72" y="131"/>
                  </a:cubicBezTo>
                  <a:cubicBezTo>
                    <a:pt x="72" y="21"/>
                    <a:pt x="72" y="21"/>
                    <a:pt x="72" y="21"/>
                  </a:cubicBezTo>
                  <a:cubicBezTo>
                    <a:pt x="72" y="20"/>
                    <a:pt x="72" y="19"/>
                    <a:pt x="72"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67">
              <a:extLst>
                <a:ext uri="{FF2B5EF4-FFF2-40B4-BE49-F238E27FC236}">
                  <a16:creationId xmlns:a16="http://schemas.microsoft.com/office/drawing/2014/main" id="{C2A90C13-4A04-42F3-81A2-A226E16718AD}"/>
                </a:ext>
              </a:extLst>
            </p:cNvPr>
            <p:cNvSpPr>
              <a:spLocks noEditPoints="1"/>
            </p:cNvSpPr>
            <p:nvPr/>
          </p:nvSpPr>
          <p:spPr bwMode="auto">
            <a:xfrm>
              <a:off x="3243" y="2876"/>
              <a:ext cx="275" cy="330"/>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8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8" y="124"/>
                    <a:pt x="38" y="94"/>
                  </a:cubicBezTo>
                  <a:cubicBezTo>
                    <a:pt x="38" y="64"/>
                    <a:pt x="56" y="38"/>
                    <a:pt x="78" y="38"/>
                  </a:cubicBezTo>
                  <a:cubicBezTo>
                    <a:pt x="100" y="38"/>
                    <a:pt x="118" y="64"/>
                    <a:pt x="118" y="94"/>
                  </a:cubicBezTo>
                  <a:cubicBezTo>
                    <a:pt x="118" y="124"/>
                    <a:pt x="100" y="150"/>
                    <a:pt x="78" y="15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68">
              <a:extLst>
                <a:ext uri="{FF2B5EF4-FFF2-40B4-BE49-F238E27FC236}">
                  <a16:creationId xmlns:a16="http://schemas.microsoft.com/office/drawing/2014/main" id="{C68F3CAC-CEEA-4D67-B52C-755572AB685B}"/>
                </a:ext>
              </a:extLst>
            </p:cNvPr>
            <p:cNvSpPr>
              <a:spLocks/>
            </p:cNvSpPr>
            <p:nvPr/>
          </p:nvSpPr>
          <p:spPr bwMode="auto">
            <a:xfrm>
              <a:off x="3684" y="3162"/>
              <a:ext cx="106" cy="44"/>
            </a:xfrm>
            <a:custGeom>
              <a:avLst/>
              <a:gdLst>
                <a:gd name="T0" fmla="*/ 7 w 60"/>
                <a:gd name="T1" fmla="*/ 25 h 25"/>
                <a:gd name="T2" fmla="*/ 60 w 60"/>
                <a:gd name="T3" fmla="*/ 0 h 25"/>
                <a:gd name="T4" fmla="*/ 0 w 60"/>
                <a:gd name="T5" fmla="*/ 25 h 25"/>
                <a:gd name="T6" fmla="*/ 7 w 60"/>
                <a:gd name="T7" fmla="*/ 25 h 25"/>
              </a:gdLst>
              <a:ahLst/>
              <a:cxnLst>
                <a:cxn ang="0">
                  <a:pos x="T0" y="T1"/>
                </a:cxn>
                <a:cxn ang="0">
                  <a:pos x="T2" y="T3"/>
                </a:cxn>
                <a:cxn ang="0">
                  <a:pos x="T4" y="T5"/>
                </a:cxn>
                <a:cxn ang="0">
                  <a:pos x="T6" y="T7"/>
                </a:cxn>
              </a:cxnLst>
              <a:rect l="0" t="0" r="r" b="b"/>
              <a:pathLst>
                <a:path w="60" h="25">
                  <a:moveTo>
                    <a:pt x="7" y="25"/>
                  </a:moveTo>
                  <a:cubicBezTo>
                    <a:pt x="28" y="25"/>
                    <a:pt x="46" y="16"/>
                    <a:pt x="60" y="0"/>
                  </a:cubicBezTo>
                  <a:cubicBezTo>
                    <a:pt x="41" y="9"/>
                    <a:pt x="20" y="18"/>
                    <a:pt x="0" y="25"/>
                  </a:cubicBezTo>
                  <a:cubicBezTo>
                    <a:pt x="2" y="25"/>
                    <a:pt x="5" y="25"/>
                    <a:pt x="7" y="2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69">
              <a:extLst>
                <a:ext uri="{FF2B5EF4-FFF2-40B4-BE49-F238E27FC236}">
                  <a16:creationId xmlns:a16="http://schemas.microsoft.com/office/drawing/2014/main" id="{28D2F76D-EAF8-40D1-ADED-C9CCA35C4A0D}"/>
                </a:ext>
              </a:extLst>
            </p:cNvPr>
            <p:cNvSpPr>
              <a:spLocks noEditPoints="1"/>
            </p:cNvSpPr>
            <p:nvPr/>
          </p:nvSpPr>
          <p:spPr bwMode="auto">
            <a:xfrm>
              <a:off x="3559" y="2876"/>
              <a:ext cx="276" cy="330"/>
            </a:xfrm>
            <a:custGeom>
              <a:avLst/>
              <a:gdLst>
                <a:gd name="T0" fmla="*/ 78 w 156"/>
                <a:gd name="T1" fmla="*/ 0 h 187"/>
                <a:gd name="T2" fmla="*/ 0 w 156"/>
                <a:gd name="T3" fmla="*/ 94 h 187"/>
                <a:gd name="T4" fmla="*/ 71 w 156"/>
                <a:gd name="T5" fmla="*/ 187 h 187"/>
                <a:gd name="T6" fmla="*/ 131 w 156"/>
                <a:gd name="T7" fmla="*/ 162 h 187"/>
                <a:gd name="T8" fmla="*/ 156 w 156"/>
                <a:gd name="T9" fmla="*/ 94 h 187"/>
                <a:gd name="T10" fmla="*/ 78 w 156"/>
                <a:gd name="T11" fmla="*/ 0 h 187"/>
                <a:gd name="T12" fmla="*/ 78 w 156"/>
                <a:gd name="T13" fmla="*/ 150 h 187"/>
                <a:gd name="T14" fmla="*/ 38 w 156"/>
                <a:gd name="T15" fmla="*/ 94 h 187"/>
                <a:gd name="T16" fmla="*/ 78 w 156"/>
                <a:gd name="T17" fmla="*/ 38 h 187"/>
                <a:gd name="T18" fmla="*/ 119 w 156"/>
                <a:gd name="T19" fmla="*/ 94 h 187"/>
                <a:gd name="T20" fmla="*/ 78 w 156"/>
                <a:gd name="T21"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0"/>
                  </a:moveTo>
                  <a:cubicBezTo>
                    <a:pt x="35" y="0"/>
                    <a:pt x="0" y="42"/>
                    <a:pt x="0" y="94"/>
                  </a:cubicBezTo>
                  <a:cubicBezTo>
                    <a:pt x="0" y="142"/>
                    <a:pt x="31" y="182"/>
                    <a:pt x="71" y="187"/>
                  </a:cubicBezTo>
                  <a:cubicBezTo>
                    <a:pt x="91" y="180"/>
                    <a:pt x="112" y="171"/>
                    <a:pt x="131" y="162"/>
                  </a:cubicBezTo>
                  <a:cubicBezTo>
                    <a:pt x="147" y="145"/>
                    <a:pt x="156" y="121"/>
                    <a:pt x="156" y="94"/>
                  </a:cubicBezTo>
                  <a:cubicBezTo>
                    <a:pt x="156" y="42"/>
                    <a:pt x="121" y="0"/>
                    <a:pt x="78" y="0"/>
                  </a:cubicBezTo>
                  <a:close/>
                  <a:moveTo>
                    <a:pt x="78" y="150"/>
                  </a:moveTo>
                  <a:cubicBezTo>
                    <a:pt x="57" y="150"/>
                    <a:pt x="38" y="124"/>
                    <a:pt x="38" y="94"/>
                  </a:cubicBezTo>
                  <a:cubicBezTo>
                    <a:pt x="38" y="64"/>
                    <a:pt x="57" y="38"/>
                    <a:pt x="78" y="38"/>
                  </a:cubicBezTo>
                  <a:cubicBezTo>
                    <a:pt x="100" y="38"/>
                    <a:pt x="119" y="64"/>
                    <a:pt x="119" y="94"/>
                  </a:cubicBezTo>
                  <a:cubicBezTo>
                    <a:pt x="119" y="124"/>
                    <a:pt x="100" y="150"/>
                    <a:pt x="78"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70">
              <a:extLst>
                <a:ext uri="{FF2B5EF4-FFF2-40B4-BE49-F238E27FC236}">
                  <a16:creationId xmlns:a16="http://schemas.microsoft.com/office/drawing/2014/main" id="{2E04ED65-596E-4EBA-8E7F-B1F07CD1E11D}"/>
                </a:ext>
              </a:extLst>
            </p:cNvPr>
            <p:cNvSpPr>
              <a:spLocks/>
            </p:cNvSpPr>
            <p:nvPr/>
          </p:nvSpPr>
          <p:spPr bwMode="auto">
            <a:xfrm>
              <a:off x="3020" y="2877"/>
              <a:ext cx="198" cy="331"/>
            </a:xfrm>
            <a:custGeom>
              <a:avLst/>
              <a:gdLst>
                <a:gd name="T0" fmla="*/ 94 w 112"/>
                <a:gd name="T1" fmla="*/ 149 h 187"/>
                <a:gd name="T2" fmla="*/ 76 w 112"/>
                <a:gd name="T3" fmla="*/ 149 h 187"/>
                <a:gd name="T4" fmla="*/ 76 w 112"/>
                <a:gd name="T5" fmla="*/ 21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9 h 187"/>
                <a:gd name="T18" fmla="*/ 24 w 112"/>
                <a:gd name="T19" fmla="*/ 39 h 187"/>
                <a:gd name="T20" fmla="*/ 38 w 112"/>
                <a:gd name="T21" fmla="*/ 39 h 187"/>
                <a:gd name="T22" fmla="*/ 38 w 112"/>
                <a:gd name="T23" fmla="*/ 149 h 187"/>
                <a:gd name="T24" fmla="*/ 19 w 112"/>
                <a:gd name="T25" fmla="*/ 149 h 187"/>
                <a:gd name="T26" fmla="*/ 0 w 112"/>
                <a:gd name="T27" fmla="*/ 168 h 187"/>
                <a:gd name="T28" fmla="*/ 19 w 112"/>
                <a:gd name="T29" fmla="*/ 187 h 187"/>
                <a:gd name="T30" fmla="*/ 94 w 112"/>
                <a:gd name="T31" fmla="*/ 187 h 187"/>
                <a:gd name="T32" fmla="*/ 112 w 112"/>
                <a:gd name="T33" fmla="*/ 168 h 187"/>
                <a:gd name="T34" fmla="*/ 94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4" y="149"/>
                  </a:moveTo>
                  <a:cubicBezTo>
                    <a:pt x="76" y="149"/>
                    <a:pt x="76" y="149"/>
                    <a:pt x="76" y="149"/>
                  </a:cubicBezTo>
                  <a:cubicBezTo>
                    <a:pt x="76" y="21"/>
                    <a:pt x="76" y="21"/>
                    <a:pt x="76" y="21"/>
                  </a:cubicBezTo>
                  <a:cubicBezTo>
                    <a:pt x="76" y="20"/>
                    <a:pt x="76" y="19"/>
                    <a:pt x="76" y="19"/>
                  </a:cubicBezTo>
                  <a:cubicBezTo>
                    <a:pt x="76" y="9"/>
                    <a:pt x="68" y="0"/>
                    <a:pt x="57" y="0"/>
                  </a:cubicBezTo>
                  <a:cubicBezTo>
                    <a:pt x="57" y="0"/>
                    <a:pt x="57" y="0"/>
                    <a:pt x="57" y="0"/>
                  </a:cubicBezTo>
                  <a:cubicBezTo>
                    <a:pt x="23" y="1"/>
                    <a:pt x="23" y="1"/>
                    <a:pt x="23" y="1"/>
                  </a:cubicBezTo>
                  <a:cubicBezTo>
                    <a:pt x="13" y="1"/>
                    <a:pt x="4" y="10"/>
                    <a:pt x="4" y="20"/>
                  </a:cubicBezTo>
                  <a:cubicBezTo>
                    <a:pt x="5" y="31"/>
                    <a:pt x="13" y="39"/>
                    <a:pt x="23" y="39"/>
                  </a:cubicBezTo>
                  <a:cubicBezTo>
                    <a:pt x="23" y="39"/>
                    <a:pt x="24" y="39"/>
                    <a:pt x="24" y="39"/>
                  </a:cubicBezTo>
                  <a:cubicBezTo>
                    <a:pt x="38" y="39"/>
                    <a:pt x="38" y="39"/>
                    <a:pt x="38" y="39"/>
                  </a:cubicBezTo>
                  <a:cubicBezTo>
                    <a:pt x="38" y="149"/>
                    <a:pt x="38" y="149"/>
                    <a:pt x="38" y="149"/>
                  </a:cubicBezTo>
                  <a:cubicBezTo>
                    <a:pt x="19" y="149"/>
                    <a:pt x="19" y="149"/>
                    <a:pt x="19" y="149"/>
                  </a:cubicBezTo>
                  <a:cubicBezTo>
                    <a:pt x="9" y="149"/>
                    <a:pt x="0" y="158"/>
                    <a:pt x="0" y="168"/>
                  </a:cubicBezTo>
                  <a:cubicBezTo>
                    <a:pt x="0" y="179"/>
                    <a:pt x="9" y="187"/>
                    <a:pt x="19" y="187"/>
                  </a:cubicBezTo>
                  <a:cubicBezTo>
                    <a:pt x="94" y="187"/>
                    <a:pt x="94" y="187"/>
                    <a:pt x="94" y="187"/>
                  </a:cubicBezTo>
                  <a:cubicBezTo>
                    <a:pt x="104" y="187"/>
                    <a:pt x="112" y="179"/>
                    <a:pt x="112" y="168"/>
                  </a:cubicBezTo>
                  <a:cubicBezTo>
                    <a:pt x="112" y="158"/>
                    <a:pt x="104" y="149"/>
                    <a:pt x="94"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71">
              <a:extLst>
                <a:ext uri="{FF2B5EF4-FFF2-40B4-BE49-F238E27FC236}">
                  <a16:creationId xmlns:a16="http://schemas.microsoft.com/office/drawing/2014/main" id="{90A2F29E-5BCA-4FEE-A5D3-50E8FA06FC7D}"/>
                </a:ext>
              </a:extLst>
            </p:cNvPr>
            <p:cNvSpPr>
              <a:spLocks/>
            </p:cNvSpPr>
            <p:nvPr/>
          </p:nvSpPr>
          <p:spPr bwMode="auto">
            <a:xfrm>
              <a:off x="4093" y="2881"/>
              <a:ext cx="93" cy="88"/>
            </a:xfrm>
            <a:custGeom>
              <a:avLst/>
              <a:gdLst>
                <a:gd name="T0" fmla="*/ 53 w 53"/>
                <a:gd name="T1" fmla="*/ 0 h 50"/>
                <a:gd name="T2" fmla="*/ 0 w 53"/>
                <a:gd name="T3" fmla="*/ 50 h 50"/>
                <a:gd name="T4" fmla="*/ 53 w 53"/>
                <a:gd name="T5" fmla="*/ 0 h 50"/>
              </a:gdLst>
              <a:ahLst/>
              <a:cxnLst>
                <a:cxn ang="0">
                  <a:pos x="T0" y="T1"/>
                </a:cxn>
                <a:cxn ang="0">
                  <a:pos x="T2" y="T3"/>
                </a:cxn>
                <a:cxn ang="0">
                  <a:pos x="T4" y="T5"/>
                </a:cxn>
              </a:cxnLst>
              <a:rect l="0" t="0" r="r" b="b"/>
              <a:pathLst>
                <a:path w="53" h="50">
                  <a:moveTo>
                    <a:pt x="53" y="0"/>
                  </a:moveTo>
                  <a:cubicBezTo>
                    <a:pt x="30" y="6"/>
                    <a:pt x="10" y="25"/>
                    <a:pt x="0" y="50"/>
                  </a:cubicBezTo>
                  <a:cubicBezTo>
                    <a:pt x="19" y="34"/>
                    <a:pt x="37" y="17"/>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72">
              <a:extLst>
                <a:ext uri="{FF2B5EF4-FFF2-40B4-BE49-F238E27FC236}">
                  <a16:creationId xmlns:a16="http://schemas.microsoft.com/office/drawing/2014/main" id="{AC82927F-EF6E-4397-9AC2-BA17FB3DDD9A}"/>
                </a:ext>
              </a:extLst>
            </p:cNvPr>
            <p:cNvSpPr>
              <a:spLocks/>
            </p:cNvSpPr>
            <p:nvPr/>
          </p:nvSpPr>
          <p:spPr bwMode="auto">
            <a:xfrm>
              <a:off x="3865" y="2877"/>
              <a:ext cx="127" cy="214"/>
            </a:xfrm>
            <a:custGeom>
              <a:avLst/>
              <a:gdLst>
                <a:gd name="T0" fmla="*/ 72 w 72"/>
                <a:gd name="T1" fmla="*/ 19 h 121"/>
                <a:gd name="T2" fmla="*/ 53 w 72"/>
                <a:gd name="T3" fmla="*/ 0 h 121"/>
                <a:gd name="T4" fmla="*/ 53 w 72"/>
                <a:gd name="T5" fmla="*/ 0 h 121"/>
                <a:gd name="T6" fmla="*/ 18 w 72"/>
                <a:gd name="T7" fmla="*/ 1 h 121"/>
                <a:gd name="T8" fmla="*/ 0 w 72"/>
                <a:gd name="T9" fmla="*/ 20 h 121"/>
                <a:gd name="T10" fmla="*/ 19 w 72"/>
                <a:gd name="T11" fmla="*/ 39 h 121"/>
                <a:gd name="T12" fmla="*/ 19 w 72"/>
                <a:gd name="T13" fmla="*/ 39 h 121"/>
                <a:gd name="T14" fmla="*/ 34 w 72"/>
                <a:gd name="T15" fmla="*/ 39 h 121"/>
                <a:gd name="T16" fmla="*/ 34 w 72"/>
                <a:gd name="T17" fmla="*/ 121 h 121"/>
                <a:gd name="T18" fmla="*/ 72 w 72"/>
                <a:gd name="T19" fmla="*/ 97 h 121"/>
                <a:gd name="T20" fmla="*/ 72 w 72"/>
                <a:gd name="T21" fmla="*/ 21 h 121"/>
                <a:gd name="T22" fmla="*/ 72 w 72"/>
                <a:gd name="T23" fmla="*/ 1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21">
                  <a:moveTo>
                    <a:pt x="72" y="19"/>
                  </a:moveTo>
                  <a:cubicBezTo>
                    <a:pt x="72" y="9"/>
                    <a:pt x="63" y="0"/>
                    <a:pt x="53" y="0"/>
                  </a:cubicBezTo>
                  <a:cubicBezTo>
                    <a:pt x="53" y="0"/>
                    <a:pt x="53" y="0"/>
                    <a:pt x="53" y="0"/>
                  </a:cubicBezTo>
                  <a:cubicBezTo>
                    <a:pt x="18" y="1"/>
                    <a:pt x="18" y="1"/>
                    <a:pt x="18" y="1"/>
                  </a:cubicBezTo>
                  <a:cubicBezTo>
                    <a:pt x="8" y="1"/>
                    <a:pt x="0" y="10"/>
                    <a:pt x="0" y="20"/>
                  </a:cubicBezTo>
                  <a:cubicBezTo>
                    <a:pt x="0" y="31"/>
                    <a:pt x="9" y="39"/>
                    <a:pt x="19" y="39"/>
                  </a:cubicBezTo>
                  <a:cubicBezTo>
                    <a:pt x="19" y="39"/>
                    <a:pt x="19" y="39"/>
                    <a:pt x="19" y="39"/>
                  </a:cubicBezTo>
                  <a:cubicBezTo>
                    <a:pt x="34" y="39"/>
                    <a:pt x="34" y="39"/>
                    <a:pt x="34" y="39"/>
                  </a:cubicBezTo>
                  <a:cubicBezTo>
                    <a:pt x="34" y="121"/>
                    <a:pt x="34" y="121"/>
                    <a:pt x="34" y="121"/>
                  </a:cubicBezTo>
                  <a:cubicBezTo>
                    <a:pt x="47" y="114"/>
                    <a:pt x="59" y="105"/>
                    <a:pt x="72" y="97"/>
                  </a:cubicBezTo>
                  <a:cubicBezTo>
                    <a:pt x="72" y="21"/>
                    <a:pt x="72" y="21"/>
                    <a:pt x="72" y="21"/>
                  </a:cubicBezTo>
                  <a:cubicBezTo>
                    <a:pt x="72" y="20"/>
                    <a:pt x="72" y="19"/>
                    <a:pt x="72"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73">
              <a:extLst>
                <a:ext uri="{FF2B5EF4-FFF2-40B4-BE49-F238E27FC236}">
                  <a16:creationId xmlns:a16="http://schemas.microsoft.com/office/drawing/2014/main" id="{6DDE3930-D533-4B04-B6C7-5744663429D7}"/>
                </a:ext>
              </a:extLst>
            </p:cNvPr>
            <p:cNvSpPr>
              <a:spLocks/>
            </p:cNvSpPr>
            <p:nvPr/>
          </p:nvSpPr>
          <p:spPr bwMode="auto">
            <a:xfrm>
              <a:off x="4386" y="2453"/>
              <a:ext cx="69" cy="67"/>
            </a:xfrm>
            <a:custGeom>
              <a:avLst/>
              <a:gdLst>
                <a:gd name="T0" fmla="*/ 0 w 39"/>
                <a:gd name="T1" fmla="*/ 20 h 38"/>
                <a:gd name="T2" fmla="*/ 19 w 39"/>
                <a:gd name="T3" fmla="*/ 38 h 38"/>
                <a:gd name="T4" fmla="*/ 19 w 39"/>
                <a:gd name="T5" fmla="*/ 38 h 38"/>
                <a:gd name="T6" fmla="*/ 23 w 39"/>
                <a:gd name="T7" fmla="*/ 38 h 38"/>
                <a:gd name="T8" fmla="*/ 39 w 39"/>
                <a:gd name="T9" fmla="*/ 0 h 38"/>
                <a:gd name="T10" fmla="*/ 18 w 39"/>
                <a:gd name="T11" fmla="*/ 0 h 38"/>
                <a:gd name="T12" fmla="*/ 0 w 39"/>
                <a:gd name="T13" fmla="*/ 20 h 38"/>
              </a:gdLst>
              <a:ahLst/>
              <a:cxnLst>
                <a:cxn ang="0">
                  <a:pos x="T0" y="T1"/>
                </a:cxn>
                <a:cxn ang="0">
                  <a:pos x="T2" y="T3"/>
                </a:cxn>
                <a:cxn ang="0">
                  <a:pos x="T4" y="T5"/>
                </a:cxn>
                <a:cxn ang="0">
                  <a:pos x="T6" y="T7"/>
                </a:cxn>
                <a:cxn ang="0">
                  <a:pos x="T8" y="T9"/>
                </a:cxn>
                <a:cxn ang="0">
                  <a:pos x="T10" y="T11"/>
                </a:cxn>
                <a:cxn ang="0">
                  <a:pos x="T12" y="T13"/>
                </a:cxn>
              </a:cxnLst>
              <a:rect l="0" t="0" r="r" b="b"/>
              <a:pathLst>
                <a:path w="39" h="38">
                  <a:moveTo>
                    <a:pt x="0" y="20"/>
                  </a:moveTo>
                  <a:cubicBezTo>
                    <a:pt x="0" y="30"/>
                    <a:pt x="9" y="38"/>
                    <a:pt x="19" y="38"/>
                  </a:cubicBezTo>
                  <a:cubicBezTo>
                    <a:pt x="19" y="38"/>
                    <a:pt x="19" y="38"/>
                    <a:pt x="19" y="38"/>
                  </a:cubicBezTo>
                  <a:cubicBezTo>
                    <a:pt x="23" y="38"/>
                    <a:pt x="23" y="38"/>
                    <a:pt x="23" y="38"/>
                  </a:cubicBezTo>
                  <a:cubicBezTo>
                    <a:pt x="29" y="26"/>
                    <a:pt x="34" y="13"/>
                    <a:pt x="39" y="0"/>
                  </a:cubicBezTo>
                  <a:cubicBezTo>
                    <a:pt x="18" y="0"/>
                    <a:pt x="18" y="0"/>
                    <a:pt x="18" y="0"/>
                  </a:cubicBezTo>
                  <a:cubicBezTo>
                    <a:pt x="8" y="1"/>
                    <a:pt x="0" y="9"/>
                    <a:pt x="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74">
              <a:extLst>
                <a:ext uri="{FF2B5EF4-FFF2-40B4-BE49-F238E27FC236}">
                  <a16:creationId xmlns:a16="http://schemas.microsoft.com/office/drawing/2014/main" id="{418E8F73-B6C6-461B-A8D9-FFD9E4B4E9F4}"/>
                </a:ext>
              </a:extLst>
            </p:cNvPr>
            <p:cNvSpPr>
              <a:spLocks/>
            </p:cNvSpPr>
            <p:nvPr/>
          </p:nvSpPr>
          <p:spPr bwMode="auto">
            <a:xfrm>
              <a:off x="2338" y="2876"/>
              <a:ext cx="136" cy="125"/>
            </a:xfrm>
            <a:custGeom>
              <a:avLst/>
              <a:gdLst>
                <a:gd name="T0" fmla="*/ 1 w 77"/>
                <a:gd name="T1" fmla="*/ 0 h 71"/>
                <a:gd name="T2" fmla="*/ 0 w 77"/>
                <a:gd name="T3" fmla="*/ 0 h 71"/>
                <a:gd name="T4" fmla="*/ 77 w 77"/>
                <a:gd name="T5" fmla="*/ 71 h 71"/>
                <a:gd name="T6" fmla="*/ 1 w 77"/>
                <a:gd name="T7" fmla="*/ 0 h 71"/>
              </a:gdLst>
              <a:ahLst/>
              <a:cxnLst>
                <a:cxn ang="0">
                  <a:pos x="T0" y="T1"/>
                </a:cxn>
                <a:cxn ang="0">
                  <a:pos x="T2" y="T3"/>
                </a:cxn>
                <a:cxn ang="0">
                  <a:pos x="T4" y="T5"/>
                </a:cxn>
                <a:cxn ang="0">
                  <a:pos x="T6" y="T7"/>
                </a:cxn>
              </a:cxnLst>
              <a:rect l="0" t="0" r="r" b="b"/>
              <a:pathLst>
                <a:path w="77" h="71">
                  <a:moveTo>
                    <a:pt x="1" y="0"/>
                  </a:moveTo>
                  <a:cubicBezTo>
                    <a:pt x="0" y="0"/>
                    <a:pt x="0" y="0"/>
                    <a:pt x="0" y="0"/>
                  </a:cubicBezTo>
                  <a:cubicBezTo>
                    <a:pt x="23" y="26"/>
                    <a:pt x="49" y="49"/>
                    <a:pt x="77" y="71"/>
                  </a:cubicBezTo>
                  <a:cubicBezTo>
                    <a:pt x="68" y="30"/>
                    <a:pt x="37" y="0"/>
                    <a:pt x="1"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75">
              <a:extLst>
                <a:ext uri="{FF2B5EF4-FFF2-40B4-BE49-F238E27FC236}">
                  <a16:creationId xmlns:a16="http://schemas.microsoft.com/office/drawing/2014/main" id="{49D04B64-00DD-4099-9384-058B1CAF02DD}"/>
                </a:ext>
              </a:extLst>
            </p:cNvPr>
            <p:cNvSpPr>
              <a:spLocks/>
            </p:cNvSpPr>
            <p:nvPr/>
          </p:nvSpPr>
          <p:spPr bwMode="auto">
            <a:xfrm>
              <a:off x="2344" y="1032"/>
              <a:ext cx="100" cy="93"/>
            </a:xfrm>
            <a:custGeom>
              <a:avLst/>
              <a:gdLst>
                <a:gd name="T0" fmla="*/ 57 w 57"/>
                <a:gd name="T1" fmla="*/ 0 h 53"/>
                <a:gd name="T2" fmla="*/ 0 w 57"/>
                <a:gd name="T3" fmla="*/ 53 h 53"/>
                <a:gd name="T4" fmla="*/ 57 w 57"/>
                <a:gd name="T5" fmla="*/ 0 h 53"/>
              </a:gdLst>
              <a:ahLst/>
              <a:cxnLst>
                <a:cxn ang="0">
                  <a:pos x="T0" y="T1"/>
                </a:cxn>
                <a:cxn ang="0">
                  <a:pos x="T2" y="T3"/>
                </a:cxn>
                <a:cxn ang="0">
                  <a:pos x="T4" y="T5"/>
                </a:cxn>
              </a:cxnLst>
              <a:rect l="0" t="0" r="r" b="b"/>
              <a:pathLst>
                <a:path w="57" h="53">
                  <a:moveTo>
                    <a:pt x="57" y="0"/>
                  </a:moveTo>
                  <a:cubicBezTo>
                    <a:pt x="37" y="16"/>
                    <a:pt x="18" y="34"/>
                    <a:pt x="0" y="53"/>
                  </a:cubicBezTo>
                  <a:cubicBezTo>
                    <a:pt x="25" y="48"/>
                    <a:pt x="47" y="27"/>
                    <a:pt x="57"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76">
              <a:extLst>
                <a:ext uri="{FF2B5EF4-FFF2-40B4-BE49-F238E27FC236}">
                  <a16:creationId xmlns:a16="http://schemas.microsoft.com/office/drawing/2014/main" id="{562B4B30-CBDD-4668-9148-51574AE53279}"/>
                </a:ext>
              </a:extLst>
            </p:cNvPr>
            <p:cNvSpPr>
              <a:spLocks noEditPoints="1"/>
            </p:cNvSpPr>
            <p:nvPr/>
          </p:nvSpPr>
          <p:spPr bwMode="auto">
            <a:xfrm>
              <a:off x="2702" y="798"/>
              <a:ext cx="276" cy="331"/>
            </a:xfrm>
            <a:custGeom>
              <a:avLst/>
              <a:gdLst>
                <a:gd name="T0" fmla="*/ 78 w 156"/>
                <a:gd name="T1" fmla="*/ 187 h 187"/>
                <a:gd name="T2" fmla="*/ 156 w 156"/>
                <a:gd name="T3" fmla="*/ 93 h 187"/>
                <a:gd name="T4" fmla="*/ 86 w 156"/>
                <a:gd name="T5" fmla="*/ 0 h 187"/>
                <a:gd name="T6" fmla="*/ 26 w 156"/>
                <a:gd name="T7" fmla="*/ 24 h 187"/>
                <a:gd name="T8" fmla="*/ 0 w 156"/>
                <a:gd name="T9" fmla="*/ 93 h 187"/>
                <a:gd name="T10" fmla="*/ 78 w 156"/>
                <a:gd name="T11" fmla="*/ 187 h 187"/>
                <a:gd name="T12" fmla="*/ 78 w 156"/>
                <a:gd name="T13" fmla="*/ 38 h 187"/>
                <a:gd name="T14" fmla="*/ 118 w 156"/>
                <a:gd name="T15" fmla="*/ 93 h 187"/>
                <a:gd name="T16" fmla="*/ 78 w 156"/>
                <a:gd name="T17" fmla="*/ 149 h 187"/>
                <a:gd name="T18" fmla="*/ 37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187"/>
                  </a:moveTo>
                  <a:cubicBezTo>
                    <a:pt x="121" y="187"/>
                    <a:pt x="156" y="145"/>
                    <a:pt x="156" y="93"/>
                  </a:cubicBezTo>
                  <a:cubicBezTo>
                    <a:pt x="156" y="45"/>
                    <a:pt x="125" y="5"/>
                    <a:pt x="86" y="0"/>
                  </a:cubicBezTo>
                  <a:cubicBezTo>
                    <a:pt x="65" y="7"/>
                    <a:pt x="45" y="15"/>
                    <a:pt x="26" y="24"/>
                  </a:cubicBezTo>
                  <a:cubicBezTo>
                    <a:pt x="10" y="41"/>
                    <a:pt x="0" y="66"/>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77">
              <a:extLst>
                <a:ext uri="{FF2B5EF4-FFF2-40B4-BE49-F238E27FC236}">
                  <a16:creationId xmlns:a16="http://schemas.microsoft.com/office/drawing/2014/main" id="{33D35BB8-A244-4202-8AAA-9599C58AB439}"/>
                </a:ext>
              </a:extLst>
            </p:cNvPr>
            <p:cNvSpPr>
              <a:spLocks noEditPoints="1"/>
            </p:cNvSpPr>
            <p:nvPr/>
          </p:nvSpPr>
          <p:spPr bwMode="auto">
            <a:xfrm>
              <a:off x="3018" y="79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9 w 156"/>
                <a:gd name="T13" fmla="*/ 93 h 187"/>
                <a:gd name="T14" fmla="*/ 78 w 156"/>
                <a:gd name="T15" fmla="*/ 149 h 187"/>
                <a:gd name="T16" fmla="*/ 38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78">
              <a:extLst>
                <a:ext uri="{FF2B5EF4-FFF2-40B4-BE49-F238E27FC236}">
                  <a16:creationId xmlns:a16="http://schemas.microsoft.com/office/drawing/2014/main" id="{6E2F4D20-0DFC-4710-94DB-991C3037D91D}"/>
                </a:ext>
              </a:extLst>
            </p:cNvPr>
            <p:cNvSpPr>
              <a:spLocks/>
            </p:cNvSpPr>
            <p:nvPr/>
          </p:nvSpPr>
          <p:spPr bwMode="auto">
            <a:xfrm>
              <a:off x="2480" y="910"/>
              <a:ext cx="197" cy="221"/>
            </a:xfrm>
            <a:custGeom>
              <a:avLst/>
              <a:gdLst>
                <a:gd name="T0" fmla="*/ 19 w 112"/>
                <a:gd name="T1" fmla="*/ 87 h 125"/>
                <a:gd name="T2" fmla="*/ 0 w 112"/>
                <a:gd name="T3" fmla="*/ 106 h 125"/>
                <a:gd name="T4" fmla="*/ 19 w 112"/>
                <a:gd name="T5" fmla="*/ 125 h 125"/>
                <a:gd name="T6" fmla="*/ 93 w 112"/>
                <a:gd name="T7" fmla="*/ 125 h 125"/>
                <a:gd name="T8" fmla="*/ 112 w 112"/>
                <a:gd name="T9" fmla="*/ 106 h 125"/>
                <a:gd name="T10" fmla="*/ 93 w 112"/>
                <a:gd name="T11" fmla="*/ 87 h 125"/>
                <a:gd name="T12" fmla="*/ 76 w 112"/>
                <a:gd name="T13" fmla="*/ 87 h 125"/>
                <a:gd name="T14" fmla="*/ 76 w 112"/>
                <a:gd name="T15" fmla="*/ 0 h 125"/>
                <a:gd name="T16" fmla="*/ 38 w 112"/>
                <a:gd name="T17" fmla="*/ 24 h 125"/>
                <a:gd name="T18" fmla="*/ 38 w 112"/>
                <a:gd name="T19" fmla="*/ 87 h 125"/>
                <a:gd name="T20" fmla="*/ 19 w 112"/>
                <a:gd name="T21"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5">
                  <a:moveTo>
                    <a:pt x="19" y="87"/>
                  </a:moveTo>
                  <a:cubicBezTo>
                    <a:pt x="9" y="87"/>
                    <a:pt x="0" y="95"/>
                    <a:pt x="0" y="106"/>
                  </a:cubicBezTo>
                  <a:cubicBezTo>
                    <a:pt x="0" y="116"/>
                    <a:pt x="9" y="125"/>
                    <a:pt x="19" y="125"/>
                  </a:cubicBezTo>
                  <a:cubicBezTo>
                    <a:pt x="93" y="125"/>
                    <a:pt x="93" y="125"/>
                    <a:pt x="93" y="125"/>
                  </a:cubicBezTo>
                  <a:cubicBezTo>
                    <a:pt x="104" y="125"/>
                    <a:pt x="112" y="116"/>
                    <a:pt x="112" y="106"/>
                  </a:cubicBezTo>
                  <a:cubicBezTo>
                    <a:pt x="112" y="95"/>
                    <a:pt x="104" y="87"/>
                    <a:pt x="93" y="87"/>
                  </a:cubicBezTo>
                  <a:cubicBezTo>
                    <a:pt x="76" y="87"/>
                    <a:pt x="76" y="87"/>
                    <a:pt x="76" y="87"/>
                  </a:cubicBezTo>
                  <a:cubicBezTo>
                    <a:pt x="76" y="0"/>
                    <a:pt x="76" y="0"/>
                    <a:pt x="76" y="0"/>
                  </a:cubicBezTo>
                  <a:cubicBezTo>
                    <a:pt x="63" y="8"/>
                    <a:pt x="51" y="16"/>
                    <a:pt x="38" y="24"/>
                  </a:cubicBezTo>
                  <a:cubicBezTo>
                    <a:pt x="38" y="87"/>
                    <a:pt x="38" y="87"/>
                    <a:pt x="38" y="87"/>
                  </a:cubicBezTo>
                  <a:lnTo>
                    <a:pt x="19" y="87"/>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79">
              <a:extLst>
                <a:ext uri="{FF2B5EF4-FFF2-40B4-BE49-F238E27FC236}">
                  <a16:creationId xmlns:a16="http://schemas.microsoft.com/office/drawing/2014/main" id="{038939A6-631E-4455-A662-F04341F0346C}"/>
                </a:ext>
              </a:extLst>
            </p:cNvPr>
            <p:cNvSpPr>
              <a:spLocks noEditPoints="1"/>
            </p:cNvSpPr>
            <p:nvPr/>
          </p:nvSpPr>
          <p:spPr bwMode="auto">
            <a:xfrm>
              <a:off x="3538" y="798"/>
              <a:ext cx="275" cy="331"/>
            </a:xfrm>
            <a:custGeom>
              <a:avLst/>
              <a:gdLst>
                <a:gd name="T0" fmla="*/ 0 w 156"/>
                <a:gd name="T1" fmla="*/ 93 h 187"/>
                <a:gd name="T2" fmla="*/ 78 w 156"/>
                <a:gd name="T3" fmla="*/ 187 h 187"/>
                <a:gd name="T4" fmla="*/ 156 w 156"/>
                <a:gd name="T5" fmla="*/ 93 h 187"/>
                <a:gd name="T6" fmla="*/ 125 w 156"/>
                <a:gd name="T7" fmla="*/ 18 h 187"/>
                <a:gd name="T8" fmla="*/ 76 w 156"/>
                <a:gd name="T9" fmla="*/ 0 h 187"/>
                <a:gd name="T10" fmla="*/ 0 w 156"/>
                <a:gd name="T11" fmla="*/ 93 h 187"/>
                <a:gd name="T12" fmla="*/ 78 w 156"/>
                <a:gd name="T13" fmla="*/ 38 h 187"/>
                <a:gd name="T14" fmla="*/ 119 w 156"/>
                <a:gd name="T15" fmla="*/ 93 h 187"/>
                <a:gd name="T16" fmla="*/ 78 w 156"/>
                <a:gd name="T17" fmla="*/ 149 h 187"/>
                <a:gd name="T18" fmla="*/ 38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0" y="93"/>
                  </a:moveTo>
                  <a:cubicBezTo>
                    <a:pt x="0" y="145"/>
                    <a:pt x="35" y="187"/>
                    <a:pt x="78" y="187"/>
                  </a:cubicBezTo>
                  <a:cubicBezTo>
                    <a:pt x="121" y="187"/>
                    <a:pt x="156" y="145"/>
                    <a:pt x="156" y="93"/>
                  </a:cubicBezTo>
                  <a:cubicBezTo>
                    <a:pt x="156" y="63"/>
                    <a:pt x="144" y="36"/>
                    <a:pt x="125" y="18"/>
                  </a:cubicBezTo>
                  <a:cubicBezTo>
                    <a:pt x="109" y="12"/>
                    <a:pt x="93" y="5"/>
                    <a:pt x="76" y="0"/>
                  </a:cubicBezTo>
                  <a:cubicBezTo>
                    <a:pt x="34" y="1"/>
                    <a:pt x="0" y="43"/>
                    <a:pt x="0" y="93"/>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80">
              <a:extLst>
                <a:ext uri="{FF2B5EF4-FFF2-40B4-BE49-F238E27FC236}">
                  <a16:creationId xmlns:a16="http://schemas.microsoft.com/office/drawing/2014/main" id="{32B68822-2609-4732-91D1-3EC01EB23190}"/>
                </a:ext>
              </a:extLst>
            </p:cNvPr>
            <p:cNvSpPr>
              <a:spLocks/>
            </p:cNvSpPr>
            <p:nvPr/>
          </p:nvSpPr>
          <p:spPr bwMode="auto">
            <a:xfrm>
              <a:off x="3317" y="80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9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20"/>
                    <a:pt x="76" y="19"/>
                    <a:pt x="76" y="19"/>
                  </a:cubicBezTo>
                  <a:cubicBezTo>
                    <a:pt x="75" y="8"/>
                    <a:pt x="67" y="0"/>
                    <a:pt x="57" y="0"/>
                  </a:cubicBezTo>
                  <a:cubicBezTo>
                    <a:pt x="57" y="0"/>
                    <a:pt x="57" y="0"/>
                    <a:pt x="56" y="0"/>
                  </a:cubicBezTo>
                  <a:cubicBezTo>
                    <a:pt x="22" y="1"/>
                    <a:pt x="22" y="1"/>
                    <a:pt x="22" y="1"/>
                  </a:cubicBezTo>
                  <a:cubicBezTo>
                    <a:pt x="12" y="1"/>
                    <a:pt x="4" y="10"/>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81">
              <a:extLst>
                <a:ext uri="{FF2B5EF4-FFF2-40B4-BE49-F238E27FC236}">
                  <a16:creationId xmlns:a16="http://schemas.microsoft.com/office/drawing/2014/main" id="{80E18F35-7828-42DC-A9B2-9E990492006F}"/>
                </a:ext>
              </a:extLst>
            </p:cNvPr>
            <p:cNvSpPr>
              <a:spLocks/>
            </p:cNvSpPr>
            <p:nvPr/>
          </p:nvSpPr>
          <p:spPr bwMode="auto">
            <a:xfrm>
              <a:off x="4066" y="1017"/>
              <a:ext cx="120" cy="112"/>
            </a:xfrm>
            <a:custGeom>
              <a:avLst/>
              <a:gdLst>
                <a:gd name="T0" fmla="*/ 68 w 68"/>
                <a:gd name="T1" fmla="*/ 63 h 63"/>
                <a:gd name="T2" fmla="*/ 0 w 68"/>
                <a:gd name="T3" fmla="*/ 0 h 63"/>
                <a:gd name="T4" fmla="*/ 68 w 68"/>
                <a:gd name="T5" fmla="*/ 63 h 63"/>
              </a:gdLst>
              <a:ahLst/>
              <a:cxnLst>
                <a:cxn ang="0">
                  <a:pos x="T0" y="T1"/>
                </a:cxn>
                <a:cxn ang="0">
                  <a:pos x="T2" y="T3"/>
                </a:cxn>
                <a:cxn ang="0">
                  <a:pos x="T4" y="T5"/>
                </a:cxn>
              </a:cxnLst>
              <a:rect l="0" t="0" r="r" b="b"/>
              <a:pathLst>
                <a:path w="68" h="63">
                  <a:moveTo>
                    <a:pt x="68" y="63"/>
                  </a:moveTo>
                  <a:cubicBezTo>
                    <a:pt x="47" y="40"/>
                    <a:pt x="24" y="19"/>
                    <a:pt x="0" y="0"/>
                  </a:cubicBezTo>
                  <a:cubicBezTo>
                    <a:pt x="10" y="34"/>
                    <a:pt x="37" y="60"/>
                    <a:pt x="68"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82">
              <a:extLst>
                <a:ext uri="{FF2B5EF4-FFF2-40B4-BE49-F238E27FC236}">
                  <a16:creationId xmlns:a16="http://schemas.microsoft.com/office/drawing/2014/main" id="{ECFBADA3-7874-4A54-BB83-3D41C9016BE6}"/>
                </a:ext>
              </a:extLst>
            </p:cNvPr>
            <p:cNvSpPr>
              <a:spLocks/>
            </p:cNvSpPr>
            <p:nvPr/>
          </p:nvSpPr>
          <p:spPr bwMode="auto">
            <a:xfrm>
              <a:off x="3838" y="904"/>
              <a:ext cx="198" cy="227"/>
            </a:xfrm>
            <a:custGeom>
              <a:avLst/>
              <a:gdLst>
                <a:gd name="T0" fmla="*/ 19 w 112"/>
                <a:gd name="T1" fmla="*/ 90 h 128"/>
                <a:gd name="T2" fmla="*/ 0 w 112"/>
                <a:gd name="T3" fmla="*/ 109 h 128"/>
                <a:gd name="T4" fmla="*/ 19 w 112"/>
                <a:gd name="T5" fmla="*/ 128 h 128"/>
                <a:gd name="T6" fmla="*/ 93 w 112"/>
                <a:gd name="T7" fmla="*/ 128 h 128"/>
                <a:gd name="T8" fmla="*/ 112 w 112"/>
                <a:gd name="T9" fmla="*/ 109 h 128"/>
                <a:gd name="T10" fmla="*/ 93 w 112"/>
                <a:gd name="T11" fmla="*/ 90 h 128"/>
                <a:gd name="T12" fmla="*/ 76 w 112"/>
                <a:gd name="T13" fmla="*/ 90 h 128"/>
                <a:gd name="T14" fmla="*/ 76 w 112"/>
                <a:gd name="T15" fmla="*/ 24 h 128"/>
                <a:gd name="T16" fmla="*/ 38 w 112"/>
                <a:gd name="T17" fmla="*/ 0 h 128"/>
                <a:gd name="T18" fmla="*/ 38 w 112"/>
                <a:gd name="T19" fmla="*/ 90 h 128"/>
                <a:gd name="T20" fmla="*/ 19 w 112"/>
                <a:gd name="T21" fmla="*/ 9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8">
                  <a:moveTo>
                    <a:pt x="19" y="90"/>
                  </a:moveTo>
                  <a:cubicBezTo>
                    <a:pt x="8" y="90"/>
                    <a:pt x="0" y="98"/>
                    <a:pt x="0" y="109"/>
                  </a:cubicBezTo>
                  <a:cubicBezTo>
                    <a:pt x="0" y="119"/>
                    <a:pt x="8" y="128"/>
                    <a:pt x="19" y="128"/>
                  </a:cubicBezTo>
                  <a:cubicBezTo>
                    <a:pt x="93" y="128"/>
                    <a:pt x="93" y="128"/>
                    <a:pt x="93" y="128"/>
                  </a:cubicBezTo>
                  <a:cubicBezTo>
                    <a:pt x="103" y="128"/>
                    <a:pt x="112" y="119"/>
                    <a:pt x="112" y="109"/>
                  </a:cubicBezTo>
                  <a:cubicBezTo>
                    <a:pt x="112" y="98"/>
                    <a:pt x="103" y="90"/>
                    <a:pt x="93" y="90"/>
                  </a:cubicBezTo>
                  <a:cubicBezTo>
                    <a:pt x="76" y="90"/>
                    <a:pt x="76" y="90"/>
                    <a:pt x="76" y="90"/>
                  </a:cubicBezTo>
                  <a:cubicBezTo>
                    <a:pt x="76" y="24"/>
                    <a:pt x="76" y="24"/>
                    <a:pt x="76" y="24"/>
                  </a:cubicBezTo>
                  <a:cubicBezTo>
                    <a:pt x="63" y="15"/>
                    <a:pt x="51" y="8"/>
                    <a:pt x="38" y="0"/>
                  </a:cubicBezTo>
                  <a:cubicBezTo>
                    <a:pt x="38" y="90"/>
                    <a:pt x="38" y="90"/>
                    <a:pt x="38" y="90"/>
                  </a:cubicBezTo>
                  <a:lnTo>
                    <a:pt x="19" y="90"/>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3">
              <a:extLst>
                <a:ext uri="{FF2B5EF4-FFF2-40B4-BE49-F238E27FC236}">
                  <a16:creationId xmlns:a16="http://schemas.microsoft.com/office/drawing/2014/main" id="{F55058A6-621B-4CF4-9B9B-BF8B824D3038}"/>
                </a:ext>
              </a:extLst>
            </p:cNvPr>
            <p:cNvSpPr>
              <a:spLocks/>
            </p:cNvSpPr>
            <p:nvPr/>
          </p:nvSpPr>
          <p:spPr bwMode="auto">
            <a:xfrm>
              <a:off x="2086" y="1380"/>
              <a:ext cx="69" cy="145"/>
            </a:xfrm>
            <a:custGeom>
              <a:avLst/>
              <a:gdLst>
                <a:gd name="T0" fmla="*/ 39 w 39"/>
                <a:gd name="T1" fmla="*/ 1 h 82"/>
                <a:gd name="T2" fmla="*/ 39 w 39"/>
                <a:gd name="T3" fmla="*/ 0 h 82"/>
                <a:gd name="T4" fmla="*/ 0 w 39"/>
                <a:gd name="T5" fmla="*/ 82 h 82"/>
                <a:gd name="T6" fmla="*/ 39 w 39"/>
                <a:gd name="T7" fmla="*/ 1 h 82"/>
              </a:gdLst>
              <a:ahLst/>
              <a:cxnLst>
                <a:cxn ang="0">
                  <a:pos x="T0" y="T1"/>
                </a:cxn>
                <a:cxn ang="0">
                  <a:pos x="T2" y="T3"/>
                </a:cxn>
                <a:cxn ang="0">
                  <a:pos x="T4" y="T5"/>
                </a:cxn>
                <a:cxn ang="0">
                  <a:pos x="T6" y="T7"/>
                </a:cxn>
              </a:cxnLst>
              <a:rect l="0" t="0" r="r" b="b"/>
              <a:pathLst>
                <a:path w="39" h="82">
                  <a:moveTo>
                    <a:pt x="39" y="1"/>
                  </a:moveTo>
                  <a:cubicBezTo>
                    <a:pt x="39" y="1"/>
                    <a:pt x="39" y="0"/>
                    <a:pt x="39" y="0"/>
                  </a:cubicBezTo>
                  <a:cubicBezTo>
                    <a:pt x="24" y="27"/>
                    <a:pt x="11" y="54"/>
                    <a:pt x="0" y="82"/>
                  </a:cubicBezTo>
                  <a:cubicBezTo>
                    <a:pt x="23" y="66"/>
                    <a:pt x="39" y="35"/>
                    <a:pt x="39" y="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84">
              <a:extLst>
                <a:ext uri="{FF2B5EF4-FFF2-40B4-BE49-F238E27FC236}">
                  <a16:creationId xmlns:a16="http://schemas.microsoft.com/office/drawing/2014/main" id="{07E98F1E-EED9-4545-85B3-FEE06F287A87}"/>
                </a:ext>
              </a:extLst>
            </p:cNvPr>
            <p:cNvSpPr>
              <a:spLocks noEditPoints="1"/>
            </p:cNvSpPr>
            <p:nvPr/>
          </p:nvSpPr>
          <p:spPr bwMode="auto">
            <a:xfrm>
              <a:off x="2400"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9 w 156"/>
                <a:gd name="T13" fmla="*/ 94 h 187"/>
                <a:gd name="T14" fmla="*/ 78 w 156"/>
                <a:gd name="T15" fmla="*/ 150 h 187"/>
                <a:gd name="T16" fmla="*/ 38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9" y="63"/>
                    <a:pt x="119" y="94"/>
                  </a:cubicBezTo>
                  <a:cubicBezTo>
                    <a:pt x="119" y="124"/>
                    <a:pt x="100" y="150"/>
                    <a:pt x="78" y="150"/>
                  </a:cubicBezTo>
                  <a:cubicBezTo>
                    <a:pt x="56" y="150"/>
                    <a:pt x="38" y="124"/>
                    <a:pt x="38" y="94"/>
                  </a:cubicBezTo>
                  <a:cubicBezTo>
                    <a:pt x="38" y="63"/>
                    <a:pt x="56" y="38"/>
                    <a:pt x="78"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85">
              <a:extLst>
                <a:ext uri="{FF2B5EF4-FFF2-40B4-BE49-F238E27FC236}">
                  <a16:creationId xmlns:a16="http://schemas.microsoft.com/office/drawing/2014/main" id="{9F1A5F78-A520-4404-AC2C-C3D54FEFD0C8}"/>
                </a:ext>
              </a:extLst>
            </p:cNvPr>
            <p:cNvSpPr>
              <a:spLocks noEditPoints="1"/>
            </p:cNvSpPr>
            <p:nvPr/>
          </p:nvSpPr>
          <p:spPr bwMode="auto">
            <a:xfrm>
              <a:off x="2718"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86">
              <a:extLst>
                <a:ext uri="{FF2B5EF4-FFF2-40B4-BE49-F238E27FC236}">
                  <a16:creationId xmlns:a16="http://schemas.microsoft.com/office/drawing/2014/main" id="{217161A2-50C9-4273-ADC3-813A23A5FBEE}"/>
                </a:ext>
              </a:extLst>
            </p:cNvPr>
            <p:cNvSpPr>
              <a:spLocks/>
            </p:cNvSpPr>
            <p:nvPr/>
          </p:nvSpPr>
          <p:spPr bwMode="auto">
            <a:xfrm>
              <a:off x="2179" y="1217"/>
              <a:ext cx="198" cy="331"/>
            </a:xfrm>
            <a:custGeom>
              <a:avLst/>
              <a:gdLst>
                <a:gd name="T0" fmla="*/ 23 w 112"/>
                <a:gd name="T1" fmla="*/ 39 h 187"/>
                <a:gd name="T2" fmla="*/ 38 w 112"/>
                <a:gd name="T3" fmla="*/ 38 h 187"/>
                <a:gd name="T4" fmla="*/ 38 w 112"/>
                <a:gd name="T5" fmla="*/ 149 h 187"/>
                <a:gd name="T6" fmla="*/ 19 w 112"/>
                <a:gd name="T7" fmla="*/ 149 h 187"/>
                <a:gd name="T8" fmla="*/ 0 w 112"/>
                <a:gd name="T9" fmla="*/ 168 h 187"/>
                <a:gd name="T10" fmla="*/ 19 w 112"/>
                <a:gd name="T11" fmla="*/ 187 h 187"/>
                <a:gd name="T12" fmla="*/ 93 w 112"/>
                <a:gd name="T13" fmla="*/ 187 h 187"/>
                <a:gd name="T14" fmla="*/ 112 w 112"/>
                <a:gd name="T15" fmla="*/ 168 h 187"/>
                <a:gd name="T16" fmla="*/ 93 w 112"/>
                <a:gd name="T17" fmla="*/ 149 h 187"/>
                <a:gd name="T18" fmla="*/ 75 w 112"/>
                <a:gd name="T19" fmla="*/ 149 h 187"/>
                <a:gd name="T20" fmla="*/ 75 w 112"/>
                <a:gd name="T21" fmla="*/ 20 h 187"/>
                <a:gd name="T22" fmla="*/ 76 w 112"/>
                <a:gd name="T23" fmla="*/ 19 h 187"/>
                <a:gd name="T24" fmla="*/ 57 w 112"/>
                <a:gd name="T25" fmla="*/ 0 h 187"/>
                <a:gd name="T26" fmla="*/ 56 w 112"/>
                <a:gd name="T27" fmla="*/ 0 h 187"/>
                <a:gd name="T28" fmla="*/ 48 w 112"/>
                <a:gd name="T29" fmla="*/ 1 h 187"/>
                <a:gd name="T30" fmla="*/ 20 w 112"/>
                <a:gd name="T31" fmla="*/ 39 h 187"/>
                <a:gd name="T32" fmla="*/ 23 w 112"/>
                <a:gd name="T33" fmla="*/ 39 h 187"/>
                <a:gd name="T34" fmla="*/ 23 w 112"/>
                <a:gd name="T35" fmla="*/ 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23" y="39"/>
                  </a:moveTo>
                  <a:cubicBezTo>
                    <a:pt x="38" y="38"/>
                    <a:pt x="38" y="38"/>
                    <a:pt x="38" y="38"/>
                  </a:cubicBezTo>
                  <a:cubicBezTo>
                    <a:pt x="38" y="149"/>
                    <a:pt x="38" y="149"/>
                    <a:pt x="38" y="149"/>
                  </a:cubicBezTo>
                  <a:cubicBezTo>
                    <a:pt x="19" y="149"/>
                    <a:pt x="19" y="149"/>
                    <a:pt x="19" y="149"/>
                  </a:cubicBezTo>
                  <a:cubicBezTo>
                    <a:pt x="8" y="149"/>
                    <a:pt x="0" y="158"/>
                    <a:pt x="0" y="168"/>
                  </a:cubicBezTo>
                  <a:cubicBezTo>
                    <a:pt x="0" y="178"/>
                    <a:pt x="8" y="187"/>
                    <a:pt x="19" y="187"/>
                  </a:cubicBezTo>
                  <a:cubicBezTo>
                    <a:pt x="93" y="187"/>
                    <a:pt x="93" y="187"/>
                    <a:pt x="93" y="187"/>
                  </a:cubicBezTo>
                  <a:cubicBezTo>
                    <a:pt x="103" y="187"/>
                    <a:pt x="112" y="178"/>
                    <a:pt x="112" y="168"/>
                  </a:cubicBezTo>
                  <a:cubicBezTo>
                    <a:pt x="112" y="158"/>
                    <a:pt x="103" y="149"/>
                    <a:pt x="93" y="149"/>
                  </a:cubicBezTo>
                  <a:cubicBezTo>
                    <a:pt x="75" y="149"/>
                    <a:pt x="75" y="149"/>
                    <a:pt x="75" y="149"/>
                  </a:cubicBezTo>
                  <a:cubicBezTo>
                    <a:pt x="75" y="20"/>
                    <a:pt x="75" y="20"/>
                    <a:pt x="75" y="20"/>
                  </a:cubicBezTo>
                  <a:cubicBezTo>
                    <a:pt x="75" y="20"/>
                    <a:pt x="76" y="19"/>
                    <a:pt x="76" y="19"/>
                  </a:cubicBezTo>
                  <a:cubicBezTo>
                    <a:pt x="75" y="9"/>
                    <a:pt x="67" y="0"/>
                    <a:pt x="57" y="0"/>
                  </a:cubicBezTo>
                  <a:cubicBezTo>
                    <a:pt x="57" y="0"/>
                    <a:pt x="56" y="0"/>
                    <a:pt x="56" y="0"/>
                  </a:cubicBezTo>
                  <a:cubicBezTo>
                    <a:pt x="48" y="1"/>
                    <a:pt x="48" y="1"/>
                    <a:pt x="48" y="1"/>
                  </a:cubicBezTo>
                  <a:cubicBezTo>
                    <a:pt x="38" y="13"/>
                    <a:pt x="29" y="26"/>
                    <a:pt x="20" y="39"/>
                  </a:cubicBezTo>
                  <a:cubicBezTo>
                    <a:pt x="21" y="39"/>
                    <a:pt x="22" y="39"/>
                    <a:pt x="23" y="39"/>
                  </a:cubicBezTo>
                  <a:cubicBezTo>
                    <a:pt x="23" y="39"/>
                    <a:pt x="23" y="39"/>
                    <a:pt x="23"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87">
              <a:extLst>
                <a:ext uri="{FF2B5EF4-FFF2-40B4-BE49-F238E27FC236}">
                  <a16:creationId xmlns:a16="http://schemas.microsoft.com/office/drawing/2014/main" id="{7E1C1D99-AAFF-4403-9815-B7F820832AB6}"/>
                </a:ext>
              </a:extLst>
            </p:cNvPr>
            <p:cNvSpPr>
              <a:spLocks noEditPoints="1"/>
            </p:cNvSpPr>
            <p:nvPr/>
          </p:nvSpPr>
          <p:spPr bwMode="auto">
            <a:xfrm>
              <a:off x="3238" y="1215"/>
              <a:ext cx="275" cy="331"/>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7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7" y="124"/>
                    <a:pt x="37" y="94"/>
                  </a:cubicBezTo>
                  <a:cubicBezTo>
                    <a:pt x="37" y="63"/>
                    <a:pt x="56" y="38"/>
                    <a:pt x="78" y="38"/>
                  </a:cubicBezTo>
                  <a:cubicBezTo>
                    <a:pt x="100" y="38"/>
                    <a:pt x="118" y="63"/>
                    <a:pt x="118" y="94"/>
                  </a:cubicBezTo>
                  <a:cubicBezTo>
                    <a:pt x="118" y="124"/>
                    <a:pt x="100" y="150"/>
                    <a:pt x="78" y="15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88">
              <a:extLst>
                <a:ext uri="{FF2B5EF4-FFF2-40B4-BE49-F238E27FC236}">
                  <a16:creationId xmlns:a16="http://schemas.microsoft.com/office/drawing/2014/main" id="{119CE07C-882C-4C91-8114-CA021023DEB3}"/>
                </a:ext>
              </a:extLst>
            </p:cNvPr>
            <p:cNvSpPr>
              <a:spLocks/>
            </p:cNvSpPr>
            <p:nvPr/>
          </p:nvSpPr>
          <p:spPr bwMode="auto">
            <a:xfrm>
              <a:off x="3015"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3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3"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89">
              <a:extLst>
                <a:ext uri="{FF2B5EF4-FFF2-40B4-BE49-F238E27FC236}">
                  <a16:creationId xmlns:a16="http://schemas.microsoft.com/office/drawing/2014/main" id="{6CDB2D18-FC39-40FF-8282-FF547289CE05}"/>
                </a:ext>
              </a:extLst>
            </p:cNvPr>
            <p:cNvSpPr>
              <a:spLocks noEditPoints="1"/>
            </p:cNvSpPr>
            <p:nvPr/>
          </p:nvSpPr>
          <p:spPr bwMode="auto">
            <a:xfrm>
              <a:off x="3759" y="1215"/>
              <a:ext cx="275"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90">
              <a:extLst>
                <a:ext uri="{FF2B5EF4-FFF2-40B4-BE49-F238E27FC236}">
                  <a16:creationId xmlns:a16="http://schemas.microsoft.com/office/drawing/2014/main" id="{8F99B0AA-FB3E-4390-9951-2F88E4DF7554}"/>
                </a:ext>
              </a:extLst>
            </p:cNvPr>
            <p:cNvSpPr>
              <a:spLocks noEditPoints="1"/>
            </p:cNvSpPr>
            <p:nvPr/>
          </p:nvSpPr>
          <p:spPr bwMode="auto">
            <a:xfrm>
              <a:off x="4075" y="1215"/>
              <a:ext cx="276" cy="331"/>
            </a:xfrm>
            <a:custGeom>
              <a:avLst/>
              <a:gdLst>
                <a:gd name="T0" fmla="*/ 0 w 156"/>
                <a:gd name="T1" fmla="*/ 94 h 187"/>
                <a:gd name="T2" fmla="*/ 78 w 156"/>
                <a:gd name="T3" fmla="*/ 187 h 187"/>
                <a:gd name="T4" fmla="*/ 156 w 156"/>
                <a:gd name="T5" fmla="*/ 94 h 187"/>
                <a:gd name="T6" fmla="*/ 153 w 156"/>
                <a:gd name="T7" fmla="*/ 66 h 187"/>
                <a:gd name="T8" fmla="*/ 115 w 156"/>
                <a:gd name="T9" fmla="*/ 11 h 187"/>
                <a:gd name="T10" fmla="*/ 78 w 156"/>
                <a:gd name="T11" fmla="*/ 0 h 187"/>
                <a:gd name="T12" fmla="*/ 0 w 156"/>
                <a:gd name="T13" fmla="*/ 94 h 187"/>
                <a:gd name="T14" fmla="*/ 119 w 156"/>
                <a:gd name="T15" fmla="*/ 94 h 187"/>
                <a:gd name="T16" fmla="*/ 78 w 156"/>
                <a:gd name="T17" fmla="*/ 150 h 187"/>
                <a:gd name="T18" fmla="*/ 38 w 156"/>
                <a:gd name="T19" fmla="*/ 94 h 187"/>
                <a:gd name="T20" fmla="*/ 78 w 156"/>
                <a:gd name="T21" fmla="*/ 38 h 187"/>
                <a:gd name="T22" fmla="*/ 119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0" y="94"/>
                  </a:moveTo>
                  <a:cubicBezTo>
                    <a:pt x="0" y="145"/>
                    <a:pt x="35" y="187"/>
                    <a:pt x="78" y="187"/>
                  </a:cubicBezTo>
                  <a:cubicBezTo>
                    <a:pt x="121" y="187"/>
                    <a:pt x="156" y="145"/>
                    <a:pt x="156" y="94"/>
                  </a:cubicBezTo>
                  <a:cubicBezTo>
                    <a:pt x="156" y="84"/>
                    <a:pt x="155" y="75"/>
                    <a:pt x="153" y="66"/>
                  </a:cubicBezTo>
                  <a:cubicBezTo>
                    <a:pt x="141" y="47"/>
                    <a:pt x="128" y="29"/>
                    <a:pt x="115" y="11"/>
                  </a:cubicBezTo>
                  <a:cubicBezTo>
                    <a:pt x="104" y="4"/>
                    <a:pt x="91" y="0"/>
                    <a:pt x="78" y="0"/>
                  </a:cubicBezTo>
                  <a:cubicBezTo>
                    <a:pt x="35" y="0"/>
                    <a:pt x="0" y="42"/>
                    <a:pt x="0" y="94"/>
                  </a:cubicBezTo>
                  <a:close/>
                  <a:moveTo>
                    <a:pt x="119" y="94"/>
                  </a:moveTo>
                  <a:cubicBezTo>
                    <a:pt x="119" y="124"/>
                    <a:pt x="100" y="150"/>
                    <a:pt x="78" y="150"/>
                  </a:cubicBezTo>
                  <a:cubicBezTo>
                    <a:pt x="56" y="150"/>
                    <a:pt x="38" y="124"/>
                    <a:pt x="38" y="94"/>
                  </a:cubicBezTo>
                  <a:cubicBezTo>
                    <a:pt x="38" y="63"/>
                    <a:pt x="56" y="38"/>
                    <a:pt x="78" y="38"/>
                  </a:cubicBezTo>
                  <a:cubicBezTo>
                    <a:pt x="100" y="38"/>
                    <a:pt x="119" y="63"/>
                    <a:pt x="119" y="94"/>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91">
              <a:extLst>
                <a:ext uri="{FF2B5EF4-FFF2-40B4-BE49-F238E27FC236}">
                  <a16:creationId xmlns:a16="http://schemas.microsoft.com/office/drawing/2014/main" id="{4F4701F8-F858-4F4E-880F-46744F0B98A5}"/>
                </a:ext>
              </a:extLst>
            </p:cNvPr>
            <p:cNvSpPr>
              <a:spLocks/>
            </p:cNvSpPr>
            <p:nvPr/>
          </p:nvSpPr>
          <p:spPr bwMode="auto">
            <a:xfrm>
              <a:off x="3536"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4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4"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92">
              <a:extLst>
                <a:ext uri="{FF2B5EF4-FFF2-40B4-BE49-F238E27FC236}">
                  <a16:creationId xmlns:a16="http://schemas.microsoft.com/office/drawing/2014/main" id="{6BCC142B-001C-4AEC-8A94-3FA49C9329F9}"/>
                </a:ext>
              </a:extLst>
            </p:cNvPr>
            <p:cNvSpPr>
              <a:spLocks noEditPoints="1"/>
            </p:cNvSpPr>
            <p:nvPr/>
          </p:nvSpPr>
          <p:spPr bwMode="auto">
            <a:xfrm>
              <a:off x="2722"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93">
              <a:extLst>
                <a:ext uri="{FF2B5EF4-FFF2-40B4-BE49-F238E27FC236}">
                  <a16:creationId xmlns:a16="http://schemas.microsoft.com/office/drawing/2014/main" id="{59FB5918-7E5A-4A38-BFF9-F098A2E98544}"/>
                </a:ext>
              </a:extLst>
            </p:cNvPr>
            <p:cNvSpPr>
              <a:spLocks/>
            </p:cNvSpPr>
            <p:nvPr/>
          </p:nvSpPr>
          <p:spPr bwMode="auto">
            <a:xfrm>
              <a:off x="2499" y="1643"/>
              <a:ext cx="198" cy="329"/>
            </a:xfrm>
            <a:custGeom>
              <a:avLst/>
              <a:gdLst>
                <a:gd name="T0" fmla="*/ 94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3 w 112"/>
                <a:gd name="T13" fmla="*/ 1 h 186"/>
                <a:gd name="T14" fmla="*/ 4 w 112"/>
                <a:gd name="T15" fmla="*/ 20 h 186"/>
                <a:gd name="T16" fmla="*/ 23 w 112"/>
                <a:gd name="T17" fmla="*/ 38 h 186"/>
                <a:gd name="T18" fmla="*/ 24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4 w 112"/>
                <a:gd name="T31" fmla="*/ 186 h 186"/>
                <a:gd name="T32" fmla="*/ 112 w 112"/>
                <a:gd name="T33" fmla="*/ 168 h 186"/>
                <a:gd name="T34" fmla="*/ 94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4" y="149"/>
                  </a:move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2"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94">
              <a:extLst>
                <a:ext uri="{FF2B5EF4-FFF2-40B4-BE49-F238E27FC236}">
                  <a16:creationId xmlns:a16="http://schemas.microsoft.com/office/drawing/2014/main" id="{2A4A162F-EA69-4F9E-894A-7DCCFDFB742D}"/>
                </a:ext>
              </a:extLst>
            </p:cNvPr>
            <p:cNvSpPr>
              <a:spLocks noEditPoints="1"/>
            </p:cNvSpPr>
            <p:nvPr/>
          </p:nvSpPr>
          <p:spPr bwMode="auto">
            <a:xfrm>
              <a:off x="3243"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95">
              <a:extLst>
                <a:ext uri="{FF2B5EF4-FFF2-40B4-BE49-F238E27FC236}">
                  <a16:creationId xmlns:a16="http://schemas.microsoft.com/office/drawing/2014/main" id="{D7DED980-E23C-4E92-BA42-E61374C4AC97}"/>
                </a:ext>
              </a:extLst>
            </p:cNvPr>
            <p:cNvSpPr>
              <a:spLocks noEditPoints="1"/>
            </p:cNvSpPr>
            <p:nvPr/>
          </p:nvSpPr>
          <p:spPr bwMode="auto">
            <a:xfrm>
              <a:off x="3559" y="1642"/>
              <a:ext cx="276"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7" y="149"/>
                    <a:pt x="38" y="123"/>
                    <a:pt x="38" y="93"/>
                  </a:cubicBezTo>
                  <a:cubicBezTo>
                    <a:pt x="38" y="63"/>
                    <a:pt x="57" y="37"/>
                    <a:pt x="78" y="37"/>
                  </a:cubicBezTo>
                  <a:cubicBezTo>
                    <a:pt x="100" y="37"/>
                    <a:pt x="119" y="63"/>
                    <a:pt x="119" y="93"/>
                  </a:cubicBezTo>
                  <a:cubicBezTo>
                    <a:pt x="119" y="123"/>
                    <a:pt x="100" y="149"/>
                    <a:pt x="78"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96">
              <a:extLst>
                <a:ext uri="{FF2B5EF4-FFF2-40B4-BE49-F238E27FC236}">
                  <a16:creationId xmlns:a16="http://schemas.microsoft.com/office/drawing/2014/main" id="{0A40B604-FA6E-40E0-BE71-F2EAC154F3FA}"/>
                </a:ext>
              </a:extLst>
            </p:cNvPr>
            <p:cNvSpPr>
              <a:spLocks/>
            </p:cNvSpPr>
            <p:nvPr/>
          </p:nvSpPr>
          <p:spPr bwMode="auto">
            <a:xfrm>
              <a:off x="3020" y="1643"/>
              <a:ext cx="198" cy="329"/>
            </a:xfrm>
            <a:custGeom>
              <a:avLst/>
              <a:gdLst>
                <a:gd name="T0" fmla="*/ 19 w 112"/>
                <a:gd name="T1" fmla="*/ 149 h 186"/>
                <a:gd name="T2" fmla="*/ 0 w 112"/>
                <a:gd name="T3" fmla="*/ 168 h 186"/>
                <a:gd name="T4" fmla="*/ 19 w 112"/>
                <a:gd name="T5" fmla="*/ 186 h 186"/>
                <a:gd name="T6" fmla="*/ 94 w 112"/>
                <a:gd name="T7" fmla="*/ 186 h 186"/>
                <a:gd name="T8" fmla="*/ 112 w 112"/>
                <a:gd name="T9" fmla="*/ 168 h 186"/>
                <a:gd name="T10" fmla="*/ 94 w 112"/>
                <a:gd name="T11" fmla="*/ 149 h 186"/>
                <a:gd name="T12" fmla="*/ 76 w 112"/>
                <a:gd name="T13" fmla="*/ 149 h 186"/>
                <a:gd name="T14" fmla="*/ 76 w 112"/>
                <a:gd name="T15" fmla="*/ 20 h 186"/>
                <a:gd name="T16" fmla="*/ 76 w 112"/>
                <a:gd name="T17" fmla="*/ 18 h 186"/>
                <a:gd name="T18" fmla="*/ 57 w 112"/>
                <a:gd name="T19" fmla="*/ 0 h 186"/>
                <a:gd name="T20" fmla="*/ 57 w 112"/>
                <a:gd name="T21" fmla="*/ 0 h 186"/>
                <a:gd name="T22" fmla="*/ 23 w 112"/>
                <a:gd name="T23" fmla="*/ 1 h 186"/>
                <a:gd name="T24" fmla="*/ 4 w 112"/>
                <a:gd name="T25" fmla="*/ 20 h 186"/>
                <a:gd name="T26" fmla="*/ 23 w 112"/>
                <a:gd name="T27" fmla="*/ 38 h 186"/>
                <a:gd name="T28" fmla="*/ 24 w 112"/>
                <a:gd name="T29" fmla="*/ 38 h 186"/>
                <a:gd name="T30" fmla="*/ 38 w 112"/>
                <a:gd name="T31" fmla="*/ 38 h 186"/>
                <a:gd name="T32" fmla="*/ 38 w 112"/>
                <a:gd name="T33" fmla="*/ 149 h 186"/>
                <a:gd name="T34" fmla="*/ 19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19" y="149"/>
                  </a:move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3"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lnTo>
                    <a:pt x="19" y="1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97">
              <a:extLst>
                <a:ext uri="{FF2B5EF4-FFF2-40B4-BE49-F238E27FC236}">
                  <a16:creationId xmlns:a16="http://schemas.microsoft.com/office/drawing/2014/main" id="{8B336011-992F-4983-AA66-CA57BB144711}"/>
                </a:ext>
              </a:extLst>
            </p:cNvPr>
            <p:cNvSpPr>
              <a:spLocks noEditPoints="1"/>
            </p:cNvSpPr>
            <p:nvPr/>
          </p:nvSpPr>
          <p:spPr bwMode="auto">
            <a:xfrm>
              <a:off x="4078" y="1642"/>
              <a:ext cx="278" cy="330"/>
            </a:xfrm>
            <a:custGeom>
              <a:avLst/>
              <a:gdLst>
                <a:gd name="T0" fmla="*/ 78 w 157"/>
                <a:gd name="T1" fmla="*/ 187 h 187"/>
                <a:gd name="T2" fmla="*/ 157 w 157"/>
                <a:gd name="T3" fmla="*/ 93 h 187"/>
                <a:gd name="T4" fmla="*/ 78 w 157"/>
                <a:gd name="T5" fmla="*/ 0 h 187"/>
                <a:gd name="T6" fmla="*/ 0 w 157"/>
                <a:gd name="T7" fmla="*/ 93 h 187"/>
                <a:gd name="T8" fmla="*/ 78 w 157"/>
                <a:gd name="T9" fmla="*/ 187 h 187"/>
                <a:gd name="T10" fmla="*/ 78 w 157"/>
                <a:gd name="T11" fmla="*/ 37 h 187"/>
                <a:gd name="T12" fmla="*/ 119 w 157"/>
                <a:gd name="T13" fmla="*/ 93 h 187"/>
                <a:gd name="T14" fmla="*/ 78 w 157"/>
                <a:gd name="T15" fmla="*/ 149 h 187"/>
                <a:gd name="T16" fmla="*/ 38 w 157"/>
                <a:gd name="T17" fmla="*/ 93 h 187"/>
                <a:gd name="T18" fmla="*/ 78 w 157"/>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87">
                  <a:moveTo>
                    <a:pt x="78" y="187"/>
                  </a:moveTo>
                  <a:cubicBezTo>
                    <a:pt x="121" y="187"/>
                    <a:pt x="157" y="145"/>
                    <a:pt x="157" y="93"/>
                  </a:cubicBezTo>
                  <a:cubicBezTo>
                    <a:pt x="157"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3"/>
                    <a:pt x="100" y="149"/>
                    <a:pt x="78" y="149"/>
                  </a:cubicBezTo>
                  <a:cubicBezTo>
                    <a:pt x="57" y="149"/>
                    <a:pt x="38" y="123"/>
                    <a:pt x="38" y="93"/>
                  </a:cubicBezTo>
                  <a:cubicBezTo>
                    <a:pt x="38" y="63"/>
                    <a:pt x="57" y="37"/>
                    <a:pt x="78" y="3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98">
              <a:extLst>
                <a:ext uri="{FF2B5EF4-FFF2-40B4-BE49-F238E27FC236}">
                  <a16:creationId xmlns:a16="http://schemas.microsoft.com/office/drawing/2014/main" id="{F77338E2-F00C-4A80-9771-DA79F84EA9AD}"/>
                </a:ext>
              </a:extLst>
            </p:cNvPr>
            <p:cNvSpPr>
              <a:spLocks/>
            </p:cNvSpPr>
            <p:nvPr/>
          </p:nvSpPr>
          <p:spPr bwMode="auto">
            <a:xfrm>
              <a:off x="3858" y="1643"/>
              <a:ext cx="197" cy="329"/>
            </a:xfrm>
            <a:custGeom>
              <a:avLst/>
              <a:gdLst>
                <a:gd name="T0" fmla="*/ 93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2 w 112"/>
                <a:gd name="T13" fmla="*/ 1 h 186"/>
                <a:gd name="T14" fmla="*/ 4 w 112"/>
                <a:gd name="T15" fmla="*/ 20 h 186"/>
                <a:gd name="T16" fmla="*/ 23 w 112"/>
                <a:gd name="T17" fmla="*/ 38 h 186"/>
                <a:gd name="T18" fmla="*/ 23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3 w 112"/>
                <a:gd name="T31" fmla="*/ 186 h 186"/>
                <a:gd name="T32" fmla="*/ 112 w 112"/>
                <a:gd name="T33" fmla="*/ 168 h 186"/>
                <a:gd name="T34" fmla="*/ 93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93" y="186"/>
                    <a:pt x="93" y="186"/>
                    <a:pt x="93" y="186"/>
                  </a:cubicBezTo>
                  <a:cubicBezTo>
                    <a:pt x="104" y="186"/>
                    <a:pt x="112" y="178"/>
                    <a:pt x="112" y="168"/>
                  </a:cubicBezTo>
                  <a:cubicBezTo>
                    <a:pt x="112" y="157"/>
                    <a:pt x="104" y="149"/>
                    <a:pt x="93"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99">
              <a:extLst>
                <a:ext uri="{FF2B5EF4-FFF2-40B4-BE49-F238E27FC236}">
                  <a16:creationId xmlns:a16="http://schemas.microsoft.com/office/drawing/2014/main" id="{8577B940-5115-421C-8357-0B3EB130E662}"/>
                </a:ext>
              </a:extLst>
            </p:cNvPr>
            <p:cNvSpPr>
              <a:spLocks/>
            </p:cNvSpPr>
            <p:nvPr/>
          </p:nvSpPr>
          <p:spPr bwMode="auto">
            <a:xfrm>
              <a:off x="4379" y="1643"/>
              <a:ext cx="157" cy="329"/>
            </a:xfrm>
            <a:custGeom>
              <a:avLst/>
              <a:gdLst>
                <a:gd name="T0" fmla="*/ 57 w 89"/>
                <a:gd name="T1" fmla="*/ 0 h 186"/>
                <a:gd name="T2" fmla="*/ 22 w 89"/>
                <a:gd name="T3" fmla="*/ 1 h 186"/>
                <a:gd name="T4" fmla="*/ 4 w 89"/>
                <a:gd name="T5" fmla="*/ 20 h 186"/>
                <a:gd name="T6" fmla="*/ 23 w 89"/>
                <a:gd name="T7" fmla="*/ 38 h 186"/>
                <a:gd name="T8" fmla="*/ 23 w 89"/>
                <a:gd name="T9" fmla="*/ 38 h 186"/>
                <a:gd name="T10" fmla="*/ 38 w 89"/>
                <a:gd name="T11" fmla="*/ 38 h 186"/>
                <a:gd name="T12" fmla="*/ 38 w 89"/>
                <a:gd name="T13" fmla="*/ 149 h 186"/>
                <a:gd name="T14" fmla="*/ 19 w 89"/>
                <a:gd name="T15" fmla="*/ 149 h 186"/>
                <a:gd name="T16" fmla="*/ 0 w 89"/>
                <a:gd name="T17" fmla="*/ 168 h 186"/>
                <a:gd name="T18" fmla="*/ 19 w 89"/>
                <a:gd name="T19" fmla="*/ 186 h 186"/>
                <a:gd name="T20" fmla="*/ 89 w 89"/>
                <a:gd name="T21" fmla="*/ 186 h 186"/>
                <a:gd name="T22" fmla="*/ 87 w 89"/>
                <a:gd name="T23" fmla="*/ 149 h 186"/>
                <a:gd name="T24" fmla="*/ 76 w 89"/>
                <a:gd name="T25" fmla="*/ 149 h 186"/>
                <a:gd name="T26" fmla="*/ 76 w 89"/>
                <a:gd name="T27" fmla="*/ 66 h 186"/>
                <a:gd name="T28" fmla="*/ 60 w 89"/>
                <a:gd name="T29" fmla="*/ 0 h 186"/>
                <a:gd name="T30" fmla="*/ 57 w 89"/>
                <a:gd name="T31" fmla="*/ 0 h 186"/>
                <a:gd name="T32" fmla="*/ 57 w 89"/>
                <a:gd name="T3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86">
                  <a:moveTo>
                    <a:pt x="57" y="0"/>
                  </a:move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89" y="186"/>
                    <a:pt x="89" y="186"/>
                    <a:pt x="89" y="186"/>
                  </a:cubicBezTo>
                  <a:cubicBezTo>
                    <a:pt x="88" y="174"/>
                    <a:pt x="88" y="161"/>
                    <a:pt x="87" y="149"/>
                  </a:cubicBezTo>
                  <a:cubicBezTo>
                    <a:pt x="76" y="149"/>
                    <a:pt x="76" y="149"/>
                    <a:pt x="76" y="149"/>
                  </a:cubicBezTo>
                  <a:cubicBezTo>
                    <a:pt x="76" y="66"/>
                    <a:pt x="76" y="66"/>
                    <a:pt x="76" y="66"/>
                  </a:cubicBezTo>
                  <a:cubicBezTo>
                    <a:pt x="71" y="44"/>
                    <a:pt x="66" y="22"/>
                    <a:pt x="60" y="0"/>
                  </a:cubicBezTo>
                  <a:cubicBezTo>
                    <a:pt x="59" y="0"/>
                    <a:pt x="58" y="0"/>
                    <a:pt x="57" y="0"/>
                  </a:cubicBezTo>
                  <a:cubicBezTo>
                    <a:pt x="57" y="0"/>
                    <a:pt x="57" y="0"/>
                    <a:pt x="5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00">
              <a:extLst>
                <a:ext uri="{FF2B5EF4-FFF2-40B4-BE49-F238E27FC236}">
                  <a16:creationId xmlns:a16="http://schemas.microsoft.com/office/drawing/2014/main" id="{68C45C12-41CD-44C7-BCF6-38E56CA1798E}"/>
                </a:ext>
              </a:extLst>
            </p:cNvPr>
            <p:cNvSpPr>
              <a:spLocks/>
            </p:cNvSpPr>
            <p:nvPr/>
          </p:nvSpPr>
          <p:spPr bwMode="auto">
            <a:xfrm>
              <a:off x="4379" y="1481"/>
              <a:ext cx="72" cy="67"/>
            </a:xfrm>
            <a:custGeom>
              <a:avLst/>
              <a:gdLst>
                <a:gd name="T0" fmla="*/ 0 w 41"/>
                <a:gd name="T1" fmla="*/ 19 h 38"/>
                <a:gd name="T2" fmla="*/ 19 w 41"/>
                <a:gd name="T3" fmla="*/ 38 h 38"/>
                <a:gd name="T4" fmla="*/ 41 w 41"/>
                <a:gd name="T5" fmla="*/ 38 h 38"/>
                <a:gd name="T6" fmla="*/ 25 w 41"/>
                <a:gd name="T7" fmla="*/ 0 h 38"/>
                <a:gd name="T8" fmla="*/ 19 w 41"/>
                <a:gd name="T9" fmla="*/ 0 h 38"/>
                <a:gd name="T10" fmla="*/ 0 w 41"/>
                <a:gd name="T11" fmla="*/ 19 h 38"/>
              </a:gdLst>
              <a:ahLst/>
              <a:cxnLst>
                <a:cxn ang="0">
                  <a:pos x="T0" y="T1"/>
                </a:cxn>
                <a:cxn ang="0">
                  <a:pos x="T2" y="T3"/>
                </a:cxn>
                <a:cxn ang="0">
                  <a:pos x="T4" y="T5"/>
                </a:cxn>
                <a:cxn ang="0">
                  <a:pos x="T6" y="T7"/>
                </a:cxn>
                <a:cxn ang="0">
                  <a:pos x="T8" y="T9"/>
                </a:cxn>
                <a:cxn ang="0">
                  <a:pos x="T10" y="T11"/>
                </a:cxn>
              </a:cxnLst>
              <a:rect l="0" t="0" r="r" b="b"/>
              <a:pathLst>
                <a:path w="41" h="38">
                  <a:moveTo>
                    <a:pt x="0" y="19"/>
                  </a:moveTo>
                  <a:cubicBezTo>
                    <a:pt x="0" y="29"/>
                    <a:pt x="8" y="38"/>
                    <a:pt x="19" y="38"/>
                  </a:cubicBezTo>
                  <a:cubicBezTo>
                    <a:pt x="41" y="38"/>
                    <a:pt x="41" y="38"/>
                    <a:pt x="41" y="38"/>
                  </a:cubicBezTo>
                  <a:cubicBezTo>
                    <a:pt x="36" y="25"/>
                    <a:pt x="31" y="12"/>
                    <a:pt x="25" y="0"/>
                  </a:cubicBezTo>
                  <a:cubicBezTo>
                    <a:pt x="19" y="0"/>
                    <a:pt x="19" y="0"/>
                    <a:pt x="19" y="0"/>
                  </a:cubicBezTo>
                  <a:cubicBezTo>
                    <a:pt x="8" y="0"/>
                    <a:pt x="0" y="8"/>
                    <a:pt x="0"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01">
              <a:extLst>
                <a:ext uri="{FF2B5EF4-FFF2-40B4-BE49-F238E27FC236}">
                  <a16:creationId xmlns:a16="http://schemas.microsoft.com/office/drawing/2014/main" id="{914FC2B2-FC61-48D5-8110-AB643ECBACD5}"/>
                </a:ext>
              </a:extLst>
            </p:cNvPr>
            <p:cNvSpPr>
              <a:spLocks/>
            </p:cNvSpPr>
            <p:nvPr/>
          </p:nvSpPr>
          <p:spPr bwMode="auto">
            <a:xfrm>
              <a:off x="1992" y="1643"/>
              <a:ext cx="163" cy="329"/>
            </a:xfrm>
            <a:custGeom>
              <a:avLst/>
              <a:gdLst>
                <a:gd name="T0" fmla="*/ 92 w 92"/>
                <a:gd name="T1" fmla="*/ 92 h 186"/>
                <a:gd name="T2" fmla="*/ 29 w 92"/>
                <a:gd name="T3" fmla="*/ 0 h 186"/>
                <a:gd name="T4" fmla="*/ 20 w 92"/>
                <a:gd name="T5" fmla="*/ 37 h 186"/>
                <a:gd name="T6" fmla="*/ 55 w 92"/>
                <a:gd name="T7" fmla="*/ 92 h 186"/>
                <a:gd name="T8" fmla="*/ 14 w 92"/>
                <a:gd name="T9" fmla="*/ 148 h 186"/>
                <a:gd name="T10" fmla="*/ 2 w 92"/>
                <a:gd name="T11" fmla="*/ 145 h 186"/>
                <a:gd name="T12" fmla="*/ 0 w 92"/>
                <a:gd name="T13" fmla="*/ 184 h 186"/>
                <a:gd name="T14" fmla="*/ 14 w 92"/>
                <a:gd name="T15" fmla="*/ 186 h 186"/>
                <a:gd name="T16" fmla="*/ 92 w 92"/>
                <a:gd name="T17" fmla="*/ 9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86">
                  <a:moveTo>
                    <a:pt x="92" y="92"/>
                  </a:moveTo>
                  <a:cubicBezTo>
                    <a:pt x="92" y="47"/>
                    <a:pt x="65" y="9"/>
                    <a:pt x="29" y="0"/>
                  </a:cubicBezTo>
                  <a:cubicBezTo>
                    <a:pt x="26" y="12"/>
                    <a:pt x="22" y="25"/>
                    <a:pt x="20" y="37"/>
                  </a:cubicBezTo>
                  <a:cubicBezTo>
                    <a:pt x="39" y="41"/>
                    <a:pt x="55" y="64"/>
                    <a:pt x="55" y="92"/>
                  </a:cubicBezTo>
                  <a:cubicBezTo>
                    <a:pt x="55" y="122"/>
                    <a:pt x="36" y="148"/>
                    <a:pt x="14" y="148"/>
                  </a:cubicBezTo>
                  <a:cubicBezTo>
                    <a:pt x="10" y="148"/>
                    <a:pt x="6" y="147"/>
                    <a:pt x="2" y="145"/>
                  </a:cubicBezTo>
                  <a:cubicBezTo>
                    <a:pt x="1" y="158"/>
                    <a:pt x="1" y="171"/>
                    <a:pt x="0" y="184"/>
                  </a:cubicBezTo>
                  <a:cubicBezTo>
                    <a:pt x="5" y="185"/>
                    <a:pt x="9" y="186"/>
                    <a:pt x="14" y="186"/>
                  </a:cubicBezTo>
                  <a:cubicBezTo>
                    <a:pt x="57" y="186"/>
                    <a:pt x="92" y="144"/>
                    <a:pt x="92" y="92"/>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02">
              <a:extLst>
                <a:ext uri="{FF2B5EF4-FFF2-40B4-BE49-F238E27FC236}">
                  <a16:creationId xmlns:a16="http://schemas.microsoft.com/office/drawing/2014/main" id="{B57BF700-1438-425C-A190-5442D6B60906}"/>
                </a:ext>
              </a:extLst>
            </p:cNvPr>
            <p:cNvSpPr>
              <a:spLocks noEditPoints="1"/>
            </p:cNvSpPr>
            <p:nvPr/>
          </p:nvSpPr>
          <p:spPr bwMode="auto">
            <a:xfrm>
              <a:off x="2202" y="1642"/>
              <a:ext cx="276" cy="330"/>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3"/>
                    <a:pt x="100" y="149"/>
                    <a:pt x="78" y="149"/>
                  </a:cubicBezTo>
                  <a:cubicBezTo>
                    <a:pt x="56" y="149"/>
                    <a:pt x="38" y="123"/>
                    <a:pt x="38" y="93"/>
                  </a:cubicBezTo>
                  <a:cubicBezTo>
                    <a:pt x="38" y="63"/>
                    <a:pt x="56" y="37"/>
                    <a:pt x="78" y="3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03">
              <a:extLst>
                <a:ext uri="{FF2B5EF4-FFF2-40B4-BE49-F238E27FC236}">
                  <a16:creationId xmlns:a16="http://schemas.microsoft.com/office/drawing/2014/main" id="{D2787637-9097-462D-B4DD-93BE733299B7}"/>
                </a:ext>
              </a:extLst>
            </p:cNvPr>
            <p:cNvSpPr>
              <a:spLocks noEditPoints="1"/>
            </p:cNvSpPr>
            <p:nvPr/>
          </p:nvSpPr>
          <p:spPr bwMode="auto">
            <a:xfrm>
              <a:off x="2181" y="2048"/>
              <a:ext cx="276" cy="331"/>
            </a:xfrm>
            <a:custGeom>
              <a:avLst/>
              <a:gdLst>
                <a:gd name="T0" fmla="*/ 156 w 156"/>
                <a:gd name="T1" fmla="*/ 93 h 187"/>
                <a:gd name="T2" fmla="*/ 78 w 156"/>
                <a:gd name="T3" fmla="*/ 0 h 187"/>
                <a:gd name="T4" fmla="*/ 0 w 156"/>
                <a:gd name="T5" fmla="*/ 93 h 187"/>
                <a:gd name="T6" fmla="*/ 78 w 156"/>
                <a:gd name="T7" fmla="*/ 187 h 187"/>
                <a:gd name="T8" fmla="*/ 156 w 156"/>
                <a:gd name="T9" fmla="*/ 93 h 187"/>
                <a:gd name="T10" fmla="*/ 78 w 156"/>
                <a:gd name="T11" fmla="*/ 149 h 187"/>
                <a:gd name="T12" fmla="*/ 37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156" y="93"/>
                  </a:moveTo>
                  <a:cubicBezTo>
                    <a:pt x="156" y="42"/>
                    <a:pt x="121" y="0"/>
                    <a:pt x="78" y="0"/>
                  </a:cubicBezTo>
                  <a:cubicBezTo>
                    <a:pt x="35" y="0"/>
                    <a:pt x="0" y="42"/>
                    <a:pt x="0" y="93"/>
                  </a:cubicBezTo>
                  <a:cubicBezTo>
                    <a:pt x="0" y="145"/>
                    <a:pt x="35" y="187"/>
                    <a:pt x="78" y="187"/>
                  </a:cubicBezTo>
                  <a:cubicBezTo>
                    <a:pt x="121" y="187"/>
                    <a:pt x="156" y="145"/>
                    <a:pt x="156" y="93"/>
                  </a:cubicBezTo>
                  <a:close/>
                  <a:moveTo>
                    <a:pt x="78" y="149"/>
                  </a:moveTo>
                  <a:cubicBezTo>
                    <a:pt x="56" y="149"/>
                    <a:pt x="37" y="124"/>
                    <a:pt x="37" y="93"/>
                  </a:cubicBezTo>
                  <a:cubicBezTo>
                    <a:pt x="37" y="63"/>
                    <a:pt x="56" y="37"/>
                    <a:pt x="78" y="37"/>
                  </a:cubicBezTo>
                  <a:cubicBezTo>
                    <a:pt x="100" y="37"/>
                    <a:pt x="118" y="63"/>
                    <a:pt x="118" y="93"/>
                  </a:cubicBezTo>
                  <a:cubicBezTo>
                    <a:pt x="118" y="124"/>
                    <a:pt x="100" y="149"/>
                    <a:pt x="78"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04">
              <a:extLst>
                <a:ext uri="{FF2B5EF4-FFF2-40B4-BE49-F238E27FC236}">
                  <a16:creationId xmlns:a16="http://schemas.microsoft.com/office/drawing/2014/main" id="{3E33B6D1-B9AE-48FF-ADA0-EC0134B35DE3}"/>
                </a:ext>
              </a:extLst>
            </p:cNvPr>
            <p:cNvSpPr>
              <a:spLocks/>
            </p:cNvSpPr>
            <p:nvPr/>
          </p:nvSpPr>
          <p:spPr bwMode="auto">
            <a:xfrm>
              <a:off x="1994" y="2050"/>
              <a:ext cx="162" cy="331"/>
            </a:xfrm>
            <a:custGeom>
              <a:avLst/>
              <a:gdLst>
                <a:gd name="T0" fmla="*/ 92 w 92"/>
                <a:gd name="T1" fmla="*/ 168 h 187"/>
                <a:gd name="T2" fmla="*/ 73 w 92"/>
                <a:gd name="T3" fmla="*/ 149 h 187"/>
                <a:gd name="T4" fmla="*/ 56 w 92"/>
                <a:gd name="T5" fmla="*/ 149 h 187"/>
                <a:gd name="T6" fmla="*/ 56 w 92"/>
                <a:gd name="T7" fmla="*/ 20 h 187"/>
                <a:gd name="T8" fmla="*/ 56 w 92"/>
                <a:gd name="T9" fmla="*/ 18 h 187"/>
                <a:gd name="T10" fmla="*/ 37 w 92"/>
                <a:gd name="T11" fmla="*/ 0 h 187"/>
                <a:gd name="T12" fmla="*/ 37 w 92"/>
                <a:gd name="T13" fmla="*/ 0 h 187"/>
                <a:gd name="T14" fmla="*/ 3 w 92"/>
                <a:gd name="T15" fmla="*/ 1 h 187"/>
                <a:gd name="T16" fmla="*/ 0 w 92"/>
                <a:gd name="T17" fmla="*/ 1 h 187"/>
                <a:gd name="T18" fmla="*/ 2 w 92"/>
                <a:gd name="T19" fmla="*/ 38 h 187"/>
                <a:gd name="T20" fmla="*/ 3 w 92"/>
                <a:gd name="T21" fmla="*/ 38 h 187"/>
                <a:gd name="T22" fmla="*/ 3 w 92"/>
                <a:gd name="T23" fmla="*/ 38 h 187"/>
                <a:gd name="T24" fmla="*/ 18 w 92"/>
                <a:gd name="T25" fmla="*/ 38 h 187"/>
                <a:gd name="T26" fmla="*/ 18 w 92"/>
                <a:gd name="T27" fmla="*/ 140 h 187"/>
                <a:gd name="T28" fmla="*/ 31 w 92"/>
                <a:gd name="T29" fmla="*/ 187 h 187"/>
                <a:gd name="T30" fmla="*/ 73 w 92"/>
                <a:gd name="T31" fmla="*/ 187 h 187"/>
                <a:gd name="T32" fmla="*/ 92 w 92"/>
                <a:gd name="T33"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87">
                  <a:moveTo>
                    <a:pt x="92" y="168"/>
                  </a:moveTo>
                  <a:cubicBezTo>
                    <a:pt x="92" y="157"/>
                    <a:pt x="84" y="149"/>
                    <a:pt x="73" y="149"/>
                  </a:cubicBezTo>
                  <a:cubicBezTo>
                    <a:pt x="56" y="149"/>
                    <a:pt x="56" y="149"/>
                    <a:pt x="56" y="149"/>
                  </a:cubicBezTo>
                  <a:cubicBezTo>
                    <a:pt x="56" y="20"/>
                    <a:pt x="56" y="20"/>
                    <a:pt x="56" y="20"/>
                  </a:cubicBezTo>
                  <a:cubicBezTo>
                    <a:pt x="56" y="19"/>
                    <a:pt x="56" y="19"/>
                    <a:pt x="56" y="18"/>
                  </a:cubicBezTo>
                  <a:cubicBezTo>
                    <a:pt x="56" y="8"/>
                    <a:pt x="47" y="0"/>
                    <a:pt x="37" y="0"/>
                  </a:cubicBezTo>
                  <a:cubicBezTo>
                    <a:pt x="37" y="0"/>
                    <a:pt x="37" y="0"/>
                    <a:pt x="37" y="0"/>
                  </a:cubicBezTo>
                  <a:cubicBezTo>
                    <a:pt x="3" y="1"/>
                    <a:pt x="3" y="1"/>
                    <a:pt x="3" y="1"/>
                  </a:cubicBezTo>
                  <a:cubicBezTo>
                    <a:pt x="2" y="1"/>
                    <a:pt x="1" y="1"/>
                    <a:pt x="0" y="1"/>
                  </a:cubicBezTo>
                  <a:cubicBezTo>
                    <a:pt x="0" y="14"/>
                    <a:pt x="1" y="26"/>
                    <a:pt x="2" y="38"/>
                  </a:cubicBezTo>
                  <a:cubicBezTo>
                    <a:pt x="2" y="38"/>
                    <a:pt x="3" y="38"/>
                    <a:pt x="3" y="38"/>
                  </a:cubicBezTo>
                  <a:cubicBezTo>
                    <a:pt x="3" y="38"/>
                    <a:pt x="3" y="38"/>
                    <a:pt x="3" y="38"/>
                  </a:cubicBezTo>
                  <a:cubicBezTo>
                    <a:pt x="18" y="38"/>
                    <a:pt x="18" y="38"/>
                    <a:pt x="18" y="38"/>
                  </a:cubicBezTo>
                  <a:cubicBezTo>
                    <a:pt x="18" y="140"/>
                    <a:pt x="18" y="140"/>
                    <a:pt x="18" y="140"/>
                  </a:cubicBezTo>
                  <a:cubicBezTo>
                    <a:pt x="22" y="156"/>
                    <a:pt x="26" y="171"/>
                    <a:pt x="31" y="187"/>
                  </a:cubicBezTo>
                  <a:cubicBezTo>
                    <a:pt x="73" y="187"/>
                    <a:pt x="73" y="187"/>
                    <a:pt x="73" y="187"/>
                  </a:cubicBezTo>
                  <a:cubicBezTo>
                    <a:pt x="84" y="187"/>
                    <a:pt x="92" y="178"/>
                    <a:pt x="92" y="16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05">
              <a:extLst>
                <a:ext uri="{FF2B5EF4-FFF2-40B4-BE49-F238E27FC236}">
                  <a16:creationId xmlns:a16="http://schemas.microsoft.com/office/drawing/2014/main" id="{CD48CEB8-6D23-4A98-8B60-77A4E1B424F0}"/>
                </a:ext>
              </a:extLst>
            </p:cNvPr>
            <p:cNvSpPr>
              <a:spLocks noEditPoints="1"/>
            </p:cNvSpPr>
            <p:nvPr/>
          </p:nvSpPr>
          <p:spPr bwMode="auto">
            <a:xfrm>
              <a:off x="2702"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7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4"/>
                    <a:pt x="100" y="149"/>
                    <a:pt x="78" y="149"/>
                  </a:cubicBezTo>
                  <a:cubicBezTo>
                    <a:pt x="56" y="149"/>
                    <a:pt x="37" y="124"/>
                    <a:pt x="37" y="93"/>
                  </a:cubicBezTo>
                  <a:cubicBezTo>
                    <a:pt x="37" y="63"/>
                    <a:pt x="56" y="37"/>
                    <a:pt x="78" y="3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06">
              <a:extLst>
                <a:ext uri="{FF2B5EF4-FFF2-40B4-BE49-F238E27FC236}">
                  <a16:creationId xmlns:a16="http://schemas.microsoft.com/office/drawing/2014/main" id="{0BB1900B-103A-4958-92B8-EA14EB18275E}"/>
                </a:ext>
              </a:extLst>
            </p:cNvPr>
            <p:cNvSpPr>
              <a:spLocks noEditPoints="1"/>
            </p:cNvSpPr>
            <p:nvPr/>
          </p:nvSpPr>
          <p:spPr bwMode="auto">
            <a:xfrm>
              <a:off x="3018"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07">
              <a:extLst>
                <a:ext uri="{FF2B5EF4-FFF2-40B4-BE49-F238E27FC236}">
                  <a16:creationId xmlns:a16="http://schemas.microsoft.com/office/drawing/2014/main" id="{D4664E4F-B15F-47D7-9520-690EFA6D7BE0}"/>
                </a:ext>
              </a:extLst>
            </p:cNvPr>
            <p:cNvSpPr>
              <a:spLocks/>
            </p:cNvSpPr>
            <p:nvPr/>
          </p:nvSpPr>
          <p:spPr bwMode="auto">
            <a:xfrm>
              <a:off x="2480" y="2050"/>
              <a:ext cx="197"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3" y="1"/>
                    <a:pt x="23" y="1"/>
                    <a:pt x="23" y="1"/>
                  </a:cubicBezTo>
                  <a:cubicBezTo>
                    <a:pt x="12" y="1"/>
                    <a:pt x="4" y="9"/>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08">
              <a:extLst>
                <a:ext uri="{FF2B5EF4-FFF2-40B4-BE49-F238E27FC236}">
                  <a16:creationId xmlns:a16="http://schemas.microsoft.com/office/drawing/2014/main" id="{30878E14-E507-4FC5-8174-81AD128BFEBC}"/>
                </a:ext>
              </a:extLst>
            </p:cNvPr>
            <p:cNvSpPr>
              <a:spLocks noEditPoints="1"/>
            </p:cNvSpPr>
            <p:nvPr/>
          </p:nvSpPr>
          <p:spPr bwMode="auto">
            <a:xfrm>
              <a:off x="3538" y="2048"/>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7"/>
                    <a:pt x="78" y="37"/>
                  </a:cubicBezTo>
                  <a:cubicBezTo>
                    <a:pt x="100" y="37"/>
                    <a:pt x="119" y="63"/>
                    <a:pt x="119" y="93"/>
                  </a:cubicBezTo>
                  <a:cubicBezTo>
                    <a:pt x="119" y="124"/>
                    <a:pt x="100" y="149"/>
                    <a:pt x="78"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09">
              <a:extLst>
                <a:ext uri="{FF2B5EF4-FFF2-40B4-BE49-F238E27FC236}">
                  <a16:creationId xmlns:a16="http://schemas.microsoft.com/office/drawing/2014/main" id="{55AE28EB-539C-4CC3-8A23-13A607FF4B27}"/>
                </a:ext>
              </a:extLst>
            </p:cNvPr>
            <p:cNvSpPr>
              <a:spLocks/>
            </p:cNvSpPr>
            <p:nvPr/>
          </p:nvSpPr>
          <p:spPr bwMode="auto">
            <a:xfrm>
              <a:off x="3317" y="205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8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10">
              <a:extLst>
                <a:ext uri="{FF2B5EF4-FFF2-40B4-BE49-F238E27FC236}">
                  <a16:creationId xmlns:a16="http://schemas.microsoft.com/office/drawing/2014/main" id="{902C1691-5543-42F3-A12A-C4AE55F5D2C2}"/>
                </a:ext>
              </a:extLst>
            </p:cNvPr>
            <p:cNvSpPr>
              <a:spLocks noEditPoints="1"/>
            </p:cNvSpPr>
            <p:nvPr/>
          </p:nvSpPr>
          <p:spPr bwMode="auto">
            <a:xfrm>
              <a:off x="4059"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11">
              <a:extLst>
                <a:ext uri="{FF2B5EF4-FFF2-40B4-BE49-F238E27FC236}">
                  <a16:creationId xmlns:a16="http://schemas.microsoft.com/office/drawing/2014/main" id="{584B9DAA-331A-4D19-BAE2-FC280B2E19C7}"/>
                </a:ext>
              </a:extLst>
            </p:cNvPr>
            <p:cNvSpPr>
              <a:spLocks/>
            </p:cNvSpPr>
            <p:nvPr/>
          </p:nvSpPr>
          <p:spPr bwMode="auto">
            <a:xfrm>
              <a:off x="4377" y="2048"/>
              <a:ext cx="157" cy="326"/>
            </a:xfrm>
            <a:custGeom>
              <a:avLst/>
              <a:gdLst>
                <a:gd name="T0" fmla="*/ 0 w 89"/>
                <a:gd name="T1" fmla="*/ 93 h 184"/>
                <a:gd name="T2" fmla="*/ 59 w 89"/>
                <a:gd name="T3" fmla="*/ 184 h 184"/>
                <a:gd name="T4" fmla="*/ 69 w 89"/>
                <a:gd name="T5" fmla="*/ 148 h 184"/>
                <a:gd name="T6" fmla="*/ 37 w 89"/>
                <a:gd name="T7" fmla="*/ 93 h 184"/>
                <a:gd name="T8" fmla="*/ 78 w 89"/>
                <a:gd name="T9" fmla="*/ 37 h 184"/>
                <a:gd name="T10" fmla="*/ 87 w 89"/>
                <a:gd name="T11" fmla="*/ 39 h 184"/>
                <a:gd name="T12" fmla="*/ 89 w 89"/>
                <a:gd name="T13" fmla="*/ 1 h 184"/>
                <a:gd name="T14" fmla="*/ 78 w 89"/>
                <a:gd name="T15" fmla="*/ 0 h 184"/>
                <a:gd name="T16" fmla="*/ 0 w 89"/>
                <a:gd name="T17" fmla="*/ 9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84">
                  <a:moveTo>
                    <a:pt x="0" y="93"/>
                  </a:moveTo>
                  <a:cubicBezTo>
                    <a:pt x="0" y="137"/>
                    <a:pt x="25" y="174"/>
                    <a:pt x="59" y="184"/>
                  </a:cubicBezTo>
                  <a:cubicBezTo>
                    <a:pt x="63" y="172"/>
                    <a:pt x="66" y="160"/>
                    <a:pt x="69" y="148"/>
                  </a:cubicBezTo>
                  <a:cubicBezTo>
                    <a:pt x="51" y="142"/>
                    <a:pt x="37" y="119"/>
                    <a:pt x="37" y="93"/>
                  </a:cubicBezTo>
                  <a:cubicBezTo>
                    <a:pt x="37" y="63"/>
                    <a:pt x="56" y="37"/>
                    <a:pt x="78" y="37"/>
                  </a:cubicBezTo>
                  <a:cubicBezTo>
                    <a:pt x="81" y="37"/>
                    <a:pt x="84" y="38"/>
                    <a:pt x="87" y="39"/>
                  </a:cubicBezTo>
                  <a:cubicBezTo>
                    <a:pt x="88" y="26"/>
                    <a:pt x="89" y="14"/>
                    <a:pt x="89" y="1"/>
                  </a:cubicBezTo>
                  <a:cubicBezTo>
                    <a:pt x="86" y="0"/>
                    <a:pt x="82" y="0"/>
                    <a:pt x="78" y="0"/>
                  </a:cubicBezTo>
                  <a:cubicBezTo>
                    <a:pt x="35" y="0"/>
                    <a:pt x="0" y="42"/>
                    <a:pt x="0" y="93"/>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12">
              <a:extLst>
                <a:ext uri="{FF2B5EF4-FFF2-40B4-BE49-F238E27FC236}">
                  <a16:creationId xmlns:a16="http://schemas.microsoft.com/office/drawing/2014/main" id="{05462F27-89CF-43F0-BA0A-FB8FB1467C4C}"/>
                </a:ext>
              </a:extLst>
            </p:cNvPr>
            <p:cNvSpPr>
              <a:spLocks/>
            </p:cNvSpPr>
            <p:nvPr/>
          </p:nvSpPr>
          <p:spPr bwMode="auto">
            <a:xfrm>
              <a:off x="3838" y="2050"/>
              <a:ext cx="198"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6 w 112"/>
                <a:gd name="T11" fmla="*/ 0 h 187"/>
                <a:gd name="T12" fmla="*/ 22 w 112"/>
                <a:gd name="T13" fmla="*/ 1 h 187"/>
                <a:gd name="T14" fmla="*/ 4 w 112"/>
                <a:gd name="T15" fmla="*/ 20 h 187"/>
                <a:gd name="T16" fmla="*/ 23 w 112"/>
                <a:gd name="T17" fmla="*/ 38 h 187"/>
                <a:gd name="T18" fmla="*/ 23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2" name="Group 4">
            <a:extLst>
              <a:ext uri="{FF2B5EF4-FFF2-40B4-BE49-F238E27FC236}">
                <a16:creationId xmlns:a16="http://schemas.microsoft.com/office/drawing/2014/main" id="{4D2854C4-8AA3-42CF-B6BA-C0AB3E28F1BA}"/>
              </a:ext>
            </a:extLst>
          </p:cNvPr>
          <p:cNvGrpSpPr>
            <a:grpSpLocks noChangeAspect="1"/>
          </p:cNvGrpSpPr>
          <p:nvPr/>
        </p:nvGrpSpPr>
        <p:grpSpPr bwMode="auto">
          <a:xfrm>
            <a:off x="4384383" y="2052411"/>
            <a:ext cx="488133" cy="488515"/>
            <a:chOff x="1608" y="347"/>
            <a:chExt cx="2544" cy="2546"/>
          </a:xfrm>
        </p:grpSpPr>
        <p:sp>
          <p:nvSpPr>
            <p:cNvPr id="183" name="Oval 5">
              <a:extLst>
                <a:ext uri="{FF2B5EF4-FFF2-40B4-BE49-F238E27FC236}">
                  <a16:creationId xmlns:a16="http://schemas.microsoft.com/office/drawing/2014/main" id="{CF7CDA14-E3C6-42B4-B6F5-478B77FE1B57}"/>
                </a:ext>
              </a:extLst>
            </p:cNvPr>
            <p:cNvSpPr>
              <a:spLocks noChangeArrowheads="1"/>
            </p:cNvSpPr>
            <p:nvPr/>
          </p:nvSpPr>
          <p:spPr bwMode="auto">
            <a:xfrm>
              <a:off x="1608" y="347"/>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6">
              <a:extLst>
                <a:ext uri="{FF2B5EF4-FFF2-40B4-BE49-F238E27FC236}">
                  <a16:creationId xmlns:a16="http://schemas.microsoft.com/office/drawing/2014/main" id="{E5717795-A9A0-47DE-9468-8B8CC3086BD9}"/>
                </a:ext>
              </a:extLst>
            </p:cNvPr>
            <p:cNvSpPr>
              <a:spLocks/>
            </p:cNvSpPr>
            <p:nvPr/>
          </p:nvSpPr>
          <p:spPr bwMode="auto">
            <a:xfrm>
              <a:off x="2184" y="923"/>
              <a:ext cx="1968" cy="1970"/>
            </a:xfrm>
            <a:custGeom>
              <a:avLst/>
              <a:gdLst>
                <a:gd name="T0" fmla="*/ 1110 w 1114"/>
                <a:gd name="T1" fmla="*/ 322 h 1114"/>
                <a:gd name="T2" fmla="*/ 792 w 1114"/>
                <a:gd name="T3" fmla="*/ 5 h 1114"/>
                <a:gd name="T4" fmla="*/ 780 w 1114"/>
                <a:gd name="T5" fmla="*/ 16 h 1114"/>
                <a:gd name="T6" fmla="*/ 744 w 1114"/>
                <a:gd name="T7" fmla="*/ 0 h 1114"/>
                <a:gd name="T8" fmla="*/ 484 w 1114"/>
                <a:gd name="T9" fmla="*/ 0 h 1114"/>
                <a:gd name="T10" fmla="*/ 436 w 1114"/>
                <a:gd name="T11" fmla="*/ 47 h 1114"/>
                <a:gd name="T12" fmla="*/ 436 w 1114"/>
                <a:gd name="T13" fmla="*/ 85 h 1114"/>
                <a:gd name="T14" fmla="*/ 351 w 1114"/>
                <a:gd name="T15" fmla="*/ 1 h 1114"/>
                <a:gd name="T16" fmla="*/ 340 w 1114"/>
                <a:gd name="T17" fmla="*/ 12 h 1114"/>
                <a:gd name="T18" fmla="*/ 308 w 1114"/>
                <a:gd name="T19" fmla="*/ 0 h 1114"/>
                <a:gd name="T20" fmla="*/ 48 w 1114"/>
                <a:gd name="T21" fmla="*/ 0 h 1114"/>
                <a:gd name="T22" fmla="*/ 0 w 1114"/>
                <a:gd name="T23" fmla="*/ 47 h 1114"/>
                <a:gd name="T24" fmla="*/ 0 w 1114"/>
                <a:gd name="T25" fmla="*/ 307 h 1114"/>
                <a:gd name="T26" fmla="*/ 13 w 1114"/>
                <a:gd name="T27" fmla="*/ 339 h 1114"/>
                <a:gd name="T28" fmla="*/ 1 w 1114"/>
                <a:gd name="T29" fmla="*/ 350 h 1114"/>
                <a:gd name="T30" fmla="*/ 91 w 1114"/>
                <a:gd name="T31" fmla="*/ 439 h 1114"/>
                <a:gd name="T32" fmla="*/ 48 w 1114"/>
                <a:gd name="T33" fmla="*/ 439 h 1114"/>
                <a:gd name="T34" fmla="*/ 0 w 1114"/>
                <a:gd name="T35" fmla="*/ 487 h 1114"/>
                <a:gd name="T36" fmla="*/ 0 w 1114"/>
                <a:gd name="T37" fmla="*/ 747 h 1114"/>
                <a:gd name="T38" fmla="*/ 15 w 1114"/>
                <a:gd name="T39" fmla="*/ 781 h 1114"/>
                <a:gd name="T40" fmla="*/ 4 w 1114"/>
                <a:gd name="T41" fmla="*/ 792 h 1114"/>
                <a:gd name="T42" fmla="*/ 323 w 1114"/>
                <a:gd name="T43" fmla="*/ 1110 h 1114"/>
                <a:gd name="T44" fmla="*/ 396 w 1114"/>
                <a:gd name="T45" fmla="*/ 1114 h 1114"/>
                <a:gd name="T46" fmla="*/ 1114 w 1114"/>
                <a:gd name="T47" fmla="*/ 398 h 1114"/>
                <a:gd name="T48" fmla="*/ 1110 w 1114"/>
                <a:gd name="T49" fmla="*/ 322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4" h="1114">
                  <a:moveTo>
                    <a:pt x="1110" y="322"/>
                  </a:moveTo>
                  <a:cubicBezTo>
                    <a:pt x="792" y="5"/>
                    <a:pt x="792" y="5"/>
                    <a:pt x="792" y="5"/>
                  </a:cubicBezTo>
                  <a:cubicBezTo>
                    <a:pt x="780" y="16"/>
                    <a:pt x="780" y="16"/>
                    <a:pt x="780" y="16"/>
                  </a:cubicBezTo>
                  <a:cubicBezTo>
                    <a:pt x="772" y="6"/>
                    <a:pt x="758" y="0"/>
                    <a:pt x="744" y="0"/>
                  </a:cubicBezTo>
                  <a:cubicBezTo>
                    <a:pt x="484" y="0"/>
                    <a:pt x="484" y="0"/>
                    <a:pt x="484" y="0"/>
                  </a:cubicBezTo>
                  <a:cubicBezTo>
                    <a:pt x="458" y="0"/>
                    <a:pt x="436" y="20"/>
                    <a:pt x="436" y="47"/>
                  </a:cubicBezTo>
                  <a:cubicBezTo>
                    <a:pt x="436" y="85"/>
                    <a:pt x="436" y="85"/>
                    <a:pt x="436" y="85"/>
                  </a:cubicBezTo>
                  <a:cubicBezTo>
                    <a:pt x="351" y="1"/>
                    <a:pt x="351" y="1"/>
                    <a:pt x="351" y="1"/>
                  </a:cubicBezTo>
                  <a:cubicBezTo>
                    <a:pt x="340" y="12"/>
                    <a:pt x="340" y="12"/>
                    <a:pt x="340" y="12"/>
                  </a:cubicBezTo>
                  <a:cubicBezTo>
                    <a:pt x="332" y="5"/>
                    <a:pt x="321" y="0"/>
                    <a:pt x="308" y="0"/>
                  </a:cubicBezTo>
                  <a:cubicBezTo>
                    <a:pt x="48" y="0"/>
                    <a:pt x="48" y="0"/>
                    <a:pt x="48" y="0"/>
                  </a:cubicBezTo>
                  <a:cubicBezTo>
                    <a:pt x="22" y="0"/>
                    <a:pt x="0" y="20"/>
                    <a:pt x="0" y="47"/>
                  </a:cubicBezTo>
                  <a:cubicBezTo>
                    <a:pt x="0" y="307"/>
                    <a:pt x="0" y="307"/>
                    <a:pt x="0" y="307"/>
                  </a:cubicBezTo>
                  <a:cubicBezTo>
                    <a:pt x="0" y="319"/>
                    <a:pt x="5" y="330"/>
                    <a:pt x="13" y="339"/>
                  </a:cubicBezTo>
                  <a:cubicBezTo>
                    <a:pt x="1" y="350"/>
                    <a:pt x="1" y="350"/>
                    <a:pt x="1" y="350"/>
                  </a:cubicBezTo>
                  <a:cubicBezTo>
                    <a:pt x="91" y="439"/>
                    <a:pt x="91" y="439"/>
                    <a:pt x="91" y="439"/>
                  </a:cubicBezTo>
                  <a:cubicBezTo>
                    <a:pt x="48" y="439"/>
                    <a:pt x="48" y="439"/>
                    <a:pt x="48" y="439"/>
                  </a:cubicBezTo>
                  <a:cubicBezTo>
                    <a:pt x="22" y="439"/>
                    <a:pt x="0" y="461"/>
                    <a:pt x="0" y="487"/>
                  </a:cubicBezTo>
                  <a:cubicBezTo>
                    <a:pt x="0" y="747"/>
                    <a:pt x="0" y="747"/>
                    <a:pt x="0" y="747"/>
                  </a:cubicBezTo>
                  <a:cubicBezTo>
                    <a:pt x="0" y="761"/>
                    <a:pt x="6" y="773"/>
                    <a:pt x="15" y="781"/>
                  </a:cubicBezTo>
                  <a:cubicBezTo>
                    <a:pt x="4" y="792"/>
                    <a:pt x="4" y="792"/>
                    <a:pt x="4" y="792"/>
                  </a:cubicBezTo>
                  <a:cubicBezTo>
                    <a:pt x="323" y="1110"/>
                    <a:pt x="323" y="1110"/>
                    <a:pt x="323" y="1110"/>
                  </a:cubicBezTo>
                  <a:cubicBezTo>
                    <a:pt x="346" y="1112"/>
                    <a:pt x="371" y="1114"/>
                    <a:pt x="396" y="1114"/>
                  </a:cubicBezTo>
                  <a:cubicBezTo>
                    <a:pt x="792" y="1114"/>
                    <a:pt x="1114" y="793"/>
                    <a:pt x="1114" y="398"/>
                  </a:cubicBezTo>
                  <a:cubicBezTo>
                    <a:pt x="1114" y="372"/>
                    <a:pt x="1112" y="347"/>
                    <a:pt x="1110" y="322"/>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7">
              <a:extLst>
                <a:ext uri="{FF2B5EF4-FFF2-40B4-BE49-F238E27FC236}">
                  <a16:creationId xmlns:a16="http://schemas.microsoft.com/office/drawing/2014/main" id="{8553F3C3-AB77-4E56-B9B9-79AE44017257}"/>
                </a:ext>
              </a:extLst>
            </p:cNvPr>
            <p:cNvSpPr>
              <a:spLocks noEditPoints="1"/>
            </p:cNvSpPr>
            <p:nvPr/>
          </p:nvSpPr>
          <p:spPr bwMode="auto">
            <a:xfrm>
              <a:off x="2140" y="879"/>
              <a:ext cx="685" cy="707"/>
            </a:xfrm>
            <a:custGeom>
              <a:avLst/>
              <a:gdLst>
                <a:gd name="T0" fmla="*/ 324 w 388"/>
                <a:gd name="T1" fmla="*/ 400 h 400"/>
                <a:gd name="T2" fmla="*/ 64 w 388"/>
                <a:gd name="T3" fmla="*/ 400 h 400"/>
                <a:gd name="T4" fmla="*/ 0 w 388"/>
                <a:gd name="T5" fmla="*/ 334 h 400"/>
                <a:gd name="T6" fmla="*/ 0 w 388"/>
                <a:gd name="T7" fmla="*/ 65 h 400"/>
                <a:gd name="T8" fmla="*/ 64 w 388"/>
                <a:gd name="T9" fmla="*/ 0 h 400"/>
                <a:gd name="T10" fmla="*/ 324 w 388"/>
                <a:gd name="T11" fmla="*/ 0 h 400"/>
                <a:gd name="T12" fmla="*/ 388 w 388"/>
                <a:gd name="T13" fmla="*/ 65 h 400"/>
                <a:gd name="T14" fmla="*/ 388 w 388"/>
                <a:gd name="T15" fmla="*/ 334 h 400"/>
                <a:gd name="T16" fmla="*/ 324 w 388"/>
                <a:gd name="T17" fmla="*/ 400 h 400"/>
                <a:gd name="T18" fmla="*/ 64 w 388"/>
                <a:gd name="T19" fmla="*/ 32 h 400"/>
                <a:gd name="T20" fmla="*/ 32 w 388"/>
                <a:gd name="T21" fmla="*/ 65 h 400"/>
                <a:gd name="T22" fmla="*/ 32 w 388"/>
                <a:gd name="T23" fmla="*/ 334 h 400"/>
                <a:gd name="T24" fmla="*/ 64 w 388"/>
                <a:gd name="T25" fmla="*/ 367 h 400"/>
                <a:gd name="T26" fmla="*/ 324 w 388"/>
                <a:gd name="T27" fmla="*/ 367 h 400"/>
                <a:gd name="T28" fmla="*/ 356 w 388"/>
                <a:gd name="T29" fmla="*/ 334 h 400"/>
                <a:gd name="T30" fmla="*/ 356 w 388"/>
                <a:gd name="T31" fmla="*/ 65 h 400"/>
                <a:gd name="T32" fmla="*/ 324 w 388"/>
                <a:gd name="T33" fmla="*/ 32 h 400"/>
                <a:gd name="T34" fmla="*/ 64 w 388"/>
                <a:gd name="T35" fmla="*/ 32 h 400"/>
                <a:gd name="T36" fmla="*/ 64 w 388"/>
                <a:gd name="T37" fmla="*/ 3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8" h="400">
                  <a:moveTo>
                    <a:pt x="324" y="400"/>
                  </a:moveTo>
                  <a:cubicBezTo>
                    <a:pt x="64" y="400"/>
                    <a:pt x="64" y="400"/>
                    <a:pt x="64" y="400"/>
                  </a:cubicBezTo>
                  <a:cubicBezTo>
                    <a:pt x="29" y="400"/>
                    <a:pt x="0" y="370"/>
                    <a:pt x="0" y="334"/>
                  </a:cubicBezTo>
                  <a:cubicBezTo>
                    <a:pt x="0" y="65"/>
                    <a:pt x="0" y="65"/>
                    <a:pt x="0" y="65"/>
                  </a:cubicBezTo>
                  <a:cubicBezTo>
                    <a:pt x="0" y="28"/>
                    <a:pt x="29" y="0"/>
                    <a:pt x="64" y="0"/>
                  </a:cubicBezTo>
                  <a:cubicBezTo>
                    <a:pt x="324" y="0"/>
                    <a:pt x="324" y="0"/>
                    <a:pt x="324" y="0"/>
                  </a:cubicBezTo>
                  <a:cubicBezTo>
                    <a:pt x="360" y="0"/>
                    <a:pt x="388" y="28"/>
                    <a:pt x="388" y="65"/>
                  </a:cubicBezTo>
                  <a:cubicBezTo>
                    <a:pt x="388" y="334"/>
                    <a:pt x="388" y="334"/>
                    <a:pt x="388" y="334"/>
                  </a:cubicBezTo>
                  <a:cubicBezTo>
                    <a:pt x="388" y="370"/>
                    <a:pt x="360" y="400"/>
                    <a:pt x="324" y="400"/>
                  </a:cubicBezTo>
                  <a:close/>
                  <a:moveTo>
                    <a:pt x="64" y="32"/>
                  </a:moveTo>
                  <a:cubicBezTo>
                    <a:pt x="47" y="32"/>
                    <a:pt x="32" y="47"/>
                    <a:pt x="32" y="65"/>
                  </a:cubicBezTo>
                  <a:cubicBezTo>
                    <a:pt x="32" y="334"/>
                    <a:pt x="32" y="334"/>
                    <a:pt x="32" y="334"/>
                  </a:cubicBezTo>
                  <a:cubicBezTo>
                    <a:pt x="32" y="352"/>
                    <a:pt x="47" y="367"/>
                    <a:pt x="64" y="367"/>
                  </a:cubicBezTo>
                  <a:cubicBezTo>
                    <a:pt x="324" y="367"/>
                    <a:pt x="324" y="367"/>
                    <a:pt x="324" y="367"/>
                  </a:cubicBezTo>
                  <a:cubicBezTo>
                    <a:pt x="342" y="367"/>
                    <a:pt x="356" y="352"/>
                    <a:pt x="356" y="334"/>
                  </a:cubicBezTo>
                  <a:cubicBezTo>
                    <a:pt x="356" y="65"/>
                    <a:pt x="356" y="65"/>
                    <a:pt x="356" y="65"/>
                  </a:cubicBezTo>
                  <a:cubicBezTo>
                    <a:pt x="356" y="47"/>
                    <a:pt x="342" y="32"/>
                    <a:pt x="324" y="32"/>
                  </a:cubicBezTo>
                  <a:cubicBezTo>
                    <a:pt x="64" y="32"/>
                    <a:pt x="64" y="32"/>
                    <a:pt x="64" y="32"/>
                  </a:cubicBezTo>
                  <a:cubicBezTo>
                    <a:pt x="64" y="32"/>
                    <a:pt x="64" y="32"/>
                    <a:pt x="6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8">
              <a:extLst>
                <a:ext uri="{FF2B5EF4-FFF2-40B4-BE49-F238E27FC236}">
                  <a16:creationId xmlns:a16="http://schemas.microsoft.com/office/drawing/2014/main" id="{805BE51A-54D4-457D-9FD3-C8DA5B6CEDF8}"/>
                </a:ext>
              </a:extLst>
            </p:cNvPr>
            <p:cNvSpPr>
              <a:spLocks noEditPoints="1"/>
            </p:cNvSpPr>
            <p:nvPr/>
          </p:nvSpPr>
          <p:spPr bwMode="auto">
            <a:xfrm>
              <a:off x="2140" y="1675"/>
              <a:ext cx="685" cy="686"/>
            </a:xfrm>
            <a:custGeom>
              <a:avLst/>
              <a:gdLst>
                <a:gd name="T0" fmla="*/ 324 w 388"/>
                <a:gd name="T1" fmla="*/ 388 h 388"/>
                <a:gd name="T2" fmla="*/ 64 w 388"/>
                <a:gd name="T3" fmla="*/ 388 h 388"/>
                <a:gd name="T4" fmla="*/ 0 w 388"/>
                <a:gd name="T5" fmla="*/ 325 h 388"/>
                <a:gd name="T6" fmla="*/ 0 w 388"/>
                <a:gd name="T7" fmla="*/ 64 h 388"/>
                <a:gd name="T8" fmla="*/ 64 w 388"/>
                <a:gd name="T9" fmla="*/ 0 h 388"/>
                <a:gd name="T10" fmla="*/ 324 w 388"/>
                <a:gd name="T11" fmla="*/ 0 h 388"/>
                <a:gd name="T12" fmla="*/ 388 w 388"/>
                <a:gd name="T13" fmla="*/ 64 h 388"/>
                <a:gd name="T14" fmla="*/ 388 w 388"/>
                <a:gd name="T15" fmla="*/ 325 h 388"/>
                <a:gd name="T16" fmla="*/ 324 w 388"/>
                <a:gd name="T17" fmla="*/ 388 h 388"/>
                <a:gd name="T18" fmla="*/ 64 w 388"/>
                <a:gd name="T19" fmla="*/ 32 h 388"/>
                <a:gd name="T20" fmla="*/ 32 w 388"/>
                <a:gd name="T21" fmla="*/ 64 h 388"/>
                <a:gd name="T22" fmla="*/ 32 w 388"/>
                <a:gd name="T23" fmla="*/ 325 h 388"/>
                <a:gd name="T24" fmla="*/ 64 w 388"/>
                <a:gd name="T25" fmla="*/ 357 h 388"/>
                <a:gd name="T26" fmla="*/ 324 w 388"/>
                <a:gd name="T27" fmla="*/ 357 h 388"/>
                <a:gd name="T28" fmla="*/ 356 w 388"/>
                <a:gd name="T29" fmla="*/ 325 h 388"/>
                <a:gd name="T30" fmla="*/ 356 w 388"/>
                <a:gd name="T31" fmla="*/ 64 h 388"/>
                <a:gd name="T32" fmla="*/ 324 w 388"/>
                <a:gd name="T33" fmla="*/ 32 h 388"/>
                <a:gd name="T34" fmla="*/ 64 w 388"/>
                <a:gd name="T35" fmla="*/ 32 h 388"/>
                <a:gd name="T36" fmla="*/ 64 w 388"/>
                <a:gd name="T37" fmla="*/ 3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8" h="388">
                  <a:moveTo>
                    <a:pt x="324" y="388"/>
                  </a:moveTo>
                  <a:cubicBezTo>
                    <a:pt x="64" y="388"/>
                    <a:pt x="64" y="388"/>
                    <a:pt x="64" y="388"/>
                  </a:cubicBezTo>
                  <a:cubicBezTo>
                    <a:pt x="29" y="388"/>
                    <a:pt x="0" y="361"/>
                    <a:pt x="0" y="325"/>
                  </a:cubicBezTo>
                  <a:cubicBezTo>
                    <a:pt x="0" y="64"/>
                    <a:pt x="0" y="64"/>
                    <a:pt x="0" y="64"/>
                  </a:cubicBezTo>
                  <a:cubicBezTo>
                    <a:pt x="0" y="29"/>
                    <a:pt x="29" y="0"/>
                    <a:pt x="64" y="0"/>
                  </a:cubicBezTo>
                  <a:cubicBezTo>
                    <a:pt x="324" y="0"/>
                    <a:pt x="324" y="0"/>
                    <a:pt x="324" y="0"/>
                  </a:cubicBezTo>
                  <a:cubicBezTo>
                    <a:pt x="360" y="0"/>
                    <a:pt x="388" y="29"/>
                    <a:pt x="388" y="64"/>
                  </a:cubicBezTo>
                  <a:cubicBezTo>
                    <a:pt x="388" y="325"/>
                    <a:pt x="388" y="325"/>
                    <a:pt x="388" y="325"/>
                  </a:cubicBezTo>
                  <a:cubicBezTo>
                    <a:pt x="388" y="361"/>
                    <a:pt x="360" y="388"/>
                    <a:pt x="324" y="388"/>
                  </a:cubicBezTo>
                  <a:close/>
                  <a:moveTo>
                    <a:pt x="64" y="32"/>
                  </a:moveTo>
                  <a:cubicBezTo>
                    <a:pt x="47" y="32"/>
                    <a:pt x="32" y="47"/>
                    <a:pt x="32" y="64"/>
                  </a:cubicBezTo>
                  <a:cubicBezTo>
                    <a:pt x="32" y="325"/>
                    <a:pt x="32" y="325"/>
                    <a:pt x="32" y="325"/>
                  </a:cubicBezTo>
                  <a:cubicBezTo>
                    <a:pt x="32" y="343"/>
                    <a:pt x="47" y="357"/>
                    <a:pt x="64" y="357"/>
                  </a:cubicBezTo>
                  <a:cubicBezTo>
                    <a:pt x="324" y="357"/>
                    <a:pt x="324" y="357"/>
                    <a:pt x="324" y="357"/>
                  </a:cubicBezTo>
                  <a:cubicBezTo>
                    <a:pt x="342" y="357"/>
                    <a:pt x="356" y="343"/>
                    <a:pt x="356" y="325"/>
                  </a:cubicBezTo>
                  <a:cubicBezTo>
                    <a:pt x="356" y="64"/>
                    <a:pt x="356" y="64"/>
                    <a:pt x="356" y="64"/>
                  </a:cubicBezTo>
                  <a:cubicBezTo>
                    <a:pt x="356" y="47"/>
                    <a:pt x="342" y="32"/>
                    <a:pt x="324" y="32"/>
                  </a:cubicBezTo>
                  <a:cubicBezTo>
                    <a:pt x="64" y="32"/>
                    <a:pt x="64" y="32"/>
                    <a:pt x="64" y="32"/>
                  </a:cubicBezTo>
                  <a:cubicBezTo>
                    <a:pt x="64" y="32"/>
                    <a:pt x="64" y="32"/>
                    <a:pt x="6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9">
              <a:extLst>
                <a:ext uri="{FF2B5EF4-FFF2-40B4-BE49-F238E27FC236}">
                  <a16:creationId xmlns:a16="http://schemas.microsoft.com/office/drawing/2014/main" id="{2F7682D2-83E1-42BB-8FCA-F4084706AD0F}"/>
                </a:ext>
              </a:extLst>
            </p:cNvPr>
            <p:cNvSpPr>
              <a:spLocks noEditPoints="1"/>
            </p:cNvSpPr>
            <p:nvPr/>
          </p:nvSpPr>
          <p:spPr bwMode="auto">
            <a:xfrm>
              <a:off x="2914" y="1675"/>
              <a:ext cx="685" cy="686"/>
            </a:xfrm>
            <a:custGeom>
              <a:avLst/>
              <a:gdLst>
                <a:gd name="T0" fmla="*/ 324 w 388"/>
                <a:gd name="T1" fmla="*/ 388 h 388"/>
                <a:gd name="T2" fmla="*/ 64 w 388"/>
                <a:gd name="T3" fmla="*/ 388 h 388"/>
                <a:gd name="T4" fmla="*/ 0 w 388"/>
                <a:gd name="T5" fmla="*/ 325 h 388"/>
                <a:gd name="T6" fmla="*/ 0 w 388"/>
                <a:gd name="T7" fmla="*/ 64 h 388"/>
                <a:gd name="T8" fmla="*/ 64 w 388"/>
                <a:gd name="T9" fmla="*/ 0 h 388"/>
                <a:gd name="T10" fmla="*/ 324 w 388"/>
                <a:gd name="T11" fmla="*/ 0 h 388"/>
                <a:gd name="T12" fmla="*/ 388 w 388"/>
                <a:gd name="T13" fmla="*/ 64 h 388"/>
                <a:gd name="T14" fmla="*/ 388 w 388"/>
                <a:gd name="T15" fmla="*/ 325 h 388"/>
                <a:gd name="T16" fmla="*/ 324 w 388"/>
                <a:gd name="T17" fmla="*/ 388 h 388"/>
                <a:gd name="T18" fmla="*/ 64 w 388"/>
                <a:gd name="T19" fmla="*/ 32 h 388"/>
                <a:gd name="T20" fmla="*/ 32 w 388"/>
                <a:gd name="T21" fmla="*/ 64 h 388"/>
                <a:gd name="T22" fmla="*/ 32 w 388"/>
                <a:gd name="T23" fmla="*/ 325 h 388"/>
                <a:gd name="T24" fmla="*/ 64 w 388"/>
                <a:gd name="T25" fmla="*/ 357 h 388"/>
                <a:gd name="T26" fmla="*/ 324 w 388"/>
                <a:gd name="T27" fmla="*/ 357 h 388"/>
                <a:gd name="T28" fmla="*/ 356 w 388"/>
                <a:gd name="T29" fmla="*/ 325 h 388"/>
                <a:gd name="T30" fmla="*/ 356 w 388"/>
                <a:gd name="T31" fmla="*/ 64 h 388"/>
                <a:gd name="T32" fmla="*/ 324 w 388"/>
                <a:gd name="T33" fmla="*/ 32 h 388"/>
                <a:gd name="T34" fmla="*/ 64 w 388"/>
                <a:gd name="T35" fmla="*/ 32 h 388"/>
                <a:gd name="T36" fmla="*/ 64 w 388"/>
                <a:gd name="T37" fmla="*/ 3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8" h="388">
                  <a:moveTo>
                    <a:pt x="324" y="388"/>
                  </a:moveTo>
                  <a:cubicBezTo>
                    <a:pt x="64" y="388"/>
                    <a:pt x="64" y="388"/>
                    <a:pt x="64" y="388"/>
                  </a:cubicBezTo>
                  <a:cubicBezTo>
                    <a:pt x="29" y="388"/>
                    <a:pt x="0" y="361"/>
                    <a:pt x="0" y="325"/>
                  </a:cubicBezTo>
                  <a:cubicBezTo>
                    <a:pt x="0" y="64"/>
                    <a:pt x="0" y="64"/>
                    <a:pt x="0" y="64"/>
                  </a:cubicBezTo>
                  <a:cubicBezTo>
                    <a:pt x="0" y="29"/>
                    <a:pt x="29" y="0"/>
                    <a:pt x="64" y="0"/>
                  </a:cubicBezTo>
                  <a:cubicBezTo>
                    <a:pt x="324" y="0"/>
                    <a:pt x="324" y="0"/>
                    <a:pt x="324" y="0"/>
                  </a:cubicBezTo>
                  <a:cubicBezTo>
                    <a:pt x="359" y="0"/>
                    <a:pt x="388" y="29"/>
                    <a:pt x="388" y="64"/>
                  </a:cubicBezTo>
                  <a:cubicBezTo>
                    <a:pt x="388" y="325"/>
                    <a:pt x="388" y="325"/>
                    <a:pt x="388" y="325"/>
                  </a:cubicBezTo>
                  <a:cubicBezTo>
                    <a:pt x="388" y="361"/>
                    <a:pt x="359" y="388"/>
                    <a:pt x="324" y="388"/>
                  </a:cubicBezTo>
                  <a:close/>
                  <a:moveTo>
                    <a:pt x="64" y="32"/>
                  </a:moveTo>
                  <a:cubicBezTo>
                    <a:pt x="46" y="32"/>
                    <a:pt x="32" y="47"/>
                    <a:pt x="32" y="64"/>
                  </a:cubicBezTo>
                  <a:cubicBezTo>
                    <a:pt x="32" y="325"/>
                    <a:pt x="32" y="325"/>
                    <a:pt x="32" y="325"/>
                  </a:cubicBezTo>
                  <a:cubicBezTo>
                    <a:pt x="32" y="343"/>
                    <a:pt x="46" y="357"/>
                    <a:pt x="64" y="357"/>
                  </a:cubicBezTo>
                  <a:cubicBezTo>
                    <a:pt x="324" y="357"/>
                    <a:pt x="324" y="357"/>
                    <a:pt x="324" y="357"/>
                  </a:cubicBezTo>
                  <a:cubicBezTo>
                    <a:pt x="341" y="357"/>
                    <a:pt x="356" y="343"/>
                    <a:pt x="356" y="325"/>
                  </a:cubicBezTo>
                  <a:cubicBezTo>
                    <a:pt x="356" y="64"/>
                    <a:pt x="356" y="64"/>
                    <a:pt x="356" y="64"/>
                  </a:cubicBezTo>
                  <a:cubicBezTo>
                    <a:pt x="356" y="47"/>
                    <a:pt x="341" y="32"/>
                    <a:pt x="324" y="32"/>
                  </a:cubicBezTo>
                  <a:cubicBezTo>
                    <a:pt x="64" y="32"/>
                    <a:pt x="64" y="32"/>
                    <a:pt x="64" y="32"/>
                  </a:cubicBezTo>
                  <a:cubicBezTo>
                    <a:pt x="64" y="32"/>
                    <a:pt x="64" y="32"/>
                    <a:pt x="6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0">
              <a:extLst>
                <a:ext uri="{FF2B5EF4-FFF2-40B4-BE49-F238E27FC236}">
                  <a16:creationId xmlns:a16="http://schemas.microsoft.com/office/drawing/2014/main" id="{93875FFA-7B8F-405B-AEEC-87A6569A9ABD}"/>
                </a:ext>
              </a:extLst>
            </p:cNvPr>
            <p:cNvSpPr>
              <a:spLocks/>
            </p:cNvSpPr>
            <p:nvPr/>
          </p:nvSpPr>
          <p:spPr bwMode="auto">
            <a:xfrm>
              <a:off x="2293" y="1077"/>
              <a:ext cx="400" cy="67"/>
            </a:xfrm>
            <a:custGeom>
              <a:avLst/>
              <a:gdLst>
                <a:gd name="T0" fmla="*/ 209 w 226"/>
                <a:gd name="T1" fmla="*/ 38 h 38"/>
                <a:gd name="T2" fmla="*/ 17 w 226"/>
                <a:gd name="T3" fmla="*/ 38 h 38"/>
                <a:gd name="T4" fmla="*/ 0 w 226"/>
                <a:gd name="T5" fmla="*/ 19 h 38"/>
                <a:gd name="T6" fmla="*/ 17 w 226"/>
                <a:gd name="T7" fmla="*/ 0 h 38"/>
                <a:gd name="T8" fmla="*/ 209 w 226"/>
                <a:gd name="T9" fmla="*/ 0 h 38"/>
                <a:gd name="T10" fmla="*/ 226 w 226"/>
                <a:gd name="T11" fmla="*/ 19 h 38"/>
                <a:gd name="T12" fmla="*/ 209 w 22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226" h="38">
                  <a:moveTo>
                    <a:pt x="209" y="38"/>
                  </a:moveTo>
                  <a:cubicBezTo>
                    <a:pt x="17" y="38"/>
                    <a:pt x="17" y="38"/>
                    <a:pt x="17" y="38"/>
                  </a:cubicBezTo>
                  <a:cubicBezTo>
                    <a:pt x="7" y="38"/>
                    <a:pt x="0" y="30"/>
                    <a:pt x="0" y="19"/>
                  </a:cubicBezTo>
                  <a:cubicBezTo>
                    <a:pt x="0" y="8"/>
                    <a:pt x="7" y="0"/>
                    <a:pt x="17" y="0"/>
                  </a:cubicBezTo>
                  <a:cubicBezTo>
                    <a:pt x="209" y="0"/>
                    <a:pt x="209" y="0"/>
                    <a:pt x="209" y="0"/>
                  </a:cubicBezTo>
                  <a:cubicBezTo>
                    <a:pt x="218" y="0"/>
                    <a:pt x="226" y="8"/>
                    <a:pt x="226" y="19"/>
                  </a:cubicBezTo>
                  <a:cubicBezTo>
                    <a:pt x="226" y="30"/>
                    <a:pt x="218" y="38"/>
                    <a:pt x="209"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1">
              <a:extLst>
                <a:ext uri="{FF2B5EF4-FFF2-40B4-BE49-F238E27FC236}">
                  <a16:creationId xmlns:a16="http://schemas.microsoft.com/office/drawing/2014/main" id="{1ABE4C58-6F5A-423B-80D5-4C8851D0271D}"/>
                </a:ext>
              </a:extLst>
            </p:cNvPr>
            <p:cNvSpPr>
              <a:spLocks/>
            </p:cNvSpPr>
            <p:nvPr/>
          </p:nvSpPr>
          <p:spPr bwMode="auto">
            <a:xfrm>
              <a:off x="2293" y="1197"/>
              <a:ext cx="400" cy="68"/>
            </a:xfrm>
            <a:custGeom>
              <a:avLst/>
              <a:gdLst>
                <a:gd name="T0" fmla="*/ 209 w 226"/>
                <a:gd name="T1" fmla="*/ 38 h 38"/>
                <a:gd name="T2" fmla="*/ 17 w 226"/>
                <a:gd name="T3" fmla="*/ 38 h 38"/>
                <a:gd name="T4" fmla="*/ 0 w 226"/>
                <a:gd name="T5" fmla="*/ 19 h 38"/>
                <a:gd name="T6" fmla="*/ 17 w 226"/>
                <a:gd name="T7" fmla="*/ 0 h 38"/>
                <a:gd name="T8" fmla="*/ 209 w 226"/>
                <a:gd name="T9" fmla="*/ 0 h 38"/>
                <a:gd name="T10" fmla="*/ 226 w 226"/>
                <a:gd name="T11" fmla="*/ 19 h 38"/>
                <a:gd name="T12" fmla="*/ 209 w 22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226" h="38">
                  <a:moveTo>
                    <a:pt x="209" y="38"/>
                  </a:moveTo>
                  <a:cubicBezTo>
                    <a:pt x="17" y="38"/>
                    <a:pt x="17" y="38"/>
                    <a:pt x="17" y="38"/>
                  </a:cubicBezTo>
                  <a:cubicBezTo>
                    <a:pt x="7" y="38"/>
                    <a:pt x="0" y="29"/>
                    <a:pt x="0" y="19"/>
                  </a:cubicBezTo>
                  <a:cubicBezTo>
                    <a:pt x="0" y="8"/>
                    <a:pt x="7" y="0"/>
                    <a:pt x="17" y="0"/>
                  </a:cubicBezTo>
                  <a:cubicBezTo>
                    <a:pt x="209" y="0"/>
                    <a:pt x="209" y="0"/>
                    <a:pt x="209" y="0"/>
                  </a:cubicBezTo>
                  <a:cubicBezTo>
                    <a:pt x="218" y="0"/>
                    <a:pt x="226" y="8"/>
                    <a:pt x="226" y="19"/>
                  </a:cubicBezTo>
                  <a:cubicBezTo>
                    <a:pt x="226" y="29"/>
                    <a:pt x="218" y="38"/>
                    <a:pt x="209"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2">
              <a:extLst>
                <a:ext uri="{FF2B5EF4-FFF2-40B4-BE49-F238E27FC236}">
                  <a16:creationId xmlns:a16="http://schemas.microsoft.com/office/drawing/2014/main" id="{97E26426-C028-456D-8D32-275A5CEE7A46}"/>
                </a:ext>
              </a:extLst>
            </p:cNvPr>
            <p:cNvSpPr>
              <a:spLocks/>
            </p:cNvSpPr>
            <p:nvPr/>
          </p:nvSpPr>
          <p:spPr bwMode="auto">
            <a:xfrm>
              <a:off x="2293" y="1321"/>
              <a:ext cx="400" cy="67"/>
            </a:xfrm>
            <a:custGeom>
              <a:avLst/>
              <a:gdLst>
                <a:gd name="T0" fmla="*/ 209 w 226"/>
                <a:gd name="T1" fmla="*/ 38 h 38"/>
                <a:gd name="T2" fmla="*/ 17 w 226"/>
                <a:gd name="T3" fmla="*/ 38 h 38"/>
                <a:gd name="T4" fmla="*/ 0 w 226"/>
                <a:gd name="T5" fmla="*/ 19 h 38"/>
                <a:gd name="T6" fmla="*/ 17 w 226"/>
                <a:gd name="T7" fmla="*/ 0 h 38"/>
                <a:gd name="T8" fmla="*/ 209 w 226"/>
                <a:gd name="T9" fmla="*/ 0 h 38"/>
                <a:gd name="T10" fmla="*/ 226 w 226"/>
                <a:gd name="T11" fmla="*/ 19 h 38"/>
                <a:gd name="T12" fmla="*/ 209 w 22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226" h="38">
                  <a:moveTo>
                    <a:pt x="209" y="38"/>
                  </a:moveTo>
                  <a:cubicBezTo>
                    <a:pt x="17" y="38"/>
                    <a:pt x="17" y="38"/>
                    <a:pt x="17" y="38"/>
                  </a:cubicBezTo>
                  <a:cubicBezTo>
                    <a:pt x="7" y="38"/>
                    <a:pt x="0" y="28"/>
                    <a:pt x="0" y="19"/>
                  </a:cubicBezTo>
                  <a:cubicBezTo>
                    <a:pt x="0" y="8"/>
                    <a:pt x="7" y="0"/>
                    <a:pt x="17" y="0"/>
                  </a:cubicBezTo>
                  <a:cubicBezTo>
                    <a:pt x="209" y="0"/>
                    <a:pt x="209" y="0"/>
                    <a:pt x="209" y="0"/>
                  </a:cubicBezTo>
                  <a:cubicBezTo>
                    <a:pt x="218" y="0"/>
                    <a:pt x="226" y="8"/>
                    <a:pt x="226" y="19"/>
                  </a:cubicBezTo>
                  <a:cubicBezTo>
                    <a:pt x="226" y="28"/>
                    <a:pt x="218" y="38"/>
                    <a:pt x="209"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3">
              <a:extLst>
                <a:ext uri="{FF2B5EF4-FFF2-40B4-BE49-F238E27FC236}">
                  <a16:creationId xmlns:a16="http://schemas.microsoft.com/office/drawing/2014/main" id="{64CBCEB2-0CAA-4F21-8325-C947354BE99C}"/>
                </a:ext>
              </a:extLst>
            </p:cNvPr>
            <p:cNvSpPr>
              <a:spLocks noEditPoints="1"/>
            </p:cNvSpPr>
            <p:nvPr/>
          </p:nvSpPr>
          <p:spPr bwMode="auto">
            <a:xfrm>
              <a:off x="2914" y="879"/>
              <a:ext cx="685" cy="707"/>
            </a:xfrm>
            <a:custGeom>
              <a:avLst/>
              <a:gdLst>
                <a:gd name="T0" fmla="*/ 324 w 388"/>
                <a:gd name="T1" fmla="*/ 0 h 400"/>
                <a:gd name="T2" fmla="*/ 64 w 388"/>
                <a:gd name="T3" fmla="*/ 0 h 400"/>
                <a:gd name="T4" fmla="*/ 0 w 388"/>
                <a:gd name="T5" fmla="*/ 65 h 400"/>
                <a:gd name="T6" fmla="*/ 0 w 388"/>
                <a:gd name="T7" fmla="*/ 334 h 400"/>
                <a:gd name="T8" fmla="*/ 64 w 388"/>
                <a:gd name="T9" fmla="*/ 400 h 400"/>
                <a:gd name="T10" fmla="*/ 324 w 388"/>
                <a:gd name="T11" fmla="*/ 400 h 400"/>
                <a:gd name="T12" fmla="*/ 388 w 388"/>
                <a:gd name="T13" fmla="*/ 334 h 400"/>
                <a:gd name="T14" fmla="*/ 388 w 388"/>
                <a:gd name="T15" fmla="*/ 65 h 400"/>
                <a:gd name="T16" fmla="*/ 324 w 388"/>
                <a:gd name="T17" fmla="*/ 0 h 400"/>
                <a:gd name="T18" fmla="*/ 356 w 388"/>
                <a:gd name="T19" fmla="*/ 65 h 400"/>
                <a:gd name="T20" fmla="*/ 356 w 388"/>
                <a:gd name="T21" fmla="*/ 183 h 400"/>
                <a:gd name="T22" fmla="*/ 209 w 388"/>
                <a:gd name="T23" fmla="*/ 183 h 400"/>
                <a:gd name="T24" fmla="*/ 209 w 388"/>
                <a:gd name="T25" fmla="*/ 32 h 400"/>
                <a:gd name="T26" fmla="*/ 324 w 388"/>
                <a:gd name="T27" fmla="*/ 32 h 400"/>
                <a:gd name="T28" fmla="*/ 356 w 388"/>
                <a:gd name="T29" fmla="*/ 65 h 400"/>
                <a:gd name="T30" fmla="*/ 32 w 388"/>
                <a:gd name="T31" fmla="*/ 65 h 400"/>
                <a:gd name="T32" fmla="*/ 64 w 388"/>
                <a:gd name="T33" fmla="*/ 32 h 400"/>
                <a:gd name="T34" fmla="*/ 177 w 388"/>
                <a:gd name="T35" fmla="*/ 32 h 400"/>
                <a:gd name="T36" fmla="*/ 177 w 388"/>
                <a:gd name="T37" fmla="*/ 183 h 400"/>
                <a:gd name="T38" fmla="*/ 32 w 388"/>
                <a:gd name="T39" fmla="*/ 183 h 400"/>
                <a:gd name="T40" fmla="*/ 32 w 388"/>
                <a:gd name="T41" fmla="*/ 65 h 400"/>
                <a:gd name="T42" fmla="*/ 32 w 388"/>
                <a:gd name="T43" fmla="*/ 65 h 400"/>
                <a:gd name="T44" fmla="*/ 32 w 388"/>
                <a:gd name="T45" fmla="*/ 334 h 400"/>
                <a:gd name="T46" fmla="*/ 32 w 388"/>
                <a:gd name="T47" fmla="*/ 216 h 400"/>
                <a:gd name="T48" fmla="*/ 177 w 388"/>
                <a:gd name="T49" fmla="*/ 216 h 400"/>
                <a:gd name="T50" fmla="*/ 177 w 388"/>
                <a:gd name="T51" fmla="*/ 362 h 400"/>
                <a:gd name="T52" fmla="*/ 178 w 388"/>
                <a:gd name="T53" fmla="*/ 367 h 400"/>
                <a:gd name="T54" fmla="*/ 64 w 388"/>
                <a:gd name="T55" fmla="*/ 367 h 400"/>
                <a:gd name="T56" fmla="*/ 32 w 388"/>
                <a:gd name="T57" fmla="*/ 334 h 400"/>
                <a:gd name="T58" fmla="*/ 324 w 388"/>
                <a:gd name="T59" fmla="*/ 367 h 400"/>
                <a:gd name="T60" fmla="*/ 209 w 388"/>
                <a:gd name="T61" fmla="*/ 367 h 400"/>
                <a:gd name="T62" fmla="*/ 209 w 388"/>
                <a:gd name="T63" fmla="*/ 362 h 400"/>
                <a:gd name="T64" fmla="*/ 209 w 388"/>
                <a:gd name="T65" fmla="*/ 216 h 400"/>
                <a:gd name="T66" fmla="*/ 356 w 388"/>
                <a:gd name="T67" fmla="*/ 216 h 400"/>
                <a:gd name="T68" fmla="*/ 356 w 388"/>
                <a:gd name="T69" fmla="*/ 334 h 400"/>
                <a:gd name="T70" fmla="*/ 324 w 388"/>
                <a:gd name="T71" fmla="*/ 367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8" h="400">
                  <a:moveTo>
                    <a:pt x="324" y="0"/>
                  </a:moveTo>
                  <a:cubicBezTo>
                    <a:pt x="64" y="0"/>
                    <a:pt x="64" y="0"/>
                    <a:pt x="64" y="0"/>
                  </a:cubicBezTo>
                  <a:cubicBezTo>
                    <a:pt x="29" y="0"/>
                    <a:pt x="0" y="28"/>
                    <a:pt x="0" y="65"/>
                  </a:cubicBezTo>
                  <a:cubicBezTo>
                    <a:pt x="0" y="334"/>
                    <a:pt x="0" y="334"/>
                    <a:pt x="0" y="334"/>
                  </a:cubicBezTo>
                  <a:cubicBezTo>
                    <a:pt x="0" y="370"/>
                    <a:pt x="29" y="400"/>
                    <a:pt x="64" y="400"/>
                  </a:cubicBezTo>
                  <a:cubicBezTo>
                    <a:pt x="324" y="400"/>
                    <a:pt x="324" y="400"/>
                    <a:pt x="324" y="400"/>
                  </a:cubicBezTo>
                  <a:cubicBezTo>
                    <a:pt x="359" y="400"/>
                    <a:pt x="388" y="370"/>
                    <a:pt x="388" y="334"/>
                  </a:cubicBezTo>
                  <a:cubicBezTo>
                    <a:pt x="388" y="65"/>
                    <a:pt x="388" y="65"/>
                    <a:pt x="388" y="65"/>
                  </a:cubicBezTo>
                  <a:cubicBezTo>
                    <a:pt x="388" y="28"/>
                    <a:pt x="359" y="0"/>
                    <a:pt x="324" y="0"/>
                  </a:cubicBezTo>
                  <a:close/>
                  <a:moveTo>
                    <a:pt x="356" y="65"/>
                  </a:moveTo>
                  <a:cubicBezTo>
                    <a:pt x="356" y="183"/>
                    <a:pt x="356" y="183"/>
                    <a:pt x="356" y="183"/>
                  </a:cubicBezTo>
                  <a:cubicBezTo>
                    <a:pt x="209" y="183"/>
                    <a:pt x="209" y="183"/>
                    <a:pt x="209" y="183"/>
                  </a:cubicBezTo>
                  <a:cubicBezTo>
                    <a:pt x="209" y="32"/>
                    <a:pt x="209" y="32"/>
                    <a:pt x="209" y="32"/>
                  </a:cubicBezTo>
                  <a:cubicBezTo>
                    <a:pt x="324" y="32"/>
                    <a:pt x="324" y="32"/>
                    <a:pt x="324" y="32"/>
                  </a:cubicBezTo>
                  <a:cubicBezTo>
                    <a:pt x="341" y="32"/>
                    <a:pt x="356" y="47"/>
                    <a:pt x="356" y="65"/>
                  </a:cubicBezTo>
                  <a:close/>
                  <a:moveTo>
                    <a:pt x="32" y="65"/>
                  </a:moveTo>
                  <a:cubicBezTo>
                    <a:pt x="32" y="47"/>
                    <a:pt x="46" y="32"/>
                    <a:pt x="64" y="32"/>
                  </a:cubicBezTo>
                  <a:cubicBezTo>
                    <a:pt x="177" y="32"/>
                    <a:pt x="177" y="32"/>
                    <a:pt x="177" y="32"/>
                  </a:cubicBezTo>
                  <a:cubicBezTo>
                    <a:pt x="177" y="183"/>
                    <a:pt x="177" y="183"/>
                    <a:pt x="177" y="183"/>
                  </a:cubicBezTo>
                  <a:cubicBezTo>
                    <a:pt x="32" y="183"/>
                    <a:pt x="32" y="183"/>
                    <a:pt x="32" y="183"/>
                  </a:cubicBezTo>
                  <a:cubicBezTo>
                    <a:pt x="32" y="65"/>
                    <a:pt x="32" y="65"/>
                    <a:pt x="32" y="65"/>
                  </a:cubicBezTo>
                  <a:cubicBezTo>
                    <a:pt x="32" y="65"/>
                    <a:pt x="32" y="65"/>
                    <a:pt x="32" y="65"/>
                  </a:cubicBezTo>
                  <a:close/>
                  <a:moveTo>
                    <a:pt x="32" y="334"/>
                  </a:moveTo>
                  <a:cubicBezTo>
                    <a:pt x="32" y="216"/>
                    <a:pt x="32" y="216"/>
                    <a:pt x="32" y="216"/>
                  </a:cubicBezTo>
                  <a:cubicBezTo>
                    <a:pt x="177" y="216"/>
                    <a:pt x="177" y="216"/>
                    <a:pt x="177" y="216"/>
                  </a:cubicBezTo>
                  <a:cubicBezTo>
                    <a:pt x="177" y="362"/>
                    <a:pt x="177" y="362"/>
                    <a:pt x="177" y="362"/>
                  </a:cubicBezTo>
                  <a:cubicBezTo>
                    <a:pt x="177" y="364"/>
                    <a:pt x="178" y="365"/>
                    <a:pt x="178" y="367"/>
                  </a:cubicBezTo>
                  <a:cubicBezTo>
                    <a:pt x="64" y="367"/>
                    <a:pt x="64" y="367"/>
                    <a:pt x="64" y="367"/>
                  </a:cubicBezTo>
                  <a:cubicBezTo>
                    <a:pt x="46" y="367"/>
                    <a:pt x="32" y="352"/>
                    <a:pt x="32" y="334"/>
                  </a:cubicBezTo>
                  <a:close/>
                  <a:moveTo>
                    <a:pt x="324" y="367"/>
                  </a:moveTo>
                  <a:cubicBezTo>
                    <a:pt x="209" y="367"/>
                    <a:pt x="209" y="367"/>
                    <a:pt x="209" y="367"/>
                  </a:cubicBezTo>
                  <a:cubicBezTo>
                    <a:pt x="209" y="365"/>
                    <a:pt x="209" y="364"/>
                    <a:pt x="209" y="362"/>
                  </a:cubicBezTo>
                  <a:cubicBezTo>
                    <a:pt x="209" y="216"/>
                    <a:pt x="209" y="216"/>
                    <a:pt x="209" y="216"/>
                  </a:cubicBezTo>
                  <a:cubicBezTo>
                    <a:pt x="356" y="216"/>
                    <a:pt x="356" y="216"/>
                    <a:pt x="356" y="216"/>
                  </a:cubicBezTo>
                  <a:cubicBezTo>
                    <a:pt x="356" y="334"/>
                    <a:pt x="356" y="334"/>
                    <a:pt x="356" y="334"/>
                  </a:cubicBezTo>
                  <a:cubicBezTo>
                    <a:pt x="356" y="352"/>
                    <a:pt x="341" y="367"/>
                    <a:pt x="324" y="3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4">
              <a:extLst>
                <a:ext uri="{FF2B5EF4-FFF2-40B4-BE49-F238E27FC236}">
                  <a16:creationId xmlns:a16="http://schemas.microsoft.com/office/drawing/2014/main" id="{AC31A2FC-792F-40D3-BD07-062110AFE05B}"/>
                </a:ext>
              </a:extLst>
            </p:cNvPr>
            <p:cNvSpPr>
              <a:spLocks/>
            </p:cNvSpPr>
            <p:nvPr/>
          </p:nvSpPr>
          <p:spPr bwMode="auto">
            <a:xfrm>
              <a:off x="2293" y="1830"/>
              <a:ext cx="223" cy="377"/>
            </a:xfrm>
            <a:custGeom>
              <a:avLst/>
              <a:gdLst>
                <a:gd name="T0" fmla="*/ 126 w 126"/>
                <a:gd name="T1" fmla="*/ 0 h 213"/>
                <a:gd name="T2" fmla="*/ 27 w 126"/>
                <a:gd name="T3" fmla="*/ 0 h 213"/>
                <a:gd name="T4" fmla="*/ 0 w 126"/>
                <a:gd name="T5" fmla="*/ 26 h 213"/>
                <a:gd name="T6" fmla="*/ 0 w 126"/>
                <a:gd name="T7" fmla="*/ 186 h 213"/>
                <a:gd name="T8" fmla="*/ 27 w 126"/>
                <a:gd name="T9" fmla="*/ 213 h 213"/>
                <a:gd name="T10" fmla="*/ 126 w 126"/>
                <a:gd name="T11" fmla="*/ 213 h 213"/>
                <a:gd name="T12" fmla="*/ 126 w 126"/>
                <a:gd name="T13" fmla="*/ 0 h 213"/>
                <a:gd name="T14" fmla="*/ 126 w 126"/>
                <a:gd name="T15" fmla="*/ 0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213">
                  <a:moveTo>
                    <a:pt x="126" y="0"/>
                  </a:moveTo>
                  <a:cubicBezTo>
                    <a:pt x="27" y="0"/>
                    <a:pt x="27" y="0"/>
                    <a:pt x="27" y="0"/>
                  </a:cubicBezTo>
                  <a:cubicBezTo>
                    <a:pt x="12" y="0"/>
                    <a:pt x="0" y="12"/>
                    <a:pt x="0" y="26"/>
                  </a:cubicBezTo>
                  <a:cubicBezTo>
                    <a:pt x="0" y="186"/>
                    <a:pt x="0" y="186"/>
                    <a:pt x="0" y="186"/>
                  </a:cubicBezTo>
                  <a:cubicBezTo>
                    <a:pt x="0" y="201"/>
                    <a:pt x="12" y="213"/>
                    <a:pt x="27" y="213"/>
                  </a:cubicBezTo>
                  <a:cubicBezTo>
                    <a:pt x="126" y="213"/>
                    <a:pt x="126" y="213"/>
                    <a:pt x="126" y="213"/>
                  </a:cubicBezTo>
                  <a:cubicBezTo>
                    <a:pt x="126" y="0"/>
                    <a:pt x="126" y="0"/>
                    <a:pt x="126" y="0"/>
                  </a:cubicBezTo>
                  <a:cubicBezTo>
                    <a:pt x="126" y="0"/>
                    <a:pt x="126" y="0"/>
                    <a:pt x="126"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5">
              <a:extLst>
                <a:ext uri="{FF2B5EF4-FFF2-40B4-BE49-F238E27FC236}">
                  <a16:creationId xmlns:a16="http://schemas.microsoft.com/office/drawing/2014/main" id="{2E5C90DB-B920-4339-A066-8BA4132CADF3}"/>
                </a:ext>
              </a:extLst>
            </p:cNvPr>
            <p:cNvSpPr>
              <a:spLocks/>
            </p:cNvSpPr>
            <p:nvPr/>
          </p:nvSpPr>
          <p:spPr bwMode="auto">
            <a:xfrm>
              <a:off x="2581" y="1830"/>
              <a:ext cx="89" cy="377"/>
            </a:xfrm>
            <a:custGeom>
              <a:avLst/>
              <a:gdLst>
                <a:gd name="T0" fmla="*/ 27 w 50"/>
                <a:gd name="T1" fmla="*/ 0 h 213"/>
                <a:gd name="T2" fmla="*/ 0 w 50"/>
                <a:gd name="T3" fmla="*/ 0 h 213"/>
                <a:gd name="T4" fmla="*/ 0 w 50"/>
                <a:gd name="T5" fmla="*/ 0 h 213"/>
                <a:gd name="T6" fmla="*/ 0 w 50"/>
                <a:gd name="T7" fmla="*/ 213 h 213"/>
                <a:gd name="T8" fmla="*/ 27 w 50"/>
                <a:gd name="T9" fmla="*/ 213 h 213"/>
                <a:gd name="T10" fmla="*/ 50 w 50"/>
                <a:gd name="T11" fmla="*/ 186 h 213"/>
                <a:gd name="T12" fmla="*/ 50 w 50"/>
                <a:gd name="T13" fmla="*/ 26 h 213"/>
                <a:gd name="T14" fmla="*/ 27 w 50"/>
                <a:gd name="T15" fmla="*/ 0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213">
                  <a:moveTo>
                    <a:pt x="27" y="0"/>
                  </a:moveTo>
                  <a:cubicBezTo>
                    <a:pt x="0" y="0"/>
                    <a:pt x="0" y="0"/>
                    <a:pt x="0" y="0"/>
                  </a:cubicBezTo>
                  <a:cubicBezTo>
                    <a:pt x="0" y="0"/>
                    <a:pt x="0" y="0"/>
                    <a:pt x="0" y="0"/>
                  </a:cubicBezTo>
                  <a:cubicBezTo>
                    <a:pt x="0" y="213"/>
                    <a:pt x="0" y="213"/>
                    <a:pt x="0" y="213"/>
                  </a:cubicBezTo>
                  <a:cubicBezTo>
                    <a:pt x="27" y="213"/>
                    <a:pt x="27" y="213"/>
                    <a:pt x="27" y="213"/>
                  </a:cubicBezTo>
                  <a:cubicBezTo>
                    <a:pt x="40" y="213"/>
                    <a:pt x="50" y="201"/>
                    <a:pt x="50" y="186"/>
                  </a:cubicBezTo>
                  <a:cubicBezTo>
                    <a:pt x="50" y="26"/>
                    <a:pt x="50" y="26"/>
                    <a:pt x="50" y="26"/>
                  </a:cubicBezTo>
                  <a:cubicBezTo>
                    <a:pt x="50" y="12"/>
                    <a:pt x="40" y="0"/>
                    <a:pt x="27"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16">
              <a:extLst>
                <a:ext uri="{FF2B5EF4-FFF2-40B4-BE49-F238E27FC236}">
                  <a16:creationId xmlns:a16="http://schemas.microsoft.com/office/drawing/2014/main" id="{F7965C49-4F86-472A-93A9-AA862359DAE5}"/>
                </a:ext>
              </a:extLst>
            </p:cNvPr>
            <p:cNvSpPr>
              <a:spLocks noChangeArrowheads="1"/>
            </p:cNvSpPr>
            <p:nvPr/>
          </p:nvSpPr>
          <p:spPr bwMode="auto">
            <a:xfrm>
              <a:off x="3126" y="1889"/>
              <a:ext cx="259" cy="260"/>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5" name="Group 13">
            <a:extLst>
              <a:ext uri="{FF2B5EF4-FFF2-40B4-BE49-F238E27FC236}">
                <a16:creationId xmlns:a16="http://schemas.microsoft.com/office/drawing/2014/main" id="{CB3C8C72-8427-48BA-B055-FD5ECDA8F99D}"/>
              </a:ext>
            </a:extLst>
          </p:cNvPr>
          <p:cNvGrpSpPr>
            <a:grpSpLocks noChangeAspect="1"/>
          </p:cNvGrpSpPr>
          <p:nvPr/>
        </p:nvGrpSpPr>
        <p:grpSpPr bwMode="auto">
          <a:xfrm>
            <a:off x="5955485" y="1732483"/>
            <a:ext cx="323045" cy="323552"/>
            <a:chOff x="1608" y="345"/>
            <a:chExt cx="2544" cy="2548"/>
          </a:xfrm>
        </p:grpSpPr>
        <p:sp>
          <p:nvSpPr>
            <p:cNvPr id="196" name="Oval 14">
              <a:extLst>
                <a:ext uri="{FF2B5EF4-FFF2-40B4-BE49-F238E27FC236}">
                  <a16:creationId xmlns:a16="http://schemas.microsoft.com/office/drawing/2014/main" id="{3EF46807-2D9C-4EFA-B5DB-DC921A441579}"/>
                </a:ext>
              </a:extLst>
            </p:cNvPr>
            <p:cNvSpPr>
              <a:spLocks noChangeArrowheads="1"/>
            </p:cNvSpPr>
            <p:nvPr/>
          </p:nvSpPr>
          <p:spPr bwMode="auto">
            <a:xfrm>
              <a:off x="1608" y="345"/>
              <a:ext cx="2544" cy="2548"/>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5">
              <a:extLst>
                <a:ext uri="{FF2B5EF4-FFF2-40B4-BE49-F238E27FC236}">
                  <a16:creationId xmlns:a16="http://schemas.microsoft.com/office/drawing/2014/main" id="{DD7C2C11-73C6-4EA9-9C06-096FD8E8309E}"/>
                </a:ext>
              </a:extLst>
            </p:cNvPr>
            <p:cNvSpPr>
              <a:spLocks/>
            </p:cNvSpPr>
            <p:nvPr/>
          </p:nvSpPr>
          <p:spPr bwMode="auto">
            <a:xfrm>
              <a:off x="2278" y="798"/>
              <a:ext cx="1860" cy="2010"/>
            </a:xfrm>
            <a:custGeom>
              <a:avLst/>
              <a:gdLst>
                <a:gd name="T0" fmla="*/ 604 w 1053"/>
                <a:gd name="T1" fmla="*/ 125 h 1137"/>
                <a:gd name="T2" fmla="*/ 341 w 1053"/>
                <a:gd name="T3" fmla="*/ 0 h 1137"/>
                <a:gd name="T4" fmla="*/ 0 w 1053"/>
                <a:gd name="T5" fmla="*/ 341 h 1137"/>
                <a:gd name="T6" fmla="*/ 334 w 1053"/>
                <a:gd name="T7" fmla="*/ 869 h 1137"/>
                <a:gd name="T8" fmla="*/ 602 w 1053"/>
                <a:gd name="T9" fmla="*/ 1137 h 1137"/>
                <a:gd name="T10" fmla="*/ 1053 w 1053"/>
                <a:gd name="T11" fmla="*/ 573 h 1137"/>
                <a:gd name="T12" fmla="*/ 604 w 1053"/>
                <a:gd name="T13" fmla="*/ 125 h 1137"/>
              </a:gdLst>
              <a:ahLst/>
              <a:cxnLst>
                <a:cxn ang="0">
                  <a:pos x="T0" y="T1"/>
                </a:cxn>
                <a:cxn ang="0">
                  <a:pos x="T2" y="T3"/>
                </a:cxn>
                <a:cxn ang="0">
                  <a:pos x="T4" y="T5"/>
                </a:cxn>
                <a:cxn ang="0">
                  <a:pos x="T6" y="T7"/>
                </a:cxn>
                <a:cxn ang="0">
                  <a:pos x="T8" y="T9"/>
                </a:cxn>
                <a:cxn ang="0">
                  <a:pos x="T10" y="T11"/>
                </a:cxn>
                <a:cxn ang="0">
                  <a:pos x="T12" y="T13"/>
                </a:cxn>
              </a:cxnLst>
              <a:rect l="0" t="0" r="r" b="b"/>
              <a:pathLst>
                <a:path w="1053" h="1137">
                  <a:moveTo>
                    <a:pt x="604" y="125"/>
                  </a:moveTo>
                  <a:cubicBezTo>
                    <a:pt x="542" y="49"/>
                    <a:pt x="447" y="0"/>
                    <a:pt x="341" y="0"/>
                  </a:cubicBezTo>
                  <a:cubicBezTo>
                    <a:pt x="152" y="0"/>
                    <a:pt x="0" y="153"/>
                    <a:pt x="0" y="341"/>
                  </a:cubicBezTo>
                  <a:cubicBezTo>
                    <a:pt x="0" y="520"/>
                    <a:pt x="281" y="835"/>
                    <a:pt x="334" y="869"/>
                  </a:cubicBezTo>
                  <a:cubicBezTo>
                    <a:pt x="602" y="1137"/>
                    <a:pt x="602" y="1137"/>
                    <a:pt x="602" y="1137"/>
                  </a:cubicBezTo>
                  <a:cubicBezTo>
                    <a:pt x="838" y="1045"/>
                    <a:pt x="1014" y="831"/>
                    <a:pt x="1053" y="573"/>
                  </a:cubicBezTo>
                  <a:lnTo>
                    <a:pt x="604" y="125"/>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6">
              <a:extLst>
                <a:ext uri="{FF2B5EF4-FFF2-40B4-BE49-F238E27FC236}">
                  <a16:creationId xmlns:a16="http://schemas.microsoft.com/office/drawing/2014/main" id="{1AE961A0-A6EA-4BF5-A8E3-362CE9FD3486}"/>
                </a:ext>
              </a:extLst>
            </p:cNvPr>
            <p:cNvSpPr>
              <a:spLocks/>
            </p:cNvSpPr>
            <p:nvPr/>
          </p:nvSpPr>
          <p:spPr bwMode="auto">
            <a:xfrm>
              <a:off x="2278" y="798"/>
              <a:ext cx="1204" cy="1542"/>
            </a:xfrm>
            <a:custGeom>
              <a:avLst/>
              <a:gdLst>
                <a:gd name="T0" fmla="*/ 682 w 682"/>
                <a:gd name="T1" fmla="*/ 341 h 872"/>
                <a:gd name="T2" fmla="*/ 341 w 682"/>
                <a:gd name="T3" fmla="*/ 872 h 872"/>
                <a:gd name="T4" fmla="*/ 0 w 682"/>
                <a:gd name="T5" fmla="*/ 341 h 872"/>
                <a:gd name="T6" fmla="*/ 341 w 682"/>
                <a:gd name="T7" fmla="*/ 0 h 872"/>
                <a:gd name="T8" fmla="*/ 682 w 682"/>
                <a:gd name="T9" fmla="*/ 341 h 872"/>
              </a:gdLst>
              <a:ahLst/>
              <a:cxnLst>
                <a:cxn ang="0">
                  <a:pos x="T0" y="T1"/>
                </a:cxn>
                <a:cxn ang="0">
                  <a:pos x="T2" y="T3"/>
                </a:cxn>
                <a:cxn ang="0">
                  <a:pos x="T4" y="T5"/>
                </a:cxn>
                <a:cxn ang="0">
                  <a:pos x="T6" y="T7"/>
                </a:cxn>
                <a:cxn ang="0">
                  <a:pos x="T8" y="T9"/>
                </a:cxn>
              </a:cxnLst>
              <a:rect l="0" t="0" r="r" b="b"/>
              <a:pathLst>
                <a:path w="682" h="872">
                  <a:moveTo>
                    <a:pt x="682" y="341"/>
                  </a:moveTo>
                  <a:cubicBezTo>
                    <a:pt x="682" y="530"/>
                    <a:pt x="367" y="872"/>
                    <a:pt x="341" y="872"/>
                  </a:cubicBezTo>
                  <a:cubicBezTo>
                    <a:pt x="314" y="872"/>
                    <a:pt x="0" y="530"/>
                    <a:pt x="0" y="341"/>
                  </a:cubicBezTo>
                  <a:cubicBezTo>
                    <a:pt x="0" y="153"/>
                    <a:pt x="152" y="0"/>
                    <a:pt x="341" y="0"/>
                  </a:cubicBezTo>
                  <a:cubicBezTo>
                    <a:pt x="529" y="0"/>
                    <a:pt x="682" y="153"/>
                    <a:pt x="682"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17">
              <a:extLst>
                <a:ext uri="{FF2B5EF4-FFF2-40B4-BE49-F238E27FC236}">
                  <a16:creationId xmlns:a16="http://schemas.microsoft.com/office/drawing/2014/main" id="{BD359431-CC05-4834-9C31-5C830F7347A6}"/>
                </a:ext>
              </a:extLst>
            </p:cNvPr>
            <p:cNvSpPr>
              <a:spLocks noChangeArrowheads="1"/>
            </p:cNvSpPr>
            <p:nvPr/>
          </p:nvSpPr>
          <p:spPr bwMode="auto">
            <a:xfrm>
              <a:off x="2456" y="968"/>
              <a:ext cx="848" cy="848"/>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8">
              <a:extLst>
                <a:ext uri="{FF2B5EF4-FFF2-40B4-BE49-F238E27FC236}">
                  <a16:creationId xmlns:a16="http://schemas.microsoft.com/office/drawing/2014/main" id="{6FB23C3A-C891-427C-B17B-1CCB99FE684C}"/>
                </a:ext>
              </a:extLst>
            </p:cNvPr>
            <p:cNvSpPr>
              <a:spLocks noEditPoints="1"/>
            </p:cNvSpPr>
            <p:nvPr/>
          </p:nvSpPr>
          <p:spPr bwMode="auto">
            <a:xfrm>
              <a:off x="2631" y="1137"/>
              <a:ext cx="496" cy="384"/>
            </a:xfrm>
            <a:custGeom>
              <a:avLst/>
              <a:gdLst>
                <a:gd name="T0" fmla="*/ 278 w 281"/>
                <a:gd name="T1" fmla="*/ 52 h 217"/>
                <a:gd name="T2" fmla="*/ 269 w 281"/>
                <a:gd name="T3" fmla="*/ 47 h 217"/>
                <a:gd name="T4" fmla="*/ 68 w 281"/>
                <a:gd name="T5" fmla="*/ 47 h 217"/>
                <a:gd name="T6" fmla="*/ 68 w 281"/>
                <a:gd name="T7" fmla="*/ 11 h 217"/>
                <a:gd name="T8" fmla="*/ 57 w 281"/>
                <a:gd name="T9" fmla="*/ 0 h 217"/>
                <a:gd name="T10" fmla="*/ 10 w 281"/>
                <a:gd name="T11" fmla="*/ 0 h 217"/>
                <a:gd name="T12" fmla="*/ 0 w 281"/>
                <a:gd name="T13" fmla="*/ 11 h 217"/>
                <a:gd name="T14" fmla="*/ 10 w 281"/>
                <a:gd name="T15" fmla="*/ 22 h 217"/>
                <a:gd name="T16" fmla="*/ 47 w 281"/>
                <a:gd name="T17" fmla="*/ 22 h 217"/>
                <a:gd name="T18" fmla="*/ 47 w 281"/>
                <a:gd name="T19" fmla="*/ 58 h 217"/>
                <a:gd name="T20" fmla="*/ 47 w 281"/>
                <a:gd name="T21" fmla="*/ 171 h 217"/>
                <a:gd name="T22" fmla="*/ 47 w 281"/>
                <a:gd name="T23" fmla="*/ 206 h 217"/>
                <a:gd name="T24" fmla="*/ 57 w 281"/>
                <a:gd name="T25" fmla="*/ 217 h 217"/>
                <a:gd name="T26" fmla="*/ 222 w 281"/>
                <a:gd name="T27" fmla="*/ 217 h 217"/>
                <a:gd name="T28" fmla="*/ 233 w 281"/>
                <a:gd name="T29" fmla="*/ 206 h 217"/>
                <a:gd name="T30" fmla="*/ 222 w 281"/>
                <a:gd name="T31" fmla="*/ 195 h 217"/>
                <a:gd name="T32" fmla="*/ 68 w 281"/>
                <a:gd name="T33" fmla="*/ 195 h 217"/>
                <a:gd name="T34" fmla="*/ 68 w 281"/>
                <a:gd name="T35" fmla="*/ 182 h 217"/>
                <a:gd name="T36" fmla="*/ 222 w 281"/>
                <a:gd name="T37" fmla="*/ 182 h 217"/>
                <a:gd name="T38" fmla="*/ 232 w 281"/>
                <a:gd name="T39" fmla="*/ 175 h 217"/>
                <a:gd name="T40" fmla="*/ 279 w 281"/>
                <a:gd name="T41" fmla="*/ 62 h 217"/>
                <a:gd name="T42" fmla="*/ 278 w 281"/>
                <a:gd name="T43" fmla="*/ 52 h 217"/>
                <a:gd name="T44" fmla="*/ 215 w 281"/>
                <a:gd name="T45" fmla="*/ 161 h 217"/>
                <a:gd name="T46" fmla="*/ 68 w 281"/>
                <a:gd name="T47" fmla="*/ 161 h 217"/>
                <a:gd name="T48" fmla="*/ 68 w 281"/>
                <a:gd name="T49" fmla="*/ 69 h 217"/>
                <a:gd name="T50" fmla="*/ 253 w 281"/>
                <a:gd name="T51" fmla="*/ 69 h 217"/>
                <a:gd name="T52" fmla="*/ 215 w 281"/>
                <a:gd name="T53" fmla="*/ 16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1" h="217">
                  <a:moveTo>
                    <a:pt x="278" y="52"/>
                  </a:moveTo>
                  <a:cubicBezTo>
                    <a:pt x="276" y="49"/>
                    <a:pt x="273" y="47"/>
                    <a:pt x="269" y="47"/>
                  </a:cubicBezTo>
                  <a:cubicBezTo>
                    <a:pt x="68" y="47"/>
                    <a:pt x="68" y="47"/>
                    <a:pt x="68" y="47"/>
                  </a:cubicBezTo>
                  <a:cubicBezTo>
                    <a:pt x="68" y="11"/>
                    <a:pt x="68" y="11"/>
                    <a:pt x="68" y="11"/>
                  </a:cubicBezTo>
                  <a:cubicBezTo>
                    <a:pt x="68" y="5"/>
                    <a:pt x="63" y="0"/>
                    <a:pt x="57" y="0"/>
                  </a:cubicBezTo>
                  <a:cubicBezTo>
                    <a:pt x="10" y="0"/>
                    <a:pt x="10" y="0"/>
                    <a:pt x="10" y="0"/>
                  </a:cubicBezTo>
                  <a:cubicBezTo>
                    <a:pt x="4" y="0"/>
                    <a:pt x="0" y="5"/>
                    <a:pt x="0" y="11"/>
                  </a:cubicBezTo>
                  <a:cubicBezTo>
                    <a:pt x="0" y="17"/>
                    <a:pt x="4" y="22"/>
                    <a:pt x="10" y="22"/>
                  </a:cubicBezTo>
                  <a:cubicBezTo>
                    <a:pt x="47" y="22"/>
                    <a:pt x="47" y="22"/>
                    <a:pt x="47" y="22"/>
                  </a:cubicBezTo>
                  <a:cubicBezTo>
                    <a:pt x="47" y="58"/>
                    <a:pt x="47" y="58"/>
                    <a:pt x="47" y="58"/>
                  </a:cubicBezTo>
                  <a:cubicBezTo>
                    <a:pt x="47" y="171"/>
                    <a:pt x="47" y="171"/>
                    <a:pt x="47" y="171"/>
                  </a:cubicBezTo>
                  <a:cubicBezTo>
                    <a:pt x="47" y="206"/>
                    <a:pt x="47" y="206"/>
                    <a:pt x="47" y="206"/>
                  </a:cubicBezTo>
                  <a:cubicBezTo>
                    <a:pt x="47" y="212"/>
                    <a:pt x="51" y="217"/>
                    <a:pt x="57" y="217"/>
                  </a:cubicBezTo>
                  <a:cubicBezTo>
                    <a:pt x="222" y="217"/>
                    <a:pt x="222" y="217"/>
                    <a:pt x="222" y="217"/>
                  </a:cubicBezTo>
                  <a:cubicBezTo>
                    <a:pt x="228" y="217"/>
                    <a:pt x="233" y="212"/>
                    <a:pt x="233" y="206"/>
                  </a:cubicBezTo>
                  <a:cubicBezTo>
                    <a:pt x="233" y="200"/>
                    <a:pt x="228" y="195"/>
                    <a:pt x="222" y="195"/>
                  </a:cubicBezTo>
                  <a:cubicBezTo>
                    <a:pt x="68" y="195"/>
                    <a:pt x="68" y="195"/>
                    <a:pt x="68" y="195"/>
                  </a:cubicBezTo>
                  <a:cubicBezTo>
                    <a:pt x="68" y="182"/>
                    <a:pt x="68" y="182"/>
                    <a:pt x="68" y="182"/>
                  </a:cubicBezTo>
                  <a:cubicBezTo>
                    <a:pt x="222" y="182"/>
                    <a:pt x="222" y="182"/>
                    <a:pt x="222" y="182"/>
                  </a:cubicBezTo>
                  <a:cubicBezTo>
                    <a:pt x="227" y="182"/>
                    <a:pt x="230" y="179"/>
                    <a:pt x="232" y="175"/>
                  </a:cubicBezTo>
                  <a:cubicBezTo>
                    <a:pt x="279" y="62"/>
                    <a:pt x="279" y="62"/>
                    <a:pt x="279" y="62"/>
                  </a:cubicBezTo>
                  <a:cubicBezTo>
                    <a:pt x="281" y="59"/>
                    <a:pt x="280" y="55"/>
                    <a:pt x="278" y="52"/>
                  </a:cubicBezTo>
                  <a:close/>
                  <a:moveTo>
                    <a:pt x="215" y="161"/>
                  </a:moveTo>
                  <a:cubicBezTo>
                    <a:pt x="68" y="161"/>
                    <a:pt x="68" y="161"/>
                    <a:pt x="68" y="161"/>
                  </a:cubicBezTo>
                  <a:cubicBezTo>
                    <a:pt x="68" y="69"/>
                    <a:pt x="68" y="69"/>
                    <a:pt x="68" y="69"/>
                  </a:cubicBezTo>
                  <a:cubicBezTo>
                    <a:pt x="253" y="69"/>
                    <a:pt x="253" y="69"/>
                    <a:pt x="253" y="69"/>
                  </a:cubicBezTo>
                  <a:lnTo>
                    <a:pt x="215" y="161"/>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9">
              <a:extLst>
                <a:ext uri="{FF2B5EF4-FFF2-40B4-BE49-F238E27FC236}">
                  <a16:creationId xmlns:a16="http://schemas.microsoft.com/office/drawing/2014/main" id="{16E64B45-8C02-4DAB-A254-5345C168222A}"/>
                </a:ext>
              </a:extLst>
            </p:cNvPr>
            <p:cNvSpPr>
              <a:spLocks noEditPoints="1"/>
            </p:cNvSpPr>
            <p:nvPr/>
          </p:nvSpPr>
          <p:spPr bwMode="auto">
            <a:xfrm>
              <a:off x="2710" y="1532"/>
              <a:ext cx="108" cy="107"/>
            </a:xfrm>
            <a:custGeom>
              <a:avLst/>
              <a:gdLst>
                <a:gd name="T0" fmla="*/ 31 w 61"/>
                <a:gd name="T1" fmla="*/ 0 h 61"/>
                <a:gd name="T2" fmla="*/ 0 w 61"/>
                <a:gd name="T3" fmla="*/ 30 h 61"/>
                <a:gd name="T4" fmla="*/ 31 w 61"/>
                <a:gd name="T5" fmla="*/ 61 h 61"/>
                <a:gd name="T6" fmla="*/ 61 w 61"/>
                <a:gd name="T7" fmla="*/ 30 h 61"/>
                <a:gd name="T8" fmla="*/ 31 w 61"/>
                <a:gd name="T9" fmla="*/ 0 h 61"/>
                <a:gd name="T10" fmla="*/ 31 w 61"/>
                <a:gd name="T11" fmla="*/ 39 h 61"/>
                <a:gd name="T12" fmla="*/ 22 w 61"/>
                <a:gd name="T13" fmla="*/ 30 h 61"/>
                <a:gd name="T14" fmla="*/ 31 w 61"/>
                <a:gd name="T15" fmla="*/ 22 h 61"/>
                <a:gd name="T16" fmla="*/ 39 w 61"/>
                <a:gd name="T17" fmla="*/ 30 h 61"/>
                <a:gd name="T18" fmla="*/ 31 w 61"/>
                <a:gd name="T19" fmla="*/ 3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31" y="0"/>
                  </a:moveTo>
                  <a:cubicBezTo>
                    <a:pt x="14" y="0"/>
                    <a:pt x="0" y="14"/>
                    <a:pt x="0" y="30"/>
                  </a:cubicBezTo>
                  <a:cubicBezTo>
                    <a:pt x="0" y="47"/>
                    <a:pt x="14" y="61"/>
                    <a:pt x="31" y="61"/>
                  </a:cubicBezTo>
                  <a:cubicBezTo>
                    <a:pt x="47" y="61"/>
                    <a:pt x="61" y="47"/>
                    <a:pt x="61" y="30"/>
                  </a:cubicBezTo>
                  <a:cubicBezTo>
                    <a:pt x="61" y="14"/>
                    <a:pt x="47" y="0"/>
                    <a:pt x="31" y="0"/>
                  </a:cubicBezTo>
                  <a:close/>
                  <a:moveTo>
                    <a:pt x="31" y="39"/>
                  </a:moveTo>
                  <a:cubicBezTo>
                    <a:pt x="26" y="39"/>
                    <a:pt x="22" y="35"/>
                    <a:pt x="22" y="30"/>
                  </a:cubicBezTo>
                  <a:cubicBezTo>
                    <a:pt x="22" y="26"/>
                    <a:pt x="26" y="22"/>
                    <a:pt x="31" y="22"/>
                  </a:cubicBezTo>
                  <a:cubicBezTo>
                    <a:pt x="35" y="22"/>
                    <a:pt x="39" y="26"/>
                    <a:pt x="39" y="30"/>
                  </a:cubicBezTo>
                  <a:cubicBezTo>
                    <a:pt x="39" y="35"/>
                    <a:pt x="35" y="39"/>
                    <a:pt x="31" y="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20">
              <a:extLst>
                <a:ext uri="{FF2B5EF4-FFF2-40B4-BE49-F238E27FC236}">
                  <a16:creationId xmlns:a16="http://schemas.microsoft.com/office/drawing/2014/main" id="{79121468-6366-46A6-864E-5F8A52646C92}"/>
                </a:ext>
              </a:extLst>
            </p:cNvPr>
            <p:cNvSpPr>
              <a:spLocks noEditPoints="1"/>
            </p:cNvSpPr>
            <p:nvPr/>
          </p:nvSpPr>
          <p:spPr bwMode="auto">
            <a:xfrm>
              <a:off x="2935" y="1532"/>
              <a:ext cx="108" cy="107"/>
            </a:xfrm>
            <a:custGeom>
              <a:avLst/>
              <a:gdLst>
                <a:gd name="T0" fmla="*/ 31 w 61"/>
                <a:gd name="T1" fmla="*/ 0 h 61"/>
                <a:gd name="T2" fmla="*/ 0 w 61"/>
                <a:gd name="T3" fmla="*/ 30 h 61"/>
                <a:gd name="T4" fmla="*/ 31 w 61"/>
                <a:gd name="T5" fmla="*/ 61 h 61"/>
                <a:gd name="T6" fmla="*/ 61 w 61"/>
                <a:gd name="T7" fmla="*/ 30 h 61"/>
                <a:gd name="T8" fmla="*/ 31 w 61"/>
                <a:gd name="T9" fmla="*/ 0 h 61"/>
                <a:gd name="T10" fmla="*/ 31 w 61"/>
                <a:gd name="T11" fmla="*/ 39 h 61"/>
                <a:gd name="T12" fmla="*/ 22 w 61"/>
                <a:gd name="T13" fmla="*/ 30 h 61"/>
                <a:gd name="T14" fmla="*/ 31 w 61"/>
                <a:gd name="T15" fmla="*/ 22 h 61"/>
                <a:gd name="T16" fmla="*/ 40 w 61"/>
                <a:gd name="T17" fmla="*/ 30 h 61"/>
                <a:gd name="T18" fmla="*/ 31 w 61"/>
                <a:gd name="T19" fmla="*/ 3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31" y="0"/>
                  </a:moveTo>
                  <a:cubicBezTo>
                    <a:pt x="14" y="0"/>
                    <a:pt x="0" y="14"/>
                    <a:pt x="0" y="30"/>
                  </a:cubicBezTo>
                  <a:cubicBezTo>
                    <a:pt x="0" y="47"/>
                    <a:pt x="14" y="61"/>
                    <a:pt x="31" y="61"/>
                  </a:cubicBezTo>
                  <a:cubicBezTo>
                    <a:pt x="47" y="61"/>
                    <a:pt x="61" y="47"/>
                    <a:pt x="61" y="30"/>
                  </a:cubicBezTo>
                  <a:cubicBezTo>
                    <a:pt x="61" y="14"/>
                    <a:pt x="47" y="0"/>
                    <a:pt x="31" y="0"/>
                  </a:cubicBezTo>
                  <a:close/>
                  <a:moveTo>
                    <a:pt x="31" y="39"/>
                  </a:moveTo>
                  <a:cubicBezTo>
                    <a:pt x="26" y="39"/>
                    <a:pt x="22" y="35"/>
                    <a:pt x="22" y="30"/>
                  </a:cubicBezTo>
                  <a:cubicBezTo>
                    <a:pt x="22" y="26"/>
                    <a:pt x="26" y="22"/>
                    <a:pt x="31" y="22"/>
                  </a:cubicBezTo>
                  <a:cubicBezTo>
                    <a:pt x="36" y="22"/>
                    <a:pt x="40" y="26"/>
                    <a:pt x="40" y="30"/>
                  </a:cubicBezTo>
                  <a:cubicBezTo>
                    <a:pt x="40" y="35"/>
                    <a:pt x="36" y="39"/>
                    <a:pt x="31" y="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3" name="Group 53">
            <a:extLst>
              <a:ext uri="{FF2B5EF4-FFF2-40B4-BE49-F238E27FC236}">
                <a16:creationId xmlns:a16="http://schemas.microsoft.com/office/drawing/2014/main" id="{4F4992AA-A5A3-4433-AE49-8FD0CE3A35B7}"/>
              </a:ext>
            </a:extLst>
          </p:cNvPr>
          <p:cNvGrpSpPr>
            <a:grpSpLocks noChangeAspect="1"/>
          </p:cNvGrpSpPr>
          <p:nvPr/>
        </p:nvGrpSpPr>
        <p:grpSpPr bwMode="auto">
          <a:xfrm>
            <a:off x="8283812" y="2549940"/>
            <a:ext cx="102381" cy="102461"/>
            <a:chOff x="1992" y="731"/>
            <a:chExt cx="2544" cy="2546"/>
          </a:xfrm>
        </p:grpSpPr>
        <p:sp>
          <p:nvSpPr>
            <p:cNvPr id="204" name="Oval 54">
              <a:extLst>
                <a:ext uri="{FF2B5EF4-FFF2-40B4-BE49-F238E27FC236}">
                  <a16:creationId xmlns:a16="http://schemas.microsoft.com/office/drawing/2014/main" id="{A1B95173-E7B6-4132-9AF4-3F5F5131E029}"/>
                </a:ext>
              </a:extLst>
            </p:cNvPr>
            <p:cNvSpPr>
              <a:spLocks noChangeArrowheads="1"/>
            </p:cNvSpPr>
            <p:nvPr/>
          </p:nvSpPr>
          <p:spPr bwMode="auto">
            <a:xfrm>
              <a:off x="1992" y="731"/>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55">
              <a:extLst>
                <a:ext uri="{FF2B5EF4-FFF2-40B4-BE49-F238E27FC236}">
                  <a16:creationId xmlns:a16="http://schemas.microsoft.com/office/drawing/2014/main" id="{D7E966C6-74A0-4F3D-B12F-7D718AE07380}"/>
                </a:ext>
              </a:extLst>
            </p:cNvPr>
            <p:cNvSpPr>
              <a:spLocks/>
            </p:cNvSpPr>
            <p:nvPr/>
          </p:nvSpPr>
          <p:spPr bwMode="auto">
            <a:xfrm>
              <a:off x="2080" y="2469"/>
              <a:ext cx="75" cy="157"/>
            </a:xfrm>
            <a:custGeom>
              <a:avLst/>
              <a:gdLst>
                <a:gd name="T0" fmla="*/ 0 w 42"/>
                <a:gd name="T1" fmla="*/ 0 h 89"/>
                <a:gd name="T2" fmla="*/ 42 w 42"/>
                <a:gd name="T3" fmla="*/ 89 h 89"/>
                <a:gd name="T4" fmla="*/ 42 w 42"/>
                <a:gd name="T5" fmla="*/ 83 h 89"/>
                <a:gd name="T6" fmla="*/ 0 w 42"/>
                <a:gd name="T7" fmla="*/ 0 h 89"/>
              </a:gdLst>
              <a:ahLst/>
              <a:cxnLst>
                <a:cxn ang="0">
                  <a:pos x="T0" y="T1"/>
                </a:cxn>
                <a:cxn ang="0">
                  <a:pos x="T2" y="T3"/>
                </a:cxn>
                <a:cxn ang="0">
                  <a:pos x="T4" y="T5"/>
                </a:cxn>
                <a:cxn ang="0">
                  <a:pos x="T6" y="T7"/>
                </a:cxn>
              </a:cxnLst>
              <a:rect l="0" t="0" r="r" b="b"/>
              <a:pathLst>
                <a:path w="42" h="89">
                  <a:moveTo>
                    <a:pt x="0" y="0"/>
                  </a:moveTo>
                  <a:cubicBezTo>
                    <a:pt x="12" y="31"/>
                    <a:pt x="26" y="61"/>
                    <a:pt x="42" y="89"/>
                  </a:cubicBezTo>
                  <a:cubicBezTo>
                    <a:pt x="42" y="87"/>
                    <a:pt x="42" y="85"/>
                    <a:pt x="42" y="83"/>
                  </a:cubicBezTo>
                  <a:cubicBezTo>
                    <a:pt x="42" y="47"/>
                    <a:pt x="25" y="1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56">
              <a:extLst>
                <a:ext uri="{FF2B5EF4-FFF2-40B4-BE49-F238E27FC236}">
                  <a16:creationId xmlns:a16="http://schemas.microsoft.com/office/drawing/2014/main" id="{01101FA8-B69D-4246-B948-95A755282080}"/>
                </a:ext>
              </a:extLst>
            </p:cNvPr>
            <p:cNvSpPr>
              <a:spLocks noEditPoints="1"/>
            </p:cNvSpPr>
            <p:nvPr/>
          </p:nvSpPr>
          <p:spPr bwMode="auto">
            <a:xfrm>
              <a:off x="2400"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8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57">
              <a:extLst>
                <a:ext uri="{FF2B5EF4-FFF2-40B4-BE49-F238E27FC236}">
                  <a16:creationId xmlns:a16="http://schemas.microsoft.com/office/drawing/2014/main" id="{86675144-3380-4ADB-B153-2A0721CB584D}"/>
                </a:ext>
              </a:extLst>
            </p:cNvPr>
            <p:cNvSpPr>
              <a:spLocks noEditPoints="1"/>
            </p:cNvSpPr>
            <p:nvPr/>
          </p:nvSpPr>
          <p:spPr bwMode="auto">
            <a:xfrm>
              <a:off x="2718"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58">
              <a:extLst>
                <a:ext uri="{FF2B5EF4-FFF2-40B4-BE49-F238E27FC236}">
                  <a16:creationId xmlns:a16="http://schemas.microsoft.com/office/drawing/2014/main" id="{0DC959F3-69AD-4A93-BE4A-7470B78B2E7C}"/>
                </a:ext>
              </a:extLst>
            </p:cNvPr>
            <p:cNvSpPr>
              <a:spLocks/>
            </p:cNvSpPr>
            <p:nvPr/>
          </p:nvSpPr>
          <p:spPr bwMode="auto">
            <a:xfrm>
              <a:off x="2185" y="2453"/>
              <a:ext cx="192" cy="331"/>
            </a:xfrm>
            <a:custGeom>
              <a:avLst/>
              <a:gdLst>
                <a:gd name="T0" fmla="*/ 109 w 109"/>
                <a:gd name="T1" fmla="*/ 168 h 187"/>
                <a:gd name="T2" fmla="*/ 90 w 109"/>
                <a:gd name="T3" fmla="*/ 149 h 187"/>
                <a:gd name="T4" fmla="*/ 72 w 109"/>
                <a:gd name="T5" fmla="*/ 149 h 187"/>
                <a:gd name="T6" fmla="*/ 72 w 109"/>
                <a:gd name="T7" fmla="*/ 20 h 187"/>
                <a:gd name="T8" fmla="*/ 73 w 109"/>
                <a:gd name="T9" fmla="*/ 19 h 187"/>
                <a:gd name="T10" fmla="*/ 54 w 109"/>
                <a:gd name="T11" fmla="*/ 0 h 187"/>
                <a:gd name="T12" fmla="*/ 53 w 109"/>
                <a:gd name="T13" fmla="*/ 0 h 187"/>
                <a:gd name="T14" fmla="*/ 19 w 109"/>
                <a:gd name="T15" fmla="*/ 1 h 187"/>
                <a:gd name="T16" fmla="*/ 1 w 109"/>
                <a:gd name="T17" fmla="*/ 20 h 187"/>
                <a:gd name="T18" fmla="*/ 20 w 109"/>
                <a:gd name="T19" fmla="*/ 38 h 187"/>
                <a:gd name="T20" fmla="*/ 20 w 109"/>
                <a:gd name="T21" fmla="*/ 38 h 187"/>
                <a:gd name="T22" fmla="*/ 35 w 109"/>
                <a:gd name="T23" fmla="*/ 38 h 187"/>
                <a:gd name="T24" fmla="*/ 35 w 109"/>
                <a:gd name="T25" fmla="*/ 149 h 187"/>
                <a:gd name="T26" fmla="*/ 16 w 109"/>
                <a:gd name="T27" fmla="*/ 149 h 187"/>
                <a:gd name="T28" fmla="*/ 14 w 109"/>
                <a:gd name="T29" fmla="*/ 149 h 187"/>
                <a:gd name="T30" fmla="*/ 42 w 109"/>
                <a:gd name="T31" fmla="*/ 187 h 187"/>
                <a:gd name="T32" fmla="*/ 90 w 109"/>
                <a:gd name="T33" fmla="*/ 187 h 187"/>
                <a:gd name="T34" fmla="*/ 109 w 109"/>
                <a:gd name="T35"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87">
                  <a:moveTo>
                    <a:pt x="109" y="168"/>
                  </a:moveTo>
                  <a:cubicBezTo>
                    <a:pt x="109" y="157"/>
                    <a:pt x="100" y="149"/>
                    <a:pt x="90" y="149"/>
                  </a:cubicBezTo>
                  <a:cubicBezTo>
                    <a:pt x="72" y="149"/>
                    <a:pt x="72" y="149"/>
                    <a:pt x="72" y="149"/>
                  </a:cubicBezTo>
                  <a:cubicBezTo>
                    <a:pt x="72" y="20"/>
                    <a:pt x="72" y="20"/>
                    <a:pt x="72" y="20"/>
                  </a:cubicBezTo>
                  <a:cubicBezTo>
                    <a:pt x="72" y="20"/>
                    <a:pt x="73" y="19"/>
                    <a:pt x="73" y="19"/>
                  </a:cubicBezTo>
                  <a:cubicBezTo>
                    <a:pt x="72" y="8"/>
                    <a:pt x="64" y="0"/>
                    <a:pt x="54" y="0"/>
                  </a:cubicBezTo>
                  <a:cubicBezTo>
                    <a:pt x="54" y="0"/>
                    <a:pt x="53" y="0"/>
                    <a:pt x="53" y="0"/>
                  </a:cubicBezTo>
                  <a:cubicBezTo>
                    <a:pt x="19" y="1"/>
                    <a:pt x="19" y="1"/>
                    <a:pt x="19" y="1"/>
                  </a:cubicBezTo>
                  <a:cubicBezTo>
                    <a:pt x="9" y="1"/>
                    <a:pt x="0" y="10"/>
                    <a:pt x="1" y="20"/>
                  </a:cubicBezTo>
                  <a:cubicBezTo>
                    <a:pt x="1" y="30"/>
                    <a:pt x="9" y="38"/>
                    <a:pt x="20" y="38"/>
                  </a:cubicBezTo>
                  <a:cubicBezTo>
                    <a:pt x="20" y="38"/>
                    <a:pt x="20" y="38"/>
                    <a:pt x="20" y="38"/>
                  </a:cubicBezTo>
                  <a:cubicBezTo>
                    <a:pt x="35" y="38"/>
                    <a:pt x="35" y="38"/>
                    <a:pt x="35" y="38"/>
                  </a:cubicBezTo>
                  <a:cubicBezTo>
                    <a:pt x="35" y="149"/>
                    <a:pt x="35" y="149"/>
                    <a:pt x="35" y="149"/>
                  </a:cubicBezTo>
                  <a:cubicBezTo>
                    <a:pt x="16" y="149"/>
                    <a:pt x="16" y="149"/>
                    <a:pt x="16" y="149"/>
                  </a:cubicBezTo>
                  <a:cubicBezTo>
                    <a:pt x="15" y="149"/>
                    <a:pt x="15" y="149"/>
                    <a:pt x="14" y="149"/>
                  </a:cubicBezTo>
                  <a:cubicBezTo>
                    <a:pt x="23" y="162"/>
                    <a:pt x="32" y="174"/>
                    <a:pt x="42" y="187"/>
                  </a:cubicBezTo>
                  <a:cubicBezTo>
                    <a:pt x="90" y="187"/>
                    <a:pt x="90" y="187"/>
                    <a:pt x="90" y="187"/>
                  </a:cubicBezTo>
                  <a:cubicBezTo>
                    <a:pt x="100" y="187"/>
                    <a:pt x="109" y="178"/>
                    <a:pt x="109" y="16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59">
              <a:extLst>
                <a:ext uri="{FF2B5EF4-FFF2-40B4-BE49-F238E27FC236}">
                  <a16:creationId xmlns:a16="http://schemas.microsoft.com/office/drawing/2014/main" id="{5AECFBB7-349D-41EF-8FD0-2991884019B7}"/>
                </a:ext>
              </a:extLst>
            </p:cNvPr>
            <p:cNvSpPr>
              <a:spLocks noEditPoints="1"/>
            </p:cNvSpPr>
            <p:nvPr/>
          </p:nvSpPr>
          <p:spPr bwMode="auto">
            <a:xfrm>
              <a:off x="3238" y="2451"/>
              <a:ext cx="275"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8 w 156"/>
                <a:gd name="T13" fmla="*/ 93 h 187"/>
                <a:gd name="T14" fmla="*/ 78 w 156"/>
                <a:gd name="T15" fmla="*/ 149 h 187"/>
                <a:gd name="T16" fmla="*/ 37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60">
              <a:extLst>
                <a:ext uri="{FF2B5EF4-FFF2-40B4-BE49-F238E27FC236}">
                  <a16:creationId xmlns:a16="http://schemas.microsoft.com/office/drawing/2014/main" id="{46C75849-DC91-4B33-9B61-C8C3FFBBC52E}"/>
                </a:ext>
              </a:extLst>
            </p:cNvPr>
            <p:cNvSpPr>
              <a:spLocks/>
            </p:cNvSpPr>
            <p:nvPr/>
          </p:nvSpPr>
          <p:spPr bwMode="auto">
            <a:xfrm>
              <a:off x="3015" y="2453"/>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8 h 187"/>
                <a:gd name="T24" fmla="*/ 23 w 112"/>
                <a:gd name="T25" fmla="*/ 38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7"/>
                    <a:pt x="104" y="149"/>
                    <a:pt x="93" y="149"/>
                  </a:cubicBez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61">
              <a:extLst>
                <a:ext uri="{FF2B5EF4-FFF2-40B4-BE49-F238E27FC236}">
                  <a16:creationId xmlns:a16="http://schemas.microsoft.com/office/drawing/2014/main" id="{69F87125-4CE4-4344-9B85-876704FD248F}"/>
                </a:ext>
              </a:extLst>
            </p:cNvPr>
            <p:cNvSpPr>
              <a:spLocks noEditPoints="1"/>
            </p:cNvSpPr>
            <p:nvPr/>
          </p:nvSpPr>
          <p:spPr bwMode="auto">
            <a:xfrm>
              <a:off x="3759" y="2451"/>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62">
              <a:extLst>
                <a:ext uri="{FF2B5EF4-FFF2-40B4-BE49-F238E27FC236}">
                  <a16:creationId xmlns:a16="http://schemas.microsoft.com/office/drawing/2014/main" id="{B370E0C8-4AA3-4225-850D-DB5DBC9CF2F1}"/>
                </a:ext>
              </a:extLst>
            </p:cNvPr>
            <p:cNvSpPr>
              <a:spLocks/>
            </p:cNvSpPr>
            <p:nvPr/>
          </p:nvSpPr>
          <p:spPr bwMode="auto">
            <a:xfrm>
              <a:off x="4296" y="2686"/>
              <a:ext cx="42" cy="62"/>
            </a:xfrm>
            <a:custGeom>
              <a:avLst/>
              <a:gdLst>
                <a:gd name="T0" fmla="*/ 24 w 24"/>
                <a:gd name="T1" fmla="*/ 0 h 35"/>
                <a:gd name="T2" fmla="*/ 0 w 24"/>
                <a:gd name="T3" fmla="*/ 35 h 35"/>
                <a:gd name="T4" fmla="*/ 24 w 24"/>
                <a:gd name="T5" fmla="*/ 0 h 35"/>
              </a:gdLst>
              <a:ahLst/>
              <a:cxnLst>
                <a:cxn ang="0">
                  <a:pos x="T0" y="T1"/>
                </a:cxn>
                <a:cxn ang="0">
                  <a:pos x="T2" y="T3"/>
                </a:cxn>
                <a:cxn ang="0">
                  <a:pos x="T4" y="T5"/>
                </a:cxn>
              </a:cxnLst>
              <a:rect l="0" t="0" r="r" b="b"/>
              <a:pathLst>
                <a:path w="24" h="35">
                  <a:moveTo>
                    <a:pt x="24" y="0"/>
                  </a:moveTo>
                  <a:cubicBezTo>
                    <a:pt x="16" y="12"/>
                    <a:pt x="8" y="24"/>
                    <a:pt x="0" y="35"/>
                  </a:cubicBezTo>
                  <a:cubicBezTo>
                    <a:pt x="10" y="26"/>
                    <a:pt x="18" y="14"/>
                    <a:pt x="24"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63">
              <a:extLst>
                <a:ext uri="{FF2B5EF4-FFF2-40B4-BE49-F238E27FC236}">
                  <a16:creationId xmlns:a16="http://schemas.microsoft.com/office/drawing/2014/main" id="{1FA05A19-6810-449D-A489-C0023F987BDD}"/>
                </a:ext>
              </a:extLst>
            </p:cNvPr>
            <p:cNvSpPr>
              <a:spLocks noEditPoints="1"/>
            </p:cNvSpPr>
            <p:nvPr/>
          </p:nvSpPr>
          <p:spPr bwMode="auto">
            <a:xfrm>
              <a:off x="4075" y="2451"/>
              <a:ext cx="276" cy="331"/>
            </a:xfrm>
            <a:custGeom>
              <a:avLst/>
              <a:gdLst>
                <a:gd name="T0" fmla="*/ 78 w 156"/>
                <a:gd name="T1" fmla="*/ 0 h 187"/>
                <a:gd name="T2" fmla="*/ 0 w 156"/>
                <a:gd name="T3" fmla="*/ 93 h 187"/>
                <a:gd name="T4" fmla="*/ 78 w 156"/>
                <a:gd name="T5" fmla="*/ 187 h 187"/>
                <a:gd name="T6" fmla="*/ 125 w 156"/>
                <a:gd name="T7" fmla="*/ 168 h 187"/>
                <a:gd name="T8" fmla="*/ 149 w 156"/>
                <a:gd name="T9" fmla="*/ 133 h 187"/>
                <a:gd name="T10" fmla="*/ 156 w 156"/>
                <a:gd name="T11" fmla="*/ 93 h 187"/>
                <a:gd name="T12" fmla="*/ 78 w 156"/>
                <a:gd name="T13" fmla="*/ 0 h 187"/>
                <a:gd name="T14" fmla="*/ 78 w 156"/>
                <a:gd name="T15" fmla="*/ 149 h 187"/>
                <a:gd name="T16" fmla="*/ 38 w 156"/>
                <a:gd name="T17" fmla="*/ 93 h 187"/>
                <a:gd name="T18" fmla="*/ 78 w 156"/>
                <a:gd name="T19" fmla="*/ 38 h 187"/>
                <a:gd name="T20" fmla="*/ 119 w 156"/>
                <a:gd name="T21" fmla="*/ 93 h 187"/>
                <a:gd name="T22" fmla="*/ 78 w 156"/>
                <a:gd name="T23"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78" y="0"/>
                  </a:moveTo>
                  <a:cubicBezTo>
                    <a:pt x="35" y="0"/>
                    <a:pt x="0" y="42"/>
                    <a:pt x="0" y="93"/>
                  </a:cubicBezTo>
                  <a:cubicBezTo>
                    <a:pt x="0" y="145"/>
                    <a:pt x="35" y="187"/>
                    <a:pt x="78" y="187"/>
                  </a:cubicBezTo>
                  <a:cubicBezTo>
                    <a:pt x="96" y="187"/>
                    <a:pt x="112" y="180"/>
                    <a:pt x="125" y="168"/>
                  </a:cubicBezTo>
                  <a:cubicBezTo>
                    <a:pt x="133" y="157"/>
                    <a:pt x="141" y="145"/>
                    <a:pt x="149" y="133"/>
                  </a:cubicBezTo>
                  <a:cubicBezTo>
                    <a:pt x="154" y="121"/>
                    <a:pt x="156" y="107"/>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64">
              <a:extLst>
                <a:ext uri="{FF2B5EF4-FFF2-40B4-BE49-F238E27FC236}">
                  <a16:creationId xmlns:a16="http://schemas.microsoft.com/office/drawing/2014/main" id="{1A417D07-F8D4-48AB-A2D2-BB4FCBAE8F24}"/>
                </a:ext>
              </a:extLst>
            </p:cNvPr>
            <p:cNvSpPr>
              <a:spLocks/>
            </p:cNvSpPr>
            <p:nvPr/>
          </p:nvSpPr>
          <p:spPr bwMode="auto">
            <a:xfrm>
              <a:off x="3536" y="2453"/>
              <a:ext cx="198" cy="331"/>
            </a:xfrm>
            <a:custGeom>
              <a:avLst/>
              <a:gdLst>
                <a:gd name="T0" fmla="*/ 93 w 112"/>
                <a:gd name="T1" fmla="*/ 149 h 187"/>
                <a:gd name="T2" fmla="*/ 76 w 112"/>
                <a:gd name="T3" fmla="*/ 149 h 187"/>
                <a:gd name="T4" fmla="*/ 76 w 112"/>
                <a:gd name="T5" fmla="*/ 20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65">
              <a:extLst>
                <a:ext uri="{FF2B5EF4-FFF2-40B4-BE49-F238E27FC236}">
                  <a16:creationId xmlns:a16="http://schemas.microsoft.com/office/drawing/2014/main" id="{593CA918-EA61-4FCC-95CD-AAB0CDEB5161}"/>
                </a:ext>
              </a:extLst>
            </p:cNvPr>
            <p:cNvSpPr>
              <a:spLocks noEditPoints="1"/>
            </p:cNvSpPr>
            <p:nvPr/>
          </p:nvSpPr>
          <p:spPr bwMode="auto">
            <a:xfrm>
              <a:off x="2722" y="2876"/>
              <a:ext cx="275" cy="330"/>
            </a:xfrm>
            <a:custGeom>
              <a:avLst/>
              <a:gdLst>
                <a:gd name="T0" fmla="*/ 156 w 156"/>
                <a:gd name="T1" fmla="*/ 94 h 187"/>
                <a:gd name="T2" fmla="*/ 78 w 156"/>
                <a:gd name="T3" fmla="*/ 0 h 187"/>
                <a:gd name="T4" fmla="*/ 0 w 156"/>
                <a:gd name="T5" fmla="*/ 94 h 187"/>
                <a:gd name="T6" fmla="*/ 41 w 156"/>
                <a:gd name="T7" fmla="*/ 176 h 187"/>
                <a:gd name="T8" fmla="*/ 69 w 156"/>
                <a:gd name="T9" fmla="*/ 187 h 187"/>
                <a:gd name="T10" fmla="*/ 78 w 156"/>
                <a:gd name="T11" fmla="*/ 187 h 187"/>
                <a:gd name="T12" fmla="*/ 156 w 156"/>
                <a:gd name="T13" fmla="*/ 94 h 187"/>
                <a:gd name="T14" fmla="*/ 38 w 156"/>
                <a:gd name="T15" fmla="*/ 94 h 187"/>
                <a:gd name="T16" fmla="*/ 78 w 156"/>
                <a:gd name="T17" fmla="*/ 38 h 187"/>
                <a:gd name="T18" fmla="*/ 118 w 156"/>
                <a:gd name="T19" fmla="*/ 94 h 187"/>
                <a:gd name="T20" fmla="*/ 78 w 156"/>
                <a:gd name="T21" fmla="*/ 150 h 187"/>
                <a:gd name="T22" fmla="*/ 38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156" y="94"/>
                  </a:moveTo>
                  <a:cubicBezTo>
                    <a:pt x="156" y="42"/>
                    <a:pt x="121" y="0"/>
                    <a:pt x="78" y="0"/>
                  </a:cubicBezTo>
                  <a:cubicBezTo>
                    <a:pt x="35" y="0"/>
                    <a:pt x="0" y="42"/>
                    <a:pt x="0" y="94"/>
                  </a:cubicBezTo>
                  <a:cubicBezTo>
                    <a:pt x="0" y="130"/>
                    <a:pt x="17" y="161"/>
                    <a:pt x="41" y="176"/>
                  </a:cubicBezTo>
                  <a:cubicBezTo>
                    <a:pt x="51" y="180"/>
                    <a:pt x="60" y="183"/>
                    <a:pt x="69" y="187"/>
                  </a:cubicBezTo>
                  <a:cubicBezTo>
                    <a:pt x="72" y="187"/>
                    <a:pt x="75" y="187"/>
                    <a:pt x="78" y="187"/>
                  </a:cubicBezTo>
                  <a:cubicBezTo>
                    <a:pt x="121" y="187"/>
                    <a:pt x="156" y="145"/>
                    <a:pt x="156" y="94"/>
                  </a:cubicBezTo>
                  <a:close/>
                  <a:moveTo>
                    <a:pt x="38" y="94"/>
                  </a:moveTo>
                  <a:cubicBezTo>
                    <a:pt x="38" y="64"/>
                    <a:pt x="56" y="38"/>
                    <a:pt x="78" y="38"/>
                  </a:cubicBezTo>
                  <a:cubicBezTo>
                    <a:pt x="100" y="38"/>
                    <a:pt x="118" y="64"/>
                    <a:pt x="118" y="94"/>
                  </a:cubicBezTo>
                  <a:cubicBezTo>
                    <a:pt x="118" y="124"/>
                    <a:pt x="100" y="150"/>
                    <a:pt x="78" y="150"/>
                  </a:cubicBezTo>
                  <a:cubicBezTo>
                    <a:pt x="56" y="150"/>
                    <a:pt x="38" y="124"/>
                    <a:pt x="38"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66">
              <a:extLst>
                <a:ext uri="{FF2B5EF4-FFF2-40B4-BE49-F238E27FC236}">
                  <a16:creationId xmlns:a16="http://schemas.microsoft.com/office/drawing/2014/main" id="{A89D2EAA-9406-47D0-ABD5-64DC436DF016}"/>
                </a:ext>
              </a:extLst>
            </p:cNvPr>
            <p:cNvSpPr>
              <a:spLocks/>
            </p:cNvSpPr>
            <p:nvPr/>
          </p:nvSpPr>
          <p:spPr bwMode="auto">
            <a:xfrm>
              <a:off x="2506" y="2877"/>
              <a:ext cx="127" cy="232"/>
            </a:xfrm>
            <a:custGeom>
              <a:avLst/>
              <a:gdLst>
                <a:gd name="T0" fmla="*/ 72 w 72"/>
                <a:gd name="T1" fmla="*/ 19 h 131"/>
                <a:gd name="T2" fmla="*/ 53 w 72"/>
                <a:gd name="T3" fmla="*/ 0 h 131"/>
                <a:gd name="T4" fmla="*/ 53 w 72"/>
                <a:gd name="T5" fmla="*/ 0 h 131"/>
                <a:gd name="T6" fmla="*/ 19 w 72"/>
                <a:gd name="T7" fmla="*/ 1 h 131"/>
                <a:gd name="T8" fmla="*/ 0 w 72"/>
                <a:gd name="T9" fmla="*/ 20 h 131"/>
                <a:gd name="T10" fmla="*/ 19 w 72"/>
                <a:gd name="T11" fmla="*/ 39 h 131"/>
                <a:gd name="T12" fmla="*/ 20 w 72"/>
                <a:gd name="T13" fmla="*/ 39 h 131"/>
                <a:gd name="T14" fmla="*/ 34 w 72"/>
                <a:gd name="T15" fmla="*/ 39 h 131"/>
                <a:gd name="T16" fmla="*/ 34 w 72"/>
                <a:gd name="T17" fmla="*/ 108 h 131"/>
                <a:gd name="T18" fmla="*/ 72 w 72"/>
                <a:gd name="T19" fmla="*/ 131 h 131"/>
                <a:gd name="T20" fmla="*/ 72 w 72"/>
                <a:gd name="T21" fmla="*/ 21 h 131"/>
                <a:gd name="T22" fmla="*/ 72 w 72"/>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31">
                  <a:moveTo>
                    <a:pt x="72" y="19"/>
                  </a:moveTo>
                  <a:cubicBezTo>
                    <a:pt x="72" y="9"/>
                    <a:pt x="64" y="0"/>
                    <a:pt x="53" y="0"/>
                  </a:cubicBezTo>
                  <a:cubicBezTo>
                    <a:pt x="53" y="0"/>
                    <a:pt x="53" y="0"/>
                    <a:pt x="53" y="0"/>
                  </a:cubicBezTo>
                  <a:cubicBezTo>
                    <a:pt x="19" y="1"/>
                    <a:pt x="19" y="1"/>
                    <a:pt x="19" y="1"/>
                  </a:cubicBezTo>
                  <a:cubicBezTo>
                    <a:pt x="8" y="1"/>
                    <a:pt x="0" y="10"/>
                    <a:pt x="0" y="20"/>
                  </a:cubicBezTo>
                  <a:cubicBezTo>
                    <a:pt x="1" y="31"/>
                    <a:pt x="9" y="39"/>
                    <a:pt x="19" y="39"/>
                  </a:cubicBezTo>
                  <a:cubicBezTo>
                    <a:pt x="19" y="39"/>
                    <a:pt x="20" y="39"/>
                    <a:pt x="20" y="39"/>
                  </a:cubicBezTo>
                  <a:cubicBezTo>
                    <a:pt x="34" y="39"/>
                    <a:pt x="34" y="39"/>
                    <a:pt x="34" y="39"/>
                  </a:cubicBezTo>
                  <a:cubicBezTo>
                    <a:pt x="34" y="108"/>
                    <a:pt x="34" y="108"/>
                    <a:pt x="34" y="108"/>
                  </a:cubicBezTo>
                  <a:cubicBezTo>
                    <a:pt x="47" y="116"/>
                    <a:pt x="59" y="124"/>
                    <a:pt x="72" y="131"/>
                  </a:cubicBezTo>
                  <a:cubicBezTo>
                    <a:pt x="72" y="21"/>
                    <a:pt x="72" y="21"/>
                    <a:pt x="72" y="21"/>
                  </a:cubicBezTo>
                  <a:cubicBezTo>
                    <a:pt x="72" y="20"/>
                    <a:pt x="72" y="19"/>
                    <a:pt x="72"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67">
              <a:extLst>
                <a:ext uri="{FF2B5EF4-FFF2-40B4-BE49-F238E27FC236}">
                  <a16:creationId xmlns:a16="http://schemas.microsoft.com/office/drawing/2014/main" id="{6156D81B-B9B6-47F8-8647-009E70E9DEBC}"/>
                </a:ext>
              </a:extLst>
            </p:cNvPr>
            <p:cNvSpPr>
              <a:spLocks noEditPoints="1"/>
            </p:cNvSpPr>
            <p:nvPr/>
          </p:nvSpPr>
          <p:spPr bwMode="auto">
            <a:xfrm>
              <a:off x="3243" y="2876"/>
              <a:ext cx="275" cy="330"/>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8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8" y="124"/>
                    <a:pt x="38" y="94"/>
                  </a:cubicBezTo>
                  <a:cubicBezTo>
                    <a:pt x="38" y="64"/>
                    <a:pt x="56" y="38"/>
                    <a:pt x="78" y="38"/>
                  </a:cubicBezTo>
                  <a:cubicBezTo>
                    <a:pt x="100" y="38"/>
                    <a:pt x="118" y="64"/>
                    <a:pt x="118" y="94"/>
                  </a:cubicBezTo>
                  <a:cubicBezTo>
                    <a:pt x="118" y="124"/>
                    <a:pt x="100" y="150"/>
                    <a:pt x="78" y="15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68">
              <a:extLst>
                <a:ext uri="{FF2B5EF4-FFF2-40B4-BE49-F238E27FC236}">
                  <a16:creationId xmlns:a16="http://schemas.microsoft.com/office/drawing/2014/main" id="{E0824FD4-4660-4996-ABD9-CB1160AB1449}"/>
                </a:ext>
              </a:extLst>
            </p:cNvPr>
            <p:cNvSpPr>
              <a:spLocks/>
            </p:cNvSpPr>
            <p:nvPr/>
          </p:nvSpPr>
          <p:spPr bwMode="auto">
            <a:xfrm>
              <a:off x="3684" y="3162"/>
              <a:ext cx="106" cy="44"/>
            </a:xfrm>
            <a:custGeom>
              <a:avLst/>
              <a:gdLst>
                <a:gd name="T0" fmla="*/ 7 w 60"/>
                <a:gd name="T1" fmla="*/ 25 h 25"/>
                <a:gd name="T2" fmla="*/ 60 w 60"/>
                <a:gd name="T3" fmla="*/ 0 h 25"/>
                <a:gd name="T4" fmla="*/ 0 w 60"/>
                <a:gd name="T5" fmla="*/ 25 h 25"/>
                <a:gd name="T6" fmla="*/ 7 w 60"/>
                <a:gd name="T7" fmla="*/ 25 h 25"/>
              </a:gdLst>
              <a:ahLst/>
              <a:cxnLst>
                <a:cxn ang="0">
                  <a:pos x="T0" y="T1"/>
                </a:cxn>
                <a:cxn ang="0">
                  <a:pos x="T2" y="T3"/>
                </a:cxn>
                <a:cxn ang="0">
                  <a:pos x="T4" y="T5"/>
                </a:cxn>
                <a:cxn ang="0">
                  <a:pos x="T6" y="T7"/>
                </a:cxn>
              </a:cxnLst>
              <a:rect l="0" t="0" r="r" b="b"/>
              <a:pathLst>
                <a:path w="60" h="25">
                  <a:moveTo>
                    <a:pt x="7" y="25"/>
                  </a:moveTo>
                  <a:cubicBezTo>
                    <a:pt x="28" y="25"/>
                    <a:pt x="46" y="16"/>
                    <a:pt x="60" y="0"/>
                  </a:cubicBezTo>
                  <a:cubicBezTo>
                    <a:pt x="41" y="9"/>
                    <a:pt x="20" y="18"/>
                    <a:pt x="0" y="25"/>
                  </a:cubicBezTo>
                  <a:cubicBezTo>
                    <a:pt x="2" y="25"/>
                    <a:pt x="5" y="25"/>
                    <a:pt x="7" y="2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69">
              <a:extLst>
                <a:ext uri="{FF2B5EF4-FFF2-40B4-BE49-F238E27FC236}">
                  <a16:creationId xmlns:a16="http://schemas.microsoft.com/office/drawing/2014/main" id="{E9E5F8DB-DAFB-4890-8930-92F766502EA7}"/>
                </a:ext>
              </a:extLst>
            </p:cNvPr>
            <p:cNvSpPr>
              <a:spLocks noEditPoints="1"/>
            </p:cNvSpPr>
            <p:nvPr/>
          </p:nvSpPr>
          <p:spPr bwMode="auto">
            <a:xfrm>
              <a:off x="3559" y="2876"/>
              <a:ext cx="276" cy="330"/>
            </a:xfrm>
            <a:custGeom>
              <a:avLst/>
              <a:gdLst>
                <a:gd name="T0" fmla="*/ 78 w 156"/>
                <a:gd name="T1" fmla="*/ 0 h 187"/>
                <a:gd name="T2" fmla="*/ 0 w 156"/>
                <a:gd name="T3" fmla="*/ 94 h 187"/>
                <a:gd name="T4" fmla="*/ 71 w 156"/>
                <a:gd name="T5" fmla="*/ 187 h 187"/>
                <a:gd name="T6" fmla="*/ 131 w 156"/>
                <a:gd name="T7" fmla="*/ 162 h 187"/>
                <a:gd name="T8" fmla="*/ 156 w 156"/>
                <a:gd name="T9" fmla="*/ 94 h 187"/>
                <a:gd name="T10" fmla="*/ 78 w 156"/>
                <a:gd name="T11" fmla="*/ 0 h 187"/>
                <a:gd name="T12" fmla="*/ 78 w 156"/>
                <a:gd name="T13" fmla="*/ 150 h 187"/>
                <a:gd name="T14" fmla="*/ 38 w 156"/>
                <a:gd name="T15" fmla="*/ 94 h 187"/>
                <a:gd name="T16" fmla="*/ 78 w 156"/>
                <a:gd name="T17" fmla="*/ 38 h 187"/>
                <a:gd name="T18" fmla="*/ 119 w 156"/>
                <a:gd name="T19" fmla="*/ 94 h 187"/>
                <a:gd name="T20" fmla="*/ 78 w 156"/>
                <a:gd name="T21"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0"/>
                  </a:moveTo>
                  <a:cubicBezTo>
                    <a:pt x="35" y="0"/>
                    <a:pt x="0" y="42"/>
                    <a:pt x="0" y="94"/>
                  </a:cubicBezTo>
                  <a:cubicBezTo>
                    <a:pt x="0" y="142"/>
                    <a:pt x="31" y="182"/>
                    <a:pt x="71" y="187"/>
                  </a:cubicBezTo>
                  <a:cubicBezTo>
                    <a:pt x="91" y="180"/>
                    <a:pt x="112" y="171"/>
                    <a:pt x="131" y="162"/>
                  </a:cubicBezTo>
                  <a:cubicBezTo>
                    <a:pt x="147" y="145"/>
                    <a:pt x="156" y="121"/>
                    <a:pt x="156" y="94"/>
                  </a:cubicBezTo>
                  <a:cubicBezTo>
                    <a:pt x="156" y="42"/>
                    <a:pt x="121" y="0"/>
                    <a:pt x="78" y="0"/>
                  </a:cubicBezTo>
                  <a:close/>
                  <a:moveTo>
                    <a:pt x="78" y="150"/>
                  </a:moveTo>
                  <a:cubicBezTo>
                    <a:pt x="57" y="150"/>
                    <a:pt x="38" y="124"/>
                    <a:pt x="38" y="94"/>
                  </a:cubicBezTo>
                  <a:cubicBezTo>
                    <a:pt x="38" y="64"/>
                    <a:pt x="57" y="38"/>
                    <a:pt x="78" y="38"/>
                  </a:cubicBezTo>
                  <a:cubicBezTo>
                    <a:pt x="100" y="38"/>
                    <a:pt x="119" y="64"/>
                    <a:pt x="119" y="94"/>
                  </a:cubicBezTo>
                  <a:cubicBezTo>
                    <a:pt x="119" y="124"/>
                    <a:pt x="100" y="150"/>
                    <a:pt x="78"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70">
              <a:extLst>
                <a:ext uri="{FF2B5EF4-FFF2-40B4-BE49-F238E27FC236}">
                  <a16:creationId xmlns:a16="http://schemas.microsoft.com/office/drawing/2014/main" id="{FA1D307A-DF86-4E32-95D5-30D01446A774}"/>
                </a:ext>
              </a:extLst>
            </p:cNvPr>
            <p:cNvSpPr>
              <a:spLocks/>
            </p:cNvSpPr>
            <p:nvPr/>
          </p:nvSpPr>
          <p:spPr bwMode="auto">
            <a:xfrm>
              <a:off x="3020" y="2877"/>
              <a:ext cx="198" cy="331"/>
            </a:xfrm>
            <a:custGeom>
              <a:avLst/>
              <a:gdLst>
                <a:gd name="T0" fmla="*/ 94 w 112"/>
                <a:gd name="T1" fmla="*/ 149 h 187"/>
                <a:gd name="T2" fmla="*/ 76 w 112"/>
                <a:gd name="T3" fmla="*/ 149 h 187"/>
                <a:gd name="T4" fmla="*/ 76 w 112"/>
                <a:gd name="T5" fmla="*/ 21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9 h 187"/>
                <a:gd name="T18" fmla="*/ 24 w 112"/>
                <a:gd name="T19" fmla="*/ 39 h 187"/>
                <a:gd name="T20" fmla="*/ 38 w 112"/>
                <a:gd name="T21" fmla="*/ 39 h 187"/>
                <a:gd name="T22" fmla="*/ 38 w 112"/>
                <a:gd name="T23" fmla="*/ 149 h 187"/>
                <a:gd name="T24" fmla="*/ 19 w 112"/>
                <a:gd name="T25" fmla="*/ 149 h 187"/>
                <a:gd name="T26" fmla="*/ 0 w 112"/>
                <a:gd name="T27" fmla="*/ 168 h 187"/>
                <a:gd name="T28" fmla="*/ 19 w 112"/>
                <a:gd name="T29" fmla="*/ 187 h 187"/>
                <a:gd name="T30" fmla="*/ 94 w 112"/>
                <a:gd name="T31" fmla="*/ 187 h 187"/>
                <a:gd name="T32" fmla="*/ 112 w 112"/>
                <a:gd name="T33" fmla="*/ 168 h 187"/>
                <a:gd name="T34" fmla="*/ 94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4" y="149"/>
                  </a:moveTo>
                  <a:cubicBezTo>
                    <a:pt x="76" y="149"/>
                    <a:pt x="76" y="149"/>
                    <a:pt x="76" y="149"/>
                  </a:cubicBezTo>
                  <a:cubicBezTo>
                    <a:pt x="76" y="21"/>
                    <a:pt x="76" y="21"/>
                    <a:pt x="76" y="21"/>
                  </a:cubicBezTo>
                  <a:cubicBezTo>
                    <a:pt x="76" y="20"/>
                    <a:pt x="76" y="19"/>
                    <a:pt x="76" y="19"/>
                  </a:cubicBezTo>
                  <a:cubicBezTo>
                    <a:pt x="76" y="9"/>
                    <a:pt x="68" y="0"/>
                    <a:pt x="57" y="0"/>
                  </a:cubicBezTo>
                  <a:cubicBezTo>
                    <a:pt x="57" y="0"/>
                    <a:pt x="57" y="0"/>
                    <a:pt x="57" y="0"/>
                  </a:cubicBezTo>
                  <a:cubicBezTo>
                    <a:pt x="23" y="1"/>
                    <a:pt x="23" y="1"/>
                    <a:pt x="23" y="1"/>
                  </a:cubicBezTo>
                  <a:cubicBezTo>
                    <a:pt x="13" y="1"/>
                    <a:pt x="4" y="10"/>
                    <a:pt x="4" y="20"/>
                  </a:cubicBezTo>
                  <a:cubicBezTo>
                    <a:pt x="5" y="31"/>
                    <a:pt x="13" y="39"/>
                    <a:pt x="23" y="39"/>
                  </a:cubicBezTo>
                  <a:cubicBezTo>
                    <a:pt x="23" y="39"/>
                    <a:pt x="24" y="39"/>
                    <a:pt x="24" y="39"/>
                  </a:cubicBezTo>
                  <a:cubicBezTo>
                    <a:pt x="38" y="39"/>
                    <a:pt x="38" y="39"/>
                    <a:pt x="38" y="39"/>
                  </a:cubicBezTo>
                  <a:cubicBezTo>
                    <a:pt x="38" y="149"/>
                    <a:pt x="38" y="149"/>
                    <a:pt x="38" y="149"/>
                  </a:cubicBezTo>
                  <a:cubicBezTo>
                    <a:pt x="19" y="149"/>
                    <a:pt x="19" y="149"/>
                    <a:pt x="19" y="149"/>
                  </a:cubicBezTo>
                  <a:cubicBezTo>
                    <a:pt x="9" y="149"/>
                    <a:pt x="0" y="158"/>
                    <a:pt x="0" y="168"/>
                  </a:cubicBezTo>
                  <a:cubicBezTo>
                    <a:pt x="0" y="179"/>
                    <a:pt x="9" y="187"/>
                    <a:pt x="19" y="187"/>
                  </a:cubicBezTo>
                  <a:cubicBezTo>
                    <a:pt x="94" y="187"/>
                    <a:pt x="94" y="187"/>
                    <a:pt x="94" y="187"/>
                  </a:cubicBezTo>
                  <a:cubicBezTo>
                    <a:pt x="104" y="187"/>
                    <a:pt x="112" y="179"/>
                    <a:pt x="112" y="168"/>
                  </a:cubicBezTo>
                  <a:cubicBezTo>
                    <a:pt x="112" y="158"/>
                    <a:pt x="104" y="149"/>
                    <a:pt x="94"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71">
              <a:extLst>
                <a:ext uri="{FF2B5EF4-FFF2-40B4-BE49-F238E27FC236}">
                  <a16:creationId xmlns:a16="http://schemas.microsoft.com/office/drawing/2014/main" id="{5E5375F2-069E-44AE-8E65-FA992D60899E}"/>
                </a:ext>
              </a:extLst>
            </p:cNvPr>
            <p:cNvSpPr>
              <a:spLocks/>
            </p:cNvSpPr>
            <p:nvPr/>
          </p:nvSpPr>
          <p:spPr bwMode="auto">
            <a:xfrm>
              <a:off x="4093" y="2881"/>
              <a:ext cx="93" cy="88"/>
            </a:xfrm>
            <a:custGeom>
              <a:avLst/>
              <a:gdLst>
                <a:gd name="T0" fmla="*/ 53 w 53"/>
                <a:gd name="T1" fmla="*/ 0 h 50"/>
                <a:gd name="T2" fmla="*/ 0 w 53"/>
                <a:gd name="T3" fmla="*/ 50 h 50"/>
                <a:gd name="T4" fmla="*/ 53 w 53"/>
                <a:gd name="T5" fmla="*/ 0 h 50"/>
              </a:gdLst>
              <a:ahLst/>
              <a:cxnLst>
                <a:cxn ang="0">
                  <a:pos x="T0" y="T1"/>
                </a:cxn>
                <a:cxn ang="0">
                  <a:pos x="T2" y="T3"/>
                </a:cxn>
                <a:cxn ang="0">
                  <a:pos x="T4" y="T5"/>
                </a:cxn>
              </a:cxnLst>
              <a:rect l="0" t="0" r="r" b="b"/>
              <a:pathLst>
                <a:path w="53" h="50">
                  <a:moveTo>
                    <a:pt x="53" y="0"/>
                  </a:moveTo>
                  <a:cubicBezTo>
                    <a:pt x="30" y="6"/>
                    <a:pt x="10" y="25"/>
                    <a:pt x="0" y="50"/>
                  </a:cubicBezTo>
                  <a:cubicBezTo>
                    <a:pt x="19" y="34"/>
                    <a:pt x="37" y="17"/>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72">
              <a:extLst>
                <a:ext uri="{FF2B5EF4-FFF2-40B4-BE49-F238E27FC236}">
                  <a16:creationId xmlns:a16="http://schemas.microsoft.com/office/drawing/2014/main" id="{6281DBBD-619C-4CA9-A17B-6C43216727E6}"/>
                </a:ext>
              </a:extLst>
            </p:cNvPr>
            <p:cNvSpPr>
              <a:spLocks/>
            </p:cNvSpPr>
            <p:nvPr/>
          </p:nvSpPr>
          <p:spPr bwMode="auto">
            <a:xfrm>
              <a:off x="3865" y="2877"/>
              <a:ext cx="127" cy="214"/>
            </a:xfrm>
            <a:custGeom>
              <a:avLst/>
              <a:gdLst>
                <a:gd name="T0" fmla="*/ 72 w 72"/>
                <a:gd name="T1" fmla="*/ 19 h 121"/>
                <a:gd name="T2" fmla="*/ 53 w 72"/>
                <a:gd name="T3" fmla="*/ 0 h 121"/>
                <a:gd name="T4" fmla="*/ 53 w 72"/>
                <a:gd name="T5" fmla="*/ 0 h 121"/>
                <a:gd name="T6" fmla="*/ 18 w 72"/>
                <a:gd name="T7" fmla="*/ 1 h 121"/>
                <a:gd name="T8" fmla="*/ 0 w 72"/>
                <a:gd name="T9" fmla="*/ 20 h 121"/>
                <a:gd name="T10" fmla="*/ 19 w 72"/>
                <a:gd name="T11" fmla="*/ 39 h 121"/>
                <a:gd name="T12" fmla="*/ 19 w 72"/>
                <a:gd name="T13" fmla="*/ 39 h 121"/>
                <a:gd name="T14" fmla="*/ 34 w 72"/>
                <a:gd name="T15" fmla="*/ 39 h 121"/>
                <a:gd name="T16" fmla="*/ 34 w 72"/>
                <a:gd name="T17" fmla="*/ 121 h 121"/>
                <a:gd name="T18" fmla="*/ 72 w 72"/>
                <a:gd name="T19" fmla="*/ 97 h 121"/>
                <a:gd name="T20" fmla="*/ 72 w 72"/>
                <a:gd name="T21" fmla="*/ 21 h 121"/>
                <a:gd name="T22" fmla="*/ 72 w 72"/>
                <a:gd name="T23" fmla="*/ 1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21">
                  <a:moveTo>
                    <a:pt x="72" y="19"/>
                  </a:moveTo>
                  <a:cubicBezTo>
                    <a:pt x="72" y="9"/>
                    <a:pt x="63" y="0"/>
                    <a:pt x="53" y="0"/>
                  </a:cubicBezTo>
                  <a:cubicBezTo>
                    <a:pt x="53" y="0"/>
                    <a:pt x="53" y="0"/>
                    <a:pt x="53" y="0"/>
                  </a:cubicBezTo>
                  <a:cubicBezTo>
                    <a:pt x="18" y="1"/>
                    <a:pt x="18" y="1"/>
                    <a:pt x="18" y="1"/>
                  </a:cubicBezTo>
                  <a:cubicBezTo>
                    <a:pt x="8" y="1"/>
                    <a:pt x="0" y="10"/>
                    <a:pt x="0" y="20"/>
                  </a:cubicBezTo>
                  <a:cubicBezTo>
                    <a:pt x="0" y="31"/>
                    <a:pt x="9" y="39"/>
                    <a:pt x="19" y="39"/>
                  </a:cubicBezTo>
                  <a:cubicBezTo>
                    <a:pt x="19" y="39"/>
                    <a:pt x="19" y="39"/>
                    <a:pt x="19" y="39"/>
                  </a:cubicBezTo>
                  <a:cubicBezTo>
                    <a:pt x="34" y="39"/>
                    <a:pt x="34" y="39"/>
                    <a:pt x="34" y="39"/>
                  </a:cubicBezTo>
                  <a:cubicBezTo>
                    <a:pt x="34" y="121"/>
                    <a:pt x="34" y="121"/>
                    <a:pt x="34" y="121"/>
                  </a:cubicBezTo>
                  <a:cubicBezTo>
                    <a:pt x="47" y="114"/>
                    <a:pt x="59" y="105"/>
                    <a:pt x="72" y="97"/>
                  </a:cubicBezTo>
                  <a:cubicBezTo>
                    <a:pt x="72" y="21"/>
                    <a:pt x="72" y="21"/>
                    <a:pt x="72" y="21"/>
                  </a:cubicBezTo>
                  <a:cubicBezTo>
                    <a:pt x="72" y="20"/>
                    <a:pt x="72" y="19"/>
                    <a:pt x="72"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73">
              <a:extLst>
                <a:ext uri="{FF2B5EF4-FFF2-40B4-BE49-F238E27FC236}">
                  <a16:creationId xmlns:a16="http://schemas.microsoft.com/office/drawing/2014/main" id="{76001F10-1471-4AEA-A8B3-11167CF2469C}"/>
                </a:ext>
              </a:extLst>
            </p:cNvPr>
            <p:cNvSpPr>
              <a:spLocks/>
            </p:cNvSpPr>
            <p:nvPr/>
          </p:nvSpPr>
          <p:spPr bwMode="auto">
            <a:xfrm>
              <a:off x="4386" y="2453"/>
              <a:ext cx="69" cy="67"/>
            </a:xfrm>
            <a:custGeom>
              <a:avLst/>
              <a:gdLst>
                <a:gd name="T0" fmla="*/ 0 w 39"/>
                <a:gd name="T1" fmla="*/ 20 h 38"/>
                <a:gd name="T2" fmla="*/ 19 w 39"/>
                <a:gd name="T3" fmla="*/ 38 h 38"/>
                <a:gd name="T4" fmla="*/ 19 w 39"/>
                <a:gd name="T5" fmla="*/ 38 h 38"/>
                <a:gd name="T6" fmla="*/ 23 w 39"/>
                <a:gd name="T7" fmla="*/ 38 h 38"/>
                <a:gd name="T8" fmla="*/ 39 w 39"/>
                <a:gd name="T9" fmla="*/ 0 h 38"/>
                <a:gd name="T10" fmla="*/ 18 w 39"/>
                <a:gd name="T11" fmla="*/ 0 h 38"/>
                <a:gd name="T12" fmla="*/ 0 w 39"/>
                <a:gd name="T13" fmla="*/ 20 h 38"/>
              </a:gdLst>
              <a:ahLst/>
              <a:cxnLst>
                <a:cxn ang="0">
                  <a:pos x="T0" y="T1"/>
                </a:cxn>
                <a:cxn ang="0">
                  <a:pos x="T2" y="T3"/>
                </a:cxn>
                <a:cxn ang="0">
                  <a:pos x="T4" y="T5"/>
                </a:cxn>
                <a:cxn ang="0">
                  <a:pos x="T6" y="T7"/>
                </a:cxn>
                <a:cxn ang="0">
                  <a:pos x="T8" y="T9"/>
                </a:cxn>
                <a:cxn ang="0">
                  <a:pos x="T10" y="T11"/>
                </a:cxn>
                <a:cxn ang="0">
                  <a:pos x="T12" y="T13"/>
                </a:cxn>
              </a:cxnLst>
              <a:rect l="0" t="0" r="r" b="b"/>
              <a:pathLst>
                <a:path w="39" h="38">
                  <a:moveTo>
                    <a:pt x="0" y="20"/>
                  </a:moveTo>
                  <a:cubicBezTo>
                    <a:pt x="0" y="30"/>
                    <a:pt x="9" y="38"/>
                    <a:pt x="19" y="38"/>
                  </a:cubicBezTo>
                  <a:cubicBezTo>
                    <a:pt x="19" y="38"/>
                    <a:pt x="19" y="38"/>
                    <a:pt x="19" y="38"/>
                  </a:cubicBezTo>
                  <a:cubicBezTo>
                    <a:pt x="23" y="38"/>
                    <a:pt x="23" y="38"/>
                    <a:pt x="23" y="38"/>
                  </a:cubicBezTo>
                  <a:cubicBezTo>
                    <a:pt x="29" y="26"/>
                    <a:pt x="34" y="13"/>
                    <a:pt x="39" y="0"/>
                  </a:cubicBezTo>
                  <a:cubicBezTo>
                    <a:pt x="18" y="0"/>
                    <a:pt x="18" y="0"/>
                    <a:pt x="18" y="0"/>
                  </a:cubicBezTo>
                  <a:cubicBezTo>
                    <a:pt x="8" y="1"/>
                    <a:pt x="0" y="9"/>
                    <a:pt x="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74">
              <a:extLst>
                <a:ext uri="{FF2B5EF4-FFF2-40B4-BE49-F238E27FC236}">
                  <a16:creationId xmlns:a16="http://schemas.microsoft.com/office/drawing/2014/main" id="{87206AF2-E181-4609-9F3D-E4872CF6E5F3}"/>
                </a:ext>
              </a:extLst>
            </p:cNvPr>
            <p:cNvSpPr>
              <a:spLocks/>
            </p:cNvSpPr>
            <p:nvPr/>
          </p:nvSpPr>
          <p:spPr bwMode="auto">
            <a:xfrm>
              <a:off x="2338" y="2876"/>
              <a:ext cx="136" cy="125"/>
            </a:xfrm>
            <a:custGeom>
              <a:avLst/>
              <a:gdLst>
                <a:gd name="T0" fmla="*/ 1 w 77"/>
                <a:gd name="T1" fmla="*/ 0 h 71"/>
                <a:gd name="T2" fmla="*/ 0 w 77"/>
                <a:gd name="T3" fmla="*/ 0 h 71"/>
                <a:gd name="T4" fmla="*/ 77 w 77"/>
                <a:gd name="T5" fmla="*/ 71 h 71"/>
                <a:gd name="T6" fmla="*/ 1 w 77"/>
                <a:gd name="T7" fmla="*/ 0 h 71"/>
              </a:gdLst>
              <a:ahLst/>
              <a:cxnLst>
                <a:cxn ang="0">
                  <a:pos x="T0" y="T1"/>
                </a:cxn>
                <a:cxn ang="0">
                  <a:pos x="T2" y="T3"/>
                </a:cxn>
                <a:cxn ang="0">
                  <a:pos x="T4" y="T5"/>
                </a:cxn>
                <a:cxn ang="0">
                  <a:pos x="T6" y="T7"/>
                </a:cxn>
              </a:cxnLst>
              <a:rect l="0" t="0" r="r" b="b"/>
              <a:pathLst>
                <a:path w="77" h="71">
                  <a:moveTo>
                    <a:pt x="1" y="0"/>
                  </a:moveTo>
                  <a:cubicBezTo>
                    <a:pt x="0" y="0"/>
                    <a:pt x="0" y="0"/>
                    <a:pt x="0" y="0"/>
                  </a:cubicBezTo>
                  <a:cubicBezTo>
                    <a:pt x="23" y="26"/>
                    <a:pt x="49" y="49"/>
                    <a:pt x="77" y="71"/>
                  </a:cubicBezTo>
                  <a:cubicBezTo>
                    <a:pt x="68" y="30"/>
                    <a:pt x="37" y="0"/>
                    <a:pt x="1"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75">
              <a:extLst>
                <a:ext uri="{FF2B5EF4-FFF2-40B4-BE49-F238E27FC236}">
                  <a16:creationId xmlns:a16="http://schemas.microsoft.com/office/drawing/2014/main" id="{BE0137AB-978E-4FD0-BB0C-0DCE8EF6CD8E}"/>
                </a:ext>
              </a:extLst>
            </p:cNvPr>
            <p:cNvSpPr>
              <a:spLocks/>
            </p:cNvSpPr>
            <p:nvPr/>
          </p:nvSpPr>
          <p:spPr bwMode="auto">
            <a:xfrm>
              <a:off x="2344" y="1032"/>
              <a:ext cx="100" cy="93"/>
            </a:xfrm>
            <a:custGeom>
              <a:avLst/>
              <a:gdLst>
                <a:gd name="T0" fmla="*/ 57 w 57"/>
                <a:gd name="T1" fmla="*/ 0 h 53"/>
                <a:gd name="T2" fmla="*/ 0 w 57"/>
                <a:gd name="T3" fmla="*/ 53 h 53"/>
                <a:gd name="T4" fmla="*/ 57 w 57"/>
                <a:gd name="T5" fmla="*/ 0 h 53"/>
              </a:gdLst>
              <a:ahLst/>
              <a:cxnLst>
                <a:cxn ang="0">
                  <a:pos x="T0" y="T1"/>
                </a:cxn>
                <a:cxn ang="0">
                  <a:pos x="T2" y="T3"/>
                </a:cxn>
                <a:cxn ang="0">
                  <a:pos x="T4" y="T5"/>
                </a:cxn>
              </a:cxnLst>
              <a:rect l="0" t="0" r="r" b="b"/>
              <a:pathLst>
                <a:path w="57" h="53">
                  <a:moveTo>
                    <a:pt x="57" y="0"/>
                  </a:moveTo>
                  <a:cubicBezTo>
                    <a:pt x="37" y="16"/>
                    <a:pt x="18" y="34"/>
                    <a:pt x="0" y="53"/>
                  </a:cubicBezTo>
                  <a:cubicBezTo>
                    <a:pt x="25" y="48"/>
                    <a:pt x="47" y="27"/>
                    <a:pt x="57"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76">
              <a:extLst>
                <a:ext uri="{FF2B5EF4-FFF2-40B4-BE49-F238E27FC236}">
                  <a16:creationId xmlns:a16="http://schemas.microsoft.com/office/drawing/2014/main" id="{B07CDD38-92E5-4B75-A631-1AD20DE2FF6E}"/>
                </a:ext>
              </a:extLst>
            </p:cNvPr>
            <p:cNvSpPr>
              <a:spLocks noEditPoints="1"/>
            </p:cNvSpPr>
            <p:nvPr/>
          </p:nvSpPr>
          <p:spPr bwMode="auto">
            <a:xfrm>
              <a:off x="2702" y="798"/>
              <a:ext cx="276" cy="331"/>
            </a:xfrm>
            <a:custGeom>
              <a:avLst/>
              <a:gdLst>
                <a:gd name="T0" fmla="*/ 78 w 156"/>
                <a:gd name="T1" fmla="*/ 187 h 187"/>
                <a:gd name="T2" fmla="*/ 156 w 156"/>
                <a:gd name="T3" fmla="*/ 93 h 187"/>
                <a:gd name="T4" fmla="*/ 86 w 156"/>
                <a:gd name="T5" fmla="*/ 0 h 187"/>
                <a:gd name="T6" fmla="*/ 26 w 156"/>
                <a:gd name="T7" fmla="*/ 24 h 187"/>
                <a:gd name="T8" fmla="*/ 0 w 156"/>
                <a:gd name="T9" fmla="*/ 93 h 187"/>
                <a:gd name="T10" fmla="*/ 78 w 156"/>
                <a:gd name="T11" fmla="*/ 187 h 187"/>
                <a:gd name="T12" fmla="*/ 78 w 156"/>
                <a:gd name="T13" fmla="*/ 38 h 187"/>
                <a:gd name="T14" fmla="*/ 118 w 156"/>
                <a:gd name="T15" fmla="*/ 93 h 187"/>
                <a:gd name="T16" fmla="*/ 78 w 156"/>
                <a:gd name="T17" fmla="*/ 149 h 187"/>
                <a:gd name="T18" fmla="*/ 37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187"/>
                  </a:moveTo>
                  <a:cubicBezTo>
                    <a:pt x="121" y="187"/>
                    <a:pt x="156" y="145"/>
                    <a:pt x="156" y="93"/>
                  </a:cubicBezTo>
                  <a:cubicBezTo>
                    <a:pt x="156" y="45"/>
                    <a:pt x="125" y="5"/>
                    <a:pt x="86" y="0"/>
                  </a:cubicBezTo>
                  <a:cubicBezTo>
                    <a:pt x="65" y="7"/>
                    <a:pt x="45" y="15"/>
                    <a:pt x="26" y="24"/>
                  </a:cubicBezTo>
                  <a:cubicBezTo>
                    <a:pt x="10" y="41"/>
                    <a:pt x="0" y="66"/>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77">
              <a:extLst>
                <a:ext uri="{FF2B5EF4-FFF2-40B4-BE49-F238E27FC236}">
                  <a16:creationId xmlns:a16="http://schemas.microsoft.com/office/drawing/2014/main" id="{5C856B0D-16F3-4ABD-9256-FAE730ACEC97}"/>
                </a:ext>
              </a:extLst>
            </p:cNvPr>
            <p:cNvSpPr>
              <a:spLocks noEditPoints="1"/>
            </p:cNvSpPr>
            <p:nvPr/>
          </p:nvSpPr>
          <p:spPr bwMode="auto">
            <a:xfrm>
              <a:off x="3018" y="79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9 w 156"/>
                <a:gd name="T13" fmla="*/ 93 h 187"/>
                <a:gd name="T14" fmla="*/ 78 w 156"/>
                <a:gd name="T15" fmla="*/ 149 h 187"/>
                <a:gd name="T16" fmla="*/ 38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78">
              <a:extLst>
                <a:ext uri="{FF2B5EF4-FFF2-40B4-BE49-F238E27FC236}">
                  <a16:creationId xmlns:a16="http://schemas.microsoft.com/office/drawing/2014/main" id="{882110CB-DD34-4FD4-A70B-92D72509D8EC}"/>
                </a:ext>
              </a:extLst>
            </p:cNvPr>
            <p:cNvSpPr>
              <a:spLocks/>
            </p:cNvSpPr>
            <p:nvPr/>
          </p:nvSpPr>
          <p:spPr bwMode="auto">
            <a:xfrm>
              <a:off x="2480" y="910"/>
              <a:ext cx="197" cy="221"/>
            </a:xfrm>
            <a:custGeom>
              <a:avLst/>
              <a:gdLst>
                <a:gd name="T0" fmla="*/ 19 w 112"/>
                <a:gd name="T1" fmla="*/ 87 h 125"/>
                <a:gd name="T2" fmla="*/ 0 w 112"/>
                <a:gd name="T3" fmla="*/ 106 h 125"/>
                <a:gd name="T4" fmla="*/ 19 w 112"/>
                <a:gd name="T5" fmla="*/ 125 h 125"/>
                <a:gd name="T6" fmla="*/ 93 w 112"/>
                <a:gd name="T7" fmla="*/ 125 h 125"/>
                <a:gd name="T8" fmla="*/ 112 w 112"/>
                <a:gd name="T9" fmla="*/ 106 h 125"/>
                <a:gd name="T10" fmla="*/ 93 w 112"/>
                <a:gd name="T11" fmla="*/ 87 h 125"/>
                <a:gd name="T12" fmla="*/ 76 w 112"/>
                <a:gd name="T13" fmla="*/ 87 h 125"/>
                <a:gd name="T14" fmla="*/ 76 w 112"/>
                <a:gd name="T15" fmla="*/ 0 h 125"/>
                <a:gd name="T16" fmla="*/ 38 w 112"/>
                <a:gd name="T17" fmla="*/ 24 h 125"/>
                <a:gd name="T18" fmla="*/ 38 w 112"/>
                <a:gd name="T19" fmla="*/ 87 h 125"/>
                <a:gd name="T20" fmla="*/ 19 w 112"/>
                <a:gd name="T21"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5">
                  <a:moveTo>
                    <a:pt x="19" y="87"/>
                  </a:moveTo>
                  <a:cubicBezTo>
                    <a:pt x="9" y="87"/>
                    <a:pt x="0" y="95"/>
                    <a:pt x="0" y="106"/>
                  </a:cubicBezTo>
                  <a:cubicBezTo>
                    <a:pt x="0" y="116"/>
                    <a:pt x="9" y="125"/>
                    <a:pt x="19" y="125"/>
                  </a:cubicBezTo>
                  <a:cubicBezTo>
                    <a:pt x="93" y="125"/>
                    <a:pt x="93" y="125"/>
                    <a:pt x="93" y="125"/>
                  </a:cubicBezTo>
                  <a:cubicBezTo>
                    <a:pt x="104" y="125"/>
                    <a:pt x="112" y="116"/>
                    <a:pt x="112" y="106"/>
                  </a:cubicBezTo>
                  <a:cubicBezTo>
                    <a:pt x="112" y="95"/>
                    <a:pt x="104" y="87"/>
                    <a:pt x="93" y="87"/>
                  </a:cubicBezTo>
                  <a:cubicBezTo>
                    <a:pt x="76" y="87"/>
                    <a:pt x="76" y="87"/>
                    <a:pt x="76" y="87"/>
                  </a:cubicBezTo>
                  <a:cubicBezTo>
                    <a:pt x="76" y="0"/>
                    <a:pt x="76" y="0"/>
                    <a:pt x="76" y="0"/>
                  </a:cubicBezTo>
                  <a:cubicBezTo>
                    <a:pt x="63" y="8"/>
                    <a:pt x="51" y="16"/>
                    <a:pt x="38" y="24"/>
                  </a:cubicBezTo>
                  <a:cubicBezTo>
                    <a:pt x="38" y="87"/>
                    <a:pt x="38" y="87"/>
                    <a:pt x="38" y="87"/>
                  </a:cubicBezTo>
                  <a:lnTo>
                    <a:pt x="19" y="87"/>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79">
              <a:extLst>
                <a:ext uri="{FF2B5EF4-FFF2-40B4-BE49-F238E27FC236}">
                  <a16:creationId xmlns:a16="http://schemas.microsoft.com/office/drawing/2014/main" id="{53495CD2-B848-4755-9ECF-5947D0BD888C}"/>
                </a:ext>
              </a:extLst>
            </p:cNvPr>
            <p:cNvSpPr>
              <a:spLocks noEditPoints="1"/>
            </p:cNvSpPr>
            <p:nvPr/>
          </p:nvSpPr>
          <p:spPr bwMode="auto">
            <a:xfrm>
              <a:off x="3538" y="798"/>
              <a:ext cx="275" cy="331"/>
            </a:xfrm>
            <a:custGeom>
              <a:avLst/>
              <a:gdLst>
                <a:gd name="T0" fmla="*/ 0 w 156"/>
                <a:gd name="T1" fmla="*/ 93 h 187"/>
                <a:gd name="T2" fmla="*/ 78 w 156"/>
                <a:gd name="T3" fmla="*/ 187 h 187"/>
                <a:gd name="T4" fmla="*/ 156 w 156"/>
                <a:gd name="T5" fmla="*/ 93 h 187"/>
                <a:gd name="T6" fmla="*/ 125 w 156"/>
                <a:gd name="T7" fmla="*/ 18 h 187"/>
                <a:gd name="T8" fmla="*/ 76 w 156"/>
                <a:gd name="T9" fmla="*/ 0 h 187"/>
                <a:gd name="T10" fmla="*/ 0 w 156"/>
                <a:gd name="T11" fmla="*/ 93 h 187"/>
                <a:gd name="T12" fmla="*/ 78 w 156"/>
                <a:gd name="T13" fmla="*/ 38 h 187"/>
                <a:gd name="T14" fmla="*/ 119 w 156"/>
                <a:gd name="T15" fmla="*/ 93 h 187"/>
                <a:gd name="T16" fmla="*/ 78 w 156"/>
                <a:gd name="T17" fmla="*/ 149 h 187"/>
                <a:gd name="T18" fmla="*/ 38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0" y="93"/>
                  </a:moveTo>
                  <a:cubicBezTo>
                    <a:pt x="0" y="145"/>
                    <a:pt x="35" y="187"/>
                    <a:pt x="78" y="187"/>
                  </a:cubicBezTo>
                  <a:cubicBezTo>
                    <a:pt x="121" y="187"/>
                    <a:pt x="156" y="145"/>
                    <a:pt x="156" y="93"/>
                  </a:cubicBezTo>
                  <a:cubicBezTo>
                    <a:pt x="156" y="63"/>
                    <a:pt x="144" y="36"/>
                    <a:pt x="125" y="18"/>
                  </a:cubicBezTo>
                  <a:cubicBezTo>
                    <a:pt x="109" y="12"/>
                    <a:pt x="93" y="5"/>
                    <a:pt x="76" y="0"/>
                  </a:cubicBezTo>
                  <a:cubicBezTo>
                    <a:pt x="34" y="1"/>
                    <a:pt x="0" y="43"/>
                    <a:pt x="0" y="93"/>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80">
              <a:extLst>
                <a:ext uri="{FF2B5EF4-FFF2-40B4-BE49-F238E27FC236}">
                  <a16:creationId xmlns:a16="http://schemas.microsoft.com/office/drawing/2014/main" id="{3E224FE9-9267-412F-B014-75C95F8E2D07}"/>
                </a:ext>
              </a:extLst>
            </p:cNvPr>
            <p:cNvSpPr>
              <a:spLocks/>
            </p:cNvSpPr>
            <p:nvPr/>
          </p:nvSpPr>
          <p:spPr bwMode="auto">
            <a:xfrm>
              <a:off x="3317" y="80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9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20"/>
                    <a:pt x="76" y="19"/>
                    <a:pt x="76" y="19"/>
                  </a:cubicBezTo>
                  <a:cubicBezTo>
                    <a:pt x="75" y="8"/>
                    <a:pt x="67" y="0"/>
                    <a:pt x="57" y="0"/>
                  </a:cubicBezTo>
                  <a:cubicBezTo>
                    <a:pt x="57" y="0"/>
                    <a:pt x="57" y="0"/>
                    <a:pt x="56" y="0"/>
                  </a:cubicBezTo>
                  <a:cubicBezTo>
                    <a:pt x="22" y="1"/>
                    <a:pt x="22" y="1"/>
                    <a:pt x="22" y="1"/>
                  </a:cubicBezTo>
                  <a:cubicBezTo>
                    <a:pt x="12" y="1"/>
                    <a:pt x="4" y="10"/>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81">
              <a:extLst>
                <a:ext uri="{FF2B5EF4-FFF2-40B4-BE49-F238E27FC236}">
                  <a16:creationId xmlns:a16="http://schemas.microsoft.com/office/drawing/2014/main" id="{90841F8E-8EB3-4BE5-BA41-A3EC005143AD}"/>
                </a:ext>
              </a:extLst>
            </p:cNvPr>
            <p:cNvSpPr>
              <a:spLocks/>
            </p:cNvSpPr>
            <p:nvPr/>
          </p:nvSpPr>
          <p:spPr bwMode="auto">
            <a:xfrm>
              <a:off x="4066" y="1017"/>
              <a:ext cx="120" cy="112"/>
            </a:xfrm>
            <a:custGeom>
              <a:avLst/>
              <a:gdLst>
                <a:gd name="T0" fmla="*/ 68 w 68"/>
                <a:gd name="T1" fmla="*/ 63 h 63"/>
                <a:gd name="T2" fmla="*/ 0 w 68"/>
                <a:gd name="T3" fmla="*/ 0 h 63"/>
                <a:gd name="T4" fmla="*/ 68 w 68"/>
                <a:gd name="T5" fmla="*/ 63 h 63"/>
              </a:gdLst>
              <a:ahLst/>
              <a:cxnLst>
                <a:cxn ang="0">
                  <a:pos x="T0" y="T1"/>
                </a:cxn>
                <a:cxn ang="0">
                  <a:pos x="T2" y="T3"/>
                </a:cxn>
                <a:cxn ang="0">
                  <a:pos x="T4" y="T5"/>
                </a:cxn>
              </a:cxnLst>
              <a:rect l="0" t="0" r="r" b="b"/>
              <a:pathLst>
                <a:path w="68" h="63">
                  <a:moveTo>
                    <a:pt x="68" y="63"/>
                  </a:moveTo>
                  <a:cubicBezTo>
                    <a:pt x="47" y="40"/>
                    <a:pt x="24" y="19"/>
                    <a:pt x="0" y="0"/>
                  </a:cubicBezTo>
                  <a:cubicBezTo>
                    <a:pt x="10" y="34"/>
                    <a:pt x="37" y="60"/>
                    <a:pt x="68"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82">
              <a:extLst>
                <a:ext uri="{FF2B5EF4-FFF2-40B4-BE49-F238E27FC236}">
                  <a16:creationId xmlns:a16="http://schemas.microsoft.com/office/drawing/2014/main" id="{18396378-CFF9-4AA1-8E60-C1F0E6823685}"/>
                </a:ext>
              </a:extLst>
            </p:cNvPr>
            <p:cNvSpPr>
              <a:spLocks/>
            </p:cNvSpPr>
            <p:nvPr/>
          </p:nvSpPr>
          <p:spPr bwMode="auto">
            <a:xfrm>
              <a:off x="3838" y="904"/>
              <a:ext cx="198" cy="227"/>
            </a:xfrm>
            <a:custGeom>
              <a:avLst/>
              <a:gdLst>
                <a:gd name="T0" fmla="*/ 19 w 112"/>
                <a:gd name="T1" fmla="*/ 90 h 128"/>
                <a:gd name="T2" fmla="*/ 0 w 112"/>
                <a:gd name="T3" fmla="*/ 109 h 128"/>
                <a:gd name="T4" fmla="*/ 19 w 112"/>
                <a:gd name="T5" fmla="*/ 128 h 128"/>
                <a:gd name="T6" fmla="*/ 93 w 112"/>
                <a:gd name="T7" fmla="*/ 128 h 128"/>
                <a:gd name="T8" fmla="*/ 112 w 112"/>
                <a:gd name="T9" fmla="*/ 109 h 128"/>
                <a:gd name="T10" fmla="*/ 93 w 112"/>
                <a:gd name="T11" fmla="*/ 90 h 128"/>
                <a:gd name="T12" fmla="*/ 76 w 112"/>
                <a:gd name="T13" fmla="*/ 90 h 128"/>
                <a:gd name="T14" fmla="*/ 76 w 112"/>
                <a:gd name="T15" fmla="*/ 24 h 128"/>
                <a:gd name="T16" fmla="*/ 38 w 112"/>
                <a:gd name="T17" fmla="*/ 0 h 128"/>
                <a:gd name="T18" fmla="*/ 38 w 112"/>
                <a:gd name="T19" fmla="*/ 90 h 128"/>
                <a:gd name="T20" fmla="*/ 19 w 112"/>
                <a:gd name="T21" fmla="*/ 9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8">
                  <a:moveTo>
                    <a:pt x="19" y="90"/>
                  </a:moveTo>
                  <a:cubicBezTo>
                    <a:pt x="8" y="90"/>
                    <a:pt x="0" y="98"/>
                    <a:pt x="0" y="109"/>
                  </a:cubicBezTo>
                  <a:cubicBezTo>
                    <a:pt x="0" y="119"/>
                    <a:pt x="8" y="128"/>
                    <a:pt x="19" y="128"/>
                  </a:cubicBezTo>
                  <a:cubicBezTo>
                    <a:pt x="93" y="128"/>
                    <a:pt x="93" y="128"/>
                    <a:pt x="93" y="128"/>
                  </a:cubicBezTo>
                  <a:cubicBezTo>
                    <a:pt x="103" y="128"/>
                    <a:pt x="112" y="119"/>
                    <a:pt x="112" y="109"/>
                  </a:cubicBezTo>
                  <a:cubicBezTo>
                    <a:pt x="112" y="98"/>
                    <a:pt x="103" y="90"/>
                    <a:pt x="93" y="90"/>
                  </a:cubicBezTo>
                  <a:cubicBezTo>
                    <a:pt x="76" y="90"/>
                    <a:pt x="76" y="90"/>
                    <a:pt x="76" y="90"/>
                  </a:cubicBezTo>
                  <a:cubicBezTo>
                    <a:pt x="76" y="24"/>
                    <a:pt x="76" y="24"/>
                    <a:pt x="76" y="24"/>
                  </a:cubicBezTo>
                  <a:cubicBezTo>
                    <a:pt x="63" y="15"/>
                    <a:pt x="51" y="8"/>
                    <a:pt x="38" y="0"/>
                  </a:cubicBezTo>
                  <a:cubicBezTo>
                    <a:pt x="38" y="90"/>
                    <a:pt x="38" y="90"/>
                    <a:pt x="38" y="90"/>
                  </a:cubicBezTo>
                  <a:lnTo>
                    <a:pt x="19" y="90"/>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83">
              <a:extLst>
                <a:ext uri="{FF2B5EF4-FFF2-40B4-BE49-F238E27FC236}">
                  <a16:creationId xmlns:a16="http://schemas.microsoft.com/office/drawing/2014/main" id="{5B9FC36B-D8DD-4C52-95D0-DFC2DA023C1E}"/>
                </a:ext>
              </a:extLst>
            </p:cNvPr>
            <p:cNvSpPr>
              <a:spLocks/>
            </p:cNvSpPr>
            <p:nvPr/>
          </p:nvSpPr>
          <p:spPr bwMode="auto">
            <a:xfrm>
              <a:off x="2086" y="1380"/>
              <a:ext cx="69" cy="145"/>
            </a:xfrm>
            <a:custGeom>
              <a:avLst/>
              <a:gdLst>
                <a:gd name="T0" fmla="*/ 39 w 39"/>
                <a:gd name="T1" fmla="*/ 1 h 82"/>
                <a:gd name="T2" fmla="*/ 39 w 39"/>
                <a:gd name="T3" fmla="*/ 0 h 82"/>
                <a:gd name="T4" fmla="*/ 0 w 39"/>
                <a:gd name="T5" fmla="*/ 82 h 82"/>
                <a:gd name="T6" fmla="*/ 39 w 39"/>
                <a:gd name="T7" fmla="*/ 1 h 82"/>
              </a:gdLst>
              <a:ahLst/>
              <a:cxnLst>
                <a:cxn ang="0">
                  <a:pos x="T0" y="T1"/>
                </a:cxn>
                <a:cxn ang="0">
                  <a:pos x="T2" y="T3"/>
                </a:cxn>
                <a:cxn ang="0">
                  <a:pos x="T4" y="T5"/>
                </a:cxn>
                <a:cxn ang="0">
                  <a:pos x="T6" y="T7"/>
                </a:cxn>
              </a:cxnLst>
              <a:rect l="0" t="0" r="r" b="b"/>
              <a:pathLst>
                <a:path w="39" h="82">
                  <a:moveTo>
                    <a:pt x="39" y="1"/>
                  </a:moveTo>
                  <a:cubicBezTo>
                    <a:pt x="39" y="1"/>
                    <a:pt x="39" y="0"/>
                    <a:pt x="39" y="0"/>
                  </a:cubicBezTo>
                  <a:cubicBezTo>
                    <a:pt x="24" y="27"/>
                    <a:pt x="11" y="54"/>
                    <a:pt x="0" y="82"/>
                  </a:cubicBezTo>
                  <a:cubicBezTo>
                    <a:pt x="23" y="66"/>
                    <a:pt x="39" y="35"/>
                    <a:pt x="39" y="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84">
              <a:extLst>
                <a:ext uri="{FF2B5EF4-FFF2-40B4-BE49-F238E27FC236}">
                  <a16:creationId xmlns:a16="http://schemas.microsoft.com/office/drawing/2014/main" id="{EABE6BAC-555B-4D41-8A56-2F42CD3F2D5D}"/>
                </a:ext>
              </a:extLst>
            </p:cNvPr>
            <p:cNvSpPr>
              <a:spLocks noEditPoints="1"/>
            </p:cNvSpPr>
            <p:nvPr/>
          </p:nvSpPr>
          <p:spPr bwMode="auto">
            <a:xfrm>
              <a:off x="2400"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9 w 156"/>
                <a:gd name="T13" fmla="*/ 94 h 187"/>
                <a:gd name="T14" fmla="*/ 78 w 156"/>
                <a:gd name="T15" fmla="*/ 150 h 187"/>
                <a:gd name="T16" fmla="*/ 38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9" y="63"/>
                    <a:pt x="119" y="94"/>
                  </a:cubicBezTo>
                  <a:cubicBezTo>
                    <a:pt x="119" y="124"/>
                    <a:pt x="100" y="150"/>
                    <a:pt x="78" y="150"/>
                  </a:cubicBezTo>
                  <a:cubicBezTo>
                    <a:pt x="56" y="150"/>
                    <a:pt x="38" y="124"/>
                    <a:pt x="38" y="94"/>
                  </a:cubicBezTo>
                  <a:cubicBezTo>
                    <a:pt x="38" y="63"/>
                    <a:pt x="56" y="38"/>
                    <a:pt x="78" y="3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85">
              <a:extLst>
                <a:ext uri="{FF2B5EF4-FFF2-40B4-BE49-F238E27FC236}">
                  <a16:creationId xmlns:a16="http://schemas.microsoft.com/office/drawing/2014/main" id="{6678B7E8-2C7B-4E3F-97BB-77636DA55071}"/>
                </a:ext>
              </a:extLst>
            </p:cNvPr>
            <p:cNvSpPr>
              <a:spLocks noEditPoints="1"/>
            </p:cNvSpPr>
            <p:nvPr/>
          </p:nvSpPr>
          <p:spPr bwMode="auto">
            <a:xfrm>
              <a:off x="2718"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86">
              <a:extLst>
                <a:ext uri="{FF2B5EF4-FFF2-40B4-BE49-F238E27FC236}">
                  <a16:creationId xmlns:a16="http://schemas.microsoft.com/office/drawing/2014/main" id="{69C86CAD-E1E3-4B9E-B391-73387DE3890A}"/>
                </a:ext>
              </a:extLst>
            </p:cNvPr>
            <p:cNvSpPr>
              <a:spLocks/>
            </p:cNvSpPr>
            <p:nvPr/>
          </p:nvSpPr>
          <p:spPr bwMode="auto">
            <a:xfrm>
              <a:off x="2179" y="1217"/>
              <a:ext cx="198" cy="331"/>
            </a:xfrm>
            <a:custGeom>
              <a:avLst/>
              <a:gdLst>
                <a:gd name="T0" fmla="*/ 23 w 112"/>
                <a:gd name="T1" fmla="*/ 39 h 187"/>
                <a:gd name="T2" fmla="*/ 38 w 112"/>
                <a:gd name="T3" fmla="*/ 38 h 187"/>
                <a:gd name="T4" fmla="*/ 38 w 112"/>
                <a:gd name="T5" fmla="*/ 149 h 187"/>
                <a:gd name="T6" fmla="*/ 19 w 112"/>
                <a:gd name="T7" fmla="*/ 149 h 187"/>
                <a:gd name="T8" fmla="*/ 0 w 112"/>
                <a:gd name="T9" fmla="*/ 168 h 187"/>
                <a:gd name="T10" fmla="*/ 19 w 112"/>
                <a:gd name="T11" fmla="*/ 187 h 187"/>
                <a:gd name="T12" fmla="*/ 93 w 112"/>
                <a:gd name="T13" fmla="*/ 187 h 187"/>
                <a:gd name="T14" fmla="*/ 112 w 112"/>
                <a:gd name="T15" fmla="*/ 168 h 187"/>
                <a:gd name="T16" fmla="*/ 93 w 112"/>
                <a:gd name="T17" fmla="*/ 149 h 187"/>
                <a:gd name="T18" fmla="*/ 75 w 112"/>
                <a:gd name="T19" fmla="*/ 149 h 187"/>
                <a:gd name="T20" fmla="*/ 75 w 112"/>
                <a:gd name="T21" fmla="*/ 20 h 187"/>
                <a:gd name="T22" fmla="*/ 76 w 112"/>
                <a:gd name="T23" fmla="*/ 19 h 187"/>
                <a:gd name="T24" fmla="*/ 57 w 112"/>
                <a:gd name="T25" fmla="*/ 0 h 187"/>
                <a:gd name="T26" fmla="*/ 56 w 112"/>
                <a:gd name="T27" fmla="*/ 0 h 187"/>
                <a:gd name="T28" fmla="*/ 48 w 112"/>
                <a:gd name="T29" fmla="*/ 1 h 187"/>
                <a:gd name="T30" fmla="*/ 20 w 112"/>
                <a:gd name="T31" fmla="*/ 39 h 187"/>
                <a:gd name="T32" fmla="*/ 23 w 112"/>
                <a:gd name="T33" fmla="*/ 39 h 187"/>
                <a:gd name="T34" fmla="*/ 23 w 112"/>
                <a:gd name="T35" fmla="*/ 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23" y="39"/>
                  </a:moveTo>
                  <a:cubicBezTo>
                    <a:pt x="38" y="38"/>
                    <a:pt x="38" y="38"/>
                    <a:pt x="38" y="38"/>
                  </a:cubicBezTo>
                  <a:cubicBezTo>
                    <a:pt x="38" y="149"/>
                    <a:pt x="38" y="149"/>
                    <a:pt x="38" y="149"/>
                  </a:cubicBezTo>
                  <a:cubicBezTo>
                    <a:pt x="19" y="149"/>
                    <a:pt x="19" y="149"/>
                    <a:pt x="19" y="149"/>
                  </a:cubicBezTo>
                  <a:cubicBezTo>
                    <a:pt x="8" y="149"/>
                    <a:pt x="0" y="158"/>
                    <a:pt x="0" y="168"/>
                  </a:cubicBezTo>
                  <a:cubicBezTo>
                    <a:pt x="0" y="178"/>
                    <a:pt x="8" y="187"/>
                    <a:pt x="19" y="187"/>
                  </a:cubicBezTo>
                  <a:cubicBezTo>
                    <a:pt x="93" y="187"/>
                    <a:pt x="93" y="187"/>
                    <a:pt x="93" y="187"/>
                  </a:cubicBezTo>
                  <a:cubicBezTo>
                    <a:pt x="103" y="187"/>
                    <a:pt x="112" y="178"/>
                    <a:pt x="112" y="168"/>
                  </a:cubicBezTo>
                  <a:cubicBezTo>
                    <a:pt x="112" y="158"/>
                    <a:pt x="103" y="149"/>
                    <a:pt x="93" y="149"/>
                  </a:cubicBezTo>
                  <a:cubicBezTo>
                    <a:pt x="75" y="149"/>
                    <a:pt x="75" y="149"/>
                    <a:pt x="75" y="149"/>
                  </a:cubicBezTo>
                  <a:cubicBezTo>
                    <a:pt x="75" y="20"/>
                    <a:pt x="75" y="20"/>
                    <a:pt x="75" y="20"/>
                  </a:cubicBezTo>
                  <a:cubicBezTo>
                    <a:pt x="75" y="20"/>
                    <a:pt x="76" y="19"/>
                    <a:pt x="76" y="19"/>
                  </a:cubicBezTo>
                  <a:cubicBezTo>
                    <a:pt x="75" y="9"/>
                    <a:pt x="67" y="0"/>
                    <a:pt x="57" y="0"/>
                  </a:cubicBezTo>
                  <a:cubicBezTo>
                    <a:pt x="57" y="0"/>
                    <a:pt x="56" y="0"/>
                    <a:pt x="56" y="0"/>
                  </a:cubicBezTo>
                  <a:cubicBezTo>
                    <a:pt x="48" y="1"/>
                    <a:pt x="48" y="1"/>
                    <a:pt x="48" y="1"/>
                  </a:cubicBezTo>
                  <a:cubicBezTo>
                    <a:pt x="38" y="13"/>
                    <a:pt x="29" y="26"/>
                    <a:pt x="20" y="39"/>
                  </a:cubicBezTo>
                  <a:cubicBezTo>
                    <a:pt x="21" y="39"/>
                    <a:pt x="22" y="39"/>
                    <a:pt x="23" y="39"/>
                  </a:cubicBezTo>
                  <a:cubicBezTo>
                    <a:pt x="23" y="39"/>
                    <a:pt x="23" y="39"/>
                    <a:pt x="23"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87">
              <a:extLst>
                <a:ext uri="{FF2B5EF4-FFF2-40B4-BE49-F238E27FC236}">
                  <a16:creationId xmlns:a16="http://schemas.microsoft.com/office/drawing/2014/main" id="{79067391-CF74-43BB-9B67-D2838F789D68}"/>
                </a:ext>
              </a:extLst>
            </p:cNvPr>
            <p:cNvSpPr>
              <a:spLocks noEditPoints="1"/>
            </p:cNvSpPr>
            <p:nvPr/>
          </p:nvSpPr>
          <p:spPr bwMode="auto">
            <a:xfrm>
              <a:off x="3238" y="1215"/>
              <a:ext cx="275" cy="331"/>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7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7" y="124"/>
                    <a:pt x="37" y="94"/>
                  </a:cubicBezTo>
                  <a:cubicBezTo>
                    <a:pt x="37" y="63"/>
                    <a:pt x="56" y="38"/>
                    <a:pt x="78" y="38"/>
                  </a:cubicBezTo>
                  <a:cubicBezTo>
                    <a:pt x="100" y="38"/>
                    <a:pt x="118" y="63"/>
                    <a:pt x="118" y="94"/>
                  </a:cubicBezTo>
                  <a:cubicBezTo>
                    <a:pt x="118" y="124"/>
                    <a:pt x="100" y="150"/>
                    <a:pt x="78" y="15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88">
              <a:extLst>
                <a:ext uri="{FF2B5EF4-FFF2-40B4-BE49-F238E27FC236}">
                  <a16:creationId xmlns:a16="http://schemas.microsoft.com/office/drawing/2014/main" id="{4B804B67-D5CC-45FE-ACD9-4A9E273AE859}"/>
                </a:ext>
              </a:extLst>
            </p:cNvPr>
            <p:cNvSpPr>
              <a:spLocks/>
            </p:cNvSpPr>
            <p:nvPr/>
          </p:nvSpPr>
          <p:spPr bwMode="auto">
            <a:xfrm>
              <a:off x="3015"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3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3"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89">
              <a:extLst>
                <a:ext uri="{FF2B5EF4-FFF2-40B4-BE49-F238E27FC236}">
                  <a16:creationId xmlns:a16="http://schemas.microsoft.com/office/drawing/2014/main" id="{23A9D992-54AF-45D9-AE70-66E53F63AB8D}"/>
                </a:ext>
              </a:extLst>
            </p:cNvPr>
            <p:cNvSpPr>
              <a:spLocks noEditPoints="1"/>
            </p:cNvSpPr>
            <p:nvPr/>
          </p:nvSpPr>
          <p:spPr bwMode="auto">
            <a:xfrm>
              <a:off x="3759" y="1215"/>
              <a:ext cx="275"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90">
              <a:extLst>
                <a:ext uri="{FF2B5EF4-FFF2-40B4-BE49-F238E27FC236}">
                  <a16:creationId xmlns:a16="http://schemas.microsoft.com/office/drawing/2014/main" id="{B719303B-2948-4153-AAFD-841CE2534837}"/>
                </a:ext>
              </a:extLst>
            </p:cNvPr>
            <p:cNvSpPr>
              <a:spLocks noEditPoints="1"/>
            </p:cNvSpPr>
            <p:nvPr/>
          </p:nvSpPr>
          <p:spPr bwMode="auto">
            <a:xfrm>
              <a:off x="4075" y="1215"/>
              <a:ext cx="276" cy="331"/>
            </a:xfrm>
            <a:custGeom>
              <a:avLst/>
              <a:gdLst>
                <a:gd name="T0" fmla="*/ 0 w 156"/>
                <a:gd name="T1" fmla="*/ 94 h 187"/>
                <a:gd name="T2" fmla="*/ 78 w 156"/>
                <a:gd name="T3" fmla="*/ 187 h 187"/>
                <a:gd name="T4" fmla="*/ 156 w 156"/>
                <a:gd name="T5" fmla="*/ 94 h 187"/>
                <a:gd name="T6" fmla="*/ 153 w 156"/>
                <a:gd name="T7" fmla="*/ 66 h 187"/>
                <a:gd name="T8" fmla="*/ 115 w 156"/>
                <a:gd name="T9" fmla="*/ 11 h 187"/>
                <a:gd name="T10" fmla="*/ 78 w 156"/>
                <a:gd name="T11" fmla="*/ 0 h 187"/>
                <a:gd name="T12" fmla="*/ 0 w 156"/>
                <a:gd name="T13" fmla="*/ 94 h 187"/>
                <a:gd name="T14" fmla="*/ 119 w 156"/>
                <a:gd name="T15" fmla="*/ 94 h 187"/>
                <a:gd name="T16" fmla="*/ 78 w 156"/>
                <a:gd name="T17" fmla="*/ 150 h 187"/>
                <a:gd name="T18" fmla="*/ 38 w 156"/>
                <a:gd name="T19" fmla="*/ 94 h 187"/>
                <a:gd name="T20" fmla="*/ 78 w 156"/>
                <a:gd name="T21" fmla="*/ 38 h 187"/>
                <a:gd name="T22" fmla="*/ 119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0" y="94"/>
                  </a:moveTo>
                  <a:cubicBezTo>
                    <a:pt x="0" y="145"/>
                    <a:pt x="35" y="187"/>
                    <a:pt x="78" y="187"/>
                  </a:cubicBezTo>
                  <a:cubicBezTo>
                    <a:pt x="121" y="187"/>
                    <a:pt x="156" y="145"/>
                    <a:pt x="156" y="94"/>
                  </a:cubicBezTo>
                  <a:cubicBezTo>
                    <a:pt x="156" y="84"/>
                    <a:pt x="155" y="75"/>
                    <a:pt x="153" y="66"/>
                  </a:cubicBezTo>
                  <a:cubicBezTo>
                    <a:pt x="141" y="47"/>
                    <a:pt x="128" y="29"/>
                    <a:pt x="115" y="11"/>
                  </a:cubicBezTo>
                  <a:cubicBezTo>
                    <a:pt x="104" y="4"/>
                    <a:pt x="91" y="0"/>
                    <a:pt x="78" y="0"/>
                  </a:cubicBezTo>
                  <a:cubicBezTo>
                    <a:pt x="35" y="0"/>
                    <a:pt x="0" y="42"/>
                    <a:pt x="0" y="94"/>
                  </a:cubicBezTo>
                  <a:close/>
                  <a:moveTo>
                    <a:pt x="119" y="94"/>
                  </a:moveTo>
                  <a:cubicBezTo>
                    <a:pt x="119" y="124"/>
                    <a:pt x="100" y="150"/>
                    <a:pt x="78" y="150"/>
                  </a:cubicBezTo>
                  <a:cubicBezTo>
                    <a:pt x="56" y="150"/>
                    <a:pt x="38" y="124"/>
                    <a:pt x="38" y="94"/>
                  </a:cubicBezTo>
                  <a:cubicBezTo>
                    <a:pt x="38" y="63"/>
                    <a:pt x="56" y="38"/>
                    <a:pt x="78" y="38"/>
                  </a:cubicBezTo>
                  <a:cubicBezTo>
                    <a:pt x="100" y="38"/>
                    <a:pt x="119" y="63"/>
                    <a:pt x="119" y="94"/>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91">
              <a:extLst>
                <a:ext uri="{FF2B5EF4-FFF2-40B4-BE49-F238E27FC236}">
                  <a16:creationId xmlns:a16="http://schemas.microsoft.com/office/drawing/2014/main" id="{8BF95430-BA7B-46C8-AF0E-B93B4AD64D97}"/>
                </a:ext>
              </a:extLst>
            </p:cNvPr>
            <p:cNvSpPr>
              <a:spLocks/>
            </p:cNvSpPr>
            <p:nvPr/>
          </p:nvSpPr>
          <p:spPr bwMode="auto">
            <a:xfrm>
              <a:off x="3536"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4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4"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92">
              <a:extLst>
                <a:ext uri="{FF2B5EF4-FFF2-40B4-BE49-F238E27FC236}">
                  <a16:creationId xmlns:a16="http://schemas.microsoft.com/office/drawing/2014/main" id="{C8288A28-35B5-4DB5-9D28-9E5C0CDABFE0}"/>
                </a:ext>
              </a:extLst>
            </p:cNvPr>
            <p:cNvSpPr>
              <a:spLocks noEditPoints="1"/>
            </p:cNvSpPr>
            <p:nvPr/>
          </p:nvSpPr>
          <p:spPr bwMode="auto">
            <a:xfrm>
              <a:off x="2722"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93">
              <a:extLst>
                <a:ext uri="{FF2B5EF4-FFF2-40B4-BE49-F238E27FC236}">
                  <a16:creationId xmlns:a16="http://schemas.microsoft.com/office/drawing/2014/main" id="{9EF4DF9E-8EC0-4B63-ABF0-BC4A0F304AF8}"/>
                </a:ext>
              </a:extLst>
            </p:cNvPr>
            <p:cNvSpPr>
              <a:spLocks/>
            </p:cNvSpPr>
            <p:nvPr/>
          </p:nvSpPr>
          <p:spPr bwMode="auto">
            <a:xfrm>
              <a:off x="2499" y="1643"/>
              <a:ext cx="198" cy="329"/>
            </a:xfrm>
            <a:custGeom>
              <a:avLst/>
              <a:gdLst>
                <a:gd name="T0" fmla="*/ 94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3 w 112"/>
                <a:gd name="T13" fmla="*/ 1 h 186"/>
                <a:gd name="T14" fmla="*/ 4 w 112"/>
                <a:gd name="T15" fmla="*/ 20 h 186"/>
                <a:gd name="T16" fmla="*/ 23 w 112"/>
                <a:gd name="T17" fmla="*/ 38 h 186"/>
                <a:gd name="T18" fmla="*/ 24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4 w 112"/>
                <a:gd name="T31" fmla="*/ 186 h 186"/>
                <a:gd name="T32" fmla="*/ 112 w 112"/>
                <a:gd name="T33" fmla="*/ 168 h 186"/>
                <a:gd name="T34" fmla="*/ 94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4" y="149"/>
                  </a:move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2"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94">
              <a:extLst>
                <a:ext uri="{FF2B5EF4-FFF2-40B4-BE49-F238E27FC236}">
                  <a16:creationId xmlns:a16="http://schemas.microsoft.com/office/drawing/2014/main" id="{AAE4D4A3-416C-40D1-99FE-85702C78186B}"/>
                </a:ext>
              </a:extLst>
            </p:cNvPr>
            <p:cNvSpPr>
              <a:spLocks noEditPoints="1"/>
            </p:cNvSpPr>
            <p:nvPr/>
          </p:nvSpPr>
          <p:spPr bwMode="auto">
            <a:xfrm>
              <a:off x="3243"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95">
              <a:extLst>
                <a:ext uri="{FF2B5EF4-FFF2-40B4-BE49-F238E27FC236}">
                  <a16:creationId xmlns:a16="http://schemas.microsoft.com/office/drawing/2014/main" id="{66501B0B-BE03-437F-9B8D-54952583B1D1}"/>
                </a:ext>
              </a:extLst>
            </p:cNvPr>
            <p:cNvSpPr>
              <a:spLocks noEditPoints="1"/>
            </p:cNvSpPr>
            <p:nvPr/>
          </p:nvSpPr>
          <p:spPr bwMode="auto">
            <a:xfrm>
              <a:off x="3559" y="1642"/>
              <a:ext cx="276"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7" y="149"/>
                    <a:pt x="38" y="123"/>
                    <a:pt x="38" y="93"/>
                  </a:cubicBezTo>
                  <a:cubicBezTo>
                    <a:pt x="38" y="63"/>
                    <a:pt x="57" y="37"/>
                    <a:pt x="78" y="37"/>
                  </a:cubicBezTo>
                  <a:cubicBezTo>
                    <a:pt x="100" y="37"/>
                    <a:pt x="119" y="63"/>
                    <a:pt x="119" y="93"/>
                  </a:cubicBezTo>
                  <a:cubicBezTo>
                    <a:pt x="119" y="123"/>
                    <a:pt x="100" y="149"/>
                    <a:pt x="78"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96">
              <a:extLst>
                <a:ext uri="{FF2B5EF4-FFF2-40B4-BE49-F238E27FC236}">
                  <a16:creationId xmlns:a16="http://schemas.microsoft.com/office/drawing/2014/main" id="{390E7400-A4A3-40D6-B9CF-1E8549C24D64}"/>
                </a:ext>
              </a:extLst>
            </p:cNvPr>
            <p:cNvSpPr>
              <a:spLocks/>
            </p:cNvSpPr>
            <p:nvPr/>
          </p:nvSpPr>
          <p:spPr bwMode="auto">
            <a:xfrm>
              <a:off x="3020" y="1643"/>
              <a:ext cx="198" cy="329"/>
            </a:xfrm>
            <a:custGeom>
              <a:avLst/>
              <a:gdLst>
                <a:gd name="T0" fmla="*/ 19 w 112"/>
                <a:gd name="T1" fmla="*/ 149 h 186"/>
                <a:gd name="T2" fmla="*/ 0 w 112"/>
                <a:gd name="T3" fmla="*/ 168 h 186"/>
                <a:gd name="T4" fmla="*/ 19 w 112"/>
                <a:gd name="T5" fmla="*/ 186 h 186"/>
                <a:gd name="T6" fmla="*/ 94 w 112"/>
                <a:gd name="T7" fmla="*/ 186 h 186"/>
                <a:gd name="T8" fmla="*/ 112 w 112"/>
                <a:gd name="T9" fmla="*/ 168 h 186"/>
                <a:gd name="T10" fmla="*/ 94 w 112"/>
                <a:gd name="T11" fmla="*/ 149 h 186"/>
                <a:gd name="T12" fmla="*/ 76 w 112"/>
                <a:gd name="T13" fmla="*/ 149 h 186"/>
                <a:gd name="T14" fmla="*/ 76 w 112"/>
                <a:gd name="T15" fmla="*/ 20 h 186"/>
                <a:gd name="T16" fmla="*/ 76 w 112"/>
                <a:gd name="T17" fmla="*/ 18 h 186"/>
                <a:gd name="T18" fmla="*/ 57 w 112"/>
                <a:gd name="T19" fmla="*/ 0 h 186"/>
                <a:gd name="T20" fmla="*/ 57 w 112"/>
                <a:gd name="T21" fmla="*/ 0 h 186"/>
                <a:gd name="T22" fmla="*/ 23 w 112"/>
                <a:gd name="T23" fmla="*/ 1 h 186"/>
                <a:gd name="T24" fmla="*/ 4 w 112"/>
                <a:gd name="T25" fmla="*/ 20 h 186"/>
                <a:gd name="T26" fmla="*/ 23 w 112"/>
                <a:gd name="T27" fmla="*/ 38 h 186"/>
                <a:gd name="T28" fmla="*/ 24 w 112"/>
                <a:gd name="T29" fmla="*/ 38 h 186"/>
                <a:gd name="T30" fmla="*/ 38 w 112"/>
                <a:gd name="T31" fmla="*/ 38 h 186"/>
                <a:gd name="T32" fmla="*/ 38 w 112"/>
                <a:gd name="T33" fmla="*/ 149 h 186"/>
                <a:gd name="T34" fmla="*/ 19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19" y="149"/>
                  </a:move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3"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lnTo>
                    <a:pt x="19" y="1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97">
              <a:extLst>
                <a:ext uri="{FF2B5EF4-FFF2-40B4-BE49-F238E27FC236}">
                  <a16:creationId xmlns:a16="http://schemas.microsoft.com/office/drawing/2014/main" id="{2FAA6447-44A4-4798-92C7-1A96E90131D0}"/>
                </a:ext>
              </a:extLst>
            </p:cNvPr>
            <p:cNvSpPr>
              <a:spLocks noEditPoints="1"/>
            </p:cNvSpPr>
            <p:nvPr/>
          </p:nvSpPr>
          <p:spPr bwMode="auto">
            <a:xfrm>
              <a:off x="4078" y="1642"/>
              <a:ext cx="278" cy="330"/>
            </a:xfrm>
            <a:custGeom>
              <a:avLst/>
              <a:gdLst>
                <a:gd name="T0" fmla="*/ 78 w 157"/>
                <a:gd name="T1" fmla="*/ 187 h 187"/>
                <a:gd name="T2" fmla="*/ 157 w 157"/>
                <a:gd name="T3" fmla="*/ 93 h 187"/>
                <a:gd name="T4" fmla="*/ 78 w 157"/>
                <a:gd name="T5" fmla="*/ 0 h 187"/>
                <a:gd name="T6" fmla="*/ 0 w 157"/>
                <a:gd name="T7" fmla="*/ 93 h 187"/>
                <a:gd name="T8" fmla="*/ 78 w 157"/>
                <a:gd name="T9" fmla="*/ 187 h 187"/>
                <a:gd name="T10" fmla="*/ 78 w 157"/>
                <a:gd name="T11" fmla="*/ 37 h 187"/>
                <a:gd name="T12" fmla="*/ 119 w 157"/>
                <a:gd name="T13" fmla="*/ 93 h 187"/>
                <a:gd name="T14" fmla="*/ 78 w 157"/>
                <a:gd name="T15" fmla="*/ 149 h 187"/>
                <a:gd name="T16" fmla="*/ 38 w 157"/>
                <a:gd name="T17" fmla="*/ 93 h 187"/>
                <a:gd name="T18" fmla="*/ 78 w 157"/>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87">
                  <a:moveTo>
                    <a:pt x="78" y="187"/>
                  </a:moveTo>
                  <a:cubicBezTo>
                    <a:pt x="121" y="187"/>
                    <a:pt x="157" y="145"/>
                    <a:pt x="157" y="93"/>
                  </a:cubicBezTo>
                  <a:cubicBezTo>
                    <a:pt x="157"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3"/>
                    <a:pt x="100" y="149"/>
                    <a:pt x="78" y="149"/>
                  </a:cubicBezTo>
                  <a:cubicBezTo>
                    <a:pt x="57" y="149"/>
                    <a:pt x="38" y="123"/>
                    <a:pt x="38" y="93"/>
                  </a:cubicBezTo>
                  <a:cubicBezTo>
                    <a:pt x="38" y="63"/>
                    <a:pt x="57" y="37"/>
                    <a:pt x="78" y="3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98">
              <a:extLst>
                <a:ext uri="{FF2B5EF4-FFF2-40B4-BE49-F238E27FC236}">
                  <a16:creationId xmlns:a16="http://schemas.microsoft.com/office/drawing/2014/main" id="{273E7E6F-8D0E-4EE3-8007-CD105684853C}"/>
                </a:ext>
              </a:extLst>
            </p:cNvPr>
            <p:cNvSpPr>
              <a:spLocks/>
            </p:cNvSpPr>
            <p:nvPr/>
          </p:nvSpPr>
          <p:spPr bwMode="auto">
            <a:xfrm>
              <a:off x="3858" y="1643"/>
              <a:ext cx="197" cy="329"/>
            </a:xfrm>
            <a:custGeom>
              <a:avLst/>
              <a:gdLst>
                <a:gd name="T0" fmla="*/ 93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2 w 112"/>
                <a:gd name="T13" fmla="*/ 1 h 186"/>
                <a:gd name="T14" fmla="*/ 4 w 112"/>
                <a:gd name="T15" fmla="*/ 20 h 186"/>
                <a:gd name="T16" fmla="*/ 23 w 112"/>
                <a:gd name="T17" fmla="*/ 38 h 186"/>
                <a:gd name="T18" fmla="*/ 23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3 w 112"/>
                <a:gd name="T31" fmla="*/ 186 h 186"/>
                <a:gd name="T32" fmla="*/ 112 w 112"/>
                <a:gd name="T33" fmla="*/ 168 h 186"/>
                <a:gd name="T34" fmla="*/ 93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93" y="186"/>
                    <a:pt x="93" y="186"/>
                    <a:pt x="93" y="186"/>
                  </a:cubicBezTo>
                  <a:cubicBezTo>
                    <a:pt x="104" y="186"/>
                    <a:pt x="112" y="178"/>
                    <a:pt x="112" y="168"/>
                  </a:cubicBezTo>
                  <a:cubicBezTo>
                    <a:pt x="112" y="157"/>
                    <a:pt x="104" y="149"/>
                    <a:pt x="93"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99">
              <a:extLst>
                <a:ext uri="{FF2B5EF4-FFF2-40B4-BE49-F238E27FC236}">
                  <a16:creationId xmlns:a16="http://schemas.microsoft.com/office/drawing/2014/main" id="{4DE3F628-7F5A-4721-85A6-D61EBB99F2C9}"/>
                </a:ext>
              </a:extLst>
            </p:cNvPr>
            <p:cNvSpPr>
              <a:spLocks/>
            </p:cNvSpPr>
            <p:nvPr/>
          </p:nvSpPr>
          <p:spPr bwMode="auto">
            <a:xfrm>
              <a:off x="4379" y="1643"/>
              <a:ext cx="157" cy="329"/>
            </a:xfrm>
            <a:custGeom>
              <a:avLst/>
              <a:gdLst>
                <a:gd name="T0" fmla="*/ 57 w 89"/>
                <a:gd name="T1" fmla="*/ 0 h 186"/>
                <a:gd name="T2" fmla="*/ 22 w 89"/>
                <a:gd name="T3" fmla="*/ 1 h 186"/>
                <a:gd name="T4" fmla="*/ 4 w 89"/>
                <a:gd name="T5" fmla="*/ 20 h 186"/>
                <a:gd name="T6" fmla="*/ 23 w 89"/>
                <a:gd name="T7" fmla="*/ 38 h 186"/>
                <a:gd name="T8" fmla="*/ 23 w 89"/>
                <a:gd name="T9" fmla="*/ 38 h 186"/>
                <a:gd name="T10" fmla="*/ 38 w 89"/>
                <a:gd name="T11" fmla="*/ 38 h 186"/>
                <a:gd name="T12" fmla="*/ 38 w 89"/>
                <a:gd name="T13" fmla="*/ 149 h 186"/>
                <a:gd name="T14" fmla="*/ 19 w 89"/>
                <a:gd name="T15" fmla="*/ 149 h 186"/>
                <a:gd name="T16" fmla="*/ 0 w 89"/>
                <a:gd name="T17" fmla="*/ 168 h 186"/>
                <a:gd name="T18" fmla="*/ 19 w 89"/>
                <a:gd name="T19" fmla="*/ 186 h 186"/>
                <a:gd name="T20" fmla="*/ 89 w 89"/>
                <a:gd name="T21" fmla="*/ 186 h 186"/>
                <a:gd name="T22" fmla="*/ 87 w 89"/>
                <a:gd name="T23" fmla="*/ 149 h 186"/>
                <a:gd name="T24" fmla="*/ 76 w 89"/>
                <a:gd name="T25" fmla="*/ 149 h 186"/>
                <a:gd name="T26" fmla="*/ 76 w 89"/>
                <a:gd name="T27" fmla="*/ 66 h 186"/>
                <a:gd name="T28" fmla="*/ 60 w 89"/>
                <a:gd name="T29" fmla="*/ 0 h 186"/>
                <a:gd name="T30" fmla="*/ 57 w 89"/>
                <a:gd name="T31" fmla="*/ 0 h 186"/>
                <a:gd name="T32" fmla="*/ 57 w 89"/>
                <a:gd name="T3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86">
                  <a:moveTo>
                    <a:pt x="57" y="0"/>
                  </a:move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89" y="186"/>
                    <a:pt x="89" y="186"/>
                    <a:pt x="89" y="186"/>
                  </a:cubicBezTo>
                  <a:cubicBezTo>
                    <a:pt x="88" y="174"/>
                    <a:pt x="88" y="161"/>
                    <a:pt x="87" y="149"/>
                  </a:cubicBezTo>
                  <a:cubicBezTo>
                    <a:pt x="76" y="149"/>
                    <a:pt x="76" y="149"/>
                    <a:pt x="76" y="149"/>
                  </a:cubicBezTo>
                  <a:cubicBezTo>
                    <a:pt x="76" y="66"/>
                    <a:pt x="76" y="66"/>
                    <a:pt x="76" y="66"/>
                  </a:cubicBezTo>
                  <a:cubicBezTo>
                    <a:pt x="71" y="44"/>
                    <a:pt x="66" y="22"/>
                    <a:pt x="60" y="0"/>
                  </a:cubicBezTo>
                  <a:cubicBezTo>
                    <a:pt x="59" y="0"/>
                    <a:pt x="58" y="0"/>
                    <a:pt x="57" y="0"/>
                  </a:cubicBezTo>
                  <a:cubicBezTo>
                    <a:pt x="57" y="0"/>
                    <a:pt x="57" y="0"/>
                    <a:pt x="5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00">
              <a:extLst>
                <a:ext uri="{FF2B5EF4-FFF2-40B4-BE49-F238E27FC236}">
                  <a16:creationId xmlns:a16="http://schemas.microsoft.com/office/drawing/2014/main" id="{910445AB-940F-455D-BBB5-1DBB09887BB1}"/>
                </a:ext>
              </a:extLst>
            </p:cNvPr>
            <p:cNvSpPr>
              <a:spLocks/>
            </p:cNvSpPr>
            <p:nvPr/>
          </p:nvSpPr>
          <p:spPr bwMode="auto">
            <a:xfrm>
              <a:off x="4379" y="1481"/>
              <a:ext cx="72" cy="67"/>
            </a:xfrm>
            <a:custGeom>
              <a:avLst/>
              <a:gdLst>
                <a:gd name="T0" fmla="*/ 0 w 41"/>
                <a:gd name="T1" fmla="*/ 19 h 38"/>
                <a:gd name="T2" fmla="*/ 19 w 41"/>
                <a:gd name="T3" fmla="*/ 38 h 38"/>
                <a:gd name="T4" fmla="*/ 41 w 41"/>
                <a:gd name="T5" fmla="*/ 38 h 38"/>
                <a:gd name="T6" fmla="*/ 25 w 41"/>
                <a:gd name="T7" fmla="*/ 0 h 38"/>
                <a:gd name="T8" fmla="*/ 19 w 41"/>
                <a:gd name="T9" fmla="*/ 0 h 38"/>
                <a:gd name="T10" fmla="*/ 0 w 41"/>
                <a:gd name="T11" fmla="*/ 19 h 38"/>
              </a:gdLst>
              <a:ahLst/>
              <a:cxnLst>
                <a:cxn ang="0">
                  <a:pos x="T0" y="T1"/>
                </a:cxn>
                <a:cxn ang="0">
                  <a:pos x="T2" y="T3"/>
                </a:cxn>
                <a:cxn ang="0">
                  <a:pos x="T4" y="T5"/>
                </a:cxn>
                <a:cxn ang="0">
                  <a:pos x="T6" y="T7"/>
                </a:cxn>
                <a:cxn ang="0">
                  <a:pos x="T8" y="T9"/>
                </a:cxn>
                <a:cxn ang="0">
                  <a:pos x="T10" y="T11"/>
                </a:cxn>
              </a:cxnLst>
              <a:rect l="0" t="0" r="r" b="b"/>
              <a:pathLst>
                <a:path w="41" h="38">
                  <a:moveTo>
                    <a:pt x="0" y="19"/>
                  </a:moveTo>
                  <a:cubicBezTo>
                    <a:pt x="0" y="29"/>
                    <a:pt x="8" y="38"/>
                    <a:pt x="19" y="38"/>
                  </a:cubicBezTo>
                  <a:cubicBezTo>
                    <a:pt x="41" y="38"/>
                    <a:pt x="41" y="38"/>
                    <a:pt x="41" y="38"/>
                  </a:cubicBezTo>
                  <a:cubicBezTo>
                    <a:pt x="36" y="25"/>
                    <a:pt x="31" y="12"/>
                    <a:pt x="25" y="0"/>
                  </a:cubicBezTo>
                  <a:cubicBezTo>
                    <a:pt x="19" y="0"/>
                    <a:pt x="19" y="0"/>
                    <a:pt x="19" y="0"/>
                  </a:cubicBezTo>
                  <a:cubicBezTo>
                    <a:pt x="8" y="0"/>
                    <a:pt x="0" y="8"/>
                    <a:pt x="0"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01">
              <a:extLst>
                <a:ext uri="{FF2B5EF4-FFF2-40B4-BE49-F238E27FC236}">
                  <a16:creationId xmlns:a16="http://schemas.microsoft.com/office/drawing/2014/main" id="{88E7CB0F-C712-4B59-923B-45BDEE43C806}"/>
                </a:ext>
              </a:extLst>
            </p:cNvPr>
            <p:cNvSpPr>
              <a:spLocks/>
            </p:cNvSpPr>
            <p:nvPr/>
          </p:nvSpPr>
          <p:spPr bwMode="auto">
            <a:xfrm>
              <a:off x="1992" y="1643"/>
              <a:ext cx="163" cy="329"/>
            </a:xfrm>
            <a:custGeom>
              <a:avLst/>
              <a:gdLst>
                <a:gd name="T0" fmla="*/ 92 w 92"/>
                <a:gd name="T1" fmla="*/ 92 h 186"/>
                <a:gd name="T2" fmla="*/ 29 w 92"/>
                <a:gd name="T3" fmla="*/ 0 h 186"/>
                <a:gd name="T4" fmla="*/ 20 w 92"/>
                <a:gd name="T5" fmla="*/ 37 h 186"/>
                <a:gd name="T6" fmla="*/ 55 w 92"/>
                <a:gd name="T7" fmla="*/ 92 h 186"/>
                <a:gd name="T8" fmla="*/ 14 w 92"/>
                <a:gd name="T9" fmla="*/ 148 h 186"/>
                <a:gd name="T10" fmla="*/ 2 w 92"/>
                <a:gd name="T11" fmla="*/ 145 h 186"/>
                <a:gd name="T12" fmla="*/ 0 w 92"/>
                <a:gd name="T13" fmla="*/ 184 h 186"/>
                <a:gd name="T14" fmla="*/ 14 w 92"/>
                <a:gd name="T15" fmla="*/ 186 h 186"/>
                <a:gd name="T16" fmla="*/ 92 w 92"/>
                <a:gd name="T17" fmla="*/ 9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86">
                  <a:moveTo>
                    <a:pt x="92" y="92"/>
                  </a:moveTo>
                  <a:cubicBezTo>
                    <a:pt x="92" y="47"/>
                    <a:pt x="65" y="9"/>
                    <a:pt x="29" y="0"/>
                  </a:cubicBezTo>
                  <a:cubicBezTo>
                    <a:pt x="26" y="12"/>
                    <a:pt x="22" y="25"/>
                    <a:pt x="20" y="37"/>
                  </a:cubicBezTo>
                  <a:cubicBezTo>
                    <a:pt x="39" y="41"/>
                    <a:pt x="55" y="64"/>
                    <a:pt x="55" y="92"/>
                  </a:cubicBezTo>
                  <a:cubicBezTo>
                    <a:pt x="55" y="122"/>
                    <a:pt x="36" y="148"/>
                    <a:pt x="14" y="148"/>
                  </a:cubicBezTo>
                  <a:cubicBezTo>
                    <a:pt x="10" y="148"/>
                    <a:pt x="6" y="147"/>
                    <a:pt x="2" y="145"/>
                  </a:cubicBezTo>
                  <a:cubicBezTo>
                    <a:pt x="1" y="158"/>
                    <a:pt x="1" y="171"/>
                    <a:pt x="0" y="184"/>
                  </a:cubicBezTo>
                  <a:cubicBezTo>
                    <a:pt x="5" y="185"/>
                    <a:pt x="9" y="186"/>
                    <a:pt x="14" y="186"/>
                  </a:cubicBezTo>
                  <a:cubicBezTo>
                    <a:pt x="57" y="186"/>
                    <a:pt x="92" y="144"/>
                    <a:pt x="92" y="92"/>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02">
              <a:extLst>
                <a:ext uri="{FF2B5EF4-FFF2-40B4-BE49-F238E27FC236}">
                  <a16:creationId xmlns:a16="http://schemas.microsoft.com/office/drawing/2014/main" id="{294DF7C5-3D75-43E2-960D-3098F6579302}"/>
                </a:ext>
              </a:extLst>
            </p:cNvPr>
            <p:cNvSpPr>
              <a:spLocks noEditPoints="1"/>
            </p:cNvSpPr>
            <p:nvPr/>
          </p:nvSpPr>
          <p:spPr bwMode="auto">
            <a:xfrm>
              <a:off x="2202" y="1642"/>
              <a:ext cx="276" cy="330"/>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3"/>
                    <a:pt x="100" y="149"/>
                    <a:pt x="78" y="149"/>
                  </a:cubicBezTo>
                  <a:cubicBezTo>
                    <a:pt x="56" y="149"/>
                    <a:pt x="38" y="123"/>
                    <a:pt x="38" y="93"/>
                  </a:cubicBezTo>
                  <a:cubicBezTo>
                    <a:pt x="38" y="63"/>
                    <a:pt x="56" y="37"/>
                    <a:pt x="78" y="3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03">
              <a:extLst>
                <a:ext uri="{FF2B5EF4-FFF2-40B4-BE49-F238E27FC236}">
                  <a16:creationId xmlns:a16="http://schemas.microsoft.com/office/drawing/2014/main" id="{824EA2C1-68FC-40F0-A058-D5DBAE353714}"/>
                </a:ext>
              </a:extLst>
            </p:cNvPr>
            <p:cNvSpPr>
              <a:spLocks noEditPoints="1"/>
            </p:cNvSpPr>
            <p:nvPr/>
          </p:nvSpPr>
          <p:spPr bwMode="auto">
            <a:xfrm>
              <a:off x="2181" y="2048"/>
              <a:ext cx="276" cy="331"/>
            </a:xfrm>
            <a:custGeom>
              <a:avLst/>
              <a:gdLst>
                <a:gd name="T0" fmla="*/ 156 w 156"/>
                <a:gd name="T1" fmla="*/ 93 h 187"/>
                <a:gd name="T2" fmla="*/ 78 w 156"/>
                <a:gd name="T3" fmla="*/ 0 h 187"/>
                <a:gd name="T4" fmla="*/ 0 w 156"/>
                <a:gd name="T5" fmla="*/ 93 h 187"/>
                <a:gd name="T6" fmla="*/ 78 w 156"/>
                <a:gd name="T7" fmla="*/ 187 h 187"/>
                <a:gd name="T8" fmla="*/ 156 w 156"/>
                <a:gd name="T9" fmla="*/ 93 h 187"/>
                <a:gd name="T10" fmla="*/ 78 w 156"/>
                <a:gd name="T11" fmla="*/ 149 h 187"/>
                <a:gd name="T12" fmla="*/ 37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156" y="93"/>
                  </a:moveTo>
                  <a:cubicBezTo>
                    <a:pt x="156" y="42"/>
                    <a:pt x="121" y="0"/>
                    <a:pt x="78" y="0"/>
                  </a:cubicBezTo>
                  <a:cubicBezTo>
                    <a:pt x="35" y="0"/>
                    <a:pt x="0" y="42"/>
                    <a:pt x="0" y="93"/>
                  </a:cubicBezTo>
                  <a:cubicBezTo>
                    <a:pt x="0" y="145"/>
                    <a:pt x="35" y="187"/>
                    <a:pt x="78" y="187"/>
                  </a:cubicBezTo>
                  <a:cubicBezTo>
                    <a:pt x="121" y="187"/>
                    <a:pt x="156" y="145"/>
                    <a:pt x="156" y="93"/>
                  </a:cubicBezTo>
                  <a:close/>
                  <a:moveTo>
                    <a:pt x="78" y="149"/>
                  </a:moveTo>
                  <a:cubicBezTo>
                    <a:pt x="56" y="149"/>
                    <a:pt x="37" y="124"/>
                    <a:pt x="37" y="93"/>
                  </a:cubicBezTo>
                  <a:cubicBezTo>
                    <a:pt x="37" y="63"/>
                    <a:pt x="56" y="37"/>
                    <a:pt x="78" y="37"/>
                  </a:cubicBezTo>
                  <a:cubicBezTo>
                    <a:pt x="100" y="37"/>
                    <a:pt x="118" y="63"/>
                    <a:pt x="118" y="93"/>
                  </a:cubicBezTo>
                  <a:cubicBezTo>
                    <a:pt x="118" y="124"/>
                    <a:pt x="100" y="149"/>
                    <a:pt x="78"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04">
              <a:extLst>
                <a:ext uri="{FF2B5EF4-FFF2-40B4-BE49-F238E27FC236}">
                  <a16:creationId xmlns:a16="http://schemas.microsoft.com/office/drawing/2014/main" id="{E6B53160-0879-4994-A317-BE9E1CB73ADD}"/>
                </a:ext>
              </a:extLst>
            </p:cNvPr>
            <p:cNvSpPr>
              <a:spLocks/>
            </p:cNvSpPr>
            <p:nvPr/>
          </p:nvSpPr>
          <p:spPr bwMode="auto">
            <a:xfrm>
              <a:off x="1994" y="2050"/>
              <a:ext cx="162" cy="331"/>
            </a:xfrm>
            <a:custGeom>
              <a:avLst/>
              <a:gdLst>
                <a:gd name="T0" fmla="*/ 92 w 92"/>
                <a:gd name="T1" fmla="*/ 168 h 187"/>
                <a:gd name="T2" fmla="*/ 73 w 92"/>
                <a:gd name="T3" fmla="*/ 149 h 187"/>
                <a:gd name="T4" fmla="*/ 56 w 92"/>
                <a:gd name="T5" fmla="*/ 149 h 187"/>
                <a:gd name="T6" fmla="*/ 56 w 92"/>
                <a:gd name="T7" fmla="*/ 20 h 187"/>
                <a:gd name="T8" fmla="*/ 56 w 92"/>
                <a:gd name="T9" fmla="*/ 18 h 187"/>
                <a:gd name="T10" fmla="*/ 37 w 92"/>
                <a:gd name="T11" fmla="*/ 0 h 187"/>
                <a:gd name="T12" fmla="*/ 37 w 92"/>
                <a:gd name="T13" fmla="*/ 0 h 187"/>
                <a:gd name="T14" fmla="*/ 3 w 92"/>
                <a:gd name="T15" fmla="*/ 1 h 187"/>
                <a:gd name="T16" fmla="*/ 0 w 92"/>
                <a:gd name="T17" fmla="*/ 1 h 187"/>
                <a:gd name="T18" fmla="*/ 2 w 92"/>
                <a:gd name="T19" fmla="*/ 38 h 187"/>
                <a:gd name="T20" fmla="*/ 3 w 92"/>
                <a:gd name="T21" fmla="*/ 38 h 187"/>
                <a:gd name="T22" fmla="*/ 3 w 92"/>
                <a:gd name="T23" fmla="*/ 38 h 187"/>
                <a:gd name="T24" fmla="*/ 18 w 92"/>
                <a:gd name="T25" fmla="*/ 38 h 187"/>
                <a:gd name="T26" fmla="*/ 18 w 92"/>
                <a:gd name="T27" fmla="*/ 140 h 187"/>
                <a:gd name="T28" fmla="*/ 31 w 92"/>
                <a:gd name="T29" fmla="*/ 187 h 187"/>
                <a:gd name="T30" fmla="*/ 73 w 92"/>
                <a:gd name="T31" fmla="*/ 187 h 187"/>
                <a:gd name="T32" fmla="*/ 92 w 92"/>
                <a:gd name="T33"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87">
                  <a:moveTo>
                    <a:pt x="92" y="168"/>
                  </a:moveTo>
                  <a:cubicBezTo>
                    <a:pt x="92" y="157"/>
                    <a:pt x="84" y="149"/>
                    <a:pt x="73" y="149"/>
                  </a:cubicBezTo>
                  <a:cubicBezTo>
                    <a:pt x="56" y="149"/>
                    <a:pt x="56" y="149"/>
                    <a:pt x="56" y="149"/>
                  </a:cubicBezTo>
                  <a:cubicBezTo>
                    <a:pt x="56" y="20"/>
                    <a:pt x="56" y="20"/>
                    <a:pt x="56" y="20"/>
                  </a:cubicBezTo>
                  <a:cubicBezTo>
                    <a:pt x="56" y="19"/>
                    <a:pt x="56" y="19"/>
                    <a:pt x="56" y="18"/>
                  </a:cubicBezTo>
                  <a:cubicBezTo>
                    <a:pt x="56" y="8"/>
                    <a:pt x="47" y="0"/>
                    <a:pt x="37" y="0"/>
                  </a:cubicBezTo>
                  <a:cubicBezTo>
                    <a:pt x="37" y="0"/>
                    <a:pt x="37" y="0"/>
                    <a:pt x="37" y="0"/>
                  </a:cubicBezTo>
                  <a:cubicBezTo>
                    <a:pt x="3" y="1"/>
                    <a:pt x="3" y="1"/>
                    <a:pt x="3" y="1"/>
                  </a:cubicBezTo>
                  <a:cubicBezTo>
                    <a:pt x="2" y="1"/>
                    <a:pt x="1" y="1"/>
                    <a:pt x="0" y="1"/>
                  </a:cubicBezTo>
                  <a:cubicBezTo>
                    <a:pt x="0" y="14"/>
                    <a:pt x="1" y="26"/>
                    <a:pt x="2" y="38"/>
                  </a:cubicBezTo>
                  <a:cubicBezTo>
                    <a:pt x="2" y="38"/>
                    <a:pt x="3" y="38"/>
                    <a:pt x="3" y="38"/>
                  </a:cubicBezTo>
                  <a:cubicBezTo>
                    <a:pt x="3" y="38"/>
                    <a:pt x="3" y="38"/>
                    <a:pt x="3" y="38"/>
                  </a:cubicBezTo>
                  <a:cubicBezTo>
                    <a:pt x="18" y="38"/>
                    <a:pt x="18" y="38"/>
                    <a:pt x="18" y="38"/>
                  </a:cubicBezTo>
                  <a:cubicBezTo>
                    <a:pt x="18" y="140"/>
                    <a:pt x="18" y="140"/>
                    <a:pt x="18" y="140"/>
                  </a:cubicBezTo>
                  <a:cubicBezTo>
                    <a:pt x="22" y="156"/>
                    <a:pt x="26" y="171"/>
                    <a:pt x="31" y="187"/>
                  </a:cubicBezTo>
                  <a:cubicBezTo>
                    <a:pt x="73" y="187"/>
                    <a:pt x="73" y="187"/>
                    <a:pt x="73" y="187"/>
                  </a:cubicBezTo>
                  <a:cubicBezTo>
                    <a:pt x="84" y="187"/>
                    <a:pt x="92" y="178"/>
                    <a:pt x="92" y="16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05">
              <a:extLst>
                <a:ext uri="{FF2B5EF4-FFF2-40B4-BE49-F238E27FC236}">
                  <a16:creationId xmlns:a16="http://schemas.microsoft.com/office/drawing/2014/main" id="{373840D5-D22F-4419-A066-3DCA05231E35}"/>
                </a:ext>
              </a:extLst>
            </p:cNvPr>
            <p:cNvSpPr>
              <a:spLocks noEditPoints="1"/>
            </p:cNvSpPr>
            <p:nvPr/>
          </p:nvSpPr>
          <p:spPr bwMode="auto">
            <a:xfrm>
              <a:off x="2702"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7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4"/>
                    <a:pt x="100" y="149"/>
                    <a:pt x="78" y="149"/>
                  </a:cubicBezTo>
                  <a:cubicBezTo>
                    <a:pt x="56" y="149"/>
                    <a:pt x="37" y="124"/>
                    <a:pt x="37" y="93"/>
                  </a:cubicBezTo>
                  <a:cubicBezTo>
                    <a:pt x="37" y="63"/>
                    <a:pt x="56" y="37"/>
                    <a:pt x="78" y="3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06">
              <a:extLst>
                <a:ext uri="{FF2B5EF4-FFF2-40B4-BE49-F238E27FC236}">
                  <a16:creationId xmlns:a16="http://schemas.microsoft.com/office/drawing/2014/main" id="{EAB9F9B7-8DD6-442D-8014-135AD279E604}"/>
                </a:ext>
              </a:extLst>
            </p:cNvPr>
            <p:cNvSpPr>
              <a:spLocks noEditPoints="1"/>
            </p:cNvSpPr>
            <p:nvPr/>
          </p:nvSpPr>
          <p:spPr bwMode="auto">
            <a:xfrm>
              <a:off x="3018"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07">
              <a:extLst>
                <a:ext uri="{FF2B5EF4-FFF2-40B4-BE49-F238E27FC236}">
                  <a16:creationId xmlns:a16="http://schemas.microsoft.com/office/drawing/2014/main" id="{C9A81BE8-8DE5-4C66-AF1B-03405F505C73}"/>
                </a:ext>
              </a:extLst>
            </p:cNvPr>
            <p:cNvSpPr>
              <a:spLocks/>
            </p:cNvSpPr>
            <p:nvPr/>
          </p:nvSpPr>
          <p:spPr bwMode="auto">
            <a:xfrm>
              <a:off x="2480" y="2050"/>
              <a:ext cx="197"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3" y="1"/>
                    <a:pt x="23" y="1"/>
                    <a:pt x="23" y="1"/>
                  </a:cubicBezTo>
                  <a:cubicBezTo>
                    <a:pt x="12" y="1"/>
                    <a:pt x="4" y="9"/>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08">
              <a:extLst>
                <a:ext uri="{FF2B5EF4-FFF2-40B4-BE49-F238E27FC236}">
                  <a16:creationId xmlns:a16="http://schemas.microsoft.com/office/drawing/2014/main" id="{CDF350DF-7F16-4263-81C0-2645AC162052}"/>
                </a:ext>
              </a:extLst>
            </p:cNvPr>
            <p:cNvSpPr>
              <a:spLocks noEditPoints="1"/>
            </p:cNvSpPr>
            <p:nvPr/>
          </p:nvSpPr>
          <p:spPr bwMode="auto">
            <a:xfrm>
              <a:off x="3538" y="2048"/>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7"/>
                    <a:pt x="78" y="37"/>
                  </a:cubicBezTo>
                  <a:cubicBezTo>
                    <a:pt x="100" y="37"/>
                    <a:pt x="119" y="63"/>
                    <a:pt x="119" y="93"/>
                  </a:cubicBezTo>
                  <a:cubicBezTo>
                    <a:pt x="119" y="124"/>
                    <a:pt x="100" y="149"/>
                    <a:pt x="78"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09">
              <a:extLst>
                <a:ext uri="{FF2B5EF4-FFF2-40B4-BE49-F238E27FC236}">
                  <a16:creationId xmlns:a16="http://schemas.microsoft.com/office/drawing/2014/main" id="{60AC94D9-4C6F-4118-9DD6-B7CB3290D35E}"/>
                </a:ext>
              </a:extLst>
            </p:cNvPr>
            <p:cNvSpPr>
              <a:spLocks/>
            </p:cNvSpPr>
            <p:nvPr/>
          </p:nvSpPr>
          <p:spPr bwMode="auto">
            <a:xfrm>
              <a:off x="3317" y="205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8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10">
              <a:extLst>
                <a:ext uri="{FF2B5EF4-FFF2-40B4-BE49-F238E27FC236}">
                  <a16:creationId xmlns:a16="http://schemas.microsoft.com/office/drawing/2014/main" id="{5825D71E-8B37-4D60-8A43-A965A91AD2E3}"/>
                </a:ext>
              </a:extLst>
            </p:cNvPr>
            <p:cNvSpPr>
              <a:spLocks noEditPoints="1"/>
            </p:cNvSpPr>
            <p:nvPr/>
          </p:nvSpPr>
          <p:spPr bwMode="auto">
            <a:xfrm>
              <a:off x="4059"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11">
              <a:extLst>
                <a:ext uri="{FF2B5EF4-FFF2-40B4-BE49-F238E27FC236}">
                  <a16:creationId xmlns:a16="http://schemas.microsoft.com/office/drawing/2014/main" id="{DB211F50-13C1-4466-8CB5-DDCF2D87F3A6}"/>
                </a:ext>
              </a:extLst>
            </p:cNvPr>
            <p:cNvSpPr>
              <a:spLocks/>
            </p:cNvSpPr>
            <p:nvPr/>
          </p:nvSpPr>
          <p:spPr bwMode="auto">
            <a:xfrm>
              <a:off x="4377" y="2048"/>
              <a:ext cx="157" cy="326"/>
            </a:xfrm>
            <a:custGeom>
              <a:avLst/>
              <a:gdLst>
                <a:gd name="T0" fmla="*/ 0 w 89"/>
                <a:gd name="T1" fmla="*/ 93 h 184"/>
                <a:gd name="T2" fmla="*/ 59 w 89"/>
                <a:gd name="T3" fmla="*/ 184 h 184"/>
                <a:gd name="T4" fmla="*/ 69 w 89"/>
                <a:gd name="T5" fmla="*/ 148 h 184"/>
                <a:gd name="T6" fmla="*/ 37 w 89"/>
                <a:gd name="T7" fmla="*/ 93 h 184"/>
                <a:gd name="T8" fmla="*/ 78 w 89"/>
                <a:gd name="T9" fmla="*/ 37 h 184"/>
                <a:gd name="T10" fmla="*/ 87 w 89"/>
                <a:gd name="T11" fmla="*/ 39 h 184"/>
                <a:gd name="T12" fmla="*/ 89 w 89"/>
                <a:gd name="T13" fmla="*/ 1 h 184"/>
                <a:gd name="T14" fmla="*/ 78 w 89"/>
                <a:gd name="T15" fmla="*/ 0 h 184"/>
                <a:gd name="T16" fmla="*/ 0 w 89"/>
                <a:gd name="T17" fmla="*/ 9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84">
                  <a:moveTo>
                    <a:pt x="0" y="93"/>
                  </a:moveTo>
                  <a:cubicBezTo>
                    <a:pt x="0" y="137"/>
                    <a:pt x="25" y="174"/>
                    <a:pt x="59" y="184"/>
                  </a:cubicBezTo>
                  <a:cubicBezTo>
                    <a:pt x="63" y="172"/>
                    <a:pt x="66" y="160"/>
                    <a:pt x="69" y="148"/>
                  </a:cubicBezTo>
                  <a:cubicBezTo>
                    <a:pt x="51" y="142"/>
                    <a:pt x="37" y="119"/>
                    <a:pt x="37" y="93"/>
                  </a:cubicBezTo>
                  <a:cubicBezTo>
                    <a:pt x="37" y="63"/>
                    <a:pt x="56" y="37"/>
                    <a:pt x="78" y="37"/>
                  </a:cubicBezTo>
                  <a:cubicBezTo>
                    <a:pt x="81" y="37"/>
                    <a:pt x="84" y="38"/>
                    <a:pt x="87" y="39"/>
                  </a:cubicBezTo>
                  <a:cubicBezTo>
                    <a:pt x="88" y="26"/>
                    <a:pt x="89" y="14"/>
                    <a:pt x="89" y="1"/>
                  </a:cubicBezTo>
                  <a:cubicBezTo>
                    <a:pt x="86" y="0"/>
                    <a:pt x="82" y="0"/>
                    <a:pt x="78" y="0"/>
                  </a:cubicBezTo>
                  <a:cubicBezTo>
                    <a:pt x="35" y="0"/>
                    <a:pt x="0" y="42"/>
                    <a:pt x="0" y="93"/>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12">
              <a:extLst>
                <a:ext uri="{FF2B5EF4-FFF2-40B4-BE49-F238E27FC236}">
                  <a16:creationId xmlns:a16="http://schemas.microsoft.com/office/drawing/2014/main" id="{2D276F23-8587-45F1-BBF2-403C524FE517}"/>
                </a:ext>
              </a:extLst>
            </p:cNvPr>
            <p:cNvSpPr>
              <a:spLocks/>
            </p:cNvSpPr>
            <p:nvPr/>
          </p:nvSpPr>
          <p:spPr bwMode="auto">
            <a:xfrm>
              <a:off x="3838" y="2050"/>
              <a:ext cx="198"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6 w 112"/>
                <a:gd name="T11" fmla="*/ 0 h 187"/>
                <a:gd name="T12" fmla="*/ 22 w 112"/>
                <a:gd name="T13" fmla="*/ 1 h 187"/>
                <a:gd name="T14" fmla="*/ 4 w 112"/>
                <a:gd name="T15" fmla="*/ 20 h 187"/>
                <a:gd name="T16" fmla="*/ 23 w 112"/>
                <a:gd name="T17" fmla="*/ 38 h 187"/>
                <a:gd name="T18" fmla="*/ 23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6" name="Group 4">
            <a:extLst>
              <a:ext uri="{FF2B5EF4-FFF2-40B4-BE49-F238E27FC236}">
                <a16:creationId xmlns:a16="http://schemas.microsoft.com/office/drawing/2014/main" id="{05C5D0D0-B4E3-43C1-8F4C-0F5CCB6B4031}"/>
              </a:ext>
            </a:extLst>
          </p:cNvPr>
          <p:cNvGrpSpPr>
            <a:grpSpLocks noChangeAspect="1"/>
          </p:cNvGrpSpPr>
          <p:nvPr/>
        </p:nvGrpSpPr>
        <p:grpSpPr bwMode="auto">
          <a:xfrm>
            <a:off x="8540312" y="3154052"/>
            <a:ext cx="199199" cy="199355"/>
            <a:chOff x="1608" y="347"/>
            <a:chExt cx="2544" cy="2546"/>
          </a:xfrm>
        </p:grpSpPr>
        <p:sp>
          <p:nvSpPr>
            <p:cNvPr id="277" name="Oval 5">
              <a:extLst>
                <a:ext uri="{FF2B5EF4-FFF2-40B4-BE49-F238E27FC236}">
                  <a16:creationId xmlns:a16="http://schemas.microsoft.com/office/drawing/2014/main" id="{668030A0-D9FE-45D9-8F5B-871F57DC7C28}"/>
                </a:ext>
              </a:extLst>
            </p:cNvPr>
            <p:cNvSpPr>
              <a:spLocks noChangeArrowheads="1"/>
            </p:cNvSpPr>
            <p:nvPr/>
          </p:nvSpPr>
          <p:spPr bwMode="auto">
            <a:xfrm>
              <a:off x="1608" y="347"/>
              <a:ext cx="2544" cy="2546"/>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6">
              <a:extLst>
                <a:ext uri="{FF2B5EF4-FFF2-40B4-BE49-F238E27FC236}">
                  <a16:creationId xmlns:a16="http://schemas.microsoft.com/office/drawing/2014/main" id="{3C2007F7-603C-4B9B-8058-83EDDE8008EA}"/>
                </a:ext>
              </a:extLst>
            </p:cNvPr>
            <p:cNvSpPr>
              <a:spLocks/>
            </p:cNvSpPr>
            <p:nvPr/>
          </p:nvSpPr>
          <p:spPr bwMode="auto">
            <a:xfrm>
              <a:off x="2297" y="839"/>
              <a:ext cx="1844" cy="2054"/>
            </a:xfrm>
            <a:custGeom>
              <a:avLst/>
              <a:gdLst>
                <a:gd name="T0" fmla="*/ 508 w 1044"/>
                <a:gd name="T1" fmla="*/ 1 h 1162"/>
                <a:gd name="T2" fmla="*/ 507 w 1044"/>
                <a:gd name="T3" fmla="*/ 0 h 1162"/>
                <a:gd name="T4" fmla="*/ 507 w 1044"/>
                <a:gd name="T5" fmla="*/ 1 h 1162"/>
                <a:gd name="T6" fmla="*/ 63 w 1044"/>
                <a:gd name="T7" fmla="*/ 1 h 1162"/>
                <a:gd name="T8" fmla="*/ 0 w 1044"/>
                <a:gd name="T9" fmla="*/ 64 h 1162"/>
                <a:gd name="T10" fmla="*/ 0 w 1044"/>
                <a:gd name="T11" fmla="*/ 829 h 1162"/>
                <a:gd name="T12" fmla="*/ 32 w 1044"/>
                <a:gd name="T13" fmla="*/ 883 h 1162"/>
                <a:gd name="T14" fmla="*/ 310 w 1044"/>
                <a:gd name="T15" fmla="*/ 1161 h 1162"/>
                <a:gd name="T16" fmla="*/ 330 w 1044"/>
                <a:gd name="T17" fmla="*/ 1162 h 1162"/>
                <a:gd name="T18" fmla="*/ 1044 w 1044"/>
                <a:gd name="T19" fmla="*/ 533 h 1162"/>
                <a:gd name="T20" fmla="*/ 508 w 1044"/>
                <a:gd name="T21" fmla="*/ 1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4" h="1162">
                  <a:moveTo>
                    <a:pt x="508" y="1"/>
                  </a:moveTo>
                  <a:cubicBezTo>
                    <a:pt x="507" y="0"/>
                    <a:pt x="507" y="0"/>
                    <a:pt x="507" y="0"/>
                  </a:cubicBezTo>
                  <a:cubicBezTo>
                    <a:pt x="507" y="1"/>
                    <a:pt x="507" y="1"/>
                    <a:pt x="507" y="1"/>
                  </a:cubicBezTo>
                  <a:cubicBezTo>
                    <a:pt x="63" y="1"/>
                    <a:pt x="63" y="1"/>
                    <a:pt x="63" y="1"/>
                  </a:cubicBezTo>
                  <a:cubicBezTo>
                    <a:pt x="28" y="1"/>
                    <a:pt x="0" y="29"/>
                    <a:pt x="0" y="64"/>
                  </a:cubicBezTo>
                  <a:cubicBezTo>
                    <a:pt x="0" y="829"/>
                    <a:pt x="0" y="829"/>
                    <a:pt x="0" y="829"/>
                  </a:cubicBezTo>
                  <a:cubicBezTo>
                    <a:pt x="0" y="852"/>
                    <a:pt x="13" y="872"/>
                    <a:pt x="32" y="883"/>
                  </a:cubicBezTo>
                  <a:cubicBezTo>
                    <a:pt x="310" y="1161"/>
                    <a:pt x="310" y="1161"/>
                    <a:pt x="310" y="1161"/>
                  </a:cubicBezTo>
                  <a:cubicBezTo>
                    <a:pt x="317" y="1162"/>
                    <a:pt x="324" y="1162"/>
                    <a:pt x="330" y="1162"/>
                  </a:cubicBezTo>
                  <a:cubicBezTo>
                    <a:pt x="697" y="1162"/>
                    <a:pt x="999" y="888"/>
                    <a:pt x="1044" y="533"/>
                  </a:cubicBezTo>
                  <a:lnTo>
                    <a:pt x="508" y="1"/>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7">
              <a:extLst>
                <a:ext uri="{FF2B5EF4-FFF2-40B4-BE49-F238E27FC236}">
                  <a16:creationId xmlns:a16="http://schemas.microsoft.com/office/drawing/2014/main" id="{6A7DDCB1-F41F-4651-9DE1-F8406C0966AD}"/>
                </a:ext>
              </a:extLst>
            </p:cNvPr>
            <p:cNvSpPr>
              <a:spLocks/>
            </p:cNvSpPr>
            <p:nvPr/>
          </p:nvSpPr>
          <p:spPr bwMode="auto">
            <a:xfrm>
              <a:off x="2297" y="840"/>
              <a:ext cx="1297" cy="1576"/>
            </a:xfrm>
            <a:custGeom>
              <a:avLst/>
              <a:gdLst>
                <a:gd name="T0" fmla="*/ 732 w 734"/>
                <a:gd name="T1" fmla="*/ 223 h 891"/>
                <a:gd name="T2" fmla="*/ 508 w 734"/>
                <a:gd name="T3" fmla="*/ 0 h 891"/>
                <a:gd name="T4" fmla="*/ 63 w 734"/>
                <a:gd name="T5" fmla="*/ 0 h 891"/>
                <a:gd name="T6" fmla="*/ 0 w 734"/>
                <a:gd name="T7" fmla="*/ 63 h 891"/>
                <a:gd name="T8" fmla="*/ 0 w 734"/>
                <a:gd name="T9" fmla="*/ 828 h 891"/>
                <a:gd name="T10" fmla="*/ 63 w 734"/>
                <a:gd name="T11" fmla="*/ 891 h 891"/>
                <a:gd name="T12" fmla="*/ 671 w 734"/>
                <a:gd name="T13" fmla="*/ 891 h 891"/>
                <a:gd name="T14" fmla="*/ 734 w 734"/>
                <a:gd name="T15" fmla="*/ 828 h 891"/>
                <a:gd name="T16" fmla="*/ 734 w 734"/>
                <a:gd name="T17" fmla="*/ 226 h 891"/>
                <a:gd name="T18" fmla="*/ 732 w 734"/>
                <a:gd name="T19" fmla="*/ 223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891">
                  <a:moveTo>
                    <a:pt x="732" y="223"/>
                  </a:moveTo>
                  <a:cubicBezTo>
                    <a:pt x="508" y="0"/>
                    <a:pt x="508" y="0"/>
                    <a:pt x="508" y="0"/>
                  </a:cubicBezTo>
                  <a:cubicBezTo>
                    <a:pt x="63" y="0"/>
                    <a:pt x="63" y="0"/>
                    <a:pt x="63" y="0"/>
                  </a:cubicBezTo>
                  <a:cubicBezTo>
                    <a:pt x="28" y="0"/>
                    <a:pt x="0" y="28"/>
                    <a:pt x="0" y="63"/>
                  </a:cubicBezTo>
                  <a:cubicBezTo>
                    <a:pt x="0" y="828"/>
                    <a:pt x="0" y="828"/>
                    <a:pt x="0" y="828"/>
                  </a:cubicBezTo>
                  <a:cubicBezTo>
                    <a:pt x="0" y="863"/>
                    <a:pt x="28" y="891"/>
                    <a:pt x="63" y="891"/>
                  </a:cubicBezTo>
                  <a:cubicBezTo>
                    <a:pt x="671" y="891"/>
                    <a:pt x="671" y="891"/>
                    <a:pt x="671" y="891"/>
                  </a:cubicBezTo>
                  <a:cubicBezTo>
                    <a:pt x="706" y="891"/>
                    <a:pt x="734" y="863"/>
                    <a:pt x="734" y="828"/>
                  </a:cubicBezTo>
                  <a:cubicBezTo>
                    <a:pt x="734" y="226"/>
                    <a:pt x="734" y="226"/>
                    <a:pt x="734" y="226"/>
                  </a:cubicBezTo>
                  <a:lnTo>
                    <a:pt x="732" y="2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8">
              <a:extLst>
                <a:ext uri="{FF2B5EF4-FFF2-40B4-BE49-F238E27FC236}">
                  <a16:creationId xmlns:a16="http://schemas.microsoft.com/office/drawing/2014/main" id="{A73E12D9-4733-4E15-9FCB-11AA7A4CBB8D}"/>
                </a:ext>
              </a:extLst>
            </p:cNvPr>
            <p:cNvSpPr>
              <a:spLocks/>
            </p:cNvSpPr>
            <p:nvPr/>
          </p:nvSpPr>
          <p:spPr bwMode="auto">
            <a:xfrm>
              <a:off x="3193" y="839"/>
              <a:ext cx="401" cy="401"/>
            </a:xfrm>
            <a:custGeom>
              <a:avLst/>
              <a:gdLst>
                <a:gd name="T0" fmla="*/ 0 w 227"/>
                <a:gd name="T1" fmla="*/ 163 h 227"/>
                <a:gd name="T2" fmla="*/ 64 w 227"/>
                <a:gd name="T3" fmla="*/ 227 h 227"/>
                <a:gd name="T4" fmla="*/ 227 w 227"/>
                <a:gd name="T5" fmla="*/ 227 h 227"/>
                <a:gd name="T6" fmla="*/ 0 w 227"/>
                <a:gd name="T7" fmla="*/ 0 h 227"/>
                <a:gd name="T8" fmla="*/ 0 w 227"/>
                <a:gd name="T9" fmla="*/ 163 h 227"/>
              </a:gdLst>
              <a:ahLst/>
              <a:cxnLst>
                <a:cxn ang="0">
                  <a:pos x="T0" y="T1"/>
                </a:cxn>
                <a:cxn ang="0">
                  <a:pos x="T2" y="T3"/>
                </a:cxn>
                <a:cxn ang="0">
                  <a:pos x="T4" y="T5"/>
                </a:cxn>
                <a:cxn ang="0">
                  <a:pos x="T6" y="T7"/>
                </a:cxn>
                <a:cxn ang="0">
                  <a:pos x="T8" y="T9"/>
                </a:cxn>
              </a:cxnLst>
              <a:rect l="0" t="0" r="r" b="b"/>
              <a:pathLst>
                <a:path w="227" h="227">
                  <a:moveTo>
                    <a:pt x="0" y="163"/>
                  </a:moveTo>
                  <a:cubicBezTo>
                    <a:pt x="0" y="198"/>
                    <a:pt x="29" y="227"/>
                    <a:pt x="64" y="227"/>
                  </a:cubicBezTo>
                  <a:cubicBezTo>
                    <a:pt x="227" y="227"/>
                    <a:pt x="227" y="227"/>
                    <a:pt x="227" y="227"/>
                  </a:cubicBezTo>
                  <a:cubicBezTo>
                    <a:pt x="0" y="0"/>
                    <a:pt x="0" y="0"/>
                    <a:pt x="0" y="0"/>
                  </a:cubicBezTo>
                  <a:lnTo>
                    <a:pt x="0" y="163"/>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9">
              <a:extLst>
                <a:ext uri="{FF2B5EF4-FFF2-40B4-BE49-F238E27FC236}">
                  <a16:creationId xmlns:a16="http://schemas.microsoft.com/office/drawing/2014/main" id="{87ECA6FB-8354-4191-AB81-86D055ABF21D}"/>
                </a:ext>
              </a:extLst>
            </p:cNvPr>
            <p:cNvSpPr>
              <a:spLocks/>
            </p:cNvSpPr>
            <p:nvPr/>
          </p:nvSpPr>
          <p:spPr bwMode="auto">
            <a:xfrm>
              <a:off x="2585" y="1671"/>
              <a:ext cx="175" cy="499"/>
            </a:xfrm>
            <a:custGeom>
              <a:avLst/>
              <a:gdLst>
                <a:gd name="T0" fmla="*/ 99 w 99"/>
                <a:gd name="T1" fmla="*/ 49 h 282"/>
                <a:gd name="T2" fmla="*/ 99 w 99"/>
                <a:gd name="T3" fmla="*/ 282 h 282"/>
                <a:gd name="T4" fmla="*/ 0 w 99"/>
                <a:gd name="T5" fmla="*/ 282 h 282"/>
                <a:gd name="T6" fmla="*/ 0 w 99"/>
                <a:gd name="T7" fmla="*/ 49 h 282"/>
                <a:gd name="T8" fmla="*/ 49 w 99"/>
                <a:gd name="T9" fmla="*/ 0 h 282"/>
                <a:gd name="T10" fmla="*/ 84 w 99"/>
                <a:gd name="T11" fmla="*/ 14 h 282"/>
                <a:gd name="T12" fmla="*/ 99 w 99"/>
                <a:gd name="T13" fmla="*/ 49 h 282"/>
              </a:gdLst>
              <a:ahLst/>
              <a:cxnLst>
                <a:cxn ang="0">
                  <a:pos x="T0" y="T1"/>
                </a:cxn>
                <a:cxn ang="0">
                  <a:pos x="T2" y="T3"/>
                </a:cxn>
                <a:cxn ang="0">
                  <a:pos x="T4" y="T5"/>
                </a:cxn>
                <a:cxn ang="0">
                  <a:pos x="T6" y="T7"/>
                </a:cxn>
                <a:cxn ang="0">
                  <a:pos x="T8" y="T9"/>
                </a:cxn>
                <a:cxn ang="0">
                  <a:pos x="T10" y="T11"/>
                </a:cxn>
                <a:cxn ang="0">
                  <a:pos x="T12" y="T13"/>
                </a:cxn>
              </a:cxnLst>
              <a:rect l="0" t="0" r="r" b="b"/>
              <a:pathLst>
                <a:path w="99" h="282">
                  <a:moveTo>
                    <a:pt x="99" y="49"/>
                  </a:moveTo>
                  <a:cubicBezTo>
                    <a:pt x="99" y="282"/>
                    <a:pt x="99" y="282"/>
                    <a:pt x="99" y="282"/>
                  </a:cubicBezTo>
                  <a:cubicBezTo>
                    <a:pt x="0" y="282"/>
                    <a:pt x="0" y="282"/>
                    <a:pt x="0" y="282"/>
                  </a:cubicBezTo>
                  <a:cubicBezTo>
                    <a:pt x="0" y="49"/>
                    <a:pt x="0" y="49"/>
                    <a:pt x="0" y="49"/>
                  </a:cubicBezTo>
                  <a:cubicBezTo>
                    <a:pt x="0" y="22"/>
                    <a:pt x="22" y="0"/>
                    <a:pt x="49" y="0"/>
                  </a:cubicBezTo>
                  <a:cubicBezTo>
                    <a:pt x="63" y="0"/>
                    <a:pt x="75" y="5"/>
                    <a:pt x="84" y="14"/>
                  </a:cubicBezTo>
                  <a:cubicBezTo>
                    <a:pt x="93" y="23"/>
                    <a:pt x="99" y="35"/>
                    <a:pt x="99" y="49"/>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0">
              <a:extLst>
                <a:ext uri="{FF2B5EF4-FFF2-40B4-BE49-F238E27FC236}">
                  <a16:creationId xmlns:a16="http://schemas.microsoft.com/office/drawing/2014/main" id="{67ECA00C-A370-4808-9BCD-2282F43555DC}"/>
                </a:ext>
              </a:extLst>
            </p:cNvPr>
            <p:cNvSpPr>
              <a:spLocks/>
            </p:cNvSpPr>
            <p:nvPr/>
          </p:nvSpPr>
          <p:spPr bwMode="auto">
            <a:xfrm>
              <a:off x="3140" y="1374"/>
              <a:ext cx="175" cy="796"/>
            </a:xfrm>
            <a:custGeom>
              <a:avLst/>
              <a:gdLst>
                <a:gd name="T0" fmla="*/ 99 w 99"/>
                <a:gd name="T1" fmla="*/ 50 h 450"/>
                <a:gd name="T2" fmla="*/ 99 w 99"/>
                <a:gd name="T3" fmla="*/ 450 h 450"/>
                <a:gd name="T4" fmla="*/ 0 w 99"/>
                <a:gd name="T5" fmla="*/ 450 h 450"/>
                <a:gd name="T6" fmla="*/ 0 w 99"/>
                <a:gd name="T7" fmla="*/ 50 h 450"/>
                <a:gd name="T8" fmla="*/ 50 w 99"/>
                <a:gd name="T9" fmla="*/ 0 h 450"/>
                <a:gd name="T10" fmla="*/ 85 w 99"/>
                <a:gd name="T11" fmla="*/ 15 h 450"/>
                <a:gd name="T12" fmla="*/ 99 w 99"/>
                <a:gd name="T13" fmla="*/ 50 h 450"/>
              </a:gdLst>
              <a:ahLst/>
              <a:cxnLst>
                <a:cxn ang="0">
                  <a:pos x="T0" y="T1"/>
                </a:cxn>
                <a:cxn ang="0">
                  <a:pos x="T2" y="T3"/>
                </a:cxn>
                <a:cxn ang="0">
                  <a:pos x="T4" y="T5"/>
                </a:cxn>
                <a:cxn ang="0">
                  <a:pos x="T6" y="T7"/>
                </a:cxn>
                <a:cxn ang="0">
                  <a:pos x="T8" y="T9"/>
                </a:cxn>
                <a:cxn ang="0">
                  <a:pos x="T10" y="T11"/>
                </a:cxn>
                <a:cxn ang="0">
                  <a:pos x="T12" y="T13"/>
                </a:cxn>
              </a:cxnLst>
              <a:rect l="0" t="0" r="r" b="b"/>
              <a:pathLst>
                <a:path w="99" h="450">
                  <a:moveTo>
                    <a:pt x="99" y="50"/>
                  </a:moveTo>
                  <a:cubicBezTo>
                    <a:pt x="99" y="450"/>
                    <a:pt x="99" y="450"/>
                    <a:pt x="99" y="450"/>
                  </a:cubicBezTo>
                  <a:cubicBezTo>
                    <a:pt x="0" y="450"/>
                    <a:pt x="0" y="450"/>
                    <a:pt x="0" y="450"/>
                  </a:cubicBezTo>
                  <a:cubicBezTo>
                    <a:pt x="0" y="50"/>
                    <a:pt x="0" y="50"/>
                    <a:pt x="0" y="50"/>
                  </a:cubicBezTo>
                  <a:cubicBezTo>
                    <a:pt x="0" y="23"/>
                    <a:pt x="23" y="0"/>
                    <a:pt x="50" y="0"/>
                  </a:cubicBezTo>
                  <a:cubicBezTo>
                    <a:pt x="63" y="0"/>
                    <a:pt x="76" y="6"/>
                    <a:pt x="85" y="15"/>
                  </a:cubicBezTo>
                  <a:cubicBezTo>
                    <a:pt x="94" y="24"/>
                    <a:pt x="99" y="36"/>
                    <a:pt x="99" y="5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1">
              <a:extLst>
                <a:ext uri="{FF2B5EF4-FFF2-40B4-BE49-F238E27FC236}">
                  <a16:creationId xmlns:a16="http://schemas.microsoft.com/office/drawing/2014/main" id="{A4C32760-4A41-41A4-A06C-FDFB18DEBF30}"/>
                </a:ext>
              </a:extLst>
            </p:cNvPr>
            <p:cNvSpPr>
              <a:spLocks/>
            </p:cNvSpPr>
            <p:nvPr/>
          </p:nvSpPr>
          <p:spPr bwMode="auto">
            <a:xfrm>
              <a:off x="2458" y="2170"/>
              <a:ext cx="984" cy="92"/>
            </a:xfrm>
            <a:custGeom>
              <a:avLst/>
              <a:gdLst>
                <a:gd name="T0" fmla="*/ 531 w 557"/>
                <a:gd name="T1" fmla="*/ 0 h 52"/>
                <a:gd name="T2" fmla="*/ 26 w 557"/>
                <a:gd name="T3" fmla="*/ 0 h 52"/>
                <a:gd name="T4" fmla="*/ 8 w 557"/>
                <a:gd name="T5" fmla="*/ 7 h 52"/>
                <a:gd name="T6" fmla="*/ 0 w 557"/>
                <a:gd name="T7" fmla="*/ 26 h 52"/>
                <a:gd name="T8" fmla="*/ 26 w 557"/>
                <a:gd name="T9" fmla="*/ 52 h 52"/>
                <a:gd name="T10" fmla="*/ 531 w 557"/>
                <a:gd name="T11" fmla="*/ 52 h 52"/>
                <a:gd name="T12" fmla="*/ 550 w 557"/>
                <a:gd name="T13" fmla="*/ 44 h 52"/>
                <a:gd name="T14" fmla="*/ 557 w 557"/>
                <a:gd name="T15" fmla="*/ 26 h 52"/>
                <a:gd name="T16" fmla="*/ 531 w 557"/>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52">
                  <a:moveTo>
                    <a:pt x="531" y="0"/>
                  </a:moveTo>
                  <a:cubicBezTo>
                    <a:pt x="26" y="0"/>
                    <a:pt x="26" y="0"/>
                    <a:pt x="26" y="0"/>
                  </a:cubicBezTo>
                  <a:cubicBezTo>
                    <a:pt x="19" y="0"/>
                    <a:pt x="12" y="3"/>
                    <a:pt x="8" y="7"/>
                  </a:cubicBezTo>
                  <a:cubicBezTo>
                    <a:pt x="3" y="12"/>
                    <a:pt x="0" y="19"/>
                    <a:pt x="0" y="26"/>
                  </a:cubicBezTo>
                  <a:cubicBezTo>
                    <a:pt x="0" y="40"/>
                    <a:pt x="12" y="52"/>
                    <a:pt x="26" y="52"/>
                  </a:cubicBezTo>
                  <a:cubicBezTo>
                    <a:pt x="531" y="52"/>
                    <a:pt x="531" y="52"/>
                    <a:pt x="531" y="52"/>
                  </a:cubicBezTo>
                  <a:cubicBezTo>
                    <a:pt x="538" y="52"/>
                    <a:pt x="545" y="49"/>
                    <a:pt x="550" y="44"/>
                  </a:cubicBezTo>
                  <a:cubicBezTo>
                    <a:pt x="554" y="39"/>
                    <a:pt x="557" y="33"/>
                    <a:pt x="557" y="26"/>
                  </a:cubicBezTo>
                  <a:cubicBezTo>
                    <a:pt x="557" y="11"/>
                    <a:pt x="545" y="0"/>
                    <a:pt x="531"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2">
              <a:extLst>
                <a:ext uri="{FF2B5EF4-FFF2-40B4-BE49-F238E27FC236}">
                  <a16:creationId xmlns:a16="http://schemas.microsoft.com/office/drawing/2014/main" id="{ADD7C3BC-6155-4428-B928-2B06E8A415FC}"/>
                </a:ext>
              </a:extLst>
            </p:cNvPr>
            <p:cNvSpPr>
              <a:spLocks/>
            </p:cNvSpPr>
            <p:nvPr/>
          </p:nvSpPr>
          <p:spPr bwMode="auto">
            <a:xfrm>
              <a:off x="2862" y="1578"/>
              <a:ext cx="175" cy="592"/>
            </a:xfrm>
            <a:custGeom>
              <a:avLst/>
              <a:gdLst>
                <a:gd name="T0" fmla="*/ 99 w 99"/>
                <a:gd name="T1" fmla="*/ 49 h 335"/>
                <a:gd name="T2" fmla="*/ 99 w 99"/>
                <a:gd name="T3" fmla="*/ 335 h 335"/>
                <a:gd name="T4" fmla="*/ 0 w 99"/>
                <a:gd name="T5" fmla="*/ 335 h 335"/>
                <a:gd name="T6" fmla="*/ 0 w 99"/>
                <a:gd name="T7" fmla="*/ 49 h 335"/>
                <a:gd name="T8" fmla="*/ 50 w 99"/>
                <a:gd name="T9" fmla="*/ 0 h 335"/>
                <a:gd name="T10" fmla="*/ 84 w 99"/>
                <a:gd name="T11" fmla="*/ 14 h 335"/>
                <a:gd name="T12" fmla="*/ 99 w 99"/>
                <a:gd name="T13" fmla="*/ 49 h 335"/>
              </a:gdLst>
              <a:ahLst/>
              <a:cxnLst>
                <a:cxn ang="0">
                  <a:pos x="T0" y="T1"/>
                </a:cxn>
                <a:cxn ang="0">
                  <a:pos x="T2" y="T3"/>
                </a:cxn>
                <a:cxn ang="0">
                  <a:pos x="T4" y="T5"/>
                </a:cxn>
                <a:cxn ang="0">
                  <a:pos x="T6" y="T7"/>
                </a:cxn>
                <a:cxn ang="0">
                  <a:pos x="T8" y="T9"/>
                </a:cxn>
                <a:cxn ang="0">
                  <a:pos x="T10" y="T11"/>
                </a:cxn>
                <a:cxn ang="0">
                  <a:pos x="T12" y="T13"/>
                </a:cxn>
              </a:cxnLst>
              <a:rect l="0" t="0" r="r" b="b"/>
              <a:pathLst>
                <a:path w="99" h="335">
                  <a:moveTo>
                    <a:pt x="99" y="49"/>
                  </a:moveTo>
                  <a:cubicBezTo>
                    <a:pt x="99" y="335"/>
                    <a:pt x="99" y="335"/>
                    <a:pt x="99" y="335"/>
                  </a:cubicBezTo>
                  <a:cubicBezTo>
                    <a:pt x="0" y="335"/>
                    <a:pt x="0" y="335"/>
                    <a:pt x="0" y="335"/>
                  </a:cubicBezTo>
                  <a:cubicBezTo>
                    <a:pt x="0" y="49"/>
                    <a:pt x="0" y="49"/>
                    <a:pt x="0" y="49"/>
                  </a:cubicBezTo>
                  <a:cubicBezTo>
                    <a:pt x="0" y="22"/>
                    <a:pt x="22" y="0"/>
                    <a:pt x="50" y="0"/>
                  </a:cubicBezTo>
                  <a:cubicBezTo>
                    <a:pt x="63" y="0"/>
                    <a:pt x="75" y="5"/>
                    <a:pt x="84" y="14"/>
                  </a:cubicBezTo>
                  <a:cubicBezTo>
                    <a:pt x="93" y="23"/>
                    <a:pt x="99" y="36"/>
                    <a:pt x="99" y="49"/>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13">
              <a:extLst>
                <a:ext uri="{FF2B5EF4-FFF2-40B4-BE49-F238E27FC236}">
                  <a16:creationId xmlns:a16="http://schemas.microsoft.com/office/drawing/2014/main" id="{520E5A96-8382-47AF-8A0D-B632E1889263}"/>
                </a:ext>
              </a:extLst>
            </p:cNvPr>
            <p:cNvSpPr>
              <a:spLocks noChangeArrowheads="1"/>
            </p:cNvSpPr>
            <p:nvPr/>
          </p:nvSpPr>
          <p:spPr bwMode="auto">
            <a:xfrm>
              <a:off x="2585" y="2170"/>
              <a:ext cx="175" cy="92"/>
            </a:xfrm>
            <a:prstGeom prst="rect">
              <a:avLst/>
            </a:prstGeom>
            <a:solidFill>
              <a:srgbClr val="013F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Rectangle 14">
              <a:extLst>
                <a:ext uri="{FF2B5EF4-FFF2-40B4-BE49-F238E27FC236}">
                  <a16:creationId xmlns:a16="http://schemas.microsoft.com/office/drawing/2014/main" id="{A5DC0162-E7AD-4CD9-BB9B-54AA32C0F25A}"/>
                </a:ext>
              </a:extLst>
            </p:cNvPr>
            <p:cNvSpPr>
              <a:spLocks noChangeArrowheads="1"/>
            </p:cNvSpPr>
            <p:nvPr/>
          </p:nvSpPr>
          <p:spPr bwMode="auto">
            <a:xfrm>
              <a:off x="2862" y="2170"/>
              <a:ext cx="175" cy="92"/>
            </a:xfrm>
            <a:prstGeom prst="rect">
              <a:avLst/>
            </a:prstGeom>
            <a:solidFill>
              <a:srgbClr val="013F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Rectangle 15">
              <a:extLst>
                <a:ext uri="{FF2B5EF4-FFF2-40B4-BE49-F238E27FC236}">
                  <a16:creationId xmlns:a16="http://schemas.microsoft.com/office/drawing/2014/main" id="{083FC862-D0AA-4D58-A568-559974684816}"/>
                </a:ext>
              </a:extLst>
            </p:cNvPr>
            <p:cNvSpPr>
              <a:spLocks noChangeArrowheads="1"/>
            </p:cNvSpPr>
            <p:nvPr/>
          </p:nvSpPr>
          <p:spPr bwMode="auto">
            <a:xfrm>
              <a:off x="3140" y="2170"/>
              <a:ext cx="175" cy="92"/>
            </a:xfrm>
            <a:prstGeom prst="rect">
              <a:avLst/>
            </a:prstGeom>
            <a:solidFill>
              <a:srgbClr val="013F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6">
              <a:extLst>
                <a:ext uri="{FF2B5EF4-FFF2-40B4-BE49-F238E27FC236}">
                  <a16:creationId xmlns:a16="http://schemas.microsoft.com/office/drawing/2014/main" id="{4BBF6B39-4091-46D3-B30A-D7DF346D2B36}"/>
                </a:ext>
              </a:extLst>
            </p:cNvPr>
            <p:cNvSpPr>
              <a:spLocks/>
            </p:cNvSpPr>
            <p:nvPr/>
          </p:nvSpPr>
          <p:spPr bwMode="auto">
            <a:xfrm>
              <a:off x="2458" y="1049"/>
              <a:ext cx="629" cy="81"/>
            </a:xfrm>
            <a:custGeom>
              <a:avLst/>
              <a:gdLst>
                <a:gd name="T0" fmla="*/ 334 w 356"/>
                <a:gd name="T1" fmla="*/ 46 h 46"/>
                <a:gd name="T2" fmla="*/ 22 w 356"/>
                <a:gd name="T3" fmla="*/ 46 h 46"/>
                <a:gd name="T4" fmla="*/ 0 w 356"/>
                <a:gd name="T5" fmla="*/ 24 h 46"/>
                <a:gd name="T6" fmla="*/ 0 w 356"/>
                <a:gd name="T7" fmla="*/ 22 h 46"/>
                <a:gd name="T8" fmla="*/ 22 w 356"/>
                <a:gd name="T9" fmla="*/ 0 h 46"/>
                <a:gd name="T10" fmla="*/ 334 w 356"/>
                <a:gd name="T11" fmla="*/ 0 h 46"/>
                <a:gd name="T12" fmla="*/ 356 w 356"/>
                <a:gd name="T13" fmla="*/ 22 h 46"/>
                <a:gd name="T14" fmla="*/ 356 w 356"/>
                <a:gd name="T15" fmla="*/ 24 h 46"/>
                <a:gd name="T16" fmla="*/ 334 w 35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6" h="46">
                  <a:moveTo>
                    <a:pt x="334" y="46"/>
                  </a:moveTo>
                  <a:cubicBezTo>
                    <a:pt x="22" y="46"/>
                    <a:pt x="22" y="46"/>
                    <a:pt x="22" y="46"/>
                  </a:cubicBezTo>
                  <a:cubicBezTo>
                    <a:pt x="10" y="46"/>
                    <a:pt x="0" y="36"/>
                    <a:pt x="0" y="24"/>
                  </a:cubicBezTo>
                  <a:cubicBezTo>
                    <a:pt x="0" y="22"/>
                    <a:pt x="0" y="22"/>
                    <a:pt x="0" y="22"/>
                  </a:cubicBezTo>
                  <a:cubicBezTo>
                    <a:pt x="0" y="10"/>
                    <a:pt x="10" y="0"/>
                    <a:pt x="22" y="0"/>
                  </a:cubicBezTo>
                  <a:cubicBezTo>
                    <a:pt x="334" y="0"/>
                    <a:pt x="334" y="0"/>
                    <a:pt x="334" y="0"/>
                  </a:cubicBezTo>
                  <a:cubicBezTo>
                    <a:pt x="346" y="0"/>
                    <a:pt x="356" y="10"/>
                    <a:pt x="356" y="22"/>
                  </a:cubicBezTo>
                  <a:cubicBezTo>
                    <a:pt x="356" y="24"/>
                    <a:pt x="356" y="24"/>
                    <a:pt x="356" y="24"/>
                  </a:cubicBezTo>
                  <a:cubicBezTo>
                    <a:pt x="356" y="36"/>
                    <a:pt x="346" y="46"/>
                    <a:pt x="334" y="46"/>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7">
              <a:extLst>
                <a:ext uri="{FF2B5EF4-FFF2-40B4-BE49-F238E27FC236}">
                  <a16:creationId xmlns:a16="http://schemas.microsoft.com/office/drawing/2014/main" id="{2F81CA39-D295-4B99-8C2E-D017DF76951F}"/>
                </a:ext>
              </a:extLst>
            </p:cNvPr>
            <p:cNvSpPr>
              <a:spLocks/>
            </p:cNvSpPr>
            <p:nvPr/>
          </p:nvSpPr>
          <p:spPr bwMode="auto">
            <a:xfrm>
              <a:off x="2458" y="1196"/>
              <a:ext cx="431" cy="81"/>
            </a:xfrm>
            <a:custGeom>
              <a:avLst/>
              <a:gdLst>
                <a:gd name="T0" fmla="*/ 222 w 244"/>
                <a:gd name="T1" fmla="*/ 46 h 46"/>
                <a:gd name="T2" fmla="*/ 22 w 244"/>
                <a:gd name="T3" fmla="*/ 46 h 46"/>
                <a:gd name="T4" fmla="*/ 0 w 244"/>
                <a:gd name="T5" fmla="*/ 25 h 46"/>
                <a:gd name="T6" fmla="*/ 0 w 244"/>
                <a:gd name="T7" fmla="*/ 22 h 46"/>
                <a:gd name="T8" fmla="*/ 22 w 244"/>
                <a:gd name="T9" fmla="*/ 0 h 46"/>
                <a:gd name="T10" fmla="*/ 222 w 244"/>
                <a:gd name="T11" fmla="*/ 0 h 46"/>
                <a:gd name="T12" fmla="*/ 244 w 244"/>
                <a:gd name="T13" fmla="*/ 22 h 46"/>
                <a:gd name="T14" fmla="*/ 244 w 244"/>
                <a:gd name="T15" fmla="*/ 25 h 46"/>
                <a:gd name="T16" fmla="*/ 222 w 244"/>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46">
                  <a:moveTo>
                    <a:pt x="222" y="46"/>
                  </a:moveTo>
                  <a:cubicBezTo>
                    <a:pt x="22" y="46"/>
                    <a:pt x="22" y="46"/>
                    <a:pt x="22" y="46"/>
                  </a:cubicBezTo>
                  <a:cubicBezTo>
                    <a:pt x="10" y="46"/>
                    <a:pt x="0" y="37"/>
                    <a:pt x="0" y="25"/>
                  </a:cubicBezTo>
                  <a:cubicBezTo>
                    <a:pt x="0" y="22"/>
                    <a:pt x="0" y="22"/>
                    <a:pt x="0" y="22"/>
                  </a:cubicBezTo>
                  <a:cubicBezTo>
                    <a:pt x="0" y="10"/>
                    <a:pt x="10" y="0"/>
                    <a:pt x="22" y="0"/>
                  </a:cubicBezTo>
                  <a:cubicBezTo>
                    <a:pt x="222" y="0"/>
                    <a:pt x="222" y="0"/>
                    <a:pt x="222" y="0"/>
                  </a:cubicBezTo>
                  <a:cubicBezTo>
                    <a:pt x="234" y="0"/>
                    <a:pt x="244" y="10"/>
                    <a:pt x="244" y="22"/>
                  </a:cubicBezTo>
                  <a:cubicBezTo>
                    <a:pt x="244" y="25"/>
                    <a:pt x="244" y="25"/>
                    <a:pt x="244" y="25"/>
                  </a:cubicBezTo>
                  <a:cubicBezTo>
                    <a:pt x="244" y="37"/>
                    <a:pt x="234" y="46"/>
                    <a:pt x="222" y="46"/>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52935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1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6" presetClass="emph" presetSubtype="0" accel="100000" fill="hold" nodeType="withEffect">
                                  <p:stCondLst>
                                    <p:cond delay="10"/>
                                  </p:stCondLst>
                                  <p:childTnLst>
                                    <p:animScale>
                                      <p:cBhvr>
                                        <p:cTn id="9" dur="750" fill="hold"/>
                                        <p:tgtEl>
                                          <p:spTgt spid="3"/>
                                        </p:tgtEl>
                                      </p:cBhvr>
                                      <p:by x="50000" y="50000"/>
                                    </p:animScale>
                                  </p:childTnLst>
                                </p:cTn>
                              </p:par>
                              <p:par>
                                <p:cTn id="10" presetID="10" presetClass="entr" presetSubtype="0" fill="hold" nodeType="withEffect">
                                  <p:stCondLst>
                                    <p:cond delay="2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 presetClass="emph" presetSubtype="0" fill="hold" nodeType="withEffect">
                                  <p:stCondLst>
                                    <p:cond delay="0"/>
                                  </p:stCondLst>
                                  <p:childTnLst>
                                    <p:animScale>
                                      <p:cBhvr>
                                        <p:cTn id="14" dur="10" fill="hold"/>
                                        <p:tgtEl>
                                          <p:spTgt spid="8"/>
                                        </p:tgtEl>
                                      </p:cBhvr>
                                      <p:by x="200000" y="200000"/>
                                    </p:animScale>
                                  </p:childTnLst>
                                </p:cTn>
                              </p:par>
                              <p:par>
                                <p:cTn id="15" presetID="6" presetClass="emph" presetSubtype="0" decel="100000" fill="hold" nodeType="withEffect">
                                  <p:stCondLst>
                                    <p:cond delay="10"/>
                                  </p:stCondLst>
                                  <p:childTnLst>
                                    <p:animScale>
                                      <p:cBhvr>
                                        <p:cTn id="16" dur="1250" fill="hold"/>
                                        <p:tgtEl>
                                          <p:spTgt spid="8"/>
                                        </p:tgtEl>
                                      </p:cBhvr>
                                      <p:by x="50000" y="50000"/>
                                    </p:animScale>
                                  </p:childTnLst>
                                </p:cTn>
                              </p:par>
                              <p:par>
                                <p:cTn id="17" presetID="10" presetClass="entr" presetSubtype="0" fill="hold" nodeType="withEffect">
                                  <p:stCondLst>
                                    <p:cond delay="1000"/>
                                  </p:stCondLst>
                                  <p:childTnLst>
                                    <p:set>
                                      <p:cBhvr>
                                        <p:cTn id="18" dur="1" fill="hold">
                                          <p:stCondLst>
                                            <p:cond delay="0"/>
                                          </p:stCondLst>
                                        </p:cTn>
                                        <p:tgtEl>
                                          <p:spTgt spid="182"/>
                                        </p:tgtEl>
                                        <p:attrNameLst>
                                          <p:attrName>style.visibility</p:attrName>
                                        </p:attrNameLst>
                                      </p:cBhvr>
                                      <p:to>
                                        <p:strVal val="visible"/>
                                      </p:to>
                                    </p:set>
                                    <p:animEffect transition="in" filter="fade">
                                      <p:cBhvr>
                                        <p:cTn id="19" dur="500"/>
                                        <p:tgtEl>
                                          <p:spTgt spid="182"/>
                                        </p:tgtEl>
                                      </p:cBhvr>
                                    </p:animEffect>
                                  </p:childTnLst>
                                </p:cTn>
                              </p:par>
                              <p:par>
                                <p:cTn id="20" presetID="42" presetClass="path" presetSubtype="0" decel="100000" fill="hold" nodeType="withEffect">
                                  <p:stCondLst>
                                    <p:cond delay="1000"/>
                                  </p:stCondLst>
                                  <p:childTnLst>
                                    <p:animMotion origin="layout" path="M 3.61111E-6 -4.93827E-6 L 3.61111E-6 0.21451 " pathEditMode="relative" rAng="0" ptsTypes="AA">
                                      <p:cBhvr>
                                        <p:cTn id="21" dur="1000" spd="-100000" fill="hold"/>
                                        <p:tgtEl>
                                          <p:spTgt spid="182"/>
                                        </p:tgtEl>
                                        <p:attrNameLst>
                                          <p:attrName>ppt_x</p:attrName>
                                          <p:attrName>ppt_y</p:attrName>
                                        </p:attrNameLst>
                                      </p:cBhvr>
                                      <p:rCtr x="0" y="10710"/>
                                    </p:animMotion>
                                  </p:childTnLst>
                                </p:cTn>
                              </p:par>
                              <p:par>
                                <p:cTn id="22" presetID="22" presetClass="entr" presetSubtype="4" fill="hold" nodeType="withEffect">
                                  <p:stCondLst>
                                    <p:cond delay="1000"/>
                                  </p:stCondLst>
                                  <p:childTnLst>
                                    <p:set>
                                      <p:cBhvr>
                                        <p:cTn id="23" dur="1" fill="hold">
                                          <p:stCondLst>
                                            <p:cond delay="0"/>
                                          </p:stCondLst>
                                        </p:cTn>
                                        <p:tgtEl>
                                          <p:spTgt spid="291"/>
                                        </p:tgtEl>
                                        <p:attrNameLst>
                                          <p:attrName>style.visibility</p:attrName>
                                        </p:attrNameLst>
                                      </p:cBhvr>
                                      <p:to>
                                        <p:strVal val="visible"/>
                                      </p:to>
                                    </p:set>
                                    <p:animEffect transition="in" filter="wipe(down)">
                                      <p:cBhvr>
                                        <p:cTn id="24" dur="1000"/>
                                        <p:tgtEl>
                                          <p:spTgt spid="291"/>
                                        </p:tgtEl>
                                      </p:cBhvr>
                                    </p:animEffect>
                                  </p:childTnLst>
                                </p:cTn>
                              </p:par>
                              <p:par>
                                <p:cTn id="25" presetID="10" presetClass="entr" presetSubtype="0" fill="hold" nodeType="withEffect">
                                  <p:stCondLst>
                                    <p:cond delay="125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500"/>
                                        <p:tgtEl>
                                          <p:spTgt spid="41"/>
                                        </p:tgtEl>
                                      </p:cBhvr>
                                    </p:animEffect>
                                  </p:childTnLst>
                                </p:cTn>
                              </p:par>
                              <p:par>
                                <p:cTn id="28" presetID="42" presetClass="path" presetSubtype="0" decel="100000" fill="hold" nodeType="withEffect">
                                  <p:stCondLst>
                                    <p:cond delay="1250"/>
                                  </p:stCondLst>
                                  <p:childTnLst>
                                    <p:animMotion origin="layout" path="M 3.61111E-6 -4.93827E-6 L 3.61111E-6 0.21451 " pathEditMode="relative" rAng="0" ptsTypes="AA">
                                      <p:cBhvr>
                                        <p:cTn id="29" dur="1000" spd="-100000" fill="hold"/>
                                        <p:tgtEl>
                                          <p:spTgt spid="41"/>
                                        </p:tgtEl>
                                        <p:attrNameLst>
                                          <p:attrName>ppt_x</p:attrName>
                                          <p:attrName>ppt_y</p:attrName>
                                        </p:attrNameLst>
                                      </p:cBhvr>
                                      <p:rCtr x="0" y="10710"/>
                                    </p:animMotion>
                                  </p:childTnLst>
                                </p:cTn>
                              </p:par>
                              <p:par>
                                <p:cTn id="30" presetID="22" presetClass="entr" presetSubtype="4" fill="hold" nodeType="withEffect">
                                  <p:stCondLst>
                                    <p:cond delay="1250"/>
                                  </p:stCondLst>
                                  <p:childTnLst>
                                    <p:set>
                                      <p:cBhvr>
                                        <p:cTn id="31" dur="1" fill="hold">
                                          <p:stCondLst>
                                            <p:cond delay="0"/>
                                          </p:stCondLst>
                                        </p:cTn>
                                        <p:tgtEl>
                                          <p:spTgt spid="306"/>
                                        </p:tgtEl>
                                        <p:attrNameLst>
                                          <p:attrName>style.visibility</p:attrName>
                                        </p:attrNameLst>
                                      </p:cBhvr>
                                      <p:to>
                                        <p:strVal val="visible"/>
                                      </p:to>
                                    </p:set>
                                    <p:animEffect transition="in" filter="wipe(down)">
                                      <p:cBhvr>
                                        <p:cTn id="32" dur="1000"/>
                                        <p:tgtEl>
                                          <p:spTgt spid="306"/>
                                        </p:tgtEl>
                                      </p:cBhvr>
                                    </p:animEffect>
                                  </p:childTnLst>
                                </p:cTn>
                              </p:par>
                              <p:par>
                                <p:cTn id="33" presetID="10" presetClass="entr" presetSubtype="0" fill="hold" nodeType="withEffect">
                                  <p:stCondLst>
                                    <p:cond delay="1400"/>
                                  </p:stCondLst>
                                  <p:childTnLst>
                                    <p:set>
                                      <p:cBhvr>
                                        <p:cTn id="34" dur="1" fill="hold">
                                          <p:stCondLst>
                                            <p:cond delay="0"/>
                                          </p:stCondLst>
                                        </p:cTn>
                                        <p:tgtEl>
                                          <p:spTgt spid="276"/>
                                        </p:tgtEl>
                                        <p:attrNameLst>
                                          <p:attrName>style.visibility</p:attrName>
                                        </p:attrNameLst>
                                      </p:cBhvr>
                                      <p:to>
                                        <p:strVal val="visible"/>
                                      </p:to>
                                    </p:set>
                                    <p:animEffect transition="in" filter="fade">
                                      <p:cBhvr>
                                        <p:cTn id="35" dur="500"/>
                                        <p:tgtEl>
                                          <p:spTgt spid="276"/>
                                        </p:tgtEl>
                                      </p:cBhvr>
                                    </p:animEffect>
                                  </p:childTnLst>
                                </p:cTn>
                              </p:par>
                              <p:par>
                                <p:cTn id="36" presetID="42" presetClass="path" presetSubtype="0" decel="100000" fill="hold" nodeType="withEffect">
                                  <p:stCondLst>
                                    <p:cond delay="1400"/>
                                  </p:stCondLst>
                                  <p:childTnLst>
                                    <p:animMotion origin="layout" path="M 3.61111E-6 -4.93827E-6 L 3.61111E-6 0.21451 " pathEditMode="relative" rAng="0" ptsTypes="AA">
                                      <p:cBhvr>
                                        <p:cTn id="37" dur="1000" spd="-100000" fill="hold"/>
                                        <p:tgtEl>
                                          <p:spTgt spid="276"/>
                                        </p:tgtEl>
                                        <p:attrNameLst>
                                          <p:attrName>ppt_x</p:attrName>
                                          <p:attrName>ppt_y</p:attrName>
                                        </p:attrNameLst>
                                      </p:cBhvr>
                                      <p:rCtr x="0" y="10710"/>
                                    </p:animMotion>
                                  </p:childTnLst>
                                </p:cTn>
                              </p:par>
                              <p:par>
                                <p:cTn id="38" presetID="22" presetClass="entr" presetSubtype="4" fill="hold" nodeType="withEffect">
                                  <p:stCondLst>
                                    <p:cond delay="1400"/>
                                  </p:stCondLst>
                                  <p:childTnLst>
                                    <p:set>
                                      <p:cBhvr>
                                        <p:cTn id="39" dur="1" fill="hold">
                                          <p:stCondLst>
                                            <p:cond delay="0"/>
                                          </p:stCondLst>
                                        </p:cTn>
                                        <p:tgtEl>
                                          <p:spTgt spid="312"/>
                                        </p:tgtEl>
                                        <p:attrNameLst>
                                          <p:attrName>style.visibility</p:attrName>
                                        </p:attrNameLst>
                                      </p:cBhvr>
                                      <p:to>
                                        <p:strVal val="visible"/>
                                      </p:to>
                                    </p:set>
                                    <p:animEffect transition="in" filter="wipe(down)">
                                      <p:cBhvr>
                                        <p:cTn id="40" dur="1000"/>
                                        <p:tgtEl>
                                          <p:spTgt spid="312"/>
                                        </p:tgtEl>
                                      </p:cBhvr>
                                    </p:animEffect>
                                  </p:childTnLst>
                                </p:cTn>
                              </p:par>
                              <p:par>
                                <p:cTn id="41" presetID="10" presetClass="entr" presetSubtype="0" fill="hold" nodeType="withEffect">
                                  <p:stCondLst>
                                    <p:cond delay="114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500"/>
                                        <p:tgtEl>
                                          <p:spTgt spid="27"/>
                                        </p:tgtEl>
                                      </p:cBhvr>
                                    </p:animEffect>
                                  </p:childTnLst>
                                </p:cTn>
                              </p:par>
                              <p:par>
                                <p:cTn id="44" presetID="42" presetClass="path" presetSubtype="0" decel="100000" fill="hold" nodeType="withEffect">
                                  <p:stCondLst>
                                    <p:cond delay="1140"/>
                                  </p:stCondLst>
                                  <p:childTnLst>
                                    <p:animMotion origin="layout" path="M 3.61111E-6 -4.93827E-6 L 3.61111E-6 0.21451 " pathEditMode="relative" rAng="0" ptsTypes="AA">
                                      <p:cBhvr>
                                        <p:cTn id="45" dur="1000" spd="-100000" fill="hold"/>
                                        <p:tgtEl>
                                          <p:spTgt spid="27"/>
                                        </p:tgtEl>
                                        <p:attrNameLst>
                                          <p:attrName>ppt_x</p:attrName>
                                          <p:attrName>ppt_y</p:attrName>
                                        </p:attrNameLst>
                                      </p:cBhvr>
                                      <p:rCtr x="0" y="10710"/>
                                    </p:animMotion>
                                  </p:childTnLst>
                                </p:cTn>
                              </p:par>
                              <p:par>
                                <p:cTn id="46" presetID="22" presetClass="entr" presetSubtype="4" fill="hold" nodeType="withEffect">
                                  <p:stCondLst>
                                    <p:cond delay="1140"/>
                                  </p:stCondLst>
                                  <p:childTnLst>
                                    <p:set>
                                      <p:cBhvr>
                                        <p:cTn id="47" dur="1" fill="hold">
                                          <p:stCondLst>
                                            <p:cond delay="0"/>
                                          </p:stCondLst>
                                        </p:cTn>
                                        <p:tgtEl>
                                          <p:spTgt spid="299"/>
                                        </p:tgtEl>
                                        <p:attrNameLst>
                                          <p:attrName>style.visibility</p:attrName>
                                        </p:attrNameLst>
                                      </p:cBhvr>
                                      <p:to>
                                        <p:strVal val="visible"/>
                                      </p:to>
                                    </p:set>
                                    <p:animEffect transition="in" filter="wipe(down)">
                                      <p:cBhvr>
                                        <p:cTn id="48" dur="1000"/>
                                        <p:tgtEl>
                                          <p:spTgt spid="299"/>
                                        </p:tgtEl>
                                      </p:cBhvr>
                                    </p:animEffect>
                                  </p:childTnLst>
                                </p:cTn>
                              </p:par>
                              <p:par>
                                <p:cTn id="49" presetID="10" presetClass="entr" presetSubtype="0" fill="hold" nodeType="withEffect">
                                  <p:stCondLst>
                                    <p:cond delay="1600"/>
                                  </p:stCondLst>
                                  <p:childTnLst>
                                    <p:set>
                                      <p:cBhvr>
                                        <p:cTn id="50" dur="1" fill="hold">
                                          <p:stCondLst>
                                            <p:cond delay="0"/>
                                          </p:stCondLst>
                                        </p:cTn>
                                        <p:tgtEl>
                                          <p:spTgt spid="109"/>
                                        </p:tgtEl>
                                        <p:attrNameLst>
                                          <p:attrName>style.visibility</p:attrName>
                                        </p:attrNameLst>
                                      </p:cBhvr>
                                      <p:to>
                                        <p:strVal val="visible"/>
                                      </p:to>
                                    </p:set>
                                    <p:animEffect transition="in" filter="fade">
                                      <p:cBhvr>
                                        <p:cTn id="51" dur="500"/>
                                        <p:tgtEl>
                                          <p:spTgt spid="109"/>
                                        </p:tgtEl>
                                      </p:cBhvr>
                                    </p:animEffect>
                                  </p:childTnLst>
                                </p:cTn>
                              </p:par>
                              <p:par>
                                <p:cTn id="52" presetID="42" presetClass="path" presetSubtype="0" decel="100000" fill="hold" nodeType="withEffect">
                                  <p:stCondLst>
                                    <p:cond delay="1600"/>
                                  </p:stCondLst>
                                  <p:childTnLst>
                                    <p:animMotion origin="layout" path="M 3.61111E-6 -4.93827E-6 L 3.61111E-6 0.21451 " pathEditMode="relative" rAng="0" ptsTypes="AA">
                                      <p:cBhvr>
                                        <p:cTn id="53" dur="1000" spd="-100000" fill="hold"/>
                                        <p:tgtEl>
                                          <p:spTgt spid="109"/>
                                        </p:tgtEl>
                                        <p:attrNameLst>
                                          <p:attrName>ppt_x</p:attrName>
                                          <p:attrName>ppt_y</p:attrName>
                                        </p:attrNameLst>
                                      </p:cBhvr>
                                      <p:rCtr x="0" y="10710"/>
                                    </p:animMotion>
                                  </p:childTnLst>
                                </p:cTn>
                              </p:par>
                              <p:par>
                                <p:cTn id="54" presetID="22" presetClass="entr" presetSubtype="4" fill="hold" nodeType="withEffect">
                                  <p:stCondLst>
                                    <p:cond delay="1600"/>
                                  </p:stCondLst>
                                  <p:childTnLst>
                                    <p:set>
                                      <p:cBhvr>
                                        <p:cTn id="55" dur="1" fill="hold">
                                          <p:stCondLst>
                                            <p:cond delay="0"/>
                                          </p:stCondLst>
                                        </p:cTn>
                                        <p:tgtEl>
                                          <p:spTgt spid="304"/>
                                        </p:tgtEl>
                                        <p:attrNameLst>
                                          <p:attrName>style.visibility</p:attrName>
                                        </p:attrNameLst>
                                      </p:cBhvr>
                                      <p:to>
                                        <p:strVal val="visible"/>
                                      </p:to>
                                    </p:set>
                                    <p:animEffect transition="in" filter="wipe(down)">
                                      <p:cBhvr>
                                        <p:cTn id="56" dur="1000"/>
                                        <p:tgtEl>
                                          <p:spTgt spid="304"/>
                                        </p:tgtEl>
                                      </p:cBhvr>
                                    </p:animEffect>
                                  </p:childTnLst>
                                </p:cTn>
                              </p:par>
                              <p:par>
                                <p:cTn id="57" presetID="10" presetClass="entr" presetSubtype="0" fill="hold" nodeType="withEffect">
                                  <p:stCondLst>
                                    <p:cond delay="1500"/>
                                  </p:stCondLst>
                                  <p:childTnLst>
                                    <p:set>
                                      <p:cBhvr>
                                        <p:cTn id="58" dur="1" fill="hold">
                                          <p:stCondLst>
                                            <p:cond delay="0"/>
                                          </p:stCondLst>
                                        </p:cTn>
                                        <p:tgtEl>
                                          <p:spTgt spid="122"/>
                                        </p:tgtEl>
                                        <p:attrNameLst>
                                          <p:attrName>style.visibility</p:attrName>
                                        </p:attrNameLst>
                                      </p:cBhvr>
                                      <p:to>
                                        <p:strVal val="visible"/>
                                      </p:to>
                                    </p:set>
                                    <p:animEffect transition="in" filter="fade">
                                      <p:cBhvr>
                                        <p:cTn id="59" dur="500"/>
                                        <p:tgtEl>
                                          <p:spTgt spid="122"/>
                                        </p:tgtEl>
                                      </p:cBhvr>
                                    </p:animEffect>
                                  </p:childTnLst>
                                </p:cTn>
                              </p:par>
                              <p:par>
                                <p:cTn id="60" presetID="42" presetClass="path" presetSubtype="0" decel="100000" fill="hold" nodeType="withEffect">
                                  <p:stCondLst>
                                    <p:cond delay="1500"/>
                                  </p:stCondLst>
                                  <p:childTnLst>
                                    <p:animMotion origin="layout" path="M 3.61111E-6 -4.93827E-6 L 3.61111E-6 0.21451 " pathEditMode="relative" rAng="0" ptsTypes="AA">
                                      <p:cBhvr>
                                        <p:cTn id="61" dur="1000" spd="-100000" fill="hold"/>
                                        <p:tgtEl>
                                          <p:spTgt spid="122"/>
                                        </p:tgtEl>
                                        <p:attrNameLst>
                                          <p:attrName>ppt_x</p:attrName>
                                          <p:attrName>ppt_y</p:attrName>
                                        </p:attrNameLst>
                                      </p:cBhvr>
                                      <p:rCtr x="0" y="10710"/>
                                    </p:animMotion>
                                  </p:childTnLst>
                                </p:cTn>
                              </p:par>
                              <p:par>
                                <p:cTn id="62" presetID="22" presetClass="entr" presetSubtype="4" fill="hold" nodeType="withEffect">
                                  <p:stCondLst>
                                    <p:cond delay="1500"/>
                                  </p:stCondLst>
                                  <p:childTnLst>
                                    <p:set>
                                      <p:cBhvr>
                                        <p:cTn id="63" dur="1" fill="hold">
                                          <p:stCondLst>
                                            <p:cond delay="0"/>
                                          </p:stCondLst>
                                        </p:cTn>
                                        <p:tgtEl>
                                          <p:spTgt spid="292"/>
                                        </p:tgtEl>
                                        <p:attrNameLst>
                                          <p:attrName>style.visibility</p:attrName>
                                        </p:attrNameLst>
                                      </p:cBhvr>
                                      <p:to>
                                        <p:strVal val="visible"/>
                                      </p:to>
                                    </p:set>
                                    <p:animEffect transition="in" filter="wipe(down)">
                                      <p:cBhvr>
                                        <p:cTn id="64" dur="1000"/>
                                        <p:tgtEl>
                                          <p:spTgt spid="292"/>
                                        </p:tgtEl>
                                      </p:cBhvr>
                                    </p:animEffect>
                                  </p:childTnLst>
                                </p:cTn>
                              </p:par>
                              <p:par>
                                <p:cTn id="65" presetID="10" presetClass="entr" presetSubtype="0" fill="hold" nodeType="withEffect">
                                  <p:stCondLst>
                                    <p:cond delay="1730"/>
                                  </p:stCondLst>
                                  <p:childTnLst>
                                    <p:set>
                                      <p:cBhvr>
                                        <p:cTn id="66" dur="1" fill="hold">
                                          <p:stCondLst>
                                            <p:cond delay="0"/>
                                          </p:stCondLst>
                                        </p:cTn>
                                        <p:tgtEl>
                                          <p:spTgt spid="49"/>
                                        </p:tgtEl>
                                        <p:attrNameLst>
                                          <p:attrName>style.visibility</p:attrName>
                                        </p:attrNameLst>
                                      </p:cBhvr>
                                      <p:to>
                                        <p:strVal val="visible"/>
                                      </p:to>
                                    </p:set>
                                    <p:animEffect transition="in" filter="fade">
                                      <p:cBhvr>
                                        <p:cTn id="67" dur="500"/>
                                        <p:tgtEl>
                                          <p:spTgt spid="49"/>
                                        </p:tgtEl>
                                      </p:cBhvr>
                                    </p:animEffect>
                                  </p:childTnLst>
                                </p:cTn>
                              </p:par>
                              <p:par>
                                <p:cTn id="68" presetID="42" presetClass="path" presetSubtype="0" decel="100000" fill="hold" nodeType="withEffect">
                                  <p:stCondLst>
                                    <p:cond delay="1730"/>
                                  </p:stCondLst>
                                  <p:childTnLst>
                                    <p:animMotion origin="layout" path="M 3.61111E-6 -4.93827E-6 L 3.61111E-6 0.21451 " pathEditMode="relative" rAng="0" ptsTypes="AA">
                                      <p:cBhvr>
                                        <p:cTn id="69" dur="1000" spd="-100000" fill="hold"/>
                                        <p:tgtEl>
                                          <p:spTgt spid="49"/>
                                        </p:tgtEl>
                                        <p:attrNameLst>
                                          <p:attrName>ppt_x</p:attrName>
                                          <p:attrName>ppt_y</p:attrName>
                                        </p:attrNameLst>
                                      </p:cBhvr>
                                      <p:rCtr x="0" y="10710"/>
                                    </p:animMotion>
                                  </p:childTnLst>
                                </p:cTn>
                              </p:par>
                              <p:par>
                                <p:cTn id="70" presetID="22" presetClass="entr" presetSubtype="4" fill="hold" nodeType="withEffect">
                                  <p:stCondLst>
                                    <p:cond delay="1730"/>
                                  </p:stCondLst>
                                  <p:childTnLst>
                                    <p:set>
                                      <p:cBhvr>
                                        <p:cTn id="71" dur="1" fill="hold">
                                          <p:stCondLst>
                                            <p:cond delay="0"/>
                                          </p:stCondLst>
                                        </p:cTn>
                                        <p:tgtEl>
                                          <p:spTgt spid="308"/>
                                        </p:tgtEl>
                                        <p:attrNameLst>
                                          <p:attrName>style.visibility</p:attrName>
                                        </p:attrNameLst>
                                      </p:cBhvr>
                                      <p:to>
                                        <p:strVal val="visible"/>
                                      </p:to>
                                    </p:set>
                                    <p:animEffect transition="in" filter="wipe(down)">
                                      <p:cBhvr>
                                        <p:cTn id="72" dur="1000"/>
                                        <p:tgtEl>
                                          <p:spTgt spid="308"/>
                                        </p:tgtEl>
                                      </p:cBhvr>
                                    </p:animEffect>
                                  </p:childTnLst>
                                </p:cTn>
                              </p:par>
                              <p:par>
                                <p:cTn id="73" presetID="10" presetClass="entr" presetSubtype="0" fill="hold" nodeType="withEffect">
                                  <p:stCondLst>
                                    <p:cond delay="1430"/>
                                  </p:stCondLst>
                                  <p:childTnLst>
                                    <p:set>
                                      <p:cBhvr>
                                        <p:cTn id="74" dur="1" fill="hold">
                                          <p:stCondLst>
                                            <p:cond delay="0"/>
                                          </p:stCondLst>
                                        </p:cTn>
                                        <p:tgtEl>
                                          <p:spTgt spid="195"/>
                                        </p:tgtEl>
                                        <p:attrNameLst>
                                          <p:attrName>style.visibility</p:attrName>
                                        </p:attrNameLst>
                                      </p:cBhvr>
                                      <p:to>
                                        <p:strVal val="visible"/>
                                      </p:to>
                                    </p:set>
                                    <p:animEffect transition="in" filter="fade">
                                      <p:cBhvr>
                                        <p:cTn id="75" dur="500"/>
                                        <p:tgtEl>
                                          <p:spTgt spid="195"/>
                                        </p:tgtEl>
                                      </p:cBhvr>
                                    </p:animEffect>
                                  </p:childTnLst>
                                </p:cTn>
                              </p:par>
                              <p:par>
                                <p:cTn id="76" presetID="42" presetClass="path" presetSubtype="0" decel="100000" fill="hold" nodeType="withEffect">
                                  <p:stCondLst>
                                    <p:cond delay="1430"/>
                                  </p:stCondLst>
                                  <p:childTnLst>
                                    <p:animMotion origin="layout" path="M 3.61111E-6 -4.93827E-6 L 3.61111E-6 0.21451 " pathEditMode="relative" rAng="0" ptsTypes="AA">
                                      <p:cBhvr>
                                        <p:cTn id="77" dur="1000" spd="-100000" fill="hold"/>
                                        <p:tgtEl>
                                          <p:spTgt spid="195"/>
                                        </p:tgtEl>
                                        <p:attrNameLst>
                                          <p:attrName>ppt_x</p:attrName>
                                          <p:attrName>ppt_y</p:attrName>
                                        </p:attrNameLst>
                                      </p:cBhvr>
                                      <p:rCtr x="0" y="10710"/>
                                    </p:animMotion>
                                  </p:childTnLst>
                                </p:cTn>
                              </p:par>
                              <p:par>
                                <p:cTn id="78" presetID="22" presetClass="entr" presetSubtype="4" fill="hold" nodeType="withEffect">
                                  <p:stCondLst>
                                    <p:cond delay="1430"/>
                                  </p:stCondLst>
                                  <p:childTnLst>
                                    <p:set>
                                      <p:cBhvr>
                                        <p:cTn id="79" dur="1" fill="hold">
                                          <p:stCondLst>
                                            <p:cond delay="0"/>
                                          </p:stCondLst>
                                        </p:cTn>
                                        <p:tgtEl>
                                          <p:spTgt spid="301"/>
                                        </p:tgtEl>
                                        <p:attrNameLst>
                                          <p:attrName>style.visibility</p:attrName>
                                        </p:attrNameLst>
                                      </p:cBhvr>
                                      <p:to>
                                        <p:strVal val="visible"/>
                                      </p:to>
                                    </p:set>
                                    <p:animEffect transition="in" filter="wipe(down)">
                                      <p:cBhvr>
                                        <p:cTn id="80" dur="1000"/>
                                        <p:tgtEl>
                                          <p:spTgt spid="301"/>
                                        </p:tgtEl>
                                      </p:cBhvr>
                                    </p:animEffect>
                                  </p:childTnLst>
                                </p:cTn>
                              </p:par>
                              <p:par>
                                <p:cTn id="81" presetID="10" presetClass="entr" presetSubtype="0" fill="hold" nodeType="withEffect">
                                  <p:stCondLst>
                                    <p:cond delay="1660"/>
                                  </p:stCondLst>
                                  <p:childTnLst>
                                    <p:set>
                                      <p:cBhvr>
                                        <p:cTn id="82" dur="1" fill="hold">
                                          <p:stCondLst>
                                            <p:cond delay="0"/>
                                          </p:stCondLst>
                                        </p:cTn>
                                        <p:tgtEl>
                                          <p:spTgt spid="203"/>
                                        </p:tgtEl>
                                        <p:attrNameLst>
                                          <p:attrName>style.visibility</p:attrName>
                                        </p:attrNameLst>
                                      </p:cBhvr>
                                      <p:to>
                                        <p:strVal val="visible"/>
                                      </p:to>
                                    </p:set>
                                    <p:animEffect transition="in" filter="fade">
                                      <p:cBhvr>
                                        <p:cTn id="83" dur="500"/>
                                        <p:tgtEl>
                                          <p:spTgt spid="203"/>
                                        </p:tgtEl>
                                      </p:cBhvr>
                                    </p:animEffect>
                                  </p:childTnLst>
                                </p:cTn>
                              </p:par>
                              <p:par>
                                <p:cTn id="84" presetID="42" presetClass="path" presetSubtype="0" decel="100000" fill="hold" nodeType="withEffect">
                                  <p:stCondLst>
                                    <p:cond delay="1660"/>
                                  </p:stCondLst>
                                  <p:childTnLst>
                                    <p:animMotion origin="layout" path="M 3.61111E-6 -4.93827E-6 L 3.61111E-6 0.21451 " pathEditMode="relative" rAng="0" ptsTypes="AA">
                                      <p:cBhvr>
                                        <p:cTn id="85" dur="1000" spd="-100000" fill="hold"/>
                                        <p:tgtEl>
                                          <p:spTgt spid="203"/>
                                        </p:tgtEl>
                                        <p:attrNameLst>
                                          <p:attrName>ppt_x</p:attrName>
                                          <p:attrName>ppt_y</p:attrName>
                                        </p:attrNameLst>
                                      </p:cBhvr>
                                      <p:rCtr x="0" y="10710"/>
                                    </p:animMotion>
                                  </p:childTnLst>
                                </p:cTn>
                              </p:par>
                              <p:par>
                                <p:cTn id="86" presetID="22" presetClass="entr" presetSubtype="4" fill="hold" nodeType="withEffect">
                                  <p:stCondLst>
                                    <p:cond delay="1660"/>
                                  </p:stCondLst>
                                  <p:childTnLst>
                                    <p:set>
                                      <p:cBhvr>
                                        <p:cTn id="87" dur="1" fill="hold">
                                          <p:stCondLst>
                                            <p:cond delay="0"/>
                                          </p:stCondLst>
                                        </p:cTn>
                                        <p:tgtEl>
                                          <p:spTgt spid="310"/>
                                        </p:tgtEl>
                                        <p:attrNameLst>
                                          <p:attrName>style.visibility</p:attrName>
                                        </p:attrNameLst>
                                      </p:cBhvr>
                                      <p:to>
                                        <p:strVal val="visible"/>
                                      </p:to>
                                    </p:set>
                                    <p:animEffect transition="in" filter="wipe(down)">
                                      <p:cBhvr>
                                        <p:cTn id="88" dur="1000"/>
                                        <p:tgtEl>
                                          <p:spTgt spid="310"/>
                                        </p:tgtEl>
                                      </p:cBhvr>
                                    </p:animEffect>
                                  </p:childTnLst>
                                </p:cTn>
                              </p:par>
                              <p:par>
                                <p:cTn id="89" presetID="10" presetClass="entr" presetSubtype="0" fill="hold" nodeType="withEffect">
                                  <p:stCondLst>
                                    <p:cond delay="1660"/>
                                  </p:stCondLst>
                                  <p:childTnLst>
                                    <p:set>
                                      <p:cBhvr>
                                        <p:cTn id="90" dur="1" fill="hold">
                                          <p:stCondLst>
                                            <p:cond delay="0"/>
                                          </p:stCondLst>
                                        </p:cTn>
                                        <p:tgtEl>
                                          <p:spTgt spid="314"/>
                                        </p:tgtEl>
                                        <p:attrNameLst>
                                          <p:attrName>style.visibility</p:attrName>
                                        </p:attrNameLst>
                                      </p:cBhvr>
                                      <p:to>
                                        <p:strVal val="visible"/>
                                      </p:to>
                                    </p:set>
                                    <p:animEffect transition="in" filter="fade">
                                      <p:cBhvr>
                                        <p:cTn id="91" dur="500"/>
                                        <p:tgtEl>
                                          <p:spTgt spid="3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Application: Radiology</a:t>
            </a:r>
          </a:p>
        </p:txBody>
      </p:sp>
      <p:sp>
        <p:nvSpPr>
          <p:cNvPr id="3" name="Rectangle 2"/>
          <p:cNvSpPr/>
          <p:nvPr/>
        </p:nvSpPr>
        <p:spPr>
          <a:xfrm>
            <a:off x="2576607" y="3549610"/>
            <a:ext cx="1675723" cy="810514"/>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CiscoSansTT ExtraLight"/>
                <a:ea typeface="+mn-ea"/>
                <a:cs typeface="+mn-cs"/>
              </a:rPr>
              <a:t>Radiology Imaging Clients</a:t>
            </a:r>
          </a:p>
        </p:txBody>
      </p:sp>
      <p:sp>
        <p:nvSpPr>
          <p:cNvPr id="4" name="Rectangle 3"/>
          <p:cNvSpPr/>
          <p:nvPr/>
        </p:nvSpPr>
        <p:spPr>
          <a:xfrm>
            <a:off x="4810568" y="3538459"/>
            <a:ext cx="1675723" cy="810514"/>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2828"/>
                </a:solidFill>
                <a:effectLst/>
                <a:uLnTx/>
                <a:uFillTx/>
                <a:latin typeface="CiscoSansTT ExtraLight"/>
                <a:ea typeface="+mn-ea"/>
                <a:cs typeface="+mn-cs"/>
              </a:rPr>
              <a:t>Imaging Archive Server</a:t>
            </a:r>
          </a:p>
        </p:txBody>
      </p:sp>
      <p:cxnSp>
        <p:nvCxnSpPr>
          <p:cNvPr id="6" name="Straight Arrow Connector 5"/>
          <p:cNvCxnSpPr>
            <a:stCxn id="3" idx="3"/>
            <a:endCxn id="4" idx="1"/>
          </p:cNvCxnSpPr>
          <p:nvPr/>
        </p:nvCxnSpPr>
        <p:spPr>
          <a:xfrm flipV="1">
            <a:off x="4252330" y="3943716"/>
            <a:ext cx="558238" cy="1115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281316" y="1073150"/>
            <a:ext cx="3411511" cy="2431435"/>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charset="0"/>
              <a:buNone/>
              <a:tabLst/>
              <a:defRPr/>
            </a:pPr>
            <a:r>
              <a:rPr kumimoji="0" lang="en-US" sz="1600" b="1" i="0" u="none" strike="noStrike" kern="1200" cap="none" spc="0" normalizeH="0" baseline="0" noProof="0" dirty="0">
                <a:ln>
                  <a:noFill/>
                </a:ln>
                <a:solidFill>
                  <a:srgbClr val="282828"/>
                </a:solidFill>
                <a:effectLst/>
                <a:uLnTx/>
                <a:uFillTx/>
                <a:latin typeface="CiscoSansTT ExtraLight"/>
                <a:ea typeface="ＭＳ Ｐゴシック" charset="0"/>
              </a:rPr>
              <a:t>Radiology Imaging Clients</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Spread throughout hospital network </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Restricted Access:</a:t>
            </a:r>
          </a:p>
          <a:p>
            <a:pPr marL="742950" marR="0" lvl="1"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Doctors</a:t>
            </a:r>
          </a:p>
          <a:p>
            <a:pPr marL="742950" marR="0" lvl="1"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IT Admins</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No communication to internet </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HTTPS to Imaging Archive Server</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Vulnerable to threats &amp; evil insiders</a:t>
            </a:r>
          </a:p>
          <a:p>
            <a:pPr marL="742950" marR="0" lvl="1" indent="-285750"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1" name="TextBox 10"/>
          <p:cNvSpPr txBox="1"/>
          <p:nvPr/>
        </p:nvSpPr>
        <p:spPr>
          <a:xfrm>
            <a:off x="4932893" y="1073150"/>
            <a:ext cx="3441968" cy="1661993"/>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charset="0"/>
              <a:buNone/>
              <a:tabLst/>
              <a:defRPr/>
            </a:pPr>
            <a:r>
              <a:rPr kumimoji="0" lang="en-US" sz="1600" b="1" i="0" u="none" strike="noStrike" kern="1200" cap="none" spc="0" normalizeH="0" baseline="0" noProof="0" dirty="0">
                <a:ln>
                  <a:noFill/>
                </a:ln>
                <a:solidFill>
                  <a:srgbClr val="282828"/>
                </a:solidFill>
                <a:effectLst/>
                <a:uLnTx/>
                <a:uFillTx/>
                <a:latin typeface="CiscoSansTT ExtraLight"/>
                <a:ea typeface="ＭＳ Ｐゴシック" charset="0"/>
              </a:rPr>
              <a:t>Imaging Archive Server</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Three-tiered data center application </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Restricted Access:</a:t>
            </a:r>
          </a:p>
          <a:p>
            <a:pPr marL="742950" marR="0" lvl="1"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HTTPS from clients </a:t>
            </a:r>
          </a:p>
          <a:p>
            <a:pPr marL="742950" marR="0" lvl="1"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IT Admin </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No communication to internet</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1200" cap="none" spc="0" normalizeH="0" baseline="0" noProof="0" dirty="0">
                <a:ln>
                  <a:noFill/>
                </a:ln>
                <a:solidFill>
                  <a:srgbClr val="282828"/>
                </a:solidFill>
                <a:effectLst/>
                <a:uLnTx/>
                <a:uFillTx/>
                <a:latin typeface="CiscoSansTT ExtraLight"/>
                <a:ea typeface="ＭＳ Ｐゴシック" charset="0"/>
              </a:rPr>
              <a:t>Vulnerable to threats &amp; evil insiders</a:t>
            </a:r>
          </a:p>
        </p:txBody>
      </p:sp>
    </p:spTree>
    <p:extLst>
      <p:ext uri="{BB962C8B-B14F-4D97-AF65-F5344CB8AC3E}">
        <p14:creationId xmlns:p14="http://schemas.microsoft.com/office/powerpoint/2010/main" val="26114550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ution Architecture</a:t>
            </a:r>
          </a:p>
        </p:txBody>
      </p:sp>
      <p:grpSp>
        <p:nvGrpSpPr>
          <p:cNvPr id="9" name="Group 8"/>
          <p:cNvGrpSpPr/>
          <p:nvPr/>
        </p:nvGrpSpPr>
        <p:grpSpPr>
          <a:xfrm>
            <a:off x="6766132" y="1006536"/>
            <a:ext cx="931650" cy="912846"/>
            <a:chOff x="546615" y="2095818"/>
            <a:chExt cx="931650" cy="912846"/>
          </a:xfrm>
        </p:grpSpPr>
        <p:sp>
          <p:nvSpPr>
            <p:cNvPr id="3" name="Oval 2"/>
            <p:cNvSpPr/>
            <p:nvPr/>
          </p:nvSpPr>
          <p:spPr>
            <a:xfrm>
              <a:off x="626529" y="2095818"/>
              <a:ext cx="771822" cy="771821"/>
            </a:xfrm>
            <a:prstGeom prst="ellipse">
              <a:avLst/>
            </a:prstGeom>
            <a:solidFill>
              <a:schemeClr val="bg2"/>
            </a:solidFill>
            <a:ln>
              <a:solidFill>
                <a:schemeClr val="bg1"/>
              </a:solidFill>
            </a:ln>
            <a:effectLst>
              <a:outerShdw sx="104000" sy="104000" algn="ctr" rotWithShape="0">
                <a:schemeClr val="bg2"/>
              </a:outerShdw>
            </a:effectLst>
          </p:spPr>
          <p:style>
            <a:lnRef idx="2">
              <a:schemeClr val="accent1">
                <a:shade val="50000"/>
              </a:schemeClr>
            </a:lnRef>
            <a:fillRef idx="1">
              <a:schemeClr val="accent1"/>
            </a:fillRef>
            <a:effectRef idx="0">
              <a:schemeClr val="accent1"/>
            </a:effectRef>
            <a:fontRef idx="minor">
              <a:schemeClr val="lt1"/>
            </a:fontRef>
          </p:style>
          <p:txBody>
            <a:bodyPr tIns="54864" bIns="45720" rtlCol="0" anchor="t"/>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 name="Freeform 8"/>
            <p:cNvSpPr/>
            <p:nvPr/>
          </p:nvSpPr>
          <p:spPr bwMode="auto">
            <a:xfrm>
              <a:off x="755113" y="2246270"/>
              <a:ext cx="503997" cy="452588"/>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grpSp>
          <p:nvGrpSpPr>
            <p:cNvPr id="5" name="Group 4"/>
            <p:cNvGrpSpPr/>
            <p:nvPr/>
          </p:nvGrpSpPr>
          <p:grpSpPr>
            <a:xfrm>
              <a:off x="546615" y="2750811"/>
              <a:ext cx="931650" cy="257853"/>
              <a:chOff x="546615" y="2750811"/>
              <a:chExt cx="931650" cy="257853"/>
            </a:xfrm>
          </p:grpSpPr>
          <p:sp>
            <p:nvSpPr>
              <p:cNvPr id="6" name="Rectangle 5"/>
              <p:cNvSpPr/>
              <p:nvPr/>
            </p:nvSpPr>
            <p:spPr>
              <a:xfrm>
                <a:off x="546615" y="2750811"/>
                <a:ext cx="931650" cy="25785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iscoSansTT ExtraLight"/>
                    <a:ea typeface="+mn-ea"/>
                    <a:cs typeface="+mn-cs"/>
                  </a:rPr>
                  <a:t>Tetration</a:t>
                </a:r>
              </a:p>
            </p:txBody>
          </p:sp>
          <p:sp>
            <p:nvSpPr>
              <p:cNvPr id="7" name="Rectangle 11"/>
              <p:cNvSpPr/>
              <p:nvPr/>
            </p:nvSpPr>
            <p:spPr>
              <a:xfrm>
                <a:off x="546615" y="2750811"/>
                <a:ext cx="54673" cy="257853"/>
              </a:xfrm>
              <a:custGeom>
                <a:avLst/>
                <a:gdLst>
                  <a:gd name="connsiteX0" fmla="*/ 0 w 130994"/>
                  <a:gd name="connsiteY0" fmla="*/ 0 h 215622"/>
                  <a:gd name="connsiteX1" fmla="*/ 130994 w 130994"/>
                  <a:gd name="connsiteY1" fmla="*/ 0 h 215622"/>
                  <a:gd name="connsiteX2" fmla="*/ 130994 w 130994"/>
                  <a:gd name="connsiteY2" fmla="*/ 215622 h 215622"/>
                  <a:gd name="connsiteX3" fmla="*/ 0 w 130994"/>
                  <a:gd name="connsiteY3" fmla="*/ 215622 h 215622"/>
                  <a:gd name="connsiteX4" fmla="*/ 0 w 130994"/>
                  <a:gd name="connsiteY4" fmla="*/ 0 h 215622"/>
                  <a:gd name="connsiteX0" fmla="*/ 130994 w 222434"/>
                  <a:gd name="connsiteY0" fmla="*/ 215622 h 307062"/>
                  <a:gd name="connsiteX1" fmla="*/ 0 w 222434"/>
                  <a:gd name="connsiteY1" fmla="*/ 215622 h 307062"/>
                  <a:gd name="connsiteX2" fmla="*/ 0 w 222434"/>
                  <a:gd name="connsiteY2" fmla="*/ 0 h 307062"/>
                  <a:gd name="connsiteX3" fmla="*/ 130994 w 222434"/>
                  <a:gd name="connsiteY3" fmla="*/ 0 h 307062"/>
                  <a:gd name="connsiteX4" fmla="*/ 222434 w 222434"/>
                  <a:gd name="connsiteY4" fmla="*/ 307062 h 307062"/>
                  <a:gd name="connsiteX0" fmla="*/ 130994 w 130994"/>
                  <a:gd name="connsiteY0" fmla="*/ 215622 h 215622"/>
                  <a:gd name="connsiteX1" fmla="*/ 0 w 130994"/>
                  <a:gd name="connsiteY1" fmla="*/ 215622 h 215622"/>
                  <a:gd name="connsiteX2" fmla="*/ 0 w 130994"/>
                  <a:gd name="connsiteY2" fmla="*/ 0 h 215622"/>
                  <a:gd name="connsiteX3" fmla="*/ 130994 w 130994"/>
                  <a:gd name="connsiteY3" fmla="*/ 0 h 215622"/>
                </a:gdLst>
                <a:ahLst/>
                <a:cxnLst>
                  <a:cxn ang="0">
                    <a:pos x="connsiteX0" y="connsiteY0"/>
                  </a:cxn>
                  <a:cxn ang="0">
                    <a:pos x="connsiteX1" y="connsiteY1"/>
                  </a:cxn>
                  <a:cxn ang="0">
                    <a:pos x="connsiteX2" y="connsiteY2"/>
                  </a:cxn>
                  <a:cxn ang="0">
                    <a:pos x="connsiteX3" y="connsiteY3"/>
                  </a:cxn>
                </a:cxnLst>
                <a:rect l="l" t="t" r="r" b="b"/>
                <a:pathLst>
                  <a:path w="130994" h="215622">
                    <a:moveTo>
                      <a:pt x="130994" y="215622"/>
                    </a:moveTo>
                    <a:lnTo>
                      <a:pt x="0" y="215622"/>
                    </a:lnTo>
                    <a:lnTo>
                      <a:pt x="0" y="0"/>
                    </a:lnTo>
                    <a:lnTo>
                      <a:pt x="130994" y="0"/>
                    </a:lnTo>
                  </a:path>
                </a:pathLst>
              </a:custGeom>
              <a:noFill/>
              <a:ln w="6350">
                <a:solidFill>
                  <a:schemeClr val="bg1">
                    <a:lumMod val="75000"/>
                  </a:schemeClr>
                </a:solidFill>
              </a:ln>
            </p:spPr>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282828"/>
                  </a:solidFill>
                  <a:effectLst/>
                  <a:uLnTx/>
                  <a:uFillTx/>
                  <a:latin typeface="Arial" charset="0"/>
                  <a:ea typeface="ＭＳ Ｐゴシック" charset="0"/>
                  <a:cs typeface="ＭＳ Ｐゴシック" charset="0"/>
                </a:endParaRPr>
              </a:p>
            </p:txBody>
          </p:sp>
          <p:sp>
            <p:nvSpPr>
              <p:cNvPr id="8" name="Rectangle 11"/>
              <p:cNvSpPr/>
              <p:nvPr/>
            </p:nvSpPr>
            <p:spPr>
              <a:xfrm flipH="1">
                <a:off x="1423592" y="2750811"/>
                <a:ext cx="54673" cy="257853"/>
              </a:xfrm>
              <a:custGeom>
                <a:avLst/>
                <a:gdLst>
                  <a:gd name="connsiteX0" fmla="*/ 0 w 130994"/>
                  <a:gd name="connsiteY0" fmla="*/ 0 h 215622"/>
                  <a:gd name="connsiteX1" fmla="*/ 130994 w 130994"/>
                  <a:gd name="connsiteY1" fmla="*/ 0 h 215622"/>
                  <a:gd name="connsiteX2" fmla="*/ 130994 w 130994"/>
                  <a:gd name="connsiteY2" fmla="*/ 215622 h 215622"/>
                  <a:gd name="connsiteX3" fmla="*/ 0 w 130994"/>
                  <a:gd name="connsiteY3" fmla="*/ 215622 h 215622"/>
                  <a:gd name="connsiteX4" fmla="*/ 0 w 130994"/>
                  <a:gd name="connsiteY4" fmla="*/ 0 h 215622"/>
                  <a:gd name="connsiteX0" fmla="*/ 130994 w 222434"/>
                  <a:gd name="connsiteY0" fmla="*/ 215622 h 307062"/>
                  <a:gd name="connsiteX1" fmla="*/ 0 w 222434"/>
                  <a:gd name="connsiteY1" fmla="*/ 215622 h 307062"/>
                  <a:gd name="connsiteX2" fmla="*/ 0 w 222434"/>
                  <a:gd name="connsiteY2" fmla="*/ 0 h 307062"/>
                  <a:gd name="connsiteX3" fmla="*/ 130994 w 222434"/>
                  <a:gd name="connsiteY3" fmla="*/ 0 h 307062"/>
                  <a:gd name="connsiteX4" fmla="*/ 222434 w 222434"/>
                  <a:gd name="connsiteY4" fmla="*/ 307062 h 307062"/>
                  <a:gd name="connsiteX0" fmla="*/ 130994 w 130994"/>
                  <a:gd name="connsiteY0" fmla="*/ 215622 h 215622"/>
                  <a:gd name="connsiteX1" fmla="*/ 0 w 130994"/>
                  <a:gd name="connsiteY1" fmla="*/ 215622 h 215622"/>
                  <a:gd name="connsiteX2" fmla="*/ 0 w 130994"/>
                  <a:gd name="connsiteY2" fmla="*/ 0 h 215622"/>
                  <a:gd name="connsiteX3" fmla="*/ 130994 w 130994"/>
                  <a:gd name="connsiteY3" fmla="*/ 0 h 215622"/>
                </a:gdLst>
                <a:ahLst/>
                <a:cxnLst>
                  <a:cxn ang="0">
                    <a:pos x="connsiteX0" y="connsiteY0"/>
                  </a:cxn>
                  <a:cxn ang="0">
                    <a:pos x="connsiteX1" y="connsiteY1"/>
                  </a:cxn>
                  <a:cxn ang="0">
                    <a:pos x="connsiteX2" y="connsiteY2"/>
                  </a:cxn>
                  <a:cxn ang="0">
                    <a:pos x="connsiteX3" y="connsiteY3"/>
                  </a:cxn>
                </a:cxnLst>
                <a:rect l="l" t="t" r="r" b="b"/>
                <a:pathLst>
                  <a:path w="130994" h="215622">
                    <a:moveTo>
                      <a:pt x="130994" y="215622"/>
                    </a:moveTo>
                    <a:lnTo>
                      <a:pt x="0" y="215622"/>
                    </a:lnTo>
                    <a:lnTo>
                      <a:pt x="0" y="0"/>
                    </a:lnTo>
                    <a:lnTo>
                      <a:pt x="130994" y="0"/>
                    </a:lnTo>
                  </a:path>
                </a:pathLst>
              </a:custGeom>
              <a:noFill/>
              <a:ln w="6350">
                <a:solidFill>
                  <a:schemeClr val="bg1">
                    <a:lumMod val="75000"/>
                  </a:schemeClr>
                </a:solidFill>
              </a:ln>
            </p:spPr>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282828"/>
                  </a:solidFill>
                  <a:effectLst/>
                  <a:uLnTx/>
                  <a:uFillTx/>
                  <a:latin typeface="Arial" charset="0"/>
                  <a:ea typeface="ＭＳ Ｐゴシック" charset="0"/>
                  <a:cs typeface="ＭＳ Ｐゴシック" charset="0"/>
                </a:endParaRPr>
              </a:p>
            </p:txBody>
          </p:sp>
        </p:grpSp>
      </p:grpSp>
      <p:grpSp>
        <p:nvGrpSpPr>
          <p:cNvPr id="29" name="Group 28"/>
          <p:cNvGrpSpPr/>
          <p:nvPr/>
        </p:nvGrpSpPr>
        <p:grpSpPr>
          <a:xfrm>
            <a:off x="1686967" y="965292"/>
            <a:ext cx="1119212" cy="998398"/>
            <a:chOff x="3727471" y="2943910"/>
            <a:chExt cx="1119212" cy="998398"/>
          </a:xfrm>
        </p:grpSpPr>
        <p:pic>
          <p:nvPicPr>
            <p:cNvPr id="27" name="Picture 26"/>
            <p:cNvPicPr>
              <a:picLocks noChangeAspect="1"/>
            </p:cNvPicPr>
            <p:nvPr/>
          </p:nvPicPr>
          <p:blipFill>
            <a:blip r:embed="rId2"/>
            <a:stretch>
              <a:fillRect/>
            </a:stretch>
          </p:blipFill>
          <p:spPr>
            <a:xfrm>
              <a:off x="3852341" y="2943910"/>
              <a:ext cx="869472" cy="869472"/>
            </a:xfrm>
            <a:prstGeom prst="rect">
              <a:avLst/>
            </a:prstGeom>
          </p:spPr>
        </p:pic>
        <p:sp>
          <p:nvSpPr>
            <p:cNvPr id="28" name="Rectangle 27"/>
            <p:cNvSpPr/>
            <p:nvPr/>
          </p:nvSpPr>
          <p:spPr>
            <a:xfrm>
              <a:off x="3727471" y="3684455"/>
              <a:ext cx="1119212" cy="25785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3152" tIns="45720" rIns="73152" bIns="4572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iscoSansTT ExtraLight"/>
                  <a:ea typeface="+mn-ea"/>
                  <a:cs typeface="+mn-cs"/>
                </a:rPr>
                <a:t>Stealthwatch</a:t>
              </a:r>
            </a:p>
          </p:txBody>
        </p:sp>
      </p:grpSp>
      <p:grpSp>
        <p:nvGrpSpPr>
          <p:cNvPr id="85" name="Group 84"/>
          <p:cNvGrpSpPr/>
          <p:nvPr/>
        </p:nvGrpSpPr>
        <p:grpSpPr>
          <a:xfrm>
            <a:off x="4404420" y="1628076"/>
            <a:ext cx="822304" cy="1002412"/>
            <a:chOff x="4909709" y="2189820"/>
            <a:chExt cx="822304" cy="1002412"/>
          </a:xfrm>
        </p:grpSpPr>
        <p:grpSp>
          <p:nvGrpSpPr>
            <p:cNvPr id="30" name="Group 29"/>
            <p:cNvGrpSpPr/>
            <p:nvPr/>
          </p:nvGrpSpPr>
          <p:grpSpPr>
            <a:xfrm>
              <a:off x="4909709" y="2189820"/>
              <a:ext cx="822304" cy="792792"/>
              <a:chOff x="7099022" y="1520914"/>
              <a:chExt cx="740517" cy="741487"/>
            </a:xfrm>
          </p:grpSpPr>
          <p:sp>
            <p:nvSpPr>
              <p:cNvPr id="31" name="Oval 86"/>
              <p:cNvSpPr>
                <a:spLocks/>
              </p:cNvSpPr>
              <p:nvPr/>
            </p:nvSpPr>
            <p:spPr bwMode="auto">
              <a:xfrm>
                <a:off x="7099022" y="1520914"/>
                <a:ext cx="740517" cy="741487"/>
              </a:xfrm>
              <a:prstGeom prst="ellipse">
                <a:avLst/>
              </a:prstGeom>
              <a:gradFill flip="none" rotWithShape="1">
                <a:gsLst>
                  <a:gs pos="1000">
                    <a:srgbClr val="152151"/>
                  </a:gs>
                  <a:gs pos="100000">
                    <a:srgbClr val="075E8D"/>
                  </a:gs>
                </a:gsLst>
                <a:lin ang="16200000" scaled="0"/>
                <a:tileRect/>
              </a:gradFill>
              <a:ln w="25400" cap="flat">
                <a:gradFill>
                  <a:gsLst>
                    <a:gs pos="0">
                      <a:srgbClr val="FFFFFF"/>
                    </a:gs>
                    <a:gs pos="29000">
                      <a:srgbClr val="0096D6">
                        <a:tint val="23500"/>
                        <a:satMod val="160000"/>
                        <a:alpha val="0"/>
                      </a:srgbClr>
                    </a:gs>
                  </a:gsLst>
                  <a:lin ang="0" scaled="0"/>
                </a:gradFill>
                <a:round/>
                <a:headEnd type="none" w="med" len="med"/>
                <a:tailEnd type="none" w="med" len="med"/>
              </a:ln>
              <a:effectLst/>
            </p:spPr>
            <p:txBody>
              <a:bodyPr lIns="0" tIns="0" rIns="0" bIns="0"/>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96D6"/>
                  </a:solidFill>
                  <a:effectLst/>
                  <a:uLnTx/>
                  <a:uFillTx/>
                  <a:latin typeface="Arial"/>
                  <a:ea typeface="ＭＳ Ｐゴシック" charset="0"/>
                </a:endParaRPr>
              </a:p>
            </p:txBody>
          </p:sp>
          <p:grpSp>
            <p:nvGrpSpPr>
              <p:cNvPr id="32" name="Group 603"/>
              <p:cNvGrpSpPr>
                <a:grpSpLocks noChangeAspect="1"/>
              </p:cNvGrpSpPr>
              <p:nvPr/>
            </p:nvGrpSpPr>
            <p:grpSpPr bwMode="auto">
              <a:xfrm>
                <a:off x="7288488" y="1632007"/>
                <a:ext cx="361624" cy="519288"/>
                <a:chOff x="6556" y="492"/>
                <a:chExt cx="2551" cy="3655"/>
              </a:xfrm>
              <a:solidFill>
                <a:srgbClr val="FFFFFF"/>
              </a:solidFill>
              <a:effectLst/>
            </p:grpSpPr>
            <p:sp>
              <p:nvSpPr>
                <p:cNvPr id="33" name="Freeform 579"/>
                <p:cNvSpPr>
                  <a:spLocks/>
                </p:cNvSpPr>
                <p:nvPr/>
              </p:nvSpPr>
              <p:spPr bwMode="auto">
                <a:xfrm>
                  <a:off x="7671" y="537"/>
                  <a:ext cx="272" cy="132"/>
                </a:xfrm>
                <a:custGeom>
                  <a:avLst/>
                  <a:gdLst>
                    <a:gd name="T0" fmla="*/ 32 w 115"/>
                    <a:gd name="T1" fmla="*/ 0 h 56"/>
                    <a:gd name="T2" fmla="*/ 72 w 115"/>
                    <a:gd name="T3" fmla="*/ 0 h 56"/>
                    <a:gd name="T4" fmla="*/ 0 w 115"/>
                    <a:gd name="T5" fmla="*/ 24 h 56"/>
                    <a:gd name="T6" fmla="*/ 32 w 115"/>
                    <a:gd name="T7" fmla="*/ 0 h 56"/>
                    <a:gd name="T8" fmla="*/ 0 60000 65536"/>
                    <a:gd name="T9" fmla="*/ 0 60000 65536"/>
                    <a:gd name="T10" fmla="*/ 0 60000 65536"/>
                    <a:gd name="T11" fmla="*/ 0 60000 65536"/>
                    <a:gd name="T12" fmla="*/ 0 w 115"/>
                    <a:gd name="T13" fmla="*/ 0 h 56"/>
                    <a:gd name="T14" fmla="*/ 115 w 115"/>
                    <a:gd name="T15" fmla="*/ 56 h 56"/>
                  </a:gdLst>
                  <a:ahLst/>
                  <a:cxnLst>
                    <a:cxn ang="T8">
                      <a:pos x="T0" y="T1"/>
                    </a:cxn>
                    <a:cxn ang="T9">
                      <a:pos x="T2" y="T3"/>
                    </a:cxn>
                    <a:cxn ang="T10">
                      <a:pos x="T4" y="T5"/>
                    </a:cxn>
                    <a:cxn ang="T11">
                      <a:pos x="T6" y="T7"/>
                    </a:cxn>
                  </a:cxnLst>
                  <a:rect l="T12" t="T13" r="T14" b="T15"/>
                  <a:pathLst>
                    <a:path w="115" h="56">
                      <a:moveTo>
                        <a:pt x="32" y="0"/>
                      </a:moveTo>
                      <a:cubicBezTo>
                        <a:pt x="45" y="0"/>
                        <a:pt x="59" y="0"/>
                        <a:pt x="72" y="0"/>
                      </a:cubicBezTo>
                      <a:cubicBezTo>
                        <a:pt x="115" y="34"/>
                        <a:pt x="15" y="56"/>
                        <a:pt x="0" y="24"/>
                      </a:cubicBezTo>
                      <a:cubicBezTo>
                        <a:pt x="0" y="5"/>
                        <a:pt x="22" y="8"/>
                        <a:pt x="32" y="0"/>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34" name="Freeform 580"/>
                <p:cNvSpPr>
                  <a:spLocks/>
                </p:cNvSpPr>
                <p:nvPr/>
              </p:nvSpPr>
              <p:spPr bwMode="auto">
                <a:xfrm>
                  <a:off x="7274" y="492"/>
                  <a:ext cx="1304" cy="489"/>
                </a:xfrm>
                <a:custGeom>
                  <a:avLst/>
                  <a:gdLst>
                    <a:gd name="T0" fmla="*/ 376 w 552"/>
                    <a:gd name="T1" fmla="*/ 75 h 207"/>
                    <a:gd name="T2" fmla="*/ 308 w 552"/>
                    <a:gd name="T3" fmla="*/ 79 h 207"/>
                    <a:gd name="T4" fmla="*/ 452 w 552"/>
                    <a:gd name="T5" fmla="*/ 123 h 207"/>
                    <a:gd name="T6" fmla="*/ 552 w 552"/>
                    <a:gd name="T7" fmla="*/ 207 h 207"/>
                    <a:gd name="T8" fmla="*/ 428 w 552"/>
                    <a:gd name="T9" fmla="*/ 155 h 207"/>
                    <a:gd name="T10" fmla="*/ 200 w 552"/>
                    <a:gd name="T11" fmla="*/ 127 h 207"/>
                    <a:gd name="T12" fmla="*/ 124 w 552"/>
                    <a:gd name="T13" fmla="*/ 111 h 207"/>
                    <a:gd name="T14" fmla="*/ 0 w 552"/>
                    <a:gd name="T15" fmla="*/ 131 h 207"/>
                    <a:gd name="T16" fmla="*/ 224 w 552"/>
                    <a:gd name="T17" fmla="*/ 71 h 207"/>
                    <a:gd name="T18" fmla="*/ 376 w 552"/>
                    <a:gd name="T19" fmla="*/ 75 h 2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2"/>
                    <a:gd name="T31" fmla="*/ 0 h 207"/>
                    <a:gd name="T32" fmla="*/ 552 w 552"/>
                    <a:gd name="T33" fmla="*/ 207 h 2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2" h="207">
                      <a:moveTo>
                        <a:pt x="376" y="75"/>
                      </a:moveTo>
                      <a:cubicBezTo>
                        <a:pt x="349" y="75"/>
                        <a:pt x="328" y="67"/>
                        <a:pt x="308" y="79"/>
                      </a:cubicBezTo>
                      <a:cubicBezTo>
                        <a:pt x="347" y="104"/>
                        <a:pt x="405" y="105"/>
                        <a:pt x="452" y="123"/>
                      </a:cubicBezTo>
                      <a:cubicBezTo>
                        <a:pt x="494" y="139"/>
                        <a:pt x="548" y="155"/>
                        <a:pt x="552" y="207"/>
                      </a:cubicBezTo>
                      <a:cubicBezTo>
                        <a:pt x="510" y="197"/>
                        <a:pt x="473" y="171"/>
                        <a:pt x="428" y="155"/>
                      </a:cubicBezTo>
                      <a:cubicBezTo>
                        <a:pt x="359" y="130"/>
                        <a:pt x="295" y="137"/>
                        <a:pt x="200" y="127"/>
                      </a:cubicBezTo>
                      <a:cubicBezTo>
                        <a:pt x="174" y="124"/>
                        <a:pt x="150" y="111"/>
                        <a:pt x="124" y="111"/>
                      </a:cubicBezTo>
                      <a:cubicBezTo>
                        <a:pt x="77" y="112"/>
                        <a:pt x="41" y="154"/>
                        <a:pt x="0" y="131"/>
                      </a:cubicBezTo>
                      <a:cubicBezTo>
                        <a:pt x="17" y="48"/>
                        <a:pt x="142" y="83"/>
                        <a:pt x="224" y="71"/>
                      </a:cubicBezTo>
                      <a:cubicBezTo>
                        <a:pt x="275" y="64"/>
                        <a:pt x="359" y="0"/>
                        <a:pt x="376" y="75"/>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35" name="Freeform 581"/>
                <p:cNvSpPr>
                  <a:spLocks/>
                </p:cNvSpPr>
                <p:nvPr/>
              </p:nvSpPr>
              <p:spPr bwMode="auto">
                <a:xfrm>
                  <a:off x="8229" y="601"/>
                  <a:ext cx="203" cy="175"/>
                </a:xfrm>
                <a:custGeom>
                  <a:avLst/>
                  <a:gdLst>
                    <a:gd name="T0" fmla="*/ 80 w 86"/>
                    <a:gd name="T1" fmla="*/ 65 h 74"/>
                    <a:gd name="T2" fmla="*/ 0 w 86"/>
                    <a:gd name="T3" fmla="*/ 41 h 74"/>
                    <a:gd name="T4" fmla="*/ 80 w 86"/>
                    <a:gd name="T5" fmla="*/ 65 h 74"/>
                    <a:gd name="T6" fmla="*/ 0 60000 65536"/>
                    <a:gd name="T7" fmla="*/ 0 60000 65536"/>
                    <a:gd name="T8" fmla="*/ 0 60000 65536"/>
                    <a:gd name="T9" fmla="*/ 0 w 86"/>
                    <a:gd name="T10" fmla="*/ 0 h 74"/>
                    <a:gd name="T11" fmla="*/ 86 w 86"/>
                    <a:gd name="T12" fmla="*/ 74 h 74"/>
                  </a:gdLst>
                  <a:ahLst/>
                  <a:cxnLst>
                    <a:cxn ang="T6">
                      <a:pos x="T0" y="T1"/>
                    </a:cxn>
                    <a:cxn ang="T7">
                      <a:pos x="T2" y="T3"/>
                    </a:cxn>
                    <a:cxn ang="T8">
                      <a:pos x="T4" y="T5"/>
                    </a:cxn>
                  </a:cxnLst>
                  <a:rect l="T9" t="T10" r="T11" b="T12"/>
                  <a:pathLst>
                    <a:path w="86" h="74">
                      <a:moveTo>
                        <a:pt x="80" y="65"/>
                      </a:moveTo>
                      <a:cubicBezTo>
                        <a:pt x="52" y="74"/>
                        <a:pt x="18" y="55"/>
                        <a:pt x="0" y="41"/>
                      </a:cubicBezTo>
                      <a:cubicBezTo>
                        <a:pt x="8" y="0"/>
                        <a:pt x="86" y="28"/>
                        <a:pt x="80" y="65"/>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36" name="Freeform 582"/>
                <p:cNvSpPr>
                  <a:spLocks/>
                </p:cNvSpPr>
                <p:nvPr/>
              </p:nvSpPr>
              <p:spPr bwMode="auto">
                <a:xfrm>
                  <a:off x="6842" y="792"/>
                  <a:ext cx="2154" cy="1030"/>
                </a:xfrm>
                <a:custGeom>
                  <a:avLst/>
                  <a:gdLst>
                    <a:gd name="T0" fmla="*/ 895 w 912"/>
                    <a:gd name="T1" fmla="*/ 436 h 436"/>
                    <a:gd name="T2" fmla="*/ 831 w 912"/>
                    <a:gd name="T3" fmla="*/ 336 h 436"/>
                    <a:gd name="T4" fmla="*/ 759 w 912"/>
                    <a:gd name="T5" fmla="*/ 248 h 436"/>
                    <a:gd name="T6" fmla="*/ 747 w 912"/>
                    <a:gd name="T7" fmla="*/ 184 h 436"/>
                    <a:gd name="T8" fmla="*/ 491 w 912"/>
                    <a:gd name="T9" fmla="*/ 64 h 436"/>
                    <a:gd name="T10" fmla="*/ 295 w 912"/>
                    <a:gd name="T11" fmla="*/ 44 h 436"/>
                    <a:gd name="T12" fmla="*/ 479 w 912"/>
                    <a:gd name="T13" fmla="*/ 84 h 436"/>
                    <a:gd name="T14" fmla="*/ 727 w 912"/>
                    <a:gd name="T15" fmla="*/ 220 h 436"/>
                    <a:gd name="T16" fmla="*/ 471 w 912"/>
                    <a:gd name="T17" fmla="*/ 120 h 436"/>
                    <a:gd name="T18" fmla="*/ 363 w 912"/>
                    <a:gd name="T19" fmla="*/ 120 h 436"/>
                    <a:gd name="T20" fmla="*/ 275 w 912"/>
                    <a:gd name="T21" fmla="*/ 92 h 436"/>
                    <a:gd name="T22" fmla="*/ 7 w 912"/>
                    <a:gd name="T23" fmla="*/ 216 h 436"/>
                    <a:gd name="T24" fmla="*/ 99 w 912"/>
                    <a:gd name="T25" fmla="*/ 132 h 436"/>
                    <a:gd name="T26" fmla="*/ 251 w 912"/>
                    <a:gd name="T27" fmla="*/ 24 h 436"/>
                    <a:gd name="T28" fmla="*/ 387 w 912"/>
                    <a:gd name="T29" fmla="*/ 24 h 436"/>
                    <a:gd name="T30" fmla="*/ 503 w 912"/>
                    <a:gd name="T31" fmla="*/ 28 h 436"/>
                    <a:gd name="T32" fmla="*/ 779 w 912"/>
                    <a:gd name="T33" fmla="*/ 148 h 436"/>
                    <a:gd name="T34" fmla="*/ 803 w 912"/>
                    <a:gd name="T35" fmla="*/ 228 h 436"/>
                    <a:gd name="T36" fmla="*/ 847 w 912"/>
                    <a:gd name="T37" fmla="*/ 276 h 436"/>
                    <a:gd name="T38" fmla="*/ 895 w 912"/>
                    <a:gd name="T39" fmla="*/ 436 h 4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12"/>
                    <a:gd name="T61" fmla="*/ 0 h 436"/>
                    <a:gd name="T62" fmla="*/ 912 w 912"/>
                    <a:gd name="T63" fmla="*/ 436 h 4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12" h="436">
                      <a:moveTo>
                        <a:pt x="895" y="436"/>
                      </a:moveTo>
                      <a:cubicBezTo>
                        <a:pt x="864" y="406"/>
                        <a:pt x="854" y="371"/>
                        <a:pt x="831" y="336"/>
                      </a:cubicBezTo>
                      <a:cubicBezTo>
                        <a:pt x="811" y="305"/>
                        <a:pt x="772" y="280"/>
                        <a:pt x="759" y="248"/>
                      </a:cubicBezTo>
                      <a:cubicBezTo>
                        <a:pt x="752" y="230"/>
                        <a:pt x="756" y="204"/>
                        <a:pt x="747" y="184"/>
                      </a:cubicBezTo>
                      <a:cubicBezTo>
                        <a:pt x="721" y="123"/>
                        <a:pt x="586" y="71"/>
                        <a:pt x="491" y="64"/>
                      </a:cubicBezTo>
                      <a:cubicBezTo>
                        <a:pt x="413" y="58"/>
                        <a:pt x="362" y="58"/>
                        <a:pt x="295" y="44"/>
                      </a:cubicBezTo>
                      <a:cubicBezTo>
                        <a:pt x="321" y="92"/>
                        <a:pt x="409" y="79"/>
                        <a:pt x="479" y="84"/>
                      </a:cubicBezTo>
                      <a:cubicBezTo>
                        <a:pt x="591" y="92"/>
                        <a:pt x="712" y="133"/>
                        <a:pt x="727" y="220"/>
                      </a:cubicBezTo>
                      <a:cubicBezTo>
                        <a:pt x="646" y="185"/>
                        <a:pt x="577" y="128"/>
                        <a:pt x="471" y="120"/>
                      </a:cubicBezTo>
                      <a:cubicBezTo>
                        <a:pt x="437" y="117"/>
                        <a:pt x="399" y="124"/>
                        <a:pt x="363" y="120"/>
                      </a:cubicBezTo>
                      <a:cubicBezTo>
                        <a:pt x="333" y="116"/>
                        <a:pt x="305" y="94"/>
                        <a:pt x="275" y="92"/>
                      </a:cubicBezTo>
                      <a:cubicBezTo>
                        <a:pt x="165" y="84"/>
                        <a:pt x="112" y="218"/>
                        <a:pt x="7" y="216"/>
                      </a:cubicBezTo>
                      <a:cubicBezTo>
                        <a:pt x="0" y="168"/>
                        <a:pt x="63" y="154"/>
                        <a:pt x="99" y="132"/>
                      </a:cubicBezTo>
                      <a:cubicBezTo>
                        <a:pt x="142" y="106"/>
                        <a:pt x="199" y="55"/>
                        <a:pt x="251" y="24"/>
                      </a:cubicBezTo>
                      <a:cubicBezTo>
                        <a:pt x="292" y="0"/>
                        <a:pt x="338" y="16"/>
                        <a:pt x="387" y="24"/>
                      </a:cubicBezTo>
                      <a:cubicBezTo>
                        <a:pt x="425" y="30"/>
                        <a:pt x="464" y="25"/>
                        <a:pt x="503" y="28"/>
                      </a:cubicBezTo>
                      <a:cubicBezTo>
                        <a:pt x="592" y="34"/>
                        <a:pt x="736" y="87"/>
                        <a:pt x="779" y="148"/>
                      </a:cubicBezTo>
                      <a:cubicBezTo>
                        <a:pt x="796" y="173"/>
                        <a:pt x="793" y="202"/>
                        <a:pt x="803" y="228"/>
                      </a:cubicBezTo>
                      <a:cubicBezTo>
                        <a:pt x="811" y="248"/>
                        <a:pt x="831" y="256"/>
                        <a:pt x="847" y="276"/>
                      </a:cubicBezTo>
                      <a:cubicBezTo>
                        <a:pt x="880" y="315"/>
                        <a:pt x="912" y="375"/>
                        <a:pt x="895" y="436"/>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37" name="Freeform 583"/>
                <p:cNvSpPr>
                  <a:spLocks/>
                </p:cNvSpPr>
                <p:nvPr/>
              </p:nvSpPr>
              <p:spPr bwMode="auto">
                <a:xfrm>
                  <a:off x="7010" y="844"/>
                  <a:ext cx="255" cy="194"/>
                </a:xfrm>
                <a:custGeom>
                  <a:avLst/>
                  <a:gdLst>
                    <a:gd name="T0" fmla="*/ 108 w 108"/>
                    <a:gd name="T1" fmla="*/ 10 h 82"/>
                    <a:gd name="T2" fmla="*/ 0 w 108"/>
                    <a:gd name="T3" fmla="*/ 82 h 82"/>
                    <a:gd name="T4" fmla="*/ 108 w 108"/>
                    <a:gd name="T5" fmla="*/ 10 h 82"/>
                    <a:gd name="T6" fmla="*/ 0 60000 65536"/>
                    <a:gd name="T7" fmla="*/ 0 60000 65536"/>
                    <a:gd name="T8" fmla="*/ 0 60000 65536"/>
                    <a:gd name="T9" fmla="*/ 0 w 108"/>
                    <a:gd name="T10" fmla="*/ 0 h 82"/>
                    <a:gd name="T11" fmla="*/ 108 w 108"/>
                    <a:gd name="T12" fmla="*/ 82 h 82"/>
                  </a:gdLst>
                  <a:ahLst/>
                  <a:cxnLst>
                    <a:cxn ang="T6">
                      <a:pos x="T0" y="T1"/>
                    </a:cxn>
                    <a:cxn ang="T7">
                      <a:pos x="T2" y="T3"/>
                    </a:cxn>
                    <a:cxn ang="T8">
                      <a:pos x="T4" y="T5"/>
                    </a:cxn>
                  </a:cxnLst>
                  <a:rect l="T9" t="T10" r="T11" b="T12"/>
                  <a:pathLst>
                    <a:path w="108" h="82">
                      <a:moveTo>
                        <a:pt x="108" y="10"/>
                      </a:moveTo>
                      <a:cubicBezTo>
                        <a:pt x="93" y="53"/>
                        <a:pt x="43" y="81"/>
                        <a:pt x="0" y="82"/>
                      </a:cubicBezTo>
                      <a:cubicBezTo>
                        <a:pt x="14" y="38"/>
                        <a:pt x="53" y="0"/>
                        <a:pt x="108" y="10"/>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38" name="Freeform 584"/>
                <p:cNvSpPr>
                  <a:spLocks/>
                </p:cNvSpPr>
                <p:nvPr/>
              </p:nvSpPr>
              <p:spPr bwMode="auto">
                <a:xfrm>
                  <a:off x="6632" y="1010"/>
                  <a:ext cx="916" cy="859"/>
                </a:xfrm>
                <a:custGeom>
                  <a:avLst/>
                  <a:gdLst>
                    <a:gd name="T0" fmla="*/ 388 w 388"/>
                    <a:gd name="T1" fmla="*/ 36 h 364"/>
                    <a:gd name="T2" fmla="*/ 220 w 388"/>
                    <a:gd name="T3" fmla="*/ 148 h 364"/>
                    <a:gd name="T4" fmla="*/ 192 w 388"/>
                    <a:gd name="T5" fmla="*/ 200 h 364"/>
                    <a:gd name="T6" fmla="*/ 96 w 388"/>
                    <a:gd name="T7" fmla="*/ 276 h 364"/>
                    <a:gd name="T8" fmla="*/ 12 w 388"/>
                    <a:gd name="T9" fmla="*/ 364 h 364"/>
                    <a:gd name="T10" fmla="*/ 88 w 388"/>
                    <a:gd name="T11" fmla="*/ 232 h 364"/>
                    <a:gd name="T12" fmla="*/ 160 w 388"/>
                    <a:gd name="T13" fmla="*/ 184 h 364"/>
                    <a:gd name="T14" fmla="*/ 208 w 388"/>
                    <a:gd name="T15" fmla="*/ 104 h 364"/>
                    <a:gd name="T16" fmla="*/ 388 w 388"/>
                    <a:gd name="T17" fmla="*/ 36 h 3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8"/>
                    <a:gd name="T28" fmla="*/ 0 h 364"/>
                    <a:gd name="T29" fmla="*/ 388 w 388"/>
                    <a:gd name="T30" fmla="*/ 364 h 3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8" h="364">
                      <a:moveTo>
                        <a:pt x="388" y="36"/>
                      </a:moveTo>
                      <a:cubicBezTo>
                        <a:pt x="327" y="76"/>
                        <a:pt x="262" y="93"/>
                        <a:pt x="220" y="148"/>
                      </a:cubicBezTo>
                      <a:cubicBezTo>
                        <a:pt x="208" y="164"/>
                        <a:pt x="205" y="185"/>
                        <a:pt x="192" y="200"/>
                      </a:cubicBezTo>
                      <a:cubicBezTo>
                        <a:pt x="166" y="229"/>
                        <a:pt x="126" y="246"/>
                        <a:pt x="96" y="276"/>
                      </a:cubicBezTo>
                      <a:cubicBezTo>
                        <a:pt x="66" y="306"/>
                        <a:pt x="53" y="347"/>
                        <a:pt x="12" y="364"/>
                      </a:cubicBezTo>
                      <a:cubicBezTo>
                        <a:pt x="0" y="307"/>
                        <a:pt x="48" y="268"/>
                        <a:pt x="88" y="232"/>
                      </a:cubicBezTo>
                      <a:cubicBezTo>
                        <a:pt x="110" y="212"/>
                        <a:pt x="142" y="202"/>
                        <a:pt x="160" y="184"/>
                      </a:cubicBezTo>
                      <a:cubicBezTo>
                        <a:pt x="179" y="165"/>
                        <a:pt x="187" y="127"/>
                        <a:pt x="208" y="104"/>
                      </a:cubicBezTo>
                      <a:cubicBezTo>
                        <a:pt x="245" y="65"/>
                        <a:pt x="341" y="0"/>
                        <a:pt x="388" y="36"/>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39" name="Freeform 585"/>
                <p:cNvSpPr>
                  <a:spLocks/>
                </p:cNvSpPr>
                <p:nvPr/>
              </p:nvSpPr>
              <p:spPr bwMode="auto">
                <a:xfrm>
                  <a:off x="7189" y="1090"/>
                  <a:ext cx="1918" cy="1885"/>
                </a:xfrm>
                <a:custGeom>
                  <a:avLst/>
                  <a:gdLst>
                    <a:gd name="T0" fmla="*/ 812 w 812"/>
                    <a:gd name="T1" fmla="*/ 598 h 798"/>
                    <a:gd name="T2" fmla="*/ 812 w 812"/>
                    <a:gd name="T3" fmla="*/ 682 h 798"/>
                    <a:gd name="T4" fmla="*/ 760 w 812"/>
                    <a:gd name="T5" fmla="*/ 798 h 798"/>
                    <a:gd name="T6" fmla="*/ 772 w 812"/>
                    <a:gd name="T7" fmla="*/ 590 h 798"/>
                    <a:gd name="T8" fmla="*/ 576 w 812"/>
                    <a:gd name="T9" fmla="*/ 182 h 798"/>
                    <a:gd name="T10" fmla="*/ 100 w 812"/>
                    <a:gd name="T11" fmla="*/ 94 h 798"/>
                    <a:gd name="T12" fmla="*/ 0 w 812"/>
                    <a:gd name="T13" fmla="*/ 154 h 798"/>
                    <a:gd name="T14" fmla="*/ 112 w 812"/>
                    <a:gd name="T15" fmla="*/ 50 h 798"/>
                    <a:gd name="T16" fmla="*/ 364 w 812"/>
                    <a:gd name="T17" fmla="*/ 22 h 798"/>
                    <a:gd name="T18" fmla="*/ 812 w 812"/>
                    <a:gd name="T19" fmla="*/ 598 h 7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2"/>
                    <a:gd name="T31" fmla="*/ 0 h 798"/>
                    <a:gd name="T32" fmla="*/ 812 w 812"/>
                    <a:gd name="T33" fmla="*/ 798 h 7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2" h="798">
                      <a:moveTo>
                        <a:pt x="812" y="598"/>
                      </a:moveTo>
                      <a:cubicBezTo>
                        <a:pt x="812" y="626"/>
                        <a:pt x="812" y="654"/>
                        <a:pt x="812" y="682"/>
                      </a:cubicBezTo>
                      <a:cubicBezTo>
                        <a:pt x="796" y="722"/>
                        <a:pt x="801" y="783"/>
                        <a:pt x="760" y="798"/>
                      </a:cubicBezTo>
                      <a:cubicBezTo>
                        <a:pt x="757" y="729"/>
                        <a:pt x="777" y="659"/>
                        <a:pt x="772" y="590"/>
                      </a:cubicBezTo>
                      <a:cubicBezTo>
                        <a:pt x="760" y="437"/>
                        <a:pt x="656" y="264"/>
                        <a:pt x="576" y="182"/>
                      </a:cubicBezTo>
                      <a:cubicBezTo>
                        <a:pt x="477" y="80"/>
                        <a:pt x="267" y="0"/>
                        <a:pt x="100" y="94"/>
                      </a:cubicBezTo>
                      <a:cubicBezTo>
                        <a:pt x="64" y="114"/>
                        <a:pt x="48" y="161"/>
                        <a:pt x="0" y="154"/>
                      </a:cubicBezTo>
                      <a:cubicBezTo>
                        <a:pt x="13" y="101"/>
                        <a:pt x="67" y="72"/>
                        <a:pt x="112" y="50"/>
                      </a:cubicBezTo>
                      <a:cubicBezTo>
                        <a:pt x="181" y="17"/>
                        <a:pt x="283" y="3"/>
                        <a:pt x="364" y="22"/>
                      </a:cubicBezTo>
                      <a:cubicBezTo>
                        <a:pt x="614" y="81"/>
                        <a:pt x="776" y="324"/>
                        <a:pt x="812" y="598"/>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40" name="Freeform 586"/>
                <p:cNvSpPr>
                  <a:spLocks/>
                </p:cNvSpPr>
                <p:nvPr/>
              </p:nvSpPr>
              <p:spPr bwMode="auto">
                <a:xfrm>
                  <a:off x="6556" y="1267"/>
                  <a:ext cx="2407" cy="1623"/>
                </a:xfrm>
                <a:custGeom>
                  <a:avLst/>
                  <a:gdLst>
                    <a:gd name="T0" fmla="*/ 0 w 1019"/>
                    <a:gd name="T1" fmla="*/ 467 h 687"/>
                    <a:gd name="T2" fmla="*/ 0 w 1019"/>
                    <a:gd name="T3" fmla="*/ 435 h 687"/>
                    <a:gd name="T4" fmla="*/ 220 w 1019"/>
                    <a:gd name="T5" fmla="*/ 131 h 687"/>
                    <a:gd name="T6" fmla="*/ 296 w 1019"/>
                    <a:gd name="T7" fmla="*/ 103 h 687"/>
                    <a:gd name="T8" fmla="*/ 380 w 1019"/>
                    <a:gd name="T9" fmla="*/ 43 h 687"/>
                    <a:gd name="T10" fmla="*/ 588 w 1019"/>
                    <a:gd name="T11" fmla="*/ 3 h 687"/>
                    <a:gd name="T12" fmla="*/ 844 w 1019"/>
                    <a:gd name="T13" fmla="*/ 143 h 687"/>
                    <a:gd name="T14" fmla="*/ 1012 w 1019"/>
                    <a:gd name="T15" fmla="*/ 551 h 687"/>
                    <a:gd name="T16" fmla="*/ 976 w 1019"/>
                    <a:gd name="T17" fmla="*/ 687 h 687"/>
                    <a:gd name="T18" fmla="*/ 968 w 1019"/>
                    <a:gd name="T19" fmla="*/ 539 h 687"/>
                    <a:gd name="T20" fmla="*/ 820 w 1019"/>
                    <a:gd name="T21" fmla="*/ 187 h 687"/>
                    <a:gd name="T22" fmla="*/ 412 w 1019"/>
                    <a:gd name="T23" fmla="*/ 75 h 687"/>
                    <a:gd name="T24" fmla="*/ 304 w 1019"/>
                    <a:gd name="T25" fmla="*/ 151 h 687"/>
                    <a:gd name="T26" fmla="*/ 232 w 1019"/>
                    <a:gd name="T27" fmla="*/ 171 h 687"/>
                    <a:gd name="T28" fmla="*/ 68 w 1019"/>
                    <a:gd name="T29" fmla="*/ 371 h 687"/>
                    <a:gd name="T30" fmla="*/ 0 w 1019"/>
                    <a:gd name="T31" fmla="*/ 467 h 68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19"/>
                    <a:gd name="T49" fmla="*/ 0 h 687"/>
                    <a:gd name="T50" fmla="*/ 1019 w 1019"/>
                    <a:gd name="T51" fmla="*/ 687 h 68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19" h="687">
                      <a:moveTo>
                        <a:pt x="0" y="467"/>
                      </a:moveTo>
                      <a:cubicBezTo>
                        <a:pt x="0" y="456"/>
                        <a:pt x="0" y="446"/>
                        <a:pt x="0" y="435"/>
                      </a:cubicBezTo>
                      <a:cubicBezTo>
                        <a:pt x="35" y="319"/>
                        <a:pt x="123" y="178"/>
                        <a:pt x="220" y="131"/>
                      </a:cubicBezTo>
                      <a:cubicBezTo>
                        <a:pt x="245" y="119"/>
                        <a:pt x="272" y="115"/>
                        <a:pt x="296" y="103"/>
                      </a:cubicBezTo>
                      <a:cubicBezTo>
                        <a:pt x="329" y="86"/>
                        <a:pt x="354" y="58"/>
                        <a:pt x="380" y="43"/>
                      </a:cubicBezTo>
                      <a:cubicBezTo>
                        <a:pt x="432" y="14"/>
                        <a:pt x="497" y="0"/>
                        <a:pt x="588" y="3"/>
                      </a:cubicBezTo>
                      <a:cubicBezTo>
                        <a:pt x="693" y="7"/>
                        <a:pt x="788" y="78"/>
                        <a:pt x="844" y="143"/>
                      </a:cubicBezTo>
                      <a:cubicBezTo>
                        <a:pt x="930" y="242"/>
                        <a:pt x="1012" y="387"/>
                        <a:pt x="1012" y="551"/>
                      </a:cubicBezTo>
                      <a:cubicBezTo>
                        <a:pt x="1012" y="598"/>
                        <a:pt x="1019" y="653"/>
                        <a:pt x="976" y="687"/>
                      </a:cubicBezTo>
                      <a:cubicBezTo>
                        <a:pt x="955" y="635"/>
                        <a:pt x="970" y="584"/>
                        <a:pt x="968" y="539"/>
                      </a:cubicBezTo>
                      <a:cubicBezTo>
                        <a:pt x="961" y="392"/>
                        <a:pt x="890" y="271"/>
                        <a:pt x="820" y="187"/>
                      </a:cubicBezTo>
                      <a:cubicBezTo>
                        <a:pt x="740" y="91"/>
                        <a:pt x="571" y="0"/>
                        <a:pt x="412" y="75"/>
                      </a:cubicBezTo>
                      <a:cubicBezTo>
                        <a:pt x="373" y="93"/>
                        <a:pt x="347" y="132"/>
                        <a:pt x="304" y="151"/>
                      </a:cubicBezTo>
                      <a:cubicBezTo>
                        <a:pt x="283" y="160"/>
                        <a:pt x="256" y="159"/>
                        <a:pt x="232" y="171"/>
                      </a:cubicBezTo>
                      <a:cubicBezTo>
                        <a:pt x="156" y="208"/>
                        <a:pt x="102" y="300"/>
                        <a:pt x="68" y="371"/>
                      </a:cubicBezTo>
                      <a:cubicBezTo>
                        <a:pt x="52" y="406"/>
                        <a:pt x="34" y="484"/>
                        <a:pt x="0" y="467"/>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41" name="Freeform 587"/>
                <p:cNvSpPr>
                  <a:spLocks/>
                </p:cNvSpPr>
                <p:nvPr/>
              </p:nvSpPr>
              <p:spPr bwMode="auto">
                <a:xfrm>
                  <a:off x="6752" y="1312"/>
                  <a:ext cx="258" cy="236"/>
                </a:xfrm>
                <a:custGeom>
                  <a:avLst/>
                  <a:gdLst>
                    <a:gd name="T0" fmla="*/ 109 w 109"/>
                    <a:gd name="T1" fmla="*/ 0 h 100"/>
                    <a:gd name="T2" fmla="*/ 1 w 109"/>
                    <a:gd name="T3" fmla="*/ 100 h 100"/>
                    <a:gd name="T4" fmla="*/ 109 w 109"/>
                    <a:gd name="T5" fmla="*/ 0 h 100"/>
                    <a:gd name="T6" fmla="*/ 0 60000 65536"/>
                    <a:gd name="T7" fmla="*/ 0 60000 65536"/>
                    <a:gd name="T8" fmla="*/ 0 60000 65536"/>
                    <a:gd name="T9" fmla="*/ 0 w 109"/>
                    <a:gd name="T10" fmla="*/ 0 h 100"/>
                    <a:gd name="T11" fmla="*/ 109 w 109"/>
                    <a:gd name="T12" fmla="*/ 100 h 100"/>
                  </a:gdLst>
                  <a:ahLst/>
                  <a:cxnLst>
                    <a:cxn ang="T6">
                      <a:pos x="T0" y="T1"/>
                    </a:cxn>
                    <a:cxn ang="T7">
                      <a:pos x="T2" y="T3"/>
                    </a:cxn>
                    <a:cxn ang="T8">
                      <a:pos x="T4" y="T5"/>
                    </a:cxn>
                  </a:cxnLst>
                  <a:rect l="T9" t="T10" r="T11" b="T12"/>
                  <a:pathLst>
                    <a:path w="109" h="100">
                      <a:moveTo>
                        <a:pt x="109" y="0"/>
                      </a:moveTo>
                      <a:cubicBezTo>
                        <a:pt x="102" y="62"/>
                        <a:pt x="47" y="77"/>
                        <a:pt x="1" y="100"/>
                      </a:cubicBezTo>
                      <a:cubicBezTo>
                        <a:pt x="0" y="45"/>
                        <a:pt x="52" y="10"/>
                        <a:pt x="109" y="0"/>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42" name="Freeform 588"/>
                <p:cNvSpPr>
                  <a:spLocks/>
                </p:cNvSpPr>
                <p:nvPr/>
              </p:nvSpPr>
              <p:spPr bwMode="auto">
                <a:xfrm>
                  <a:off x="6589" y="1432"/>
                  <a:ext cx="1970" cy="2488"/>
                </a:xfrm>
                <a:custGeom>
                  <a:avLst/>
                  <a:gdLst>
                    <a:gd name="T0" fmla="*/ 386 w 834"/>
                    <a:gd name="T1" fmla="*/ 105 h 1053"/>
                    <a:gd name="T2" fmla="*/ 470 w 834"/>
                    <a:gd name="T3" fmla="*/ 85 h 1053"/>
                    <a:gd name="T4" fmla="*/ 834 w 834"/>
                    <a:gd name="T5" fmla="*/ 397 h 1053"/>
                    <a:gd name="T6" fmla="*/ 830 w 834"/>
                    <a:gd name="T7" fmla="*/ 429 h 1053"/>
                    <a:gd name="T8" fmla="*/ 694 w 834"/>
                    <a:gd name="T9" fmla="*/ 869 h 1053"/>
                    <a:gd name="T10" fmla="*/ 542 w 834"/>
                    <a:gd name="T11" fmla="*/ 937 h 1053"/>
                    <a:gd name="T12" fmla="*/ 434 w 834"/>
                    <a:gd name="T13" fmla="*/ 1001 h 1053"/>
                    <a:gd name="T14" fmla="*/ 302 w 834"/>
                    <a:gd name="T15" fmla="*/ 1021 h 1053"/>
                    <a:gd name="T16" fmla="*/ 222 w 834"/>
                    <a:gd name="T17" fmla="*/ 1045 h 1053"/>
                    <a:gd name="T18" fmla="*/ 390 w 834"/>
                    <a:gd name="T19" fmla="*/ 965 h 1053"/>
                    <a:gd name="T20" fmla="*/ 690 w 834"/>
                    <a:gd name="T21" fmla="*/ 625 h 1053"/>
                    <a:gd name="T22" fmla="*/ 714 w 834"/>
                    <a:gd name="T23" fmla="*/ 521 h 1053"/>
                    <a:gd name="T24" fmla="*/ 722 w 834"/>
                    <a:gd name="T25" fmla="*/ 653 h 1053"/>
                    <a:gd name="T26" fmla="*/ 622 w 834"/>
                    <a:gd name="T27" fmla="*/ 861 h 1053"/>
                    <a:gd name="T28" fmla="*/ 766 w 834"/>
                    <a:gd name="T29" fmla="*/ 529 h 1053"/>
                    <a:gd name="T30" fmla="*/ 778 w 834"/>
                    <a:gd name="T31" fmla="*/ 361 h 1053"/>
                    <a:gd name="T32" fmla="*/ 522 w 834"/>
                    <a:gd name="T33" fmla="*/ 133 h 1053"/>
                    <a:gd name="T34" fmla="*/ 326 w 834"/>
                    <a:gd name="T35" fmla="*/ 205 h 1053"/>
                    <a:gd name="T36" fmla="*/ 202 w 834"/>
                    <a:gd name="T37" fmla="*/ 321 h 1053"/>
                    <a:gd name="T38" fmla="*/ 114 w 834"/>
                    <a:gd name="T39" fmla="*/ 505 h 1053"/>
                    <a:gd name="T40" fmla="*/ 18 w 834"/>
                    <a:gd name="T41" fmla="*/ 645 h 1053"/>
                    <a:gd name="T42" fmla="*/ 78 w 834"/>
                    <a:gd name="T43" fmla="*/ 477 h 1053"/>
                    <a:gd name="T44" fmla="*/ 150 w 834"/>
                    <a:gd name="T45" fmla="*/ 309 h 1053"/>
                    <a:gd name="T46" fmla="*/ 266 w 834"/>
                    <a:gd name="T47" fmla="*/ 185 h 1053"/>
                    <a:gd name="T48" fmla="*/ 502 w 834"/>
                    <a:gd name="T49" fmla="*/ 5 h 1053"/>
                    <a:gd name="T50" fmla="*/ 574 w 834"/>
                    <a:gd name="T51" fmla="*/ 25 h 1053"/>
                    <a:gd name="T52" fmla="*/ 470 w 834"/>
                    <a:gd name="T53" fmla="*/ 57 h 1053"/>
                    <a:gd name="T54" fmla="*/ 386 w 834"/>
                    <a:gd name="T55" fmla="*/ 105 h 10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34"/>
                    <a:gd name="T85" fmla="*/ 0 h 1053"/>
                    <a:gd name="T86" fmla="*/ 834 w 834"/>
                    <a:gd name="T87" fmla="*/ 1053 h 10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34" h="1053">
                      <a:moveTo>
                        <a:pt x="386" y="105"/>
                      </a:moveTo>
                      <a:cubicBezTo>
                        <a:pt x="419" y="107"/>
                        <a:pt x="441" y="88"/>
                        <a:pt x="470" y="85"/>
                      </a:cubicBezTo>
                      <a:cubicBezTo>
                        <a:pt x="658" y="63"/>
                        <a:pt x="834" y="235"/>
                        <a:pt x="834" y="397"/>
                      </a:cubicBezTo>
                      <a:cubicBezTo>
                        <a:pt x="834" y="407"/>
                        <a:pt x="832" y="420"/>
                        <a:pt x="830" y="429"/>
                      </a:cubicBezTo>
                      <a:cubicBezTo>
                        <a:pt x="792" y="614"/>
                        <a:pt x="805" y="765"/>
                        <a:pt x="694" y="869"/>
                      </a:cubicBezTo>
                      <a:cubicBezTo>
                        <a:pt x="652" y="909"/>
                        <a:pt x="601" y="916"/>
                        <a:pt x="542" y="937"/>
                      </a:cubicBezTo>
                      <a:cubicBezTo>
                        <a:pt x="502" y="951"/>
                        <a:pt x="477" y="984"/>
                        <a:pt x="434" y="1001"/>
                      </a:cubicBezTo>
                      <a:cubicBezTo>
                        <a:pt x="395" y="1017"/>
                        <a:pt x="348" y="1010"/>
                        <a:pt x="302" y="1021"/>
                      </a:cubicBezTo>
                      <a:cubicBezTo>
                        <a:pt x="278" y="1027"/>
                        <a:pt x="256" y="1053"/>
                        <a:pt x="222" y="1045"/>
                      </a:cubicBezTo>
                      <a:cubicBezTo>
                        <a:pt x="220" y="972"/>
                        <a:pt x="328" y="988"/>
                        <a:pt x="390" y="965"/>
                      </a:cubicBezTo>
                      <a:cubicBezTo>
                        <a:pt x="533" y="914"/>
                        <a:pt x="657" y="786"/>
                        <a:pt x="690" y="625"/>
                      </a:cubicBezTo>
                      <a:cubicBezTo>
                        <a:pt x="697" y="593"/>
                        <a:pt x="685" y="552"/>
                        <a:pt x="714" y="521"/>
                      </a:cubicBezTo>
                      <a:cubicBezTo>
                        <a:pt x="764" y="541"/>
                        <a:pt x="733" y="611"/>
                        <a:pt x="722" y="653"/>
                      </a:cubicBezTo>
                      <a:cubicBezTo>
                        <a:pt x="700" y="737"/>
                        <a:pt x="671" y="808"/>
                        <a:pt x="622" y="861"/>
                      </a:cubicBezTo>
                      <a:cubicBezTo>
                        <a:pt x="735" y="819"/>
                        <a:pt x="755" y="678"/>
                        <a:pt x="766" y="529"/>
                      </a:cubicBezTo>
                      <a:cubicBezTo>
                        <a:pt x="771" y="467"/>
                        <a:pt x="790" y="414"/>
                        <a:pt x="778" y="361"/>
                      </a:cubicBezTo>
                      <a:cubicBezTo>
                        <a:pt x="753" y="251"/>
                        <a:pt x="651" y="135"/>
                        <a:pt x="522" y="133"/>
                      </a:cubicBezTo>
                      <a:cubicBezTo>
                        <a:pt x="442" y="132"/>
                        <a:pt x="378" y="164"/>
                        <a:pt x="326" y="205"/>
                      </a:cubicBezTo>
                      <a:cubicBezTo>
                        <a:pt x="288" y="236"/>
                        <a:pt x="235" y="283"/>
                        <a:pt x="202" y="321"/>
                      </a:cubicBezTo>
                      <a:cubicBezTo>
                        <a:pt x="166" y="363"/>
                        <a:pt x="144" y="445"/>
                        <a:pt x="114" y="505"/>
                      </a:cubicBezTo>
                      <a:cubicBezTo>
                        <a:pt x="89" y="556"/>
                        <a:pt x="74" y="622"/>
                        <a:pt x="18" y="645"/>
                      </a:cubicBezTo>
                      <a:cubicBezTo>
                        <a:pt x="0" y="588"/>
                        <a:pt x="50" y="534"/>
                        <a:pt x="78" y="477"/>
                      </a:cubicBezTo>
                      <a:cubicBezTo>
                        <a:pt x="104" y="424"/>
                        <a:pt x="119" y="359"/>
                        <a:pt x="150" y="309"/>
                      </a:cubicBezTo>
                      <a:cubicBezTo>
                        <a:pt x="177" y="264"/>
                        <a:pt x="229" y="225"/>
                        <a:pt x="266" y="185"/>
                      </a:cubicBezTo>
                      <a:cubicBezTo>
                        <a:pt x="341" y="106"/>
                        <a:pt x="369" y="17"/>
                        <a:pt x="502" y="5"/>
                      </a:cubicBezTo>
                      <a:cubicBezTo>
                        <a:pt x="524" y="3"/>
                        <a:pt x="572" y="0"/>
                        <a:pt x="574" y="25"/>
                      </a:cubicBezTo>
                      <a:cubicBezTo>
                        <a:pt x="577" y="58"/>
                        <a:pt x="501" y="50"/>
                        <a:pt x="470" y="57"/>
                      </a:cubicBezTo>
                      <a:cubicBezTo>
                        <a:pt x="435" y="65"/>
                        <a:pt x="401" y="77"/>
                        <a:pt x="386" y="105"/>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43" name="Freeform 589"/>
                <p:cNvSpPr>
                  <a:spLocks/>
                </p:cNvSpPr>
                <p:nvPr/>
              </p:nvSpPr>
              <p:spPr bwMode="auto">
                <a:xfrm>
                  <a:off x="7983" y="1435"/>
                  <a:ext cx="817" cy="1455"/>
                </a:xfrm>
                <a:custGeom>
                  <a:avLst/>
                  <a:gdLst>
                    <a:gd name="T0" fmla="*/ 304 w 346"/>
                    <a:gd name="T1" fmla="*/ 616 h 616"/>
                    <a:gd name="T2" fmla="*/ 300 w 346"/>
                    <a:gd name="T3" fmla="*/ 464 h 616"/>
                    <a:gd name="T4" fmla="*/ 280 w 346"/>
                    <a:gd name="T5" fmla="*/ 412 h 616"/>
                    <a:gd name="T6" fmla="*/ 232 w 346"/>
                    <a:gd name="T7" fmla="*/ 260 h 616"/>
                    <a:gd name="T8" fmla="*/ 80 w 346"/>
                    <a:gd name="T9" fmla="*/ 92 h 616"/>
                    <a:gd name="T10" fmla="*/ 0 w 346"/>
                    <a:gd name="T11" fmla="*/ 32 h 616"/>
                    <a:gd name="T12" fmla="*/ 200 w 346"/>
                    <a:gd name="T13" fmla="*/ 132 h 616"/>
                    <a:gd name="T14" fmla="*/ 340 w 346"/>
                    <a:gd name="T15" fmla="*/ 448 h 616"/>
                    <a:gd name="T16" fmla="*/ 304 w 346"/>
                    <a:gd name="T17" fmla="*/ 616 h 6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6"/>
                    <a:gd name="T28" fmla="*/ 0 h 616"/>
                    <a:gd name="T29" fmla="*/ 346 w 346"/>
                    <a:gd name="T30" fmla="*/ 616 h 6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6" h="616">
                      <a:moveTo>
                        <a:pt x="304" y="616"/>
                      </a:moveTo>
                      <a:cubicBezTo>
                        <a:pt x="276" y="580"/>
                        <a:pt x="309" y="515"/>
                        <a:pt x="300" y="464"/>
                      </a:cubicBezTo>
                      <a:cubicBezTo>
                        <a:pt x="297" y="445"/>
                        <a:pt x="285" y="430"/>
                        <a:pt x="280" y="412"/>
                      </a:cubicBezTo>
                      <a:cubicBezTo>
                        <a:pt x="264" y="354"/>
                        <a:pt x="258" y="308"/>
                        <a:pt x="232" y="260"/>
                      </a:cubicBezTo>
                      <a:cubicBezTo>
                        <a:pt x="197" y="196"/>
                        <a:pt x="138" y="127"/>
                        <a:pt x="80" y="92"/>
                      </a:cubicBezTo>
                      <a:cubicBezTo>
                        <a:pt x="53" y="76"/>
                        <a:pt x="6" y="77"/>
                        <a:pt x="0" y="32"/>
                      </a:cubicBezTo>
                      <a:cubicBezTo>
                        <a:pt x="46" y="0"/>
                        <a:pt x="161" y="84"/>
                        <a:pt x="200" y="132"/>
                      </a:cubicBezTo>
                      <a:cubicBezTo>
                        <a:pt x="269" y="217"/>
                        <a:pt x="332" y="346"/>
                        <a:pt x="340" y="448"/>
                      </a:cubicBezTo>
                      <a:cubicBezTo>
                        <a:pt x="345" y="509"/>
                        <a:pt x="346" y="588"/>
                        <a:pt x="304" y="616"/>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44" name="Freeform 590"/>
                <p:cNvSpPr>
                  <a:spLocks/>
                </p:cNvSpPr>
                <p:nvPr/>
              </p:nvSpPr>
              <p:spPr bwMode="auto">
                <a:xfrm>
                  <a:off x="6585" y="1680"/>
                  <a:ext cx="663" cy="993"/>
                </a:xfrm>
                <a:custGeom>
                  <a:avLst/>
                  <a:gdLst>
                    <a:gd name="T0" fmla="*/ 276 w 281"/>
                    <a:gd name="T1" fmla="*/ 0 h 420"/>
                    <a:gd name="T2" fmla="*/ 184 w 281"/>
                    <a:gd name="T3" fmla="*/ 116 h 420"/>
                    <a:gd name="T4" fmla="*/ 100 w 281"/>
                    <a:gd name="T5" fmla="*/ 244 h 420"/>
                    <a:gd name="T6" fmla="*/ 8 w 281"/>
                    <a:gd name="T7" fmla="*/ 420 h 420"/>
                    <a:gd name="T8" fmla="*/ 48 w 281"/>
                    <a:gd name="T9" fmla="*/ 268 h 420"/>
                    <a:gd name="T10" fmla="*/ 108 w 281"/>
                    <a:gd name="T11" fmla="*/ 128 h 420"/>
                    <a:gd name="T12" fmla="*/ 268 w 281"/>
                    <a:gd name="T13" fmla="*/ 0 h 420"/>
                    <a:gd name="T14" fmla="*/ 276 w 281"/>
                    <a:gd name="T15" fmla="*/ 0 h 420"/>
                    <a:gd name="T16" fmla="*/ 0 60000 65536"/>
                    <a:gd name="T17" fmla="*/ 0 60000 65536"/>
                    <a:gd name="T18" fmla="*/ 0 60000 65536"/>
                    <a:gd name="T19" fmla="*/ 0 60000 65536"/>
                    <a:gd name="T20" fmla="*/ 0 60000 65536"/>
                    <a:gd name="T21" fmla="*/ 0 60000 65536"/>
                    <a:gd name="T22" fmla="*/ 0 60000 65536"/>
                    <a:gd name="T23" fmla="*/ 0 60000 65536"/>
                    <a:gd name="T24" fmla="*/ 0 w 281"/>
                    <a:gd name="T25" fmla="*/ 0 h 420"/>
                    <a:gd name="T26" fmla="*/ 281 w 281"/>
                    <a:gd name="T27" fmla="*/ 420 h 4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1" h="420">
                      <a:moveTo>
                        <a:pt x="276" y="0"/>
                      </a:moveTo>
                      <a:cubicBezTo>
                        <a:pt x="281" y="60"/>
                        <a:pt x="217" y="82"/>
                        <a:pt x="184" y="116"/>
                      </a:cubicBezTo>
                      <a:cubicBezTo>
                        <a:pt x="151" y="150"/>
                        <a:pt x="120" y="196"/>
                        <a:pt x="100" y="244"/>
                      </a:cubicBezTo>
                      <a:cubicBezTo>
                        <a:pt x="74" y="306"/>
                        <a:pt x="67" y="380"/>
                        <a:pt x="8" y="420"/>
                      </a:cubicBezTo>
                      <a:cubicBezTo>
                        <a:pt x="0" y="366"/>
                        <a:pt x="29" y="315"/>
                        <a:pt x="48" y="268"/>
                      </a:cubicBezTo>
                      <a:cubicBezTo>
                        <a:pt x="67" y="221"/>
                        <a:pt x="83" y="167"/>
                        <a:pt x="108" y="128"/>
                      </a:cubicBezTo>
                      <a:cubicBezTo>
                        <a:pt x="139" y="81"/>
                        <a:pt x="220" y="27"/>
                        <a:pt x="268" y="0"/>
                      </a:cubicBezTo>
                      <a:cubicBezTo>
                        <a:pt x="271" y="0"/>
                        <a:pt x="273" y="0"/>
                        <a:pt x="276" y="0"/>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45" name="Freeform 591"/>
                <p:cNvSpPr>
                  <a:spLocks/>
                </p:cNvSpPr>
                <p:nvPr/>
              </p:nvSpPr>
              <p:spPr bwMode="auto">
                <a:xfrm>
                  <a:off x="6792" y="1758"/>
                  <a:ext cx="1637" cy="1961"/>
                </a:xfrm>
                <a:custGeom>
                  <a:avLst/>
                  <a:gdLst>
                    <a:gd name="T0" fmla="*/ 632 w 693"/>
                    <a:gd name="T1" fmla="*/ 363 h 830"/>
                    <a:gd name="T2" fmla="*/ 444 w 693"/>
                    <a:gd name="T3" fmla="*/ 79 h 830"/>
                    <a:gd name="T4" fmla="*/ 260 w 693"/>
                    <a:gd name="T5" fmla="*/ 151 h 830"/>
                    <a:gd name="T6" fmla="*/ 232 w 693"/>
                    <a:gd name="T7" fmla="*/ 187 h 830"/>
                    <a:gd name="T8" fmla="*/ 168 w 693"/>
                    <a:gd name="T9" fmla="*/ 263 h 830"/>
                    <a:gd name="T10" fmla="*/ 524 w 693"/>
                    <a:gd name="T11" fmla="*/ 131 h 830"/>
                    <a:gd name="T12" fmla="*/ 544 w 693"/>
                    <a:gd name="T13" fmla="*/ 571 h 830"/>
                    <a:gd name="T14" fmla="*/ 376 w 693"/>
                    <a:gd name="T15" fmla="*/ 763 h 830"/>
                    <a:gd name="T16" fmla="*/ 304 w 693"/>
                    <a:gd name="T17" fmla="*/ 795 h 830"/>
                    <a:gd name="T18" fmla="*/ 236 w 693"/>
                    <a:gd name="T19" fmla="*/ 819 h 830"/>
                    <a:gd name="T20" fmla="*/ 384 w 693"/>
                    <a:gd name="T21" fmla="*/ 703 h 830"/>
                    <a:gd name="T22" fmla="*/ 528 w 693"/>
                    <a:gd name="T23" fmla="*/ 415 h 830"/>
                    <a:gd name="T24" fmla="*/ 520 w 693"/>
                    <a:gd name="T25" fmla="*/ 191 h 830"/>
                    <a:gd name="T26" fmla="*/ 340 w 693"/>
                    <a:gd name="T27" fmla="*/ 167 h 830"/>
                    <a:gd name="T28" fmla="*/ 260 w 693"/>
                    <a:gd name="T29" fmla="*/ 255 h 830"/>
                    <a:gd name="T30" fmla="*/ 200 w 693"/>
                    <a:gd name="T31" fmla="*/ 307 h 830"/>
                    <a:gd name="T32" fmla="*/ 184 w 693"/>
                    <a:gd name="T33" fmla="*/ 431 h 830"/>
                    <a:gd name="T34" fmla="*/ 116 w 693"/>
                    <a:gd name="T35" fmla="*/ 571 h 830"/>
                    <a:gd name="T36" fmla="*/ 0 w 693"/>
                    <a:gd name="T37" fmla="*/ 651 h 830"/>
                    <a:gd name="T38" fmla="*/ 84 w 693"/>
                    <a:gd name="T39" fmla="*/ 527 h 830"/>
                    <a:gd name="T40" fmla="*/ 124 w 693"/>
                    <a:gd name="T41" fmla="*/ 355 h 830"/>
                    <a:gd name="T42" fmla="*/ 124 w 693"/>
                    <a:gd name="T43" fmla="*/ 223 h 830"/>
                    <a:gd name="T44" fmla="*/ 248 w 693"/>
                    <a:gd name="T45" fmla="*/ 103 h 830"/>
                    <a:gd name="T46" fmla="*/ 644 w 693"/>
                    <a:gd name="T47" fmla="*/ 171 h 830"/>
                    <a:gd name="T48" fmla="*/ 632 w 693"/>
                    <a:gd name="T49" fmla="*/ 363 h 8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93"/>
                    <a:gd name="T76" fmla="*/ 0 h 830"/>
                    <a:gd name="T77" fmla="*/ 693 w 693"/>
                    <a:gd name="T78" fmla="*/ 830 h 8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93" h="830">
                      <a:moveTo>
                        <a:pt x="632" y="363"/>
                      </a:moveTo>
                      <a:cubicBezTo>
                        <a:pt x="628" y="214"/>
                        <a:pt x="580" y="83"/>
                        <a:pt x="444" y="79"/>
                      </a:cubicBezTo>
                      <a:cubicBezTo>
                        <a:pt x="376" y="77"/>
                        <a:pt x="304" y="110"/>
                        <a:pt x="260" y="151"/>
                      </a:cubicBezTo>
                      <a:cubicBezTo>
                        <a:pt x="249" y="161"/>
                        <a:pt x="244" y="175"/>
                        <a:pt x="232" y="187"/>
                      </a:cubicBezTo>
                      <a:cubicBezTo>
                        <a:pt x="209" y="209"/>
                        <a:pt x="160" y="222"/>
                        <a:pt x="168" y="263"/>
                      </a:cubicBezTo>
                      <a:cubicBezTo>
                        <a:pt x="253" y="221"/>
                        <a:pt x="372" y="31"/>
                        <a:pt x="524" y="131"/>
                      </a:cubicBezTo>
                      <a:cubicBezTo>
                        <a:pt x="621" y="195"/>
                        <a:pt x="594" y="461"/>
                        <a:pt x="544" y="571"/>
                      </a:cubicBezTo>
                      <a:cubicBezTo>
                        <a:pt x="509" y="649"/>
                        <a:pt x="440" y="726"/>
                        <a:pt x="376" y="763"/>
                      </a:cubicBezTo>
                      <a:cubicBezTo>
                        <a:pt x="354" y="776"/>
                        <a:pt x="327" y="783"/>
                        <a:pt x="304" y="795"/>
                      </a:cubicBezTo>
                      <a:cubicBezTo>
                        <a:pt x="283" y="806"/>
                        <a:pt x="262" y="830"/>
                        <a:pt x="236" y="819"/>
                      </a:cubicBezTo>
                      <a:cubicBezTo>
                        <a:pt x="260" y="744"/>
                        <a:pt x="331" y="743"/>
                        <a:pt x="384" y="703"/>
                      </a:cubicBezTo>
                      <a:cubicBezTo>
                        <a:pt x="465" y="641"/>
                        <a:pt x="514" y="548"/>
                        <a:pt x="528" y="415"/>
                      </a:cubicBezTo>
                      <a:cubicBezTo>
                        <a:pt x="536" y="339"/>
                        <a:pt x="562" y="251"/>
                        <a:pt x="520" y="191"/>
                      </a:cubicBezTo>
                      <a:cubicBezTo>
                        <a:pt x="484" y="140"/>
                        <a:pt x="396" y="135"/>
                        <a:pt x="340" y="167"/>
                      </a:cubicBezTo>
                      <a:cubicBezTo>
                        <a:pt x="309" y="184"/>
                        <a:pt x="293" y="221"/>
                        <a:pt x="260" y="255"/>
                      </a:cubicBezTo>
                      <a:cubicBezTo>
                        <a:pt x="243" y="273"/>
                        <a:pt x="213" y="285"/>
                        <a:pt x="200" y="307"/>
                      </a:cubicBezTo>
                      <a:cubicBezTo>
                        <a:pt x="179" y="343"/>
                        <a:pt x="192" y="380"/>
                        <a:pt x="184" y="431"/>
                      </a:cubicBezTo>
                      <a:cubicBezTo>
                        <a:pt x="177" y="476"/>
                        <a:pt x="142" y="534"/>
                        <a:pt x="116" y="571"/>
                      </a:cubicBezTo>
                      <a:cubicBezTo>
                        <a:pt x="90" y="608"/>
                        <a:pt x="55" y="652"/>
                        <a:pt x="0" y="651"/>
                      </a:cubicBezTo>
                      <a:cubicBezTo>
                        <a:pt x="5" y="592"/>
                        <a:pt x="59" y="569"/>
                        <a:pt x="84" y="527"/>
                      </a:cubicBezTo>
                      <a:cubicBezTo>
                        <a:pt x="107" y="489"/>
                        <a:pt x="132" y="426"/>
                        <a:pt x="124" y="355"/>
                      </a:cubicBezTo>
                      <a:cubicBezTo>
                        <a:pt x="119" y="309"/>
                        <a:pt x="103" y="267"/>
                        <a:pt x="124" y="223"/>
                      </a:cubicBezTo>
                      <a:cubicBezTo>
                        <a:pt x="145" y="180"/>
                        <a:pt x="204" y="139"/>
                        <a:pt x="248" y="103"/>
                      </a:cubicBezTo>
                      <a:cubicBezTo>
                        <a:pt x="376" y="0"/>
                        <a:pt x="568" y="10"/>
                        <a:pt x="644" y="171"/>
                      </a:cubicBezTo>
                      <a:cubicBezTo>
                        <a:pt x="664" y="213"/>
                        <a:pt x="693" y="346"/>
                        <a:pt x="632" y="363"/>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46" name="Freeform 592"/>
                <p:cNvSpPr>
                  <a:spLocks/>
                </p:cNvSpPr>
                <p:nvPr/>
              </p:nvSpPr>
              <p:spPr bwMode="auto">
                <a:xfrm>
                  <a:off x="7744" y="2099"/>
                  <a:ext cx="307" cy="214"/>
                </a:xfrm>
                <a:custGeom>
                  <a:avLst/>
                  <a:gdLst>
                    <a:gd name="T0" fmla="*/ 101 w 130"/>
                    <a:gd name="T1" fmla="*/ 91 h 91"/>
                    <a:gd name="T2" fmla="*/ 17 w 130"/>
                    <a:gd name="T3" fmla="*/ 67 h 91"/>
                    <a:gd name="T4" fmla="*/ 101 w 130"/>
                    <a:gd name="T5" fmla="*/ 91 h 91"/>
                    <a:gd name="T6" fmla="*/ 0 60000 65536"/>
                    <a:gd name="T7" fmla="*/ 0 60000 65536"/>
                    <a:gd name="T8" fmla="*/ 0 60000 65536"/>
                    <a:gd name="T9" fmla="*/ 0 w 130"/>
                    <a:gd name="T10" fmla="*/ 0 h 91"/>
                    <a:gd name="T11" fmla="*/ 130 w 130"/>
                    <a:gd name="T12" fmla="*/ 91 h 91"/>
                  </a:gdLst>
                  <a:ahLst/>
                  <a:cxnLst>
                    <a:cxn ang="T6">
                      <a:pos x="T0" y="T1"/>
                    </a:cxn>
                    <a:cxn ang="T7">
                      <a:pos x="T2" y="T3"/>
                    </a:cxn>
                    <a:cxn ang="T8">
                      <a:pos x="T4" y="T5"/>
                    </a:cxn>
                  </a:cxnLst>
                  <a:rect l="T9" t="T10" r="T11" b="T12"/>
                  <a:pathLst>
                    <a:path w="130" h="91">
                      <a:moveTo>
                        <a:pt x="101" y="91"/>
                      </a:moveTo>
                      <a:cubicBezTo>
                        <a:pt x="75" y="81"/>
                        <a:pt x="51" y="69"/>
                        <a:pt x="17" y="67"/>
                      </a:cubicBezTo>
                      <a:cubicBezTo>
                        <a:pt x="0" y="0"/>
                        <a:pt x="130" y="39"/>
                        <a:pt x="101" y="91"/>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47" name="Freeform 593"/>
                <p:cNvSpPr>
                  <a:spLocks/>
                </p:cNvSpPr>
                <p:nvPr/>
              </p:nvSpPr>
              <p:spPr bwMode="auto">
                <a:xfrm>
                  <a:off x="7222" y="2108"/>
                  <a:ext cx="529" cy="621"/>
                </a:xfrm>
                <a:custGeom>
                  <a:avLst/>
                  <a:gdLst>
                    <a:gd name="T0" fmla="*/ 222 w 224"/>
                    <a:gd name="T1" fmla="*/ 47 h 263"/>
                    <a:gd name="T2" fmla="*/ 182 w 224"/>
                    <a:gd name="T3" fmla="*/ 79 h 263"/>
                    <a:gd name="T4" fmla="*/ 86 w 224"/>
                    <a:gd name="T5" fmla="*/ 179 h 263"/>
                    <a:gd name="T6" fmla="*/ 34 w 224"/>
                    <a:gd name="T7" fmla="*/ 263 h 263"/>
                    <a:gd name="T8" fmla="*/ 118 w 224"/>
                    <a:gd name="T9" fmla="*/ 91 h 263"/>
                    <a:gd name="T10" fmla="*/ 222 w 224"/>
                    <a:gd name="T11" fmla="*/ 47 h 263"/>
                    <a:gd name="T12" fmla="*/ 0 60000 65536"/>
                    <a:gd name="T13" fmla="*/ 0 60000 65536"/>
                    <a:gd name="T14" fmla="*/ 0 60000 65536"/>
                    <a:gd name="T15" fmla="*/ 0 60000 65536"/>
                    <a:gd name="T16" fmla="*/ 0 60000 65536"/>
                    <a:gd name="T17" fmla="*/ 0 60000 65536"/>
                    <a:gd name="T18" fmla="*/ 0 w 224"/>
                    <a:gd name="T19" fmla="*/ 0 h 263"/>
                    <a:gd name="T20" fmla="*/ 224 w 224"/>
                    <a:gd name="T21" fmla="*/ 263 h 263"/>
                  </a:gdLst>
                  <a:ahLst/>
                  <a:cxnLst>
                    <a:cxn ang="T12">
                      <a:pos x="T0" y="T1"/>
                    </a:cxn>
                    <a:cxn ang="T13">
                      <a:pos x="T2" y="T3"/>
                    </a:cxn>
                    <a:cxn ang="T14">
                      <a:pos x="T4" y="T5"/>
                    </a:cxn>
                    <a:cxn ang="T15">
                      <a:pos x="T6" y="T7"/>
                    </a:cxn>
                    <a:cxn ang="T16">
                      <a:pos x="T8" y="T9"/>
                    </a:cxn>
                    <a:cxn ang="T17">
                      <a:pos x="T10" y="T11"/>
                    </a:cxn>
                  </a:cxnLst>
                  <a:rect l="T18" t="T19" r="T20" b="T21"/>
                  <a:pathLst>
                    <a:path w="224" h="263">
                      <a:moveTo>
                        <a:pt x="222" y="47"/>
                      </a:moveTo>
                      <a:cubicBezTo>
                        <a:pt x="224" y="73"/>
                        <a:pt x="195" y="68"/>
                        <a:pt x="182" y="79"/>
                      </a:cubicBezTo>
                      <a:cubicBezTo>
                        <a:pt x="162" y="122"/>
                        <a:pt x="115" y="143"/>
                        <a:pt x="86" y="179"/>
                      </a:cubicBezTo>
                      <a:cubicBezTo>
                        <a:pt x="65" y="205"/>
                        <a:pt x="68" y="245"/>
                        <a:pt x="34" y="263"/>
                      </a:cubicBezTo>
                      <a:cubicBezTo>
                        <a:pt x="0" y="195"/>
                        <a:pt x="79" y="136"/>
                        <a:pt x="118" y="91"/>
                      </a:cubicBezTo>
                      <a:cubicBezTo>
                        <a:pt x="141" y="65"/>
                        <a:pt x="176" y="0"/>
                        <a:pt x="222" y="47"/>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48" name="Freeform 594"/>
                <p:cNvSpPr>
                  <a:spLocks/>
                </p:cNvSpPr>
                <p:nvPr/>
              </p:nvSpPr>
              <p:spPr bwMode="auto">
                <a:xfrm>
                  <a:off x="6868" y="2271"/>
                  <a:ext cx="1139" cy="1498"/>
                </a:xfrm>
                <a:custGeom>
                  <a:avLst/>
                  <a:gdLst>
                    <a:gd name="T0" fmla="*/ 52 w 482"/>
                    <a:gd name="T1" fmla="*/ 614 h 634"/>
                    <a:gd name="T2" fmla="*/ 120 w 482"/>
                    <a:gd name="T3" fmla="*/ 562 h 634"/>
                    <a:gd name="T4" fmla="*/ 236 w 482"/>
                    <a:gd name="T5" fmla="*/ 454 h 634"/>
                    <a:gd name="T6" fmla="*/ 300 w 482"/>
                    <a:gd name="T7" fmla="*/ 430 h 634"/>
                    <a:gd name="T8" fmla="*/ 432 w 482"/>
                    <a:gd name="T9" fmla="*/ 206 h 634"/>
                    <a:gd name="T10" fmla="*/ 428 w 482"/>
                    <a:gd name="T11" fmla="*/ 162 h 634"/>
                    <a:gd name="T12" fmla="*/ 400 w 482"/>
                    <a:gd name="T13" fmla="*/ 58 h 634"/>
                    <a:gd name="T14" fmla="*/ 332 w 482"/>
                    <a:gd name="T15" fmla="*/ 130 h 634"/>
                    <a:gd name="T16" fmla="*/ 64 w 482"/>
                    <a:gd name="T17" fmla="*/ 490 h 634"/>
                    <a:gd name="T18" fmla="*/ 0 w 482"/>
                    <a:gd name="T19" fmla="*/ 506 h 634"/>
                    <a:gd name="T20" fmla="*/ 76 w 482"/>
                    <a:gd name="T21" fmla="*/ 426 h 634"/>
                    <a:gd name="T22" fmla="*/ 240 w 482"/>
                    <a:gd name="T23" fmla="*/ 146 h 634"/>
                    <a:gd name="T24" fmla="*/ 292 w 482"/>
                    <a:gd name="T25" fmla="*/ 102 h 634"/>
                    <a:gd name="T26" fmla="*/ 340 w 482"/>
                    <a:gd name="T27" fmla="*/ 38 h 634"/>
                    <a:gd name="T28" fmla="*/ 480 w 482"/>
                    <a:gd name="T29" fmla="*/ 90 h 634"/>
                    <a:gd name="T30" fmla="*/ 468 w 482"/>
                    <a:gd name="T31" fmla="*/ 166 h 634"/>
                    <a:gd name="T32" fmla="*/ 468 w 482"/>
                    <a:gd name="T33" fmla="*/ 250 h 634"/>
                    <a:gd name="T34" fmla="*/ 356 w 482"/>
                    <a:gd name="T35" fmla="*/ 450 h 634"/>
                    <a:gd name="T36" fmla="*/ 264 w 482"/>
                    <a:gd name="T37" fmla="*/ 494 h 634"/>
                    <a:gd name="T38" fmla="*/ 52 w 482"/>
                    <a:gd name="T39" fmla="*/ 614 h 63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2"/>
                    <a:gd name="T61" fmla="*/ 0 h 634"/>
                    <a:gd name="T62" fmla="*/ 482 w 482"/>
                    <a:gd name="T63" fmla="*/ 634 h 63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2" h="634">
                      <a:moveTo>
                        <a:pt x="52" y="614"/>
                      </a:moveTo>
                      <a:cubicBezTo>
                        <a:pt x="63" y="583"/>
                        <a:pt x="91" y="582"/>
                        <a:pt x="120" y="562"/>
                      </a:cubicBezTo>
                      <a:cubicBezTo>
                        <a:pt x="162" y="533"/>
                        <a:pt x="194" y="478"/>
                        <a:pt x="236" y="454"/>
                      </a:cubicBezTo>
                      <a:cubicBezTo>
                        <a:pt x="255" y="443"/>
                        <a:pt x="279" y="442"/>
                        <a:pt x="300" y="430"/>
                      </a:cubicBezTo>
                      <a:cubicBezTo>
                        <a:pt x="368" y="392"/>
                        <a:pt x="428" y="289"/>
                        <a:pt x="432" y="206"/>
                      </a:cubicBezTo>
                      <a:cubicBezTo>
                        <a:pt x="433" y="191"/>
                        <a:pt x="427" y="176"/>
                        <a:pt x="428" y="162"/>
                      </a:cubicBezTo>
                      <a:cubicBezTo>
                        <a:pt x="430" y="121"/>
                        <a:pt x="449" y="65"/>
                        <a:pt x="400" y="58"/>
                      </a:cubicBezTo>
                      <a:cubicBezTo>
                        <a:pt x="355" y="51"/>
                        <a:pt x="343" y="93"/>
                        <a:pt x="332" y="130"/>
                      </a:cubicBezTo>
                      <a:cubicBezTo>
                        <a:pt x="229" y="219"/>
                        <a:pt x="186" y="413"/>
                        <a:pt x="64" y="490"/>
                      </a:cubicBezTo>
                      <a:cubicBezTo>
                        <a:pt x="48" y="500"/>
                        <a:pt x="23" y="512"/>
                        <a:pt x="0" y="506"/>
                      </a:cubicBezTo>
                      <a:cubicBezTo>
                        <a:pt x="0" y="456"/>
                        <a:pt x="46" y="452"/>
                        <a:pt x="76" y="426"/>
                      </a:cubicBezTo>
                      <a:cubicBezTo>
                        <a:pt x="154" y="358"/>
                        <a:pt x="171" y="230"/>
                        <a:pt x="240" y="146"/>
                      </a:cubicBezTo>
                      <a:cubicBezTo>
                        <a:pt x="253" y="131"/>
                        <a:pt x="276" y="120"/>
                        <a:pt x="292" y="102"/>
                      </a:cubicBezTo>
                      <a:cubicBezTo>
                        <a:pt x="311" y="81"/>
                        <a:pt x="322" y="51"/>
                        <a:pt x="340" y="38"/>
                      </a:cubicBezTo>
                      <a:cubicBezTo>
                        <a:pt x="395" y="0"/>
                        <a:pt x="476" y="32"/>
                        <a:pt x="480" y="90"/>
                      </a:cubicBezTo>
                      <a:cubicBezTo>
                        <a:pt x="482" y="116"/>
                        <a:pt x="470" y="144"/>
                        <a:pt x="468" y="166"/>
                      </a:cubicBezTo>
                      <a:cubicBezTo>
                        <a:pt x="466" y="195"/>
                        <a:pt x="471" y="223"/>
                        <a:pt x="468" y="250"/>
                      </a:cubicBezTo>
                      <a:cubicBezTo>
                        <a:pt x="459" y="329"/>
                        <a:pt x="412" y="407"/>
                        <a:pt x="356" y="450"/>
                      </a:cubicBezTo>
                      <a:cubicBezTo>
                        <a:pt x="330" y="470"/>
                        <a:pt x="294" y="476"/>
                        <a:pt x="264" y="494"/>
                      </a:cubicBezTo>
                      <a:cubicBezTo>
                        <a:pt x="198" y="533"/>
                        <a:pt x="151" y="634"/>
                        <a:pt x="52" y="614"/>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49" name="Freeform 595"/>
                <p:cNvSpPr>
                  <a:spLocks noEditPoints="1"/>
                </p:cNvSpPr>
                <p:nvPr/>
              </p:nvSpPr>
              <p:spPr bwMode="auto">
                <a:xfrm>
                  <a:off x="6896" y="2465"/>
                  <a:ext cx="983" cy="1207"/>
                </a:xfrm>
                <a:custGeom>
                  <a:avLst/>
                  <a:gdLst>
                    <a:gd name="T0" fmla="*/ 388 w 416"/>
                    <a:gd name="T1" fmla="*/ 0 h 511"/>
                    <a:gd name="T2" fmla="*/ 380 w 416"/>
                    <a:gd name="T3" fmla="*/ 76 h 511"/>
                    <a:gd name="T4" fmla="*/ 308 w 416"/>
                    <a:gd name="T5" fmla="*/ 296 h 511"/>
                    <a:gd name="T6" fmla="*/ 160 w 416"/>
                    <a:gd name="T7" fmla="*/ 392 h 511"/>
                    <a:gd name="T8" fmla="*/ 0 w 416"/>
                    <a:gd name="T9" fmla="*/ 476 h 511"/>
                    <a:gd name="T10" fmla="*/ 76 w 416"/>
                    <a:gd name="T11" fmla="*/ 420 h 511"/>
                    <a:gd name="T12" fmla="*/ 208 w 416"/>
                    <a:gd name="T13" fmla="*/ 276 h 511"/>
                    <a:gd name="T14" fmla="*/ 344 w 416"/>
                    <a:gd name="T15" fmla="*/ 60 h 511"/>
                    <a:gd name="T16" fmla="*/ 380 w 416"/>
                    <a:gd name="T17" fmla="*/ 0 h 511"/>
                    <a:gd name="T18" fmla="*/ 388 w 416"/>
                    <a:gd name="T19" fmla="*/ 0 h 511"/>
                    <a:gd name="T20" fmla="*/ 260 w 416"/>
                    <a:gd name="T21" fmla="*/ 264 h 511"/>
                    <a:gd name="T22" fmla="*/ 344 w 416"/>
                    <a:gd name="T23" fmla="*/ 120 h 511"/>
                    <a:gd name="T24" fmla="*/ 332 w 416"/>
                    <a:gd name="T25" fmla="*/ 116 h 511"/>
                    <a:gd name="T26" fmla="*/ 260 w 416"/>
                    <a:gd name="T27" fmla="*/ 264 h 5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16"/>
                    <a:gd name="T43" fmla="*/ 0 h 511"/>
                    <a:gd name="T44" fmla="*/ 416 w 416"/>
                    <a:gd name="T45" fmla="*/ 511 h 5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16" h="511">
                      <a:moveTo>
                        <a:pt x="388" y="0"/>
                      </a:moveTo>
                      <a:cubicBezTo>
                        <a:pt x="408" y="22"/>
                        <a:pt x="388" y="57"/>
                        <a:pt x="380" y="76"/>
                      </a:cubicBezTo>
                      <a:cubicBezTo>
                        <a:pt x="416" y="121"/>
                        <a:pt x="361" y="271"/>
                        <a:pt x="308" y="296"/>
                      </a:cubicBezTo>
                      <a:cubicBezTo>
                        <a:pt x="246" y="325"/>
                        <a:pt x="203" y="342"/>
                        <a:pt x="160" y="392"/>
                      </a:cubicBezTo>
                      <a:cubicBezTo>
                        <a:pt x="130" y="426"/>
                        <a:pt x="60" y="511"/>
                        <a:pt x="0" y="476"/>
                      </a:cubicBezTo>
                      <a:cubicBezTo>
                        <a:pt x="17" y="440"/>
                        <a:pt x="50" y="439"/>
                        <a:pt x="76" y="420"/>
                      </a:cubicBezTo>
                      <a:cubicBezTo>
                        <a:pt x="106" y="399"/>
                        <a:pt x="194" y="313"/>
                        <a:pt x="208" y="276"/>
                      </a:cubicBezTo>
                      <a:cubicBezTo>
                        <a:pt x="239" y="199"/>
                        <a:pt x="278" y="107"/>
                        <a:pt x="344" y="60"/>
                      </a:cubicBezTo>
                      <a:cubicBezTo>
                        <a:pt x="351" y="35"/>
                        <a:pt x="355" y="6"/>
                        <a:pt x="380" y="0"/>
                      </a:cubicBezTo>
                      <a:cubicBezTo>
                        <a:pt x="383" y="0"/>
                        <a:pt x="385" y="0"/>
                        <a:pt x="388" y="0"/>
                      </a:cubicBezTo>
                      <a:close/>
                      <a:moveTo>
                        <a:pt x="260" y="264"/>
                      </a:moveTo>
                      <a:cubicBezTo>
                        <a:pt x="312" y="258"/>
                        <a:pt x="349" y="183"/>
                        <a:pt x="344" y="120"/>
                      </a:cubicBezTo>
                      <a:cubicBezTo>
                        <a:pt x="339" y="120"/>
                        <a:pt x="339" y="115"/>
                        <a:pt x="332" y="116"/>
                      </a:cubicBezTo>
                      <a:cubicBezTo>
                        <a:pt x="312" y="169"/>
                        <a:pt x="283" y="213"/>
                        <a:pt x="260" y="264"/>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50" name="Freeform 596"/>
                <p:cNvSpPr>
                  <a:spLocks/>
                </p:cNvSpPr>
                <p:nvPr/>
              </p:nvSpPr>
              <p:spPr bwMode="auto">
                <a:xfrm>
                  <a:off x="8514" y="2502"/>
                  <a:ext cx="163" cy="350"/>
                </a:xfrm>
                <a:custGeom>
                  <a:avLst/>
                  <a:gdLst>
                    <a:gd name="T0" fmla="*/ 39 w 69"/>
                    <a:gd name="T1" fmla="*/ 0 h 148"/>
                    <a:gd name="T2" fmla="*/ 15 w 69"/>
                    <a:gd name="T3" fmla="*/ 148 h 148"/>
                    <a:gd name="T4" fmla="*/ 39 w 69"/>
                    <a:gd name="T5" fmla="*/ 0 h 148"/>
                    <a:gd name="T6" fmla="*/ 0 60000 65536"/>
                    <a:gd name="T7" fmla="*/ 0 60000 65536"/>
                    <a:gd name="T8" fmla="*/ 0 60000 65536"/>
                    <a:gd name="T9" fmla="*/ 0 w 69"/>
                    <a:gd name="T10" fmla="*/ 0 h 148"/>
                    <a:gd name="T11" fmla="*/ 69 w 69"/>
                    <a:gd name="T12" fmla="*/ 148 h 148"/>
                  </a:gdLst>
                  <a:ahLst/>
                  <a:cxnLst>
                    <a:cxn ang="T6">
                      <a:pos x="T0" y="T1"/>
                    </a:cxn>
                    <a:cxn ang="T7">
                      <a:pos x="T2" y="T3"/>
                    </a:cxn>
                    <a:cxn ang="T8">
                      <a:pos x="T4" y="T5"/>
                    </a:cxn>
                  </a:cxnLst>
                  <a:rect l="T9" t="T10" r="T11" b="T12"/>
                  <a:pathLst>
                    <a:path w="69" h="148">
                      <a:moveTo>
                        <a:pt x="39" y="0"/>
                      </a:moveTo>
                      <a:cubicBezTo>
                        <a:pt x="69" y="30"/>
                        <a:pt x="53" y="134"/>
                        <a:pt x="15" y="148"/>
                      </a:cubicBezTo>
                      <a:cubicBezTo>
                        <a:pt x="13" y="103"/>
                        <a:pt x="0" y="16"/>
                        <a:pt x="39" y="0"/>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51" name="Freeform 597"/>
                <p:cNvSpPr>
                  <a:spLocks/>
                </p:cNvSpPr>
                <p:nvPr/>
              </p:nvSpPr>
              <p:spPr bwMode="auto">
                <a:xfrm>
                  <a:off x="6670" y="2538"/>
                  <a:ext cx="375" cy="616"/>
                </a:xfrm>
                <a:custGeom>
                  <a:avLst/>
                  <a:gdLst>
                    <a:gd name="T0" fmla="*/ 140 w 159"/>
                    <a:gd name="T1" fmla="*/ 5 h 261"/>
                    <a:gd name="T2" fmla="*/ 112 w 159"/>
                    <a:gd name="T3" fmla="*/ 157 h 261"/>
                    <a:gd name="T4" fmla="*/ 20 w 159"/>
                    <a:gd name="T5" fmla="*/ 261 h 261"/>
                    <a:gd name="T6" fmla="*/ 120 w 159"/>
                    <a:gd name="T7" fmla="*/ 13 h 261"/>
                    <a:gd name="T8" fmla="*/ 128 w 159"/>
                    <a:gd name="T9" fmla="*/ 1 h 261"/>
                    <a:gd name="T10" fmla="*/ 140 w 159"/>
                    <a:gd name="T11" fmla="*/ 5 h 261"/>
                    <a:gd name="T12" fmla="*/ 0 60000 65536"/>
                    <a:gd name="T13" fmla="*/ 0 60000 65536"/>
                    <a:gd name="T14" fmla="*/ 0 60000 65536"/>
                    <a:gd name="T15" fmla="*/ 0 60000 65536"/>
                    <a:gd name="T16" fmla="*/ 0 60000 65536"/>
                    <a:gd name="T17" fmla="*/ 0 60000 65536"/>
                    <a:gd name="T18" fmla="*/ 0 w 159"/>
                    <a:gd name="T19" fmla="*/ 0 h 261"/>
                    <a:gd name="T20" fmla="*/ 159 w 159"/>
                    <a:gd name="T21" fmla="*/ 261 h 261"/>
                  </a:gdLst>
                  <a:ahLst/>
                  <a:cxnLst>
                    <a:cxn ang="T12">
                      <a:pos x="T0" y="T1"/>
                    </a:cxn>
                    <a:cxn ang="T13">
                      <a:pos x="T2" y="T3"/>
                    </a:cxn>
                    <a:cxn ang="T14">
                      <a:pos x="T4" y="T5"/>
                    </a:cxn>
                    <a:cxn ang="T15">
                      <a:pos x="T6" y="T7"/>
                    </a:cxn>
                    <a:cxn ang="T16">
                      <a:pos x="T8" y="T9"/>
                    </a:cxn>
                    <a:cxn ang="T17">
                      <a:pos x="T10" y="T11"/>
                    </a:cxn>
                  </a:cxnLst>
                  <a:rect l="T18" t="T19" r="T20" b="T21"/>
                  <a:pathLst>
                    <a:path w="159" h="261">
                      <a:moveTo>
                        <a:pt x="140" y="5"/>
                      </a:moveTo>
                      <a:cubicBezTo>
                        <a:pt x="159" y="62"/>
                        <a:pt x="137" y="118"/>
                        <a:pt x="112" y="157"/>
                      </a:cubicBezTo>
                      <a:cubicBezTo>
                        <a:pt x="87" y="195"/>
                        <a:pt x="54" y="238"/>
                        <a:pt x="20" y="261"/>
                      </a:cubicBezTo>
                      <a:cubicBezTo>
                        <a:pt x="0" y="156"/>
                        <a:pt x="106" y="110"/>
                        <a:pt x="120" y="13"/>
                      </a:cubicBezTo>
                      <a:cubicBezTo>
                        <a:pt x="122" y="8"/>
                        <a:pt x="127" y="7"/>
                        <a:pt x="128" y="1"/>
                      </a:cubicBezTo>
                      <a:cubicBezTo>
                        <a:pt x="135" y="0"/>
                        <a:pt x="135" y="5"/>
                        <a:pt x="140" y="5"/>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52" name="Freeform 598"/>
                <p:cNvSpPr>
                  <a:spLocks/>
                </p:cNvSpPr>
                <p:nvPr/>
              </p:nvSpPr>
              <p:spPr bwMode="auto">
                <a:xfrm>
                  <a:off x="7425" y="2937"/>
                  <a:ext cx="1198" cy="1210"/>
                </a:xfrm>
                <a:custGeom>
                  <a:avLst/>
                  <a:gdLst>
                    <a:gd name="T0" fmla="*/ 492 w 507"/>
                    <a:gd name="T1" fmla="*/ 0 h 512"/>
                    <a:gd name="T2" fmla="*/ 444 w 507"/>
                    <a:gd name="T3" fmla="*/ 188 h 512"/>
                    <a:gd name="T4" fmla="*/ 328 w 507"/>
                    <a:gd name="T5" fmla="*/ 324 h 512"/>
                    <a:gd name="T6" fmla="*/ 160 w 507"/>
                    <a:gd name="T7" fmla="*/ 396 h 512"/>
                    <a:gd name="T8" fmla="*/ 316 w 507"/>
                    <a:gd name="T9" fmla="*/ 360 h 512"/>
                    <a:gd name="T10" fmla="*/ 124 w 507"/>
                    <a:gd name="T11" fmla="*/ 444 h 512"/>
                    <a:gd name="T12" fmla="*/ 0 w 507"/>
                    <a:gd name="T13" fmla="*/ 496 h 512"/>
                    <a:gd name="T14" fmla="*/ 56 w 507"/>
                    <a:gd name="T15" fmla="*/ 444 h 512"/>
                    <a:gd name="T16" fmla="*/ 136 w 507"/>
                    <a:gd name="T17" fmla="*/ 356 h 512"/>
                    <a:gd name="T18" fmla="*/ 332 w 507"/>
                    <a:gd name="T19" fmla="*/ 272 h 512"/>
                    <a:gd name="T20" fmla="*/ 472 w 507"/>
                    <a:gd name="T21" fmla="*/ 16 h 512"/>
                    <a:gd name="T22" fmla="*/ 480 w 507"/>
                    <a:gd name="T23" fmla="*/ 0 h 512"/>
                    <a:gd name="T24" fmla="*/ 492 w 507"/>
                    <a:gd name="T25" fmla="*/ 0 h 5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7"/>
                    <a:gd name="T40" fmla="*/ 0 h 512"/>
                    <a:gd name="T41" fmla="*/ 507 w 507"/>
                    <a:gd name="T42" fmla="*/ 512 h 5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7" h="512">
                      <a:moveTo>
                        <a:pt x="492" y="0"/>
                      </a:moveTo>
                      <a:cubicBezTo>
                        <a:pt x="507" y="67"/>
                        <a:pt x="473" y="136"/>
                        <a:pt x="444" y="188"/>
                      </a:cubicBezTo>
                      <a:cubicBezTo>
                        <a:pt x="415" y="240"/>
                        <a:pt x="380" y="296"/>
                        <a:pt x="328" y="324"/>
                      </a:cubicBezTo>
                      <a:cubicBezTo>
                        <a:pt x="274" y="354"/>
                        <a:pt x="207" y="350"/>
                        <a:pt x="160" y="396"/>
                      </a:cubicBezTo>
                      <a:cubicBezTo>
                        <a:pt x="219" y="409"/>
                        <a:pt x="271" y="361"/>
                        <a:pt x="316" y="360"/>
                      </a:cubicBezTo>
                      <a:cubicBezTo>
                        <a:pt x="311" y="453"/>
                        <a:pt x="194" y="419"/>
                        <a:pt x="124" y="444"/>
                      </a:cubicBezTo>
                      <a:cubicBezTo>
                        <a:pt x="78" y="460"/>
                        <a:pt x="50" y="512"/>
                        <a:pt x="0" y="496"/>
                      </a:cubicBezTo>
                      <a:cubicBezTo>
                        <a:pt x="5" y="460"/>
                        <a:pt x="37" y="460"/>
                        <a:pt x="56" y="444"/>
                      </a:cubicBezTo>
                      <a:cubicBezTo>
                        <a:pt x="87" y="419"/>
                        <a:pt x="107" y="378"/>
                        <a:pt x="136" y="356"/>
                      </a:cubicBezTo>
                      <a:cubicBezTo>
                        <a:pt x="198" y="310"/>
                        <a:pt x="277" y="314"/>
                        <a:pt x="332" y="272"/>
                      </a:cubicBezTo>
                      <a:cubicBezTo>
                        <a:pt x="418" y="206"/>
                        <a:pt x="424" y="122"/>
                        <a:pt x="472" y="16"/>
                      </a:cubicBezTo>
                      <a:cubicBezTo>
                        <a:pt x="474" y="12"/>
                        <a:pt x="475" y="5"/>
                        <a:pt x="480" y="0"/>
                      </a:cubicBezTo>
                      <a:cubicBezTo>
                        <a:pt x="484" y="0"/>
                        <a:pt x="488" y="0"/>
                        <a:pt x="492" y="0"/>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53" name="Freeform 599"/>
                <p:cNvSpPr>
                  <a:spLocks/>
                </p:cNvSpPr>
                <p:nvPr/>
              </p:nvSpPr>
              <p:spPr bwMode="auto">
                <a:xfrm>
                  <a:off x="8219" y="2956"/>
                  <a:ext cx="721" cy="869"/>
                </a:xfrm>
                <a:custGeom>
                  <a:avLst/>
                  <a:gdLst>
                    <a:gd name="T0" fmla="*/ 288 w 305"/>
                    <a:gd name="T1" fmla="*/ 4 h 368"/>
                    <a:gd name="T2" fmla="*/ 220 w 305"/>
                    <a:gd name="T3" fmla="*/ 196 h 368"/>
                    <a:gd name="T4" fmla="*/ 152 w 305"/>
                    <a:gd name="T5" fmla="*/ 236 h 368"/>
                    <a:gd name="T6" fmla="*/ 0 w 305"/>
                    <a:gd name="T7" fmla="*/ 348 h 368"/>
                    <a:gd name="T8" fmla="*/ 52 w 305"/>
                    <a:gd name="T9" fmla="*/ 292 h 368"/>
                    <a:gd name="T10" fmla="*/ 172 w 305"/>
                    <a:gd name="T11" fmla="*/ 76 h 368"/>
                    <a:gd name="T12" fmla="*/ 208 w 305"/>
                    <a:gd name="T13" fmla="*/ 4 h 368"/>
                    <a:gd name="T14" fmla="*/ 176 w 305"/>
                    <a:gd name="T15" fmla="*/ 164 h 368"/>
                    <a:gd name="T16" fmla="*/ 276 w 305"/>
                    <a:gd name="T17" fmla="*/ 0 h 368"/>
                    <a:gd name="T18" fmla="*/ 288 w 305"/>
                    <a:gd name="T19" fmla="*/ 4 h 3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5"/>
                    <a:gd name="T31" fmla="*/ 0 h 368"/>
                    <a:gd name="T32" fmla="*/ 305 w 305"/>
                    <a:gd name="T33" fmla="*/ 368 h 3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5" h="368">
                      <a:moveTo>
                        <a:pt x="288" y="4"/>
                      </a:moveTo>
                      <a:cubicBezTo>
                        <a:pt x="305" y="75"/>
                        <a:pt x="265" y="155"/>
                        <a:pt x="220" y="196"/>
                      </a:cubicBezTo>
                      <a:cubicBezTo>
                        <a:pt x="202" y="213"/>
                        <a:pt x="173" y="218"/>
                        <a:pt x="152" y="236"/>
                      </a:cubicBezTo>
                      <a:cubicBezTo>
                        <a:pt x="106" y="276"/>
                        <a:pt x="76" y="368"/>
                        <a:pt x="0" y="348"/>
                      </a:cubicBezTo>
                      <a:cubicBezTo>
                        <a:pt x="0" y="310"/>
                        <a:pt x="31" y="310"/>
                        <a:pt x="52" y="292"/>
                      </a:cubicBezTo>
                      <a:cubicBezTo>
                        <a:pt x="106" y="246"/>
                        <a:pt x="151" y="153"/>
                        <a:pt x="172" y="76"/>
                      </a:cubicBezTo>
                      <a:cubicBezTo>
                        <a:pt x="179" y="52"/>
                        <a:pt x="177" y="14"/>
                        <a:pt x="208" y="4"/>
                      </a:cubicBezTo>
                      <a:cubicBezTo>
                        <a:pt x="247" y="48"/>
                        <a:pt x="187" y="118"/>
                        <a:pt x="176" y="164"/>
                      </a:cubicBezTo>
                      <a:cubicBezTo>
                        <a:pt x="233" y="149"/>
                        <a:pt x="235" y="44"/>
                        <a:pt x="276" y="0"/>
                      </a:cubicBezTo>
                      <a:cubicBezTo>
                        <a:pt x="279" y="2"/>
                        <a:pt x="283" y="4"/>
                        <a:pt x="288" y="4"/>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54" name="Freeform 600"/>
                <p:cNvSpPr>
                  <a:spLocks/>
                </p:cNvSpPr>
                <p:nvPr/>
              </p:nvSpPr>
              <p:spPr bwMode="auto">
                <a:xfrm>
                  <a:off x="8059" y="3410"/>
                  <a:ext cx="788" cy="614"/>
                </a:xfrm>
                <a:custGeom>
                  <a:avLst/>
                  <a:gdLst>
                    <a:gd name="T0" fmla="*/ 328 w 334"/>
                    <a:gd name="T1" fmla="*/ 0 h 260"/>
                    <a:gd name="T2" fmla="*/ 252 w 334"/>
                    <a:gd name="T3" fmla="*/ 100 h 260"/>
                    <a:gd name="T4" fmla="*/ 288 w 334"/>
                    <a:gd name="T5" fmla="*/ 92 h 260"/>
                    <a:gd name="T6" fmla="*/ 252 w 334"/>
                    <a:gd name="T7" fmla="*/ 148 h 260"/>
                    <a:gd name="T8" fmla="*/ 0 w 334"/>
                    <a:gd name="T9" fmla="*/ 260 h 260"/>
                    <a:gd name="T10" fmla="*/ 92 w 334"/>
                    <a:gd name="T11" fmla="*/ 188 h 260"/>
                    <a:gd name="T12" fmla="*/ 196 w 334"/>
                    <a:gd name="T13" fmla="*/ 120 h 260"/>
                    <a:gd name="T14" fmla="*/ 316 w 334"/>
                    <a:gd name="T15" fmla="*/ 0 h 260"/>
                    <a:gd name="T16" fmla="*/ 328 w 334"/>
                    <a:gd name="T17" fmla="*/ 0 h 2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4"/>
                    <a:gd name="T28" fmla="*/ 0 h 260"/>
                    <a:gd name="T29" fmla="*/ 334 w 334"/>
                    <a:gd name="T30" fmla="*/ 260 h 2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4" h="260">
                      <a:moveTo>
                        <a:pt x="328" y="0"/>
                      </a:moveTo>
                      <a:cubicBezTo>
                        <a:pt x="334" y="49"/>
                        <a:pt x="277" y="69"/>
                        <a:pt x="252" y="100"/>
                      </a:cubicBezTo>
                      <a:cubicBezTo>
                        <a:pt x="263" y="112"/>
                        <a:pt x="269" y="85"/>
                        <a:pt x="288" y="92"/>
                      </a:cubicBezTo>
                      <a:cubicBezTo>
                        <a:pt x="289" y="123"/>
                        <a:pt x="264" y="129"/>
                        <a:pt x="252" y="148"/>
                      </a:cubicBezTo>
                      <a:cubicBezTo>
                        <a:pt x="148" y="163"/>
                        <a:pt x="101" y="255"/>
                        <a:pt x="0" y="260"/>
                      </a:cubicBezTo>
                      <a:cubicBezTo>
                        <a:pt x="16" y="222"/>
                        <a:pt x="60" y="207"/>
                        <a:pt x="92" y="188"/>
                      </a:cubicBezTo>
                      <a:cubicBezTo>
                        <a:pt x="126" y="168"/>
                        <a:pt x="168" y="148"/>
                        <a:pt x="196" y="120"/>
                      </a:cubicBezTo>
                      <a:cubicBezTo>
                        <a:pt x="235" y="82"/>
                        <a:pt x="259" y="24"/>
                        <a:pt x="316" y="0"/>
                      </a:cubicBezTo>
                      <a:cubicBezTo>
                        <a:pt x="320" y="0"/>
                        <a:pt x="324" y="0"/>
                        <a:pt x="328" y="0"/>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55" name="Freeform 601"/>
                <p:cNvSpPr>
                  <a:spLocks/>
                </p:cNvSpPr>
                <p:nvPr/>
              </p:nvSpPr>
              <p:spPr bwMode="auto">
                <a:xfrm>
                  <a:off x="7227" y="3870"/>
                  <a:ext cx="321" cy="210"/>
                </a:xfrm>
                <a:custGeom>
                  <a:avLst/>
                  <a:gdLst>
                    <a:gd name="T0" fmla="*/ 136 w 136"/>
                    <a:gd name="T1" fmla="*/ 9 h 89"/>
                    <a:gd name="T2" fmla="*/ 0 w 136"/>
                    <a:gd name="T3" fmla="*/ 53 h 89"/>
                    <a:gd name="T4" fmla="*/ 136 w 136"/>
                    <a:gd name="T5" fmla="*/ 9 h 89"/>
                    <a:gd name="T6" fmla="*/ 0 60000 65536"/>
                    <a:gd name="T7" fmla="*/ 0 60000 65536"/>
                    <a:gd name="T8" fmla="*/ 0 60000 65536"/>
                    <a:gd name="T9" fmla="*/ 0 w 136"/>
                    <a:gd name="T10" fmla="*/ 0 h 89"/>
                    <a:gd name="T11" fmla="*/ 136 w 136"/>
                    <a:gd name="T12" fmla="*/ 89 h 89"/>
                  </a:gdLst>
                  <a:ahLst/>
                  <a:cxnLst>
                    <a:cxn ang="T6">
                      <a:pos x="T0" y="T1"/>
                    </a:cxn>
                    <a:cxn ang="T7">
                      <a:pos x="T2" y="T3"/>
                    </a:cxn>
                    <a:cxn ang="T8">
                      <a:pos x="T4" y="T5"/>
                    </a:cxn>
                  </a:cxnLst>
                  <a:rect l="T9" t="T10" r="T11" b="T12"/>
                  <a:pathLst>
                    <a:path w="136" h="89">
                      <a:moveTo>
                        <a:pt x="136" y="9"/>
                      </a:moveTo>
                      <a:cubicBezTo>
                        <a:pt x="122" y="49"/>
                        <a:pt x="38" y="89"/>
                        <a:pt x="0" y="53"/>
                      </a:cubicBezTo>
                      <a:cubicBezTo>
                        <a:pt x="9" y="6"/>
                        <a:pt x="98" y="0"/>
                        <a:pt x="136" y="9"/>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sp>
              <p:nvSpPr>
                <p:cNvPr id="56" name="Freeform 602"/>
                <p:cNvSpPr>
                  <a:spLocks/>
                </p:cNvSpPr>
                <p:nvPr/>
              </p:nvSpPr>
              <p:spPr bwMode="auto">
                <a:xfrm>
                  <a:off x="7593" y="3976"/>
                  <a:ext cx="333" cy="152"/>
                </a:xfrm>
                <a:custGeom>
                  <a:avLst/>
                  <a:gdLst>
                    <a:gd name="T0" fmla="*/ 77 w 141"/>
                    <a:gd name="T1" fmla="*/ 64 h 64"/>
                    <a:gd name="T2" fmla="*/ 37 w 141"/>
                    <a:gd name="T3" fmla="*/ 64 h 64"/>
                    <a:gd name="T4" fmla="*/ 141 w 141"/>
                    <a:gd name="T5" fmla="*/ 24 h 64"/>
                    <a:gd name="T6" fmla="*/ 77 w 141"/>
                    <a:gd name="T7" fmla="*/ 64 h 64"/>
                    <a:gd name="T8" fmla="*/ 0 60000 65536"/>
                    <a:gd name="T9" fmla="*/ 0 60000 65536"/>
                    <a:gd name="T10" fmla="*/ 0 60000 65536"/>
                    <a:gd name="T11" fmla="*/ 0 60000 65536"/>
                    <a:gd name="T12" fmla="*/ 0 w 141"/>
                    <a:gd name="T13" fmla="*/ 0 h 64"/>
                    <a:gd name="T14" fmla="*/ 141 w 141"/>
                    <a:gd name="T15" fmla="*/ 64 h 64"/>
                  </a:gdLst>
                  <a:ahLst/>
                  <a:cxnLst>
                    <a:cxn ang="T8">
                      <a:pos x="T0" y="T1"/>
                    </a:cxn>
                    <a:cxn ang="T9">
                      <a:pos x="T2" y="T3"/>
                    </a:cxn>
                    <a:cxn ang="T10">
                      <a:pos x="T4" y="T5"/>
                    </a:cxn>
                    <a:cxn ang="T11">
                      <a:pos x="T6" y="T7"/>
                    </a:cxn>
                  </a:cxnLst>
                  <a:rect l="T12" t="T13" r="T14" b="T15"/>
                  <a:pathLst>
                    <a:path w="141" h="64">
                      <a:moveTo>
                        <a:pt x="77" y="64"/>
                      </a:moveTo>
                      <a:cubicBezTo>
                        <a:pt x="64" y="64"/>
                        <a:pt x="50" y="64"/>
                        <a:pt x="37" y="64"/>
                      </a:cubicBezTo>
                      <a:cubicBezTo>
                        <a:pt x="0" y="28"/>
                        <a:pt x="107" y="0"/>
                        <a:pt x="141" y="24"/>
                      </a:cubicBezTo>
                      <a:cubicBezTo>
                        <a:pt x="135" y="53"/>
                        <a:pt x="101" y="53"/>
                        <a:pt x="77" y="64"/>
                      </a:cubicBezTo>
                      <a:close/>
                    </a:path>
                  </a:pathLst>
                </a:custGeom>
                <a:grpFill/>
                <a:ln w="9525">
                  <a:noFill/>
                  <a:round/>
                  <a:headEnd/>
                  <a:tailEnd/>
                </a:ln>
              </p:spPr>
              <p:txBody>
                <a:bodyPr/>
                <a:lstStyle/>
                <a:p>
                  <a:pPr marL="0" marR="0" lvl="0" indent="0" algn="l" defTabSz="685235" rtl="0" eaLnBrk="0" fontAlgn="base" latinLnBrk="0" hangingPunct="0">
                    <a:lnSpc>
                      <a:spcPct val="9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endParaRPr>
                </a:p>
              </p:txBody>
            </p:sp>
          </p:grpSp>
        </p:grpSp>
        <p:sp>
          <p:nvSpPr>
            <p:cNvPr id="84" name="Rectangle 83"/>
            <p:cNvSpPr/>
            <p:nvPr/>
          </p:nvSpPr>
          <p:spPr>
            <a:xfrm>
              <a:off x="4951565" y="2908023"/>
              <a:ext cx="768388" cy="28420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3152" tIns="45720" rIns="73152" bIns="4572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iscoSansTT ExtraLight"/>
                  <a:ea typeface="+mn-ea"/>
                  <a:cs typeface="+mn-cs"/>
                </a:rPr>
                <a:t>ISE</a:t>
              </a:r>
            </a:p>
          </p:txBody>
        </p:sp>
      </p:grpSp>
      <p:sp>
        <p:nvSpPr>
          <p:cNvPr id="86" name="Rectangle 85"/>
          <p:cNvSpPr/>
          <p:nvPr/>
        </p:nvSpPr>
        <p:spPr>
          <a:xfrm>
            <a:off x="970157" y="3757960"/>
            <a:ext cx="3659907" cy="869795"/>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282828"/>
                </a:solidFill>
                <a:effectLst/>
                <a:uLnTx/>
                <a:uFillTx/>
                <a:latin typeface="CiscoSansTT ExtraLight"/>
                <a:ea typeface="+mn-ea"/>
                <a:cs typeface="+mn-cs"/>
              </a:rPr>
              <a:t>Campus/Branch Network</a:t>
            </a:r>
          </a:p>
        </p:txBody>
      </p:sp>
      <p:sp>
        <p:nvSpPr>
          <p:cNvPr id="87" name="Rectangle 86"/>
          <p:cNvSpPr/>
          <p:nvPr/>
        </p:nvSpPr>
        <p:spPr>
          <a:xfrm>
            <a:off x="4670463" y="3757959"/>
            <a:ext cx="3659907" cy="869795"/>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282828"/>
                </a:solidFill>
                <a:effectLst/>
                <a:uLnTx/>
                <a:uFillTx/>
                <a:latin typeface="CiscoSansTT ExtraLight"/>
                <a:ea typeface="+mn-ea"/>
                <a:cs typeface="+mn-cs"/>
              </a:rPr>
              <a:t>Data Center Network</a:t>
            </a:r>
          </a:p>
        </p:txBody>
      </p:sp>
      <p:cxnSp>
        <p:nvCxnSpPr>
          <p:cNvPr id="89" name="Straight Arrow Connector 88"/>
          <p:cNvCxnSpPr>
            <a:stCxn id="87" idx="0"/>
            <a:endCxn id="28" idx="2"/>
          </p:cNvCxnSpPr>
          <p:nvPr/>
        </p:nvCxnSpPr>
        <p:spPr>
          <a:xfrm flipH="1" flipV="1">
            <a:off x="2246573" y="1963690"/>
            <a:ext cx="4253844" cy="17942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86" idx="0"/>
            <a:endCxn id="28" idx="2"/>
          </p:cNvCxnSpPr>
          <p:nvPr/>
        </p:nvCxnSpPr>
        <p:spPr>
          <a:xfrm flipH="1" flipV="1">
            <a:off x="2246573" y="1963690"/>
            <a:ext cx="553538" cy="17942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2548261" y="2860824"/>
            <a:ext cx="1665841" cy="461665"/>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Transactional &amp;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Contextual Telemetry</a:t>
            </a:r>
          </a:p>
        </p:txBody>
      </p:sp>
      <p:sp>
        <p:nvSpPr>
          <p:cNvPr id="93" name="TextBox 92"/>
          <p:cNvSpPr txBox="1"/>
          <p:nvPr/>
        </p:nvSpPr>
        <p:spPr>
          <a:xfrm>
            <a:off x="5176926" y="1740269"/>
            <a:ext cx="1862883" cy="646331"/>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Access Control &amp;</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Enterprise-wide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Policy Orchestration </a:t>
            </a:r>
          </a:p>
        </p:txBody>
      </p:sp>
      <p:sp>
        <p:nvSpPr>
          <p:cNvPr id="94" name="TextBox 93"/>
          <p:cNvSpPr txBox="1"/>
          <p:nvPr/>
        </p:nvSpPr>
        <p:spPr>
          <a:xfrm>
            <a:off x="4162" y="972045"/>
            <a:ext cx="1869366" cy="83099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Enterprise-Wide Visibility, Security Analytics and Policy Monitoring </a:t>
            </a:r>
          </a:p>
        </p:txBody>
      </p:sp>
      <p:cxnSp>
        <p:nvCxnSpPr>
          <p:cNvPr id="95" name="Straight Arrow Connector 94"/>
          <p:cNvCxnSpPr>
            <a:stCxn id="87" idx="0"/>
            <a:endCxn id="6" idx="2"/>
          </p:cNvCxnSpPr>
          <p:nvPr/>
        </p:nvCxnSpPr>
        <p:spPr>
          <a:xfrm flipV="1">
            <a:off x="6500417" y="1919382"/>
            <a:ext cx="731540" cy="18385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6911094" y="2590052"/>
            <a:ext cx="1594555" cy="461665"/>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Application-centric telemetry</a:t>
            </a:r>
          </a:p>
        </p:txBody>
      </p:sp>
      <p:cxnSp>
        <p:nvCxnSpPr>
          <p:cNvPr id="101" name="Straight Arrow Connector 100"/>
          <p:cNvCxnSpPr>
            <a:stCxn id="3" idx="0"/>
            <a:endCxn id="27" idx="0"/>
          </p:cNvCxnSpPr>
          <p:nvPr/>
        </p:nvCxnSpPr>
        <p:spPr>
          <a:xfrm rot="16200000" flipV="1">
            <a:off x="4718643" y="-1506778"/>
            <a:ext cx="41244" cy="4985384"/>
          </a:xfrm>
          <a:prstGeom prst="curvedConnector3">
            <a:avLst>
              <a:gd name="adj1" fmla="val 221666"/>
            </a:avLst>
          </a:prstGeom>
          <a:ln>
            <a:tailEnd type="triangle"/>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3886261" y="1023756"/>
            <a:ext cx="1920617" cy="27699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Contextual Telemetry</a:t>
            </a:r>
          </a:p>
        </p:txBody>
      </p:sp>
      <p:cxnSp>
        <p:nvCxnSpPr>
          <p:cNvPr id="114" name="Straight Arrow Connector 100"/>
          <p:cNvCxnSpPr>
            <a:stCxn id="31" idx="0"/>
            <a:endCxn id="27" idx="3"/>
          </p:cNvCxnSpPr>
          <p:nvPr/>
        </p:nvCxnSpPr>
        <p:spPr>
          <a:xfrm rot="16200000" flipV="1">
            <a:off x="3634417" y="446920"/>
            <a:ext cx="228048" cy="2134263"/>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00"/>
          <p:cNvCxnSpPr>
            <a:stCxn id="31" idx="0"/>
            <a:endCxn id="3" idx="2"/>
          </p:cNvCxnSpPr>
          <p:nvPr/>
        </p:nvCxnSpPr>
        <p:spPr>
          <a:xfrm rot="5400000" flipH="1" flipV="1">
            <a:off x="5712995" y="495025"/>
            <a:ext cx="235629" cy="2030474"/>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00"/>
          <p:cNvCxnSpPr>
            <a:stCxn id="27" idx="3"/>
            <a:endCxn id="31" idx="2"/>
          </p:cNvCxnSpPr>
          <p:nvPr/>
        </p:nvCxnSpPr>
        <p:spPr>
          <a:xfrm>
            <a:off x="2681309" y="1400028"/>
            <a:ext cx="1723111" cy="624444"/>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29" name="TextBox 128"/>
          <p:cNvSpPr txBox="1"/>
          <p:nvPr/>
        </p:nvSpPr>
        <p:spPr>
          <a:xfrm>
            <a:off x="2944968" y="1555510"/>
            <a:ext cx="1412152" cy="461665"/>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Rapid Threat Containment</a:t>
            </a:r>
          </a:p>
        </p:txBody>
      </p:sp>
      <p:sp>
        <p:nvSpPr>
          <p:cNvPr id="130" name="TextBox 129"/>
          <p:cNvSpPr txBox="1"/>
          <p:nvPr/>
        </p:nvSpPr>
        <p:spPr>
          <a:xfrm>
            <a:off x="7409979" y="904890"/>
            <a:ext cx="1869366" cy="646331"/>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Data Center Application insight and policy enforcement</a:t>
            </a:r>
          </a:p>
        </p:txBody>
      </p:sp>
    </p:spTree>
    <p:extLst>
      <p:ext uri="{BB962C8B-B14F-4D97-AF65-F5344CB8AC3E}">
        <p14:creationId xmlns:p14="http://schemas.microsoft.com/office/powerpoint/2010/main" val="2265487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4166073" y="2509024"/>
            <a:ext cx="3851654" cy="2524973"/>
          </a:xfrm>
          <a:prstGeom prst="rect">
            <a:avLst/>
          </a:prstGeom>
        </p:spPr>
      </p:pic>
      <p:sp>
        <p:nvSpPr>
          <p:cNvPr id="8" name="Text Placeholder 5"/>
          <p:cNvSpPr txBox="1">
            <a:spLocks/>
          </p:cNvSpPr>
          <p:nvPr/>
        </p:nvSpPr>
        <p:spPr>
          <a:xfrm>
            <a:off x="522248" y="1205898"/>
            <a:ext cx="8053040" cy="3341138"/>
          </a:xfrm>
          <a:prstGeom prst="rect">
            <a:avLst/>
          </a:prstGeom>
        </p:spPr>
        <p:txBody>
          <a:bodyPr lIns="0" tIns="45710" rIns="0" bIns="45710" anchor="t">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50" marR="0" lvl="0" indent="0" algn="l" defTabSz="684213" rtl="0" eaLnBrk="1" fontAlgn="base" latinLnBrk="0" hangingPunct="1">
              <a:lnSpc>
                <a:spcPct val="95000"/>
              </a:lnSpc>
              <a:spcBef>
                <a:spcPts val="1110"/>
              </a:spcBef>
              <a:spcAft>
                <a:spcPct val="0"/>
              </a:spcAft>
              <a:buClr>
                <a:srgbClr val="282828"/>
              </a:buClr>
              <a:buSzPct val="60000"/>
              <a:buFont typeface="Arial"/>
              <a:buNone/>
              <a:tabLst/>
              <a:defRPr/>
            </a:pPr>
            <a:r>
              <a:rPr kumimoji="0" lang="en-US" sz="14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rPr>
              <a:t>Application Dependency Map</a:t>
            </a:r>
          </a:p>
          <a:p>
            <a:pPr marL="288925" marR="0" lvl="1" indent="-114300" algn="l" defTabSz="684213" rtl="0" eaLnBrk="1" fontAlgn="base" latinLnBrk="0" hangingPunct="1">
              <a:lnSpc>
                <a:spcPct val="95000"/>
              </a:lnSpc>
              <a:spcBef>
                <a:spcPts val="450"/>
              </a:spcBef>
              <a:spcAft>
                <a:spcPct val="0"/>
              </a:spcAft>
              <a:buClr>
                <a:srgbClr val="282828"/>
              </a:buClr>
              <a:buSzPct val="60000"/>
              <a:buFont typeface="Arial"/>
              <a:buChar char="•"/>
              <a:tabLst/>
              <a:defRPr/>
            </a:pPr>
            <a:r>
              <a:rPr kumimoji="0" lang="en-US" sz="12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rPr>
              <a:t>Automated discovery of radiology imaging application dependencies in data center</a:t>
            </a:r>
          </a:p>
          <a:p>
            <a:pPr marL="403225" marR="0" lvl="2" indent="-114300" algn="l" defTabSz="684213" rtl="0" eaLnBrk="1" fontAlgn="base" latinLnBrk="0" hangingPunct="1">
              <a:lnSpc>
                <a:spcPct val="95000"/>
              </a:lnSpc>
              <a:spcBef>
                <a:spcPts val="625"/>
              </a:spcBef>
              <a:spcAft>
                <a:spcPct val="0"/>
              </a:spcAft>
              <a:buClr>
                <a:srgbClr val="282828"/>
              </a:buClr>
              <a:buSzPct val="60000"/>
              <a:buFont typeface="Arial"/>
              <a:buChar char="•"/>
              <a:tabLst/>
              <a:defRPr/>
            </a:pPr>
            <a:r>
              <a:rPr kumimoji="0" lang="en-US" sz="11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rPr>
              <a:t>Web, application, and database (server-to-server)</a:t>
            </a:r>
          </a:p>
          <a:p>
            <a:pPr marL="403225" marR="0" lvl="2" indent="-114300" algn="l" defTabSz="684213" rtl="0" eaLnBrk="1" fontAlgn="base" latinLnBrk="0" hangingPunct="1">
              <a:lnSpc>
                <a:spcPct val="95000"/>
              </a:lnSpc>
              <a:spcBef>
                <a:spcPts val="625"/>
              </a:spcBef>
              <a:spcAft>
                <a:spcPct val="0"/>
              </a:spcAft>
              <a:buClr>
                <a:srgbClr val="282828"/>
              </a:buClr>
              <a:buSzPct val="60000"/>
              <a:buFont typeface="Arial"/>
              <a:buChar char="•"/>
              <a:tabLst/>
              <a:defRPr/>
            </a:pPr>
            <a:r>
              <a:rPr kumimoji="0" lang="en-US" sz="11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rPr>
              <a:t>Infrastructure Services</a:t>
            </a:r>
          </a:p>
          <a:p>
            <a:pPr marL="517525" marR="0" lvl="3" indent="-114300" algn="l" defTabSz="684213" rtl="0" eaLnBrk="1" fontAlgn="base" latinLnBrk="0" hangingPunct="1">
              <a:lnSpc>
                <a:spcPct val="95000"/>
              </a:lnSpc>
              <a:spcBef>
                <a:spcPts val="625"/>
              </a:spcBef>
              <a:spcAft>
                <a:spcPct val="0"/>
              </a:spcAft>
              <a:buClr>
                <a:srgbClr val="282828"/>
              </a:buClr>
              <a:buSzPct val="60000"/>
              <a:buFont typeface="Arial"/>
              <a:buChar char="•"/>
              <a:tabLst/>
              <a:defRPr/>
            </a:pPr>
            <a:r>
              <a:rPr kumimoji="0" lang="en-US" sz="9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rPr>
              <a:t>Load Balancers, Shared Services (Database, Storage, AD, Management, </a:t>
            </a:r>
            <a:r>
              <a:rPr kumimoji="0" lang="en-US" sz="900" b="0" i="0" u="none" strike="noStrike" kern="1200" cap="none" spc="0" normalizeH="0" baseline="0" noProof="0" dirty="0" err="1">
                <a:ln>
                  <a:noFill/>
                </a:ln>
                <a:solidFill>
                  <a:srgbClr val="282828"/>
                </a:solidFill>
                <a:effectLst/>
                <a:uLnTx/>
                <a:uFillTx/>
                <a:latin typeface="CiscoSans ExtraLight" charset="0"/>
                <a:ea typeface="CiscoSans ExtraLight" charset="0"/>
                <a:cs typeface="CiscoSans ExtraLight" charset="0"/>
              </a:rPr>
              <a:t>etc</a:t>
            </a:r>
            <a:r>
              <a:rPr kumimoji="0" lang="en-US" sz="9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rPr>
              <a:t>)</a:t>
            </a:r>
          </a:p>
          <a:p>
            <a:pPr marL="403225" marR="0" lvl="2" indent="-114300" algn="l" defTabSz="684213" rtl="0" eaLnBrk="1" fontAlgn="base" latinLnBrk="0" hangingPunct="1">
              <a:lnSpc>
                <a:spcPct val="95000"/>
              </a:lnSpc>
              <a:spcBef>
                <a:spcPts val="625"/>
              </a:spcBef>
              <a:spcAft>
                <a:spcPct val="0"/>
              </a:spcAft>
              <a:buClr>
                <a:srgbClr val="282828"/>
              </a:buClr>
              <a:buSzPct val="60000"/>
              <a:buFont typeface="Arial"/>
              <a:buChar char="•"/>
              <a:tabLst/>
              <a:defRPr/>
            </a:pPr>
            <a:r>
              <a:rPr kumimoji="0" lang="en-US" sz="11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rPr>
              <a:t>Application components &amp; processes</a:t>
            </a:r>
          </a:p>
        </p:txBody>
      </p:sp>
      <p:sp>
        <p:nvSpPr>
          <p:cNvPr id="4" name="Title 3"/>
          <p:cNvSpPr>
            <a:spLocks noGrp="1"/>
          </p:cNvSpPr>
          <p:nvPr>
            <p:ph type="title"/>
          </p:nvPr>
        </p:nvSpPr>
        <p:spPr>
          <a:xfrm>
            <a:off x="437766" y="341313"/>
            <a:ext cx="8706234" cy="731837"/>
          </a:xfrm>
        </p:spPr>
        <p:txBody>
          <a:bodyPr/>
          <a:lstStyle/>
          <a:p>
            <a:r>
              <a:rPr lang="en-US" dirty="0">
                <a:latin typeface="CiscoSans ExtraLight" charset="0"/>
                <a:ea typeface="CiscoSans ExtraLight" charset="0"/>
                <a:cs typeface="CiscoSans ExtraLight" charset="0"/>
              </a:rPr>
              <a:t>Application Insight (Cisco </a:t>
            </a:r>
            <a:r>
              <a:rPr lang="en-US" dirty="0" err="1">
                <a:latin typeface="CiscoSans ExtraLight" charset="0"/>
                <a:ea typeface="CiscoSans ExtraLight" charset="0"/>
                <a:cs typeface="CiscoSans ExtraLight" charset="0"/>
              </a:rPr>
              <a:t>Tetration</a:t>
            </a:r>
            <a:r>
              <a:rPr lang="en-US" dirty="0">
                <a:latin typeface="CiscoSans ExtraLight" charset="0"/>
                <a:ea typeface="CiscoSans ExtraLight" charset="0"/>
                <a:cs typeface="CiscoSans ExtraLight" charset="0"/>
              </a:rPr>
              <a:t>)</a:t>
            </a:r>
          </a:p>
        </p:txBody>
      </p:sp>
      <p:sp>
        <p:nvSpPr>
          <p:cNvPr id="2" name="Rectangle 2"/>
          <p:cNvSpPr>
            <a:spLocks noChangeArrowheads="1"/>
          </p:cNvSpPr>
          <p:nvPr/>
        </p:nvSpPr>
        <p:spPr bwMode="auto">
          <a:xfrm>
            <a:off x="-3111190" y="2051824"/>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3" name="Rectangle 3"/>
          <p:cNvSpPr>
            <a:spLocks noChangeArrowheads="1"/>
          </p:cNvSpPr>
          <p:nvPr/>
        </p:nvSpPr>
        <p:spPr bwMode="auto">
          <a:xfrm>
            <a:off x="-3111190" y="8481199"/>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282828"/>
                </a:solidFill>
                <a:effectLst/>
                <a:uLnTx/>
                <a:uFillTx/>
                <a:latin typeface="Arial" charset="0"/>
                <a:ea typeface="ＭＳ Ｐゴシック" charset="0"/>
              </a:rPr>
              <a:t> </a:t>
            </a: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5249" y="2631571"/>
            <a:ext cx="2463263" cy="2534662"/>
          </a:xfrm>
          <a:prstGeom prst="rect">
            <a:avLst/>
          </a:prstGeom>
        </p:spPr>
      </p:pic>
    </p:spTree>
    <p:extLst>
      <p:ext uri="{BB962C8B-B14F-4D97-AF65-F5344CB8AC3E}">
        <p14:creationId xmlns:p14="http://schemas.microsoft.com/office/powerpoint/2010/main" val="3926900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7766" y="341313"/>
            <a:ext cx="8706234" cy="731837"/>
          </a:xfrm>
        </p:spPr>
        <p:txBody>
          <a:bodyPr/>
          <a:lstStyle/>
          <a:p>
            <a:r>
              <a:rPr lang="en-US" dirty="0">
                <a:latin typeface="CiscoSans ExtraLight" charset="0"/>
                <a:ea typeface="CiscoSans ExtraLight" charset="0"/>
                <a:cs typeface="CiscoSans ExtraLight" charset="0"/>
              </a:rPr>
              <a:t>Application Segmentation and Policy Enforcement (Cisco </a:t>
            </a:r>
            <a:r>
              <a:rPr lang="en-US" dirty="0" err="1">
                <a:latin typeface="CiscoSans ExtraLight" charset="0"/>
                <a:ea typeface="CiscoSans ExtraLight" charset="0"/>
                <a:cs typeface="CiscoSans ExtraLight" charset="0"/>
              </a:rPr>
              <a:t>Tetration</a:t>
            </a:r>
            <a:r>
              <a:rPr lang="en-US" dirty="0">
                <a:latin typeface="CiscoSans ExtraLight" charset="0"/>
                <a:ea typeface="CiscoSans ExtraLight" charset="0"/>
                <a:cs typeface="CiscoSans ExtraLight" charset="0"/>
              </a:rPr>
              <a:t>)</a:t>
            </a:r>
          </a:p>
        </p:txBody>
      </p:sp>
      <p:sp>
        <p:nvSpPr>
          <p:cNvPr id="5" name="Text Placeholder 5"/>
          <p:cNvSpPr txBox="1">
            <a:spLocks/>
          </p:cNvSpPr>
          <p:nvPr/>
        </p:nvSpPr>
        <p:spPr>
          <a:xfrm>
            <a:off x="533399" y="1205898"/>
            <a:ext cx="8911684" cy="3341138"/>
          </a:xfrm>
          <a:prstGeom prst="rect">
            <a:avLst/>
          </a:prstGeom>
        </p:spPr>
        <p:txBody>
          <a:bodyPr lIns="0" tIns="45710" rIns="0" bIns="45710" anchor="t">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50" marR="0" lvl="0" indent="0" algn="l" defTabSz="684213" rtl="0" eaLnBrk="1" fontAlgn="base" latinLnBrk="0" hangingPunct="1">
              <a:lnSpc>
                <a:spcPct val="95000"/>
              </a:lnSpc>
              <a:spcBef>
                <a:spcPts val="1110"/>
              </a:spcBef>
              <a:spcAft>
                <a:spcPct val="0"/>
              </a:spcAft>
              <a:buClr>
                <a:srgbClr val="282828"/>
              </a:buClr>
              <a:buSzPct val="60000"/>
              <a:buFont typeface="Arial"/>
              <a:buNone/>
              <a:tabLst/>
              <a:defRPr/>
            </a:pPr>
            <a:r>
              <a:rPr kumimoji="0" lang="en-US" sz="14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rPr>
              <a:t>Automated discovery of application segmentation (whitelist and blacklist) policies</a:t>
            </a:r>
          </a:p>
        </p:txBody>
      </p:sp>
      <p:pic>
        <p:nvPicPr>
          <p:cNvPr id="6" name="Picture 2" descr="/var/folders/3s/v48g8fsn0pz5_wh2jt328y3w0000gn/T/com.microsoft.Powerpoint/WebArchiveCopyPasteTempFiles/cidimage002.png@01D32809.7118BE2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9229" y="1560465"/>
            <a:ext cx="5430644" cy="34582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21836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4869" y="822204"/>
            <a:ext cx="5207812" cy="4188293"/>
          </a:xfrm>
          <a:prstGeom prst="rect">
            <a:avLst/>
          </a:prstGeom>
        </p:spPr>
      </p:pic>
      <p:sp>
        <p:nvSpPr>
          <p:cNvPr id="6" name="Text Placeholder 5"/>
          <p:cNvSpPr>
            <a:spLocks noGrp="1"/>
          </p:cNvSpPr>
          <p:nvPr>
            <p:ph type="body" sz="quarter" idx="10"/>
          </p:nvPr>
        </p:nvSpPr>
        <p:spPr>
          <a:xfrm>
            <a:off x="533399" y="1205898"/>
            <a:ext cx="3614856" cy="3341138"/>
          </a:xfrm>
        </p:spPr>
        <p:txBody>
          <a:bodyPr/>
          <a:lstStyle/>
          <a:p>
            <a:pPr marL="57150" indent="0">
              <a:buNone/>
            </a:pPr>
            <a:r>
              <a:rPr lang="en-US" sz="1400" dirty="0">
                <a:latin typeface="CiscoSans ExtraLight" charset="0"/>
                <a:ea typeface="CiscoSans ExtraLight" charset="0"/>
                <a:cs typeface="CiscoSans ExtraLight" charset="0"/>
              </a:rPr>
              <a:t>Users</a:t>
            </a:r>
          </a:p>
          <a:p>
            <a:pPr lvl="1"/>
            <a:r>
              <a:rPr lang="en-US" sz="1200" dirty="0">
                <a:latin typeface="CiscoSans ExtraLight" charset="0"/>
                <a:ea typeface="CiscoSans ExtraLight" charset="0"/>
                <a:cs typeface="CiscoSans ExtraLight" charset="0"/>
              </a:rPr>
              <a:t>Doctors</a:t>
            </a:r>
          </a:p>
          <a:p>
            <a:pPr lvl="1"/>
            <a:r>
              <a:rPr lang="en-US" sz="1200" dirty="0">
                <a:latin typeface="CiscoSans ExtraLight" charset="0"/>
                <a:ea typeface="CiscoSans ExtraLight" charset="0"/>
                <a:cs typeface="CiscoSans ExtraLight" charset="0"/>
              </a:rPr>
              <a:t>IT Administrators</a:t>
            </a:r>
          </a:p>
          <a:p>
            <a:pPr lvl="1"/>
            <a:r>
              <a:rPr lang="en-US" sz="1200" dirty="0">
                <a:latin typeface="CiscoSans ExtraLight" charset="0"/>
                <a:ea typeface="CiscoSans ExtraLight" charset="0"/>
                <a:cs typeface="CiscoSans ExtraLight" charset="0"/>
              </a:rPr>
              <a:t>Employees (Finance, HR, Accounting)</a:t>
            </a:r>
          </a:p>
          <a:p>
            <a:endParaRPr lang="en-US" sz="1400" dirty="0">
              <a:latin typeface="CiscoSans ExtraLight" charset="0"/>
              <a:ea typeface="CiscoSans ExtraLight" charset="0"/>
              <a:cs typeface="CiscoSans ExtraLight" charset="0"/>
            </a:endParaRPr>
          </a:p>
          <a:p>
            <a:pPr marL="57150" indent="0">
              <a:buNone/>
            </a:pPr>
            <a:r>
              <a:rPr lang="en-US" sz="1400" dirty="0">
                <a:latin typeface="CiscoSans ExtraLight" charset="0"/>
                <a:ea typeface="CiscoSans ExtraLight" charset="0"/>
                <a:cs typeface="CiscoSans ExtraLight" charset="0"/>
              </a:rPr>
              <a:t>Devices (Hosts and groups)</a:t>
            </a:r>
          </a:p>
          <a:p>
            <a:pPr lvl="1"/>
            <a:r>
              <a:rPr lang="en-US" sz="1200" dirty="0">
                <a:latin typeface="CiscoSans ExtraLight" charset="0"/>
                <a:ea typeface="CiscoSans ExtraLight" charset="0"/>
                <a:cs typeface="CiscoSans ExtraLight" charset="0"/>
              </a:rPr>
              <a:t>Radiology Imaging Clients (Hospital locations)</a:t>
            </a:r>
          </a:p>
          <a:p>
            <a:pPr lvl="1"/>
            <a:r>
              <a:rPr lang="en-US" sz="1200" dirty="0">
                <a:latin typeface="CiscoSans ExtraLight" charset="0"/>
                <a:ea typeface="CiscoSans ExtraLight" charset="0"/>
                <a:cs typeface="CiscoSans ExtraLight" charset="0"/>
              </a:rPr>
              <a:t>Radiology Imaging Servers (Data Center)</a:t>
            </a:r>
          </a:p>
          <a:p>
            <a:pPr lvl="1"/>
            <a:r>
              <a:rPr lang="en-US" sz="1200" dirty="0">
                <a:latin typeface="CiscoSans ExtraLight" charset="0"/>
                <a:ea typeface="CiscoSans ExtraLight" charset="0"/>
                <a:cs typeface="CiscoSans ExtraLight" charset="0"/>
              </a:rPr>
              <a:t>Employee Laptops (Branch, Campus)</a:t>
            </a:r>
          </a:p>
          <a:p>
            <a:pPr lvl="1"/>
            <a:endParaRPr lang="en-US" sz="1200" dirty="0">
              <a:latin typeface="CiscoSans ExtraLight" charset="0"/>
              <a:ea typeface="CiscoSans ExtraLight" charset="0"/>
              <a:cs typeface="CiscoSans ExtraLight" charset="0"/>
            </a:endParaRPr>
          </a:p>
          <a:p>
            <a:pPr marL="57150" indent="0">
              <a:buNone/>
            </a:pPr>
            <a:r>
              <a:rPr lang="en-US" sz="1400" dirty="0">
                <a:latin typeface="CiscoSans ExtraLight" charset="0"/>
                <a:ea typeface="CiscoSans ExtraLight" charset="0"/>
                <a:cs typeface="CiscoSans ExtraLight" charset="0"/>
              </a:rPr>
              <a:t>Network Flow Modeling</a:t>
            </a:r>
          </a:p>
          <a:p>
            <a:r>
              <a:rPr lang="en-US" sz="1200" dirty="0">
                <a:latin typeface="CiscoSans ExtraLight" charset="0"/>
                <a:ea typeface="CiscoSans ExtraLight" charset="0"/>
                <a:cs typeface="CiscoSans ExtraLight" charset="0"/>
              </a:rPr>
              <a:t>Enterprise-wide network monitoring</a:t>
            </a:r>
          </a:p>
          <a:p>
            <a:r>
              <a:rPr lang="en-US" sz="1200" dirty="0">
                <a:latin typeface="CiscoSans ExtraLight" charset="0"/>
                <a:ea typeface="CiscoSans ExtraLight" charset="0"/>
                <a:cs typeface="CiscoSans ExtraLight" charset="0"/>
              </a:rPr>
              <a:t>Flow communication between users and devices</a:t>
            </a:r>
          </a:p>
          <a:p>
            <a:endParaRPr lang="en-US" sz="1400" dirty="0">
              <a:latin typeface="CiscoSans ExtraLight" charset="0"/>
              <a:ea typeface="CiscoSans ExtraLight" charset="0"/>
              <a:cs typeface="CiscoSans ExtraLight" charset="0"/>
            </a:endParaRPr>
          </a:p>
        </p:txBody>
      </p:sp>
      <p:sp>
        <p:nvSpPr>
          <p:cNvPr id="4" name="Title 3"/>
          <p:cNvSpPr>
            <a:spLocks noGrp="1"/>
          </p:cNvSpPr>
          <p:nvPr>
            <p:ph type="title"/>
          </p:nvPr>
        </p:nvSpPr>
        <p:spPr/>
        <p:txBody>
          <a:bodyPr/>
          <a:lstStyle/>
          <a:p>
            <a:r>
              <a:rPr lang="en-US" dirty="0">
                <a:latin typeface="CiscoSans ExtraLight" charset="0"/>
                <a:ea typeface="CiscoSans ExtraLight" charset="0"/>
                <a:cs typeface="CiscoSans ExtraLight" charset="0"/>
              </a:rPr>
              <a:t>Enterprise Network Visibility (Cisco Stealthwatch)</a:t>
            </a:r>
          </a:p>
        </p:txBody>
      </p:sp>
    </p:spTree>
    <p:extLst>
      <p:ext uri="{BB962C8B-B14F-4D97-AF65-F5344CB8AC3E}">
        <p14:creationId xmlns:p14="http://schemas.microsoft.com/office/powerpoint/2010/main" val="6618360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22247" y="1205898"/>
            <a:ext cx="8621753" cy="3341138"/>
          </a:xfrm>
        </p:spPr>
        <p:txBody>
          <a:bodyPr anchor="t"/>
          <a:lstStyle/>
          <a:p>
            <a:pPr lvl="1"/>
            <a:r>
              <a:rPr lang="en-US" sz="1200" dirty="0">
                <a:latin typeface="CiscoSans ExtraLight" charset="0"/>
                <a:ea typeface="CiscoSans ExtraLight" charset="0"/>
                <a:cs typeface="CiscoSans ExtraLight" charset="0"/>
              </a:rPr>
              <a:t>High Level Dashboard View of Security Monitoring &amp; Analytics (Concern Index, Policy Violations, Data Hoarding)</a:t>
            </a:r>
          </a:p>
          <a:p>
            <a:pPr lvl="2"/>
            <a:r>
              <a:rPr lang="en-US" sz="1050" dirty="0">
                <a:latin typeface="CiscoSans ExtraLight" charset="0"/>
                <a:ea typeface="CiscoSans ExtraLight" charset="0"/>
                <a:cs typeface="CiscoSans ExtraLight" charset="0"/>
              </a:rPr>
              <a:t>Employee downloading CT/Imaging reports from Radiology Server (DC) through Radiology Client at Hospital locations </a:t>
            </a:r>
          </a:p>
          <a:p>
            <a:pPr lvl="2"/>
            <a:r>
              <a:rPr lang="en-US" sz="1050" dirty="0">
                <a:latin typeface="CiscoSans ExtraLight" charset="0"/>
                <a:ea typeface="CiscoSans ExtraLight" charset="0"/>
                <a:cs typeface="CiscoSans ExtraLight" charset="0"/>
              </a:rPr>
              <a:t>IT Admin is downloading patient imaging reports (CT Scans) from the Radiology Server in the DC</a:t>
            </a:r>
          </a:p>
        </p:txBody>
      </p:sp>
      <p:sp>
        <p:nvSpPr>
          <p:cNvPr id="7" name="Title 3"/>
          <p:cNvSpPr>
            <a:spLocks noGrp="1"/>
          </p:cNvSpPr>
          <p:nvPr>
            <p:ph type="title"/>
          </p:nvPr>
        </p:nvSpPr>
        <p:spPr/>
        <p:txBody>
          <a:bodyPr/>
          <a:lstStyle/>
          <a:p>
            <a:r>
              <a:rPr lang="en-US" dirty="0">
                <a:latin typeface="CiscoSans ExtraLight" charset="0"/>
                <a:ea typeface="CiscoSans ExtraLight" charset="0"/>
                <a:cs typeface="CiscoSans ExtraLight" charset="0"/>
              </a:rPr>
              <a:t>Threat Detection via Security Analytics </a:t>
            </a:r>
            <a:br>
              <a:rPr lang="en-US" dirty="0">
                <a:latin typeface="CiscoSans ExtraLight" charset="0"/>
                <a:ea typeface="CiscoSans ExtraLight" charset="0"/>
                <a:cs typeface="CiscoSans ExtraLight" charset="0"/>
              </a:rPr>
            </a:br>
            <a:r>
              <a:rPr lang="en-US" dirty="0">
                <a:latin typeface="CiscoSans ExtraLight" charset="0"/>
                <a:ea typeface="CiscoSans ExtraLight" charset="0"/>
                <a:cs typeface="CiscoSans ExtraLight" charset="0"/>
              </a:rPr>
              <a:t>(Cisco Stealthwatch)</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15581" y="2076227"/>
            <a:ext cx="5931200" cy="2711002"/>
          </a:xfrm>
          <a:prstGeom prst="rect">
            <a:avLst/>
          </a:prstGeom>
        </p:spPr>
      </p:pic>
    </p:spTree>
    <p:extLst>
      <p:ext uri="{BB962C8B-B14F-4D97-AF65-F5344CB8AC3E}">
        <p14:creationId xmlns:p14="http://schemas.microsoft.com/office/powerpoint/2010/main" val="231116239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33399" y="1205898"/>
            <a:ext cx="8822474" cy="3083094"/>
          </a:xfrm>
        </p:spPr>
        <p:txBody>
          <a:bodyPr anchor="t"/>
          <a:lstStyle/>
          <a:p>
            <a:pPr marL="57150" indent="0">
              <a:buNone/>
            </a:pPr>
            <a:r>
              <a:rPr lang="en-US" sz="1200" dirty="0">
                <a:latin typeface="CiscoSans ExtraLight" charset="0"/>
                <a:ea typeface="CiscoSans ExtraLight" charset="0"/>
                <a:cs typeface="CiscoSans ExtraLight" charset="0"/>
              </a:rPr>
              <a:t>Policy Violation Reporting (Alarm is showing unauthorized access to Radiology Imaging Clients)</a:t>
            </a:r>
          </a:p>
          <a:p>
            <a:pPr marL="57150" indent="0">
              <a:buNone/>
            </a:pPr>
            <a:endParaRPr lang="en-US" sz="1400" dirty="0">
              <a:latin typeface="CiscoSans ExtraLight" charset="0"/>
              <a:ea typeface="CiscoSans ExtraLight" charset="0"/>
              <a:cs typeface="CiscoSans ExtraLight" charset="0"/>
            </a:endParaRPr>
          </a:p>
          <a:p>
            <a:pPr marL="57150" indent="0">
              <a:buNone/>
            </a:pPr>
            <a:endParaRPr lang="en-US" sz="1400" dirty="0">
              <a:latin typeface="CiscoSans ExtraLight" charset="0"/>
              <a:ea typeface="CiscoSans ExtraLight" charset="0"/>
              <a:cs typeface="CiscoSans ExtraLight" charset="0"/>
            </a:endParaRPr>
          </a:p>
          <a:p>
            <a:pPr marL="57150" indent="0">
              <a:buNone/>
            </a:pPr>
            <a:endParaRPr lang="en-US" sz="1400" dirty="0">
              <a:latin typeface="CiscoSans ExtraLight" charset="0"/>
              <a:ea typeface="CiscoSans ExtraLight" charset="0"/>
              <a:cs typeface="CiscoSans ExtraLight" charset="0"/>
            </a:endParaRPr>
          </a:p>
          <a:p>
            <a:pPr marL="57150" indent="0">
              <a:buNone/>
            </a:pPr>
            <a:endParaRPr lang="en-US" sz="1400" dirty="0">
              <a:latin typeface="CiscoSans ExtraLight" charset="0"/>
              <a:ea typeface="CiscoSans ExtraLight" charset="0"/>
              <a:cs typeface="CiscoSans ExtraLight" charset="0"/>
            </a:endParaRPr>
          </a:p>
          <a:p>
            <a:pPr marL="57150" indent="0">
              <a:buNone/>
            </a:pPr>
            <a:endParaRPr lang="en-US" sz="1400" dirty="0">
              <a:latin typeface="CiscoSans ExtraLight" charset="0"/>
              <a:ea typeface="CiscoSans ExtraLight" charset="0"/>
              <a:cs typeface="CiscoSans ExtraLight" charset="0"/>
            </a:endParaRPr>
          </a:p>
        </p:txBody>
      </p:sp>
      <p:sp>
        <p:nvSpPr>
          <p:cNvPr id="2" name="Text Placeholder 1"/>
          <p:cNvSpPr>
            <a:spLocks noGrp="1"/>
          </p:cNvSpPr>
          <p:nvPr>
            <p:ph type="body" sz="quarter" idx="11"/>
          </p:nvPr>
        </p:nvSpPr>
        <p:spPr>
          <a:xfrm>
            <a:off x="533399" y="3005319"/>
            <a:ext cx="3886200" cy="286752"/>
          </a:xfrm>
        </p:spPr>
        <p:txBody>
          <a:bodyPr/>
          <a:lstStyle/>
          <a:p>
            <a:pPr marL="57150" indent="0">
              <a:buNone/>
            </a:pPr>
            <a:r>
              <a:rPr lang="en-US" sz="1200" dirty="0">
                <a:latin typeface="CiscoSans ExtraLight" charset="0"/>
                <a:ea typeface="CiscoSans ExtraLight" charset="0"/>
                <a:cs typeface="CiscoSans ExtraLight" charset="0"/>
              </a:rPr>
              <a:t>Data Hoarding Alarms &amp; Security Events</a:t>
            </a:r>
          </a:p>
          <a:p>
            <a:endParaRPr lang="en-US" dirty="0"/>
          </a:p>
        </p:txBody>
      </p:sp>
      <p:sp>
        <p:nvSpPr>
          <p:cNvPr id="4" name="Title 3"/>
          <p:cNvSpPr>
            <a:spLocks noGrp="1"/>
          </p:cNvSpPr>
          <p:nvPr>
            <p:ph type="title"/>
          </p:nvPr>
        </p:nvSpPr>
        <p:spPr/>
        <p:txBody>
          <a:bodyPr/>
          <a:lstStyle/>
          <a:p>
            <a:r>
              <a:rPr lang="en-US" dirty="0">
                <a:latin typeface="CiscoSans ExtraLight" charset="0"/>
                <a:ea typeface="CiscoSans ExtraLight" charset="0"/>
                <a:cs typeface="CiscoSans ExtraLight" charset="0"/>
              </a:rPr>
              <a:t>Threat Detection via Security Analytics </a:t>
            </a:r>
            <a:br>
              <a:rPr lang="en-US" dirty="0">
                <a:latin typeface="CiscoSans ExtraLight" charset="0"/>
                <a:ea typeface="CiscoSans ExtraLight" charset="0"/>
                <a:cs typeface="CiscoSans ExtraLight" charset="0"/>
              </a:rPr>
            </a:br>
            <a:r>
              <a:rPr lang="en-US" dirty="0">
                <a:latin typeface="CiscoSans ExtraLight" charset="0"/>
                <a:ea typeface="CiscoSans ExtraLight" charset="0"/>
                <a:cs typeface="CiscoSans ExtraLight" charset="0"/>
              </a:rPr>
              <a:t>(Cisco Stealthwatch)</a:t>
            </a: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r="535" b="31279"/>
          <a:stretch/>
        </p:blipFill>
        <p:spPr>
          <a:xfrm>
            <a:off x="0" y="1493729"/>
            <a:ext cx="9010185" cy="1322967"/>
          </a:xfrm>
          <a:prstGeom prst="rect">
            <a:avLst/>
          </a:prstGeom>
        </p:spPr>
      </p:pic>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r="299" b="34617"/>
          <a:stretch/>
        </p:blipFill>
        <p:spPr>
          <a:xfrm>
            <a:off x="52189" y="3237275"/>
            <a:ext cx="9116641" cy="1309413"/>
          </a:xfrm>
          <a:prstGeom prst="rect">
            <a:avLst/>
          </a:prstGeom>
        </p:spPr>
      </p:pic>
      <p:sp>
        <p:nvSpPr>
          <p:cNvPr id="9" name="Text Placeholder 1"/>
          <p:cNvSpPr txBox="1">
            <a:spLocks/>
          </p:cNvSpPr>
          <p:nvPr/>
        </p:nvSpPr>
        <p:spPr>
          <a:xfrm>
            <a:off x="571498" y="4576823"/>
            <a:ext cx="7696201" cy="372970"/>
          </a:xfrm>
          <a:prstGeom prst="rect">
            <a:avLst/>
          </a:prstGeom>
          <a:solidFill>
            <a:schemeClr val="bg2"/>
          </a:solidFill>
        </p:spPr>
        <p:txBody>
          <a:bodyPr lIns="0" tIns="45710" rIns="0" bIns="4571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baseline="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4625" marR="0" lvl="0" indent="-117475" algn="l" defTabSz="684213" rtl="0" eaLnBrk="1" fontAlgn="base" latinLnBrk="0" hangingPunct="1">
              <a:lnSpc>
                <a:spcPct val="100000"/>
              </a:lnSpc>
              <a:spcBef>
                <a:spcPts val="600"/>
              </a:spcBef>
              <a:spcAft>
                <a:spcPct val="0"/>
              </a:spcAft>
              <a:buClr>
                <a:srgbClr val="282828"/>
              </a:buClr>
              <a:buSzPct val="60000"/>
              <a:buFont typeface="Arial"/>
              <a:buChar char="•"/>
              <a:tabLst/>
              <a:defRPr/>
            </a:pPr>
            <a:r>
              <a:rPr kumimoji="0" lang="en-US" sz="11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rPr>
              <a:t>Alarms show that Radiology Client &amp; “Employee” have downloaded large amounts of data</a:t>
            </a:r>
          </a:p>
          <a:p>
            <a:pPr marL="174625" marR="0" lvl="0" indent="-117475" algn="l" defTabSz="684213" rtl="0" eaLnBrk="1" fontAlgn="base" latinLnBrk="0" hangingPunct="1">
              <a:lnSpc>
                <a:spcPct val="100000"/>
              </a:lnSpc>
              <a:spcBef>
                <a:spcPts val="600"/>
              </a:spcBef>
              <a:spcAft>
                <a:spcPct val="0"/>
              </a:spcAft>
              <a:buClr>
                <a:srgbClr val="282828"/>
              </a:buClr>
              <a:buSzPct val="60000"/>
              <a:buFont typeface="Arial"/>
              <a:buChar char="•"/>
              <a:tabLst/>
              <a:defRPr/>
            </a:pPr>
            <a:r>
              <a:rPr kumimoji="0" lang="en-US" sz="11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rPr>
              <a:t>Alarms show that IT Admin has downloaded large amounts of data from the Imaging Sever in the DC</a:t>
            </a:r>
          </a:p>
        </p:txBody>
      </p:sp>
    </p:spTree>
    <p:extLst>
      <p:ext uri="{BB962C8B-B14F-4D97-AF65-F5344CB8AC3E}">
        <p14:creationId xmlns:p14="http://schemas.microsoft.com/office/powerpoint/2010/main" val="174655395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37766" y="341313"/>
            <a:ext cx="8706234" cy="731837"/>
          </a:xfrm>
        </p:spPr>
        <p:txBody>
          <a:bodyPr/>
          <a:lstStyle/>
          <a:p>
            <a:r>
              <a:rPr lang="en-US" dirty="0"/>
              <a:t>Rapid Threat Containment (Stealthwatch &amp; ISE)</a:t>
            </a:r>
          </a:p>
        </p:txBody>
      </p:sp>
      <p:sp>
        <p:nvSpPr>
          <p:cNvPr id="6" name="TextBox 5"/>
          <p:cNvSpPr txBox="1"/>
          <p:nvPr/>
        </p:nvSpPr>
        <p:spPr>
          <a:xfrm>
            <a:off x="3330351" y="2484876"/>
            <a:ext cx="2560316"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rPr>
              <a:t>Matt: </a:t>
            </a:r>
            <a:r>
              <a:rPr kumimoji="0" lang="en-US" sz="1800" b="0" i="0" u="none" strike="noStrike" kern="1200" cap="none" spc="0" normalizeH="0" baseline="0" noProof="0">
                <a:ln>
                  <a:noFill/>
                </a:ln>
                <a:solidFill>
                  <a:srgbClr val="282828"/>
                </a:solidFill>
                <a:effectLst/>
                <a:uLnTx/>
                <a:uFillTx/>
                <a:latin typeface="CiscoSansTT ExtraLight"/>
                <a:ea typeface="ＭＳ Ｐゴシック" charset="0"/>
              </a:rPr>
              <a:t>make screenshot</a:t>
            </a: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7" name="Text Placeholder 1"/>
          <p:cNvSpPr txBox="1">
            <a:spLocks/>
          </p:cNvSpPr>
          <p:nvPr/>
        </p:nvSpPr>
        <p:spPr>
          <a:xfrm>
            <a:off x="1319969" y="4519489"/>
            <a:ext cx="7696201" cy="372970"/>
          </a:xfrm>
          <a:prstGeom prst="rect">
            <a:avLst/>
          </a:prstGeom>
          <a:solidFill>
            <a:schemeClr val="bg2"/>
          </a:solidFill>
        </p:spPr>
        <p:txBody>
          <a:bodyPr lIns="0" tIns="45710" rIns="0" bIns="4571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baseline="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4625" marR="0" lvl="0" indent="-117475" algn="l" defTabSz="684213" rtl="0" eaLnBrk="1" fontAlgn="base" latinLnBrk="0" hangingPunct="1">
              <a:lnSpc>
                <a:spcPct val="95000"/>
              </a:lnSpc>
              <a:spcBef>
                <a:spcPts val="1110"/>
              </a:spcBef>
              <a:spcAft>
                <a:spcPct val="0"/>
              </a:spcAft>
              <a:buClr>
                <a:srgbClr val="282828"/>
              </a:buClr>
              <a:buSzPct val="60000"/>
              <a:buFont typeface="Arial"/>
              <a:buChar char="•"/>
              <a:tabLst/>
              <a:defRPr/>
            </a:pPr>
            <a:r>
              <a:rPr kumimoji="0" lang="en-US" sz="11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rPr>
              <a:t>Dynamically reassign malicious host (“Bad IT Admin”) into a Quarantine Security Group</a:t>
            </a:r>
          </a:p>
          <a:p>
            <a:pPr marL="174625" marR="0" lvl="0" indent="-117475" algn="l" defTabSz="684213" rtl="0" eaLnBrk="1" fontAlgn="base" latinLnBrk="0" hangingPunct="1">
              <a:lnSpc>
                <a:spcPct val="95000"/>
              </a:lnSpc>
              <a:spcBef>
                <a:spcPts val="1110"/>
              </a:spcBef>
              <a:spcAft>
                <a:spcPct val="0"/>
              </a:spcAft>
              <a:buClr>
                <a:srgbClr val="282828"/>
              </a:buClr>
              <a:buSzPct val="60000"/>
              <a:buFont typeface="Arial"/>
              <a:buChar char="•"/>
              <a:tabLst/>
              <a:defRPr/>
            </a:pPr>
            <a:r>
              <a:rPr kumimoji="0" lang="en-US" sz="11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rPr>
              <a:t>Pre-established policies take effect, effectively Quarantining the malicious host (“Bad IT Admin”) </a:t>
            </a:r>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t="22597" r="33630"/>
          <a:stretch/>
        </p:blipFill>
        <p:spPr>
          <a:xfrm>
            <a:off x="2140513" y="946371"/>
            <a:ext cx="5241593" cy="3446342"/>
          </a:xfrm>
          <a:prstGeom prst="rect">
            <a:avLst/>
          </a:prstGeom>
        </p:spPr>
      </p:pic>
      <p:sp>
        <p:nvSpPr>
          <p:cNvPr id="9" name="Rectangle 8"/>
          <p:cNvSpPr/>
          <p:nvPr/>
        </p:nvSpPr>
        <p:spPr>
          <a:xfrm>
            <a:off x="2237591" y="3926541"/>
            <a:ext cx="634701" cy="290457"/>
          </a:xfrm>
          <a:prstGeom prst="rect">
            <a:avLst/>
          </a:prstGeom>
          <a:noFill/>
          <a:ln w="381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Tree>
    <p:extLst>
      <p:ext uri="{BB962C8B-B14F-4D97-AF65-F5344CB8AC3E}">
        <p14:creationId xmlns:p14="http://schemas.microsoft.com/office/powerpoint/2010/main" val="130045141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7766" y="341313"/>
            <a:ext cx="8706234" cy="731837"/>
          </a:xfrm>
        </p:spPr>
        <p:txBody>
          <a:bodyPr/>
          <a:lstStyle/>
          <a:p>
            <a:r>
              <a:rPr lang="en-US" dirty="0">
                <a:latin typeface="CiscoSans ExtraLight" charset="0"/>
                <a:ea typeface="CiscoSans ExtraLight" charset="0"/>
                <a:cs typeface="CiscoSans ExtraLight" charset="0"/>
              </a:rPr>
              <a:t>Application Segmentation and Policy Enforcement (Cisco </a:t>
            </a:r>
            <a:r>
              <a:rPr lang="en-US" dirty="0" err="1">
                <a:latin typeface="CiscoSans ExtraLight" charset="0"/>
                <a:ea typeface="CiscoSans ExtraLight" charset="0"/>
                <a:cs typeface="CiscoSans ExtraLight" charset="0"/>
              </a:rPr>
              <a:t>Tetration</a:t>
            </a:r>
            <a:r>
              <a:rPr lang="en-US" dirty="0">
                <a:latin typeface="CiscoSans ExtraLight" charset="0"/>
                <a:ea typeface="CiscoSans ExtraLight" charset="0"/>
                <a:cs typeface="CiscoSans ExtraLight" charset="0"/>
              </a:rPr>
              <a:t>)</a:t>
            </a:r>
          </a:p>
        </p:txBody>
      </p:sp>
      <p:sp>
        <p:nvSpPr>
          <p:cNvPr id="5" name="Text Placeholder 5"/>
          <p:cNvSpPr txBox="1">
            <a:spLocks/>
          </p:cNvSpPr>
          <p:nvPr/>
        </p:nvSpPr>
        <p:spPr>
          <a:xfrm>
            <a:off x="357201" y="1073150"/>
            <a:ext cx="8911684" cy="3341138"/>
          </a:xfrm>
          <a:prstGeom prst="rect">
            <a:avLst/>
          </a:prstGeom>
        </p:spPr>
        <p:txBody>
          <a:bodyPr lIns="0" tIns="45710" rIns="0" bIns="45710" anchor="t">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50" marR="0" lvl="0" indent="0" algn="l" defTabSz="684213" rtl="0" eaLnBrk="1" fontAlgn="base" latinLnBrk="0" hangingPunct="1">
              <a:lnSpc>
                <a:spcPct val="95000"/>
              </a:lnSpc>
              <a:spcBef>
                <a:spcPts val="1110"/>
              </a:spcBef>
              <a:spcAft>
                <a:spcPct val="0"/>
              </a:spcAft>
              <a:buClr>
                <a:srgbClr val="282828"/>
              </a:buClr>
              <a:buSzPct val="60000"/>
              <a:buFont typeface="Arial"/>
              <a:buNone/>
              <a:tabLst/>
              <a:defRPr/>
            </a:pPr>
            <a:r>
              <a:rPr kumimoji="0" lang="en-US" sz="12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rPr>
              <a:t>Policy enforcement of access policies to reduce the attack surface across east-west traffic</a:t>
            </a:r>
          </a:p>
          <a:p>
            <a:pPr marL="288925" marR="0" lvl="1" indent="-114300" algn="l" defTabSz="684213" rtl="0" eaLnBrk="1" fontAlgn="base" latinLnBrk="0" hangingPunct="1">
              <a:lnSpc>
                <a:spcPct val="95000"/>
              </a:lnSpc>
              <a:spcBef>
                <a:spcPts val="450"/>
              </a:spcBef>
              <a:spcAft>
                <a:spcPct val="0"/>
              </a:spcAft>
              <a:buClr>
                <a:srgbClr val="282828"/>
              </a:buClr>
              <a:buSzPct val="60000"/>
              <a:buFont typeface="Arial"/>
              <a:buChar char="•"/>
              <a:tabLst/>
              <a:defRPr/>
            </a:pPr>
            <a:endParaRPr kumimoji="0" lang="en-US" sz="12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endParaRPr>
          </a:p>
        </p:txBody>
      </p:sp>
      <p:sp>
        <p:nvSpPr>
          <p:cNvPr id="14" name="TextBox 13"/>
          <p:cNvSpPr txBox="1"/>
          <p:nvPr/>
        </p:nvSpPr>
        <p:spPr>
          <a:xfrm>
            <a:off x="-121871" y="1455475"/>
            <a:ext cx="4934914" cy="349512"/>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square" lIns="548640" tIns="81626" rIns="81626" bIns="81626" anchor="ctr" anchorCtr="0">
            <a:spAutoFit/>
          </a:bodyPr>
          <a:lstStyle>
            <a:defPPr>
              <a:defRPr lang="en-US"/>
            </a:defPPr>
            <a:lvl1pPr>
              <a:defRPr sz="1200">
                <a:solidFill>
                  <a:srgbClr val="FFFFFF"/>
                </a:solidFill>
                <a:latin typeface="+mn-lt"/>
                <a:ea typeface="+mn-ea"/>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282828"/>
                </a:solidFill>
                <a:effectLst/>
                <a:uLnTx/>
                <a:uFillTx/>
                <a:latin typeface="CiscoSansTT ExtraLight"/>
                <a:ea typeface="+mn-ea"/>
                <a:cs typeface="+mn-cs"/>
              </a:rPr>
              <a:t>Application policy enforcement (whitelist/blacklist)</a:t>
            </a:r>
            <a:endParaRPr kumimoji="0" lang="en-US" sz="800" b="0" i="1"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9" name="TextBox 8"/>
          <p:cNvSpPr txBox="1"/>
          <p:nvPr/>
        </p:nvSpPr>
        <p:spPr>
          <a:xfrm>
            <a:off x="4209086" y="3440343"/>
            <a:ext cx="4934914" cy="1642174"/>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square" lIns="548640" tIns="81626" rIns="81626" bIns="81626" anchor="ctr" anchorCtr="0">
            <a:spAutoFit/>
          </a:bodyPr>
          <a:lstStyle>
            <a:defPPr>
              <a:defRPr lang="en-US"/>
            </a:defPPr>
            <a:lvl1pPr>
              <a:defRPr sz="1200">
                <a:solidFill>
                  <a:srgbClr val="FFFFFF"/>
                </a:solidFill>
                <a:latin typeface="+mn-lt"/>
                <a:ea typeface="+mn-ea"/>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282828"/>
              </a:solidFill>
              <a:effectLst/>
              <a:uLnTx/>
              <a:uFillTx/>
              <a:latin typeface="CiscoSansTT ExtraLight"/>
              <a:ea typeface="+mn-ea"/>
              <a:cs typeface="+mn-cs"/>
            </a:endParaRPr>
          </a:p>
          <a:p>
            <a:pPr marL="171450" marR="0" lvl="0" indent="-171450" algn="l" defTabSz="457200" rtl="0" eaLnBrk="1" fontAlgn="base" latinLnBrk="0" hangingPunct="1">
              <a:lnSpc>
                <a:spcPct val="100000"/>
              </a:lnSpc>
              <a:spcBef>
                <a:spcPct val="0"/>
              </a:spcBef>
              <a:spcAft>
                <a:spcPct val="0"/>
              </a:spcAft>
              <a:buClrTx/>
              <a:buSzTx/>
              <a:buFont typeface="Arial" charset="0"/>
              <a:buChar char="•"/>
              <a:tabLst/>
              <a:defRPr/>
            </a:pPr>
            <a:r>
              <a:rPr kumimoji="0" lang="en-US" sz="1200" b="0" i="0" u="none" strike="noStrike" kern="1200" cap="none" spc="0" normalizeH="0" baseline="0" noProof="0" dirty="0">
                <a:ln>
                  <a:noFill/>
                </a:ln>
                <a:solidFill>
                  <a:srgbClr val="282828"/>
                </a:solidFill>
                <a:effectLst/>
                <a:uLnTx/>
                <a:uFillTx/>
                <a:latin typeface="CiscoSansTT ExtraLight"/>
                <a:ea typeface="+mn-ea"/>
                <a:cs typeface="+mn-cs"/>
              </a:rPr>
              <a:t>Whitelist policies prevent lateral movement even when application components are compromised </a:t>
            </a:r>
            <a:br>
              <a:rPr kumimoji="0" lang="en-US" sz="1200" b="0" i="0" u="none" strike="noStrike" kern="1200" cap="none" spc="0" normalizeH="0" baseline="0" noProof="0" dirty="0">
                <a:ln>
                  <a:noFill/>
                </a:ln>
                <a:solidFill>
                  <a:srgbClr val="282828"/>
                </a:solidFill>
                <a:effectLst/>
                <a:uLnTx/>
                <a:uFillTx/>
                <a:latin typeface="CiscoSansTT ExtraLight"/>
                <a:ea typeface="+mn-ea"/>
                <a:cs typeface="+mn-cs"/>
              </a:rPr>
            </a:br>
            <a:r>
              <a:rPr kumimoji="0" lang="en-US" sz="1200" b="0" i="0" u="none" strike="noStrike" kern="1200" cap="none" spc="0" normalizeH="0" baseline="0" noProof="0" dirty="0">
                <a:ln>
                  <a:noFill/>
                </a:ln>
                <a:solidFill>
                  <a:srgbClr val="282828"/>
                </a:solidFill>
                <a:effectLst/>
                <a:uLnTx/>
                <a:uFillTx/>
                <a:latin typeface="CiscoSansTT ExtraLight"/>
                <a:ea typeface="+mn-ea"/>
                <a:cs typeface="+mn-cs"/>
              </a:rPr>
              <a:t>(e.g. infected by malware)</a:t>
            </a:r>
          </a:p>
          <a:p>
            <a:pPr marL="171450" marR="0" lvl="0" indent="-171450" algn="l" defTabSz="457200" rtl="0" eaLnBrk="1" fontAlgn="base" latinLnBrk="0" hangingPunct="1">
              <a:lnSpc>
                <a:spcPct val="100000"/>
              </a:lnSpc>
              <a:spcBef>
                <a:spcPct val="0"/>
              </a:spcBef>
              <a:spcAft>
                <a:spcPct val="0"/>
              </a:spcAft>
              <a:buClrTx/>
              <a:buSzTx/>
              <a:buFont typeface="Arial" charset="0"/>
              <a:buChar char="•"/>
              <a:tabLst/>
              <a:defRPr/>
            </a:pPr>
            <a:endParaRPr kumimoji="0" lang="en-US" sz="1200" b="0" i="0" u="none" strike="noStrike" kern="1200" cap="none" spc="0" normalizeH="0" baseline="0" noProof="0" dirty="0">
              <a:ln>
                <a:noFill/>
              </a:ln>
              <a:solidFill>
                <a:srgbClr val="282828"/>
              </a:solidFill>
              <a:effectLst/>
              <a:uLnTx/>
              <a:uFillTx/>
              <a:latin typeface="CiscoSansTT ExtraLight"/>
              <a:ea typeface="+mn-ea"/>
              <a:cs typeface="+mn-cs"/>
            </a:endParaRPr>
          </a:p>
          <a:p>
            <a:pPr marL="171450" marR="0" lvl="0" indent="-171450" algn="l" defTabSz="457200" rtl="0" eaLnBrk="1" fontAlgn="base" latinLnBrk="0" hangingPunct="1">
              <a:lnSpc>
                <a:spcPct val="100000"/>
              </a:lnSpc>
              <a:spcBef>
                <a:spcPct val="0"/>
              </a:spcBef>
              <a:spcAft>
                <a:spcPct val="0"/>
              </a:spcAft>
              <a:buClrTx/>
              <a:buSzTx/>
              <a:buFont typeface="Arial" charset="0"/>
              <a:buChar char="•"/>
              <a:tabLst/>
              <a:defRPr/>
            </a:pPr>
            <a:r>
              <a:rPr kumimoji="0" lang="en-US" sz="1200" b="0" i="0" u="none" strike="noStrike" kern="1200" cap="none" spc="0" normalizeH="0" baseline="0" noProof="0" dirty="0">
                <a:ln>
                  <a:noFill/>
                </a:ln>
                <a:solidFill>
                  <a:srgbClr val="282828"/>
                </a:solidFill>
                <a:effectLst/>
                <a:uLnTx/>
                <a:uFillTx/>
                <a:latin typeface="CiscoSansTT ExtraLight"/>
                <a:ea typeface="+mn-ea"/>
                <a:cs typeface="+mn-cs"/>
              </a:rPr>
              <a:t>New blacklist policy prevents “Bad IT Admin” from accessing the Radiology Server and downloading additional CT Scan reports</a:t>
            </a:r>
            <a:endParaRPr kumimoji="0" lang="en-US" sz="800" b="0" i="0" u="none" strike="noStrike" kern="1200" cap="none" spc="0" normalizeH="0" baseline="0" noProof="0" dirty="0">
              <a:ln>
                <a:noFill/>
              </a:ln>
              <a:solidFill>
                <a:srgbClr val="282828"/>
              </a:solidFill>
              <a:effectLst/>
              <a:uLnTx/>
              <a:uFillTx/>
              <a:latin typeface="CiscoSansTT ExtraLight"/>
              <a:ea typeface="+mn-ea"/>
              <a:cs typeface="+mn-cs"/>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342" y="1804987"/>
            <a:ext cx="4318057" cy="1983368"/>
          </a:xfrm>
          <a:prstGeom prst="rect">
            <a:avLst/>
          </a:prstGeom>
        </p:spPr>
      </p:pic>
      <p:sp>
        <p:nvSpPr>
          <p:cNvPr id="13" name="Rectangle 12"/>
          <p:cNvSpPr/>
          <p:nvPr/>
        </p:nvSpPr>
        <p:spPr>
          <a:xfrm>
            <a:off x="324342" y="2871126"/>
            <a:ext cx="4318057" cy="248592"/>
          </a:xfrm>
          <a:prstGeom prst="rect">
            <a:avLst/>
          </a:prstGeom>
          <a:noFill/>
          <a:ln w="381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Tree>
    <p:extLst>
      <p:ext uri="{BB962C8B-B14F-4D97-AF65-F5344CB8AC3E}">
        <p14:creationId xmlns:p14="http://schemas.microsoft.com/office/powerpoint/2010/main" val="4718653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7766" y="341313"/>
            <a:ext cx="8706234" cy="731837"/>
          </a:xfrm>
        </p:spPr>
        <p:txBody>
          <a:bodyPr/>
          <a:lstStyle/>
          <a:p>
            <a:r>
              <a:rPr lang="en-US" dirty="0">
                <a:latin typeface="CiscoSans ExtraLight" charset="0"/>
                <a:ea typeface="CiscoSans ExtraLight" charset="0"/>
                <a:cs typeface="CiscoSans ExtraLight" charset="0"/>
              </a:rPr>
              <a:t>Application Segmentation and Policy Enforcement (Cisco </a:t>
            </a:r>
            <a:r>
              <a:rPr lang="en-US" dirty="0" err="1">
                <a:latin typeface="CiscoSans ExtraLight" charset="0"/>
                <a:ea typeface="CiscoSans ExtraLight" charset="0"/>
                <a:cs typeface="CiscoSans ExtraLight" charset="0"/>
              </a:rPr>
              <a:t>Tetration</a:t>
            </a:r>
            <a:r>
              <a:rPr lang="en-US" dirty="0">
                <a:latin typeface="CiscoSans ExtraLight" charset="0"/>
                <a:ea typeface="CiscoSans ExtraLight" charset="0"/>
                <a:cs typeface="CiscoSans ExtraLight" charset="0"/>
              </a:rPr>
              <a:t>)</a:t>
            </a:r>
          </a:p>
        </p:txBody>
      </p:sp>
      <p:sp>
        <p:nvSpPr>
          <p:cNvPr id="5" name="Text Placeholder 5"/>
          <p:cNvSpPr txBox="1">
            <a:spLocks/>
          </p:cNvSpPr>
          <p:nvPr/>
        </p:nvSpPr>
        <p:spPr>
          <a:xfrm>
            <a:off x="437766" y="1081293"/>
            <a:ext cx="8911684" cy="3341138"/>
          </a:xfrm>
          <a:prstGeom prst="rect">
            <a:avLst/>
          </a:prstGeom>
        </p:spPr>
        <p:txBody>
          <a:bodyPr lIns="0" tIns="45710" rIns="0" bIns="45710" anchor="t">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50" marR="0" lvl="0" indent="0" algn="l" defTabSz="684213" rtl="0" eaLnBrk="1" fontAlgn="base" latinLnBrk="0" hangingPunct="1">
              <a:lnSpc>
                <a:spcPct val="95000"/>
              </a:lnSpc>
              <a:spcBef>
                <a:spcPts val="1110"/>
              </a:spcBef>
              <a:spcAft>
                <a:spcPct val="0"/>
              </a:spcAft>
              <a:buClr>
                <a:srgbClr val="282828"/>
              </a:buClr>
              <a:buSzPct val="60000"/>
              <a:buFont typeface="Arial"/>
              <a:buNone/>
              <a:tabLst/>
              <a:defRPr/>
            </a:pPr>
            <a:r>
              <a:rPr kumimoji="0" lang="en-US" sz="12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rPr>
              <a:t>Policy simulation, validation, and enforcement monitoring of policies to reduce the attack surface across east-west traffic</a:t>
            </a:r>
          </a:p>
          <a:p>
            <a:pPr marL="288925" marR="0" lvl="1" indent="-114300" algn="l" defTabSz="684213" rtl="0" eaLnBrk="1" fontAlgn="base" latinLnBrk="0" hangingPunct="1">
              <a:lnSpc>
                <a:spcPct val="95000"/>
              </a:lnSpc>
              <a:spcBef>
                <a:spcPts val="450"/>
              </a:spcBef>
              <a:spcAft>
                <a:spcPct val="0"/>
              </a:spcAft>
              <a:buClr>
                <a:srgbClr val="282828"/>
              </a:buClr>
              <a:buSzPct val="60000"/>
              <a:buFont typeface="Arial"/>
              <a:buChar char="•"/>
              <a:tabLst/>
              <a:defRPr/>
            </a:pPr>
            <a:endParaRPr kumimoji="0" lang="en-US" sz="1200" b="0" i="0" u="none" strike="noStrike" kern="1200" cap="none" spc="0" normalizeH="0" baseline="0" noProof="0" dirty="0">
              <a:ln>
                <a:noFill/>
              </a:ln>
              <a:solidFill>
                <a:srgbClr val="282828"/>
              </a:solidFill>
              <a:effectLst/>
              <a:uLnTx/>
              <a:uFillTx/>
              <a:latin typeface="CiscoSans ExtraLight" charset="0"/>
              <a:ea typeface="CiscoSans ExtraLight" charset="0"/>
              <a:cs typeface="CiscoSans ExtraLight" charset="0"/>
            </a:endParaRPr>
          </a:p>
        </p:txBody>
      </p:sp>
      <p:pic>
        <p:nvPicPr>
          <p:cNvPr id="15" name="Picture 14"/>
          <p:cNvPicPr>
            <a:picLocks noChangeAspect="1"/>
          </p:cNvPicPr>
          <p:nvPr/>
        </p:nvPicPr>
        <p:blipFill>
          <a:blip r:embed="rId2">
            <a:lum bright="70000" contrast="-70000"/>
            <a:extLst>
              <a:ext uri="{BEBA8EAE-BF5A-486C-A8C5-ECC9F3942E4B}">
                <a14:imgProps xmlns:a14="http://schemas.microsoft.com/office/drawing/2010/main">
                  <a14:imgLayer r:embed="rId3">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613684" y="1535568"/>
            <a:ext cx="314924" cy="314924"/>
          </a:xfrm>
          <a:prstGeom prst="rect">
            <a:avLst/>
          </a:prstGeom>
        </p:spPr>
      </p:pic>
      <p:sp>
        <p:nvSpPr>
          <p:cNvPr id="18" name="TextBox 17"/>
          <p:cNvSpPr txBox="1"/>
          <p:nvPr/>
        </p:nvSpPr>
        <p:spPr>
          <a:xfrm>
            <a:off x="-122852" y="1561854"/>
            <a:ext cx="4254036" cy="349512"/>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square" lIns="548640" tIns="81626" rIns="81626" bIns="81626" anchor="ctr" anchorCtr="0">
            <a:spAutoFit/>
          </a:bodyPr>
          <a:lstStyle>
            <a:defPPr>
              <a:defRPr lang="en-US"/>
            </a:defPPr>
            <a:lvl1pPr>
              <a:defRPr sz="1200">
                <a:solidFill>
                  <a:srgbClr val="FFFFFF"/>
                </a:solidFill>
                <a:latin typeface="+mn-lt"/>
                <a:ea typeface="+mn-ea"/>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282828"/>
                </a:solidFill>
                <a:effectLst/>
                <a:uLnTx/>
                <a:uFillTx/>
                <a:latin typeface="CiscoSansTT ExtraLight"/>
                <a:ea typeface="+mn-ea"/>
                <a:cs typeface="+mn-cs"/>
              </a:rPr>
              <a:t>Policy is monitored for compliance &amp; deviations</a:t>
            </a:r>
          </a:p>
        </p:txBody>
      </p:sp>
      <p:sp>
        <p:nvSpPr>
          <p:cNvPr id="9" name="TextBox 8"/>
          <p:cNvSpPr txBox="1"/>
          <p:nvPr/>
        </p:nvSpPr>
        <p:spPr>
          <a:xfrm>
            <a:off x="4112048" y="3913310"/>
            <a:ext cx="5031952" cy="903510"/>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square" lIns="548640" tIns="81626" rIns="81626" bIns="81626" anchor="ctr" anchorCtr="0">
            <a:spAutoFit/>
          </a:bodyPr>
          <a:lstStyle>
            <a:defPPr>
              <a:defRPr lang="en-US"/>
            </a:defPPr>
            <a:lvl1pPr>
              <a:defRPr sz="1200">
                <a:solidFill>
                  <a:srgbClr val="FFFFFF"/>
                </a:solidFill>
                <a:latin typeface="+mn-lt"/>
                <a:ea typeface="+mn-ea"/>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282828"/>
              </a:solidFill>
              <a:effectLst/>
              <a:uLnTx/>
              <a:uFillTx/>
              <a:latin typeface="CiscoSansTT ExtraLight"/>
              <a:ea typeface="+mn-ea"/>
              <a:cs typeface="+mn-cs"/>
            </a:endParaRPr>
          </a:p>
          <a:p>
            <a:pPr marL="171450" marR="0" lvl="0" indent="-171450" algn="l" defTabSz="457200" rtl="0" eaLnBrk="1" fontAlgn="base" latinLnBrk="0" hangingPunct="1">
              <a:lnSpc>
                <a:spcPct val="100000"/>
              </a:lnSpc>
              <a:spcBef>
                <a:spcPct val="0"/>
              </a:spcBef>
              <a:spcAft>
                <a:spcPct val="0"/>
              </a:spcAft>
              <a:buClrTx/>
              <a:buSzTx/>
              <a:buFont typeface="Arial" charset="0"/>
              <a:buChar char="•"/>
              <a:tabLst/>
              <a:defRPr/>
            </a:pPr>
            <a:r>
              <a:rPr kumimoji="0" lang="en-US" sz="1200" b="0" i="0" u="none" strike="noStrike" kern="1200" cap="none" spc="0" normalizeH="0" baseline="0" noProof="0" dirty="0">
                <a:ln>
                  <a:noFill/>
                </a:ln>
                <a:solidFill>
                  <a:srgbClr val="282828"/>
                </a:solidFill>
                <a:effectLst/>
                <a:uLnTx/>
                <a:uFillTx/>
                <a:latin typeface="CiscoSansTT ExtraLight"/>
                <a:ea typeface="+mn-ea"/>
                <a:cs typeface="+mn-cs"/>
              </a:rPr>
              <a:t>Network traffic mapped by known application behavior (Blue)</a:t>
            </a:r>
          </a:p>
          <a:p>
            <a:pPr marL="171450" marR="0" lvl="0" indent="-171450" algn="l" defTabSz="457200" rtl="0" eaLnBrk="1" fontAlgn="base" latinLnBrk="0" hangingPunct="1">
              <a:lnSpc>
                <a:spcPct val="100000"/>
              </a:lnSpc>
              <a:spcBef>
                <a:spcPct val="0"/>
              </a:spcBef>
              <a:spcAft>
                <a:spcPct val="0"/>
              </a:spcAft>
              <a:buClrTx/>
              <a:buSzTx/>
              <a:buFont typeface="Arial" charset="0"/>
              <a:buChar char="•"/>
              <a:tabLst/>
              <a:defRPr/>
            </a:pPr>
            <a:r>
              <a:rPr kumimoji="0" lang="en-US" sz="1200" b="0" i="0" u="none" strike="noStrike" kern="1200" cap="none" spc="0" normalizeH="0" baseline="0" noProof="0" dirty="0">
                <a:ln>
                  <a:noFill/>
                </a:ln>
                <a:solidFill>
                  <a:srgbClr val="282828"/>
                </a:solidFill>
                <a:effectLst/>
                <a:uLnTx/>
                <a:uFillTx/>
                <a:latin typeface="CiscoSansTT ExtraLight"/>
                <a:ea typeface="+mn-ea"/>
                <a:cs typeface="+mn-cs"/>
              </a:rPr>
              <a:t>Suspicious application behavior (Orange)</a:t>
            </a:r>
          </a:p>
          <a:p>
            <a:pPr marL="171450" marR="0" lvl="0" indent="-171450" algn="l" defTabSz="457200" rtl="0" eaLnBrk="1" fontAlgn="base" latinLnBrk="0" hangingPunct="1">
              <a:lnSpc>
                <a:spcPct val="100000"/>
              </a:lnSpc>
              <a:spcBef>
                <a:spcPct val="0"/>
              </a:spcBef>
              <a:spcAft>
                <a:spcPct val="0"/>
              </a:spcAft>
              <a:buClrTx/>
              <a:buSzTx/>
              <a:buFont typeface="Arial" charset="0"/>
              <a:buChar char="•"/>
              <a:tabLst/>
              <a:defRPr/>
            </a:pPr>
            <a:r>
              <a:rPr kumimoji="0" lang="en-US" sz="1200" b="0" i="0" u="none" strike="noStrike" kern="1200" cap="none" spc="0" normalizeH="0" baseline="0" noProof="0" dirty="0">
                <a:ln>
                  <a:noFill/>
                </a:ln>
                <a:solidFill>
                  <a:srgbClr val="282828"/>
                </a:solidFill>
                <a:effectLst/>
                <a:uLnTx/>
                <a:uFillTx/>
                <a:latin typeface="CiscoSansTT ExtraLight"/>
                <a:ea typeface="+mn-ea"/>
                <a:cs typeface="+mn-cs"/>
              </a:rPr>
              <a:t>Traffic that is dropped by enforcement agent (Gray)</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3683" y="2023564"/>
            <a:ext cx="7035003" cy="1980013"/>
          </a:xfrm>
          <a:prstGeom prst="rect">
            <a:avLst/>
          </a:prstGeom>
        </p:spPr>
      </p:pic>
    </p:spTree>
    <p:extLst>
      <p:ext uri="{BB962C8B-B14F-4D97-AF65-F5344CB8AC3E}">
        <p14:creationId xmlns:p14="http://schemas.microsoft.com/office/powerpoint/2010/main" val="29519503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1B9781AB-8FCF-4365-95DB-6AC94BA51744}"/>
              </a:ext>
            </a:extLst>
          </p:cNvPr>
          <p:cNvPicPr>
            <a:picLocks noChangeAspect="1"/>
          </p:cNvPicPr>
          <p:nvPr/>
        </p:nvPicPr>
        <p:blipFill>
          <a:blip r:embed="rId3"/>
          <a:stretch>
            <a:fillRect/>
          </a:stretch>
        </p:blipFill>
        <p:spPr>
          <a:xfrm>
            <a:off x="1354" y="0"/>
            <a:ext cx="9141292" cy="5143500"/>
          </a:xfrm>
          <a:prstGeom prst="rect">
            <a:avLst/>
          </a:prstGeom>
        </p:spPr>
      </p:pic>
      <p:sp>
        <p:nvSpPr>
          <p:cNvPr id="19" name="Rectangle 18">
            <a:extLst>
              <a:ext uri="{FF2B5EF4-FFF2-40B4-BE49-F238E27FC236}">
                <a16:creationId xmlns:a16="http://schemas.microsoft.com/office/drawing/2014/main" id="{E792A9A6-2AC2-4653-A811-194186D6B58A}"/>
              </a:ext>
            </a:extLst>
          </p:cNvPr>
          <p:cNvSpPr/>
          <p:nvPr/>
        </p:nvSpPr>
        <p:spPr>
          <a:xfrm>
            <a:off x="0" y="0"/>
            <a:ext cx="9144000" cy="5143500"/>
          </a:xfrm>
          <a:prstGeom prst="rect">
            <a:avLst/>
          </a:prstGeom>
          <a:gradFill flip="none" rotWithShape="1">
            <a:gsLst>
              <a:gs pos="0">
                <a:schemeClr val="bg2"/>
              </a:gs>
              <a:gs pos="27000">
                <a:schemeClr val="bg2">
                  <a:alpha val="35000"/>
                </a:schemeClr>
              </a:gs>
              <a:gs pos="56000">
                <a:schemeClr val="bg2">
                  <a:alpha val="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9" name="Rectangle: Rounded Corners 28">
            <a:extLst>
              <a:ext uri="{FF2B5EF4-FFF2-40B4-BE49-F238E27FC236}">
                <a16:creationId xmlns:a16="http://schemas.microsoft.com/office/drawing/2014/main" id="{FC6BC8E8-1402-4417-B44D-48261A7E44F6}"/>
              </a:ext>
            </a:extLst>
          </p:cNvPr>
          <p:cNvSpPr/>
          <p:nvPr/>
        </p:nvSpPr>
        <p:spPr>
          <a:xfrm>
            <a:off x="457200" y="1192673"/>
            <a:ext cx="9423399" cy="1033368"/>
          </a:xfrm>
          <a:prstGeom prst="roundRect">
            <a:avLst>
              <a:gd name="adj" fmla="val 50000"/>
            </a:avLst>
          </a:prstGeom>
          <a:gradFill flip="none" rotWithShape="1">
            <a:gsLst>
              <a:gs pos="0">
                <a:schemeClr val="bg2"/>
              </a:gs>
              <a:gs pos="100000">
                <a:schemeClr val="bg2">
                  <a:alpha val="6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0" name="Rectangle: Rounded Corners 29">
            <a:extLst>
              <a:ext uri="{FF2B5EF4-FFF2-40B4-BE49-F238E27FC236}">
                <a16:creationId xmlns:a16="http://schemas.microsoft.com/office/drawing/2014/main" id="{2490BC73-9421-4E6C-84EF-BE4A0EF559D6}"/>
              </a:ext>
            </a:extLst>
          </p:cNvPr>
          <p:cNvSpPr/>
          <p:nvPr/>
        </p:nvSpPr>
        <p:spPr>
          <a:xfrm>
            <a:off x="457200" y="2344738"/>
            <a:ext cx="9423399" cy="1033368"/>
          </a:xfrm>
          <a:prstGeom prst="roundRect">
            <a:avLst>
              <a:gd name="adj" fmla="val 50000"/>
            </a:avLst>
          </a:prstGeom>
          <a:gradFill flip="none" rotWithShape="1">
            <a:gsLst>
              <a:gs pos="0">
                <a:schemeClr val="bg2"/>
              </a:gs>
              <a:gs pos="100000">
                <a:schemeClr val="bg2">
                  <a:alpha val="6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1" name="Rectangle: Rounded Corners 30">
            <a:extLst>
              <a:ext uri="{FF2B5EF4-FFF2-40B4-BE49-F238E27FC236}">
                <a16:creationId xmlns:a16="http://schemas.microsoft.com/office/drawing/2014/main" id="{92699A5E-50A3-4334-B5E7-6756E4452C31}"/>
              </a:ext>
            </a:extLst>
          </p:cNvPr>
          <p:cNvSpPr/>
          <p:nvPr/>
        </p:nvSpPr>
        <p:spPr>
          <a:xfrm>
            <a:off x="457200" y="3496803"/>
            <a:ext cx="9423399" cy="1033368"/>
          </a:xfrm>
          <a:prstGeom prst="roundRect">
            <a:avLst>
              <a:gd name="adj" fmla="val 50000"/>
            </a:avLst>
          </a:prstGeom>
          <a:gradFill flip="none" rotWithShape="1">
            <a:gsLst>
              <a:gs pos="0">
                <a:schemeClr val="bg2"/>
              </a:gs>
              <a:gs pos="100000">
                <a:schemeClr val="bg2">
                  <a:alpha val="6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 name="Title 1">
            <a:extLst>
              <a:ext uri="{FF2B5EF4-FFF2-40B4-BE49-F238E27FC236}">
                <a16:creationId xmlns:a16="http://schemas.microsoft.com/office/drawing/2014/main" id="{B44E2CA8-485D-468D-9F43-C3A68CA0AF86}"/>
              </a:ext>
            </a:extLst>
          </p:cNvPr>
          <p:cNvSpPr>
            <a:spLocks noGrp="1"/>
          </p:cNvSpPr>
          <p:nvPr>
            <p:ph type="title"/>
          </p:nvPr>
        </p:nvSpPr>
        <p:spPr/>
        <p:txBody>
          <a:bodyPr/>
          <a:lstStyle/>
          <a:p>
            <a:r>
              <a:rPr lang="en-US" dirty="0"/>
              <a:t>3 Trends Driving Data Center Modernization</a:t>
            </a:r>
          </a:p>
        </p:txBody>
      </p:sp>
      <p:sp>
        <p:nvSpPr>
          <p:cNvPr id="17" name="Rectangle 4">
            <a:extLst>
              <a:ext uri="{FF2B5EF4-FFF2-40B4-BE49-F238E27FC236}">
                <a16:creationId xmlns:a16="http://schemas.microsoft.com/office/drawing/2014/main" id="{2A0E1F4C-A8A2-477B-8B29-FEC4D8EA5FB8}"/>
              </a:ext>
            </a:extLst>
          </p:cNvPr>
          <p:cNvSpPr>
            <a:spLocks noChangeArrowheads="1"/>
          </p:cNvSpPr>
          <p:nvPr/>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marL="0" marR="0" lvl="0" indent="0" algn="l" defTabSz="61074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20" normalizeH="0" baseline="0" noProof="0" dirty="0">
                <a:ln>
                  <a:noFill/>
                </a:ln>
                <a:solidFill>
                  <a:srgbClr val="FFFFFF"/>
                </a:solidFill>
                <a:effectLst/>
                <a:uLnTx/>
                <a:uFillTx/>
                <a:latin typeface="CiscoSansTT ExtraLight"/>
                <a:ea typeface="ＭＳ Ｐゴシック" charset="0"/>
                <a:cs typeface="CiscoSans Thin"/>
              </a:rPr>
              <a:t>© 2019  Cisco and/or its affiliates. All rights reserved.  </a:t>
            </a:r>
          </a:p>
        </p:txBody>
      </p:sp>
      <p:pic>
        <p:nvPicPr>
          <p:cNvPr id="32" name="Graphic 31">
            <a:extLst>
              <a:ext uri="{FF2B5EF4-FFF2-40B4-BE49-F238E27FC236}">
                <a16:creationId xmlns:a16="http://schemas.microsoft.com/office/drawing/2014/main" id="{F2A7131F-965D-4D10-B3CA-79D766F850B5}"/>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16829" y="1319302"/>
            <a:ext cx="776996" cy="776996"/>
          </a:xfrm>
          <a:prstGeom prst="rect">
            <a:avLst/>
          </a:prstGeom>
        </p:spPr>
      </p:pic>
      <p:pic>
        <p:nvPicPr>
          <p:cNvPr id="33" name="Picture 32">
            <a:extLst>
              <a:ext uri="{FF2B5EF4-FFF2-40B4-BE49-F238E27FC236}">
                <a16:creationId xmlns:a16="http://schemas.microsoft.com/office/drawing/2014/main" id="{383003E7-616B-40B6-AFAD-053DE038E66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16838" y="2471199"/>
            <a:ext cx="776562" cy="776996"/>
          </a:xfrm>
          <a:prstGeom prst="rect">
            <a:avLst/>
          </a:prstGeom>
        </p:spPr>
      </p:pic>
      <p:pic>
        <p:nvPicPr>
          <p:cNvPr id="34" name="Picture 33">
            <a:extLst>
              <a:ext uri="{FF2B5EF4-FFF2-40B4-BE49-F238E27FC236}">
                <a16:creationId xmlns:a16="http://schemas.microsoft.com/office/drawing/2014/main" id="{A3CF9658-4B42-4D78-A9EA-3AE4ECF5501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16829" y="3630516"/>
            <a:ext cx="776998" cy="776998"/>
          </a:xfrm>
          <a:prstGeom prst="rect">
            <a:avLst/>
          </a:prstGeom>
        </p:spPr>
      </p:pic>
      <p:sp>
        <p:nvSpPr>
          <p:cNvPr id="35" name="TextBox 34">
            <a:extLst>
              <a:ext uri="{FF2B5EF4-FFF2-40B4-BE49-F238E27FC236}">
                <a16:creationId xmlns:a16="http://schemas.microsoft.com/office/drawing/2014/main" id="{B7CF76E9-85A9-49F9-B693-BA433FF25845}"/>
              </a:ext>
            </a:extLst>
          </p:cNvPr>
          <p:cNvSpPr txBox="1"/>
          <p:nvPr/>
        </p:nvSpPr>
        <p:spPr>
          <a:xfrm>
            <a:off x="1781339" y="1272015"/>
            <a:ext cx="6780987" cy="860215"/>
          </a:xfrm>
          <a:prstGeom prst="rect">
            <a:avLst/>
          </a:prstGeom>
        </p:spPr>
        <p:txBody>
          <a:bodyPr lIns="0" tIns="45710" rIns="0" bIns="45710">
            <a:spAutoFit/>
          </a:bodyPr>
          <a:lstStyle>
            <a:lvl1pPr marL="174625" indent="-117475" defTabSz="684213" eaLnBrk="1" hangingPunct="1">
              <a:lnSpc>
                <a:spcPct val="95000"/>
              </a:lnSpc>
              <a:spcBef>
                <a:spcPts val="1110"/>
              </a:spcBef>
              <a:buClr>
                <a:schemeClr val="tx1"/>
              </a:buClr>
              <a:buSzPct val="60000"/>
              <a:buFont typeface="Arial"/>
              <a:buChar char="•"/>
              <a:defRPr lang="en-US" sz="2000" b="0" i="0">
                <a:latin typeface="+mn-lt"/>
                <a:cs typeface="CiscoSans ExtraLight"/>
              </a:defRPr>
            </a:lvl1pPr>
            <a:lvl2pPr marL="288925" indent="-114300" defTabSz="684213" eaLnBrk="1" hangingPunct="1">
              <a:lnSpc>
                <a:spcPct val="95000"/>
              </a:lnSpc>
              <a:spcBef>
                <a:spcPts val="450"/>
              </a:spcBef>
              <a:buClr>
                <a:schemeClr val="tx1"/>
              </a:buClr>
              <a:buSzPct val="60000"/>
              <a:buFont typeface="Arial"/>
              <a:buChar char="•"/>
              <a:defRPr lang="en-US" sz="1800" b="0" i="0">
                <a:latin typeface="+mn-lt"/>
                <a:cs typeface="CiscoSans ExtraLight"/>
              </a:defRPr>
            </a:lvl2pPr>
            <a:lvl3pPr marL="403225" indent="-114300" defTabSz="684213" eaLnBrk="1" hangingPunct="1">
              <a:lnSpc>
                <a:spcPct val="95000"/>
              </a:lnSpc>
              <a:spcBef>
                <a:spcPts val="625"/>
              </a:spcBef>
              <a:buClr>
                <a:schemeClr val="tx1"/>
              </a:buClr>
              <a:buSzPct val="60000"/>
              <a:buFont typeface="Arial"/>
              <a:buChar char="•"/>
              <a:defRPr lang="en-US" sz="1600" b="0" i="0">
                <a:latin typeface="+mn-lt"/>
                <a:cs typeface="CiscoSans ExtraLight"/>
              </a:defRPr>
            </a:lvl3pPr>
            <a:lvl4pPr marL="517525" indent="-114300" defTabSz="684213" eaLnBrk="1" hangingPunct="1">
              <a:lnSpc>
                <a:spcPct val="95000"/>
              </a:lnSpc>
              <a:spcBef>
                <a:spcPts val="625"/>
              </a:spcBef>
              <a:buClr>
                <a:schemeClr val="tx1"/>
              </a:buClr>
              <a:buSzPct val="60000"/>
              <a:buFont typeface="Arial"/>
              <a:buChar char="•"/>
              <a:defRPr lang="en-US" sz="1400" b="0" i="0">
                <a:latin typeface="+mn-lt"/>
                <a:cs typeface="CiscoSans ExtraLight"/>
              </a:defRPr>
            </a:lvl4pPr>
            <a:lvl5pPr marL="631825" indent="-114300" defTabSz="684213" eaLnBrk="1" hangingPunct="1">
              <a:lnSpc>
                <a:spcPct val="95000"/>
              </a:lnSpc>
              <a:spcBef>
                <a:spcPts val="625"/>
              </a:spcBef>
              <a:buClr>
                <a:schemeClr val="tx1"/>
              </a:buClr>
              <a:buSzPct val="60000"/>
              <a:buFont typeface="Arial"/>
              <a:buChar char="•"/>
              <a:defRPr lang="en-US" sz="1200" b="0" i="0">
                <a:latin typeface="+mn-lt"/>
                <a:cs typeface="CiscoSans ExtraLight"/>
              </a:defRPr>
            </a:lvl5pPr>
            <a:lvl6pPr marL="863856" indent="-171445" defTabSz="685777">
              <a:spcBef>
                <a:spcPts val="600"/>
              </a:spcBef>
              <a:buFont typeface="Arial" pitchFamily="34" charset="0"/>
              <a:buChar char="•"/>
              <a:defRPr sz="900" baseline="0">
                <a:latin typeface="+mn-lt"/>
                <a:ea typeface="+mn-ea"/>
                <a:cs typeface="+mn-cs"/>
              </a:defRPr>
            </a:lvl6pPr>
            <a:lvl7pPr marL="935844" indent="-171422" defTabSz="685777">
              <a:spcBef>
                <a:spcPts val="600"/>
              </a:spcBef>
              <a:buFont typeface="Arial" pitchFamily="34" charset="0"/>
              <a:buChar char="•"/>
              <a:defRPr sz="800" baseline="0">
                <a:latin typeface="+mn-lt"/>
                <a:ea typeface="+mn-ea"/>
                <a:cs typeface="+mn-cs"/>
              </a:defRPr>
            </a:lvl7pPr>
            <a:lvl8pPr marL="2400220" indent="0" defTabSz="685777">
              <a:spcBef>
                <a:spcPct val="20000"/>
              </a:spcBef>
              <a:buFont typeface="Arial" pitchFamily="34" charset="0"/>
              <a:buNone/>
              <a:defRPr sz="1500">
                <a:latin typeface="+mn-lt"/>
                <a:ea typeface="+mn-ea"/>
                <a:cs typeface="+mn-cs"/>
              </a:defRPr>
            </a:lvl8pPr>
            <a:lvl9pPr marL="2914553" indent="-171445" defTabSz="685777">
              <a:spcBef>
                <a:spcPct val="20000"/>
              </a:spcBef>
              <a:buFont typeface="Arial" pitchFamily="34" charset="0"/>
              <a:buChar char="•"/>
              <a:defRPr sz="1500">
                <a:latin typeface="+mn-lt"/>
                <a:ea typeface="+mn-ea"/>
                <a:cs typeface="+mn-cs"/>
              </a:defRPr>
            </a:lvl9pPr>
          </a:lstStyle>
          <a:p>
            <a:pPr marL="57150" marR="0" lvl="0" indent="0" algn="l" defTabSz="684213" rtl="0" eaLnBrk="1" fontAlgn="base" latinLnBrk="0" hangingPunct="1">
              <a:lnSpc>
                <a:spcPct val="95000"/>
              </a:lnSpc>
              <a:spcBef>
                <a:spcPts val="600"/>
              </a:spcBef>
              <a:spcAft>
                <a:spcPct val="0"/>
              </a:spcAft>
              <a:buClr>
                <a:srgbClr val="282828"/>
              </a:buClr>
              <a:buSzPct val="60000"/>
              <a:buFont typeface="Arial"/>
              <a:buNone/>
              <a:tabLst/>
              <a:defRPr/>
            </a:pPr>
            <a:r>
              <a:rPr kumimoji="0" lang="en-US" sz="1800" b="0" i="0" u="none" strike="noStrike" kern="1200" cap="none" spc="0" normalizeH="0" baseline="0" noProof="0" dirty="0">
                <a:ln>
                  <a:noFill/>
                </a:ln>
                <a:solidFill>
                  <a:srgbClr val="676767"/>
                </a:solidFill>
                <a:effectLst/>
                <a:uLnTx/>
                <a:uFillTx/>
                <a:latin typeface="CiscoSansTT ExtraLight"/>
                <a:ea typeface="ＭＳ Ｐゴシック" charset="0"/>
                <a:cs typeface="CiscoSansTT" panose="020B0503020201020303" pitchFamily="34" charset="0"/>
              </a:rPr>
              <a:t>Applications are Evolving</a:t>
            </a:r>
          </a:p>
          <a:p>
            <a:pPr marL="174625" marR="0" lvl="0" indent="-117475" algn="l" defTabSz="684213" rtl="0" eaLnBrk="1" fontAlgn="base" latinLnBrk="0" hangingPunct="1">
              <a:lnSpc>
                <a:spcPct val="95000"/>
              </a:lnSpc>
              <a:spcBef>
                <a:spcPts val="600"/>
              </a:spcBef>
              <a:spcAft>
                <a:spcPct val="0"/>
              </a:spcAft>
              <a:buClr>
                <a:srgbClr val="005073"/>
              </a:buClr>
              <a:buSzPct val="80000"/>
              <a:buFont typeface="Arial"/>
              <a:buChar char="•"/>
              <a:tabLst/>
              <a:defRPr/>
            </a:pPr>
            <a:r>
              <a:rPr kumimoji="0" lang="en-US" sz="1200" b="0" i="0" u="none" strike="noStrike" kern="1200" cap="none" spc="0" normalizeH="0" baseline="0" noProof="0" dirty="0">
                <a:ln>
                  <a:noFill/>
                </a:ln>
                <a:solidFill>
                  <a:srgbClr val="676767"/>
                </a:solidFill>
                <a:effectLst/>
                <a:uLnTx/>
                <a:uFillTx/>
                <a:latin typeface="CiscoSansTT" panose="020B0503020201020303" pitchFamily="34" charset="0"/>
                <a:ea typeface="ＭＳ Ｐゴシック" charset="0"/>
                <a:cs typeface="CiscoSansTT" panose="020B0503020201020303" pitchFamily="34" charset="0"/>
              </a:rPr>
              <a:t>Refactoring and cloud native </a:t>
            </a:r>
            <a:r>
              <a:rPr lang="en-US" sz="1200" dirty="0">
                <a:solidFill>
                  <a:srgbClr val="676767"/>
                </a:solidFill>
                <a:latin typeface="CiscoSansTT" panose="020B0503020201020303" pitchFamily="34" charset="0"/>
                <a:cs typeface="CiscoSansTT" panose="020B0503020201020303" pitchFamily="34" charset="0"/>
              </a:rPr>
              <a:t>need modern architectures and capabilities </a:t>
            </a:r>
          </a:p>
          <a:p>
            <a:pPr marL="174625" marR="0" lvl="0" indent="-117475" algn="l" defTabSz="684213" rtl="0" eaLnBrk="1" fontAlgn="base" latinLnBrk="0" hangingPunct="1">
              <a:lnSpc>
                <a:spcPct val="95000"/>
              </a:lnSpc>
              <a:spcBef>
                <a:spcPts val="600"/>
              </a:spcBef>
              <a:spcAft>
                <a:spcPct val="0"/>
              </a:spcAft>
              <a:buClr>
                <a:srgbClr val="005073"/>
              </a:buClr>
              <a:buSzPct val="80000"/>
              <a:buFont typeface="Arial"/>
              <a:buChar char="•"/>
              <a:tabLst/>
              <a:defRPr/>
            </a:pPr>
            <a:r>
              <a:rPr kumimoji="0" lang="en-US" sz="1200" b="0" i="0" u="none" strike="noStrike" kern="1200" cap="none" spc="0" normalizeH="0" baseline="0" noProof="0" dirty="0">
                <a:ln>
                  <a:noFill/>
                </a:ln>
                <a:solidFill>
                  <a:srgbClr val="676767"/>
                </a:solidFill>
                <a:effectLst/>
                <a:uLnTx/>
                <a:uFillTx/>
                <a:latin typeface="CiscoSansTT" panose="020B0503020201020303" pitchFamily="34" charset="0"/>
                <a:ea typeface="ＭＳ Ｐゴシック" charset="0"/>
                <a:cs typeface="CiscoSansTT" panose="020B0503020201020303" pitchFamily="34" charset="0"/>
              </a:rPr>
              <a:t>ML, AI, and Analytics placing new demands</a:t>
            </a:r>
          </a:p>
        </p:txBody>
      </p:sp>
      <p:sp>
        <p:nvSpPr>
          <p:cNvPr id="36" name="TextBox 35">
            <a:extLst>
              <a:ext uri="{FF2B5EF4-FFF2-40B4-BE49-F238E27FC236}">
                <a16:creationId xmlns:a16="http://schemas.microsoft.com/office/drawing/2014/main" id="{50A939E6-5243-4AD1-9A66-173044638C1A}"/>
              </a:ext>
            </a:extLst>
          </p:cNvPr>
          <p:cNvSpPr txBox="1"/>
          <p:nvPr/>
        </p:nvSpPr>
        <p:spPr>
          <a:xfrm>
            <a:off x="1781339" y="2429590"/>
            <a:ext cx="6780987" cy="860215"/>
          </a:xfrm>
          <a:prstGeom prst="rect">
            <a:avLst/>
          </a:prstGeom>
        </p:spPr>
        <p:txBody>
          <a:bodyPr lIns="0" tIns="45710" rIns="0" bIns="45710">
            <a:spAutoFit/>
          </a:bodyPr>
          <a:lstStyle>
            <a:lvl1pPr marL="174625" indent="-117475" defTabSz="684213" eaLnBrk="1" hangingPunct="1">
              <a:lnSpc>
                <a:spcPct val="95000"/>
              </a:lnSpc>
              <a:spcBef>
                <a:spcPts val="1110"/>
              </a:spcBef>
              <a:buClr>
                <a:schemeClr val="tx1"/>
              </a:buClr>
              <a:buSzPct val="60000"/>
              <a:buFont typeface="Arial"/>
              <a:buChar char="•"/>
              <a:defRPr lang="en-US" sz="2000" b="0" i="0">
                <a:latin typeface="+mn-lt"/>
                <a:cs typeface="CiscoSans ExtraLight"/>
              </a:defRPr>
            </a:lvl1pPr>
            <a:lvl2pPr marL="288925" indent="-114300" defTabSz="684213" eaLnBrk="1" hangingPunct="1">
              <a:lnSpc>
                <a:spcPct val="95000"/>
              </a:lnSpc>
              <a:spcBef>
                <a:spcPts val="450"/>
              </a:spcBef>
              <a:buClr>
                <a:schemeClr val="tx1"/>
              </a:buClr>
              <a:buSzPct val="60000"/>
              <a:buFont typeface="Arial"/>
              <a:buChar char="•"/>
              <a:defRPr lang="en-US" sz="1800" b="0" i="0">
                <a:latin typeface="+mn-lt"/>
                <a:cs typeface="CiscoSans ExtraLight"/>
              </a:defRPr>
            </a:lvl2pPr>
            <a:lvl3pPr marL="403225" indent="-114300" defTabSz="684213" eaLnBrk="1" hangingPunct="1">
              <a:lnSpc>
                <a:spcPct val="95000"/>
              </a:lnSpc>
              <a:spcBef>
                <a:spcPts val="625"/>
              </a:spcBef>
              <a:buClr>
                <a:schemeClr val="tx1"/>
              </a:buClr>
              <a:buSzPct val="60000"/>
              <a:buFont typeface="Arial"/>
              <a:buChar char="•"/>
              <a:defRPr lang="en-US" sz="1600" b="0" i="0">
                <a:latin typeface="+mn-lt"/>
                <a:cs typeface="CiscoSans ExtraLight"/>
              </a:defRPr>
            </a:lvl3pPr>
            <a:lvl4pPr marL="517525" indent="-114300" defTabSz="684213" eaLnBrk="1" hangingPunct="1">
              <a:lnSpc>
                <a:spcPct val="95000"/>
              </a:lnSpc>
              <a:spcBef>
                <a:spcPts val="625"/>
              </a:spcBef>
              <a:buClr>
                <a:schemeClr val="tx1"/>
              </a:buClr>
              <a:buSzPct val="60000"/>
              <a:buFont typeface="Arial"/>
              <a:buChar char="•"/>
              <a:defRPr lang="en-US" sz="1400" b="0" i="0">
                <a:latin typeface="+mn-lt"/>
                <a:cs typeface="CiscoSans ExtraLight"/>
              </a:defRPr>
            </a:lvl4pPr>
            <a:lvl5pPr marL="631825" indent="-114300" defTabSz="684213" eaLnBrk="1" hangingPunct="1">
              <a:lnSpc>
                <a:spcPct val="95000"/>
              </a:lnSpc>
              <a:spcBef>
                <a:spcPts val="625"/>
              </a:spcBef>
              <a:buClr>
                <a:schemeClr val="tx1"/>
              </a:buClr>
              <a:buSzPct val="60000"/>
              <a:buFont typeface="Arial"/>
              <a:buChar char="•"/>
              <a:defRPr lang="en-US" sz="1200" b="0" i="0">
                <a:latin typeface="+mn-lt"/>
                <a:cs typeface="CiscoSans ExtraLight"/>
              </a:defRPr>
            </a:lvl5pPr>
            <a:lvl6pPr marL="863856" indent="-171445" defTabSz="685777">
              <a:spcBef>
                <a:spcPts val="600"/>
              </a:spcBef>
              <a:buFont typeface="Arial" pitchFamily="34" charset="0"/>
              <a:buChar char="•"/>
              <a:defRPr sz="900" baseline="0">
                <a:latin typeface="+mn-lt"/>
                <a:ea typeface="+mn-ea"/>
                <a:cs typeface="+mn-cs"/>
              </a:defRPr>
            </a:lvl6pPr>
            <a:lvl7pPr marL="935844" indent="-171422" defTabSz="685777">
              <a:spcBef>
                <a:spcPts val="600"/>
              </a:spcBef>
              <a:buFont typeface="Arial" pitchFamily="34" charset="0"/>
              <a:buChar char="•"/>
              <a:defRPr sz="800" baseline="0">
                <a:latin typeface="+mn-lt"/>
                <a:ea typeface="+mn-ea"/>
                <a:cs typeface="+mn-cs"/>
              </a:defRPr>
            </a:lvl7pPr>
            <a:lvl8pPr marL="2400220" indent="0" defTabSz="685777">
              <a:spcBef>
                <a:spcPct val="20000"/>
              </a:spcBef>
              <a:buFont typeface="Arial" pitchFamily="34" charset="0"/>
              <a:buNone/>
              <a:defRPr sz="1500">
                <a:latin typeface="+mn-lt"/>
                <a:ea typeface="+mn-ea"/>
                <a:cs typeface="+mn-cs"/>
              </a:defRPr>
            </a:lvl8pPr>
            <a:lvl9pPr marL="2914553" indent="-171445" defTabSz="685777">
              <a:spcBef>
                <a:spcPct val="20000"/>
              </a:spcBef>
              <a:buFont typeface="Arial" pitchFamily="34" charset="0"/>
              <a:buChar char="•"/>
              <a:defRPr sz="1500">
                <a:latin typeface="+mn-lt"/>
                <a:ea typeface="+mn-ea"/>
                <a:cs typeface="+mn-cs"/>
              </a:defRPr>
            </a:lvl9pPr>
          </a:lstStyle>
          <a:p>
            <a:pPr marL="57150" marR="0" lvl="0" indent="0" algn="l" defTabSz="684213" rtl="0" eaLnBrk="1" fontAlgn="base" latinLnBrk="0" hangingPunct="1">
              <a:lnSpc>
                <a:spcPct val="95000"/>
              </a:lnSpc>
              <a:spcBef>
                <a:spcPts val="600"/>
              </a:spcBef>
              <a:spcAft>
                <a:spcPct val="0"/>
              </a:spcAft>
              <a:buClr>
                <a:srgbClr val="282828"/>
              </a:buClr>
              <a:buSzPct val="60000"/>
              <a:buFont typeface="Arial"/>
              <a:buNone/>
              <a:tabLst/>
              <a:defRPr/>
            </a:pPr>
            <a:r>
              <a:rPr kumimoji="0" lang="en-US" sz="1800" b="0" i="0" u="none" strike="noStrike" kern="1200" cap="none" spc="0" normalizeH="0" baseline="0" noProof="0" dirty="0">
                <a:ln>
                  <a:noFill/>
                </a:ln>
                <a:solidFill>
                  <a:srgbClr val="676767"/>
                </a:solidFill>
                <a:effectLst/>
                <a:uLnTx/>
                <a:uFillTx/>
                <a:latin typeface="CiscoSansTT ExtraLight"/>
                <a:ea typeface="ＭＳ Ｐゴシック" charset="0"/>
                <a:cs typeface="CiscoSansTT" panose="020B0503020201020303" pitchFamily="34" charset="0"/>
              </a:rPr>
              <a:t>Workloads are more Distributed</a:t>
            </a:r>
          </a:p>
          <a:p>
            <a:pPr marL="174625" marR="0" lvl="0" indent="-117475" algn="l" defTabSz="684213" rtl="0" eaLnBrk="1" fontAlgn="base" latinLnBrk="0" hangingPunct="1">
              <a:lnSpc>
                <a:spcPct val="95000"/>
              </a:lnSpc>
              <a:spcBef>
                <a:spcPts val="600"/>
              </a:spcBef>
              <a:spcAft>
                <a:spcPct val="0"/>
              </a:spcAft>
              <a:buClr>
                <a:srgbClr val="005073"/>
              </a:buClr>
              <a:buSzPct val="80000"/>
              <a:buFont typeface="Arial"/>
              <a:buChar char="•"/>
              <a:tabLst/>
              <a:defRPr/>
            </a:pPr>
            <a:r>
              <a:rPr kumimoji="0" lang="en-US" sz="1200" b="0" i="0" u="none" strike="noStrike" kern="1200" cap="none" spc="0" normalizeH="0" baseline="0" noProof="0" dirty="0">
                <a:ln>
                  <a:noFill/>
                </a:ln>
                <a:solidFill>
                  <a:srgbClr val="676767"/>
                </a:solidFill>
                <a:effectLst/>
                <a:uLnTx/>
                <a:uFillTx/>
                <a:latin typeface="CiscoSansTT" panose="020B0503020201020303" pitchFamily="34" charset="0"/>
                <a:ea typeface="ＭＳ Ｐゴシック" charset="0"/>
                <a:cs typeface="CiscoSansTT" panose="020B0503020201020303" pitchFamily="34" charset="0"/>
              </a:rPr>
              <a:t>Require flexible placement, increased performance, and enhanced monitoring</a:t>
            </a:r>
          </a:p>
          <a:p>
            <a:pPr marL="174625" marR="0" lvl="0" indent="-117475" algn="l" defTabSz="684213" rtl="0" eaLnBrk="1" fontAlgn="base" latinLnBrk="0" hangingPunct="1">
              <a:lnSpc>
                <a:spcPct val="95000"/>
              </a:lnSpc>
              <a:spcBef>
                <a:spcPts val="600"/>
              </a:spcBef>
              <a:spcAft>
                <a:spcPct val="0"/>
              </a:spcAft>
              <a:buClr>
                <a:srgbClr val="005073"/>
              </a:buClr>
              <a:buSzPct val="80000"/>
              <a:buFont typeface="Arial"/>
              <a:buChar char="•"/>
              <a:tabLst/>
              <a:defRPr/>
            </a:pPr>
            <a:r>
              <a:rPr kumimoji="0" lang="en-US" sz="1200" b="0" i="0" u="none" strike="noStrike" kern="1200" cap="none" spc="0" normalizeH="0" baseline="0" noProof="0" dirty="0">
                <a:ln>
                  <a:noFill/>
                </a:ln>
                <a:solidFill>
                  <a:srgbClr val="676767"/>
                </a:solidFill>
                <a:effectLst/>
                <a:uLnTx/>
                <a:uFillTx/>
                <a:latin typeface="CiscoSansTT" panose="020B0503020201020303" pitchFamily="34" charset="0"/>
                <a:ea typeface="ＭＳ Ｐゴシック" charset="0"/>
                <a:cs typeface="CiscoSansTT" panose="020B0503020201020303" pitchFamily="34" charset="0"/>
              </a:rPr>
              <a:t>Increased attack surfaces and blind spots</a:t>
            </a:r>
          </a:p>
        </p:txBody>
      </p:sp>
      <p:sp>
        <p:nvSpPr>
          <p:cNvPr id="37" name="TextBox 36">
            <a:extLst>
              <a:ext uri="{FF2B5EF4-FFF2-40B4-BE49-F238E27FC236}">
                <a16:creationId xmlns:a16="http://schemas.microsoft.com/office/drawing/2014/main" id="{C50F9A9A-1DF9-4E48-B342-7398D53F8A41}"/>
              </a:ext>
            </a:extLst>
          </p:cNvPr>
          <p:cNvSpPr txBox="1"/>
          <p:nvPr/>
        </p:nvSpPr>
        <p:spPr>
          <a:xfrm>
            <a:off x="1781340" y="3574973"/>
            <a:ext cx="5258502" cy="860215"/>
          </a:xfrm>
          <a:prstGeom prst="rect">
            <a:avLst/>
          </a:prstGeom>
        </p:spPr>
        <p:txBody>
          <a:bodyPr wrap="square" lIns="0" tIns="45710" rIns="0" bIns="45710">
            <a:spAutoFit/>
          </a:bodyPr>
          <a:lstStyle>
            <a:lvl1pPr marL="174625" indent="-117475" defTabSz="684213" eaLnBrk="1" hangingPunct="1">
              <a:lnSpc>
                <a:spcPct val="95000"/>
              </a:lnSpc>
              <a:spcBef>
                <a:spcPts val="1110"/>
              </a:spcBef>
              <a:buClr>
                <a:schemeClr val="tx1"/>
              </a:buClr>
              <a:buSzPct val="60000"/>
              <a:buFont typeface="Arial"/>
              <a:buChar char="•"/>
              <a:defRPr lang="en-US" sz="2000" b="0" i="0">
                <a:latin typeface="+mn-lt"/>
                <a:cs typeface="CiscoSans ExtraLight"/>
              </a:defRPr>
            </a:lvl1pPr>
            <a:lvl2pPr marL="288925" indent="-114300" defTabSz="684213" eaLnBrk="1" hangingPunct="1">
              <a:lnSpc>
                <a:spcPct val="95000"/>
              </a:lnSpc>
              <a:spcBef>
                <a:spcPts val="450"/>
              </a:spcBef>
              <a:buClr>
                <a:schemeClr val="tx1"/>
              </a:buClr>
              <a:buSzPct val="60000"/>
              <a:buFont typeface="Arial"/>
              <a:buChar char="•"/>
              <a:defRPr lang="en-US" sz="1800" b="0" i="0">
                <a:latin typeface="+mn-lt"/>
                <a:cs typeface="CiscoSans ExtraLight"/>
              </a:defRPr>
            </a:lvl2pPr>
            <a:lvl3pPr marL="403225" indent="-114300" defTabSz="684213" eaLnBrk="1" hangingPunct="1">
              <a:lnSpc>
                <a:spcPct val="95000"/>
              </a:lnSpc>
              <a:spcBef>
                <a:spcPts val="625"/>
              </a:spcBef>
              <a:buClr>
                <a:schemeClr val="tx1"/>
              </a:buClr>
              <a:buSzPct val="60000"/>
              <a:buFont typeface="Arial"/>
              <a:buChar char="•"/>
              <a:defRPr lang="en-US" sz="1600" b="0" i="0">
                <a:latin typeface="+mn-lt"/>
                <a:cs typeface="CiscoSans ExtraLight"/>
              </a:defRPr>
            </a:lvl3pPr>
            <a:lvl4pPr marL="517525" indent="-114300" defTabSz="684213" eaLnBrk="1" hangingPunct="1">
              <a:lnSpc>
                <a:spcPct val="95000"/>
              </a:lnSpc>
              <a:spcBef>
                <a:spcPts val="625"/>
              </a:spcBef>
              <a:buClr>
                <a:schemeClr val="tx1"/>
              </a:buClr>
              <a:buSzPct val="60000"/>
              <a:buFont typeface="Arial"/>
              <a:buChar char="•"/>
              <a:defRPr lang="en-US" sz="1400" b="0" i="0">
                <a:latin typeface="+mn-lt"/>
                <a:cs typeface="CiscoSans ExtraLight"/>
              </a:defRPr>
            </a:lvl4pPr>
            <a:lvl5pPr marL="631825" indent="-114300" defTabSz="684213" eaLnBrk="1" hangingPunct="1">
              <a:lnSpc>
                <a:spcPct val="95000"/>
              </a:lnSpc>
              <a:spcBef>
                <a:spcPts val="625"/>
              </a:spcBef>
              <a:buClr>
                <a:schemeClr val="tx1"/>
              </a:buClr>
              <a:buSzPct val="60000"/>
              <a:buFont typeface="Arial"/>
              <a:buChar char="•"/>
              <a:defRPr lang="en-US" sz="1200" b="0" i="0">
                <a:latin typeface="+mn-lt"/>
                <a:cs typeface="CiscoSans ExtraLight"/>
              </a:defRPr>
            </a:lvl5pPr>
            <a:lvl6pPr marL="863856" indent="-171445" defTabSz="685777">
              <a:spcBef>
                <a:spcPts val="600"/>
              </a:spcBef>
              <a:buFont typeface="Arial" pitchFamily="34" charset="0"/>
              <a:buChar char="•"/>
              <a:defRPr sz="900" baseline="0">
                <a:latin typeface="+mn-lt"/>
                <a:ea typeface="+mn-ea"/>
                <a:cs typeface="+mn-cs"/>
              </a:defRPr>
            </a:lvl6pPr>
            <a:lvl7pPr marL="935844" indent="-171422" defTabSz="685777">
              <a:spcBef>
                <a:spcPts val="600"/>
              </a:spcBef>
              <a:buFont typeface="Arial" pitchFamily="34" charset="0"/>
              <a:buChar char="•"/>
              <a:defRPr sz="800" baseline="0">
                <a:latin typeface="+mn-lt"/>
                <a:ea typeface="+mn-ea"/>
                <a:cs typeface="+mn-cs"/>
              </a:defRPr>
            </a:lvl7pPr>
            <a:lvl8pPr marL="2400220" indent="0" defTabSz="685777">
              <a:spcBef>
                <a:spcPct val="20000"/>
              </a:spcBef>
              <a:buFont typeface="Arial" pitchFamily="34" charset="0"/>
              <a:buNone/>
              <a:defRPr sz="1500">
                <a:latin typeface="+mn-lt"/>
                <a:ea typeface="+mn-ea"/>
                <a:cs typeface="+mn-cs"/>
              </a:defRPr>
            </a:lvl8pPr>
            <a:lvl9pPr marL="2914553" indent="-171445" defTabSz="685777">
              <a:spcBef>
                <a:spcPct val="20000"/>
              </a:spcBef>
              <a:buFont typeface="Arial" pitchFamily="34" charset="0"/>
              <a:buChar char="•"/>
              <a:defRPr sz="1500">
                <a:latin typeface="+mn-lt"/>
                <a:ea typeface="+mn-ea"/>
                <a:cs typeface="+mn-cs"/>
              </a:defRPr>
            </a:lvl9pPr>
          </a:lstStyle>
          <a:p>
            <a:pPr marL="57150" marR="0" lvl="0" indent="0" algn="l" defTabSz="684213" rtl="0" eaLnBrk="1" fontAlgn="base" latinLnBrk="0" hangingPunct="1">
              <a:lnSpc>
                <a:spcPct val="95000"/>
              </a:lnSpc>
              <a:spcBef>
                <a:spcPts val="600"/>
              </a:spcBef>
              <a:spcAft>
                <a:spcPct val="0"/>
              </a:spcAft>
              <a:buClr>
                <a:srgbClr val="282828"/>
              </a:buClr>
              <a:buSzPct val="60000"/>
              <a:buFont typeface="Arial"/>
              <a:buNone/>
              <a:tabLst/>
              <a:defRPr/>
            </a:pPr>
            <a:r>
              <a:rPr kumimoji="0" lang="en-US" sz="1800" b="0" i="0" u="none" strike="noStrike" kern="1200" cap="none" spc="0" normalizeH="0" baseline="0" noProof="0" dirty="0">
                <a:ln>
                  <a:noFill/>
                </a:ln>
                <a:solidFill>
                  <a:srgbClr val="676767"/>
                </a:solidFill>
                <a:effectLst/>
                <a:uLnTx/>
                <a:uFillTx/>
                <a:latin typeface="CiscoSansTT ExtraLight"/>
                <a:ea typeface="ＭＳ Ｐゴシック" charset="0"/>
                <a:cs typeface="CiscoSansTT" panose="020B0503020201020303" pitchFamily="34" charset="0"/>
              </a:rPr>
              <a:t>Developers Demand Multicloud Flexibility</a:t>
            </a:r>
          </a:p>
          <a:p>
            <a:pPr marL="174625" marR="0" lvl="0" indent="-117475" algn="l" defTabSz="684213" rtl="0" eaLnBrk="1" fontAlgn="base" latinLnBrk="0" hangingPunct="1">
              <a:lnSpc>
                <a:spcPct val="95000"/>
              </a:lnSpc>
              <a:spcBef>
                <a:spcPts val="600"/>
              </a:spcBef>
              <a:spcAft>
                <a:spcPct val="0"/>
              </a:spcAft>
              <a:buClr>
                <a:srgbClr val="005073"/>
              </a:buClr>
              <a:buSzPct val="80000"/>
              <a:buFont typeface="Arial"/>
              <a:buChar char="•"/>
              <a:tabLst/>
              <a:defRPr/>
            </a:pPr>
            <a:r>
              <a:rPr kumimoji="0" lang="en-US" sz="1200" b="0" i="0" u="none" strike="noStrike" kern="1200" cap="none" spc="0" normalizeH="0" baseline="0" noProof="0" dirty="0">
                <a:ln>
                  <a:noFill/>
                </a:ln>
                <a:solidFill>
                  <a:srgbClr val="676767"/>
                </a:solidFill>
                <a:effectLst/>
                <a:uLnTx/>
                <a:uFillTx/>
                <a:latin typeface="CiscoSansTT" panose="020B0503020201020303" pitchFamily="34" charset="0"/>
                <a:ea typeface="ＭＳ Ｐゴシック" charset="0"/>
                <a:cs typeface="CiscoSansTT" panose="020B0503020201020303" pitchFamily="34" charset="0"/>
              </a:rPr>
              <a:t>Unprecedented app development speed and scale</a:t>
            </a:r>
          </a:p>
          <a:p>
            <a:pPr marL="174625" marR="0" lvl="0" indent="-117475" algn="l" defTabSz="684213" rtl="0" eaLnBrk="1" fontAlgn="base" latinLnBrk="0" hangingPunct="1">
              <a:lnSpc>
                <a:spcPct val="95000"/>
              </a:lnSpc>
              <a:spcBef>
                <a:spcPts val="600"/>
              </a:spcBef>
              <a:spcAft>
                <a:spcPct val="0"/>
              </a:spcAft>
              <a:buClr>
                <a:srgbClr val="005073"/>
              </a:buClr>
              <a:buSzPct val="80000"/>
              <a:buFont typeface="Arial"/>
              <a:buChar char="•"/>
              <a:tabLst/>
              <a:defRPr/>
            </a:pPr>
            <a:r>
              <a:rPr kumimoji="0" lang="en-US" sz="1200" b="0" i="0" u="none" strike="noStrike" kern="1200" cap="none" spc="0" normalizeH="0" baseline="0" noProof="0" dirty="0">
                <a:ln>
                  <a:noFill/>
                </a:ln>
                <a:solidFill>
                  <a:srgbClr val="676767"/>
                </a:solidFill>
                <a:effectLst/>
                <a:uLnTx/>
                <a:uFillTx/>
                <a:latin typeface="CiscoSansTT" panose="020B0503020201020303" pitchFamily="34" charset="0"/>
                <a:ea typeface="ＭＳ Ｐゴシック" charset="0"/>
                <a:cs typeface="CiscoSansTT" panose="020B0503020201020303" pitchFamily="34" charset="0"/>
              </a:rPr>
              <a:t>IT complexity driven by inconsistent buying options</a:t>
            </a:r>
          </a:p>
        </p:txBody>
      </p:sp>
    </p:spTree>
    <p:extLst>
      <p:ext uri="{BB962C8B-B14F-4D97-AF65-F5344CB8AC3E}">
        <p14:creationId xmlns:p14="http://schemas.microsoft.com/office/powerpoint/2010/main" val="3610254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63" presetClass="path" presetSubtype="0" decel="100000" fill="hold" grpId="0" nodeType="withEffect">
                                  <p:stCondLst>
                                    <p:cond delay="0"/>
                                  </p:stCondLst>
                                  <p:childTnLst>
                                    <p:animMotion origin="layout" path="M 0 0 L 0.25 0 E" pathEditMode="relative" ptsTypes="">
                                      <p:cBhvr>
                                        <p:cTn id="9" dur="1500" spd="-100000" fill="hold"/>
                                        <p:tgtEl>
                                          <p:spTgt spid="29"/>
                                        </p:tgtEl>
                                        <p:attrNameLst>
                                          <p:attrName>ppt_x</p:attrName>
                                          <p:attrName>ppt_y</p:attrName>
                                        </p:attrNameLst>
                                      </p:cBhvr>
                                    </p:animMotion>
                                  </p:childTnLst>
                                </p:cTn>
                              </p:par>
                              <p:par>
                                <p:cTn id="10" presetID="10" presetClass="entr" presetSubtype="0" fill="hold" nodeType="withEffect">
                                  <p:stCondLst>
                                    <p:cond delay="50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750"/>
                                        <p:tgtEl>
                                          <p:spTgt spid="32"/>
                                        </p:tgtEl>
                                      </p:cBhvr>
                                    </p:animEffect>
                                  </p:childTnLst>
                                </p:cTn>
                              </p:par>
                              <p:par>
                                <p:cTn id="13" presetID="63" presetClass="path" presetSubtype="0" decel="100000" fill="hold" nodeType="withEffect">
                                  <p:stCondLst>
                                    <p:cond delay="0"/>
                                  </p:stCondLst>
                                  <p:childTnLst>
                                    <p:animMotion origin="layout" path="M 0 0 L 0.25 0 E" pathEditMode="relative" ptsTypes="">
                                      <p:cBhvr>
                                        <p:cTn id="14" dur="1500" spd="-100000" fill="hold"/>
                                        <p:tgtEl>
                                          <p:spTgt spid="32"/>
                                        </p:tgtEl>
                                        <p:attrNameLst>
                                          <p:attrName>ppt_x</p:attrName>
                                          <p:attrName>ppt_y</p:attrName>
                                        </p:attrNameLst>
                                      </p:cBhvr>
                                    </p:animMotion>
                                  </p:childTnLst>
                                </p:cTn>
                              </p:par>
                              <p:par>
                                <p:cTn id="15" presetID="10" presetClass="entr" presetSubtype="0" fill="hold" grpId="0" nodeType="withEffect">
                                  <p:stCondLst>
                                    <p:cond delay="50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1000"/>
                                        <p:tgtEl>
                                          <p:spTgt spid="35"/>
                                        </p:tgtEl>
                                      </p:cBhvr>
                                    </p:animEffect>
                                  </p:childTnLst>
                                </p:cTn>
                              </p:par>
                              <p:par>
                                <p:cTn id="18" presetID="63" presetClass="path" presetSubtype="0" decel="100000" fill="hold" grpId="1" nodeType="withEffect">
                                  <p:stCondLst>
                                    <p:cond delay="0"/>
                                  </p:stCondLst>
                                  <p:childTnLst>
                                    <p:animMotion origin="layout" path="M 5E-6 -4.19753E-6 L 0.25001 -4.19753E-6 " pathEditMode="relative" rAng="0" ptsTypes="AA">
                                      <p:cBhvr>
                                        <p:cTn id="19" dur="1500" spd="-100000" fill="hold"/>
                                        <p:tgtEl>
                                          <p:spTgt spid="35"/>
                                        </p:tgtEl>
                                        <p:attrNameLst>
                                          <p:attrName>ppt_x</p:attrName>
                                          <p:attrName>ppt_y</p:attrName>
                                        </p:attrNameLst>
                                      </p:cBhvr>
                                      <p:rCtr x="12500" y="0"/>
                                    </p:animMotion>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500"/>
                                        <p:tgtEl>
                                          <p:spTgt spid="30"/>
                                        </p:tgtEl>
                                      </p:cBhvr>
                                    </p:animEffect>
                                  </p:childTnLst>
                                </p:cTn>
                              </p:par>
                              <p:par>
                                <p:cTn id="25" presetID="63" presetClass="path" presetSubtype="0" decel="100000" fill="hold" grpId="1" nodeType="withEffect">
                                  <p:stCondLst>
                                    <p:cond delay="0"/>
                                  </p:stCondLst>
                                  <p:childTnLst>
                                    <p:animMotion origin="layout" path="M 0 0 L 0.25 0 E" pathEditMode="relative" ptsTypes="">
                                      <p:cBhvr>
                                        <p:cTn id="26" dur="1500" spd="-100000" fill="hold"/>
                                        <p:tgtEl>
                                          <p:spTgt spid="30"/>
                                        </p:tgtEl>
                                        <p:attrNameLst>
                                          <p:attrName>ppt_x</p:attrName>
                                          <p:attrName>ppt_y</p:attrName>
                                        </p:attrNameLst>
                                      </p:cBhvr>
                                    </p:animMotion>
                                  </p:childTnLst>
                                </p:cTn>
                              </p:par>
                              <p:par>
                                <p:cTn id="27" presetID="10" presetClass="entr" presetSubtype="0" fill="hold" nodeType="withEffect">
                                  <p:stCondLst>
                                    <p:cond delay="500"/>
                                  </p:stCondLst>
                                  <p:childTnLst>
                                    <p:set>
                                      <p:cBhvr>
                                        <p:cTn id="28" dur="1" fill="hold">
                                          <p:stCondLst>
                                            <p:cond delay="0"/>
                                          </p:stCondLst>
                                        </p:cTn>
                                        <p:tgtEl>
                                          <p:spTgt spid="33"/>
                                        </p:tgtEl>
                                        <p:attrNameLst>
                                          <p:attrName>style.visibility</p:attrName>
                                        </p:attrNameLst>
                                      </p:cBhvr>
                                      <p:to>
                                        <p:strVal val="visible"/>
                                      </p:to>
                                    </p:set>
                                    <p:animEffect transition="in" filter="fade">
                                      <p:cBhvr>
                                        <p:cTn id="29" dur="750"/>
                                        <p:tgtEl>
                                          <p:spTgt spid="33"/>
                                        </p:tgtEl>
                                      </p:cBhvr>
                                    </p:animEffect>
                                  </p:childTnLst>
                                </p:cTn>
                              </p:par>
                              <p:par>
                                <p:cTn id="30" presetID="63" presetClass="path" presetSubtype="0" decel="100000" fill="hold" nodeType="withEffect">
                                  <p:stCondLst>
                                    <p:cond delay="0"/>
                                  </p:stCondLst>
                                  <p:childTnLst>
                                    <p:animMotion origin="layout" path="M 0 0 L 0.25 0 E" pathEditMode="relative" ptsTypes="">
                                      <p:cBhvr>
                                        <p:cTn id="31" dur="1500" spd="-100000" fill="hold"/>
                                        <p:tgtEl>
                                          <p:spTgt spid="33"/>
                                        </p:tgtEl>
                                        <p:attrNameLst>
                                          <p:attrName>ppt_x</p:attrName>
                                          <p:attrName>ppt_y</p:attrName>
                                        </p:attrNameLst>
                                      </p:cBhvr>
                                    </p:animMotion>
                                  </p:childTnLst>
                                </p:cTn>
                              </p:par>
                              <p:par>
                                <p:cTn id="32" presetID="10" presetClass="entr" presetSubtype="0" fill="hold" grpId="0" nodeType="withEffect">
                                  <p:stCondLst>
                                    <p:cond delay="500"/>
                                  </p:stCondLst>
                                  <p:childTnLst>
                                    <p:set>
                                      <p:cBhvr>
                                        <p:cTn id="33" dur="1" fill="hold">
                                          <p:stCondLst>
                                            <p:cond delay="0"/>
                                          </p:stCondLst>
                                        </p:cTn>
                                        <p:tgtEl>
                                          <p:spTgt spid="36"/>
                                        </p:tgtEl>
                                        <p:attrNameLst>
                                          <p:attrName>style.visibility</p:attrName>
                                        </p:attrNameLst>
                                      </p:cBhvr>
                                      <p:to>
                                        <p:strVal val="visible"/>
                                      </p:to>
                                    </p:set>
                                    <p:animEffect transition="in" filter="fade">
                                      <p:cBhvr>
                                        <p:cTn id="34" dur="1000"/>
                                        <p:tgtEl>
                                          <p:spTgt spid="36"/>
                                        </p:tgtEl>
                                      </p:cBhvr>
                                    </p:animEffect>
                                  </p:childTnLst>
                                </p:cTn>
                              </p:par>
                              <p:par>
                                <p:cTn id="35" presetID="63" presetClass="path" presetSubtype="0" decel="100000" fill="hold" grpId="1" nodeType="withEffect">
                                  <p:stCondLst>
                                    <p:cond delay="0"/>
                                  </p:stCondLst>
                                  <p:childTnLst>
                                    <p:animMotion origin="layout" path="M 0 0 L 0.25 0 E" pathEditMode="relative" ptsTypes="">
                                      <p:cBhvr>
                                        <p:cTn id="36" dur="1500" spd="-100000" fill="hold"/>
                                        <p:tgtEl>
                                          <p:spTgt spid="36"/>
                                        </p:tgtEl>
                                        <p:attrNameLst>
                                          <p:attrName>ppt_x</p:attrName>
                                          <p:attrName>ppt_y</p:attrName>
                                        </p:attrNameLst>
                                      </p:cBhvr>
                                    </p:animMotion>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fade">
                                      <p:cBhvr>
                                        <p:cTn id="41" dur="500"/>
                                        <p:tgtEl>
                                          <p:spTgt spid="31"/>
                                        </p:tgtEl>
                                      </p:cBhvr>
                                    </p:animEffect>
                                  </p:childTnLst>
                                </p:cTn>
                              </p:par>
                              <p:par>
                                <p:cTn id="42" presetID="63" presetClass="path" presetSubtype="0" decel="100000" fill="hold" grpId="1" nodeType="withEffect">
                                  <p:stCondLst>
                                    <p:cond delay="0"/>
                                  </p:stCondLst>
                                  <p:childTnLst>
                                    <p:animMotion origin="layout" path="M 2.22222E-6 3.08642E-6 L 0.25 3.08642E-6 " pathEditMode="relative" rAng="0" ptsTypes="AA">
                                      <p:cBhvr>
                                        <p:cTn id="43" dur="1500" spd="-100000" fill="hold"/>
                                        <p:tgtEl>
                                          <p:spTgt spid="31"/>
                                        </p:tgtEl>
                                        <p:attrNameLst>
                                          <p:attrName>ppt_x</p:attrName>
                                          <p:attrName>ppt_y</p:attrName>
                                        </p:attrNameLst>
                                      </p:cBhvr>
                                      <p:rCtr x="12500" y="0"/>
                                    </p:animMotion>
                                  </p:childTnLst>
                                </p:cTn>
                              </p:par>
                              <p:par>
                                <p:cTn id="44" presetID="10" presetClass="entr" presetSubtype="0" fill="hold" nodeType="withEffect">
                                  <p:stCondLst>
                                    <p:cond delay="500"/>
                                  </p:stCondLst>
                                  <p:childTnLst>
                                    <p:set>
                                      <p:cBhvr>
                                        <p:cTn id="45" dur="1" fill="hold">
                                          <p:stCondLst>
                                            <p:cond delay="0"/>
                                          </p:stCondLst>
                                        </p:cTn>
                                        <p:tgtEl>
                                          <p:spTgt spid="34"/>
                                        </p:tgtEl>
                                        <p:attrNameLst>
                                          <p:attrName>style.visibility</p:attrName>
                                        </p:attrNameLst>
                                      </p:cBhvr>
                                      <p:to>
                                        <p:strVal val="visible"/>
                                      </p:to>
                                    </p:set>
                                    <p:animEffect transition="in" filter="fade">
                                      <p:cBhvr>
                                        <p:cTn id="46" dur="750"/>
                                        <p:tgtEl>
                                          <p:spTgt spid="34"/>
                                        </p:tgtEl>
                                      </p:cBhvr>
                                    </p:animEffect>
                                  </p:childTnLst>
                                </p:cTn>
                              </p:par>
                              <p:par>
                                <p:cTn id="47" presetID="63" presetClass="path" presetSubtype="0" decel="100000" fill="hold" nodeType="withEffect">
                                  <p:stCondLst>
                                    <p:cond delay="0"/>
                                  </p:stCondLst>
                                  <p:childTnLst>
                                    <p:animMotion origin="layout" path="M 0 0 L 0.25 0 E" pathEditMode="relative" ptsTypes="">
                                      <p:cBhvr>
                                        <p:cTn id="48" dur="1500" spd="-100000" fill="hold"/>
                                        <p:tgtEl>
                                          <p:spTgt spid="34"/>
                                        </p:tgtEl>
                                        <p:attrNameLst>
                                          <p:attrName>ppt_x</p:attrName>
                                          <p:attrName>ppt_y</p:attrName>
                                        </p:attrNameLst>
                                      </p:cBhvr>
                                    </p:animMotion>
                                  </p:childTnLst>
                                </p:cTn>
                              </p:par>
                              <p:par>
                                <p:cTn id="49" presetID="10" presetClass="entr" presetSubtype="0" fill="hold" grpId="0" nodeType="withEffect">
                                  <p:stCondLst>
                                    <p:cond delay="500"/>
                                  </p:stCondLst>
                                  <p:childTnLst>
                                    <p:set>
                                      <p:cBhvr>
                                        <p:cTn id="50" dur="1" fill="hold">
                                          <p:stCondLst>
                                            <p:cond delay="0"/>
                                          </p:stCondLst>
                                        </p:cTn>
                                        <p:tgtEl>
                                          <p:spTgt spid="37"/>
                                        </p:tgtEl>
                                        <p:attrNameLst>
                                          <p:attrName>style.visibility</p:attrName>
                                        </p:attrNameLst>
                                      </p:cBhvr>
                                      <p:to>
                                        <p:strVal val="visible"/>
                                      </p:to>
                                    </p:set>
                                    <p:animEffect transition="in" filter="fade">
                                      <p:cBhvr>
                                        <p:cTn id="51" dur="1000"/>
                                        <p:tgtEl>
                                          <p:spTgt spid="37"/>
                                        </p:tgtEl>
                                      </p:cBhvr>
                                    </p:animEffect>
                                  </p:childTnLst>
                                </p:cTn>
                              </p:par>
                              <p:par>
                                <p:cTn id="52" presetID="63" presetClass="path" presetSubtype="0" decel="100000" fill="hold" grpId="1" nodeType="withEffect">
                                  <p:stCondLst>
                                    <p:cond delay="0"/>
                                  </p:stCondLst>
                                  <p:childTnLst>
                                    <p:animMotion origin="layout" path="M 0 0 L 0.25 0 E" pathEditMode="relative" ptsTypes="">
                                      <p:cBhvr>
                                        <p:cTn id="53" dur="1500" spd="-100000" fill="hold"/>
                                        <p:tgtEl>
                                          <p:spTgt spid="37"/>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29" grpId="1" animBg="1"/>
      <p:bldP spid="30" grpId="0" animBg="1"/>
      <p:bldP spid="30" grpId="1" animBg="1"/>
      <p:bldP spid="31" grpId="0" animBg="1"/>
      <p:bldP spid="31" grpId="1" animBg="1"/>
      <p:bldP spid="35" grpId="0"/>
      <p:bldP spid="35" grpId="1"/>
      <p:bldP spid="36" grpId="0"/>
      <p:bldP spid="36" grpId="1"/>
      <p:bldP spid="37" grpId="0"/>
      <p:bldP spid="37" grpId="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
            <a:extLst>
              <a:ext uri="{FF2B5EF4-FFF2-40B4-BE49-F238E27FC236}">
                <a16:creationId xmlns:a16="http://schemas.microsoft.com/office/drawing/2014/main" id="{8E61AB4A-F138-4028-A823-AD6A3C43C117}"/>
              </a:ext>
            </a:extLst>
          </p:cNvPr>
          <p:cNvSpPr/>
          <p:nvPr/>
        </p:nvSpPr>
        <p:spPr>
          <a:xfrm rot="5400000">
            <a:off x="5007949" y="-593075"/>
            <a:ext cx="96096" cy="7205618"/>
          </a:xfrm>
          <a:prstGeom prst="roundRect">
            <a:avLst>
              <a:gd name="adj" fmla="val 50000"/>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121899" tIns="60949" rIns="121899" bIns="60949"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5" name="Title 4">
            <a:extLst>
              <a:ext uri="{FF2B5EF4-FFF2-40B4-BE49-F238E27FC236}">
                <a16:creationId xmlns:a16="http://schemas.microsoft.com/office/drawing/2014/main" id="{DD00B147-92C8-4D42-9D2F-D6FE88AC57B8}"/>
              </a:ext>
            </a:extLst>
          </p:cNvPr>
          <p:cNvSpPr>
            <a:spLocks noGrp="1"/>
          </p:cNvSpPr>
          <p:nvPr>
            <p:ph type="title"/>
          </p:nvPr>
        </p:nvSpPr>
        <p:spPr>
          <a:xfrm>
            <a:off x="437766" y="341313"/>
            <a:ext cx="8345488" cy="731837"/>
          </a:xfrm>
        </p:spPr>
        <p:txBody>
          <a:bodyPr/>
          <a:lstStyle/>
          <a:p>
            <a:r>
              <a:rPr lang="en-US" dirty="0"/>
              <a:t>Security that Works Together</a:t>
            </a:r>
          </a:p>
        </p:txBody>
      </p:sp>
      <p:sp>
        <p:nvSpPr>
          <p:cNvPr id="48" name="TextBox 47">
            <a:extLst>
              <a:ext uri="{FF2B5EF4-FFF2-40B4-BE49-F238E27FC236}">
                <a16:creationId xmlns:a16="http://schemas.microsoft.com/office/drawing/2014/main" id="{4386673D-628D-44E6-A858-D072E74F0BD9}"/>
              </a:ext>
            </a:extLst>
          </p:cNvPr>
          <p:cNvSpPr txBox="1"/>
          <p:nvPr/>
        </p:nvSpPr>
        <p:spPr>
          <a:xfrm>
            <a:off x="2305972" y="1756346"/>
            <a:ext cx="882775" cy="430887"/>
          </a:xfrm>
          <a:prstGeom prst="rect">
            <a:avLst/>
          </a:prstGeom>
          <a:noFill/>
        </p:spPr>
        <p:txBody>
          <a:bodyPr wrap="square" rtlCol="0" anchor="b">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Packet inspection</a:t>
            </a:r>
          </a:p>
        </p:txBody>
      </p:sp>
      <p:sp>
        <p:nvSpPr>
          <p:cNvPr id="49" name="TextBox 48">
            <a:extLst>
              <a:ext uri="{FF2B5EF4-FFF2-40B4-BE49-F238E27FC236}">
                <a16:creationId xmlns:a16="http://schemas.microsoft.com/office/drawing/2014/main" id="{1AE752CA-B9A9-4AFF-882B-E0842BF76BFB}"/>
              </a:ext>
            </a:extLst>
          </p:cNvPr>
          <p:cNvSpPr txBox="1"/>
          <p:nvPr/>
        </p:nvSpPr>
        <p:spPr>
          <a:xfrm>
            <a:off x="3125646" y="1587069"/>
            <a:ext cx="802523" cy="600164"/>
          </a:xfrm>
          <a:prstGeom prst="rect">
            <a:avLst/>
          </a:prstGeom>
          <a:noFill/>
        </p:spPr>
        <p:txBody>
          <a:bodyPr wrap="square" rtlCol="0" anchor="b">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Public Cloud monitoring</a:t>
            </a:r>
          </a:p>
        </p:txBody>
      </p:sp>
      <p:sp>
        <p:nvSpPr>
          <p:cNvPr id="50" name="TextBox 49">
            <a:extLst>
              <a:ext uri="{FF2B5EF4-FFF2-40B4-BE49-F238E27FC236}">
                <a16:creationId xmlns:a16="http://schemas.microsoft.com/office/drawing/2014/main" id="{A4CB8F19-48AF-4FA2-88B2-828D6157E155}"/>
              </a:ext>
            </a:extLst>
          </p:cNvPr>
          <p:cNvSpPr txBox="1"/>
          <p:nvPr/>
        </p:nvSpPr>
        <p:spPr>
          <a:xfrm>
            <a:off x="3925290" y="1587069"/>
            <a:ext cx="729566" cy="600164"/>
          </a:xfrm>
          <a:prstGeom prst="rect">
            <a:avLst/>
          </a:prstGeom>
          <a:noFill/>
        </p:spPr>
        <p:txBody>
          <a:bodyPr wrap="square" rtlCol="0" anchor="b">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Secure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data center</a:t>
            </a:r>
          </a:p>
        </p:txBody>
      </p:sp>
      <p:sp>
        <p:nvSpPr>
          <p:cNvPr id="51" name="TextBox 50">
            <a:extLst>
              <a:ext uri="{FF2B5EF4-FFF2-40B4-BE49-F238E27FC236}">
                <a16:creationId xmlns:a16="http://schemas.microsoft.com/office/drawing/2014/main" id="{DDCD370E-BE2E-44B5-9B70-285E17B50025}"/>
              </a:ext>
            </a:extLst>
          </p:cNvPr>
          <p:cNvSpPr txBox="1"/>
          <p:nvPr/>
        </p:nvSpPr>
        <p:spPr>
          <a:xfrm>
            <a:off x="5418648" y="1587069"/>
            <a:ext cx="882775" cy="600164"/>
          </a:xfrm>
          <a:prstGeom prst="rect">
            <a:avLst/>
          </a:prstGeom>
          <a:noFill/>
        </p:spPr>
        <p:txBody>
          <a:bodyPr wrap="square" rtlCol="0" anchor="b">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External domain lookups</a:t>
            </a:r>
          </a:p>
        </p:txBody>
      </p:sp>
      <p:sp>
        <p:nvSpPr>
          <p:cNvPr id="52" name="TextBox 51">
            <a:extLst>
              <a:ext uri="{FF2B5EF4-FFF2-40B4-BE49-F238E27FC236}">
                <a16:creationId xmlns:a16="http://schemas.microsoft.com/office/drawing/2014/main" id="{DF72CBD5-5FE2-44D1-B3C7-F08B420AD37C}"/>
              </a:ext>
            </a:extLst>
          </p:cNvPr>
          <p:cNvSpPr txBox="1"/>
          <p:nvPr/>
        </p:nvSpPr>
        <p:spPr>
          <a:xfrm>
            <a:off x="4683641" y="1587069"/>
            <a:ext cx="802523" cy="600164"/>
          </a:xfrm>
          <a:prstGeom prst="rect">
            <a:avLst/>
          </a:prstGeom>
          <a:noFill/>
        </p:spPr>
        <p:txBody>
          <a:bodyPr wrap="square" rtlCol="0" anchor="b">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Web security</a:t>
            </a:r>
          </a:p>
        </p:txBody>
      </p:sp>
      <p:sp>
        <p:nvSpPr>
          <p:cNvPr id="53" name="TextBox 52">
            <a:extLst>
              <a:ext uri="{FF2B5EF4-FFF2-40B4-BE49-F238E27FC236}">
                <a16:creationId xmlns:a16="http://schemas.microsoft.com/office/drawing/2014/main" id="{8F46BB26-2B4B-4D43-8ECB-CDD72874D31A}"/>
              </a:ext>
            </a:extLst>
          </p:cNvPr>
          <p:cNvSpPr txBox="1"/>
          <p:nvPr/>
        </p:nvSpPr>
        <p:spPr>
          <a:xfrm>
            <a:off x="6668713" y="1587069"/>
            <a:ext cx="1507464" cy="600164"/>
          </a:xfrm>
          <a:prstGeom prst="rect">
            <a:avLst/>
          </a:prstGeom>
          <a:noFill/>
        </p:spPr>
        <p:txBody>
          <a:bodyPr wrap="square" rtlCol="0" anchor="b">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User, device and application info</a:t>
            </a:r>
          </a:p>
        </p:txBody>
      </p:sp>
      <p:sp>
        <p:nvSpPr>
          <p:cNvPr id="54" name="TextBox 53">
            <a:extLst>
              <a:ext uri="{FF2B5EF4-FFF2-40B4-BE49-F238E27FC236}">
                <a16:creationId xmlns:a16="http://schemas.microsoft.com/office/drawing/2014/main" id="{23AE40DC-407E-4DA2-8E87-6C74CCFB97FE}"/>
              </a:ext>
            </a:extLst>
          </p:cNvPr>
          <p:cNvSpPr txBox="1"/>
          <p:nvPr/>
        </p:nvSpPr>
        <p:spPr>
          <a:xfrm>
            <a:off x="2305972" y="3292815"/>
            <a:ext cx="882775" cy="600164"/>
          </a:xfrm>
          <a:prstGeom prst="rect">
            <a:avLst/>
          </a:prstGeom>
          <a:noFill/>
        </p:spPr>
        <p:txBody>
          <a:bodyPr wrap="square"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Cisco Security Packet Analyzer</a:t>
            </a:r>
          </a:p>
        </p:txBody>
      </p:sp>
      <p:sp>
        <p:nvSpPr>
          <p:cNvPr id="55" name="TextBox 54">
            <a:extLst>
              <a:ext uri="{FF2B5EF4-FFF2-40B4-BE49-F238E27FC236}">
                <a16:creationId xmlns:a16="http://schemas.microsoft.com/office/drawing/2014/main" id="{FA50BED6-A2D7-4667-9918-7B244E0E60F0}"/>
              </a:ext>
            </a:extLst>
          </p:cNvPr>
          <p:cNvSpPr txBox="1"/>
          <p:nvPr/>
        </p:nvSpPr>
        <p:spPr>
          <a:xfrm>
            <a:off x="3041381" y="3292815"/>
            <a:ext cx="971053" cy="430887"/>
          </a:xfrm>
          <a:prstGeom prst="rect">
            <a:avLst/>
          </a:prstGeom>
          <a:noFill/>
        </p:spPr>
        <p:txBody>
          <a:bodyPr wrap="square"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Stealthwatch Cloud</a:t>
            </a:r>
          </a:p>
        </p:txBody>
      </p:sp>
      <p:sp>
        <p:nvSpPr>
          <p:cNvPr id="56" name="TextBox 55">
            <a:extLst>
              <a:ext uri="{FF2B5EF4-FFF2-40B4-BE49-F238E27FC236}">
                <a16:creationId xmlns:a16="http://schemas.microsoft.com/office/drawing/2014/main" id="{354C85AD-DE25-4C2B-B509-EE4675DB9C40}"/>
              </a:ext>
            </a:extLst>
          </p:cNvPr>
          <p:cNvSpPr txBox="1"/>
          <p:nvPr/>
        </p:nvSpPr>
        <p:spPr>
          <a:xfrm>
            <a:off x="3755994" y="3292815"/>
            <a:ext cx="1068158" cy="600164"/>
          </a:xfrm>
          <a:prstGeom prst="rect">
            <a:avLst/>
          </a:prstGeom>
          <a:noFill/>
        </p:spPr>
        <p:txBody>
          <a:bodyPr wrap="square"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err="1">
                <a:ln>
                  <a:noFill/>
                </a:ln>
                <a:solidFill>
                  <a:srgbClr val="282828"/>
                </a:solidFill>
                <a:effectLst/>
                <a:uLnTx/>
                <a:uFillTx/>
                <a:latin typeface="CiscoSansTT ExtraLight"/>
                <a:ea typeface="ＭＳ Ｐゴシック" charset="0"/>
              </a:rPr>
              <a:t>Tetration</a:t>
            </a: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 Analytics</a:t>
            </a:r>
          </a:p>
        </p:txBody>
      </p:sp>
      <p:sp>
        <p:nvSpPr>
          <p:cNvPr id="57" name="TextBox 56">
            <a:extLst>
              <a:ext uri="{FF2B5EF4-FFF2-40B4-BE49-F238E27FC236}">
                <a16:creationId xmlns:a16="http://schemas.microsoft.com/office/drawing/2014/main" id="{1ED9C0A4-FA59-40CA-8838-DEB846625A43}"/>
              </a:ext>
            </a:extLst>
          </p:cNvPr>
          <p:cNvSpPr txBox="1"/>
          <p:nvPr/>
        </p:nvSpPr>
        <p:spPr>
          <a:xfrm>
            <a:off x="4683641" y="3292815"/>
            <a:ext cx="802523" cy="600164"/>
          </a:xfrm>
          <a:prstGeom prst="rect">
            <a:avLst/>
          </a:prstGeom>
          <a:noFill/>
        </p:spPr>
        <p:txBody>
          <a:bodyPr wrap="square"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WSA (Web Security Appliance)</a:t>
            </a:r>
          </a:p>
        </p:txBody>
      </p:sp>
      <p:sp>
        <p:nvSpPr>
          <p:cNvPr id="59" name="TextBox 58">
            <a:extLst>
              <a:ext uri="{FF2B5EF4-FFF2-40B4-BE49-F238E27FC236}">
                <a16:creationId xmlns:a16="http://schemas.microsoft.com/office/drawing/2014/main" id="{20D78DD0-2743-402E-97F6-9D93DFCBF65C}"/>
              </a:ext>
            </a:extLst>
          </p:cNvPr>
          <p:cNvSpPr txBox="1"/>
          <p:nvPr/>
        </p:nvSpPr>
        <p:spPr>
          <a:xfrm>
            <a:off x="6274016" y="3292815"/>
            <a:ext cx="729566" cy="600164"/>
          </a:xfrm>
          <a:prstGeom prst="rect">
            <a:avLst/>
          </a:prstGeom>
          <a:noFill/>
        </p:spPr>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ISE </a:t>
            </a:r>
            <a:r>
              <a:rPr kumimoji="0" lang="en-US" sz="1000" b="0" i="0" u="none" strike="noStrike" kern="1200" cap="none" spc="0" normalizeH="0" baseline="0" noProof="0" dirty="0" err="1">
                <a:ln>
                  <a:noFill/>
                </a:ln>
                <a:solidFill>
                  <a:srgbClr val="282828"/>
                </a:solidFill>
                <a:effectLst/>
                <a:uLnTx/>
                <a:uFillTx/>
                <a:latin typeface="CiscoSansTT ExtraLight"/>
                <a:ea typeface="ＭＳ Ｐゴシック" charset="0"/>
              </a:rPr>
              <a:t>PxGrid</a:t>
            </a:r>
            <a:endPar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60" name="TextBox 59">
            <a:extLst>
              <a:ext uri="{FF2B5EF4-FFF2-40B4-BE49-F238E27FC236}">
                <a16:creationId xmlns:a16="http://schemas.microsoft.com/office/drawing/2014/main" id="{52CB45FC-D6C5-4DD4-B118-57A2A15DF70C}"/>
              </a:ext>
            </a:extLst>
          </p:cNvPr>
          <p:cNvSpPr txBox="1"/>
          <p:nvPr/>
        </p:nvSpPr>
        <p:spPr>
          <a:xfrm>
            <a:off x="5418648" y="3292815"/>
            <a:ext cx="882775" cy="600164"/>
          </a:xfrm>
          <a:prstGeom prst="rect">
            <a:avLst/>
          </a:prstGeom>
          <a:noFill/>
        </p:spPr>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Umbrella Investigate</a:t>
            </a:r>
          </a:p>
        </p:txBody>
      </p:sp>
      <p:sp>
        <p:nvSpPr>
          <p:cNvPr id="35" name="Oval 34">
            <a:extLst>
              <a:ext uri="{FF2B5EF4-FFF2-40B4-BE49-F238E27FC236}">
                <a16:creationId xmlns:a16="http://schemas.microsoft.com/office/drawing/2014/main" id="{82989265-C9A3-40B2-A60E-16D71DAFE5E0}"/>
              </a:ext>
            </a:extLst>
          </p:cNvPr>
          <p:cNvSpPr/>
          <p:nvPr/>
        </p:nvSpPr>
        <p:spPr>
          <a:xfrm rot="5400000">
            <a:off x="4835583" y="2760414"/>
            <a:ext cx="498639" cy="498638"/>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38" name="Oval 37">
            <a:extLst>
              <a:ext uri="{FF2B5EF4-FFF2-40B4-BE49-F238E27FC236}">
                <a16:creationId xmlns:a16="http://schemas.microsoft.com/office/drawing/2014/main" id="{0CF32452-9B17-4309-AD7B-CE6E257A3845}"/>
              </a:ext>
            </a:extLst>
          </p:cNvPr>
          <p:cNvSpPr/>
          <p:nvPr/>
        </p:nvSpPr>
        <p:spPr>
          <a:xfrm rot="5400000">
            <a:off x="2498040" y="2760414"/>
            <a:ext cx="498639" cy="498638"/>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61" name="Oval 60">
            <a:extLst>
              <a:ext uri="{FF2B5EF4-FFF2-40B4-BE49-F238E27FC236}">
                <a16:creationId xmlns:a16="http://schemas.microsoft.com/office/drawing/2014/main" id="{96FFD826-5BC6-43D9-8C8B-70514C295DC1}"/>
              </a:ext>
            </a:extLst>
          </p:cNvPr>
          <p:cNvSpPr/>
          <p:nvPr/>
        </p:nvSpPr>
        <p:spPr>
          <a:xfrm rot="5400000">
            <a:off x="7173127" y="2760414"/>
            <a:ext cx="498639" cy="498638"/>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63" name="Oval 62">
            <a:extLst>
              <a:ext uri="{FF2B5EF4-FFF2-40B4-BE49-F238E27FC236}">
                <a16:creationId xmlns:a16="http://schemas.microsoft.com/office/drawing/2014/main" id="{98EC3C81-6101-433F-A2DB-ACF15EB85B37}"/>
              </a:ext>
            </a:extLst>
          </p:cNvPr>
          <p:cNvSpPr/>
          <p:nvPr/>
        </p:nvSpPr>
        <p:spPr>
          <a:xfrm rot="5400000">
            <a:off x="7952311" y="2760414"/>
            <a:ext cx="498639" cy="498638"/>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101" name="TextBox 100">
            <a:extLst>
              <a:ext uri="{FF2B5EF4-FFF2-40B4-BE49-F238E27FC236}">
                <a16:creationId xmlns:a16="http://schemas.microsoft.com/office/drawing/2014/main" id="{1DA048AD-7A24-458B-9526-E3E87D1D8E10}"/>
              </a:ext>
            </a:extLst>
          </p:cNvPr>
          <p:cNvSpPr txBox="1"/>
          <p:nvPr/>
        </p:nvSpPr>
        <p:spPr>
          <a:xfrm>
            <a:off x="1565215" y="1587069"/>
            <a:ext cx="833744" cy="600164"/>
          </a:xfrm>
          <a:prstGeom prst="rect">
            <a:avLst/>
          </a:prstGeom>
          <a:noFill/>
        </p:spPr>
        <p:txBody>
          <a:bodyPr wrap="square" rtlCol="0" anchor="b">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Global Threat Intelligence</a:t>
            </a:r>
          </a:p>
        </p:txBody>
      </p:sp>
      <p:sp>
        <p:nvSpPr>
          <p:cNvPr id="102" name="TextBox 101">
            <a:extLst>
              <a:ext uri="{FF2B5EF4-FFF2-40B4-BE49-F238E27FC236}">
                <a16:creationId xmlns:a16="http://schemas.microsoft.com/office/drawing/2014/main" id="{1037E259-4BB2-411A-99DF-E15D4D5AAA74}"/>
              </a:ext>
            </a:extLst>
          </p:cNvPr>
          <p:cNvSpPr txBox="1"/>
          <p:nvPr/>
        </p:nvSpPr>
        <p:spPr>
          <a:xfrm>
            <a:off x="1525089" y="3292815"/>
            <a:ext cx="882775" cy="600164"/>
          </a:xfrm>
          <a:prstGeom prst="rect">
            <a:avLst/>
          </a:prstGeom>
          <a:noFill/>
        </p:spPr>
        <p:txBody>
          <a:bodyPr wrap="square"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err="1">
                <a:ln>
                  <a:noFill/>
                </a:ln>
                <a:solidFill>
                  <a:srgbClr val="282828"/>
                </a:solidFill>
                <a:effectLst/>
                <a:uLnTx/>
                <a:uFillTx/>
                <a:latin typeface="CiscoSansTT ExtraLight"/>
                <a:ea typeface="ＭＳ Ｐゴシック" charset="0"/>
              </a:rPr>
              <a:t>Talos</a:t>
            </a:r>
            <a:endPar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38" name="TextBox 137">
            <a:extLst>
              <a:ext uri="{FF2B5EF4-FFF2-40B4-BE49-F238E27FC236}">
                <a16:creationId xmlns:a16="http://schemas.microsoft.com/office/drawing/2014/main" id="{FFE85E3A-811E-4B94-9579-2C3F19B7D5DD}"/>
              </a:ext>
            </a:extLst>
          </p:cNvPr>
          <p:cNvSpPr txBox="1"/>
          <p:nvPr/>
        </p:nvSpPr>
        <p:spPr>
          <a:xfrm>
            <a:off x="7052318" y="3292815"/>
            <a:ext cx="729566" cy="600164"/>
          </a:xfrm>
          <a:prstGeom prst="rect">
            <a:avLst/>
          </a:prstGeom>
          <a:noFill/>
        </p:spPr>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err="1">
                <a:ln>
                  <a:noFill/>
                </a:ln>
                <a:solidFill>
                  <a:srgbClr val="282828"/>
                </a:solidFill>
                <a:effectLst/>
                <a:uLnTx/>
                <a:uFillTx/>
                <a:latin typeface="CiscoSansTT ExtraLight"/>
                <a:ea typeface="ＭＳ Ｐゴシック" charset="0"/>
              </a:rPr>
              <a:t>TrustSec</a:t>
            </a:r>
            <a:endPar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39" name="TextBox 138">
            <a:extLst>
              <a:ext uri="{FF2B5EF4-FFF2-40B4-BE49-F238E27FC236}">
                <a16:creationId xmlns:a16="http://schemas.microsoft.com/office/drawing/2014/main" id="{77EA4A26-C053-4B77-9010-016C21B36865}"/>
              </a:ext>
            </a:extLst>
          </p:cNvPr>
          <p:cNvSpPr txBox="1"/>
          <p:nvPr/>
        </p:nvSpPr>
        <p:spPr>
          <a:xfrm>
            <a:off x="7716104" y="3292815"/>
            <a:ext cx="971053" cy="600164"/>
          </a:xfrm>
          <a:prstGeom prst="rect">
            <a:avLst/>
          </a:prstGeom>
          <a:noFill/>
        </p:spPr>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AnyConnect NVM</a:t>
            </a:r>
          </a:p>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nvGrpSpPr>
          <p:cNvPr id="10" name="Group 9">
            <a:extLst>
              <a:ext uri="{FF2B5EF4-FFF2-40B4-BE49-F238E27FC236}">
                <a16:creationId xmlns:a16="http://schemas.microsoft.com/office/drawing/2014/main" id="{424D78AC-973B-464D-9DBC-AB86F5A71865}"/>
              </a:ext>
            </a:extLst>
          </p:cNvPr>
          <p:cNvGrpSpPr/>
          <p:nvPr/>
        </p:nvGrpSpPr>
        <p:grpSpPr>
          <a:xfrm>
            <a:off x="6393945" y="2760415"/>
            <a:ext cx="498638" cy="498639"/>
            <a:chOff x="6416611" y="2652530"/>
            <a:chExt cx="453307" cy="453308"/>
          </a:xfrm>
        </p:grpSpPr>
        <p:sp>
          <p:nvSpPr>
            <p:cNvPr id="47" name="Oval 46">
              <a:extLst>
                <a:ext uri="{FF2B5EF4-FFF2-40B4-BE49-F238E27FC236}">
                  <a16:creationId xmlns:a16="http://schemas.microsoft.com/office/drawing/2014/main" id="{B23FE3B3-67A9-4C64-9C43-2A84C3A9E890}"/>
                </a:ext>
              </a:extLst>
            </p:cNvPr>
            <p:cNvSpPr/>
            <p:nvPr/>
          </p:nvSpPr>
          <p:spPr>
            <a:xfrm rot="5400000">
              <a:off x="6416611" y="2652530"/>
              <a:ext cx="453308" cy="453307"/>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140" name="Group 139">
              <a:extLst>
                <a:ext uri="{FF2B5EF4-FFF2-40B4-BE49-F238E27FC236}">
                  <a16:creationId xmlns:a16="http://schemas.microsoft.com/office/drawing/2014/main" id="{7DAE7AC1-69B1-4BC2-A65F-D0BC5F9F545B}"/>
                </a:ext>
              </a:extLst>
            </p:cNvPr>
            <p:cNvGrpSpPr>
              <a:grpSpLocks noChangeAspect="1"/>
            </p:cNvGrpSpPr>
            <p:nvPr/>
          </p:nvGrpSpPr>
          <p:grpSpPr>
            <a:xfrm>
              <a:off x="6489760" y="2725664"/>
              <a:ext cx="309991" cy="307038"/>
              <a:chOff x="7217552" y="3327527"/>
              <a:chExt cx="524984" cy="519984"/>
            </a:xfrm>
            <a:solidFill>
              <a:schemeClr val="tx2"/>
            </a:solidFill>
          </p:grpSpPr>
          <p:sp>
            <p:nvSpPr>
              <p:cNvPr id="141" name="Freeform 108">
                <a:extLst>
                  <a:ext uri="{FF2B5EF4-FFF2-40B4-BE49-F238E27FC236}">
                    <a16:creationId xmlns:a16="http://schemas.microsoft.com/office/drawing/2014/main" id="{250F1D41-BBC9-4473-A80C-7ABC65CC669B}"/>
                  </a:ext>
                </a:extLst>
              </p:cNvPr>
              <p:cNvSpPr>
                <a:spLocks/>
              </p:cNvSpPr>
              <p:nvPr/>
            </p:nvSpPr>
            <p:spPr bwMode="auto">
              <a:xfrm>
                <a:off x="7225552" y="3327527"/>
                <a:ext cx="516984" cy="387988"/>
              </a:xfrm>
              <a:custGeom>
                <a:avLst/>
                <a:gdLst>
                  <a:gd name="T0" fmla="*/ 199 w 219"/>
                  <a:gd name="T1" fmla="*/ 164 h 164"/>
                  <a:gd name="T2" fmla="*/ 197 w 219"/>
                  <a:gd name="T3" fmla="*/ 164 h 164"/>
                  <a:gd name="T4" fmla="*/ 194 w 219"/>
                  <a:gd name="T5" fmla="*/ 156 h 164"/>
                  <a:gd name="T6" fmla="*/ 199 w 219"/>
                  <a:gd name="T7" fmla="*/ 81 h 164"/>
                  <a:gd name="T8" fmla="*/ 150 w 219"/>
                  <a:gd name="T9" fmla="*/ 25 h 164"/>
                  <a:gd name="T10" fmla="*/ 75 w 219"/>
                  <a:gd name="T11" fmla="*/ 20 h 164"/>
                  <a:gd name="T12" fmla="*/ 19 w 219"/>
                  <a:gd name="T13" fmla="*/ 70 h 164"/>
                  <a:gd name="T14" fmla="*/ 12 w 219"/>
                  <a:gd name="T15" fmla="*/ 90 h 164"/>
                  <a:gd name="T16" fmla="*/ 5 w 219"/>
                  <a:gd name="T17" fmla="*/ 94 h 164"/>
                  <a:gd name="T18" fmla="*/ 0 w 219"/>
                  <a:gd name="T19" fmla="*/ 87 h 164"/>
                  <a:gd name="T20" fmla="*/ 9 w 219"/>
                  <a:gd name="T21" fmla="*/ 65 h 164"/>
                  <a:gd name="T22" fmla="*/ 71 w 219"/>
                  <a:gd name="T23" fmla="*/ 10 h 164"/>
                  <a:gd name="T24" fmla="*/ 155 w 219"/>
                  <a:gd name="T25" fmla="*/ 15 h 164"/>
                  <a:gd name="T26" fmla="*/ 210 w 219"/>
                  <a:gd name="T27" fmla="*/ 78 h 164"/>
                  <a:gd name="T28" fmla="*/ 204 w 219"/>
                  <a:gd name="T29" fmla="*/ 161 h 164"/>
                  <a:gd name="T30" fmla="*/ 199 w 219"/>
                  <a:gd name="T3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164">
                    <a:moveTo>
                      <a:pt x="199" y="164"/>
                    </a:moveTo>
                    <a:cubicBezTo>
                      <a:pt x="198" y="164"/>
                      <a:pt x="197" y="164"/>
                      <a:pt x="197" y="164"/>
                    </a:cubicBezTo>
                    <a:cubicBezTo>
                      <a:pt x="194" y="162"/>
                      <a:pt x="193" y="159"/>
                      <a:pt x="194" y="156"/>
                    </a:cubicBezTo>
                    <a:cubicBezTo>
                      <a:pt x="206" y="133"/>
                      <a:pt x="207" y="106"/>
                      <a:pt x="199" y="81"/>
                    </a:cubicBezTo>
                    <a:cubicBezTo>
                      <a:pt x="191" y="57"/>
                      <a:pt x="173" y="37"/>
                      <a:pt x="150" y="25"/>
                    </a:cubicBezTo>
                    <a:cubicBezTo>
                      <a:pt x="126" y="14"/>
                      <a:pt x="100" y="12"/>
                      <a:pt x="75" y="20"/>
                    </a:cubicBezTo>
                    <a:cubicBezTo>
                      <a:pt x="50" y="29"/>
                      <a:pt x="31" y="46"/>
                      <a:pt x="19" y="70"/>
                    </a:cubicBezTo>
                    <a:cubicBezTo>
                      <a:pt x="16" y="76"/>
                      <a:pt x="13" y="83"/>
                      <a:pt x="12" y="90"/>
                    </a:cubicBezTo>
                    <a:cubicBezTo>
                      <a:pt x="11" y="93"/>
                      <a:pt x="8" y="95"/>
                      <a:pt x="5" y="94"/>
                    </a:cubicBezTo>
                    <a:cubicBezTo>
                      <a:pt x="2" y="94"/>
                      <a:pt x="0" y="90"/>
                      <a:pt x="0" y="87"/>
                    </a:cubicBezTo>
                    <a:cubicBezTo>
                      <a:pt x="2" y="80"/>
                      <a:pt x="5" y="72"/>
                      <a:pt x="9" y="65"/>
                    </a:cubicBezTo>
                    <a:cubicBezTo>
                      <a:pt x="22" y="38"/>
                      <a:pt x="44" y="19"/>
                      <a:pt x="71" y="10"/>
                    </a:cubicBezTo>
                    <a:cubicBezTo>
                      <a:pt x="99" y="0"/>
                      <a:pt x="129" y="2"/>
                      <a:pt x="155" y="15"/>
                    </a:cubicBezTo>
                    <a:cubicBezTo>
                      <a:pt x="181" y="28"/>
                      <a:pt x="200" y="50"/>
                      <a:pt x="210" y="78"/>
                    </a:cubicBezTo>
                    <a:cubicBezTo>
                      <a:pt x="219" y="105"/>
                      <a:pt x="217" y="135"/>
                      <a:pt x="204" y="161"/>
                    </a:cubicBezTo>
                    <a:cubicBezTo>
                      <a:pt x="203" y="163"/>
                      <a:pt x="201" y="164"/>
                      <a:pt x="199"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2" name="Freeform 109">
                <a:extLst>
                  <a:ext uri="{FF2B5EF4-FFF2-40B4-BE49-F238E27FC236}">
                    <a16:creationId xmlns:a16="http://schemas.microsoft.com/office/drawing/2014/main" id="{111138E8-70D3-4A31-BE0E-F52543125A87}"/>
                  </a:ext>
                </a:extLst>
              </p:cNvPr>
              <p:cNvSpPr>
                <a:spLocks/>
              </p:cNvSpPr>
              <p:nvPr/>
            </p:nvSpPr>
            <p:spPr bwMode="auto">
              <a:xfrm>
                <a:off x="7255551" y="3509521"/>
                <a:ext cx="302991" cy="316990"/>
              </a:xfrm>
              <a:custGeom>
                <a:avLst/>
                <a:gdLst>
                  <a:gd name="T0" fmla="*/ 50 w 128"/>
                  <a:gd name="T1" fmla="*/ 134 h 134"/>
                  <a:gd name="T2" fmla="*/ 45 w 128"/>
                  <a:gd name="T3" fmla="*/ 131 h 134"/>
                  <a:gd name="T4" fmla="*/ 47 w 128"/>
                  <a:gd name="T5" fmla="*/ 123 h 134"/>
                  <a:gd name="T6" fmla="*/ 94 w 128"/>
                  <a:gd name="T7" fmla="*/ 81 h 134"/>
                  <a:gd name="T8" fmla="*/ 113 w 128"/>
                  <a:gd name="T9" fmla="*/ 40 h 134"/>
                  <a:gd name="T10" fmla="*/ 102 w 128"/>
                  <a:gd name="T11" fmla="*/ 18 h 134"/>
                  <a:gd name="T12" fmla="*/ 76 w 128"/>
                  <a:gd name="T13" fmla="*/ 27 h 134"/>
                  <a:gd name="T14" fmla="*/ 71 w 128"/>
                  <a:gd name="T15" fmla="*/ 37 h 134"/>
                  <a:gd name="T16" fmla="*/ 53 w 128"/>
                  <a:gd name="T17" fmla="*/ 70 h 134"/>
                  <a:gd name="T18" fmla="*/ 8 w 128"/>
                  <a:gd name="T19" fmla="*/ 96 h 134"/>
                  <a:gd name="T20" fmla="*/ 1 w 128"/>
                  <a:gd name="T21" fmla="*/ 92 h 134"/>
                  <a:gd name="T22" fmla="*/ 4 w 128"/>
                  <a:gd name="T23" fmla="*/ 85 h 134"/>
                  <a:gd name="T24" fmla="*/ 44 w 128"/>
                  <a:gd name="T25" fmla="*/ 63 h 134"/>
                  <a:gd name="T26" fmla="*/ 61 w 128"/>
                  <a:gd name="T27" fmla="*/ 32 h 134"/>
                  <a:gd name="T28" fmla="*/ 65 w 128"/>
                  <a:gd name="T29" fmla="*/ 22 h 134"/>
                  <a:gd name="T30" fmla="*/ 107 w 128"/>
                  <a:gd name="T31" fmla="*/ 8 h 134"/>
                  <a:gd name="T32" fmla="*/ 123 w 128"/>
                  <a:gd name="T33" fmla="*/ 44 h 134"/>
                  <a:gd name="T34" fmla="*/ 104 w 128"/>
                  <a:gd name="T35" fmla="*/ 88 h 134"/>
                  <a:gd name="T36" fmla="*/ 52 w 128"/>
                  <a:gd name="T37" fmla="*/ 133 h 134"/>
                  <a:gd name="T38" fmla="*/ 50 w 128"/>
                  <a:gd name="T3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4">
                    <a:moveTo>
                      <a:pt x="50" y="134"/>
                    </a:moveTo>
                    <a:cubicBezTo>
                      <a:pt x="48" y="134"/>
                      <a:pt x="46" y="133"/>
                      <a:pt x="45" y="131"/>
                    </a:cubicBezTo>
                    <a:cubicBezTo>
                      <a:pt x="43" y="128"/>
                      <a:pt x="44" y="125"/>
                      <a:pt x="47" y="123"/>
                    </a:cubicBezTo>
                    <a:cubicBezTo>
                      <a:pt x="47" y="123"/>
                      <a:pt x="78" y="106"/>
                      <a:pt x="94" y="81"/>
                    </a:cubicBezTo>
                    <a:cubicBezTo>
                      <a:pt x="104" y="67"/>
                      <a:pt x="110" y="48"/>
                      <a:pt x="113" y="40"/>
                    </a:cubicBezTo>
                    <a:cubicBezTo>
                      <a:pt x="116" y="30"/>
                      <a:pt x="113" y="23"/>
                      <a:pt x="102" y="18"/>
                    </a:cubicBezTo>
                    <a:cubicBezTo>
                      <a:pt x="93" y="13"/>
                      <a:pt x="81" y="17"/>
                      <a:pt x="76" y="27"/>
                    </a:cubicBezTo>
                    <a:cubicBezTo>
                      <a:pt x="74" y="30"/>
                      <a:pt x="73" y="33"/>
                      <a:pt x="71" y="37"/>
                    </a:cubicBezTo>
                    <a:cubicBezTo>
                      <a:pt x="66" y="47"/>
                      <a:pt x="61" y="60"/>
                      <a:pt x="53" y="70"/>
                    </a:cubicBezTo>
                    <a:cubicBezTo>
                      <a:pt x="41" y="86"/>
                      <a:pt x="9" y="96"/>
                      <a:pt x="8" y="96"/>
                    </a:cubicBezTo>
                    <a:cubicBezTo>
                      <a:pt x="5" y="97"/>
                      <a:pt x="2" y="95"/>
                      <a:pt x="1" y="92"/>
                    </a:cubicBezTo>
                    <a:cubicBezTo>
                      <a:pt x="0" y="89"/>
                      <a:pt x="1" y="86"/>
                      <a:pt x="4" y="85"/>
                    </a:cubicBezTo>
                    <a:cubicBezTo>
                      <a:pt x="13" y="83"/>
                      <a:pt x="36" y="74"/>
                      <a:pt x="44" y="63"/>
                    </a:cubicBezTo>
                    <a:cubicBezTo>
                      <a:pt x="51" y="54"/>
                      <a:pt x="56" y="42"/>
                      <a:pt x="61" y="32"/>
                    </a:cubicBezTo>
                    <a:cubicBezTo>
                      <a:pt x="62" y="28"/>
                      <a:pt x="64" y="25"/>
                      <a:pt x="65" y="22"/>
                    </a:cubicBezTo>
                    <a:cubicBezTo>
                      <a:pt x="73" y="6"/>
                      <a:pt x="92" y="0"/>
                      <a:pt x="107" y="8"/>
                    </a:cubicBezTo>
                    <a:cubicBezTo>
                      <a:pt x="123" y="15"/>
                      <a:pt x="128" y="28"/>
                      <a:pt x="123" y="44"/>
                    </a:cubicBezTo>
                    <a:cubicBezTo>
                      <a:pt x="121" y="52"/>
                      <a:pt x="114" y="72"/>
                      <a:pt x="104" y="88"/>
                    </a:cubicBezTo>
                    <a:cubicBezTo>
                      <a:pt x="86" y="115"/>
                      <a:pt x="54" y="132"/>
                      <a:pt x="52" y="133"/>
                    </a:cubicBezTo>
                    <a:cubicBezTo>
                      <a:pt x="51" y="134"/>
                      <a:pt x="51" y="134"/>
                      <a:pt x="50"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3" name="Freeform 110">
                <a:extLst>
                  <a:ext uri="{FF2B5EF4-FFF2-40B4-BE49-F238E27FC236}">
                    <a16:creationId xmlns:a16="http://schemas.microsoft.com/office/drawing/2014/main" id="{69EC4B91-645F-4F16-AC50-AE1CBDC172A8}"/>
                  </a:ext>
                </a:extLst>
              </p:cNvPr>
              <p:cNvSpPr>
                <a:spLocks/>
              </p:cNvSpPr>
              <p:nvPr/>
            </p:nvSpPr>
            <p:spPr bwMode="auto">
              <a:xfrm>
                <a:off x="7227552" y="3455523"/>
                <a:ext cx="398988" cy="391988"/>
              </a:xfrm>
              <a:custGeom>
                <a:avLst/>
                <a:gdLst>
                  <a:gd name="T0" fmla="*/ 94 w 169"/>
                  <a:gd name="T1" fmla="*/ 166 h 166"/>
                  <a:gd name="T2" fmla="*/ 89 w 169"/>
                  <a:gd name="T3" fmla="*/ 164 h 166"/>
                  <a:gd name="T4" fmla="*/ 90 w 169"/>
                  <a:gd name="T5" fmla="*/ 156 h 166"/>
                  <a:gd name="T6" fmla="*/ 129 w 169"/>
                  <a:gd name="T7" fmla="*/ 117 h 166"/>
                  <a:gd name="T8" fmla="*/ 147 w 169"/>
                  <a:gd name="T9" fmla="*/ 77 h 166"/>
                  <a:gd name="T10" fmla="*/ 126 w 169"/>
                  <a:gd name="T11" fmla="*/ 18 h 166"/>
                  <a:gd name="T12" fmla="*/ 64 w 169"/>
                  <a:gd name="T13" fmla="*/ 39 h 166"/>
                  <a:gd name="T14" fmla="*/ 63 w 169"/>
                  <a:gd name="T15" fmla="*/ 42 h 166"/>
                  <a:gd name="T16" fmla="*/ 49 w 169"/>
                  <a:gd name="T17" fmla="*/ 71 h 166"/>
                  <a:gd name="T18" fmla="*/ 7 w 169"/>
                  <a:gd name="T19" fmla="*/ 96 h 166"/>
                  <a:gd name="T20" fmla="*/ 0 w 169"/>
                  <a:gd name="T21" fmla="*/ 92 h 166"/>
                  <a:gd name="T22" fmla="*/ 5 w 169"/>
                  <a:gd name="T23" fmla="*/ 85 h 166"/>
                  <a:gd name="T24" fmla="*/ 40 w 169"/>
                  <a:gd name="T25" fmla="*/ 65 h 166"/>
                  <a:gd name="T26" fmla="*/ 52 w 169"/>
                  <a:gd name="T27" fmla="*/ 39 h 166"/>
                  <a:gd name="T28" fmla="*/ 54 w 169"/>
                  <a:gd name="T29" fmla="*/ 33 h 166"/>
                  <a:gd name="T30" fmla="*/ 87 w 169"/>
                  <a:gd name="T31" fmla="*/ 5 h 166"/>
                  <a:gd name="T32" fmla="*/ 131 w 169"/>
                  <a:gd name="T33" fmla="*/ 7 h 166"/>
                  <a:gd name="T34" fmla="*/ 158 w 169"/>
                  <a:gd name="T35" fmla="*/ 81 h 166"/>
                  <a:gd name="T36" fmla="*/ 138 w 169"/>
                  <a:gd name="T37" fmla="*/ 123 h 166"/>
                  <a:gd name="T38" fmla="*/ 97 w 169"/>
                  <a:gd name="T39" fmla="*/ 165 h 166"/>
                  <a:gd name="T40" fmla="*/ 94 w 169"/>
                  <a:gd name="T4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166">
                    <a:moveTo>
                      <a:pt x="94" y="166"/>
                    </a:moveTo>
                    <a:cubicBezTo>
                      <a:pt x="92" y="166"/>
                      <a:pt x="91" y="166"/>
                      <a:pt x="89" y="164"/>
                    </a:cubicBezTo>
                    <a:cubicBezTo>
                      <a:pt x="87" y="162"/>
                      <a:pt x="88" y="158"/>
                      <a:pt x="90" y="156"/>
                    </a:cubicBezTo>
                    <a:cubicBezTo>
                      <a:pt x="91" y="156"/>
                      <a:pt x="115" y="137"/>
                      <a:pt x="129" y="117"/>
                    </a:cubicBezTo>
                    <a:cubicBezTo>
                      <a:pt x="136" y="106"/>
                      <a:pt x="142" y="93"/>
                      <a:pt x="147" y="77"/>
                    </a:cubicBezTo>
                    <a:cubicBezTo>
                      <a:pt x="157" y="48"/>
                      <a:pt x="150" y="29"/>
                      <a:pt x="126" y="18"/>
                    </a:cubicBezTo>
                    <a:cubicBezTo>
                      <a:pt x="103" y="6"/>
                      <a:pt x="77" y="16"/>
                      <a:pt x="64" y="39"/>
                    </a:cubicBezTo>
                    <a:cubicBezTo>
                      <a:pt x="64" y="39"/>
                      <a:pt x="63" y="41"/>
                      <a:pt x="63" y="42"/>
                    </a:cubicBezTo>
                    <a:cubicBezTo>
                      <a:pt x="60" y="49"/>
                      <a:pt x="56" y="60"/>
                      <a:pt x="49" y="71"/>
                    </a:cubicBezTo>
                    <a:cubicBezTo>
                      <a:pt x="39" y="88"/>
                      <a:pt x="9" y="96"/>
                      <a:pt x="7" y="96"/>
                    </a:cubicBezTo>
                    <a:cubicBezTo>
                      <a:pt x="4" y="97"/>
                      <a:pt x="1" y="95"/>
                      <a:pt x="0" y="92"/>
                    </a:cubicBezTo>
                    <a:cubicBezTo>
                      <a:pt x="0" y="89"/>
                      <a:pt x="2" y="86"/>
                      <a:pt x="5" y="85"/>
                    </a:cubicBezTo>
                    <a:cubicBezTo>
                      <a:pt x="12" y="83"/>
                      <a:pt x="33" y="76"/>
                      <a:pt x="40" y="65"/>
                    </a:cubicBezTo>
                    <a:cubicBezTo>
                      <a:pt x="46" y="55"/>
                      <a:pt x="50" y="45"/>
                      <a:pt x="52" y="39"/>
                    </a:cubicBezTo>
                    <a:cubicBezTo>
                      <a:pt x="53" y="36"/>
                      <a:pt x="53" y="34"/>
                      <a:pt x="54" y="33"/>
                    </a:cubicBezTo>
                    <a:cubicBezTo>
                      <a:pt x="62" y="20"/>
                      <a:pt x="73" y="10"/>
                      <a:pt x="87" y="5"/>
                    </a:cubicBezTo>
                    <a:cubicBezTo>
                      <a:pt x="102" y="0"/>
                      <a:pt x="117" y="1"/>
                      <a:pt x="131" y="7"/>
                    </a:cubicBezTo>
                    <a:cubicBezTo>
                      <a:pt x="160" y="22"/>
                      <a:pt x="169" y="46"/>
                      <a:pt x="158" y="81"/>
                    </a:cubicBezTo>
                    <a:cubicBezTo>
                      <a:pt x="152" y="98"/>
                      <a:pt x="146" y="112"/>
                      <a:pt x="138" y="123"/>
                    </a:cubicBezTo>
                    <a:cubicBezTo>
                      <a:pt x="123" y="145"/>
                      <a:pt x="98" y="164"/>
                      <a:pt x="97" y="165"/>
                    </a:cubicBezTo>
                    <a:cubicBezTo>
                      <a:pt x="96" y="166"/>
                      <a:pt x="95" y="166"/>
                      <a:pt x="9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4" name="Freeform 111">
                <a:extLst>
                  <a:ext uri="{FF2B5EF4-FFF2-40B4-BE49-F238E27FC236}">
                    <a16:creationId xmlns:a16="http://schemas.microsoft.com/office/drawing/2014/main" id="{39127839-A156-4A79-BB18-DAAAEE309126}"/>
                  </a:ext>
                </a:extLst>
              </p:cNvPr>
              <p:cNvSpPr>
                <a:spLocks/>
              </p:cNvSpPr>
              <p:nvPr/>
            </p:nvSpPr>
            <p:spPr bwMode="auto">
              <a:xfrm>
                <a:off x="7217552" y="3370526"/>
                <a:ext cx="479985" cy="464986"/>
              </a:xfrm>
              <a:custGeom>
                <a:avLst/>
                <a:gdLst>
                  <a:gd name="T0" fmla="*/ 141 w 203"/>
                  <a:gd name="T1" fmla="*/ 197 h 197"/>
                  <a:gd name="T2" fmla="*/ 137 w 203"/>
                  <a:gd name="T3" fmla="*/ 196 h 197"/>
                  <a:gd name="T4" fmla="*/ 137 w 203"/>
                  <a:gd name="T5" fmla="*/ 188 h 197"/>
                  <a:gd name="T6" fmla="*/ 171 w 203"/>
                  <a:gd name="T7" fmla="*/ 133 h 197"/>
                  <a:gd name="T8" fmla="*/ 141 w 203"/>
                  <a:gd name="T9" fmla="*/ 30 h 197"/>
                  <a:gd name="T10" fmla="*/ 45 w 203"/>
                  <a:gd name="T11" fmla="*/ 63 h 197"/>
                  <a:gd name="T12" fmla="*/ 41 w 203"/>
                  <a:gd name="T13" fmla="*/ 75 h 197"/>
                  <a:gd name="T14" fmla="*/ 38 w 203"/>
                  <a:gd name="T15" fmla="*/ 82 h 197"/>
                  <a:gd name="T16" fmla="*/ 7 w 203"/>
                  <a:gd name="T17" fmla="*/ 106 h 197"/>
                  <a:gd name="T18" fmla="*/ 0 w 203"/>
                  <a:gd name="T19" fmla="*/ 102 h 197"/>
                  <a:gd name="T20" fmla="*/ 5 w 203"/>
                  <a:gd name="T21" fmla="*/ 95 h 197"/>
                  <a:gd name="T22" fmla="*/ 28 w 203"/>
                  <a:gd name="T23" fmla="*/ 78 h 197"/>
                  <a:gd name="T24" fmla="*/ 30 w 203"/>
                  <a:gd name="T25" fmla="*/ 72 h 197"/>
                  <a:gd name="T26" fmla="*/ 35 w 203"/>
                  <a:gd name="T27" fmla="*/ 58 h 197"/>
                  <a:gd name="T28" fmla="*/ 146 w 203"/>
                  <a:gd name="T29" fmla="*/ 20 h 197"/>
                  <a:gd name="T30" fmla="*/ 182 w 203"/>
                  <a:gd name="T31" fmla="*/ 137 h 197"/>
                  <a:gd name="T32" fmla="*/ 146 w 203"/>
                  <a:gd name="T33" fmla="*/ 195 h 197"/>
                  <a:gd name="T34" fmla="*/ 141 w 203"/>
                  <a:gd name="T3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3" h="197">
                    <a:moveTo>
                      <a:pt x="141" y="197"/>
                    </a:moveTo>
                    <a:cubicBezTo>
                      <a:pt x="140" y="197"/>
                      <a:pt x="139" y="197"/>
                      <a:pt x="137" y="196"/>
                    </a:cubicBezTo>
                    <a:cubicBezTo>
                      <a:pt x="135" y="194"/>
                      <a:pt x="135" y="190"/>
                      <a:pt x="137" y="188"/>
                    </a:cubicBezTo>
                    <a:cubicBezTo>
                      <a:pt x="137" y="188"/>
                      <a:pt x="159" y="163"/>
                      <a:pt x="171" y="133"/>
                    </a:cubicBezTo>
                    <a:cubicBezTo>
                      <a:pt x="190" y="86"/>
                      <a:pt x="179" y="49"/>
                      <a:pt x="141" y="30"/>
                    </a:cubicBezTo>
                    <a:cubicBezTo>
                      <a:pt x="106" y="13"/>
                      <a:pt x="62" y="27"/>
                      <a:pt x="45" y="63"/>
                    </a:cubicBezTo>
                    <a:cubicBezTo>
                      <a:pt x="43" y="67"/>
                      <a:pt x="42" y="71"/>
                      <a:pt x="41" y="75"/>
                    </a:cubicBezTo>
                    <a:cubicBezTo>
                      <a:pt x="40" y="77"/>
                      <a:pt x="39" y="80"/>
                      <a:pt x="38" y="82"/>
                    </a:cubicBezTo>
                    <a:cubicBezTo>
                      <a:pt x="32" y="100"/>
                      <a:pt x="8" y="106"/>
                      <a:pt x="7" y="106"/>
                    </a:cubicBezTo>
                    <a:cubicBezTo>
                      <a:pt x="4" y="107"/>
                      <a:pt x="1" y="105"/>
                      <a:pt x="0" y="102"/>
                    </a:cubicBezTo>
                    <a:cubicBezTo>
                      <a:pt x="0" y="99"/>
                      <a:pt x="1" y="96"/>
                      <a:pt x="5" y="95"/>
                    </a:cubicBezTo>
                    <a:cubicBezTo>
                      <a:pt x="5" y="95"/>
                      <a:pt x="24" y="91"/>
                      <a:pt x="28" y="78"/>
                    </a:cubicBezTo>
                    <a:cubicBezTo>
                      <a:pt x="28" y="76"/>
                      <a:pt x="29" y="74"/>
                      <a:pt x="30" y="72"/>
                    </a:cubicBezTo>
                    <a:cubicBezTo>
                      <a:pt x="31" y="67"/>
                      <a:pt x="32" y="63"/>
                      <a:pt x="35" y="58"/>
                    </a:cubicBezTo>
                    <a:cubicBezTo>
                      <a:pt x="55" y="17"/>
                      <a:pt x="105" y="0"/>
                      <a:pt x="146" y="20"/>
                    </a:cubicBezTo>
                    <a:cubicBezTo>
                      <a:pt x="190" y="41"/>
                      <a:pt x="203" y="85"/>
                      <a:pt x="182" y="137"/>
                    </a:cubicBezTo>
                    <a:cubicBezTo>
                      <a:pt x="169" y="169"/>
                      <a:pt x="146" y="194"/>
                      <a:pt x="146" y="195"/>
                    </a:cubicBezTo>
                    <a:cubicBezTo>
                      <a:pt x="144" y="197"/>
                      <a:pt x="143" y="197"/>
                      <a:pt x="141"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45" name="Freeform 112">
                <a:extLst>
                  <a:ext uri="{FF2B5EF4-FFF2-40B4-BE49-F238E27FC236}">
                    <a16:creationId xmlns:a16="http://schemas.microsoft.com/office/drawing/2014/main" id="{A1091306-01A9-4D6B-AFD3-0C72F84B2D12}"/>
                  </a:ext>
                </a:extLst>
              </p:cNvPr>
              <p:cNvSpPr>
                <a:spLocks/>
              </p:cNvSpPr>
              <p:nvPr/>
            </p:nvSpPr>
            <p:spPr bwMode="auto">
              <a:xfrm>
                <a:off x="7295550" y="3585519"/>
                <a:ext cx="191994" cy="202994"/>
              </a:xfrm>
              <a:custGeom>
                <a:avLst/>
                <a:gdLst>
                  <a:gd name="T0" fmla="*/ 7 w 81"/>
                  <a:gd name="T1" fmla="*/ 86 h 86"/>
                  <a:gd name="T2" fmla="*/ 2 w 81"/>
                  <a:gd name="T3" fmla="*/ 83 h 86"/>
                  <a:gd name="T4" fmla="*/ 4 w 81"/>
                  <a:gd name="T5" fmla="*/ 75 h 86"/>
                  <a:gd name="T6" fmla="*/ 45 w 81"/>
                  <a:gd name="T7" fmla="*/ 48 h 86"/>
                  <a:gd name="T8" fmla="*/ 69 w 81"/>
                  <a:gd name="T9" fmla="*/ 5 h 86"/>
                  <a:gd name="T10" fmla="*/ 76 w 81"/>
                  <a:gd name="T11" fmla="*/ 0 h 86"/>
                  <a:gd name="T12" fmla="*/ 81 w 81"/>
                  <a:gd name="T13" fmla="*/ 7 h 86"/>
                  <a:gd name="T14" fmla="*/ 54 w 81"/>
                  <a:gd name="T15" fmla="*/ 56 h 86"/>
                  <a:gd name="T16" fmla="*/ 9 w 81"/>
                  <a:gd name="T17" fmla="*/ 86 h 86"/>
                  <a:gd name="T18" fmla="*/ 7 w 81"/>
                  <a:gd name="T1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6">
                    <a:moveTo>
                      <a:pt x="7" y="86"/>
                    </a:moveTo>
                    <a:cubicBezTo>
                      <a:pt x="5" y="86"/>
                      <a:pt x="3" y="85"/>
                      <a:pt x="2" y="83"/>
                    </a:cubicBezTo>
                    <a:cubicBezTo>
                      <a:pt x="0" y="80"/>
                      <a:pt x="2" y="76"/>
                      <a:pt x="4" y="75"/>
                    </a:cubicBezTo>
                    <a:cubicBezTo>
                      <a:pt x="5" y="75"/>
                      <a:pt x="33" y="62"/>
                      <a:pt x="45" y="48"/>
                    </a:cubicBezTo>
                    <a:cubicBezTo>
                      <a:pt x="65" y="26"/>
                      <a:pt x="69" y="5"/>
                      <a:pt x="69" y="5"/>
                    </a:cubicBezTo>
                    <a:cubicBezTo>
                      <a:pt x="70" y="2"/>
                      <a:pt x="73" y="0"/>
                      <a:pt x="76" y="0"/>
                    </a:cubicBezTo>
                    <a:cubicBezTo>
                      <a:pt x="79" y="1"/>
                      <a:pt x="81" y="4"/>
                      <a:pt x="81" y="7"/>
                    </a:cubicBezTo>
                    <a:cubicBezTo>
                      <a:pt x="80" y="8"/>
                      <a:pt x="75" y="31"/>
                      <a:pt x="54" y="56"/>
                    </a:cubicBezTo>
                    <a:cubicBezTo>
                      <a:pt x="39" y="72"/>
                      <a:pt x="10" y="85"/>
                      <a:pt x="9" y="86"/>
                    </a:cubicBezTo>
                    <a:cubicBezTo>
                      <a:pt x="8" y="86"/>
                      <a:pt x="8" y="86"/>
                      <a:pt x="7"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sp>
        <p:nvSpPr>
          <p:cNvPr id="46" name="Oval 45">
            <a:extLst>
              <a:ext uri="{FF2B5EF4-FFF2-40B4-BE49-F238E27FC236}">
                <a16:creationId xmlns:a16="http://schemas.microsoft.com/office/drawing/2014/main" id="{7FB546CE-D5C2-4C7E-B405-5F5430679F0B}"/>
              </a:ext>
            </a:extLst>
          </p:cNvPr>
          <p:cNvSpPr/>
          <p:nvPr/>
        </p:nvSpPr>
        <p:spPr>
          <a:xfrm rot="5400000">
            <a:off x="1724516" y="2760415"/>
            <a:ext cx="498639" cy="498638"/>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6" name="Group 5">
            <a:extLst>
              <a:ext uri="{FF2B5EF4-FFF2-40B4-BE49-F238E27FC236}">
                <a16:creationId xmlns:a16="http://schemas.microsoft.com/office/drawing/2014/main" id="{8867B4E2-17CA-4EA8-817C-E849EBE9960D}"/>
              </a:ext>
            </a:extLst>
          </p:cNvPr>
          <p:cNvGrpSpPr/>
          <p:nvPr/>
        </p:nvGrpSpPr>
        <p:grpSpPr>
          <a:xfrm>
            <a:off x="5619243" y="2759114"/>
            <a:ext cx="498638" cy="498639"/>
            <a:chOff x="1741525" y="2652531"/>
            <a:chExt cx="453307" cy="453308"/>
          </a:xfrm>
        </p:grpSpPr>
        <p:sp>
          <p:nvSpPr>
            <p:cNvPr id="39" name="Oval 38">
              <a:extLst>
                <a:ext uri="{FF2B5EF4-FFF2-40B4-BE49-F238E27FC236}">
                  <a16:creationId xmlns:a16="http://schemas.microsoft.com/office/drawing/2014/main" id="{813BB5FB-B337-4A74-8578-8873F4453719}"/>
                </a:ext>
              </a:extLst>
            </p:cNvPr>
            <p:cNvSpPr/>
            <p:nvPr/>
          </p:nvSpPr>
          <p:spPr>
            <a:xfrm rot="5400000">
              <a:off x="1741525" y="2652531"/>
              <a:ext cx="453308" cy="453307"/>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152" name="Group 151">
              <a:extLst>
                <a:ext uri="{FF2B5EF4-FFF2-40B4-BE49-F238E27FC236}">
                  <a16:creationId xmlns:a16="http://schemas.microsoft.com/office/drawing/2014/main" id="{C8327AB1-1538-449C-ACFC-F59098BD2C58}"/>
                </a:ext>
              </a:extLst>
            </p:cNvPr>
            <p:cNvGrpSpPr>
              <a:grpSpLocks noChangeAspect="1"/>
            </p:cNvGrpSpPr>
            <p:nvPr/>
          </p:nvGrpSpPr>
          <p:grpSpPr>
            <a:xfrm>
              <a:off x="1785669" y="2742911"/>
              <a:ext cx="365020" cy="207660"/>
              <a:chOff x="876539" y="1496592"/>
              <a:chExt cx="498530" cy="266991"/>
            </a:xfrm>
            <a:solidFill>
              <a:schemeClr val="bg2"/>
            </a:solidFill>
          </p:grpSpPr>
          <p:sp>
            <p:nvSpPr>
              <p:cNvPr id="153" name="Freeform 751">
                <a:extLst>
                  <a:ext uri="{FF2B5EF4-FFF2-40B4-BE49-F238E27FC236}">
                    <a16:creationId xmlns:a16="http://schemas.microsoft.com/office/drawing/2014/main" id="{7ABFC5E7-B59D-41D0-BAA9-FD059652A7D4}"/>
                  </a:ext>
                </a:extLst>
              </p:cNvPr>
              <p:cNvSpPr>
                <a:spLocks/>
              </p:cNvSpPr>
              <p:nvPr/>
            </p:nvSpPr>
            <p:spPr bwMode="auto">
              <a:xfrm>
                <a:off x="876539" y="1647587"/>
                <a:ext cx="498530"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4" name="Freeform 752">
                <a:extLst>
                  <a:ext uri="{FF2B5EF4-FFF2-40B4-BE49-F238E27FC236}">
                    <a16:creationId xmlns:a16="http://schemas.microsoft.com/office/drawing/2014/main" id="{24CDE54D-CE47-4FCD-BF6F-7229263147FE}"/>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55" name="Freeform 753">
                <a:extLst>
                  <a:ext uri="{FF2B5EF4-FFF2-40B4-BE49-F238E27FC236}">
                    <a16:creationId xmlns:a16="http://schemas.microsoft.com/office/drawing/2014/main" id="{52AADB44-239C-4231-9472-314B104A6612}"/>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
          <p:nvSpPr>
            <p:cNvPr id="151" name="Freeform 7">
              <a:extLst>
                <a:ext uri="{FF2B5EF4-FFF2-40B4-BE49-F238E27FC236}">
                  <a16:creationId xmlns:a16="http://schemas.microsoft.com/office/drawing/2014/main" id="{E68618CE-19EA-40A0-9A66-E3BF396DD1DE}"/>
                </a:ext>
              </a:extLst>
            </p:cNvPr>
            <p:cNvSpPr>
              <a:spLocks/>
            </p:cNvSpPr>
            <p:nvPr/>
          </p:nvSpPr>
          <p:spPr bwMode="auto">
            <a:xfrm>
              <a:off x="1854852" y="2811410"/>
              <a:ext cx="226654" cy="224202"/>
            </a:xfrm>
            <a:custGeom>
              <a:avLst/>
              <a:gdLst>
                <a:gd name="T0" fmla="*/ 44 w 91"/>
                <a:gd name="T1" fmla="*/ 5 h 90"/>
                <a:gd name="T2" fmla="*/ 44 w 91"/>
                <a:gd name="T3" fmla="*/ 2 h 90"/>
                <a:gd name="T4" fmla="*/ 46 w 91"/>
                <a:gd name="T5" fmla="*/ 0 h 90"/>
                <a:gd name="T6" fmla="*/ 48 w 91"/>
                <a:gd name="T7" fmla="*/ 2 h 90"/>
                <a:gd name="T8" fmla="*/ 48 w 91"/>
                <a:gd name="T9" fmla="*/ 5 h 90"/>
                <a:gd name="T10" fmla="*/ 82 w 91"/>
                <a:gd name="T11" fmla="*/ 23 h 90"/>
                <a:gd name="T12" fmla="*/ 91 w 91"/>
                <a:gd name="T13" fmla="*/ 47 h 90"/>
                <a:gd name="T14" fmla="*/ 76 w 91"/>
                <a:gd name="T15" fmla="*/ 39 h 90"/>
                <a:gd name="T16" fmla="*/ 61 w 91"/>
                <a:gd name="T17" fmla="*/ 45 h 90"/>
                <a:gd name="T18" fmla="*/ 48 w 91"/>
                <a:gd name="T19" fmla="*/ 39 h 90"/>
                <a:gd name="T20" fmla="*/ 48 w 91"/>
                <a:gd name="T21" fmla="*/ 40 h 90"/>
                <a:gd name="T22" fmla="*/ 48 w 91"/>
                <a:gd name="T23" fmla="*/ 76 h 90"/>
                <a:gd name="T24" fmla="*/ 45 w 91"/>
                <a:gd name="T25" fmla="*/ 85 h 90"/>
                <a:gd name="T26" fmla="*/ 34 w 91"/>
                <a:gd name="T27" fmla="*/ 90 h 90"/>
                <a:gd name="T28" fmla="*/ 24 w 91"/>
                <a:gd name="T29" fmla="*/ 81 h 90"/>
                <a:gd name="T30" fmla="*/ 23 w 91"/>
                <a:gd name="T31" fmla="*/ 78 h 90"/>
                <a:gd name="T32" fmla="*/ 25 w 91"/>
                <a:gd name="T33" fmla="*/ 76 h 90"/>
                <a:gd name="T34" fmla="*/ 27 w 91"/>
                <a:gd name="T35" fmla="*/ 77 h 90"/>
                <a:gd name="T36" fmla="*/ 28 w 91"/>
                <a:gd name="T37" fmla="*/ 80 h 90"/>
                <a:gd name="T38" fmla="*/ 37 w 91"/>
                <a:gd name="T39" fmla="*/ 86 h 90"/>
                <a:gd name="T40" fmla="*/ 44 w 91"/>
                <a:gd name="T41" fmla="*/ 78 h 90"/>
                <a:gd name="T42" fmla="*/ 44 w 91"/>
                <a:gd name="T43" fmla="*/ 40 h 90"/>
                <a:gd name="T44" fmla="*/ 44 w 91"/>
                <a:gd name="T45" fmla="*/ 39 h 90"/>
                <a:gd name="T46" fmla="*/ 31 w 91"/>
                <a:gd name="T47" fmla="*/ 47 h 90"/>
                <a:gd name="T48" fmla="*/ 15 w 91"/>
                <a:gd name="T49" fmla="*/ 40 h 90"/>
                <a:gd name="T50" fmla="*/ 1 w 91"/>
                <a:gd name="T51" fmla="*/ 48 h 90"/>
                <a:gd name="T52" fmla="*/ 14 w 91"/>
                <a:gd name="T53" fmla="*/ 18 h 90"/>
                <a:gd name="T54" fmla="*/ 44 w 91"/>
                <a:gd name="T55" fmla="*/ 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90">
                  <a:moveTo>
                    <a:pt x="44" y="5"/>
                  </a:moveTo>
                  <a:cubicBezTo>
                    <a:pt x="44" y="4"/>
                    <a:pt x="44" y="3"/>
                    <a:pt x="44" y="2"/>
                  </a:cubicBezTo>
                  <a:cubicBezTo>
                    <a:pt x="44" y="1"/>
                    <a:pt x="44" y="0"/>
                    <a:pt x="46" y="0"/>
                  </a:cubicBezTo>
                  <a:cubicBezTo>
                    <a:pt x="47" y="0"/>
                    <a:pt x="48" y="1"/>
                    <a:pt x="48" y="2"/>
                  </a:cubicBezTo>
                  <a:cubicBezTo>
                    <a:pt x="48" y="3"/>
                    <a:pt x="48" y="4"/>
                    <a:pt x="48" y="5"/>
                  </a:cubicBezTo>
                  <a:cubicBezTo>
                    <a:pt x="62" y="6"/>
                    <a:pt x="73" y="12"/>
                    <a:pt x="82" y="23"/>
                  </a:cubicBezTo>
                  <a:cubicBezTo>
                    <a:pt x="87" y="30"/>
                    <a:pt x="90" y="38"/>
                    <a:pt x="91" y="47"/>
                  </a:cubicBezTo>
                  <a:cubicBezTo>
                    <a:pt x="87" y="42"/>
                    <a:pt x="82" y="39"/>
                    <a:pt x="76" y="39"/>
                  </a:cubicBezTo>
                  <a:cubicBezTo>
                    <a:pt x="70" y="38"/>
                    <a:pt x="65" y="41"/>
                    <a:pt x="61" y="45"/>
                  </a:cubicBezTo>
                  <a:cubicBezTo>
                    <a:pt x="57" y="41"/>
                    <a:pt x="53" y="39"/>
                    <a:pt x="48" y="39"/>
                  </a:cubicBezTo>
                  <a:cubicBezTo>
                    <a:pt x="48" y="39"/>
                    <a:pt x="48" y="39"/>
                    <a:pt x="48" y="40"/>
                  </a:cubicBezTo>
                  <a:cubicBezTo>
                    <a:pt x="48" y="52"/>
                    <a:pt x="48" y="64"/>
                    <a:pt x="48" y="76"/>
                  </a:cubicBezTo>
                  <a:cubicBezTo>
                    <a:pt x="48" y="80"/>
                    <a:pt x="47" y="83"/>
                    <a:pt x="45" y="85"/>
                  </a:cubicBezTo>
                  <a:cubicBezTo>
                    <a:pt x="42" y="89"/>
                    <a:pt x="38" y="90"/>
                    <a:pt x="34" y="90"/>
                  </a:cubicBezTo>
                  <a:cubicBezTo>
                    <a:pt x="29" y="89"/>
                    <a:pt x="26" y="86"/>
                    <a:pt x="24" y="81"/>
                  </a:cubicBezTo>
                  <a:cubicBezTo>
                    <a:pt x="23" y="80"/>
                    <a:pt x="23" y="79"/>
                    <a:pt x="23" y="78"/>
                  </a:cubicBezTo>
                  <a:cubicBezTo>
                    <a:pt x="23" y="76"/>
                    <a:pt x="24" y="76"/>
                    <a:pt x="25" y="76"/>
                  </a:cubicBezTo>
                  <a:cubicBezTo>
                    <a:pt x="26" y="75"/>
                    <a:pt x="27" y="76"/>
                    <a:pt x="27" y="77"/>
                  </a:cubicBezTo>
                  <a:cubicBezTo>
                    <a:pt x="27" y="78"/>
                    <a:pt x="27" y="79"/>
                    <a:pt x="28" y="80"/>
                  </a:cubicBezTo>
                  <a:cubicBezTo>
                    <a:pt x="29" y="84"/>
                    <a:pt x="32" y="86"/>
                    <a:pt x="37" y="86"/>
                  </a:cubicBezTo>
                  <a:cubicBezTo>
                    <a:pt x="40" y="85"/>
                    <a:pt x="44" y="82"/>
                    <a:pt x="44" y="78"/>
                  </a:cubicBezTo>
                  <a:cubicBezTo>
                    <a:pt x="44" y="65"/>
                    <a:pt x="44" y="52"/>
                    <a:pt x="44" y="40"/>
                  </a:cubicBezTo>
                  <a:cubicBezTo>
                    <a:pt x="44" y="39"/>
                    <a:pt x="44" y="39"/>
                    <a:pt x="44" y="39"/>
                  </a:cubicBezTo>
                  <a:cubicBezTo>
                    <a:pt x="39" y="39"/>
                    <a:pt x="35" y="42"/>
                    <a:pt x="31" y="47"/>
                  </a:cubicBezTo>
                  <a:cubicBezTo>
                    <a:pt x="27" y="42"/>
                    <a:pt x="22" y="40"/>
                    <a:pt x="15" y="40"/>
                  </a:cubicBezTo>
                  <a:cubicBezTo>
                    <a:pt x="9" y="40"/>
                    <a:pt x="4" y="43"/>
                    <a:pt x="1" y="48"/>
                  </a:cubicBezTo>
                  <a:cubicBezTo>
                    <a:pt x="0" y="40"/>
                    <a:pt x="4" y="28"/>
                    <a:pt x="14" y="18"/>
                  </a:cubicBezTo>
                  <a:cubicBezTo>
                    <a:pt x="22" y="10"/>
                    <a:pt x="32" y="6"/>
                    <a:pt x="44" y="5"/>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11" name="Group 10">
            <a:extLst>
              <a:ext uri="{FF2B5EF4-FFF2-40B4-BE49-F238E27FC236}">
                <a16:creationId xmlns:a16="http://schemas.microsoft.com/office/drawing/2014/main" id="{6103289C-3CC5-4A66-A72B-D33C0756547B}"/>
              </a:ext>
            </a:extLst>
          </p:cNvPr>
          <p:cNvGrpSpPr/>
          <p:nvPr/>
        </p:nvGrpSpPr>
        <p:grpSpPr>
          <a:xfrm>
            <a:off x="4039713" y="2756808"/>
            <a:ext cx="500721" cy="505728"/>
            <a:chOff x="682284" y="2022965"/>
            <a:chExt cx="997527" cy="997527"/>
          </a:xfrm>
        </p:grpSpPr>
        <p:sp>
          <p:nvSpPr>
            <p:cNvPr id="158" name="Oval 43">
              <a:extLst>
                <a:ext uri="{FF2B5EF4-FFF2-40B4-BE49-F238E27FC236}">
                  <a16:creationId xmlns:a16="http://schemas.microsoft.com/office/drawing/2014/main" id="{AA965093-C638-48CD-A6CC-6F56FF625017}"/>
                </a:ext>
              </a:extLst>
            </p:cNvPr>
            <p:cNvSpPr>
              <a:spLocks noChangeArrowheads="1"/>
            </p:cNvSpPr>
            <p:nvPr/>
          </p:nvSpPr>
          <p:spPr bwMode="auto">
            <a:xfrm>
              <a:off x="682284" y="2022965"/>
              <a:ext cx="997527" cy="997527"/>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59" name="Freeform 44">
              <a:extLst>
                <a:ext uri="{FF2B5EF4-FFF2-40B4-BE49-F238E27FC236}">
                  <a16:creationId xmlns:a16="http://schemas.microsoft.com/office/drawing/2014/main" id="{70D9BF81-509E-4E53-85CF-75D8D5CE996B}"/>
                </a:ext>
              </a:extLst>
            </p:cNvPr>
            <p:cNvSpPr>
              <a:spLocks/>
            </p:cNvSpPr>
            <p:nvPr/>
          </p:nvSpPr>
          <p:spPr bwMode="auto">
            <a:xfrm>
              <a:off x="888728" y="2313264"/>
              <a:ext cx="791083" cy="707227"/>
            </a:xfrm>
            <a:custGeom>
              <a:avLst/>
              <a:gdLst>
                <a:gd name="T0" fmla="*/ 517 w 517"/>
                <a:gd name="T1" fmla="*/ 237 h 531"/>
                <a:gd name="T2" fmla="*/ 517 w 517"/>
                <a:gd name="T3" fmla="*/ 237 h 531"/>
                <a:gd name="T4" fmla="*/ 222 w 517"/>
                <a:gd name="T5" fmla="*/ 0 h 531"/>
                <a:gd name="T6" fmla="*/ 0 w 517"/>
                <a:gd name="T7" fmla="*/ 387 h 531"/>
                <a:gd name="T8" fmla="*/ 215 w 517"/>
                <a:gd name="T9" fmla="*/ 531 h 531"/>
                <a:gd name="T10" fmla="*/ 222 w 517"/>
                <a:gd name="T11" fmla="*/ 531 h 531"/>
                <a:gd name="T12" fmla="*/ 517 w 517"/>
                <a:gd name="T13" fmla="*/ 237 h 531"/>
                <a:gd name="connsiteX0" fmla="*/ 9045 w 9045"/>
                <a:gd name="connsiteY0" fmla="*/ 4610 h 10147"/>
                <a:gd name="connsiteX1" fmla="*/ 9045 w 9045"/>
                <a:gd name="connsiteY1" fmla="*/ 4610 h 10147"/>
                <a:gd name="connsiteX2" fmla="*/ 3339 w 9045"/>
                <a:gd name="connsiteY2" fmla="*/ 147 h 10147"/>
                <a:gd name="connsiteX3" fmla="*/ 0 w 9045"/>
                <a:gd name="connsiteY3" fmla="*/ 7462 h 10147"/>
                <a:gd name="connsiteX4" fmla="*/ 3204 w 9045"/>
                <a:gd name="connsiteY4" fmla="*/ 10147 h 10147"/>
                <a:gd name="connsiteX5" fmla="*/ 3339 w 9045"/>
                <a:gd name="connsiteY5" fmla="*/ 10147 h 10147"/>
                <a:gd name="connsiteX6" fmla="*/ 9045 w 9045"/>
                <a:gd name="connsiteY6" fmla="*/ 4610 h 10147"/>
                <a:gd name="connsiteX0" fmla="*/ 10000 w 10000"/>
                <a:gd name="connsiteY0" fmla="*/ 4543 h 10000"/>
                <a:gd name="connsiteX1" fmla="*/ 10000 w 10000"/>
                <a:gd name="connsiteY1" fmla="*/ 4543 h 10000"/>
                <a:gd name="connsiteX2" fmla="*/ 3692 w 10000"/>
                <a:gd name="connsiteY2" fmla="*/ 145 h 10000"/>
                <a:gd name="connsiteX3" fmla="*/ 0 w 10000"/>
                <a:gd name="connsiteY3" fmla="*/ 7354 h 10000"/>
                <a:gd name="connsiteX4" fmla="*/ 3542 w 10000"/>
                <a:gd name="connsiteY4" fmla="*/ 10000 h 10000"/>
                <a:gd name="connsiteX5" fmla="*/ 3692 w 10000"/>
                <a:gd name="connsiteY5" fmla="*/ 10000 h 10000"/>
                <a:gd name="connsiteX6" fmla="*/ 10000 w 10000"/>
                <a:gd name="connsiteY6" fmla="*/ 4543 h 10000"/>
                <a:gd name="connsiteX0" fmla="*/ 10040 w 10040"/>
                <a:gd name="connsiteY0" fmla="*/ 1932 h 7389"/>
                <a:gd name="connsiteX1" fmla="*/ 10040 w 10040"/>
                <a:gd name="connsiteY1" fmla="*/ 1932 h 7389"/>
                <a:gd name="connsiteX2" fmla="*/ 6495 w 10040"/>
                <a:gd name="connsiteY2" fmla="*/ 71 h 7389"/>
                <a:gd name="connsiteX3" fmla="*/ 40 w 10040"/>
                <a:gd name="connsiteY3" fmla="*/ 4743 h 7389"/>
                <a:gd name="connsiteX4" fmla="*/ 3582 w 10040"/>
                <a:gd name="connsiteY4" fmla="*/ 7389 h 7389"/>
                <a:gd name="connsiteX5" fmla="*/ 3732 w 10040"/>
                <a:gd name="connsiteY5" fmla="*/ 7389 h 7389"/>
                <a:gd name="connsiteX6" fmla="*/ 10040 w 10040"/>
                <a:gd name="connsiteY6" fmla="*/ 1932 h 7389"/>
                <a:gd name="connsiteX0" fmla="*/ 10000 w 10000"/>
                <a:gd name="connsiteY0" fmla="*/ 2519 h 9904"/>
                <a:gd name="connsiteX1" fmla="*/ 10000 w 10000"/>
                <a:gd name="connsiteY1" fmla="*/ 2519 h 9904"/>
                <a:gd name="connsiteX2" fmla="*/ 6469 w 10000"/>
                <a:gd name="connsiteY2" fmla="*/ 0 h 9904"/>
                <a:gd name="connsiteX3" fmla="*/ 40 w 10000"/>
                <a:gd name="connsiteY3" fmla="*/ 6323 h 9904"/>
                <a:gd name="connsiteX4" fmla="*/ 3568 w 10000"/>
                <a:gd name="connsiteY4" fmla="*/ 9904 h 9904"/>
                <a:gd name="connsiteX5" fmla="*/ 3717 w 10000"/>
                <a:gd name="connsiteY5" fmla="*/ 9904 h 9904"/>
                <a:gd name="connsiteX6" fmla="*/ 10000 w 10000"/>
                <a:gd name="connsiteY6" fmla="*/ 2519 h 9904"/>
                <a:gd name="connsiteX0" fmla="*/ 10000 w 10000"/>
                <a:gd name="connsiteY0" fmla="*/ 2543 h 10000"/>
                <a:gd name="connsiteX1" fmla="*/ 10000 w 10000"/>
                <a:gd name="connsiteY1" fmla="*/ 2543 h 10000"/>
                <a:gd name="connsiteX2" fmla="*/ 6469 w 10000"/>
                <a:gd name="connsiteY2" fmla="*/ 0 h 10000"/>
                <a:gd name="connsiteX3" fmla="*/ 40 w 10000"/>
                <a:gd name="connsiteY3" fmla="*/ 6384 h 10000"/>
                <a:gd name="connsiteX4" fmla="*/ 3568 w 10000"/>
                <a:gd name="connsiteY4" fmla="*/ 10000 h 10000"/>
                <a:gd name="connsiteX5" fmla="*/ 3717 w 10000"/>
                <a:gd name="connsiteY5" fmla="*/ 10000 h 10000"/>
                <a:gd name="connsiteX6" fmla="*/ 10000 w 10000"/>
                <a:gd name="connsiteY6" fmla="*/ 2543 h 10000"/>
                <a:gd name="connsiteX0" fmla="*/ 9960 w 9960"/>
                <a:gd name="connsiteY0" fmla="*/ 2543 h 10000"/>
                <a:gd name="connsiteX1" fmla="*/ 9960 w 9960"/>
                <a:gd name="connsiteY1" fmla="*/ 2543 h 10000"/>
                <a:gd name="connsiteX2" fmla="*/ 6429 w 9960"/>
                <a:gd name="connsiteY2" fmla="*/ 0 h 10000"/>
                <a:gd name="connsiteX3" fmla="*/ 0 w 9960"/>
                <a:gd name="connsiteY3" fmla="*/ 6384 h 10000"/>
                <a:gd name="connsiteX4" fmla="*/ 3528 w 9960"/>
                <a:gd name="connsiteY4" fmla="*/ 10000 h 10000"/>
                <a:gd name="connsiteX5" fmla="*/ 3677 w 9960"/>
                <a:gd name="connsiteY5" fmla="*/ 10000 h 10000"/>
                <a:gd name="connsiteX6" fmla="*/ 9960 w 9960"/>
                <a:gd name="connsiteY6" fmla="*/ 2543 h 10000"/>
                <a:gd name="connsiteX0" fmla="*/ 10000 w 10000"/>
                <a:gd name="connsiteY0" fmla="*/ 2912 h 10369"/>
                <a:gd name="connsiteX1" fmla="*/ 10000 w 10000"/>
                <a:gd name="connsiteY1" fmla="*/ 2912 h 10369"/>
                <a:gd name="connsiteX2" fmla="*/ 6890 w 10000"/>
                <a:gd name="connsiteY2" fmla="*/ 0 h 10369"/>
                <a:gd name="connsiteX3" fmla="*/ 0 w 10000"/>
                <a:gd name="connsiteY3" fmla="*/ 6753 h 10369"/>
                <a:gd name="connsiteX4" fmla="*/ 3542 w 10000"/>
                <a:gd name="connsiteY4" fmla="*/ 10369 h 10369"/>
                <a:gd name="connsiteX5" fmla="*/ 3692 w 10000"/>
                <a:gd name="connsiteY5" fmla="*/ 10369 h 10369"/>
                <a:gd name="connsiteX6" fmla="*/ 10000 w 10000"/>
                <a:gd name="connsiteY6" fmla="*/ 2912 h 10369"/>
                <a:gd name="connsiteX0" fmla="*/ 10000 w 10000"/>
                <a:gd name="connsiteY0" fmla="*/ 3133 h 10590"/>
                <a:gd name="connsiteX1" fmla="*/ 10000 w 10000"/>
                <a:gd name="connsiteY1" fmla="*/ 3133 h 10590"/>
                <a:gd name="connsiteX2" fmla="*/ 7014 w 10000"/>
                <a:gd name="connsiteY2" fmla="*/ 0 h 10590"/>
                <a:gd name="connsiteX3" fmla="*/ 0 w 10000"/>
                <a:gd name="connsiteY3" fmla="*/ 6974 h 10590"/>
                <a:gd name="connsiteX4" fmla="*/ 3542 w 10000"/>
                <a:gd name="connsiteY4" fmla="*/ 10590 h 10590"/>
                <a:gd name="connsiteX5" fmla="*/ 3692 w 10000"/>
                <a:gd name="connsiteY5" fmla="*/ 10590 h 10590"/>
                <a:gd name="connsiteX6" fmla="*/ 10000 w 10000"/>
                <a:gd name="connsiteY6" fmla="*/ 3133 h 10590"/>
                <a:gd name="connsiteX0" fmla="*/ 10000 w 10000"/>
                <a:gd name="connsiteY0" fmla="*/ 3133 h 10590"/>
                <a:gd name="connsiteX1" fmla="*/ 10000 w 10000"/>
                <a:gd name="connsiteY1" fmla="*/ 3133 h 10590"/>
                <a:gd name="connsiteX2" fmla="*/ 7014 w 10000"/>
                <a:gd name="connsiteY2" fmla="*/ 0 h 10590"/>
                <a:gd name="connsiteX3" fmla="*/ 0 w 10000"/>
                <a:gd name="connsiteY3" fmla="*/ 6974 h 10590"/>
                <a:gd name="connsiteX4" fmla="*/ 3542 w 10000"/>
                <a:gd name="connsiteY4" fmla="*/ 10590 h 10590"/>
                <a:gd name="connsiteX5" fmla="*/ 3692 w 10000"/>
                <a:gd name="connsiteY5" fmla="*/ 10590 h 10590"/>
                <a:gd name="connsiteX6" fmla="*/ 10000 w 10000"/>
                <a:gd name="connsiteY6" fmla="*/ 3133 h 1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590">
                  <a:moveTo>
                    <a:pt x="10000" y="3133"/>
                  </a:moveTo>
                  <a:lnTo>
                    <a:pt x="10000" y="3133"/>
                  </a:lnTo>
                  <a:lnTo>
                    <a:pt x="7014" y="0"/>
                  </a:lnTo>
                  <a:cubicBezTo>
                    <a:pt x="5347" y="639"/>
                    <a:pt x="3227" y="3782"/>
                    <a:pt x="0" y="6974"/>
                  </a:cubicBezTo>
                  <a:cubicBezTo>
                    <a:pt x="1066" y="8088"/>
                    <a:pt x="3542" y="10590"/>
                    <a:pt x="3542" y="10590"/>
                  </a:cubicBezTo>
                  <a:lnTo>
                    <a:pt x="3692" y="10590"/>
                  </a:lnTo>
                  <a:cubicBezTo>
                    <a:pt x="7177" y="10590"/>
                    <a:pt x="10000" y="7242"/>
                    <a:pt x="10000" y="3133"/>
                  </a:cubicBezTo>
                  <a:close/>
                </a:path>
              </a:pathLst>
            </a:custGeom>
            <a:solidFill>
              <a:srgbClr val="00A2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nvGrpSpPr>
            <p:cNvPr id="160" name="Group 159">
              <a:extLst>
                <a:ext uri="{FF2B5EF4-FFF2-40B4-BE49-F238E27FC236}">
                  <a16:creationId xmlns:a16="http://schemas.microsoft.com/office/drawing/2014/main" id="{CA16A79B-FAA7-4DE8-96C0-DE1E72244151}"/>
                </a:ext>
              </a:extLst>
            </p:cNvPr>
            <p:cNvGrpSpPr/>
            <p:nvPr/>
          </p:nvGrpSpPr>
          <p:grpSpPr>
            <a:xfrm>
              <a:off x="836613" y="2217365"/>
              <a:ext cx="647568" cy="475650"/>
              <a:chOff x="-1408229" y="1225656"/>
              <a:chExt cx="1130209" cy="827778"/>
            </a:xfrm>
          </p:grpSpPr>
          <p:sp>
            <p:nvSpPr>
              <p:cNvPr id="165" name="Oval 47">
                <a:extLst>
                  <a:ext uri="{FF2B5EF4-FFF2-40B4-BE49-F238E27FC236}">
                    <a16:creationId xmlns:a16="http://schemas.microsoft.com/office/drawing/2014/main" id="{EB4A3070-19A7-4CA7-8F7E-DF9C75E36D18}"/>
                  </a:ext>
                </a:extLst>
              </p:cNvPr>
              <p:cNvSpPr>
                <a:spLocks noChangeArrowheads="1"/>
              </p:cNvSpPr>
              <p:nvPr/>
            </p:nvSpPr>
            <p:spPr bwMode="auto">
              <a:xfrm>
                <a:off x="-979236" y="1283569"/>
                <a:ext cx="645657" cy="645660"/>
              </a:xfrm>
              <a:prstGeom prst="ellipse">
                <a:avLst/>
              </a:prstGeom>
              <a:solidFill>
                <a:schemeClr val="bg2">
                  <a:lumMod val="75000"/>
                </a:schemeClr>
              </a:solidFill>
              <a:ln w="9525">
                <a:solidFill>
                  <a:schemeClr val="accent5"/>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nvGrpSpPr>
              <p:cNvPr id="162" name="Group 161">
                <a:extLst>
                  <a:ext uri="{FF2B5EF4-FFF2-40B4-BE49-F238E27FC236}">
                    <a16:creationId xmlns:a16="http://schemas.microsoft.com/office/drawing/2014/main" id="{2BF2FC0F-34B5-425A-BC2F-43C950D9131A}"/>
                  </a:ext>
                </a:extLst>
              </p:cNvPr>
              <p:cNvGrpSpPr/>
              <p:nvPr/>
            </p:nvGrpSpPr>
            <p:grpSpPr>
              <a:xfrm>
                <a:off x="-1408229" y="1225656"/>
                <a:ext cx="1130209" cy="827778"/>
                <a:chOff x="-3406597" y="2475489"/>
                <a:chExt cx="1130209" cy="827778"/>
              </a:xfrm>
            </p:grpSpPr>
            <p:sp>
              <p:nvSpPr>
                <p:cNvPr id="163" name="Freeform 103">
                  <a:extLst>
                    <a:ext uri="{FF2B5EF4-FFF2-40B4-BE49-F238E27FC236}">
                      <a16:creationId xmlns:a16="http://schemas.microsoft.com/office/drawing/2014/main" id="{F2DCEBA7-A1F0-4C09-B36B-0045ECBA1E6A}"/>
                    </a:ext>
                  </a:extLst>
                </p:cNvPr>
                <p:cNvSpPr>
                  <a:spLocks/>
                </p:cNvSpPr>
                <p:nvPr/>
              </p:nvSpPr>
              <p:spPr bwMode="auto">
                <a:xfrm rot="19203019" flipH="1">
                  <a:off x="-3406597" y="3209775"/>
                  <a:ext cx="602446" cy="93492"/>
                </a:xfrm>
                <a:prstGeom prst="roundRect">
                  <a:avLst>
                    <a:gd name="adj" fmla="val 50000"/>
                  </a:avLst>
                </a:prstGeom>
                <a:solidFill>
                  <a:schemeClr val="accent3"/>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64" name="Freeform 277">
                  <a:extLst>
                    <a:ext uri="{FF2B5EF4-FFF2-40B4-BE49-F238E27FC236}">
                      <a16:creationId xmlns:a16="http://schemas.microsoft.com/office/drawing/2014/main" id="{9090321E-34A1-45EA-A0EA-43DC05DECF6B}"/>
                    </a:ext>
                  </a:extLst>
                </p:cNvPr>
                <p:cNvSpPr>
                  <a:spLocks noEditPoints="1"/>
                </p:cNvSpPr>
                <p:nvPr/>
              </p:nvSpPr>
              <p:spPr bwMode="auto">
                <a:xfrm>
                  <a:off x="-3036926" y="2475489"/>
                  <a:ext cx="760538" cy="760538"/>
                </a:xfrm>
                <a:prstGeom prst="donut">
                  <a:avLst>
                    <a:gd name="adj" fmla="val 11461"/>
                  </a:avLst>
                </a:prstGeom>
                <a:solidFill>
                  <a:schemeClr val="accent3"/>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grpSp>
      <p:grpSp>
        <p:nvGrpSpPr>
          <p:cNvPr id="12" name="Group 11">
            <a:extLst>
              <a:ext uri="{FF2B5EF4-FFF2-40B4-BE49-F238E27FC236}">
                <a16:creationId xmlns:a16="http://schemas.microsoft.com/office/drawing/2014/main" id="{4F610143-A26E-4CEB-9C7A-8C82FB29156A}"/>
              </a:ext>
            </a:extLst>
          </p:cNvPr>
          <p:cNvGrpSpPr/>
          <p:nvPr/>
        </p:nvGrpSpPr>
        <p:grpSpPr>
          <a:xfrm>
            <a:off x="1911598" y="2187233"/>
            <a:ext cx="109757" cy="608101"/>
            <a:chOff x="1907205" y="2042614"/>
            <a:chExt cx="109757" cy="608101"/>
          </a:xfrm>
        </p:grpSpPr>
        <p:sp>
          <p:nvSpPr>
            <p:cNvPr id="177" name="Line 14">
              <a:extLst>
                <a:ext uri="{FF2B5EF4-FFF2-40B4-BE49-F238E27FC236}">
                  <a16:creationId xmlns:a16="http://schemas.microsoft.com/office/drawing/2014/main" id="{69DACFC9-02F8-477E-81B8-7495745AC56D}"/>
                </a:ext>
              </a:extLst>
            </p:cNvPr>
            <p:cNvSpPr>
              <a:spLocks noChangeShapeType="1"/>
            </p:cNvSpPr>
            <p:nvPr/>
          </p:nvSpPr>
          <p:spPr bwMode="auto">
            <a:xfrm flipV="1">
              <a:off x="1962084" y="2042614"/>
              <a:ext cx="0" cy="546756"/>
            </a:xfrm>
            <a:prstGeom prst="line">
              <a:avLst/>
            </a:prstGeom>
            <a:noFill/>
            <a:ln w="19050">
              <a:solidFill>
                <a:schemeClr val="tx1"/>
              </a:solidFill>
              <a:round/>
              <a:headEnd type="oval"/>
              <a:tailEnd/>
            </a:ln>
            <a:effectLst/>
          </p:spPr>
          <p:txBody>
            <a:bodyPr lIns="68589" tIns="34295" rIns="68589" bIns="34295"/>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78" name="Oval 13">
              <a:extLst>
                <a:ext uri="{FF2B5EF4-FFF2-40B4-BE49-F238E27FC236}">
                  <a16:creationId xmlns:a16="http://schemas.microsoft.com/office/drawing/2014/main" id="{AFC74F5A-A728-436B-A9C2-4FF5EA8798F3}"/>
                </a:ext>
              </a:extLst>
            </p:cNvPr>
            <p:cNvSpPr>
              <a:spLocks noChangeArrowheads="1"/>
            </p:cNvSpPr>
            <p:nvPr/>
          </p:nvSpPr>
          <p:spPr bwMode="auto">
            <a:xfrm>
              <a:off x="1907205" y="2543559"/>
              <a:ext cx="109757" cy="107156"/>
            </a:xfrm>
            <a:prstGeom prst="ellipse">
              <a:avLst/>
            </a:prstGeom>
            <a:solidFill>
              <a:schemeClr val="tx1"/>
            </a:solidFill>
            <a:ln w="19050">
              <a:solidFill>
                <a:srgbClr val="FFFFFF"/>
              </a:solidFill>
              <a:round/>
              <a:headEnd/>
              <a:tailEnd/>
            </a:ln>
          </p:spPr>
          <p:txBody>
            <a:bodyPr wrap="none"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79" name="Group 178">
            <a:extLst>
              <a:ext uri="{FF2B5EF4-FFF2-40B4-BE49-F238E27FC236}">
                <a16:creationId xmlns:a16="http://schemas.microsoft.com/office/drawing/2014/main" id="{04E035EB-6748-429D-B6FE-C049859564CF}"/>
              </a:ext>
            </a:extLst>
          </p:cNvPr>
          <p:cNvGrpSpPr/>
          <p:nvPr/>
        </p:nvGrpSpPr>
        <p:grpSpPr>
          <a:xfrm>
            <a:off x="2692481" y="2187233"/>
            <a:ext cx="109757" cy="608101"/>
            <a:chOff x="1907205" y="2042614"/>
            <a:chExt cx="109757" cy="608101"/>
          </a:xfrm>
        </p:grpSpPr>
        <p:sp>
          <p:nvSpPr>
            <p:cNvPr id="180" name="Line 14">
              <a:extLst>
                <a:ext uri="{FF2B5EF4-FFF2-40B4-BE49-F238E27FC236}">
                  <a16:creationId xmlns:a16="http://schemas.microsoft.com/office/drawing/2014/main" id="{8D918184-AFF0-4FD7-9181-E8B0F402CC93}"/>
                </a:ext>
              </a:extLst>
            </p:cNvPr>
            <p:cNvSpPr>
              <a:spLocks noChangeShapeType="1"/>
            </p:cNvSpPr>
            <p:nvPr/>
          </p:nvSpPr>
          <p:spPr bwMode="auto">
            <a:xfrm flipV="1">
              <a:off x="1962084" y="2042614"/>
              <a:ext cx="0" cy="546756"/>
            </a:xfrm>
            <a:prstGeom prst="line">
              <a:avLst/>
            </a:prstGeom>
            <a:noFill/>
            <a:ln w="19050">
              <a:solidFill>
                <a:schemeClr val="tx1"/>
              </a:solidFill>
              <a:round/>
              <a:headEnd type="oval"/>
              <a:tailEnd/>
            </a:ln>
            <a:effectLst/>
          </p:spPr>
          <p:txBody>
            <a:bodyPr lIns="68589" tIns="34295" rIns="68589" bIns="34295"/>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81" name="Oval 13">
              <a:extLst>
                <a:ext uri="{FF2B5EF4-FFF2-40B4-BE49-F238E27FC236}">
                  <a16:creationId xmlns:a16="http://schemas.microsoft.com/office/drawing/2014/main" id="{C69E7B29-EAB3-424A-A664-12E784711FE3}"/>
                </a:ext>
              </a:extLst>
            </p:cNvPr>
            <p:cNvSpPr>
              <a:spLocks noChangeArrowheads="1"/>
            </p:cNvSpPr>
            <p:nvPr/>
          </p:nvSpPr>
          <p:spPr bwMode="auto">
            <a:xfrm>
              <a:off x="1907205" y="2543559"/>
              <a:ext cx="109757" cy="107156"/>
            </a:xfrm>
            <a:prstGeom prst="ellipse">
              <a:avLst/>
            </a:prstGeom>
            <a:solidFill>
              <a:schemeClr val="tx1"/>
            </a:solidFill>
            <a:ln w="19050">
              <a:solidFill>
                <a:srgbClr val="FFFFFF"/>
              </a:solidFill>
              <a:round/>
              <a:headEnd/>
              <a:tailEnd/>
            </a:ln>
          </p:spPr>
          <p:txBody>
            <a:bodyPr wrap="none"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85" name="Group 184">
            <a:extLst>
              <a:ext uri="{FF2B5EF4-FFF2-40B4-BE49-F238E27FC236}">
                <a16:creationId xmlns:a16="http://schemas.microsoft.com/office/drawing/2014/main" id="{4A76C962-FB03-489F-B04F-571AE23C5DE4}"/>
              </a:ext>
            </a:extLst>
          </p:cNvPr>
          <p:cNvGrpSpPr/>
          <p:nvPr/>
        </p:nvGrpSpPr>
        <p:grpSpPr>
          <a:xfrm>
            <a:off x="4235195" y="2187233"/>
            <a:ext cx="109757" cy="608101"/>
            <a:chOff x="1907205" y="2042614"/>
            <a:chExt cx="109757" cy="608101"/>
          </a:xfrm>
        </p:grpSpPr>
        <p:sp>
          <p:nvSpPr>
            <p:cNvPr id="186" name="Line 14">
              <a:extLst>
                <a:ext uri="{FF2B5EF4-FFF2-40B4-BE49-F238E27FC236}">
                  <a16:creationId xmlns:a16="http://schemas.microsoft.com/office/drawing/2014/main" id="{185DDEFF-1C9A-46C7-918F-292B8A00DD6C}"/>
                </a:ext>
              </a:extLst>
            </p:cNvPr>
            <p:cNvSpPr>
              <a:spLocks noChangeShapeType="1"/>
            </p:cNvSpPr>
            <p:nvPr/>
          </p:nvSpPr>
          <p:spPr bwMode="auto">
            <a:xfrm flipV="1">
              <a:off x="1962084" y="2042614"/>
              <a:ext cx="0" cy="546756"/>
            </a:xfrm>
            <a:prstGeom prst="line">
              <a:avLst/>
            </a:prstGeom>
            <a:noFill/>
            <a:ln w="19050">
              <a:solidFill>
                <a:schemeClr val="tx1"/>
              </a:solidFill>
              <a:round/>
              <a:headEnd type="oval"/>
              <a:tailEnd/>
            </a:ln>
            <a:effectLst/>
          </p:spPr>
          <p:txBody>
            <a:bodyPr lIns="68589" tIns="34295" rIns="68589" bIns="34295"/>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87" name="Oval 13">
              <a:extLst>
                <a:ext uri="{FF2B5EF4-FFF2-40B4-BE49-F238E27FC236}">
                  <a16:creationId xmlns:a16="http://schemas.microsoft.com/office/drawing/2014/main" id="{AAE691ED-C2B7-47A3-9941-3026CD99F202}"/>
                </a:ext>
              </a:extLst>
            </p:cNvPr>
            <p:cNvSpPr>
              <a:spLocks noChangeArrowheads="1"/>
            </p:cNvSpPr>
            <p:nvPr/>
          </p:nvSpPr>
          <p:spPr bwMode="auto">
            <a:xfrm>
              <a:off x="1907205" y="2543559"/>
              <a:ext cx="109757" cy="107156"/>
            </a:xfrm>
            <a:prstGeom prst="ellipse">
              <a:avLst/>
            </a:prstGeom>
            <a:solidFill>
              <a:schemeClr val="tx1"/>
            </a:solidFill>
            <a:ln w="19050">
              <a:solidFill>
                <a:srgbClr val="FFFFFF"/>
              </a:solidFill>
              <a:round/>
              <a:headEnd/>
              <a:tailEnd/>
            </a:ln>
          </p:spPr>
          <p:txBody>
            <a:bodyPr wrap="none"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88" name="Group 187">
            <a:extLst>
              <a:ext uri="{FF2B5EF4-FFF2-40B4-BE49-F238E27FC236}">
                <a16:creationId xmlns:a16="http://schemas.microsoft.com/office/drawing/2014/main" id="{33965F78-208E-4ABA-A72C-4C3FFB4C0BC8}"/>
              </a:ext>
            </a:extLst>
          </p:cNvPr>
          <p:cNvGrpSpPr/>
          <p:nvPr/>
        </p:nvGrpSpPr>
        <p:grpSpPr>
          <a:xfrm>
            <a:off x="5030024" y="2187233"/>
            <a:ext cx="109757" cy="608101"/>
            <a:chOff x="1907205" y="2042614"/>
            <a:chExt cx="109757" cy="608101"/>
          </a:xfrm>
        </p:grpSpPr>
        <p:sp>
          <p:nvSpPr>
            <p:cNvPr id="189" name="Line 14">
              <a:extLst>
                <a:ext uri="{FF2B5EF4-FFF2-40B4-BE49-F238E27FC236}">
                  <a16:creationId xmlns:a16="http://schemas.microsoft.com/office/drawing/2014/main" id="{FAD8E44C-9994-4B32-9B81-587702EE2A0D}"/>
                </a:ext>
              </a:extLst>
            </p:cNvPr>
            <p:cNvSpPr>
              <a:spLocks noChangeShapeType="1"/>
            </p:cNvSpPr>
            <p:nvPr/>
          </p:nvSpPr>
          <p:spPr bwMode="auto">
            <a:xfrm flipV="1">
              <a:off x="1962084" y="2042614"/>
              <a:ext cx="0" cy="546756"/>
            </a:xfrm>
            <a:prstGeom prst="line">
              <a:avLst/>
            </a:prstGeom>
            <a:noFill/>
            <a:ln w="19050">
              <a:solidFill>
                <a:schemeClr val="tx1"/>
              </a:solidFill>
              <a:round/>
              <a:headEnd type="oval"/>
              <a:tailEnd/>
            </a:ln>
            <a:effectLst/>
          </p:spPr>
          <p:txBody>
            <a:bodyPr lIns="68589" tIns="34295" rIns="68589" bIns="34295"/>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90" name="Oval 13">
              <a:extLst>
                <a:ext uri="{FF2B5EF4-FFF2-40B4-BE49-F238E27FC236}">
                  <a16:creationId xmlns:a16="http://schemas.microsoft.com/office/drawing/2014/main" id="{025E30B5-AEF9-43A8-975B-925079E0036F}"/>
                </a:ext>
              </a:extLst>
            </p:cNvPr>
            <p:cNvSpPr>
              <a:spLocks noChangeArrowheads="1"/>
            </p:cNvSpPr>
            <p:nvPr/>
          </p:nvSpPr>
          <p:spPr bwMode="auto">
            <a:xfrm>
              <a:off x="1907205" y="2543559"/>
              <a:ext cx="109757" cy="107156"/>
            </a:xfrm>
            <a:prstGeom prst="ellipse">
              <a:avLst/>
            </a:prstGeom>
            <a:solidFill>
              <a:schemeClr val="tx1"/>
            </a:solidFill>
            <a:ln w="19050">
              <a:solidFill>
                <a:srgbClr val="FFFFFF"/>
              </a:solidFill>
              <a:round/>
              <a:headEnd/>
              <a:tailEnd/>
            </a:ln>
          </p:spPr>
          <p:txBody>
            <a:bodyPr wrap="none"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91" name="Group 190">
            <a:extLst>
              <a:ext uri="{FF2B5EF4-FFF2-40B4-BE49-F238E27FC236}">
                <a16:creationId xmlns:a16="http://schemas.microsoft.com/office/drawing/2014/main" id="{9B453A0F-A12E-4CCC-93CF-6484F6DA4009}"/>
              </a:ext>
            </a:extLst>
          </p:cNvPr>
          <p:cNvGrpSpPr/>
          <p:nvPr/>
        </p:nvGrpSpPr>
        <p:grpSpPr>
          <a:xfrm>
            <a:off x="5805157" y="2187233"/>
            <a:ext cx="109757" cy="608101"/>
            <a:chOff x="1907205" y="2042614"/>
            <a:chExt cx="109757" cy="608101"/>
          </a:xfrm>
        </p:grpSpPr>
        <p:sp>
          <p:nvSpPr>
            <p:cNvPr id="192" name="Line 14">
              <a:extLst>
                <a:ext uri="{FF2B5EF4-FFF2-40B4-BE49-F238E27FC236}">
                  <a16:creationId xmlns:a16="http://schemas.microsoft.com/office/drawing/2014/main" id="{613C730F-2A3C-48E2-BC81-42EEE4E86082}"/>
                </a:ext>
              </a:extLst>
            </p:cNvPr>
            <p:cNvSpPr>
              <a:spLocks noChangeShapeType="1"/>
            </p:cNvSpPr>
            <p:nvPr/>
          </p:nvSpPr>
          <p:spPr bwMode="auto">
            <a:xfrm flipV="1">
              <a:off x="1962084" y="2042614"/>
              <a:ext cx="0" cy="546756"/>
            </a:xfrm>
            <a:prstGeom prst="line">
              <a:avLst/>
            </a:prstGeom>
            <a:noFill/>
            <a:ln w="19050">
              <a:solidFill>
                <a:schemeClr val="tx1"/>
              </a:solidFill>
              <a:round/>
              <a:headEnd type="oval"/>
              <a:tailEnd/>
            </a:ln>
            <a:effectLst/>
          </p:spPr>
          <p:txBody>
            <a:bodyPr lIns="68589" tIns="34295" rIns="68589" bIns="34295"/>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93" name="Oval 13">
              <a:extLst>
                <a:ext uri="{FF2B5EF4-FFF2-40B4-BE49-F238E27FC236}">
                  <a16:creationId xmlns:a16="http://schemas.microsoft.com/office/drawing/2014/main" id="{C5B50CEA-31A5-497C-8E3A-257C796E12F1}"/>
                </a:ext>
              </a:extLst>
            </p:cNvPr>
            <p:cNvSpPr>
              <a:spLocks noChangeArrowheads="1"/>
            </p:cNvSpPr>
            <p:nvPr/>
          </p:nvSpPr>
          <p:spPr bwMode="auto">
            <a:xfrm>
              <a:off x="1907205" y="2543559"/>
              <a:ext cx="109757" cy="107156"/>
            </a:xfrm>
            <a:prstGeom prst="ellipse">
              <a:avLst/>
            </a:prstGeom>
            <a:solidFill>
              <a:schemeClr val="tx1"/>
            </a:solidFill>
            <a:ln w="19050">
              <a:solidFill>
                <a:srgbClr val="FFFFFF"/>
              </a:solidFill>
              <a:round/>
              <a:headEnd/>
              <a:tailEnd/>
            </a:ln>
          </p:spPr>
          <p:txBody>
            <a:bodyPr wrap="none"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94" name="Group 193">
            <a:extLst>
              <a:ext uri="{FF2B5EF4-FFF2-40B4-BE49-F238E27FC236}">
                <a16:creationId xmlns:a16="http://schemas.microsoft.com/office/drawing/2014/main" id="{94F33BD5-AEBE-4CA1-B30D-6E6C59D093FB}"/>
              </a:ext>
            </a:extLst>
          </p:cNvPr>
          <p:cNvGrpSpPr/>
          <p:nvPr/>
        </p:nvGrpSpPr>
        <p:grpSpPr>
          <a:xfrm>
            <a:off x="6597490" y="2460611"/>
            <a:ext cx="109757" cy="334723"/>
            <a:chOff x="1907205" y="2315992"/>
            <a:chExt cx="109757" cy="334723"/>
          </a:xfrm>
        </p:grpSpPr>
        <p:sp>
          <p:nvSpPr>
            <p:cNvPr id="195" name="Line 14">
              <a:extLst>
                <a:ext uri="{FF2B5EF4-FFF2-40B4-BE49-F238E27FC236}">
                  <a16:creationId xmlns:a16="http://schemas.microsoft.com/office/drawing/2014/main" id="{3347CB5B-68D1-4BF7-8691-05EE5670BB2C}"/>
                </a:ext>
              </a:extLst>
            </p:cNvPr>
            <p:cNvSpPr>
              <a:spLocks noChangeShapeType="1"/>
            </p:cNvSpPr>
            <p:nvPr/>
          </p:nvSpPr>
          <p:spPr bwMode="auto">
            <a:xfrm flipV="1">
              <a:off x="1962084" y="2315992"/>
              <a:ext cx="0" cy="273378"/>
            </a:xfrm>
            <a:prstGeom prst="line">
              <a:avLst/>
            </a:prstGeom>
            <a:noFill/>
            <a:ln w="19050">
              <a:solidFill>
                <a:schemeClr val="tx1"/>
              </a:solidFill>
              <a:round/>
              <a:headEnd type="oval"/>
              <a:tailEnd/>
            </a:ln>
            <a:effectLst/>
          </p:spPr>
          <p:txBody>
            <a:bodyPr lIns="68589" tIns="34295" rIns="68589" bIns="34295"/>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96" name="Oval 13">
              <a:extLst>
                <a:ext uri="{FF2B5EF4-FFF2-40B4-BE49-F238E27FC236}">
                  <a16:creationId xmlns:a16="http://schemas.microsoft.com/office/drawing/2014/main" id="{43C55715-C8D6-4729-92B8-BCA48BF872E9}"/>
                </a:ext>
              </a:extLst>
            </p:cNvPr>
            <p:cNvSpPr>
              <a:spLocks noChangeArrowheads="1"/>
            </p:cNvSpPr>
            <p:nvPr/>
          </p:nvSpPr>
          <p:spPr bwMode="auto">
            <a:xfrm>
              <a:off x="1907205" y="2543559"/>
              <a:ext cx="109757" cy="107156"/>
            </a:xfrm>
            <a:prstGeom prst="ellipse">
              <a:avLst/>
            </a:prstGeom>
            <a:solidFill>
              <a:schemeClr val="tx1"/>
            </a:solidFill>
            <a:ln w="19050">
              <a:solidFill>
                <a:srgbClr val="FFFFFF"/>
              </a:solidFill>
              <a:round/>
              <a:headEnd/>
              <a:tailEnd/>
            </a:ln>
          </p:spPr>
          <p:txBody>
            <a:bodyPr wrap="none"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sp>
        <p:nvSpPr>
          <p:cNvPr id="206" name="Line 14">
            <a:extLst>
              <a:ext uri="{FF2B5EF4-FFF2-40B4-BE49-F238E27FC236}">
                <a16:creationId xmlns:a16="http://schemas.microsoft.com/office/drawing/2014/main" id="{9822747C-6EF5-47BC-A1CD-F4EEB9BA35C3}"/>
              </a:ext>
            </a:extLst>
          </p:cNvPr>
          <p:cNvSpPr>
            <a:spLocks noChangeShapeType="1"/>
          </p:cNvSpPr>
          <p:nvPr/>
        </p:nvSpPr>
        <p:spPr bwMode="auto">
          <a:xfrm flipV="1">
            <a:off x="6642845" y="2460610"/>
            <a:ext cx="1566579" cy="0"/>
          </a:xfrm>
          <a:prstGeom prst="line">
            <a:avLst/>
          </a:prstGeom>
          <a:noFill/>
          <a:ln w="19050">
            <a:solidFill>
              <a:schemeClr val="tx1"/>
            </a:solidFill>
            <a:round/>
            <a:headEnd type="none"/>
            <a:tailEnd/>
          </a:ln>
          <a:effectLst/>
        </p:spPr>
        <p:txBody>
          <a:bodyPr lIns="68589" tIns="34295" rIns="68589" bIns="34295"/>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nvGrpSpPr>
          <p:cNvPr id="203" name="Group 202">
            <a:extLst>
              <a:ext uri="{FF2B5EF4-FFF2-40B4-BE49-F238E27FC236}">
                <a16:creationId xmlns:a16="http://schemas.microsoft.com/office/drawing/2014/main" id="{A90917C4-7924-41C0-B098-A6C228D2AD3B}"/>
              </a:ext>
            </a:extLst>
          </p:cNvPr>
          <p:cNvGrpSpPr/>
          <p:nvPr/>
        </p:nvGrpSpPr>
        <p:grpSpPr>
          <a:xfrm>
            <a:off x="8143339" y="2460611"/>
            <a:ext cx="109757" cy="334723"/>
            <a:chOff x="1907205" y="2315992"/>
            <a:chExt cx="109757" cy="334723"/>
          </a:xfrm>
        </p:grpSpPr>
        <p:sp>
          <p:nvSpPr>
            <p:cNvPr id="204" name="Line 14">
              <a:extLst>
                <a:ext uri="{FF2B5EF4-FFF2-40B4-BE49-F238E27FC236}">
                  <a16:creationId xmlns:a16="http://schemas.microsoft.com/office/drawing/2014/main" id="{04AB0A81-4B72-46CE-B982-847FEFCF0AA2}"/>
                </a:ext>
              </a:extLst>
            </p:cNvPr>
            <p:cNvSpPr>
              <a:spLocks noChangeShapeType="1"/>
            </p:cNvSpPr>
            <p:nvPr/>
          </p:nvSpPr>
          <p:spPr bwMode="auto">
            <a:xfrm flipV="1">
              <a:off x="1962084" y="2315992"/>
              <a:ext cx="0" cy="273378"/>
            </a:xfrm>
            <a:prstGeom prst="line">
              <a:avLst/>
            </a:prstGeom>
            <a:noFill/>
            <a:ln w="19050">
              <a:solidFill>
                <a:schemeClr val="tx1"/>
              </a:solidFill>
              <a:round/>
              <a:headEnd type="oval"/>
              <a:tailEnd/>
            </a:ln>
            <a:effectLst/>
          </p:spPr>
          <p:txBody>
            <a:bodyPr lIns="68589" tIns="34295" rIns="68589" bIns="34295"/>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05" name="Oval 13">
              <a:extLst>
                <a:ext uri="{FF2B5EF4-FFF2-40B4-BE49-F238E27FC236}">
                  <a16:creationId xmlns:a16="http://schemas.microsoft.com/office/drawing/2014/main" id="{5456B3D9-1601-4CE5-94E5-EC71940172C4}"/>
                </a:ext>
              </a:extLst>
            </p:cNvPr>
            <p:cNvSpPr>
              <a:spLocks noChangeArrowheads="1"/>
            </p:cNvSpPr>
            <p:nvPr/>
          </p:nvSpPr>
          <p:spPr bwMode="auto">
            <a:xfrm>
              <a:off x="1907205" y="2543559"/>
              <a:ext cx="109757" cy="107156"/>
            </a:xfrm>
            <a:prstGeom prst="ellipse">
              <a:avLst/>
            </a:prstGeom>
            <a:solidFill>
              <a:schemeClr val="tx1"/>
            </a:solidFill>
            <a:ln w="19050">
              <a:solidFill>
                <a:srgbClr val="FFFFFF"/>
              </a:solidFill>
              <a:round/>
              <a:headEnd/>
              <a:tailEnd/>
            </a:ln>
          </p:spPr>
          <p:txBody>
            <a:bodyPr wrap="none"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208" name="Group 207">
            <a:extLst>
              <a:ext uri="{FF2B5EF4-FFF2-40B4-BE49-F238E27FC236}">
                <a16:creationId xmlns:a16="http://schemas.microsoft.com/office/drawing/2014/main" id="{0A70E44A-E783-40CA-B23E-C939F7E01B48}"/>
              </a:ext>
            </a:extLst>
          </p:cNvPr>
          <p:cNvGrpSpPr/>
          <p:nvPr/>
        </p:nvGrpSpPr>
        <p:grpSpPr>
          <a:xfrm>
            <a:off x="7374033" y="2187233"/>
            <a:ext cx="109757" cy="608101"/>
            <a:chOff x="1907205" y="2042614"/>
            <a:chExt cx="109757" cy="608101"/>
          </a:xfrm>
        </p:grpSpPr>
        <p:sp>
          <p:nvSpPr>
            <p:cNvPr id="209" name="Line 14">
              <a:extLst>
                <a:ext uri="{FF2B5EF4-FFF2-40B4-BE49-F238E27FC236}">
                  <a16:creationId xmlns:a16="http://schemas.microsoft.com/office/drawing/2014/main" id="{C3C5682A-7C9F-43D6-AF48-09F965817390}"/>
                </a:ext>
              </a:extLst>
            </p:cNvPr>
            <p:cNvSpPr>
              <a:spLocks noChangeShapeType="1"/>
            </p:cNvSpPr>
            <p:nvPr/>
          </p:nvSpPr>
          <p:spPr bwMode="auto">
            <a:xfrm flipV="1">
              <a:off x="1962084" y="2042614"/>
              <a:ext cx="0" cy="546756"/>
            </a:xfrm>
            <a:prstGeom prst="line">
              <a:avLst/>
            </a:prstGeom>
            <a:noFill/>
            <a:ln w="19050">
              <a:solidFill>
                <a:schemeClr val="tx1"/>
              </a:solidFill>
              <a:round/>
              <a:headEnd type="oval"/>
              <a:tailEnd/>
            </a:ln>
            <a:effectLst/>
          </p:spPr>
          <p:txBody>
            <a:bodyPr lIns="68589" tIns="34295" rIns="68589" bIns="34295"/>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10" name="Oval 13">
              <a:extLst>
                <a:ext uri="{FF2B5EF4-FFF2-40B4-BE49-F238E27FC236}">
                  <a16:creationId xmlns:a16="http://schemas.microsoft.com/office/drawing/2014/main" id="{50F7FB67-F392-4121-8126-FEBEB5902E97}"/>
                </a:ext>
              </a:extLst>
            </p:cNvPr>
            <p:cNvSpPr>
              <a:spLocks noChangeArrowheads="1"/>
            </p:cNvSpPr>
            <p:nvPr/>
          </p:nvSpPr>
          <p:spPr bwMode="auto">
            <a:xfrm>
              <a:off x="1907205" y="2543559"/>
              <a:ext cx="109757" cy="107156"/>
            </a:xfrm>
            <a:prstGeom prst="ellipse">
              <a:avLst/>
            </a:prstGeom>
            <a:solidFill>
              <a:schemeClr val="tx1"/>
            </a:solidFill>
            <a:ln w="19050">
              <a:solidFill>
                <a:srgbClr val="FFFFFF"/>
              </a:solidFill>
              <a:round/>
              <a:headEnd/>
              <a:tailEnd/>
            </a:ln>
          </p:spPr>
          <p:txBody>
            <a:bodyPr wrap="none"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sp>
        <p:nvSpPr>
          <p:cNvPr id="247" name="TextBox 246">
            <a:extLst>
              <a:ext uri="{FF2B5EF4-FFF2-40B4-BE49-F238E27FC236}">
                <a16:creationId xmlns:a16="http://schemas.microsoft.com/office/drawing/2014/main" id="{5E53012D-DF72-4F89-92C2-20E75F890B5C}"/>
              </a:ext>
            </a:extLst>
          </p:cNvPr>
          <p:cNvSpPr txBox="1"/>
          <p:nvPr/>
        </p:nvSpPr>
        <p:spPr>
          <a:xfrm>
            <a:off x="558136" y="3553903"/>
            <a:ext cx="971053" cy="600164"/>
          </a:xfrm>
          <a:prstGeom prst="rect">
            <a:avLst/>
          </a:prstGeom>
          <a:noFill/>
        </p:spPr>
        <p:txBody>
          <a:bodyPr wrap="square"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CiscoSansTT ExtraLight"/>
                <a:ea typeface="ＭＳ Ｐゴシック" charset="0"/>
              </a:rPr>
              <a:t>Stealthwatch Enterprise</a:t>
            </a:r>
          </a:p>
        </p:txBody>
      </p:sp>
      <p:pic>
        <p:nvPicPr>
          <p:cNvPr id="408" name="Picture 407">
            <a:extLst>
              <a:ext uri="{FF2B5EF4-FFF2-40B4-BE49-F238E27FC236}">
                <a16:creationId xmlns:a16="http://schemas.microsoft.com/office/drawing/2014/main" id="{DEB29165-FD5A-471B-92FD-6B165E443823}"/>
              </a:ext>
            </a:extLst>
          </p:cNvPr>
          <p:cNvPicPr>
            <a:picLocks noChangeAspect="1"/>
          </p:cNvPicPr>
          <p:nvPr/>
        </p:nvPicPr>
        <p:blipFill>
          <a:blip r:embed="rId3"/>
          <a:stretch>
            <a:fillRect/>
          </a:stretch>
        </p:blipFill>
        <p:spPr>
          <a:xfrm>
            <a:off x="538260" y="2484624"/>
            <a:ext cx="1033441" cy="1033272"/>
          </a:xfrm>
          <a:prstGeom prst="rect">
            <a:avLst/>
          </a:prstGeom>
        </p:spPr>
      </p:pic>
      <p:sp>
        <p:nvSpPr>
          <p:cNvPr id="248" name="Freeform 11">
            <a:extLst>
              <a:ext uri="{FF2B5EF4-FFF2-40B4-BE49-F238E27FC236}">
                <a16:creationId xmlns:a16="http://schemas.microsoft.com/office/drawing/2014/main" id="{2BA1C67E-1BB5-4DB8-8789-58C95B2E8ED9}"/>
              </a:ext>
            </a:extLst>
          </p:cNvPr>
          <p:cNvSpPr>
            <a:spLocks noChangeAspect="1" noEditPoints="1"/>
          </p:cNvSpPr>
          <p:nvPr/>
        </p:nvSpPr>
        <p:spPr bwMode="auto">
          <a:xfrm>
            <a:off x="8052716" y="2860283"/>
            <a:ext cx="297828" cy="298900"/>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accent1"/>
          </a:solidFill>
          <a:ln w="9525">
            <a:noFill/>
            <a:round/>
            <a:headEnd/>
            <a:tailEnd/>
          </a:ln>
        </p:spPr>
        <p:txBody>
          <a:bodyPr vert="horz" wrap="none" lIns="91380" tIns="45691" rIns="91380" bIns="45691" numCol="1" anchor="ctr" anchorCtr="0" compatLnSpc="1">
            <a:prstTxWarp prst="textNoShape">
              <a:avLst/>
            </a:prstTxWarp>
          </a:bodyPr>
          <a:lstStyle/>
          <a:p>
            <a:pPr marL="0" marR="0" lvl="0" indent="0" algn="ctr" defTabSz="609036" rtl="0" eaLnBrk="1" fontAlgn="base" latinLnBrk="0" hangingPunct="1">
              <a:lnSpc>
                <a:spcPct val="100000"/>
              </a:lnSpc>
              <a:spcBef>
                <a:spcPct val="0"/>
              </a:spcBef>
              <a:spcAft>
                <a:spcPct val="0"/>
              </a:spcAft>
              <a:buClrTx/>
              <a:buSzTx/>
              <a:buFontTx/>
              <a:buNone/>
              <a:tabLst/>
              <a:defRPr/>
            </a:pPr>
            <a:endParaRPr kumimoji="0" lang="en-US" sz="1997" b="0" i="0" u="none" strike="noStrike" kern="1200" cap="none" spc="0" normalizeH="0" baseline="0" noProof="0" dirty="0">
              <a:ln>
                <a:noFill/>
              </a:ln>
              <a:solidFill>
                <a:srgbClr val="000000"/>
              </a:solidFill>
              <a:effectLst/>
              <a:uLnTx/>
              <a:uFillTx/>
              <a:latin typeface="Arial" charset="0"/>
              <a:ea typeface="ＭＳ Ｐゴシック" charset="0"/>
            </a:endParaRPr>
          </a:p>
        </p:txBody>
      </p:sp>
      <p:sp>
        <p:nvSpPr>
          <p:cNvPr id="251" name="Freeform 19">
            <a:extLst>
              <a:ext uri="{FF2B5EF4-FFF2-40B4-BE49-F238E27FC236}">
                <a16:creationId xmlns:a16="http://schemas.microsoft.com/office/drawing/2014/main" id="{42D02B87-B88F-4C8D-8774-6A2B35214A18}"/>
              </a:ext>
            </a:extLst>
          </p:cNvPr>
          <p:cNvSpPr>
            <a:spLocks noEditPoints="1"/>
          </p:cNvSpPr>
          <p:nvPr/>
        </p:nvSpPr>
        <p:spPr bwMode="auto">
          <a:xfrm>
            <a:off x="8036011" y="2890917"/>
            <a:ext cx="140166" cy="180116"/>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254" name="Group 253">
            <a:extLst>
              <a:ext uri="{FF2B5EF4-FFF2-40B4-BE49-F238E27FC236}">
                <a16:creationId xmlns:a16="http://schemas.microsoft.com/office/drawing/2014/main" id="{B1588FFF-311C-43BE-ADD9-865DECC29325}"/>
              </a:ext>
            </a:extLst>
          </p:cNvPr>
          <p:cNvGrpSpPr>
            <a:grpSpLocks noChangeAspect="1"/>
          </p:cNvGrpSpPr>
          <p:nvPr/>
        </p:nvGrpSpPr>
        <p:grpSpPr>
          <a:xfrm>
            <a:off x="8221138" y="2869526"/>
            <a:ext cx="77585" cy="76306"/>
            <a:chOff x="6333580" y="2334557"/>
            <a:chExt cx="545984" cy="536983"/>
          </a:xfrm>
          <a:solidFill>
            <a:schemeClr val="bg2"/>
          </a:solidFill>
        </p:grpSpPr>
        <p:sp>
          <p:nvSpPr>
            <p:cNvPr id="255" name="Freeform 251">
              <a:extLst>
                <a:ext uri="{FF2B5EF4-FFF2-40B4-BE49-F238E27FC236}">
                  <a16:creationId xmlns:a16="http://schemas.microsoft.com/office/drawing/2014/main" id="{701577A0-0D0C-40F8-A215-61E6CF8B2BBE}"/>
                </a:ext>
              </a:extLst>
            </p:cNvPr>
            <p:cNvSpPr>
              <a:spLocks/>
            </p:cNvSpPr>
            <p:nvPr/>
          </p:nvSpPr>
          <p:spPr bwMode="auto">
            <a:xfrm>
              <a:off x="6551574" y="2334557"/>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56" name="Freeform 256">
              <a:extLst>
                <a:ext uri="{FF2B5EF4-FFF2-40B4-BE49-F238E27FC236}">
                  <a16:creationId xmlns:a16="http://schemas.microsoft.com/office/drawing/2014/main" id="{8B2C49FB-65B2-4874-BCFB-8CD381340452}"/>
                </a:ext>
              </a:extLst>
            </p:cNvPr>
            <p:cNvSpPr>
              <a:spLocks/>
            </p:cNvSpPr>
            <p:nvPr/>
          </p:nvSpPr>
          <p:spPr bwMode="auto">
            <a:xfrm>
              <a:off x="6333580" y="2502552"/>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57" name="Freeform 260">
              <a:extLst>
                <a:ext uri="{FF2B5EF4-FFF2-40B4-BE49-F238E27FC236}">
                  <a16:creationId xmlns:a16="http://schemas.microsoft.com/office/drawing/2014/main" id="{9364AAEA-4A59-4AD2-8DBE-BB8D762E9AB7}"/>
                </a:ext>
              </a:extLst>
            </p:cNvPr>
            <p:cNvSpPr>
              <a:spLocks/>
            </p:cNvSpPr>
            <p:nvPr/>
          </p:nvSpPr>
          <p:spPr bwMode="auto">
            <a:xfrm>
              <a:off x="6461576" y="2648547"/>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grpFill/>
            <a:ln w="12700">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260" name="Group 259">
            <a:extLst>
              <a:ext uri="{FF2B5EF4-FFF2-40B4-BE49-F238E27FC236}">
                <a16:creationId xmlns:a16="http://schemas.microsoft.com/office/drawing/2014/main" id="{4B5B5ED8-D484-429A-88D5-EFDDBE26E8F7}"/>
              </a:ext>
            </a:extLst>
          </p:cNvPr>
          <p:cNvGrpSpPr>
            <a:grpSpLocks noChangeAspect="1"/>
          </p:cNvGrpSpPr>
          <p:nvPr/>
        </p:nvGrpSpPr>
        <p:grpSpPr>
          <a:xfrm>
            <a:off x="8260316" y="3021926"/>
            <a:ext cx="77585" cy="76306"/>
            <a:chOff x="6333580" y="2334557"/>
            <a:chExt cx="545984" cy="536983"/>
          </a:xfrm>
          <a:solidFill>
            <a:schemeClr val="bg2"/>
          </a:solidFill>
        </p:grpSpPr>
        <p:sp>
          <p:nvSpPr>
            <p:cNvPr id="261" name="Freeform 251">
              <a:extLst>
                <a:ext uri="{FF2B5EF4-FFF2-40B4-BE49-F238E27FC236}">
                  <a16:creationId xmlns:a16="http://schemas.microsoft.com/office/drawing/2014/main" id="{544F22B4-1C2E-4205-8DEB-514FF9CC198D}"/>
                </a:ext>
              </a:extLst>
            </p:cNvPr>
            <p:cNvSpPr>
              <a:spLocks/>
            </p:cNvSpPr>
            <p:nvPr/>
          </p:nvSpPr>
          <p:spPr bwMode="auto">
            <a:xfrm>
              <a:off x="6551574" y="2334557"/>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62" name="Freeform 256">
              <a:extLst>
                <a:ext uri="{FF2B5EF4-FFF2-40B4-BE49-F238E27FC236}">
                  <a16:creationId xmlns:a16="http://schemas.microsoft.com/office/drawing/2014/main" id="{99A7F0E1-3444-4E8C-90B4-D9A32A5ACC87}"/>
                </a:ext>
              </a:extLst>
            </p:cNvPr>
            <p:cNvSpPr>
              <a:spLocks/>
            </p:cNvSpPr>
            <p:nvPr/>
          </p:nvSpPr>
          <p:spPr bwMode="auto">
            <a:xfrm>
              <a:off x="6333580" y="2502552"/>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63" name="Freeform 260">
              <a:extLst>
                <a:ext uri="{FF2B5EF4-FFF2-40B4-BE49-F238E27FC236}">
                  <a16:creationId xmlns:a16="http://schemas.microsoft.com/office/drawing/2014/main" id="{5077977D-0E6B-43CB-8930-5324CC63A37C}"/>
                </a:ext>
              </a:extLst>
            </p:cNvPr>
            <p:cNvSpPr>
              <a:spLocks/>
            </p:cNvSpPr>
            <p:nvPr/>
          </p:nvSpPr>
          <p:spPr bwMode="auto">
            <a:xfrm>
              <a:off x="6461576" y="2648547"/>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grpFill/>
            <a:ln w="12700">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
        <p:nvSpPr>
          <p:cNvPr id="246" name="Freeform 11">
            <a:extLst>
              <a:ext uri="{FF2B5EF4-FFF2-40B4-BE49-F238E27FC236}">
                <a16:creationId xmlns:a16="http://schemas.microsoft.com/office/drawing/2014/main" id="{6CDC137C-CF2C-496F-B47E-A133489E8BC5}"/>
              </a:ext>
            </a:extLst>
          </p:cNvPr>
          <p:cNvSpPr>
            <a:spLocks noChangeAspect="1" noEditPoints="1"/>
          </p:cNvSpPr>
          <p:nvPr/>
        </p:nvSpPr>
        <p:spPr bwMode="auto">
          <a:xfrm>
            <a:off x="4923344" y="2849521"/>
            <a:ext cx="323114" cy="324277"/>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accent1"/>
          </a:solidFill>
          <a:ln w="9525">
            <a:noFill/>
            <a:round/>
            <a:headEnd/>
            <a:tailEnd/>
          </a:ln>
        </p:spPr>
        <p:txBody>
          <a:bodyPr vert="horz" wrap="none" lIns="91380" tIns="45691" rIns="91380" bIns="45691" numCol="1" anchor="ctr" anchorCtr="0" compatLnSpc="1">
            <a:prstTxWarp prst="textNoShape">
              <a:avLst/>
            </a:prstTxWarp>
          </a:bodyPr>
          <a:lstStyle/>
          <a:p>
            <a:pPr marL="0" marR="0" lvl="0" indent="0" algn="ctr" defTabSz="609036" rtl="0" eaLnBrk="1" fontAlgn="base" latinLnBrk="0" hangingPunct="1">
              <a:lnSpc>
                <a:spcPct val="100000"/>
              </a:lnSpc>
              <a:spcBef>
                <a:spcPct val="0"/>
              </a:spcBef>
              <a:spcAft>
                <a:spcPct val="0"/>
              </a:spcAft>
              <a:buClrTx/>
              <a:buSzTx/>
              <a:buFontTx/>
              <a:buNone/>
              <a:tabLst/>
              <a:defRPr/>
            </a:pPr>
            <a:endParaRPr kumimoji="0" lang="en-US" sz="1997" b="0" i="0" u="none" strike="noStrike" kern="1200" cap="none" spc="0" normalizeH="0" baseline="0" noProof="0" dirty="0">
              <a:ln>
                <a:noFill/>
              </a:ln>
              <a:solidFill>
                <a:srgbClr val="000000"/>
              </a:solidFill>
              <a:effectLst/>
              <a:uLnTx/>
              <a:uFillTx/>
              <a:latin typeface="Arial" charset="0"/>
              <a:ea typeface="ＭＳ Ｐゴシック" charset="0"/>
            </a:endParaRPr>
          </a:p>
        </p:txBody>
      </p:sp>
      <p:sp>
        <p:nvSpPr>
          <p:cNvPr id="150" name="Freeform 594">
            <a:extLst>
              <a:ext uri="{FF2B5EF4-FFF2-40B4-BE49-F238E27FC236}">
                <a16:creationId xmlns:a16="http://schemas.microsoft.com/office/drawing/2014/main" id="{B52AAAD6-5E37-4538-8B0D-36B4FDE81377}"/>
              </a:ext>
            </a:extLst>
          </p:cNvPr>
          <p:cNvSpPr>
            <a:spLocks noChangeAspect="1" noEditPoints="1"/>
          </p:cNvSpPr>
          <p:nvPr/>
        </p:nvSpPr>
        <p:spPr bwMode="auto">
          <a:xfrm>
            <a:off x="1800954" y="2841415"/>
            <a:ext cx="345354" cy="344136"/>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16" name="Group 15">
            <a:extLst>
              <a:ext uri="{FF2B5EF4-FFF2-40B4-BE49-F238E27FC236}">
                <a16:creationId xmlns:a16="http://schemas.microsoft.com/office/drawing/2014/main" id="{52FB63D6-3202-439A-A25A-E1546283D573}"/>
              </a:ext>
            </a:extLst>
          </p:cNvPr>
          <p:cNvGrpSpPr/>
          <p:nvPr/>
        </p:nvGrpSpPr>
        <p:grpSpPr>
          <a:xfrm>
            <a:off x="2634887" y="2840862"/>
            <a:ext cx="228728" cy="391606"/>
            <a:chOff x="3889515" y="3744777"/>
            <a:chExt cx="438047" cy="749982"/>
          </a:xfrm>
        </p:grpSpPr>
        <p:sp>
          <p:nvSpPr>
            <p:cNvPr id="15" name="Rectangle: Rounded Corners 14">
              <a:extLst>
                <a:ext uri="{FF2B5EF4-FFF2-40B4-BE49-F238E27FC236}">
                  <a16:creationId xmlns:a16="http://schemas.microsoft.com/office/drawing/2014/main" id="{060D1E13-57F7-4DA6-877C-ADF42297CC48}"/>
                </a:ext>
              </a:extLst>
            </p:cNvPr>
            <p:cNvSpPr/>
            <p:nvPr/>
          </p:nvSpPr>
          <p:spPr>
            <a:xfrm>
              <a:off x="4118243" y="3831569"/>
              <a:ext cx="76676" cy="115994"/>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21" name="Rectangle: Rounded Corners 220">
              <a:extLst>
                <a:ext uri="{FF2B5EF4-FFF2-40B4-BE49-F238E27FC236}">
                  <a16:creationId xmlns:a16="http://schemas.microsoft.com/office/drawing/2014/main" id="{44FF844D-B7FE-477E-8111-B74D3410C354}"/>
                </a:ext>
              </a:extLst>
            </p:cNvPr>
            <p:cNvSpPr/>
            <p:nvPr/>
          </p:nvSpPr>
          <p:spPr>
            <a:xfrm>
              <a:off x="4004414" y="3744777"/>
              <a:ext cx="76676" cy="95863"/>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22" name="Rectangle: Rounded Corners 221">
              <a:extLst>
                <a:ext uri="{FF2B5EF4-FFF2-40B4-BE49-F238E27FC236}">
                  <a16:creationId xmlns:a16="http://schemas.microsoft.com/office/drawing/2014/main" id="{45B241E4-8E28-4EC4-9768-EF4CDEEE7C45}"/>
                </a:ext>
              </a:extLst>
            </p:cNvPr>
            <p:cNvSpPr/>
            <p:nvPr/>
          </p:nvSpPr>
          <p:spPr>
            <a:xfrm>
              <a:off x="3928356" y="3863341"/>
              <a:ext cx="52370" cy="95863"/>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23" name="Rectangle: Rounded Corners 222">
              <a:extLst>
                <a:ext uri="{FF2B5EF4-FFF2-40B4-BE49-F238E27FC236}">
                  <a16:creationId xmlns:a16="http://schemas.microsoft.com/office/drawing/2014/main" id="{2F32F014-D92F-42EF-9B62-592E3B0ECAE4}"/>
                </a:ext>
              </a:extLst>
            </p:cNvPr>
            <p:cNvSpPr/>
            <p:nvPr/>
          </p:nvSpPr>
          <p:spPr>
            <a:xfrm>
              <a:off x="4028720" y="3917305"/>
              <a:ext cx="52370" cy="54112"/>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24" name="Rectangle: Rounded Corners 223">
              <a:extLst>
                <a:ext uri="{FF2B5EF4-FFF2-40B4-BE49-F238E27FC236}">
                  <a16:creationId xmlns:a16="http://schemas.microsoft.com/office/drawing/2014/main" id="{1C7B3687-E49A-41E7-A63C-23C1F0271BF0}"/>
                </a:ext>
              </a:extLst>
            </p:cNvPr>
            <p:cNvSpPr/>
            <p:nvPr/>
          </p:nvSpPr>
          <p:spPr>
            <a:xfrm>
              <a:off x="4156581" y="3745561"/>
              <a:ext cx="52370" cy="54112"/>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25" name="Rectangle: Rounded Corners 224">
              <a:extLst>
                <a:ext uri="{FF2B5EF4-FFF2-40B4-BE49-F238E27FC236}">
                  <a16:creationId xmlns:a16="http://schemas.microsoft.com/office/drawing/2014/main" id="{5771FEDF-CF92-4561-B01C-982D8B19BD00}"/>
                </a:ext>
              </a:extLst>
            </p:cNvPr>
            <p:cNvSpPr/>
            <p:nvPr/>
          </p:nvSpPr>
          <p:spPr>
            <a:xfrm>
              <a:off x="4227147" y="3883263"/>
              <a:ext cx="52370" cy="54112"/>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26" name="Rectangle: Rounded Corners 225">
              <a:extLst>
                <a:ext uri="{FF2B5EF4-FFF2-40B4-BE49-F238E27FC236}">
                  <a16:creationId xmlns:a16="http://schemas.microsoft.com/office/drawing/2014/main" id="{7D607F8F-783A-4552-B049-EBCA8F5C2FEA}"/>
                </a:ext>
              </a:extLst>
            </p:cNvPr>
            <p:cNvSpPr/>
            <p:nvPr/>
          </p:nvSpPr>
          <p:spPr>
            <a:xfrm>
              <a:off x="4115417" y="3980186"/>
              <a:ext cx="52370" cy="95863"/>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3" name="Group 12">
              <a:extLst>
                <a:ext uri="{FF2B5EF4-FFF2-40B4-BE49-F238E27FC236}">
                  <a16:creationId xmlns:a16="http://schemas.microsoft.com/office/drawing/2014/main" id="{8429345E-FAA2-400B-9AEA-5739367D1304}"/>
                </a:ext>
              </a:extLst>
            </p:cNvPr>
            <p:cNvGrpSpPr/>
            <p:nvPr/>
          </p:nvGrpSpPr>
          <p:grpSpPr>
            <a:xfrm>
              <a:off x="3889515" y="3957751"/>
              <a:ext cx="438047" cy="537008"/>
              <a:chOff x="3988209" y="4033674"/>
              <a:chExt cx="242268" cy="297000"/>
            </a:xfrm>
            <a:solidFill>
              <a:schemeClr val="bg2"/>
            </a:solidFill>
          </p:grpSpPr>
          <p:sp>
            <p:nvSpPr>
              <p:cNvPr id="217" name="Freeform 31">
                <a:extLst>
                  <a:ext uri="{FF2B5EF4-FFF2-40B4-BE49-F238E27FC236}">
                    <a16:creationId xmlns:a16="http://schemas.microsoft.com/office/drawing/2014/main" id="{A4ADDA5A-41B8-4A8E-938D-FD45AE222E0B}"/>
                  </a:ext>
                </a:extLst>
              </p:cNvPr>
              <p:cNvSpPr>
                <a:spLocks/>
              </p:cNvSpPr>
              <p:nvPr/>
            </p:nvSpPr>
            <p:spPr bwMode="auto">
              <a:xfrm>
                <a:off x="3988209" y="4188211"/>
                <a:ext cx="242268" cy="142463"/>
              </a:xfrm>
              <a:custGeom>
                <a:avLst/>
                <a:gdLst>
                  <a:gd name="T0" fmla="*/ 0 w 127"/>
                  <a:gd name="T1" fmla="*/ 0 h 75"/>
                  <a:gd name="T2" fmla="*/ 0 w 127"/>
                  <a:gd name="T3" fmla="*/ 36 h 75"/>
                  <a:gd name="T4" fmla="*/ 127 w 127"/>
                  <a:gd name="T5" fmla="*/ 36 h 75"/>
                  <a:gd name="T6" fmla="*/ 127 w 127"/>
                  <a:gd name="T7" fmla="*/ 0 h 75"/>
                  <a:gd name="T8" fmla="*/ 0 w 127"/>
                  <a:gd name="T9" fmla="*/ 0 h 75"/>
                </a:gdLst>
                <a:ahLst/>
                <a:cxnLst>
                  <a:cxn ang="0">
                    <a:pos x="T0" y="T1"/>
                  </a:cxn>
                  <a:cxn ang="0">
                    <a:pos x="T2" y="T3"/>
                  </a:cxn>
                  <a:cxn ang="0">
                    <a:pos x="T4" y="T5"/>
                  </a:cxn>
                  <a:cxn ang="0">
                    <a:pos x="T6" y="T7"/>
                  </a:cxn>
                  <a:cxn ang="0">
                    <a:pos x="T8" y="T9"/>
                  </a:cxn>
                </a:cxnLst>
                <a:rect l="0" t="0" r="r" b="b"/>
                <a:pathLst>
                  <a:path w="127" h="75">
                    <a:moveTo>
                      <a:pt x="0" y="0"/>
                    </a:moveTo>
                    <a:cubicBezTo>
                      <a:pt x="0" y="36"/>
                      <a:pt x="0" y="36"/>
                      <a:pt x="0" y="36"/>
                    </a:cubicBezTo>
                    <a:cubicBezTo>
                      <a:pt x="57" y="75"/>
                      <a:pt x="126" y="42"/>
                      <a:pt x="127" y="36"/>
                    </a:cubicBezTo>
                    <a:cubicBezTo>
                      <a:pt x="127" y="36"/>
                      <a:pt x="127" y="36"/>
                      <a:pt x="127" y="0"/>
                    </a:cubicBezTo>
                    <a:cubicBezTo>
                      <a:pt x="126" y="6"/>
                      <a:pt x="57" y="3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18" name="Freeform 32">
                <a:extLst>
                  <a:ext uri="{FF2B5EF4-FFF2-40B4-BE49-F238E27FC236}">
                    <a16:creationId xmlns:a16="http://schemas.microsoft.com/office/drawing/2014/main" id="{C1EE9A3C-1F95-4BCA-B083-449EAC26BD0C}"/>
                  </a:ext>
                </a:extLst>
              </p:cNvPr>
              <p:cNvSpPr>
                <a:spLocks/>
              </p:cNvSpPr>
              <p:nvPr/>
            </p:nvSpPr>
            <p:spPr bwMode="auto">
              <a:xfrm>
                <a:off x="3988209" y="4110137"/>
                <a:ext cx="242268" cy="144878"/>
              </a:xfrm>
              <a:custGeom>
                <a:avLst/>
                <a:gdLst>
                  <a:gd name="T0" fmla="*/ 0 w 127"/>
                  <a:gd name="T1" fmla="*/ 0 h 76"/>
                  <a:gd name="T2" fmla="*/ 0 w 127"/>
                  <a:gd name="T3" fmla="*/ 36 h 76"/>
                  <a:gd name="T4" fmla="*/ 127 w 127"/>
                  <a:gd name="T5" fmla="*/ 36 h 76"/>
                  <a:gd name="T6" fmla="*/ 127 w 127"/>
                  <a:gd name="T7" fmla="*/ 0 h 76"/>
                  <a:gd name="T8" fmla="*/ 0 w 127"/>
                  <a:gd name="T9" fmla="*/ 0 h 76"/>
                </a:gdLst>
                <a:ahLst/>
                <a:cxnLst>
                  <a:cxn ang="0">
                    <a:pos x="T0" y="T1"/>
                  </a:cxn>
                  <a:cxn ang="0">
                    <a:pos x="T2" y="T3"/>
                  </a:cxn>
                  <a:cxn ang="0">
                    <a:pos x="T4" y="T5"/>
                  </a:cxn>
                  <a:cxn ang="0">
                    <a:pos x="T6" y="T7"/>
                  </a:cxn>
                  <a:cxn ang="0">
                    <a:pos x="T8" y="T9"/>
                  </a:cxn>
                </a:cxnLst>
                <a:rect l="0" t="0" r="r" b="b"/>
                <a:pathLst>
                  <a:path w="127" h="76">
                    <a:moveTo>
                      <a:pt x="0" y="0"/>
                    </a:moveTo>
                    <a:cubicBezTo>
                      <a:pt x="0" y="36"/>
                      <a:pt x="0" y="36"/>
                      <a:pt x="0" y="36"/>
                    </a:cubicBezTo>
                    <a:cubicBezTo>
                      <a:pt x="57" y="76"/>
                      <a:pt x="126" y="42"/>
                      <a:pt x="127" y="36"/>
                    </a:cubicBezTo>
                    <a:cubicBezTo>
                      <a:pt x="127" y="36"/>
                      <a:pt x="127" y="36"/>
                      <a:pt x="127" y="0"/>
                    </a:cubicBezTo>
                    <a:cubicBezTo>
                      <a:pt x="126" y="5"/>
                      <a:pt x="57" y="4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19" name="Freeform 33">
                <a:extLst>
                  <a:ext uri="{FF2B5EF4-FFF2-40B4-BE49-F238E27FC236}">
                    <a16:creationId xmlns:a16="http://schemas.microsoft.com/office/drawing/2014/main" id="{050ACC59-85C0-45ED-8098-F2D1AEA042B1}"/>
                  </a:ext>
                </a:extLst>
              </p:cNvPr>
              <p:cNvSpPr>
                <a:spLocks/>
              </p:cNvSpPr>
              <p:nvPr/>
            </p:nvSpPr>
            <p:spPr bwMode="auto">
              <a:xfrm>
                <a:off x="3988209" y="4033674"/>
                <a:ext cx="242268" cy="143268"/>
              </a:xfrm>
              <a:custGeom>
                <a:avLst/>
                <a:gdLst>
                  <a:gd name="T0" fmla="*/ 0 w 127"/>
                  <a:gd name="T1" fmla="*/ 0 h 75"/>
                  <a:gd name="T2" fmla="*/ 0 w 127"/>
                  <a:gd name="T3" fmla="*/ 36 h 75"/>
                  <a:gd name="T4" fmla="*/ 127 w 127"/>
                  <a:gd name="T5" fmla="*/ 36 h 75"/>
                  <a:gd name="T6" fmla="*/ 127 w 127"/>
                  <a:gd name="T7" fmla="*/ 0 h 75"/>
                  <a:gd name="T8" fmla="*/ 0 w 127"/>
                  <a:gd name="T9" fmla="*/ 0 h 75"/>
                </a:gdLst>
                <a:ahLst/>
                <a:cxnLst>
                  <a:cxn ang="0">
                    <a:pos x="T0" y="T1"/>
                  </a:cxn>
                  <a:cxn ang="0">
                    <a:pos x="T2" y="T3"/>
                  </a:cxn>
                  <a:cxn ang="0">
                    <a:pos x="T4" y="T5"/>
                  </a:cxn>
                  <a:cxn ang="0">
                    <a:pos x="T6" y="T7"/>
                  </a:cxn>
                  <a:cxn ang="0">
                    <a:pos x="T8" y="T9"/>
                  </a:cxn>
                </a:cxnLst>
                <a:rect l="0" t="0" r="r" b="b"/>
                <a:pathLst>
                  <a:path w="127" h="75">
                    <a:moveTo>
                      <a:pt x="0" y="0"/>
                    </a:moveTo>
                    <a:cubicBezTo>
                      <a:pt x="0" y="36"/>
                      <a:pt x="0" y="36"/>
                      <a:pt x="0" y="36"/>
                    </a:cubicBezTo>
                    <a:cubicBezTo>
                      <a:pt x="57" y="75"/>
                      <a:pt x="126" y="41"/>
                      <a:pt x="127" y="36"/>
                    </a:cubicBezTo>
                    <a:cubicBezTo>
                      <a:pt x="127" y="36"/>
                      <a:pt x="127" y="36"/>
                      <a:pt x="127" y="0"/>
                    </a:cubicBezTo>
                    <a:cubicBezTo>
                      <a:pt x="126" y="5"/>
                      <a:pt x="57" y="3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sp>
        <p:nvSpPr>
          <p:cNvPr id="332" name="Freeform: Shape 331">
            <a:extLst>
              <a:ext uri="{FF2B5EF4-FFF2-40B4-BE49-F238E27FC236}">
                <a16:creationId xmlns:a16="http://schemas.microsoft.com/office/drawing/2014/main" id="{979C7C38-1057-4594-9CE8-41FDB36D77ED}"/>
              </a:ext>
            </a:extLst>
          </p:cNvPr>
          <p:cNvSpPr/>
          <p:nvPr/>
        </p:nvSpPr>
        <p:spPr>
          <a:xfrm rot="5400000">
            <a:off x="2719925" y="3078498"/>
            <a:ext cx="95490" cy="265624"/>
          </a:xfrm>
          <a:custGeom>
            <a:avLst/>
            <a:gdLst>
              <a:gd name="connsiteX0" fmla="*/ 0 w 95490"/>
              <a:gd name="connsiteY0" fmla="*/ 265624 h 265624"/>
              <a:gd name="connsiteX1" fmla="*/ 4334 w 95490"/>
              <a:gd name="connsiteY1" fmla="*/ 31607 h 265624"/>
              <a:gd name="connsiteX2" fmla="*/ 41585 w 95490"/>
              <a:gd name="connsiteY2" fmla="*/ 0 h 265624"/>
              <a:gd name="connsiteX3" fmla="*/ 52910 w 95490"/>
              <a:gd name="connsiteY3" fmla="*/ 13726 h 265624"/>
              <a:gd name="connsiteX4" fmla="*/ 95490 w 95490"/>
              <a:gd name="connsiteY4" fmla="*/ 153123 h 265624"/>
              <a:gd name="connsiteX5" fmla="*/ 93345 w 95490"/>
              <a:gd name="connsiteY5" fmla="*/ 174400 h 265624"/>
              <a:gd name="connsiteX6" fmla="*/ 0 w 95490"/>
              <a:gd name="connsiteY6" fmla="*/ 265624 h 265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490" h="265624">
                <a:moveTo>
                  <a:pt x="0" y="265624"/>
                </a:moveTo>
                <a:lnTo>
                  <a:pt x="4334" y="31607"/>
                </a:lnTo>
                <a:lnTo>
                  <a:pt x="41585" y="0"/>
                </a:lnTo>
                <a:lnTo>
                  <a:pt x="52910" y="13726"/>
                </a:lnTo>
                <a:cubicBezTo>
                  <a:pt x="79793" y="53518"/>
                  <a:pt x="95490" y="101487"/>
                  <a:pt x="95490" y="153123"/>
                </a:cubicBezTo>
                <a:lnTo>
                  <a:pt x="93345" y="174400"/>
                </a:lnTo>
                <a:lnTo>
                  <a:pt x="0" y="265624"/>
                </a:lnTo>
                <a:close/>
              </a:path>
            </a:pathLst>
          </a:cu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119" name="Group 118">
            <a:extLst>
              <a:ext uri="{FF2B5EF4-FFF2-40B4-BE49-F238E27FC236}">
                <a16:creationId xmlns:a16="http://schemas.microsoft.com/office/drawing/2014/main" id="{D6868861-AC7D-4AB9-AE44-26704C048405}"/>
              </a:ext>
            </a:extLst>
          </p:cNvPr>
          <p:cNvGrpSpPr/>
          <p:nvPr/>
        </p:nvGrpSpPr>
        <p:grpSpPr>
          <a:xfrm>
            <a:off x="3279457" y="2767959"/>
            <a:ext cx="488697" cy="487635"/>
            <a:chOff x="655357" y="1565263"/>
            <a:chExt cx="1865288" cy="1861234"/>
          </a:xfrm>
        </p:grpSpPr>
        <p:sp>
          <p:nvSpPr>
            <p:cNvPr id="134" name="Oval 12">
              <a:extLst>
                <a:ext uri="{FF2B5EF4-FFF2-40B4-BE49-F238E27FC236}">
                  <a16:creationId xmlns:a16="http://schemas.microsoft.com/office/drawing/2014/main" id="{3D4F6D83-1243-4697-93BE-0B8AEBC97696}"/>
                </a:ext>
              </a:extLst>
            </p:cNvPr>
            <p:cNvSpPr>
              <a:spLocks noChangeArrowheads="1"/>
            </p:cNvSpPr>
            <p:nvPr/>
          </p:nvSpPr>
          <p:spPr bwMode="auto">
            <a:xfrm>
              <a:off x="655357" y="1565263"/>
              <a:ext cx="1862574" cy="1861234"/>
            </a:xfrm>
            <a:prstGeom prst="ellipse">
              <a:avLst/>
            </a:pr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35" name="Freeform 13">
              <a:extLst>
                <a:ext uri="{FF2B5EF4-FFF2-40B4-BE49-F238E27FC236}">
                  <a16:creationId xmlns:a16="http://schemas.microsoft.com/office/drawing/2014/main" id="{5AE88F5E-3B0C-4B58-92AD-E109001F82FF}"/>
                </a:ext>
              </a:extLst>
            </p:cNvPr>
            <p:cNvSpPr>
              <a:spLocks/>
            </p:cNvSpPr>
            <p:nvPr/>
          </p:nvSpPr>
          <p:spPr bwMode="auto">
            <a:xfrm>
              <a:off x="1457465" y="2049987"/>
              <a:ext cx="1063180" cy="1227879"/>
            </a:xfrm>
            <a:custGeom>
              <a:avLst/>
              <a:gdLst>
                <a:gd name="T0" fmla="*/ 93 w 336"/>
                <a:gd name="T1" fmla="*/ 0 h 388"/>
                <a:gd name="T2" fmla="*/ 336 w 336"/>
                <a:gd name="T3" fmla="*/ 164 h 388"/>
                <a:gd name="T4" fmla="*/ 335 w 336"/>
                <a:gd name="T5" fmla="*/ 168 h 388"/>
                <a:gd name="T6" fmla="*/ 207 w 336"/>
                <a:gd name="T7" fmla="*/ 383 h 388"/>
                <a:gd name="T8" fmla="*/ 199 w 336"/>
                <a:gd name="T9" fmla="*/ 388 h 388"/>
                <a:gd name="T10" fmla="*/ 0 w 336"/>
                <a:gd name="T11" fmla="*/ 255 h 388"/>
                <a:gd name="T12" fmla="*/ 93 w 336"/>
                <a:gd name="T13" fmla="*/ 0 h 388"/>
              </a:gdLst>
              <a:ahLst/>
              <a:cxnLst>
                <a:cxn ang="0">
                  <a:pos x="T0" y="T1"/>
                </a:cxn>
                <a:cxn ang="0">
                  <a:pos x="T2" y="T3"/>
                </a:cxn>
                <a:cxn ang="0">
                  <a:pos x="T4" y="T5"/>
                </a:cxn>
                <a:cxn ang="0">
                  <a:pos x="T6" y="T7"/>
                </a:cxn>
                <a:cxn ang="0">
                  <a:pos x="T8" y="T9"/>
                </a:cxn>
                <a:cxn ang="0">
                  <a:pos x="T10" y="T11"/>
                </a:cxn>
                <a:cxn ang="0">
                  <a:pos x="T12" y="T13"/>
                </a:cxn>
              </a:cxnLst>
              <a:rect l="0" t="0" r="r" b="b"/>
              <a:pathLst>
                <a:path w="336" h="388">
                  <a:moveTo>
                    <a:pt x="93" y="0"/>
                  </a:moveTo>
                  <a:cubicBezTo>
                    <a:pt x="336" y="164"/>
                    <a:pt x="336" y="164"/>
                    <a:pt x="336" y="164"/>
                  </a:cubicBezTo>
                  <a:cubicBezTo>
                    <a:pt x="335" y="168"/>
                    <a:pt x="335" y="168"/>
                    <a:pt x="335" y="168"/>
                  </a:cubicBezTo>
                  <a:cubicBezTo>
                    <a:pt x="326" y="258"/>
                    <a:pt x="277" y="335"/>
                    <a:pt x="207" y="383"/>
                  </a:cubicBezTo>
                  <a:cubicBezTo>
                    <a:pt x="199" y="388"/>
                    <a:pt x="199" y="388"/>
                    <a:pt x="199" y="388"/>
                  </a:cubicBezTo>
                  <a:cubicBezTo>
                    <a:pt x="0" y="255"/>
                    <a:pt x="0" y="255"/>
                    <a:pt x="0" y="255"/>
                  </a:cubicBezTo>
                  <a:cubicBezTo>
                    <a:pt x="93" y="0"/>
                    <a:pt x="93" y="0"/>
                    <a:pt x="93" y="0"/>
                  </a:cubicBezTo>
                  <a:close/>
                </a:path>
              </a:pathLst>
            </a:custGeom>
            <a:solidFill>
              <a:srgbClr val="0638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20" name="Group 119">
            <a:extLst>
              <a:ext uri="{FF2B5EF4-FFF2-40B4-BE49-F238E27FC236}">
                <a16:creationId xmlns:a16="http://schemas.microsoft.com/office/drawing/2014/main" id="{71BABC7D-B3B5-4DB0-B26F-D17AF2C5F350}"/>
              </a:ext>
            </a:extLst>
          </p:cNvPr>
          <p:cNvGrpSpPr/>
          <p:nvPr/>
        </p:nvGrpSpPr>
        <p:grpSpPr>
          <a:xfrm>
            <a:off x="3229431" y="2838170"/>
            <a:ext cx="532483" cy="260971"/>
            <a:chOff x="1566545" y="1970631"/>
            <a:chExt cx="1076325" cy="527505"/>
          </a:xfrm>
          <a:solidFill>
            <a:schemeClr val="bg2"/>
          </a:solidFill>
        </p:grpSpPr>
        <p:sp>
          <p:nvSpPr>
            <p:cNvPr id="131" name="Rectangle: Rounded Corners 120">
              <a:extLst>
                <a:ext uri="{FF2B5EF4-FFF2-40B4-BE49-F238E27FC236}">
                  <a16:creationId xmlns:a16="http://schemas.microsoft.com/office/drawing/2014/main" id="{E4F62AC6-449B-44D4-AB38-F66854CBDD8F}"/>
                </a:ext>
              </a:extLst>
            </p:cNvPr>
            <p:cNvSpPr/>
            <p:nvPr/>
          </p:nvSpPr>
          <p:spPr>
            <a:xfrm>
              <a:off x="1566545" y="2271621"/>
              <a:ext cx="1076325" cy="22651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32" name="Rectangle: Rounded Corners 122">
              <a:extLst>
                <a:ext uri="{FF2B5EF4-FFF2-40B4-BE49-F238E27FC236}">
                  <a16:creationId xmlns:a16="http://schemas.microsoft.com/office/drawing/2014/main" id="{F1241187-9D2C-433C-9AB1-1A8F4D967823}"/>
                </a:ext>
              </a:extLst>
            </p:cNvPr>
            <p:cNvSpPr/>
            <p:nvPr/>
          </p:nvSpPr>
          <p:spPr>
            <a:xfrm>
              <a:off x="1797050" y="2119221"/>
              <a:ext cx="763905" cy="22651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33" name="Rectangle: Rounded Corners 123">
              <a:extLst>
                <a:ext uri="{FF2B5EF4-FFF2-40B4-BE49-F238E27FC236}">
                  <a16:creationId xmlns:a16="http://schemas.microsoft.com/office/drawing/2014/main" id="{09DC450A-06DC-4B98-A6B7-E731F6653FB7}"/>
                </a:ext>
              </a:extLst>
            </p:cNvPr>
            <p:cNvSpPr/>
            <p:nvPr/>
          </p:nvSpPr>
          <p:spPr>
            <a:xfrm>
              <a:off x="2101849" y="1970631"/>
              <a:ext cx="361951" cy="22651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iscoSansTT ExtraLight"/>
                <a:ea typeface="+mn-ea"/>
                <a:cs typeface="+mn-cs"/>
              </a:endParaRPr>
            </a:p>
          </p:txBody>
        </p:sp>
      </p:grpSp>
      <p:sp>
        <p:nvSpPr>
          <p:cNvPr id="121" name="Freeform 103">
            <a:extLst>
              <a:ext uri="{FF2B5EF4-FFF2-40B4-BE49-F238E27FC236}">
                <a16:creationId xmlns:a16="http://schemas.microsoft.com/office/drawing/2014/main" id="{19F66F64-BFEC-4AC7-9E61-4AC1C0F57DDA}"/>
              </a:ext>
            </a:extLst>
          </p:cNvPr>
          <p:cNvSpPr>
            <a:spLocks/>
          </p:cNvSpPr>
          <p:nvPr/>
        </p:nvSpPr>
        <p:spPr bwMode="auto">
          <a:xfrm rot="19203019" flipH="1">
            <a:off x="3326969" y="3104527"/>
            <a:ext cx="157838" cy="24494"/>
          </a:xfrm>
          <a:prstGeom prst="roundRect">
            <a:avLst>
              <a:gd name="adj" fmla="val 50000"/>
            </a:avLst>
          </a:prstGeom>
          <a:solidFill>
            <a:srgbClr val="34B2DE"/>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22" name="Freeform 277">
            <a:extLst>
              <a:ext uri="{FF2B5EF4-FFF2-40B4-BE49-F238E27FC236}">
                <a16:creationId xmlns:a16="http://schemas.microsoft.com/office/drawing/2014/main" id="{18D4275A-51CD-4936-B071-DA3BFD37CE87}"/>
              </a:ext>
            </a:extLst>
          </p:cNvPr>
          <p:cNvSpPr>
            <a:spLocks noEditPoints="1"/>
          </p:cNvSpPr>
          <p:nvPr/>
        </p:nvSpPr>
        <p:spPr bwMode="auto">
          <a:xfrm>
            <a:off x="3441707" y="2930028"/>
            <a:ext cx="159782" cy="159782"/>
          </a:xfrm>
          <a:prstGeom prst="ellipse">
            <a:avLst/>
          </a:prstGeom>
          <a:solidFill>
            <a:schemeClr val="bg2"/>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nvGrpSpPr>
          <p:cNvPr id="123" name="Group 122">
            <a:extLst>
              <a:ext uri="{FF2B5EF4-FFF2-40B4-BE49-F238E27FC236}">
                <a16:creationId xmlns:a16="http://schemas.microsoft.com/office/drawing/2014/main" id="{082496B7-74EC-467A-B542-8F78A37FA31A}"/>
              </a:ext>
            </a:extLst>
          </p:cNvPr>
          <p:cNvGrpSpPr/>
          <p:nvPr/>
        </p:nvGrpSpPr>
        <p:grpSpPr>
          <a:xfrm>
            <a:off x="3441009" y="2926501"/>
            <a:ext cx="166815" cy="135270"/>
            <a:chOff x="1746360" y="5086682"/>
            <a:chExt cx="636708" cy="516308"/>
          </a:xfrm>
        </p:grpSpPr>
        <p:cxnSp>
          <p:nvCxnSpPr>
            <p:cNvPr id="125" name="Straight Connector 124">
              <a:extLst>
                <a:ext uri="{FF2B5EF4-FFF2-40B4-BE49-F238E27FC236}">
                  <a16:creationId xmlns:a16="http://schemas.microsoft.com/office/drawing/2014/main" id="{B8C2B19E-CACC-469D-9284-F572FD54EA92}"/>
                </a:ext>
              </a:extLst>
            </p:cNvPr>
            <p:cNvCxnSpPr>
              <a:cxnSpLocks/>
            </p:cNvCxnSpPr>
            <p:nvPr/>
          </p:nvCxnSpPr>
          <p:spPr>
            <a:xfrm flipV="1">
              <a:off x="1746360" y="5430977"/>
              <a:ext cx="277205" cy="91790"/>
            </a:xfrm>
            <a:prstGeom prst="line">
              <a:avLst/>
            </a:prstGeom>
            <a:ln w="28575">
              <a:solidFill>
                <a:srgbClr val="055174"/>
              </a:solidFill>
              <a:prstDash val="sys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DF670DC0-B04F-4BC1-A602-1F2163E62743}"/>
                </a:ext>
              </a:extLst>
            </p:cNvPr>
            <p:cNvCxnSpPr>
              <a:cxnSpLocks/>
            </p:cNvCxnSpPr>
            <p:nvPr/>
          </p:nvCxnSpPr>
          <p:spPr>
            <a:xfrm>
              <a:off x="1931847" y="5086682"/>
              <a:ext cx="91718" cy="324298"/>
            </a:xfrm>
            <a:prstGeom prst="line">
              <a:avLst/>
            </a:prstGeom>
            <a:ln w="28575">
              <a:solidFill>
                <a:srgbClr val="055174"/>
              </a:solidFill>
              <a:prstDash val="sysDash"/>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94759915-C7BC-4E64-8D98-554A98BA4B83}"/>
                </a:ext>
              </a:extLst>
            </p:cNvPr>
            <p:cNvCxnSpPr>
              <a:cxnSpLocks/>
            </p:cNvCxnSpPr>
            <p:nvPr/>
          </p:nvCxnSpPr>
          <p:spPr>
            <a:xfrm>
              <a:off x="2199611" y="5410980"/>
              <a:ext cx="183457" cy="0"/>
            </a:xfrm>
            <a:prstGeom prst="line">
              <a:avLst/>
            </a:prstGeom>
            <a:ln w="28575">
              <a:solidFill>
                <a:srgbClr val="055174"/>
              </a:solidFill>
              <a:prstDash val="sysDash"/>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17428C53-DBAF-4BC0-8500-B216BF286165}"/>
                </a:ext>
              </a:extLst>
            </p:cNvPr>
            <p:cNvGrpSpPr/>
            <p:nvPr/>
          </p:nvGrpSpPr>
          <p:grpSpPr>
            <a:xfrm>
              <a:off x="1884144" y="5263816"/>
              <a:ext cx="371632" cy="339174"/>
              <a:chOff x="1409762" y="2347531"/>
              <a:chExt cx="371632" cy="339174"/>
            </a:xfrm>
          </p:grpSpPr>
          <p:sp>
            <p:nvSpPr>
              <p:cNvPr id="129" name="Rectangle 128">
                <a:extLst>
                  <a:ext uri="{FF2B5EF4-FFF2-40B4-BE49-F238E27FC236}">
                    <a16:creationId xmlns:a16="http://schemas.microsoft.com/office/drawing/2014/main" id="{74569570-E0F7-4F88-9166-8987F049AF5C}"/>
                  </a:ext>
                </a:extLst>
              </p:cNvPr>
              <p:cNvSpPr/>
              <p:nvPr/>
            </p:nvSpPr>
            <p:spPr>
              <a:xfrm>
                <a:off x="1409762" y="2363519"/>
                <a:ext cx="348286" cy="242963"/>
              </a:xfrm>
              <a:prstGeom prst="rect">
                <a:avLst/>
              </a:prstGeom>
              <a:solidFill>
                <a:srgbClr val="FAAC1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30" name="Freeform 19">
                <a:extLst>
                  <a:ext uri="{FF2B5EF4-FFF2-40B4-BE49-F238E27FC236}">
                    <a16:creationId xmlns:a16="http://schemas.microsoft.com/office/drawing/2014/main" id="{A9A41EEF-146F-48FE-8F6C-6310A209EF7C}"/>
                  </a:ext>
                </a:extLst>
              </p:cNvPr>
              <p:cNvSpPr>
                <a:spLocks noEditPoints="1"/>
              </p:cNvSpPr>
              <p:nvPr/>
            </p:nvSpPr>
            <p:spPr bwMode="auto">
              <a:xfrm>
                <a:off x="1409762" y="2347531"/>
                <a:ext cx="371632" cy="339174"/>
              </a:xfrm>
              <a:custGeom>
                <a:avLst/>
                <a:gdLst>
                  <a:gd name="T0" fmla="*/ 454 w 458"/>
                  <a:gd name="T1" fmla="*/ 12 h 418"/>
                  <a:gd name="T2" fmla="*/ 447 w 458"/>
                  <a:gd name="T3" fmla="*/ 4 h 418"/>
                  <a:gd name="T4" fmla="*/ 437 w 458"/>
                  <a:gd name="T5" fmla="*/ 0 h 418"/>
                  <a:gd name="T6" fmla="*/ 26 w 458"/>
                  <a:gd name="T7" fmla="*/ 0 h 418"/>
                  <a:gd name="T8" fmla="*/ 14 w 458"/>
                  <a:gd name="T9" fmla="*/ 2 h 418"/>
                  <a:gd name="T10" fmla="*/ 7 w 458"/>
                  <a:gd name="T11" fmla="*/ 7 h 418"/>
                  <a:gd name="T12" fmla="*/ 2 w 458"/>
                  <a:gd name="T13" fmla="*/ 16 h 418"/>
                  <a:gd name="T14" fmla="*/ 0 w 458"/>
                  <a:gd name="T15" fmla="*/ 26 h 418"/>
                  <a:gd name="T16" fmla="*/ 0 w 458"/>
                  <a:gd name="T17" fmla="*/ 331 h 418"/>
                  <a:gd name="T18" fmla="*/ 4 w 458"/>
                  <a:gd name="T19" fmla="*/ 340 h 418"/>
                  <a:gd name="T20" fmla="*/ 11 w 458"/>
                  <a:gd name="T21" fmla="*/ 347 h 418"/>
                  <a:gd name="T22" fmla="*/ 18 w 458"/>
                  <a:gd name="T23" fmla="*/ 350 h 418"/>
                  <a:gd name="T24" fmla="*/ 177 w 458"/>
                  <a:gd name="T25" fmla="*/ 350 h 418"/>
                  <a:gd name="T26" fmla="*/ 175 w 458"/>
                  <a:gd name="T27" fmla="*/ 357 h 418"/>
                  <a:gd name="T28" fmla="*/ 170 w 458"/>
                  <a:gd name="T29" fmla="*/ 371 h 418"/>
                  <a:gd name="T30" fmla="*/ 160 w 458"/>
                  <a:gd name="T31" fmla="*/ 380 h 418"/>
                  <a:gd name="T32" fmla="*/ 144 w 458"/>
                  <a:gd name="T33" fmla="*/ 385 h 418"/>
                  <a:gd name="T34" fmla="*/ 118 w 458"/>
                  <a:gd name="T35" fmla="*/ 385 h 418"/>
                  <a:gd name="T36" fmla="*/ 111 w 458"/>
                  <a:gd name="T37" fmla="*/ 387 h 418"/>
                  <a:gd name="T38" fmla="*/ 106 w 458"/>
                  <a:gd name="T39" fmla="*/ 392 h 418"/>
                  <a:gd name="T40" fmla="*/ 104 w 458"/>
                  <a:gd name="T41" fmla="*/ 397 h 418"/>
                  <a:gd name="T42" fmla="*/ 104 w 458"/>
                  <a:gd name="T43" fmla="*/ 406 h 418"/>
                  <a:gd name="T44" fmla="*/ 106 w 458"/>
                  <a:gd name="T45" fmla="*/ 411 h 418"/>
                  <a:gd name="T46" fmla="*/ 111 w 458"/>
                  <a:gd name="T47" fmla="*/ 416 h 418"/>
                  <a:gd name="T48" fmla="*/ 118 w 458"/>
                  <a:gd name="T49" fmla="*/ 418 h 418"/>
                  <a:gd name="T50" fmla="*/ 335 w 458"/>
                  <a:gd name="T51" fmla="*/ 418 h 418"/>
                  <a:gd name="T52" fmla="*/ 343 w 458"/>
                  <a:gd name="T53" fmla="*/ 418 h 418"/>
                  <a:gd name="T54" fmla="*/ 347 w 458"/>
                  <a:gd name="T55" fmla="*/ 413 h 418"/>
                  <a:gd name="T56" fmla="*/ 352 w 458"/>
                  <a:gd name="T57" fmla="*/ 409 h 418"/>
                  <a:gd name="T58" fmla="*/ 354 w 458"/>
                  <a:gd name="T59" fmla="*/ 402 h 418"/>
                  <a:gd name="T60" fmla="*/ 352 w 458"/>
                  <a:gd name="T61" fmla="*/ 395 h 418"/>
                  <a:gd name="T62" fmla="*/ 347 w 458"/>
                  <a:gd name="T63" fmla="*/ 390 h 418"/>
                  <a:gd name="T64" fmla="*/ 343 w 458"/>
                  <a:gd name="T65" fmla="*/ 385 h 418"/>
                  <a:gd name="T66" fmla="*/ 335 w 458"/>
                  <a:gd name="T67" fmla="*/ 385 h 418"/>
                  <a:gd name="T68" fmla="*/ 305 w 458"/>
                  <a:gd name="T69" fmla="*/ 383 h 418"/>
                  <a:gd name="T70" fmla="*/ 293 w 458"/>
                  <a:gd name="T71" fmla="*/ 376 h 418"/>
                  <a:gd name="T72" fmla="*/ 283 w 458"/>
                  <a:gd name="T73" fmla="*/ 364 h 418"/>
                  <a:gd name="T74" fmla="*/ 279 w 458"/>
                  <a:gd name="T75" fmla="*/ 352 h 418"/>
                  <a:gd name="T76" fmla="*/ 432 w 458"/>
                  <a:gd name="T77" fmla="*/ 350 h 418"/>
                  <a:gd name="T78" fmla="*/ 442 w 458"/>
                  <a:gd name="T79" fmla="*/ 350 h 418"/>
                  <a:gd name="T80" fmla="*/ 451 w 458"/>
                  <a:gd name="T81" fmla="*/ 343 h 418"/>
                  <a:gd name="T82" fmla="*/ 456 w 458"/>
                  <a:gd name="T83" fmla="*/ 335 h 418"/>
                  <a:gd name="T84" fmla="*/ 458 w 458"/>
                  <a:gd name="T85" fmla="*/ 326 h 418"/>
                  <a:gd name="T86" fmla="*/ 458 w 458"/>
                  <a:gd name="T87" fmla="*/ 21 h 418"/>
                  <a:gd name="T88" fmla="*/ 416 w 458"/>
                  <a:gd name="T89" fmla="*/ 47 h 418"/>
                  <a:gd name="T90" fmla="*/ 416 w 458"/>
                  <a:gd name="T91" fmla="*/ 274 h 418"/>
                  <a:gd name="T92" fmla="*/ 414 w 458"/>
                  <a:gd name="T93" fmla="*/ 279 h 418"/>
                  <a:gd name="T94" fmla="*/ 47 w 458"/>
                  <a:gd name="T95" fmla="*/ 279 h 418"/>
                  <a:gd name="T96" fmla="*/ 42 w 458"/>
                  <a:gd name="T97" fmla="*/ 276 h 418"/>
                  <a:gd name="T98" fmla="*/ 42 w 458"/>
                  <a:gd name="T99" fmla="*/ 272 h 418"/>
                  <a:gd name="T100" fmla="*/ 42 w 458"/>
                  <a:gd name="T101" fmla="*/ 45 h 418"/>
                  <a:gd name="T102" fmla="*/ 44 w 458"/>
                  <a:gd name="T103" fmla="*/ 42 h 418"/>
                  <a:gd name="T104" fmla="*/ 411 w 458"/>
                  <a:gd name="T105" fmla="*/ 42 h 418"/>
                  <a:gd name="T106" fmla="*/ 416 w 458"/>
                  <a:gd name="T107" fmla="*/ 42 h 418"/>
                  <a:gd name="T108" fmla="*/ 416 w 458"/>
                  <a:gd name="T109" fmla="*/ 47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8" h="418">
                    <a:moveTo>
                      <a:pt x="456" y="16"/>
                    </a:moveTo>
                    <a:lnTo>
                      <a:pt x="454" y="12"/>
                    </a:lnTo>
                    <a:lnTo>
                      <a:pt x="451" y="7"/>
                    </a:lnTo>
                    <a:lnTo>
                      <a:pt x="447" y="4"/>
                    </a:lnTo>
                    <a:lnTo>
                      <a:pt x="442" y="2"/>
                    </a:lnTo>
                    <a:lnTo>
                      <a:pt x="437" y="0"/>
                    </a:lnTo>
                    <a:lnTo>
                      <a:pt x="432" y="0"/>
                    </a:lnTo>
                    <a:lnTo>
                      <a:pt x="26" y="0"/>
                    </a:lnTo>
                    <a:lnTo>
                      <a:pt x="18" y="0"/>
                    </a:lnTo>
                    <a:lnTo>
                      <a:pt x="14" y="2"/>
                    </a:lnTo>
                    <a:lnTo>
                      <a:pt x="11" y="4"/>
                    </a:lnTo>
                    <a:lnTo>
                      <a:pt x="7" y="7"/>
                    </a:lnTo>
                    <a:lnTo>
                      <a:pt x="4" y="12"/>
                    </a:lnTo>
                    <a:lnTo>
                      <a:pt x="2" y="16"/>
                    </a:lnTo>
                    <a:lnTo>
                      <a:pt x="0" y="21"/>
                    </a:lnTo>
                    <a:lnTo>
                      <a:pt x="0" y="26"/>
                    </a:lnTo>
                    <a:lnTo>
                      <a:pt x="0" y="326"/>
                    </a:lnTo>
                    <a:lnTo>
                      <a:pt x="0" y="331"/>
                    </a:lnTo>
                    <a:lnTo>
                      <a:pt x="2" y="335"/>
                    </a:lnTo>
                    <a:lnTo>
                      <a:pt x="4" y="340"/>
                    </a:lnTo>
                    <a:lnTo>
                      <a:pt x="7" y="343"/>
                    </a:lnTo>
                    <a:lnTo>
                      <a:pt x="11" y="347"/>
                    </a:lnTo>
                    <a:lnTo>
                      <a:pt x="14" y="350"/>
                    </a:lnTo>
                    <a:lnTo>
                      <a:pt x="18" y="350"/>
                    </a:lnTo>
                    <a:lnTo>
                      <a:pt x="26" y="350"/>
                    </a:lnTo>
                    <a:lnTo>
                      <a:pt x="177" y="350"/>
                    </a:lnTo>
                    <a:lnTo>
                      <a:pt x="177" y="352"/>
                    </a:lnTo>
                    <a:lnTo>
                      <a:pt x="175" y="357"/>
                    </a:lnTo>
                    <a:lnTo>
                      <a:pt x="175" y="364"/>
                    </a:lnTo>
                    <a:lnTo>
                      <a:pt x="170" y="371"/>
                    </a:lnTo>
                    <a:lnTo>
                      <a:pt x="165" y="376"/>
                    </a:lnTo>
                    <a:lnTo>
                      <a:pt x="160" y="380"/>
                    </a:lnTo>
                    <a:lnTo>
                      <a:pt x="153" y="383"/>
                    </a:lnTo>
                    <a:lnTo>
                      <a:pt x="144" y="385"/>
                    </a:lnTo>
                    <a:lnTo>
                      <a:pt x="123" y="385"/>
                    </a:lnTo>
                    <a:lnTo>
                      <a:pt x="118" y="385"/>
                    </a:lnTo>
                    <a:lnTo>
                      <a:pt x="113" y="385"/>
                    </a:lnTo>
                    <a:lnTo>
                      <a:pt x="111" y="387"/>
                    </a:lnTo>
                    <a:lnTo>
                      <a:pt x="108" y="390"/>
                    </a:lnTo>
                    <a:lnTo>
                      <a:pt x="106" y="392"/>
                    </a:lnTo>
                    <a:lnTo>
                      <a:pt x="104" y="395"/>
                    </a:lnTo>
                    <a:lnTo>
                      <a:pt x="104" y="397"/>
                    </a:lnTo>
                    <a:lnTo>
                      <a:pt x="104" y="402"/>
                    </a:lnTo>
                    <a:lnTo>
                      <a:pt x="104" y="406"/>
                    </a:lnTo>
                    <a:lnTo>
                      <a:pt x="104" y="409"/>
                    </a:lnTo>
                    <a:lnTo>
                      <a:pt x="106" y="411"/>
                    </a:lnTo>
                    <a:lnTo>
                      <a:pt x="108" y="413"/>
                    </a:lnTo>
                    <a:lnTo>
                      <a:pt x="111" y="416"/>
                    </a:lnTo>
                    <a:lnTo>
                      <a:pt x="113" y="418"/>
                    </a:lnTo>
                    <a:lnTo>
                      <a:pt x="118" y="418"/>
                    </a:lnTo>
                    <a:lnTo>
                      <a:pt x="123" y="418"/>
                    </a:lnTo>
                    <a:lnTo>
                      <a:pt x="335" y="418"/>
                    </a:lnTo>
                    <a:lnTo>
                      <a:pt x="340" y="418"/>
                    </a:lnTo>
                    <a:lnTo>
                      <a:pt x="343" y="418"/>
                    </a:lnTo>
                    <a:lnTo>
                      <a:pt x="345" y="416"/>
                    </a:lnTo>
                    <a:lnTo>
                      <a:pt x="347" y="413"/>
                    </a:lnTo>
                    <a:lnTo>
                      <a:pt x="352" y="411"/>
                    </a:lnTo>
                    <a:lnTo>
                      <a:pt x="352" y="409"/>
                    </a:lnTo>
                    <a:lnTo>
                      <a:pt x="354" y="406"/>
                    </a:lnTo>
                    <a:lnTo>
                      <a:pt x="354" y="402"/>
                    </a:lnTo>
                    <a:lnTo>
                      <a:pt x="354" y="397"/>
                    </a:lnTo>
                    <a:lnTo>
                      <a:pt x="352" y="395"/>
                    </a:lnTo>
                    <a:lnTo>
                      <a:pt x="352" y="392"/>
                    </a:lnTo>
                    <a:lnTo>
                      <a:pt x="347" y="390"/>
                    </a:lnTo>
                    <a:lnTo>
                      <a:pt x="345" y="387"/>
                    </a:lnTo>
                    <a:lnTo>
                      <a:pt x="343" y="385"/>
                    </a:lnTo>
                    <a:lnTo>
                      <a:pt x="340" y="385"/>
                    </a:lnTo>
                    <a:lnTo>
                      <a:pt x="335" y="385"/>
                    </a:lnTo>
                    <a:lnTo>
                      <a:pt x="314" y="385"/>
                    </a:lnTo>
                    <a:lnTo>
                      <a:pt x="305" y="383"/>
                    </a:lnTo>
                    <a:lnTo>
                      <a:pt x="298" y="380"/>
                    </a:lnTo>
                    <a:lnTo>
                      <a:pt x="293" y="376"/>
                    </a:lnTo>
                    <a:lnTo>
                      <a:pt x="286" y="371"/>
                    </a:lnTo>
                    <a:lnTo>
                      <a:pt x="283" y="364"/>
                    </a:lnTo>
                    <a:lnTo>
                      <a:pt x="281" y="357"/>
                    </a:lnTo>
                    <a:lnTo>
                      <a:pt x="279" y="352"/>
                    </a:lnTo>
                    <a:lnTo>
                      <a:pt x="279" y="350"/>
                    </a:lnTo>
                    <a:lnTo>
                      <a:pt x="432" y="350"/>
                    </a:lnTo>
                    <a:lnTo>
                      <a:pt x="437" y="350"/>
                    </a:lnTo>
                    <a:lnTo>
                      <a:pt x="442" y="350"/>
                    </a:lnTo>
                    <a:lnTo>
                      <a:pt x="447" y="347"/>
                    </a:lnTo>
                    <a:lnTo>
                      <a:pt x="451" y="343"/>
                    </a:lnTo>
                    <a:lnTo>
                      <a:pt x="454" y="340"/>
                    </a:lnTo>
                    <a:lnTo>
                      <a:pt x="456" y="335"/>
                    </a:lnTo>
                    <a:lnTo>
                      <a:pt x="458" y="331"/>
                    </a:lnTo>
                    <a:lnTo>
                      <a:pt x="458" y="326"/>
                    </a:lnTo>
                    <a:lnTo>
                      <a:pt x="458" y="26"/>
                    </a:lnTo>
                    <a:lnTo>
                      <a:pt x="458" y="21"/>
                    </a:lnTo>
                    <a:lnTo>
                      <a:pt x="456" y="16"/>
                    </a:lnTo>
                    <a:close/>
                    <a:moveTo>
                      <a:pt x="416" y="47"/>
                    </a:moveTo>
                    <a:lnTo>
                      <a:pt x="416" y="272"/>
                    </a:lnTo>
                    <a:lnTo>
                      <a:pt x="416" y="274"/>
                    </a:lnTo>
                    <a:lnTo>
                      <a:pt x="416" y="276"/>
                    </a:lnTo>
                    <a:lnTo>
                      <a:pt x="414" y="279"/>
                    </a:lnTo>
                    <a:lnTo>
                      <a:pt x="411" y="279"/>
                    </a:lnTo>
                    <a:lnTo>
                      <a:pt x="47" y="279"/>
                    </a:lnTo>
                    <a:lnTo>
                      <a:pt x="44" y="279"/>
                    </a:lnTo>
                    <a:lnTo>
                      <a:pt x="42" y="276"/>
                    </a:lnTo>
                    <a:lnTo>
                      <a:pt x="42" y="274"/>
                    </a:lnTo>
                    <a:lnTo>
                      <a:pt x="42" y="272"/>
                    </a:lnTo>
                    <a:lnTo>
                      <a:pt x="42" y="47"/>
                    </a:lnTo>
                    <a:lnTo>
                      <a:pt x="42" y="45"/>
                    </a:lnTo>
                    <a:lnTo>
                      <a:pt x="42" y="42"/>
                    </a:lnTo>
                    <a:lnTo>
                      <a:pt x="44" y="42"/>
                    </a:lnTo>
                    <a:lnTo>
                      <a:pt x="47" y="42"/>
                    </a:lnTo>
                    <a:lnTo>
                      <a:pt x="411" y="42"/>
                    </a:lnTo>
                    <a:lnTo>
                      <a:pt x="414" y="42"/>
                    </a:lnTo>
                    <a:lnTo>
                      <a:pt x="416" y="42"/>
                    </a:lnTo>
                    <a:lnTo>
                      <a:pt x="416" y="45"/>
                    </a:lnTo>
                    <a:lnTo>
                      <a:pt x="416" y="47"/>
                    </a:ln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sp>
        <p:nvSpPr>
          <p:cNvPr id="124" name="Freeform 277">
            <a:extLst>
              <a:ext uri="{FF2B5EF4-FFF2-40B4-BE49-F238E27FC236}">
                <a16:creationId xmlns:a16="http://schemas.microsoft.com/office/drawing/2014/main" id="{120980CB-4161-41CB-B77C-C23FAFEC1A83}"/>
              </a:ext>
            </a:extLst>
          </p:cNvPr>
          <p:cNvSpPr>
            <a:spLocks noEditPoints="1"/>
          </p:cNvSpPr>
          <p:nvPr/>
        </p:nvSpPr>
        <p:spPr bwMode="auto">
          <a:xfrm>
            <a:off x="3423822" y="2912147"/>
            <a:ext cx="199258" cy="199258"/>
          </a:xfrm>
          <a:prstGeom prst="donut">
            <a:avLst>
              <a:gd name="adj" fmla="val 11461"/>
            </a:avLst>
          </a:prstGeom>
          <a:solidFill>
            <a:srgbClr val="34B2DE"/>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nvGrpSpPr>
          <p:cNvPr id="182" name="Group 181">
            <a:extLst>
              <a:ext uri="{FF2B5EF4-FFF2-40B4-BE49-F238E27FC236}">
                <a16:creationId xmlns:a16="http://schemas.microsoft.com/office/drawing/2014/main" id="{FB434E19-3DFA-4952-99E7-527A7F8FF5EC}"/>
              </a:ext>
            </a:extLst>
          </p:cNvPr>
          <p:cNvGrpSpPr/>
          <p:nvPr/>
        </p:nvGrpSpPr>
        <p:grpSpPr>
          <a:xfrm>
            <a:off x="3472029" y="2187233"/>
            <a:ext cx="109757" cy="608101"/>
            <a:chOff x="1907205" y="2042614"/>
            <a:chExt cx="109757" cy="608101"/>
          </a:xfrm>
        </p:grpSpPr>
        <p:sp>
          <p:nvSpPr>
            <p:cNvPr id="183" name="Line 14">
              <a:extLst>
                <a:ext uri="{FF2B5EF4-FFF2-40B4-BE49-F238E27FC236}">
                  <a16:creationId xmlns:a16="http://schemas.microsoft.com/office/drawing/2014/main" id="{8FF41100-6014-41C2-B2E5-CE86E5FAA5DA}"/>
                </a:ext>
              </a:extLst>
            </p:cNvPr>
            <p:cNvSpPr>
              <a:spLocks noChangeShapeType="1"/>
            </p:cNvSpPr>
            <p:nvPr/>
          </p:nvSpPr>
          <p:spPr bwMode="auto">
            <a:xfrm flipV="1">
              <a:off x="1962084" y="2042614"/>
              <a:ext cx="0" cy="546756"/>
            </a:xfrm>
            <a:prstGeom prst="line">
              <a:avLst/>
            </a:prstGeom>
            <a:noFill/>
            <a:ln w="19050">
              <a:solidFill>
                <a:schemeClr val="tx1"/>
              </a:solidFill>
              <a:round/>
              <a:headEnd type="oval"/>
              <a:tailEnd/>
            </a:ln>
            <a:effectLst/>
          </p:spPr>
          <p:txBody>
            <a:bodyPr lIns="68589" tIns="34295" rIns="68589" bIns="34295"/>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84" name="Oval 13">
              <a:extLst>
                <a:ext uri="{FF2B5EF4-FFF2-40B4-BE49-F238E27FC236}">
                  <a16:creationId xmlns:a16="http://schemas.microsoft.com/office/drawing/2014/main" id="{DEE1E5B6-FC18-4B19-9AD0-ABF184940928}"/>
                </a:ext>
              </a:extLst>
            </p:cNvPr>
            <p:cNvSpPr>
              <a:spLocks noChangeArrowheads="1"/>
            </p:cNvSpPr>
            <p:nvPr/>
          </p:nvSpPr>
          <p:spPr bwMode="auto">
            <a:xfrm>
              <a:off x="1907205" y="2543559"/>
              <a:ext cx="109757" cy="107156"/>
            </a:xfrm>
            <a:prstGeom prst="ellipse">
              <a:avLst/>
            </a:prstGeom>
            <a:solidFill>
              <a:schemeClr val="tx1"/>
            </a:solidFill>
            <a:ln w="19050">
              <a:solidFill>
                <a:srgbClr val="FFFFFF"/>
              </a:solidFill>
              <a:round/>
              <a:headEnd/>
              <a:tailEnd/>
            </a:ln>
          </p:spPr>
          <p:txBody>
            <a:bodyPr wrap="none"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21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156" name="Group 4"/>
          <p:cNvGrpSpPr>
            <a:grpSpLocks noChangeAspect="1"/>
          </p:cNvGrpSpPr>
          <p:nvPr/>
        </p:nvGrpSpPr>
        <p:grpSpPr bwMode="auto">
          <a:xfrm>
            <a:off x="7255929" y="2843216"/>
            <a:ext cx="333034" cy="333034"/>
            <a:chOff x="2755" y="1684"/>
            <a:chExt cx="1808" cy="1808"/>
          </a:xfrm>
          <a:solidFill>
            <a:schemeClr val="bg2"/>
          </a:solidFill>
        </p:grpSpPr>
        <p:sp>
          <p:nvSpPr>
            <p:cNvPr id="215" name="Freeform 5"/>
            <p:cNvSpPr>
              <a:spLocks noEditPoints="1"/>
            </p:cNvSpPr>
            <p:nvPr/>
          </p:nvSpPr>
          <p:spPr bwMode="auto">
            <a:xfrm>
              <a:off x="2997" y="1848"/>
              <a:ext cx="1395" cy="1388"/>
            </a:xfrm>
            <a:custGeom>
              <a:avLst/>
              <a:gdLst>
                <a:gd name="T0" fmla="*/ 0 w 196"/>
                <a:gd name="T1" fmla="*/ 140 h 195"/>
                <a:gd name="T2" fmla="*/ 80 w 196"/>
                <a:gd name="T3" fmla="*/ 61 h 195"/>
                <a:gd name="T4" fmla="*/ 109 w 196"/>
                <a:gd name="T5" fmla="*/ 45 h 195"/>
                <a:gd name="T6" fmla="*/ 130 w 196"/>
                <a:gd name="T7" fmla="*/ 42 h 195"/>
                <a:gd name="T8" fmla="*/ 144 w 196"/>
                <a:gd name="T9" fmla="*/ 48 h 195"/>
                <a:gd name="T10" fmla="*/ 154 w 196"/>
                <a:gd name="T11" fmla="*/ 63 h 195"/>
                <a:gd name="T12" fmla="*/ 155 w 196"/>
                <a:gd name="T13" fmla="*/ 84 h 195"/>
                <a:gd name="T14" fmla="*/ 146 w 196"/>
                <a:gd name="T15" fmla="*/ 104 h 195"/>
                <a:gd name="T16" fmla="*/ 123 w 196"/>
                <a:gd name="T17" fmla="*/ 125 h 195"/>
                <a:gd name="T18" fmla="*/ 106 w 196"/>
                <a:gd name="T19" fmla="*/ 131 h 195"/>
                <a:gd name="T20" fmla="*/ 86 w 196"/>
                <a:gd name="T21" fmla="*/ 127 h 195"/>
                <a:gd name="T22" fmla="*/ 80 w 196"/>
                <a:gd name="T23" fmla="*/ 121 h 195"/>
                <a:gd name="T24" fmla="*/ 102 w 196"/>
                <a:gd name="T25" fmla="*/ 125 h 195"/>
                <a:gd name="T26" fmla="*/ 124 w 196"/>
                <a:gd name="T27" fmla="*/ 117 h 195"/>
                <a:gd name="T28" fmla="*/ 141 w 196"/>
                <a:gd name="T29" fmla="*/ 101 h 195"/>
                <a:gd name="T30" fmla="*/ 149 w 196"/>
                <a:gd name="T31" fmla="*/ 84 h 195"/>
                <a:gd name="T32" fmla="*/ 148 w 196"/>
                <a:gd name="T33" fmla="*/ 65 h 195"/>
                <a:gd name="T34" fmla="*/ 135 w 196"/>
                <a:gd name="T35" fmla="*/ 50 h 195"/>
                <a:gd name="T36" fmla="*/ 118 w 196"/>
                <a:gd name="T37" fmla="*/ 49 h 195"/>
                <a:gd name="T38" fmla="*/ 86 w 196"/>
                <a:gd name="T39" fmla="*/ 62 h 195"/>
                <a:gd name="T40" fmla="*/ 79 w 196"/>
                <a:gd name="T41" fmla="*/ 69 h 195"/>
                <a:gd name="T42" fmla="*/ 109 w 196"/>
                <a:gd name="T43" fmla="*/ 56 h 195"/>
                <a:gd name="T44" fmla="*/ 125 w 196"/>
                <a:gd name="T45" fmla="*/ 54 h 195"/>
                <a:gd name="T46" fmla="*/ 140 w 196"/>
                <a:gd name="T47" fmla="*/ 64 h 195"/>
                <a:gd name="T48" fmla="*/ 144 w 196"/>
                <a:gd name="T49" fmla="*/ 77 h 195"/>
                <a:gd name="T50" fmla="*/ 141 w 196"/>
                <a:gd name="T51" fmla="*/ 92 h 195"/>
                <a:gd name="T52" fmla="*/ 130 w 196"/>
                <a:gd name="T53" fmla="*/ 106 h 195"/>
                <a:gd name="T54" fmla="*/ 111 w 196"/>
                <a:gd name="T55" fmla="*/ 117 h 195"/>
                <a:gd name="T56" fmla="*/ 88 w 196"/>
                <a:gd name="T57" fmla="*/ 117 h 195"/>
                <a:gd name="T58" fmla="*/ 69 w 196"/>
                <a:gd name="T59" fmla="*/ 108 h 195"/>
                <a:gd name="T60" fmla="*/ 88 w 196"/>
                <a:gd name="T61" fmla="*/ 111 h 195"/>
                <a:gd name="T62" fmla="*/ 107 w 196"/>
                <a:gd name="T63" fmla="*/ 111 h 195"/>
                <a:gd name="T64" fmla="*/ 124 w 196"/>
                <a:gd name="T65" fmla="*/ 103 h 195"/>
                <a:gd name="T66" fmla="*/ 134 w 196"/>
                <a:gd name="T67" fmla="*/ 91 h 195"/>
                <a:gd name="T68" fmla="*/ 138 w 196"/>
                <a:gd name="T69" fmla="*/ 80 h 195"/>
                <a:gd name="T70" fmla="*/ 136 w 196"/>
                <a:gd name="T71" fmla="*/ 69 h 195"/>
                <a:gd name="T72" fmla="*/ 126 w 196"/>
                <a:gd name="T73" fmla="*/ 60 h 195"/>
                <a:gd name="T74" fmla="*/ 114 w 196"/>
                <a:gd name="T75" fmla="*/ 61 h 195"/>
                <a:gd name="T76" fmla="*/ 81 w 196"/>
                <a:gd name="T77" fmla="*/ 75 h 195"/>
                <a:gd name="T78" fmla="*/ 98 w 196"/>
                <a:gd name="T79" fmla="*/ 99 h 195"/>
                <a:gd name="T80" fmla="*/ 111 w 196"/>
                <a:gd name="T81" fmla="*/ 97 h 195"/>
                <a:gd name="T82" fmla="*/ 121 w 196"/>
                <a:gd name="T83" fmla="*/ 89 h 195"/>
                <a:gd name="T84" fmla="*/ 126 w 196"/>
                <a:gd name="T85" fmla="*/ 80 h 195"/>
                <a:gd name="T86" fmla="*/ 122 w 196"/>
                <a:gd name="T87" fmla="*/ 74 h 195"/>
                <a:gd name="T88" fmla="*/ 110 w 196"/>
                <a:gd name="T89" fmla="*/ 75 h 195"/>
                <a:gd name="T90" fmla="*/ 78 w 196"/>
                <a:gd name="T91" fmla="*/ 86 h 195"/>
                <a:gd name="T92" fmla="*/ 83 w 196"/>
                <a:gd name="T93" fmla="*/ 79 h 195"/>
                <a:gd name="T94" fmla="*/ 114 w 196"/>
                <a:gd name="T95" fmla="*/ 68 h 195"/>
                <a:gd name="T96" fmla="*/ 126 w 196"/>
                <a:gd name="T97" fmla="*/ 69 h 195"/>
                <a:gd name="T98" fmla="*/ 132 w 196"/>
                <a:gd name="T99" fmla="*/ 80 h 195"/>
                <a:gd name="T100" fmla="*/ 125 w 196"/>
                <a:gd name="T101" fmla="*/ 94 h 195"/>
                <a:gd name="T102" fmla="*/ 112 w 196"/>
                <a:gd name="T103" fmla="*/ 103 h 195"/>
                <a:gd name="T104" fmla="*/ 95 w 196"/>
                <a:gd name="T105" fmla="*/ 106 h 195"/>
                <a:gd name="T106" fmla="*/ 73 w 196"/>
                <a:gd name="T107" fmla="*/ 100 h 195"/>
                <a:gd name="T108" fmla="*/ 77 w 196"/>
                <a:gd name="T109" fmla="*/ 93 h 195"/>
                <a:gd name="T110" fmla="*/ 95 w 196"/>
                <a:gd name="T111" fmla="*/ 89 h 195"/>
                <a:gd name="T112" fmla="*/ 113 w 196"/>
                <a:gd name="T113" fmla="*/ 79 h 195"/>
                <a:gd name="T114" fmla="*/ 119 w 196"/>
                <a:gd name="T115" fmla="*/ 83 h 195"/>
                <a:gd name="T116" fmla="*/ 111 w 196"/>
                <a:gd name="T117" fmla="*/ 91 h 195"/>
                <a:gd name="T118" fmla="*/ 91 w 196"/>
                <a:gd name="T119" fmla="*/ 9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6" h="195">
                  <a:moveTo>
                    <a:pt x="55" y="195"/>
                  </a:moveTo>
                  <a:cubicBezTo>
                    <a:pt x="65" y="195"/>
                    <a:pt x="75" y="194"/>
                    <a:pt x="83" y="192"/>
                  </a:cubicBezTo>
                  <a:cubicBezTo>
                    <a:pt x="87" y="190"/>
                    <a:pt x="89" y="190"/>
                    <a:pt x="91" y="188"/>
                  </a:cubicBezTo>
                  <a:cubicBezTo>
                    <a:pt x="186" y="93"/>
                    <a:pt x="186" y="93"/>
                    <a:pt x="186" y="93"/>
                  </a:cubicBezTo>
                  <a:cubicBezTo>
                    <a:pt x="196" y="83"/>
                    <a:pt x="195" y="68"/>
                    <a:pt x="185" y="59"/>
                  </a:cubicBezTo>
                  <a:cubicBezTo>
                    <a:pt x="185" y="59"/>
                    <a:pt x="185" y="59"/>
                    <a:pt x="161" y="35"/>
                  </a:cubicBezTo>
                  <a:cubicBezTo>
                    <a:pt x="161" y="35"/>
                    <a:pt x="161" y="35"/>
                    <a:pt x="161" y="35"/>
                  </a:cubicBezTo>
                  <a:cubicBezTo>
                    <a:pt x="137" y="11"/>
                    <a:pt x="136" y="10"/>
                    <a:pt x="136" y="10"/>
                  </a:cubicBezTo>
                  <a:cubicBezTo>
                    <a:pt x="127" y="0"/>
                    <a:pt x="112" y="0"/>
                    <a:pt x="102" y="9"/>
                  </a:cubicBezTo>
                  <a:cubicBezTo>
                    <a:pt x="7" y="104"/>
                    <a:pt x="7" y="104"/>
                    <a:pt x="7" y="104"/>
                  </a:cubicBezTo>
                  <a:cubicBezTo>
                    <a:pt x="5" y="106"/>
                    <a:pt x="5" y="108"/>
                    <a:pt x="4" y="113"/>
                  </a:cubicBezTo>
                  <a:cubicBezTo>
                    <a:pt x="2" y="120"/>
                    <a:pt x="1" y="131"/>
                    <a:pt x="0" y="140"/>
                  </a:cubicBezTo>
                  <a:cubicBezTo>
                    <a:pt x="0" y="142"/>
                    <a:pt x="1" y="146"/>
                    <a:pt x="2" y="147"/>
                  </a:cubicBezTo>
                  <a:cubicBezTo>
                    <a:pt x="2" y="147"/>
                    <a:pt x="6" y="151"/>
                    <a:pt x="10" y="156"/>
                  </a:cubicBezTo>
                  <a:cubicBezTo>
                    <a:pt x="15" y="151"/>
                    <a:pt x="20" y="147"/>
                    <a:pt x="27" y="144"/>
                  </a:cubicBezTo>
                  <a:cubicBezTo>
                    <a:pt x="27" y="143"/>
                    <a:pt x="27" y="143"/>
                    <a:pt x="28" y="143"/>
                  </a:cubicBezTo>
                  <a:cubicBezTo>
                    <a:pt x="35" y="135"/>
                    <a:pt x="46" y="135"/>
                    <a:pt x="53" y="143"/>
                  </a:cubicBezTo>
                  <a:cubicBezTo>
                    <a:pt x="60" y="150"/>
                    <a:pt x="60" y="161"/>
                    <a:pt x="53" y="168"/>
                  </a:cubicBezTo>
                  <a:cubicBezTo>
                    <a:pt x="49" y="173"/>
                    <a:pt x="43" y="174"/>
                    <a:pt x="37" y="173"/>
                  </a:cubicBezTo>
                  <a:cubicBezTo>
                    <a:pt x="35" y="174"/>
                    <a:pt x="34" y="176"/>
                    <a:pt x="32" y="178"/>
                  </a:cubicBezTo>
                  <a:cubicBezTo>
                    <a:pt x="38" y="184"/>
                    <a:pt x="48" y="193"/>
                    <a:pt x="48" y="193"/>
                  </a:cubicBezTo>
                  <a:cubicBezTo>
                    <a:pt x="50" y="195"/>
                    <a:pt x="53" y="195"/>
                    <a:pt x="55" y="195"/>
                  </a:cubicBezTo>
                  <a:close/>
                  <a:moveTo>
                    <a:pt x="79" y="63"/>
                  </a:moveTo>
                  <a:cubicBezTo>
                    <a:pt x="80" y="61"/>
                    <a:pt x="80" y="61"/>
                    <a:pt x="80" y="61"/>
                  </a:cubicBezTo>
                  <a:cubicBezTo>
                    <a:pt x="81" y="59"/>
                    <a:pt x="81" y="59"/>
                    <a:pt x="81" y="59"/>
                  </a:cubicBezTo>
                  <a:cubicBezTo>
                    <a:pt x="83" y="58"/>
                    <a:pt x="83" y="58"/>
                    <a:pt x="83" y="58"/>
                  </a:cubicBezTo>
                  <a:cubicBezTo>
                    <a:pt x="84" y="57"/>
                    <a:pt x="84" y="57"/>
                    <a:pt x="84" y="57"/>
                  </a:cubicBezTo>
                  <a:cubicBezTo>
                    <a:pt x="85" y="56"/>
                    <a:pt x="85" y="56"/>
                    <a:pt x="85" y="56"/>
                  </a:cubicBezTo>
                  <a:cubicBezTo>
                    <a:pt x="87" y="55"/>
                    <a:pt x="87" y="55"/>
                    <a:pt x="87" y="55"/>
                  </a:cubicBezTo>
                  <a:cubicBezTo>
                    <a:pt x="90" y="54"/>
                    <a:pt x="90" y="54"/>
                    <a:pt x="90" y="54"/>
                  </a:cubicBezTo>
                  <a:cubicBezTo>
                    <a:pt x="95" y="51"/>
                    <a:pt x="95" y="51"/>
                    <a:pt x="95" y="51"/>
                  </a:cubicBezTo>
                  <a:cubicBezTo>
                    <a:pt x="98" y="50"/>
                    <a:pt x="98" y="50"/>
                    <a:pt x="98" y="50"/>
                  </a:cubicBezTo>
                  <a:cubicBezTo>
                    <a:pt x="102" y="48"/>
                    <a:pt x="102" y="48"/>
                    <a:pt x="102" y="48"/>
                  </a:cubicBezTo>
                  <a:cubicBezTo>
                    <a:pt x="105" y="47"/>
                    <a:pt x="105" y="47"/>
                    <a:pt x="105" y="47"/>
                  </a:cubicBezTo>
                  <a:cubicBezTo>
                    <a:pt x="107" y="46"/>
                    <a:pt x="107" y="46"/>
                    <a:pt x="107" y="46"/>
                  </a:cubicBezTo>
                  <a:cubicBezTo>
                    <a:pt x="109" y="45"/>
                    <a:pt x="109" y="45"/>
                    <a:pt x="109" y="45"/>
                  </a:cubicBezTo>
                  <a:cubicBezTo>
                    <a:pt x="111" y="45"/>
                    <a:pt x="111" y="45"/>
                    <a:pt x="111" y="45"/>
                  </a:cubicBezTo>
                  <a:cubicBezTo>
                    <a:pt x="112" y="44"/>
                    <a:pt x="112" y="44"/>
                    <a:pt x="112" y="44"/>
                  </a:cubicBezTo>
                  <a:cubicBezTo>
                    <a:pt x="114" y="44"/>
                    <a:pt x="114" y="44"/>
                    <a:pt x="114" y="44"/>
                  </a:cubicBezTo>
                  <a:cubicBezTo>
                    <a:pt x="116" y="43"/>
                    <a:pt x="116" y="43"/>
                    <a:pt x="116" y="43"/>
                  </a:cubicBezTo>
                  <a:cubicBezTo>
                    <a:pt x="118" y="43"/>
                    <a:pt x="118" y="43"/>
                    <a:pt x="118" y="43"/>
                  </a:cubicBezTo>
                  <a:cubicBezTo>
                    <a:pt x="119" y="42"/>
                    <a:pt x="119" y="42"/>
                    <a:pt x="119" y="42"/>
                  </a:cubicBezTo>
                  <a:cubicBezTo>
                    <a:pt x="121" y="42"/>
                    <a:pt x="121" y="42"/>
                    <a:pt x="121" y="42"/>
                  </a:cubicBezTo>
                  <a:cubicBezTo>
                    <a:pt x="123" y="42"/>
                    <a:pt x="123" y="42"/>
                    <a:pt x="123" y="42"/>
                  </a:cubicBezTo>
                  <a:cubicBezTo>
                    <a:pt x="125" y="42"/>
                    <a:pt x="125" y="42"/>
                    <a:pt x="125" y="42"/>
                  </a:cubicBezTo>
                  <a:cubicBezTo>
                    <a:pt x="126" y="42"/>
                    <a:pt x="126" y="42"/>
                    <a:pt x="126" y="42"/>
                  </a:cubicBezTo>
                  <a:cubicBezTo>
                    <a:pt x="128" y="42"/>
                    <a:pt x="128" y="42"/>
                    <a:pt x="128" y="42"/>
                  </a:cubicBezTo>
                  <a:cubicBezTo>
                    <a:pt x="130" y="42"/>
                    <a:pt x="130" y="42"/>
                    <a:pt x="130" y="42"/>
                  </a:cubicBezTo>
                  <a:cubicBezTo>
                    <a:pt x="132" y="42"/>
                    <a:pt x="132" y="42"/>
                    <a:pt x="132" y="42"/>
                  </a:cubicBezTo>
                  <a:cubicBezTo>
                    <a:pt x="133" y="43"/>
                    <a:pt x="133" y="43"/>
                    <a:pt x="133" y="43"/>
                  </a:cubicBezTo>
                  <a:cubicBezTo>
                    <a:pt x="135" y="43"/>
                    <a:pt x="135" y="43"/>
                    <a:pt x="135" y="43"/>
                  </a:cubicBezTo>
                  <a:cubicBezTo>
                    <a:pt x="137" y="44"/>
                    <a:pt x="137" y="44"/>
                    <a:pt x="137" y="44"/>
                  </a:cubicBezTo>
                  <a:cubicBezTo>
                    <a:pt x="138" y="45"/>
                    <a:pt x="138" y="45"/>
                    <a:pt x="138" y="45"/>
                  </a:cubicBezTo>
                  <a:cubicBezTo>
                    <a:pt x="139" y="45"/>
                    <a:pt x="139" y="45"/>
                    <a:pt x="139" y="45"/>
                  </a:cubicBezTo>
                  <a:cubicBezTo>
                    <a:pt x="140" y="46"/>
                    <a:pt x="140" y="46"/>
                    <a:pt x="140" y="46"/>
                  </a:cubicBezTo>
                  <a:cubicBezTo>
                    <a:pt x="141" y="46"/>
                    <a:pt x="141" y="46"/>
                    <a:pt x="141" y="46"/>
                  </a:cubicBezTo>
                  <a:cubicBezTo>
                    <a:pt x="141" y="47"/>
                    <a:pt x="141" y="47"/>
                    <a:pt x="141" y="47"/>
                  </a:cubicBezTo>
                  <a:cubicBezTo>
                    <a:pt x="142" y="47"/>
                    <a:pt x="142" y="47"/>
                    <a:pt x="142" y="47"/>
                  </a:cubicBezTo>
                  <a:cubicBezTo>
                    <a:pt x="143" y="48"/>
                    <a:pt x="143" y="48"/>
                    <a:pt x="143" y="48"/>
                  </a:cubicBezTo>
                  <a:cubicBezTo>
                    <a:pt x="144" y="48"/>
                    <a:pt x="144" y="48"/>
                    <a:pt x="144" y="48"/>
                  </a:cubicBezTo>
                  <a:cubicBezTo>
                    <a:pt x="144" y="49"/>
                    <a:pt x="144" y="49"/>
                    <a:pt x="144" y="49"/>
                  </a:cubicBezTo>
                  <a:cubicBezTo>
                    <a:pt x="145" y="50"/>
                    <a:pt x="145" y="50"/>
                    <a:pt x="145" y="50"/>
                  </a:cubicBezTo>
                  <a:cubicBezTo>
                    <a:pt x="146" y="51"/>
                    <a:pt x="146" y="51"/>
                    <a:pt x="146" y="51"/>
                  </a:cubicBezTo>
                  <a:cubicBezTo>
                    <a:pt x="147" y="51"/>
                    <a:pt x="147" y="51"/>
                    <a:pt x="147" y="51"/>
                  </a:cubicBezTo>
                  <a:cubicBezTo>
                    <a:pt x="147" y="52"/>
                    <a:pt x="147" y="52"/>
                    <a:pt x="147" y="52"/>
                  </a:cubicBezTo>
                  <a:cubicBezTo>
                    <a:pt x="148" y="53"/>
                    <a:pt x="148" y="53"/>
                    <a:pt x="148" y="53"/>
                  </a:cubicBezTo>
                  <a:cubicBezTo>
                    <a:pt x="149" y="54"/>
                    <a:pt x="149" y="54"/>
                    <a:pt x="149" y="54"/>
                  </a:cubicBezTo>
                  <a:cubicBezTo>
                    <a:pt x="150" y="56"/>
                    <a:pt x="150" y="56"/>
                    <a:pt x="150" y="56"/>
                  </a:cubicBezTo>
                  <a:cubicBezTo>
                    <a:pt x="151" y="57"/>
                    <a:pt x="151" y="57"/>
                    <a:pt x="151" y="57"/>
                  </a:cubicBezTo>
                  <a:cubicBezTo>
                    <a:pt x="152" y="59"/>
                    <a:pt x="152" y="59"/>
                    <a:pt x="152" y="59"/>
                  </a:cubicBezTo>
                  <a:cubicBezTo>
                    <a:pt x="153" y="61"/>
                    <a:pt x="153" y="61"/>
                    <a:pt x="153" y="61"/>
                  </a:cubicBezTo>
                  <a:cubicBezTo>
                    <a:pt x="154" y="63"/>
                    <a:pt x="154" y="63"/>
                    <a:pt x="154" y="63"/>
                  </a:cubicBezTo>
                  <a:cubicBezTo>
                    <a:pt x="154" y="65"/>
                    <a:pt x="154" y="65"/>
                    <a:pt x="154" y="65"/>
                  </a:cubicBezTo>
                  <a:cubicBezTo>
                    <a:pt x="155" y="66"/>
                    <a:pt x="155" y="66"/>
                    <a:pt x="155" y="66"/>
                  </a:cubicBezTo>
                  <a:cubicBezTo>
                    <a:pt x="155" y="68"/>
                    <a:pt x="155" y="68"/>
                    <a:pt x="155" y="68"/>
                  </a:cubicBezTo>
                  <a:cubicBezTo>
                    <a:pt x="156" y="70"/>
                    <a:pt x="156" y="70"/>
                    <a:pt x="156" y="70"/>
                  </a:cubicBezTo>
                  <a:cubicBezTo>
                    <a:pt x="156" y="72"/>
                    <a:pt x="156" y="72"/>
                    <a:pt x="156" y="72"/>
                  </a:cubicBezTo>
                  <a:cubicBezTo>
                    <a:pt x="156" y="74"/>
                    <a:pt x="156" y="74"/>
                    <a:pt x="156" y="74"/>
                  </a:cubicBezTo>
                  <a:cubicBezTo>
                    <a:pt x="156" y="76"/>
                    <a:pt x="156" y="76"/>
                    <a:pt x="156" y="76"/>
                  </a:cubicBezTo>
                  <a:cubicBezTo>
                    <a:pt x="156" y="77"/>
                    <a:pt x="156" y="77"/>
                    <a:pt x="156" y="77"/>
                  </a:cubicBezTo>
                  <a:cubicBezTo>
                    <a:pt x="156" y="79"/>
                    <a:pt x="156" y="79"/>
                    <a:pt x="156" y="79"/>
                  </a:cubicBezTo>
                  <a:cubicBezTo>
                    <a:pt x="156" y="81"/>
                    <a:pt x="156" y="81"/>
                    <a:pt x="156" y="81"/>
                  </a:cubicBezTo>
                  <a:cubicBezTo>
                    <a:pt x="155" y="83"/>
                    <a:pt x="155" y="83"/>
                    <a:pt x="155" y="83"/>
                  </a:cubicBezTo>
                  <a:cubicBezTo>
                    <a:pt x="155" y="84"/>
                    <a:pt x="155" y="84"/>
                    <a:pt x="155" y="84"/>
                  </a:cubicBezTo>
                  <a:cubicBezTo>
                    <a:pt x="155" y="86"/>
                    <a:pt x="155" y="86"/>
                    <a:pt x="155" y="86"/>
                  </a:cubicBezTo>
                  <a:cubicBezTo>
                    <a:pt x="154" y="88"/>
                    <a:pt x="154" y="88"/>
                    <a:pt x="154" y="88"/>
                  </a:cubicBezTo>
                  <a:cubicBezTo>
                    <a:pt x="154" y="90"/>
                    <a:pt x="154" y="90"/>
                    <a:pt x="154" y="90"/>
                  </a:cubicBezTo>
                  <a:cubicBezTo>
                    <a:pt x="153" y="91"/>
                    <a:pt x="153" y="91"/>
                    <a:pt x="153" y="91"/>
                  </a:cubicBezTo>
                  <a:cubicBezTo>
                    <a:pt x="152" y="93"/>
                    <a:pt x="152" y="93"/>
                    <a:pt x="152" y="93"/>
                  </a:cubicBezTo>
                  <a:cubicBezTo>
                    <a:pt x="151" y="95"/>
                    <a:pt x="151" y="95"/>
                    <a:pt x="151" y="95"/>
                  </a:cubicBezTo>
                  <a:cubicBezTo>
                    <a:pt x="151" y="96"/>
                    <a:pt x="151" y="96"/>
                    <a:pt x="151" y="96"/>
                  </a:cubicBezTo>
                  <a:cubicBezTo>
                    <a:pt x="150" y="98"/>
                    <a:pt x="150" y="98"/>
                    <a:pt x="150" y="98"/>
                  </a:cubicBezTo>
                  <a:cubicBezTo>
                    <a:pt x="149" y="100"/>
                    <a:pt x="149" y="100"/>
                    <a:pt x="149" y="100"/>
                  </a:cubicBezTo>
                  <a:cubicBezTo>
                    <a:pt x="148" y="101"/>
                    <a:pt x="148" y="101"/>
                    <a:pt x="148" y="101"/>
                  </a:cubicBezTo>
                  <a:cubicBezTo>
                    <a:pt x="147" y="103"/>
                    <a:pt x="147" y="103"/>
                    <a:pt x="147" y="103"/>
                  </a:cubicBezTo>
                  <a:cubicBezTo>
                    <a:pt x="146" y="104"/>
                    <a:pt x="146" y="104"/>
                    <a:pt x="146" y="104"/>
                  </a:cubicBezTo>
                  <a:cubicBezTo>
                    <a:pt x="145" y="106"/>
                    <a:pt x="145" y="106"/>
                    <a:pt x="145" y="106"/>
                  </a:cubicBezTo>
                  <a:cubicBezTo>
                    <a:pt x="144" y="107"/>
                    <a:pt x="144" y="107"/>
                    <a:pt x="144" y="107"/>
                  </a:cubicBezTo>
                  <a:cubicBezTo>
                    <a:pt x="143" y="109"/>
                    <a:pt x="143" y="109"/>
                    <a:pt x="143" y="109"/>
                  </a:cubicBezTo>
                  <a:cubicBezTo>
                    <a:pt x="141" y="111"/>
                    <a:pt x="141" y="111"/>
                    <a:pt x="141" y="111"/>
                  </a:cubicBezTo>
                  <a:cubicBezTo>
                    <a:pt x="139" y="113"/>
                    <a:pt x="139" y="113"/>
                    <a:pt x="139" y="113"/>
                  </a:cubicBezTo>
                  <a:cubicBezTo>
                    <a:pt x="137" y="115"/>
                    <a:pt x="137" y="115"/>
                    <a:pt x="137" y="115"/>
                  </a:cubicBezTo>
                  <a:cubicBezTo>
                    <a:pt x="135" y="116"/>
                    <a:pt x="135" y="116"/>
                    <a:pt x="135" y="116"/>
                  </a:cubicBezTo>
                  <a:cubicBezTo>
                    <a:pt x="133" y="118"/>
                    <a:pt x="133" y="118"/>
                    <a:pt x="133" y="118"/>
                  </a:cubicBezTo>
                  <a:cubicBezTo>
                    <a:pt x="130" y="120"/>
                    <a:pt x="130" y="120"/>
                    <a:pt x="130" y="120"/>
                  </a:cubicBezTo>
                  <a:cubicBezTo>
                    <a:pt x="128" y="122"/>
                    <a:pt x="128" y="122"/>
                    <a:pt x="128" y="122"/>
                  </a:cubicBezTo>
                  <a:cubicBezTo>
                    <a:pt x="125" y="123"/>
                    <a:pt x="125" y="123"/>
                    <a:pt x="125" y="123"/>
                  </a:cubicBezTo>
                  <a:cubicBezTo>
                    <a:pt x="123" y="125"/>
                    <a:pt x="123" y="125"/>
                    <a:pt x="123" y="125"/>
                  </a:cubicBezTo>
                  <a:cubicBezTo>
                    <a:pt x="121" y="126"/>
                    <a:pt x="121" y="126"/>
                    <a:pt x="121" y="126"/>
                  </a:cubicBezTo>
                  <a:cubicBezTo>
                    <a:pt x="119" y="127"/>
                    <a:pt x="119" y="127"/>
                    <a:pt x="119" y="127"/>
                  </a:cubicBezTo>
                  <a:cubicBezTo>
                    <a:pt x="118" y="127"/>
                    <a:pt x="118" y="127"/>
                    <a:pt x="118" y="127"/>
                  </a:cubicBezTo>
                  <a:cubicBezTo>
                    <a:pt x="117" y="128"/>
                    <a:pt x="117" y="128"/>
                    <a:pt x="117" y="128"/>
                  </a:cubicBezTo>
                  <a:cubicBezTo>
                    <a:pt x="115" y="128"/>
                    <a:pt x="115" y="128"/>
                    <a:pt x="115" y="128"/>
                  </a:cubicBezTo>
                  <a:cubicBezTo>
                    <a:pt x="114" y="129"/>
                    <a:pt x="114" y="129"/>
                    <a:pt x="114" y="129"/>
                  </a:cubicBezTo>
                  <a:cubicBezTo>
                    <a:pt x="113" y="129"/>
                    <a:pt x="113" y="129"/>
                    <a:pt x="113" y="129"/>
                  </a:cubicBezTo>
                  <a:cubicBezTo>
                    <a:pt x="111" y="130"/>
                    <a:pt x="111" y="130"/>
                    <a:pt x="111" y="130"/>
                  </a:cubicBezTo>
                  <a:cubicBezTo>
                    <a:pt x="110" y="130"/>
                    <a:pt x="110" y="130"/>
                    <a:pt x="110" y="130"/>
                  </a:cubicBezTo>
                  <a:cubicBezTo>
                    <a:pt x="108" y="130"/>
                    <a:pt x="108" y="130"/>
                    <a:pt x="108" y="130"/>
                  </a:cubicBezTo>
                  <a:cubicBezTo>
                    <a:pt x="107" y="131"/>
                    <a:pt x="107" y="131"/>
                    <a:pt x="107" y="131"/>
                  </a:cubicBezTo>
                  <a:cubicBezTo>
                    <a:pt x="106" y="131"/>
                    <a:pt x="106" y="131"/>
                    <a:pt x="106" y="131"/>
                  </a:cubicBezTo>
                  <a:cubicBezTo>
                    <a:pt x="104" y="131"/>
                    <a:pt x="104" y="131"/>
                    <a:pt x="104" y="131"/>
                  </a:cubicBezTo>
                  <a:cubicBezTo>
                    <a:pt x="103" y="131"/>
                    <a:pt x="103" y="131"/>
                    <a:pt x="103" y="131"/>
                  </a:cubicBezTo>
                  <a:cubicBezTo>
                    <a:pt x="101" y="131"/>
                    <a:pt x="101" y="131"/>
                    <a:pt x="101" y="131"/>
                  </a:cubicBezTo>
                  <a:cubicBezTo>
                    <a:pt x="99" y="131"/>
                    <a:pt x="99" y="131"/>
                    <a:pt x="99" y="131"/>
                  </a:cubicBezTo>
                  <a:cubicBezTo>
                    <a:pt x="97" y="131"/>
                    <a:pt x="97" y="131"/>
                    <a:pt x="97" y="131"/>
                  </a:cubicBezTo>
                  <a:cubicBezTo>
                    <a:pt x="95" y="131"/>
                    <a:pt x="95" y="131"/>
                    <a:pt x="95" y="131"/>
                  </a:cubicBezTo>
                  <a:cubicBezTo>
                    <a:pt x="94" y="130"/>
                    <a:pt x="94" y="130"/>
                    <a:pt x="94" y="130"/>
                  </a:cubicBezTo>
                  <a:cubicBezTo>
                    <a:pt x="92" y="130"/>
                    <a:pt x="92" y="130"/>
                    <a:pt x="92" y="130"/>
                  </a:cubicBezTo>
                  <a:cubicBezTo>
                    <a:pt x="90" y="129"/>
                    <a:pt x="90" y="129"/>
                    <a:pt x="90" y="129"/>
                  </a:cubicBezTo>
                  <a:cubicBezTo>
                    <a:pt x="89" y="129"/>
                    <a:pt x="89" y="129"/>
                    <a:pt x="89" y="129"/>
                  </a:cubicBezTo>
                  <a:cubicBezTo>
                    <a:pt x="87" y="128"/>
                    <a:pt x="87" y="128"/>
                    <a:pt x="87" y="128"/>
                  </a:cubicBezTo>
                  <a:cubicBezTo>
                    <a:pt x="86" y="127"/>
                    <a:pt x="86" y="127"/>
                    <a:pt x="86" y="127"/>
                  </a:cubicBezTo>
                  <a:cubicBezTo>
                    <a:pt x="84" y="127"/>
                    <a:pt x="84" y="127"/>
                    <a:pt x="84" y="127"/>
                  </a:cubicBezTo>
                  <a:cubicBezTo>
                    <a:pt x="83" y="126"/>
                    <a:pt x="83" y="126"/>
                    <a:pt x="83" y="126"/>
                  </a:cubicBezTo>
                  <a:cubicBezTo>
                    <a:pt x="81" y="125"/>
                    <a:pt x="81" y="125"/>
                    <a:pt x="81" y="125"/>
                  </a:cubicBezTo>
                  <a:cubicBezTo>
                    <a:pt x="80" y="124"/>
                    <a:pt x="80" y="124"/>
                    <a:pt x="80" y="124"/>
                  </a:cubicBezTo>
                  <a:cubicBezTo>
                    <a:pt x="79" y="122"/>
                    <a:pt x="79" y="122"/>
                    <a:pt x="79" y="122"/>
                  </a:cubicBezTo>
                  <a:cubicBezTo>
                    <a:pt x="78" y="122"/>
                    <a:pt x="78" y="122"/>
                    <a:pt x="78" y="122"/>
                  </a:cubicBezTo>
                  <a:cubicBezTo>
                    <a:pt x="77" y="121"/>
                    <a:pt x="77" y="121"/>
                    <a:pt x="77" y="121"/>
                  </a:cubicBezTo>
                  <a:cubicBezTo>
                    <a:pt x="76" y="120"/>
                    <a:pt x="76" y="120"/>
                    <a:pt x="76" y="120"/>
                  </a:cubicBezTo>
                  <a:cubicBezTo>
                    <a:pt x="75" y="119"/>
                    <a:pt x="75" y="119"/>
                    <a:pt x="75" y="119"/>
                  </a:cubicBezTo>
                  <a:cubicBezTo>
                    <a:pt x="77" y="120"/>
                    <a:pt x="77" y="120"/>
                    <a:pt x="77" y="120"/>
                  </a:cubicBezTo>
                  <a:cubicBezTo>
                    <a:pt x="79" y="120"/>
                    <a:pt x="79" y="120"/>
                    <a:pt x="79" y="120"/>
                  </a:cubicBezTo>
                  <a:cubicBezTo>
                    <a:pt x="80" y="121"/>
                    <a:pt x="80" y="121"/>
                    <a:pt x="80" y="121"/>
                  </a:cubicBezTo>
                  <a:cubicBezTo>
                    <a:pt x="82" y="122"/>
                    <a:pt x="82" y="122"/>
                    <a:pt x="82" y="122"/>
                  </a:cubicBezTo>
                  <a:cubicBezTo>
                    <a:pt x="84" y="123"/>
                    <a:pt x="84" y="123"/>
                    <a:pt x="84" y="123"/>
                  </a:cubicBezTo>
                  <a:cubicBezTo>
                    <a:pt x="85" y="123"/>
                    <a:pt x="85" y="123"/>
                    <a:pt x="85" y="123"/>
                  </a:cubicBezTo>
                  <a:cubicBezTo>
                    <a:pt x="87" y="124"/>
                    <a:pt x="87" y="124"/>
                    <a:pt x="87" y="124"/>
                  </a:cubicBezTo>
                  <a:cubicBezTo>
                    <a:pt x="89" y="125"/>
                    <a:pt x="89" y="125"/>
                    <a:pt x="89" y="125"/>
                  </a:cubicBezTo>
                  <a:cubicBezTo>
                    <a:pt x="91" y="125"/>
                    <a:pt x="91" y="125"/>
                    <a:pt x="91" y="125"/>
                  </a:cubicBezTo>
                  <a:cubicBezTo>
                    <a:pt x="93" y="125"/>
                    <a:pt x="93" y="125"/>
                    <a:pt x="93" y="125"/>
                  </a:cubicBezTo>
                  <a:cubicBezTo>
                    <a:pt x="95" y="125"/>
                    <a:pt x="95" y="125"/>
                    <a:pt x="95" y="125"/>
                  </a:cubicBezTo>
                  <a:cubicBezTo>
                    <a:pt x="97" y="125"/>
                    <a:pt x="97" y="125"/>
                    <a:pt x="97" y="125"/>
                  </a:cubicBezTo>
                  <a:cubicBezTo>
                    <a:pt x="99" y="126"/>
                    <a:pt x="99" y="126"/>
                    <a:pt x="99" y="126"/>
                  </a:cubicBezTo>
                  <a:cubicBezTo>
                    <a:pt x="101" y="125"/>
                    <a:pt x="101" y="125"/>
                    <a:pt x="101" y="125"/>
                  </a:cubicBezTo>
                  <a:cubicBezTo>
                    <a:pt x="102" y="125"/>
                    <a:pt x="102" y="125"/>
                    <a:pt x="102" y="125"/>
                  </a:cubicBezTo>
                  <a:cubicBezTo>
                    <a:pt x="104" y="125"/>
                    <a:pt x="104" y="125"/>
                    <a:pt x="104" y="125"/>
                  </a:cubicBezTo>
                  <a:cubicBezTo>
                    <a:pt x="106" y="124"/>
                    <a:pt x="106" y="124"/>
                    <a:pt x="106" y="124"/>
                  </a:cubicBezTo>
                  <a:cubicBezTo>
                    <a:pt x="108" y="124"/>
                    <a:pt x="108" y="124"/>
                    <a:pt x="108" y="124"/>
                  </a:cubicBezTo>
                  <a:cubicBezTo>
                    <a:pt x="110" y="123"/>
                    <a:pt x="110" y="123"/>
                    <a:pt x="110" y="123"/>
                  </a:cubicBezTo>
                  <a:cubicBezTo>
                    <a:pt x="112" y="123"/>
                    <a:pt x="112" y="123"/>
                    <a:pt x="112" y="123"/>
                  </a:cubicBezTo>
                  <a:cubicBezTo>
                    <a:pt x="114" y="122"/>
                    <a:pt x="114" y="122"/>
                    <a:pt x="114" y="122"/>
                  </a:cubicBezTo>
                  <a:cubicBezTo>
                    <a:pt x="116" y="121"/>
                    <a:pt x="116" y="121"/>
                    <a:pt x="116" y="121"/>
                  </a:cubicBezTo>
                  <a:cubicBezTo>
                    <a:pt x="117" y="121"/>
                    <a:pt x="117" y="121"/>
                    <a:pt x="117" y="121"/>
                  </a:cubicBezTo>
                  <a:cubicBezTo>
                    <a:pt x="119" y="120"/>
                    <a:pt x="119" y="120"/>
                    <a:pt x="119" y="120"/>
                  </a:cubicBezTo>
                  <a:cubicBezTo>
                    <a:pt x="121" y="119"/>
                    <a:pt x="121" y="119"/>
                    <a:pt x="121" y="119"/>
                  </a:cubicBezTo>
                  <a:cubicBezTo>
                    <a:pt x="123" y="118"/>
                    <a:pt x="123" y="118"/>
                    <a:pt x="123" y="118"/>
                  </a:cubicBezTo>
                  <a:cubicBezTo>
                    <a:pt x="124" y="117"/>
                    <a:pt x="124" y="117"/>
                    <a:pt x="124" y="117"/>
                  </a:cubicBezTo>
                  <a:cubicBezTo>
                    <a:pt x="126" y="115"/>
                    <a:pt x="126" y="115"/>
                    <a:pt x="126" y="115"/>
                  </a:cubicBezTo>
                  <a:cubicBezTo>
                    <a:pt x="128" y="114"/>
                    <a:pt x="128" y="114"/>
                    <a:pt x="128" y="114"/>
                  </a:cubicBezTo>
                  <a:cubicBezTo>
                    <a:pt x="129" y="113"/>
                    <a:pt x="129" y="113"/>
                    <a:pt x="129" y="113"/>
                  </a:cubicBezTo>
                  <a:cubicBezTo>
                    <a:pt x="131" y="112"/>
                    <a:pt x="131" y="112"/>
                    <a:pt x="131" y="112"/>
                  </a:cubicBezTo>
                  <a:cubicBezTo>
                    <a:pt x="132" y="110"/>
                    <a:pt x="132" y="110"/>
                    <a:pt x="132" y="110"/>
                  </a:cubicBezTo>
                  <a:cubicBezTo>
                    <a:pt x="134" y="109"/>
                    <a:pt x="134" y="109"/>
                    <a:pt x="134" y="109"/>
                  </a:cubicBezTo>
                  <a:cubicBezTo>
                    <a:pt x="135" y="107"/>
                    <a:pt x="135" y="107"/>
                    <a:pt x="135" y="107"/>
                  </a:cubicBezTo>
                  <a:cubicBezTo>
                    <a:pt x="137" y="106"/>
                    <a:pt x="137" y="106"/>
                    <a:pt x="137" y="106"/>
                  </a:cubicBezTo>
                  <a:cubicBezTo>
                    <a:pt x="138" y="105"/>
                    <a:pt x="138" y="105"/>
                    <a:pt x="138" y="105"/>
                  </a:cubicBezTo>
                  <a:cubicBezTo>
                    <a:pt x="139" y="103"/>
                    <a:pt x="139" y="103"/>
                    <a:pt x="139" y="103"/>
                  </a:cubicBezTo>
                  <a:cubicBezTo>
                    <a:pt x="140" y="102"/>
                    <a:pt x="140" y="102"/>
                    <a:pt x="140" y="102"/>
                  </a:cubicBezTo>
                  <a:cubicBezTo>
                    <a:pt x="141" y="101"/>
                    <a:pt x="141" y="101"/>
                    <a:pt x="141" y="101"/>
                  </a:cubicBezTo>
                  <a:cubicBezTo>
                    <a:pt x="142" y="100"/>
                    <a:pt x="142" y="100"/>
                    <a:pt x="142" y="100"/>
                  </a:cubicBezTo>
                  <a:cubicBezTo>
                    <a:pt x="142" y="98"/>
                    <a:pt x="142" y="98"/>
                    <a:pt x="142" y="98"/>
                  </a:cubicBezTo>
                  <a:cubicBezTo>
                    <a:pt x="143" y="97"/>
                    <a:pt x="143" y="97"/>
                    <a:pt x="143" y="97"/>
                  </a:cubicBezTo>
                  <a:cubicBezTo>
                    <a:pt x="144" y="96"/>
                    <a:pt x="144" y="96"/>
                    <a:pt x="144" y="96"/>
                  </a:cubicBezTo>
                  <a:cubicBezTo>
                    <a:pt x="145" y="94"/>
                    <a:pt x="145" y="94"/>
                    <a:pt x="145" y="94"/>
                  </a:cubicBezTo>
                  <a:cubicBezTo>
                    <a:pt x="146" y="93"/>
                    <a:pt x="146" y="93"/>
                    <a:pt x="146" y="93"/>
                  </a:cubicBezTo>
                  <a:cubicBezTo>
                    <a:pt x="146" y="91"/>
                    <a:pt x="146" y="91"/>
                    <a:pt x="146" y="91"/>
                  </a:cubicBezTo>
                  <a:cubicBezTo>
                    <a:pt x="147" y="90"/>
                    <a:pt x="147" y="90"/>
                    <a:pt x="147" y="90"/>
                  </a:cubicBezTo>
                  <a:cubicBezTo>
                    <a:pt x="148" y="88"/>
                    <a:pt x="148" y="88"/>
                    <a:pt x="148" y="88"/>
                  </a:cubicBezTo>
                  <a:cubicBezTo>
                    <a:pt x="148" y="87"/>
                    <a:pt x="148" y="87"/>
                    <a:pt x="148" y="87"/>
                  </a:cubicBezTo>
                  <a:cubicBezTo>
                    <a:pt x="148" y="85"/>
                    <a:pt x="148" y="85"/>
                    <a:pt x="148" y="85"/>
                  </a:cubicBezTo>
                  <a:cubicBezTo>
                    <a:pt x="149" y="84"/>
                    <a:pt x="149" y="84"/>
                    <a:pt x="149" y="84"/>
                  </a:cubicBezTo>
                  <a:cubicBezTo>
                    <a:pt x="149" y="82"/>
                    <a:pt x="149" y="82"/>
                    <a:pt x="149" y="82"/>
                  </a:cubicBezTo>
                  <a:cubicBezTo>
                    <a:pt x="149" y="81"/>
                    <a:pt x="149" y="81"/>
                    <a:pt x="149" y="81"/>
                  </a:cubicBezTo>
                  <a:cubicBezTo>
                    <a:pt x="150" y="79"/>
                    <a:pt x="150" y="79"/>
                    <a:pt x="150" y="79"/>
                  </a:cubicBezTo>
                  <a:cubicBezTo>
                    <a:pt x="150" y="78"/>
                    <a:pt x="150" y="78"/>
                    <a:pt x="150" y="78"/>
                  </a:cubicBezTo>
                  <a:cubicBezTo>
                    <a:pt x="150" y="76"/>
                    <a:pt x="150" y="76"/>
                    <a:pt x="150" y="76"/>
                  </a:cubicBezTo>
                  <a:cubicBezTo>
                    <a:pt x="150" y="74"/>
                    <a:pt x="150" y="74"/>
                    <a:pt x="150" y="74"/>
                  </a:cubicBezTo>
                  <a:cubicBezTo>
                    <a:pt x="150" y="73"/>
                    <a:pt x="150" y="73"/>
                    <a:pt x="150" y="73"/>
                  </a:cubicBezTo>
                  <a:cubicBezTo>
                    <a:pt x="150" y="71"/>
                    <a:pt x="150" y="71"/>
                    <a:pt x="150" y="71"/>
                  </a:cubicBezTo>
                  <a:cubicBezTo>
                    <a:pt x="149" y="70"/>
                    <a:pt x="149" y="70"/>
                    <a:pt x="149" y="70"/>
                  </a:cubicBezTo>
                  <a:cubicBezTo>
                    <a:pt x="149" y="68"/>
                    <a:pt x="149" y="68"/>
                    <a:pt x="149" y="68"/>
                  </a:cubicBezTo>
                  <a:cubicBezTo>
                    <a:pt x="149" y="67"/>
                    <a:pt x="149" y="67"/>
                    <a:pt x="149" y="67"/>
                  </a:cubicBezTo>
                  <a:cubicBezTo>
                    <a:pt x="148" y="65"/>
                    <a:pt x="148" y="65"/>
                    <a:pt x="148" y="65"/>
                  </a:cubicBezTo>
                  <a:cubicBezTo>
                    <a:pt x="147" y="64"/>
                    <a:pt x="147" y="64"/>
                    <a:pt x="147" y="64"/>
                  </a:cubicBezTo>
                  <a:cubicBezTo>
                    <a:pt x="147" y="62"/>
                    <a:pt x="147" y="62"/>
                    <a:pt x="147" y="62"/>
                  </a:cubicBezTo>
                  <a:cubicBezTo>
                    <a:pt x="146" y="61"/>
                    <a:pt x="146" y="61"/>
                    <a:pt x="146" y="61"/>
                  </a:cubicBezTo>
                  <a:cubicBezTo>
                    <a:pt x="145" y="59"/>
                    <a:pt x="145" y="59"/>
                    <a:pt x="145" y="59"/>
                  </a:cubicBezTo>
                  <a:cubicBezTo>
                    <a:pt x="144" y="58"/>
                    <a:pt x="144" y="58"/>
                    <a:pt x="144" y="58"/>
                  </a:cubicBezTo>
                  <a:cubicBezTo>
                    <a:pt x="143" y="56"/>
                    <a:pt x="143" y="56"/>
                    <a:pt x="143" y="56"/>
                  </a:cubicBezTo>
                  <a:cubicBezTo>
                    <a:pt x="142" y="55"/>
                    <a:pt x="142" y="55"/>
                    <a:pt x="142" y="55"/>
                  </a:cubicBezTo>
                  <a:cubicBezTo>
                    <a:pt x="140" y="54"/>
                    <a:pt x="140" y="54"/>
                    <a:pt x="140" y="54"/>
                  </a:cubicBezTo>
                  <a:cubicBezTo>
                    <a:pt x="139" y="53"/>
                    <a:pt x="139" y="53"/>
                    <a:pt x="139" y="53"/>
                  </a:cubicBezTo>
                  <a:cubicBezTo>
                    <a:pt x="138" y="52"/>
                    <a:pt x="138" y="52"/>
                    <a:pt x="138" y="52"/>
                  </a:cubicBezTo>
                  <a:cubicBezTo>
                    <a:pt x="137" y="51"/>
                    <a:pt x="137" y="51"/>
                    <a:pt x="137" y="51"/>
                  </a:cubicBezTo>
                  <a:cubicBezTo>
                    <a:pt x="135" y="50"/>
                    <a:pt x="135" y="50"/>
                    <a:pt x="135" y="50"/>
                  </a:cubicBezTo>
                  <a:cubicBezTo>
                    <a:pt x="134" y="50"/>
                    <a:pt x="134" y="50"/>
                    <a:pt x="134" y="50"/>
                  </a:cubicBezTo>
                  <a:cubicBezTo>
                    <a:pt x="133" y="49"/>
                    <a:pt x="133" y="49"/>
                    <a:pt x="133" y="49"/>
                  </a:cubicBezTo>
                  <a:cubicBezTo>
                    <a:pt x="131" y="49"/>
                    <a:pt x="131" y="49"/>
                    <a:pt x="131" y="49"/>
                  </a:cubicBezTo>
                  <a:cubicBezTo>
                    <a:pt x="130" y="48"/>
                    <a:pt x="130" y="48"/>
                    <a:pt x="130" y="48"/>
                  </a:cubicBezTo>
                  <a:cubicBezTo>
                    <a:pt x="129" y="48"/>
                    <a:pt x="129" y="48"/>
                    <a:pt x="129" y="48"/>
                  </a:cubicBezTo>
                  <a:cubicBezTo>
                    <a:pt x="127" y="48"/>
                    <a:pt x="127" y="48"/>
                    <a:pt x="127" y="48"/>
                  </a:cubicBezTo>
                  <a:cubicBezTo>
                    <a:pt x="126" y="48"/>
                    <a:pt x="126" y="48"/>
                    <a:pt x="126" y="48"/>
                  </a:cubicBezTo>
                  <a:cubicBezTo>
                    <a:pt x="124" y="48"/>
                    <a:pt x="124" y="48"/>
                    <a:pt x="124" y="48"/>
                  </a:cubicBezTo>
                  <a:cubicBezTo>
                    <a:pt x="123" y="48"/>
                    <a:pt x="123" y="48"/>
                    <a:pt x="123" y="48"/>
                  </a:cubicBezTo>
                  <a:cubicBezTo>
                    <a:pt x="121" y="48"/>
                    <a:pt x="121" y="48"/>
                    <a:pt x="121" y="48"/>
                  </a:cubicBezTo>
                  <a:cubicBezTo>
                    <a:pt x="120" y="49"/>
                    <a:pt x="120" y="49"/>
                    <a:pt x="120" y="49"/>
                  </a:cubicBezTo>
                  <a:cubicBezTo>
                    <a:pt x="118" y="49"/>
                    <a:pt x="118" y="49"/>
                    <a:pt x="118" y="49"/>
                  </a:cubicBezTo>
                  <a:cubicBezTo>
                    <a:pt x="117" y="49"/>
                    <a:pt x="117" y="49"/>
                    <a:pt x="117" y="49"/>
                  </a:cubicBezTo>
                  <a:cubicBezTo>
                    <a:pt x="115" y="50"/>
                    <a:pt x="115" y="50"/>
                    <a:pt x="115" y="50"/>
                  </a:cubicBezTo>
                  <a:cubicBezTo>
                    <a:pt x="114" y="50"/>
                    <a:pt x="114" y="50"/>
                    <a:pt x="114" y="50"/>
                  </a:cubicBezTo>
                  <a:cubicBezTo>
                    <a:pt x="112" y="51"/>
                    <a:pt x="112" y="51"/>
                    <a:pt x="112" y="51"/>
                  </a:cubicBezTo>
                  <a:cubicBezTo>
                    <a:pt x="111" y="51"/>
                    <a:pt x="111" y="51"/>
                    <a:pt x="111" y="51"/>
                  </a:cubicBezTo>
                  <a:cubicBezTo>
                    <a:pt x="107" y="53"/>
                    <a:pt x="107" y="53"/>
                    <a:pt x="107" y="53"/>
                  </a:cubicBezTo>
                  <a:cubicBezTo>
                    <a:pt x="104" y="54"/>
                    <a:pt x="104" y="54"/>
                    <a:pt x="104" y="54"/>
                  </a:cubicBezTo>
                  <a:cubicBezTo>
                    <a:pt x="101" y="55"/>
                    <a:pt x="101" y="55"/>
                    <a:pt x="101" y="55"/>
                  </a:cubicBezTo>
                  <a:cubicBezTo>
                    <a:pt x="97" y="57"/>
                    <a:pt x="97" y="57"/>
                    <a:pt x="97" y="57"/>
                  </a:cubicBezTo>
                  <a:cubicBezTo>
                    <a:pt x="92" y="60"/>
                    <a:pt x="92" y="60"/>
                    <a:pt x="92" y="60"/>
                  </a:cubicBezTo>
                  <a:cubicBezTo>
                    <a:pt x="89" y="61"/>
                    <a:pt x="89" y="61"/>
                    <a:pt x="89" y="61"/>
                  </a:cubicBezTo>
                  <a:cubicBezTo>
                    <a:pt x="86" y="62"/>
                    <a:pt x="86" y="62"/>
                    <a:pt x="86" y="62"/>
                  </a:cubicBezTo>
                  <a:cubicBezTo>
                    <a:pt x="84" y="63"/>
                    <a:pt x="84" y="63"/>
                    <a:pt x="84" y="63"/>
                  </a:cubicBezTo>
                  <a:cubicBezTo>
                    <a:pt x="82" y="63"/>
                    <a:pt x="82" y="63"/>
                    <a:pt x="82" y="63"/>
                  </a:cubicBezTo>
                  <a:cubicBezTo>
                    <a:pt x="80" y="64"/>
                    <a:pt x="80" y="64"/>
                    <a:pt x="80" y="64"/>
                  </a:cubicBezTo>
                  <a:cubicBezTo>
                    <a:pt x="77" y="65"/>
                    <a:pt x="77" y="65"/>
                    <a:pt x="77" y="65"/>
                  </a:cubicBezTo>
                  <a:lnTo>
                    <a:pt x="79" y="63"/>
                  </a:lnTo>
                  <a:close/>
                  <a:moveTo>
                    <a:pt x="72" y="75"/>
                  </a:moveTo>
                  <a:cubicBezTo>
                    <a:pt x="73" y="73"/>
                    <a:pt x="73" y="73"/>
                    <a:pt x="73" y="73"/>
                  </a:cubicBezTo>
                  <a:cubicBezTo>
                    <a:pt x="73" y="71"/>
                    <a:pt x="73" y="71"/>
                    <a:pt x="73" y="71"/>
                  </a:cubicBezTo>
                  <a:cubicBezTo>
                    <a:pt x="74" y="70"/>
                    <a:pt x="74" y="70"/>
                    <a:pt x="74" y="70"/>
                  </a:cubicBezTo>
                  <a:cubicBezTo>
                    <a:pt x="76" y="69"/>
                    <a:pt x="76" y="69"/>
                    <a:pt x="76" y="69"/>
                  </a:cubicBezTo>
                  <a:cubicBezTo>
                    <a:pt x="78" y="69"/>
                    <a:pt x="78" y="69"/>
                    <a:pt x="78" y="69"/>
                  </a:cubicBezTo>
                  <a:cubicBezTo>
                    <a:pt x="79" y="69"/>
                    <a:pt x="79" y="69"/>
                    <a:pt x="79" y="69"/>
                  </a:cubicBezTo>
                  <a:cubicBezTo>
                    <a:pt x="81" y="68"/>
                    <a:pt x="81" y="68"/>
                    <a:pt x="81" y="68"/>
                  </a:cubicBezTo>
                  <a:cubicBezTo>
                    <a:pt x="82" y="68"/>
                    <a:pt x="82" y="68"/>
                    <a:pt x="82" y="68"/>
                  </a:cubicBezTo>
                  <a:cubicBezTo>
                    <a:pt x="84" y="67"/>
                    <a:pt x="84" y="67"/>
                    <a:pt x="84" y="67"/>
                  </a:cubicBezTo>
                  <a:cubicBezTo>
                    <a:pt x="85" y="67"/>
                    <a:pt x="85" y="67"/>
                    <a:pt x="85" y="67"/>
                  </a:cubicBezTo>
                  <a:cubicBezTo>
                    <a:pt x="86" y="67"/>
                    <a:pt x="86" y="67"/>
                    <a:pt x="86" y="67"/>
                  </a:cubicBezTo>
                  <a:cubicBezTo>
                    <a:pt x="89" y="65"/>
                    <a:pt x="89" y="65"/>
                    <a:pt x="89" y="65"/>
                  </a:cubicBezTo>
                  <a:cubicBezTo>
                    <a:pt x="92" y="64"/>
                    <a:pt x="92" y="64"/>
                    <a:pt x="92" y="64"/>
                  </a:cubicBezTo>
                  <a:cubicBezTo>
                    <a:pt x="98" y="61"/>
                    <a:pt x="98" y="61"/>
                    <a:pt x="98" y="61"/>
                  </a:cubicBezTo>
                  <a:cubicBezTo>
                    <a:pt x="100" y="60"/>
                    <a:pt x="100" y="60"/>
                    <a:pt x="100" y="60"/>
                  </a:cubicBezTo>
                  <a:cubicBezTo>
                    <a:pt x="103" y="59"/>
                    <a:pt x="103" y="59"/>
                    <a:pt x="103" y="59"/>
                  </a:cubicBezTo>
                  <a:cubicBezTo>
                    <a:pt x="106" y="58"/>
                    <a:pt x="106" y="58"/>
                    <a:pt x="106" y="58"/>
                  </a:cubicBezTo>
                  <a:cubicBezTo>
                    <a:pt x="109" y="56"/>
                    <a:pt x="109" y="56"/>
                    <a:pt x="109" y="56"/>
                  </a:cubicBezTo>
                  <a:cubicBezTo>
                    <a:pt x="110" y="56"/>
                    <a:pt x="110" y="56"/>
                    <a:pt x="110" y="56"/>
                  </a:cubicBezTo>
                  <a:cubicBezTo>
                    <a:pt x="112" y="55"/>
                    <a:pt x="112" y="55"/>
                    <a:pt x="112" y="55"/>
                  </a:cubicBezTo>
                  <a:cubicBezTo>
                    <a:pt x="113" y="55"/>
                    <a:pt x="113" y="55"/>
                    <a:pt x="113" y="55"/>
                  </a:cubicBezTo>
                  <a:cubicBezTo>
                    <a:pt x="114" y="55"/>
                    <a:pt x="114" y="55"/>
                    <a:pt x="114" y="55"/>
                  </a:cubicBezTo>
                  <a:cubicBezTo>
                    <a:pt x="116" y="54"/>
                    <a:pt x="116" y="54"/>
                    <a:pt x="116" y="54"/>
                  </a:cubicBezTo>
                  <a:cubicBezTo>
                    <a:pt x="117" y="54"/>
                    <a:pt x="117" y="54"/>
                    <a:pt x="117" y="54"/>
                  </a:cubicBezTo>
                  <a:cubicBezTo>
                    <a:pt x="119" y="54"/>
                    <a:pt x="119" y="54"/>
                    <a:pt x="119" y="54"/>
                  </a:cubicBezTo>
                  <a:cubicBezTo>
                    <a:pt x="120" y="54"/>
                    <a:pt x="120" y="54"/>
                    <a:pt x="120" y="54"/>
                  </a:cubicBezTo>
                  <a:cubicBezTo>
                    <a:pt x="121" y="54"/>
                    <a:pt x="121" y="54"/>
                    <a:pt x="121" y="54"/>
                  </a:cubicBezTo>
                  <a:cubicBezTo>
                    <a:pt x="123" y="54"/>
                    <a:pt x="123" y="54"/>
                    <a:pt x="123" y="54"/>
                  </a:cubicBezTo>
                  <a:cubicBezTo>
                    <a:pt x="124" y="54"/>
                    <a:pt x="124" y="54"/>
                    <a:pt x="124" y="54"/>
                  </a:cubicBezTo>
                  <a:cubicBezTo>
                    <a:pt x="125" y="54"/>
                    <a:pt x="125" y="54"/>
                    <a:pt x="125" y="54"/>
                  </a:cubicBezTo>
                  <a:cubicBezTo>
                    <a:pt x="126" y="54"/>
                    <a:pt x="126" y="54"/>
                    <a:pt x="126" y="54"/>
                  </a:cubicBezTo>
                  <a:cubicBezTo>
                    <a:pt x="128" y="54"/>
                    <a:pt x="128" y="54"/>
                    <a:pt x="128" y="54"/>
                  </a:cubicBezTo>
                  <a:cubicBezTo>
                    <a:pt x="129" y="55"/>
                    <a:pt x="129" y="55"/>
                    <a:pt x="129" y="55"/>
                  </a:cubicBezTo>
                  <a:cubicBezTo>
                    <a:pt x="130" y="55"/>
                    <a:pt x="130" y="55"/>
                    <a:pt x="130" y="55"/>
                  </a:cubicBezTo>
                  <a:cubicBezTo>
                    <a:pt x="132" y="56"/>
                    <a:pt x="132" y="56"/>
                    <a:pt x="132" y="56"/>
                  </a:cubicBezTo>
                  <a:cubicBezTo>
                    <a:pt x="133" y="57"/>
                    <a:pt x="133" y="57"/>
                    <a:pt x="133" y="57"/>
                  </a:cubicBezTo>
                  <a:cubicBezTo>
                    <a:pt x="134" y="58"/>
                    <a:pt x="134" y="58"/>
                    <a:pt x="134" y="58"/>
                  </a:cubicBezTo>
                  <a:cubicBezTo>
                    <a:pt x="135" y="59"/>
                    <a:pt x="135" y="59"/>
                    <a:pt x="135" y="59"/>
                  </a:cubicBezTo>
                  <a:cubicBezTo>
                    <a:pt x="136" y="60"/>
                    <a:pt x="136" y="60"/>
                    <a:pt x="136" y="60"/>
                  </a:cubicBezTo>
                  <a:cubicBezTo>
                    <a:pt x="137" y="61"/>
                    <a:pt x="137" y="61"/>
                    <a:pt x="137" y="61"/>
                  </a:cubicBezTo>
                  <a:cubicBezTo>
                    <a:pt x="139" y="62"/>
                    <a:pt x="139" y="62"/>
                    <a:pt x="139" y="62"/>
                  </a:cubicBezTo>
                  <a:cubicBezTo>
                    <a:pt x="140" y="64"/>
                    <a:pt x="140" y="64"/>
                    <a:pt x="140" y="64"/>
                  </a:cubicBezTo>
                  <a:cubicBezTo>
                    <a:pt x="140" y="65"/>
                    <a:pt x="140" y="65"/>
                    <a:pt x="140" y="65"/>
                  </a:cubicBezTo>
                  <a:cubicBezTo>
                    <a:pt x="141" y="66"/>
                    <a:pt x="141" y="66"/>
                    <a:pt x="141" y="66"/>
                  </a:cubicBezTo>
                  <a:cubicBezTo>
                    <a:pt x="141" y="67"/>
                    <a:pt x="141" y="67"/>
                    <a:pt x="141" y="67"/>
                  </a:cubicBezTo>
                  <a:cubicBezTo>
                    <a:pt x="142" y="68"/>
                    <a:pt x="142" y="68"/>
                    <a:pt x="142" y="68"/>
                  </a:cubicBezTo>
                  <a:cubicBezTo>
                    <a:pt x="142" y="69"/>
                    <a:pt x="142" y="69"/>
                    <a:pt x="142" y="69"/>
                  </a:cubicBezTo>
                  <a:cubicBezTo>
                    <a:pt x="143" y="70"/>
                    <a:pt x="143" y="70"/>
                    <a:pt x="143" y="70"/>
                  </a:cubicBezTo>
                  <a:cubicBezTo>
                    <a:pt x="143" y="71"/>
                    <a:pt x="143" y="71"/>
                    <a:pt x="143" y="71"/>
                  </a:cubicBezTo>
                  <a:cubicBezTo>
                    <a:pt x="143" y="72"/>
                    <a:pt x="143" y="72"/>
                    <a:pt x="143" y="72"/>
                  </a:cubicBezTo>
                  <a:cubicBezTo>
                    <a:pt x="144" y="74"/>
                    <a:pt x="144" y="74"/>
                    <a:pt x="144" y="74"/>
                  </a:cubicBezTo>
                  <a:cubicBezTo>
                    <a:pt x="144" y="75"/>
                    <a:pt x="144" y="75"/>
                    <a:pt x="144" y="75"/>
                  </a:cubicBezTo>
                  <a:cubicBezTo>
                    <a:pt x="144" y="76"/>
                    <a:pt x="144" y="76"/>
                    <a:pt x="144" y="76"/>
                  </a:cubicBezTo>
                  <a:cubicBezTo>
                    <a:pt x="144" y="77"/>
                    <a:pt x="144" y="77"/>
                    <a:pt x="144" y="77"/>
                  </a:cubicBezTo>
                  <a:cubicBezTo>
                    <a:pt x="144" y="78"/>
                    <a:pt x="144" y="78"/>
                    <a:pt x="144" y="78"/>
                  </a:cubicBezTo>
                  <a:cubicBezTo>
                    <a:pt x="144" y="79"/>
                    <a:pt x="144" y="79"/>
                    <a:pt x="144" y="79"/>
                  </a:cubicBezTo>
                  <a:cubicBezTo>
                    <a:pt x="144" y="81"/>
                    <a:pt x="144" y="81"/>
                    <a:pt x="144" y="81"/>
                  </a:cubicBezTo>
                  <a:cubicBezTo>
                    <a:pt x="144" y="82"/>
                    <a:pt x="144" y="82"/>
                    <a:pt x="144" y="82"/>
                  </a:cubicBezTo>
                  <a:cubicBezTo>
                    <a:pt x="144" y="83"/>
                    <a:pt x="144" y="83"/>
                    <a:pt x="144" y="83"/>
                  </a:cubicBezTo>
                  <a:cubicBezTo>
                    <a:pt x="143" y="84"/>
                    <a:pt x="143" y="84"/>
                    <a:pt x="143" y="84"/>
                  </a:cubicBezTo>
                  <a:cubicBezTo>
                    <a:pt x="143" y="85"/>
                    <a:pt x="143" y="85"/>
                    <a:pt x="143" y="85"/>
                  </a:cubicBezTo>
                  <a:cubicBezTo>
                    <a:pt x="143" y="87"/>
                    <a:pt x="143" y="87"/>
                    <a:pt x="143" y="87"/>
                  </a:cubicBezTo>
                  <a:cubicBezTo>
                    <a:pt x="142" y="88"/>
                    <a:pt x="142" y="88"/>
                    <a:pt x="142" y="88"/>
                  </a:cubicBezTo>
                  <a:cubicBezTo>
                    <a:pt x="142" y="89"/>
                    <a:pt x="142" y="89"/>
                    <a:pt x="142" y="89"/>
                  </a:cubicBezTo>
                  <a:cubicBezTo>
                    <a:pt x="142" y="90"/>
                    <a:pt x="142" y="90"/>
                    <a:pt x="142" y="90"/>
                  </a:cubicBezTo>
                  <a:cubicBezTo>
                    <a:pt x="141" y="92"/>
                    <a:pt x="141" y="92"/>
                    <a:pt x="141" y="92"/>
                  </a:cubicBezTo>
                  <a:cubicBezTo>
                    <a:pt x="140" y="93"/>
                    <a:pt x="140" y="93"/>
                    <a:pt x="140" y="93"/>
                  </a:cubicBezTo>
                  <a:cubicBezTo>
                    <a:pt x="140" y="94"/>
                    <a:pt x="140" y="94"/>
                    <a:pt x="140" y="94"/>
                  </a:cubicBezTo>
                  <a:cubicBezTo>
                    <a:pt x="139" y="95"/>
                    <a:pt x="139" y="95"/>
                    <a:pt x="139" y="95"/>
                  </a:cubicBezTo>
                  <a:cubicBezTo>
                    <a:pt x="138" y="96"/>
                    <a:pt x="138" y="96"/>
                    <a:pt x="138" y="96"/>
                  </a:cubicBezTo>
                  <a:cubicBezTo>
                    <a:pt x="137" y="97"/>
                    <a:pt x="137" y="97"/>
                    <a:pt x="137" y="97"/>
                  </a:cubicBezTo>
                  <a:cubicBezTo>
                    <a:pt x="137" y="99"/>
                    <a:pt x="137" y="99"/>
                    <a:pt x="137" y="99"/>
                  </a:cubicBezTo>
                  <a:cubicBezTo>
                    <a:pt x="136" y="100"/>
                    <a:pt x="136" y="100"/>
                    <a:pt x="136" y="100"/>
                  </a:cubicBezTo>
                  <a:cubicBezTo>
                    <a:pt x="135" y="101"/>
                    <a:pt x="135" y="101"/>
                    <a:pt x="135" y="101"/>
                  </a:cubicBezTo>
                  <a:cubicBezTo>
                    <a:pt x="134" y="102"/>
                    <a:pt x="134" y="102"/>
                    <a:pt x="134" y="102"/>
                  </a:cubicBezTo>
                  <a:cubicBezTo>
                    <a:pt x="132" y="104"/>
                    <a:pt x="132" y="104"/>
                    <a:pt x="132" y="104"/>
                  </a:cubicBezTo>
                  <a:cubicBezTo>
                    <a:pt x="131" y="105"/>
                    <a:pt x="131" y="105"/>
                    <a:pt x="131" y="105"/>
                  </a:cubicBezTo>
                  <a:cubicBezTo>
                    <a:pt x="130" y="106"/>
                    <a:pt x="130" y="106"/>
                    <a:pt x="130" y="106"/>
                  </a:cubicBezTo>
                  <a:cubicBezTo>
                    <a:pt x="129" y="107"/>
                    <a:pt x="129" y="107"/>
                    <a:pt x="129" y="107"/>
                  </a:cubicBezTo>
                  <a:cubicBezTo>
                    <a:pt x="127" y="108"/>
                    <a:pt x="127" y="108"/>
                    <a:pt x="127" y="108"/>
                  </a:cubicBezTo>
                  <a:cubicBezTo>
                    <a:pt x="126" y="109"/>
                    <a:pt x="126" y="109"/>
                    <a:pt x="126" y="109"/>
                  </a:cubicBezTo>
                  <a:cubicBezTo>
                    <a:pt x="124" y="110"/>
                    <a:pt x="124" y="110"/>
                    <a:pt x="124" y="110"/>
                  </a:cubicBezTo>
                  <a:cubicBezTo>
                    <a:pt x="123" y="111"/>
                    <a:pt x="123" y="111"/>
                    <a:pt x="123" y="111"/>
                  </a:cubicBezTo>
                  <a:cubicBezTo>
                    <a:pt x="121" y="112"/>
                    <a:pt x="121" y="112"/>
                    <a:pt x="121" y="112"/>
                  </a:cubicBezTo>
                  <a:cubicBezTo>
                    <a:pt x="120" y="113"/>
                    <a:pt x="120" y="113"/>
                    <a:pt x="120" y="113"/>
                  </a:cubicBezTo>
                  <a:cubicBezTo>
                    <a:pt x="118" y="114"/>
                    <a:pt x="118" y="114"/>
                    <a:pt x="118" y="114"/>
                  </a:cubicBezTo>
                  <a:cubicBezTo>
                    <a:pt x="116" y="115"/>
                    <a:pt x="116" y="115"/>
                    <a:pt x="116" y="115"/>
                  </a:cubicBezTo>
                  <a:cubicBezTo>
                    <a:pt x="115" y="115"/>
                    <a:pt x="115" y="115"/>
                    <a:pt x="115" y="115"/>
                  </a:cubicBezTo>
                  <a:cubicBezTo>
                    <a:pt x="113" y="116"/>
                    <a:pt x="113" y="116"/>
                    <a:pt x="113" y="116"/>
                  </a:cubicBezTo>
                  <a:cubicBezTo>
                    <a:pt x="111" y="117"/>
                    <a:pt x="111" y="117"/>
                    <a:pt x="111" y="117"/>
                  </a:cubicBezTo>
                  <a:cubicBezTo>
                    <a:pt x="110" y="117"/>
                    <a:pt x="110" y="117"/>
                    <a:pt x="110" y="117"/>
                  </a:cubicBezTo>
                  <a:cubicBezTo>
                    <a:pt x="108" y="118"/>
                    <a:pt x="108" y="118"/>
                    <a:pt x="108" y="118"/>
                  </a:cubicBezTo>
                  <a:cubicBezTo>
                    <a:pt x="104" y="118"/>
                    <a:pt x="104" y="118"/>
                    <a:pt x="104" y="118"/>
                  </a:cubicBezTo>
                  <a:cubicBezTo>
                    <a:pt x="103" y="118"/>
                    <a:pt x="103" y="118"/>
                    <a:pt x="103" y="118"/>
                  </a:cubicBezTo>
                  <a:cubicBezTo>
                    <a:pt x="101" y="119"/>
                    <a:pt x="101" y="119"/>
                    <a:pt x="101" y="119"/>
                  </a:cubicBezTo>
                  <a:cubicBezTo>
                    <a:pt x="99" y="119"/>
                    <a:pt x="99" y="119"/>
                    <a:pt x="99" y="119"/>
                  </a:cubicBezTo>
                  <a:cubicBezTo>
                    <a:pt x="97" y="119"/>
                    <a:pt x="97" y="119"/>
                    <a:pt x="97" y="119"/>
                  </a:cubicBezTo>
                  <a:cubicBezTo>
                    <a:pt x="95" y="119"/>
                    <a:pt x="95" y="119"/>
                    <a:pt x="95" y="119"/>
                  </a:cubicBezTo>
                  <a:cubicBezTo>
                    <a:pt x="93" y="118"/>
                    <a:pt x="93" y="118"/>
                    <a:pt x="93" y="118"/>
                  </a:cubicBezTo>
                  <a:cubicBezTo>
                    <a:pt x="92" y="118"/>
                    <a:pt x="92" y="118"/>
                    <a:pt x="92" y="118"/>
                  </a:cubicBezTo>
                  <a:cubicBezTo>
                    <a:pt x="90" y="118"/>
                    <a:pt x="90" y="118"/>
                    <a:pt x="90" y="118"/>
                  </a:cubicBezTo>
                  <a:cubicBezTo>
                    <a:pt x="88" y="117"/>
                    <a:pt x="88" y="117"/>
                    <a:pt x="88" y="117"/>
                  </a:cubicBezTo>
                  <a:cubicBezTo>
                    <a:pt x="86" y="117"/>
                    <a:pt x="86" y="117"/>
                    <a:pt x="86" y="117"/>
                  </a:cubicBezTo>
                  <a:cubicBezTo>
                    <a:pt x="84" y="116"/>
                    <a:pt x="84" y="116"/>
                    <a:pt x="84" y="116"/>
                  </a:cubicBezTo>
                  <a:cubicBezTo>
                    <a:pt x="83" y="115"/>
                    <a:pt x="83" y="115"/>
                    <a:pt x="83" y="115"/>
                  </a:cubicBezTo>
                  <a:cubicBezTo>
                    <a:pt x="81" y="115"/>
                    <a:pt x="81" y="115"/>
                    <a:pt x="81" y="115"/>
                  </a:cubicBezTo>
                  <a:cubicBezTo>
                    <a:pt x="80" y="114"/>
                    <a:pt x="80" y="114"/>
                    <a:pt x="80" y="114"/>
                  </a:cubicBezTo>
                  <a:cubicBezTo>
                    <a:pt x="78" y="114"/>
                    <a:pt x="78" y="114"/>
                    <a:pt x="78" y="114"/>
                  </a:cubicBezTo>
                  <a:cubicBezTo>
                    <a:pt x="77" y="113"/>
                    <a:pt x="77" y="113"/>
                    <a:pt x="77" y="113"/>
                  </a:cubicBezTo>
                  <a:cubicBezTo>
                    <a:pt x="75" y="113"/>
                    <a:pt x="75" y="113"/>
                    <a:pt x="75" y="113"/>
                  </a:cubicBezTo>
                  <a:cubicBezTo>
                    <a:pt x="74" y="112"/>
                    <a:pt x="74" y="112"/>
                    <a:pt x="74" y="112"/>
                  </a:cubicBezTo>
                  <a:cubicBezTo>
                    <a:pt x="71" y="111"/>
                    <a:pt x="71" y="111"/>
                    <a:pt x="71" y="111"/>
                  </a:cubicBezTo>
                  <a:cubicBezTo>
                    <a:pt x="70" y="109"/>
                    <a:pt x="70" y="109"/>
                    <a:pt x="70" y="109"/>
                  </a:cubicBezTo>
                  <a:cubicBezTo>
                    <a:pt x="69" y="108"/>
                    <a:pt x="69" y="108"/>
                    <a:pt x="69" y="108"/>
                  </a:cubicBezTo>
                  <a:cubicBezTo>
                    <a:pt x="69" y="106"/>
                    <a:pt x="69" y="106"/>
                    <a:pt x="69" y="106"/>
                  </a:cubicBezTo>
                  <a:cubicBezTo>
                    <a:pt x="68" y="104"/>
                    <a:pt x="68" y="104"/>
                    <a:pt x="68" y="104"/>
                  </a:cubicBezTo>
                  <a:cubicBezTo>
                    <a:pt x="71" y="105"/>
                    <a:pt x="71" y="105"/>
                    <a:pt x="71" y="105"/>
                  </a:cubicBezTo>
                  <a:cubicBezTo>
                    <a:pt x="73" y="105"/>
                    <a:pt x="73" y="105"/>
                    <a:pt x="73" y="105"/>
                  </a:cubicBezTo>
                  <a:cubicBezTo>
                    <a:pt x="75" y="106"/>
                    <a:pt x="75" y="106"/>
                    <a:pt x="75" y="106"/>
                  </a:cubicBezTo>
                  <a:cubicBezTo>
                    <a:pt x="77" y="107"/>
                    <a:pt x="77" y="107"/>
                    <a:pt x="77" y="107"/>
                  </a:cubicBezTo>
                  <a:cubicBezTo>
                    <a:pt x="79" y="107"/>
                    <a:pt x="79" y="107"/>
                    <a:pt x="79" y="107"/>
                  </a:cubicBezTo>
                  <a:cubicBezTo>
                    <a:pt x="81" y="108"/>
                    <a:pt x="81" y="108"/>
                    <a:pt x="81" y="108"/>
                  </a:cubicBezTo>
                  <a:cubicBezTo>
                    <a:pt x="83" y="109"/>
                    <a:pt x="83" y="109"/>
                    <a:pt x="83" y="109"/>
                  </a:cubicBezTo>
                  <a:cubicBezTo>
                    <a:pt x="85" y="110"/>
                    <a:pt x="85" y="110"/>
                    <a:pt x="85" y="110"/>
                  </a:cubicBezTo>
                  <a:cubicBezTo>
                    <a:pt x="87" y="110"/>
                    <a:pt x="87" y="110"/>
                    <a:pt x="87" y="110"/>
                  </a:cubicBezTo>
                  <a:cubicBezTo>
                    <a:pt x="88" y="111"/>
                    <a:pt x="88" y="111"/>
                    <a:pt x="88" y="111"/>
                  </a:cubicBezTo>
                  <a:cubicBezTo>
                    <a:pt x="90" y="111"/>
                    <a:pt x="90" y="111"/>
                    <a:pt x="90" y="111"/>
                  </a:cubicBezTo>
                  <a:cubicBezTo>
                    <a:pt x="91" y="112"/>
                    <a:pt x="91" y="112"/>
                    <a:pt x="91" y="112"/>
                  </a:cubicBezTo>
                  <a:cubicBezTo>
                    <a:pt x="93" y="112"/>
                    <a:pt x="93" y="112"/>
                    <a:pt x="93" y="112"/>
                  </a:cubicBezTo>
                  <a:cubicBezTo>
                    <a:pt x="94" y="112"/>
                    <a:pt x="94" y="112"/>
                    <a:pt x="94" y="112"/>
                  </a:cubicBezTo>
                  <a:cubicBezTo>
                    <a:pt x="96" y="112"/>
                    <a:pt x="96" y="112"/>
                    <a:pt x="96" y="112"/>
                  </a:cubicBezTo>
                  <a:cubicBezTo>
                    <a:pt x="98" y="113"/>
                    <a:pt x="98" y="113"/>
                    <a:pt x="98" y="113"/>
                  </a:cubicBezTo>
                  <a:cubicBezTo>
                    <a:pt x="99" y="113"/>
                    <a:pt x="99" y="113"/>
                    <a:pt x="99" y="113"/>
                  </a:cubicBezTo>
                  <a:cubicBezTo>
                    <a:pt x="101" y="112"/>
                    <a:pt x="101" y="112"/>
                    <a:pt x="101" y="112"/>
                  </a:cubicBezTo>
                  <a:cubicBezTo>
                    <a:pt x="102" y="112"/>
                    <a:pt x="102" y="112"/>
                    <a:pt x="102" y="112"/>
                  </a:cubicBezTo>
                  <a:cubicBezTo>
                    <a:pt x="104" y="112"/>
                    <a:pt x="104" y="112"/>
                    <a:pt x="104" y="112"/>
                  </a:cubicBezTo>
                  <a:cubicBezTo>
                    <a:pt x="105" y="112"/>
                    <a:pt x="105" y="112"/>
                    <a:pt x="105" y="112"/>
                  </a:cubicBezTo>
                  <a:cubicBezTo>
                    <a:pt x="107" y="111"/>
                    <a:pt x="107" y="111"/>
                    <a:pt x="107" y="111"/>
                  </a:cubicBezTo>
                  <a:cubicBezTo>
                    <a:pt x="108" y="111"/>
                    <a:pt x="108" y="111"/>
                    <a:pt x="108" y="111"/>
                  </a:cubicBezTo>
                  <a:cubicBezTo>
                    <a:pt x="110" y="111"/>
                    <a:pt x="110" y="111"/>
                    <a:pt x="110" y="111"/>
                  </a:cubicBezTo>
                  <a:cubicBezTo>
                    <a:pt x="111" y="110"/>
                    <a:pt x="111" y="110"/>
                    <a:pt x="111" y="110"/>
                  </a:cubicBezTo>
                  <a:cubicBezTo>
                    <a:pt x="113" y="109"/>
                    <a:pt x="113" y="109"/>
                    <a:pt x="113" y="109"/>
                  </a:cubicBezTo>
                  <a:cubicBezTo>
                    <a:pt x="114" y="109"/>
                    <a:pt x="114" y="109"/>
                    <a:pt x="114" y="109"/>
                  </a:cubicBezTo>
                  <a:cubicBezTo>
                    <a:pt x="116" y="108"/>
                    <a:pt x="116" y="108"/>
                    <a:pt x="116" y="108"/>
                  </a:cubicBezTo>
                  <a:cubicBezTo>
                    <a:pt x="117" y="108"/>
                    <a:pt x="117" y="108"/>
                    <a:pt x="117" y="108"/>
                  </a:cubicBezTo>
                  <a:cubicBezTo>
                    <a:pt x="118" y="107"/>
                    <a:pt x="118" y="107"/>
                    <a:pt x="118" y="107"/>
                  </a:cubicBezTo>
                  <a:cubicBezTo>
                    <a:pt x="120" y="106"/>
                    <a:pt x="120" y="106"/>
                    <a:pt x="120" y="106"/>
                  </a:cubicBezTo>
                  <a:cubicBezTo>
                    <a:pt x="121" y="105"/>
                    <a:pt x="121" y="105"/>
                    <a:pt x="121" y="105"/>
                  </a:cubicBezTo>
                  <a:cubicBezTo>
                    <a:pt x="122" y="104"/>
                    <a:pt x="122" y="104"/>
                    <a:pt x="122" y="104"/>
                  </a:cubicBezTo>
                  <a:cubicBezTo>
                    <a:pt x="124" y="103"/>
                    <a:pt x="124" y="103"/>
                    <a:pt x="124" y="103"/>
                  </a:cubicBezTo>
                  <a:cubicBezTo>
                    <a:pt x="125" y="102"/>
                    <a:pt x="125" y="102"/>
                    <a:pt x="125" y="102"/>
                  </a:cubicBezTo>
                  <a:cubicBezTo>
                    <a:pt x="126" y="101"/>
                    <a:pt x="126" y="101"/>
                    <a:pt x="126" y="101"/>
                  </a:cubicBezTo>
                  <a:cubicBezTo>
                    <a:pt x="127" y="100"/>
                    <a:pt x="127" y="100"/>
                    <a:pt x="127" y="100"/>
                  </a:cubicBezTo>
                  <a:cubicBezTo>
                    <a:pt x="128" y="99"/>
                    <a:pt x="128" y="99"/>
                    <a:pt x="128" y="99"/>
                  </a:cubicBezTo>
                  <a:cubicBezTo>
                    <a:pt x="129" y="98"/>
                    <a:pt x="129" y="98"/>
                    <a:pt x="129" y="98"/>
                  </a:cubicBezTo>
                  <a:cubicBezTo>
                    <a:pt x="130" y="97"/>
                    <a:pt x="130" y="97"/>
                    <a:pt x="130" y="97"/>
                  </a:cubicBezTo>
                  <a:cubicBezTo>
                    <a:pt x="131" y="96"/>
                    <a:pt x="131" y="96"/>
                    <a:pt x="131" y="96"/>
                  </a:cubicBezTo>
                  <a:cubicBezTo>
                    <a:pt x="132" y="95"/>
                    <a:pt x="132" y="95"/>
                    <a:pt x="132" y="95"/>
                  </a:cubicBezTo>
                  <a:cubicBezTo>
                    <a:pt x="132" y="94"/>
                    <a:pt x="132" y="94"/>
                    <a:pt x="132" y="94"/>
                  </a:cubicBezTo>
                  <a:cubicBezTo>
                    <a:pt x="133" y="93"/>
                    <a:pt x="133" y="93"/>
                    <a:pt x="133" y="93"/>
                  </a:cubicBezTo>
                  <a:cubicBezTo>
                    <a:pt x="134" y="92"/>
                    <a:pt x="134" y="92"/>
                    <a:pt x="134" y="92"/>
                  </a:cubicBezTo>
                  <a:cubicBezTo>
                    <a:pt x="134" y="91"/>
                    <a:pt x="134" y="91"/>
                    <a:pt x="134" y="91"/>
                  </a:cubicBezTo>
                  <a:cubicBezTo>
                    <a:pt x="135" y="90"/>
                    <a:pt x="135" y="90"/>
                    <a:pt x="135" y="90"/>
                  </a:cubicBezTo>
                  <a:cubicBezTo>
                    <a:pt x="135" y="89"/>
                    <a:pt x="135" y="89"/>
                    <a:pt x="135" y="89"/>
                  </a:cubicBezTo>
                  <a:cubicBezTo>
                    <a:pt x="136" y="88"/>
                    <a:pt x="136" y="88"/>
                    <a:pt x="136" y="88"/>
                  </a:cubicBezTo>
                  <a:cubicBezTo>
                    <a:pt x="136" y="87"/>
                    <a:pt x="136" y="87"/>
                    <a:pt x="136" y="87"/>
                  </a:cubicBezTo>
                  <a:cubicBezTo>
                    <a:pt x="136" y="86"/>
                    <a:pt x="136" y="86"/>
                    <a:pt x="136" y="86"/>
                  </a:cubicBezTo>
                  <a:cubicBezTo>
                    <a:pt x="137" y="85"/>
                    <a:pt x="137" y="85"/>
                    <a:pt x="137" y="85"/>
                  </a:cubicBezTo>
                  <a:cubicBezTo>
                    <a:pt x="137" y="84"/>
                    <a:pt x="137" y="84"/>
                    <a:pt x="137" y="84"/>
                  </a:cubicBezTo>
                  <a:cubicBezTo>
                    <a:pt x="137" y="83"/>
                    <a:pt x="137" y="83"/>
                    <a:pt x="137" y="83"/>
                  </a:cubicBezTo>
                  <a:cubicBezTo>
                    <a:pt x="138" y="82"/>
                    <a:pt x="138" y="82"/>
                    <a:pt x="138" y="82"/>
                  </a:cubicBezTo>
                  <a:cubicBezTo>
                    <a:pt x="138" y="81"/>
                    <a:pt x="138" y="81"/>
                    <a:pt x="138" y="81"/>
                  </a:cubicBezTo>
                  <a:cubicBezTo>
                    <a:pt x="138" y="81"/>
                    <a:pt x="138" y="81"/>
                    <a:pt x="138" y="81"/>
                  </a:cubicBezTo>
                  <a:cubicBezTo>
                    <a:pt x="138" y="80"/>
                    <a:pt x="138" y="80"/>
                    <a:pt x="138" y="80"/>
                  </a:cubicBezTo>
                  <a:cubicBezTo>
                    <a:pt x="138" y="79"/>
                    <a:pt x="138" y="79"/>
                    <a:pt x="138" y="79"/>
                  </a:cubicBezTo>
                  <a:cubicBezTo>
                    <a:pt x="138" y="78"/>
                    <a:pt x="138" y="78"/>
                    <a:pt x="138" y="78"/>
                  </a:cubicBezTo>
                  <a:cubicBezTo>
                    <a:pt x="138" y="77"/>
                    <a:pt x="138" y="77"/>
                    <a:pt x="138" y="77"/>
                  </a:cubicBezTo>
                  <a:cubicBezTo>
                    <a:pt x="138" y="76"/>
                    <a:pt x="138" y="76"/>
                    <a:pt x="138" y="76"/>
                  </a:cubicBezTo>
                  <a:cubicBezTo>
                    <a:pt x="138" y="75"/>
                    <a:pt x="138" y="75"/>
                    <a:pt x="138" y="75"/>
                  </a:cubicBezTo>
                  <a:cubicBezTo>
                    <a:pt x="137" y="74"/>
                    <a:pt x="137" y="74"/>
                    <a:pt x="137" y="74"/>
                  </a:cubicBezTo>
                  <a:cubicBezTo>
                    <a:pt x="137" y="73"/>
                    <a:pt x="137" y="73"/>
                    <a:pt x="137" y="73"/>
                  </a:cubicBezTo>
                  <a:cubicBezTo>
                    <a:pt x="137" y="72"/>
                    <a:pt x="137" y="72"/>
                    <a:pt x="137" y="72"/>
                  </a:cubicBezTo>
                  <a:cubicBezTo>
                    <a:pt x="137" y="71"/>
                    <a:pt x="137" y="71"/>
                    <a:pt x="137" y="71"/>
                  </a:cubicBezTo>
                  <a:cubicBezTo>
                    <a:pt x="136" y="71"/>
                    <a:pt x="136" y="71"/>
                    <a:pt x="136" y="71"/>
                  </a:cubicBezTo>
                  <a:cubicBezTo>
                    <a:pt x="136" y="70"/>
                    <a:pt x="136" y="70"/>
                    <a:pt x="136" y="70"/>
                  </a:cubicBezTo>
                  <a:cubicBezTo>
                    <a:pt x="136" y="69"/>
                    <a:pt x="136" y="69"/>
                    <a:pt x="136" y="69"/>
                  </a:cubicBezTo>
                  <a:cubicBezTo>
                    <a:pt x="135" y="68"/>
                    <a:pt x="135" y="68"/>
                    <a:pt x="135" y="68"/>
                  </a:cubicBezTo>
                  <a:cubicBezTo>
                    <a:pt x="135" y="67"/>
                    <a:pt x="135" y="67"/>
                    <a:pt x="135" y="67"/>
                  </a:cubicBezTo>
                  <a:cubicBezTo>
                    <a:pt x="134" y="66"/>
                    <a:pt x="134" y="66"/>
                    <a:pt x="134" y="66"/>
                  </a:cubicBezTo>
                  <a:cubicBezTo>
                    <a:pt x="133" y="65"/>
                    <a:pt x="133" y="65"/>
                    <a:pt x="133" y="65"/>
                  </a:cubicBezTo>
                  <a:cubicBezTo>
                    <a:pt x="132" y="64"/>
                    <a:pt x="132" y="64"/>
                    <a:pt x="132" y="64"/>
                  </a:cubicBezTo>
                  <a:cubicBezTo>
                    <a:pt x="131" y="64"/>
                    <a:pt x="131" y="64"/>
                    <a:pt x="131" y="64"/>
                  </a:cubicBezTo>
                  <a:cubicBezTo>
                    <a:pt x="131" y="63"/>
                    <a:pt x="131" y="63"/>
                    <a:pt x="131" y="63"/>
                  </a:cubicBezTo>
                  <a:cubicBezTo>
                    <a:pt x="130" y="62"/>
                    <a:pt x="130" y="62"/>
                    <a:pt x="130" y="62"/>
                  </a:cubicBezTo>
                  <a:cubicBezTo>
                    <a:pt x="129" y="62"/>
                    <a:pt x="129" y="62"/>
                    <a:pt x="129" y="62"/>
                  </a:cubicBezTo>
                  <a:cubicBezTo>
                    <a:pt x="128" y="61"/>
                    <a:pt x="128" y="61"/>
                    <a:pt x="128" y="61"/>
                  </a:cubicBezTo>
                  <a:cubicBezTo>
                    <a:pt x="127" y="61"/>
                    <a:pt x="127" y="61"/>
                    <a:pt x="127" y="61"/>
                  </a:cubicBezTo>
                  <a:cubicBezTo>
                    <a:pt x="126" y="60"/>
                    <a:pt x="126" y="60"/>
                    <a:pt x="126" y="60"/>
                  </a:cubicBezTo>
                  <a:cubicBezTo>
                    <a:pt x="125" y="60"/>
                    <a:pt x="125" y="60"/>
                    <a:pt x="125" y="60"/>
                  </a:cubicBezTo>
                  <a:cubicBezTo>
                    <a:pt x="124" y="60"/>
                    <a:pt x="124" y="60"/>
                    <a:pt x="124" y="60"/>
                  </a:cubicBezTo>
                  <a:cubicBezTo>
                    <a:pt x="123" y="60"/>
                    <a:pt x="123" y="60"/>
                    <a:pt x="123" y="60"/>
                  </a:cubicBezTo>
                  <a:cubicBezTo>
                    <a:pt x="122" y="60"/>
                    <a:pt x="122" y="60"/>
                    <a:pt x="122" y="60"/>
                  </a:cubicBezTo>
                  <a:cubicBezTo>
                    <a:pt x="122" y="60"/>
                    <a:pt x="122" y="60"/>
                    <a:pt x="122" y="60"/>
                  </a:cubicBezTo>
                  <a:cubicBezTo>
                    <a:pt x="121" y="60"/>
                    <a:pt x="121" y="60"/>
                    <a:pt x="121" y="60"/>
                  </a:cubicBezTo>
                  <a:cubicBezTo>
                    <a:pt x="119" y="60"/>
                    <a:pt x="119" y="60"/>
                    <a:pt x="119" y="60"/>
                  </a:cubicBezTo>
                  <a:cubicBezTo>
                    <a:pt x="118" y="60"/>
                    <a:pt x="118" y="60"/>
                    <a:pt x="118" y="60"/>
                  </a:cubicBezTo>
                  <a:cubicBezTo>
                    <a:pt x="117" y="60"/>
                    <a:pt x="117" y="60"/>
                    <a:pt x="117" y="60"/>
                  </a:cubicBezTo>
                  <a:cubicBezTo>
                    <a:pt x="116" y="61"/>
                    <a:pt x="116" y="61"/>
                    <a:pt x="116" y="61"/>
                  </a:cubicBezTo>
                  <a:cubicBezTo>
                    <a:pt x="115" y="61"/>
                    <a:pt x="115" y="61"/>
                    <a:pt x="115" y="61"/>
                  </a:cubicBezTo>
                  <a:cubicBezTo>
                    <a:pt x="114" y="61"/>
                    <a:pt x="114" y="61"/>
                    <a:pt x="114" y="61"/>
                  </a:cubicBezTo>
                  <a:cubicBezTo>
                    <a:pt x="111" y="62"/>
                    <a:pt x="111" y="62"/>
                    <a:pt x="111" y="62"/>
                  </a:cubicBezTo>
                  <a:cubicBezTo>
                    <a:pt x="109" y="63"/>
                    <a:pt x="109" y="63"/>
                    <a:pt x="109" y="63"/>
                  </a:cubicBezTo>
                  <a:cubicBezTo>
                    <a:pt x="106" y="64"/>
                    <a:pt x="106" y="64"/>
                    <a:pt x="106" y="64"/>
                  </a:cubicBezTo>
                  <a:cubicBezTo>
                    <a:pt x="103" y="66"/>
                    <a:pt x="103" y="66"/>
                    <a:pt x="103" y="66"/>
                  </a:cubicBezTo>
                  <a:cubicBezTo>
                    <a:pt x="100" y="67"/>
                    <a:pt x="100" y="67"/>
                    <a:pt x="100" y="67"/>
                  </a:cubicBezTo>
                  <a:cubicBezTo>
                    <a:pt x="95" y="70"/>
                    <a:pt x="95" y="70"/>
                    <a:pt x="95" y="70"/>
                  </a:cubicBezTo>
                  <a:cubicBezTo>
                    <a:pt x="92" y="71"/>
                    <a:pt x="92" y="71"/>
                    <a:pt x="92" y="71"/>
                  </a:cubicBezTo>
                  <a:cubicBezTo>
                    <a:pt x="89" y="72"/>
                    <a:pt x="89" y="72"/>
                    <a:pt x="89" y="72"/>
                  </a:cubicBezTo>
                  <a:cubicBezTo>
                    <a:pt x="87" y="73"/>
                    <a:pt x="87" y="73"/>
                    <a:pt x="87" y="73"/>
                  </a:cubicBezTo>
                  <a:cubicBezTo>
                    <a:pt x="85" y="74"/>
                    <a:pt x="85" y="74"/>
                    <a:pt x="85" y="74"/>
                  </a:cubicBezTo>
                  <a:cubicBezTo>
                    <a:pt x="83" y="74"/>
                    <a:pt x="83" y="74"/>
                    <a:pt x="83" y="74"/>
                  </a:cubicBezTo>
                  <a:cubicBezTo>
                    <a:pt x="81" y="75"/>
                    <a:pt x="81" y="75"/>
                    <a:pt x="81" y="75"/>
                  </a:cubicBezTo>
                  <a:cubicBezTo>
                    <a:pt x="79" y="75"/>
                    <a:pt x="79" y="75"/>
                    <a:pt x="79" y="75"/>
                  </a:cubicBezTo>
                  <a:cubicBezTo>
                    <a:pt x="76" y="76"/>
                    <a:pt x="76" y="76"/>
                    <a:pt x="76" y="76"/>
                  </a:cubicBezTo>
                  <a:cubicBezTo>
                    <a:pt x="74" y="76"/>
                    <a:pt x="74" y="76"/>
                    <a:pt x="74" y="76"/>
                  </a:cubicBezTo>
                  <a:cubicBezTo>
                    <a:pt x="71" y="76"/>
                    <a:pt x="71" y="76"/>
                    <a:pt x="71" y="76"/>
                  </a:cubicBezTo>
                  <a:lnTo>
                    <a:pt x="72" y="75"/>
                  </a:lnTo>
                  <a:close/>
                  <a:moveTo>
                    <a:pt x="91" y="98"/>
                  </a:moveTo>
                  <a:cubicBezTo>
                    <a:pt x="92" y="99"/>
                    <a:pt x="92" y="99"/>
                    <a:pt x="92" y="99"/>
                  </a:cubicBezTo>
                  <a:cubicBezTo>
                    <a:pt x="93" y="99"/>
                    <a:pt x="93" y="99"/>
                    <a:pt x="93" y="99"/>
                  </a:cubicBezTo>
                  <a:cubicBezTo>
                    <a:pt x="94" y="99"/>
                    <a:pt x="94" y="99"/>
                    <a:pt x="94" y="99"/>
                  </a:cubicBezTo>
                  <a:cubicBezTo>
                    <a:pt x="96" y="99"/>
                    <a:pt x="96" y="99"/>
                    <a:pt x="96" y="99"/>
                  </a:cubicBezTo>
                  <a:cubicBezTo>
                    <a:pt x="97" y="99"/>
                    <a:pt x="97" y="99"/>
                    <a:pt x="97" y="99"/>
                  </a:cubicBezTo>
                  <a:cubicBezTo>
                    <a:pt x="98" y="99"/>
                    <a:pt x="98" y="99"/>
                    <a:pt x="98" y="99"/>
                  </a:cubicBezTo>
                  <a:cubicBezTo>
                    <a:pt x="99" y="99"/>
                    <a:pt x="99" y="99"/>
                    <a:pt x="99" y="99"/>
                  </a:cubicBezTo>
                  <a:cubicBezTo>
                    <a:pt x="100" y="99"/>
                    <a:pt x="100" y="99"/>
                    <a:pt x="100" y="99"/>
                  </a:cubicBezTo>
                  <a:cubicBezTo>
                    <a:pt x="101" y="99"/>
                    <a:pt x="101" y="99"/>
                    <a:pt x="101" y="99"/>
                  </a:cubicBezTo>
                  <a:cubicBezTo>
                    <a:pt x="102" y="99"/>
                    <a:pt x="102" y="99"/>
                    <a:pt x="102" y="99"/>
                  </a:cubicBezTo>
                  <a:cubicBezTo>
                    <a:pt x="104" y="99"/>
                    <a:pt x="104" y="99"/>
                    <a:pt x="104" y="99"/>
                  </a:cubicBezTo>
                  <a:cubicBezTo>
                    <a:pt x="105" y="99"/>
                    <a:pt x="105" y="99"/>
                    <a:pt x="105" y="99"/>
                  </a:cubicBezTo>
                  <a:cubicBezTo>
                    <a:pt x="106" y="99"/>
                    <a:pt x="106" y="99"/>
                    <a:pt x="106" y="99"/>
                  </a:cubicBezTo>
                  <a:cubicBezTo>
                    <a:pt x="107" y="98"/>
                    <a:pt x="107" y="98"/>
                    <a:pt x="107" y="98"/>
                  </a:cubicBezTo>
                  <a:cubicBezTo>
                    <a:pt x="108" y="98"/>
                    <a:pt x="108" y="98"/>
                    <a:pt x="108" y="98"/>
                  </a:cubicBezTo>
                  <a:cubicBezTo>
                    <a:pt x="109" y="98"/>
                    <a:pt x="109" y="98"/>
                    <a:pt x="109" y="98"/>
                  </a:cubicBezTo>
                  <a:cubicBezTo>
                    <a:pt x="110" y="97"/>
                    <a:pt x="110" y="97"/>
                    <a:pt x="110" y="97"/>
                  </a:cubicBezTo>
                  <a:cubicBezTo>
                    <a:pt x="111" y="97"/>
                    <a:pt x="111" y="97"/>
                    <a:pt x="111" y="97"/>
                  </a:cubicBezTo>
                  <a:cubicBezTo>
                    <a:pt x="112" y="96"/>
                    <a:pt x="112" y="96"/>
                    <a:pt x="112" y="96"/>
                  </a:cubicBezTo>
                  <a:cubicBezTo>
                    <a:pt x="113" y="96"/>
                    <a:pt x="113" y="96"/>
                    <a:pt x="113" y="96"/>
                  </a:cubicBezTo>
                  <a:cubicBezTo>
                    <a:pt x="114" y="95"/>
                    <a:pt x="114" y="95"/>
                    <a:pt x="114" y="95"/>
                  </a:cubicBezTo>
                  <a:cubicBezTo>
                    <a:pt x="115" y="95"/>
                    <a:pt x="115" y="95"/>
                    <a:pt x="115" y="95"/>
                  </a:cubicBezTo>
                  <a:cubicBezTo>
                    <a:pt x="116" y="94"/>
                    <a:pt x="116" y="94"/>
                    <a:pt x="116" y="94"/>
                  </a:cubicBezTo>
                  <a:cubicBezTo>
                    <a:pt x="117" y="93"/>
                    <a:pt x="117" y="93"/>
                    <a:pt x="117" y="93"/>
                  </a:cubicBezTo>
                  <a:cubicBezTo>
                    <a:pt x="118" y="93"/>
                    <a:pt x="118" y="93"/>
                    <a:pt x="118" y="93"/>
                  </a:cubicBezTo>
                  <a:cubicBezTo>
                    <a:pt x="118" y="92"/>
                    <a:pt x="118" y="92"/>
                    <a:pt x="118" y="92"/>
                  </a:cubicBezTo>
                  <a:cubicBezTo>
                    <a:pt x="119" y="92"/>
                    <a:pt x="119" y="92"/>
                    <a:pt x="119" y="92"/>
                  </a:cubicBezTo>
                  <a:cubicBezTo>
                    <a:pt x="120" y="91"/>
                    <a:pt x="120" y="91"/>
                    <a:pt x="120" y="91"/>
                  </a:cubicBezTo>
                  <a:cubicBezTo>
                    <a:pt x="121" y="90"/>
                    <a:pt x="121" y="90"/>
                    <a:pt x="121" y="90"/>
                  </a:cubicBezTo>
                  <a:cubicBezTo>
                    <a:pt x="121" y="89"/>
                    <a:pt x="121" y="89"/>
                    <a:pt x="121" y="89"/>
                  </a:cubicBezTo>
                  <a:cubicBezTo>
                    <a:pt x="122" y="89"/>
                    <a:pt x="122" y="89"/>
                    <a:pt x="122" y="89"/>
                  </a:cubicBezTo>
                  <a:cubicBezTo>
                    <a:pt x="123" y="88"/>
                    <a:pt x="123" y="88"/>
                    <a:pt x="123" y="88"/>
                  </a:cubicBezTo>
                  <a:cubicBezTo>
                    <a:pt x="123" y="87"/>
                    <a:pt x="123" y="87"/>
                    <a:pt x="123" y="87"/>
                  </a:cubicBezTo>
                  <a:cubicBezTo>
                    <a:pt x="124" y="86"/>
                    <a:pt x="124" y="86"/>
                    <a:pt x="124" y="86"/>
                  </a:cubicBezTo>
                  <a:cubicBezTo>
                    <a:pt x="124" y="85"/>
                    <a:pt x="124" y="85"/>
                    <a:pt x="124" y="85"/>
                  </a:cubicBezTo>
                  <a:cubicBezTo>
                    <a:pt x="125" y="85"/>
                    <a:pt x="125" y="85"/>
                    <a:pt x="125" y="85"/>
                  </a:cubicBezTo>
                  <a:cubicBezTo>
                    <a:pt x="125" y="84"/>
                    <a:pt x="125" y="84"/>
                    <a:pt x="125" y="84"/>
                  </a:cubicBezTo>
                  <a:cubicBezTo>
                    <a:pt x="125" y="83"/>
                    <a:pt x="125" y="83"/>
                    <a:pt x="125" y="83"/>
                  </a:cubicBezTo>
                  <a:cubicBezTo>
                    <a:pt x="125" y="82"/>
                    <a:pt x="125" y="82"/>
                    <a:pt x="125" y="82"/>
                  </a:cubicBezTo>
                  <a:cubicBezTo>
                    <a:pt x="126" y="81"/>
                    <a:pt x="126" y="81"/>
                    <a:pt x="126" y="81"/>
                  </a:cubicBezTo>
                  <a:cubicBezTo>
                    <a:pt x="126" y="81"/>
                    <a:pt x="126" y="81"/>
                    <a:pt x="126" y="81"/>
                  </a:cubicBezTo>
                  <a:cubicBezTo>
                    <a:pt x="126" y="80"/>
                    <a:pt x="126" y="80"/>
                    <a:pt x="126" y="80"/>
                  </a:cubicBezTo>
                  <a:cubicBezTo>
                    <a:pt x="126" y="79"/>
                    <a:pt x="126" y="79"/>
                    <a:pt x="126" y="79"/>
                  </a:cubicBezTo>
                  <a:cubicBezTo>
                    <a:pt x="126" y="79"/>
                    <a:pt x="126" y="79"/>
                    <a:pt x="126" y="79"/>
                  </a:cubicBezTo>
                  <a:cubicBezTo>
                    <a:pt x="125" y="78"/>
                    <a:pt x="125" y="78"/>
                    <a:pt x="125" y="78"/>
                  </a:cubicBezTo>
                  <a:cubicBezTo>
                    <a:pt x="125" y="78"/>
                    <a:pt x="125" y="78"/>
                    <a:pt x="125" y="78"/>
                  </a:cubicBezTo>
                  <a:cubicBezTo>
                    <a:pt x="125" y="77"/>
                    <a:pt x="125" y="77"/>
                    <a:pt x="125" y="77"/>
                  </a:cubicBezTo>
                  <a:cubicBezTo>
                    <a:pt x="125" y="76"/>
                    <a:pt x="125" y="76"/>
                    <a:pt x="125" y="76"/>
                  </a:cubicBezTo>
                  <a:cubicBezTo>
                    <a:pt x="124" y="76"/>
                    <a:pt x="124" y="76"/>
                    <a:pt x="124" y="76"/>
                  </a:cubicBezTo>
                  <a:cubicBezTo>
                    <a:pt x="124" y="75"/>
                    <a:pt x="124" y="75"/>
                    <a:pt x="124" y="75"/>
                  </a:cubicBezTo>
                  <a:cubicBezTo>
                    <a:pt x="123" y="75"/>
                    <a:pt x="123" y="75"/>
                    <a:pt x="123" y="75"/>
                  </a:cubicBezTo>
                  <a:cubicBezTo>
                    <a:pt x="123" y="75"/>
                    <a:pt x="123" y="75"/>
                    <a:pt x="123" y="75"/>
                  </a:cubicBezTo>
                  <a:cubicBezTo>
                    <a:pt x="122" y="74"/>
                    <a:pt x="122" y="74"/>
                    <a:pt x="122" y="74"/>
                  </a:cubicBezTo>
                  <a:cubicBezTo>
                    <a:pt x="122" y="74"/>
                    <a:pt x="122" y="74"/>
                    <a:pt x="122" y="74"/>
                  </a:cubicBezTo>
                  <a:cubicBezTo>
                    <a:pt x="121" y="74"/>
                    <a:pt x="121" y="74"/>
                    <a:pt x="121" y="74"/>
                  </a:cubicBezTo>
                  <a:cubicBezTo>
                    <a:pt x="121" y="74"/>
                    <a:pt x="121" y="74"/>
                    <a:pt x="121" y="74"/>
                  </a:cubicBezTo>
                  <a:cubicBezTo>
                    <a:pt x="120" y="74"/>
                    <a:pt x="120" y="74"/>
                    <a:pt x="120" y="74"/>
                  </a:cubicBezTo>
                  <a:cubicBezTo>
                    <a:pt x="119" y="73"/>
                    <a:pt x="119" y="73"/>
                    <a:pt x="119" y="73"/>
                  </a:cubicBezTo>
                  <a:cubicBezTo>
                    <a:pt x="119" y="73"/>
                    <a:pt x="119" y="73"/>
                    <a:pt x="119" y="73"/>
                  </a:cubicBezTo>
                  <a:cubicBezTo>
                    <a:pt x="118" y="73"/>
                    <a:pt x="118" y="73"/>
                    <a:pt x="118" y="73"/>
                  </a:cubicBezTo>
                  <a:cubicBezTo>
                    <a:pt x="117" y="73"/>
                    <a:pt x="117" y="73"/>
                    <a:pt x="117" y="73"/>
                  </a:cubicBezTo>
                  <a:cubicBezTo>
                    <a:pt x="117" y="73"/>
                    <a:pt x="117" y="73"/>
                    <a:pt x="117" y="73"/>
                  </a:cubicBezTo>
                  <a:cubicBezTo>
                    <a:pt x="116" y="74"/>
                    <a:pt x="116" y="74"/>
                    <a:pt x="116" y="74"/>
                  </a:cubicBezTo>
                  <a:cubicBezTo>
                    <a:pt x="114" y="74"/>
                    <a:pt x="114" y="74"/>
                    <a:pt x="114" y="74"/>
                  </a:cubicBezTo>
                  <a:cubicBezTo>
                    <a:pt x="112" y="74"/>
                    <a:pt x="112" y="74"/>
                    <a:pt x="112" y="74"/>
                  </a:cubicBezTo>
                  <a:cubicBezTo>
                    <a:pt x="110" y="75"/>
                    <a:pt x="110" y="75"/>
                    <a:pt x="110" y="75"/>
                  </a:cubicBezTo>
                  <a:cubicBezTo>
                    <a:pt x="108" y="76"/>
                    <a:pt x="108" y="76"/>
                    <a:pt x="108" y="76"/>
                  </a:cubicBezTo>
                  <a:cubicBezTo>
                    <a:pt x="106" y="77"/>
                    <a:pt x="106" y="77"/>
                    <a:pt x="106" y="77"/>
                  </a:cubicBezTo>
                  <a:cubicBezTo>
                    <a:pt x="104" y="78"/>
                    <a:pt x="104" y="78"/>
                    <a:pt x="104" y="78"/>
                  </a:cubicBezTo>
                  <a:cubicBezTo>
                    <a:pt x="99" y="80"/>
                    <a:pt x="99" y="80"/>
                    <a:pt x="99" y="80"/>
                  </a:cubicBezTo>
                  <a:cubicBezTo>
                    <a:pt x="95" y="81"/>
                    <a:pt x="95" y="81"/>
                    <a:pt x="95" y="81"/>
                  </a:cubicBezTo>
                  <a:cubicBezTo>
                    <a:pt x="91" y="83"/>
                    <a:pt x="91" y="83"/>
                    <a:pt x="91" y="83"/>
                  </a:cubicBezTo>
                  <a:cubicBezTo>
                    <a:pt x="90" y="83"/>
                    <a:pt x="90" y="83"/>
                    <a:pt x="90" y="83"/>
                  </a:cubicBezTo>
                  <a:cubicBezTo>
                    <a:pt x="89" y="84"/>
                    <a:pt x="89" y="84"/>
                    <a:pt x="89" y="84"/>
                  </a:cubicBezTo>
                  <a:cubicBezTo>
                    <a:pt x="87" y="85"/>
                    <a:pt x="87" y="85"/>
                    <a:pt x="87" y="85"/>
                  </a:cubicBezTo>
                  <a:cubicBezTo>
                    <a:pt x="84" y="85"/>
                    <a:pt x="84" y="85"/>
                    <a:pt x="84" y="85"/>
                  </a:cubicBezTo>
                  <a:cubicBezTo>
                    <a:pt x="81" y="86"/>
                    <a:pt x="81" y="86"/>
                    <a:pt x="81" y="86"/>
                  </a:cubicBezTo>
                  <a:cubicBezTo>
                    <a:pt x="78" y="86"/>
                    <a:pt x="78" y="86"/>
                    <a:pt x="78" y="86"/>
                  </a:cubicBezTo>
                  <a:cubicBezTo>
                    <a:pt x="75" y="87"/>
                    <a:pt x="75" y="87"/>
                    <a:pt x="75" y="87"/>
                  </a:cubicBezTo>
                  <a:cubicBezTo>
                    <a:pt x="72" y="87"/>
                    <a:pt x="72" y="87"/>
                    <a:pt x="72" y="87"/>
                  </a:cubicBezTo>
                  <a:cubicBezTo>
                    <a:pt x="68" y="87"/>
                    <a:pt x="68" y="87"/>
                    <a:pt x="68" y="87"/>
                  </a:cubicBezTo>
                  <a:cubicBezTo>
                    <a:pt x="68" y="86"/>
                    <a:pt x="68" y="86"/>
                    <a:pt x="68" y="86"/>
                  </a:cubicBezTo>
                  <a:cubicBezTo>
                    <a:pt x="69" y="84"/>
                    <a:pt x="69" y="84"/>
                    <a:pt x="69" y="84"/>
                  </a:cubicBezTo>
                  <a:cubicBezTo>
                    <a:pt x="69" y="83"/>
                    <a:pt x="69" y="83"/>
                    <a:pt x="69" y="83"/>
                  </a:cubicBezTo>
                  <a:cubicBezTo>
                    <a:pt x="70" y="81"/>
                    <a:pt x="70" y="81"/>
                    <a:pt x="70" y="81"/>
                  </a:cubicBezTo>
                  <a:cubicBezTo>
                    <a:pt x="73" y="81"/>
                    <a:pt x="73" y="81"/>
                    <a:pt x="73" y="81"/>
                  </a:cubicBezTo>
                  <a:cubicBezTo>
                    <a:pt x="76" y="80"/>
                    <a:pt x="76" y="80"/>
                    <a:pt x="76" y="80"/>
                  </a:cubicBezTo>
                  <a:cubicBezTo>
                    <a:pt x="78" y="80"/>
                    <a:pt x="78" y="80"/>
                    <a:pt x="78" y="80"/>
                  </a:cubicBezTo>
                  <a:cubicBezTo>
                    <a:pt x="81" y="79"/>
                    <a:pt x="81" y="79"/>
                    <a:pt x="81" y="79"/>
                  </a:cubicBezTo>
                  <a:cubicBezTo>
                    <a:pt x="83" y="79"/>
                    <a:pt x="83" y="79"/>
                    <a:pt x="83" y="79"/>
                  </a:cubicBezTo>
                  <a:cubicBezTo>
                    <a:pt x="85" y="78"/>
                    <a:pt x="85" y="78"/>
                    <a:pt x="85" y="78"/>
                  </a:cubicBezTo>
                  <a:cubicBezTo>
                    <a:pt x="87" y="78"/>
                    <a:pt x="87" y="78"/>
                    <a:pt x="87" y="78"/>
                  </a:cubicBezTo>
                  <a:cubicBezTo>
                    <a:pt x="89" y="77"/>
                    <a:pt x="89" y="77"/>
                    <a:pt x="89" y="77"/>
                  </a:cubicBezTo>
                  <a:cubicBezTo>
                    <a:pt x="93" y="76"/>
                    <a:pt x="93" y="76"/>
                    <a:pt x="93" y="76"/>
                  </a:cubicBezTo>
                  <a:cubicBezTo>
                    <a:pt x="96" y="74"/>
                    <a:pt x="96" y="74"/>
                    <a:pt x="96" y="74"/>
                  </a:cubicBezTo>
                  <a:cubicBezTo>
                    <a:pt x="102" y="72"/>
                    <a:pt x="102" y="72"/>
                    <a:pt x="102" y="72"/>
                  </a:cubicBezTo>
                  <a:cubicBezTo>
                    <a:pt x="104" y="71"/>
                    <a:pt x="104" y="71"/>
                    <a:pt x="104" y="71"/>
                  </a:cubicBezTo>
                  <a:cubicBezTo>
                    <a:pt x="107" y="70"/>
                    <a:pt x="107" y="70"/>
                    <a:pt x="107" y="70"/>
                  </a:cubicBezTo>
                  <a:cubicBezTo>
                    <a:pt x="109" y="69"/>
                    <a:pt x="109" y="69"/>
                    <a:pt x="109" y="69"/>
                  </a:cubicBezTo>
                  <a:cubicBezTo>
                    <a:pt x="112" y="68"/>
                    <a:pt x="112" y="68"/>
                    <a:pt x="112" y="68"/>
                  </a:cubicBezTo>
                  <a:cubicBezTo>
                    <a:pt x="113" y="68"/>
                    <a:pt x="113" y="68"/>
                    <a:pt x="113" y="68"/>
                  </a:cubicBezTo>
                  <a:cubicBezTo>
                    <a:pt x="114" y="68"/>
                    <a:pt x="114" y="68"/>
                    <a:pt x="114" y="68"/>
                  </a:cubicBezTo>
                  <a:cubicBezTo>
                    <a:pt x="115" y="67"/>
                    <a:pt x="115" y="67"/>
                    <a:pt x="115" y="67"/>
                  </a:cubicBezTo>
                  <a:cubicBezTo>
                    <a:pt x="116" y="67"/>
                    <a:pt x="116" y="67"/>
                    <a:pt x="116" y="67"/>
                  </a:cubicBezTo>
                  <a:cubicBezTo>
                    <a:pt x="117" y="67"/>
                    <a:pt x="117" y="67"/>
                    <a:pt x="117" y="67"/>
                  </a:cubicBezTo>
                  <a:cubicBezTo>
                    <a:pt x="118" y="67"/>
                    <a:pt x="118" y="67"/>
                    <a:pt x="118" y="67"/>
                  </a:cubicBezTo>
                  <a:cubicBezTo>
                    <a:pt x="119" y="67"/>
                    <a:pt x="119" y="67"/>
                    <a:pt x="119" y="67"/>
                  </a:cubicBezTo>
                  <a:cubicBezTo>
                    <a:pt x="120" y="67"/>
                    <a:pt x="120" y="67"/>
                    <a:pt x="120" y="67"/>
                  </a:cubicBezTo>
                  <a:cubicBezTo>
                    <a:pt x="121" y="67"/>
                    <a:pt x="121" y="67"/>
                    <a:pt x="121" y="67"/>
                  </a:cubicBezTo>
                  <a:cubicBezTo>
                    <a:pt x="122" y="68"/>
                    <a:pt x="122" y="68"/>
                    <a:pt x="122" y="68"/>
                  </a:cubicBezTo>
                  <a:cubicBezTo>
                    <a:pt x="123" y="68"/>
                    <a:pt x="123" y="68"/>
                    <a:pt x="123" y="68"/>
                  </a:cubicBezTo>
                  <a:cubicBezTo>
                    <a:pt x="124" y="68"/>
                    <a:pt x="124" y="68"/>
                    <a:pt x="124" y="68"/>
                  </a:cubicBezTo>
                  <a:cubicBezTo>
                    <a:pt x="125" y="69"/>
                    <a:pt x="125" y="69"/>
                    <a:pt x="125" y="69"/>
                  </a:cubicBezTo>
                  <a:cubicBezTo>
                    <a:pt x="126" y="69"/>
                    <a:pt x="126" y="69"/>
                    <a:pt x="126" y="69"/>
                  </a:cubicBezTo>
                  <a:cubicBezTo>
                    <a:pt x="126" y="70"/>
                    <a:pt x="126" y="70"/>
                    <a:pt x="126" y="70"/>
                  </a:cubicBezTo>
                  <a:cubicBezTo>
                    <a:pt x="127" y="70"/>
                    <a:pt x="127" y="70"/>
                    <a:pt x="127" y="70"/>
                  </a:cubicBezTo>
                  <a:cubicBezTo>
                    <a:pt x="128" y="71"/>
                    <a:pt x="128" y="71"/>
                    <a:pt x="128" y="71"/>
                  </a:cubicBezTo>
                  <a:cubicBezTo>
                    <a:pt x="129" y="72"/>
                    <a:pt x="129" y="72"/>
                    <a:pt x="129" y="72"/>
                  </a:cubicBezTo>
                  <a:cubicBezTo>
                    <a:pt x="129" y="73"/>
                    <a:pt x="129" y="73"/>
                    <a:pt x="129" y="73"/>
                  </a:cubicBezTo>
                  <a:cubicBezTo>
                    <a:pt x="130" y="74"/>
                    <a:pt x="130" y="74"/>
                    <a:pt x="130" y="74"/>
                  </a:cubicBezTo>
                  <a:cubicBezTo>
                    <a:pt x="131" y="75"/>
                    <a:pt x="131" y="75"/>
                    <a:pt x="131" y="75"/>
                  </a:cubicBezTo>
                  <a:cubicBezTo>
                    <a:pt x="131" y="76"/>
                    <a:pt x="131" y="76"/>
                    <a:pt x="131" y="76"/>
                  </a:cubicBezTo>
                  <a:cubicBezTo>
                    <a:pt x="131" y="77"/>
                    <a:pt x="131" y="77"/>
                    <a:pt x="131" y="77"/>
                  </a:cubicBezTo>
                  <a:cubicBezTo>
                    <a:pt x="132" y="78"/>
                    <a:pt x="132" y="78"/>
                    <a:pt x="132" y="78"/>
                  </a:cubicBezTo>
                  <a:cubicBezTo>
                    <a:pt x="132" y="79"/>
                    <a:pt x="132" y="79"/>
                    <a:pt x="132" y="79"/>
                  </a:cubicBezTo>
                  <a:cubicBezTo>
                    <a:pt x="132" y="80"/>
                    <a:pt x="132" y="80"/>
                    <a:pt x="132" y="80"/>
                  </a:cubicBezTo>
                  <a:cubicBezTo>
                    <a:pt x="132" y="81"/>
                    <a:pt x="132" y="81"/>
                    <a:pt x="132" y="81"/>
                  </a:cubicBezTo>
                  <a:cubicBezTo>
                    <a:pt x="132" y="83"/>
                    <a:pt x="132" y="83"/>
                    <a:pt x="132" y="83"/>
                  </a:cubicBezTo>
                  <a:cubicBezTo>
                    <a:pt x="131" y="84"/>
                    <a:pt x="131" y="84"/>
                    <a:pt x="131" y="84"/>
                  </a:cubicBezTo>
                  <a:cubicBezTo>
                    <a:pt x="131" y="85"/>
                    <a:pt x="131" y="85"/>
                    <a:pt x="131" y="85"/>
                  </a:cubicBezTo>
                  <a:cubicBezTo>
                    <a:pt x="130" y="86"/>
                    <a:pt x="130" y="86"/>
                    <a:pt x="130" y="86"/>
                  </a:cubicBezTo>
                  <a:cubicBezTo>
                    <a:pt x="130" y="88"/>
                    <a:pt x="130" y="88"/>
                    <a:pt x="130" y="88"/>
                  </a:cubicBezTo>
                  <a:cubicBezTo>
                    <a:pt x="129" y="89"/>
                    <a:pt x="129" y="89"/>
                    <a:pt x="129" y="89"/>
                  </a:cubicBezTo>
                  <a:cubicBezTo>
                    <a:pt x="128" y="90"/>
                    <a:pt x="128" y="90"/>
                    <a:pt x="128" y="90"/>
                  </a:cubicBezTo>
                  <a:cubicBezTo>
                    <a:pt x="128" y="91"/>
                    <a:pt x="128" y="91"/>
                    <a:pt x="128" y="91"/>
                  </a:cubicBezTo>
                  <a:cubicBezTo>
                    <a:pt x="127" y="93"/>
                    <a:pt x="127" y="93"/>
                    <a:pt x="127" y="93"/>
                  </a:cubicBezTo>
                  <a:cubicBezTo>
                    <a:pt x="126" y="93"/>
                    <a:pt x="126" y="93"/>
                    <a:pt x="126" y="93"/>
                  </a:cubicBezTo>
                  <a:cubicBezTo>
                    <a:pt x="125" y="94"/>
                    <a:pt x="125" y="94"/>
                    <a:pt x="125" y="94"/>
                  </a:cubicBezTo>
                  <a:cubicBezTo>
                    <a:pt x="124" y="95"/>
                    <a:pt x="124" y="95"/>
                    <a:pt x="124" y="95"/>
                  </a:cubicBezTo>
                  <a:cubicBezTo>
                    <a:pt x="123" y="96"/>
                    <a:pt x="123" y="96"/>
                    <a:pt x="123" y="96"/>
                  </a:cubicBezTo>
                  <a:cubicBezTo>
                    <a:pt x="122" y="97"/>
                    <a:pt x="122" y="97"/>
                    <a:pt x="122" y="97"/>
                  </a:cubicBezTo>
                  <a:cubicBezTo>
                    <a:pt x="121" y="98"/>
                    <a:pt x="121" y="98"/>
                    <a:pt x="121" y="98"/>
                  </a:cubicBezTo>
                  <a:cubicBezTo>
                    <a:pt x="120" y="99"/>
                    <a:pt x="120" y="99"/>
                    <a:pt x="120" y="99"/>
                  </a:cubicBezTo>
                  <a:cubicBezTo>
                    <a:pt x="119" y="99"/>
                    <a:pt x="119" y="99"/>
                    <a:pt x="119" y="99"/>
                  </a:cubicBezTo>
                  <a:cubicBezTo>
                    <a:pt x="118" y="100"/>
                    <a:pt x="118" y="100"/>
                    <a:pt x="118" y="100"/>
                  </a:cubicBezTo>
                  <a:cubicBezTo>
                    <a:pt x="117" y="101"/>
                    <a:pt x="117" y="101"/>
                    <a:pt x="117" y="101"/>
                  </a:cubicBezTo>
                  <a:cubicBezTo>
                    <a:pt x="116" y="101"/>
                    <a:pt x="116" y="101"/>
                    <a:pt x="116" y="101"/>
                  </a:cubicBezTo>
                  <a:cubicBezTo>
                    <a:pt x="115" y="102"/>
                    <a:pt x="115" y="102"/>
                    <a:pt x="115" y="102"/>
                  </a:cubicBezTo>
                  <a:cubicBezTo>
                    <a:pt x="113" y="103"/>
                    <a:pt x="113" y="103"/>
                    <a:pt x="113" y="103"/>
                  </a:cubicBezTo>
                  <a:cubicBezTo>
                    <a:pt x="112" y="103"/>
                    <a:pt x="112" y="103"/>
                    <a:pt x="112" y="103"/>
                  </a:cubicBezTo>
                  <a:cubicBezTo>
                    <a:pt x="111" y="104"/>
                    <a:pt x="111" y="104"/>
                    <a:pt x="111" y="104"/>
                  </a:cubicBezTo>
                  <a:cubicBezTo>
                    <a:pt x="109" y="104"/>
                    <a:pt x="109" y="104"/>
                    <a:pt x="109" y="104"/>
                  </a:cubicBezTo>
                  <a:cubicBezTo>
                    <a:pt x="108" y="104"/>
                    <a:pt x="108" y="104"/>
                    <a:pt x="108" y="104"/>
                  </a:cubicBezTo>
                  <a:cubicBezTo>
                    <a:pt x="107" y="105"/>
                    <a:pt x="107" y="105"/>
                    <a:pt x="107" y="105"/>
                  </a:cubicBezTo>
                  <a:cubicBezTo>
                    <a:pt x="105" y="105"/>
                    <a:pt x="105" y="105"/>
                    <a:pt x="105" y="105"/>
                  </a:cubicBezTo>
                  <a:cubicBezTo>
                    <a:pt x="104" y="105"/>
                    <a:pt x="104" y="105"/>
                    <a:pt x="104" y="105"/>
                  </a:cubicBezTo>
                  <a:cubicBezTo>
                    <a:pt x="103" y="106"/>
                    <a:pt x="103" y="106"/>
                    <a:pt x="103" y="106"/>
                  </a:cubicBezTo>
                  <a:cubicBezTo>
                    <a:pt x="101" y="106"/>
                    <a:pt x="101" y="106"/>
                    <a:pt x="101" y="106"/>
                  </a:cubicBezTo>
                  <a:cubicBezTo>
                    <a:pt x="100" y="106"/>
                    <a:pt x="100" y="106"/>
                    <a:pt x="100" y="106"/>
                  </a:cubicBezTo>
                  <a:cubicBezTo>
                    <a:pt x="98" y="106"/>
                    <a:pt x="98" y="106"/>
                    <a:pt x="98" y="106"/>
                  </a:cubicBezTo>
                  <a:cubicBezTo>
                    <a:pt x="97" y="106"/>
                    <a:pt x="97" y="106"/>
                    <a:pt x="97" y="106"/>
                  </a:cubicBezTo>
                  <a:cubicBezTo>
                    <a:pt x="95" y="106"/>
                    <a:pt x="95" y="106"/>
                    <a:pt x="95" y="106"/>
                  </a:cubicBezTo>
                  <a:cubicBezTo>
                    <a:pt x="94" y="105"/>
                    <a:pt x="94" y="105"/>
                    <a:pt x="94" y="105"/>
                  </a:cubicBezTo>
                  <a:cubicBezTo>
                    <a:pt x="92" y="105"/>
                    <a:pt x="92" y="105"/>
                    <a:pt x="92" y="105"/>
                  </a:cubicBezTo>
                  <a:cubicBezTo>
                    <a:pt x="91" y="105"/>
                    <a:pt x="91" y="105"/>
                    <a:pt x="91" y="105"/>
                  </a:cubicBezTo>
                  <a:cubicBezTo>
                    <a:pt x="89" y="104"/>
                    <a:pt x="89" y="104"/>
                    <a:pt x="89" y="104"/>
                  </a:cubicBezTo>
                  <a:cubicBezTo>
                    <a:pt x="88" y="104"/>
                    <a:pt x="88" y="104"/>
                    <a:pt x="88" y="104"/>
                  </a:cubicBezTo>
                  <a:cubicBezTo>
                    <a:pt x="86" y="103"/>
                    <a:pt x="86" y="103"/>
                    <a:pt x="86" y="103"/>
                  </a:cubicBezTo>
                  <a:cubicBezTo>
                    <a:pt x="84" y="103"/>
                    <a:pt x="84" y="103"/>
                    <a:pt x="84" y="103"/>
                  </a:cubicBezTo>
                  <a:cubicBezTo>
                    <a:pt x="82" y="102"/>
                    <a:pt x="82" y="102"/>
                    <a:pt x="82" y="102"/>
                  </a:cubicBezTo>
                  <a:cubicBezTo>
                    <a:pt x="80" y="102"/>
                    <a:pt x="80" y="102"/>
                    <a:pt x="80" y="102"/>
                  </a:cubicBezTo>
                  <a:cubicBezTo>
                    <a:pt x="78" y="101"/>
                    <a:pt x="78" y="101"/>
                    <a:pt x="78" y="101"/>
                  </a:cubicBezTo>
                  <a:cubicBezTo>
                    <a:pt x="76" y="101"/>
                    <a:pt x="76" y="101"/>
                    <a:pt x="76" y="101"/>
                  </a:cubicBezTo>
                  <a:cubicBezTo>
                    <a:pt x="73" y="100"/>
                    <a:pt x="73" y="100"/>
                    <a:pt x="73" y="100"/>
                  </a:cubicBezTo>
                  <a:cubicBezTo>
                    <a:pt x="70" y="100"/>
                    <a:pt x="70" y="100"/>
                    <a:pt x="70" y="100"/>
                  </a:cubicBezTo>
                  <a:cubicBezTo>
                    <a:pt x="68" y="100"/>
                    <a:pt x="68" y="100"/>
                    <a:pt x="68" y="100"/>
                  </a:cubicBezTo>
                  <a:cubicBezTo>
                    <a:pt x="67" y="98"/>
                    <a:pt x="67" y="98"/>
                    <a:pt x="67" y="98"/>
                  </a:cubicBezTo>
                  <a:cubicBezTo>
                    <a:pt x="67" y="97"/>
                    <a:pt x="67" y="97"/>
                    <a:pt x="67" y="97"/>
                  </a:cubicBezTo>
                  <a:cubicBezTo>
                    <a:pt x="67" y="95"/>
                    <a:pt x="67" y="95"/>
                    <a:pt x="67" y="95"/>
                  </a:cubicBezTo>
                  <a:cubicBezTo>
                    <a:pt x="67" y="93"/>
                    <a:pt x="67" y="93"/>
                    <a:pt x="67" y="93"/>
                  </a:cubicBezTo>
                  <a:cubicBezTo>
                    <a:pt x="69" y="93"/>
                    <a:pt x="69" y="93"/>
                    <a:pt x="69" y="93"/>
                  </a:cubicBezTo>
                  <a:cubicBezTo>
                    <a:pt x="71" y="94"/>
                    <a:pt x="71" y="94"/>
                    <a:pt x="71" y="94"/>
                  </a:cubicBezTo>
                  <a:cubicBezTo>
                    <a:pt x="72" y="93"/>
                    <a:pt x="72" y="93"/>
                    <a:pt x="72" y="93"/>
                  </a:cubicBezTo>
                  <a:cubicBezTo>
                    <a:pt x="74" y="93"/>
                    <a:pt x="74" y="93"/>
                    <a:pt x="74" y="93"/>
                  </a:cubicBezTo>
                  <a:cubicBezTo>
                    <a:pt x="76" y="93"/>
                    <a:pt x="76" y="93"/>
                    <a:pt x="76" y="93"/>
                  </a:cubicBezTo>
                  <a:cubicBezTo>
                    <a:pt x="77" y="93"/>
                    <a:pt x="77" y="93"/>
                    <a:pt x="77" y="93"/>
                  </a:cubicBezTo>
                  <a:cubicBezTo>
                    <a:pt x="78" y="93"/>
                    <a:pt x="78" y="93"/>
                    <a:pt x="78" y="93"/>
                  </a:cubicBezTo>
                  <a:cubicBezTo>
                    <a:pt x="80" y="93"/>
                    <a:pt x="80" y="93"/>
                    <a:pt x="80" y="93"/>
                  </a:cubicBezTo>
                  <a:cubicBezTo>
                    <a:pt x="81" y="93"/>
                    <a:pt x="81" y="93"/>
                    <a:pt x="81" y="93"/>
                  </a:cubicBezTo>
                  <a:cubicBezTo>
                    <a:pt x="83" y="93"/>
                    <a:pt x="83" y="93"/>
                    <a:pt x="83" y="93"/>
                  </a:cubicBezTo>
                  <a:cubicBezTo>
                    <a:pt x="84" y="92"/>
                    <a:pt x="84" y="92"/>
                    <a:pt x="84" y="92"/>
                  </a:cubicBezTo>
                  <a:cubicBezTo>
                    <a:pt x="85" y="92"/>
                    <a:pt x="85" y="92"/>
                    <a:pt x="85" y="92"/>
                  </a:cubicBezTo>
                  <a:cubicBezTo>
                    <a:pt x="87" y="92"/>
                    <a:pt x="87" y="92"/>
                    <a:pt x="87" y="92"/>
                  </a:cubicBezTo>
                  <a:cubicBezTo>
                    <a:pt x="88" y="91"/>
                    <a:pt x="88" y="91"/>
                    <a:pt x="88" y="91"/>
                  </a:cubicBezTo>
                  <a:cubicBezTo>
                    <a:pt x="89" y="91"/>
                    <a:pt x="89" y="91"/>
                    <a:pt x="89" y="91"/>
                  </a:cubicBezTo>
                  <a:cubicBezTo>
                    <a:pt x="90" y="91"/>
                    <a:pt x="90" y="91"/>
                    <a:pt x="90" y="91"/>
                  </a:cubicBezTo>
                  <a:cubicBezTo>
                    <a:pt x="93" y="90"/>
                    <a:pt x="93" y="90"/>
                    <a:pt x="93" y="90"/>
                  </a:cubicBezTo>
                  <a:cubicBezTo>
                    <a:pt x="95" y="89"/>
                    <a:pt x="95" y="89"/>
                    <a:pt x="95" y="89"/>
                  </a:cubicBezTo>
                  <a:cubicBezTo>
                    <a:pt x="97" y="88"/>
                    <a:pt x="97" y="88"/>
                    <a:pt x="97" y="88"/>
                  </a:cubicBezTo>
                  <a:cubicBezTo>
                    <a:pt x="100" y="87"/>
                    <a:pt x="100" y="87"/>
                    <a:pt x="100" y="87"/>
                  </a:cubicBezTo>
                  <a:cubicBezTo>
                    <a:pt x="102" y="85"/>
                    <a:pt x="102" y="85"/>
                    <a:pt x="102" y="85"/>
                  </a:cubicBezTo>
                  <a:cubicBezTo>
                    <a:pt x="104" y="84"/>
                    <a:pt x="104" y="84"/>
                    <a:pt x="104" y="84"/>
                  </a:cubicBezTo>
                  <a:cubicBezTo>
                    <a:pt x="106" y="83"/>
                    <a:pt x="106" y="83"/>
                    <a:pt x="106" y="83"/>
                  </a:cubicBezTo>
                  <a:cubicBezTo>
                    <a:pt x="109" y="81"/>
                    <a:pt x="109" y="81"/>
                    <a:pt x="109" y="81"/>
                  </a:cubicBezTo>
                  <a:cubicBezTo>
                    <a:pt x="110" y="81"/>
                    <a:pt x="110" y="81"/>
                    <a:pt x="110" y="81"/>
                  </a:cubicBezTo>
                  <a:cubicBezTo>
                    <a:pt x="110" y="80"/>
                    <a:pt x="110" y="80"/>
                    <a:pt x="110" y="80"/>
                  </a:cubicBezTo>
                  <a:cubicBezTo>
                    <a:pt x="111" y="80"/>
                    <a:pt x="111" y="80"/>
                    <a:pt x="111" y="80"/>
                  </a:cubicBezTo>
                  <a:cubicBezTo>
                    <a:pt x="112" y="80"/>
                    <a:pt x="112" y="80"/>
                    <a:pt x="112" y="80"/>
                  </a:cubicBezTo>
                  <a:cubicBezTo>
                    <a:pt x="112" y="80"/>
                    <a:pt x="112" y="80"/>
                    <a:pt x="112" y="80"/>
                  </a:cubicBezTo>
                  <a:cubicBezTo>
                    <a:pt x="113" y="79"/>
                    <a:pt x="113" y="79"/>
                    <a:pt x="113" y="79"/>
                  </a:cubicBezTo>
                  <a:cubicBezTo>
                    <a:pt x="114" y="79"/>
                    <a:pt x="114" y="79"/>
                    <a:pt x="114" y="79"/>
                  </a:cubicBezTo>
                  <a:cubicBezTo>
                    <a:pt x="114" y="79"/>
                    <a:pt x="114" y="79"/>
                    <a:pt x="114" y="79"/>
                  </a:cubicBezTo>
                  <a:cubicBezTo>
                    <a:pt x="115" y="79"/>
                    <a:pt x="115" y="79"/>
                    <a:pt x="115" y="79"/>
                  </a:cubicBezTo>
                  <a:cubicBezTo>
                    <a:pt x="116" y="80"/>
                    <a:pt x="116" y="80"/>
                    <a:pt x="116" y="80"/>
                  </a:cubicBezTo>
                  <a:cubicBezTo>
                    <a:pt x="116" y="80"/>
                    <a:pt x="116" y="80"/>
                    <a:pt x="116" y="80"/>
                  </a:cubicBezTo>
                  <a:cubicBezTo>
                    <a:pt x="117" y="80"/>
                    <a:pt x="117" y="80"/>
                    <a:pt x="117" y="80"/>
                  </a:cubicBezTo>
                  <a:cubicBezTo>
                    <a:pt x="118" y="81"/>
                    <a:pt x="118" y="81"/>
                    <a:pt x="118" y="81"/>
                  </a:cubicBezTo>
                  <a:cubicBezTo>
                    <a:pt x="118" y="81"/>
                    <a:pt x="118" y="81"/>
                    <a:pt x="118" y="81"/>
                  </a:cubicBezTo>
                  <a:cubicBezTo>
                    <a:pt x="119" y="82"/>
                    <a:pt x="119" y="82"/>
                    <a:pt x="119" y="82"/>
                  </a:cubicBezTo>
                  <a:cubicBezTo>
                    <a:pt x="119" y="82"/>
                    <a:pt x="119" y="82"/>
                    <a:pt x="119" y="82"/>
                  </a:cubicBezTo>
                  <a:cubicBezTo>
                    <a:pt x="119" y="83"/>
                    <a:pt x="119" y="83"/>
                    <a:pt x="119" y="83"/>
                  </a:cubicBezTo>
                  <a:cubicBezTo>
                    <a:pt x="119" y="83"/>
                    <a:pt x="119" y="83"/>
                    <a:pt x="119" y="83"/>
                  </a:cubicBezTo>
                  <a:cubicBezTo>
                    <a:pt x="119" y="84"/>
                    <a:pt x="119" y="84"/>
                    <a:pt x="119" y="84"/>
                  </a:cubicBezTo>
                  <a:cubicBezTo>
                    <a:pt x="119" y="84"/>
                    <a:pt x="119" y="84"/>
                    <a:pt x="119" y="84"/>
                  </a:cubicBezTo>
                  <a:cubicBezTo>
                    <a:pt x="119" y="85"/>
                    <a:pt x="119" y="85"/>
                    <a:pt x="119" y="85"/>
                  </a:cubicBezTo>
                  <a:cubicBezTo>
                    <a:pt x="118" y="85"/>
                    <a:pt x="118" y="85"/>
                    <a:pt x="118" y="85"/>
                  </a:cubicBezTo>
                  <a:cubicBezTo>
                    <a:pt x="118" y="86"/>
                    <a:pt x="118" y="86"/>
                    <a:pt x="118" y="86"/>
                  </a:cubicBezTo>
                  <a:cubicBezTo>
                    <a:pt x="118" y="86"/>
                    <a:pt x="118" y="86"/>
                    <a:pt x="118" y="86"/>
                  </a:cubicBezTo>
                  <a:cubicBezTo>
                    <a:pt x="117" y="87"/>
                    <a:pt x="117" y="87"/>
                    <a:pt x="117" y="87"/>
                  </a:cubicBezTo>
                  <a:cubicBezTo>
                    <a:pt x="116" y="88"/>
                    <a:pt x="116" y="88"/>
                    <a:pt x="116" y="88"/>
                  </a:cubicBezTo>
                  <a:cubicBezTo>
                    <a:pt x="116" y="88"/>
                    <a:pt x="116" y="88"/>
                    <a:pt x="116" y="88"/>
                  </a:cubicBezTo>
                  <a:cubicBezTo>
                    <a:pt x="114" y="89"/>
                    <a:pt x="114" y="89"/>
                    <a:pt x="114" y="89"/>
                  </a:cubicBezTo>
                  <a:cubicBezTo>
                    <a:pt x="113" y="90"/>
                    <a:pt x="113" y="90"/>
                    <a:pt x="113" y="90"/>
                  </a:cubicBezTo>
                  <a:cubicBezTo>
                    <a:pt x="111" y="91"/>
                    <a:pt x="111" y="91"/>
                    <a:pt x="111" y="91"/>
                  </a:cubicBezTo>
                  <a:cubicBezTo>
                    <a:pt x="110" y="92"/>
                    <a:pt x="110" y="92"/>
                    <a:pt x="110" y="92"/>
                  </a:cubicBezTo>
                  <a:cubicBezTo>
                    <a:pt x="108" y="93"/>
                    <a:pt x="108" y="93"/>
                    <a:pt x="108" y="93"/>
                  </a:cubicBezTo>
                  <a:cubicBezTo>
                    <a:pt x="107" y="94"/>
                    <a:pt x="107" y="94"/>
                    <a:pt x="107" y="94"/>
                  </a:cubicBezTo>
                  <a:cubicBezTo>
                    <a:pt x="105" y="94"/>
                    <a:pt x="105" y="94"/>
                    <a:pt x="105" y="94"/>
                  </a:cubicBezTo>
                  <a:cubicBezTo>
                    <a:pt x="104" y="95"/>
                    <a:pt x="104" y="95"/>
                    <a:pt x="104" y="95"/>
                  </a:cubicBezTo>
                  <a:cubicBezTo>
                    <a:pt x="102" y="95"/>
                    <a:pt x="102" y="95"/>
                    <a:pt x="102" y="95"/>
                  </a:cubicBezTo>
                  <a:cubicBezTo>
                    <a:pt x="101" y="96"/>
                    <a:pt x="101" y="96"/>
                    <a:pt x="101" y="96"/>
                  </a:cubicBezTo>
                  <a:cubicBezTo>
                    <a:pt x="99" y="96"/>
                    <a:pt x="99" y="96"/>
                    <a:pt x="99" y="96"/>
                  </a:cubicBezTo>
                  <a:cubicBezTo>
                    <a:pt x="97" y="97"/>
                    <a:pt x="97" y="97"/>
                    <a:pt x="97" y="97"/>
                  </a:cubicBezTo>
                  <a:cubicBezTo>
                    <a:pt x="94" y="97"/>
                    <a:pt x="94" y="97"/>
                    <a:pt x="94" y="97"/>
                  </a:cubicBezTo>
                  <a:cubicBezTo>
                    <a:pt x="90" y="98"/>
                    <a:pt x="90" y="98"/>
                    <a:pt x="90" y="98"/>
                  </a:cubicBezTo>
                  <a:lnTo>
                    <a:pt x="91" y="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00BCEB"/>
                </a:solidFill>
                <a:effectLst/>
                <a:uLnTx/>
                <a:uFillTx/>
                <a:latin typeface="Arial" charset="0"/>
                <a:ea typeface="ＭＳ Ｐゴシック" charset="0"/>
              </a:endParaRPr>
            </a:p>
          </p:txBody>
        </p:sp>
        <p:sp>
          <p:nvSpPr>
            <p:cNvPr id="216" name="Freeform 6"/>
            <p:cNvSpPr>
              <a:spLocks noEditPoints="1"/>
            </p:cNvSpPr>
            <p:nvPr/>
          </p:nvSpPr>
          <p:spPr bwMode="auto">
            <a:xfrm>
              <a:off x="2755" y="1684"/>
              <a:ext cx="1808" cy="1808"/>
            </a:xfrm>
            <a:custGeom>
              <a:avLst/>
              <a:gdLst>
                <a:gd name="T0" fmla="*/ 127 w 254"/>
                <a:gd name="T1" fmla="*/ 0 h 254"/>
                <a:gd name="T2" fmla="*/ 0 w 254"/>
                <a:gd name="T3" fmla="*/ 127 h 254"/>
                <a:gd name="T4" fmla="*/ 28 w 254"/>
                <a:gd name="T5" fmla="*/ 207 h 254"/>
                <a:gd name="T6" fmla="*/ 34 w 254"/>
                <a:gd name="T7" fmla="*/ 193 h 254"/>
                <a:gd name="T8" fmla="*/ 13 w 254"/>
                <a:gd name="T9" fmla="*/ 127 h 254"/>
                <a:gd name="T10" fmla="*/ 127 w 254"/>
                <a:gd name="T11" fmla="*/ 13 h 254"/>
                <a:gd name="T12" fmla="*/ 241 w 254"/>
                <a:gd name="T13" fmla="*/ 127 h 254"/>
                <a:gd name="T14" fmla="*/ 127 w 254"/>
                <a:gd name="T15" fmla="*/ 241 h 254"/>
                <a:gd name="T16" fmla="*/ 51 w 254"/>
                <a:gd name="T17" fmla="*/ 212 h 254"/>
                <a:gd name="T18" fmla="*/ 51 w 254"/>
                <a:gd name="T19" fmla="*/ 212 h 254"/>
                <a:gd name="T20" fmla="*/ 78 w 254"/>
                <a:gd name="T21" fmla="*/ 184 h 254"/>
                <a:gd name="T22" fmla="*/ 82 w 254"/>
                <a:gd name="T23" fmla="*/ 174 h 254"/>
                <a:gd name="T24" fmla="*/ 80 w 254"/>
                <a:gd name="T25" fmla="*/ 172 h 254"/>
                <a:gd name="T26" fmla="*/ 72 w 254"/>
                <a:gd name="T27" fmla="*/ 171 h 254"/>
                <a:gd name="T28" fmla="*/ 36 w 254"/>
                <a:gd name="T29" fmla="*/ 211 h 254"/>
                <a:gd name="T30" fmla="*/ 42 w 254"/>
                <a:gd name="T31" fmla="*/ 221 h 254"/>
                <a:gd name="T32" fmla="*/ 42 w 254"/>
                <a:gd name="T33" fmla="*/ 221 h 254"/>
                <a:gd name="T34" fmla="*/ 127 w 254"/>
                <a:gd name="T35" fmla="*/ 254 h 254"/>
                <a:gd name="T36" fmla="*/ 254 w 254"/>
                <a:gd name="T37" fmla="*/ 127 h 254"/>
                <a:gd name="T38" fmla="*/ 127 w 254"/>
                <a:gd name="T39" fmla="*/ 0 h 254"/>
                <a:gd name="T40" fmla="*/ 75 w 254"/>
                <a:gd name="T41" fmla="*/ 171 h 254"/>
                <a:gd name="T42" fmla="*/ 75 w 254"/>
                <a:gd name="T43" fmla="*/ 171 h 254"/>
                <a:gd name="T44" fmla="*/ 75 w 254"/>
                <a:gd name="T45" fmla="*/ 171 h 254"/>
                <a:gd name="T46" fmla="*/ 75 w 254"/>
                <a:gd name="T47" fmla="*/ 17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4" h="254">
                  <a:moveTo>
                    <a:pt x="127" y="0"/>
                  </a:moveTo>
                  <a:cubicBezTo>
                    <a:pt x="57" y="0"/>
                    <a:pt x="0" y="57"/>
                    <a:pt x="0" y="127"/>
                  </a:cubicBezTo>
                  <a:cubicBezTo>
                    <a:pt x="0" y="157"/>
                    <a:pt x="10" y="185"/>
                    <a:pt x="28" y="207"/>
                  </a:cubicBezTo>
                  <a:cubicBezTo>
                    <a:pt x="30" y="202"/>
                    <a:pt x="32" y="197"/>
                    <a:pt x="34" y="193"/>
                  </a:cubicBezTo>
                  <a:cubicBezTo>
                    <a:pt x="21" y="174"/>
                    <a:pt x="13" y="151"/>
                    <a:pt x="13" y="127"/>
                  </a:cubicBezTo>
                  <a:cubicBezTo>
                    <a:pt x="13" y="64"/>
                    <a:pt x="64" y="13"/>
                    <a:pt x="127" y="13"/>
                  </a:cubicBezTo>
                  <a:cubicBezTo>
                    <a:pt x="190" y="13"/>
                    <a:pt x="241" y="64"/>
                    <a:pt x="241" y="127"/>
                  </a:cubicBezTo>
                  <a:cubicBezTo>
                    <a:pt x="241" y="190"/>
                    <a:pt x="190" y="241"/>
                    <a:pt x="127" y="241"/>
                  </a:cubicBezTo>
                  <a:cubicBezTo>
                    <a:pt x="98" y="241"/>
                    <a:pt x="71" y="230"/>
                    <a:pt x="51" y="212"/>
                  </a:cubicBezTo>
                  <a:cubicBezTo>
                    <a:pt x="51" y="212"/>
                    <a:pt x="51" y="212"/>
                    <a:pt x="51" y="212"/>
                  </a:cubicBezTo>
                  <a:cubicBezTo>
                    <a:pt x="59" y="187"/>
                    <a:pt x="78" y="184"/>
                    <a:pt x="78" y="184"/>
                  </a:cubicBezTo>
                  <a:cubicBezTo>
                    <a:pt x="82" y="182"/>
                    <a:pt x="84" y="178"/>
                    <a:pt x="82" y="174"/>
                  </a:cubicBezTo>
                  <a:cubicBezTo>
                    <a:pt x="81" y="173"/>
                    <a:pt x="81" y="172"/>
                    <a:pt x="80" y="172"/>
                  </a:cubicBezTo>
                  <a:cubicBezTo>
                    <a:pt x="78" y="170"/>
                    <a:pt x="75" y="169"/>
                    <a:pt x="72" y="171"/>
                  </a:cubicBezTo>
                  <a:cubicBezTo>
                    <a:pt x="71" y="172"/>
                    <a:pt x="45" y="177"/>
                    <a:pt x="36" y="211"/>
                  </a:cubicBezTo>
                  <a:cubicBezTo>
                    <a:pt x="35" y="214"/>
                    <a:pt x="38" y="219"/>
                    <a:pt x="42" y="221"/>
                  </a:cubicBezTo>
                  <a:cubicBezTo>
                    <a:pt x="42" y="221"/>
                    <a:pt x="42" y="221"/>
                    <a:pt x="42" y="221"/>
                  </a:cubicBezTo>
                  <a:cubicBezTo>
                    <a:pt x="65" y="242"/>
                    <a:pt x="94" y="254"/>
                    <a:pt x="127" y="254"/>
                  </a:cubicBezTo>
                  <a:cubicBezTo>
                    <a:pt x="197" y="254"/>
                    <a:pt x="254" y="197"/>
                    <a:pt x="254" y="127"/>
                  </a:cubicBezTo>
                  <a:cubicBezTo>
                    <a:pt x="254" y="57"/>
                    <a:pt x="197" y="0"/>
                    <a:pt x="127" y="0"/>
                  </a:cubicBezTo>
                  <a:close/>
                  <a:moveTo>
                    <a:pt x="75" y="171"/>
                  </a:moveTo>
                  <a:cubicBezTo>
                    <a:pt x="75" y="171"/>
                    <a:pt x="75" y="171"/>
                    <a:pt x="75" y="171"/>
                  </a:cubicBezTo>
                  <a:cubicBezTo>
                    <a:pt x="75" y="171"/>
                    <a:pt x="75" y="171"/>
                    <a:pt x="75" y="171"/>
                  </a:cubicBezTo>
                  <a:cubicBezTo>
                    <a:pt x="75" y="171"/>
                    <a:pt x="75" y="171"/>
                    <a:pt x="75" y="17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dirty="0">
                <a:ln>
                  <a:noFill/>
                </a:ln>
                <a:solidFill>
                  <a:srgbClr val="00BCEB"/>
                </a:solidFill>
                <a:effectLst/>
                <a:uLnTx/>
                <a:uFillTx/>
                <a:latin typeface="Arial" charset="0"/>
                <a:ea typeface="ＭＳ Ｐゴシック" charset="0"/>
              </a:endParaRPr>
            </a:p>
          </p:txBody>
        </p:sp>
      </p:grpSp>
    </p:spTree>
    <p:extLst>
      <p:ext uri="{BB962C8B-B14F-4D97-AF65-F5344CB8AC3E}">
        <p14:creationId xmlns:p14="http://schemas.microsoft.com/office/powerpoint/2010/main" val="214221290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A1242C5-353F-4E0D-B96B-F4B4FCB66C4E}"/>
              </a:ext>
            </a:extLst>
          </p:cNvPr>
          <p:cNvSpPr/>
          <p:nvPr/>
        </p:nvSpPr>
        <p:spPr>
          <a:xfrm>
            <a:off x="0" y="4533900"/>
            <a:ext cx="4048125" cy="6096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7" name="Oval 6">
            <a:extLst>
              <a:ext uri="{FF2B5EF4-FFF2-40B4-BE49-F238E27FC236}">
                <a16:creationId xmlns:a16="http://schemas.microsoft.com/office/drawing/2014/main" id="{34D990A2-79AD-4947-B6B2-3A6C88876865}"/>
              </a:ext>
            </a:extLst>
          </p:cNvPr>
          <p:cNvSpPr/>
          <p:nvPr/>
        </p:nvSpPr>
        <p:spPr>
          <a:xfrm>
            <a:off x="4884540" y="1381801"/>
            <a:ext cx="2373912" cy="2373912"/>
          </a:xfrm>
          <a:prstGeom prst="ellipse">
            <a:avLst/>
          </a:prstGeom>
          <a:solidFill>
            <a:schemeClr val="bg2"/>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2602" name="Group 2380">
            <a:extLst>
              <a:ext uri="{FF2B5EF4-FFF2-40B4-BE49-F238E27FC236}">
                <a16:creationId xmlns:a16="http://schemas.microsoft.com/office/drawing/2014/main" id="{0EDEE642-4793-44E0-94E8-2A77AECB0158}"/>
              </a:ext>
            </a:extLst>
          </p:cNvPr>
          <p:cNvGrpSpPr>
            <a:grpSpLocks noChangeAspect="1"/>
          </p:cNvGrpSpPr>
          <p:nvPr/>
        </p:nvGrpSpPr>
        <p:grpSpPr bwMode="auto">
          <a:xfrm>
            <a:off x="2951873" y="-615394"/>
            <a:ext cx="6429375" cy="6374289"/>
            <a:chOff x="1246" y="0"/>
            <a:chExt cx="3268" cy="3240"/>
          </a:xfrm>
        </p:grpSpPr>
        <p:grpSp>
          <p:nvGrpSpPr>
            <p:cNvPr id="2604" name="Group 2581">
              <a:extLst>
                <a:ext uri="{FF2B5EF4-FFF2-40B4-BE49-F238E27FC236}">
                  <a16:creationId xmlns:a16="http://schemas.microsoft.com/office/drawing/2014/main" id="{EEF02138-350E-4B6F-A9F9-3E6ABF8E47AF}"/>
                </a:ext>
              </a:extLst>
            </p:cNvPr>
            <p:cNvGrpSpPr>
              <a:grpSpLocks/>
            </p:cNvGrpSpPr>
            <p:nvPr/>
          </p:nvGrpSpPr>
          <p:grpSpPr bwMode="auto">
            <a:xfrm>
              <a:off x="1276" y="30"/>
              <a:ext cx="3178" cy="3180"/>
              <a:chOff x="1276" y="30"/>
              <a:chExt cx="3178" cy="3180"/>
            </a:xfrm>
          </p:grpSpPr>
          <p:sp>
            <p:nvSpPr>
              <p:cNvPr id="3192" name="Line 2381">
                <a:extLst>
                  <a:ext uri="{FF2B5EF4-FFF2-40B4-BE49-F238E27FC236}">
                    <a16:creationId xmlns:a16="http://schemas.microsoft.com/office/drawing/2014/main" id="{1ECBEB15-D25A-4424-9F12-6EAB46551E10}"/>
                  </a:ext>
                </a:extLst>
              </p:cNvPr>
              <p:cNvSpPr>
                <a:spLocks noChangeShapeType="1"/>
              </p:cNvSpPr>
              <p:nvPr/>
            </p:nvSpPr>
            <p:spPr bwMode="auto">
              <a:xfrm>
                <a:off x="3045" y="147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93" name="Freeform 2382">
                <a:extLst>
                  <a:ext uri="{FF2B5EF4-FFF2-40B4-BE49-F238E27FC236}">
                    <a16:creationId xmlns:a16="http://schemas.microsoft.com/office/drawing/2014/main" id="{8D1389BA-1FA9-4EA6-94FA-166A13A3F333}"/>
                  </a:ext>
                </a:extLst>
              </p:cNvPr>
              <p:cNvSpPr>
                <a:spLocks/>
              </p:cNvSpPr>
              <p:nvPr/>
            </p:nvSpPr>
            <p:spPr bwMode="auto">
              <a:xfrm>
                <a:off x="2625" y="1410"/>
                <a:ext cx="300" cy="210"/>
              </a:xfrm>
              <a:custGeom>
                <a:avLst/>
                <a:gdLst>
                  <a:gd name="T0" fmla="*/ 210 w 300"/>
                  <a:gd name="T1" fmla="*/ 90 h 210"/>
                  <a:gd name="T2" fmla="*/ 300 w 300"/>
                  <a:gd name="T3" fmla="*/ 30 h 210"/>
                  <a:gd name="T4" fmla="*/ 300 w 300"/>
                  <a:gd name="T5" fmla="*/ 120 h 210"/>
                  <a:gd name="T6" fmla="*/ 240 w 300"/>
                  <a:gd name="T7" fmla="*/ 210 h 210"/>
                  <a:gd name="T8" fmla="*/ 150 w 300"/>
                  <a:gd name="T9" fmla="*/ 150 h 210"/>
                  <a:gd name="T10" fmla="*/ 60 w 300"/>
                  <a:gd name="T11" fmla="*/ 90 h 210"/>
                  <a:gd name="T12" fmla="*/ 0 w 30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210" y="90"/>
                    </a:moveTo>
                    <a:lnTo>
                      <a:pt x="300" y="30"/>
                    </a:lnTo>
                    <a:lnTo>
                      <a:pt x="300" y="120"/>
                    </a:lnTo>
                    <a:lnTo>
                      <a:pt x="240" y="210"/>
                    </a:lnTo>
                    <a:lnTo>
                      <a:pt x="150" y="150"/>
                    </a:lnTo>
                    <a:lnTo>
                      <a:pt x="60" y="9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94" name="Freeform 2383">
                <a:extLst>
                  <a:ext uri="{FF2B5EF4-FFF2-40B4-BE49-F238E27FC236}">
                    <a16:creationId xmlns:a16="http://schemas.microsoft.com/office/drawing/2014/main" id="{A5EAB024-A9DB-41F4-85FA-3DEC21014627}"/>
                  </a:ext>
                </a:extLst>
              </p:cNvPr>
              <p:cNvSpPr>
                <a:spLocks/>
              </p:cNvSpPr>
              <p:nvPr/>
            </p:nvSpPr>
            <p:spPr bwMode="auto">
              <a:xfrm>
                <a:off x="2535" y="1292"/>
                <a:ext cx="180" cy="208"/>
              </a:xfrm>
              <a:custGeom>
                <a:avLst/>
                <a:gdLst>
                  <a:gd name="T0" fmla="*/ 0 w 180"/>
                  <a:gd name="T1" fmla="*/ 149 h 208"/>
                  <a:gd name="T2" fmla="*/ 150 w 180"/>
                  <a:gd name="T3" fmla="*/ 208 h 208"/>
                  <a:gd name="T4" fmla="*/ 180 w 180"/>
                  <a:gd name="T5" fmla="*/ 0 h 208"/>
                </a:gdLst>
                <a:ahLst/>
                <a:cxnLst>
                  <a:cxn ang="0">
                    <a:pos x="T0" y="T1"/>
                  </a:cxn>
                  <a:cxn ang="0">
                    <a:pos x="T2" y="T3"/>
                  </a:cxn>
                  <a:cxn ang="0">
                    <a:pos x="T4" y="T5"/>
                  </a:cxn>
                </a:cxnLst>
                <a:rect l="0" t="0" r="r" b="b"/>
                <a:pathLst>
                  <a:path w="180" h="208">
                    <a:moveTo>
                      <a:pt x="0" y="149"/>
                    </a:moveTo>
                    <a:lnTo>
                      <a:pt x="150" y="208"/>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95" name="Line 2384">
                <a:extLst>
                  <a:ext uri="{FF2B5EF4-FFF2-40B4-BE49-F238E27FC236}">
                    <a16:creationId xmlns:a16="http://schemas.microsoft.com/office/drawing/2014/main" id="{C0105CE3-91E4-49BD-A09C-133AA6C6EEB7}"/>
                  </a:ext>
                </a:extLst>
              </p:cNvPr>
              <p:cNvSpPr>
                <a:spLocks noChangeShapeType="1"/>
              </p:cNvSpPr>
              <p:nvPr/>
            </p:nvSpPr>
            <p:spPr bwMode="auto">
              <a:xfrm flipH="1">
                <a:off x="2535" y="1620"/>
                <a:ext cx="18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96" name="Line 2385">
                <a:extLst>
                  <a:ext uri="{FF2B5EF4-FFF2-40B4-BE49-F238E27FC236}">
                    <a16:creationId xmlns:a16="http://schemas.microsoft.com/office/drawing/2014/main" id="{00FD4591-1FAA-4A52-BF05-0A469113DA79}"/>
                  </a:ext>
                </a:extLst>
              </p:cNvPr>
              <p:cNvSpPr>
                <a:spLocks noChangeShapeType="1"/>
              </p:cNvSpPr>
              <p:nvPr/>
            </p:nvSpPr>
            <p:spPr bwMode="auto">
              <a:xfrm>
                <a:off x="2595" y="156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97" name="Freeform 2386">
                <a:extLst>
                  <a:ext uri="{FF2B5EF4-FFF2-40B4-BE49-F238E27FC236}">
                    <a16:creationId xmlns:a16="http://schemas.microsoft.com/office/drawing/2014/main" id="{3DC532BC-999E-4E57-A580-8052E03F7913}"/>
                  </a:ext>
                </a:extLst>
              </p:cNvPr>
              <p:cNvSpPr>
                <a:spLocks/>
              </p:cNvSpPr>
              <p:nvPr/>
            </p:nvSpPr>
            <p:spPr bwMode="auto">
              <a:xfrm>
                <a:off x="2535" y="1650"/>
                <a:ext cx="210" cy="330"/>
              </a:xfrm>
              <a:custGeom>
                <a:avLst/>
                <a:gdLst>
                  <a:gd name="T0" fmla="*/ 120 w 210"/>
                  <a:gd name="T1" fmla="*/ 60 h 330"/>
                  <a:gd name="T2" fmla="*/ 0 w 210"/>
                  <a:gd name="T3" fmla="*/ 0 h 330"/>
                  <a:gd name="T4" fmla="*/ 0 w 210"/>
                  <a:gd name="T5" fmla="*/ 330 h 330"/>
                  <a:gd name="T6" fmla="*/ 210 w 210"/>
                  <a:gd name="T7" fmla="*/ 270 h 330"/>
                  <a:gd name="T8" fmla="*/ 119 w 210"/>
                  <a:gd name="T9" fmla="*/ 182 h 330"/>
                </a:gdLst>
                <a:ahLst/>
                <a:cxnLst>
                  <a:cxn ang="0">
                    <a:pos x="T0" y="T1"/>
                  </a:cxn>
                  <a:cxn ang="0">
                    <a:pos x="T2" y="T3"/>
                  </a:cxn>
                  <a:cxn ang="0">
                    <a:pos x="T4" y="T5"/>
                  </a:cxn>
                  <a:cxn ang="0">
                    <a:pos x="T6" y="T7"/>
                  </a:cxn>
                  <a:cxn ang="0">
                    <a:pos x="T8" y="T9"/>
                  </a:cxn>
                </a:cxnLst>
                <a:rect l="0" t="0" r="r" b="b"/>
                <a:pathLst>
                  <a:path w="210" h="330">
                    <a:moveTo>
                      <a:pt x="120" y="60"/>
                    </a:moveTo>
                    <a:lnTo>
                      <a:pt x="0" y="0"/>
                    </a:lnTo>
                    <a:lnTo>
                      <a:pt x="0" y="330"/>
                    </a:lnTo>
                    <a:lnTo>
                      <a:pt x="210" y="270"/>
                    </a:lnTo>
                    <a:lnTo>
                      <a:pt x="119" y="18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98" name="Freeform 2387">
                <a:extLst>
                  <a:ext uri="{FF2B5EF4-FFF2-40B4-BE49-F238E27FC236}">
                    <a16:creationId xmlns:a16="http://schemas.microsoft.com/office/drawing/2014/main" id="{0AB008BF-00BD-4037-B5DC-D9802EF35080}"/>
                  </a:ext>
                </a:extLst>
              </p:cNvPr>
              <p:cNvSpPr>
                <a:spLocks/>
              </p:cNvSpPr>
              <p:nvPr/>
            </p:nvSpPr>
            <p:spPr bwMode="auto">
              <a:xfrm>
                <a:off x="2654" y="1680"/>
                <a:ext cx="151" cy="152"/>
              </a:xfrm>
              <a:custGeom>
                <a:avLst/>
                <a:gdLst>
                  <a:gd name="T0" fmla="*/ 121 w 151"/>
                  <a:gd name="T1" fmla="*/ 0 h 152"/>
                  <a:gd name="T2" fmla="*/ 151 w 151"/>
                  <a:gd name="T3" fmla="*/ 120 h 152"/>
                  <a:gd name="T4" fmla="*/ 0 w 151"/>
                  <a:gd name="T5" fmla="*/ 152 h 152"/>
                  <a:gd name="T6" fmla="*/ 1 w 151"/>
                  <a:gd name="T7" fmla="*/ 30 h 152"/>
                  <a:gd name="T8" fmla="*/ 121 w 151"/>
                  <a:gd name="T9" fmla="*/ 0 h 152"/>
                </a:gdLst>
                <a:ahLst/>
                <a:cxnLst>
                  <a:cxn ang="0">
                    <a:pos x="T0" y="T1"/>
                  </a:cxn>
                  <a:cxn ang="0">
                    <a:pos x="T2" y="T3"/>
                  </a:cxn>
                  <a:cxn ang="0">
                    <a:pos x="T4" y="T5"/>
                  </a:cxn>
                  <a:cxn ang="0">
                    <a:pos x="T6" y="T7"/>
                  </a:cxn>
                  <a:cxn ang="0">
                    <a:pos x="T8" y="T9"/>
                  </a:cxn>
                </a:cxnLst>
                <a:rect l="0" t="0" r="r" b="b"/>
                <a:pathLst>
                  <a:path w="151" h="152">
                    <a:moveTo>
                      <a:pt x="121" y="0"/>
                    </a:moveTo>
                    <a:lnTo>
                      <a:pt x="151" y="120"/>
                    </a:lnTo>
                    <a:lnTo>
                      <a:pt x="0" y="152"/>
                    </a:lnTo>
                    <a:lnTo>
                      <a:pt x="1" y="30"/>
                    </a:lnTo>
                    <a:lnTo>
                      <a:pt x="121"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99" name="Freeform 2388">
                <a:extLst>
                  <a:ext uri="{FF2B5EF4-FFF2-40B4-BE49-F238E27FC236}">
                    <a16:creationId xmlns:a16="http://schemas.microsoft.com/office/drawing/2014/main" id="{25E9705F-6348-40DE-9BCD-3F90416B86A8}"/>
                  </a:ext>
                </a:extLst>
              </p:cNvPr>
              <p:cNvSpPr>
                <a:spLocks/>
              </p:cNvSpPr>
              <p:nvPr/>
            </p:nvSpPr>
            <p:spPr bwMode="auto">
              <a:xfrm>
                <a:off x="2805" y="1620"/>
                <a:ext cx="240" cy="270"/>
              </a:xfrm>
              <a:custGeom>
                <a:avLst/>
                <a:gdLst>
                  <a:gd name="T0" fmla="*/ 0 w 240"/>
                  <a:gd name="T1" fmla="*/ 180 h 270"/>
                  <a:gd name="T2" fmla="*/ 60 w 240"/>
                  <a:gd name="T3" fmla="*/ 0 h 270"/>
                  <a:gd name="T4" fmla="*/ 90 w 240"/>
                  <a:gd name="T5" fmla="*/ 90 h 270"/>
                  <a:gd name="T6" fmla="*/ 120 w 240"/>
                  <a:gd name="T7" fmla="*/ 180 h 270"/>
                  <a:gd name="T8" fmla="*/ 150 w 240"/>
                  <a:gd name="T9" fmla="*/ 270 h 270"/>
                  <a:gd name="T10" fmla="*/ 240 w 240"/>
                  <a:gd name="T11" fmla="*/ 150 h 270"/>
                </a:gdLst>
                <a:ahLst/>
                <a:cxnLst>
                  <a:cxn ang="0">
                    <a:pos x="T0" y="T1"/>
                  </a:cxn>
                  <a:cxn ang="0">
                    <a:pos x="T2" y="T3"/>
                  </a:cxn>
                  <a:cxn ang="0">
                    <a:pos x="T4" y="T5"/>
                  </a:cxn>
                  <a:cxn ang="0">
                    <a:pos x="T6" y="T7"/>
                  </a:cxn>
                  <a:cxn ang="0">
                    <a:pos x="T8" y="T9"/>
                  </a:cxn>
                  <a:cxn ang="0">
                    <a:pos x="T10" y="T11"/>
                  </a:cxn>
                </a:cxnLst>
                <a:rect l="0" t="0" r="r" b="b"/>
                <a:pathLst>
                  <a:path w="240" h="270">
                    <a:moveTo>
                      <a:pt x="0" y="180"/>
                    </a:moveTo>
                    <a:lnTo>
                      <a:pt x="60" y="0"/>
                    </a:lnTo>
                    <a:lnTo>
                      <a:pt x="90" y="90"/>
                    </a:lnTo>
                    <a:lnTo>
                      <a:pt x="120" y="180"/>
                    </a:lnTo>
                    <a:lnTo>
                      <a:pt x="150" y="270"/>
                    </a:lnTo>
                    <a:lnTo>
                      <a:pt x="24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00" name="Freeform 2389">
                <a:extLst>
                  <a:ext uri="{FF2B5EF4-FFF2-40B4-BE49-F238E27FC236}">
                    <a16:creationId xmlns:a16="http://schemas.microsoft.com/office/drawing/2014/main" id="{AE724297-FBA2-4E6F-AD6E-ADDAD129113E}"/>
                  </a:ext>
                </a:extLst>
              </p:cNvPr>
              <p:cNvSpPr>
                <a:spLocks/>
              </p:cNvSpPr>
              <p:nvPr/>
            </p:nvSpPr>
            <p:spPr bwMode="auto">
              <a:xfrm>
                <a:off x="2688" y="1800"/>
                <a:ext cx="237" cy="270"/>
              </a:xfrm>
              <a:custGeom>
                <a:avLst/>
                <a:gdLst>
                  <a:gd name="T0" fmla="*/ 237 w 237"/>
                  <a:gd name="T1" fmla="*/ 0 h 270"/>
                  <a:gd name="T2" fmla="*/ 177 w 237"/>
                  <a:gd name="T3" fmla="*/ 122 h 270"/>
                  <a:gd name="T4" fmla="*/ 117 w 237"/>
                  <a:gd name="T5" fmla="*/ 0 h 270"/>
                  <a:gd name="T6" fmla="*/ 57 w 237"/>
                  <a:gd name="T7" fmla="*/ 120 h 270"/>
                  <a:gd name="T8" fmla="*/ 147 w 237"/>
                  <a:gd name="T9" fmla="*/ 270 h 270"/>
                  <a:gd name="T10" fmla="*/ 0 w 237"/>
                  <a:gd name="T11" fmla="*/ 213 h 270"/>
                </a:gdLst>
                <a:ahLst/>
                <a:cxnLst>
                  <a:cxn ang="0">
                    <a:pos x="T0" y="T1"/>
                  </a:cxn>
                  <a:cxn ang="0">
                    <a:pos x="T2" y="T3"/>
                  </a:cxn>
                  <a:cxn ang="0">
                    <a:pos x="T4" y="T5"/>
                  </a:cxn>
                  <a:cxn ang="0">
                    <a:pos x="T6" y="T7"/>
                  </a:cxn>
                  <a:cxn ang="0">
                    <a:pos x="T8" y="T9"/>
                  </a:cxn>
                  <a:cxn ang="0">
                    <a:pos x="T10" y="T11"/>
                  </a:cxn>
                </a:cxnLst>
                <a:rect l="0" t="0" r="r" b="b"/>
                <a:pathLst>
                  <a:path w="237" h="270">
                    <a:moveTo>
                      <a:pt x="237" y="0"/>
                    </a:moveTo>
                    <a:lnTo>
                      <a:pt x="177" y="122"/>
                    </a:lnTo>
                    <a:lnTo>
                      <a:pt x="117" y="0"/>
                    </a:lnTo>
                    <a:lnTo>
                      <a:pt x="57" y="120"/>
                    </a:lnTo>
                    <a:lnTo>
                      <a:pt x="147" y="270"/>
                    </a:lnTo>
                    <a:lnTo>
                      <a:pt x="0" y="21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01" name="Freeform 2390">
                <a:extLst>
                  <a:ext uri="{FF2B5EF4-FFF2-40B4-BE49-F238E27FC236}">
                    <a16:creationId xmlns:a16="http://schemas.microsoft.com/office/drawing/2014/main" id="{1ECF84DE-5057-4ECA-BDC7-6E65C89328A1}"/>
                  </a:ext>
                </a:extLst>
              </p:cNvPr>
              <p:cNvSpPr>
                <a:spLocks/>
              </p:cNvSpPr>
              <p:nvPr/>
            </p:nvSpPr>
            <p:spPr bwMode="auto">
              <a:xfrm>
                <a:off x="2355" y="1440"/>
                <a:ext cx="390" cy="570"/>
              </a:xfrm>
              <a:custGeom>
                <a:avLst/>
                <a:gdLst>
                  <a:gd name="T0" fmla="*/ 390 w 390"/>
                  <a:gd name="T1" fmla="*/ 480 h 570"/>
                  <a:gd name="T2" fmla="*/ 330 w 390"/>
                  <a:gd name="T3" fmla="*/ 570 h 570"/>
                  <a:gd name="T4" fmla="*/ 180 w 390"/>
                  <a:gd name="T5" fmla="*/ 540 h 570"/>
                  <a:gd name="T6" fmla="*/ 300 w 390"/>
                  <a:gd name="T7" fmla="*/ 390 h 570"/>
                  <a:gd name="T8" fmla="*/ 120 w 390"/>
                  <a:gd name="T9" fmla="*/ 390 h 570"/>
                  <a:gd name="T10" fmla="*/ 180 w 390"/>
                  <a:gd name="T11" fmla="*/ 210 h 570"/>
                  <a:gd name="T12" fmla="*/ 60 w 390"/>
                  <a:gd name="T13" fmla="*/ 330 h 570"/>
                  <a:gd name="T14" fmla="*/ 0 w 390"/>
                  <a:gd name="T15" fmla="*/ 180 h 570"/>
                  <a:gd name="T16" fmla="*/ 60 w 390"/>
                  <a:gd name="T17" fmla="*/ 60 h 570"/>
                  <a:gd name="T18" fmla="*/ 240 w 390"/>
                  <a:gd name="T19" fmla="*/ 120 h 570"/>
                  <a:gd name="T20" fmla="*/ 180 w 39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570">
                    <a:moveTo>
                      <a:pt x="390" y="480"/>
                    </a:moveTo>
                    <a:lnTo>
                      <a:pt x="330" y="570"/>
                    </a:lnTo>
                    <a:lnTo>
                      <a:pt x="180" y="540"/>
                    </a:lnTo>
                    <a:lnTo>
                      <a:pt x="300" y="390"/>
                    </a:lnTo>
                    <a:lnTo>
                      <a:pt x="120" y="390"/>
                    </a:lnTo>
                    <a:lnTo>
                      <a:pt x="180" y="210"/>
                    </a:lnTo>
                    <a:lnTo>
                      <a:pt x="60" y="330"/>
                    </a:lnTo>
                    <a:lnTo>
                      <a:pt x="0" y="180"/>
                    </a:lnTo>
                    <a:lnTo>
                      <a:pt x="60" y="60"/>
                    </a:lnTo>
                    <a:lnTo>
                      <a:pt x="240" y="120"/>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02" name="Freeform 2391">
                <a:extLst>
                  <a:ext uri="{FF2B5EF4-FFF2-40B4-BE49-F238E27FC236}">
                    <a16:creationId xmlns:a16="http://schemas.microsoft.com/office/drawing/2014/main" id="{CA331197-3057-4A48-A8AA-7C9771DE5F5C}"/>
                  </a:ext>
                </a:extLst>
              </p:cNvPr>
              <p:cNvSpPr>
                <a:spLocks/>
              </p:cNvSpPr>
              <p:nvPr/>
            </p:nvSpPr>
            <p:spPr bwMode="auto">
              <a:xfrm>
                <a:off x="2355" y="1410"/>
                <a:ext cx="480" cy="420"/>
              </a:xfrm>
              <a:custGeom>
                <a:avLst/>
                <a:gdLst>
                  <a:gd name="T0" fmla="*/ 300 w 480"/>
                  <a:gd name="T1" fmla="*/ 420 h 420"/>
                  <a:gd name="T2" fmla="*/ 0 w 480"/>
                  <a:gd name="T3" fmla="*/ 210 h 420"/>
                  <a:gd name="T4" fmla="*/ 180 w 480"/>
                  <a:gd name="T5" fmla="*/ 240 h 420"/>
                  <a:gd name="T6" fmla="*/ 90 w 480"/>
                  <a:gd name="T7" fmla="*/ 0 h 420"/>
                  <a:gd name="T8" fmla="*/ 240 w 480"/>
                  <a:gd name="T9" fmla="*/ 150 h 420"/>
                  <a:gd name="T10" fmla="*/ 270 w 480"/>
                  <a:gd name="T11" fmla="*/ 0 h 420"/>
                  <a:gd name="T12" fmla="*/ 420 w 480"/>
                  <a:gd name="T13" fmla="*/ 0 h 420"/>
                  <a:gd name="T14" fmla="*/ 480 w 480"/>
                  <a:gd name="T15" fmla="*/ 9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0" h="420">
                    <a:moveTo>
                      <a:pt x="300" y="420"/>
                    </a:moveTo>
                    <a:lnTo>
                      <a:pt x="0" y="210"/>
                    </a:lnTo>
                    <a:lnTo>
                      <a:pt x="180" y="240"/>
                    </a:lnTo>
                    <a:lnTo>
                      <a:pt x="90" y="0"/>
                    </a:lnTo>
                    <a:lnTo>
                      <a:pt x="240" y="150"/>
                    </a:lnTo>
                    <a:lnTo>
                      <a:pt x="270" y="0"/>
                    </a:lnTo>
                    <a:lnTo>
                      <a:pt x="420" y="0"/>
                    </a:lnTo>
                    <a:lnTo>
                      <a:pt x="4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03" name="Freeform 2392">
                <a:extLst>
                  <a:ext uri="{FF2B5EF4-FFF2-40B4-BE49-F238E27FC236}">
                    <a16:creationId xmlns:a16="http://schemas.microsoft.com/office/drawing/2014/main" id="{C52AF545-197E-476E-AA37-6F3453FE4D7B}"/>
                  </a:ext>
                </a:extLst>
              </p:cNvPr>
              <p:cNvSpPr>
                <a:spLocks/>
              </p:cNvSpPr>
              <p:nvPr/>
            </p:nvSpPr>
            <p:spPr bwMode="auto">
              <a:xfrm>
                <a:off x="2925" y="1260"/>
                <a:ext cx="120" cy="300"/>
              </a:xfrm>
              <a:custGeom>
                <a:avLst/>
                <a:gdLst>
                  <a:gd name="T0" fmla="*/ 0 w 120"/>
                  <a:gd name="T1" fmla="*/ 0 h 300"/>
                  <a:gd name="T2" fmla="*/ 0 w 120"/>
                  <a:gd name="T3" fmla="*/ 180 h 300"/>
                  <a:gd name="T4" fmla="*/ 120 w 120"/>
                  <a:gd name="T5" fmla="*/ 90 h 300"/>
                  <a:gd name="T6" fmla="*/ 120 w 120"/>
                  <a:gd name="T7" fmla="*/ 210 h 300"/>
                  <a:gd name="T8" fmla="*/ 90 w 120"/>
                  <a:gd name="T9" fmla="*/ 300 h 300"/>
                </a:gdLst>
                <a:ahLst/>
                <a:cxnLst>
                  <a:cxn ang="0">
                    <a:pos x="T0" y="T1"/>
                  </a:cxn>
                  <a:cxn ang="0">
                    <a:pos x="T2" y="T3"/>
                  </a:cxn>
                  <a:cxn ang="0">
                    <a:pos x="T4" y="T5"/>
                  </a:cxn>
                  <a:cxn ang="0">
                    <a:pos x="T6" y="T7"/>
                  </a:cxn>
                  <a:cxn ang="0">
                    <a:pos x="T8" y="T9"/>
                  </a:cxn>
                </a:cxnLst>
                <a:rect l="0" t="0" r="r" b="b"/>
                <a:pathLst>
                  <a:path w="120" h="300">
                    <a:moveTo>
                      <a:pt x="0" y="0"/>
                    </a:moveTo>
                    <a:lnTo>
                      <a:pt x="0" y="180"/>
                    </a:lnTo>
                    <a:lnTo>
                      <a:pt x="120" y="90"/>
                    </a:lnTo>
                    <a:lnTo>
                      <a:pt x="120" y="210"/>
                    </a:lnTo>
                    <a:lnTo>
                      <a:pt x="9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04" name="Freeform 2393">
                <a:extLst>
                  <a:ext uri="{FF2B5EF4-FFF2-40B4-BE49-F238E27FC236}">
                    <a16:creationId xmlns:a16="http://schemas.microsoft.com/office/drawing/2014/main" id="{81E07F59-EA5D-467C-BA5F-96E5C3CA159F}"/>
                  </a:ext>
                </a:extLst>
              </p:cNvPr>
              <p:cNvSpPr>
                <a:spLocks/>
              </p:cNvSpPr>
              <p:nvPr/>
            </p:nvSpPr>
            <p:spPr bwMode="auto">
              <a:xfrm>
                <a:off x="2715" y="1292"/>
                <a:ext cx="330" cy="178"/>
              </a:xfrm>
              <a:custGeom>
                <a:avLst/>
                <a:gdLst>
                  <a:gd name="T0" fmla="*/ 0 w 330"/>
                  <a:gd name="T1" fmla="*/ 0 h 178"/>
                  <a:gd name="T2" fmla="*/ 60 w 330"/>
                  <a:gd name="T3" fmla="*/ 118 h 178"/>
                  <a:gd name="T4" fmla="*/ 150 w 330"/>
                  <a:gd name="T5" fmla="*/ 28 h 178"/>
                  <a:gd name="T6" fmla="*/ 330 w 330"/>
                  <a:gd name="T7" fmla="*/ 178 h 178"/>
                </a:gdLst>
                <a:ahLst/>
                <a:cxnLst>
                  <a:cxn ang="0">
                    <a:pos x="T0" y="T1"/>
                  </a:cxn>
                  <a:cxn ang="0">
                    <a:pos x="T2" y="T3"/>
                  </a:cxn>
                  <a:cxn ang="0">
                    <a:pos x="T4" y="T5"/>
                  </a:cxn>
                  <a:cxn ang="0">
                    <a:pos x="T6" y="T7"/>
                  </a:cxn>
                </a:cxnLst>
                <a:rect l="0" t="0" r="r" b="b"/>
                <a:pathLst>
                  <a:path w="330" h="178">
                    <a:moveTo>
                      <a:pt x="0" y="0"/>
                    </a:moveTo>
                    <a:lnTo>
                      <a:pt x="60" y="118"/>
                    </a:lnTo>
                    <a:lnTo>
                      <a:pt x="150" y="28"/>
                    </a:lnTo>
                    <a:lnTo>
                      <a:pt x="330" y="17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05" name="Line 2394">
                <a:extLst>
                  <a:ext uri="{FF2B5EF4-FFF2-40B4-BE49-F238E27FC236}">
                    <a16:creationId xmlns:a16="http://schemas.microsoft.com/office/drawing/2014/main" id="{92DFA82E-4DE7-4F77-9605-15DB7A7C7DF0}"/>
                  </a:ext>
                </a:extLst>
              </p:cNvPr>
              <p:cNvSpPr>
                <a:spLocks noChangeShapeType="1"/>
              </p:cNvSpPr>
              <p:nvPr/>
            </p:nvSpPr>
            <p:spPr bwMode="auto">
              <a:xfrm flipH="1">
                <a:off x="2925" y="1410"/>
                <a:ext cx="24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06" name="Freeform 2395">
                <a:extLst>
                  <a:ext uri="{FF2B5EF4-FFF2-40B4-BE49-F238E27FC236}">
                    <a16:creationId xmlns:a16="http://schemas.microsoft.com/office/drawing/2014/main" id="{5606F496-2131-455D-BE54-2E2164F78801}"/>
                  </a:ext>
                </a:extLst>
              </p:cNvPr>
              <p:cNvSpPr>
                <a:spLocks/>
              </p:cNvSpPr>
              <p:nvPr/>
            </p:nvSpPr>
            <p:spPr bwMode="auto">
              <a:xfrm>
                <a:off x="2086" y="2070"/>
                <a:ext cx="899" cy="720"/>
              </a:xfrm>
              <a:custGeom>
                <a:avLst/>
                <a:gdLst>
                  <a:gd name="T0" fmla="*/ 59 w 899"/>
                  <a:gd name="T1" fmla="*/ 240 h 720"/>
                  <a:gd name="T2" fmla="*/ 179 w 899"/>
                  <a:gd name="T3" fmla="*/ 390 h 720"/>
                  <a:gd name="T4" fmla="*/ 239 w 899"/>
                  <a:gd name="T5" fmla="*/ 300 h 720"/>
                  <a:gd name="T6" fmla="*/ 329 w 899"/>
                  <a:gd name="T7" fmla="*/ 360 h 720"/>
                  <a:gd name="T8" fmla="*/ 329 w 899"/>
                  <a:gd name="T9" fmla="*/ 240 h 720"/>
                  <a:gd name="T10" fmla="*/ 179 w 899"/>
                  <a:gd name="T11" fmla="*/ 181 h 720"/>
                  <a:gd name="T12" fmla="*/ 269 w 899"/>
                  <a:gd name="T13" fmla="*/ 150 h 720"/>
                  <a:gd name="T14" fmla="*/ 389 w 899"/>
                  <a:gd name="T15" fmla="*/ 120 h 720"/>
                  <a:gd name="T16" fmla="*/ 449 w 899"/>
                  <a:gd name="T17" fmla="*/ 300 h 720"/>
                  <a:gd name="T18" fmla="*/ 539 w 899"/>
                  <a:gd name="T19" fmla="*/ 180 h 720"/>
                  <a:gd name="T20" fmla="*/ 509 w 899"/>
                  <a:gd name="T21" fmla="*/ 60 h 720"/>
                  <a:gd name="T22" fmla="*/ 359 w 899"/>
                  <a:gd name="T23" fmla="*/ 30 h 720"/>
                  <a:gd name="T24" fmla="*/ 569 w 899"/>
                  <a:gd name="T25" fmla="*/ 0 h 720"/>
                  <a:gd name="T26" fmla="*/ 689 w 899"/>
                  <a:gd name="T27" fmla="*/ 90 h 720"/>
                  <a:gd name="T28" fmla="*/ 659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89 w 899"/>
                  <a:gd name="T41" fmla="*/ 390 h 720"/>
                  <a:gd name="T42" fmla="*/ 539 w 899"/>
                  <a:gd name="T43" fmla="*/ 330 h 720"/>
                  <a:gd name="T44" fmla="*/ 569 w 899"/>
                  <a:gd name="T45" fmla="*/ 450 h 720"/>
                  <a:gd name="T46" fmla="*/ 419 w 899"/>
                  <a:gd name="T47" fmla="*/ 420 h 720"/>
                  <a:gd name="T48" fmla="*/ 389 w 899"/>
                  <a:gd name="T49" fmla="*/ 540 h 720"/>
                  <a:gd name="T50" fmla="*/ 509 w 899"/>
                  <a:gd name="T51" fmla="*/ 570 h 720"/>
                  <a:gd name="T52" fmla="*/ 659 w 899"/>
                  <a:gd name="T53" fmla="*/ 570 h 720"/>
                  <a:gd name="T54" fmla="*/ 599 w 899"/>
                  <a:gd name="T55" fmla="*/ 720 h 720"/>
                  <a:gd name="T56" fmla="*/ 299 w 899"/>
                  <a:gd name="T57" fmla="*/ 630 h 720"/>
                  <a:gd name="T58" fmla="*/ 268 w 899"/>
                  <a:gd name="T59" fmla="*/ 482 h 720"/>
                  <a:gd name="T60" fmla="*/ 179 w 899"/>
                  <a:gd name="T61" fmla="*/ 570 h 720"/>
                  <a:gd name="T62" fmla="*/ 59 w 899"/>
                  <a:gd name="T63" fmla="*/ 480 h 720"/>
                  <a:gd name="T64" fmla="*/ 0 w 899"/>
                  <a:gd name="T65" fmla="*/ 360 h 720"/>
                  <a:gd name="T66" fmla="*/ 59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59" y="240"/>
                    </a:move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599" y="720"/>
                    </a:lnTo>
                    <a:lnTo>
                      <a:pt x="299" y="630"/>
                    </a:lnTo>
                    <a:lnTo>
                      <a:pt x="268" y="482"/>
                    </a:lnTo>
                    <a:lnTo>
                      <a:pt x="179" y="570"/>
                    </a:lnTo>
                    <a:lnTo>
                      <a:pt x="59" y="480"/>
                    </a:lnTo>
                    <a:lnTo>
                      <a:pt x="0" y="360"/>
                    </a:lnTo>
                    <a:lnTo>
                      <a:pt x="59"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07" name="Line 2396">
                <a:extLst>
                  <a:ext uri="{FF2B5EF4-FFF2-40B4-BE49-F238E27FC236}">
                    <a16:creationId xmlns:a16="http://schemas.microsoft.com/office/drawing/2014/main" id="{A046A652-3A64-44DE-9578-0270B723AF83}"/>
                  </a:ext>
                </a:extLst>
              </p:cNvPr>
              <p:cNvSpPr>
                <a:spLocks noChangeShapeType="1"/>
              </p:cNvSpPr>
              <p:nvPr/>
            </p:nvSpPr>
            <p:spPr bwMode="auto">
              <a:xfrm flipH="1">
                <a:off x="2145" y="225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08" name="Freeform 2397">
                <a:extLst>
                  <a:ext uri="{FF2B5EF4-FFF2-40B4-BE49-F238E27FC236}">
                    <a16:creationId xmlns:a16="http://schemas.microsoft.com/office/drawing/2014/main" id="{07F41C8C-7EB2-46E4-9D3F-BB63074A615F}"/>
                  </a:ext>
                </a:extLst>
              </p:cNvPr>
              <p:cNvSpPr>
                <a:spLocks/>
              </p:cNvSpPr>
              <p:nvPr/>
            </p:nvSpPr>
            <p:spPr bwMode="auto">
              <a:xfrm>
                <a:off x="2354" y="243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09" name="Freeform 2398">
                <a:extLst>
                  <a:ext uri="{FF2B5EF4-FFF2-40B4-BE49-F238E27FC236}">
                    <a16:creationId xmlns:a16="http://schemas.microsoft.com/office/drawing/2014/main" id="{8FC47CB8-19B4-404B-BAB5-8DB9752FBB32}"/>
                  </a:ext>
                </a:extLst>
              </p:cNvPr>
              <p:cNvSpPr>
                <a:spLocks/>
              </p:cNvSpPr>
              <p:nvPr/>
            </p:nvSpPr>
            <p:spPr bwMode="auto">
              <a:xfrm>
                <a:off x="2415" y="1980"/>
                <a:ext cx="240" cy="330"/>
              </a:xfrm>
              <a:custGeom>
                <a:avLst/>
                <a:gdLst>
                  <a:gd name="T0" fmla="*/ 180 w 240"/>
                  <a:gd name="T1" fmla="*/ 150 h 330"/>
                  <a:gd name="T2" fmla="*/ 120 w 240"/>
                  <a:gd name="T3" fmla="*/ 0 h 330"/>
                  <a:gd name="T4" fmla="*/ 240 w 240"/>
                  <a:gd name="T5" fmla="*/ 90 h 330"/>
                  <a:gd name="T6" fmla="*/ 210 w 240"/>
                  <a:gd name="T7" fmla="*/ 270 h 330"/>
                  <a:gd name="T8" fmla="*/ 0 w 240"/>
                  <a:gd name="T9" fmla="*/ 330 h 330"/>
                </a:gdLst>
                <a:ahLst/>
                <a:cxnLst>
                  <a:cxn ang="0">
                    <a:pos x="T0" y="T1"/>
                  </a:cxn>
                  <a:cxn ang="0">
                    <a:pos x="T2" y="T3"/>
                  </a:cxn>
                  <a:cxn ang="0">
                    <a:pos x="T4" y="T5"/>
                  </a:cxn>
                  <a:cxn ang="0">
                    <a:pos x="T6" y="T7"/>
                  </a:cxn>
                  <a:cxn ang="0">
                    <a:pos x="T8" y="T9"/>
                  </a:cxn>
                </a:cxnLst>
                <a:rect l="0" t="0" r="r" b="b"/>
                <a:pathLst>
                  <a:path w="240" h="330">
                    <a:moveTo>
                      <a:pt x="180" y="150"/>
                    </a:moveTo>
                    <a:lnTo>
                      <a:pt x="120" y="0"/>
                    </a:lnTo>
                    <a:lnTo>
                      <a:pt x="240" y="90"/>
                    </a:lnTo>
                    <a:lnTo>
                      <a:pt x="21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10" name="Line 2399">
                <a:extLst>
                  <a:ext uri="{FF2B5EF4-FFF2-40B4-BE49-F238E27FC236}">
                    <a16:creationId xmlns:a16="http://schemas.microsoft.com/office/drawing/2014/main" id="{3C76CECA-7678-4B73-B96B-032E5152AF48}"/>
                  </a:ext>
                </a:extLst>
              </p:cNvPr>
              <p:cNvSpPr>
                <a:spLocks noChangeShapeType="1"/>
              </p:cNvSpPr>
              <p:nvPr/>
            </p:nvSpPr>
            <p:spPr bwMode="auto">
              <a:xfrm>
                <a:off x="247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11" name="Freeform 2400">
                <a:extLst>
                  <a:ext uri="{FF2B5EF4-FFF2-40B4-BE49-F238E27FC236}">
                    <a16:creationId xmlns:a16="http://schemas.microsoft.com/office/drawing/2014/main" id="{F543B3C8-6283-486A-AB6C-3DBF593E85B8}"/>
                  </a:ext>
                </a:extLst>
              </p:cNvPr>
              <p:cNvSpPr>
                <a:spLocks/>
              </p:cNvSpPr>
              <p:nvPr/>
            </p:nvSpPr>
            <p:spPr bwMode="auto">
              <a:xfrm>
                <a:off x="3045" y="207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12" name="Freeform 2401">
                <a:extLst>
                  <a:ext uri="{FF2B5EF4-FFF2-40B4-BE49-F238E27FC236}">
                    <a16:creationId xmlns:a16="http://schemas.microsoft.com/office/drawing/2014/main" id="{83E96365-B4AE-414A-B221-31F44F7461FF}"/>
                  </a:ext>
                </a:extLst>
              </p:cNvPr>
              <p:cNvSpPr>
                <a:spLocks/>
              </p:cNvSpPr>
              <p:nvPr/>
            </p:nvSpPr>
            <p:spPr bwMode="auto">
              <a:xfrm>
                <a:off x="3105" y="222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13" name="Freeform 2402">
                <a:extLst>
                  <a:ext uri="{FF2B5EF4-FFF2-40B4-BE49-F238E27FC236}">
                    <a16:creationId xmlns:a16="http://schemas.microsoft.com/office/drawing/2014/main" id="{B76B3836-D7A6-40D4-A0BF-6142C522CF09}"/>
                  </a:ext>
                </a:extLst>
              </p:cNvPr>
              <p:cNvSpPr>
                <a:spLocks/>
              </p:cNvSpPr>
              <p:nvPr/>
            </p:nvSpPr>
            <p:spPr bwMode="auto">
              <a:xfrm>
                <a:off x="2985" y="225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14" name="Freeform 2403">
                <a:extLst>
                  <a:ext uri="{FF2B5EF4-FFF2-40B4-BE49-F238E27FC236}">
                    <a16:creationId xmlns:a16="http://schemas.microsoft.com/office/drawing/2014/main" id="{1DA23454-0E94-40AF-9820-8835AE765119}"/>
                  </a:ext>
                </a:extLst>
              </p:cNvPr>
              <p:cNvSpPr>
                <a:spLocks/>
              </p:cNvSpPr>
              <p:nvPr/>
            </p:nvSpPr>
            <p:spPr bwMode="auto">
              <a:xfrm>
                <a:off x="3313" y="243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15" name="Freeform 2404">
                <a:extLst>
                  <a:ext uri="{FF2B5EF4-FFF2-40B4-BE49-F238E27FC236}">
                    <a16:creationId xmlns:a16="http://schemas.microsoft.com/office/drawing/2014/main" id="{93B04752-F4EB-4780-B5D9-DEC6C341A095}"/>
                  </a:ext>
                </a:extLst>
              </p:cNvPr>
              <p:cNvSpPr>
                <a:spLocks/>
              </p:cNvSpPr>
              <p:nvPr/>
            </p:nvSpPr>
            <p:spPr bwMode="auto">
              <a:xfrm>
                <a:off x="3375" y="204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16" name="Line 2405">
                <a:extLst>
                  <a:ext uri="{FF2B5EF4-FFF2-40B4-BE49-F238E27FC236}">
                    <a16:creationId xmlns:a16="http://schemas.microsoft.com/office/drawing/2014/main" id="{FE780FEF-FA2C-4405-8C0F-01647448EEF3}"/>
                  </a:ext>
                </a:extLst>
              </p:cNvPr>
              <p:cNvSpPr>
                <a:spLocks noChangeShapeType="1"/>
              </p:cNvSpPr>
              <p:nvPr/>
            </p:nvSpPr>
            <p:spPr bwMode="auto">
              <a:xfrm>
                <a:off x="343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17" name="Line 2406">
                <a:extLst>
                  <a:ext uri="{FF2B5EF4-FFF2-40B4-BE49-F238E27FC236}">
                    <a16:creationId xmlns:a16="http://schemas.microsoft.com/office/drawing/2014/main" id="{50B6133D-07FF-4912-8183-F5B1543668D2}"/>
                  </a:ext>
                </a:extLst>
              </p:cNvPr>
              <p:cNvSpPr>
                <a:spLocks noChangeShapeType="1"/>
              </p:cNvSpPr>
              <p:nvPr/>
            </p:nvSpPr>
            <p:spPr bwMode="auto">
              <a:xfrm>
                <a:off x="2955" y="18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18" name="Line 2407">
                <a:extLst>
                  <a:ext uri="{FF2B5EF4-FFF2-40B4-BE49-F238E27FC236}">
                    <a16:creationId xmlns:a16="http://schemas.microsoft.com/office/drawing/2014/main" id="{05130E31-ABC3-4967-B247-520CBE2B748D}"/>
                  </a:ext>
                </a:extLst>
              </p:cNvPr>
              <p:cNvSpPr>
                <a:spLocks noChangeShapeType="1"/>
              </p:cNvSpPr>
              <p:nvPr/>
            </p:nvSpPr>
            <p:spPr bwMode="auto">
              <a:xfrm>
                <a:off x="2655" y="18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19" name="Line 2408">
                <a:extLst>
                  <a:ext uri="{FF2B5EF4-FFF2-40B4-BE49-F238E27FC236}">
                    <a16:creationId xmlns:a16="http://schemas.microsoft.com/office/drawing/2014/main" id="{65CF0AE6-463B-4F6D-81A3-E8BAA8DCEF85}"/>
                  </a:ext>
                </a:extLst>
              </p:cNvPr>
              <p:cNvSpPr>
                <a:spLocks noChangeShapeType="1"/>
              </p:cNvSpPr>
              <p:nvPr/>
            </p:nvSpPr>
            <p:spPr bwMode="auto">
              <a:xfrm>
                <a:off x="3045" y="17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20" name="Line 2409">
                <a:extLst>
                  <a:ext uri="{FF2B5EF4-FFF2-40B4-BE49-F238E27FC236}">
                    <a16:creationId xmlns:a16="http://schemas.microsoft.com/office/drawing/2014/main" id="{36088EEA-A2BC-4B8C-B584-417F228A56A7}"/>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21" name="Line 2410">
                <a:extLst>
                  <a:ext uri="{FF2B5EF4-FFF2-40B4-BE49-F238E27FC236}">
                    <a16:creationId xmlns:a16="http://schemas.microsoft.com/office/drawing/2014/main" id="{CBEDC4F8-D87D-4585-94AD-B3273D72A2B7}"/>
                  </a:ext>
                </a:extLst>
              </p:cNvPr>
              <p:cNvSpPr>
                <a:spLocks noChangeShapeType="1"/>
              </p:cNvSpPr>
              <p:nvPr/>
            </p:nvSpPr>
            <p:spPr bwMode="auto">
              <a:xfrm flipH="1" flipV="1">
                <a:off x="2415" y="1770"/>
                <a:ext cx="6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22" name="Line 2411">
                <a:extLst>
                  <a:ext uri="{FF2B5EF4-FFF2-40B4-BE49-F238E27FC236}">
                    <a16:creationId xmlns:a16="http://schemas.microsoft.com/office/drawing/2014/main" id="{7386F278-D864-4A24-AF11-6A613C6130BD}"/>
                  </a:ext>
                </a:extLst>
              </p:cNvPr>
              <p:cNvSpPr>
                <a:spLocks noChangeShapeType="1"/>
              </p:cNvSpPr>
              <p:nvPr/>
            </p:nvSpPr>
            <p:spPr bwMode="auto">
              <a:xfrm>
                <a:off x="2475" y="1830"/>
                <a:ext cx="21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23" name="Line 2412">
                <a:extLst>
                  <a:ext uri="{FF2B5EF4-FFF2-40B4-BE49-F238E27FC236}">
                    <a16:creationId xmlns:a16="http://schemas.microsoft.com/office/drawing/2014/main" id="{FBA35497-967B-4C8E-9DDB-07510B11B43E}"/>
                  </a:ext>
                </a:extLst>
              </p:cNvPr>
              <p:cNvSpPr>
                <a:spLocks noChangeShapeType="1"/>
              </p:cNvSpPr>
              <p:nvPr/>
            </p:nvSpPr>
            <p:spPr bwMode="auto">
              <a:xfrm>
                <a:off x="2535" y="16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24" name="Line 2413">
                <a:extLst>
                  <a:ext uri="{FF2B5EF4-FFF2-40B4-BE49-F238E27FC236}">
                    <a16:creationId xmlns:a16="http://schemas.microsoft.com/office/drawing/2014/main" id="{B68F6885-E3B4-4F95-92F1-99F635B85E41}"/>
                  </a:ext>
                </a:extLst>
              </p:cNvPr>
              <p:cNvSpPr>
                <a:spLocks noChangeShapeType="1"/>
              </p:cNvSpPr>
              <p:nvPr/>
            </p:nvSpPr>
            <p:spPr bwMode="auto">
              <a:xfrm>
                <a:off x="3045" y="13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25" name="Line 2414">
                <a:extLst>
                  <a:ext uri="{FF2B5EF4-FFF2-40B4-BE49-F238E27FC236}">
                    <a16:creationId xmlns:a16="http://schemas.microsoft.com/office/drawing/2014/main" id="{985E2B84-1458-4E20-8324-91D9A3E76F93}"/>
                  </a:ext>
                </a:extLst>
              </p:cNvPr>
              <p:cNvSpPr>
                <a:spLocks noChangeShapeType="1"/>
              </p:cNvSpPr>
              <p:nvPr/>
            </p:nvSpPr>
            <p:spPr bwMode="auto">
              <a:xfrm>
                <a:off x="2925" y="12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26" name="Freeform 2415">
                <a:extLst>
                  <a:ext uri="{FF2B5EF4-FFF2-40B4-BE49-F238E27FC236}">
                    <a16:creationId xmlns:a16="http://schemas.microsoft.com/office/drawing/2014/main" id="{266283E5-D104-4D07-A65C-C7ED37E897C4}"/>
                  </a:ext>
                </a:extLst>
              </p:cNvPr>
              <p:cNvSpPr>
                <a:spLocks/>
              </p:cNvSpPr>
              <p:nvPr/>
            </p:nvSpPr>
            <p:spPr bwMode="auto">
              <a:xfrm>
                <a:off x="2865" y="1710"/>
                <a:ext cx="240" cy="240"/>
              </a:xfrm>
              <a:custGeom>
                <a:avLst/>
                <a:gdLst>
                  <a:gd name="T0" fmla="*/ 240 w 240"/>
                  <a:gd name="T1" fmla="*/ 0 h 240"/>
                  <a:gd name="T2" fmla="*/ 210 w 240"/>
                  <a:gd name="T3" fmla="*/ 180 h 240"/>
                  <a:gd name="T4" fmla="*/ 180 w 240"/>
                  <a:gd name="T5" fmla="*/ 60 h 240"/>
                  <a:gd name="T6" fmla="*/ 150 w 240"/>
                  <a:gd name="T7" fmla="*/ 240 h 240"/>
                  <a:gd name="T8" fmla="*/ 90 w 240"/>
                  <a:gd name="T9" fmla="*/ 180 h 240"/>
                  <a:gd name="T10" fmla="*/ 0 w 240"/>
                  <a:gd name="T11" fmla="*/ 210 h 240"/>
                </a:gdLst>
                <a:ahLst/>
                <a:cxnLst>
                  <a:cxn ang="0">
                    <a:pos x="T0" y="T1"/>
                  </a:cxn>
                  <a:cxn ang="0">
                    <a:pos x="T2" y="T3"/>
                  </a:cxn>
                  <a:cxn ang="0">
                    <a:pos x="T4" y="T5"/>
                  </a:cxn>
                  <a:cxn ang="0">
                    <a:pos x="T6" y="T7"/>
                  </a:cxn>
                  <a:cxn ang="0">
                    <a:pos x="T8" y="T9"/>
                  </a:cxn>
                  <a:cxn ang="0">
                    <a:pos x="T10" y="T11"/>
                  </a:cxn>
                </a:cxnLst>
                <a:rect l="0" t="0" r="r" b="b"/>
                <a:pathLst>
                  <a:path w="240" h="240">
                    <a:moveTo>
                      <a:pt x="240" y="0"/>
                    </a:moveTo>
                    <a:lnTo>
                      <a:pt x="210" y="180"/>
                    </a:lnTo>
                    <a:lnTo>
                      <a:pt x="180" y="60"/>
                    </a:lnTo>
                    <a:lnTo>
                      <a:pt x="150" y="240"/>
                    </a:lnTo>
                    <a:lnTo>
                      <a:pt x="90" y="18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27" name="Line 2416">
                <a:extLst>
                  <a:ext uri="{FF2B5EF4-FFF2-40B4-BE49-F238E27FC236}">
                    <a16:creationId xmlns:a16="http://schemas.microsoft.com/office/drawing/2014/main" id="{28670604-1B2A-4183-8F39-350929E7C28F}"/>
                  </a:ext>
                </a:extLst>
              </p:cNvPr>
              <p:cNvSpPr>
                <a:spLocks noChangeShapeType="1"/>
              </p:cNvSpPr>
              <p:nvPr/>
            </p:nvSpPr>
            <p:spPr bwMode="auto">
              <a:xfrm>
                <a:off x="2865" y="19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28" name="Freeform 2417">
                <a:extLst>
                  <a:ext uri="{FF2B5EF4-FFF2-40B4-BE49-F238E27FC236}">
                    <a16:creationId xmlns:a16="http://schemas.microsoft.com/office/drawing/2014/main" id="{980F12FC-73EF-4A49-AE96-140F9C0BC6C6}"/>
                  </a:ext>
                </a:extLst>
              </p:cNvPr>
              <p:cNvSpPr>
                <a:spLocks/>
              </p:cNvSpPr>
              <p:nvPr/>
            </p:nvSpPr>
            <p:spPr bwMode="auto">
              <a:xfrm>
                <a:off x="3045" y="1770"/>
                <a:ext cx="180" cy="120"/>
              </a:xfrm>
              <a:custGeom>
                <a:avLst/>
                <a:gdLst>
                  <a:gd name="T0" fmla="*/ 150 w 180"/>
                  <a:gd name="T1" fmla="*/ 120 h 120"/>
                  <a:gd name="T2" fmla="*/ 180 w 180"/>
                  <a:gd name="T3" fmla="*/ 0 h 120"/>
                  <a:gd name="T4" fmla="*/ 30 w 180"/>
                  <a:gd name="T5" fmla="*/ 120 h 120"/>
                  <a:gd name="T6" fmla="*/ 150 w 180"/>
                  <a:gd name="T7" fmla="*/ 120 h 120"/>
                  <a:gd name="T8" fmla="*/ 0 w 180"/>
                  <a:gd name="T9" fmla="*/ 0 h 120"/>
                </a:gdLst>
                <a:ahLst/>
                <a:cxnLst>
                  <a:cxn ang="0">
                    <a:pos x="T0" y="T1"/>
                  </a:cxn>
                  <a:cxn ang="0">
                    <a:pos x="T2" y="T3"/>
                  </a:cxn>
                  <a:cxn ang="0">
                    <a:pos x="T4" y="T5"/>
                  </a:cxn>
                  <a:cxn ang="0">
                    <a:pos x="T6" y="T7"/>
                  </a:cxn>
                  <a:cxn ang="0">
                    <a:pos x="T8" y="T9"/>
                  </a:cxn>
                </a:cxnLst>
                <a:rect l="0" t="0" r="r" b="b"/>
                <a:pathLst>
                  <a:path w="180" h="120">
                    <a:moveTo>
                      <a:pt x="150" y="120"/>
                    </a:moveTo>
                    <a:lnTo>
                      <a:pt x="180" y="0"/>
                    </a:lnTo>
                    <a:lnTo>
                      <a:pt x="30" y="120"/>
                    </a:lnTo>
                    <a:lnTo>
                      <a:pt x="15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29" name="Freeform 2418">
                <a:extLst>
                  <a:ext uri="{FF2B5EF4-FFF2-40B4-BE49-F238E27FC236}">
                    <a16:creationId xmlns:a16="http://schemas.microsoft.com/office/drawing/2014/main" id="{D3F81549-A5B3-40F7-BF58-FB5FE82F1397}"/>
                  </a:ext>
                </a:extLst>
              </p:cNvPr>
              <p:cNvSpPr>
                <a:spLocks/>
              </p:cNvSpPr>
              <p:nvPr/>
            </p:nvSpPr>
            <p:spPr bwMode="auto">
              <a:xfrm>
                <a:off x="3105" y="1530"/>
                <a:ext cx="240" cy="360"/>
              </a:xfrm>
              <a:custGeom>
                <a:avLst/>
                <a:gdLst>
                  <a:gd name="T0" fmla="*/ 120 w 240"/>
                  <a:gd name="T1" fmla="*/ 240 h 360"/>
                  <a:gd name="T2" fmla="*/ 90 w 240"/>
                  <a:gd name="T3" fmla="*/ 120 h 360"/>
                  <a:gd name="T4" fmla="*/ 90 w 240"/>
                  <a:gd name="T5" fmla="*/ 0 h 360"/>
                  <a:gd name="T6" fmla="*/ 210 w 240"/>
                  <a:gd name="T7" fmla="*/ 30 h 360"/>
                  <a:gd name="T8" fmla="*/ 240 w 240"/>
                  <a:gd name="T9" fmla="*/ 180 h 360"/>
                  <a:gd name="T10" fmla="*/ 120 w 240"/>
                  <a:gd name="T11" fmla="*/ 240 h 360"/>
                  <a:gd name="T12" fmla="*/ 210 w 240"/>
                  <a:gd name="T13" fmla="*/ 330 h 360"/>
                  <a:gd name="T14" fmla="*/ 90 w 240"/>
                  <a:gd name="T15" fmla="*/ 360 h 360"/>
                  <a:gd name="T16" fmla="*/ 0 w 240"/>
                  <a:gd name="T17"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360">
                    <a:moveTo>
                      <a:pt x="120" y="240"/>
                    </a:moveTo>
                    <a:lnTo>
                      <a:pt x="90" y="120"/>
                    </a:lnTo>
                    <a:lnTo>
                      <a:pt x="90" y="0"/>
                    </a:lnTo>
                    <a:lnTo>
                      <a:pt x="210" y="30"/>
                    </a:lnTo>
                    <a:lnTo>
                      <a:pt x="240" y="180"/>
                    </a:lnTo>
                    <a:lnTo>
                      <a:pt x="120" y="240"/>
                    </a:lnTo>
                    <a:lnTo>
                      <a:pt x="210" y="330"/>
                    </a:lnTo>
                    <a:lnTo>
                      <a:pt x="90" y="36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30" name="Freeform 2419">
                <a:extLst>
                  <a:ext uri="{FF2B5EF4-FFF2-40B4-BE49-F238E27FC236}">
                    <a16:creationId xmlns:a16="http://schemas.microsoft.com/office/drawing/2014/main" id="{396FE12F-3DEC-4E47-A37C-9FE894434535}"/>
                  </a:ext>
                </a:extLst>
              </p:cNvPr>
              <p:cNvSpPr>
                <a:spLocks/>
              </p:cNvSpPr>
              <p:nvPr/>
            </p:nvSpPr>
            <p:spPr bwMode="auto">
              <a:xfrm>
                <a:off x="3105" y="1590"/>
                <a:ext cx="90" cy="120"/>
              </a:xfrm>
              <a:custGeom>
                <a:avLst/>
                <a:gdLst>
                  <a:gd name="T0" fmla="*/ 0 w 90"/>
                  <a:gd name="T1" fmla="*/ 120 h 120"/>
                  <a:gd name="T2" fmla="*/ 90 w 90"/>
                  <a:gd name="T3" fmla="*/ 60 h 120"/>
                  <a:gd name="T4" fmla="*/ 0 w 90"/>
                  <a:gd name="T5" fmla="*/ 0 h 120"/>
                </a:gdLst>
                <a:ahLst/>
                <a:cxnLst>
                  <a:cxn ang="0">
                    <a:pos x="T0" y="T1"/>
                  </a:cxn>
                  <a:cxn ang="0">
                    <a:pos x="T2" y="T3"/>
                  </a:cxn>
                  <a:cxn ang="0">
                    <a:pos x="T4" y="T5"/>
                  </a:cxn>
                </a:cxnLst>
                <a:rect l="0" t="0" r="r" b="b"/>
                <a:pathLst>
                  <a:path w="90" h="120">
                    <a:moveTo>
                      <a:pt x="0" y="120"/>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31" name="Line 2420">
                <a:extLst>
                  <a:ext uri="{FF2B5EF4-FFF2-40B4-BE49-F238E27FC236}">
                    <a16:creationId xmlns:a16="http://schemas.microsoft.com/office/drawing/2014/main" id="{7509DD0B-388A-4FBE-AC16-5FA915C93A2D}"/>
                  </a:ext>
                </a:extLst>
              </p:cNvPr>
              <p:cNvSpPr>
                <a:spLocks noChangeShapeType="1"/>
              </p:cNvSpPr>
              <p:nvPr/>
            </p:nvSpPr>
            <p:spPr bwMode="auto">
              <a:xfrm>
                <a:off x="2595" y="15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32" name="Freeform 2421">
                <a:extLst>
                  <a:ext uri="{FF2B5EF4-FFF2-40B4-BE49-F238E27FC236}">
                    <a16:creationId xmlns:a16="http://schemas.microsoft.com/office/drawing/2014/main" id="{1E9738AE-A95A-473B-A072-85395EC127C6}"/>
                  </a:ext>
                </a:extLst>
              </p:cNvPr>
              <p:cNvSpPr>
                <a:spLocks/>
              </p:cNvSpPr>
              <p:nvPr/>
            </p:nvSpPr>
            <p:spPr bwMode="auto">
              <a:xfrm>
                <a:off x="2715" y="1230"/>
                <a:ext cx="450" cy="180"/>
              </a:xfrm>
              <a:custGeom>
                <a:avLst/>
                <a:gdLst>
                  <a:gd name="T0" fmla="*/ 450 w 450"/>
                  <a:gd name="T1" fmla="*/ 180 h 180"/>
                  <a:gd name="T2" fmla="*/ 450 w 450"/>
                  <a:gd name="T3" fmla="*/ 60 h 180"/>
                  <a:gd name="T4" fmla="*/ 330 w 450"/>
                  <a:gd name="T5" fmla="*/ 120 h 180"/>
                  <a:gd name="T6" fmla="*/ 210 w 450"/>
                  <a:gd name="T7" fmla="*/ 30 h 180"/>
                  <a:gd name="T8" fmla="*/ 90 w 450"/>
                  <a:gd name="T9" fmla="*/ 0 h 180"/>
                  <a:gd name="T10" fmla="*/ 150 w 450"/>
                  <a:gd name="T11" fmla="*/ 90 h 180"/>
                  <a:gd name="T12" fmla="*/ 0 w 450"/>
                  <a:gd name="T13" fmla="*/ 60 h 180"/>
                </a:gdLst>
                <a:ahLst/>
                <a:cxnLst>
                  <a:cxn ang="0">
                    <a:pos x="T0" y="T1"/>
                  </a:cxn>
                  <a:cxn ang="0">
                    <a:pos x="T2" y="T3"/>
                  </a:cxn>
                  <a:cxn ang="0">
                    <a:pos x="T4" y="T5"/>
                  </a:cxn>
                  <a:cxn ang="0">
                    <a:pos x="T6" y="T7"/>
                  </a:cxn>
                  <a:cxn ang="0">
                    <a:pos x="T8" y="T9"/>
                  </a:cxn>
                  <a:cxn ang="0">
                    <a:pos x="T10" y="T11"/>
                  </a:cxn>
                  <a:cxn ang="0">
                    <a:pos x="T12" y="T13"/>
                  </a:cxn>
                </a:cxnLst>
                <a:rect l="0" t="0" r="r" b="b"/>
                <a:pathLst>
                  <a:path w="450" h="180">
                    <a:moveTo>
                      <a:pt x="450" y="180"/>
                    </a:moveTo>
                    <a:lnTo>
                      <a:pt x="450" y="60"/>
                    </a:lnTo>
                    <a:lnTo>
                      <a:pt x="330" y="120"/>
                    </a:lnTo>
                    <a:lnTo>
                      <a:pt x="210" y="30"/>
                    </a:lnTo>
                    <a:lnTo>
                      <a:pt x="90" y="0"/>
                    </a:lnTo>
                    <a:lnTo>
                      <a:pt x="150" y="9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33" name="Freeform 2422">
                <a:extLst>
                  <a:ext uri="{FF2B5EF4-FFF2-40B4-BE49-F238E27FC236}">
                    <a16:creationId xmlns:a16="http://schemas.microsoft.com/office/drawing/2014/main" id="{5DA8B0CF-EC86-4160-AB0A-AEE84A1A9310}"/>
                  </a:ext>
                </a:extLst>
              </p:cNvPr>
              <p:cNvSpPr>
                <a:spLocks/>
              </p:cNvSpPr>
              <p:nvPr/>
            </p:nvSpPr>
            <p:spPr bwMode="auto">
              <a:xfrm>
                <a:off x="3105" y="1440"/>
                <a:ext cx="180" cy="150"/>
              </a:xfrm>
              <a:custGeom>
                <a:avLst/>
                <a:gdLst>
                  <a:gd name="T0" fmla="*/ 180 w 180"/>
                  <a:gd name="T1" fmla="*/ 0 h 150"/>
                  <a:gd name="T2" fmla="*/ 90 w 180"/>
                  <a:gd name="T3" fmla="*/ 90 h 150"/>
                  <a:gd name="T4" fmla="*/ 0 w 180"/>
                  <a:gd name="T5" fmla="*/ 150 h 150"/>
                </a:gdLst>
                <a:ahLst/>
                <a:cxnLst>
                  <a:cxn ang="0">
                    <a:pos x="T0" y="T1"/>
                  </a:cxn>
                  <a:cxn ang="0">
                    <a:pos x="T2" y="T3"/>
                  </a:cxn>
                  <a:cxn ang="0">
                    <a:pos x="T4" y="T5"/>
                  </a:cxn>
                </a:cxnLst>
                <a:rect l="0" t="0" r="r" b="b"/>
                <a:pathLst>
                  <a:path w="180" h="150">
                    <a:moveTo>
                      <a:pt x="180" y="0"/>
                    </a:moveTo>
                    <a:lnTo>
                      <a:pt x="90" y="9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34" name="Freeform 2423">
                <a:extLst>
                  <a:ext uri="{FF2B5EF4-FFF2-40B4-BE49-F238E27FC236}">
                    <a16:creationId xmlns:a16="http://schemas.microsoft.com/office/drawing/2014/main" id="{BB18136F-6660-4F40-B0F0-C6A3AC552892}"/>
                  </a:ext>
                </a:extLst>
              </p:cNvPr>
              <p:cNvSpPr>
                <a:spLocks/>
              </p:cNvSpPr>
              <p:nvPr/>
            </p:nvSpPr>
            <p:spPr bwMode="auto">
              <a:xfrm>
                <a:off x="2925" y="1260"/>
                <a:ext cx="390" cy="390"/>
              </a:xfrm>
              <a:custGeom>
                <a:avLst/>
                <a:gdLst>
                  <a:gd name="T0" fmla="*/ 270 w 390"/>
                  <a:gd name="T1" fmla="*/ 390 h 390"/>
                  <a:gd name="T2" fmla="*/ 390 w 390"/>
                  <a:gd name="T3" fmla="*/ 300 h 390"/>
                  <a:gd name="T4" fmla="*/ 360 w 390"/>
                  <a:gd name="T5" fmla="*/ 180 h 390"/>
                  <a:gd name="T6" fmla="*/ 240 w 390"/>
                  <a:gd name="T7" fmla="*/ 30 h 390"/>
                  <a:gd name="T8" fmla="*/ 0 w 390"/>
                  <a:gd name="T9" fmla="*/ 0 h 390"/>
                </a:gdLst>
                <a:ahLst/>
                <a:cxnLst>
                  <a:cxn ang="0">
                    <a:pos x="T0" y="T1"/>
                  </a:cxn>
                  <a:cxn ang="0">
                    <a:pos x="T2" y="T3"/>
                  </a:cxn>
                  <a:cxn ang="0">
                    <a:pos x="T4" y="T5"/>
                  </a:cxn>
                  <a:cxn ang="0">
                    <a:pos x="T6" y="T7"/>
                  </a:cxn>
                  <a:cxn ang="0">
                    <a:pos x="T8" y="T9"/>
                  </a:cxn>
                </a:cxnLst>
                <a:rect l="0" t="0" r="r" b="b"/>
                <a:pathLst>
                  <a:path w="390" h="390">
                    <a:moveTo>
                      <a:pt x="270" y="390"/>
                    </a:moveTo>
                    <a:lnTo>
                      <a:pt x="390" y="300"/>
                    </a:lnTo>
                    <a:lnTo>
                      <a:pt x="360" y="180"/>
                    </a:lnTo>
                    <a:lnTo>
                      <a:pt x="24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35" name="Freeform 2424">
                <a:extLst>
                  <a:ext uri="{FF2B5EF4-FFF2-40B4-BE49-F238E27FC236}">
                    <a16:creationId xmlns:a16="http://schemas.microsoft.com/office/drawing/2014/main" id="{27911EAA-6238-49F0-84A5-CD151891CD6A}"/>
                  </a:ext>
                </a:extLst>
              </p:cNvPr>
              <p:cNvSpPr>
                <a:spLocks/>
              </p:cNvSpPr>
              <p:nvPr/>
            </p:nvSpPr>
            <p:spPr bwMode="auto">
              <a:xfrm>
                <a:off x="2445" y="1230"/>
                <a:ext cx="360" cy="210"/>
              </a:xfrm>
              <a:custGeom>
                <a:avLst/>
                <a:gdLst>
                  <a:gd name="T0" fmla="*/ 90 w 360"/>
                  <a:gd name="T1" fmla="*/ 60 h 210"/>
                  <a:gd name="T2" fmla="*/ 0 w 360"/>
                  <a:gd name="T3" fmla="*/ 180 h 210"/>
                  <a:gd name="T4" fmla="*/ 90 w 360"/>
                  <a:gd name="T5" fmla="*/ 210 h 210"/>
                  <a:gd name="T6" fmla="*/ 180 w 360"/>
                  <a:gd name="T7" fmla="*/ 180 h 210"/>
                  <a:gd name="T8" fmla="*/ 90 w 360"/>
                  <a:gd name="T9" fmla="*/ 60 h 210"/>
                  <a:gd name="T10" fmla="*/ 270 w 360"/>
                  <a:gd name="T11" fmla="*/ 60 h 210"/>
                  <a:gd name="T12" fmla="*/ 360 w 36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60" h="210">
                    <a:moveTo>
                      <a:pt x="90" y="60"/>
                    </a:moveTo>
                    <a:lnTo>
                      <a:pt x="0" y="180"/>
                    </a:lnTo>
                    <a:lnTo>
                      <a:pt x="90" y="210"/>
                    </a:lnTo>
                    <a:lnTo>
                      <a:pt x="180" y="180"/>
                    </a:lnTo>
                    <a:lnTo>
                      <a:pt x="90" y="60"/>
                    </a:lnTo>
                    <a:lnTo>
                      <a:pt x="270" y="60"/>
                    </a:lnTo>
                    <a:lnTo>
                      <a:pt x="3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36" name="Line 2425">
                <a:extLst>
                  <a:ext uri="{FF2B5EF4-FFF2-40B4-BE49-F238E27FC236}">
                    <a16:creationId xmlns:a16="http://schemas.microsoft.com/office/drawing/2014/main" id="{8268A157-E1C8-4D59-AFE0-DDDD9A53855A}"/>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37" name="Line 2426">
                <a:extLst>
                  <a:ext uri="{FF2B5EF4-FFF2-40B4-BE49-F238E27FC236}">
                    <a16:creationId xmlns:a16="http://schemas.microsoft.com/office/drawing/2014/main" id="{1E3FDC2D-37DE-4D8C-972B-A7826AEF9693}"/>
                  </a:ext>
                </a:extLst>
              </p:cNvPr>
              <p:cNvSpPr>
                <a:spLocks noChangeShapeType="1"/>
              </p:cNvSpPr>
              <p:nvPr/>
            </p:nvSpPr>
            <p:spPr bwMode="auto">
              <a:xfrm flipH="1">
                <a:off x="3105" y="141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38" name="Freeform 2427">
                <a:extLst>
                  <a:ext uri="{FF2B5EF4-FFF2-40B4-BE49-F238E27FC236}">
                    <a16:creationId xmlns:a16="http://schemas.microsoft.com/office/drawing/2014/main" id="{BE99F115-7C58-4FD2-8DD9-6C40DC005B16}"/>
                  </a:ext>
                </a:extLst>
              </p:cNvPr>
              <p:cNvSpPr>
                <a:spLocks/>
              </p:cNvSpPr>
              <p:nvPr/>
            </p:nvSpPr>
            <p:spPr bwMode="auto">
              <a:xfrm>
                <a:off x="2505" y="2490"/>
                <a:ext cx="450" cy="300"/>
              </a:xfrm>
              <a:custGeom>
                <a:avLst/>
                <a:gdLst>
                  <a:gd name="T0" fmla="*/ 180 w 450"/>
                  <a:gd name="T1" fmla="*/ 300 h 300"/>
                  <a:gd name="T2" fmla="*/ 300 w 450"/>
                  <a:gd name="T3" fmla="*/ 240 h 300"/>
                  <a:gd name="T4" fmla="*/ 450 w 450"/>
                  <a:gd name="T5" fmla="*/ 300 h 300"/>
                  <a:gd name="T6" fmla="*/ 360 w 450"/>
                  <a:gd name="T7" fmla="*/ 90 h 300"/>
                  <a:gd name="T8" fmla="*/ 240 w 450"/>
                  <a:gd name="T9" fmla="*/ 150 h 300"/>
                  <a:gd name="T10" fmla="*/ 0 w 450"/>
                  <a:gd name="T11" fmla="*/ 0 h 300"/>
                </a:gdLst>
                <a:ahLst/>
                <a:cxnLst>
                  <a:cxn ang="0">
                    <a:pos x="T0" y="T1"/>
                  </a:cxn>
                  <a:cxn ang="0">
                    <a:pos x="T2" y="T3"/>
                  </a:cxn>
                  <a:cxn ang="0">
                    <a:pos x="T4" y="T5"/>
                  </a:cxn>
                  <a:cxn ang="0">
                    <a:pos x="T6" y="T7"/>
                  </a:cxn>
                  <a:cxn ang="0">
                    <a:pos x="T8" y="T9"/>
                  </a:cxn>
                  <a:cxn ang="0">
                    <a:pos x="T10" y="T11"/>
                  </a:cxn>
                </a:cxnLst>
                <a:rect l="0" t="0" r="r" b="b"/>
                <a:pathLst>
                  <a:path w="450" h="300">
                    <a:moveTo>
                      <a:pt x="180" y="300"/>
                    </a:moveTo>
                    <a:lnTo>
                      <a:pt x="300" y="240"/>
                    </a:lnTo>
                    <a:lnTo>
                      <a:pt x="450" y="300"/>
                    </a:lnTo>
                    <a:lnTo>
                      <a:pt x="360" y="9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39" name="Line 2428">
                <a:extLst>
                  <a:ext uri="{FF2B5EF4-FFF2-40B4-BE49-F238E27FC236}">
                    <a16:creationId xmlns:a16="http://schemas.microsoft.com/office/drawing/2014/main" id="{4FA8AFF8-3D78-4FF6-9F8A-1DC6F40571D5}"/>
                  </a:ext>
                </a:extLst>
              </p:cNvPr>
              <p:cNvSpPr>
                <a:spLocks noChangeShapeType="1"/>
              </p:cNvSpPr>
              <p:nvPr/>
            </p:nvSpPr>
            <p:spPr bwMode="auto">
              <a:xfrm flipV="1">
                <a:off x="2925" y="243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40" name="Freeform 2429">
                <a:extLst>
                  <a:ext uri="{FF2B5EF4-FFF2-40B4-BE49-F238E27FC236}">
                    <a16:creationId xmlns:a16="http://schemas.microsoft.com/office/drawing/2014/main" id="{EA568BC4-F458-45E1-87EB-7CE82BC4E2CA}"/>
                  </a:ext>
                </a:extLst>
              </p:cNvPr>
              <p:cNvSpPr>
                <a:spLocks/>
              </p:cNvSpPr>
              <p:nvPr/>
            </p:nvSpPr>
            <p:spPr bwMode="auto">
              <a:xfrm>
                <a:off x="2835" y="2070"/>
                <a:ext cx="300" cy="240"/>
              </a:xfrm>
              <a:custGeom>
                <a:avLst/>
                <a:gdLst>
                  <a:gd name="T0" fmla="*/ 180 w 300"/>
                  <a:gd name="T1" fmla="*/ 0 h 240"/>
                  <a:gd name="T2" fmla="*/ 0 w 300"/>
                  <a:gd name="T3" fmla="*/ 0 h 240"/>
                  <a:gd name="T4" fmla="*/ 60 w 300"/>
                  <a:gd name="T5" fmla="*/ 120 h 240"/>
                  <a:gd name="T6" fmla="*/ 180 w 300"/>
                  <a:gd name="T7" fmla="*/ 0 h 240"/>
                  <a:gd name="T8" fmla="*/ 300 w 300"/>
                  <a:gd name="T9" fmla="*/ 150 h 240"/>
                  <a:gd name="T10" fmla="*/ 150 w 300"/>
                  <a:gd name="T11" fmla="*/ 240 h 240"/>
                </a:gdLst>
                <a:ahLst/>
                <a:cxnLst>
                  <a:cxn ang="0">
                    <a:pos x="T0" y="T1"/>
                  </a:cxn>
                  <a:cxn ang="0">
                    <a:pos x="T2" y="T3"/>
                  </a:cxn>
                  <a:cxn ang="0">
                    <a:pos x="T4" y="T5"/>
                  </a:cxn>
                  <a:cxn ang="0">
                    <a:pos x="T6" y="T7"/>
                  </a:cxn>
                  <a:cxn ang="0">
                    <a:pos x="T8" y="T9"/>
                  </a:cxn>
                  <a:cxn ang="0">
                    <a:pos x="T10" y="T11"/>
                  </a:cxn>
                </a:cxnLst>
                <a:rect l="0" t="0" r="r" b="b"/>
                <a:pathLst>
                  <a:path w="300" h="240">
                    <a:moveTo>
                      <a:pt x="180" y="0"/>
                    </a:moveTo>
                    <a:lnTo>
                      <a:pt x="0" y="0"/>
                    </a:lnTo>
                    <a:lnTo>
                      <a:pt x="60" y="120"/>
                    </a:lnTo>
                    <a:lnTo>
                      <a:pt x="180" y="0"/>
                    </a:lnTo>
                    <a:lnTo>
                      <a:pt x="300" y="15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41" name="Line 2430">
                <a:extLst>
                  <a:ext uri="{FF2B5EF4-FFF2-40B4-BE49-F238E27FC236}">
                    <a16:creationId xmlns:a16="http://schemas.microsoft.com/office/drawing/2014/main" id="{DAFC6CC4-FC5E-4EDA-9957-AA350D3D31C2}"/>
                  </a:ext>
                </a:extLst>
              </p:cNvPr>
              <p:cNvSpPr>
                <a:spLocks noChangeShapeType="1"/>
              </p:cNvSpPr>
              <p:nvPr/>
            </p:nvSpPr>
            <p:spPr bwMode="auto">
              <a:xfrm>
                <a:off x="3135" y="204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42" name="Freeform 2431">
                <a:extLst>
                  <a:ext uri="{FF2B5EF4-FFF2-40B4-BE49-F238E27FC236}">
                    <a16:creationId xmlns:a16="http://schemas.microsoft.com/office/drawing/2014/main" id="{33356E3A-DA1D-4CF0-82AA-2DF76CECF0DE}"/>
                  </a:ext>
                </a:extLst>
              </p:cNvPr>
              <p:cNvSpPr>
                <a:spLocks/>
              </p:cNvSpPr>
              <p:nvPr/>
            </p:nvSpPr>
            <p:spPr bwMode="auto">
              <a:xfrm>
                <a:off x="2655" y="2310"/>
                <a:ext cx="690" cy="420"/>
              </a:xfrm>
              <a:custGeom>
                <a:avLst/>
                <a:gdLst>
                  <a:gd name="T0" fmla="*/ 120 w 690"/>
                  <a:gd name="T1" fmla="*/ 150 h 420"/>
                  <a:gd name="T2" fmla="*/ 330 w 690"/>
                  <a:gd name="T3" fmla="*/ 0 h 420"/>
                  <a:gd name="T4" fmla="*/ 180 w 690"/>
                  <a:gd name="T5" fmla="*/ 30 h 420"/>
                  <a:gd name="T6" fmla="*/ 270 w 690"/>
                  <a:gd name="T7" fmla="*/ 180 h 420"/>
                  <a:gd name="T8" fmla="*/ 0 w 690"/>
                  <a:gd name="T9" fmla="*/ 210 h 420"/>
                  <a:gd name="T10" fmla="*/ 210 w 690"/>
                  <a:gd name="T11" fmla="*/ 270 h 420"/>
                  <a:gd name="T12" fmla="*/ 330 w 690"/>
                  <a:gd name="T13" fmla="*/ 330 h 420"/>
                  <a:gd name="T14" fmla="*/ 420 w 690"/>
                  <a:gd name="T15" fmla="*/ 420 h 420"/>
                  <a:gd name="T16" fmla="*/ 450 w 690"/>
                  <a:gd name="T17" fmla="*/ 240 h 420"/>
                  <a:gd name="T18" fmla="*/ 570 w 690"/>
                  <a:gd name="T19" fmla="*/ 420 h 420"/>
                  <a:gd name="T20" fmla="*/ 690 w 690"/>
                  <a:gd name="T21" fmla="*/ 39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420">
                    <a:moveTo>
                      <a:pt x="120" y="150"/>
                    </a:moveTo>
                    <a:lnTo>
                      <a:pt x="330" y="0"/>
                    </a:lnTo>
                    <a:lnTo>
                      <a:pt x="180" y="30"/>
                    </a:lnTo>
                    <a:lnTo>
                      <a:pt x="270" y="180"/>
                    </a:lnTo>
                    <a:lnTo>
                      <a:pt x="0" y="210"/>
                    </a:lnTo>
                    <a:lnTo>
                      <a:pt x="210" y="270"/>
                    </a:lnTo>
                    <a:lnTo>
                      <a:pt x="330" y="330"/>
                    </a:lnTo>
                    <a:lnTo>
                      <a:pt x="420" y="420"/>
                    </a:lnTo>
                    <a:lnTo>
                      <a:pt x="450" y="240"/>
                    </a:lnTo>
                    <a:lnTo>
                      <a:pt x="570" y="420"/>
                    </a:lnTo>
                    <a:lnTo>
                      <a:pt x="690" y="3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43" name="Freeform 2432">
                <a:extLst>
                  <a:ext uri="{FF2B5EF4-FFF2-40B4-BE49-F238E27FC236}">
                    <a16:creationId xmlns:a16="http://schemas.microsoft.com/office/drawing/2014/main" id="{F106D933-6D5B-4BC9-9A44-8076B60F6D23}"/>
                  </a:ext>
                </a:extLst>
              </p:cNvPr>
              <p:cNvSpPr>
                <a:spLocks/>
              </p:cNvSpPr>
              <p:nvPr/>
            </p:nvSpPr>
            <p:spPr bwMode="auto">
              <a:xfrm>
                <a:off x="3465" y="249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44" name="Freeform 2433">
                <a:extLst>
                  <a:ext uri="{FF2B5EF4-FFF2-40B4-BE49-F238E27FC236}">
                    <a16:creationId xmlns:a16="http://schemas.microsoft.com/office/drawing/2014/main" id="{44884E62-54B7-4F19-B6A0-D82BDC70E4E2}"/>
                  </a:ext>
                </a:extLst>
              </p:cNvPr>
              <p:cNvSpPr>
                <a:spLocks/>
              </p:cNvSpPr>
              <p:nvPr/>
            </p:nvSpPr>
            <p:spPr bwMode="auto">
              <a:xfrm>
                <a:off x="3615" y="231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45" name="Line 2434">
                <a:extLst>
                  <a:ext uri="{FF2B5EF4-FFF2-40B4-BE49-F238E27FC236}">
                    <a16:creationId xmlns:a16="http://schemas.microsoft.com/office/drawing/2014/main" id="{D9606FCA-BC61-413D-9665-B66D3BA83706}"/>
                  </a:ext>
                </a:extLst>
              </p:cNvPr>
              <p:cNvSpPr>
                <a:spLocks noChangeShapeType="1"/>
              </p:cNvSpPr>
              <p:nvPr/>
            </p:nvSpPr>
            <p:spPr bwMode="auto">
              <a:xfrm>
                <a:off x="3944" y="231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46" name="Freeform 2435">
                <a:extLst>
                  <a:ext uri="{FF2B5EF4-FFF2-40B4-BE49-F238E27FC236}">
                    <a16:creationId xmlns:a16="http://schemas.microsoft.com/office/drawing/2014/main" id="{0B02F323-3A65-434C-8981-11C1CAB4C71F}"/>
                  </a:ext>
                </a:extLst>
              </p:cNvPr>
              <p:cNvSpPr>
                <a:spLocks/>
              </p:cNvSpPr>
              <p:nvPr/>
            </p:nvSpPr>
            <p:spPr bwMode="auto">
              <a:xfrm>
                <a:off x="3735" y="216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47" name="Freeform 2436">
                <a:extLst>
                  <a:ext uri="{FF2B5EF4-FFF2-40B4-BE49-F238E27FC236}">
                    <a16:creationId xmlns:a16="http://schemas.microsoft.com/office/drawing/2014/main" id="{B5CDCA35-4247-47AD-9321-E5575BF9346D}"/>
                  </a:ext>
                </a:extLst>
              </p:cNvPr>
              <p:cNvSpPr>
                <a:spLocks/>
              </p:cNvSpPr>
              <p:nvPr/>
            </p:nvSpPr>
            <p:spPr bwMode="auto">
              <a:xfrm>
                <a:off x="1786" y="216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48" name="Freeform 2437">
                <a:extLst>
                  <a:ext uri="{FF2B5EF4-FFF2-40B4-BE49-F238E27FC236}">
                    <a16:creationId xmlns:a16="http://schemas.microsoft.com/office/drawing/2014/main" id="{EA6A00EF-E27E-4FB9-9FB8-26C40202170B}"/>
                  </a:ext>
                </a:extLst>
              </p:cNvPr>
              <p:cNvSpPr>
                <a:spLocks/>
              </p:cNvSpPr>
              <p:nvPr/>
            </p:nvSpPr>
            <p:spPr bwMode="auto">
              <a:xfrm>
                <a:off x="2056" y="2100"/>
                <a:ext cx="719" cy="690"/>
              </a:xfrm>
              <a:custGeom>
                <a:avLst/>
                <a:gdLst>
                  <a:gd name="T0" fmla="*/ 119 w 719"/>
                  <a:gd name="T1" fmla="*/ 120 h 690"/>
                  <a:gd name="T2" fmla="*/ 0 w 719"/>
                  <a:gd name="T3" fmla="*/ 30 h 690"/>
                  <a:gd name="T4" fmla="*/ 209 w 719"/>
                  <a:gd name="T5" fmla="*/ 0 h 690"/>
                  <a:gd name="T6" fmla="*/ 299 w 719"/>
                  <a:gd name="T7" fmla="*/ 120 h 690"/>
                  <a:gd name="T8" fmla="*/ 389 w 719"/>
                  <a:gd name="T9" fmla="*/ 0 h 690"/>
                  <a:gd name="T10" fmla="*/ 209 w 719"/>
                  <a:gd name="T11" fmla="*/ 0 h 690"/>
                  <a:gd name="T12" fmla="*/ 209 w 719"/>
                  <a:gd name="T13" fmla="*/ 151 h 690"/>
                  <a:gd name="T14" fmla="*/ 119 w 719"/>
                  <a:gd name="T15" fmla="*/ 120 h 690"/>
                  <a:gd name="T16" fmla="*/ 89 w 719"/>
                  <a:gd name="T17" fmla="*/ 210 h 690"/>
                  <a:gd name="T18" fmla="*/ 89 w 719"/>
                  <a:gd name="T19" fmla="*/ 450 h 690"/>
                  <a:gd name="T20" fmla="*/ 209 w 719"/>
                  <a:gd name="T21" fmla="*/ 360 h 690"/>
                  <a:gd name="T22" fmla="*/ 298 w 719"/>
                  <a:gd name="T23" fmla="*/ 452 h 690"/>
                  <a:gd name="T24" fmla="*/ 269 w 719"/>
                  <a:gd name="T25" fmla="*/ 270 h 690"/>
                  <a:gd name="T26" fmla="*/ 359 w 719"/>
                  <a:gd name="T27" fmla="*/ 210 h 690"/>
                  <a:gd name="T28" fmla="*/ 479 w 719"/>
                  <a:gd name="T29" fmla="*/ 270 h 690"/>
                  <a:gd name="T30" fmla="*/ 359 w 719"/>
                  <a:gd name="T31" fmla="*/ 330 h 690"/>
                  <a:gd name="T32" fmla="*/ 449 w 719"/>
                  <a:gd name="T33" fmla="*/ 390 h 690"/>
                  <a:gd name="T34" fmla="*/ 719 w 719"/>
                  <a:gd name="T35" fmla="*/ 360 h 690"/>
                  <a:gd name="T36" fmla="*/ 599 w 719"/>
                  <a:gd name="T37" fmla="*/ 420 h 690"/>
                  <a:gd name="T38" fmla="*/ 629 w 719"/>
                  <a:gd name="T39" fmla="*/ 690 h 690"/>
                  <a:gd name="T40" fmla="*/ 419 w 719"/>
                  <a:gd name="T41" fmla="*/ 51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69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29" y="69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49" name="Freeform 2438">
                <a:extLst>
                  <a:ext uri="{FF2B5EF4-FFF2-40B4-BE49-F238E27FC236}">
                    <a16:creationId xmlns:a16="http://schemas.microsoft.com/office/drawing/2014/main" id="{D0DFAE96-F160-43D0-9D72-9FD883AAFDC3}"/>
                  </a:ext>
                </a:extLst>
              </p:cNvPr>
              <p:cNvSpPr>
                <a:spLocks/>
              </p:cNvSpPr>
              <p:nvPr/>
            </p:nvSpPr>
            <p:spPr bwMode="auto">
              <a:xfrm>
                <a:off x="1786" y="219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50" name="Freeform 2439">
                <a:extLst>
                  <a:ext uri="{FF2B5EF4-FFF2-40B4-BE49-F238E27FC236}">
                    <a16:creationId xmlns:a16="http://schemas.microsoft.com/office/drawing/2014/main" id="{65B028FD-571D-4DF0-8134-6B6AD565FE09}"/>
                  </a:ext>
                </a:extLst>
              </p:cNvPr>
              <p:cNvSpPr>
                <a:spLocks/>
              </p:cNvSpPr>
              <p:nvPr/>
            </p:nvSpPr>
            <p:spPr bwMode="auto">
              <a:xfrm>
                <a:off x="1906" y="252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51" name="Freeform 2440">
                <a:extLst>
                  <a:ext uri="{FF2B5EF4-FFF2-40B4-BE49-F238E27FC236}">
                    <a16:creationId xmlns:a16="http://schemas.microsoft.com/office/drawing/2014/main" id="{BD49CB6C-8549-40C8-B788-AC7EBB9165E6}"/>
                  </a:ext>
                </a:extLst>
              </p:cNvPr>
              <p:cNvSpPr>
                <a:spLocks/>
              </p:cNvSpPr>
              <p:nvPr/>
            </p:nvSpPr>
            <p:spPr bwMode="auto">
              <a:xfrm>
                <a:off x="2056" y="540"/>
                <a:ext cx="899" cy="750"/>
              </a:xfrm>
              <a:custGeom>
                <a:avLst/>
                <a:gdLst>
                  <a:gd name="T0" fmla="*/ 299 w 899"/>
                  <a:gd name="T1" fmla="*/ 630 h 750"/>
                  <a:gd name="T2" fmla="*/ 268 w 899"/>
                  <a:gd name="T3" fmla="*/ 482 h 750"/>
                  <a:gd name="T4" fmla="*/ 179 w 899"/>
                  <a:gd name="T5" fmla="*/ 570 h 750"/>
                  <a:gd name="T6" fmla="*/ 59 w 899"/>
                  <a:gd name="T7" fmla="*/ 480 h 750"/>
                  <a:gd name="T8" fmla="*/ 0 w 899"/>
                  <a:gd name="T9" fmla="*/ 360 h 750"/>
                  <a:gd name="T10" fmla="*/ 59 w 899"/>
                  <a:gd name="T11" fmla="*/ 240 h 750"/>
                  <a:gd name="T12" fmla="*/ 179 w 899"/>
                  <a:gd name="T13" fmla="*/ 390 h 750"/>
                  <a:gd name="T14" fmla="*/ 239 w 899"/>
                  <a:gd name="T15" fmla="*/ 300 h 750"/>
                  <a:gd name="T16" fmla="*/ 329 w 899"/>
                  <a:gd name="T17" fmla="*/ 360 h 750"/>
                  <a:gd name="T18" fmla="*/ 329 w 899"/>
                  <a:gd name="T19" fmla="*/ 240 h 750"/>
                  <a:gd name="T20" fmla="*/ 179 w 899"/>
                  <a:gd name="T21" fmla="*/ 181 h 750"/>
                  <a:gd name="T22" fmla="*/ 269 w 899"/>
                  <a:gd name="T23" fmla="*/ 150 h 750"/>
                  <a:gd name="T24" fmla="*/ 389 w 899"/>
                  <a:gd name="T25" fmla="*/ 120 h 750"/>
                  <a:gd name="T26" fmla="*/ 449 w 899"/>
                  <a:gd name="T27" fmla="*/ 300 h 750"/>
                  <a:gd name="T28" fmla="*/ 539 w 899"/>
                  <a:gd name="T29" fmla="*/ 180 h 750"/>
                  <a:gd name="T30" fmla="*/ 509 w 899"/>
                  <a:gd name="T31" fmla="*/ 60 h 750"/>
                  <a:gd name="T32" fmla="*/ 359 w 899"/>
                  <a:gd name="T33" fmla="*/ 30 h 750"/>
                  <a:gd name="T34" fmla="*/ 569 w 899"/>
                  <a:gd name="T35" fmla="*/ 0 h 750"/>
                  <a:gd name="T36" fmla="*/ 689 w 899"/>
                  <a:gd name="T37" fmla="*/ 90 h 750"/>
                  <a:gd name="T38" fmla="*/ 659 w 899"/>
                  <a:gd name="T39" fmla="*/ 240 h 750"/>
                  <a:gd name="T40" fmla="*/ 749 w 899"/>
                  <a:gd name="T41" fmla="*/ 270 h 750"/>
                  <a:gd name="T42" fmla="*/ 809 w 899"/>
                  <a:gd name="T43" fmla="*/ 120 h 750"/>
                  <a:gd name="T44" fmla="*/ 899 w 899"/>
                  <a:gd name="T45" fmla="*/ 240 h 750"/>
                  <a:gd name="T46" fmla="*/ 839 w 899"/>
                  <a:gd name="T47" fmla="*/ 420 h 750"/>
                  <a:gd name="T48" fmla="*/ 779 w 899"/>
                  <a:gd name="T49" fmla="*/ 510 h 750"/>
                  <a:gd name="T50" fmla="*/ 689 w 899"/>
                  <a:gd name="T51" fmla="*/ 390 h 750"/>
                  <a:gd name="T52" fmla="*/ 539 w 899"/>
                  <a:gd name="T53" fmla="*/ 330 h 750"/>
                  <a:gd name="T54" fmla="*/ 569 w 899"/>
                  <a:gd name="T55" fmla="*/ 450 h 750"/>
                  <a:gd name="T56" fmla="*/ 419 w 899"/>
                  <a:gd name="T57" fmla="*/ 420 h 750"/>
                  <a:gd name="T58" fmla="*/ 389 w 899"/>
                  <a:gd name="T59" fmla="*/ 540 h 750"/>
                  <a:gd name="T60" fmla="*/ 509 w 899"/>
                  <a:gd name="T61" fmla="*/ 570 h 750"/>
                  <a:gd name="T62" fmla="*/ 659 w 899"/>
                  <a:gd name="T63" fmla="*/ 570 h 750"/>
                  <a:gd name="T64" fmla="*/ 659 w 899"/>
                  <a:gd name="T65"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9" h="750">
                    <a:moveTo>
                      <a:pt x="299" y="630"/>
                    </a:moveTo>
                    <a:lnTo>
                      <a:pt x="268" y="482"/>
                    </a:lnTo>
                    <a:lnTo>
                      <a:pt x="179" y="570"/>
                    </a:lnTo>
                    <a:lnTo>
                      <a:pt x="59" y="480"/>
                    </a:lnTo>
                    <a:lnTo>
                      <a:pt x="0" y="360"/>
                    </a:lnTo>
                    <a:lnTo>
                      <a:pt x="59" y="240"/>
                    </a:ln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659" y="7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52" name="Line 2441">
                <a:extLst>
                  <a:ext uri="{FF2B5EF4-FFF2-40B4-BE49-F238E27FC236}">
                    <a16:creationId xmlns:a16="http://schemas.microsoft.com/office/drawing/2014/main" id="{183CE9D6-EEB1-4E8B-8141-69B7E29FECD5}"/>
                  </a:ext>
                </a:extLst>
              </p:cNvPr>
              <p:cNvSpPr>
                <a:spLocks noChangeShapeType="1"/>
              </p:cNvSpPr>
              <p:nvPr/>
            </p:nvSpPr>
            <p:spPr bwMode="auto">
              <a:xfrm flipH="1">
                <a:off x="2115" y="72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53" name="Freeform 2442">
                <a:extLst>
                  <a:ext uri="{FF2B5EF4-FFF2-40B4-BE49-F238E27FC236}">
                    <a16:creationId xmlns:a16="http://schemas.microsoft.com/office/drawing/2014/main" id="{4A9B83AF-3F9B-41BF-A242-68F66EAC5811}"/>
                  </a:ext>
                </a:extLst>
              </p:cNvPr>
              <p:cNvSpPr>
                <a:spLocks/>
              </p:cNvSpPr>
              <p:nvPr/>
            </p:nvSpPr>
            <p:spPr bwMode="auto">
              <a:xfrm>
                <a:off x="2324" y="90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54" name="Freeform 2443">
                <a:extLst>
                  <a:ext uri="{FF2B5EF4-FFF2-40B4-BE49-F238E27FC236}">
                    <a16:creationId xmlns:a16="http://schemas.microsoft.com/office/drawing/2014/main" id="{04D7D19B-7BC1-4157-BDCF-F9C5E6F0A135}"/>
                  </a:ext>
                </a:extLst>
              </p:cNvPr>
              <p:cNvSpPr>
                <a:spLocks/>
              </p:cNvSpPr>
              <p:nvPr/>
            </p:nvSpPr>
            <p:spPr bwMode="auto">
              <a:xfrm>
                <a:off x="238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55" name="Line 2444">
                <a:extLst>
                  <a:ext uri="{FF2B5EF4-FFF2-40B4-BE49-F238E27FC236}">
                    <a16:creationId xmlns:a16="http://schemas.microsoft.com/office/drawing/2014/main" id="{9094EBC4-2634-48FA-8434-417FD3EFBC63}"/>
                  </a:ext>
                </a:extLst>
              </p:cNvPr>
              <p:cNvSpPr>
                <a:spLocks noChangeShapeType="1"/>
              </p:cNvSpPr>
              <p:nvPr/>
            </p:nvSpPr>
            <p:spPr bwMode="auto">
              <a:xfrm>
                <a:off x="244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56" name="Freeform 2445">
                <a:extLst>
                  <a:ext uri="{FF2B5EF4-FFF2-40B4-BE49-F238E27FC236}">
                    <a16:creationId xmlns:a16="http://schemas.microsoft.com/office/drawing/2014/main" id="{1FB9E07E-C9CE-4AA7-927A-F7DC054E96BF}"/>
                  </a:ext>
                </a:extLst>
              </p:cNvPr>
              <p:cNvSpPr>
                <a:spLocks/>
              </p:cNvSpPr>
              <p:nvPr/>
            </p:nvSpPr>
            <p:spPr bwMode="auto">
              <a:xfrm>
                <a:off x="1966" y="600"/>
                <a:ext cx="599" cy="630"/>
              </a:xfrm>
              <a:custGeom>
                <a:avLst/>
                <a:gdLst>
                  <a:gd name="T0" fmla="*/ 599 w 599"/>
                  <a:gd name="T1" fmla="*/ 510 h 630"/>
                  <a:gd name="T2" fmla="*/ 389 w 599"/>
                  <a:gd name="T3" fmla="*/ 570 h 630"/>
                  <a:gd name="T4" fmla="*/ 269 w 599"/>
                  <a:gd name="T5" fmla="*/ 510 h 630"/>
                  <a:gd name="T6" fmla="*/ 90 w 599"/>
                  <a:gd name="T7" fmla="*/ 540 h 630"/>
                  <a:gd name="T8" fmla="*/ 0 w 599"/>
                  <a:gd name="T9" fmla="*/ 390 h 630"/>
                  <a:gd name="T10" fmla="*/ 0 w 599"/>
                  <a:gd name="T11" fmla="*/ 630 h 630"/>
                  <a:gd name="T12" fmla="*/ 90 w 599"/>
                  <a:gd name="T13" fmla="*/ 300 h 630"/>
                  <a:gd name="T14" fmla="*/ 0 w 599"/>
                  <a:gd name="T15" fmla="*/ 210 h 630"/>
                  <a:gd name="T16" fmla="*/ 0 w 599"/>
                  <a:gd name="T17" fmla="*/ 60 h 630"/>
                  <a:gd name="T18" fmla="*/ 60 w 599"/>
                  <a:gd name="T19" fmla="*/ 0 h 630"/>
                  <a:gd name="T20" fmla="*/ 149 w 599"/>
                  <a:gd name="T21" fmla="*/ 180 h 630"/>
                  <a:gd name="T22" fmla="*/ 329 w 599"/>
                  <a:gd name="T23" fmla="*/ 240 h 630"/>
                  <a:gd name="T24" fmla="*/ 359 w 599"/>
                  <a:gd name="T25" fmla="*/ 9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9" h="630">
                    <a:moveTo>
                      <a:pt x="599" y="510"/>
                    </a:move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57" name="Freeform 2446">
                <a:extLst>
                  <a:ext uri="{FF2B5EF4-FFF2-40B4-BE49-F238E27FC236}">
                    <a16:creationId xmlns:a16="http://schemas.microsoft.com/office/drawing/2014/main" id="{4CC2CCE0-8B45-4306-9D02-24739493DEE2}"/>
                  </a:ext>
                </a:extLst>
              </p:cNvPr>
              <p:cNvSpPr>
                <a:spLocks/>
              </p:cNvSpPr>
              <p:nvPr/>
            </p:nvSpPr>
            <p:spPr bwMode="auto">
              <a:xfrm>
                <a:off x="3015" y="54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58" name="Freeform 2447">
                <a:extLst>
                  <a:ext uri="{FF2B5EF4-FFF2-40B4-BE49-F238E27FC236}">
                    <a16:creationId xmlns:a16="http://schemas.microsoft.com/office/drawing/2014/main" id="{54130A2D-79C4-485A-B64E-0A4DA5ED777B}"/>
                  </a:ext>
                </a:extLst>
              </p:cNvPr>
              <p:cNvSpPr>
                <a:spLocks/>
              </p:cNvSpPr>
              <p:nvPr/>
            </p:nvSpPr>
            <p:spPr bwMode="auto">
              <a:xfrm>
                <a:off x="3075" y="69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59" name="Freeform 2448">
                <a:extLst>
                  <a:ext uri="{FF2B5EF4-FFF2-40B4-BE49-F238E27FC236}">
                    <a16:creationId xmlns:a16="http://schemas.microsoft.com/office/drawing/2014/main" id="{FD9594E0-7F0E-4412-B167-5CB9DB84C77E}"/>
                  </a:ext>
                </a:extLst>
              </p:cNvPr>
              <p:cNvSpPr>
                <a:spLocks/>
              </p:cNvSpPr>
              <p:nvPr/>
            </p:nvSpPr>
            <p:spPr bwMode="auto">
              <a:xfrm>
                <a:off x="2955" y="72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60" name="Freeform 2449">
                <a:extLst>
                  <a:ext uri="{FF2B5EF4-FFF2-40B4-BE49-F238E27FC236}">
                    <a16:creationId xmlns:a16="http://schemas.microsoft.com/office/drawing/2014/main" id="{C99822E5-027C-49C7-9956-5F103E28C159}"/>
                  </a:ext>
                </a:extLst>
              </p:cNvPr>
              <p:cNvSpPr>
                <a:spLocks/>
              </p:cNvSpPr>
              <p:nvPr/>
            </p:nvSpPr>
            <p:spPr bwMode="auto">
              <a:xfrm>
                <a:off x="3283" y="90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61" name="Freeform 2450">
                <a:extLst>
                  <a:ext uri="{FF2B5EF4-FFF2-40B4-BE49-F238E27FC236}">
                    <a16:creationId xmlns:a16="http://schemas.microsoft.com/office/drawing/2014/main" id="{D7C0589B-DFCB-41F1-82E6-76CA946C9B59}"/>
                  </a:ext>
                </a:extLst>
              </p:cNvPr>
              <p:cNvSpPr>
                <a:spLocks/>
              </p:cNvSpPr>
              <p:nvPr/>
            </p:nvSpPr>
            <p:spPr bwMode="auto">
              <a:xfrm>
                <a:off x="334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62" name="Line 2451">
                <a:extLst>
                  <a:ext uri="{FF2B5EF4-FFF2-40B4-BE49-F238E27FC236}">
                    <a16:creationId xmlns:a16="http://schemas.microsoft.com/office/drawing/2014/main" id="{C914DC24-B310-4F88-BFEC-797300920626}"/>
                  </a:ext>
                </a:extLst>
              </p:cNvPr>
              <p:cNvSpPr>
                <a:spLocks noChangeShapeType="1"/>
              </p:cNvSpPr>
              <p:nvPr/>
            </p:nvSpPr>
            <p:spPr bwMode="auto">
              <a:xfrm>
                <a:off x="340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63" name="Freeform 2452">
                <a:extLst>
                  <a:ext uri="{FF2B5EF4-FFF2-40B4-BE49-F238E27FC236}">
                    <a16:creationId xmlns:a16="http://schemas.microsoft.com/office/drawing/2014/main" id="{EE6D7AC2-9EC1-4687-B84A-1679CF17C17C}"/>
                  </a:ext>
                </a:extLst>
              </p:cNvPr>
              <p:cNvSpPr>
                <a:spLocks/>
              </p:cNvSpPr>
              <p:nvPr/>
            </p:nvSpPr>
            <p:spPr bwMode="auto">
              <a:xfrm>
                <a:off x="3075" y="780"/>
                <a:ext cx="450" cy="390"/>
              </a:xfrm>
              <a:custGeom>
                <a:avLst/>
                <a:gdLst>
                  <a:gd name="T0" fmla="*/ 450 w 450"/>
                  <a:gd name="T1" fmla="*/ 330 h 390"/>
                  <a:gd name="T2" fmla="*/ 240 w 450"/>
                  <a:gd name="T3" fmla="*/ 390 h 390"/>
                  <a:gd name="T4" fmla="*/ 120 w 450"/>
                  <a:gd name="T5" fmla="*/ 330 h 390"/>
                  <a:gd name="T6" fmla="*/ 0 w 450"/>
                  <a:gd name="T7" fmla="*/ 0 h 390"/>
                </a:gdLst>
                <a:ahLst/>
                <a:cxnLst>
                  <a:cxn ang="0">
                    <a:pos x="T0" y="T1"/>
                  </a:cxn>
                  <a:cxn ang="0">
                    <a:pos x="T2" y="T3"/>
                  </a:cxn>
                  <a:cxn ang="0">
                    <a:pos x="T4" y="T5"/>
                  </a:cxn>
                  <a:cxn ang="0">
                    <a:pos x="T6" y="T7"/>
                  </a:cxn>
                </a:cxnLst>
                <a:rect l="0" t="0" r="r" b="b"/>
                <a:pathLst>
                  <a:path w="450" h="390">
                    <a:moveTo>
                      <a:pt x="450" y="330"/>
                    </a:moveTo>
                    <a:lnTo>
                      <a:pt x="240" y="390"/>
                    </a:lnTo>
                    <a:lnTo>
                      <a:pt x="12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64" name="Freeform 2453">
                <a:extLst>
                  <a:ext uri="{FF2B5EF4-FFF2-40B4-BE49-F238E27FC236}">
                    <a16:creationId xmlns:a16="http://schemas.microsoft.com/office/drawing/2014/main" id="{453F4DEF-66A3-402A-BE8B-BC695A171B61}"/>
                  </a:ext>
                </a:extLst>
              </p:cNvPr>
              <p:cNvSpPr>
                <a:spLocks/>
              </p:cNvSpPr>
              <p:nvPr/>
            </p:nvSpPr>
            <p:spPr bwMode="auto">
              <a:xfrm>
                <a:off x="2475" y="960"/>
                <a:ext cx="570" cy="300"/>
              </a:xfrm>
              <a:custGeom>
                <a:avLst/>
                <a:gdLst>
                  <a:gd name="T0" fmla="*/ 0 w 570"/>
                  <a:gd name="T1" fmla="*/ 0 h 300"/>
                  <a:gd name="T2" fmla="*/ 240 w 570"/>
                  <a:gd name="T3" fmla="*/ 150 h 300"/>
                  <a:gd name="T4" fmla="*/ 360 w 570"/>
                  <a:gd name="T5" fmla="*/ 90 h 300"/>
                  <a:gd name="T6" fmla="*/ 450 w 570"/>
                  <a:gd name="T7" fmla="*/ 300 h 300"/>
                  <a:gd name="T8" fmla="*/ 570 w 570"/>
                  <a:gd name="T9" fmla="*/ 240 h 300"/>
                </a:gdLst>
                <a:ahLst/>
                <a:cxnLst>
                  <a:cxn ang="0">
                    <a:pos x="T0" y="T1"/>
                  </a:cxn>
                  <a:cxn ang="0">
                    <a:pos x="T2" y="T3"/>
                  </a:cxn>
                  <a:cxn ang="0">
                    <a:pos x="T4" y="T5"/>
                  </a:cxn>
                  <a:cxn ang="0">
                    <a:pos x="T6" y="T7"/>
                  </a:cxn>
                  <a:cxn ang="0">
                    <a:pos x="T8" y="T9"/>
                  </a:cxn>
                </a:cxnLst>
                <a:rect l="0" t="0" r="r" b="b"/>
                <a:pathLst>
                  <a:path w="570" h="300">
                    <a:moveTo>
                      <a:pt x="0" y="0"/>
                    </a:moveTo>
                    <a:lnTo>
                      <a:pt x="240" y="150"/>
                    </a:lnTo>
                    <a:lnTo>
                      <a:pt x="360" y="90"/>
                    </a:lnTo>
                    <a:lnTo>
                      <a:pt x="450" y="300"/>
                    </a:lnTo>
                    <a:lnTo>
                      <a:pt x="57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65" name="Line 2454">
                <a:extLst>
                  <a:ext uri="{FF2B5EF4-FFF2-40B4-BE49-F238E27FC236}">
                    <a16:creationId xmlns:a16="http://schemas.microsoft.com/office/drawing/2014/main" id="{0BDC0ABA-FB6D-402B-BAAE-498CDFB75C35}"/>
                  </a:ext>
                </a:extLst>
              </p:cNvPr>
              <p:cNvSpPr>
                <a:spLocks noChangeShapeType="1"/>
              </p:cNvSpPr>
              <p:nvPr/>
            </p:nvSpPr>
            <p:spPr bwMode="auto">
              <a:xfrm flipV="1">
                <a:off x="2895" y="90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66" name="Line 2455">
                <a:extLst>
                  <a:ext uri="{FF2B5EF4-FFF2-40B4-BE49-F238E27FC236}">
                    <a16:creationId xmlns:a16="http://schemas.microsoft.com/office/drawing/2014/main" id="{8758586D-C798-4FB9-A631-CBC741931138}"/>
                  </a:ext>
                </a:extLst>
              </p:cNvPr>
              <p:cNvSpPr>
                <a:spLocks noChangeShapeType="1"/>
              </p:cNvSpPr>
              <p:nvPr/>
            </p:nvSpPr>
            <p:spPr bwMode="auto">
              <a:xfrm>
                <a:off x="3105" y="51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67" name="Freeform 2456">
                <a:extLst>
                  <a:ext uri="{FF2B5EF4-FFF2-40B4-BE49-F238E27FC236}">
                    <a16:creationId xmlns:a16="http://schemas.microsoft.com/office/drawing/2014/main" id="{D3C5BE8C-9E1C-47E0-AB74-2DE1D7A75F0A}"/>
                  </a:ext>
                </a:extLst>
              </p:cNvPr>
              <p:cNvSpPr>
                <a:spLocks/>
              </p:cNvSpPr>
              <p:nvPr/>
            </p:nvSpPr>
            <p:spPr bwMode="auto">
              <a:xfrm>
                <a:off x="3435" y="96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68" name="Freeform 2457">
                <a:extLst>
                  <a:ext uri="{FF2B5EF4-FFF2-40B4-BE49-F238E27FC236}">
                    <a16:creationId xmlns:a16="http://schemas.microsoft.com/office/drawing/2014/main" id="{547E6695-D628-4002-8368-E35D0D4B0A8C}"/>
                  </a:ext>
                </a:extLst>
              </p:cNvPr>
              <p:cNvSpPr>
                <a:spLocks/>
              </p:cNvSpPr>
              <p:nvPr/>
            </p:nvSpPr>
            <p:spPr bwMode="auto">
              <a:xfrm>
                <a:off x="3585" y="78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69" name="Line 2458">
                <a:extLst>
                  <a:ext uri="{FF2B5EF4-FFF2-40B4-BE49-F238E27FC236}">
                    <a16:creationId xmlns:a16="http://schemas.microsoft.com/office/drawing/2014/main" id="{43FE14E3-2E67-4ECD-97AE-C4A9E8F66319}"/>
                  </a:ext>
                </a:extLst>
              </p:cNvPr>
              <p:cNvSpPr>
                <a:spLocks noChangeShapeType="1"/>
              </p:cNvSpPr>
              <p:nvPr/>
            </p:nvSpPr>
            <p:spPr bwMode="auto">
              <a:xfrm>
                <a:off x="3914" y="78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70" name="Freeform 2459">
                <a:extLst>
                  <a:ext uri="{FF2B5EF4-FFF2-40B4-BE49-F238E27FC236}">
                    <a16:creationId xmlns:a16="http://schemas.microsoft.com/office/drawing/2014/main" id="{B90B6BC7-1C66-4DBB-A4C0-E4B67C321A8D}"/>
                  </a:ext>
                </a:extLst>
              </p:cNvPr>
              <p:cNvSpPr>
                <a:spLocks/>
              </p:cNvSpPr>
              <p:nvPr/>
            </p:nvSpPr>
            <p:spPr bwMode="auto">
              <a:xfrm>
                <a:off x="3705" y="63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71" name="Freeform 2460">
                <a:extLst>
                  <a:ext uri="{FF2B5EF4-FFF2-40B4-BE49-F238E27FC236}">
                    <a16:creationId xmlns:a16="http://schemas.microsoft.com/office/drawing/2014/main" id="{55E51B30-2F75-44DE-B2FD-280F797D227C}"/>
                  </a:ext>
                </a:extLst>
              </p:cNvPr>
              <p:cNvSpPr>
                <a:spLocks/>
              </p:cNvSpPr>
              <p:nvPr/>
            </p:nvSpPr>
            <p:spPr bwMode="auto">
              <a:xfrm>
                <a:off x="1756" y="63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72" name="Freeform 2461">
                <a:extLst>
                  <a:ext uri="{FF2B5EF4-FFF2-40B4-BE49-F238E27FC236}">
                    <a16:creationId xmlns:a16="http://schemas.microsoft.com/office/drawing/2014/main" id="{6C203705-0D95-4727-9620-DDF5F39724FC}"/>
                  </a:ext>
                </a:extLst>
              </p:cNvPr>
              <p:cNvSpPr>
                <a:spLocks/>
              </p:cNvSpPr>
              <p:nvPr/>
            </p:nvSpPr>
            <p:spPr bwMode="auto">
              <a:xfrm>
                <a:off x="2026" y="570"/>
                <a:ext cx="719" cy="720"/>
              </a:xfrm>
              <a:custGeom>
                <a:avLst/>
                <a:gdLst>
                  <a:gd name="T0" fmla="*/ 119 w 719"/>
                  <a:gd name="T1" fmla="*/ 120 h 720"/>
                  <a:gd name="T2" fmla="*/ 0 w 719"/>
                  <a:gd name="T3" fmla="*/ 30 h 720"/>
                  <a:gd name="T4" fmla="*/ 209 w 719"/>
                  <a:gd name="T5" fmla="*/ 0 h 720"/>
                  <a:gd name="T6" fmla="*/ 299 w 719"/>
                  <a:gd name="T7" fmla="*/ 120 h 720"/>
                  <a:gd name="T8" fmla="*/ 389 w 719"/>
                  <a:gd name="T9" fmla="*/ 0 h 720"/>
                  <a:gd name="T10" fmla="*/ 209 w 719"/>
                  <a:gd name="T11" fmla="*/ 0 h 720"/>
                  <a:gd name="T12" fmla="*/ 209 w 719"/>
                  <a:gd name="T13" fmla="*/ 151 h 720"/>
                  <a:gd name="T14" fmla="*/ 119 w 719"/>
                  <a:gd name="T15" fmla="*/ 120 h 720"/>
                  <a:gd name="T16" fmla="*/ 89 w 719"/>
                  <a:gd name="T17" fmla="*/ 210 h 720"/>
                  <a:gd name="T18" fmla="*/ 89 w 719"/>
                  <a:gd name="T19" fmla="*/ 450 h 720"/>
                  <a:gd name="T20" fmla="*/ 209 w 719"/>
                  <a:gd name="T21" fmla="*/ 360 h 720"/>
                  <a:gd name="T22" fmla="*/ 298 w 719"/>
                  <a:gd name="T23" fmla="*/ 452 h 720"/>
                  <a:gd name="T24" fmla="*/ 269 w 719"/>
                  <a:gd name="T25" fmla="*/ 270 h 720"/>
                  <a:gd name="T26" fmla="*/ 359 w 719"/>
                  <a:gd name="T27" fmla="*/ 210 h 720"/>
                  <a:gd name="T28" fmla="*/ 479 w 719"/>
                  <a:gd name="T29" fmla="*/ 270 h 720"/>
                  <a:gd name="T30" fmla="*/ 359 w 719"/>
                  <a:gd name="T31" fmla="*/ 330 h 720"/>
                  <a:gd name="T32" fmla="*/ 449 w 719"/>
                  <a:gd name="T33" fmla="*/ 390 h 720"/>
                  <a:gd name="T34" fmla="*/ 719 w 719"/>
                  <a:gd name="T35" fmla="*/ 360 h 720"/>
                  <a:gd name="T36" fmla="*/ 599 w 719"/>
                  <a:gd name="T37" fmla="*/ 420 h 720"/>
                  <a:gd name="T38" fmla="*/ 689 w 719"/>
                  <a:gd name="T39" fmla="*/ 720 h 720"/>
                  <a:gd name="T40" fmla="*/ 419 w 719"/>
                  <a:gd name="T41" fmla="*/ 51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72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89" y="72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73" name="Freeform 2462">
                <a:extLst>
                  <a:ext uri="{FF2B5EF4-FFF2-40B4-BE49-F238E27FC236}">
                    <a16:creationId xmlns:a16="http://schemas.microsoft.com/office/drawing/2014/main" id="{BD7618C3-9C37-46B1-B4E3-A1E68D632CA3}"/>
                  </a:ext>
                </a:extLst>
              </p:cNvPr>
              <p:cNvSpPr>
                <a:spLocks/>
              </p:cNvSpPr>
              <p:nvPr/>
            </p:nvSpPr>
            <p:spPr bwMode="auto">
              <a:xfrm>
                <a:off x="1756" y="66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74" name="Freeform 2463">
                <a:extLst>
                  <a:ext uri="{FF2B5EF4-FFF2-40B4-BE49-F238E27FC236}">
                    <a16:creationId xmlns:a16="http://schemas.microsoft.com/office/drawing/2014/main" id="{B16FE604-9235-4727-87F9-759D91ACF5B0}"/>
                  </a:ext>
                </a:extLst>
              </p:cNvPr>
              <p:cNvSpPr>
                <a:spLocks/>
              </p:cNvSpPr>
              <p:nvPr/>
            </p:nvSpPr>
            <p:spPr bwMode="auto">
              <a:xfrm>
                <a:off x="1876" y="99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75" name="Freeform 2464">
                <a:extLst>
                  <a:ext uri="{FF2B5EF4-FFF2-40B4-BE49-F238E27FC236}">
                    <a16:creationId xmlns:a16="http://schemas.microsoft.com/office/drawing/2014/main" id="{612D1B63-B3A0-4658-8F3E-914CBA90DF20}"/>
                  </a:ext>
                </a:extLst>
              </p:cNvPr>
              <p:cNvSpPr>
                <a:spLocks/>
              </p:cNvSpPr>
              <p:nvPr/>
            </p:nvSpPr>
            <p:spPr bwMode="auto">
              <a:xfrm>
                <a:off x="2355" y="1170"/>
                <a:ext cx="360" cy="120"/>
              </a:xfrm>
              <a:custGeom>
                <a:avLst/>
                <a:gdLst>
                  <a:gd name="T0" fmla="*/ 360 w 360"/>
                  <a:gd name="T1" fmla="*/ 120 h 120"/>
                  <a:gd name="T2" fmla="*/ 150 w 360"/>
                  <a:gd name="T3" fmla="*/ 30 h 120"/>
                  <a:gd name="T4" fmla="*/ 0 w 360"/>
                  <a:gd name="T5" fmla="*/ 0 h 120"/>
                </a:gdLst>
                <a:ahLst/>
                <a:cxnLst>
                  <a:cxn ang="0">
                    <a:pos x="T0" y="T1"/>
                  </a:cxn>
                  <a:cxn ang="0">
                    <a:pos x="T2" y="T3"/>
                  </a:cxn>
                  <a:cxn ang="0">
                    <a:pos x="T4" y="T5"/>
                  </a:cxn>
                </a:cxnLst>
                <a:rect l="0" t="0" r="r" b="b"/>
                <a:pathLst>
                  <a:path w="360" h="120">
                    <a:moveTo>
                      <a:pt x="360" y="120"/>
                    </a:moveTo>
                    <a:lnTo>
                      <a:pt x="15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76" name="Freeform 2465">
                <a:extLst>
                  <a:ext uri="{FF2B5EF4-FFF2-40B4-BE49-F238E27FC236}">
                    <a16:creationId xmlns:a16="http://schemas.microsoft.com/office/drawing/2014/main" id="{F5644EB5-924F-40F7-894B-2368DAF2D27B}"/>
                  </a:ext>
                </a:extLst>
              </p:cNvPr>
              <p:cNvSpPr>
                <a:spLocks/>
              </p:cNvSpPr>
              <p:nvPr/>
            </p:nvSpPr>
            <p:spPr bwMode="auto">
              <a:xfrm>
                <a:off x="2235" y="930"/>
                <a:ext cx="720" cy="360"/>
              </a:xfrm>
              <a:custGeom>
                <a:avLst/>
                <a:gdLst>
                  <a:gd name="T0" fmla="*/ 510 w 720"/>
                  <a:gd name="T1" fmla="*/ 0 h 360"/>
                  <a:gd name="T2" fmla="*/ 570 w 720"/>
                  <a:gd name="T3" fmla="*/ 300 h 360"/>
                  <a:gd name="T4" fmla="*/ 720 w 720"/>
                  <a:gd name="T5" fmla="*/ 180 h 360"/>
                  <a:gd name="T6" fmla="*/ 480 w 720"/>
                  <a:gd name="T7" fmla="*/ 180 h 360"/>
                  <a:gd name="T8" fmla="*/ 300 w 720"/>
                  <a:gd name="T9" fmla="*/ 360 h 360"/>
                  <a:gd name="T10" fmla="*/ 270 w 720"/>
                  <a:gd name="T11" fmla="*/ 270 h 360"/>
                  <a:gd name="T12" fmla="*/ 120 w 720"/>
                  <a:gd name="T13" fmla="*/ 360 h 360"/>
                  <a:gd name="T14" fmla="*/ 0 w 720"/>
                  <a:gd name="T15" fmla="*/ 301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0" h="360">
                    <a:moveTo>
                      <a:pt x="510" y="0"/>
                    </a:moveTo>
                    <a:lnTo>
                      <a:pt x="570" y="300"/>
                    </a:lnTo>
                    <a:lnTo>
                      <a:pt x="720" y="180"/>
                    </a:lnTo>
                    <a:lnTo>
                      <a:pt x="480" y="180"/>
                    </a:lnTo>
                    <a:lnTo>
                      <a:pt x="300" y="360"/>
                    </a:lnTo>
                    <a:lnTo>
                      <a:pt x="270" y="270"/>
                    </a:lnTo>
                    <a:lnTo>
                      <a:pt x="120" y="360"/>
                    </a:lnTo>
                    <a:lnTo>
                      <a:pt x="0" y="301"/>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77" name="Freeform 2466">
                <a:extLst>
                  <a:ext uri="{FF2B5EF4-FFF2-40B4-BE49-F238E27FC236}">
                    <a16:creationId xmlns:a16="http://schemas.microsoft.com/office/drawing/2014/main" id="{8C92DF9F-924E-42F5-AF42-B258E50E5FE2}"/>
                  </a:ext>
                </a:extLst>
              </p:cNvPr>
              <p:cNvSpPr>
                <a:spLocks/>
              </p:cNvSpPr>
              <p:nvPr/>
            </p:nvSpPr>
            <p:spPr bwMode="auto">
              <a:xfrm>
                <a:off x="3045" y="1200"/>
                <a:ext cx="150" cy="90"/>
              </a:xfrm>
              <a:custGeom>
                <a:avLst/>
                <a:gdLst>
                  <a:gd name="T0" fmla="*/ 150 w 150"/>
                  <a:gd name="T1" fmla="*/ 0 h 90"/>
                  <a:gd name="T2" fmla="*/ 0 w 150"/>
                  <a:gd name="T3" fmla="*/ 0 h 90"/>
                  <a:gd name="T4" fmla="*/ 120 w 150"/>
                  <a:gd name="T5" fmla="*/ 90 h 90"/>
                  <a:gd name="T6" fmla="*/ 150 w 150"/>
                  <a:gd name="T7" fmla="*/ 0 h 90"/>
                </a:gdLst>
                <a:ahLst/>
                <a:cxnLst>
                  <a:cxn ang="0">
                    <a:pos x="T0" y="T1"/>
                  </a:cxn>
                  <a:cxn ang="0">
                    <a:pos x="T2" y="T3"/>
                  </a:cxn>
                  <a:cxn ang="0">
                    <a:pos x="T4" y="T5"/>
                  </a:cxn>
                  <a:cxn ang="0">
                    <a:pos x="T6" y="T7"/>
                  </a:cxn>
                </a:cxnLst>
                <a:rect l="0" t="0" r="r" b="b"/>
                <a:pathLst>
                  <a:path w="150" h="90">
                    <a:moveTo>
                      <a:pt x="150" y="0"/>
                    </a:moveTo>
                    <a:lnTo>
                      <a:pt x="0" y="0"/>
                    </a:lnTo>
                    <a:lnTo>
                      <a:pt x="120" y="90"/>
                    </a:lnTo>
                    <a:lnTo>
                      <a:pt x="15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78" name="Freeform 2467">
                <a:extLst>
                  <a:ext uri="{FF2B5EF4-FFF2-40B4-BE49-F238E27FC236}">
                    <a16:creationId xmlns:a16="http://schemas.microsoft.com/office/drawing/2014/main" id="{3B105C70-C5B0-462A-AC67-DFAA8804A813}"/>
                  </a:ext>
                </a:extLst>
              </p:cNvPr>
              <p:cNvSpPr>
                <a:spLocks/>
              </p:cNvSpPr>
              <p:nvPr/>
            </p:nvSpPr>
            <p:spPr bwMode="auto">
              <a:xfrm>
                <a:off x="1696" y="480"/>
                <a:ext cx="390" cy="360"/>
              </a:xfrm>
              <a:custGeom>
                <a:avLst/>
                <a:gdLst>
                  <a:gd name="T0" fmla="*/ 180 w 390"/>
                  <a:gd name="T1" fmla="*/ 360 h 360"/>
                  <a:gd name="T2" fmla="*/ 150 w 390"/>
                  <a:gd name="T3" fmla="*/ 150 h 360"/>
                  <a:gd name="T4" fmla="*/ 30 w 390"/>
                  <a:gd name="T5" fmla="*/ 0 h 360"/>
                  <a:gd name="T6" fmla="*/ 330 w 390"/>
                  <a:gd name="T7" fmla="*/ 120 h 360"/>
                  <a:gd name="T8" fmla="*/ 390 w 390"/>
                  <a:gd name="T9" fmla="*/ 0 h 360"/>
                  <a:gd name="T10" fmla="*/ 210 w 390"/>
                  <a:gd name="T11" fmla="*/ 30 h 360"/>
                  <a:gd name="T12" fmla="*/ 0 w 390"/>
                  <a:gd name="T13" fmla="*/ 180 h 360"/>
                  <a:gd name="T14" fmla="*/ 270 w 390"/>
                  <a:gd name="T15" fmla="*/ 33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360">
                    <a:moveTo>
                      <a:pt x="180" y="360"/>
                    </a:moveTo>
                    <a:lnTo>
                      <a:pt x="150" y="150"/>
                    </a:lnTo>
                    <a:lnTo>
                      <a:pt x="30" y="0"/>
                    </a:lnTo>
                    <a:lnTo>
                      <a:pt x="330" y="120"/>
                    </a:lnTo>
                    <a:lnTo>
                      <a:pt x="390" y="0"/>
                    </a:lnTo>
                    <a:lnTo>
                      <a:pt x="210" y="30"/>
                    </a:lnTo>
                    <a:lnTo>
                      <a:pt x="0" y="180"/>
                    </a:lnTo>
                    <a:lnTo>
                      <a:pt x="27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79" name="Line 2468">
                <a:extLst>
                  <a:ext uri="{FF2B5EF4-FFF2-40B4-BE49-F238E27FC236}">
                    <a16:creationId xmlns:a16="http://schemas.microsoft.com/office/drawing/2014/main" id="{B7264139-EDBF-4394-B406-77CE40E75557}"/>
                  </a:ext>
                </a:extLst>
              </p:cNvPr>
              <p:cNvSpPr>
                <a:spLocks noChangeShapeType="1"/>
              </p:cNvSpPr>
              <p:nvPr/>
            </p:nvSpPr>
            <p:spPr bwMode="auto">
              <a:xfrm flipV="1">
                <a:off x="1846" y="510"/>
                <a:ext cx="6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80" name="Freeform 2469">
                <a:extLst>
                  <a:ext uri="{FF2B5EF4-FFF2-40B4-BE49-F238E27FC236}">
                    <a16:creationId xmlns:a16="http://schemas.microsoft.com/office/drawing/2014/main" id="{6F30AE07-F97D-4839-A090-FE26085F94F2}"/>
                  </a:ext>
                </a:extLst>
              </p:cNvPr>
              <p:cNvSpPr>
                <a:spLocks/>
              </p:cNvSpPr>
              <p:nvPr/>
            </p:nvSpPr>
            <p:spPr bwMode="auto">
              <a:xfrm>
                <a:off x="2086" y="450"/>
                <a:ext cx="239" cy="120"/>
              </a:xfrm>
              <a:custGeom>
                <a:avLst/>
                <a:gdLst>
                  <a:gd name="T0" fmla="*/ 239 w 239"/>
                  <a:gd name="T1" fmla="*/ 0 h 120"/>
                  <a:gd name="T2" fmla="*/ 0 w 239"/>
                  <a:gd name="T3" fmla="*/ 30 h 120"/>
                  <a:gd name="T4" fmla="*/ 149 w 239"/>
                  <a:gd name="T5" fmla="*/ 120 h 120"/>
                  <a:gd name="T6" fmla="*/ 239 w 239"/>
                  <a:gd name="T7" fmla="*/ 0 h 120"/>
                </a:gdLst>
                <a:ahLst/>
                <a:cxnLst>
                  <a:cxn ang="0">
                    <a:pos x="T0" y="T1"/>
                  </a:cxn>
                  <a:cxn ang="0">
                    <a:pos x="T2" y="T3"/>
                  </a:cxn>
                  <a:cxn ang="0">
                    <a:pos x="T4" y="T5"/>
                  </a:cxn>
                  <a:cxn ang="0">
                    <a:pos x="T6" y="T7"/>
                  </a:cxn>
                </a:cxnLst>
                <a:rect l="0" t="0" r="r" b="b"/>
                <a:pathLst>
                  <a:path w="239" h="120">
                    <a:moveTo>
                      <a:pt x="239" y="0"/>
                    </a:moveTo>
                    <a:lnTo>
                      <a:pt x="0" y="30"/>
                    </a:lnTo>
                    <a:lnTo>
                      <a:pt x="149" y="120"/>
                    </a:lnTo>
                    <a:lnTo>
                      <a:pt x="239"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81" name="Line 2470">
                <a:extLst>
                  <a:ext uri="{FF2B5EF4-FFF2-40B4-BE49-F238E27FC236}">
                    <a16:creationId xmlns:a16="http://schemas.microsoft.com/office/drawing/2014/main" id="{1E35B2BA-D7F8-4B95-ACE7-9041ACFB5E99}"/>
                  </a:ext>
                </a:extLst>
              </p:cNvPr>
              <p:cNvSpPr>
                <a:spLocks noChangeShapeType="1"/>
              </p:cNvSpPr>
              <p:nvPr/>
            </p:nvSpPr>
            <p:spPr bwMode="auto">
              <a:xfrm>
                <a:off x="2625" y="540"/>
                <a:ext cx="18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82" name="Freeform 2471">
                <a:extLst>
                  <a:ext uri="{FF2B5EF4-FFF2-40B4-BE49-F238E27FC236}">
                    <a16:creationId xmlns:a16="http://schemas.microsoft.com/office/drawing/2014/main" id="{937699B8-0284-405C-9E7B-7704F6076B5D}"/>
                  </a:ext>
                </a:extLst>
              </p:cNvPr>
              <p:cNvSpPr>
                <a:spLocks/>
              </p:cNvSpPr>
              <p:nvPr/>
            </p:nvSpPr>
            <p:spPr bwMode="auto">
              <a:xfrm>
                <a:off x="2805" y="450"/>
                <a:ext cx="300" cy="330"/>
              </a:xfrm>
              <a:custGeom>
                <a:avLst/>
                <a:gdLst>
                  <a:gd name="T0" fmla="*/ 90 w 300"/>
                  <a:gd name="T1" fmla="*/ 0 h 330"/>
                  <a:gd name="T2" fmla="*/ 180 w 300"/>
                  <a:gd name="T3" fmla="*/ 90 h 330"/>
                  <a:gd name="T4" fmla="*/ 0 w 300"/>
                  <a:gd name="T5" fmla="*/ 90 h 330"/>
                  <a:gd name="T6" fmla="*/ 60 w 300"/>
                  <a:gd name="T7" fmla="*/ 210 h 330"/>
                  <a:gd name="T8" fmla="*/ 180 w 300"/>
                  <a:gd name="T9" fmla="*/ 90 h 330"/>
                  <a:gd name="T10" fmla="*/ 300 w 300"/>
                  <a:gd name="T11" fmla="*/ 240 h 330"/>
                  <a:gd name="T12" fmla="*/ 150 w 300"/>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300" h="330">
                    <a:moveTo>
                      <a:pt x="90" y="0"/>
                    </a:moveTo>
                    <a:lnTo>
                      <a:pt x="180" y="90"/>
                    </a:lnTo>
                    <a:lnTo>
                      <a:pt x="0" y="90"/>
                    </a:lnTo>
                    <a:lnTo>
                      <a:pt x="60" y="210"/>
                    </a:lnTo>
                    <a:lnTo>
                      <a:pt x="180" y="90"/>
                    </a:lnTo>
                    <a:lnTo>
                      <a:pt x="300" y="240"/>
                    </a:lnTo>
                    <a:lnTo>
                      <a:pt x="15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83" name="Freeform 2472">
                <a:extLst>
                  <a:ext uri="{FF2B5EF4-FFF2-40B4-BE49-F238E27FC236}">
                    <a16:creationId xmlns:a16="http://schemas.microsoft.com/office/drawing/2014/main" id="{7B66893D-5ECB-40C0-B698-DBBC02AD784A}"/>
                  </a:ext>
                </a:extLst>
              </p:cNvPr>
              <p:cNvSpPr>
                <a:spLocks/>
              </p:cNvSpPr>
              <p:nvPr/>
            </p:nvSpPr>
            <p:spPr bwMode="auto">
              <a:xfrm>
                <a:off x="3195" y="480"/>
                <a:ext cx="180" cy="90"/>
              </a:xfrm>
              <a:custGeom>
                <a:avLst/>
                <a:gdLst>
                  <a:gd name="T0" fmla="*/ 0 w 180"/>
                  <a:gd name="T1" fmla="*/ 90 h 90"/>
                  <a:gd name="T2" fmla="*/ 90 w 180"/>
                  <a:gd name="T3" fmla="*/ 0 h 90"/>
                  <a:gd name="T4" fmla="*/ 180 w 180"/>
                  <a:gd name="T5" fmla="*/ 90 h 90"/>
                </a:gdLst>
                <a:ahLst/>
                <a:cxnLst>
                  <a:cxn ang="0">
                    <a:pos x="T0" y="T1"/>
                  </a:cxn>
                  <a:cxn ang="0">
                    <a:pos x="T2" y="T3"/>
                  </a:cxn>
                  <a:cxn ang="0">
                    <a:pos x="T4" y="T5"/>
                  </a:cxn>
                </a:cxnLst>
                <a:rect l="0" t="0" r="r" b="b"/>
                <a:pathLst>
                  <a:path w="180" h="90">
                    <a:moveTo>
                      <a:pt x="0" y="90"/>
                    </a:moveTo>
                    <a:lnTo>
                      <a:pt x="9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84" name="Freeform 2473">
                <a:extLst>
                  <a:ext uri="{FF2B5EF4-FFF2-40B4-BE49-F238E27FC236}">
                    <a16:creationId xmlns:a16="http://schemas.microsoft.com/office/drawing/2014/main" id="{436E07E4-ED01-4251-8726-24822D3A7B84}"/>
                  </a:ext>
                </a:extLst>
              </p:cNvPr>
              <p:cNvSpPr>
                <a:spLocks/>
              </p:cNvSpPr>
              <p:nvPr/>
            </p:nvSpPr>
            <p:spPr bwMode="auto">
              <a:xfrm>
                <a:off x="3675" y="450"/>
                <a:ext cx="269" cy="210"/>
              </a:xfrm>
              <a:custGeom>
                <a:avLst/>
                <a:gdLst>
                  <a:gd name="T0" fmla="*/ 119 w 269"/>
                  <a:gd name="T1" fmla="*/ 60 h 210"/>
                  <a:gd name="T2" fmla="*/ 269 w 269"/>
                  <a:gd name="T3" fmla="*/ 30 h 210"/>
                  <a:gd name="T4" fmla="*/ 149 w 269"/>
                  <a:gd name="T5" fmla="*/ 210 h 210"/>
                  <a:gd name="T6" fmla="*/ 0 w 269"/>
                  <a:gd name="T7" fmla="*/ 0 h 210"/>
                  <a:gd name="T8" fmla="*/ 30 w 269"/>
                  <a:gd name="T9" fmla="*/ 180 h 210"/>
                </a:gdLst>
                <a:ahLst/>
                <a:cxnLst>
                  <a:cxn ang="0">
                    <a:pos x="T0" y="T1"/>
                  </a:cxn>
                  <a:cxn ang="0">
                    <a:pos x="T2" y="T3"/>
                  </a:cxn>
                  <a:cxn ang="0">
                    <a:pos x="T4" y="T5"/>
                  </a:cxn>
                  <a:cxn ang="0">
                    <a:pos x="T6" y="T7"/>
                  </a:cxn>
                  <a:cxn ang="0">
                    <a:pos x="T8" y="T9"/>
                  </a:cxn>
                </a:cxnLst>
                <a:rect l="0" t="0" r="r" b="b"/>
                <a:pathLst>
                  <a:path w="269" h="210">
                    <a:moveTo>
                      <a:pt x="119" y="60"/>
                    </a:moveTo>
                    <a:lnTo>
                      <a:pt x="269" y="30"/>
                    </a:lnTo>
                    <a:lnTo>
                      <a:pt x="149" y="210"/>
                    </a:lnTo>
                    <a:lnTo>
                      <a:pt x="0" y="0"/>
                    </a:lnTo>
                    <a:lnTo>
                      <a:pt x="3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85" name="Freeform 2474">
                <a:extLst>
                  <a:ext uri="{FF2B5EF4-FFF2-40B4-BE49-F238E27FC236}">
                    <a16:creationId xmlns:a16="http://schemas.microsoft.com/office/drawing/2014/main" id="{AD16E3E4-9F4F-4448-8609-8B3F57A20535}"/>
                  </a:ext>
                </a:extLst>
              </p:cNvPr>
              <p:cNvSpPr>
                <a:spLocks/>
              </p:cNvSpPr>
              <p:nvPr/>
            </p:nvSpPr>
            <p:spPr bwMode="auto">
              <a:xfrm>
                <a:off x="1756"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86" name="Freeform 2475">
                <a:extLst>
                  <a:ext uri="{FF2B5EF4-FFF2-40B4-BE49-F238E27FC236}">
                    <a16:creationId xmlns:a16="http://schemas.microsoft.com/office/drawing/2014/main" id="{09F4CC8A-09C6-4525-B73B-256F23FBB8AD}"/>
                  </a:ext>
                </a:extLst>
              </p:cNvPr>
              <p:cNvSpPr>
                <a:spLocks/>
              </p:cNvSpPr>
              <p:nvPr/>
            </p:nvSpPr>
            <p:spPr bwMode="auto">
              <a:xfrm>
                <a:off x="1936"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87" name="Freeform 2476">
                <a:extLst>
                  <a:ext uri="{FF2B5EF4-FFF2-40B4-BE49-F238E27FC236}">
                    <a16:creationId xmlns:a16="http://schemas.microsoft.com/office/drawing/2014/main" id="{B5FEF867-BBE3-41BF-82B2-6EA92B493C50}"/>
                  </a:ext>
                </a:extLst>
              </p:cNvPr>
              <p:cNvSpPr>
                <a:spLocks/>
              </p:cNvSpPr>
              <p:nvPr/>
            </p:nvSpPr>
            <p:spPr bwMode="auto">
              <a:xfrm>
                <a:off x="1876" y="1740"/>
                <a:ext cx="479" cy="270"/>
              </a:xfrm>
              <a:custGeom>
                <a:avLst/>
                <a:gdLst>
                  <a:gd name="T0" fmla="*/ 0 w 479"/>
                  <a:gd name="T1" fmla="*/ 90 h 270"/>
                  <a:gd name="T2" fmla="*/ 180 w 479"/>
                  <a:gd name="T3" fmla="*/ 30 h 270"/>
                  <a:gd name="T4" fmla="*/ 299 w 479"/>
                  <a:gd name="T5" fmla="*/ 150 h 270"/>
                  <a:gd name="T6" fmla="*/ 210 w 479"/>
                  <a:gd name="T7" fmla="*/ 270 h 270"/>
                  <a:gd name="T8" fmla="*/ 30 w 479"/>
                  <a:gd name="T9" fmla="*/ 270 h 270"/>
                  <a:gd name="T10" fmla="*/ 0 w 479"/>
                  <a:gd name="T11" fmla="*/ 90 h 270"/>
                  <a:gd name="T12" fmla="*/ 150 w 479"/>
                  <a:gd name="T13" fmla="*/ 150 h 270"/>
                  <a:gd name="T14" fmla="*/ 299 w 479"/>
                  <a:gd name="T15" fmla="*/ 0 h 270"/>
                  <a:gd name="T16" fmla="*/ 479 w 479"/>
                  <a:gd name="T17" fmla="*/ 210 h 270"/>
                  <a:gd name="T18" fmla="*/ 419 w 479"/>
                  <a:gd name="T19" fmla="*/ 6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70">
                    <a:moveTo>
                      <a:pt x="0" y="90"/>
                    </a:moveTo>
                    <a:lnTo>
                      <a:pt x="180" y="30"/>
                    </a:lnTo>
                    <a:lnTo>
                      <a:pt x="299" y="150"/>
                    </a:lnTo>
                    <a:lnTo>
                      <a:pt x="210" y="270"/>
                    </a:lnTo>
                    <a:lnTo>
                      <a:pt x="30" y="270"/>
                    </a:lnTo>
                    <a:lnTo>
                      <a:pt x="0" y="90"/>
                    </a:lnTo>
                    <a:lnTo>
                      <a:pt x="150" y="150"/>
                    </a:lnTo>
                    <a:lnTo>
                      <a:pt x="299" y="0"/>
                    </a:lnTo>
                    <a:lnTo>
                      <a:pt x="479" y="210"/>
                    </a:lnTo>
                    <a:lnTo>
                      <a:pt x="41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88" name="Freeform 2477">
                <a:extLst>
                  <a:ext uri="{FF2B5EF4-FFF2-40B4-BE49-F238E27FC236}">
                    <a16:creationId xmlns:a16="http://schemas.microsoft.com/office/drawing/2014/main" id="{C4D9D6AE-FC18-46E9-8BF5-61AE849F054F}"/>
                  </a:ext>
                </a:extLst>
              </p:cNvPr>
              <p:cNvSpPr>
                <a:spLocks/>
              </p:cNvSpPr>
              <p:nvPr/>
            </p:nvSpPr>
            <p:spPr bwMode="auto">
              <a:xfrm>
                <a:off x="2026"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89" name="Freeform 2478">
                <a:extLst>
                  <a:ext uri="{FF2B5EF4-FFF2-40B4-BE49-F238E27FC236}">
                    <a16:creationId xmlns:a16="http://schemas.microsoft.com/office/drawing/2014/main" id="{234DC8D1-F4E2-423B-8A58-EDC6BFD7ADE2}"/>
                  </a:ext>
                </a:extLst>
              </p:cNvPr>
              <p:cNvSpPr>
                <a:spLocks/>
              </p:cNvSpPr>
              <p:nvPr/>
            </p:nvSpPr>
            <p:spPr bwMode="auto">
              <a:xfrm>
                <a:off x="3405"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90" name="Freeform 2479">
                <a:extLst>
                  <a:ext uri="{FF2B5EF4-FFF2-40B4-BE49-F238E27FC236}">
                    <a16:creationId xmlns:a16="http://schemas.microsoft.com/office/drawing/2014/main" id="{6AB3E43C-CAA1-4681-A538-065FAA506D39}"/>
                  </a:ext>
                </a:extLst>
              </p:cNvPr>
              <p:cNvSpPr>
                <a:spLocks/>
              </p:cNvSpPr>
              <p:nvPr/>
            </p:nvSpPr>
            <p:spPr bwMode="auto">
              <a:xfrm>
                <a:off x="3405" y="1290"/>
                <a:ext cx="300" cy="540"/>
              </a:xfrm>
              <a:custGeom>
                <a:avLst/>
                <a:gdLst>
                  <a:gd name="T0" fmla="*/ 0 w 300"/>
                  <a:gd name="T1" fmla="*/ 390 h 540"/>
                  <a:gd name="T2" fmla="*/ 180 w 300"/>
                  <a:gd name="T3" fmla="*/ 240 h 540"/>
                  <a:gd name="T4" fmla="*/ 0 w 300"/>
                  <a:gd name="T5" fmla="*/ 150 h 540"/>
                  <a:gd name="T6" fmla="*/ 120 w 300"/>
                  <a:gd name="T7" fmla="*/ 120 h 540"/>
                  <a:gd name="T8" fmla="*/ 300 w 300"/>
                  <a:gd name="T9" fmla="*/ 180 h 540"/>
                  <a:gd name="T10" fmla="*/ 270 w 300"/>
                  <a:gd name="T11" fmla="*/ 30 h 540"/>
                  <a:gd name="T12" fmla="*/ 120 w 300"/>
                  <a:gd name="T13" fmla="*/ 120 h 540"/>
                  <a:gd name="T14" fmla="*/ 30 w 300"/>
                  <a:gd name="T15" fmla="*/ 0 h 540"/>
                  <a:gd name="T16" fmla="*/ 0 w 300"/>
                  <a:gd name="T17" fmla="*/ 150 h 540"/>
                  <a:gd name="T18" fmla="*/ 30 w 300"/>
                  <a:gd name="T19" fmla="*/ 300 h 540"/>
                  <a:gd name="T20" fmla="*/ 0 w 300"/>
                  <a:gd name="T21" fmla="*/ 390 h 540"/>
                  <a:gd name="T22" fmla="*/ 120 w 300"/>
                  <a:gd name="T23"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0" h="540">
                    <a:moveTo>
                      <a:pt x="0" y="390"/>
                    </a:moveTo>
                    <a:lnTo>
                      <a:pt x="180" y="240"/>
                    </a:lnTo>
                    <a:lnTo>
                      <a:pt x="0" y="150"/>
                    </a:lnTo>
                    <a:lnTo>
                      <a:pt x="120" y="120"/>
                    </a:lnTo>
                    <a:lnTo>
                      <a:pt x="300" y="180"/>
                    </a:lnTo>
                    <a:lnTo>
                      <a:pt x="270" y="30"/>
                    </a:lnTo>
                    <a:lnTo>
                      <a:pt x="120" y="120"/>
                    </a:lnTo>
                    <a:lnTo>
                      <a:pt x="30" y="0"/>
                    </a:lnTo>
                    <a:lnTo>
                      <a:pt x="0" y="150"/>
                    </a:lnTo>
                    <a:lnTo>
                      <a:pt x="30" y="300"/>
                    </a:lnTo>
                    <a:lnTo>
                      <a:pt x="0" y="390"/>
                    </a:lnTo>
                    <a:lnTo>
                      <a:pt x="12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91" name="Freeform 2480">
                <a:extLst>
                  <a:ext uri="{FF2B5EF4-FFF2-40B4-BE49-F238E27FC236}">
                    <a16:creationId xmlns:a16="http://schemas.microsoft.com/office/drawing/2014/main" id="{5C3CD6F2-A262-4CFA-9F87-FD26EA06949C}"/>
                  </a:ext>
                </a:extLst>
              </p:cNvPr>
              <p:cNvSpPr>
                <a:spLocks/>
              </p:cNvSpPr>
              <p:nvPr/>
            </p:nvSpPr>
            <p:spPr bwMode="auto">
              <a:xfrm>
                <a:off x="3585"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92" name="Freeform 2481">
                <a:extLst>
                  <a:ext uri="{FF2B5EF4-FFF2-40B4-BE49-F238E27FC236}">
                    <a16:creationId xmlns:a16="http://schemas.microsoft.com/office/drawing/2014/main" id="{A1800979-E0E2-4522-ACEF-170FDF76F0D0}"/>
                  </a:ext>
                </a:extLst>
              </p:cNvPr>
              <p:cNvSpPr>
                <a:spLocks/>
              </p:cNvSpPr>
              <p:nvPr/>
            </p:nvSpPr>
            <p:spPr bwMode="auto">
              <a:xfrm>
                <a:off x="3405" y="1320"/>
                <a:ext cx="599" cy="750"/>
              </a:xfrm>
              <a:custGeom>
                <a:avLst/>
                <a:gdLst>
                  <a:gd name="T0" fmla="*/ 300 w 599"/>
                  <a:gd name="T1" fmla="*/ 150 h 750"/>
                  <a:gd name="T2" fmla="*/ 479 w 599"/>
                  <a:gd name="T3" fmla="*/ 210 h 750"/>
                  <a:gd name="T4" fmla="*/ 479 w 599"/>
                  <a:gd name="T5" fmla="*/ 60 h 750"/>
                  <a:gd name="T6" fmla="*/ 359 w 599"/>
                  <a:gd name="T7" fmla="*/ 300 h 750"/>
                  <a:gd name="T8" fmla="*/ 419 w 599"/>
                  <a:gd name="T9" fmla="*/ 420 h 750"/>
                  <a:gd name="T10" fmla="*/ 539 w 599"/>
                  <a:gd name="T11" fmla="*/ 480 h 750"/>
                  <a:gd name="T12" fmla="*/ 479 w 599"/>
                  <a:gd name="T13" fmla="*/ 210 h 750"/>
                  <a:gd name="T14" fmla="*/ 419 w 599"/>
                  <a:gd name="T15" fmla="*/ 420 h 750"/>
                  <a:gd name="T16" fmla="*/ 419 w 599"/>
                  <a:gd name="T17" fmla="*/ 570 h 750"/>
                  <a:gd name="T18" fmla="*/ 599 w 599"/>
                  <a:gd name="T19" fmla="*/ 630 h 750"/>
                  <a:gd name="T20" fmla="*/ 300 w 599"/>
                  <a:gd name="T21" fmla="*/ 660 h 750"/>
                  <a:gd name="T22" fmla="*/ 270 w 599"/>
                  <a:gd name="T23" fmla="*/ 570 h 750"/>
                  <a:gd name="T24" fmla="*/ 210 w 599"/>
                  <a:gd name="T25" fmla="*/ 750 h 750"/>
                  <a:gd name="T26" fmla="*/ 0 w 599"/>
                  <a:gd name="T27" fmla="*/ 600 h 750"/>
                  <a:gd name="T28" fmla="*/ 120 w 599"/>
                  <a:gd name="T29" fmla="*/ 510 h 750"/>
                  <a:gd name="T30" fmla="*/ 180 w 599"/>
                  <a:gd name="T31" fmla="*/ 360 h 750"/>
                  <a:gd name="T32" fmla="*/ 300 w 599"/>
                  <a:gd name="T33" fmla="*/ 450 h 750"/>
                  <a:gd name="T34" fmla="*/ 359 w 599"/>
                  <a:gd name="T35" fmla="*/ 300 h 750"/>
                  <a:gd name="T36" fmla="*/ 180 w 599"/>
                  <a:gd name="T37" fmla="*/ 210 h 750"/>
                  <a:gd name="T38" fmla="*/ 300 w 599"/>
                  <a:gd name="T39" fmla="*/ 150 h 750"/>
                  <a:gd name="T40" fmla="*/ 389 w 599"/>
                  <a:gd name="T41" fmla="*/ 90 h 750"/>
                  <a:gd name="T42" fmla="*/ 270 w 599"/>
                  <a:gd name="T43" fmla="*/ 0 h 750"/>
                  <a:gd name="T44" fmla="*/ 479 w 599"/>
                  <a:gd name="T45" fmla="*/ 6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9" h="750">
                    <a:moveTo>
                      <a:pt x="300" y="150"/>
                    </a:moveTo>
                    <a:lnTo>
                      <a:pt x="479" y="210"/>
                    </a:lnTo>
                    <a:lnTo>
                      <a:pt x="479" y="60"/>
                    </a:lnTo>
                    <a:lnTo>
                      <a:pt x="359" y="300"/>
                    </a:lnTo>
                    <a:lnTo>
                      <a:pt x="419" y="420"/>
                    </a:lnTo>
                    <a:lnTo>
                      <a:pt x="539" y="480"/>
                    </a:lnTo>
                    <a:lnTo>
                      <a:pt x="479" y="210"/>
                    </a:lnTo>
                    <a:lnTo>
                      <a:pt x="419" y="420"/>
                    </a:lnTo>
                    <a:lnTo>
                      <a:pt x="419" y="570"/>
                    </a:lnTo>
                    <a:lnTo>
                      <a:pt x="599" y="630"/>
                    </a:lnTo>
                    <a:lnTo>
                      <a:pt x="300" y="660"/>
                    </a:lnTo>
                    <a:lnTo>
                      <a:pt x="270" y="570"/>
                    </a:lnTo>
                    <a:lnTo>
                      <a:pt x="210" y="750"/>
                    </a:lnTo>
                    <a:lnTo>
                      <a:pt x="0" y="600"/>
                    </a:lnTo>
                    <a:lnTo>
                      <a:pt x="120" y="510"/>
                    </a:lnTo>
                    <a:lnTo>
                      <a:pt x="180" y="360"/>
                    </a:lnTo>
                    <a:lnTo>
                      <a:pt x="300" y="450"/>
                    </a:lnTo>
                    <a:lnTo>
                      <a:pt x="359" y="300"/>
                    </a:lnTo>
                    <a:lnTo>
                      <a:pt x="180" y="210"/>
                    </a:lnTo>
                    <a:lnTo>
                      <a:pt x="300" y="150"/>
                    </a:lnTo>
                    <a:lnTo>
                      <a:pt x="389" y="90"/>
                    </a:lnTo>
                    <a:lnTo>
                      <a:pt x="270" y="0"/>
                    </a:lnTo>
                    <a:lnTo>
                      <a:pt x="47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93" name="Freeform 2482">
                <a:extLst>
                  <a:ext uri="{FF2B5EF4-FFF2-40B4-BE49-F238E27FC236}">
                    <a16:creationId xmlns:a16="http://schemas.microsoft.com/office/drawing/2014/main" id="{FDB5CEE2-CFA7-46C2-B09A-68E9275E91A2}"/>
                  </a:ext>
                </a:extLst>
              </p:cNvPr>
              <p:cNvSpPr>
                <a:spLocks/>
              </p:cNvSpPr>
              <p:nvPr/>
            </p:nvSpPr>
            <p:spPr bwMode="auto">
              <a:xfrm>
                <a:off x="3525" y="1770"/>
                <a:ext cx="299" cy="210"/>
              </a:xfrm>
              <a:custGeom>
                <a:avLst/>
                <a:gdLst>
                  <a:gd name="T0" fmla="*/ 0 w 299"/>
                  <a:gd name="T1" fmla="*/ 60 h 210"/>
                  <a:gd name="T2" fmla="*/ 180 w 299"/>
                  <a:gd name="T3" fmla="*/ 0 h 210"/>
                  <a:gd name="T4" fmla="*/ 299 w 299"/>
                  <a:gd name="T5" fmla="*/ 120 h 210"/>
                  <a:gd name="T6" fmla="*/ 180 w 299"/>
                  <a:gd name="T7" fmla="*/ 210 h 210"/>
                </a:gdLst>
                <a:ahLst/>
                <a:cxnLst>
                  <a:cxn ang="0">
                    <a:pos x="T0" y="T1"/>
                  </a:cxn>
                  <a:cxn ang="0">
                    <a:pos x="T2" y="T3"/>
                  </a:cxn>
                  <a:cxn ang="0">
                    <a:pos x="T4" y="T5"/>
                  </a:cxn>
                  <a:cxn ang="0">
                    <a:pos x="T6" y="T7"/>
                  </a:cxn>
                </a:cxnLst>
                <a:rect l="0" t="0" r="r" b="b"/>
                <a:pathLst>
                  <a:path w="299" h="210">
                    <a:moveTo>
                      <a:pt x="0" y="60"/>
                    </a:moveTo>
                    <a:lnTo>
                      <a:pt x="180" y="0"/>
                    </a:lnTo>
                    <a:lnTo>
                      <a:pt x="299" y="120"/>
                    </a:lnTo>
                    <a:lnTo>
                      <a:pt x="18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94" name="Freeform 2483">
                <a:extLst>
                  <a:ext uri="{FF2B5EF4-FFF2-40B4-BE49-F238E27FC236}">
                    <a16:creationId xmlns:a16="http://schemas.microsoft.com/office/drawing/2014/main" id="{BED12907-96DD-4899-A874-84764769C97A}"/>
                  </a:ext>
                </a:extLst>
              </p:cNvPr>
              <p:cNvSpPr>
                <a:spLocks/>
              </p:cNvSpPr>
              <p:nvPr/>
            </p:nvSpPr>
            <p:spPr bwMode="auto">
              <a:xfrm>
                <a:off x="3675"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95" name="Line 2484">
                <a:extLst>
                  <a:ext uri="{FF2B5EF4-FFF2-40B4-BE49-F238E27FC236}">
                    <a16:creationId xmlns:a16="http://schemas.microsoft.com/office/drawing/2014/main" id="{51A0CA5D-B038-481A-9808-152286CEEF12}"/>
                  </a:ext>
                </a:extLst>
              </p:cNvPr>
              <p:cNvSpPr>
                <a:spLocks noChangeShapeType="1"/>
              </p:cNvSpPr>
              <p:nvPr/>
            </p:nvSpPr>
            <p:spPr bwMode="auto">
              <a:xfrm flipV="1">
                <a:off x="1786" y="1233"/>
                <a:ext cx="181" cy="5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96" name="Line 2485">
                <a:extLst>
                  <a:ext uri="{FF2B5EF4-FFF2-40B4-BE49-F238E27FC236}">
                    <a16:creationId xmlns:a16="http://schemas.microsoft.com/office/drawing/2014/main" id="{4896A9F5-6CA1-4864-A3F7-9A61F2441B2B}"/>
                  </a:ext>
                </a:extLst>
              </p:cNvPr>
              <p:cNvSpPr>
                <a:spLocks noChangeShapeType="1"/>
              </p:cNvSpPr>
              <p:nvPr/>
            </p:nvSpPr>
            <p:spPr bwMode="auto">
              <a:xfrm flipH="1">
                <a:off x="1936" y="1233"/>
                <a:ext cx="31"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97" name="Freeform 2486">
                <a:extLst>
                  <a:ext uri="{FF2B5EF4-FFF2-40B4-BE49-F238E27FC236}">
                    <a16:creationId xmlns:a16="http://schemas.microsoft.com/office/drawing/2014/main" id="{F64ECFFD-D15C-4AB6-9C2F-137E4FC9AB13}"/>
                  </a:ext>
                </a:extLst>
              </p:cNvPr>
              <p:cNvSpPr>
                <a:spLocks/>
              </p:cNvSpPr>
              <p:nvPr/>
            </p:nvSpPr>
            <p:spPr bwMode="auto">
              <a:xfrm>
                <a:off x="2235" y="1231"/>
                <a:ext cx="210" cy="302"/>
              </a:xfrm>
              <a:custGeom>
                <a:avLst/>
                <a:gdLst>
                  <a:gd name="T0" fmla="*/ 0 w 210"/>
                  <a:gd name="T1" fmla="*/ 0 h 302"/>
                  <a:gd name="T2" fmla="*/ 180 w 210"/>
                  <a:gd name="T3" fmla="*/ 269 h 302"/>
                  <a:gd name="T4" fmla="*/ 2 w 210"/>
                  <a:gd name="T5" fmla="*/ 302 h 302"/>
                  <a:gd name="T6" fmla="*/ 210 w 210"/>
                  <a:gd name="T7" fmla="*/ 179 h 302"/>
                </a:gdLst>
                <a:ahLst/>
                <a:cxnLst>
                  <a:cxn ang="0">
                    <a:pos x="T0" y="T1"/>
                  </a:cxn>
                  <a:cxn ang="0">
                    <a:pos x="T2" y="T3"/>
                  </a:cxn>
                  <a:cxn ang="0">
                    <a:pos x="T4" y="T5"/>
                  </a:cxn>
                  <a:cxn ang="0">
                    <a:pos x="T6" y="T7"/>
                  </a:cxn>
                </a:cxnLst>
                <a:rect l="0" t="0" r="r" b="b"/>
                <a:pathLst>
                  <a:path w="210" h="302">
                    <a:moveTo>
                      <a:pt x="0" y="0"/>
                    </a:moveTo>
                    <a:lnTo>
                      <a:pt x="180" y="269"/>
                    </a:lnTo>
                    <a:lnTo>
                      <a:pt x="2" y="302"/>
                    </a:lnTo>
                    <a:lnTo>
                      <a:pt x="210" y="17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98" name="Line 2487">
                <a:extLst>
                  <a:ext uri="{FF2B5EF4-FFF2-40B4-BE49-F238E27FC236}">
                    <a16:creationId xmlns:a16="http://schemas.microsoft.com/office/drawing/2014/main" id="{1B0F1571-3CCD-4A6B-819A-6D42D7AE2B16}"/>
                  </a:ext>
                </a:extLst>
              </p:cNvPr>
              <p:cNvSpPr>
                <a:spLocks noChangeShapeType="1"/>
              </p:cNvSpPr>
              <p:nvPr/>
            </p:nvSpPr>
            <p:spPr bwMode="auto">
              <a:xfrm>
                <a:off x="2235" y="1380"/>
                <a:ext cx="21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299" name="Freeform 2488">
                <a:extLst>
                  <a:ext uri="{FF2B5EF4-FFF2-40B4-BE49-F238E27FC236}">
                    <a16:creationId xmlns:a16="http://schemas.microsoft.com/office/drawing/2014/main" id="{40125F09-49A9-45F0-B31A-1F483C140075}"/>
                  </a:ext>
                </a:extLst>
              </p:cNvPr>
              <p:cNvSpPr>
                <a:spLocks/>
              </p:cNvSpPr>
              <p:nvPr/>
            </p:nvSpPr>
            <p:spPr bwMode="auto">
              <a:xfrm>
                <a:off x="1756" y="1140"/>
                <a:ext cx="599" cy="870"/>
              </a:xfrm>
              <a:custGeom>
                <a:avLst/>
                <a:gdLst>
                  <a:gd name="T0" fmla="*/ 300 w 599"/>
                  <a:gd name="T1" fmla="*/ 0 h 870"/>
                  <a:gd name="T2" fmla="*/ 479 w 599"/>
                  <a:gd name="T3" fmla="*/ 91 h 870"/>
                  <a:gd name="T4" fmla="*/ 300 w 599"/>
                  <a:gd name="T5" fmla="*/ 330 h 870"/>
                  <a:gd name="T6" fmla="*/ 479 w 599"/>
                  <a:gd name="T7" fmla="*/ 390 h 870"/>
                  <a:gd name="T8" fmla="*/ 479 w 599"/>
                  <a:gd name="T9" fmla="*/ 240 h 870"/>
                  <a:gd name="T10" fmla="*/ 359 w 599"/>
                  <a:gd name="T11" fmla="*/ 480 h 870"/>
                  <a:gd name="T12" fmla="*/ 419 w 599"/>
                  <a:gd name="T13" fmla="*/ 600 h 870"/>
                  <a:gd name="T14" fmla="*/ 539 w 599"/>
                  <a:gd name="T15" fmla="*/ 660 h 870"/>
                  <a:gd name="T16" fmla="*/ 479 w 599"/>
                  <a:gd name="T17" fmla="*/ 390 h 870"/>
                  <a:gd name="T18" fmla="*/ 419 w 599"/>
                  <a:gd name="T19" fmla="*/ 600 h 870"/>
                  <a:gd name="T20" fmla="*/ 419 w 599"/>
                  <a:gd name="T21" fmla="*/ 750 h 870"/>
                  <a:gd name="T22" fmla="*/ 599 w 599"/>
                  <a:gd name="T23" fmla="*/ 810 h 870"/>
                  <a:gd name="T24" fmla="*/ 330 w 599"/>
                  <a:gd name="T25" fmla="*/ 870 h 870"/>
                  <a:gd name="T26" fmla="*/ 270 w 599"/>
                  <a:gd name="T27" fmla="*/ 750 h 870"/>
                  <a:gd name="T28" fmla="*/ 150 w 599"/>
                  <a:gd name="T29" fmla="*/ 870 h 870"/>
                  <a:gd name="T30" fmla="*/ 0 w 599"/>
                  <a:gd name="T31" fmla="*/ 780 h 870"/>
                  <a:gd name="T32" fmla="*/ 120 w 599"/>
                  <a:gd name="T33" fmla="*/ 690 h 870"/>
                  <a:gd name="T34" fmla="*/ 180 w 599"/>
                  <a:gd name="T35" fmla="*/ 540 h 870"/>
                  <a:gd name="T36" fmla="*/ 300 w 599"/>
                  <a:gd name="T37" fmla="*/ 630 h 870"/>
                  <a:gd name="T38" fmla="*/ 359 w 599"/>
                  <a:gd name="T39" fmla="*/ 480 h 870"/>
                  <a:gd name="T40" fmla="*/ 180 w 599"/>
                  <a:gd name="T41" fmla="*/ 390 h 870"/>
                  <a:gd name="T42" fmla="*/ 300 w 599"/>
                  <a:gd name="T43" fmla="*/ 330 h 870"/>
                  <a:gd name="T44" fmla="*/ 389 w 599"/>
                  <a:gd name="T45" fmla="*/ 270 h 870"/>
                  <a:gd name="T46" fmla="*/ 270 w 599"/>
                  <a:gd name="T47" fmla="*/ 180 h 870"/>
                  <a:gd name="T48" fmla="*/ 479 w 599"/>
                  <a:gd name="T49" fmla="*/ 240 h 870"/>
                  <a:gd name="T50" fmla="*/ 479 w 599"/>
                  <a:gd name="T51" fmla="*/ 90 h 870"/>
                  <a:gd name="T52" fmla="*/ 210 w 599"/>
                  <a:gd name="T53" fmla="*/ 9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9" h="870">
                    <a:moveTo>
                      <a:pt x="300" y="0"/>
                    </a:moveTo>
                    <a:lnTo>
                      <a:pt x="479" y="91"/>
                    </a:lnTo>
                    <a:lnTo>
                      <a:pt x="300" y="330"/>
                    </a:lnTo>
                    <a:lnTo>
                      <a:pt x="479" y="390"/>
                    </a:lnTo>
                    <a:lnTo>
                      <a:pt x="479" y="240"/>
                    </a:lnTo>
                    <a:lnTo>
                      <a:pt x="359" y="480"/>
                    </a:lnTo>
                    <a:lnTo>
                      <a:pt x="419" y="600"/>
                    </a:lnTo>
                    <a:lnTo>
                      <a:pt x="539" y="660"/>
                    </a:lnTo>
                    <a:lnTo>
                      <a:pt x="479" y="390"/>
                    </a:lnTo>
                    <a:lnTo>
                      <a:pt x="419" y="600"/>
                    </a:lnTo>
                    <a:lnTo>
                      <a:pt x="419" y="750"/>
                    </a:lnTo>
                    <a:lnTo>
                      <a:pt x="599" y="810"/>
                    </a:lnTo>
                    <a:lnTo>
                      <a:pt x="330" y="870"/>
                    </a:lnTo>
                    <a:lnTo>
                      <a:pt x="270" y="750"/>
                    </a:lnTo>
                    <a:lnTo>
                      <a:pt x="150" y="870"/>
                    </a:lnTo>
                    <a:lnTo>
                      <a:pt x="0" y="780"/>
                    </a:lnTo>
                    <a:lnTo>
                      <a:pt x="120" y="690"/>
                    </a:lnTo>
                    <a:lnTo>
                      <a:pt x="180" y="540"/>
                    </a:lnTo>
                    <a:lnTo>
                      <a:pt x="300" y="630"/>
                    </a:lnTo>
                    <a:lnTo>
                      <a:pt x="359" y="480"/>
                    </a:lnTo>
                    <a:lnTo>
                      <a:pt x="180" y="390"/>
                    </a:lnTo>
                    <a:lnTo>
                      <a:pt x="300" y="330"/>
                    </a:lnTo>
                    <a:lnTo>
                      <a:pt x="389" y="270"/>
                    </a:lnTo>
                    <a:lnTo>
                      <a:pt x="270" y="180"/>
                    </a:lnTo>
                    <a:lnTo>
                      <a:pt x="479" y="240"/>
                    </a:lnTo>
                    <a:lnTo>
                      <a:pt x="479" y="9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00" name="Line 2489">
                <a:extLst>
                  <a:ext uri="{FF2B5EF4-FFF2-40B4-BE49-F238E27FC236}">
                    <a16:creationId xmlns:a16="http://schemas.microsoft.com/office/drawing/2014/main" id="{F988E886-021C-415A-A371-14F2459FD60D}"/>
                  </a:ext>
                </a:extLst>
              </p:cNvPr>
              <p:cNvSpPr>
                <a:spLocks noChangeShapeType="1"/>
              </p:cNvSpPr>
              <p:nvPr/>
            </p:nvSpPr>
            <p:spPr bwMode="auto">
              <a:xfrm flipV="1">
                <a:off x="2026" y="1110"/>
                <a:ext cx="209"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01" name="Freeform 2490">
                <a:extLst>
                  <a:ext uri="{FF2B5EF4-FFF2-40B4-BE49-F238E27FC236}">
                    <a16:creationId xmlns:a16="http://schemas.microsoft.com/office/drawing/2014/main" id="{892D0493-1FC9-48C7-92AC-5589A98A0861}"/>
                  </a:ext>
                </a:extLst>
              </p:cNvPr>
              <p:cNvSpPr>
                <a:spLocks/>
              </p:cNvSpPr>
              <p:nvPr/>
            </p:nvSpPr>
            <p:spPr bwMode="auto">
              <a:xfrm>
                <a:off x="1276" y="1290"/>
                <a:ext cx="780" cy="1080"/>
              </a:xfrm>
              <a:custGeom>
                <a:avLst/>
                <a:gdLst>
                  <a:gd name="T0" fmla="*/ 630 w 780"/>
                  <a:gd name="T1" fmla="*/ 1080 h 1080"/>
                  <a:gd name="T2" fmla="*/ 600 w 780"/>
                  <a:gd name="T3" fmla="*/ 870 h 1080"/>
                  <a:gd name="T4" fmla="*/ 480 w 780"/>
                  <a:gd name="T5" fmla="*/ 630 h 1080"/>
                  <a:gd name="T6" fmla="*/ 390 w 780"/>
                  <a:gd name="T7" fmla="*/ 720 h 1080"/>
                  <a:gd name="T8" fmla="*/ 270 w 780"/>
                  <a:gd name="T9" fmla="*/ 870 h 1080"/>
                  <a:gd name="T10" fmla="*/ 180 w 780"/>
                  <a:gd name="T11" fmla="*/ 750 h 1080"/>
                  <a:gd name="T12" fmla="*/ 210 w 780"/>
                  <a:gd name="T13" fmla="*/ 600 h 1080"/>
                  <a:gd name="T14" fmla="*/ 90 w 780"/>
                  <a:gd name="T15" fmla="*/ 660 h 1080"/>
                  <a:gd name="T16" fmla="*/ 0 w 780"/>
                  <a:gd name="T17" fmla="*/ 870 h 1080"/>
                  <a:gd name="T18" fmla="*/ 60 w 780"/>
                  <a:gd name="T19" fmla="*/ 510 h 1080"/>
                  <a:gd name="T20" fmla="*/ 0 w 780"/>
                  <a:gd name="T21" fmla="*/ 420 h 1080"/>
                  <a:gd name="T22" fmla="*/ 120 w 780"/>
                  <a:gd name="T23" fmla="*/ 330 h 1080"/>
                  <a:gd name="T24" fmla="*/ 300 w 780"/>
                  <a:gd name="T25" fmla="*/ 390 h 1080"/>
                  <a:gd name="T26" fmla="*/ 330 w 780"/>
                  <a:gd name="T27" fmla="*/ 510 h 1080"/>
                  <a:gd name="T28" fmla="*/ 480 w 780"/>
                  <a:gd name="T29" fmla="*/ 390 h 1080"/>
                  <a:gd name="T30" fmla="*/ 660 w 780"/>
                  <a:gd name="T31" fmla="*/ 240 h 1080"/>
                  <a:gd name="T32" fmla="*/ 480 w 780"/>
                  <a:gd name="T33" fmla="*/ 150 h 1080"/>
                  <a:gd name="T34" fmla="*/ 600 w 780"/>
                  <a:gd name="T35" fmla="*/ 120 h 1080"/>
                  <a:gd name="T36" fmla="*/ 780 w 780"/>
                  <a:gd name="T37" fmla="*/ 180 h 1080"/>
                  <a:gd name="T38" fmla="*/ 750 w 780"/>
                  <a:gd name="T39" fmla="*/ 30 h 1080"/>
                  <a:gd name="T40" fmla="*/ 600 w 780"/>
                  <a:gd name="T41" fmla="*/ 120 h 1080"/>
                  <a:gd name="T42" fmla="*/ 510 w 780"/>
                  <a:gd name="T43" fmla="*/ 0 h 1080"/>
                  <a:gd name="T44" fmla="*/ 480 w 780"/>
                  <a:gd name="T45" fmla="*/ 150 h 1080"/>
                  <a:gd name="T46" fmla="*/ 510 w 780"/>
                  <a:gd name="T47" fmla="*/ 300 h 1080"/>
                  <a:gd name="T48" fmla="*/ 480 w 780"/>
                  <a:gd name="T49" fmla="*/ 390 h 1080"/>
                  <a:gd name="T50" fmla="*/ 600 w 780"/>
                  <a:gd name="T51" fmla="*/ 54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1080">
                    <a:moveTo>
                      <a:pt x="630" y="1080"/>
                    </a:moveTo>
                    <a:lnTo>
                      <a:pt x="600" y="870"/>
                    </a:lnTo>
                    <a:lnTo>
                      <a:pt x="480" y="630"/>
                    </a:lnTo>
                    <a:lnTo>
                      <a:pt x="390" y="720"/>
                    </a:lnTo>
                    <a:lnTo>
                      <a:pt x="270" y="870"/>
                    </a:lnTo>
                    <a:lnTo>
                      <a:pt x="180" y="750"/>
                    </a:lnTo>
                    <a:lnTo>
                      <a:pt x="210" y="600"/>
                    </a:lnTo>
                    <a:lnTo>
                      <a:pt x="90" y="660"/>
                    </a:lnTo>
                    <a:lnTo>
                      <a:pt x="0" y="870"/>
                    </a:lnTo>
                    <a:lnTo>
                      <a:pt x="60" y="510"/>
                    </a:lnTo>
                    <a:lnTo>
                      <a:pt x="0" y="420"/>
                    </a:lnTo>
                    <a:lnTo>
                      <a:pt x="120" y="330"/>
                    </a:lnTo>
                    <a:lnTo>
                      <a:pt x="300" y="390"/>
                    </a:lnTo>
                    <a:lnTo>
                      <a:pt x="330" y="510"/>
                    </a:lnTo>
                    <a:lnTo>
                      <a:pt x="480" y="390"/>
                    </a:lnTo>
                    <a:lnTo>
                      <a:pt x="660" y="240"/>
                    </a:lnTo>
                    <a:lnTo>
                      <a:pt x="480" y="150"/>
                    </a:lnTo>
                    <a:lnTo>
                      <a:pt x="600" y="120"/>
                    </a:lnTo>
                    <a:lnTo>
                      <a:pt x="780" y="180"/>
                    </a:lnTo>
                    <a:lnTo>
                      <a:pt x="750" y="30"/>
                    </a:lnTo>
                    <a:lnTo>
                      <a:pt x="600" y="120"/>
                    </a:lnTo>
                    <a:lnTo>
                      <a:pt x="510" y="0"/>
                    </a:lnTo>
                    <a:lnTo>
                      <a:pt x="480" y="150"/>
                    </a:lnTo>
                    <a:lnTo>
                      <a:pt x="510" y="300"/>
                    </a:lnTo>
                    <a:lnTo>
                      <a:pt x="480" y="390"/>
                    </a:lnTo>
                    <a:lnTo>
                      <a:pt x="60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02" name="Line 2491">
                <a:extLst>
                  <a:ext uri="{FF2B5EF4-FFF2-40B4-BE49-F238E27FC236}">
                    <a16:creationId xmlns:a16="http://schemas.microsoft.com/office/drawing/2014/main" id="{FFCCED91-9206-463A-AFA7-85C01D8297FE}"/>
                  </a:ext>
                </a:extLst>
              </p:cNvPr>
              <p:cNvSpPr>
                <a:spLocks noChangeShapeType="1"/>
              </p:cNvSpPr>
              <p:nvPr/>
            </p:nvSpPr>
            <p:spPr bwMode="auto">
              <a:xfrm>
                <a:off x="1909" y="2013"/>
                <a:ext cx="87" cy="17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03" name="Freeform 2492">
                <a:extLst>
                  <a:ext uri="{FF2B5EF4-FFF2-40B4-BE49-F238E27FC236}">
                    <a16:creationId xmlns:a16="http://schemas.microsoft.com/office/drawing/2014/main" id="{88EC9DD2-F85E-4D92-8E39-C949F58969C8}"/>
                  </a:ext>
                </a:extLst>
              </p:cNvPr>
              <p:cNvSpPr>
                <a:spLocks/>
              </p:cNvSpPr>
              <p:nvPr/>
            </p:nvSpPr>
            <p:spPr bwMode="auto">
              <a:xfrm>
                <a:off x="1876" y="1890"/>
                <a:ext cx="210" cy="270"/>
              </a:xfrm>
              <a:custGeom>
                <a:avLst/>
                <a:gdLst>
                  <a:gd name="T0" fmla="*/ 210 w 210"/>
                  <a:gd name="T1" fmla="*/ 120 h 270"/>
                  <a:gd name="T2" fmla="*/ 0 w 210"/>
                  <a:gd name="T3" fmla="*/ 270 h 270"/>
                  <a:gd name="T4" fmla="*/ 150 w 210"/>
                  <a:gd name="T5" fmla="*/ 0 h 270"/>
                </a:gdLst>
                <a:ahLst/>
                <a:cxnLst>
                  <a:cxn ang="0">
                    <a:pos x="T0" y="T1"/>
                  </a:cxn>
                  <a:cxn ang="0">
                    <a:pos x="T2" y="T3"/>
                  </a:cxn>
                  <a:cxn ang="0">
                    <a:pos x="T4" y="T5"/>
                  </a:cxn>
                </a:cxnLst>
                <a:rect l="0" t="0" r="r" b="b"/>
                <a:pathLst>
                  <a:path w="210" h="270">
                    <a:moveTo>
                      <a:pt x="210" y="120"/>
                    </a:moveTo>
                    <a:lnTo>
                      <a:pt x="0" y="27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04" name="Freeform 2493">
                <a:extLst>
                  <a:ext uri="{FF2B5EF4-FFF2-40B4-BE49-F238E27FC236}">
                    <a16:creationId xmlns:a16="http://schemas.microsoft.com/office/drawing/2014/main" id="{C83B85F5-B1C5-4AE9-9DE3-C774B5674BFF}"/>
                  </a:ext>
                </a:extLst>
              </p:cNvPr>
              <p:cNvSpPr>
                <a:spLocks/>
              </p:cNvSpPr>
              <p:nvPr/>
            </p:nvSpPr>
            <p:spPr bwMode="auto">
              <a:xfrm>
                <a:off x="2175" y="1620"/>
                <a:ext cx="360" cy="483"/>
              </a:xfrm>
              <a:custGeom>
                <a:avLst/>
                <a:gdLst>
                  <a:gd name="T0" fmla="*/ 0 w 432"/>
                  <a:gd name="T1" fmla="*/ 146 h 579"/>
                  <a:gd name="T2" fmla="*/ 216 w 432"/>
                  <a:gd name="T3" fmla="*/ 0 h 579"/>
                  <a:gd name="T4" fmla="*/ 144 w 432"/>
                  <a:gd name="T5" fmla="*/ 216 h 579"/>
                  <a:gd name="T6" fmla="*/ 360 w 432"/>
                  <a:gd name="T7" fmla="*/ 252 h 579"/>
                  <a:gd name="T8" fmla="*/ 324 w 432"/>
                  <a:gd name="T9" fmla="*/ 578 h 579"/>
                  <a:gd name="T10" fmla="*/ 432 w 432"/>
                  <a:gd name="T11" fmla="*/ 432 h 579"/>
                  <a:gd name="T12" fmla="*/ 220 w 432"/>
                  <a:gd name="T13" fmla="*/ 399 h 579"/>
                  <a:gd name="T14" fmla="*/ 112 w 432"/>
                  <a:gd name="T15" fmla="*/ 579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579">
                    <a:moveTo>
                      <a:pt x="0" y="146"/>
                    </a:moveTo>
                    <a:cubicBezTo>
                      <a:pt x="216" y="0"/>
                      <a:pt x="216" y="0"/>
                      <a:pt x="216" y="0"/>
                    </a:cubicBezTo>
                    <a:cubicBezTo>
                      <a:pt x="144" y="216"/>
                      <a:pt x="144" y="216"/>
                      <a:pt x="144" y="216"/>
                    </a:cubicBezTo>
                    <a:cubicBezTo>
                      <a:pt x="360" y="252"/>
                      <a:pt x="360" y="252"/>
                      <a:pt x="360" y="252"/>
                    </a:cubicBezTo>
                    <a:cubicBezTo>
                      <a:pt x="324" y="578"/>
                      <a:pt x="324" y="578"/>
                      <a:pt x="324" y="578"/>
                    </a:cubicBezTo>
                    <a:cubicBezTo>
                      <a:pt x="432" y="432"/>
                      <a:pt x="432" y="432"/>
                      <a:pt x="432" y="432"/>
                    </a:cubicBezTo>
                    <a:cubicBezTo>
                      <a:pt x="220" y="399"/>
                      <a:pt x="220" y="399"/>
                      <a:pt x="220" y="399"/>
                    </a:cubicBezTo>
                    <a:cubicBezTo>
                      <a:pt x="220" y="399"/>
                      <a:pt x="108" y="576"/>
                      <a:pt x="112" y="579"/>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05" name="Freeform 2494">
                <a:extLst>
                  <a:ext uri="{FF2B5EF4-FFF2-40B4-BE49-F238E27FC236}">
                    <a16:creationId xmlns:a16="http://schemas.microsoft.com/office/drawing/2014/main" id="{67015895-6415-4558-ABDF-91BEFDF1F88C}"/>
                  </a:ext>
                </a:extLst>
              </p:cNvPr>
              <p:cNvSpPr>
                <a:spLocks/>
              </p:cNvSpPr>
              <p:nvPr/>
            </p:nvSpPr>
            <p:spPr bwMode="auto">
              <a:xfrm>
                <a:off x="2175" y="1800"/>
                <a:ext cx="120" cy="303"/>
              </a:xfrm>
              <a:custGeom>
                <a:avLst/>
                <a:gdLst>
                  <a:gd name="T0" fmla="*/ 0 w 120"/>
                  <a:gd name="T1" fmla="*/ 90 h 303"/>
                  <a:gd name="T2" fmla="*/ 120 w 120"/>
                  <a:gd name="T3" fmla="*/ 0 h 303"/>
                  <a:gd name="T4" fmla="*/ 94 w 120"/>
                  <a:gd name="T5" fmla="*/ 303 h 303"/>
                </a:gdLst>
                <a:ahLst/>
                <a:cxnLst>
                  <a:cxn ang="0">
                    <a:pos x="T0" y="T1"/>
                  </a:cxn>
                  <a:cxn ang="0">
                    <a:pos x="T2" y="T3"/>
                  </a:cxn>
                  <a:cxn ang="0">
                    <a:pos x="T4" y="T5"/>
                  </a:cxn>
                </a:cxnLst>
                <a:rect l="0" t="0" r="r" b="b"/>
                <a:pathLst>
                  <a:path w="120" h="303">
                    <a:moveTo>
                      <a:pt x="0" y="90"/>
                    </a:moveTo>
                    <a:lnTo>
                      <a:pt x="120" y="0"/>
                    </a:lnTo>
                    <a:lnTo>
                      <a:pt x="94" y="30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06" name="Freeform 2495">
                <a:extLst>
                  <a:ext uri="{FF2B5EF4-FFF2-40B4-BE49-F238E27FC236}">
                    <a16:creationId xmlns:a16="http://schemas.microsoft.com/office/drawing/2014/main" id="{0E443648-D2B6-494A-B7A3-83D436971BFF}"/>
                  </a:ext>
                </a:extLst>
              </p:cNvPr>
              <p:cNvSpPr>
                <a:spLocks/>
              </p:cNvSpPr>
              <p:nvPr/>
            </p:nvSpPr>
            <p:spPr bwMode="auto">
              <a:xfrm>
                <a:off x="2625" y="1922"/>
                <a:ext cx="1110" cy="868"/>
              </a:xfrm>
              <a:custGeom>
                <a:avLst/>
                <a:gdLst>
                  <a:gd name="T0" fmla="*/ 240 w 1110"/>
                  <a:gd name="T1" fmla="*/ 0 h 868"/>
                  <a:gd name="T2" fmla="*/ 210 w 1110"/>
                  <a:gd name="T3" fmla="*/ 148 h 868"/>
                  <a:gd name="T4" fmla="*/ 150 w 1110"/>
                  <a:gd name="T5" fmla="*/ 238 h 868"/>
                  <a:gd name="T6" fmla="*/ 0 w 1110"/>
                  <a:gd name="T7" fmla="*/ 328 h 868"/>
                  <a:gd name="T8" fmla="*/ 0 w 1110"/>
                  <a:gd name="T9" fmla="*/ 478 h 868"/>
                  <a:gd name="T10" fmla="*/ 120 w 1110"/>
                  <a:gd name="T11" fmla="*/ 388 h 868"/>
                  <a:gd name="T12" fmla="*/ 270 w 1110"/>
                  <a:gd name="T13" fmla="*/ 268 h 868"/>
                  <a:gd name="T14" fmla="*/ 510 w 1110"/>
                  <a:gd name="T15" fmla="*/ 118 h 868"/>
                  <a:gd name="T16" fmla="*/ 600 w 1110"/>
                  <a:gd name="T17" fmla="*/ 178 h 868"/>
                  <a:gd name="T18" fmla="*/ 690 w 1110"/>
                  <a:gd name="T19" fmla="*/ 298 h 868"/>
                  <a:gd name="T20" fmla="*/ 780 w 1110"/>
                  <a:gd name="T21" fmla="*/ 178 h 868"/>
                  <a:gd name="T22" fmla="*/ 600 w 1110"/>
                  <a:gd name="T23" fmla="*/ 178 h 868"/>
                  <a:gd name="T24" fmla="*/ 600 w 1110"/>
                  <a:gd name="T25" fmla="*/ 329 h 868"/>
                  <a:gd name="T26" fmla="*/ 510 w 1110"/>
                  <a:gd name="T27" fmla="*/ 298 h 868"/>
                  <a:gd name="T28" fmla="*/ 480 w 1110"/>
                  <a:gd name="T29" fmla="*/ 388 h 868"/>
                  <a:gd name="T30" fmla="*/ 480 w 1110"/>
                  <a:gd name="T31" fmla="*/ 628 h 868"/>
                  <a:gd name="T32" fmla="*/ 600 w 1110"/>
                  <a:gd name="T33" fmla="*/ 538 h 868"/>
                  <a:gd name="T34" fmla="*/ 688 w 1110"/>
                  <a:gd name="T35" fmla="*/ 630 h 868"/>
                  <a:gd name="T36" fmla="*/ 660 w 1110"/>
                  <a:gd name="T37" fmla="*/ 448 h 868"/>
                  <a:gd name="T38" fmla="*/ 750 w 1110"/>
                  <a:gd name="T39" fmla="*/ 388 h 868"/>
                  <a:gd name="T40" fmla="*/ 870 w 1110"/>
                  <a:gd name="T41" fmla="*/ 448 h 868"/>
                  <a:gd name="T42" fmla="*/ 750 w 1110"/>
                  <a:gd name="T43" fmla="*/ 508 h 868"/>
                  <a:gd name="T44" fmla="*/ 840 w 1110"/>
                  <a:gd name="T45" fmla="*/ 568 h 868"/>
                  <a:gd name="T46" fmla="*/ 1110 w 1110"/>
                  <a:gd name="T47" fmla="*/ 538 h 868"/>
                  <a:gd name="T48" fmla="*/ 990 w 1110"/>
                  <a:gd name="T49" fmla="*/ 598 h 868"/>
                  <a:gd name="T50" fmla="*/ 1020 w 1110"/>
                  <a:gd name="T51" fmla="*/ 868 h 868"/>
                  <a:gd name="T52" fmla="*/ 810 w 1110"/>
                  <a:gd name="T53" fmla="*/ 68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0" h="868">
                    <a:moveTo>
                      <a:pt x="240" y="0"/>
                    </a:moveTo>
                    <a:lnTo>
                      <a:pt x="210" y="148"/>
                    </a:lnTo>
                    <a:lnTo>
                      <a:pt x="150" y="238"/>
                    </a:lnTo>
                    <a:lnTo>
                      <a:pt x="0" y="328"/>
                    </a:lnTo>
                    <a:lnTo>
                      <a:pt x="0" y="478"/>
                    </a:lnTo>
                    <a:lnTo>
                      <a:pt x="120" y="388"/>
                    </a:lnTo>
                    <a:lnTo>
                      <a:pt x="270" y="268"/>
                    </a:lnTo>
                    <a:lnTo>
                      <a:pt x="510" y="118"/>
                    </a:lnTo>
                    <a:lnTo>
                      <a:pt x="600" y="178"/>
                    </a:lnTo>
                    <a:lnTo>
                      <a:pt x="690" y="298"/>
                    </a:lnTo>
                    <a:lnTo>
                      <a:pt x="780" y="178"/>
                    </a:lnTo>
                    <a:lnTo>
                      <a:pt x="600" y="178"/>
                    </a:lnTo>
                    <a:lnTo>
                      <a:pt x="600" y="329"/>
                    </a:lnTo>
                    <a:lnTo>
                      <a:pt x="510" y="298"/>
                    </a:lnTo>
                    <a:lnTo>
                      <a:pt x="480" y="388"/>
                    </a:lnTo>
                    <a:lnTo>
                      <a:pt x="480" y="628"/>
                    </a:lnTo>
                    <a:lnTo>
                      <a:pt x="600" y="538"/>
                    </a:lnTo>
                    <a:lnTo>
                      <a:pt x="688" y="630"/>
                    </a:lnTo>
                    <a:lnTo>
                      <a:pt x="660" y="448"/>
                    </a:lnTo>
                    <a:lnTo>
                      <a:pt x="750" y="388"/>
                    </a:lnTo>
                    <a:lnTo>
                      <a:pt x="870" y="448"/>
                    </a:lnTo>
                    <a:lnTo>
                      <a:pt x="750" y="508"/>
                    </a:lnTo>
                    <a:lnTo>
                      <a:pt x="840" y="568"/>
                    </a:lnTo>
                    <a:lnTo>
                      <a:pt x="1110" y="538"/>
                    </a:lnTo>
                    <a:lnTo>
                      <a:pt x="990" y="598"/>
                    </a:lnTo>
                    <a:lnTo>
                      <a:pt x="1020" y="868"/>
                    </a:lnTo>
                    <a:lnTo>
                      <a:pt x="810" y="6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07" name="Line 2496">
                <a:extLst>
                  <a:ext uri="{FF2B5EF4-FFF2-40B4-BE49-F238E27FC236}">
                    <a16:creationId xmlns:a16="http://schemas.microsoft.com/office/drawing/2014/main" id="{B0C312D1-7451-42D6-8F17-26EE13CDF664}"/>
                  </a:ext>
                </a:extLst>
              </p:cNvPr>
              <p:cNvSpPr>
                <a:spLocks noChangeShapeType="1"/>
              </p:cNvSpPr>
              <p:nvPr/>
            </p:nvSpPr>
            <p:spPr bwMode="auto">
              <a:xfrm flipV="1">
                <a:off x="2835" y="195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08" name="Line 2497">
                <a:extLst>
                  <a:ext uri="{FF2B5EF4-FFF2-40B4-BE49-F238E27FC236}">
                    <a16:creationId xmlns:a16="http://schemas.microsoft.com/office/drawing/2014/main" id="{1DEC7386-E963-42D4-9D1F-43377D35BA21}"/>
                  </a:ext>
                </a:extLst>
              </p:cNvPr>
              <p:cNvSpPr>
                <a:spLocks noChangeShapeType="1"/>
              </p:cNvSpPr>
              <p:nvPr/>
            </p:nvSpPr>
            <p:spPr bwMode="auto">
              <a:xfrm flipH="1" flipV="1">
                <a:off x="2865" y="1922"/>
                <a:ext cx="152" cy="15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09" name="Freeform 2498">
                <a:extLst>
                  <a:ext uri="{FF2B5EF4-FFF2-40B4-BE49-F238E27FC236}">
                    <a16:creationId xmlns:a16="http://schemas.microsoft.com/office/drawing/2014/main" id="{0D795EC9-1283-426D-BFAA-A3E48746F01E}"/>
                  </a:ext>
                </a:extLst>
              </p:cNvPr>
              <p:cNvSpPr>
                <a:spLocks/>
              </p:cNvSpPr>
              <p:nvPr/>
            </p:nvSpPr>
            <p:spPr bwMode="auto">
              <a:xfrm>
                <a:off x="3077" y="1713"/>
                <a:ext cx="328" cy="390"/>
              </a:xfrm>
              <a:custGeom>
                <a:avLst/>
                <a:gdLst>
                  <a:gd name="T0" fmla="*/ 271 w 328"/>
                  <a:gd name="T1" fmla="*/ 0 h 390"/>
                  <a:gd name="T2" fmla="*/ 238 w 328"/>
                  <a:gd name="T3" fmla="*/ 147 h 390"/>
                  <a:gd name="T4" fmla="*/ 151 w 328"/>
                  <a:gd name="T5" fmla="*/ 390 h 390"/>
                  <a:gd name="T6" fmla="*/ 328 w 328"/>
                  <a:gd name="T7" fmla="*/ 207 h 390"/>
                  <a:gd name="T8" fmla="*/ 328 w 328"/>
                  <a:gd name="T9" fmla="*/ 389 h 390"/>
                  <a:gd name="T10" fmla="*/ 118 w 328"/>
                  <a:gd name="T11" fmla="*/ 177 h 390"/>
                  <a:gd name="T12" fmla="*/ 58 w 328"/>
                  <a:gd name="T13" fmla="*/ 327 h 390"/>
                  <a:gd name="T14" fmla="*/ 0 w 328"/>
                  <a:gd name="T15" fmla="*/ 180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90">
                    <a:moveTo>
                      <a:pt x="271" y="0"/>
                    </a:moveTo>
                    <a:lnTo>
                      <a:pt x="238" y="147"/>
                    </a:lnTo>
                    <a:lnTo>
                      <a:pt x="151" y="390"/>
                    </a:lnTo>
                    <a:lnTo>
                      <a:pt x="328" y="207"/>
                    </a:lnTo>
                    <a:lnTo>
                      <a:pt x="328" y="389"/>
                    </a:lnTo>
                    <a:lnTo>
                      <a:pt x="118" y="177"/>
                    </a:lnTo>
                    <a:lnTo>
                      <a:pt x="58" y="327"/>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10" name="Line 2499">
                <a:extLst>
                  <a:ext uri="{FF2B5EF4-FFF2-40B4-BE49-F238E27FC236}">
                    <a16:creationId xmlns:a16="http://schemas.microsoft.com/office/drawing/2014/main" id="{2494AD39-37D6-4A18-B37C-27142FDF3EA7}"/>
                  </a:ext>
                </a:extLst>
              </p:cNvPr>
              <p:cNvSpPr>
                <a:spLocks noChangeShapeType="1"/>
              </p:cNvSpPr>
              <p:nvPr/>
            </p:nvSpPr>
            <p:spPr bwMode="auto">
              <a:xfrm flipH="1" flipV="1">
                <a:off x="3348" y="1713"/>
                <a:ext cx="177" cy="11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11" name="Line 2500">
                <a:extLst>
                  <a:ext uri="{FF2B5EF4-FFF2-40B4-BE49-F238E27FC236}">
                    <a16:creationId xmlns:a16="http://schemas.microsoft.com/office/drawing/2014/main" id="{9540DE55-71AF-490C-9D44-161DB2BB5E10}"/>
                  </a:ext>
                </a:extLst>
              </p:cNvPr>
              <p:cNvSpPr>
                <a:spLocks noChangeShapeType="1"/>
              </p:cNvSpPr>
              <p:nvPr/>
            </p:nvSpPr>
            <p:spPr bwMode="auto">
              <a:xfrm flipV="1">
                <a:off x="3315" y="1442"/>
                <a:ext cx="88" cy="118"/>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12" name="Freeform 2501">
                <a:extLst>
                  <a:ext uri="{FF2B5EF4-FFF2-40B4-BE49-F238E27FC236}">
                    <a16:creationId xmlns:a16="http://schemas.microsoft.com/office/drawing/2014/main" id="{7CDB3288-BBCE-4A1D-B460-DED4EEF7D38D}"/>
                  </a:ext>
                </a:extLst>
              </p:cNvPr>
              <p:cNvSpPr>
                <a:spLocks/>
              </p:cNvSpPr>
              <p:nvPr/>
            </p:nvSpPr>
            <p:spPr bwMode="auto">
              <a:xfrm>
                <a:off x="2625" y="780"/>
                <a:ext cx="690" cy="630"/>
              </a:xfrm>
              <a:custGeom>
                <a:avLst/>
                <a:gdLst>
                  <a:gd name="T0" fmla="*/ 660 w 690"/>
                  <a:gd name="T1" fmla="*/ 630 h 630"/>
                  <a:gd name="T2" fmla="*/ 690 w 690"/>
                  <a:gd name="T3" fmla="*/ 390 h 630"/>
                  <a:gd name="T4" fmla="*/ 570 w 690"/>
                  <a:gd name="T5" fmla="*/ 420 h 630"/>
                  <a:gd name="T6" fmla="*/ 450 w 690"/>
                  <a:gd name="T7" fmla="*/ 240 h 630"/>
                  <a:gd name="T8" fmla="*/ 420 w 690"/>
                  <a:gd name="T9" fmla="*/ 420 h 630"/>
                  <a:gd name="T10" fmla="*/ 330 w 690"/>
                  <a:gd name="T11" fmla="*/ 330 h 630"/>
                  <a:gd name="T12" fmla="*/ 210 w 690"/>
                  <a:gd name="T13" fmla="*/ 270 h 630"/>
                  <a:gd name="T14" fmla="*/ 0 w 690"/>
                  <a:gd name="T15" fmla="*/ 210 h 630"/>
                  <a:gd name="T16" fmla="*/ 270 w 690"/>
                  <a:gd name="T17" fmla="*/ 180 h 630"/>
                  <a:gd name="T18" fmla="*/ 180 w 690"/>
                  <a:gd name="T19" fmla="*/ 30 h 630"/>
                  <a:gd name="T20" fmla="*/ 330 w 690"/>
                  <a:gd name="T21" fmla="*/ 0 h 630"/>
                  <a:gd name="T22" fmla="*/ 120 w 690"/>
                  <a:gd name="T23" fmla="*/ 15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0" h="630">
                    <a:moveTo>
                      <a:pt x="660" y="630"/>
                    </a:moveTo>
                    <a:lnTo>
                      <a:pt x="690" y="390"/>
                    </a:lnTo>
                    <a:lnTo>
                      <a:pt x="570" y="420"/>
                    </a:lnTo>
                    <a:lnTo>
                      <a:pt x="450" y="240"/>
                    </a:lnTo>
                    <a:lnTo>
                      <a:pt x="420" y="420"/>
                    </a:lnTo>
                    <a:lnTo>
                      <a:pt x="330" y="330"/>
                    </a:lnTo>
                    <a:lnTo>
                      <a:pt x="210" y="270"/>
                    </a:lnTo>
                    <a:lnTo>
                      <a:pt x="0" y="210"/>
                    </a:lnTo>
                    <a:lnTo>
                      <a:pt x="270" y="180"/>
                    </a:lnTo>
                    <a:lnTo>
                      <a:pt x="180" y="30"/>
                    </a:lnTo>
                    <a:lnTo>
                      <a:pt x="330"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13" name="Line 2502">
                <a:extLst>
                  <a:ext uri="{FF2B5EF4-FFF2-40B4-BE49-F238E27FC236}">
                    <a16:creationId xmlns:a16="http://schemas.microsoft.com/office/drawing/2014/main" id="{13AB2D93-C3EC-484F-8128-C69070FA73A0}"/>
                  </a:ext>
                </a:extLst>
              </p:cNvPr>
              <p:cNvSpPr>
                <a:spLocks noChangeShapeType="1"/>
              </p:cNvSpPr>
              <p:nvPr/>
            </p:nvSpPr>
            <p:spPr bwMode="auto">
              <a:xfrm flipH="1">
                <a:off x="3285" y="1290"/>
                <a:ext cx="15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14" name="Freeform 2503">
                <a:extLst>
                  <a:ext uri="{FF2B5EF4-FFF2-40B4-BE49-F238E27FC236}">
                    <a16:creationId xmlns:a16="http://schemas.microsoft.com/office/drawing/2014/main" id="{E79B62DD-1ED8-4B04-A3D8-A8F487B5023B}"/>
                  </a:ext>
                </a:extLst>
              </p:cNvPr>
              <p:cNvSpPr>
                <a:spLocks/>
              </p:cNvSpPr>
              <p:nvPr/>
            </p:nvSpPr>
            <p:spPr bwMode="auto">
              <a:xfrm>
                <a:off x="3315" y="1082"/>
                <a:ext cx="120" cy="208"/>
              </a:xfrm>
              <a:custGeom>
                <a:avLst/>
                <a:gdLst>
                  <a:gd name="T0" fmla="*/ 120 w 120"/>
                  <a:gd name="T1" fmla="*/ 208 h 208"/>
                  <a:gd name="T2" fmla="*/ 90 w 120"/>
                  <a:gd name="T3" fmla="*/ 0 h 208"/>
                  <a:gd name="T4" fmla="*/ 0 w 120"/>
                  <a:gd name="T5" fmla="*/ 88 h 208"/>
                </a:gdLst>
                <a:ahLst/>
                <a:cxnLst>
                  <a:cxn ang="0">
                    <a:pos x="T0" y="T1"/>
                  </a:cxn>
                  <a:cxn ang="0">
                    <a:pos x="T2" y="T3"/>
                  </a:cxn>
                  <a:cxn ang="0">
                    <a:pos x="T4" y="T5"/>
                  </a:cxn>
                </a:cxnLst>
                <a:rect l="0" t="0" r="r" b="b"/>
                <a:pathLst>
                  <a:path w="120" h="208">
                    <a:moveTo>
                      <a:pt x="120" y="208"/>
                    </a:moveTo>
                    <a:lnTo>
                      <a:pt x="90" y="0"/>
                    </a:lnTo>
                    <a:lnTo>
                      <a:pt x="0" y="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15" name="Freeform 2504">
                <a:extLst>
                  <a:ext uri="{FF2B5EF4-FFF2-40B4-BE49-F238E27FC236}">
                    <a16:creationId xmlns:a16="http://schemas.microsoft.com/office/drawing/2014/main" id="{E054FF8A-49B2-456A-B74E-990897C8355B}"/>
                  </a:ext>
                </a:extLst>
              </p:cNvPr>
              <p:cNvSpPr>
                <a:spLocks/>
              </p:cNvSpPr>
              <p:nvPr/>
            </p:nvSpPr>
            <p:spPr bwMode="auto">
              <a:xfrm>
                <a:off x="3195" y="1200"/>
                <a:ext cx="240" cy="242"/>
              </a:xfrm>
              <a:custGeom>
                <a:avLst/>
                <a:gdLst>
                  <a:gd name="T0" fmla="*/ 240 w 240"/>
                  <a:gd name="T1" fmla="*/ 90 h 242"/>
                  <a:gd name="T2" fmla="*/ 0 w 240"/>
                  <a:gd name="T3" fmla="*/ 0 h 242"/>
                  <a:gd name="T4" fmla="*/ 208 w 240"/>
                  <a:gd name="T5" fmla="*/ 242 h 242"/>
                </a:gdLst>
                <a:ahLst/>
                <a:cxnLst>
                  <a:cxn ang="0">
                    <a:pos x="T0" y="T1"/>
                  </a:cxn>
                  <a:cxn ang="0">
                    <a:pos x="T2" y="T3"/>
                  </a:cxn>
                  <a:cxn ang="0">
                    <a:pos x="T4" y="T5"/>
                  </a:cxn>
                </a:cxnLst>
                <a:rect l="0" t="0" r="r" b="b"/>
                <a:pathLst>
                  <a:path w="240" h="242">
                    <a:moveTo>
                      <a:pt x="240" y="90"/>
                    </a:moveTo>
                    <a:lnTo>
                      <a:pt x="0" y="0"/>
                    </a:lnTo>
                    <a:lnTo>
                      <a:pt x="208" y="24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16" name="Line 2505">
                <a:extLst>
                  <a:ext uri="{FF2B5EF4-FFF2-40B4-BE49-F238E27FC236}">
                    <a16:creationId xmlns:a16="http://schemas.microsoft.com/office/drawing/2014/main" id="{A945A76C-3251-4098-A845-DFDF1DA60AE4}"/>
                  </a:ext>
                </a:extLst>
              </p:cNvPr>
              <p:cNvSpPr>
                <a:spLocks noChangeShapeType="1"/>
              </p:cNvSpPr>
              <p:nvPr/>
            </p:nvSpPr>
            <p:spPr bwMode="auto">
              <a:xfrm flipH="1">
                <a:off x="3585" y="1260"/>
                <a:ext cx="30" cy="272"/>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17" name="Freeform 2506">
                <a:extLst>
                  <a:ext uri="{FF2B5EF4-FFF2-40B4-BE49-F238E27FC236}">
                    <a16:creationId xmlns:a16="http://schemas.microsoft.com/office/drawing/2014/main" id="{F8416B36-BAA8-4609-BA62-999BDE6CB5EC}"/>
                  </a:ext>
                </a:extLst>
              </p:cNvPr>
              <p:cNvSpPr>
                <a:spLocks/>
              </p:cNvSpPr>
              <p:nvPr/>
            </p:nvSpPr>
            <p:spPr bwMode="auto">
              <a:xfrm>
                <a:off x="3555" y="450"/>
                <a:ext cx="449" cy="1140"/>
              </a:xfrm>
              <a:custGeom>
                <a:avLst/>
                <a:gdLst>
                  <a:gd name="T0" fmla="*/ 449 w 449"/>
                  <a:gd name="T1" fmla="*/ 1140 h 1140"/>
                  <a:gd name="T2" fmla="*/ 329 w 449"/>
                  <a:gd name="T3" fmla="*/ 930 h 1140"/>
                  <a:gd name="T4" fmla="*/ 419 w 449"/>
                  <a:gd name="T5" fmla="*/ 690 h 1140"/>
                  <a:gd name="T6" fmla="*/ 239 w 449"/>
                  <a:gd name="T7" fmla="*/ 600 h 1140"/>
                  <a:gd name="T8" fmla="*/ 269 w 449"/>
                  <a:gd name="T9" fmla="*/ 780 h 1140"/>
                  <a:gd name="T10" fmla="*/ 389 w 449"/>
                  <a:gd name="T11" fmla="*/ 570 h 1140"/>
                  <a:gd name="T12" fmla="*/ 419 w 449"/>
                  <a:gd name="T13" fmla="*/ 450 h 1140"/>
                  <a:gd name="T14" fmla="*/ 359 w 449"/>
                  <a:gd name="T15" fmla="*/ 330 h 1140"/>
                  <a:gd name="T16" fmla="*/ 389 w 449"/>
                  <a:gd name="T17" fmla="*/ 180 h 1140"/>
                  <a:gd name="T18" fmla="*/ 239 w 449"/>
                  <a:gd name="T19" fmla="*/ 60 h 1140"/>
                  <a:gd name="T20" fmla="*/ 150 w 449"/>
                  <a:gd name="T21" fmla="*/ 180 h 1140"/>
                  <a:gd name="T22" fmla="*/ 0 w 449"/>
                  <a:gd name="T23" fmla="*/ 270 h 1140"/>
                  <a:gd name="T24" fmla="*/ 0 w 449"/>
                  <a:gd name="T25" fmla="*/ 420 h 1140"/>
                  <a:gd name="T26" fmla="*/ 120 w 449"/>
                  <a:gd name="T27" fmla="*/ 330 h 1140"/>
                  <a:gd name="T28" fmla="*/ 269 w 449"/>
                  <a:gd name="T29" fmla="*/ 210 h 1140"/>
                  <a:gd name="T30" fmla="*/ 239 w 449"/>
                  <a:gd name="T31" fmla="*/ 60 h 1140"/>
                  <a:gd name="T32" fmla="*/ 120 w 449"/>
                  <a:gd name="T33" fmla="*/ 0 h 1140"/>
                  <a:gd name="T34" fmla="*/ 30 w 449"/>
                  <a:gd name="T35" fmla="*/ 9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1140">
                    <a:moveTo>
                      <a:pt x="449" y="1140"/>
                    </a:moveTo>
                    <a:lnTo>
                      <a:pt x="329" y="930"/>
                    </a:lnTo>
                    <a:lnTo>
                      <a:pt x="419" y="690"/>
                    </a:lnTo>
                    <a:lnTo>
                      <a:pt x="239" y="600"/>
                    </a:lnTo>
                    <a:lnTo>
                      <a:pt x="269" y="780"/>
                    </a:lnTo>
                    <a:lnTo>
                      <a:pt x="389" y="570"/>
                    </a:lnTo>
                    <a:lnTo>
                      <a:pt x="419" y="450"/>
                    </a:lnTo>
                    <a:lnTo>
                      <a:pt x="359" y="330"/>
                    </a:lnTo>
                    <a:lnTo>
                      <a:pt x="389" y="180"/>
                    </a:lnTo>
                    <a:lnTo>
                      <a:pt x="239" y="60"/>
                    </a:lnTo>
                    <a:lnTo>
                      <a:pt x="150" y="180"/>
                    </a:lnTo>
                    <a:lnTo>
                      <a:pt x="0" y="270"/>
                    </a:lnTo>
                    <a:lnTo>
                      <a:pt x="0" y="420"/>
                    </a:lnTo>
                    <a:lnTo>
                      <a:pt x="120" y="330"/>
                    </a:lnTo>
                    <a:lnTo>
                      <a:pt x="269" y="210"/>
                    </a:lnTo>
                    <a:lnTo>
                      <a:pt x="239" y="60"/>
                    </a:lnTo>
                    <a:lnTo>
                      <a:pt x="120" y="0"/>
                    </a:lnTo>
                    <a:lnTo>
                      <a:pt x="3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18" name="Line 2507">
                <a:extLst>
                  <a:ext uri="{FF2B5EF4-FFF2-40B4-BE49-F238E27FC236}">
                    <a16:creationId xmlns:a16="http://schemas.microsoft.com/office/drawing/2014/main" id="{286A39A2-8C80-4F5F-B812-F740D4C5DA31}"/>
                  </a:ext>
                </a:extLst>
              </p:cNvPr>
              <p:cNvSpPr>
                <a:spLocks noChangeShapeType="1"/>
              </p:cNvSpPr>
              <p:nvPr/>
            </p:nvSpPr>
            <p:spPr bwMode="auto">
              <a:xfrm>
                <a:off x="4004"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19" name="Freeform 2508">
                <a:extLst>
                  <a:ext uri="{FF2B5EF4-FFF2-40B4-BE49-F238E27FC236}">
                    <a16:creationId xmlns:a16="http://schemas.microsoft.com/office/drawing/2014/main" id="{89DA4A61-5A79-48B2-B6E1-B422E48145FA}"/>
                  </a:ext>
                </a:extLst>
              </p:cNvPr>
              <p:cNvSpPr>
                <a:spLocks/>
              </p:cNvSpPr>
              <p:nvPr/>
            </p:nvSpPr>
            <p:spPr bwMode="auto">
              <a:xfrm>
                <a:off x="3525" y="1740"/>
                <a:ext cx="659" cy="423"/>
              </a:xfrm>
              <a:custGeom>
                <a:avLst/>
                <a:gdLst>
                  <a:gd name="T0" fmla="*/ 300 w 659"/>
                  <a:gd name="T1" fmla="*/ 303 h 423"/>
                  <a:gd name="T2" fmla="*/ 299 w 659"/>
                  <a:gd name="T3" fmla="*/ 150 h 423"/>
                  <a:gd name="T4" fmla="*/ 451 w 659"/>
                  <a:gd name="T5" fmla="*/ 423 h 423"/>
                  <a:gd name="T6" fmla="*/ 483 w 659"/>
                  <a:gd name="T7" fmla="*/ 213 h 423"/>
                  <a:gd name="T8" fmla="*/ 659 w 659"/>
                  <a:gd name="T9" fmla="*/ 300 h 423"/>
                  <a:gd name="T10" fmla="*/ 419 w 659"/>
                  <a:gd name="T11" fmla="*/ 60 h 423"/>
                  <a:gd name="T12" fmla="*/ 479 w 659"/>
                  <a:gd name="T13" fmla="*/ 210 h 423"/>
                  <a:gd name="T14" fmla="*/ 299 w 659"/>
                  <a:gd name="T15" fmla="*/ 0 h 423"/>
                  <a:gd name="T16" fmla="*/ 150 w 659"/>
                  <a:gd name="T17" fmla="*/ 150 h 423"/>
                  <a:gd name="T18" fmla="*/ 0 w 659"/>
                  <a:gd name="T19" fmla="*/ 9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9" h="423">
                    <a:moveTo>
                      <a:pt x="300" y="303"/>
                    </a:moveTo>
                    <a:lnTo>
                      <a:pt x="299" y="150"/>
                    </a:lnTo>
                    <a:lnTo>
                      <a:pt x="451" y="423"/>
                    </a:lnTo>
                    <a:lnTo>
                      <a:pt x="483" y="213"/>
                    </a:lnTo>
                    <a:lnTo>
                      <a:pt x="659" y="300"/>
                    </a:lnTo>
                    <a:lnTo>
                      <a:pt x="419" y="60"/>
                    </a:lnTo>
                    <a:lnTo>
                      <a:pt x="479" y="210"/>
                    </a:lnTo>
                    <a:lnTo>
                      <a:pt x="299" y="0"/>
                    </a:lnTo>
                    <a:lnTo>
                      <a:pt x="150" y="15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20" name="Freeform 2509">
                <a:extLst>
                  <a:ext uri="{FF2B5EF4-FFF2-40B4-BE49-F238E27FC236}">
                    <a16:creationId xmlns:a16="http://schemas.microsoft.com/office/drawing/2014/main" id="{389B0C02-E0F1-4BB9-8B6A-A41CA1C9E30B}"/>
                  </a:ext>
                </a:extLst>
              </p:cNvPr>
              <p:cNvSpPr>
                <a:spLocks/>
              </p:cNvSpPr>
              <p:nvPr/>
            </p:nvSpPr>
            <p:spPr bwMode="auto">
              <a:xfrm>
                <a:off x="3315" y="1860"/>
                <a:ext cx="393" cy="123"/>
              </a:xfrm>
              <a:custGeom>
                <a:avLst/>
                <a:gdLst>
                  <a:gd name="T0" fmla="*/ 393 w 393"/>
                  <a:gd name="T1" fmla="*/ 123 h 123"/>
                  <a:gd name="T2" fmla="*/ 90 w 393"/>
                  <a:gd name="T3" fmla="*/ 60 h 123"/>
                  <a:gd name="T4" fmla="*/ 0 w 393"/>
                  <a:gd name="T5" fmla="*/ 0 h 123"/>
                </a:gdLst>
                <a:ahLst/>
                <a:cxnLst>
                  <a:cxn ang="0">
                    <a:pos x="T0" y="T1"/>
                  </a:cxn>
                  <a:cxn ang="0">
                    <a:pos x="T2" y="T3"/>
                  </a:cxn>
                  <a:cxn ang="0">
                    <a:pos x="T4" y="T5"/>
                  </a:cxn>
                </a:cxnLst>
                <a:rect l="0" t="0" r="r" b="b"/>
                <a:pathLst>
                  <a:path w="393" h="123">
                    <a:moveTo>
                      <a:pt x="393" y="123"/>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21" name="Freeform 2510">
                <a:extLst>
                  <a:ext uri="{FF2B5EF4-FFF2-40B4-BE49-F238E27FC236}">
                    <a16:creationId xmlns:a16="http://schemas.microsoft.com/office/drawing/2014/main" id="{7F013949-2F1A-43CC-84B7-66C8E611A518}"/>
                  </a:ext>
                </a:extLst>
              </p:cNvPr>
              <p:cNvSpPr>
                <a:spLocks/>
              </p:cNvSpPr>
              <p:nvPr/>
            </p:nvSpPr>
            <p:spPr bwMode="auto">
              <a:xfrm>
                <a:off x="1276" y="60"/>
                <a:ext cx="690" cy="600"/>
              </a:xfrm>
              <a:custGeom>
                <a:avLst/>
                <a:gdLst>
                  <a:gd name="T0" fmla="*/ 690 w 690"/>
                  <a:gd name="T1" fmla="*/ 600 h 600"/>
                  <a:gd name="T2" fmla="*/ 630 w 690"/>
                  <a:gd name="T3" fmla="*/ 450 h 600"/>
                  <a:gd name="T4" fmla="*/ 480 w 690"/>
                  <a:gd name="T5" fmla="*/ 210 h 600"/>
                  <a:gd name="T6" fmla="*/ 330 w 690"/>
                  <a:gd name="T7" fmla="*/ 0 h 600"/>
                  <a:gd name="T8" fmla="*/ 150 w 690"/>
                  <a:gd name="T9" fmla="*/ 90 h 600"/>
                  <a:gd name="T10" fmla="*/ 60 w 690"/>
                  <a:gd name="T11" fmla="*/ 210 h 600"/>
                  <a:gd name="T12" fmla="*/ 300 w 690"/>
                  <a:gd name="T13" fmla="*/ 210 h 600"/>
                  <a:gd name="T14" fmla="*/ 330 w 690"/>
                  <a:gd name="T15" fmla="*/ 0 h 600"/>
                  <a:gd name="T16" fmla="*/ 0 w 690"/>
                  <a:gd name="T17" fmla="*/ 60 h 600"/>
                  <a:gd name="T18" fmla="*/ 150 w 690"/>
                  <a:gd name="T19" fmla="*/ 90 h 600"/>
                  <a:gd name="T20" fmla="*/ 180 w 690"/>
                  <a:gd name="T21" fmla="*/ 240 h 600"/>
                  <a:gd name="T22" fmla="*/ 60 w 690"/>
                  <a:gd name="T23" fmla="*/ 210 h 600"/>
                  <a:gd name="T24" fmla="*/ 30 w 690"/>
                  <a:gd name="T25" fmla="*/ 360 h 600"/>
                  <a:gd name="T26" fmla="*/ 60 w 690"/>
                  <a:gd name="T27" fmla="*/ 51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0" h="600">
                    <a:moveTo>
                      <a:pt x="690" y="600"/>
                    </a:moveTo>
                    <a:lnTo>
                      <a:pt x="630" y="450"/>
                    </a:lnTo>
                    <a:lnTo>
                      <a:pt x="480" y="210"/>
                    </a:lnTo>
                    <a:lnTo>
                      <a:pt x="330" y="0"/>
                    </a:lnTo>
                    <a:lnTo>
                      <a:pt x="150" y="90"/>
                    </a:lnTo>
                    <a:lnTo>
                      <a:pt x="60" y="210"/>
                    </a:lnTo>
                    <a:lnTo>
                      <a:pt x="300" y="210"/>
                    </a:lnTo>
                    <a:lnTo>
                      <a:pt x="330" y="0"/>
                    </a:lnTo>
                    <a:lnTo>
                      <a:pt x="0" y="60"/>
                    </a:lnTo>
                    <a:lnTo>
                      <a:pt x="150" y="90"/>
                    </a:lnTo>
                    <a:lnTo>
                      <a:pt x="180" y="240"/>
                    </a:lnTo>
                    <a:lnTo>
                      <a:pt x="60" y="210"/>
                    </a:lnTo>
                    <a:lnTo>
                      <a:pt x="30" y="360"/>
                    </a:lnTo>
                    <a:lnTo>
                      <a:pt x="60"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22" name="Freeform 2511">
                <a:extLst>
                  <a:ext uri="{FF2B5EF4-FFF2-40B4-BE49-F238E27FC236}">
                    <a16:creationId xmlns:a16="http://schemas.microsoft.com/office/drawing/2014/main" id="{55AC3E09-B6A8-4771-9E4C-520D4D70C2F3}"/>
                  </a:ext>
                </a:extLst>
              </p:cNvPr>
              <p:cNvSpPr>
                <a:spLocks/>
              </p:cNvSpPr>
              <p:nvPr/>
            </p:nvSpPr>
            <p:spPr bwMode="auto">
              <a:xfrm>
                <a:off x="1306" y="2700"/>
                <a:ext cx="600" cy="510"/>
              </a:xfrm>
              <a:custGeom>
                <a:avLst/>
                <a:gdLst>
                  <a:gd name="T0" fmla="*/ 540 w 600"/>
                  <a:gd name="T1" fmla="*/ 90 h 510"/>
                  <a:gd name="T2" fmla="*/ 600 w 600"/>
                  <a:gd name="T3" fmla="*/ 270 h 510"/>
                  <a:gd name="T4" fmla="*/ 480 w 600"/>
                  <a:gd name="T5" fmla="*/ 270 h 510"/>
                  <a:gd name="T6" fmla="*/ 570 w 600"/>
                  <a:gd name="T7" fmla="*/ 420 h 510"/>
                  <a:gd name="T8" fmla="*/ 510 w 600"/>
                  <a:gd name="T9" fmla="*/ 510 h 510"/>
                  <a:gd name="T10" fmla="*/ 420 w 600"/>
                  <a:gd name="T11" fmla="*/ 360 h 510"/>
                  <a:gd name="T12" fmla="*/ 240 w 600"/>
                  <a:gd name="T13" fmla="*/ 450 h 510"/>
                  <a:gd name="T14" fmla="*/ 300 w 600"/>
                  <a:gd name="T15" fmla="*/ 270 h 510"/>
                  <a:gd name="T16" fmla="*/ 150 w 600"/>
                  <a:gd name="T17" fmla="*/ 420 h 510"/>
                  <a:gd name="T18" fmla="*/ 180 w 600"/>
                  <a:gd name="T19" fmla="*/ 300 h 510"/>
                  <a:gd name="T20" fmla="*/ 30 w 600"/>
                  <a:gd name="T21" fmla="*/ 360 h 510"/>
                  <a:gd name="T22" fmla="*/ 0 w 600"/>
                  <a:gd name="T23" fmla="*/ 510 h 510"/>
                  <a:gd name="T24" fmla="*/ 180 w 600"/>
                  <a:gd name="T25" fmla="*/ 210 h 510"/>
                  <a:gd name="T26" fmla="*/ 60 w 600"/>
                  <a:gd name="T27" fmla="*/ 120 h 510"/>
                  <a:gd name="T28" fmla="*/ 0 w 600"/>
                  <a:gd name="T29" fmla="*/ 210 h 510"/>
                  <a:gd name="T30" fmla="*/ 0 w 600"/>
                  <a:gd name="T31" fmla="*/ 0 h 510"/>
                  <a:gd name="T32" fmla="*/ 180 w 600"/>
                  <a:gd name="T33" fmla="*/ 30 h 510"/>
                  <a:gd name="T34" fmla="*/ 270 w 600"/>
                  <a:gd name="T35" fmla="*/ 120 h 510"/>
                  <a:gd name="T36" fmla="*/ 390 w 600"/>
                  <a:gd name="T37" fmla="*/ 150 h 510"/>
                  <a:gd name="T38" fmla="*/ 540 w 600"/>
                  <a:gd name="T39" fmla="*/ 9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0" h="510">
                    <a:moveTo>
                      <a:pt x="540" y="90"/>
                    </a:moveTo>
                    <a:lnTo>
                      <a:pt x="600" y="270"/>
                    </a:lnTo>
                    <a:lnTo>
                      <a:pt x="480" y="270"/>
                    </a:lnTo>
                    <a:lnTo>
                      <a:pt x="570" y="420"/>
                    </a:lnTo>
                    <a:lnTo>
                      <a:pt x="510" y="510"/>
                    </a:lnTo>
                    <a:lnTo>
                      <a:pt x="420" y="360"/>
                    </a:lnTo>
                    <a:lnTo>
                      <a:pt x="240" y="450"/>
                    </a:lnTo>
                    <a:lnTo>
                      <a:pt x="300" y="270"/>
                    </a:lnTo>
                    <a:lnTo>
                      <a:pt x="150" y="420"/>
                    </a:lnTo>
                    <a:lnTo>
                      <a:pt x="180" y="300"/>
                    </a:lnTo>
                    <a:lnTo>
                      <a:pt x="30" y="360"/>
                    </a:lnTo>
                    <a:lnTo>
                      <a:pt x="0" y="510"/>
                    </a:lnTo>
                    <a:lnTo>
                      <a:pt x="180" y="210"/>
                    </a:lnTo>
                    <a:lnTo>
                      <a:pt x="60" y="120"/>
                    </a:lnTo>
                    <a:lnTo>
                      <a:pt x="0" y="210"/>
                    </a:lnTo>
                    <a:lnTo>
                      <a:pt x="0" y="0"/>
                    </a:lnTo>
                    <a:lnTo>
                      <a:pt x="180" y="30"/>
                    </a:lnTo>
                    <a:lnTo>
                      <a:pt x="270" y="120"/>
                    </a:lnTo>
                    <a:lnTo>
                      <a:pt x="390" y="150"/>
                    </a:lnTo>
                    <a:lnTo>
                      <a:pt x="54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23" name="Freeform 2512">
                <a:extLst>
                  <a:ext uri="{FF2B5EF4-FFF2-40B4-BE49-F238E27FC236}">
                    <a16:creationId xmlns:a16="http://schemas.microsoft.com/office/drawing/2014/main" id="{BFE34CC8-D34E-4EA3-BC20-57CB1B7559A8}"/>
                  </a:ext>
                </a:extLst>
              </p:cNvPr>
              <p:cNvSpPr>
                <a:spLocks/>
              </p:cNvSpPr>
              <p:nvPr/>
            </p:nvSpPr>
            <p:spPr bwMode="auto">
              <a:xfrm>
                <a:off x="1636" y="2700"/>
                <a:ext cx="539" cy="360"/>
              </a:xfrm>
              <a:custGeom>
                <a:avLst/>
                <a:gdLst>
                  <a:gd name="T0" fmla="*/ 90 w 539"/>
                  <a:gd name="T1" fmla="*/ 360 h 360"/>
                  <a:gd name="T2" fmla="*/ 60 w 539"/>
                  <a:gd name="T3" fmla="*/ 150 h 360"/>
                  <a:gd name="T4" fmla="*/ 0 w 539"/>
                  <a:gd name="T5" fmla="*/ 0 h 360"/>
                  <a:gd name="T6" fmla="*/ 210 w 539"/>
                  <a:gd name="T7" fmla="*/ 90 h 360"/>
                  <a:gd name="T8" fmla="*/ 360 w 539"/>
                  <a:gd name="T9" fmla="*/ 180 h 360"/>
                  <a:gd name="T10" fmla="*/ 270 w 539"/>
                  <a:gd name="T11" fmla="*/ 270 h 360"/>
                  <a:gd name="T12" fmla="*/ 450 w 539"/>
                  <a:gd name="T13" fmla="*/ 330 h 360"/>
                  <a:gd name="T14" fmla="*/ 509 w 539"/>
                  <a:gd name="T15" fmla="*/ 210 h 360"/>
                  <a:gd name="T16" fmla="*/ 360 w 539"/>
                  <a:gd name="T17" fmla="*/ 60 h 360"/>
                  <a:gd name="T18" fmla="*/ 539 w 539"/>
                  <a:gd name="T1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360">
                    <a:moveTo>
                      <a:pt x="90" y="360"/>
                    </a:moveTo>
                    <a:lnTo>
                      <a:pt x="60" y="150"/>
                    </a:lnTo>
                    <a:lnTo>
                      <a:pt x="0" y="0"/>
                    </a:lnTo>
                    <a:lnTo>
                      <a:pt x="210" y="90"/>
                    </a:lnTo>
                    <a:lnTo>
                      <a:pt x="360" y="180"/>
                    </a:lnTo>
                    <a:lnTo>
                      <a:pt x="270" y="270"/>
                    </a:lnTo>
                    <a:lnTo>
                      <a:pt x="450" y="330"/>
                    </a:lnTo>
                    <a:lnTo>
                      <a:pt x="509" y="210"/>
                    </a:lnTo>
                    <a:lnTo>
                      <a:pt x="360" y="60"/>
                    </a:lnTo>
                    <a:lnTo>
                      <a:pt x="53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24" name="Freeform 2513">
                <a:extLst>
                  <a:ext uri="{FF2B5EF4-FFF2-40B4-BE49-F238E27FC236}">
                    <a16:creationId xmlns:a16="http://schemas.microsoft.com/office/drawing/2014/main" id="{B7FE7D6A-C07A-4C29-8501-7526109E2605}"/>
                  </a:ext>
                </a:extLst>
              </p:cNvPr>
              <p:cNvSpPr>
                <a:spLocks/>
              </p:cNvSpPr>
              <p:nvPr/>
            </p:nvSpPr>
            <p:spPr bwMode="auto">
              <a:xfrm>
                <a:off x="1456" y="3120"/>
                <a:ext cx="360" cy="90"/>
              </a:xfrm>
              <a:custGeom>
                <a:avLst/>
                <a:gdLst>
                  <a:gd name="T0" fmla="*/ 360 w 360"/>
                  <a:gd name="T1" fmla="*/ 90 h 90"/>
                  <a:gd name="T2" fmla="*/ 90 w 360"/>
                  <a:gd name="T3" fmla="*/ 30 h 90"/>
                  <a:gd name="T4" fmla="*/ 0 w 360"/>
                  <a:gd name="T5" fmla="*/ 0 h 90"/>
                </a:gdLst>
                <a:ahLst/>
                <a:cxnLst>
                  <a:cxn ang="0">
                    <a:pos x="T0" y="T1"/>
                  </a:cxn>
                  <a:cxn ang="0">
                    <a:pos x="T2" y="T3"/>
                  </a:cxn>
                  <a:cxn ang="0">
                    <a:pos x="T4" y="T5"/>
                  </a:cxn>
                </a:cxnLst>
                <a:rect l="0" t="0" r="r" b="b"/>
                <a:pathLst>
                  <a:path w="360" h="90">
                    <a:moveTo>
                      <a:pt x="360" y="90"/>
                    </a:moveTo>
                    <a:lnTo>
                      <a:pt x="9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25" name="Freeform 2514">
                <a:extLst>
                  <a:ext uri="{FF2B5EF4-FFF2-40B4-BE49-F238E27FC236}">
                    <a16:creationId xmlns:a16="http://schemas.microsoft.com/office/drawing/2014/main" id="{AD7F05CC-6F18-499D-8B88-DAA8A4AE699C}"/>
                  </a:ext>
                </a:extLst>
              </p:cNvPr>
              <p:cNvSpPr>
                <a:spLocks/>
              </p:cNvSpPr>
              <p:nvPr/>
            </p:nvSpPr>
            <p:spPr bwMode="auto">
              <a:xfrm>
                <a:off x="1306" y="2820"/>
                <a:ext cx="270" cy="240"/>
              </a:xfrm>
              <a:custGeom>
                <a:avLst/>
                <a:gdLst>
                  <a:gd name="T0" fmla="*/ 30 w 270"/>
                  <a:gd name="T1" fmla="*/ 240 h 240"/>
                  <a:gd name="T2" fmla="*/ 0 w 270"/>
                  <a:gd name="T3" fmla="*/ 90 h 240"/>
                  <a:gd name="T4" fmla="*/ 270 w 270"/>
                  <a:gd name="T5" fmla="*/ 0 h 240"/>
                </a:gdLst>
                <a:ahLst/>
                <a:cxnLst>
                  <a:cxn ang="0">
                    <a:pos x="T0" y="T1"/>
                  </a:cxn>
                  <a:cxn ang="0">
                    <a:pos x="T2" y="T3"/>
                  </a:cxn>
                  <a:cxn ang="0">
                    <a:pos x="T4" y="T5"/>
                  </a:cxn>
                </a:cxnLst>
                <a:rect l="0" t="0" r="r" b="b"/>
                <a:pathLst>
                  <a:path w="270" h="240">
                    <a:moveTo>
                      <a:pt x="30" y="240"/>
                    </a:moveTo>
                    <a:lnTo>
                      <a:pt x="0" y="90"/>
                    </a:lnTo>
                    <a:lnTo>
                      <a:pt x="27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26" name="Freeform 2515">
                <a:extLst>
                  <a:ext uri="{FF2B5EF4-FFF2-40B4-BE49-F238E27FC236}">
                    <a16:creationId xmlns:a16="http://schemas.microsoft.com/office/drawing/2014/main" id="{D56011FC-231A-4F65-893E-058D81B5528E}"/>
                  </a:ext>
                </a:extLst>
              </p:cNvPr>
              <p:cNvSpPr>
                <a:spLocks/>
              </p:cNvSpPr>
              <p:nvPr/>
            </p:nvSpPr>
            <p:spPr bwMode="auto">
              <a:xfrm>
                <a:off x="1486" y="2490"/>
                <a:ext cx="210" cy="240"/>
              </a:xfrm>
              <a:custGeom>
                <a:avLst/>
                <a:gdLst>
                  <a:gd name="T0" fmla="*/ 0 w 210"/>
                  <a:gd name="T1" fmla="*/ 240 h 240"/>
                  <a:gd name="T2" fmla="*/ 150 w 210"/>
                  <a:gd name="T3" fmla="*/ 210 h 240"/>
                  <a:gd name="T4" fmla="*/ 120 w 210"/>
                  <a:gd name="T5" fmla="*/ 0 h 240"/>
                  <a:gd name="T6" fmla="*/ 210 w 210"/>
                  <a:gd name="T7" fmla="*/ 60 h 240"/>
                </a:gdLst>
                <a:ahLst/>
                <a:cxnLst>
                  <a:cxn ang="0">
                    <a:pos x="T0" y="T1"/>
                  </a:cxn>
                  <a:cxn ang="0">
                    <a:pos x="T2" y="T3"/>
                  </a:cxn>
                  <a:cxn ang="0">
                    <a:pos x="T4" y="T5"/>
                  </a:cxn>
                  <a:cxn ang="0">
                    <a:pos x="T6" y="T7"/>
                  </a:cxn>
                </a:cxnLst>
                <a:rect l="0" t="0" r="r" b="b"/>
                <a:pathLst>
                  <a:path w="210" h="240">
                    <a:moveTo>
                      <a:pt x="0" y="240"/>
                    </a:moveTo>
                    <a:lnTo>
                      <a:pt x="150" y="210"/>
                    </a:lnTo>
                    <a:lnTo>
                      <a:pt x="120" y="0"/>
                    </a:lnTo>
                    <a:lnTo>
                      <a:pt x="21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27" name="Freeform 2516">
                <a:extLst>
                  <a:ext uri="{FF2B5EF4-FFF2-40B4-BE49-F238E27FC236}">
                    <a16:creationId xmlns:a16="http://schemas.microsoft.com/office/drawing/2014/main" id="{F408D078-7200-44BE-B12B-F70593C6D5C4}"/>
                  </a:ext>
                </a:extLst>
              </p:cNvPr>
              <p:cNvSpPr>
                <a:spLocks/>
              </p:cNvSpPr>
              <p:nvPr/>
            </p:nvSpPr>
            <p:spPr bwMode="auto">
              <a:xfrm>
                <a:off x="1276" y="2190"/>
                <a:ext cx="510" cy="630"/>
              </a:xfrm>
              <a:custGeom>
                <a:avLst/>
                <a:gdLst>
                  <a:gd name="T0" fmla="*/ 270 w 510"/>
                  <a:gd name="T1" fmla="*/ 450 h 630"/>
                  <a:gd name="T2" fmla="*/ 0 w 510"/>
                  <a:gd name="T3" fmla="*/ 390 h 630"/>
                  <a:gd name="T4" fmla="*/ 30 w 510"/>
                  <a:gd name="T5" fmla="*/ 300 h 630"/>
                  <a:gd name="T6" fmla="*/ 210 w 510"/>
                  <a:gd name="T7" fmla="*/ 330 h 630"/>
                  <a:gd name="T8" fmla="*/ 150 w 510"/>
                  <a:gd name="T9" fmla="*/ 120 h 630"/>
                  <a:gd name="T10" fmla="*/ 90 w 510"/>
                  <a:gd name="T11" fmla="*/ 210 h 630"/>
                  <a:gd name="T12" fmla="*/ 60 w 510"/>
                  <a:gd name="T13" fmla="*/ 120 h 630"/>
                  <a:gd name="T14" fmla="*/ 180 w 510"/>
                  <a:gd name="T15" fmla="*/ 0 h 630"/>
                  <a:gd name="T16" fmla="*/ 300 w 510"/>
                  <a:gd name="T17" fmla="*/ 120 h 630"/>
                  <a:gd name="T18" fmla="*/ 510 w 510"/>
                  <a:gd name="T19" fmla="*/ 150 h 630"/>
                  <a:gd name="T20" fmla="*/ 330 w 510"/>
                  <a:gd name="T21" fmla="*/ 300 h 630"/>
                  <a:gd name="T22" fmla="*/ 270 w 510"/>
                  <a:gd name="T23" fmla="*/ 450 h 630"/>
                  <a:gd name="T24" fmla="*/ 30 w 510"/>
                  <a:gd name="T25" fmla="*/ 510 h 630"/>
                  <a:gd name="T26" fmla="*/ 300 w 510"/>
                  <a:gd name="T27" fmla="*/ 120 h 630"/>
                  <a:gd name="T28" fmla="*/ 30 w 510"/>
                  <a:gd name="T29" fmla="*/ 300 h 630"/>
                  <a:gd name="T30" fmla="*/ 90 w 510"/>
                  <a:gd name="T31" fmla="*/ 210 h 630"/>
                  <a:gd name="T32" fmla="*/ 330 w 510"/>
                  <a:gd name="T33" fmla="*/ 300 h 630"/>
                  <a:gd name="T34" fmla="*/ 210 w 510"/>
                  <a:gd name="T35" fmla="*/ 330 h 630"/>
                  <a:gd name="T36" fmla="*/ 270 w 510"/>
                  <a:gd name="T37" fmla="*/ 450 h 630"/>
                  <a:gd name="T38" fmla="*/ 210 w 510"/>
                  <a:gd name="T39" fmla="*/ 540 h 630"/>
                  <a:gd name="T40" fmla="*/ 90 w 510"/>
                  <a:gd name="T41"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0" h="630">
                    <a:moveTo>
                      <a:pt x="270" y="450"/>
                    </a:moveTo>
                    <a:lnTo>
                      <a:pt x="0" y="390"/>
                    </a:lnTo>
                    <a:lnTo>
                      <a:pt x="30" y="300"/>
                    </a:lnTo>
                    <a:lnTo>
                      <a:pt x="210" y="330"/>
                    </a:lnTo>
                    <a:lnTo>
                      <a:pt x="150" y="120"/>
                    </a:lnTo>
                    <a:lnTo>
                      <a:pt x="90" y="210"/>
                    </a:lnTo>
                    <a:lnTo>
                      <a:pt x="60" y="120"/>
                    </a:lnTo>
                    <a:lnTo>
                      <a:pt x="180" y="0"/>
                    </a:lnTo>
                    <a:lnTo>
                      <a:pt x="300" y="120"/>
                    </a:lnTo>
                    <a:lnTo>
                      <a:pt x="510" y="150"/>
                    </a:lnTo>
                    <a:lnTo>
                      <a:pt x="330" y="300"/>
                    </a:lnTo>
                    <a:lnTo>
                      <a:pt x="270" y="450"/>
                    </a:lnTo>
                    <a:lnTo>
                      <a:pt x="30" y="510"/>
                    </a:lnTo>
                    <a:lnTo>
                      <a:pt x="300" y="120"/>
                    </a:lnTo>
                    <a:lnTo>
                      <a:pt x="30" y="300"/>
                    </a:lnTo>
                    <a:lnTo>
                      <a:pt x="90" y="210"/>
                    </a:lnTo>
                    <a:lnTo>
                      <a:pt x="330" y="300"/>
                    </a:lnTo>
                    <a:lnTo>
                      <a:pt x="210" y="330"/>
                    </a:lnTo>
                    <a:lnTo>
                      <a:pt x="270" y="450"/>
                    </a:lnTo>
                    <a:lnTo>
                      <a:pt x="210" y="540"/>
                    </a:lnTo>
                    <a:lnTo>
                      <a:pt x="90" y="6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28" name="Freeform 2517">
                <a:extLst>
                  <a:ext uri="{FF2B5EF4-FFF2-40B4-BE49-F238E27FC236}">
                    <a16:creationId xmlns:a16="http://schemas.microsoft.com/office/drawing/2014/main" id="{5709CBE7-662C-4D12-AE0B-F37BE4E150F3}"/>
                  </a:ext>
                </a:extLst>
              </p:cNvPr>
              <p:cNvSpPr>
                <a:spLocks/>
              </p:cNvSpPr>
              <p:nvPr/>
            </p:nvSpPr>
            <p:spPr bwMode="auto">
              <a:xfrm>
                <a:off x="1576" y="2190"/>
                <a:ext cx="420" cy="480"/>
              </a:xfrm>
              <a:custGeom>
                <a:avLst/>
                <a:gdLst>
                  <a:gd name="T0" fmla="*/ 420 w 420"/>
                  <a:gd name="T1" fmla="*/ 150 h 480"/>
                  <a:gd name="T2" fmla="*/ 120 w 420"/>
                  <a:gd name="T3" fmla="*/ 0 h 480"/>
                  <a:gd name="T4" fmla="*/ 0 w 420"/>
                  <a:gd name="T5" fmla="*/ 120 h 480"/>
                  <a:gd name="T6" fmla="*/ 240 w 420"/>
                  <a:gd name="T7" fmla="*/ 300 h 480"/>
                  <a:gd name="T8" fmla="*/ 120 w 420"/>
                  <a:gd name="T9" fmla="*/ 360 h 480"/>
                  <a:gd name="T10" fmla="*/ 210 w 420"/>
                  <a:gd name="T11" fmla="*/ 480 h 480"/>
                </a:gdLst>
                <a:ahLst/>
                <a:cxnLst>
                  <a:cxn ang="0">
                    <a:pos x="T0" y="T1"/>
                  </a:cxn>
                  <a:cxn ang="0">
                    <a:pos x="T2" y="T3"/>
                  </a:cxn>
                  <a:cxn ang="0">
                    <a:pos x="T4" y="T5"/>
                  </a:cxn>
                  <a:cxn ang="0">
                    <a:pos x="T6" y="T7"/>
                  </a:cxn>
                  <a:cxn ang="0">
                    <a:pos x="T8" y="T9"/>
                  </a:cxn>
                  <a:cxn ang="0">
                    <a:pos x="T10" y="T11"/>
                  </a:cxn>
                </a:cxnLst>
                <a:rect l="0" t="0" r="r" b="b"/>
                <a:pathLst>
                  <a:path w="420" h="480">
                    <a:moveTo>
                      <a:pt x="420" y="150"/>
                    </a:moveTo>
                    <a:lnTo>
                      <a:pt x="120" y="0"/>
                    </a:lnTo>
                    <a:lnTo>
                      <a:pt x="0" y="120"/>
                    </a:lnTo>
                    <a:lnTo>
                      <a:pt x="240" y="300"/>
                    </a:lnTo>
                    <a:lnTo>
                      <a:pt x="120" y="360"/>
                    </a:lnTo>
                    <a:lnTo>
                      <a:pt x="210" y="4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29" name="Freeform 2518">
                <a:extLst>
                  <a:ext uri="{FF2B5EF4-FFF2-40B4-BE49-F238E27FC236}">
                    <a16:creationId xmlns:a16="http://schemas.microsoft.com/office/drawing/2014/main" id="{354420E3-99C4-4AFE-80BA-483FA3699A4F}"/>
                  </a:ext>
                </a:extLst>
              </p:cNvPr>
              <p:cNvSpPr>
                <a:spLocks/>
              </p:cNvSpPr>
              <p:nvPr/>
            </p:nvSpPr>
            <p:spPr bwMode="auto">
              <a:xfrm>
                <a:off x="1336" y="1620"/>
                <a:ext cx="420" cy="690"/>
              </a:xfrm>
              <a:custGeom>
                <a:avLst/>
                <a:gdLst>
                  <a:gd name="T0" fmla="*/ 240 w 420"/>
                  <a:gd name="T1" fmla="*/ 690 h 690"/>
                  <a:gd name="T2" fmla="*/ 210 w 420"/>
                  <a:gd name="T3" fmla="*/ 540 h 690"/>
                  <a:gd name="T4" fmla="*/ 150 w 420"/>
                  <a:gd name="T5" fmla="*/ 270 h 690"/>
                  <a:gd name="T6" fmla="*/ 60 w 420"/>
                  <a:gd name="T7" fmla="*/ 0 h 690"/>
                  <a:gd name="T8" fmla="*/ 0 w 420"/>
                  <a:gd name="T9" fmla="*/ 180 h 690"/>
                  <a:gd name="T10" fmla="*/ 150 w 420"/>
                  <a:gd name="T11" fmla="*/ 270 h 690"/>
                  <a:gd name="T12" fmla="*/ 330 w 420"/>
                  <a:gd name="T13" fmla="*/ 390 h 690"/>
                  <a:gd name="T14" fmla="*/ 270 w 420"/>
                  <a:gd name="T15" fmla="*/ 180 h 690"/>
                  <a:gd name="T16" fmla="*/ 420 w 420"/>
                  <a:gd name="T17" fmla="*/ 30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690">
                    <a:moveTo>
                      <a:pt x="240" y="690"/>
                    </a:moveTo>
                    <a:lnTo>
                      <a:pt x="210" y="540"/>
                    </a:lnTo>
                    <a:lnTo>
                      <a:pt x="150" y="270"/>
                    </a:lnTo>
                    <a:lnTo>
                      <a:pt x="60" y="0"/>
                    </a:lnTo>
                    <a:lnTo>
                      <a:pt x="0" y="180"/>
                    </a:lnTo>
                    <a:lnTo>
                      <a:pt x="150" y="270"/>
                    </a:lnTo>
                    <a:lnTo>
                      <a:pt x="330" y="390"/>
                    </a:lnTo>
                    <a:lnTo>
                      <a:pt x="270" y="180"/>
                    </a:lnTo>
                    <a:lnTo>
                      <a:pt x="42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30" name="Freeform 2519">
                <a:extLst>
                  <a:ext uri="{FF2B5EF4-FFF2-40B4-BE49-F238E27FC236}">
                    <a16:creationId xmlns:a16="http://schemas.microsoft.com/office/drawing/2014/main" id="{37A4CDDC-561B-4CD3-8A04-09AA347C135B}"/>
                  </a:ext>
                </a:extLst>
              </p:cNvPr>
              <p:cNvSpPr>
                <a:spLocks/>
              </p:cNvSpPr>
              <p:nvPr/>
            </p:nvSpPr>
            <p:spPr bwMode="auto">
              <a:xfrm>
                <a:off x="1666" y="2010"/>
                <a:ext cx="420" cy="180"/>
              </a:xfrm>
              <a:custGeom>
                <a:avLst/>
                <a:gdLst>
                  <a:gd name="T0" fmla="*/ 210 w 420"/>
                  <a:gd name="T1" fmla="*/ 150 h 180"/>
                  <a:gd name="T2" fmla="*/ 0 w 420"/>
                  <a:gd name="T3" fmla="*/ 0 h 180"/>
                  <a:gd name="T4" fmla="*/ 30 w 420"/>
                  <a:gd name="T5" fmla="*/ 180 h 180"/>
                  <a:gd name="T6" fmla="*/ 243 w 420"/>
                  <a:gd name="T7" fmla="*/ 3 h 180"/>
                  <a:gd name="T8" fmla="*/ 390 w 420"/>
                  <a:gd name="T9" fmla="*/ 120 h 180"/>
                  <a:gd name="T10" fmla="*/ 420 w 420"/>
                  <a:gd name="T11" fmla="*/ 0 h 180"/>
                </a:gdLst>
                <a:ahLst/>
                <a:cxnLst>
                  <a:cxn ang="0">
                    <a:pos x="T0" y="T1"/>
                  </a:cxn>
                  <a:cxn ang="0">
                    <a:pos x="T2" y="T3"/>
                  </a:cxn>
                  <a:cxn ang="0">
                    <a:pos x="T4" y="T5"/>
                  </a:cxn>
                  <a:cxn ang="0">
                    <a:pos x="T6" y="T7"/>
                  </a:cxn>
                  <a:cxn ang="0">
                    <a:pos x="T8" y="T9"/>
                  </a:cxn>
                  <a:cxn ang="0">
                    <a:pos x="T10" y="T11"/>
                  </a:cxn>
                </a:cxnLst>
                <a:rect l="0" t="0" r="r" b="b"/>
                <a:pathLst>
                  <a:path w="420" h="180">
                    <a:moveTo>
                      <a:pt x="210" y="150"/>
                    </a:moveTo>
                    <a:lnTo>
                      <a:pt x="0" y="0"/>
                    </a:lnTo>
                    <a:lnTo>
                      <a:pt x="30" y="180"/>
                    </a:lnTo>
                    <a:lnTo>
                      <a:pt x="243" y="3"/>
                    </a:lnTo>
                    <a:lnTo>
                      <a:pt x="390" y="12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31" name="Line 2520">
                <a:extLst>
                  <a:ext uri="{FF2B5EF4-FFF2-40B4-BE49-F238E27FC236}">
                    <a16:creationId xmlns:a16="http://schemas.microsoft.com/office/drawing/2014/main" id="{55D3A273-7976-4321-ADC2-6CC1D1432F59}"/>
                  </a:ext>
                </a:extLst>
              </p:cNvPr>
              <p:cNvSpPr>
                <a:spLocks noChangeShapeType="1"/>
              </p:cNvSpPr>
              <p:nvPr/>
            </p:nvSpPr>
            <p:spPr bwMode="auto">
              <a:xfrm>
                <a:off x="1696" y="2190"/>
                <a:ext cx="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32" name="Line 2521">
                <a:extLst>
                  <a:ext uri="{FF2B5EF4-FFF2-40B4-BE49-F238E27FC236}">
                    <a16:creationId xmlns:a16="http://schemas.microsoft.com/office/drawing/2014/main" id="{9D4F8BA0-7ABB-4CBD-9424-051A138A15CE}"/>
                  </a:ext>
                </a:extLst>
              </p:cNvPr>
              <p:cNvSpPr>
                <a:spLocks noChangeShapeType="1"/>
              </p:cNvSpPr>
              <p:nvPr/>
            </p:nvSpPr>
            <p:spPr bwMode="auto">
              <a:xfrm flipH="1" flipV="1">
                <a:off x="1426" y="2310"/>
                <a:ext cx="39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33" name="Freeform 2522">
                <a:extLst>
                  <a:ext uri="{FF2B5EF4-FFF2-40B4-BE49-F238E27FC236}">
                    <a16:creationId xmlns:a16="http://schemas.microsoft.com/office/drawing/2014/main" id="{633F8ACE-7940-42AB-B798-5DC9B879871D}"/>
                  </a:ext>
                </a:extLst>
              </p:cNvPr>
              <p:cNvSpPr>
                <a:spLocks/>
              </p:cNvSpPr>
              <p:nvPr/>
            </p:nvSpPr>
            <p:spPr bwMode="auto">
              <a:xfrm>
                <a:off x="1276" y="1950"/>
                <a:ext cx="180" cy="360"/>
              </a:xfrm>
              <a:custGeom>
                <a:avLst/>
                <a:gdLst>
                  <a:gd name="T0" fmla="*/ 180 w 180"/>
                  <a:gd name="T1" fmla="*/ 240 h 360"/>
                  <a:gd name="T2" fmla="*/ 0 w 180"/>
                  <a:gd name="T3" fmla="*/ 210 h 360"/>
                  <a:gd name="T4" fmla="*/ 60 w 180"/>
                  <a:gd name="T5" fmla="*/ 360 h 360"/>
                  <a:gd name="T6" fmla="*/ 180 w 180"/>
                  <a:gd name="T7" fmla="*/ 90 h 360"/>
                  <a:gd name="T8" fmla="*/ 90 w 180"/>
                  <a:gd name="T9" fmla="*/ 0 h 360"/>
                </a:gdLst>
                <a:ahLst/>
                <a:cxnLst>
                  <a:cxn ang="0">
                    <a:pos x="T0" y="T1"/>
                  </a:cxn>
                  <a:cxn ang="0">
                    <a:pos x="T2" y="T3"/>
                  </a:cxn>
                  <a:cxn ang="0">
                    <a:pos x="T4" y="T5"/>
                  </a:cxn>
                  <a:cxn ang="0">
                    <a:pos x="T6" y="T7"/>
                  </a:cxn>
                  <a:cxn ang="0">
                    <a:pos x="T8" y="T9"/>
                  </a:cxn>
                </a:cxnLst>
                <a:rect l="0" t="0" r="r" b="b"/>
                <a:pathLst>
                  <a:path w="180" h="360">
                    <a:moveTo>
                      <a:pt x="180" y="240"/>
                    </a:moveTo>
                    <a:lnTo>
                      <a:pt x="0" y="210"/>
                    </a:lnTo>
                    <a:lnTo>
                      <a:pt x="60" y="360"/>
                    </a:lnTo>
                    <a:lnTo>
                      <a:pt x="180" y="90"/>
                    </a:lnTo>
                    <a:lnTo>
                      <a:pt x="9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34" name="Line 2523">
                <a:extLst>
                  <a:ext uri="{FF2B5EF4-FFF2-40B4-BE49-F238E27FC236}">
                    <a16:creationId xmlns:a16="http://schemas.microsoft.com/office/drawing/2014/main" id="{FAE5ED8C-2B67-4AA2-8187-9F9EFE2125BC}"/>
                  </a:ext>
                </a:extLst>
              </p:cNvPr>
              <p:cNvSpPr>
                <a:spLocks noChangeShapeType="1"/>
              </p:cNvSpPr>
              <p:nvPr/>
            </p:nvSpPr>
            <p:spPr bwMode="auto">
              <a:xfrm flipV="1">
                <a:off x="1276" y="204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35" name="Freeform 2524">
                <a:extLst>
                  <a:ext uri="{FF2B5EF4-FFF2-40B4-BE49-F238E27FC236}">
                    <a16:creationId xmlns:a16="http://schemas.microsoft.com/office/drawing/2014/main" id="{7C4482DA-292E-4F59-81E8-299CCFFCDBA4}"/>
                  </a:ext>
                </a:extLst>
              </p:cNvPr>
              <p:cNvSpPr>
                <a:spLocks/>
              </p:cNvSpPr>
              <p:nvPr/>
            </p:nvSpPr>
            <p:spPr bwMode="auto">
              <a:xfrm>
                <a:off x="1606" y="1260"/>
                <a:ext cx="180" cy="330"/>
              </a:xfrm>
              <a:custGeom>
                <a:avLst/>
                <a:gdLst>
                  <a:gd name="T0" fmla="*/ 60 w 180"/>
                  <a:gd name="T1" fmla="*/ 0 h 330"/>
                  <a:gd name="T2" fmla="*/ 180 w 180"/>
                  <a:gd name="T3" fmla="*/ 30 h 330"/>
                  <a:gd name="T4" fmla="*/ 0 w 180"/>
                  <a:gd name="T5" fmla="*/ 120 h 330"/>
                  <a:gd name="T6" fmla="*/ 180 w 180"/>
                  <a:gd name="T7" fmla="*/ 330 h 330"/>
                </a:gdLst>
                <a:ahLst/>
                <a:cxnLst>
                  <a:cxn ang="0">
                    <a:pos x="T0" y="T1"/>
                  </a:cxn>
                  <a:cxn ang="0">
                    <a:pos x="T2" y="T3"/>
                  </a:cxn>
                  <a:cxn ang="0">
                    <a:pos x="T4" y="T5"/>
                  </a:cxn>
                  <a:cxn ang="0">
                    <a:pos x="T6" y="T7"/>
                  </a:cxn>
                </a:cxnLst>
                <a:rect l="0" t="0" r="r" b="b"/>
                <a:pathLst>
                  <a:path w="180" h="330">
                    <a:moveTo>
                      <a:pt x="60" y="0"/>
                    </a:moveTo>
                    <a:lnTo>
                      <a:pt x="180" y="30"/>
                    </a:lnTo>
                    <a:lnTo>
                      <a:pt x="0" y="120"/>
                    </a:lnTo>
                    <a:lnTo>
                      <a:pt x="18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36" name="Freeform 2525">
                <a:extLst>
                  <a:ext uri="{FF2B5EF4-FFF2-40B4-BE49-F238E27FC236}">
                    <a16:creationId xmlns:a16="http://schemas.microsoft.com/office/drawing/2014/main" id="{941F5C55-B82E-4F18-87A6-0F7B0F830AEC}"/>
                  </a:ext>
                </a:extLst>
              </p:cNvPr>
              <p:cNvSpPr>
                <a:spLocks/>
              </p:cNvSpPr>
              <p:nvPr/>
            </p:nvSpPr>
            <p:spPr bwMode="auto">
              <a:xfrm>
                <a:off x="1576" y="1530"/>
                <a:ext cx="180" cy="150"/>
              </a:xfrm>
              <a:custGeom>
                <a:avLst/>
                <a:gdLst>
                  <a:gd name="T0" fmla="*/ 60 w 180"/>
                  <a:gd name="T1" fmla="*/ 0 h 150"/>
                  <a:gd name="T2" fmla="*/ 180 w 180"/>
                  <a:gd name="T3" fmla="*/ 150 h 150"/>
                  <a:gd name="T4" fmla="*/ 0 w 180"/>
                  <a:gd name="T5" fmla="*/ 150 h 150"/>
                </a:gdLst>
                <a:ahLst/>
                <a:cxnLst>
                  <a:cxn ang="0">
                    <a:pos x="T0" y="T1"/>
                  </a:cxn>
                  <a:cxn ang="0">
                    <a:pos x="T2" y="T3"/>
                  </a:cxn>
                  <a:cxn ang="0">
                    <a:pos x="T4" y="T5"/>
                  </a:cxn>
                </a:cxnLst>
                <a:rect l="0" t="0" r="r" b="b"/>
                <a:pathLst>
                  <a:path w="180" h="150">
                    <a:moveTo>
                      <a:pt x="60" y="0"/>
                    </a:moveTo>
                    <a:lnTo>
                      <a:pt x="180" y="15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37" name="Freeform 2526">
                <a:extLst>
                  <a:ext uri="{FF2B5EF4-FFF2-40B4-BE49-F238E27FC236}">
                    <a16:creationId xmlns:a16="http://schemas.microsoft.com/office/drawing/2014/main" id="{4568AD27-4896-4288-9782-2E93684E6A66}"/>
                  </a:ext>
                </a:extLst>
              </p:cNvPr>
              <p:cNvSpPr>
                <a:spLocks/>
              </p:cNvSpPr>
              <p:nvPr/>
            </p:nvSpPr>
            <p:spPr bwMode="auto">
              <a:xfrm>
                <a:off x="1276" y="1110"/>
                <a:ext cx="690" cy="300"/>
              </a:xfrm>
              <a:custGeom>
                <a:avLst/>
                <a:gdLst>
                  <a:gd name="T0" fmla="*/ 330 w 690"/>
                  <a:gd name="T1" fmla="*/ 270 h 300"/>
                  <a:gd name="T2" fmla="*/ 240 w 690"/>
                  <a:gd name="T3" fmla="*/ 150 h 300"/>
                  <a:gd name="T4" fmla="*/ 180 w 690"/>
                  <a:gd name="T5" fmla="*/ 300 h 300"/>
                  <a:gd name="T6" fmla="*/ 0 w 690"/>
                  <a:gd name="T7" fmla="*/ 210 h 300"/>
                  <a:gd name="T8" fmla="*/ 60 w 690"/>
                  <a:gd name="T9" fmla="*/ 90 h 300"/>
                  <a:gd name="T10" fmla="*/ 240 w 690"/>
                  <a:gd name="T11" fmla="*/ 150 h 300"/>
                  <a:gd name="T12" fmla="*/ 360 w 690"/>
                  <a:gd name="T13" fmla="*/ 30 h 300"/>
                  <a:gd name="T14" fmla="*/ 390 w 690"/>
                  <a:gd name="T15" fmla="*/ 150 h 300"/>
                  <a:gd name="T16" fmla="*/ 480 w 690"/>
                  <a:gd name="T17" fmla="*/ 30 h 300"/>
                  <a:gd name="T18" fmla="*/ 690 w 690"/>
                  <a:gd name="T19" fmla="*/ 120 h 300"/>
                  <a:gd name="T20" fmla="*/ 600 w 690"/>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300">
                    <a:moveTo>
                      <a:pt x="330" y="270"/>
                    </a:moveTo>
                    <a:lnTo>
                      <a:pt x="240" y="150"/>
                    </a:lnTo>
                    <a:lnTo>
                      <a:pt x="180" y="300"/>
                    </a:lnTo>
                    <a:lnTo>
                      <a:pt x="0" y="210"/>
                    </a:lnTo>
                    <a:lnTo>
                      <a:pt x="60" y="90"/>
                    </a:lnTo>
                    <a:lnTo>
                      <a:pt x="240" y="150"/>
                    </a:lnTo>
                    <a:lnTo>
                      <a:pt x="360" y="30"/>
                    </a:lnTo>
                    <a:lnTo>
                      <a:pt x="390" y="150"/>
                    </a:lnTo>
                    <a:lnTo>
                      <a:pt x="480" y="30"/>
                    </a:lnTo>
                    <a:lnTo>
                      <a:pt x="690" y="120"/>
                    </a:lnTo>
                    <a:lnTo>
                      <a:pt x="60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38" name="Freeform 2527">
                <a:extLst>
                  <a:ext uri="{FF2B5EF4-FFF2-40B4-BE49-F238E27FC236}">
                    <a16:creationId xmlns:a16="http://schemas.microsoft.com/office/drawing/2014/main" id="{25847310-7E94-4C50-9437-764091E5C745}"/>
                  </a:ext>
                </a:extLst>
              </p:cNvPr>
              <p:cNvSpPr>
                <a:spLocks/>
              </p:cNvSpPr>
              <p:nvPr/>
            </p:nvSpPr>
            <p:spPr bwMode="auto">
              <a:xfrm>
                <a:off x="1276" y="600"/>
                <a:ext cx="480" cy="600"/>
              </a:xfrm>
              <a:custGeom>
                <a:avLst/>
                <a:gdLst>
                  <a:gd name="T0" fmla="*/ 60 w 480"/>
                  <a:gd name="T1" fmla="*/ 480 h 600"/>
                  <a:gd name="T2" fmla="*/ 180 w 480"/>
                  <a:gd name="T3" fmla="*/ 540 h 600"/>
                  <a:gd name="T4" fmla="*/ 300 w 480"/>
                  <a:gd name="T5" fmla="*/ 420 h 600"/>
                  <a:gd name="T6" fmla="*/ 330 w 480"/>
                  <a:gd name="T7" fmla="*/ 180 h 600"/>
                  <a:gd name="T8" fmla="*/ 390 w 480"/>
                  <a:gd name="T9" fmla="*/ 300 h 600"/>
                  <a:gd name="T10" fmla="*/ 480 w 480"/>
                  <a:gd name="T11" fmla="*/ 210 h 600"/>
                  <a:gd name="T12" fmla="*/ 420 w 480"/>
                  <a:gd name="T13" fmla="*/ 60 h 600"/>
                  <a:gd name="T14" fmla="*/ 300 w 480"/>
                  <a:gd name="T15" fmla="*/ 60 h 600"/>
                  <a:gd name="T16" fmla="*/ 210 w 480"/>
                  <a:gd name="T17" fmla="*/ 0 h 600"/>
                  <a:gd name="T18" fmla="*/ 150 w 480"/>
                  <a:gd name="T19" fmla="*/ 90 h 600"/>
                  <a:gd name="T20" fmla="*/ 180 w 480"/>
                  <a:gd name="T21" fmla="*/ 270 h 600"/>
                  <a:gd name="T22" fmla="*/ 30 w 480"/>
                  <a:gd name="T23" fmla="*/ 150 h 600"/>
                  <a:gd name="T24" fmla="*/ 0 w 480"/>
                  <a:gd name="T25" fmla="*/ 300 h 600"/>
                  <a:gd name="T26" fmla="*/ 120 w 480"/>
                  <a:gd name="T27" fmla="*/ 390 h 600"/>
                  <a:gd name="T28" fmla="*/ 60 w 480"/>
                  <a:gd name="T29" fmla="*/ 480 h 600"/>
                  <a:gd name="T30" fmla="*/ 60 w 480"/>
                  <a:gd name="T3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0" h="600">
                    <a:moveTo>
                      <a:pt x="60" y="480"/>
                    </a:moveTo>
                    <a:lnTo>
                      <a:pt x="180" y="540"/>
                    </a:lnTo>
                    <a:lnTo>
                      <a:pt x="300" y="420"/>
                    </a:lnTo>
                    <a:lnTo>
                      <a:pt x="330" y="180"/>
                    </a:lnTo>
                    <a:lnTo>
                      <a:pt x="390" y="300"/>
                    </a:lnTo>
                    <a:lnTo>
                      <a:pt x="480" y="210"/>
                    </a:lnTo>
                    <a:lnTo>
                      <a:pt x="420" y="60"/>
                    </a:lnTo>
                    <a:lnTo>
                      <a:pt x="300" y="60"/>
                    </a:lnTo>
                    <a:lnTo>
                      <a:pt x="210" y="0"/>
                    </a:lnTo>
                    <a:lnTo>
                      <a:pt x="150" y="90"/>
                    </a:lnTo>
                    <a:lnTo>
                      <a:pt x="180" y="270"/>
                    </a:lnTo>
                    <a:lnTo>
                      <a:pt x="30" y="150"/>
                    </a:lnTo>
                    <a:lnTo>
                      <a:pt x="0" y="300"/>
                    </a:lnTo>
                    <a:lnTo>
                      <a:pt x="120" y="390"/>
                    </a:lnTo>
                    <a:lnTo>
                      <a:pt x="60" y="480"/>
                    </a:lnTo>
                    <a:lnTo>
                      <a:pt x="60" y="6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39" name="Freeform 2528">
                <a:extLst>
                  <a:ext uri="{FF2B5EF4-FFF2-40B4-BE49-F238E27FC236}">
                    <a16:creationId xmlns:a16="http://schemas.microsoft.com/office/drawing/2014/main" id="{A7545D2F-E4DF-4F0C-AD9B-28321A7E070A}"/>
                  </a:ext>
                </a:extLst>
              </p:cNvPr>
              <p:cNvSpPr>
                <a:spLocks/>
              </p:cNvSpPr>
              <p:nvPr/>
            </p:nvSpPr>
            <p:spPr bwMode="auto">
              <a:xfrm>
                <a:off x="1336" y="450"/>
                <a:ext cx="90" cy="240"/>
              </a:xfrm>
              <a:custGeom>
                <a:avLst/>
                <a:gdLst>
                  <a:gd name="T0" fmla="*/ 0 w 90"/>
                  <a:gd name="T1" fmla="*/ 120 h 240"/>
                  <a:gd name="T2" fmla="*/ 90 w 90"/>
                  <a:gd name="T3" fmla="*/ 240 h 240"/>
                  <a:gd name="T4" fmla="*/ 60 w 90"/>
                  <a:gd name="T5" fmla="*/ 0 h 240"/>
                </a:gdLst>
                <a:ahLst/>
                <a:cxnLst>
                  <a:cxn ang="0">
                    <a:pos x="T0" y="T1"/>
                  </a:cxn>
                  <a:cxn ang="0">
                    <a:pos x="T2" y="T3"/>
                  </a:cxn>
                  <a:cxn ang="0">
                    <a:pos x="T4" y="T5"/>
                  </a:cxn>
                </a:cxnLst>
                <a:rect l="0" t="0" r="r" b="b"/>
                <a:pathLst>
                  <a:path w="90" h="240">
                    <a:moveTo>
                      <a:pt x="0" y="120"/>
                    </a:moveTo>
                    <a:lnTo>
                      <a:pt x="90" y="24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40" name="Freeform 2529">
                <a:extLst>
                  <a:ext uri="{FF2B5EF4-FFF2-40B4-BE49-F238E27FC236}">
                    <a16:creationId xmlns:a16="http://schemas.microsoft.com/office/drawing/2014/main" id="{099591AD-98FA-4887-B4E4-2B9758E6B709}"/>
                  </a:ext>
                </a:extLst>
              </p:cNvPr>
              <p:cNvSpPr>
                <a:spLocks/>
              </p:cNvSpPr>
              <p:nvPr/>
            </p:nvSpPr>
            <p:spPr bwMode="auto">
              <a:xfrm>
                <a:off x="1426" y="690"/>
                <a:ext cx="180" cy="330"/>
              </a:xfrm>
              <a:custGeom>
                <a:avLst/>
                <a:gdLst>
                  <a:gd name="T0" fmla="*/ 180 w 180"/>
                  <a:gd name="T1" fmla="*/ 90 h 330"/>
                  <a:gd name="T2" fmla="*/ 30 w 180"/>
                  <a:gd name="T3" fmla="*/ 180 h 330"/>
                  <a:gd name="T4" fmla="*/ 150 w 180"/>
                  <a:gd name="T5" fmla="*/ 330 h 330"/>
                  <a:gd name="T6" fmla="*/ 0 w 180"/>
                  <a:gd name="T7" fmla="*/ 0 h 330"/>
                </a:gdLst>
                <a:ahLst/>
                <a:cxnLst>
                  <a:cxn ang="0">
                    <a:pos x="T0" y="T1"/>
                  </a:cxn>
                  <a:cxn ang="0">
                    <a:pos x="T2" y="T3"/>
                  </a:cxn>
                  <a:cxn ang="0">
                    <a:pos x="T4" y="T5"/>
                  </a:cxn>
                  <a:cxn ang="0">
                    <a:pos x="T6" y="T7"/>
                  </a:cxn>
                </a:cxnLst>
                <a:rect l="0" t="0" r="r" b="b"/>
                <a:pathLst>
                  <a:path w="180" h="330">
                    <a:moveTo>
                      <a:pt x="180" y="90"/>
                    </a:moveTo>
                    <a:lnTo>
                      <a:pt x="30" y="180"/>
                    </a:lnTo>
                    <a:lnTo>
                      <a:pt x="15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41" name="Freeform 2530">
                <a:extLst>
                  <a:ext uri="{FF2B5EF4-FFF2-40B4-BE49-F238E27FC236}">
                    <a16:creationId xmlns:a16="http://schemas.microsoft.com/office/drawing/2014/main" id="{73D51C8C-7161-4667-B936-D9E2870744A6}"/>
                  </a:ext>
                </a:extLst>
              </p:cNvPr>
              <p:cNvSpPr>
                <a:spLocks/>
              </p:cNvSpPr>
              <p:nvPr/>
            </p:nvSpPr>
            <p:spPr bwMode="auto">
              <a:xfrm>
                <a:off x="1576" y="900"/>
                <a:ext cx="210" cy="240"/>
              </a:xfrm>
              <a:custGeom>
                <a:avLst/>
                <a:gdLst>
                  <a:gd name="T0" fmla="*/ 90 w 210"/>
                  <a:gd name="T1" fmla="*/ 0 h 240"/>
                  <a:gd name="T2" fmla="*/ 60 w 210"/>
                  <a:gd name="T3" fmla="*/ 240 h 240"/>
                  <a:gd name="T4" fmla="*/ 0 w 210"/>
                  <a:gd name="T5" fmla="*/ 120 h 240"/>
                  <a:gd name="T6" fmla="*/ 180 w 210"/>
                  <a:gd name="T7" fmla="*/ 240 h 240"/>
                  <a:gd name="T8" fmla="*/ 210 w 210"/>
                  <a:gd name="T9" fmla="*/ 60 h 240"/>
                  <a:gd name="T10" fmla="*/ 90 w 210"/>
                  <a:gd name="T11" fmla="*/ 0 h 240"/>
                </a:gdLst>
                <a:ahLst/>
                <a:cxnLst>
                  <a:cxn ang="0">
                    <a:pos x="T0" y="T1"/>
                  </a:cxn>
                  <a:cxn ang="0">
                    <a:pos x="T2" y="T3"/>
                  </a:cxn>
                  <a:cxn ang="0">
                    <a:pos x="T4" y="T5"/>
                  </a:cxn>
                  <a:cxn ang="0">
                    <a:pos x="T6" y="T7"/>
                  </a:cxn>
                  <a:cxn ang="0">
                    <a:pos x="T8" y="T9"/>
                  </a:cxn>
                  <a:cxn ang="0">
                    <a:pos x="T10" y="T11"/>
                  </a:cxn>
                </a:cxnLst>
                <a:rect l="0" t="0" r="r" b="b"/>
                <a:pathLst>
                  <a:path w="210" h="240">
                    <a:moveTo>
                      <a:pt x="90" y="0"/>
                    </a:moveTo>
                    <a:lnTo>
                      <a:pt x="60" y="240"/>
                    </a:lnTo>
                    <a:lnTo>
                      <a:pt x="0" y="120"/>
                    </a:lnTo>
                    <a:lnTo>
                      <a:pt x="180" y="240"/>
                    </a:lnTo>
                    <a:lnTo>
                      <a:pt x="210" y="6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42" name="Line 2531">
                <a:extLst>
                  <a:ext uri="{FF2B5EF4-FFF2-40B4-BE49-F238E27FC236}">
                    <a16:creationId xmlns:a16="http://schemas.microsoft.com/office/drawing/2014/main" id="{9E32CCDD-2F31-4FB0-B95B-44FC3119C83E}"/>
                  </a:ext>
                </a:extLst>
              </p:cNvPr>
              <p:cNvSpPr>
                <a:spLocks noChangeShapeType="1"/>
              </p:cNvSpPr>
              <p:nvPr/>
            </p:nvSpPr>
            <p:spPr bwMode="auto">
              <a:xfrm flipV="1">
                <a:off x="1576" y="960"/>
                <a:ext cx="21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43" name="Freeform 2532">
                <a:extLst>
                  <a:ext uri="{FF2B5EF4-FFF2-40B4-BE49-F238E27FC236}">
                    <a16:creationId xmlns:a16="http://schemas.microsoft.com/office/drawing/2014/main" id="{0CC01CF7-743A-4172-AC29-D247F576C3D5}"/>
                  </a:ext>
                </a:extLst>
              </p:cNvPr>
              <p:cNvSpPr>
                <a:spLocks/>
              </p:cNvSpPr>
              <p:nvPr/>
            </p:nvSpPr>
            <p:spPr bwMode="auto">
              <a:xfrm>
                <a:off x="1276" y="990"/>
                <a:ext cx="360" cy="330"/>
              </a:xfrm>
              <a:custGeom>
                <a:avLst/>
                <a:gdLst>
                  <a:gd name="T0" fmla="*/ 120 w 360"/>
                  <a:gd name="T1" fmla="*/ 0 h 330"/>
                  <a:gd name="T2" fmla="*/ 360 w 360"/>
                  <a:gd name="T3" fmla="*/ 150 h 330"/>
                  <a:gd name="T4" fmla="*/ 180 w 360"/>
                  <a:gd name="T5" fmla="*/ 150 h 330"/>
                  <a:gd name="T6" fmla="*/ 240 w 360"/>
                  <a:gd name="T7" fmla="*/ 270 h 330"/>
                  <a:gd name="T8" fmla="*/ 0 w 360"/>
                  <a:gd name="T9" fmla="*/ 330 h 330"/>
                </a:gdLst>
                <a:ahLst/>
                <a:cxnLst>
                  <a:cxn ang="0">
                    <a:pos x="T0" y="T1"/>
                  </a:cxn>
                  <a:cxn ang="0">
                    <a:pos x="T2" y="T3"/>
                  </a:cxn>
                  <a:cxn ang="0">
                    <a:pos x="T4" y="T5"/>
                  </a:cxn>
                  <a:cxn ang="0">
                    <a:pos x="T6" y="T7"/>
                  </a:cxn>
                  <a:cxn ang="0">
                    <a:pos x="T8" y="T9"/>
                  </a:cxn>
                </a:cxnLst>
                <a:rect l="0" t="0" r="r" b="b"/>
                <a:pathLst>
                  <a:path w="360" h="330">
                    <a:moveTo>
                      <a:pt x="120" y="0"/>
                    </a:moveTo>
                    <a:lnTo>
                      <a:pt x="360" y="150"/>
                    </a:lnTo>
                    <a:lnTo>
                      <a:pt x="180" y="150"/>
                    </a:lnTo>
                    <a:lnTo>
                      <a:pt x="24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44" name="Line 2533">
                <a:extLst>
                  <a:ext uri="{FF2B5EF4-FFF2-40B4-BE49-F238E27FC236}">
                    <a16:creationId xmlns:a16="http://schemas.microsoft.com/office/drawing/2014/main" id="{2831E7E2-6F39-47E2-AAC0-5284361BA23A}"/>
                  </a:ext>
                </a:extLst>
              </p:cNvPr>
              <p:cNvSpPr>
                <a:spLocks noChangeShapeType="1"/>
              </p:cNvSpPr>
              <p:nvPr/>
            </p:nvSpPr>
            <p:spPr bwMode="auto">
              <a:xfrm flipV="1">
                <a:off x="1336" y="1140"/>
                <a:ext cx="12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45" name="Freeform 2534">
                <a:extLst>
                  <a:ext uri="{FF2B5EF4-FFF2-40B4-BE49-F238E27FC236}">
                    <a16:creationId xmlns:a16="http://schemas.microsoft.com/office/drawing/2014/main" id="{4501E274-7DE6-4D23-B3BB-9C5AEF520AB0}"/>
                  </a:ext>
                </a:extLst>
              </p:cNvPr>
              <p:cNvSpPr>
                <a:spLocks/>
              </p:cNvSpPr>
              <p:nvPr/>
            </p:nvSpPr>
            <p:spPr bwMode="auto">
              <a:xfrm>
                <a:off x="1336" y="1290"/>
                <a:ext cx="450" cy="600"/>
              </a:xfrm>
              <a:custGeom>
                <a:avLst/>
                <a:gdLst>
                  <a:gd name="T0" fmla="*/ 270 w 450"/>
                  <a:gd name="T1" fmla="*/ 510 h 600"/>
                  <a:gd name="T2" fmla="*/ 150 w 450"/>
                  <a:gd name="T3" fmla="*/ 600 h 600"/>
                  <a:gd name="T4" fmla="*/ 270 w 450"/>
                  <a:gd name="T5" fmla="*/ 90 h 600"/>
                  <a:gd name="T6" fmla="*/ 60 w 450"/>
                  <a:gd name="T7" fmla="*/ 330 h 600"/>
                  <a:gd name="T8" fmla="*/ 0 w 450"/>
                  <a:gd name="T9" fmla="*/ 210 h 600"/>
                  <a:gd name="T10" fmla="*/ 120 w 450"/>
                  <a:gd name="T11" fmla="*/ 120 h 600"/>
                  <a:gd name="T12" fmla="*/ 240 w 450"/>
                  <a:gd name="T13" fmla="*/ 390 h 600"/>
                  <a:gd name="T14" fmla="*/ 300 w 450"/>
                  <a:gd name="T15" fmla="*/ 240 h 600"/>
                  <a:gd name="T16" fmla="*/ 450 w 45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 h="600">
                    <a:moveTo>
                      <a:pt x="270" y="510"/>
                    </a:moveTo>
                    <a:lnTo>
                      <a:pt x="150" y="600"/>
                    </a:lnTo>
                    <a:lnTo>
                      <a:pt x="270" y="90"/>
                    </a:lnTo>
                    <a:lnTo>
                      <a:pt x="60" y="330"/>
                    </a:lnTo>
                    <a:lnTo>
                      <a:pt x="0" y="210"/>
                    </a:lnTo>
                    <a:lnTo>
                      <a:pt x="120" y="120"/>
                    </a:lnTo>
                    <a:lnTo>
                      <a:pt x="240" y="390"/>
                    </a:lnTo>
                    <a:lnTo>
                      <a:pt x="300" y="24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46" name="Freeform 2535">
                <a:extLst>
                  <a:ext uri="{FF2B5EF4-FFF2-40B4-BE49-F238E27FC236}">
                    <a16:creationId xmlns:a16="http://schemas.microsoft.com/office/drawing/2014/main" id="{65855E69-BFAC-4CA9-9B86-ABE93CAA15C2}"/>
                  </a:ext>
                </a:extLst>
              </p:cNvPr>
              <p:cNvSpPr>
                <a:spLocks/>
              </p:cNvSpPr>
              <p:nvPr/>
            </p:nvSpPr>
            <p:spPr bwMode="auto">
              <a:xfrm>
                <a:off x="1486" y="60"/>
                <a:ext cx="390" cy="540"/>
              </a:xfrm>
              <a:custGeom>
                <a:avLst/>
                <a:gdLst>
                  <a:gd name="T0" fmla="*/ 90 w 390"/>
                  <a:gd name="T1" fmla="*/ 210 h 540"/>
                  <a:gd name="T2" fmla="*/ 270 w 390"/>
                  <a:gd name="T3" fmla="*/ 0 h 540"/>
                  <a:gd name="T4" fmla="*/ 390 w 390"/>
                  <a:gd name="T5" fmla="*/ 90 h 540"/>
                  <a:gd name="T6" fmla="*/ 360 w 390"/>
                  <a:gd name="T7" fmla="*/ 240 h 540"/>
                  <a:gd name="T8" fmla="*/ 270 w 390"/>
                  <a:gd name="T9" fmla="*/ 210 h 540"/>
                  <a:gd name="T10" fmla="*/ 60 w 390"/>
                  <a:gd name="T11" fmla="*/ 360 h 540"/>
                  <a:gd name="T12" fmla="*/ 90 w 390"/>
                  <a:gd name="T13" fmla="*/ 210 h 540"/>
                  <a:gd name="T14" fmla="*/ 240 w 390"/>
                  <a:gd name="T15" fmla="*/ 300 h 540"/>
                  <a:gd name="T16" fmla="*/ 0 w 390"/>
                  <a:gd name="T1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40">
                    <a:moveTo>
                      <a:pt x="90" y="210"/>
                    </a:moveTo>
                    <a:lnTo>
                      <a:pt x="270" y="0"/>
                    </a:lnTo>
                    <a:lnTo>
                      <a:pt x="390" y="90"/>
                    </a:lnTo>
                    <a:lnTo>
                      <a:pt x="360" y="240"/>
                    </a:lnTo>
                    <a:lnTo>
                      <a:pt x="270" y="210"/>
                    </a:lnTo>
                    <a:lnTo>
                      <a:pt x="60" y="360"/>
                    </a:lnTo>
                    <a:lnTo>
                      <a:pt x="90" y="210"/>
                    </a:lnTo>
                    <a:lnTo>
                      <a:pt x="240" y="300"/>
                    </a:lnTo>
                    <a:lnTo>
                      <a:pt x="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47" name="Line 2536">
                <a:extLst>
                  <a:ext uri="{FF2B5EF4-FFF2-40B4-BE49-F238E27FC236}">
                    <a16:creationId xmlns:a16="http://schemas.microsoft.com/office/drawing/2014/main" id="{9070869B-C1E4-4AC6-B5EF-F6CC72372976}"/>
                  </a:ext>
                </a:extLst>
              </p:cNvPr>
              <p:cNvSpPr>
                <a:spLocks noChangeShapeType="1"/>
              </p:cNvSpPr>
              <p:nvPr/>
            </p:nvSpPr>
            <p:spPr bwMode="auto">
              <a:xfrm>
                <a:off x="1276" y="12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48" name="Freeform 2537">
                <a:extLst>
                  <a:ext uri="{FF2B5EF4-FFF2-40B4-BE49-F238E27FC236}">
                    <a16:creationId xmlns:a16="http://schemas.microsoft.com/office/drawing/2014/main" id="{61CFEBAB-E174-48BF-ABBF-F21C43910D66}"/>
                  </a:ext>
                </a:extLst>
              </p:cNvPr>
              <p:cNvSpPr>
                <a:spLocks/>
              </p:cNvSpPr>
              <p:nvPr/>
            </p:nvSpPr>
            <p:spPr bwMode="auto">
              <a:xfrm>
                <a:off x="1306" y="420"/>
                <a:ext cx="300" cy="570"/>
              </a:xfrm>
              <a:custGeom>
                <a:avLst/>
                <a:gdLst>
                  <a:gd name="T0" fmla="*/ 90 w 300"/>
                  <a:gd name="T1" fmla="*/ 30 h 570"/>
                  <a:gd name="T2" fmla="*/ 240 w 300"/>
                  <a:gd name="T3" fmla="*/ 0 h 570"/>
                  <a:gd name="T4" fmla="*/ 180 w 300"/>
                  <a:gd name="T5" fmla="*/ 180 h 570"/>
                  <a:gd name="T6" fmla="*/ 90 w 300"/>
                  <a:gd name="T7" fmla="*/ 30 h 570"/>
                  <a:gd name="T8" fmla="*/ 30 w 300"/>
                  <a:gd name="T9" fmla="*/ 150 h 570"/>
                  <a:gd name="T10" fmla="*/ 0 w 300"/>
                  <a:gd name="T11" fmla="*/ 330 h 570"/>
                  <a:gd name="T12" fmla="*/ 90 w 300"/>
                  <a:gd name="T13" fmla="*/ 570 h 570"/>
                  <a:gd name="T14" fmla="*/ 150 w 300"/>
                  <a:gd name="T15" fmla="*/ 450 h 570"/>
                  <a:gd name="T16" fmla="*/ 270 w 300"/>
                  <a:gd name="T17" fmla="*/ 240 h 570"/>
                  <a:gd name="T18" fmla="*/ 300 w 300"/>
                  <a:gd name="T19" fmla="*/ 120 h 570"/>
                  <a:gd name="T20" fmla="*/ 240 w 30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570">
                    <a:moveTo>
                      <a:pt x="90" y="30"/>
                    </a:moveTo>
                    <a:lnTo>
                      <a:pt x="240" y="0"/>
                    </a:lnTo>
                    <a:lnTo>
                      <a:pt x="180" y="180"/>
                    </a:lnTo>
                    <a:lnTo>
                      <a:pt x="90" y="30"/>
                    </a:lnTo>
                    <a:lnTo>
                      <a:pt x="30" y="150"/>
                    </a:lnTo>
                    <a:lnTo>
                      <a:pt x="0" y="330"/>
                    </a:lnTo>
                    <a:lnTo>
                      <a:pt x="90" y="570"/>
                    </a:lnTo>
                    <a:lnTo>
                      <a:pt x="150" y="450"/>
                    </a:lnTo>
                    <a:lnTo>
                      <a:pt x="270" y="240"/>
                    </a:lnTo>
                    <a:lnTo>
                      <a:pt x="300" y="12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49" name="Freeform 2538">
                <a:extLst>
                  <a:ext uri="{FF2B5EF4-FFF2-40B4-BE49-F238E27FC236}">
                    <a16:creationId xmlns:a16="http://schemas.microsoft.com/office/drawing/2014/main" id="{B301EB76-9BA0-4DB0-ACEC-8A77286E0056}"/>
                  </a:ext>
                </a:extLst>
              </p:cNvPr>
              <p:cNvSpPr>
                <a:spLocks/>
              </p:cNvSpPr>
              <p:nvPr/>
            </p:nvSpPr>
            <p:spPr bwMode="auto">
              <a:xfrm>
                <a:off x="1696" y="300"/>
                <a:ext cx="150" cy="360"/>
              </a:xfrm>
              <a:custGeom>
                <a:avLst/>
                <a:gdLst>
                  <a:gd name="T0" fmla="*/ 0 w 150"/>
                  <a:gd name="T1" fmla="*/ 360 h 360"/>
                  <a:gd name="T2" fmla="*/ 30 w 150"/>
                  <a:gd name="T3" fmla="*/ 180 h 360"/>
                  <a:gd name="T4" fmla="*/ 150 w 150"/>
                  <a:gd name="T5" fmla="*/ 0 h 360"/>
                  <a:gd name="T6" fmla="*/ 30 w 150"/>
                  <a:gd name="T7" fmla="*/ 60 h 360"/>
                </a:gdLst>
                <a:ahLst/>
                <a:cxnLst>
                  <a:cxn ang="0">
                    <a:pos x="T0" y="T1"/>
                  </a:cxn>
                  <a:cxn ang="0">
                    <a:pos x="T2" y="T3"/>
                  </a:cxn>
                  <a:cxn ang="0">
                    <a:pos x="T4" y="T5"/>
                  </a:cxn>
                  <a:cxn ang="0">
                    <a:pos x="T6" y="T7"/>
                  </a:cxn>
                </a:cxnLst>
                <a:rect l="0" t="0" r="r" b="b"/>
                <a:pathLst>
                  <a:path w="150" h="360">
                    <a:moveTo>
                      <a:pt x="0" y="360"/>
                    </a:moveTo>
                    <a:lnTo>
                      <a:pt x="30" y="180"/>
                    </a:lnTo>
                    <a:lnTo>
                      <a:pt x="150" y="0"/>
                    </a:lnTo>
                    <a:lnTo>
                      <a:pt x="3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50" name="Freeform 2539">
                <a:extLst>
                  <a:ext uri="{FF2B5EF4-FFF2-40B4-BE49-F238E27FC236}">
                    <a16:creationId xmlns:a16="http://schemas.microsoft.com/office/drawing/2014/main" id="{9040ABAE-77D7-43E4-914D-22CB4376F8F3}"/>
                  </a:ext>
                </a:extLst>
              </p:cNvPr>
              <p:cNvSpPr>
                <a:spLocks/>
              </p:cNvSpPr>
              <p:nvPr/>
            </p:nvSpPr>
            <p:spPr bwMode="auto">
              <a:xfrm>
                <a:off x="1456" y="60"/>
                <a:ext cx="390" cy="240"/>
              </a:xfrm>
              <a:custGeom>
                <a:avLst/>
                <a:gdLst>
                  <a:gd name="T0" fmla="*/ 390 w 390"/>
                  <a:gd name="T1" fmla="*/ 210 h 240"/>
                  <a:gd name="T2" fmla="*/ 300 w 390"/>
                  <a:gd name="T3" fmla="*/ 0 h 240"/>
                  <a:gd name="T4" fmla="*/ 0 w 390"/>
                  <a:gd name="T5" fmla="*/ 240 h 240"/>
                </a:gdLst>
                <a:ahLst/>
                <a:cxnLst>
                  <a:cxn ang="0">
                    <a:pos x="T0" y="T1"/>
                  </a:cxn>
                  <a:cxn ang="0">
                    <a:pos x="T2" y="T3"/>
                  </a:cxn>
                  <a:cxn ang="0">
                    <a:pos x="T4" y="T5"/>
                  </a:cxn>
                </a:cxnLst>
                <a:rect l="0" t="0" r="r" b="b"/>
                <a:pathLst>
                  <a:path w="390" h="240">
                    <a:moveTo>
                      <a:pt x="390" y="210"/>
                    </a:moveTo>
                    <a:lnTo>
                      <a:pt x="300" y="0"/>
                    </a:lnTo>
                    <a:lnTo>
                      <a:pt x="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51" name="Freeform 2540">
                <a:extLst>
                  <a:ext uri="{FF2B5EF4-FFF2-40B4-BE49-F238E27FC236}">
                    <a16:creationId xmlns:a16="http://schemas.microsoft.com/office/drawing/2014/main" id="{E327E3B3-81E0-4A20-918C-55CA9D4A3EF4}"/>
                  </a:ext>
                </a:extLst>
              </p:cNvPr>
              <p:cNvSpPr>
                <a:spLocks/>
              </p:cNvSpPr>
              <p:nvPr/>
            </p:nvSpPr>
            <p:spPr bwMode="auto">
              <a:xfrm>
                <a:off x="3974" y="2700"/>
                <a:ext cx="480" cy="360"/>
              </a:xfrm>
              <a:custGeom>
                <a:avLst/>
                <a:gdLst>
                  <a:gd name="T0" fmla="*/ 0 w 480"/>
                  <a:gd name="T1" fmla="*/ 300 h 360"/>
                  <a:gd name="T2" fmla="*/ 30 w 480"/>
                  <a:gd name="T3" fmla="*/ 150 h 360"/>
                  <a:gd name="T4" fmla="*/ 180 w 480"/>
                  <a:gd name="T5" fmla="*/ 360 h 360"/>
                  <a:gd name="T6" fmla="*/ 330 w 480"/>
                  <a:gd name="T7" fmla="*/ 300 h 360"/>
                  <a:gd name="T8" fmla="*/ 330 w 480"/>
                  <a:gd name="T9" fmla="*/ 210 h 360"/>
                  <a:gd name="T10" fmla="*/ 150 w 480"/>
                  <a:gd name="T11" fmla="*/ 210 h 360"/>
                  <a:gd name="T12" fmla="*/ 420 w 480"/>
                  <a:gd name="T13" fmla="*/ 120 h 360"/>
                  <a:gd name="T14" fmla="*/ 450 w 480"/>
                  <a:gd name="T15" fmla="*/ 270 h 360"/>
                  <a:gd name="T16" fmla="*/ 480 w 480"/>
                  <a:gd name="T1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360">
                    <a:moveTo>
                      <a:pt x="0" y="300"/>
                    </a:moveTo>
                    <a:lnTo>
                      <a:pt x="30" y="150"/>
                    </a:lnTo>
                    <a:lnTo>
                      <a:pt x="180" y="360"/>
                    </a:lnTo>
                    <a:lnTo>
                      <a:pt x="330" y="300"/>
                    </a:lnTo>
                    <a:lnTo>
                      <a:pt x="330" y="210"/>
                    </a:lnTo>
                    <a:lnTo>
                      <a:pt x="150" y="210"/>
                    </a:lnTo>
                    <a:lnTo>
                      <a:pt x="420" y="120"/>
                    </a:lnTo>
                    <a:lnTo>
                      <a:pt x="450" y="270"/>
                    </a:lnTo>
                    <a:lnTo>
                      <a:pt x="4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52" name="Freeform 2541">
                <a:extLst>
                  <a:ext uri="{FF2B5EF4-FFF2-40B4-BE49-F238E27FC236}">
                    <a16:creationId xmlns:a16="http://schemas.microsoft.com/office/drawing/2014/main" id="{E7902DDA-BD61-43E0-B090-59FE111679B0}"/>
                  </a:ext>
                </a:extLst>
              </p:cNvPr>
              <p:cNvSpPr>
                <a:spLocks/>
              </p:cNvSpPr>
              <p:nvPr/>
            </p:nvSpPr>
            <p:spPr bwMode="auto">
              <a:xfrm>
                <a:off x="3824" y="1950"/>
                <a:ext cx="570" cy="1260"/>
              </a:xfrm>
              <a:custGeom>
                <a:avLst/>
                <a:gdLst>
                  <a:gd name="T0" fmla="*/ 540 w 570"/>
                  <a:gd name="T1" fmla="*/ 1200 h 1260"/>
                  <a:gd name="T2" fmla="*/ 300 w 570"/>
                  <a:gd name="T3" fmla="*/ 1260 h 1260"/>
                  <a:gd name="T4" fmla="*/ 210 w 570"/>
                  <a:gd name="T5" fmla="*/ 1170 h 1260"/>
                  <a:gd name="T6" fmla="*/ 90 w 570"/>
                  <a:gd name="T7" fmla="*/ 1140 h 1260"/>
                  <a:gd name="T8" fmla="*/ 0 w 570"/>
                  <a:gd name="T9" fmla="*/ 990 h 1260"/>
                  <a:gd name="T10" fmla="*/ 180 w 570"/>
                  <a:gd name="T11" fmla="*/ 900 h 1260"/>
                  <a:gd name="T12" fmla="*/ 180 w 570"/>
                  <a:gd name="T13" fmla="*/ 720 h 1260"/>
                  <a:gd name="T14" fmla="*/ 300 w 570"/>
                  <a:gd name="T15" fmla="*/ 960 h 1260"/>
                  <a:gd name="T16" fmla="*/ 300 w 570"/>
                  <a:gd name="T17" fmla="*/ 750 h 1260"/>
                  <a:gd name="T18" fmla="*/ 480 w 570"/>
                  <a:gd name="T19" fmla="*/ 570 h 1260"/>
                  <a:gd name="T20" fmla="*/ 270 w 570"/>
                  <a:gd name="T21" fmla="*/ 630 h 1260"/>
                  <a:gd name="T22" fmla="*/ 150 w 570"/>
                  <a:gd name="T23" fmla="*/ 600 h 1260"/>
                  <a:gd name="T24" fmla="*/ 360 w 570"/>
                  <a:gd name="T25" fmla="*/ 450 h 1260"/>
                  <a:gd name="T26" fmla="*/ 240 w 570"/>
                  <a:gd name="T27" fmla="*/ 300 h 1260"/>
                  <a:gd name="T28" fmla="*/ 120 w 570"/>
                  <a:gd name="T29" fmla="*/ 360 h 1260"/>
                  <a:gd name="T30" fmla="*/ 360 w 570"/>
                  <a:gd name="T31" fmla="*/ 0 h 1260"/>
                  <a:gd name="T32" fmla="*/ 450 w 570"/>
                  <a:gd name="T33" fmla="*/ 210 h 1260"/>
                  <a:gd name="T34" fmla="*/ 570 w 570"/>
                  <a:gd name="T35" fmla="*/ 60 h 1260"/>
                  <a:gd name="T36" fmla="*/ 540 w 570"/>
                  <a:gd name="T37" fmla="*/ 420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1260">
                    <a:moveTo>
                      <a:pt x="540" y="1200"/>
                    </a:moveTo>
                    <a:lnTo>
                      <a:pt x="300" y="1260"/>
                    </a:lnTo>
                    <a:lnTo>
                      <a:pt x="210" y="1170"/>
                    </a:lnTo>
                    <a:lnTo>
                      <a:pt x="90" y="1140"/>
                    </a:lnTo>
                    <a:lnTo>
                      <a:pt x="0" y="990"/>
                    </a:lnTo>
                    <a:lnTo>
                      <a:pt x="180" y="900"/>
                    </a:lnTo>
                    <a:lnTo>
                      <a:pt x="180" y="720"/>
                    </a:lnTo>
                    <a:lnTo>
                      <a:pt x="300" y="960"/>
                    </a:lnTo>
                    <a:lnTo>
                      <a:pt x="300" y="750"/>
                    </a:lnTo>
                    <a:lnTo>
                      <a:pt x="480" y="570"/>
                    </a:lnTo>
                    <a:lnTo>
                      <a:pt x="270" y="630"/>
                    </a:lnTo>
                    <a:lnTo>
                      <a:pt x="150" y="600"/>
                    </a:lnTo>
                    <a:lnTo>
                      <a:pt x="360" y="450"/>
                    </a:lnTo>
                    <a:lnTo>
                      <a:pt x="240" y="300"/>
                    </a:lnTo>
                    <a:lnTo>
                      <a:pt x="120" y="360"/>
                    </a:lnTo>
                    <a:lnTo>
                      <a:pt x="360" y="0"/>
                    </a:lnTo>
                    <a:lnTo>
                      <a:pt x="450" y="210"/>
                    </a:lnTo>
                    <a:lnTo>
                      <a:pt x="570" y="60"/>
                    </a:lnTo>
                    <a:lnTo>
                      <a:pt x="540"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53" name="Freeform 2542">
                <a:extLst>
                  <a:ext uri="{FF2B5EF4-FFF2-40B4-BE49-F238E27FC236}">
                    <a16:creationId xmlns:a16="http://schemas.microsoft.com/office/drawing/2014/main" id="{07C9424A-BA75-4A52-AE7C-5C3A0C714B8B}"/>
                  </a:ext>
                </a:extLst>
              </p:cNvPr>
              <p:cNvSpPr>
                <a:spLocks/>
              </p:cNvSpPr>
              <p:nvPr/>
            </p:nvSpPr>
            <p:spPr bwMode="auto">
              <a:xfrm>
                <a:off x="3585" y="1890"/>
                <a:ext cx="869" cy="1320"/>
              </a:xfrm>
              <a:custGeom>
                <a:avLst/>
                <a:gdLst>
                  <a:gd name="T0" fmla="*/ 869 w 869"/>
                  <a:gd name="T1" fmla="*/ 660 h 1320"/>
                  <a:gd name="T2" fmla="*/ 839 w 869"/>
                  <a:gd name="T3" fmla="*/ 300 h 1320"/>
                  <a:gd name="T4" fmla="*/ 809 w 869"/>
                  <a:gd name="T5" fmla="*/ 120 h 1320"/>
                  <a:gd name="T6" fmla="*/ 719 w 869"/>
                  <a:gd name="T7" fmla="*/ 0 h 1320"/>
                  <a:gd name="T8" fmla="*/ 599 w 869"/>
                  <a:gd name="T9" fmla="*/ 60 h 1320"/>
                  <a:gd name="T10" fmla="*/ 599 w 869"/>
                  <a:gd name="T11" fmla="*/ 150 h 1320"/>
                  <a:gd name="T12" fmla="*/ 509 w 869"/>
                  <a:gd name="T13" fmla="*/ 270 h 1320"/>
                  <a:gd name="T14" fmla="*/ 479 w 869"/>
                  <a:gd name="T15" fmla="*/ 360 h 1320"/>
                  <a:gd name="T16" fmla="*/ 599 w 869"/>
                  <a:gd name="T17" fmla="*/ 300 h 1320"/>
                  <a:gd name="T18" fmla="*/ 689 w 869"/>
                  <a:gd name="T19" fmla="*/ 270 h 1320"/>
                  <a:gd name="T20" fmla="*/ 659 w 869"/>
                  <a:gd name="T21" fmla="*/ 420 h 1320"/>
                  <a:gd name="T22" fmla="*/ 779 w 869"/>
                  <a:gd name="T23" fmla="*/ 480 h 1320"/>
                  <a:gd name="T24" fmla="*/ 869 w 869"/>
                  <a:gd name="T25" fmla="*/ 660 h 1320"/>
                  <a:gd name="T26" fmla="*/ 719 w 869"/>
                  <a:gd name="T27" fmla="*/ 630 h 1320"/>
                  <a:gd name="T28" fmla="*/ 599 w 869"/>
                  <a:gd name="T29" fmla="*/ 510 h 1320"/>
                  <a:gd name="T30" fmla="*/ 539 w 869"/>
                  <a:gd name="T31" fmla="*/ 600 h 1320"/>
                  <a:gd name="T32" fmla="*/ 509 w 869"/>
                  <a:gd name="T33" fmla="*/ 690 h 1320"/>
                  <a:gd name="T34" fmla="*/ 539 w 869"/>
                  <a:gd name="T35" fmla="*/ 810 h 1320"/>
                  <a:gd name="T36" fmla="*/ 269 w 869"/>
                  <a:gd name="T37" fmla="*/ 870 h 1320"/>
                  <a:gd name="T38" fmla="*/ 419 w 869"/>
                  <a:gd name="T39" fmla="*/ 960 h 1320"/>
                  <a:gd name="T40" fmla="*/ 539 w 869"/>
                  <a:gd name="T41" fmla="*/ 1020 h 1320"/>
                  <a:gd name="T42" fmla="*/ 599 w 869"/>
                  <a:gd name="T43" fmla="*/ 930 h 1320"/>
                  <a:gd name="T44" fmla="*/ 719 w 869"/>
                  <a:gd name="T45" fmla="*/ 840 h 1320"/>
                  <a:gd name="T46" fmla="*/ 779 w 869"/>
                  <a:gd name="T47" fmla="*/ 750 h 1320"/>
                  <a:gd name="T48" fmla="*/ 869 w 869"/>
                  <a:gd name="T49" fmla="*/ 810 h 1320"/>
                  <a:gd name="T50" fmla="*/ 809 w 869"/>
                  <a:gd name="T51" fmla="*/ 930 h 1320"/>
                  <a:gd name="T52" fmla="*/ 719 w 869"/>
                  <a:gd name="T53" fmla="*/ 1020 h 1320"/>
                  <a:gd name="T54" fmla="*/ 839 w 869"/>
                  <a:gd name="T55" fmla="*/ 1080 h 1320"/>
                  <a:gd name="T56" fmla="*/ 719 w 869"/>
                  <a:gd name="T57" fmla="*/ 1110 h 1320"/>
                  <a:gd name="T58" fmla="*/ 779 w 869"/>
                  <a:gd name="T59" fmla="*/ 1260 h 1320"/>
                  <a:gd name="T60" fmla="*/ 689 w 869"/>
                  <a:gd name="T61" fmla="*/ 1230 h 1320"/>
                  <a:gd name="T62" fmla="*/ 539 w 869"/>
                  <a:gd name="T63" fmla="*/ 1320 h 1320"/>
                  <a:gd name="T64" fmla="*/ 569 w 869"/>
                  <a:gd name="T65" fmla="*/ 1170 h 1320"/>
                  <a:gd name="T66" fmla="*/ 449 w 869"/>
                  <a:gd name="T67" fmla="*/ 1230 h 1320"/>
                  <a:gd name="T68" fmla="*/ 389 w 869"/>
                  <a:gd name="T69" fmla="*/ 1110 h 1320"/>
                  <a:gd name="T70" fmla="*/ 329 w 869"/>
                  <a:gd name="T71" fmla="*/ 1200 h 1320"/>
                  <a:gd name="T72" fmla="*/ 299 w 869"/>
                  <a:gd name="T73" fmla="*/ 960 h 1320"/>
                  <a:gd name="T74" fmla="*/ 239 w 869"/>
                  <a:gd name="T75" fmla="*/ 1050 h 1320"/>
                  <a:gd name="T76" fmla="*/ 269 w 869"/>
                  <a:gd name="T77" fmla="*/ 870 h 1320"/>
                  <a:gd name="T78" fmla="*/ 419 w 869"/>
                  <a:gd name="T79" fmla="*/ 780 h 1320"/>
                  <a:gd name="T80" fmla="*/ 239 w 869"/>
                  <a:gd name="T81" fmla="*/ 690 h 1320"/>
                  <a:gd name="T82" fmla="*/ 269 w 869"/>
                  <a:gd name="T83" fmla="*/ 870 h 1320"/>
                  <a:gd name="T84" fmla="*/ 389 w 869"/>
                  <a:gd name="T85" fmla="*/ 660 h 1320"/>
                  <a:gd name="T86" fmla="*/ 419 w 869"/>
                  <a:gd name="T87" fmla="*/ 540 h 1320"/>
                  <a:gd name="T88" fmla="*/ 359 w 869"/>
                  <a:gd name="T89" fmla="*/ 420 h 1320"/>
                  <a:gd name="T90" fmla="*/ 389 w 869"/>
                  <a:gd name="T91" fmla="*/ 270 h 1320"/>
                  <a:gd name="T92" fmla="*/ 239 w 869"/>
                  <a:gd name="T93" fmla="*/ 150 h 1320"/>
                  <a:gd name="T94" fmla="*/ 150 w 869"/>
                  <a:gd name="T95" fmla="*/ 270 h 1320"/>
                  <a:gd name="T96" fmla="*/ 0 w 869"/>
                  <a:gd name="T97" fmla="*/ 360 h 1320"/>
                  <a:gd name="T98" fmla="*/ 0 w 869"/>
                  <a:gd name="T99" fmla="*/ 510 h 1320"/>
                  <a:gd name="T100" fmla="*/ 120 w 869"/>
                  <a:gd name="T101" fmla="*/ 420 h 1320"/>
                  <a:gd name="T102" fmla="*/ 269 w 869"/>
                  <a:gd name="T103" fmla="*/ 300 h 1320"/>
                  <a:gd name="T104" fmla="*/ 239 w 869"/>
                  <a:gd name="T105" fmla="*/ 15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9" h="1320">
                    <a:moveTo>
                      <a:pt x="869" y="660"/>
                    </a:moveTo>
                    <a:lnTo>
                      <a:pt x="839" y="300"/>
                    </a:lnTo>
                    <a:lnTo>
                      <a:pt x="809" y="120"/>
                    </a:lnTo>
                    <a:lnTo>
                      <a:pt x="719" y="0"/>
                    </a:lnTo>
                    <a:lnTo>
                      <a:pt x="599" y="60"/>
                    </a:lnTo>
                    <a:lnTo>
                      <a:pt x="599" y="150"/>
                    </a:lnTo>
                    <a:lnTo>
                      <a:pt x="509" y="270"/>
                    </a:lnTo>
                    <a:lnTo>
                      <a:pt x="479" y="360"/>
                    </a:lnTo>
                    <a:lnTo>
                      <a:pt x="599" y="300"/>
                    </a:lnTo>
                    <a:lnTo>
                      <a:pt x="689" y="270"/>
                    </a:lnTo>
                    <a:lnTo>
                      <a:pt x="659" y="420"/>
                    </a:lnTo>
                    <a:lnTo>
                      <a:pt x="779" y="480"/>
                    </a:lnTo>
                    <a:lnTo>
                      <a:pt x="869" y="660"/>
                    </a:lnTo>
                    <a:lnTo>
                      <a:pt x="719" y="630"/>
                    </a:lnTo>
                    <a:lnTo>
                      <a:pt x="599" y="510"/>
                    </a:lnTo>
                    <a:lnTo>
                      <a:pt x="539" y="600"/>
                    </a:lnTo>
                    <a:lnTo>
                      <a:pt x="509" y="690"/>
                    </a:lnTo>
                    <a:lnTo>
                      <a:pt x="539" y="810"/>
                    </a:lnTo>
                    <a:lnTo>
                      <a:pt x="269" y="870"/>
                    </a:lnTo>
                    <a:lnTo>
                      <a:pt x="419" y="960"/>
                    </a:lnTo>
                    <a:lnTo>
                      <a:pt x="539" y="1020"/>
                    </a:lnTo>
                    <a:lnTo>
                      <a:pt x="599" y="930"/>
                    </a:lnTo>
                    <a:lnTo>
                      <a:pt x="719" y="840"/>
                    </a:lnTo>
                    <a:lnTo>
                      <a:pt x="779" y="750"/>
                    </a:lnTo>
                    <a:lnTo>
                      <a:pt x="869" y="810"/>
                    </a:lnTo>
                    <a:lnTo>
                      <a:pt x="809" y="930"/>
                    </a:lnTo>
                    <a:lnTo>
                      <a:pt x="719" y="1020"/>
                    </a:lnTo>
                    <a:lnTo>
                      <a:pt x="839" y="1080"/>
                    </a:lnTo>
                    <a:lnTo>
                      <a:pt x="719" y="1110"/>
                    </a:lnTo>
                    <a:lnTo>
                      <a:pt x="779" y="1260"/>
                    </a:lnTo>
                    <a:lnTo>
                      <a:pt x="689" y="1230"/>
                    </a:lnTo>
                    <a:lnTo>
                      <a:pt x="539" y="1320"/>
                    </a:lnTo>
                    <a:lnTo>
                      <a:pt x="569" y="1170"/>
                    </a:lnTo>
                    <a:lnTo>
                      <a:pt x="449" y="1230"/>
                    </a:lnTo>
                    <a:lnTo>
                      <a:pt x="389" y="1110"/>
                    </a:lnTo>
                    <a:lnTo>
                      <a:pt x="329" y="1200"/>
                    </a:lnTo>
                    <a:lnTo>
                      <a:pt x="299" y="960"/>
                    </a:lnTo>
                    <a:lnTo>
                      <a:pt x="239" y="1050"/>
                    </a:lnTo>
                    <a:lnTo>
                      <a:pt x="269" y="870"/>
                    </a:lnTo>
                    <a:lnTo>
                      <a:pt x="419" y="780"/>
                    </a:lnTo>
                    <a:lnTo>
                      <a:pt x="239" y="690"/>
                    </a:lnTo>
                    <a:lnTo>
                      <a:pt x="269" y="870"/>
                    </a:lnTo>
                    <a:lnTo>
                      <a:pt x="389" y="660"/>
                    </a:lnTo>
                    <a:lnTo>
                      <a:pt x="419" y="540"/>
                    </a:lnTo>
                    <a:lnTo>
                      <a:pt x="359" y="420"/>
                    </a:lnTo>
                    <a:lnTo>
                      <a:pt x="389" y="270"/>
                    </a:lnTo>
                    <a:lnTo>
                      <a:pt x="239" y="150"/>
                    </a:lnTo>
                    <a:lnTo>
                      <a:pt x="150" y="270"/>
                    </a:lnTo>
                    <a:lnTo>
                      <a:pt x="0" y="360"/>
                    </a:lnTo>
                    <a:lnTo>
                      <a:pt x="0" y="510"/>
                    </a:lnTo>
                    <a:lnTo>
                      <a:pt x="120" y="420"/>
                    </a:lnTo>
                    <a:lnTo>
                      <a:pt x="269" y="300"/>
                    </a:lnTo>
                    <a:lnTo>
                      <a:pt x="239"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54" name="Freeform 2543">
                <a:extLst>
                  <a:ext uri="{FF2B5EF4-FFF2-40B4-BE49-F238E27FC236}">
                    <a16:creationId xmlns:a16="http://schemas.microsoft.com/office/drawing/2014/main" id="{9F714CCA-0BAA-4F3E-BC3D-22DAB60A9099}"/>
                  </a:ext>
                </a:extLst>
              </p:cNvPr>
              <p:cNvSpPr>
                <a:spLocks/>
              </p:cNvSpPr>
              <p:nvPr/>
            </p:nvSpPr>
            <p:spPr bwMode="auto">
              <a:xfrm>
                <a:off x="4004" y="2250"/>
                <a:ext cx="390" cy="570"/>
              </a:xfrm>
              <a:custGeom>
                <a:avLst/>
                <a:gdLst>
                  <a:gd name="T0" fmla="*/ 120 w 390"/>
                  <a:gd name="T1" fmla="*/ 450 h 570"/>
                  <a:gd name="T2" fmla="*/ 300 w 390"/>
                  <a:gd name="T3" fmla="*/ 480 h 570"/>
                  <a:gd name="T4" fmla="*/ 390 w 390"/>
                  <a:gd name="T5" fmla="*/ 570 h 570"/>
                  <a:gd name="T6" fmla="*/ 180 w 390"/>
                  <a:gd name="T7" fmla="*/ 570 h 570"/>
                  <a:gd name="T8" fmla="*/ 300 w 390"/>
                  <a:gd name="T9" fmla="*/ 270 h 570"/>
                  <a:gd name="T10" fmla="*/ 300 w 390"/>
                  <a:gd name="T11" fmla="*/ 480 h 570"/>
                  <a:gd name="T12" fmla="*/ 120 w 390"/>
                  <a:gd name="T13" fmla="*/ 240 h 570"/>
                  <a:gd name="T14" fmla="*/ 60 w 390"/>
                  <a:gd name="T15" fmla="*/ 0 h 570"/>
                  <a:gd name="T16" fmla="*/ 0 w 390"/>
                  <a:gd name="T17" fmla="*/ 18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70">
                    <a:moveTo>
                      <a:pt x="120" y="450"/>
                    </a:moveTo>
                    <a:lnTo>
                      <a:pt x="300" y="480"/>
                    </a:lnTo>
                    <a:lnTo>
                      <a:pt x="390" y="570"/>
                    </a:lnTo>
                    <a:lnTo>
                      <a:pt x="180" y="570"/>
                    </a:lnTo>
                    <a:lnTo>
                      <a:pt x="300" y="270"/>
                    </a:lnTo>
                    <a:lnTo>
                      <a:pt x="300" y="480"/>
                    </a:lnTo>
                    <a:lnTo>
                      <a:pt x="120" y="240"/>
                    </a:lnTo>
                    <a:lnTo>
                      <a:pt x="60" y="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55" name="Freeform 2544">
                <a:extLst>
                  <a:ext uri="{FF2B5EF4-FFF2-40B4-BE49-F238E27FC236}">
                    <a16:creationId xmlns:a16="http://schemas.microsoft.com/office/drawing/2014/main" id="{CF3D1A4B-6A7C-48CA-8070-CD0E5056AC2E}"/>
                  </a:ext>
                </a:extLst>
              </p:cNvPr>
              <p:cNvSpPr>
                <a:spLocks/>
              </p:cNvSpPr>
              <p:nvPr/>
            </p:nvSpPr>
            <p:spPr bwMode="auto">
              <a:xfrm>
                <a:off x="3884" y="2850"/>
                <a:ext cx="420" cy="210"/>
              </a:xfrm>
              <a:custGeom>
                <a:avLst/>
                <a:gdLst>
                  <a:gd name="T0" fmla="*/ 0 w 420"/>
                  <a:gd name="T1" fmla="*/ 0 h 210"/>
                  <a:gd name="T2" fmla="*/ 90 w 420"/>
                  <a:gd name="T3" fmla="*/ 150 h 210"/>
                  <a:gd name="T4" fmla="*/ 270 w 420"/>
                  <a:gd name="T5" fmla="*/ 210 h 210"/>
                  <a:gd name="T6" fmla="*/ 420 w 420"/>
                  <a:gd name="T7" fmla="*/ 60 h 210"/>
                </a:gdLst>
                <a:ahLst/>
                <a:cxnLst>
                  <a:cxn ang="0">
                    <a:pos x="T0" y="T1"/>
                  </a:cxn>
                  <a:cxn ang="0">
                    <a:pos x="T2" y="T3"/>
                  </a:cxn>
                  <a:cxn ang="0">
                    <a:pos x="T4" y="T5"/>
                  </a:cxn>
                  <a:cxn ang="0">
                    <a:pos x="T6" y="T7"/>
                  </a:cxn>
                </a:cxnLst>
                <a:rect l="0" t="0" r="r" b="b"/>
                <a:pathLst>
                  <a:path w="420" h="210">
                    <a:moveTo>
                      <a:pt x="0" y="0"/>
                    </a:moveTo>
                    <a:lnTo>
                      <a:pt x="90" y="150"/>
                    </a:lnTo>
                    <a:lnTo>
                      <a:pt x="270" y="210"/>
                    </a:lnTo>
                    <a:lnTo>
                      <a:pt x="4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56" name="Freeform 2545">
                <a:extLst>
                  <a:ext uri="{FF2B5EF4-FFF2-40B4-BE49-F238E27FC236}">
                    <a16:creationId xmlns:a16="http://schemas.microsoft.com/office/drawing/2014/main" id="{2AE60525-0B02-44B1-8504-4B75C72BC5A9}"/>
                  </a:ext>
                </a:extLst>
              </p:cNvPr>
              <p:cNvSpPr>
                <a:spLocks/>
              </p:cNvSpPr>
              <p:nvPr/>
            </p:nvSpPr>
            <p:spPr bwMode="auto">
              <a:xfrm>
                <a:off x="4124" y="2910"/>
                <a:ext cx="180" cy="210"/>
              </a:xfrm>
              <a:custGeom>
                <a:avLst/>
                <a:gdLst>
                  <a:gd name="T0" fmla="*/ 150 w 180"/>
                  <a:gd name="T1" fmla="*/ 210 h 210"/>
                  <a:gd name="T2" fmla="*/ 30 w 180"/>
                  <a:gd name="T3" fmla="*/ 150 h 210"/>
                  <a:gd name="T4" fmla="*/ 0 w 180"/>
                  <a:gd name="T5" fmla="*/ 0 h 210"/>
                  <a:gd name="T6" fmla="*/ 180 w 180"/>
                  <a:gd name="T7" fmla="*/ 90 h 210"/>
                </a:gdLst>
                <a:ahLst/>
                <a:cxnLst>
                  <a:cxn ang="0">
                    <a:pos x="T0" y="T1"/>
                  </a:cxn>
                  <a:cxn ang="0">
                    <a:pos x="T2" y="T3"/>
                  </a:cxn>
                  <a:cxn ang="0">
                    <a:pos x="T4" y="T5"/>
                  </a:cxn>
                  <a:cxn ang="0">
                    <a:pos x="T6" y="T7"/>
                  </a:cxn>
                </a:cxnLst>
                <a:rect l="0" t="0" r="r" b="b"/>
                <a:pathLst>
                  <a:path w="180" h="210">
                    <a:moveTo>
                      <a:pt x="150" y="210"/>
                    </a:moveTo>
                    <a:lnTo>
                      <a:pt x="30" y="150"/>
                    </a:lnTo>
                    <a:lnTo>
                      <a:pt x="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57" name="Line 2546">
                <a:extLst>
                  <a:ext uri="{FF2B5EF4-FFF2-40B4-BE49-F238E27FC236}">
                    <a16:creationId xmlns:a16="http://schemas.microsoft.com/office/drawing/2014/main" id="{AE0763DA-79B2-4B34-B118-81E6169BB649}"/>
                  </a:ext>
                </a:extLst>
              </p:cNvPr>
              <p:cNvSpPr>
                <a:spLocks noChangeShapeType="1"/>
              </p:cNvSpPr>
              <p:nvPr/>
            </p:nvSpPr>
            <p:spPr bwMode="auto">
              <a:xfrm flipV="1">
                <a:off x="4364"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58" name="Freeform 2547">
                <a:extLst>
                  <a:ext uri="{FF2B5EF4-FFF2-40B4-BE49-F238E27FC236}">
                    <a16:creationId xmlns:a16="http://schemas.microsoft.com/office/drawing/2014/main" id="{E2360472-4FE6-4A39-B433-A4C188A50B88}"/>
                  </a:ext>
                </a:extLst>
              </p:cNvPr>
              <p:cNvSpPr>
                <a:spLocks/>
              </p:cNvSpPr>
              <p:nvPr/>
            </p:nvSpPr>
            <p:spPr bwMode="auto">
              <a:xfrm>
                <a:off x="3944" y="2160"/>
                <a:ext cx="300" cy="150"/>
              </a:xfrm>
              <a:custGeom>
                <a:avLst/>
                <a:gdLst>
                  <a:gd name="T0" fmla="*/ 0 w 300"/>
                  <a:gd name="T1" fmla="*/ 150 h 150"/>
                  <a:gd name="T2" fmla="*/ 300 w 300"/>
                  <a:gd name="T3" fmla="*/ 150 h 150"/>
                  <a:gd name="T4" fmla="*/ 240 w 300"/>
                  <a:gd name="T5" fmla="*/ 30 h 150"/>
                  <a:gd name="T6" fmla="*/ 150 w 300"/>
                  <a:gd name="T7" fmla="*/ 0 h 150"/>
                  <a:gd name="T8" fmla="*/ 30 w 300"/>
                  <a:gd name="T9" fmla="*/ 0 h 150"/>
                </a:gdLst>
                <a:ahLst/>
                <a:cxnLst>
                  <a:cxn ang="0">
                    <a:pos x="T0" y="T1"/>
                  </a:cxn>
                  <a:cxn ang="0">
                    <a:pos x="T2" y="T3"/>
                  </a:cxn>
                  <a:cxn ang="0">
                    <a:pos x="T4" y="T5"/>
                  </a:cxn>
                  <a:cxn ang="0">
                    <a:pos x="T6" y="T7"/>
                  </a:cxn>
                  <a:cxn ang="0">
                    <a:pos x="T8" y="T9"/>
                  </a:cxn>
                </a:cxnLst>
                <a:rect l="0" t="0" r="r" b="b"/>
                <a:pathLst>
                  <a:path w="300" h="150">
                    <a:moveTo>
                      <a:pt x="0" y="150"/>
                    </a:moveTo>
                    <a:lnTo>
                      <a:pt x="300" y="150"/>
                    </a:lnTo>
                    <a:lnTo>
                      <a:pt x="240" y="30"/>
                    </a:lnTo>
                    <a:lnTo>
                      <a:pt x="150" y="0"/>
                    </a:lnTo>
                    <a:lnTo>
                      <a:pt x="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59" name="Freeform 2548">
                <a:extLst>
                  <a:ext uri="{FF2B5EF4-FFF2-40B4-BE49-F238E27FC236}">
                    <a16:creationId xmlns:a16="http://schemas.microsoft.com/office/drawing/2014/main" id="{6C228944-98FE-4B07-84A0-DB0AFDC852CE}"/>
                  </a:ext>
                </a:extLst>
              </p:cNvPr>
              <p:cNvSpPr>
                <a:spLocks/>
              </p:cNvSpPr>
              <p:nvPr/>
            </p:nvSpPr>
            <p:spPr bwMode="auto">
              <a:xfrm>
                <a:off x="3914" y="510"/>
                <a:ext cx="180" cy="390"/>
              </a:xfrm>
              <a:custGeom>
                <a:avLst/>
                <a:gdLst>
                  <a:gd name="T0" fmla="*/ 0 w 180"/>
                  <a:gd name="T1" fmla="*/ 270 h 390"/>
                  <a:gd name="T2" fmla="*/ 180 w 180"/>
                  <a:gd name="T3" fmla="*/ 390 h 390"/>
                  <a:gd name="T4" fmla="*/ 30 w 180"/>
                  <a:gd name="T5" fmla="*/ 120 h 390"/>
                  <a:gd name="T6" fmla="*/ 150 w 180"/>
                  <a:gd name="T7" fmla="*/ 0 h 390"/>
                </a:gdLst>
                <a:ahLst/>
                <a:cxnLst>
                  <a:cxn ang="0">
                    <a:pos x="T0" y="T1"/>
                  </a:cxn>
                  <a:cxn ang="0">
                    <a:pos x="T2" y="T3"/>
                  </a:cxn>
                  <a:cxn ang="0">
                    <a:pos x="T4" y="T5"/>
                  </a:cxn>
                  <a:cxn ang="0">
                    <a:pos x="T6" y="T7"/>
                  </a:cxn>
                </a:cxnLst>
                <a:rect l="0" t="0" r="r" b="b"/>
                <a:pathLst>
                  <a:path w="180" h="390">
                    <a:moveTo>
                      <a:pt x="0" y="270"/>
                    </a:moveTo>
                    <a:lnTo>
                      <a:pt x="180" y="390"/>
                    </a:lnTo>
                    <a:lnTo>
                      <a:pt x="30" y="12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60" name="Freeform 2549">
                <a:extLst>
                  <a:ext uri="{FF2B5EF4-FFF2-40B4-BE49-F238E27FC236}">
                    <a16:creationId xmlns:a16="http://schemas.microsoft.com/office/drawing/2014/main" id="{C201AA5C-8BE3-455A-BCC1-0AC4154D66F5}"/>
                  </a:ext>
                </a:extLst>
              </p:cNvPr>
              <p:cNvSpPr>
                <a:spLocks/>
              </p:cNvSpPr>
              <p:nvPr/>
            </p:nvSpPr>
            <p:spPr bwMode="auto">
              <a:xfrm>
                <a:off x="3974" y="870"/>
                <a:ext cx="300" cy="330"/>
              </a:xfrm>
              <a:custGeom>
                <a:avLst/>
                <a:gdLst>
                  <a:gd name="T0" fmla="*/ 300 w 300"/>
                  <a:gd name="T1" fmla="*/ 0 h 330"/>
                  <a:gd name="T2" fmla="*/ 240 w 300"/>
                  <a:gd name="T3" fmla="*/ 120 h 330"/>
                  <a:gd name="T4" fmla="*/ 180 w 300"/>
                  <a:gd name="T5" fmla="*/ 330 h 330"/>
                  <a:gd name="T6" fmla="*/ 0 w 300"/>
                  <a:gd name="T7" fmla="*/ 270 h 330"/>
                </a:gdLst>
                <a:ahLst/>
                <a:cxnLst>
                  <a:cxn ang="0">
                    <a:pos x="T0" y="T1"/>
                  </a:cxn>
                  <a:cxn ang="0">
                    <a:pos x="T2" y="T3"/>
                  </a:cxn>
                  <a:cxn ang="0">
                    <a:pos x="T4" y="T5"/>
                  </a:cxn>
                  <a:cxn ang="0">
                    <a:pos x="T6" y="T7"/>
                  </a:cxn>
                </a:cxnLst>
                <a:rect l="0" t="0" r="r" b="b"/>
                <a:pathLst>
                  <a:path w="300" h="330">
                    <a:moveTo>
                      <a:pt x="300" y="0"/>
                    </a:moveTo>
                    <a:lnTo>
                      <a:pt x="240" y="120"/>
                    </a:lnTo>
                    <a:lnTo>
                      <a:pt x="180" y="33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61" name="Freeform 2550">
                <a:extLst>
                  <a:ext uri="{FF2B5EF4-FFF2-40B4-BE49-F238E27FC236}">
                    <a16:creationId xmlns:a16="http://schemas.microsoft.com/office/drawing/2014/main" id="{64B2EC25-3FDE-49CC-A99B-C9F9729E2DD2}"/>
                  </a:ext>
                </a:extLst>
              </p:cNvPr>
              <p:cNvSpPr>
                <a:spLocks/>
              </p:cNvSpPr>
              <p:nvPr/>
            </p:nvSpPr>
            <p:spPr bwMode="auto">
              <a:xfrm>
                <a:off x="3824" y="1050"/>
                <a:ext cx="600" cy="750"/>
              </a:xfrm>
              <a:custGeom>
                <a:avLst/>
                <a:gdLst>
                  <a:gd name="T0" fmla="*/ 600 w 600"/>
                  <a:gd name="T1" fmla="*/ 750 h 750"/>
                  <a:gd name="T2" fmla="*/ 570 w 600"/>
                  <a:gd name="T3" fmla="*/ 630 h 750"/>
                  <a:gd name="T4" fmla="*/ 330 w 600"/>
                  <a:gd name="T5" fmla="*/ 750 h 750"/>
                  <a:gd name="T6" fmla="*/ 270 w 600"/>
                  <a:gd name="T7" fmla="*/ 660 h 750"/>
                  <a:gd name="T8" fmla="*/ 180 w 600"/>
                  <a:gd name="T9" fmla="*/ 540 h 750"/>
                  <a:gd name="T10" fmla="*/ 150 w 600"/>
                  <a:gd name="T11" fmla="*/ 90 h 750"/>
                  <a:gd name="T12" fmla="*/ 0 w 600"/>
                  <a:gd name="T13" fmla="*/ 180 h 750"/>
                  <a:gd name="T14" fmla="*/ 210 w 600"/>
                  <a:gd name="T15" fmla="*/ 300 h 750"/>
                  <a:gd name="T16" fmla="*/ 240 w 600"/>
                  <a:gd name="T17"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0" h="750">
                    <a:moveTo>
                      <a:pt x="600" y="750"/>
                    </a:moveTo>
                    <a:lnTo>
                      <a:pt x="570" y="630"/>
                    </a:lnTo>
                    <a:lnTo>
                      <a:pt x="330" y="750"/>
                    </a:lnTo>
                    <a:lnTo>
                      <a:pt x="270" y="660"/>
                    </a:lnTo>
                    <a:lnTo>
                      <a:pt x="180" y="540"/>
                    </a:lnTo>
                    <a:lnTo>
                      <a:pt x="150" y="90"/>
                    </a:lnTo>
                    <a:lnTo>
                      <a:pt x="0" y="180"/>
                    </a:lnTo>
                    <a:lnTo>
                      <a:pt x="210" y="30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62" name="Freeform 2551">
                <a:extLst>
                  <a:ext uri="{FF2B5EF4-FFF2-40B4-BE49-F238E27FC236}">
                    <a16:creationId xmlns:a16="http://schemas.microsoft.com/office/drawing/2014/main" id="{91902815-383A-491D-AF05-7C9C7F679FFE}"/>
                  </a:ext>
                </a:extLst>
              </p:cNvPr>
              <p:cNvSpPr>
                <a:spLocks/>
              </p:cNvSpPr>
              <p:nvPr/>
            </p:nvSpPr>
            <p:spPr bwMode="auto">
              <a:xfrm>
                <a:off x="3884" y="1530"/>
                <a:ext cx="450" cy="420"/>
              </a:xfrm>
              <a:custGeom>
                <a:avLst/>
                <a:gdLst>
                  <a:gd name="T0" fmla="*/ 270 w 450"/>
                  <a:gd name="T1" fmla="*/ 270 h 420"/>
                  <a:gd name="T2" fmla="*/ 60 w 450"/>
                  <a:gd name="T3" fmla="*/ 270 h 420"/>
                  <a:gd name="T4" fmla="*/ 120 w 450"/>
                  <a:gd name="T5" fmla="*/ 60 h 420"/>
                  <a:gd name="T6" fmla="*/ 0 w 450"/>
                  <a:gd name="T7" fmla="*/ 0 h 420"/>
                  <a:gd name="T8" fmla="*/ 300 w 450"/>
                  <a:gd name="T9" fmla="*/ 420 h 420"/>
                  <a:gd name="T10" fmla="*/ 450 w 450"/>
                  <a:gd name="T11" fmla="*/ 0 h 420"/>
                </a:gdLst>
                <a:ahLst/>
                <a:cxnLst>
                  <a:cxn ang="0">
                    <a:pos x="T0" y="T1"/>
                  </a:cxn>
                  <a:cxn ang="0">
                    <a:pos x="T2" y="T3"/>
                  </a:cxn>
                  <a:cxn ang="0">
                    <a:pos x="T4" y="T5"/>
                  </a:cxn>
                  <a:cxn ang="0">
                    <a:pos x="T6" y="T7"/>
                  </a:cxn>
                  <a:cxn ang="0">
                    <a:pos x="T8" y="T9"/>
                  </a:cxn>
                  <a:cxn ang="0">
                    <a:pos x="T10" y="T11"/>
                  </a:cxn>
                </a:cxnLst>
                <a:rect l="0" t="0" r="r" b="b"/>
                <a:pathLst>
                  <a:path w="450" h="420">
                    <a:moveTo>
                      <a:pt x="270" y="270"/>
                    </a:moveTo>
                    <a:lnTo>
                      <a:pt x="60" y="270"/>
                    </a:lnTo>
                    <a:lnTo>
                      <a:pt x="120" y="60"/>
                    </a:lnTo>
                    <a:lnTo>
                      <a:pt x="0" y="0"/>
                    </a:lnTo>
                    <a:lnTo>
                      <a:pt x="300" y="42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63" name="Freeform 2552">
                <a:extLst>
                  <a:ext uri="{FF2B5EF4-FFF2-40B4-BE49-F238E27FC236}">
                    <a16:creationId xmlns:a16="http://schemas.microsoft.com/office/drawing/2014/main" id="{339F0E6C-98B3-4BC6-8E1B-116367BB7851}"/>
                  </a:ext>
                </a:extLst>
              </p:cNvPr>
              <p:cNvSpPr>
                <a:spLocks/>
              </p:cNvSpPr>
              <p:nvPr/>
            </p:nvSpPr>
            <p:spPr bwMode="auto">
              <a:xfrm>
                <a:off x="4004" y="1410"/>
                <a:ext cx="210" cy="210"/>
              </a:xfrm>
              <a:custGeom>
                <a:avLst/>
                <a:gdLst>
                  <a:gd name="T0" fmla="*/ 0 w 210"/>
                  <a:gd name="T1" fmla="*/ 180 h 210"/>
                  <a:gd name="T2" fmla="*/ 150 w 210"/>
                  <a:gd name="T3" fmla="*/ 0 h 210"/>
                  <a:gd name="T4" fmla="*/ 210 w 210"/>
                  <a:gd name="T5" fmla="*/ 210 h 210"/>
                </a:gdLst>
                <a:ahLst/>
                <a:cxnLst>
                  <a:cxn ang="0">
                    <a:pos x="T0" y="T1"/>
                  </a:cxn>
                  <a:cxn ang="0">
                    <a:pos x="T2" y="T3"/>
                  </a:cxn>
                  <a:cxn ang="0">
                    <a:pos x="T4" y="T5"/>
                  </a:cxn>
                </a:cxnLst>
                <a:rect l="0" t="0" r="r" b="b"/>
                <a:pathLst>
                  <a:path w="210" h="210">
                    <a:moveTo>
                      <a:pt x="0" y="180"/>
                    </a:moveTo>
                    <a:lnTo>
                      <a:pt x="150" y="0"/>
                    </a:lnTo>
                    <a:lnTo>
                      <a:pt x="21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64" name="Freeform 2553">
                <a:extLst>
                  <a:ext uri="{FF2B5EF4-FFF2-40B4-BE49-F238E27FC236}">
                    <a16:creationId xmlns:a16="http://schemas.microsoft.com/office/drawing/2014/main" id="{C976AEB4-B06E-45BE-AF57-18F0F0347526}"/>
                  </a:ext>
                </a:extLst>
              </p:cNvPr>
              <p:cNvSpPr>
                <a:spLocks/>
              </p:cNvSpPr>
              <p:nvPr/>
            </p:nvSpPr>
            <p:spPr bwMode="auto">
              <a:xfrm>
                <a:off x="4004" y="1710"/>
                <a:ext cx="90" cy="450"/>
              </a:xfrm>
              <a:custGeom>
                <a:avLst/>
                <a:gdLst>
                  <a:gd name="T0" fmla="*/ 90 w 90"/>
                  <a:gd name="T1" fmla="*/ 0 h 450"/>
                  <a:gd name="T2" fmla="*/ 0 w 90"/>
                  <a:gd name="T3" fmla="*/ 240 h 450"/>
                  <a:gd name="T4" fmla="*/ 90 w 90"/>
                  <a:gd name="T5" fmla="*/ 450 h 450"/>
                </a:gdLst>
                <a:ahLst/>
                <a:cxnLst>
                  <a:cxn ang="0">
                    <a:pos x="T0" y="T1"/>
                  </a:cxn>
                  <a:cxn ang="0">
                    <a:pos x="T2" y="T3"/>
                  </a:cxn>
                  <a:cxn ang="0">
                    <a:pos x="T4" y="T5"/>
                  </a:cxn>
                </a:cxnLst>
                <a:rect l="0" t="0" r="r" b="b"/>
                <a:pathLst>
                  <a:path w="90" h="450">
                    <a:moveTo>
                      <a:pt x="90" y="0"/>
                    </a:moveTo>
                    <a:lnTo>
                      <a:pt x="0" y="240"/>
                    </a:lnTo>
                    <a:lnTo>
                      <a:pt x="90" y="4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65" name="Freeform 2554">
                <a:extLst>
                  <a:ext uri="{FF2B5EF4-FFF2-40B4-BE49-F238E27FC236}">
                    <a16:creationId xmlns:a16="http://schemas.microsoft.com/office/drawing/2014/main" id="{E4A5CEBC-8DD2-4552-8714-D73A0145AF55}"/>
                  </a:ext>
                </a:extLst>
              </p:cNvPr>
              <p:cNvSpPr>
                <a:spLocks/>
              </p:cNvSpPr>
              <p:nvPr/>
            </p:nvSpPr>
            <p:spPr bwMode="auto">
              <a:xfrm>
                <a:off x="4184" y="2190"/>
                <a:ext cx="180" cy="330"/>
              </a:xfrm>
              <a:custGeom>
                <a:avLst/>
                <a:gdLst>
                  <a:gd name="T0" fmla="*/ 120 w 180"/>
                  <a:gd name="T1" fmla="*/ 330 h 330"/>
                  <a:gd name="T2" fmla="*/ 180 w 180"/>
                  <a:gd name="T3" fmla="*/ 180 h 330"/>
                  <a:gd name="T4" fmla="*/ 0 w 180"/>
                  <a:gd name="T5" fmla="*/ 210 h 330"/>
                  <a:gd name="T6" fmla="*/ 0 w 180"/>
                  <a:gd name="T7" fmla="*/ 0 h 330"/>
                </a:gdLst>
                <a:ahLst/>
                <a:cxnLst>
                  <a:cxn ang="0">
                    <a:pos x="T0" y="T1"/>
                  </a:cxn>
                  <a:cxn ang="0">
                    <a:pos x="T2" y="T3"/>
                  </a:cxn>
                  <a:cxn ang="0">
                    <a:pos x="T4" y="T5"/>
                  </a:cxn>
                  <a:cxn ang="0">
                    <a:pos x="T6" y="T7"/>
                  </a:cxn>
                </a:cxnLst>
                <a:rect l="0" t="0" r="r" b="b"/>
                <a:pathLst>
                  <a:path w="180" h="330">
                    <a:moveTo>
                      <a:pt x="120" y="330"/>
                    </a:moveTo>
                    <a:lnTo>
                      <a:pt x="180" y="180"/>
                    </a:lnTo>
                    <a:lnTo>
                      <a:pt x="0" y="21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66" name="Line 2555">
                <a:extLst>
                  <a:ext uri="{FF2B5EF4-FFF2-40B4-BE49-F238E27FC236}">
                    <a16:creationId xmlns:a16="http://schemas.microsoft.com/office/drawing/2014/main" id="{93B0AE6E-F2A4-4FFF-8090-0C9101FDC5BC}"/>
                  </a:ext>
                </a:extLst>
              </p:cNvPr>
              <p:cNvSpPr>
                <a:spLocks noChangeShapeType="1"/>
              </p:cNvSpPr>
              <p:nvPr/>
            </p:nvSpPr>
            <p:spPr bwMode="auto">
              <a:xfrm>
                <a:off x="4004" y="2670"/>
                <a:ext cx="18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67" name="Freeform 2556">
                <a:extLst>
                  <a:ext uri="{FF2B5EF4-FFF2-40B4-BE49-F238E27FC236}">
                    <a16:creationId xmlns:a16="http://schemas.microsoft.com/office/drawing/2014/main" id="{9E5C24BE-6636-4B2E-AA12-CBE1940FD20C}"/>
                  </a:ext>
                </a:extLst>
              </p:cNvPr>
              <p:cNvSpPr>
                <a:spLocks/>
              </p:cNvSpPr>
              <p:nvPr/>
            </p:nvSpPr>
            <p:spPr bwMode="auto">
              <a:xfrm>
                <a:off x="4244" y="2010"/>
                <a:ext cx="180" cy="300"/>
              </a:xfrm>
              <a:custGeom>
                <a:avLst/>
                <a:gdLst>
                  <a:gd name="T0" fmla="*/ 180 w 180"/>
                  <a:gd name="T1" fmla="*/ 180 h 300"/>
                  <a:gd name="T2" fmla="*/ 0 w 180"/>
                  <a:gd name="T3" fmla="*/ 300 h 300"/>
                  <a:gd name="T4" fmla="*/ 150 w 180"/>
                  <a:gd name="T5" fmla="*/ 0 h 300"/>
                </a:gdLst>
                <a:ahLst/>
                <a:cxnLst>
                  <a:cxn ang="0">
                    <a:pos x="T0" y="T1"/>
                  </a:cxn>
                  <a:cxn ang="0">
                    <a:pos x="T2" y="T3"/>
                  </a:cxn>
                  <a:cxn ang="0">
                    <a:pos x="T4" y="T5"/>
                  </a:cxn>
                </a:cxnLst>
                <a:rect l="0" t="0" r="r" b="b"/>
                <a:pathLst>
                  <a:path w="180" h="300">
                    <a:moveTo>
                      <a:pt x="180" y="180"/>
                    </a:moveTo>
                    <a:lnTo>
                      <a:pt x="0" y="30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68" name="Freeform 2557">
                <a:extLst>
                  <a:ext uri="{FF2B5EF4-FFF2-40B4-BE49-F238E27FC236}">
                    <a16:creationId xmlns:a16="http://schemas.microsoft.com/office/drawing/2014/main" id="{A35673CD-33EF-4139-9F7F-4DDBCD71202E}"/>
                  </a:ext>
                </a:extLst>
              </p:cNvPr>
              <p:cNvSpPr>
                <a:spLocks/>
              </p:cNvSpPr>
              <p:nvPr/>
            </p:nvSpPr>
            <p:spPr bwMode="auto">
              <a:xfrm>
                <a:off x="3974" y="1140"/>
                <a:ext cx="180" cy="270"/>
              </a:xfrm>
              <a:custGeom>
                <a:avLst/>
                <a:gdLst>
                  <a:gd name="T0" fmla="*/ 0 w 180"/>
                  <a:gd name="T1" fmla="*/ 0 h 270"/>
                  <a:gd name="T2" fmla="*/ 180 w 180"/>
                  <a:gd name="T3" fmla="*/ 270 h 270"/>
                  <a:gd name="T4" fmla="*/ 180 w 180"/>
                  <a:gd name="T5" fmla="*/ 60 h 270"/>
                </a:gdLst>
                <a:ahLst/>
                <a:cxnLst>
                  <a:cxn ang="0">
                    <a:pos x="T0" y="T1"/>
                  </a:cxn>
                  <a:cxn ang="0">
                    <a:pos x="T2" y="T3"/>
                  </a:cxn>
                  <a:cxn ang="0">
                    <a:pos x="T4" y="T5"/>
                  </a:cxn>
                </a:cxnLst>
                <a:rect l="0" t="0" r="r" b="b"/>
                <a:pathLst>
                  <a:path w="180" h="270">
                    <a:moveTo>
                      <a:pt x="0" y="0"/>
                    </a:moveTo>
                    <a:lnTo>
                      <a:pt x="180" y="270"/>
                    </a:lnTo>
                    <a:lnTo>
                      <a:pt x="18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69" name="Freeform 2558">
                <a:extLst>
                  <a:ext uri="{FF2B5EF4-FFF2-40B4-BE49-F238E27FC236}">
                    <a16:creationId xmlns:a16="http://schemas.microsoft.com/office/drawing/2014/main" id="{B6913935-7187-42B0-AE79-3886536E9452}"/>
                  </a:ext>
                </a:extLst>
              </p:cNvPr>
              <p:cNvSpPr>
                <a:spLocks/>
              </p:cNvSpPr>
              <p:nvPr/>
            </p:nvSpPr>
            <p:spPr bwMode="auto">
              <a:xfrm>
                <a:off x="3884" y="60"/>
                <a:ext cx="540" cy="1830"/>
              </a:xfrm>
              <a:custGeom>
                <a:avLst/>
                <a:gdLst>
                  <a:gd name="T0" fmla="*/ 180 w 540"/>
                  <a:gd name="T1" fmla="*/ 990 h 1830"/>
                  <a:gd name="T2" fmla="*/ 330 w 540"/>
                  <a:gd name="T3" fmla="*/ 930 h 1830"/>
                  <a:gd name="T4" fmla="*/ 330 w 540"/>
                  <a:gd name="T5" fmla="*/ 1560 h 1830"/>
                  <a:gd name="T6" fmla="*/ 270 w 540"/>
                  <a:gd name="T7" fmla="*/ 1350 h 1830"/>
                  <a:gd name="T8" fmla="*/ 540 w 540"/>
                  <a:gd name="T9" fmla="*/ 1740 h 1830"/>
                  <a:gd name="T10" fmla="*/ 330 w 540"/>
                  <a:gd name="T11" fmla="*/ 1560 h 1830"/>
                  <a:gd name="T12" fmla="*/ 450 w 540"/>
                  <a:gd name="T13" fmla="*/ 1470 h 1830"/>
                  <a:gd name="T14" fmla="*/ 480 w 540"/>
                  <a:gd name="T15" fmla="*/ 1200 h 1830"/>
                  <a:gd name="T16" fmla="*/ 150 w 540"/>
                  <a:gd name="T17" fmla="*/ 1290 h 1830"/>
                  <a:gd name="T18" fmla="*/ 270 w 540"/>
                  <a:gd name="T19" fmla="*/ 1140 h 1830"/>
                  <a:gd name="T20" fmla="*/ 510 w 540"/>
                  <a:gd name="T21" fmla="*/ 960 h 1830"/>
                  <a:gd name="T22" fmla="*/ 180 w 540"/>
                  <a:gd name="T23" fmla="*/ 990 h 1830"/>
                  <a:gd name="T24" fmla="*/ 390 w 540"/>
                  <a:gd name="T25" fmla="*/ 810 h 1830"/>
                  <a:gd name="T26" fmla="*/ 360 w 540"/>
                  <a:gd name="T27" fmla="*/ 630 h 1830"/>
                  <a:gd name="T28" fmla="*/ 150 w 540"/>
                  <a:gd name="T29" fmla="*/ 630 h 1830"/>
                  <a:gd name="T30" fmla="*/ 270 w 540"/>
                  <a:gd name="T31" fmla="*/ 510 h 1830"/>
                  <a:gd name="T32" fmla="*/ 510 w 540"/>
                  <a:gd name="T33" fmla="*/ 600 h 1830"/>
                  <a:gd name="T34" fmla="*/ 480 w 540"/>
                  <a:gd name="T35" fmla="*/ 360 h 1830"/>
                  <a:gd name="T36" fmla="*/ 240 w 540"/>
                  <a:gd name="T37" fmla="*/ 360 h 1830"/>
                  <a:gd name="T38" fmla="*/ 60 w 540"/>
                  <a:gd name="T39" fmla="*/ 300 h 1830"/>
                  <a:gd name="T40" fmla="*/ 270 w 540"/>
                  <a:gd name="T41" fmla="*/ 210 h 1830"/>
                  <a:gd name="T42" fmla="*/ 90 w 540"/>
                  <a:gd name="T43" fmla="*/ 0 h 1830"/>
                  <a:gd name="T44" fmla="*/ 210 w 540"/>
                  <a:gd name="T45" fmla="*/ 60 h 1830"/>
                  <a:gd name="T46" fmla="*/ 510 w 540"/>
                  <a:gd name="T47" fmla="*/ 210 h 1830"/>
                  <a:gd name="T48" fmla="*/ 390 w 540"/>
                  <a:gd name="T49" fmla="*/ 240 h 1830"/>
                  <a:gd name="T50" fmla="*/ 270 w 540"/>
                  <a:gd name="T51" fmla="*/ 210 h 1830"/>
                  <a:gd name="T52" fmla="*/ 180 w 540"/>
                  <a:gd name="T53" fmla="*/ 240 h 1830"/>
                  <a:gd name="T54" fmla="*/ 60 w 540"/>
                  <a:gd name="T55" fmla="*/ 300 h 1830"/>
                  <a:gd name="T56" fmla="*/ 330 w 540"/>
                  <a:gd name="T57" fmla="*/ 390 h 1830"/>
                  <a:gd name="T58" fmla="*/ 480 w 540"/>
                  <a:gd name="T59" fmla="*/ 360 h 1830"/>
                  <a:gd name="T60" fmla="*/ 360 w 540"/>
                  <a:gd name="T61" fmla="*/ 630 h 1830"/>
                  <a:gd name="T62" fmla="*/ 90 w 540"/>
                  <a:gd name="T63" fmla="*/ 84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1830">
                    <a:moveTo>
                      <a:pt x="60" y="960"/>
                    </a:moveTo>
                    <a:lnTo>
                      <a:pt x="180" y="990"/>
                    </a:lnTo>
                    <a:lnTo>
                      <a:pt x="390" y="1080"/>
                    </a:lnTo>
                    <a:lnTo>
                      <a:pt x="330" y="930"/>
                    </a:lnTo>
                    <a:lnTo>
                      <a:pt x="0" y="1320"/>
                    </a:lnTo>
                    <a:lnTo>
                      <a:pt x="330" y="1560"/>
                    </a:lnTo>
                    <a:lnTo>
                      <a:pt x="450" y="1470"/>
                    </a:lnTo>
                    <a:lnTo>
                      <a:pt x="270" y="1350"/>
                    </a:lnTo>
                    <a:lnTo>
                      <a:pt x="210" y="1650"/>
                    </a:lnTo>
                    <a:lnTo>
                      <a:pt x="540" y="1740"/>
                    </a:lnTo>
                    <a:lnTo>
                      <a:pt x="420" y="1830"/>
                    </a:lnTo>
                    <a:lnTo>
                      <a:pt x="330" y="1560"/>
                    </a:lnTo>
                    <a:lnTo>
                      <a:pt x="510" y="1620"/>
                    </a:lnTo>
                    <a:lnTo>
                      <a:pt x="450" y="1470"/>
                    </a:lnTo>
                    <a:lnTo>
                      <a:pt x="420" y="1320"/>
                    </a:lnTo>
                    <a:lnTo>
                      <a:pt x="480" y="1200"/>
                    </a:lnTo>
                    <a:lnTo>
                      <a:pt x="270" y="1350"/>
                    </a:lnTo>
                    <a:lnTo>
                      <a:pt x="150" y="1290"/>
                    </a:lnTo>
                    <a:lnTo>
                      <a:pt x="330" y="1200"/>
                    </a:lnTo>
                    <a:lnTo>
                      <a:pt x="270" y="1140"/>
                    </a:lnTo>
                    <a:lnTo>
                      <a:pt x="390" y="1080"/>
                    </a:lnTo>
                    <a:lnTo>
                      <a:pt x="510" y="960"/>
                    </a:lnTo>
                    <a:lnTo>
                      <a:pt x="330" y="930"/>
                    </a:lnTo>
                    <a:lnTo>
                      <a:pt x="180" y="990"/>
                    </a:lnTo>
                    <a:lnTo>
                      <a:pt x="210" y="840"/>
                    </a:lnTo>
                    <a:lnTo>
                      <a:pt x="390" y="810"/>
                    </a:lnTo>
                    <a:lnTo>
                      <a:pt x="540" y="720"/>
                    </a:lnTo>
                    <a:lnTo>
                      <a:pt x="360" y="630"/>
                    </a:lnTo>
                    <a:lnTo>
                      <a:pt x="240" y="690"/>
                    </a:lnTo>
                    <a:lnTo>
                      <a:pt x="150" y="630"/>
                    </a:lnTo>
                    <a:lnTo>
                      <a:pt x="180" y="450"/>
                    </a:lnTo>
                    <a:lnTo>
                      <a:pt x="270" y="510"/>
                    </a:lnTo>
                    <a:lnTo>
                      <a:pt x="420" y="540"/>
                    </a:lnTo>
                    <a:lnTo>
                      <a:pt x="510" y="600"/>
                    </a:lnTo>
                    <a:lnTo>
                      <a:pt x="540" y="480"/>
                    </a:lnTo>
                    <a:lnTo>
                      <a:pt x="480" y="360"/>
                    </a:lnTo>
                    <a:lnTo>
                      <a:pt x="330" y="390"/>
                    </a:lnTo>
                    <a:lnTo>
                      <a:pt x="240" y="360"/>
                    </a:lnTo>
                    <a:lnTo>
                      <a:pt x="60" y="420"/>
                    </a:lnTo>
                    <a:lnTo>
                      <a:pt x="60" y="300"/>
                    </a:lnTo>
                    <a:lnTo>
                      <a:pt x="180" y="240"/>
                    </a:lnTo>
                    <a:lnTo>
                      <a:pt x="270" y="210"/>
                    </a:lnTo>
                    <a:lnTo>
                      <a:pt x="210" y="60"/>
                    </a:lnTo>
                    <a:lnTo>
                      <a:pt x="90" y="0"/>
                    </a:lnTo>
                    <a:lnTo>
                      <a:pt x="540" y="0"/>
                    </a:lnTo>
                    <a:lnTo>
                      <a:pt x="210" y="60"/>
                    </a:lnTo>
                    <a:lnTo>
                      <a:pt x="360" y="90"/>
                    </a:lnTo>
                    <a:lnTo>
                      <a:pt x="510" y="210"/>
                    </a:lnTo>
                    <a:lnTo>
                      <a:pt x="480" y="360"/>
                    </a:lnTo>
                    <a:lnTo>
                      <a:pt x="390" y="240"/>
                    </a:lnTo>
                    <a:lnTo>
                      <a:pt x="330" y="390"/>
                    </a:lnTo>
                    <a:lnTo>
                      <a:pt x="270" y="210"/>
                    </a:lnTo>
                    <a:lnTo>
                      <a:pt x="240" y="360"/>
                    </a:lnTo>
                    <a:lnTo>
                      <a:pt x="180" y="240"/>
                    </a:lnTo>
                    <a:lnTo>
                      <a:pt x="90" y="210"/>
                    </a:lnTo>
                    <a:lnTo>
                      <a:pt x="60" y="300"/>
                    </a:lnTo>
                    <a:lnTo>
                      <a:pt x="180" y="450"/>
                    </a:lnTo>
                    <a:lnTo>
                      <a:pt x="330" y="390"/>
                    </a:lnTo>
                    <a:lnTo>
                      <a:pt x="420" y="540"/>
                    </a:lnTo>
                    <a:lnTo>
                      <a:pt x="480" y="360"/>
                    </a:lnTo>
                    <a:lnTo>
                      <a:pt x="270" y="510"/>
                    </a:lnTo>
                    <a:lnTo>
                      <a:pt x="360" y="630"/>
                    </a:lnTo>
                    <a:lnTo>
                      <a:pt x="150" y="630"/>
                    </a:lnTo>
                    <a:lnTo>
                      <a:pt x="90" y="840"/>
                    </a:lnTo>
                    <a:lnTo>
                      <a:pt x="330" y="9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70" name="Freeform 2559">
                <a:extLst>
                  <a:ext uri="{FF2B5EF4-FFF2-40B4-BE49-F238E27FC236}">
                    <a16:creationId xmlns:a16="http://schemas.microsoft.com/office/drawing/2014/main" id="{5E52BFFC-5467-43BA-95A9-C2CA6B82EF34}"/>
                  </a:ext>
                </a:extLst>
              </p:cNvPr>
              <p:cNvSpPr>
                <a:spLocks/>
              </p:cNvSpPr>
              <p:nvPr/>
            </p:nvSpPr>
            <p:spPr bwMode="auto">
              <a:xfrm>
                <a:off x="4244" y="600"/>
                <a:ext cx="150" cy="420"/>
              </a:xfrm>
              <a:custGeom>
                <a:avLst/>
                <a:gdLst>
                  <a:gd name="T0" fmla="*/ 30 w 150"/>
                  <a:gd name="T1" fmla="*/ 270 h 420"/>
                  <a:gd name="T2" fmla="*/ 150 w 150"/>
                  <a:gd name="T3" fmla="*/ 420 h 420"/>
                  <a:gd name="T4" fmla="*/ 60 w 150"/>
                  <a:gd name="T5" fmla="*/ 0 h 420"/>
                  <a:gd name="T6" fmla="*/ 0 w 150"/>
                  <a:gd name="T7" fmla="*/ 90 h 420"/>
                  <a:gd name="T8" fmla="*/ 30 w 150"/>
                  <a:gd name="T9" fmla="*/ 270 h 420"/>
                </a:gdLst>
                <a:ahLst/>
                <a:cxnLst>
                  <a:cxn ang="0">
                    <a:pos x="T0" y="T1"/>
                  </a:cxn>
                  <a:cxn ang="0">
                    <a:pos x="T2" y="T3"/>
                  </a:cxn>
                  <a:cxn ang="0">
                    <a:pos x="T4" y="T5"/>
                  </a:cxn>
                  <a:cxn ang="0">
                    <a:pos x="T6" y="T7"/>
                  </a:cxn>
                  <a:cxn ang="0">
                    <a:pos x="T8" y="T9"/>
                  </a:cxn>
                </a:cxnLst>
                <a:rect l="0" t="0" r="r" b="b"/>
                <a:pathLst>
                  <a:path w="150" h="420">
                    <a:moveTo>
                      <a:pt x="30" y="270"/>
                    </a:moveTo>
                    <a:lnTo>
                      <a:pt x="150" y="420"/>
                    </a:lnTo>
                    <a:lnTo>
                      <a:pt x="60" y="0"/>
                    </a:lnTo>
                    <a:lnTo>
                      <a:pt x="0" y="90"/>
                    </a:lnTo>
                    <a:lnTo>
                      <a:pt x="30" y="27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71" name="Freeform 2560">
                <a:extLst>
                  <a:ext uri="{FF2B5EF4-FFF2-40B4-BE49-F238E27FC236}">
                    <a16:creationId xmlns:a16="http://schemas.microsoft.com/office/drawing/2014/main" id="{6A5145CE-C936-467B-8592-377281CA5B97}"/>
                  </a:ext>
                </a:extLst>
              </p:cNvPr>
              <p:cNvSpPr>
                <a:spLocks/>
              </p:cNvSpPr>
              <p:nvPr/>
            </p:nvSpPr>
            <p:spPr bwMode="auto">
              <a:xfrm>
                <a:off x="4094" y="570"/>
                <a:ext cx="180" cy="420"/>
              </a:xfrm>
              <a:custGeom>
                <a:avLst/>
                <a:gdLst>
                  <a:gd name="T0" fmla="*/ 180 w 180"/>
                  <a:gd name="T1" fmla="*/ 300 h 420"/>
                  <a:gd name="T2" fmla="*/ 30 w 180"/>
                  <a:gd name="T3" fmla="*/ 180 h 420"/>
                  <a:gd name="T4" fmla="*/ 0 w 180"/>
                  <a:gd name="T5" fmla="*/ 330 h 420"/>
                  <a:gd name="T6" fmla="*/ 120 w 180"/>
                  <a:gd name="T7" fmla="*/ 420 h 420"/>
                  <a:gd name="T8" fmla="*/ 60 w 180"/>
                  <a:gd name="T9" fmla="*/ 0 h 420"/>
                </a:gdLst>
                <a:ahLst/>
                <a:cxnLst>
                  <a:cxn ang="0">
                    <a:pos x="T0" y="T1"/>
                  </a:cxn>
                  <a:cxn ang="0">
                    <a:pos x="T2" y="T3"/>
                  </a:cxn>
                  <a:cxn ang="0">
                    <a:pos x="T4" y="T5"/>
                  </a:cxn>
                  <a:cxn ang="0">
                    <a:pos x="T6" y="T7"/>
                  </a:cxn>
                  <a:cxn ang="0">
                    <a:pos x="T8" y="T9"/>
                  </a:cxn>
                </a:cxnLst>
                <a:rect l="0" t="0" r="r" b="b"/>
                <a:pathLst>
                  <a:path w="180" h="420">
                    <a:moveTo>
                      <a:pt x="180" y="300"/>
                    </a:moveTo>
                    <a:lnTo>
                      <a:pt x="30" y="180"/>
                    </a:lnTo>
                    <a:lnTo>
                      <a:pt x="0" y="330"/>
                    </a:lnTo>
                    <a:lnTo>
                      <a:pt x="120" y="42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72" name="Freeform 2561">
                <a:extLst>
                  <a:ext uri="{FF2B5EF4-FFF2-40B4-BE49-F238E27FC236}">
                    <a16:creationId xmlns:a16="http://schemas.microsoft.com/office/drawing/2014/main" id="{EB3D75FA-1D70-4E4F-947F-C210370B2AEC}"/>
                  </a:ext>
                </a:extLst>
              </p:cNvPr>
              <p:cNvSpPr>
                <a:spLocks/>
              </p:cNvSpPr>
              <p:nvPr/>
            </p:nvSpPr>
            <p:spPr bwMode="auto">
              <a:xfrm>
                <a:off x="4244" y="60"/>
                <a:ext cx="180" cy="240"/>
              </a:xfrm>
              <a:custGeom>
                <a:avLst/>
                <a:gdLst>
                  <a:gd name="T0" fmla="*/ 30 w 180"/>
                  <a:gd name="T1" fmla="*/ 240 h 240"/>
                  <a:gd name="T2" fmla="*/ 0 w 180"/>
                  <a:gd name="T3" fmla="*/ 90 h 240"/>
                  <a:gd name="T4" fmla="*/ 180 w 180"/>
                  <a:gd name="T5" fmla="*/ 0 h 240"/>
                  <a:gd name="T6" fmla="*/ 150 w 180"/>
                  <a:gd name="T7" fmla="*/ 210 h 240"/>
                  <a:gd name="T8" fmla="*/ 30 w 180"/>
                  <a:gd name="T9" fmla="*/ 240 h 240"/>
                </a:gdLst>
                <a:ahLst/>
                <a:cxnLst>
                  <a:cxn ang="0">
                    <a:pos x="T0" y="T1"/>
                  </a:cxn>
                  <a:cxn ang="0">
                    <a:pos x="T2" y="T3"/>
                  </a:cxn>
                  <a:cxn ang="0">
                    <a:pos x="T4" y="T5"/>
                  </a:cxn>
                  <a:cxn ang="0">
                    <a:pos x="T6" y="T7"/>
                  </a:cxn>
                  <a:cxn ang="0">
                    <a:pos x="T8" y="T9"/>
                  </a:cxn>
                </a:cxnLst>
                <a:rect l="0" t="0" r="r" b="b"/>
                <a:pathLst>
                  <a:path w="180" h="240">
                    <a:moveTo>
                      <a:pt x="30" y="240"/>
                    </a:moveTo>
                    <a:lnTo>
                      <a:pt x="0" y="90"/>
                    </a:lnTo>
                    <a:lnTo>
                      <a:pt x="180" y="0"/>
                    </a:lnTo>
                    <a:lnTo>
                      <a:pt x="150" y="210"/>
                    </a:lnTo>
                    <a:lnTo>
                      <a:pt x="3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73" name="Line 2562">
                <a:extLst>
                  <a:ext uri="{FF2B5EF4-FFF2-40B4-BE49-F238E27FC236}">
                    <a16:creationId xmlns:a16="http://schemas.microsoft.com/office/drawing/2014/main" id="{DD6018AD-168D-4C85-BC07-8FB628C1DD87}"/>
                  </a:ext>
                </a:extLst>
              </p:cNvPr>
              <p:cNvSpPr>
                <a:spLocks noChangeShapeType="1"/>
              </p:cNvSpPr>
              <p:nvPr/>
            </p:nvSpPr>
            <p:spPr bwMode="auto">
              <a:xfrm flipH="1">
                <a:off x="4304" y="54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74" name="Freeform 2563">
                <a:extLst>
                  <a:ext uri="{FF2B5EF4-FFF2-40B4-BE49-F238E27FC236}">
                    <a16:creationId xmlns:a16="http://schemas.microsoft.com/office/drawing/2014/main" id="{5B7BE2A3-83D4-4830-824B-960D39008EA5}"/>
                  </a:ext>
                </a:extLst>
              </p:cNvPr>
              <p:cNvSpPr>
                <a:spLocks/>
              </p:cNvSpPr>
              <p:nvPr/>
            </p:nvSpPr>
            <p:spPr bwMode="auto">
              <a:xfrm>
                <a:off x="2985" y="330"/>
                <a:ext cx="120" cy="210"/>
              </a:xfrm>
              <a:custGeom>
                <a:avLst/>
                <a:gdLst>
                  <a:gd name="T0" fmla="*/ 90 w 120"/>
                  <a:gd name="T1" fmla="*/ 0 h 210"/>
                  <a:gd name="T2" fmla="*/ 0 w 120"/>
                  <a:gd name="T3" fmla="*/ 210 h 210"/>
                  <a:gd name="T4" fmla="*/ 120 w 120"/>
                  <a:gd name="T5" fmla="*/ 180 h 210"/>
                  <a:gd name="T6" fmla="*/ 90 w 120"/>
                  <a:gd name="T7" fmla="*/ 0 h 210"/>
                </a:gdLst>
                <a:ahLst/>
                <a:cxnLst>
                  <a:cxn ang="0">
                    <a:pos x="T0" y="T1"/>
                  </a:cxn>
                  <a:cxn ang="0">
                    <a:pos x="T2" y="T3"/>
                  </a:cxn>
                  <a:cxn ang="0">
                    <a:pos x="T4" y="T5"/>
                  </a:cxn>
                  <a:cxn ang="0">
                    <a:pos x="T6" y="T7"/>
                  </a:cxn>
                </a:cxnLst>
                <a:rect l="0" t="0" r="r" b="b"/>
                <a:pathLst>
                  <a:path w="120" h="210">
                    <a:moveTo>
                      <a:pt x="90" y="0"/>
                    </a:moveTo>
                    <a:lnTo>
                      <a:pt x="0" y="210"/>
                    </a:lnTo>
                    <a:lnTo>
                      <a:pt x="120" y="18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75" name="Freeform 2564">
                <a:extLst>
                  <a:ext uri="{FF2B5EF4-FFF2-40B4-BE49-F238E27FC236}">
                    <a16:creationId xmlns:a16="http://schemas.microsoft.com/office/drawing/2014/main" id="{BD658872-8E15-41ED-B928-62F507830F92}"/>
                  </a:ext>
                </a:extLst>
              </p:cNvPr>
              <p:cNvSpPr>
                <a:spLocks/>
              </p:cNvSpPr>
              <p:nvPr/>
            </p:nvSpPr>
            <p:spPr bwMode="auto">
              <a:xfrm>
                <a:off x="3195" y="240"/>
                <a:ext cx="480" cy="270"/>
              </a:xfrm>
              <a:custGeom>
                <a:avLst/>
                <a:gdLst>
                  <a:gd name="T0" fmla="*/ 0 w 480"/>
                  <a:gd name="T1" fmla="*/ 0 h 270"/>
                  <a:gd name="T2" fmla="*/ 90 w 480"/>
                  <a:gd name="T3" fmla="*/ 240 h 270"/>
                  <a:gd name="T4" fmla="*/ 300 w 480"/>
                  <a:gd name="T5" fmla="*/ 150 h 270"/>
                  <a:gd name="T6" fmla="*/ 480 w 480"/>
                  <a:gd name="T7" fmla="*/ 210 h 270"/>
                  <a:gd name="T8" fmla="*/ 270 w 480"/>
                  <a:gd name="T9" fmla="*/ 270 h 270"/>
                  <a:gd name="T10" fmla="*/ 120 w 480"/>
                  <a:gd name="T11" fmla="*/ 60 h 270"/>
                </a:gdLst>
                <a:ahLst/>
                <a:cxnLst>
                  <a:cxn ang="0">
                    <a:pos x="T0" y="T1"/>
                  </a:cxn>
                  <a:cxn ang="0">
                    <a:pos x="T2" y="T3"/>
                  </a:cxn>
                  <a:cxn ang="0">
                    <a:pos x="T4" y="T5"/>
                  </a:cxn>
                  <a:cxn ang="0">
                    <a:pos x="T6" y="T7"/>
                  </a:cxn>
                  <a:cxn ang="0">
                    <a:pos x="T8" y="T9"/>
                  </a:cxn>
                  <a:cxn ang="0">
                    <a:pos x="T10" y="T11"/>
                  </a:cxn>
                </a:cxnLst>
                <a:rect l="0" t="0" r="r" b="b"/>
                <a:pathLst>
                  <a:path w="480" h="270">
                    <a:moveTo>
                      <a:pt x="0" y="0"/>
                    </a:moveTo>
                    <a:lnTo>
                      <a:pt x="90" y="240"/>
                    </a:lnTo>
                    <a:lnTo>
                      <a:pt x="300" y="150"/>
                    </a:lnTo>
                    <a:lnTo>
                      <a:pt x="480" y="210"/>
                    </a:lnTo>
                    <a:lnTo>
                      <a:pt x="270" y="270"/>
                    </a:lnTo>
                    <a:lnTo>
                      <a:pt x="1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76" name="Freeform 2565">
                <a:extLst>
                  <a:ext uri="{FF2B5EF4-FFF2-40B4-BE49-F238E27FC236}">
                    <a16:creationId xmlns:a16="http://schemas.microsoft.com/office/drawing/2014/main" id="{9A6B4293-4CF4-4B8C-AA07-D4912B8A7C47}"/>
                  </a:ext>
                </a:extLst>
              </p:cNvPr>
              <p:cNvSpPr>
                <a:spLocks/>
              </p:cNvSpPr>
              <p:nvPr/>
            </p:nvSpPr>
            <p:spPr bwMode="auto">
              <a:xfrm>
                <a:off x="2805" y="60"/>
                <a:ext cx="1289" cy="300"/>
              </a:xfrm>
              <a:custGeom>
                <a:avLst/>
                <a:gdLst>
                  <a:gd name="T0" fmla="*/ 1169 w 1289"/>
                  <a:gd name="T1" fmla="*/ 210 h 300"/>
                  <a:gd name="T2" fmla="*/ 1169 w 1289"/>
                  <a:gd name="T3" fmla="*/ 0 h 300"/>
                  <a:gd name="T4" fmla="*/ 1049 w 1289"/>
                  <a:gd name="T5" fmla="*/ 90 h 300"/>
                  <a:gd name="T6" fmla="*/ 1169 w 1289"/>
                  <a:gd name="T7" fmla="*/ 210 h 300"/>
                  <a:gd name="T8" fmla="*/ 1289 w 1289"/>
                  <a:gd name="T9" fmla="*/ 60 h 300"/>
                  <a:gd name="T10" fmla="*/ 1259 w 1289"/>
                  <a:gd name="T11" fmla="*/ 240 h 300"/>
                  <a:gd name="T12" fmla="*/ 1169 w 1289"/>
                  <a:gd name="T13" fmla="*/ 0 h 300"/>
                  <a:gd name="T14" fmla="*/ 870 w 1289"/>
                  <a:gd name="T15" fmla="*/ 30 h 300"/>
                  <a:gd name="T16" fmla="*/ 780 w 1289"/>
                  <a:gd name="T17" fmla="*/ 240 h 300"/>
                  <a:gd name="T18" fmla="*/ 660 w 1289"/>
                  <a:gd name="T19" fmla="*/ 90 h 300"/>
                  <a:gd name="T20" fmla="*/ 450 w 1289"/>
                  <a:gd name="T21" fmla="*/ 90 h 300"/>
                  <a:gd name="T22" fmla="*/ 630 w 1289"/>
                  <a:gd name="T23" fmla="*/ 210 h 300"/>
                  <a:gd name="T24" fmla="*/ 390 w 1289"/>
                  <a:gd name="T25" fmla="*/ 180 h 300"/>
                  <a:gd name="T26" fmla="*/ 270 w 1289"/>
                  <a:gd name="T27" fmla="*/ 30 h 300"/>
                  <a:gd name="T28" fmla="*/ 210 w 1289"/>
                  <a:gd name="T29" fmla="*/ 150 h 300"/>
                  <a:gd name="T30" fmla="*/ 90 w 1289"/>
                  <a:gd name="T31" fmla="*/ 210 h 300"/>
                  <a:gd name="T32" fmla="*/ 0 w 1289"/>
                  <a:gd name="T33" fmla="*/ 60 h 300"/>
                  <a:gd name="T34" fmla="*/ 150 w 1289"/>
                  <a:gd name="T35" fmla="*/ 30 h 300"/>
                  <a:gd name="T36" fmla="*/ 150 w 1289"/>
                  <a:gd name="T3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9" h="300">
                    <a:moveTo>
                      <a:pt x="1169" y="210"/>
                    </a:moveTo>
                    <a:lnTo>
                      <a:pt x="1169" y="0"/>
                    </a:lnTo>
                    <a:lnTo>
                      <a:pt x="1049" y="90"/>
                    </a:lnTo>
                    <a:lnTo>
                      <a:pt x="1169" y="210"/>
                    </a:lnTo>
                    <a:lnTo>
                      <a:pt x="1289" y="60"/>
                    </a:lnTo>
                    <a:lnTo>
                      <a:pt x="1259" y="240"/>
                    </a:lnTo>
                    <a:lnTo>
                      <a:pt x="1169" y="0"/>
                    </a:lnTo>
                    <a:lnTo>
                      <a:pt x="870" y="30"/>
                    </a:lnTo>
                    <a:lnTo>
                      <a:pt x="780" y="240"/>
                    </a:lnTo>
                    <a:lnTo>
                      <a:pt x="660" y="90"/>
                    </a:lnTo>
                    <a:lnTo>
                      <a:pt x="450" y="90"/>
                    </a:lnTo>
                    <a:lnTo>
                      <a:pt x="630" y="210"/>
                    </a:lnTo>
                    <a:lnTo>
                      <a:pt x="390" y="180"/>
                    </a:lnTo>
                    <a:lnTo>
                      <a:pt x="270" y="30"/>
                    </a:lnTo>
                    <a:lnTo>
                      <a:pt x="210" y="150"/>
                    </a:lnTo>
                    <a:lnTo>
                      <a:pt x="90" y="210"/>
                    </a:lnTo>
                    <a:lnTo>
                      <a:pt x="0" y="60"/>
                    </a:lnTo>
                    <a:lnTo>
                      <a:pt x="150" y="3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77" name="Freeform 2566">
                <a:extLst>
                  <a:ext uri="{FF2B5EF4-FFF2-40B4-BE49-F238E27FC236}">
                    <a16:creationId xmlns:a16="http://schemas.microsoft.com/office/drawing/2014/main" id="{12EA988E-9BC0-48A9-9EAB-60C755007051}"/>
                  </a:ext>
                </a:extLst>
              </p:cNvPr>
              <p:cNvSpPr>
                <a:spLocks/>
              </p:cNvSpPr>
              <p:nvPr/>
            </p:nvSpPr>
            <p:spPr bwMode="auto">
              <a:xfrm>
                <a:off x="3675" y="90"/>
                <a:ext cx="269" cy="270"/>
              </a:xfrm>
              <a:custGeom>
                <a:avLst/>
                <a:gdLst>
                  <a:gd name="T0" fmla="*/ 0 w 269"/>
                  <a:gd name="T1" fmla="*/ 0 h 270"/>
                  <a:gd name="T2" fmla="*/ 179 w 269"/>
                  <a:gd name="T3" fmla="*/ 60 h 270"/>
                  <a:gd name="T4" fmla="*/ 269 w 269"/>
                  <a:gd name="T5" fmla="*/ 270 h 270"/>
                </a:gdLst>
                <a:ahLst/>
                <a:cxnLst>
                  <a:cxn ang="0">
                    <a:pos x="T0" y="T1"/>
                  </a:cxn>
                  <a:cxn ang="0">
                    <a:pos x="T2" y="T3"/>
                  </a:cxn>
                  <a:cxn ang="0">
                    <a:pos x="T4" y="T5"/>
                  </a:cxn>
                </a:cxnLst>
                <a:rect l="0" t="0" r="r" b="b"/>
                <a:pathLst>
                  <a:path w="269" h="270">
                    <a:moveTo>
                      <a:pt x="0" y="0"/>
                    </a:moveTo>
                    <a:lnTo>
                      <a:pt x="179" y="60"/>
                    </a:lnTo>
                    <a:lnTo>
                      <a:pt x="26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78" name="Freeform 2567">
                <a:extLst>
                  <a:ext uri="{FF2B5EF4-FFF2-40B4-BE49-F238E27FC236}">
                    <a16:creationId xmlns:a16="http://schemas.microsoft.com/office/drawing/2014/main" id="{AB8595E3-056D-4173-A70C-FAC903A163DA}"/>
                  </a:ext>
                </a:extLst>
              </p:cNvPr>
              <p:cNvSpPr>
                <a:spLocks/>
              </p:cNvSpPr>
              <p:nvPr/>
            </p:nvSpPr>
            <p:spPr bwMode="auto">
              <a:xfrm>
                <a:off x="3195" y="30"/>
                <a:ext cx="360" cy="60"/>
              </a:xfrm>
              <a:custGeom>
                <a:avLst/>
                <a:gdLst>
                  <a:gd name="T0" fmla="*/ 360 w 360"/>
                  <a:gd name="T1" fmla="*/ 0 h 60"/>
                  <a:gd name="T2" fmla="*/ 150 w 360"/>
                  <a:gd name="T3" fmla="*/ 60 h 60"/>
                  <a:gd name="T4" fmla="*/ 0 w 360"/>
                  <a:gd name="T5" fmla="*/ 0 h 60"/>
                </a:gdLst>
                <a:ahLst/>
                <a:cxnLst>
                  <a:cxn ang="0">
                    <a:pos x="T0" y="T1"/>
                  </a:cxn>
                  <a:cxn ang="0">
                    <a:pos x="T2" y="T3"/>
                  </a:cxn>
                  <a:cxn ang="0">
                    <a:pos x="T4" y="T5"/>
                  </a:cxn>
                </a:cxnLst>
                <a:rect l="0" t="0" r="r" b="b"/>
                <a:pathLst>
                  <a:path w="360" h="60">
                    <a:moveTo>
                      <a:pt x="360" y="0"/>
                    </a:moveTo>
                    <a:lnTo>
                      <a:pt x="15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79" name="Freeform 2568">
                <a:extLst>
                  <a:ext uri="{FF2B5EF4-FFF2-40B4-BE49-F238E27FC236}">
                    <a16:creationId xmlns:a16="http://schemas.microsoft.com/office/drawing/2014/main" id="{8C75A92E-C945-4E61-9166-3D532CED744C}"/>
                  </a:ext>
                </a:extLst>
              </p:cNvPr>
              <p:cNvSpPr>
                <a:spLocks/>
              </p:cNvSpPr>
              <p:nvPr/>
            </p:nvSpPr>
            <p:spPr bwMode="auto">
              <a:xfrm>
                <a:off x="1846" y="210"/>
                <a:ext cx="389" cy="300"/>
              </a:xfrm>
              <a:custGeom>
                <a:avLst/>
                <a:gdLst>
                  <a:gd name="T0" fmla="*/ 120 w 389"/>
                  <a:gd name="T1" fmla="*/ 150 h 300"/>
                  <a:gd name="T2" fmla="*/ 0 w 389"/>
                  <a:gd name="T3" fmla="*/ 90 h 300"/>
                  <a:gd name="T4" fmla="*/ 60 w 389"/>
                  <a:gd name="T5" fmla="*/ 300 h 300"/>
                  <a:gd name="T6" fmla="*/ 269 w 389"/>
                  <a:gd name="T7" fmla="*/ 120 h 300"/>
                  <a:gd name="T8" fmla="*/ 389 w 389"/>
                  <a:gd name="T9" fmla="*/ 180 h 300"/>
                  <a:gd name="T10" fmla="*/ 210 w 389"/>
                  <a:gd name="T11" fmla="*/ 0 h 300"/>
                  <a:gd name="T12" fmla="*/ 0 w 389"/>
                  <a:gd name="T13" fmla="*/ 90 h 300"/>
                </a:gdLst>
                <a:ahLst/>
                <a:cxnLst>
                  <a:cxn ang="0">
                    <a:pos x="T0" y="T1"/>
                  </a:cxn>
                  <a:cxn ang="0">
                    <a:pos x="T2" y="T3"/>
                  </a:cxn>
                  <a:cxn ang="0">
                    <a:pos x="T4" y="T5"/>
                  </a:cxn>
                  <a:cxn ang="0">
                    <a:pos x="T6" y="T7"/>
                  </a:cxn>
                  <a:cxn ang="0">
                    <a:pos x="T8" y="T9"/>
                  </a:cxn>
                  <a:cxn ang="0">
                    <a:pos x="T10" y="T11"/>
                  </a:cxn>
                  <a:cxn ang="0">
                    <a:pos x="T12" y="T13"/>
                  </a:cxn>
                </a:cxnLst>
                <a:rect l="0" t="0" r="r" b="b"/>
                <a:pathLst>
                  <a:path w="389" h="300">
                    <a:moveTo>
                      <a:pt x="120" y="150"/>
                    </a:moveTo>
                    <a:lnTo>
                      <a:pt x="0" y="90"/>
                    </a:lnTo>
                    <a:lnTo>
                      <a:pt x="60" y="300"/>
                    </a:lnTo>
                    <a:lnTo>
                      <a:pt x="269" y="120"/>
                    </a:lnTo>
                    <a:lnTo>
                      <a:pt x="389" y="180"/>
                    </a:lnTo>
                    <a:lnTo>
                      <a:pt x="210" y="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80" name="Freeform 2569">
                <a:extLst>
                  <a:ext uri="{FF2B5EF4-FFF2-40B4-BE49-F238E27FC236}">
                    <a16:creationId xmlns:a16="http://schemas.microsoft.com/office/drawing/2014/main" id="{20E2414F-4B98-49AD-B172-A93047461AA4}"/>
                  </a:ext>
                </a:extLst>
              </p:cNvPr>
              <p:cNvSpPr>
                <a:spLocks/>
              </p:cNvSpPr>
              <p:nvPr/>
            </p:nvSpPr>
            <p:spPr bwMode="auto">
              <a:xfrm>
                <a:off x="1966" y="60"/>
                <a:ext cx="149" cy="150"/>
              </a:xfrm>
              <a:custGeom>
                <a:avLst/>
                <a:gdLst>
                  <a:gd name="T0" fmla="*/ 0 w 149"/>
                  <a:gd name="T1" fmla="*/ 0 h 150"/>
                  <a:gd name="T2" fmla="*/ 90 w 149"/>
                  <a:gd name="T3" fmla="*/ 150 h 150"/>
                  <a:gd name="T4" fmla="*/ 149 w 149"/>
                  <a:gd name="T5" fmla="*/ 30 h 150"/>
                </a:gdLst>
                <a:ahLst/>
                <a:cxnLst>
                  <a:cxn ang="0">
                    <a:pos x="T0" y="T1"/>
                  </a:cxn>
                  <a:cxn ang="0">
                    <a:pos x="T2" y="T3"/>
                  </a:cxn>
                  <a:cxn ang="0">
                    <a:pos x="T4" y="T5"/>
                  </a:cxn>
                </a:cxnLst>
                <a:rect l="0" t="0" r="r" b="b"/>
                <a:pathLst>
                  <a:path w="149" h="150">
                    <a:moveTo>
                      <a:pt x="0" y="0"/>
                    </a:moveTo>
                    <a:lnTo>
                      <a:pt x="90" y="150"/>
                    </a:lnTo>
                    <a:lnTo>
                      <a:pt x="14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81" name="Freeform 2570">
                <a:extLst>
                  <a:ext uri="{FF2B5EF4-FFF2-40B4-BE49-F238E27FC236}">
                    <a16:creationId xmlns:a16="http://schemas.microsoft.com/office/drawing/2014/main" id="{B760BAE8-C52B-4A17-A6A1-4E02DCEFC9B9}"/>
                  </a:ext>
                </a:extLst>
              </p:cNvPr>
              <p:cNvSpPr>
                <a:spLocks/>
              </p:cNvSpPr>
              <p:nvPr/>
            </p:nvSpPr>
            <p:spPr bwMode="auto">
              <a:xfrm>
                <a:off x="2056" y="210"/>
                <a:ext cx="1649" cy="1050"/>
              </a:xfrm>
              <a:custGeom>
                <a:avLst/>
                <a:gdLst>
                  <a:gd name="T0" fmla="*/ 0 w 1649"/>
                  <a:gd name="T1" fmla="*/ 0 h 1050"/>
                  <a:gd name="T2" fmla="*/ 179 w 1649"/>
                  <a:gd name="T3" fmla="*/ 30 h 1050"/>
                  <a:gd name="T4" fmla="*/ 299 w 1649"/>
                  <a:gd name="T5" fmla="*/ 120 h 1050"/>
                  <a:gd name="T6" fmla="*/ 269 w 1649"/>
                  <a:gd name="T7" fmla="*/ 240 h 1050"/>
                  <a:gd name="T8" fmla="*/ 479 w 1649"/>
                  <a:gd name="T9" fmla="*/ 180 h 1050"/>
                  <a:gd name="T10" fmla="*/ 449 w 1649"/>
                  <a:gd name="T11" fmla="*/ 300 h 1050"/>
                  <a:gd name="T12" fmla="*/ 269 w 1649"/>
                  <a:gd name="T13" fmla="*/ 240 h 1050"/>
                  <a:gd name="T14" fmla="*/ 359 w 1649"/>
                  <a:gd name="T15" fmla="*/ 360 h 1050"/>
                  <a:gd name="T16" fmla="*/ 449 w 1649"/>
                  <a:gd name="T17" fmla="*/ 300 h 1050"/>
                  <a:gd name="T18" fmla="*/ 839 w 1649"/>
                  <a:gd name="T19" fmla="*/ 240 h 1050"/>
                  <a:gd name="T20" fmla="*/ 749 w 1649"/>
                  <a:gd name="T21" fmla="*/ 330 h 1050"/>
                  <a:gd name="T22" fmla="*/ 689 w 1649"/>
                  <a:gd name="T23" fmla="*/ 420 h 1050"/>
                  <a:gd name="T24" fmla="*/ 539 w 1649"/>
                  <a:gd name="T25" fmla="*/ 510 h 1050"/>
                  <a:gd name="T26" fmla="*/ 539 w 1649"/>
                  <a:gd name="T27" fmla="*/ 660 h 1050"/>
                  <a:gd name="T28" fmla="*/ 659 w 1649"/>
                  <a:gd name="T29" fmla="*/ 570 h 1050"/>
                  <a:gd name="T30" fmla="*/ 809 w 1649"/>
                  <a:gd name="T31" fmla="*/ 450 h 1050"/>
                  <a:gd name="T32" fmla="*/ 1049 w 1649"/>
                  <a:gd name="T33" fmla="*/ 300 h 1050"/>
                  <a:gd name="T34" fmla="*/ 1139 w 1649"/>
                  <a:gd name="T35" fmla="*/ 360 h 1050"/>
                  <a:gd name="T36" fmla="*/ 1229 w 1649"/>
                  <a:gd name="T37" fmla="*/ 480 h 1050"/>
                  <a:gd name="T38" fmla="*/ 1319 w 1649"/>
                  <a:gd name="T39" fmla="*/ 360 h 1050"/>
                  <a:gd name="T40" fmla="*/ 1139 w 1649"/>
                  <a:gd name="T41" fmla="*/ 360 h 1050"/>
                  <a:gd name="T42" fmla="*/ 1139 w 1649"/>
                  <a:gd name="T43" fmla="*/ 511 h 1050"/>
                  <a:gd name="T44" fmla="*/ 1049 w 1649"/>
                  <a:gd name="T45" fmla="*/ 480 h 1050"/>
                  <a:gd name="T46" fmla="*/ 1019 w 1649"/>
                  <a:gd name="T47" fmla="*/ 570 h 1050"/>
                  <a:gd name="T48" fmla="*/ 1019 w 1649"/>
                  <a:gd name="T49" fmla="*/ 810 h 1050"/>
                  <a:gd name="T50" fmla="*/ 1139 w 1649"/>
                  <a:gd name="T51" fmla="*/ 720 h 1050"/>
                  <a:gd name="T52" fmla="*/ 1227 w 1649"/>
                  <a:gd name="T53" fmla="*/ 812 h 1050"/>
                  <a:gd name="T54" fmla="*/ 1199 w 1649"/>
                  <a:gd name="T55" fmla="*/ 630 h 1050"/>
                  <a:gd name="T56" fmla="*/ 1289 w 1649"/>
                  <a:gd name="T57" fmla="*/ 570 h 1050"/>
                  <a:gd name="T58" fmla="*/ 1409 w 1649"/>
                  <a:gd name="T59" fmla="*/ 630 h 1050"/>
                  <a:gd name="T60" fmla="*/ 1289 w 1649"/>
                  <a:gd name="T61" fmla="*/ 690 h 1050"/>
                  <a:gd name="T62" fmla="*/ 1379 w 1649"/>
                  <a:gd name="T63" fmla="*/ 750 h 1050"/>
                  <a:gd name="T64" fmla="*/ 1649 w 1649"/>
                  <a:gd name="T65" fmla="*/ 720 h 1050"/>
                  <a:gd name="T66" fmla="*/ 1529 w 1649"/>
                  <a:gd name="T67" fmla="*/ 780 h 1050"/>
                  <a:gd name="T68" fmla="*/ 1559 w 1649"/>
                  <a:gd name="T69" fmla="*/ 1050 h 1050"/>
                  <a:gd name="T70" fmla="*/ 1349 w 1649"/>
                  <a:gd name="T71" fmla="*/ 87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1050">
                    <a:moveTo>
                      <a:pt x="0" y="0"/>
                    </a:moveTo>
                    <a:lnTo>
                      <a:pt x="179" y="30"/>
                    </a:lnTo>
                    <a:lnTo>
                      <a:pt x="299" y="120"/>
                    </a:lnTo>
                    <a:lnTo>
                      <a:pt x="269" y="240"/>
                    </a:lnTo>
                    <a:lnTo>
                      <a:pt x="479" y="180"/>
                    </a:lnTo>
                    <a:lnTo>
                      <a:pt x="449" y="300"/>
                    </a:lnTo>
                    <a:lnTo>
                      <a:pt x="269" y="240"/>
                    </a:lnTo>
                    <a:lnTo>
                      <a:pt x="359" y="360"/>
                    </a:lnTo>
                    <a:lnTo>
                      <a:pt x="449" y="300"/>
                    </a:lnTo>
                    <a:lnTo>
                      <a:pt x="839" y="240"/>
                    </a:lnTo>
                    <a:lnTo>
                      <a:pt x="749" y="330"/>
                    </a:lnTo>
                    <a:lnTo>
                      <a:pt x="689" y="420"/>
                    </a:lnTo>
                    <a:lnTo>
                      <a:pt x="539" y="510"/>
                    </a:lnTo>
                    <a:lnTo>
                      <a:pt x="539" y="660"/>
                    </a:lnTo>
                    <a:lnTo>
                      <a:pt x="659" y="570"/>
                    </a:lnTo>
                    <a:lnTo>
                      <a:pt x="809" y="450"/>
                    </a:lnTo>
                    <a:lnTo>
                      <a:pt x="1049" y="300"/>
                    </a:lnTo>
                    <a:lnTo>
                      <a:pt x="1139" y="360"/>
                    </a:lnTo>
                    <a:lnTo>
                      <a:pt x="1229" y="480"/>
                    </a:lnTo>
                    <a:lnTo>
                      <a:pt x="1319" y="360"/>
                    </a:lnTo>
                    <a:lnTo>
                      <a:pt x="1139" y="360"/>
                    </a:lnTo>
                    <a:lnTo>
                      <a:pt x="1139" y="511"/>
                    </a:lnTo>
                    <a:lnTo>
                      <a:pt x="1049" y="480"/>
                    </a:lnTo>
                    <a:lnTo>
                      <a:pt x="1019" y="570"/>
                    </a:lnTo>
                    <a:lnTo>
                      <a:pt x="1019" y="810"/>
                    </a:lnTo>
                    <a:lnTo>
                      <a:pt x="1139" y="720"/>
                    </a:lnTo>
                    <a:lnTo>
                      <a:pt x="1227" y="812"/>
                    </a:lnTo>
                    <a:lnTo>
                      <a:pt x="1199" y="630"/>
                    </a:lnTo>
                    <a:lnTo>
                      <a:pt x="1289" y="570"/>
                    </a:lnTo>
                    <a:lnTo>
                      <a:pt x="1409" y="630"/>
                    </a:lnTo>
                    <a:lnTo>
                      <a:pt x="1289" y="690"/>
                    </a:lnTo>
                    <a:lnTo>
                      <a:pt x="1379" y="750"/>
                    </a:lnTo>
                    <a:lnTo>
                      <a:pt x="1649" y="720"/>
                    </a:lnTo>
                    <a:lnTo>
                      <a:pt x="1529" y="780"/>
                    </a:lnTo>
                    <a:lnTo>
                      <a:pt x="1559" y="1050"/>
                    </a:lnTo>
                    <a:lnTo>
                      <a:pt x="1349" y="8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82" name="Freeform 2571">
                <a:extLst>
                  <a:ext uri="{FF2B5EF4-FFF2-40B4-BE49-F238E27FC236}">
                    <a16:creationId xmlns:a16="http://schemas.microsoft.com/office/drawing/2014/main" id="{F5ECA01B-A71B-4838-898C-7FA4AAC4863B}"/>
                  </a:ext>
                </a:extLst>
              </p:cNvPr>
              <p:cNvSpPr>
                <a:spLocks/>
              </p:cNvSpPr>
              <p:nvPr/>
            </p:nvSpPr>
            <p:spPr bwMode="auto">
              <a:xfrm>
                <a:off x="2505" y="300"/>
                <a:ext cx="270" cy="210"/>
              </a:xfrm>
              <a:custGeom>
                <a:avLst/>
                <a:gdLst>
                  <a:gd name="T0" fmla="*/ 120 w 270"/>
                  <a:gd name="T1" fmla="*/ 0 h 210"/>
                  <a:gd name="T2" fmla="*/ 270 w 270"/>
                  <a:gd name="T3" fmla="*/ 60 h 210"/>
                  <a:gd name="T4" fmla="*/ 0 w 270"/>
                  <a:gd name="T5" fmla="*/ 210 h 210"/>
                </a:gdLst>
                <a:ahLst/>
                <a:cxnLst>
                  <a:cxn ang="0">
                    <a:pos x="T0" y="T1"/>
                  </a:cxn>
                  <a:cxn ang="0">
                    <a:pos x="T2" y="T3"/>
                  </a:cxn>
                  <a:cxn ang="0">
                    <a:pos x="T4" y="T5"/>
                  </a:cxn>
                </a:cxnLst>
                <a:rect l="0" t="0" r="r" b="b"/>
                <a:pathLst>
                  <a:path w="270" h="210">
                    <a:moveTo>
                      <a:pt x="120" y="0"/>
                    </a:move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83" name="Freeform 2572">
                <a:extLst>
                  <a:ext uri="{FF2B5EF4-FFF2-40B4-BE49-F238E27FC236}">
                    <a16:creationId xmlns:a16="http://schemas.microsoft.com/office/drawing/2014/main" id="{491EBD2A-E5CE-484B-9965-9138AB4B35D4}"/>
                  </a:ext>
                </a:extLst>
              </p:cNvPr>
              <p:cNvSpPr>
                <a:spLocks/>
              </p:cNvSpPr>
              <p:nvPr/>
            </p:nvSpPr>
            <p:spPr bwMode="auto">
              <a:xfrm>
                <a:off x="2775" y="360"/>
                <a:ext cx="180" cy="90"/>
              </a:xfrm>
              <a:custGeom>
                <a:avLst/>
                <a:gdLst>
                  <a:gd name="T0" fmla="*/ 120 w 180"/>
                  <a:gd name="T1" fmla="*/ 90 h 90"/>
                  <a:gd name="T2" fmla="*/ 0 w 180"/>
                  <a:gd name="T3" fmla="*/ 0 h 90"/>
                  <a:gd name="T4" fmla="*/ 180 w 180"/>
                  <a:gd name="T5" fmla="*/ 0 h 90"/>
                  <a:gd name="T6" fmla="*/ 120 w 180"/>
                  <a:gd name="T7" fmla="*/ 90 h 90"/>
                </a:gdLst>
                <a:ahLst/>
                <a:cxnLst>
                  <a:cxn ang="0">
                    <a:pos x="T0" y="T1"/>
                  </a:cxn>
                  <a:cxn ang="0">
                    <a:pos x="T2" y="T3"/>
                  </a:cxn>
                  <a:cxn ang="0">
                    <a:pos x="T4" y="T5"/>
                  </a:cxn>
                  <a:cxn ang="0">
                    <a:pos x="T6" y="T7"/>
                  </a:cxn>
                </a:cxnLst>
                <a:rect l="0" t="0" r="r" b="b"/>
                <a:pathLst>
                  <a:path w="180" h="90">
                    <a:moveTo>
                      <a:pt x="120" y="90"/>
                    </a:moveTo>
                    <a:lnTo>
                      <a:pt x="0" y="0"/>
                    </a:lnTo>
                    <a:lnTo>
                      <a:pt x="180" y="0"/>
                    </a:lnTo>
                    <a:lnTo>
                      <a:pt x="12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84" name="Freeform 2573">
                <a:extLst>
                  <a:ext uri="{FF2B5EF4-FFF2-40B4-BE49-F238E27FC236}">
                    <a16:creationId xmlns:a16="http://schemas.microsoft.com/office/drawing/2014/main" id="{80C0CC92-850E-42D6-ABF4-DC988BC6FEB2}"/>
                  </a:ext>
                </a:extLst>
              </p:cNvPr>
              <p:cNvSpPr>
                <a:spLocks/>
              </p:cNvSpPr>
              <p:nvPr/>
            </p:nvSpPr>
            <p:spPr bwMode="auto">
              <a:xfrm>
                <a:off x="2595" y="30"/>
                <a:ext cx="210" cy="150"/>
              </a:xfrm>
              <a:custGeom>
                <a:avLst/>
                <a:gdLst>
                  <a:gd name="T0" fmla="*/ 120 w 210"/>
                  <a:gd name="T1" fmla="*/ 60 h 150"/>
                  <a:gd name="T2" fmla="*/ 210 w 210"/>
                  <a:gd name="T3" fmla="*/ 90 h 150"/>
                  <a:gd name="T4" fmla="*/ 0 w 210"/>
                  <a:gd name="T5" fmla="*/ 150 h 150"/>
                  <a:gd name="T6" fmla="*/ 0 w 210"/>
                  <a:gd name="T7" fmla="*/ 0 h 150"/>
                  <a:gd name="T8" fmla="*/ 120 w 210"/>
                  <a:gd name="T9" fmla="*/ 60 h 150"/>
                </a:gdLst>
                <a:ahLst/>
                <a:cxnLst>
                  <a:cxn ang="0">
                    <a:pos x="T0" y="T1"/>
                  </a:cxn>
                  <a:cxn ang="0">
                    <a:pos x="T2" y="T3"/>
                  </a:cxn>
                  <a:cxn ang="0">
                    <a:pos x="T4" y="T5"/>
                  </a:cxn>
                  <a:cxn ang="0">
                    <a:pos x="T6" y="T7"/>
                  </a:cxn>
                  <a:cxn ang="0">
                    <a:pos x="T8" y="T9"/>
                  </a:cxn>
                </a:cxnLst>
                <a:rect l="0" t="0" r="r" b="b"/>
                <a:pathLst>
                  <a:path w="210" h="150">
                    <a:moveTo>
                      <a:pt x="120" y="60"/>
                    </a:moveTo>
                    <a:lnTo>
                      <a:pt x="210" y="90"/>
                    </a:lnTo>
                    <a:lnTo>
                      <a:pt x="0" y="150"/>
                    </a:lnTo>
                    <a:lnTo>
                      <a:pt x="0" y="0"/>
                    </a:lnTo>
                    <a:lnTo>
                      <a:pt x="120" y="6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85" name="Line 2574">
                <a:extLst>
                  <a:ext uri="{FF2B5EF4-FFF2-40B4-BE49-F238E27FC236}">
                    <a16:creationId xmlns:a16="http://schemas.microsoft.com/office/drawing/2014/main" id="{E7EF79C8-28F4-4FBE-87AB-BADAB398C11D}"/>
                  </a:ext>
                </a:extLst>
              </p:cNvPr>
              <p:cNvSpPr>
                <a:spLocks noChangeShapeType="1"/>
              </p:cNvSpPr>
              <p:nvPr/>
            </p:nvSpPr>
            <p:spPr bwMode="auto">
              <a:xfrm flipH="1">
                <a:off x="2385" y="1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86" name="Freeform 2575">
                <a:extLst>
                  <a:ext uri="{FF2B5EF4-FFF2-40B4-BE49-F238E27FC236}">
                    <a16:creationId xmlns:a16="http://schemas.microsoft.com/office/drawing/2014/main" id="{017E3464-3FE4-4F2E-9EF7-BD8E66D07271}"/>
                  </a:ext>
                </a:extLst>
              </p:cNvPr>
              <p:cNvSpPr>
                <a:spLocks/>
              </p:cNvSpPr>
              <p:nvPr/>
            </p:nvSpPr>
            <p:spPr bwMode="auto">
              <a:xfrm>
                <a:off x="1876" y="30"/>
                <a:ext cx="2398" cy="390"/>
              </a:xfrm>
              <a:custGeom>
                <a:avLst/>
                <a:gdLst>
                  <a:gd name="T0" fmla="*/ 509 w 2398"/>
                  <a:gd name="T1" fmla="*/ 60 h 390"/>
                  <a:gd name="T2" fmla="*/ 419 w 2398"/>
                  <a:gd name="T3" fmla="*/ 120 h 390"/>
                  <a:gd name="T4" fmla="*/ 239 w 2398"/>
                  <a:gd name="T5" fmla="*/ 60 h 390"/>
                  <a:gd name="T6" fmla="*/ 90 w 2398"/>
                  <a:gd name="T7" fmla="*/ 30 h 390"/>
                  <a:gd name="T8" fmla="*/ 0 w 2398"/>
                  <a:gd name="T9" fmla="*/ 120 h 390"/>
                  <a:gd name="T10" fmla="*/ 180 w 2398"/>
                  <a:gd name="T11" fmla="*/ 180 h 390"/>
                  <a:gd name="T12" fmla="*/ 90 w 2398"/>
                  <a:gd name="T13" fmla="*/ 330 h 390"/>
                  <a:gd name="T14" fmla="*/ 239 w 2398"/>
                  <a:gd name="T15" fmla="*/ 300 h 390"/>
                  <a:gd name="T16" fmla="*/ 239 w 2398"/>
                  <a:gd name="T17" fmla="*/ 60 h 390"/>
                  <a:gd name="T18" fmla="*/ 359 w 2398"/>
                  <a:gd name="T19" fmla="*/ 210 h 390"/>
                  <a:gd name="T20" fmla="*/ 359 w 2398"/>
                  <a:gd name="T21" fmla="*/ 360 h 390"/>
                  <a:gd name="T22" fmla="*/ 479 w 2398"/>
                  <a:gd name="T23" fmla="*/ 300 h 390"/>
                  <a:gd name="T24" fmla="*/ 419 w 2398"/>
                  <a:gd name="T25" fmla="*/ 120 h 390"/>
                  <a:gd name="T26" fmla="*/ 509 w 2398"/>
                  <a:gd name="T27" fmla="*/ 180 h 390"/>
                  <a:gd name="T28" fmla="*/ 509 w 2398"/>
                  <a:gd name="T29" fmla="*/ 60 h 390"/>
                  <a:gd name="T30" fmla="*/ 629 w 2398"/>
                  <a:gd name="T31" fmla="*/ 30 h 390"/>
                  <a:gd name="T32" fmla="*/ 719 w 2398"/>
                  <a:gd name="T33" fmla="*/ 0 h 390"/>
                  <a:gd name="T34" fmla="*/ 629 w 2398"/>
                  <a:gd name="T35" fmla="*/ 120 h 390"/>
                  <a:gd name="T36" fmla="*/ 719 w 2398"/>
                  <a:gd name="T37" fmla="*/ 150 h 390"/>
                  <a:gd name="T38" fmla="*/ 599 w 2398"/>
                  <a:gd name="T39" fmla="*/ 240 h 390"/>
                  <a:gd name="T40" fmla="*/ 659 w 2398"/>
                  <a:gd name="T41" fmla="*/ 360 h 390"/>
                  <a:gd name="T42" fmla="*/ 749 w 2398"/>
                  <a:gd name="T43" fmla="*/ 270 h 390"/>
                  <a:gd name="T44" fmla="*/ 839 w 2398"/>
                  <a:gd name="T45" fmla="*/ 60 h 390"/>
                  <a:gd name="T46" fmla="*/ 869 w 2398"/>
                  <a:gd name="T47" fmla="*/ 210 h 390"/>
                  <a:gd name="T48" fmla="*/ 929 w 2398"/>
                  <a:gd name="T49" fmla="*/ 90 h 390"/>
                  <a:gd name="T50" fmla="*/ 899 w 2398"/>
                  <a:gd name="T51" fmla="*/ 330 h 390"/>
                  <a:gd name="T52" fmla="*/ 1019 w 2398"/>
                  <a:gd name="T53" fmla="*/ 240 h 390"/>
                  <a:gd name="T54" fmla="*/ 1079 w 2398"/>
                  <a:gd name="T55" fmla="*/ 330 h 390"/>
                  <a:gd name="T56" fmla="*/ 1139 w 2398"/>
                  <a:gd name="T57" fmla="*/ 180 h 390"/>
                  <a:gd name="T58" fmla="*/ 1079 w 2398"/>
                  <a:gd name="T59" fmla="*/ 60 h 390"/>
                  <a:gd name="T60" fmla="*/ 1199 w 2398"/>
                  <a:gd name="T61" fmla="*/ 60 h 390"/>
                  <a:gd name="T62" fmla="*/ 1319 w 2398"/>
                  <a:gd name="T63" fmla="*/ 0 h 390"/>
                  <a:gd name="T64" fmla="*/ 1319 w 2398"/>
                  <a:gd name="T65" fmla="*/ 210 h 390"/>
                  <a:gd name="T66" fmla="*/ 1199 w 2398"/>
                  <a:gd name="T67" fmla="*/ 300 h 390"/>
                  <a:gd name="T68" fmla="*/ 1319 w 2398"/>
                  <a:gd name="T69" fmla="*/ 360 h 390"/>
                  <a:gd name="T70" fmla="*/ 1439 w 2398"/>
                  <a:gd name="T71" fmla="*/ 270 h 390"/>
                  <a:gd name="T72" fmla="*/ 1379 w 2398"/>
                  <a:gd name="T73" fmla="*/ 120 h 390"/>
                  <a:gd name="T74" fmla="*/ 1469 w 2398"/>
                  <a:gd name="T75" fmla="*/ 60 h 390"/>
                  <a:gd name="T76" fmla="*/ 1589 w 2398"/>
                  <a:gd name="T77" fmla="*/ 120 h 390"/>
                  <a:gd name="T78" fmla="*/ 1559 w 2398"/>
                  <a:gd name="T79" fmla="*/ 240 h 390"/>
                  <a:gd name="T80" fmla="*/ 1619 w 2398"/>
                  <a:gd name="T81" fmla="*/ 360 h 390"/>
                  <a:gd name="T82" fmla="*/ 1709 w 2398"/>
                  <a:gd name="T83" fmla="*/ 270 h 390"/>
                  <a:gd name="T84" fmla="*/ 1679 w 2398"/>
                  <a:gd name="T85" fmla="*/ 150 h 390"/>
                  <a:gd name="T86" fmla="*/ 1679 w 2398"/>
                  <a:gd name="T87" fmla="*/ 0 h 390"/>
                  <a:gd name="T88" fmla="*/ 1799 w 2398"/>
                  <a:gd name="T89" fmla="*/ 60 h 390"/>
                  <a:gd name="T90" fmla="*/ 1829 w 2398"/>
                  <a:gd name="T91" fmla="*/ 210 h 390"/>
                  <a:gd name="T92" fmla="*/ 1978 w 2398"/>
                  <a:gd name="T93" fmla="*/ 120 h 390"/>
                  <a:gd name="T94" fmla="*/ 1948 w 2398"/>
                  <a:gd name="T95" fmla="*/ 240 h 390"/>
                  <a:gd name="T96" fmla="*/ 1888 w 2398"/>
                  <a:gd name="T97" fmla="*/ 360 h 390"/>
                  <a:gd name="T98" fmla="*/ 2068 w 2398"/>
                  <a:gd name="T99" fmla="*/ 330 h 390"/>
                  <a:gd name="T100" fmla="*/ 2248 w 2398"/>
                  <a:gd name="T101" fmla="*/ 390 h 390"/>
                  <a:gd name="T102" fmla="*/ 2398 w 2398"/>
                  <a:gd name="T103" fmla="*/ 270 h 390"/>
                  <a:gd name="T104" fmla="*/ 2278 w 2398"/>
                  <a:gd name="T105" fmla="*/ 240 h 390"/>
                  <a:gd name="T106" fmla="*/ 2368 w 2398"/>
                  <a:gd name="T107" fmla="*/ 12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8" h="390">
                    <a:moveTo>
                      <a:pt x="509" y="60"/>
                    </a:moveTo>
                    <a:lnTo>
                      <a:pt x="419" y="120"/>
                    </a:lnTo>
                    <a:lnTo>
                      <a:pt x="239" y="60"/>
                    </a:lnTo>
                    <a:lnTo>
                      <a:pt x="90" y="30"/>
                    </a:lnTo>
                    <a:lnTo>
                      <a:pt x="0" y="120"/>
                    </a:lnTo>
                    <a:lnTo>
                      <a:pt x="180" y="180"/>
                    </a:lnTo>
                    <a:lnTo>
                      <a:pt x="90" y="330"/>
                    </a:lnTo>
                    <a:lnTo>
                      <a:pt x="239" y="300"/>
                    </a:lnTo>
                    <a:lnTo>
                      <a:pt x="239" y="60"/>
                    </a:lnTo>
                    <a:lnTo>
                      <a:pt x="359" y="210"/>
                    </a:lnTo>
                    <a:lnTo>
                      <a:pt x="359" y="360"/>
                    </a:lnTo>
                    <a:lnTo>
                      <a:pt x="479" y="300"/>
                    </a:lnTo>
                    <a:lnTo>
                      <a:pt x="419" y="120"/>
                    </a:lnTo>
                    <a:lnTo>
                      <a:pt x="509" y="180"/>
                    </a:lnTo>
                    <a:lnTo>
                      <a:pt x="509" y="60"/>
                    </a:lnTo>
                    <a:lnTo>
                      <a:pt x="629" y="30"/>
                    </a:lnTo>
                    <a:lnTo>
                      <a:pt x="719" y="0"/>
                    </a:lnTo>
                    <a:lnTo>
                      <a:pt x="629" y="120"/>
                    </a:lnTo>
                    <a:lnTo>
                      <a:pt x="719" y="150"/>
                    </a:lnTo>
                    <a:lnTo>
                      <a:pt x="599" y="240"/>
                    </a:lnTo>
                    <a:lnTo>
                      <a:pt x="659" y="360"/>
                    </a:lnTo>
                    <a:lnTo>
                      <a:pt x="749" y="270"/>
                    </a:lnTo>
                    <a:lnTo>
                      <a:pt x="839" y="60"/>
                    </a:lnTo>
                    <a:lnTo>
                      <a:pt x="869" y="210"/>
                    </a:lnTo>
                    <a:lnTo>
                      <a:pt x="929" y="90"/>
                    </a:lnTo>
                    <a:lnTo>
                      <a:pt x="899" y="330"/>
                    </a:lnTo>
                    <a:lnTo>
                      <a:pt x="1019" y="240"/>
                    </a:lnTo>
                    <a:lnTo>
                      <a:pt x="1079" y="330"/>
                    </a:lnTo>
                    <a:lnTo>
                      <a:pt x="1139" y="180"/>
                    </a:lnTo>
                    <a:lnTo>
                      <a:pt x="1079" y="60"/>
                    </a:lnTo>
                    <a:lnTo>
                      <a:pt x="1199" y="60"/>
                    </a:lnTo>
                    <a:lnTo>
                      <a:pt x="1319" y="0"/>
                    </a:lnTo>
                    <a:lnTo>
                      <a:pt x="1319" y="210"/>
                    </a:lnTo>
                    <a:lnTo>
                      <a:pt x="1199" y="300"/>
                    </a:lnTo>
                    <a:lnTo>
                      <a:pt x="1319" y="360"/>
                    </a:lnTo>
                    <a:lnTo>
                      <a:pt x="1439" y="270"/>
                    </a:lnTo>
                    <a:lnTo>
                      <a:pt x="1379" y="120"/>
                    </a:lnTo>
                    <a:lnTo>
                      <a:pt x="1469" y="60"/>
                    </a:lnTo>
                    <a:lnTo>
                      <a:pt x="1589" y="120"/>
                    </a:lnTo>
                    <a:lnTo>
                      <a:pt x="1559" y="240"/>
                    </a:lnTo>
                    <a:lnTo>
                      <a:pt x="1619" y="360"/>
                    </a:lnTo>
                    <a:lnTo>
                      <a:pt x="1709" y="270"/>
                    </a:lnTo>
                    <a:lnTo>
                      <a:pt x="1679" y="150"/>
                    </a:lnTo>
                    <a:lnTo>
                      <a:pt x="1679" y="0"/>
                    </a:lnTo>
                    <a:lnTo>
                      <a:pt x="1799" y="60"/>
                    </a:lnTo>
                    <a:lnTo>
                      <a:pt x="1829" y="210"/>
                    </a:lnTo>
                    <a:lnTo>
                      <a:pt x="1978" y="120"/>
                    </a:lnTo>
                    <a:lnTo>
                      <a:pt x="1948" y="240"/>
                    </a:lnTo>
                    <a:lnTo>
                      <a:pt x="1888" y="360"/>
                    </a:lnTo>
                    <a:lnTo>
                      <a:pt x="2068" y="330"/>
                    </a:lnTo>
                    <a:lnTo>
                      <a:pt x="2248" y="390"/>
                    </a:lnTo>
                    <a:lnTo>
                      <a:pt x="2398" y="270"/>
                    </a:lnTo>
                    <a:lnTo>
                      <a:pt x="2278" y="240"/>
                    </a:lnTo>
                    <a:lnTo>
                      <a:pt x="2368"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87" name="Line 2576">
                <a:extLst>
                  <a:ext uri="{FF2B5EF4-FFF2-40B4-BE49-F238E27FC236}">
                    <a16:creationId xmlns:a16="http://schemas.microsoft.com/office/drawing/2014/main" id="{8DBF2DF5-1590-440E-A50F-C4126532EE76}"/>
                  </a:ext>
                </a:extLst>
              </p:cNvPr>
              <p:cNvSpPr>
                <a:spLocks noChangeShapeType="1"/>
              </p:cNvSpPr>
              <p:nvPr/>
            </p:nvSpPr>
            <p:spPr bwMode="auto">
              <a:xfrm flipV="1">
                <a:off x="2235" y="15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88" name="Freeform 2577">
                <a:extLst>
                  <a:ext uri="{FF2B5EF4-FFF2-40B4-BE49-F238E27FC236}">
                    <a16:creationId xmlns:a16="http://schemas.microsoft.com/office/drawing/2014/main" id="{C65A8C78-B657-4918-82D9-4BF9B381CF21}"/>
                  </a:ext>
                </a:extLst>
              </p:cNvPr>
              <p:cNvSpPr>
                <a:spLocks/>
              </p:cNvSpPr>
              <p:nvPr/>
            </p:nvSpPr>
            <p:spPr bwMode="auto">
              <a:xfrm>
                <a:off x="2355" y="210"/>
                <a:ext cx="180" cy="360"/>
              </a:xfrm>
              <a:custGeom>
                <a:avLst/>
                <a:gdLst>
                  <a:gd name="T0" fmla="*/ 180 w 180"/>
                  <a:gd name="T1" fmla="*/ 180 h 360"/>
                  <a:gd name="T2" fmla="*/ 0 w 180"/>
                  <a:gd name="T3" fmla="*/ 120 h 360"/>
                  <a:gd name="T4" fmla="*/ 30 w 180"/>
                  <a:gd name="T5" fmla="*/ 0 h 360"/>
                  <a:gd name="T6" fmla="*/ 120 w 180"/>
                  <a:gd name="T7" fmla="*/ 60 h 360"/>
                  <a:gd name="T8" fmla="*/ 60 w 180"/>
                  <a:gd name="T9" fmla="*/ 360 h 360"/>
                </a:gdLst>
                <a:ahLst/>
                <a:cxnLst>
                  <a:cxn ang="0">
                    <a:pos x="T0" y="T1"/>
                  </a:cxn>
                  <a:cxn ang="0">
                    <a:pos x="T2" y="T3"/>
                  </a:cxn>
                  <a:cxn ang="0">
                    <a:pos x="T4" y="T5"/>
                  </a:cxn>
                  <a:cxn ang="0">
                    <a:pos x="T6" y="T7"/>
                  </a:cxn>
                  <a:cxn ang="0">
                    <a:pos x="T8" y="T9"/>
                  </a:cxn>
                </a:cxnLst>
                <a:rect l="0" t="0" r="r" b="b"/>
                <a:pathLst>
                  <a:path w="180" h="360">
                    <a:moveTo>
                      <a:pt x="180" y="180"/>
                    </a:moveTo>
                    <a:lnTo>
                      <a:pt x="0" y="120"/>
                    </a:lnTo>
                    <a:lnTo>
                      <a:pt x="30" y="0"/>
                    </a:lnTo>
                    <a:lnTo>
                      <a:pt x="120" y="60"/>
                    </a:lnTo>
                    <a:lnTo>
                      <a:pt x="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89" name="Line 2578">
                <a:extLst>
                  <a:ext uri="{FF2B5EF4-FFF2-40B4-BE49-F238E27FC236}">
                    <a16:creationId xmlns:a16="http://schemas.microsoft.com/office/drawing/2014/main" id="{41AD668A-7D9D-45E3-AE5B-9C587F264EE3}"/>
                  </a:ext>
                </a:extLst>
              </p:cNvPr>
              <p:cNvSpPr>
                <a:spLocks noChangeShapeType="1"/>
              </p:cNvSpPr>
              <p:nvPr/>
            </p:nvSpPr>
            <p:spPr bwMode="auto">
              <a:xfrm>
                <a:off x="2235" y="390"/>
                <a:ext cx="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90" name="Freeform 2579">
                <a:extLst>
                  <a:ext uri="{FF2B5EF4-FFF2-40B4-BE49-F238E27FC236}">
                    <a16:creationId xmlns:a16="http://schemas.microsoft.com/office/drawing/2014/main" id="{FE0ED69F-107E-45EA-9B41-DB628022BB9C}"/>
                  </a:ext>
                </a:extLst>
              </p:cNvPr>
              <p:cNvSpPr>
                <a:spLocks/>
              </p:cNvSpPr>
              <p:nvPr/>
            </p:nvSpPr>
            <p:spPr bwMode="auto">
              <a:xfrm>
                <a:off x="2625" y="300"/>
                <a:ext cx="180" cy="330"/>
              </a:xfrm>
              <a:custGeom>
                <a:avLst/>
                <a:gdLst>
                  <a:gd name="T0" fmla="*/ 180 w 180"/>
                  <a:gd name="T1" fmla="*/ 240 h 330"/>
                  <a:gd name="T2" fmla="*/ 0 w 180"/>
                  <a:gd name="T3" fmla="*/ 0 h 330"/>
                  <a:gd name="T4" fmla="*/ 120 w 180"/>
                  <a:gd name="T5" fmla="*/ 330 h 330"/>
                </a:gdLst>
                <a:ahLst/>
                <a:cxnLst>
                  <a:cxn ang="0">
                    <a:pos x="T0" y="T1"/>
                  </a:cxn>
                  <a:cxn ang="0">
                    <a:pos x="T2" y="T3"/>
                  </a:cxn>
                  <a:cxn ang="0">
                    <a:pos x="T4" y="T5"/>
                  </a:cxn>
                </a:cxnLst>
                <a:rect l="0" t="0" r="r" b="b"/>
                <a:pathLst>
                  <a:path w="180" h="330">
                    <a:moveTo>
                      <a:pt x="180" y="240"/>
                    </a:moveTo>
                    <a:lnTo>
                      <a:pt x="0" y="0"/>
                    </a:lnTo>
                    <a:lnTo>
                      <a:pt x="12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391" name="Line 2580">
                <a:extLst>
                  <a:ext uri="{FF2B5EF4-FFF2-40B4-BE49-F238E27FC236}">
                    <a16:creationId xmlns:a16="http://schemas.microsoft.com/office/drawing/2014/main" id="{9B4AE8E5-A80D-4ACB-A0D3-298B8809406C}"/>
                  </a:ext>
                </a:extLst>
              </p:cNvPr>
              <p:cNvSpPr>
                <a:spLocks noChangeShapeType="1"/>
              </p:cNvSpPr>
              <p:nvPr/>
            </p:nvSpPr>
            <p:spPr bwMode="auto">
              <a:xfrm>
                <a:off x="2595" y="18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2605" name="Group 2782">
              <a:extLst>
                <a:ext uri="{FF2B5EF4-FFF2-40B4-BE49-F238E27FC236}">
                  <a16:creationId xmlns:a16="http://schemas.microsoft.com/office/drawing/2014/main" id="{A556337D-0371-43B3-996A-8EDCA23E7E48}"/>
                </a:ext>
              </a:extLst>
            </p:cNvPr>
            <p:cNvGrpSpPr>
              <a:grpSpLocks/>
            </p:cNvGrpSpPr>
            <p:nvPr/>
          </p:nvGrpSpPr>
          <p:grpSpPr bwMode="auto">
            <a:xfrm>
              <a:off x="1246" y="0"/>
              <a:ext cx="3268" cy="3210"/>
              <a:chOff x="1246" y="0"/>
              <a:chExt cx="3268" cy="3210"/>
            </a:xfrm>
          </p:grpSpPr>
          <p:sp>
            <p:nvSpPr>
              <p:cNvPr id="2992" name="Freeform 2582">
                <a:extLst>
                  <a:ext uri="{FF2B5EF4-FFF2-40B4-BE49-F238E27FC236}">
                    <a16:creationId xmlns:a16="http://schemas.microsoft.com/office/drawing/2014/main" id="{11A3552C-3620-4963-A46F-DE2C924C5D44}"/>
                  </a:ext>
                </a:extLst>
              </p:cNvPr>
              <p:cNvSpPr>
                <a:spLocks/>
              </p:cNvSpPr>
              <p:nvPr/>
            </p:nvSpPr>
            <p:spPr bwMode="auto">
              <a:xfrm>
                <a:off x="2895" y="90"/>
                <a:ext cx="180" cy="240"/>
              </a:xfrm>
              <a:custGeom>
                <a:avLst/>
                <a:gdLst>
                  <a:gd name="T0" fmla="*/ 180 w 180"/>
                  <a:gd name="T1" fmla="*/ 0 h 240"/>
                  <a:gd name="T2" fmla="*/ 180 w 180"/>
                  <a:gd name="T3" fmla="*/ 240 h 240"/>
                  <a:gd name="T4" fmla="*/ 0 w 180"/>
                  <a:gd name="T5" fmla="*/ 180 h 240"/>
                </a:gdLst>
                <a:ahLst/>
                <a:cxnLst>
                  <a:cxn ang="0">
                    <a:pos x="T0" y="T1"/>
                  </a:cxn>
                  <a:cxn ang="0">
                    <a:pos x="T2" y="T3"/>
                  </a:cxn>
                  <a:cxn ang="0">
                    <a:pos x="T4" y="T5"/>
                  </a:cxn>
                </a:cxnLst>
                <a:rect l="0" t="0" r="r" b="b"/>
                <a:pathLst>
                  <a:path w="180" h="240">
                    <a:moveTo>
                      <a:pt x="180" y="0"/>
                    </a:moveTo>
                    <a:lnTo>
                      <a:pt x="180" y="24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93" name="Freeform 2583">
                <a:extLst>
                  <a:ext uri="{FF2B5EF4-FFF2-40B4-BE49-F238E27FC236}">
                    <a16:creationId xmlns:a16="http://schemas.microsoft.com/office/drawing/2014/main" id="{36185F14-2C67-45D8-88A4-FA649636A971}"/>
                  </a:ext>
                </a:extLst>
              </p:cNvPr>
              <p:cNvSpPr>
                <a:spLocks/>
              </p:cNvSpPr>
              <p:nvPr/>
            </p:nvSpPr>
            <p:spPr bwMode="auto">
              <a:xfrm>
                <a:off x="2805" y="120"/>
                <a:ext cx="450" cy="90"/>
              </a:xfrm>
              <a:custGeom>
                <a:avLst/>
                <a:gdLst>
                  <a:gd name="T0" fmla="*/ 0 w 450"/>
                  <a:gd name="T1" fmla="*/ 0 h 90"/>
                  <a:gd name="T2" fmla="*/ 210 w 450"/>
                  <a:gd name="T3" fmla="*/ 90 h 90"/>
                  <a:gd name="T4" fmla="*/ 450 w 450"/>
                  <a:gd name="T5" fmla="*/ 30 h 90"/>
                </a:gdLst>
                <a:ahLst/>
                <a:cxnLst>
                  <a:cxn ang="0">
                    <a:pos x="T0" y="T1"/>
                  </a:cxn>
                  <a:cxn ang="0">
                    <a:pos x="T2" y="T3"/>
                  </a:cxn>
                  <a:cxn ang="0">
                    <a:pos x="T4" y="T5"/>
                  </a:cxn>
                </a:cxnLst>
                <a:rect l="0" t="0" r="r" b="b"/>
                <a:pathLst>
                  <a:path w="450" h="90">
                    <a:moveTo>
                      <a:pt x="0" y="0"/>
                    </a:moveTo>
                    <a:lnTo>
                      <a:pt x="210" y="90"/>
                    </a:lnTo>
                    <a:lnTo>
                      <a:pt x="45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94" name="Freeform 2584">
                <a:extLst>
                  <a:ext uri="{FF2B5EF4-FFF2-40B4-BE49-F238E27FC236}">
                    <a16:creationId xmlns:a16="http://schemas.microsoft.com/office/drawing/2014/main" id="{0386EE2F-5186-4568-9CBE-E9FD42A9544A}"/>
                  </a:ext>
                </a:extLst>
              </p:cNvPr>
              <p:cNvSpPr>
                <a:spLocks/>
              </p:cNvSpPr>
              <p:nvPr/>
            </p:nvSpPr>
            <p:spPr bwMode="auto">
              <a:xfrm>
                <a:off x="2955" y="270"/>
                <a:ext cx="480" cy="240"/>
              </a:xfrm>
              <a:custGeom>
                <a:avLst/>
                <a:gdLst>
                  <a:gd name="T0" fmla="*/ 480 w 480"/>
                  <a:gd name="T1" fmla="*/ 0 h 240"/>
                  <a:gd name="T2" fmla="*/ 330 w 480"/>
                  <a:gd name="T3" fmla="*/ 210 h 240"/>
                  <a:gd name="T4" fmla="*/ 0 w 480"/>
                  <a:gd name="T5" fmla="*/ 90 h 240"/>
                  <a:gd name="T6" fmla="*/ 150 w 480"/>
                  <a:gd name="T7" fmla="*/ 240 h 240"/>
                </a:gdLst>
                <a:ahLst/>
                <a:cxnLst>
                  <a:cxn ang="0">
                    <a:pos x="T0" y="T1"/>
                  </a:cxn>
                  <a:cxn ang="0">
                    <a:pos x="T2" y="T3"/>
                  </a:cxn>
                  <a:cxn ang="0">
                    <a:pos x="T4" y="T5"/>
                  </a:cxn>
                  <a:cxn ang="0">
                    <a:pos x="T6" y="T7"/>
                  </a:cxn>
                </a:cxnLst>
                <a:rect l="0" t="0" r="r" b="b"/>
                <a:pathLst>
                  <a:path w="480" h="240">
                    <a:moveTo>
                      <a:pt x="480" y="0"/>
                    </a:moveTo>
                    <a:lnTo>
                      <a:pt x="330" y="210"/>
                    </a:lnTo>
                    <a:lnTo>
                      <a:pt x="0" y="9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95" name="Line 2585">
                <a:extLst>
                  <a:ext uri="{FF2B5EF4-FFF2-40B4-BE49-F238E27FC236}">
                    <a16:creationId xmlns:a16="http://schemas.microsoft.com/office/drawing/2014/main" id="{AB9ED66E-AFF3-471F-BCE5-DD2EC76B8E3C}"/>
                  </a:ext>
                </a:extLst>
              </p:cNvPr>
              <p:cNvSpPr>
                <a:spLocks noChangeShapeType="1"/>
              </p:cNvSpPr>
              <p:nvPr/>
            </p:nvSpPr>
            <p:spPr bwMode="auto">
              <a:xfrm flipV="1">
                <a:off x="3465" y="39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96" name="Freeform 2586">
                <a:extLst>
                  <a:ext uri="{FF2B5EF4-FFF2-40B4-BE49-F238E27FC236}">
                    <a16:creationId xmlns:a16="http://schemas.microsoft.com/office/drawing/2014/main" id="{CA91E15D-D39D-4B3C-894C-6F6E654CB91D}"/>
                  </a:ext>
                </a:extLst>
              </p:cNvPr>
              <p:cNvSpPr>
                <a:spLocks/>
              </p:cNvSpPr>
              <p:nvPr/>
            </p:nvSpPr>
            <p:spPr bwMode="auto">
              <a:xfrm>
                <a:off x="3585" y="240"/>
                <a:ext cx="209" cy="270"/>
              </a:xfrm>
              <a:custGeom>
                <a:avLst/>
                <a:gdLst>
                  <a:gd name="T0" fmla="*/ 0 w 209"/>
                  <a:gd name="T1" fmla="*/ 60 h 270"/>
                  <a:gd name="T2" fmla="*/ 90 w 209"/>
                  <a:gd name="T3" fmla="*/ 210 h 270"/>
                  <a:gd name="T4" fmla="*/ 120 w 209"/>
                  <a:gd name="T5" fmla="*/ 0 h 270"/>
                  <a:gd name="T6" fmla="*/ 179 w 209"/>
                  <a:gd name="T7" fmla="*/ 150 h 270"/>
                  <a:gd name="T8" fmla="*/ 209 w 209"/>
                  <a:gd name="T9" fmla="*/ 270 h 270"/>
                </a:gdLst>
                <a:ahLst/>
                <a:cxnLst>
                  <a:cxn ang="0">
                    <a:pos x="T0" y="T1"/>
                  </a:cxn>
                  <a:cxn ang="0">
                    <a:pos x="T2" y="T3"/>
                  </a:cxn>
                  <a:cxn ang="0">
                    <a:pos x="T4" y="T5"/>
                  </a:cxn>
                  <a:cxn ang="0">
                    <a:pos x="T6" y="T7"/>
                  </a:cxn>
                  <a:cxn ang="0">
                    <a:pos x="T8" y="T9"/>
                  </a:cxn>
                </a:cxnLst>
                <a:rect l="0" t="0" r="r" b="b"/>
                <a:pathLst>
                  <a:path w="209" h="270">
                    <a:moveTo>
                      <a:pt x="0" y="60"/>
                    </a:moveTo>
                    <a:lnTo>
                      <a:pt x="90" y="210"/>
                    </a:lnTo>
                    <a:lnTo>
                      <a:pt x="120" y="0"/>
                    </a:lnTo>
                    <a:lnTo>
                      <a:pt x="179" y="150"/>
                    </a:lnTo>
                    <a:lnTo>
                      <a:pt x="20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97" name="Freeform 2587">
                <a:extLst>
                  <a:ext uri="{FF2B5EF4-FFF2-40B4-BE49-F238E27FC236}">
                    <a16:creationId xmlns:a16="http://schemas.microsoft.com/office/drawing/2014/main" id="{14509826-1DA0-4F79-AD17-92ACC9BC17A5}"/>
                  </a:ext>
                </a:extLst>
              </p:cNvPr>
              <p:cNvSpPr>
                <a:spLocks/>
              </p:cNvSpPr>
              <p:nvPr/>
            </p:nvSpPr>
            <p:spPr bwMode="auto">
              <a:xfrm>
                <a:off x="3555" y="90"/>
                <a:ext cx="389" cy="270"/>
              </a:xfrm>
              <a:custGeom>
                <a:avLst/>
                <a:gdLst>
                  <a:gd name="T0" fmla="*/ 150 w 389"/>
                  <a:gd name="T1" fmla="*/ 150 h 270"/>
                  <a:gd name="T2" fmla="*/ 0 w 389"/>
                  <a:gd name="T3" fmla="*/ 90 h 270"/>
                  <a:gd name="T4" fmla="*/ 120 w 389"/>
                  <a:gd name="T5" fmla="*/ 0 h 270"/>
                  <a:gd name="T6" fmla="*/ 269 w 389"/>
                  <a:gd name="T7" fmla="*/ 180 h 270"/>
                  <a:gd name="T8" fmla="*/ 389 w 389"/>
                  <a:gd name="T9" fmla="*/ 270 h 270"/>
                </a:gdLst>
                <a:ahLst/>
                <a:cxnLst>
                  <a:cxn ang="0">
                    <a:pos x="T0" y="T1"/>
                  </a:cxn>
                  <a:cxn ang="0">
                    <a:pos x="T2" y="T3"/>
                  </a:cxn>
                  <a:cxn ang="0">
                    <a:pos x="T4" y="T5"/>
                  </a:cxn>
                  <a:cxn ang="0">
                    <a:pos x="T6" y="T7"/>
                  </a:cxn>
                  <a:cxn ang="0">
                    <a:pos x="T8" y="T9"/>
                  </a:cxn>
                </a:cxnLst>
                <a:rect l="0" t="0" r="r" b="b"/>
                <a:pathLst>
                  <a:path w="389" h="270">
                    <a:moveTo>
                      <a:pt x="150" y="150"/>
                    </a:moveTo>
                    <a:lnTo>
                      <a:pt x="0" y="90"/>
                    </a:lnTo>
                    <a:lnTo>
                      <a:pt x="120" y="0"/>
                    </a:lnTo>
                    <a:lnTo>
                      <a:pt x="269" y="180"/>
                    </a:lnTo>
                    <a:lnTo>
                      <a:pt x="38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98" name="Freeform 2588">
                <a:extLst>
                  <a:ext uri="{FF2B5EF4-FFF2-40B4-BE49-F238E27FC236}">
                    <a16:creationId xmlns:a16="http://schemas.microsoft.com/office/drawing/2014/main" id="{26BDDB77-C01D-4AE1-9CE0-7A51CDB294D9}"/>
                  </a:ext>
                </a:extLst>
              </p:cNvPr>
              <p:cNvSpPr>
                <a:spLocks/>
              </p:cNvSpPr>
              <p:nvPr/>
            </p:nvSpPr>
            <p:spPr bwMode="auto">
              <a:xfrm>
                <a:off x="3764" y="390"/>
                <a:ext cx="360" cy="360"/>
              </a:xfrm>
              <a:custGeom>
                <a:avLst/>
                <a:gdLst>
                  <a:gd name="T0" fmla="*/ 0 w 360"/>
                  <a:gd name="T1" fmla="*/ 0 h 360"/>
                  <a:gd name="T2" fmla="*/ 180 w 360"/>
                  <a:gd name="T3" fmla="*/ 90 h 360"/>
                  <a:gd name="T4" fmla="*/ 360 w 360"/>
                  <a:gd name="T5" fmla="*/ 360 h 360"/>
                </a:gdLst>
                <a:ahLst/>
                <a:cxnLst>
                  <a:cxn ang="0">
                    <a:pos x="T0" y="T1"/>
                  </a:cxn>
                  <a:cxn ang="0">
                    <a:pos x="T2" y="T3"/>
                  </a:cxn>
                  <a:cxn ang="0">
                    <a:pos x="T4" y="T5"/>
                  </a:cxn>
                </a:cxnLst>
                <a:rect l="0" t="0" r="r" b="b"/>
                <a:pathLst>
                  <a:path w="360" h="360">
                    <a:moveTo>
                      <a:pt x="0" y="0"/>
                    </a:moveTo>
                    <a:lnTo>
                      <a:pt x="180" y="90"/>
                    </a:lnTo>
                    <a:lnTo>
                      <a:pt x="3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99" name="Freeform 2589">
                <a:extLst>
                  <a:ext uri="{FF2B5EF4-FFF2-40B4-BE49-F238E27FC236}">
                    <a16:creationId xmlns:a16="http://schemas.microsoft.com/office/drawing/2014/main" id="{2661C854-7E6A-4D6A-BEA5-303BE20BEC21}"/>
                  </a:ext>
                </a:extLst>
              </p:cNvPr>
              <p:cNvSpPr>
                <a:spLocks/>
              </p:cNvSpPr>
              <p:nvPr/>
            </p:nvSpPr>
            <p:spPr bwMode="auto">
              <a:xfrm>
                <a:off x="3824" y="60"/>
                <a:ext cx="600" cy="240"/>
              </a:xfrm>
              <a:custGeom>
                <a:avLst/>
                <a:gdLst>
                  <a:gd name="T0" fmla="*/ 600 w 600"/>
                  <a:gd name="T1" fmla="*/ 0 h 240"/>
                  <a:gd name="T2" fmla="*/ 450 w 600"/>
                  <a:gd name="T3" fmla="*/ 240 h 240"/>
                  <a:gd name="T4" fmla="*/ 270 w 600"/>
                  <a:gd name="T5" fmla="*/ 60 h 240"/>
                  <a:gd name="T6" fmla="*/ 0 w 600"/>
                  <a:gd name="T7" fmla="*/ 210 h 240"/>
                </a:gdLst>
                <a:ahLst/>
                <a:cxnLst>
                  <a:cxn ang="0">
                    <a:pos x="T0" y="T1"/>
                  </a:cxn>
                  <a:cxn ang="0">
                    <a:pos x="T2" y="T3"/>
                  </a:cxn>
                  <a:cxn ang="0">
                    <a:pos x="T4" y="T5"/>
                  </a:cxn>
                  <a:cxn ang="0">
                    <a:pos x="T6" y="T7"/>
                  </a:cxn>
                </a:cxnLst>
                <a:rect l="0" t="0" r="r" b="b"/>
                <a:pathLst>
                  <a:path w="600" h="240">
                    <a:moveTo>
                      <a:pt x="600" y="0"/>
                    </a:moveTo>
                    <a:lnTo>
                      <a:pt x="450" y="240"/>
                    </a:ln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00" name="Freeform 2590">
                <a:extLst>
                  <a:ext uri="{FF2B5EF4-FFF2-40B4-BE49-F238E27FC236}">
                    <a16:creationId xmlns:a16="http://schemas.microsoft.com/office/drawing/2014/main" id="{199825CB-C6C4-48FD-B2B7-BD2B664A67E0}"/>
                  </a:ext>
                </a:extLst>
              </p:cNvPr>
              <p:cNvSpPr>
                <a:spLocks/>
              </p:cNvSpPr>
              <p:nvPr/>
            </p:nvSpPr>
            <p:spPr bwMode="auto">
              <a:xfrm>
                <a:off x="1576" y="2550"/>
                <a:ext cx="2338" cy="660"/>
              </a:xfrm>
              <a:custGeom>
                <a:avLst/>
                <a:gdLst>
                  <a:gd name="T0" fmla="*/ 30 w 2338"/>
                  <a:gd name="T1" fmla="*/ 420 h 660"/>
                  <a:gd name="T2" fmla="*/ 0 w 2338"/>
                  <a:gd name="T3" fmla="*/ 270 h 660"/>
                  <a:gd name="T4" fmla="*/ 150 w 2338"/>
                  <a:gd name="T5" fmla="*/ 510 h 660"/>
                  <a:gd name="T6" fmla="*/ 210 w 2338"/>
                  <a:gd name="T7" fmla="*/ 420 h 660"/>
                  <a:gd name="T8" fmla="*/ 210 w 2338"/>
                  <a:gd name="T9" fmla="*/ 120 h 660"/>
                  <a:gd name="T10" fmla="*/ 60 w 2338"/>
                  <a:gd name="T11" fmla="*/ 150 h 660"/>
                  <a:gd name="T12" fmla="*/ 120 w 2338"/>
                  <a:gd name="T13" fmla="*/ 0 h 660"/>
                  <a:gd name="T14" fmla="*/ 330 w 2338"/>
                  <a:gd name="T15" fmla="*/ 90 h 660"/>
                  <a:gd name="T16" fmla="*/ 420 w 2338"/>
                  <a:gd name="T17" fmla="*/ 210 h 660"/>
                  <a:gd name="T18" fmla="*/ 210 w 2338"/>
                  <a:gd name="T19" fmla="*/ 120 h 660"/>
                  <a:gd name="T20" fmla="*/ 270 w 2338"/>
                  <a:gd name="T21" fmla="*/ 240 h 660"/>
                  <a:gd name="T22" fmla="*/ 420 w 2338"/>
                  <a:gd name="T23" fmla="*/ 210 h 660"/>
                  <a:gd name="T24" fmla="*/ 510 w 2338"/>
                  <a:gd name="T25" fmla="*/ 120 h 660"/>
                  <a:gd name="T26" fmla="*/ 599 w 2338"/>
                  <a:gd name="T27" fmla="*/ 210 h 660"/>
                  <a:gd name="T28" fmla="*/ 809 w 2338"/>
                  <a:gd name="T29" fmla="*/ 150 h 660"/>
                  <a:gd name="T30" fmla="*/ 719 w 2338"/>
                  <a:gd name="T31" fmla="*/ 240 h 660"/>
                  <a:gd name="T32" fmla="*/ 510 w 2338"/>
                  <a:gd name="T33" fmla="*/ 480 h 660"/>
                  <a:gd name="T34" fmla="*/ 689 w 2338"/>
                  <a:gd name="T35" fmla="*/ 510 h 660"/>
                  <a:gd name="T36" fmla="*/ 689 w 2338"/>
                  <a:gd name="T37" fmla="*/ 660 h 660"/>
                  <a:gd name="T38" fmla="*/ 569 w 2338"/>
                  <a:gd name="T39" fmla="*/ 600 h 660"/>
                  <a:gd name="T40" fmla="*/ 300 w 2338"/>
                  <a:gd name="T41" fmla="*/ 570 h 660"/>
                  <a:gd name="T42" fmla="*/ 420 w 2338"/>
                  <a:gd name="T43" fmla="*/ 330 h 660"/>
                  <a:gd name="T44" fmla="*/ 569 w 2338"/>
                  <a:gd name="T45" fmla="*/ 360 h 660"/>
                  <a:gd name="T46" fmla="*/ 599 w 2338"/>
                  <a:gd name="T47" fmla="*/ 210 h 660"/>
                  <a:gd name="T48" fmla="*/ 749 w 2338"/>
                  <a:gd name="T49" fmla="*/ 420 h 660"/>
                  <a:gd name="T50" fmla="*/ 689 w 2338"/>
                  <a:gd name="T51" fmla="*/ 510 h 660"/>
                  <a:gd name="T52" fmla="*/ 809 w 2338"/>
                  <a:gd name="T53" fmla="*/ 600 h 660"/>
                  <a:gd name="T54" fmla="*/ 929 w 2338"/>
                  <a:gd name="T55" fmla="*/ 540 h 660"/>
                  <a:gd name="T56" fmla="*/ 1079 w 2338"/>
                  <a:gd name="T57" fmla="*/ 570 h 660"/>
                  <a:gd name="T58" fmla="*/ 1049 w 2338"/>
                  <a:gd name="T59" fmla="*/ 450 h 660"/>
                  <a:gd name="T60" fmla="*/ 959 w 2338"/>
                  <a:gd name="T61" fmla="*/ 420 h 660"/>
                  <a:gd name="T62" fmla="*/ 1049 w 2338"/>
                  <a:gd name="T63" fmla="*/ 300 h 660"/>
                  <a:gd name="T64" fmla="*/ 1169 w 2338"/>
                  <a:gd name="T65" fmla="*/ 360 h 660"/>
                  <a:gd name="T66" fmla="*/ 1259 w 2338"/>
                  <a:gd name="T67" fmla="*/ 390 h 660"/>
                  <a:gd name="T68" fmla="*/ 1199 w 2338"/>
                  <a:gd name="T69" fmla="*/ 510 h 660"/>
                  <a:gd name="T70" fmla="*/ 1349 w 2338"/>
                  <a:gd name="T71" fmla="*/ 540 h 660"/>
                  <a:gd name="T72" fmla="*/ 1409 w 2338"/>
                  <a:gd name="T73" fmla="*/ 360 h 660"/>
                  <a:gd name="T74" fmla="*/ 1469 w 2338"/>
                  <a:gd name="T75" fmla="*/ 480 h 660"/>
                  <a:gd name="T76" fmla="*/ 1529 w 2338"/>
                  <a:gd name="T77" fmla="*/ 360 h 660"/>
                  <a:gd name="T78" fmla="*/ 1529 w 2338"/>
                  <a:gd name="T79" fmla="*/ 600 h 660"/>
                  <a:gd name="T80" fmla="*/ 1409 w 2338"/>
                  <a:gd name="T81" fmla="*/ 630 h 660"/>
                  <a:gd name="T82" fmla="*/ 1649 w 2338"/>
                  <a:gd name="T83" fmla="*/ 300 h 660"/>
                  <a:gd name="T84" fmla="*/ 1649 w 2338"/>
                  <a:gd name="T85" fmla="*/ 510 h 660"/>
                  <a:gd name="T86" fmla="*/ 1709 w 2338"/>
                  <a:gd name="T87" fmla="*/ 420 h 660"/>
                  <a:gd name="T88" fmla="*/ 1799 w 2338"/>
                  <a:gd name="T89" fmla="*/ 360 h 660"/>
                  <a:gd name="T90" fmla="*/ 1799 w 2338"/>
                  <a:gd name="T91" fmla="*/ 480 h 660"/>
                  <a:gd name="T92" fmla="*/ 1739 w 2338"/>
                  <a:gd name="T93" fmla="*/ 600 h 660"/>
                  <a:gd name="T94" fmla="*/ 1889 w 2338"/>
                  <a:gd name="T95" fmla="*/ 540 h 660"/>
                  <a:gd name="T96" fmla="*/ 1949 w 2338"/>
                  <a:gd name="T97" fmla="*/ 660 h 660"/>
                  <a:gd name="T98" fmla="*/ 2039 w 2338"/>
                  <a:gd name="T99" fmla="*/ 570 h 660"/>
                  <a:gd name="T100" fmla="*/ 2009 w 2338"/>
                  <a:gd name="T101" fmla="*/ 450 h 660"/>
                  <a:gd name="T102" fmla="*/ 1919 w 2338"/>
                  <a:gd name="T103" fmla="*/ 420 h 660"/>
                  <a:gd name="T104" fmla="*/ 2009 w 2338"/>
                  <a:gd name="T105" fmla="*/ 300 h 660"/>
                  <a:gd name="T106" fmla="*/ 2129 w 2338"/>
                  <a:gd name="T107" fmla="*/ 360 h 660"/>
                  <a:gd name="T108" fmla="*/ 2159 w 2338"/>
                  <a:gd name="T109" fmla="*/ 510 h 660"/>
                  <a:gd name="T110" fmla="*/ 2338 w 2338"/>
                  <a:gd name="T111" fmla="*/ 540 h 660"/>
                  <a:gd name="T112" fmla="*/ 2218 w 2338"/>
                  <a:gd name="T113" fmla="*/ 660 h 660"/>
                  <a:gd name="T114" fmla="*/ 2248 w 2338"/>
                  <a:gd name="T115" fmla="*/ 390 h 660"/>
                  <a:gd name="T116" fmla="*/ 2069 w 2338"/>
                  <a:gd name="T117" fmla="*/ 24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8" h="660">
                    <a:moveTo>
                      <a:pt x="30" y="420"/>
                    </a:moveTo>
                    <a:lnTo>
                      <a:pt x="0" y="270"/>
                    </a:lnTo>
                    <a:lnTo>
                      <a:pt x="150" y="510"/>
                    </a:lnTo>
                    <a:lnTo>
                      <a:pt x="210" y="420"/>
                    </a:lnTo>
                    <a:lnTo>
                      <a:pt x="210" y="120"/>
                    </a:lnTo>
                    <a:lnTo>
                      <a:pt x="60" y="150"/>
                    </a:lnTo>
                    <a:lnTo>
                      <a:pt x="120" y="0"/>
                    </a:lnTo>
                    <a:lnTo>
                      <a:pt x="330" y="90"/>
                    </a:lnTo>
                    <a:lnTo>
                      <a:pt x="420" y="210"/>
                    </a:lnTo>
                    <a:lnTo>
                      <a:pt x="210" y="120"/>
                    </a:lnTo>
                    <a:lnTo>
                      <a:pt x="270" y="240"/>
                    </a:lnTo>
                    <a:lnTo>
                      <a:pt x="420" y="210"/>
                    </a:lnTo>
                    <a:lnTo>
                      <a:pt x="510" y="120"/>
                    </a:lnTo>
                    <a:lnTo>
                      <a:pt x="599" y="210"/>
                    </a:lnTo>
                    <a:lnTo>
                      <a:pt x="809" y="150"/>
                    </a:lnTo>
                    <a:lnTo>
                      <a:pt x="719" y="240"/>
                    </a:lnTo>
                    <a:lnTo>
                      <a:pt x="510" y="480"/>
                    </a:lnTo>
                    <a:lnTo>
                      <a:pt x="689" y="510"/>
                    </a:lnTo>
                    <a:lnTo>
                      <a:pt x="689" y="660"/>
                    </a:lnTo>
                    <a:lnTo>
                      <a:pt x="569" y="600"/>
                    </a:lnTo>
                    <a:lnTo>
                      <a:pt x="300" y="570"/>
                    </a:lnTo>
                    <a:lnTo>
                      <a:pt x="420" y="330"/>
                    </a:lnTo>
                    <a:lnTo>
                      <a:pt x="569" y="360"/>
                    </a:lnTo>
                    <a:lnTo>
                      <a:pt x="599" y="210"/>
                    </a:lnTo>
                    <a:lnTo>
                      <a:pt x="749" y="420"/>
                    </a:lnTo>
                    <a:lnTo>
                      <a:pt x="689" y="510"/>
                    </a:lnTo>
                    <a:lnTo>
                      <a:pt x="809" y="600"/>
                    </a:lnTo>
                    <a:lnTo>
                      <a:pt x="929" y="540"/>
                    </a:lnTo>
                    <a:lnTo>
                      <a:pt x="1079" y="570"/>
                    </a:lnTo>
                    <a:lnTo>
                      <a:pt x="1049" y="450"/>
                    </a:lnTo>
                    <a:lnTo>
                      <a:pt x="959" y="420"/>
                    </a:lnTo>
                    <a:lnTo>
                      <a:pt x="1049" y="300"/>
                    </a:lnTo>
                    <a:lnTo>
                      <a:pt x="1169" y="360"/>
                    </a:lnTo>
                    <a:lnTo>
                      <a:pt x="1259" y="390"/>
                    </a:lnTo>
                    <a:lnTo>
                      <a:pt x="1199" y="510"/>
                    </a:lnTo>
                    <a:lnTo>
                      <a:pt x="1349" y="540"/>
                    </a:lnTo>
                    <a:lnTo>
                      <a:pt x="1409" y="360"/>
                    </a:lnTo>
                    <a:lnTo>
                      <a:pt x="1469" y="480"/>
                    </a:lnTo>
                    <a:lnTo>
                      <a:pt x="1529" y="360"/>
                    </a:lnTo>
                    <a:lnTo>
                      <a:pt x="1529" y="600"/>
                    </a:lnTo>
                    <a:lnTo>
                      <a:pt x="1409" y="630"/>
                    </a:lnTo>
                    <a:lnTo>
                      <a:pt x="1649" y="300"/>
                    </a:lnTo>
                    <a:lnTo>
                      <a:pt x="1649" y="510"/>
                    </a:lnTo>
                    <a:lnTo>
                      <a:pt x="1709" y="420"/>
                    </a:lnTo>
                    <a:lnTo>
                      <a:pt x="1799" y="360"/>
                    </a:lnTo>
                    <a:lnTo>
                      <a:pt x="1799" y="480"/>
                    </a:lnTo>
                    <a:lnTo>
                      <a:pt x="1739" y="600"/>
                    </a:lnTo>
                    <a:lnTo>
                      <a:pt x="1889" y="540"/>
                    </a:lnTo>
                    <a:lnTo>
                      <a:pt x="1949" y="660"/>
                    </a:lnTo>
                    <a:lnTo>
                      <a:pt x="2039" y="570"/>
                    </a:lnTo>
                    <a:lnTo>
                      <a:pt x="2009" y="450"/>
                    </a:lnTo>
                    <a:lnTo>
                      <a:pt x="1919" y="420"/>
                    </a:lnTo>
                    <a:lnTo>
                      <a:pt x="2009" y="300"/>
                    </a:lnTo>
                    <a:lnTo>
                      <a:pt x="2129" y="360"/>
                    </a:lnTo>
                    <a:lnTo>
                      <a:pt x="2159" y="510"/>
                    </a:lnTo>
                    <a:lnTo>
                      <a:pt x="2338" y="540"/>
                    </a:lnTo>
                    <a:lnTo>
                      <a:pt x="2218" y="660"/>
                    </a:lnTo>
                    <a:lnTo>
                      <a:pt x="2248" y="390"/>
                    </a:lnTo>
                    <a:lnTo>
                      <a:pt x="2069"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01" name="Freeform 2591">
                <a:extLst>
                  <a:ext uri="{FF2B5EF4-FFF2-40B4-BE49-F238E27FC236}">
                    <a16:creationId xmlns:a16="http://schemas.microsoft.com/office/drawing/2014/main" id="{6CF449F6-A821-45CC-9658-C228D2577A4E}"/>
                  </a:ext>
                </a:extLst>
              </p:cNvPr>
              <p:cNvSpPr>
                <a:spLocks/>
              </p:cNvSpPr>
              <p:nvPr/>
            </p:nvSpPr>
            <p:spPr bwMode="auto">
              <a:xfrm>
                <a:off x="3585" y="2760"/>
                <a:ext cx="269" cy="300"/>
              </a:xfrm>
              <a:custGeom>
                <a:avLst/>
                <a:gdLst>
                  <a:gd name="T0" fmla="*/ 269 w 269"/>
                  <a:gd name="T1" fmla="*/ 0 h 300"/>
                  <a:gd name="T2" fmla="*/ 120 w 269"/>
                  <a:gd name="T3" fmla="*/ 150 h 300"/>
                  <a:gd name="T4" fmla="*/ 0 w 269"/>
                  <a:gd name="T5" fmla="*/ 240 h 300"/>
                  <a:gd name="T6" fmla="*/ 150 w 269"/>
                  <a:gd name="T7" fmla="*/ 300 h 300"/>
                </a:gdLst>
                <a:ahLst/>
                <a:cxnLst>
                  <a:cxn ang="0">
                    <a:pos x="T0" y="T1"/>
                  </a:cxn>
                  <a:cxn ang="0">
                    <a:pos x="T2" y="T3"/>
                  </a:cxn>
                  <a:cxn ang="0">
                    <a:pos x="T4" y="T5"/>
                  </a:cxn>
                  <a:cxn ang="0">
                    <a:pos x="T6" y="T7"/>
                  </a:cxn>
                </a:cxnLst>
                <a:rect l="0" t="0" r="r" b="b"/>
                <a:pathLst>
                  <a:path w="269" h="300">
                    <a:moveTo>
                      <a:pt x="269" y="0"/>
                    </a:moveTo>
                    <a:lnTo>
                      <a:pt x="120" y="150"/>
                    </a:lnTo>
                    <a:lnTo>
                      <a:pt x="0" y="24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02" name="Freeform 2592">
                <a:extLst>
                  <a:ext uri="{FF2B5EF4-FFF2-40B4-BE49-F238E27FC236}">
                    <a16:creationId xmlns:a16="http://schemas.microsoft.com/office/drawing/2014/main" id="{6BB7F0A7-0F82-457D-BB07-74F64BF68DC9}"/>
                  </a:ext>
                </a:extLst>
              </p:cNvPr>
              <p:cNvSpPr>
                <a:spLocks/>
              </p:cNvSpPr>
              <p:nvPr/>
            </p:nvSpPr>
            <p:spPr bwMode="auto">
              <a:xfrm>
                <a:off x="2835" y="2790"/>
                <a:ext cx="1289" cy="420"/>
              </a:xfrm>
              <a:custGeom>
                <a:avLst/>
                <a:gdLst>
                  <a:gd name="T0" fmla="*/ 210 w 1289"/>
                  <a:gd name="T1" fmla="*/ 240 h 420"/>
                  <a:gd name="T2" fmla="*/ 150 w 1289"/>
                  <a:gd name="T3" fmla="*/ 390 h 420"/>
                  <a:gd name="T4" fmla="*/ 90 w 1289"/>
                  <a:gd name="T5" fmla="*/ 300 h 420"/>
                  <a:gd name="T6" fmla="*/ 0 w 1289"/>
                  <a:gd name="T7" fmla="*/ 150 h 420"/>
                  <a:gd name="T8" fmla="*/ 150 w 1289"/>
                  <a:gd name="T9" fmla="*/ 120 h 420"/>
                  <a:gd name="T10" fmla="*/ 300 w 1289"/>
                  <a:gd name="T11" fmla="*/ 30 h 420"/>
                  <a:gd name="T12" fmla="*/ 390 w 1289"/>
                  <a:gd name="T13" fmla="*/ 60 h 420"/>
                  <a:gd name="T14" fmla="*/ 450 w 1289"/>
                  <a:gd name="T15" fmla="*/ 180 h 420"/>
                  <a:gd name="T16" fmla="*/ 480 w 1289"/>
                  <a:gd name="T17" fmla="*/ 30 h 420"/>
                  <a:gd name="T18" fmla="*/ 600 w 1289"/>
                  <a:gd name="T19" fmla="*/ 0 h 420"/>
                  <a:gd name="T20" fmla="*/ 540 w 1289"/>
                  <a:gd name="T21" fmla="*/ 120 h 420"/>
                  <a:gd name="T22" fmla="*/ 660 w 1289"/>
                  <a:gd name="T23" fmla="*/ 180 h 420"/>
                  <a:gd name="T24" fmla="*/ 630 w 1289"/>
                  <a:gd name="T25" fmla="*/ 300 h 420"/>
                  <a:gd name="T26" fmla="*/ 780 w 1289"/>
                  <a:gd name="T27" fmla="*/ 330 h 420"/>
                  <a:gd name="T28" fmla="*/ 959 w 1289"/>
                  <a:gd name="T29" fmla="*/ 420 h 420"/>
                  <a:gd name="T30" fmla="*/ 1289 w 1289"/>
                  <a:gd name="T3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9" h="420">
                    <a:moveTo>
                      <a:pt x="210" y="240"/>
                    </a:moveTo>
                    <a:lnTo>
                      <a:pt x="150" y="390"/>
                    </a:lnTo>
                    <a:lnTo>
                      <a:pt x="90" y="300"/>
                    </a:lnTo>
                    <a:lnTo>
                      <a:pt x="0" y="150"/>
                    </a:lnTo>
                    <a:lnTo>
                      <a:pt x="150" y="120"/>
                    </a:lnTo>
                    <a:lnTo>
                      <a:pt x="300" y="30"/>
                    </a:lnTo>
                    <a:lnTo>
                      <a:pt x="390" y="60"/>
                    </a:lnTo>
                    <a:lnTo>
                      <a:pt x="450" y="180"/>
                    </a:lnTo>
                    <a:lnTo>
                      <a:pt x="480" y="30"/>
                    </a:lnTo>
                    <a:lnTo>
                      <a:pt x="600" y="0"/>
                    </a:lnTo>
                    <a:lnTo>
                      <a:pt x="540" y="120"/>
                    </a:lnTo>
                    <a:lnTo>
                      <a:pt x="660" y="180"/>
                    </a:lnTo>
                    <a:lnTo>
                      <a:pt x="630" y="300"/>
                    </a:lnTo>
                    <a:lnTo>
                      <a:pt x="780" y="330"/>
                    </a:lnTo>
                    <a:lnTo>
                      <a:pt x="959" y="420"/>
                    </a:lnTo>
                    <a:lnTo>
                      <a:pt x="1289"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03" name="Freeform 2593">
                <a:extLst>
                  <a:ext uri="{FF2B5EF4-FFF2-40B4-BE49-F238E27FC236}">
                    <a16:creationId xmlns:a16="http://schemas.microsoft.com/office/drawing/2014/main" id="{70F71936-7E99-4FCF-B968-21B474C10F57}"/>
                  </a:ext>
                </a:extLst>
              </p:cNvPr>
              <p:cNvSpPr>
                <a:spLocks/>
              </p:cNvSpPr>
              <p:nvPr/>
            </p:nvSpPr>
            <p:spPr bwMode="auto">
              <a:xfrm>
                <a:off x="1996" y="2130"/>
                <a:ext cx="629" cy="720"/>
              </a:xfrm>
              <a:custGeom>
                <a:avLst/>
                <a:gdLst>
                  <a:gd name="T0" fmla="*/ 629 w 629"/>
                  <a:gd name="T1" fmla="*/ 720 h 720"/>
                  <a:gd name="T2" fmla="*/ 479 w 629"/>
                  <a:gd name="T3" fmla="*/ 690 h 720"/>
                  <a:gd name="T4" fmla="*/ 599 w 629"/>
                  <a:gd name="T5" fmla="*/ 510 h 720"/>
                  <a:gd name="T6" fmla="*/ 389 w 629"/>
                  <a:gd name="T7" fmla="*/ 570 h 720"/>
                  <a:gd name="T8" fmla="*/ 269 w 629"/>
                  <a:gd name="T9" fmla="*/ 510 h 720"/>
                  <a:gd name="T10" fmla="*/ 90 w 629"/>
                  <a:gd name="T11" fmla="*/ 540 h 720"/>
                  <a:gd name="T12" fmla="*/ 0 w 629"/>
                  <a:gd name="T13" fmla="*/ 390 h 720"/>
                  <a:gd name="T14" fmla="*/ 0 w 629"/>
                  <a:gd name="T15" fmla="*/ 630 h 720"/>
                  <a:gd name="T16" fmla="*/ 90 w 629"/>
                  <a:gd name="T17" fmla="*/ 300 h 720"/>
                  <a:gd name="T18" fmla="*/ 0 w 629"/>
                  <a:gd name="T19" fmla="*/ 210 h 720"/>
                  <a:gd name="T20" fmla="*/ 0 w 629"/>
                  <a:gd name="T21" fmla="*/ 60 h 720"/>
                  <a:gd name="T22" fmla="*/ 60 w 629"/>
                  <a:gd name="T23" fmla="*/ 0 h 720"/>
                  <a:gd name="T24" fmla="*/ 149 w 629"/>
                  <a:gd name="T25" fmla="*/ 180 h 720"/>
                  <a:gd name="T26" fmla="*/ 329 w 629"/>
                  <a:gd name="T27" fmla="*/ 240 h 720"/>
                  <a:gd name="T28" fmla="*/ 359 w 629"/>
                  <a:gd name="T29" fmla="*/ 9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9" h="720">
                    <a:moveTo>
                      <a:pt x="629" y="720"/>
                    </a:moveTo>
                    <a:lnTo>
                      <a:pt x="479" y="690"/>
                    </a:lnTo>
                    <a:lnTo>
                      <a:pt x="599" y="510"/>
                    </a:ln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04" name="Freeform 2594">
                <a:extLst>
                  <a:ext uri="{FF2B5EF4-FFF2-40B4-BE49-F238E27FC236}">
                    <a16:creationId xmlns:a16="http://schemas.microsoft.com/office/drawing/2014/main" id="{BCABA6C8-6824-4965-9B6A-FC52BD6D0FC7}"/>
                  </a:ext>
                </a:extLst>
              </p:cNvPr>
              <p:cNvSpPr>
                <a:spLocks/>
              </p:cNvSpPr>
              <p:nvPr/>
            </p:nvSpPr>
            <p:spPr bwMode="auto">
              <a:xfrm>
                <a:off x="2295" y="2640"/>
                <a:ext cx="780" cy="480"/>
              </a:xfrm>
              <a:custGeom>
                <a:avLst/>
                <a:gdLst>
                  <a:gd name="T0" fmla="*/ 330 w 780"/>
                  <a:gd name="T1" fmla="*/ 360 h 480"/>
                  <a:gd name="T2" fmla="*/ 210 w 780"/>
                  <a:gd name="T3" fmla="*/ 450 h 480"/>
                  <a:gd name="T4" fmla="*/ 120 w 780"/>
                  <a:gd name="T5" fmla="*/ 390 h 480"/>
                  <a:gd name="T6" fmla="*/ 120 w 780"/>
                  <a:gd name="T7" fmla="*/ 270 h 480"/>
                  <a:gd name="T8" fmla="*/ 180 w 780"/>
                  <a:gd name="T9" fmla="*/ 180 h 480"/>
                  <a:gd name="T10" fmla="*/ 0 w 780"/>
                  <a:gd name="T11" fmla="*/ 150 h 480"/>
                  <a:gd name="T12" fmla="*/ 30 w 780"/>
                  <a:gd name="T13" fmla="*/ 330 h 480"/>
                  <a:gd name="T14" fmla="*/ 120 w 780"/>
                  <a:gd name="T15" fmla="*/ 270 h 480"/>
                  <a:gd name="T16" fmla="*/ 240 w 780"/>
                  <a:gd name="T17" fmla="*/ 330 h 480"/>
                  <a:gd name="T18" fmla="*/ 360 w 780"/>
                  <a:gd name="T19" fmla="*/ 480 h 480"/>
                  <a:gd name="T20" fmla="*/ 480 w 780"/>
                  <a:gd name="T21" fmla="*/ 420 h 480"/>
                  <a:gd name="T22" fmla="*/ 330 w 780"/>
                  <a:gd name="T23" fmla="*/ 360 h 480"/>
                  <a:gd name="T24" fmla="*/ 450 w 780"/>
                  <a:gd name="T25" fmla="*/ 270 h 480"/>
                  <a:gd name="T26" fmla="*/ 510 w 780"/>
                  <a:gd name="T27" fmla="*/ 90 h 480"/>
                  <a:gd name="T28" fmla="*/ 690 w 780"/>
                  <a:gd name="T29" fmla="*/ 0 h 480"/>
                  <a:gd name="T30" fmla="*/ 450 w 780"/>
                  <a:gd name="T31" fmla="*/ 0 h 480"/>
                  <a:gd name="T32" fmla="*/ 780 w 780"/>
                  <a:gd name="T33" fmla="*/ 9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80">
                    <a:moveTo>
                      <a:pt x="330" y="360"/>
                    </a:moveTo>
                    <a:lnTo>
                      <a:pt x="210" y="450"/>
                    </a:lnTo>
                    <a:lnTo>
                      <a:pt x="120" y="390"/>
                    </a:lnTo>
                    <a:lnTo>
                      <a:pt x="120" y="270"/>
                    </a:lnTo>
                    <a:lnTo>
                      <a:pt x="180" y="180"/>
                    </a:lnTo>
                    <a:lnTo>
                      <a:pt x="0" y="150"/>
                    </a:lnTo>
                    <a:lnTo>
                      <a:pt x="30" y="330"/>
                    </a:lnTo>
                    <a:lnTo>
                      <a:pt x="120" y="270"/>
                    </a:lnTo>
                    <a:lnTo>
                      <a:pt x="240" y="330"/>
                    </a:lnTo>
                    <a:lnTo>
                      <a:pt x="360" y="480"/>
                    </a:lnTo>
                    <a:lnTo>
                      <a:pt x="480" y="420"/>
                    </a:lnTo>
                    <a:lnTo>
                      <a:pt x="330" y="360"/>
                    </a:lnTo>
                    <a:lnTo>
                      <a:pt x="450" y="270"/>
                    </a:lnTo>
                    <a:lnTo>
                      <a:pt x="510" y="90"/>
                    </a:lnTo>
                    <a:lnTo>
                      <a:pt x="690" y="0"/>
                    </a:lnTo>
                    <a:lnTo>
                      <a:pt x="450" y="0"/>
                    </a:lnTo>
                    <a:lnTo>
                      <a:pt x="7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05" name="Line 2595">
                <a:extLst>
                  <a:ext uri="{FF2B5EF4-FFF2-40B4-BE49-F238E27FC236}">
                    <a16:creationId xmlns:a16="http://schemas.microsoft.com/office/drawing/2014/main" id="{CEB6E236-D662-41DC-A6E7-02A5C700235D}"/>
                  </a:ext>
                </a:extLst>
              </p:cNvPr>
              <p:cNvSpPr>
                <a:spLocks noChangeShapeType="1"/>
              </p:cNvSpPr>
              <p:nvPr/>
            </p:nvSpPr>
            <p:spPr bwMode="auto">
              <a:xfrm flipH="1" flipV="1">
                <a:off x="2325"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06" name="Freeform 2596">
                <a:extLst>
                  <a:ext uri="{FF2B5EF4-FFF2-40B4-BE49-F238E27FC236}">
                    <a16:creationId xmlns:a16="http://schemas.microsoft.com/office/drawing/2014/main" id="{08236DA8-477E-42FA-8FE9-720CCC4FE981}"/>
                  </a:ext>
                </a:extLst>
              </p:cNvPr>
              <p:cNvSpPr>
                <a:spLocks/>
              </p:cNvSpPr>
              <p:nvPr/>
            </p:nvSpPr>
            <p:spPr bwMode="auto">
              <a:xfrm>
                <a:off x="2086" y="2820"/>
                <a:ext cx="449" cy="390"/>
              </a:xfrm>
              <a:custGeom>
                <a:avLst/>
                <a:gdLst>
                  <a:gd name="T0" fmla="*/ 179 w 449"/>
                  <a:gd name="T1" fmla="*/ 390 h 390"/>
                  <a:gd name="T2" fmla="*/ 329 w 449"/>
                  <a:gd name="T3" fmla="*/ 210 h 390"/>
                  <a:gd name="T4" fmla="*/ 449 w 449"/>
                  <a:gd name="T5" fmla="*/ 150 h 390"/>
                  <a:gd name="T6" fmla="*/ 389 w 449"/>
                  <a:gd name="T7" fmla="*/ 0 h 390"/>
                  <a:gd name="T8" fmla="*/ 0 w 449"/>
                  <a:gd name="T9" fmla="*/ 210 h 390"/>
                </a:gdLst>
                <a:ahLst/>
                <a:cxnLst>
                  <a:cxn ang="0">
                    <a:pos x="T0" y="T1"/>
                  </a:cxn>
                  <a:cxn ang="0">
                    <a:pos x="T2" y="T3"/>
                  </a:cxn>
                  <a:cxn ang="0">
                    <a:pos x="T4" y="T5"/>
                  </a:cxn>
                  <a:cxn ang="0">
                    <a:pos x="T6" y="T7"/>
                  </a:cxn>
                  <a:cxn ang="0">
                    <a:pos x="T8" y="T9"/>
                  </a:cxn>
                </a:cxnLst>
                <a:rect l="0" t="0" r="r" b="b"/>
                <a:pathLst>
                  <a:path w="449" h="390">
                    <a:moveTo>
                      <a:pt x="179" y="390"/>
                    </a:moveTo>
                    <a:lnTo>
                      <a:pt x="329" y="210"/>
                    </a:lnTo>
                    <a:lnTo>
                      <a:pt x="449" y="150"/>
                    </a:lnTo>
                    <a:lnTo>
                      <a:pt x="389" y="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07" name="Freeform 2597">
                <a:extLst>
                  <a:ext uri="{FF2B5EF4-FFF2-40B4-BE49-F238E27FC236}">
                    <a16:creationId xmlns:a16="http://schemas.microsoft.com/office/drawing/2014/main" id="{42E0A9FD-A2D7-4CC6-9D1F-06C5FFB66A9F}"/>
                  </a:ext>
                </a:extLst>
              </p:cNvPr>
              <p:cNvSpPr>
                <a:spLocks/>
              </p:cNvSpPr>
              <p:nvPr/>
            </p:nvSpPr>
            <p:spPr bwMode="auto">
              <a:xfrm>
                <a:off x="2685" y="2310"/>
                <a:ext cx="870" cy="600"/>
              </a:xfrm>
              <a:custGeom>
                <a:avLst/>
                <a:gdLst>
                  <a:gd name="T0" fmla="*/ 0 w 870"/>
                  <a:gd name="T1" fmla="*/ 480 h 600"/>
                  <a:gd name="T2" fmla="*/ 60 w 870"/>
                  <a:gd name="T3" fmla="*/ 600 h 600"/>
                  <a:gd name="T4" fmla="*/ 270 w 870"/>
                  <a:gd name="T5" fmla="*/ 480 h 600"/>
                  <a:gd name="T6" fmla="*/ 390 w 870"/>
                  <a:gd name="T7" fmla="*/ 420 h 600"/>
                  <a:gd name="T8" fmla="*/ 540 w 870"/>
                  <a:gd name="T9" fmla="*/ 420 h 600"/>
                  <a:gd name="T10" fmla="*/ 750 w 870"/>
                  <a:gd name="T11" fmla="*/ 480 h 600"/>
                  <a:gd name="T12" fmla="*/ 870 w 870"/>
                  <a:gd name="T13" fmla="*/ 330 h 600"/>
                  <a:gd name="T14" fmla="*/ 660 w 870"/>
                  <a:gd name="T15" fmla="*/ 390 h 600"/>
                  <a:gd name="T16" fmla="*/ 540 w 870"/>
                  <a:gd name="T17" fmla="*/ 330 h 600"/>
                  <a:gd name="T18" fmla="*/ 420 w 870"/>
                  <a:gd name="T1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600">
                    <a:moveTo>
                      <a:pt x="0" y="480"/>
                    </a:moveTo>
                    <a:lnTo>
                      <a:pt x="60" y="600"/>
                    </a:lnTo>
                    <a:lnTo>
                      <a:pt x="270" y="480"/>
                    </a:lnTo>
                    <a:lnTo>
                      <a:pt x="390" y="420"/>
                    </a:lnTo>
                    <a:lnTo>
                      <a:pt x="540" y="420"/>
                    </a:lnTo>
                    <a:lnTo>
                      <a:pt x="750" y="480"/>
                    </a:lnTo>
                    <a:lnTo>
                      <a:pt x="870" y="330"/>
                    </a:lnTo>
                    <a:lnTo>
                      <a:pt x="660" y="390"/>
                    </a:lnTo>
                    <a:lnTo>
                      <a:pt x="540" y="33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08" name="Line 2598">
                <a:extLst>
                  <a:ext uri="{FF2B5EF4-FFF2-40B4-BE49-F238E27FC236}">
                    <a16:creationId xmlns:a16="http://schemas.microsoft.com/office/drawing/2014/main" id="{9640FB84-59F0-4FB1-A2E8-323290DF3FE6}"/>
                  </a:ext>
                </a:extLst>
              </p:cNvPr>
              <p:cNvSpPr>
                <a:spLocks noChangeShapeType="1"/>
              </p:cNvSpPr>
              <p:nvPr/>
            </p:nvSpPr>
            <p:spPr bwMode="auto">
              <a:xfrm flipH="1" flipV="1">
                <a:off x="2745" y="2910"/>
                <a:ext cx="3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09" name="Freeform 2599">
                <a:extLst>
                  <a:ext uri="{FF2B5EF4-FFF2-40B4-BE49-F238E27FC236}">
                    <a16:creationId xmlns:a16="http://schemas.microsoft.com/office/drawing/2014/main" id="{4CAAD0DC-EBF5-48B6-86C4-02DF29F50A1B}"/>
                  </a:ext>
                </a:extLst>
              </p:cNvPr>
              <p:cNvSpPr>
                <a:spLocks/>
              </p:cNvSpPr>
              <p:nvPr/>
            </p:nvSpPr>
            <p:spPr bwMode="auto">
              <a:xfrm>
                <a:off x="3105" y="3060"/>
                <a:ext cx="210" cy="90"/>
              </a:xfrm>
              <a:custGeom>
                <a:avLst/>
                <a:gdLst>
                  <a:gd name="T0" fmla="*/ 0 w 210"/>
                  <a:gd name="T1" fmla="*/ 90 h 90"/>
                  <a:gd name="T2" fmla="*/ 120 w 210"/>
                  <a:gd name="T3" fmla="*/ 0 h 90"/>
                  <a:gd name="T4" fmla="*/ 210 w 210"/>
                  <a:gd name="T5" fmla="*/ 90 h 90"/>
                </a:gdLst>
                <a:ahLst/>
                <a:cxnLst>
                  <a:cxn ang="0">
                    <a:pos x="T0" y="T1"/>
                  </a:cxn>
                  <a:cxn ang="0">
                    <a:pos x="T2" y="T3"/>
                  </a:cxn>
                  <a:cxn ang="0">
                    <a:pos x="T4" y="T5"/>
                  </a:cxn>
                </a:cxnLst>
                <a:rect l="0" t="0" r="r" b="b"/>
                <a:pathLst>
                  <a:path w="210" h="90">
                    <a:moveTo>
                      <a:pt x="0" y="90"/>
                    </a:moveTo>
                    <a:lnTo>
                      <a:pt x="120" y="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10" name="Line 2600">
                <a:extLst>
                  <a:ext uri="{FF2B5EF4-FFF2-40B4-BE49-F238E27FC236}">
                    <a16:creationId xmlns:a16="http://schemas.microsoft.com/office/drawing/2014/main" id="{4DE8794E-B5B8-4E02-BC95-71B303CEB5C6}"/>
                  </a:ext>
                </a:extLst>
              </p:cNvPr>
              <p:cNvSpPr>
                <a:spLocks noChangeShapeType="1"/>
              </p:cNvSpPr>
              <p:nvPr/>
            </p:nvSpPr>
            <p:spPr bwMode="auto">
              <a:xfrm flipH="1" flipV="1">
                <a:off x="2805" y="2730"/>
                <a:ext cx="30"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11" name="Freeform 2601">
                <a:extLst>
                  <a:ext uri="{FF2B5EF4-FFF2-40B4-BE49-F238E27FC236}">
                    <a16:creationId xmlns:a16="http://schemas.microsoft.com/office/drawing/2014/main" id="{EC0282BB-8456-4F25-A34B-3570822D2FEF}"/>
                  </a:ext>
                </a:extLst>
              </p:cNvPr>
              <p:cNvSpPr>
                <a:spLocks/>
              </p:cNvSpPr>
              <p:nvPr/>
            </p:nvSpPr>
            <p:spPr bwMode="auto">
              <a:xfrm>
                <a:off x="3225" y="2730"/>
                <a:ext cx="90" cy="120"/>
              </a:xfrm>
              <a:custGeom>
                <a:avLst/>
                <a:gdLst>
                  <a:gd name="T0" fmla="*/ 0 w 90"/>
                  <a:gd name="T1" fmla="*/ 0 h 120"/>
                  <a:gd name="T2" fmla="*/ 90 w 90"/>
                  <a:gd name="T3" fmla="*/ 90 h 120"/>
                  <a:gd name="T4" fmla="*/ 0 w 90"/>
                  <a:gd name="T5" fmla="*/ 120 h 120"/>
                  <a:gd name="T6" fmla="*/ 0 w 90"/>
                  <a:gd name="T7" fmla="*/ 0 h 120"/>
                </a:gdLst>
                <a:ahLst/>
                <a:cxnLst>
                  <a:cxn ang="0">
                    <a:pos x="T0" y="T1"/>
                  </a:cxn>
                  <a:cxn ang="0">
                    <a:pos x="T2" y="T3"/>
                  </a:cxn>
                  <a:cxn ang="0">
                    <a:pos x="T4" y="T5"/>
                  </a:cxn>
                  <a:cxn ang="0">
                    <a:pos x="T6" y="T7"/>
                  </a:cxn>
                </a:cxnLst>
                <a:rect l="0" t="0" r="r" b="b"/>
                <a:pathLst>
                  <a:path w="90" h="120">
                    <a:moveTo>
                      <a:pt x="0" y="0"/>
                    </a:moveTo>
                    <a:lnTo>
                      <a:pt x="90" y="90"/>
                    </a:lnTo>
                    <a:lnTo>
                      <a:pt x="0" y="120"/>
                    </a:lnTo>
                    <a:lnTo>
                      <a:pt x="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12" name="Freeform 2602">
                <a:extLst>
                  <a:ext uri="{FF2B5EF4-FFF2-40B4-BE49-F238E27FC236}">
                    <a16:creationId xmlns:a16="http://schemas.microsoft.com/office/drawing/2014/main" id="{C92778BF-2A79-43BE-A847-AFF9DB4CD6CA}"/>
                  </a:ext>
                </a:extLst>
              </p:cNvPr>
              <p:cNvSpPr>
                <a:spLocks/>
              </p:cNvSpPr>
              <p:nvPr/>
            </p:nvSpPr>
            <p:spPr bwMode="auto">
              <a:xfrm>
                <a:off x="3315" y="2820"/>
                <a:ext cx="270" cy="90"/>
              </a:xfrm>
              <a:custGeom>
                <a:avLst/>
                <a:gdLst>
                  <a:gd name="T0" fmla="*/ 60 w 270"/>
                  <a:gd name="T1" fmla="*/ 90 h 90"/>
                  <a:gd name="T2" fmla="*/ 0 w 270"/>
                  <a:gd name="T3" fmla="*/ 0 h 90"/>
                  <a:gd name="T4" fmla="*/ 270 w 270"/>
                  <a:gd name="T5" fmla="*/ 30 h 90"/>
                </a:gdLst>
                <a:ahLst/>
                <a:cxnLst>
                  <a:cxn ang="0">
                    <a:pos x="T0" y="T1"/>
                  </a:cxn>
                  <a:cxn ang="0">
                    <a:pos x="T2" y="T3"/>
                  </a:cxn>
                  <a:cxn ang="0">
                    <a:pos x="T4" y="T5"/>
                  </a:cxn>
                </a:cxnLst>
                <a:rect l="0" t="0" r="r" b="b"/>
                <a:pathLst>
                  <a:path w="270" h="90">
                    <a:moveTo>
                      <a:pt x="60" y="90"/>
                    </a:moveTo>
                    <a:lnTo>
                      <a:pt x="0" y="0"/>
                    </a:lnTo>
                    <a:lnTo>
                      <a:pt x="27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13" name="Freeform 2603">
                <a:extLst>
                  <a:ext uri="{FF2B5EF4-FFF2-40B4-BE49-F238E27FC236}">
                    <a16:creationId xmlns:a16="http://schemas.microsoft.com/office/drawing/2014/main" id="{29D76AD4-1C22-4F8C-9386-3A4BCF37019B}"/>
                  </a:ext>
                </a:extLst>
              </p:cNvPr>
              <p:cNvSpPr>
                <a:spLocks/>
              </p:cNvSpPr>
              <p:nvPr/>
            </p:nvSpPr>
            <p:spPr bwMode="auto">
              <a:xfrm>
                <a:off x="2955" y="2730"/>
                <a:ext cx="540" cy="330"/>
              </a:xfrm>
              <a:custGeom>
                <a:avLst/>
                <a:gdLst>
                  <a:gd name="T0" fmla="*/ 540 w 540"/>
                  <a:gd name="T1" fmla="*/ 240 h 330"/>
                  <a:gd name="T2" fmla="*/ 420 w 540"/>
                  <a:gd name="T3" fmla="*/ 300 h 330"/>
                  <a:gd name="T4" fmla="*/ 270 w 540"/>
                  <a:gd name="T5" fmla="*/ 330 h 330"/>
                  <a:gd name="T6" fmla="*/ 150 w 540"/>
                  <a:gd name="T7" fmla="*/ 180 h 330"/>
                  <a:gd name="T8" fmla="*/ 180 w 540"/>
                  <a:gd name="T9" fmla="*/ 90 h 330"/>
                  <a:gd name="T10" fmla="*/ 120 w 540"/>
                  <a:gd name="T11" fmla="*/ 0 h 330"/>
                  <a:gd name="T12" fmla="*/ 30 w 540"/>
                  <a:gd name="T13" fmla="*/ 180 h 330"/>
                  <a:gd name="T14" fmla="*/ 0 w 540"/>
                  <a:gd name="T15" fmla="*/ 60 h 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330">
                    <a:moveTo>
                      <a:pt x="540" y="240"/>
                    </a:moveTo>
                    <a:lnTo>
                      <a:pt x="420" y="300"/>
                    </a:lnTo>
                    <a:lnTo>
                      <a:pt x="270" y="330"/>
                    </a:lnTo>
                    <a:lnTo>
                      <a:pt x="150" y="180"/>
                    </a:lnTo>
                    <a:lnTo>
                      <a:pt x="180" y="90"/>
                    </a:lnTo>
                    <a:lnTo>
                      <a:pt x="120" y="0"/>
                    </a:lnTo>
                    <a:lnTo>
                      <a:pt x="30" y="18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14" name="Line 2604">
                <a:extLst>
                  <a:ext uri="{FF2B5EF4-FFF2-40B4-BE49-F238E27FC236}">
                    <a16:creationId xmlns:a16="http://schemas.microsoft.com/office/drawing/2014/main" id="{9AB400F5-307F-4DEF-989C-79F846EAECF3}"/>
                  </a:ext>
                </a:extLst>
              </p:cNvPr>
              <p:cNvSpPr>
                <a:spLocks noChangeShapeType="1"/>
              </p:cNvSpPr>
              <p:nvPr/>
            </p:nvSpPr>
            <p:spPr bwMode="auto">
              <a:xfrm>
                <a:off x="3195" y="15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15" name="Freeform 2605">
                <a:extLst>
                  <a:ext uri="{FF2B5EF4-FFF2-40B4-BE49-F238E27FC236}">
                    <a16:creationId xmlns:a16="http://schemas.microsoft.com/office/drawing/2014/main" id="{B2C89CC1-2810-4E61-9D8E-FFC3385A7AE1}"/>
                  </a:ext>
                </a:extLst>
              </p:cNvPr>
              <p:cNvSpPr>
                <a:spLocks/>
              </p:cNvSpPr>
              <p:nvPr/>
            </p:nvSpPr>
            <p:spPr bwMode="auto">
              <a:xfrm>
                <a:off x="2865" y="1620"/>
                <a:ext cx="180" cy="150"/>
              </a:xfrm>
              <a:custGeom>
                <a:avLst/>
                <a:gdLst>
                  <a:gd name="T0" fmla="*/ 0 w 180"/>
                  <a:gd name="T1" fmla="*/ 0 h 150"/>
                  <a:gd name="T2" fmla="*/ 180 w 180"/>
                  <a:gd name="T3" fmla="*/ 150 h 150"/>
                  <a:gd name="T4" fmla="*/ 120 w 180"/>
                  <a:gd name="T5" fmla="*/ 30 h 150"/>
                </a:gdLst>
                <a:ahLst/>
                <a:cxnLst>
                  <a:cxn ang="0">
                    <a:pos x="T0" y="T1"/>
                  </a:cxn>
                  <a:cxn ang="0">
                    <a:pos x="T2" y="T3"/>
                  </a:cxn>
                  <a:cxn ang="0">
                    <a:pos x="T4" y="T5"/>
                  </a:cxn>
                </a:cxnLst>
                <a:rect l="0" t="0" r="r" b="b"/>
                <a:pathLst>
                  <a:path w="180" h="150">
                    <a:moveTo>
                      <a:pt x="0" y="0"/>
                    </a:moveTo>
                    <a:lnTo>
                      <a:pt x="180" y="150"/>
                    </a:lnTo>
                    <a:lnTo>
                      <a:pt x="12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16" name="Line 2606">
                <a:extLst>
                  <a:ext uri="{FF2B5EF4-FFF2-40B4-BE49-F238E27FC236}">
                    <a16:creationId xmlns:a16="http://schemas.microsoft.com/office/drawing/2014/main" id="{37346514-AA4F-4C60-8FAE-A786B693B06C}"/>
                  </a:ext>
                </a:extLst>
              </p:cNvPr>
              <p:cNvSpPr>
                <a:spLocks noChangeShapeType="1"/>
              </p:cNvSpPr>
              <p:nvPr/>
            </p:nvSpPr>
            <p:spPr bwMode="auto">
              <a:xfrm flipH="1" flipV="1">
                <a:off x="2985" y="16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17" name="Line 2607">
                <a:extLst>
                  <a:ext uri="{FF2B5EF4-FFF2-40B4-BE49-F238E27FC236}">
                    <a16:creationId xmlns:a16="http://schemas.microsoft.com/office/drawing/2014/main" id="{1186D136-84DD-4CAF-9EC7-2A1007C137E1}"/>
                  </a:ext>
                </a:extLst>
              </p:cNvPr>
              <p:cNvSpPr>
                <a:spLocks noChangeShapeType="1"/>
              </p:cNvSpPr>
              <p:nvPr/>
            </p:nvSpPr>
            <p:spPr bwMode="auto">
              <a:xfrm>
                <a:off x="2715"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18" name="Line 2608">
                <a:extLst>
                  <a:ext uri="{FF2B5EF4-FFF2-40B4-BE49-F238E27FC236}">
                    <a16:creationId xmlns:a16="http://schemas.microsoft.com/office/drawing/2014/main" id="{8F32698A-EB22-4B97-98B6-3A5FDCF7E160}"/>
                  </a:ext>
                </a:extLst>
              </p:cNvPr>
              <p:cNvSpPr>
                <a:spLocks noChangeShapeType="1"/>
              </p:cNvSpPr>
              <p:nvPr/>
            </p:nvSpPr>
            <p:spPr bwMode="auto">
              <a:xfrm>
                <a:off x="2685" y="150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19" name="Freeform 2609">
                <a:extLst>
                  <a:ext uri="{FF2B5EF4-FFF2-40B4-BE49-F238E27FC236}">
                    <a16:creationId xmlns:a16="http://schemas.microsoft.com/office/drawing/2014/main" id="{2F6A8FDD-5833-4B06-B59D-E0587B53377A}"/>
                  </a:ext>
                </a:extLst>
              </p:cNvPr>
              <p:cNvSpPr>
                <a:spLocks/>
              </p:cNvSpPr>
              <p:nvPr/>
            </p:nvSpPr>
            <p:spPr bwMode="auto">
              <a:xfrm>
                <a:off x="2715" y="1470"/>
                <a:ext cx="330" cy="210"/>
              </a:xfrm>
              <a:custGeom>
                <a:avLst/>
                <a:gdLst>
                  <a:gd name="T0" fmla="*/ 0 w 330"/>
                  <a:gd name="T1" fmla="*/ 150 h 210"/>
                  <a:gd name="T2" fmla="*/ 60 w 330"/>
                  <a:gd name="T3" fmla="*/ 210 h 210"/>
                  <a:gd name="T4" fmla="*/ 150 w 330"/>
                  <a:gd name="T5" fmla="*/ 150 h 210"/>
                  <a:gd name="T6" fmla="*/ 210 w 330"/>
                  <a:gd name="T7" fmla="*/ 60 h 210"/>
                  <a:gd name="T8" fmla="*/ 330 w 330"/>
                  <a:gd name="T9" fmla="*/ 0 h 210"/>
                </a:gdLst>
                <a:ahLst/>
                <a:cxnLst>
                  <a:cxn ang="0">
                    <a:pos x="T0" y="T1"/>
                  </a:cxn>
                  <a:cxn ang="0">
                    <a:pos x="T2" y="T3"/>
                  </a:cxn>
                  <a:cxn ang="0">
                    <a:pos x="T4" y="T5"/>
                  </a:cxn>
                  <a:cxn ang="0">
                    <a:pos x="T6" y="T7"/>
                  </a:cxn>
                  <a:cxn ang="0">
                    <a:pos x="T8" y="T9"/>
                  </a:cxn>
                </a:cxnLst>
                <a:rect l="0" t="0" r="r" b="b"/>
                <a:pathLst>
                  <a:path w="330" h="210">
                    <a:moveTo>
                      <a:pt x="0" y="150"/>
                    </a:moveTo>
                    <a:lnTo>
                      <a:pt x="60" y="210"/>
                    </a:lnTo>
                    <a:lnTo>
                      <a:pt x="150" y="150"/>
                    </a:lnTo>
                    <a:lnTo>
                      <a:pt x="210" y="60"/>
                    </a:lnTo>
                    <a:lnTo>
                      <a:pt x="3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20" name="Freeform 2610">
                <a:extLst>
                  <a:ext uri="{FF2B5EF4-FFF2-40B4-BE49-F238E27FC236}">
                    <a16:creationId xmlns:a16="http://schemas.microsoft.com/office/drawing/2014/main" id="{B7831F3E-2ADE-4C7E-892E-036F48A1155C}"/>
                  </a:ext>
                </a:extLst>
              </p:cNvPr>
              <p:cNvSpPr>
                <a:spLocks/>
              </p:cNvSpPr>
              <p:nvPr/>
            </p:nvSpPr>
            <p:spPr bwMode="auto">
              <a:xfrm>
                <a:off x="2835" y="1500"/>
                <a:ext cx="270" cy="150"/>
              </a:xfrm>
              <a:custGeom>
                <a:avLst/>
                <a:gdLst>
                  <a:gd name="T0" fmla="*/ 270 w 270"/>
                  <a:gd name="T1" fmla="*/ 90 h 150"/>
                  <a:gd name="T2" fmla="*/ 150 w 270"/>
                  <a:gd name="T3" fmla="*/ 150 h 150"/>
                  <a:gd name="T4" fmla="*/ 30 w 270"/>
                  <a:gd name="T5" fmla="*/ 120 h 150"/>
                  <a:gd name="T6" fmla="*/ 0 w 270"/>
                  <a:gd name="T7" fmla="*/ 0 h 150"/>
                </a:gdLst>
                <a:ahLst/>
                <a:cxnLst>
                  <a:cxn ang="0">
                    <a:pos x="T0" y="T1"/>
                  </a:cxn>
                  <a:cxn ang="0">
                    <a:pos x="T2" y="T3"/>
                  </a:cxn>
                  <a:cxn ang="0">
                    <a:pos x="T4" y="T5"/>
                  </a:cxn>
                  <a:cxn ang="0">
                    <a:pos x="T6" y="T7"/>
                  </a:cxn>
                </a:cxnLst>
                <a:rect l="0" t="0" r="r" b="b"/>
                <a:pathLst>
                  <a:path w="270" h="150">
                    <a:moveTo>
                      <a:pt x="270" y="90"/>
                    </a:moveTo>
                    <a:lnTo>
                      <a:pt x="150" y="150"/>
                    </a:lnTo>
                    <a:lnTo>
                      <a:pt x="3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21" name="Line 2611">
                <a:extLst>
                  <a:ext uri="{FF2B5EF4-FFF2-40B4-BE49-F238E27FC236}">
                    <a16:creationId xmlns:a16="http://schemas.microsoft.com/office/drawing/2014/main" id="{672F47E1-254D-450A-B333-D663E2916D3A}"/>
                  </a:ext>
                </a:extLst>
              </p:cNvPr>
              <p:cNvSpPr>
                <a:spLocks noChangeShapeType="1"/>
              </p:cNvSpPr>
              <p:nvPr/>
            </p:nvSpPr>
            <p:spPr bwMode="auto">
              <a:xfrm>
                <a:off x="3045" y="14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22" name="Line 2612">
                <a:extLst>
                  <a:ext uri="{FF2B5EF4-FFF2-40B4-BE49-F238E27FC236}">
                    <a16:creationId xmlns:a16="http://schemas.microsoft.com/office/drawing/2014/main" id="{2D57A2CA-D306-4731-ABCE-F4218B5F9034}"/>
                  </a:ext>
                </a:extLst>
              </p:cNvPr>
              <p:cNvSpPr>
                <a:spLocks noChangeShapeType="1"/>
              </p:cNvSpPr>
              <p:nvPr/>
            </p:nvSpPr>
            <p:spPr bwMode="auto">
              <a:xfrm>
                <a:off x="2775" y="141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23" name="Line 2613">
                <a:extLst>
                  <a:ext uri="{FF2B5EF4-FFF2-40B4-BE49-F238E27FC236}">
                    <a16:creationId xmlns:a16="http://schemas.microsoft.com/office/drawing/2014/main" id="{447AACF8-56F8-48D6-B0B6-BA37037E0156}"/>
                  </a:ext>
                </a:extLst>
              </p:cNvPr>
              <p:cNvSpPr>
                <a:spLocks noChangeShapeType="1"/>
              </p:cNvSpPr>
              <p:nvPr/>
            </p:nvSpPr>
            <p:spPr bwMode="auto">
              <a:xfrm flipV="1">
                <a:off x="2865" y="15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24" name="Freeform 2614">
                <a:extLst>
                  <a:ext uri="{FF2B5EF4-FFF2-40B4-BE49-F238E27FC236}">
                    <a16:creationId xmlns:a16="http://schemas.microsoft.com/office/drawing/2014/main" id="{D5230537-3937-4D5B-A036-5FC4DD5B35BD}"/>
                  </a:ext>
                </a:extLst>
              </p:cNvPr>
              <p:cNvSpPr>
                <a:spLocks/>
              </p:cNvSpPr>
              <p:nvPr/>
            </p:nvSpPr>
            <p:spPr bwMode="auto">
              <a:xfrm>
                <a:off x="2685" y="1500"/>
                <a:ext cx="180" cy="120"/>
              </a:xfrm>
              <a:custGeom>
                <a:avLst/>
                <a:gdLst>
                  <a:gd name="T0" fmla="*/ 150 w 180"/>
                  <a:gd name="T1" fmla="*/ 0 h 120"/>
                  <a:gd name="T2" fmla="*/ 0 w 180"/>
                  <a:gd name="T3" fmla="*/ 0 h 120"/>
                  <a:gd name="T4" fmla="*/ 30 w 180"/>
                  <a:gd name="T5" fmla="*/ 120 h 120"/>
                  <a:gd name="T6" fmla="*/ 180 w 180"/>
                  <a:gd name="T7" fmla="*/ 120 h 120"/>
                </a:gdLst>
                <a:ahLst/>
                <a:cxnLst>
                  <a:cxn ang="0">
                    <a:pos x="T0" y="T1"/>
                  </a:cxn>
                  <a:cxn ang="0">
                    <a:pos x="T2" y="T3"/>
                  </a:cxn>
                  <a:cxn ang="0">
                    <a:pos x="T4" y="T5"/>
                  </a:cxn>
                  <a:cxn ang="0">
                    <a:pos x="T6" y="T7"/>
                  </a:cxn>
                </a:cxnLst>
                <a:rect l="0" t="0" r="r" b="b"/>
                <a:pathLst>
                  <a:path w="180" h="120">
                    <a:moveTo>
                      <a:pt x="150" y="0"/>
                    </a:moveTo>
                    <a:lnTo>
                      <a:pt x="0" y="0"/>
                    </a:lnTo>
                    <a:lnTo>
                      <a:pt x="30" y="120"/>
                    </a:lnTo>
                    <a:lnTo>
                      <a:pt x="180"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25" name="Freeform 2615">
                <a:extLst>
                  <a:ext uri="{FF2B5EF4-FFF2-40B4-BE49-F238E27FC236}">
                    <a16:creationId xmlns:a16="http://schemas.microsoft.com/office/drawing/2014/main" id="{186E4826-6C5D-4BB3-9336-5F870F784796}"/>
                  </a:ext>
                </a:extLst>
              </p:cNvPr>
              <p:cNvSpPr>
                <a:spLocks/>
              </p:cNvSpPr>
              <p:nvPr/>
            </p:nvSpPr>
            <p:spPr bwMode="auto">
              <a:xfrm>
                <a:off x="2554" y="125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26" name="Freeform 2616">
                <a:extLst>
                  <a:ext uri="{FF2B5EF4-FFF2-40B4-BE49-F238E27FC236}">
                    <a16:creationId xmlns:a16="http://schemas.microsoft.com/office/drawing/2014/main" id="{C391CB45-9C8F-4C7B-B441-0F9D361A3604}"/>
                  </a:ext>
                </a:extLst>
              </p:cNvPr>
              <p:cNvSpPr>
                <a:spLocks/>
              </p:cNvSpPr>
              <p:nvPr/>
            </p:nvSpPr>
            <p:spPr bwMode="auto">
              <a:xfrm>
                <a:off x="2284"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27" name="Freeform 2617">
                <a:extLst>
                  <a:ext uri="{FF2B5EF4-FFF2-40B4-BE49-F238E27FC236}">
                    <a16:creationId xmlns:a16="http://schemas.microsoft.com/office/drawing/2014/main" id="{89D46438-51F6-4F28-B1AE-86F690732BD5}"/>
                  </a:ext>
                </a:extLst>
              </p:cNvPr>
              <p:cNvSpPr>
                <a:spLocks/>
              </p:cNvSpPr>
              <p:nvPr/>
            </p:nvSpPr>
            <p:spPr bwMode="auto">
              <a:xfrm>
                <a:off x="3243"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28" name="Freeform 2618">
                <a:extLst>
                  <a:ext uri="{FF2B5EF4-FFF2-40B4-BE49-F238E27FC236}">
                    <a16:creationId xmlns:a16="http://schemas.microsoft.com/office/drawing/2014/main" id="{C65614BE-7849-44CF-ABFF-BD36FA370307}"/>
                  </a:ext>
                </a:extLst>
              </p:cNvPr>
              <p:cNvSpPr>
                <a:spLocks/>
              </p:cNvSpPr>
              <p:nvPr/>
            </p:nvSpPr>
            <p:spPr bwMode="auto">
              <a:xfrm>
                <a:off x="2254"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29" name="Freeform 2619">
                <a:extLst>
                  <a:ext uri="{FF2B5EF4-FFF2-40B4-BE49-F238E27FC236}">
                    <a16:creationId xmlns:a16="http://schemas.microsoft.com/office/drawing/2014/main" id="{7F66261F-B6AB-4DE7-8D2E-0EB94C1775F0}"/>
                  </a:ext>
                </a:extLst>
              </p:cNvPr>
              <p:cNvSpPr>
                <a:spLocks/>
              </p:cNvSpPr>
              <p:nvPr/>
            </p:nvSpPr>
            <p:spPr bwMode="auto">
              <a:xfrm>
                <a:off x="3213"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30" name="Oval 2620">
                <a:extLst>
                  <a:ext uri="{FF2B5EF4-FFF2-40B4-BE49-F238E27FC236}">
                    <a16:creationId xmlns:a16="http://schemas.microsoft.com/office/drawing/2014/main" id="{7D5AA986-53FA-4BDF-9D06-A34318F8EEE7}"/>
                  </a:ext>
                </a:extLst>
              </p:cNvPr>
              <p:cNvSpPr>
                <a:spLocks noChangeArrowheads="1"/>
              </p:cNvSpPr>
              <p:nvPr/>
            </p:nvSpPr>
            <p:spPr bwMode="auto">
              <a:xfrm>
                <a:off x="4334"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31" name="Oval 2621">
                <a:extLst>
                  <a:ext uri="{FF2B5EF4-FFF2-40B4-BE49-F238E27FC236}">
                    <a16:creationId xmlns:a16="http://schemas.microsoft.com/office/drawing/2014/main" id="{0017B849-E83B-4EEC-AAC3-FCF881455A4F}"/>
                  </a:ext>
                </a:extLst>
              </p:cNvPr>
              <p:cNvSpPr>
                <a:spLocks noChangeArrowheads="1"/>
              </p:cNvSpPr>
              <p:nvPr/>
            </p:nvSpPr>
            <p:spPr bwMode="auto">
              <a:xfrm>
                <a:off x="427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32" name="Oval 2622">
                <a:extLst>
                  <a:ext uri="{FF2B5EF4-FFF2-40B4-BE49-F238E27FC236}">
                    <a16:creationId xmlns:a16="http://schemas.microsoft.com/office/drawing/2014/main" id="{3840FCEA-BA07-48A6-8628-E0530CA4C64A}"/>
                  </a:ext>
                </a:extLst>
              </p:cNvPr>
              <p:cNvSpPr>
                <a:spLocks noChangeArrowheads="1"/>
              </p:cNvSpPr>
              <p:nvPr/>
            </p:nvSpPr>
            <p:spPr bwMode="auto">
              <a:xfrm>
                <a:off x="4394"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33" name="Oval 2623">
                <a:extLst>
                  <a:ext uri="{FF2B5EF4-FFF2-40B4-BE49-F238E27FC236}">
                    <a16:creationId xmlns:a16="http://schemas.microsoft.com/office/drawing/2014/main" id="{8517C6AB-78DA-4EA2-ACC3-DB70EB9D630F}"/>
                  </a:ext>
                </a:extLst>
              </p:cNvPr>
              <p:cNvSpPr>
                <a:spLocks noChangeArrowheads="1"/>
              </p:cNvSpPr>
              <p:nvPr/>
            </p:nvSpPr>
            <p:spPr bwMode="auto">
              <a:xfrm>
                <a:off x="436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34" name="Oval 2624">
                <a:extLst>
                  <a:ext uri="{FF2B5EF4-FFF2-40B4-BE49-F238E27FC236}">
                    <a16:creationId xmlns:a16="http://schemas.microsoft.com/office/drawing/2014/main" id="{151474C7-4BA3-4526-8789-3F588F27567B}"/>
                  </a:ext>
                </a:extLst>
              </p:cNvPr>
              <p:cNvSpPr>
                <a:spLocks noChangeArrowheads="1"/>
              </p:cNvSpPr>
              <p:nvPr/>
            </p:nvSpPr>
            <p:spPr bwMode="auto">
              <a:xfrm>
                <a:off x="445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35" name="Oval 2625">
                <a:extLst>
                  <a:ext uri="{FF2B5EF4-FFF2-40B4-BE49-F238E27FC236}">
                    <a16:creationId xmlns:a16="http://schemas.microsoft.com/office/drawing/2014/main" id="{637A3E53-B5F7-4D2B-9D6F-D26428ADEC54}"/>
                  </a:ext>
                </a:extLst>
              </p:cNvPr>
              <p:cNvSpPr>
                <a:spLocks noChangeArrowheads="1"/>
              </p:cNvSpPr>
              <p:nvPr/>
            </p:nvSpPr>
            <p:spPr bwMode="auto">
              <a:xfrm>
                <a:off x="442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36" name="Oval 2626">
                <a:extLst>
                  <a:ext uri="{FF2B5EF4-FFF2-40B4-BE49-F238E27FC236}">
                    <a16:creationId xmlns:a16="http://schemas.microsoft.com/office/drawing/2014/main" id="{BE75D479-27A3-4C86-B393-C2C6DBBF6365}"/>
                  </a:ext>
                </a:extLst>
              </p:cNvPr>
              <p:cNvSpPr>
                <a:spLocks noChangeArrowheads="1"/>
              </p:cNvSpPr>
              <p:nvPr/>
            </p:nvSpPr>
            <p:spPr bwMode="auto">
              <a:xfrm>
                <a:off x="442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37" name="Oval 2627">
                <a:extLst>
                  <a:ext uri="{FF2B5EF4-FFF2-40B4-BE49-F238E27FC236}">
                    <a16:creationId xmlns:a16="http://schemas.microsoft.com/office/drawing/2014/main" id="{25FF4F16-B447-4F77-A242-12E9C26807C5}"/>
                  </a:ext>
                </a:extLst>
              </p:cNvPr>
              <p:cNvSpPr>
                <a:spLocks noChangeArrowheads="1"/>
              </p:cNvSpPr>
              <p:nvPr/>
            </p:nvSpPr>
            <p:spPr bwMode="auto">
              <a:xfrm>
                <a:off x="433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38" name="Oval 2628">
                <a:extLst>
                  <a:ext uri="{FF2B5EF4-FFF2-40B4-BE49-F238E27FC236}">
                    <a16:creationId xmlns:a16="http://schemas.microsoft.com/office/drawing/2014/main" id="{B5D1B9AD-6869-407C-80A8-FD31F9F73FBC}"/>
                  </a:ext>
                </a:extLst>
              </p:cNvPr>
              <p:cNvSpPr>
                <a:spLocks noChangeArrowheads="1"/>
              </p:cNvSpPr>
              <p:nvPr/>
            </p:nvSpPr>
            <p:spPr bwMode="auto">
              <a:xfrm>
                <a:off x="4274"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39" name="Oval 2629">
                <a:extLst>
                  <a:ext uri="{FF2B5EF4-FFF2-40B4-BE49-F238E27FC236}">
                    <a16:creationId xmlns:a16="http://schemas.microsoft.com/office/drawing/2014/main" id="{45171956-4028-4070-B968-3152716A1664}"/>
                  </a:ext>
                </a:extLst>
              </p:cNvPr>
              <p:cNvSpPr>
                <a:spLocks noChangeArrowheads="1"/>
              </p:cNvSpPr>
              <p:nvPr/>
            </p:nvSpPr>
            <p:spPr bwMode="auto">
              <a:xfrm>
                <a:off x="406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40" name="Oval 2630">
                <a:extLst>
                  <a:ext uri="{FF2B5EF4-FFF2-40B4-BE49-F238E27FC236}">
                    <a16:creationId xmlns:a16="http://schemas.microsoft.com/office/drawing/2014/main" id="{C1141C36-7341-4522-8B29-6748769B44D0}"/>
                  </a:ext>
                </a:extLst>
              </p:cNvPr>
              <p:cNvSpPr>
                <a:spLocks noChangeArrowheads="1"/>
              </p:cNvSpPr>
              <p:nvPr/>
            </p:nvSpPr>
            <p:spPr bwMode="auto">
              <a:xfrm>
                <a:off x="409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41" name="Oval 2631">
                <a:extLst>
                  <a:ext uri="{FF2B5EF4-FFF2-40B4-BE49-F238E27FC236}">
                    <a16:creationId xmlns:a16="http://schemas.microsoft.com/office/drawing/2014/main" id="{91584CD1-C5EF-46AE-8C88-49E9CB02FCAE}"/>
                  </a:ext>
                </a:extLst>
              </p:cNvPr>
              <p:cNvSpPr>
                <a:spLocks noChangeArrowheads="1"/>
              </p:cNvSpPr>
              <p:nvPr/>
            </p:nvSpPr>
            <p:spPr bwMode="auto">
              <a:xfrm>
                <a:off x="3974"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42" name="Oval 2632">
                <a:extLst>
                  <a:ext uri="{FF2B5EF4-FFF2-40B4-BE49-F238E27FC236}">
                    <a16:creationId xmlns:a16="http://schemas.microsoft.com/office/drawing/2014/main" id="{E9BDD82E-503D-4EAF-9953-37AF36E075ED}"/>
                  </a:ext>
                </a:extLst>
              </p:cNvPr>
              <p:cNvSpPr>
                <a:spLocks noChangeArrowheads="1"/>
              </p:cNvSpPr>
              <p:nvPr/>
            </p:nvSpPr>
            <p:spPr bwMode="auto">
              <a:xfrm>
                <a:off x="3824"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43" name="Oval 2633">
                <a:extLst>
                  <a:ext uri="{FF2B5EF4-FFF2-40B4-BE49-F238E27FC236}">
                    <a16:creationId xmlns:a16="http://schemas.microsoft.com/office/drawing/2014/main" id="{5B6431FE-D37E-4069-BF8D-3D01FB5339DF}"/>
                  </a:ext>
                </a:extLst>
              </p:cNvPr>
              <p:cNvSpPr>
                <a:spLocks noChangeArrowheads="1"/>
              </p:cNvSpPr>
              <p:nvPr/>
            </p:nvSpPr>
            <p:spPr bwMode="auto">
              <a:xfrm>
                <a:off x="409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44" name="Oval 2634">
                <a:extLst>
                  <a:ext uri="{FF2B5EF4-FFF2-40B4-BE49-F238E27FC236}">
                    <a16:creationId xmlns:a16="http://schemas.microsoft.com/office/drawing/2014/main" id="{BA825897-6B4B-4030-A1A2-7AA30656BB4B}"/>
                  </a:ext>
                </a:extLst>
              </p:cNvPr>
              <p:cNvSpPr>
                <a:spLocks noChangeArrowheads="1"/>
              </p:cNvSpPr>
              <p:nvPr/>
            </p:nvSpPr>
            <p:spPr bwMode="auto">
              <a:xfrm>
                <a:off x="4334"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45" name="Oval 2635">
                <a:extLst>
                  <a:ext uri="{FF2B5EF4-FFF2-40B4-BE49-F238E27FC236}">
                    <a16:creationId xmlns:a16="http://schemas.microsoft.com/office/drawing/2014/main" id="{B1A1C359-E6F2-4727-8D79-3D12BDD77CEE}"/>
                  </a:ext>
                </a:extLst>
              </p:cNvPr>
              <p:cNvSpPr>
                <a:spLocks noChangeArrowheads="1"/>
              </p:cNvSpPr>
              <p:nvPr/>
            </p:nvSpPr>
            <p:spPr bwMode="auto">
              <a:xfrm>
                <a:off x="439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46" name="Oval 2636">
                <a:extLst>
                  <a:ext uri="{FF2B5EF4-FFF2-40B4-BE49-F238E27FC236}">
                    <a16:creationId xmlns:a16="http://schemas.microsoft.com/office/drawing/2014/main" id="{741D9434-FA10-4A3F-92AF-C1B0E7D9A601}"/>
                  </a:ext>
                </a:extLst>
              </p:cNvPr>
              <p:cNvSpPr>
                <a:spLocks noChangeArrowheads="1"/>
              </p:cNvSpPr>
              <p:nvPr/>
            </p:nvSpPr>
            <p:spPr bwMode="auto">
              <a:xfrm>
                <a:off x="42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47" name="Oval 2637">
                <a:extLst>
                  <a:ext uri="{FF2B5EF4-FFF2-40B4-BE49-F238E27FC236}">
                    <a16:creationId xmlns:a16="http://schemas.microsoft.com/office/drawing/2014/main" id="{3DA66931-F40B-4EED-86FE-7A252A897425}"/>
                  </a:ext>
                </a:extLst>
              </p:cNvPr>
              <p:cNvSpPr>
                <a:spLocks noChangeArrowheads="1"/>
              </p:cNvSpPr>
              <p:nvPr/>
            </p:nvSpPr>
            <p:spPr bwMode="auto">
              <a:xfrm>
                <a:off x="415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48" name="Oval 2638">
                <a:extLst>
                  <a:ext uri="{FF2B5EF4-FFF2-40B4-BE49-F238E27FC236}">
                    <a16:creationId xmlns:a16="http://schemas.microsoft.com/office/drawing/2014/main" id="{3C22C594-1BE9-4FD9-B0E4-6FCDFDB591DF}"/>
                  </a:ext>
                </a:extLst>
              </p:cNvPr>
              <p:cNvSpPr>
                <a:spLocks noChangeArrowheads="1"/>
              </p:cNvSpPr>
              <p:nvPr/>
            </p:nvSpPr>
            <p:spPr bwMode="auto">
              <a:xfrm>
                <a:off x="4364"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49" name="Oval 2639">
                <a:extLst>
                  <a:ext uri="{FF2B5EF4-FFF2-40B4-BE49-F238E27FC236}">
                    <a16:creationId xmlns:a16="http://schemas.microsoft.com/office/drawing/2014/main" id="{F5FE1887-5518-465C-80B3-108151ADCC6C}"/>
                  </a:ext>
                </a:extLst>
              </p:cNvPr>
              <p:cNvSpPr>
                <a:spLocks noChangeArrowheads="1"/>
              </p:cNvSpPr>
              <p:nvPr/>
            </p:nvSpPr>
            <p:spPr bwMode="auto">
              <a:xfrm>
                <a:off x="439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50" name="Oval 2640">
                <a:extLst>
                  <a:ext uri="{FF2B5EF4-FFF2-40B4-BE49-F238E27FC236}">
                    <a16:creationId xmlns:a16="http://schemas.microsoft.com/office/drawing/2014/main" id="{2B7C877B-4647-4AB8-83B1-F58FA6863302}"/>
                  </a:ext>
                </a:extLst>
              </p:cNvPr>
              <p:cNvSpPr>
                <a:spLocks noChangeArrowheads="1"/>
              </p:cNvSpPr>
              <p:nvPr/>
            </p:nvSpPr>
            <p:spPr bwMode="auto">
              <a:xfrm>
                <a:off x="427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51" name="Oval 2641">
                <a:extLst>
                  <a:ext uri="{FF2B5EF4-FFF2-40B4-BE49-F238E27FC236}">
                    <a16:creationId xmlns:a16="http://schemas.microsoft.com/office/drawing/2014/main" id="{EBCAA00A-78BC-45EB-B158-3A5DA8224E8D}"/>
                  </a:ext>
                </a:extLst>
              </p:cNvPr>
              <p:cNvSpPr>
                <a:spLocks noChangeArrowheads="1"/>
              </p:cNvSpPr>
              <p:nvPr/>
            </p:nvSpPr>
            <p:spPr bwMode="auto">
              <a:xfrm>
                <a:off x="415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52" name="Oval 2642">
                <a:extLst>
                  <a:ext uri="{FF2B5EF4-FFF2-40B4-BE49-F238E27FC236}">
                    <a16:creationId xmlns:a16="http://schemas.microsoft.com/office/drawing/2014/main" id="{495F5092-9079-4B2A-A0F7-8182E30DF536}"/>
                  </a:ext>
                </a:extLst>
              </p:cNvPr>
              <p:cNvSpPr>
                <a:spLocks noChangeArrowheads="1"/>
              </p:cNvSpPr>
              <p:nvPr/>
            </p:nvSpPr>
            <p:spPr bwMode="auto">
              <a:xfrm>
                <a:off x="412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53" name="Oval 2643">
                <a:extLst>
                  <a:ext uri="{FF2B5EF4-FFF2-40B4-BE49-F238E27FC236}">
                    <a16:creationId xmlns:a16="http://schemas.microsoft.com/office/drawing/2014/main" id="{8C20932A-E594-4D00-9F68-B0101A2F0490}"/>
                  </a:ext>
                </a:extLst>
              </p:cNvPr>
              <p:cNvSpPr>
                <a:spLocks noChangeArrowheads="1"/>
              </p:cNvSpPr>
              <p:nvPr/>
            </p:nvSpPr>
            <p:spPr bwMode="auto">
              <a:xfrm>
                <a:off x="4364"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54" name="Oval 2644">
                <a:extLst>
                  <a:ext uri="{FF2B5EF4-FFF2-40B4-BE49-F238E27FC236}">
                    <a16:creationId xmlns:a16="http://schemas.microsoft.com/office/drawing/2014/main" id="{BB7F1A50-0074-4369-B07E-06F15C5387CF}"/>
                  </a:ext>
                </a:extLst>
              </p:cNvPr>
              <p:cNvSpPr>
                <a:spLocks noChangeArrowheads="1"/>
              </p:cNvSpPr>
              <p:nvPr/>
            </p:nvSpPr>
            <p:spPr bwMode="auto">
              <a:xfrm>
                <a:off x="430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55" name="Oval 2645">
                <a:extLst>
                  <a:ext uri="{FF2B5EF4-FFF2-40B4-BE49-F238E27FC236}">
                    <a16:creationId xmlns:a16="http://schemas.microsoft.com/office/drawing/2014/main" id="{7F8812FE-24EF-4904-BDA7-BC9DE4C74D30}"/>
                  </a:ext>
                </a:extLst>
              </p:cNvPr>
              <p:cNvSpPr>
                <a:spLocks noChangeArrowheads="1"/>
              </p:cNvSpPr>
              <p:nvPr/>
            </p:nvSpPr>
            <p:spPr bwMode="auto">
              <a:xfrm>
                <a:off x="427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56" name="Oval 2646">
                <a:extLst>
                  <a:ext uri="{FF2B5EF4-FFF2-40B4-BE49-F238E27FC236}">
                    <a16:creationId xmlns:a16="http://schemas.microsoft.com/office/drawing/2014/main" id="{B13DEA20-F35F-4359-A1A4-633C9B722BFF}"/>
                  </a:ext>
                </a:extLst>
              </p:cNvPr>
              <p:cNvSpPr>
                <a:spLocks noChangeArrowheads="1"/>
              </p:cNvSpPr>
              <p:nvPr/>
            </p:nvSpPr>
            <p:spPr bwMode="auto">
              <a:xfrm>
                <a:off x="433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57" name="Oval 2647">
                <a:extLst>
                  <a:ext uri="{FF2B5EF4-FFF2-40B4-BE49-F238E27FC236}">
                    <a16:creationId xmlns:a16="http://schemas.microsoft.com/office/drawing/2014/main" id="{BDC5020D-B699-44AF-8737-E950DE8BA500}"/>
                  </a:ext>
                </a:extLst>
              </p:cNvPr>
              <p:cNvSpPr>
                <a:spLocks noChangeArrowheads="1"/>
              </p:cNvSpPr>
              <p:nvPr/>
            </p:nvSpPr>
            <p:spPr bwMode="auto">
              <a:xfrm>
                <a:off x="418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58" name="Oval 2648">
                <a:extLst>
                  <a:ext uri="{FF2B5EF4-FFF2-40B4-BE49-F238E27FC236}">
                    <a16:creationId xmlns:a16="http://schemas.microsoft.com/office/drawing/2014/main" id="{5AE417E4-66A6-4247-8C60-C1D60C76B983}"/>
                  </a:ext>
                </a:extLst>
              </p:cNvPr>
              <p:cNvSpPr>
                <a:spLocks noChangeArrowheads="1"/>
              </p:cNvSpPr>
              <p:nvPr/>
            </p:nvSpPr>
            <p:spPr bwMode="auto">
              <a:xfrm>
                <a:off x="4124"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59" name="Oval 2649">
                <a:extLst>
                  <a:ext uri="{FF2B5EF4-FFF2-40B4-BE49-F238E27FC236}">
                    <a16:creationId xmlns:a16="http://schemas.microsoft.com/office/drawing/2014/main" id="{AA9D20CC-F7B7-4AAF-805F-23F3A8CCB19B}"/>
                  </a:ext>
                </a:extLst>
              </p:cNvPr>
              <p:cNvSpPr>
                <a:spLocks noChangeArrowheads="1"/>
              </p:cNvSpPr>
              <p:nvPr/>
            </p:nvSpPr>
            <p:spPr bwMode="auto">
              <a:xfrm>
                <a:off x="42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60" name="Oval 2650">
                <a:extLst>
                  <a:ext uri="{FF2B5EF4-FFF2-40B4-BE49-F238E27FC236}">
                    <a16:creationId xmlns:a16="http://schemas.microsoft.com/office/drawing/2014/main" id="{3F04D762-EC50-471C-BF02-B34545D0F487}"/>
                  </a:ext>
                </a:extLst>
              </p:cNvPr>
              <p:cNvSpPr>
                <a:spLocks noChangeArrowheads="1"/>
              </p:cNvSpPr>
              <p:nvPr/>
            </p:nvSpPr>
            <p:spPr bwMode="auto">
              <a:xfrm>
                <a:off x="4184"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61" name="Oval 2651">
                <a:extLst>
                  <a:ext uri="{FF2B5EF4-FFF2-40B4-BE49-F238E27FC236}">
                    <a16:creationId xmlns:a16="http://schemas.microsoft.com/office/drawing/2014/main" id="{D03537D8-0B86-4936-A6EE-7BF6FDFF637F}"/>
                  </a:ext>
                </a:extLst>
              </p:cNvPr>
              <p:cNvSpPr>
                <a:spLocks noChangeArrowheads="1"/>
              </p:cNvSpPr>
              <p:nvPr/>
            </p:nvSpPr>
            <p:spPr bwMode="auto">
              <a:xfrm>
                <a:off x="436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62" name="Oval 2652">
                <a:extLst>
                  <a:ext uri="{FF2B5EF4-FFF2-40B4-BE49-F238E27FC236}">
                    <a16:creationId xmlns:a16="http://schemas.microsoft.com/office/drawing/2014/main" id="{FD2E68EB-D294-4846-9D99-275905985757}"/>
                  </a:ext>
                </a:extLst>
              </p:cNvPr>
              <p:cNvSpPr>
                <a:spLocks noChangeArrowheads="1"/>
              </p:cNvSpPr>
              <p:nvPr/>
            </p:nvSpPr>
            <p:spPr bwMode="auto">
              <a:xfrm>
                <a:off x="439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63" name="Oval 2653">
                <a:extLst>
                  <a:ext uri="{FF2B5EF4-FFF2-40B4-BE49-F238E27FC236}">
                    <a16:creationId xmlns:a16="http://schemas.microsoft.com/office/drawing/2014/main" id="{4FDC08F2-B7CF-4762-9E55-51243FA28ACD}"/>
                  </a:ext>
                </a:extLst>
              </p:cNvPr>
              <p:cNvSpPr>
                <a:spLocks noChangeArrowheads="1"/>
              </p:cNvSpPr>
              <p:nvPr/>
            </p:nvSpPr>
            <p:spPr bwMode="auto">
              <a:xfrm>
                <a:off x="436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64" name="Oval 2654">
                <a:extLst>
                  <a:ext uri="{FF2B5EF4-FFF2-40B4-BE49-F238E27FC236}">
                    <a16:creationId xmlns:a16="http://schemas.microsoft.com/office/drawing/2014/main" id="{0D504A83-0C88-4FBC-BAB4-19FA5E5AFC28}"/>
                  </a:ext>
                </a:extLst>
              </p:cNvPr>
              <p:cNvSpPr>
                <a:spLocks noChangeArrowheads="1"/>
              </p:cNvSpPr>
              <p:nvPr/>
            </p:nvSpPr>
            <p:spPr bwMode="auto">
              <a:xfrm>
                <a:off x="4394"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65" name="Oval 2655">
                <a:extLst>
                  <a:ext uri="{FF2B5EF4-FFF2-40B4-BE49-F238E27FC236}">
                    <a16:creationId xmlns:a16="http://schemas.microsoft.com/office/drawing/2014/main" id="{60B827BD-7EAB-47B5-9B94-F2027A863CCF}"/>
                  </a:ext>
                </a:extLst>
              </p:cNvPr>
              <p:cNvSpPr>
                <a:spLocks noChangeArrowheads="1"/>
              </p:cNvSpPr>
              <p:nvPr/>
            </p:nvSpPr>
            <p:spPr bwMode="auto">
              <a:xfrm>
                <a:off x="433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66" name="Oval 2656">
                <a:extLst>
                  <a:ext uri="{FF2B5EF4-FFF2-40B4-BE49-F238E27FC236}">
                    <a16:creationId xmlns:a16="http://schemas.microsoft.com/office/drawing/2014/main" id="{209F3275-34A0-409C-B35E-F3F39A16FAF2}"/>
                  </a:ext>
                </a:extLst>
              </p:cNvPr>
              <p:cNvSpPr>
                <a:spLocks noChangeArrowheads="1"/>
              </p:cNvSpPr>
              <p:nvPr/>
            </p:nvSpPr>
            <p:spPr bwMode="auto">
              <a:xfrm>
                <a:off x="436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67" name="Oval 2657">
                <a:extLst>
                  <a:ext uri="{FF2B5EF4-FFF2-40B4-BE49-F238E27FC236}">
                    <a16:creationId xmlns:a16="http://schemas.microsoft.com/office/drawing/2014/main" id="{4B220A02-F739-4766-967A-C0D8693F1D85}"/>
                  </a:ext>
                </a:extLst>
              </p:cNvPr>
              <p:cNvSpPr>
                <a:spLocks noChangeArrowheads="1"/>
              </p:cNvSpPr>
              <p:nvPr/>
            </p:nvSpPr>
            <p:spPr bwMode="auto">
              <a:xfrm>
                <a:off x="439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68" name="Oval 2658">
                <a:extLst>
                  <a:ext uri="{FF2B5EF4-FFF2-40B4-BE49-F238E27FC236}">
                    <a16:creationId xmlns:a16="http://schemas.microsoft.com/office/drawing/2014/main" id="{8656B4CD-A562-4E52-95AF-9A4A064410C8}"/>
                  </a:ext>
                </a:extLst>
              </p:cNvPr>
              <p:cNvSpPr>
                <a:spLocks noChangeArrowheads="1"/>
              </p:cNvSpPr>
              <p:nvPr/>
            </p:nvSpPr>
            <p:spPr bwMode="auto">
              <a:xfrm>
                <a:off x="421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69" name="Oval 2659">
                <a:extLst>
                  <a:ext uri="{FF2B5EF4-FFF2-40B4-BE49-F238E27FC236}">
                    <a16:creationId xmlns:a16="http://schemas.microsoft.com/office/drawing/2014/main" id="{F9B50E16-AC90-4702-A2B0-1CF07FCE2A5A}"/>
                  </a:ext>
                </a:extLst>
              </p:cNvPr>
              <p:cNvSpPr>
                <a:spLocks noChangeArrowheads="1"/>
              </p:cNvSpPr>
              <p:nvPr/>
            </p:nvSpPr>
            <p:spPr bwMode="auto">
              <a:xfrm>
                <a:off x="424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70" name="Oval 2660">
                <a:extLst>
                  <a:ext uri="{FF2B5EF4-FFF2-40B4-BE49-F238E27FC236}">
                    <a16:creationId xmlns:a16="http://schemas.microsoft.com/office/drawing/2014/main" id="{2A42687A-7FC7-4936-B9A7-BB3F72A7144C}"/>
                  </a:ext>
                </a:extLst>
              </p:cNvPr>
              <p:cNvSpPr>
                <a:spLocks noChangeArrowheads="1"/>
              </p:cNvSpPr>
              <p:nvPr/>
            </p:nvSpPr>
            <p:spPr bwMode="auto">
              <a:xfrm>
                <a:off x="412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71" name="Oval 2661">
                <a:extLst>
                  <a:ext uri="{FF2B5EF4-FFF2-40B4-BE49-F238E27FC236}">
                    <a16:creationId xmlns:a16="http://schemas.microsoft.com/office/drawing/2014/main" id="{A1D30381-3ABE-4656-A0A5-14B3342D2812}"/>
                  </a:ext>
                </a:extLst>
              </p:cNvPr>
              <p:cNvSpPr>
                <a:spLocks noChangeArrowheads="1"/>
              </p:cNvSpPr>
              <p:nvPr/>
            </p:nvSpPr>
            <p:spPr bwMode="auto">
              <a:xfrm>
                <a:off x="409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72" name="Oval 2662">
                <a:extLst>
                  <a:ext uri="{FF2B5EF4-FFF2-40B4-BE49-F238E27FC236}">
                    <a16:creationId xmlns:a16="http://schemas.microsoft.com/office/drawing/2014/main" id="{7903DEAB-164A-4F5C-BFD0-DC9291899F91}"/>
                  </a:ext>
                </a:extLst>
              </p:cNvPr>
              <p:cNvSpPr>
                <a:spLocks noChangeArrowheads="1"/>
              </p:cNvSpPr>
              <p:nvPr/>
            </p:nvSpPr>
            <p:spPr bwMode="auto">
              <a:xfrm>
                <a:off x="4124"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73" name="Oval 2663">
                <a:extLst>
                  <a:ext uri="{FF2B5EF4-FFF2-40B4-BE49-F238E27FC236}">
                    <a16:creationId xmlns:a16="http://schemas.microsoft.com/office/drawing/2014/main" id="{DC511BCB-AF2C-4B34-B87E-A6D4A6B4590B}"/>
                  </a:ext>
                </a:extLst>
              </p:cNvPr>
              <p:cNvSpPr>
                <a:spLocks noChangeArrowheads="1"/>
              </p:cNvSpPr>
              <p:nvPr/>
            </p:nvSpPr>
            <p:spPr bwMode="auto">
              <a:xfrm>
                <a:off x="403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74" name="Oval 2664">
                <a:extLst>
                  <a:ext uri="{FF2B5EF4-FFF2-40B4-BE49-F238E27FC236}">
                    <a16:creationId xmlns:a16="http://schemas.microsoft.com/office/drawing/2014/main" id="{080E606A-C7A6-476E-85AE-6A8C50CCAC8A}"/>
                  </a:ext>
                </a:extLst>
              </p:cNvPr>
              <p:cNvSpPr>
                <a:spLocks noChangeArrowheads="1"/>
              </p:cNvSpPr>
              <p:nvPr/>
            </p:nvSpPr>
            <p:spPr bwMode="auto">
              <a:xfrm>
                <a:off x="4064"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75" name="Oval 2665">
                <a:extLst>
                  <a:ext uri="{FF2B5EF4-FFF2-40B4-BE49-F238E27FC236}">
                    <a16:creationId xmlns:a16="http://schemas.microsoft.com/office/drawing/2014/main" id="{21623BEC-FC00-4378-9263-4322CD2C3589}"/>
                  </a:ext>
                </a:extLst>
              </p:cNvPr>
              <p:cNvSpPr>
                <a:spLocks noChangeArrowheads="1"/>
              </p:cNvSpPr>
              <p:nvPr/>
            </p:nvSpPr>
            <p:spPr bwMode="auto">
              <a:xfrm>
                <a:off x="394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76" name="Oval 2666">
                <a:extLst>
                  <a:ext uri="{FF2B5EF4-FFF2-40B4-BE49-F238E27FC236}">
                    <a16:creationId xmlns:a16="http://schemas.microsoft.com/office/drawing/2014/main" id="{D84F49A1-396E-45B9-B4E0-401FF6E9F274}"/>
                  </a:ext>
                </a:extLst>
              </p:cNvPr>
              <p:cNvSpPr>
                <a:spLocks noChangeArrowheads="1"/>
              </p:cNvSpPr>
              <p:nvPr/>
            </p:nvSpPr>
            <p:spPr bwMode="auto">
              <a:xfrm>
                <a:off x="382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77" name="Oval 2667">
                <a:extLst>
                  <a:ext uri="{FF2B5EF4-FFF2-40B4-BE49-F238E27FC236}">
                    <a16:creationId xmlns:a16="http://schemas.microsoft.com/office/drawing/2014/main" id="{60E73FD3-7058-40CE-BB0C-44E1ADEEF2D5}"/>
                  </a:ext>
                </a:extLst>
              </p:cNvPr>
              <p:cNvSpPr>
                <a:spLocks noChangeArrowheads="1"/>
              </p:cNvSpPr>
              <p:nvPr/>
            </p:nvSpPr>
            <p:spPr bwMode="auto">
              <a:xfrm>
                <a:off x="36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78" name="Oval 2668">
                <a:extLst>
                  <a:ext uri="{FF2B5EF4-FFF2-40B4-BE49-F238E27FC236}">
                    <a16:creationId xmlns:a16="http://schemas.microsoft.com/office/drawing/2014/main" id="{26A07F9E-3012-4F03-AB25-5ED984DF0A05}"/>
                  </a:ext>
                </a:extLst>
              </p:cNvPr>
              <p:cNvSpPr>
                <a:spLocks noChangeArrowheads="1"/>
              </p:cNvSpPr>
              <p:nvPr/>
            </p:nvSpPr>
            <p:spPr bwMode="auto">
              <a:xfrm>
                <a:off x="367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79" name="Oval 2669">
                <a:extLst>
                  <a:ext uri="{FF2B5EF4-FFF2-40B4-BE49-F238E27FC236}">
                    <a16:creationId xmlns:a16="http://schemas.microsoft.com/office/drawing/2014/main" id="{A3DF7859-55F5-4B18-9FCC-F5DD563253EC}"/>
                  </a:ext>
                </a:extLst>
              </p:cNvPr>
              <p:cNvSpPr>
                <a:spLocks noChangeArrowheads="1"/>
              </p:cNvSpPr>
              <p:nvPr/>
            </p:nvSpPr>
            <p:spPr bwMode="auto">
              <a:xfrm>
                <a:off x="379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80" name="Oval 2670">
                <a:extLst>
                  <a:ext uri="{FF2B5EF4-FFF2-40B4-BE49-F238E27FC236}">
                    <a16:creationId xmlns:a16="http://schemas.microsoft.com/office/drawing/2014/main" id="{F5CE45F5-9A75-414D-980F-01C215706D68}"/>
                  </a:ext>
                </a:extLst>
              </p:cNvPr>
              <p:cNvSpPr>
                <a:spLocks noChangeArrowheads="1"/>
              </p:cNvSpPr>
              <p:nvPr/>
            </p:nvSpPr>
            <p:spPr bwMode="auto">
              <a:xfrm>
                <a:off x="3735" y="3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81" name="Oval 2671">
                <a:extLst>
                  <a:ext uri="{FF2B5EF4-FFF2-40B4-BE49-F238E27FC236}">
                    <a16:creationId xmlns:a16="http://schemas.microsoft.com/office/drawing/2014/main" id="{F46F04BB-5693-467C-BAD9-A6BB54CA54A5}"/>
                  </a:ext>
                </a:extLst>
              </p:cNvPr>
              <p:cNvSpPr>
                <a:spLocks noChangeArrowheads="1"/>
              </p:cNvSpPr>
              <p:nvPr/>
            </p:nvSpPr>
            <p:spPr bwMode="auto">
              <a:xfrm>
                <a:off x="376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82" name="Oval 2672">
                <a:extLst>
                  <a:ext uri="{FF2B5EF4-FFF2-40B4-BE49-F238E27FC236}">
                    <a16:creationId xmlns:a16="http://schemas.microsoft.com/office/drawing/2014/main" id="{0BB9E677-68C3-48E8-AE28-62CD1B695805}"/>
                  </a:ext>
                </a:extLst>
              </p:cNvPr>
              <p:cNvSpPr>
                <a:spLocks noChangeArrowheads="1"/>
              </p:cNvSpPr>
              <p:nvPr/>
            </p:nvSpPr>
            <p:spPr bwMode="auto">
              <a:xfrm>
                <a:off x="379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83" name="Oval 2673">
                <a:extLst>
                  <a:ext uri="{FF2B5EF4-FFF2-40B4-BE49-F238E27FC236}">
                    <a16:creationId xmlns:a16="http://schemas.microsoft.com/office/drawing/2014/main" id="{E3D7340E-A0CA-4428-8751-562A0D8FF304}"/>
                  </a:ext>
                </a:extLst>
              </p:cNvPr>
              <p:cNvSpPr>
                <a:spLocks noChangeArrowheads="1"/>
              </p:cNvSpPr>
              <p:nvPr/>
            </p:nvSpPr>
            <p:spPr bwMode="auto">
              <a:xfrm>
                <a:off x="3735" y="7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84" name="Oval 2674">
                <a:extLst>
                  <a:ext uri="{FF2B5EF4-FFF2-40B4-BE49-F238E27FC236}">
                    <a16:creationId xmlns:a16="http://schemas.microsoft.com/office/drawing/2014/main" id="{D6560FF2-8BF4-4037-94A2-82543D1D2A6A}"/>
                  </a:ext>
                </a:extLst>
              </p:cNvPr>
              <p:cNvSpPr>
                <a:spLocks noChangeArrowheads="1"/>
              </p:cNvSpPr>
              <p:nvPr/>
            </p:nvSpPr>
            <p:spPr bwMode="auto">
              <a:xfrm>
                <a:off x="36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85" name="Oval 2675">
                <a:extLst>
                  <a:ext uri="{FF2B5EF4-FFF2-40B4-BE49-F238E27FC236}">
                    <a16:creationId xmlns:a16="http://schemas.microsoft.com/office/drawing/2014/main" id="{D05B4ADF-A837-415C-8AD8-CE0D147BB3F3}"/>
                  </a:ext>
                </a:extLst>
              </p:cNvPr>
              <p:cNvSpPr>
                <a:spLocks noChangeArrowheads="1"/>
              </p:cNvSpPr>
              <p:nvPr/>
            </p:nvSpPr>
            <p:spPr bwMode="auto">
              <a:xfrm>
                <a:off x="352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86" name="Oval 2676">
                <a:extLst>
                  <a:ext uri="{FF2B5EF4-FFF2-40B4-BE49-F238E27FC236}">
                    <a16:creationId xmlns:a16="http://schemas.microsoft.com/office/drawing/2014/main" id="{7778E4F6-96FE-44BA-9B42-04D03C9D375D}"/>
                  </a:ext>
                </a:extLst>
              </p:cNvPr>
              <p:cNvSpPr>
                <a:spLocks noChangeArrowheads="1"/>
              </p:cNvSpPr>
              <p:nvPr/>
            </p:nvSpPr>
            <p:spPr bwMode="auto">
              <a:xfrm>
                <a:off x="343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87" name="Oval 2677">
                <a:extLst>
                  <a:ext uri="{FF2B5EF4-FFF2-40B4-BE49-F238E27FC236}">
                    <a16:creationId xmlns:a16="http://schemas.microsoft.com/office/drawing/2014/main" id="{60316479-79A0-44A8-B232-BDA9D5D19269}"/>
                  </a:ext>
                </a:extLst>
              </p:cNvPr>
              <p:cNvSpPr>
                <a:spLocks noChangeArrowheads="1"/>
              </p:cNvSpPr>
              <p:nvPr/>
            </p:nvSpPr>
            <p:spPr bwMode="auto">
              <a:xfrm>
                <a:off x="331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88" name="Oval 2678">
                <a:extLst>
                  <a:ext uri="{FF2B5EF4-FFF2-40B4-BE49-F238E27FC236}">
                    <a16:creationId xmlns:a16="http://schemas.microsoft.com/office/drawing/2014/main" id="{CD05EBF5-D554-4EA3-98D5-E26C30114561}"/>
                  </a:ext>
                </a:extLst>
              </p:cNvPr>
              <p:cNvSpPr>
                <a:spLocks noChangeArrowheads="1"/>
              </p:cNvSpPr>
              <p:nvPr/>
            </p:nvSpPr>
            <p:spPr bwMode="auto">
              <a:xfrm>
                <a:off x="325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89" name="Oval 2679">
                <a:extLst>
                  <a:ext uri="{FF2B5EF4-FFF2-40B4-BE49-F238E27FC236}">
                    <a16:creationId xmlns:a16="http://schemas.microsoft.com/office/drawing/2014/main" id="{77ACF15D-A01F-4843-BBC9-B366E9134700}"/>
                  </a:ext>
                </a:extLst>
              </p:cNvPr>
              <p:cNvSpPr>
                <a:spLocks noChangeArrowheads="1"/>
              </p:cNvSpPr>
              <p:nvPr/>
            </p:nvSpPr>
            <p:spPr bwMode="auto">
              <a:xfrm>
                <a:off x="337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90" name="Oval 2680">
                <a:extLst>
                  <a:ext uri="{FF2B5EF4-FFF2-40B4-BE49-F238E27FC236}">
                    <a16:creationId xmlns:a16="http://schemas.microsoft.com/office/drawing/2014/main" id="{06AC55C3-5040-426E-ABF9-325D81F8F172}"/>
                  </a:ext>
                </a:extLst>
              </p:cNvPr>
              <p:cNvSpPr>
                <a:spLocks noChangeArrowheads="1"/>
              </p:cNvSpPr>
              <p:nvPr/>
            </p:nvSpPr>
            <p:spPr bwMode="auto">
              <a:xfrm>
                <a:off x="367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91" name="Oval 2681">
                <a:extLst>
                  <a:ext uri="{FF2B5EF4-FFF2-40B4-BE49-F238E27FC236}">
                    <a16:creationId xmlns:a16="http://schemas.microsoft.com/office/drawing/2014/main" id="{68A2CC6C-1E64-4601-A15D-FBCD531279E2}"/>
                  </a:ext>
                </a:extLst>
              </p:cNvPr>
              <p:cNvSpPr>
                <a:spLocks noChangeArrowheads="1"/>
              </p:cNvSpPr>
              <p:nvPr/>
            </p:nvSpPr>
            <p:spPr bwMode="auto">
              <a:xfrm>
                <a:off x="349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92" name="Oval 2682">
                <a:extLst>
                  <a:ext uri="{FF2B5EF4-FFF2-40B4-BE49-F238E27FC236}">
                    <a16:creationId xmlns:a16="http://schemas.microsoft.com/office/drawing/2014/main" id="{F683C56B-3054-4C7E-853C-E5DC694ECD02}"/>
                  </a:ext>
                </a:extLst>
              </p:cNvPr>
              <p:cNvSpPr>
                <a:spLocks noChangeArrowheads="1"/>
              </p:cNvSpPr>
              <p:nvPr/>
            </p:nvSpPr>
            <p:spPr bwMode="auto">
              <a:xfrm>
                <a:off x="35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93" name="Oval 2683">
                <a:extLst>
                  <a:ext uri="{FF2B5EF4-FFF2-40B4-BE49-F238E27FC236}">
                    <a16:creationId xmlns:a16="http://schemas.microsoft.com/office/drawing/2014/main" id="{2C5584A2-A521-4B91-B6DA-857A3FC49AE5}"/>
                  </a:ext>
                </a:extLst>
              </p:cNvPr>
              <p:cNvSpPr>
                <a:spLocks noChangeArrowheads="1"/>
              </p:cNvSpPr>
              <p:nvPr/>
            </p:nvSpPr>
            <p:spPr bwMode="auto">
              <a:xfrm>
                <a:off x="343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94" name="Oval 2684">
                <a:extLst>
                  <a:ext uri="{FF2B5EF4-FFF2-40B4-BE49-F238E27FC236}">
                    <a16:creationId xmlns:a16="http://schemas.microsoft.com/office/drawing/2014/main" id="{CB8ABF81-4790-4849-81AF-6A4C3766A4C9}"/>
                  </a:ext>
                </a:extLst>
              </p:cNvPr>
              <p:cNvSpPr>
                <a:spLocks noChangeArrowheads="1"/>
              </p:cNvSpPr>
              <p:nvPr/>
            </p:nvSpPr>
            <p:spPr bwMode="auto">
              <a:xfrm>
                <a:off x="364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95" name="Oval 2685">
                <a:extLst>
                  <a:ext uri="{FF2B5EF4-FFF2-40B4-BE49-F238E27FC236}">
                    <a16:creationId xmlns:a16="http://schemas.microsoft.com/office/drawing/2014/main" id="{446DE32C-08E9-4CCC-A723-A7A37B12D8D8}"/>
                  </a:ext>
                </a:extLst>
              </p:cNvPr>
              <p:cNvSpPr>
                <a:spLocks noChangeArrowheads="1"/>
              </p:cNvSpPr>
              <p:nvPr/>
            </p:nvSpPr>
            <p:spPr bwMode="auto">
              <a:xfrm>
                <a:off x="355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96" name="Oval 2686">
                <a:extLst>
                  <a:ext uri="{FF2B5EF4-FFF2-40B4-BE49-F238E27FC236}">
                    <a16:creationId xmlns:a16="http://schemas.microsoft.com/office/drawing/2014/main" id="{910FCAC9-DB9F-4660-B7E4-8CA59C4B2BFC}"/>
                  </a:ext>
                </a:extLst>
              </p:cNvPr>
              <p:cNvSpPr>
                <a:spLocks noChangeArrowheads="1"/>
              </p:cNvSpPr>
              <p:nvPr/>
            </p:nvSpPr>
            <p:spPr bwMode="auto">
              <a:xfrm>
                <a:off x="34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97" name="Oval 2687">
                <a:extLst>
                  <a:ext uri="{FF2B5EF4-FFF2-40B4-BE49-F238E27FC236}">
                    <a16:creationId xmlns:a16="http://schemas.microsoft.com/office/drawing/2014/main" id="{943D6649-3DFB-4883-8D4F-878EAC4CAC75}"/>
                  </a:ext>
                </a:extLst>
              </p:cNvPr>
              <p:cNvSpPr>
                <a:spLocks noChangeArrowheads="1"/>
              </p:cNvSpPr>
              <p:nvPr/>
            </p:nvSpPr>
            <p:spPr bwMode="auto">
              <a:xfrm>
                <a:off x="31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98" name="Oval 2688">
                <a:extLst>
                  <a:ext uri="{FF2B5EF4-FFF2-40B4-BE49-F238E27FC236}">
                    <a16:creationId xmlns:a16="http://schemas.microsoft.com/office/drawing/2014/main" id="{21657494-DDB5-415B-BB35-2E0774436AD5}"/>
                  </a:ext>
                </a:extLst>
              </p:cNvPr>
              <p:cNvSpPr>
                <a:spLocks noChangeArrowheads="1"/>
              </p:cNvSpPr>
              <p:nvPr/>
            </p:nvSpPr>
            <p:spPr bwMode="auto">
              <a:xfrm>
                <a:off x="304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099" name="Oval 2689">
                <a:extLst>
                  <a:ext uri="{FF2B5EF4-FFF2-40B4-BE49-F238E27FC236}">
                    <a16:creationId xmlns:a16="http://schemas.microsoft.com/office/drawing/2014/main" id="{0112293C-561F-49E7-93EE-CFCE0B8A4D44}"/>
                  </a:ext>
                </a:extLst>
              </p:cNvPr>
              <p:cNvSpPr>
                <a:spLocks noChangeArrowheads="1"/>
              </p:cNvSpPr>
              <p:nvPr/>
            </p:nvSpPr>
            <p:spPr bwMode="auto">
              <a:xfrm>
                <a:off x="29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00" name="Oval 2690">
                <a:extLst>
                  <a:ext uri="{FF2B5EF4-FFF2-40B4-BE49-F238E27FC236}">
                    <a16:creationId xmlns:a16="http://schemas.microsoft.com/office/drawing/2014/main" id="{8E5A77F9-1ACD-49B2-A12A-492ACFC52350}"/>
                  </a:ext>
                </a:extLst>
              </p:cNvPr>
              <p:cNvSpPr>
                <a:spLocks noChangeArrowheads="1"/>
              </p:cNvSpPr>
              <p:nvPr/>
            </p:nvSpPr>
            <p:spPr bwMode="auto">
              <a:xfrm>
                <a:off x="30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01" name="Oval 2691">
                <a:extLst>
                  <a:ext uri="{FF2B5EF4-FFF2-40B4-BE49-F238E27FC236}">
                    <a16:creationId xmlns:a16="http://schemas.microsoft.com/office/drawing/2014/main" id="{FF17AD6B-9F6D-4F1E-AA03-ADE70A35753A}"/>
                  </a:ext>
                </a:extLst>
              </p:cNvPr>
              <p:cNvSpPr>
                <a:spLocks noChangeArrowheads="1"/>
              </p:cNvSpPr>
              <p:nvPr/>
            </p:nvSpPr>
            <p:spPr bwMode="auto">
              <a:xfrm>
                <a:off x="316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02" name="Oval 2692">
                <a:extLst>
                  <a:ext uri="{FF2B5EF4-FFF2-40B4-BE49-F238E27FC236}">
                    <a16:creationId xmlns:a16="http://schemas.microsoft.com/office/drawing/2014/main" id="{49DE2702-D92F-4EE9-9F8A-23B564032DBC}"/>
                  </a:ext>
                </a:extLst>
              </p:cNvPr>
              <p:cNvSpPr>
                <a:spLocks noChangeArrowheads="1"/>
              </p:cNvSpPr>
              <p:nvPr/>
            </p:nvSpPr>
            <p:spPr bwMode="auto">
              <a:xfrm>
                <a:off x="334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03" name="Oval 2693">
                <a:extLst>
                  <a:ext uri="{FF2B5EF4-FFF2-40B4-BE49-F238E27FC236}">
                    <a16:creationId xmlns:a16="http://schemas.microsoft.com/office/drawing/2014/main" id="{1D7256C6-5486-4072-887D-A6532826DA6F}"/>
                  </a:ext>
                </a:extLst>
              </p:cNvPr>
              <p:cNvSpPr>
                <a:spLocks noChangeArrowheads="1"/>
              </p:cNvSpPr>
              <p:nvPr/>
            </p:nvSpPr>
            <p:spPr bwMode="auto">
              <a:xfrm>
                <a:off x="31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04" name="Oval 2694">
                <a:extLst>
                  <a:ext uri="{FF2B5EF4-FFF2-40B4-BE49-F238E27FC236}">
                    <a16:creationId xmlns:a16="http://schemas.microsoft.com/office/drawing/2014/main" id="{451C7BF0-BA39-4F01-A0B4-0D128BBF73F3}"/>
                  </a:ext>
                </a:extLst>
              </p:cNvPr>
              <p:cNvSpPr>
                <a:spLocks noChangeArrowheads="1"/>
              </p:cNvSpPr>
              <p:nvPr/>
            </p:nvSpPr>
            <p:spPr bwMode="auto">
              <a:xfrm>
                <a:off x="307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05" name="Oval 2695">
                <a:extLst>
                  <a:ext uri="{FF2B5EF4-FFF2-40B4-BE49-F238E27FC236}">
                    <a16:creationId xmlns:a16="http://schemas.microsoft.com/office/drawing/2014/main" id="{86ECAB5E-51BD-4FBC-B0D7-009877388282}"/>
                  </a:ext>
                </a:extLst>
              </p:cNvPr>
              <p:cNvSpPr>
                <a:spLocks noChangeArrowheads="1"/>
              </p:cNvSpPr>
              <p:nvPr/>
            </p:nvSpPr>
            <p:spPr bwMode="auto">
              <a:xfrm>
                <a:off x="30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06" name="Oval 2696">
                <a:extLst>
                  <a:ext uri="{FF2B5EF4-FFF2-40B4-BE49-F238E27FC236}">
                    <a16:creationId xmlns:a16="http://schemas.microsoft.com/office/drawing/2014/main" id="{6D986BE1-C7A1-4D07-958C-B4C1055B2CD3}"/>
                  </a:ext>
                </a:extLst>
              </p:cNvPr>
              <p:cNvSpPr>
                <a:spLocks noChangeArrowheads="1"/>
              </p:cNvSpPr>
              <p:nvPr/>
            </p:nvSpPr>
            <p:spPr bwMode="auto">
              <a:xfrm>
                <a:off x="292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07" name="Oval 2697">
                <a:extLst>
                  <a:ext uri="{FF2B5EF4-FFF2-40B4-BE49-F238E27FC236}">
                    <a16:creationId xmlns:a16="http://schemas.microsoft.com/office/drawing/2014/main" id="{1B20F3AC-1660-475F-A4EF-B4923B45C950}"/>
                  </a:ext>
                </a:extLst>
              </p:cNvPr>
              <p:cNvSpPr>
                <a:spLocks noChangeArrowheads="1"/>
              </p:cNvSpPr>
              <p:nvPr/>
            </p:nvSpPr>
            <p:spPr bwMode="auto">
              <a:xfrm>
                <a:off x="298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08" name="Oval 2698">
                <a:extLst>
                  <a:ext uri="{FF2B5EF4-FFF2-40B4-BE49-F238E27FC236}">
                    <a16:creationId xmlns:a16="http://schemas.microsoft.com/office/drawing/2014/main" id="{DD26C94B-36CF-4FBD-9C1D-B2456BF3A90F}"/>
                  </a:ext>
                </a:extLst>
              </p:cNvPr>
              <p:cNvSpPr>
                <a:spLocks noChangeArrowheads="1"/>
              </p:cNvSpPr>
              <p:nvPr/>
            </p:nvSpPr>
            <p:spPr bwMode="auto">
              <a:xfrm>
                <a:off x="316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09" name="Oval 2699">
                <a:extLst>
                  <a:ext uri="{FF2B5EF4-FFF2-40B4-BE49-F238E27FC236}">
                    <a16:creationId xmlns:a16="http://schemas.microsoft.com/office/drawing/2014/main" id="{5A84D512-EFA8-4F97-873E-07070CFEEBBF}"/>
                  </a:ext>
                </a:extLst>
              </p:cNvPr>
              <p:cNvSpPr>
                <a:spLocks noChangeArrowheads="1"/>
              </p:cNvSpPr>
              <p:nvPr/>
            </p:nvSpPr>
            <p:spPr bwMode="auto">
              <a:xfrm>
                <a:off x="316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10" name="Oval 2700">
                <a:extLst>
                  <a:ext uri="{FF2B5EF4-FFF2-40B4-BE49-F238E27FC236}">
                    <a16:creationId xmlns:a16="http://schemas.microsoft.com/office/drawing/2014/main" id="{8D32CF99-1D10-419D-AB15-BADA616E17CE}"/>
                  </a:ext>
                </a:extLst>
              </p:cNvPr>
              <p:cNvSpPr>
                <a:spLocks noChangeArrowheads="1"/>
              </p:cNvSpPr>
              <p:nvPr/>
            </p:nvSpPr>
            <p:spPr bwMode="auto">
              <a:xfrm>
                <a:off x="316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11" name="Oval 2701">
                <a:extLst>
                  <a:ext uri="{FF2B5EF4-FFF2-40B4-BE49-F238E27FC236}">
                    <a16:creationId xmlns:a16="http://schemas.microsoft.com/office/drawing/2014/main" id="{A109D0F7-4B75-4F8B-96DA-59CAD206A8D7}"/>
                  </a:ext>
                </a:extLst>
              </p:cNvPr>
              <p:cNvSpPr>
                <a:spLocks noChangeArrowheads="1"/>
              </p:cNvSpPr>
              <p:nvPr/>
            </p:nvSpPr>
            <p:spPr bwMode="auto">
              <a:xfrm>
                <a:off x="316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12" name="Oval 2702">
                <a:extLst>
                  <a:ext uri="{FF2B5EF4-FFF2-40B4-BE49-F238E27FC236}">
                    <a16:creationId xmlns:a16="http://schemas.microsoft.com/office/drawing/2014/main" id="{EDF558AF-25C5-47BB-A7D0-3F3DA262827F}"/>
                  </a:ext>
                </a:extLst>
              </p:cNvPr>
              <p:cNvSpPr>
                <a:spLocks noChangeArrowheads="1"/>
              </p:cNvSpPr>
              <p:nvPr/>
            </p:nvSpPr>
            <p:spPr bwMode="auto">
              <a:xfrm>
                <a:off x="29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13" name="Oval 2703">
                <a:extLst>
                  <a:ext uri="{FF2B5EF4-FFF2-40B4-BE49-F238E27FC236}">
                    <a16:creationId xmlns:a16="http://schemas.microsoft.com/office/drawing/2014/main" id="{1132C05F-2222-4348-ABA0-C33BB6298704}"/>
                  </a:ext>
                </a:extLst>
              </p:cNvPr>
              <p:cNvSpPr>
                <a:spLocks noChangeArrowheads="1"/>
              </p:cNvSpPr>
              <p:nvPr/>
            </p:nvSpPr>
            <p:spPr bwMode="auto">
              <a:xfrm>
                <a:off x="289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14" name="Oval 2704">
                <a:extLst>
                  <a:ext uri="{FF2B5EF4-FFF2-40B4-BE49-F238E27FC236}">
                    <a16:creationId xmlns:a16="http://schemas.microsoft.com/office/drawing/2014/main" id="{9C96B3DA-6976-465A-83B1-2D43FA9760B4}"/>
                  </a:ext>
                </a:extLst>
              </p:cNvPr>
              <p:cNvSpPr>
                <a:spLocks noChangeArrowheads="1"/>
              </p:cNvSpPr>
              <p:nvPr/>
            </p:nvSpPr>
            <p:spPr bwMode="auto">
              <a:xfrm>
                <a:off x="289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15" name="Oval 2705">
                <a:extLst>
                  <a:ext uri="{FF2B5EF4-FFF2-40B4-BE49-F238E27FC236}">
                    <a16:creationId xmlns:a16="http://schemas.microsoft.com/office/drawing/2014/main" id="{E8637EC7-FC83-449E-B35E-A48F4E94BB56}"/>
                  </a:ext>
                </a:extLst>
              </p:cNvPr>
              <p:cNvSpPr>
                <a:spLocks noChangeArrowheads="1"/>
              </p:cNvSpPr>
              <p:nvPr/>
            </p:nvSpPr>
            <p:spPr bwMode="auto">
              <a:xfrm>
                <a:off x="289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16" name="Oval 2706">
                <a:extLst>
                  <a:ext uri="{FF2B5EF4-FFF2-40B4-BE49-F238E27FC236}">
                    <a16:creationId xmlns:a16="http://schemas.microsoft.com/office/drawing/2014/main" id="{AF18984A-5140-4DF7-8B08-ABDE10473BFE}"/>
                  </a:ext>
                </a:extLst>
              </p:cNvPr>
              <p:cNvSpPr>
                <a:spLocks noChangeArrowheads="1"/>
              </p:cNvSpPr>
              <p:nvPr/>
            </p:nvSpPr>
            <p:spPr bwMode="auto">
              <a:xfrm>
                <a:off x="277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17" name="Oval 2707">
                <a:extLst>
                  <a:ext uri="{FF2B5EF4-FFF2-40B4-BE49-F238E27FC236}">
                    <a16:creationId xmlns:a16="http://schemas.microsoft.com/office/drawing/2014/main" id="{B8AC8FCF-4456-462B-B0C0-14A9244CC56C}"/>
                  </a:ext>
                </a:extLst>
              </p:cNvPr>
              <p:cNvSpPr>
                <a:spLocks noChangeArrowheads="1"/>
              </p:cNvSpPr>
              <p:nvPr/>
            </p:nvSpPr>
            <p:spPr bwMode="auto">
              <a:xfrm>
                <a:off x="2805"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18" name="Oval 2708">
                <a:extLst>
                  <a:ext uri="{FF2B5EF4-FFF2-40B4-BE49-F238E27FC236}">
                    <a16:creationId xmlns:a16="http://schemas.microsoft.com/office/drawing/2014/main" id="{736FB248-8A0C-4017-A971-A060567253A5}"/>
                  </a:ext>
                </a:extLst>
              </p:cNvPr>
              <p:cNvSpPr>
                <a:spLocks noChangeArrowheads="1"/>
              </p:cNvSpPr>
              <p:nvPr/>
            </p:nvSpPr>
            <p:spPr bwMode="auto">
              <a:xfrm>
                <a:off x="286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19" name="Oval 2709">
                <a:extLst>
                  <a:ext uri="{FF2B5EF4-FFF2-40B4-BE49-F238E27FC236}">
                    <a16:creationId xmlns:a16="http://schemas.microsoft.com/office/drawing/2014/main" id="{F389423D-2FE8-4DB2-9284-BD04D78F61E5}"/>
                  </a:ext>
                </a:extLst>
              </p:cNvPr>
              <p:cNvSpPr>
                <a:spLocks noChangeArrowheads="1"/>
              </p:cNvSpPr>
              <p:nvPr/>
            </p:nvSpPr>
            <p:spPr bwMode="auto">
              <a:xfrm>
                <a:off x="2775"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20" name="Oval 2710">
                <a:extLst>
                  <a:ext uri="{FF2B5EF4-FFF2-40B4-BE49-F238E27FC236}">
                    <a16:creationId xmlns:a16="http://schemas.microsoft.com/office/drawing/2014/main" id="{63F7FADE-7E3F-427F-A206-EBAC1E2CBEA5}"/>
                  </a:ext>
                </a:extLst>
              </p:cNvPr>
              <p:cNvSpPr>
                <a:spLocks noChangeArrowheads="1"/>
              </p:cNvSpPr>
              <p:nvPr/>
            </p:nvSpPr>
            <p:spPr bwMode="auto">
              <a:xfrm>
                <a:off x="283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21" name="Oval 2711">
                <a:extLst>
                  <a:ext uri="{FF2B5EF4-FFF2-40B4-BE49-F238E27FC236}">
                    <a16:creationId xmlns:a16="http://schemas.microsoft.com/office/drawing/2014/main" id="{FD345648-B9DC-489A-8614-982BED768981}"/>
                  </a:ext>
                </a:extLst>
              </p:cNvPr>
              <p:cNvSpPr>
                <a:spLocks noChangeArrowheads="1"/>
              </p:cNvSpPr>
              <p:nvPr/>
            </p:nvSpPr>
            <p:spPr bwMode="auto">
              <a:xfrm>
                <a:off x="286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22" name="Oval 2712">
                <a:extLst>
                  <a:ext uri="{FF2B5EF4-FFF2-40B4-BE49-F238E27FC236}">
                    <a16:creationId xmlns:a16="http://schemas.microsoft.com/office/drawing/2014/main" id="{A5BE3984-DE21-4625-B11A-15D495CC38E9}"/>
                  </a:ext>
                </a:extLst>
              </p:cNvPr>
              <p:cNvSpPr>
                <a:spLocks noChangeArrowheads="1"/>
              </p:cNvSpPr>
              <p:nvPr/>
            </p:nvSpPr>
            <p:spPr bwMode="auto">
              <a:xfrm>
                <a:off x="2775"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23" name="Oval 2713">
                <a:extLst>
                  <a:ext uri="{FF2B5EF4-FFF2-40B4-BE49-F238E27FC236}">
                    <a16:creationId xmlns:a16="http://schemas.microsoft.com/office/drawing/2014/main" id="{357E5CC3-A010-4400-BC1C-0CA954A1369B}"/>
                  </a:ext>
                </a:extLst>
              </p:cNvPr>
              <p:cNvSpPr>
                <a:spLocks noChangeArrowheads="1"/>
              </p:cNvSpPr>
              <p:nvPr/>
            </p:nvSpPr>
            <p:spPr bwMode="auto">
              <a:xfrm>
                <a:off x="25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24" name="Oval 2714">
                <a:extLst>
                  <a:ext uri="{FF2B5EF4-FFF2-40B4-BE49-F238E27FC236}">
                    <a16:creationId xmlns:a16="http://schemas.microsoft.com/office/drawing/2014/main" id="{F02EE3A0-43DB-4000-8335-C0568CB0975E}"/>
                  </a:ext>
                </a:extLst>
              </p:cNvPr>
              <p:cNvSpPr>
                <a:spLocks noChangeArrowheads="1"/>
              </p:cNvSpPr>
              <p:nvPr/>
            </p:nvSpPr>
            <p:spPr bwMode="auto">
              <a:xfrm>
                <a:off x="256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25" name="Oval 2715">
                <a:extLst>
                  <a:ext uri="{FF2B5EF4-FFF2-40B4-BE49-F238E27FC236}">
                    <a16:creationId xmlns:a16="http://schemas.microsoft.com/office/drawing/2014/main" id="{D022DCDE-7ACF-4CC7-9A53-B1632919EA16}"/>
                  </a:ext>
                </a:extLst>
              </p:cNvPr>
              <p:cNvSpPr>
                <a:spLocks noChangeArrowheads="1"/>
              </p:cNvSpPr>
              <p:nvPr/>
            </p:nvSpPr>
            <p:spPr bwMode="auto">
              <a:xfrm>
                <a:off x="259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26" name="Oval 2716">
                <a:extLst>
                  <a:ext uri="{FF2B5EF4-FFF2-40B4-BE49-F238E27FC236}">
                    <a16:creationId xmlns:a16="http://schemas.microsoft.com/office/drawing/2014/main" id="{FD5212BA-CB10-46E2-AE10-378896581A8A}"/>
                  </a:ext>
                </a:extLst>
              </p:cNvPr>
              <p:cNvSpPr>
                <a:spLocks noChangeArrowheads="1"/>
              </p:cNvSpPr>
              <p:nvPr/>
            </p:nvSpPr>
            <p:spPr bwMode="auto">
              <a:xfrm>
                <a:off x="244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27" name="Oval 2717">
                <a:extLst>
                  <a:ext uri="{FF2B5EF4-FFF2-40B4-BE49-F238E27FC236}">
                    <a16:creationId xmlns:a16="http://schemas.microsoft.com/office/drawing/2014/main" id="{6122A88E-D886-4B51-9F85-89967668EE22}"/>
                  </a:ext>
                </a:extLst>
              </p:cNvPr>
              <p:cNvSpPr>
                <a:spLocks noChangeArrowheads="1"/>
              </p:cNvSpPr>
              <p:nvPr/>
            </p:nvSpPr>
            <p:spPr bwMode="auto">
              <a:xfrm>
                <a:off x="24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28" name="Oval 2718">
                <a:extLst>
                  <a:ext uri="{FF2B5EF4-FFF2-40B4-BE49-F238E27FC236}">
                    <a16:creationId xmlns:a16="http://schemas.microsoft.com/office/drawing/2014/main" id="{A43094B7-2E51-4596-99BD-7F567D4AD8EA}"/>
                  </a:ext>
                </a:extLst>
              </p:cNvPr>
              <p:cNvSpPr>
                <a:spLocks noChangeArrowheads="1"/>
              </p:cNvSpPr>
              <p:nvPr/>
            </p:nvSpPr>
            <p:spPr bwMode="auto">
              <a:xfrm>
                <a:off x="247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29" name="Oval 2719">
                <a:extLst>
                  <a:ext uri="{FF2B5EF4-FFF2-40B4-BE49-F238E27FC236}">
                    <a16:creationId xmlns:a16="http://schemas.microsoft.com/office/drawing/2014/main" id="{1CA2DECB-8761-4F56-950A-2D73E5231C28}"/>
                  </a:ext>
                </a:extLst>
              </p:cNvPr>
              <p:cNvSpPr>
                <a:spLocks noChangeArrowheads="1"/>
              </p:cNvSpPr>
              <p:nvPr/>
            </p:nvSpPr>
            <p:spPr bwMode="auto">
              <a:xfrm>
                <a:off x="2475"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30" name="Oval 2720">
                <a:extLst>
                  <a:ext uri="{FF2B5EF4-FFF2-40B4-BE49-F238E27FC236}">
                    <a16:creationId xmlns:a16="http://schemas.microsoft.com/office/drawing/2014/main" id="{80C12790-C7A5-4DF0-AB85-A0DBC7F3B075}"/>
                  </a:ext>
                </a:extLst>
              </p:cNvPr>
              <p:cNvSpPr>
                <a:spLocks noChangeArrowheads="1"/>
              </p:cNvSpPr>
              <p:nvPr/>
            </p:nvSpPr>
            <p:spPr bwMode="auto">
              <a:xfrm>
                <a:off x="286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31" name="Oval 2721">
                <a:extLst>
                  <a:ext uri="{FF2B5EF4-FFF2-40B4-BE49-F238E27FC236}">
                    <a16:creationId xmlns:a16="http://schemas.microsoft.com/office/drawing/2014/main" id="{1A58D89D-1A19-4BA9-BFEF-830A0D569F09}"/>
                  </a:ext>
                </a:extLst>
              </p:cNvPr>
              <p:cNvSpPr>
                <a:spLocks noChangeArrowheads="1"/>
              </p:cNvSpPr>
              <p:nvPr/>
            </p:nvSpPr>
            <p:spPr bwMode="auto">
              <a:xfrm>
                <a:off x="268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32" name="Oval 2722">
                <a:extLst>
                  <a:ext uri="{FF2B5EF4-FFF2-40B4-BE49-F238E27FC236}">
                    <a16:creationId xmlns:a16="http://schemas.microsoft.com/office/drawing/2014/main" id="{4F3BEDFD-89C6-4C30-91D0-BD31B3C90F4E}"/>
                  </a:ext>
                </a:extLst>
              </p:cNvPr>
              <p:cNvSpPr>
                <a:spLocks noChangeArrowheads="1"/>
              </p:cNvSpPr>
              <p:nvPr/>
            </p:nvSpPr>
            <p:spPr bwMode="auto">
              <a:xfrm>
                <a:off x="235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33" name="Oval 2723">
                <a:extLst>
                  <a:ext uri="{FF2B5EF4-FFF2-40B4-BE49-F238E27FC236}">
                    <a16:creationId xmlns:a16="http://schemas.microsoft.com/office/drawing/2014/main" id="{FC59098B-80F6-4858-984D-90AA99162200}"/>
                  </a:ext>
                </a:extLst>
              </p:cNvPr>
              <p:cNvSpPr>
                <a:spLocks noChangeArrowheads="1"/>
              </p:cNvSpPr>
              <p:nvPr/>
            </p:nvSpPr>
            <p:spPr bwMode="auto">
              <a:xfrm>
                <a:off x="235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34" name="Oval 2724">
                <a:extLst>
                  <a:ext uri="{FF2B5EF4-FFF2-40B4-BE49-F238E27FC236}">
                    <a16:creationId xmlns:a16="http://schemas.microsoft.com/office/drawing/2014/main" id="{1F861820-FD06-42AB-BE24-1E4485E1E826}"/>
                  </a:ext>
                </a:extLst>
              </p:cNvPr>
              <p:cNvSpPr>
                <a:spLocks noChangeArrowheads="1"/>
              </p:cNvSpPr>
              <p:nvPr/>
            </p:nvSpPr>
            <p:spPr bwMode="auto">
              <a:xfrm>
                <a:off x="25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35" name="Oval 2725">
                <a:extLst>
                  <a:ext uri="{FF2B5EF4-FFF2-40B4-BE49-F238E27FC236}">
                    <a16:creationId xmlns:a16="http://schemas.microsoft.com/office/drawing/2014/main" id="{2A081706-3ED1-412C-B142-C8C2D67EA25B}"/>
                  </a:ext>
                </a:extLst>
              </p:cNvPr>
              <p:cNvSpPr>
                <a:spLocks noChangeArrowheads="1"/>
              </p:cNvSpPr>
              <p:nvPr/>
            </p:nvSpPr>
            <p:spPr bwMode="auto">
              <a:xfrm>
                <a:off x="259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36" name="Oval 2726">
                <a:extLst>
                  <a:ext uri="{FF2B5EF4-FFF2-40B4-BE49-F238E27FC236}">
                    <a16:creationId xmlns:a16="http://schemas.microsoft.com/office/drawing/2014/main" id="{BDA03BDF-4CD8-4D07-BC62-0938C6F1D33C}"/>
                  </a:ext>
                </a:extLst>
              </p:cNvPr>
              <p:cNvSpPr>
                <a:spLocks noChangeArrowheads="1"/>
              </p:cNvSpPr>
              <p:nvPr/>
            </p:nvSpPr>
            <p:spPr bwMode="auto">
              <a:xfrm>
                <a:off x="25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37" name="Oval 2727">
                <a:extLst>
                  <a:ext uri="{FF2B5EF4-FFF2-40B4-BE49-F238E27FC236}">
                    <a16:creationId xmlns:a16="http://schemas.microsoft.com/office/drawing/2014/main" id="{CA602E85-B624-4A06-AC46-AEC6BEDA23A4}"/>
                  </a:ext>
                </a:extLst>
              </p:cNvPr>
              <p:cNvSpPr>
                <a:spLocks noChangeArrowheads="1"/>
              </p:cNvSpPr>
              <p:nvPr/>
            </p:nvSpPr>
            <p:spPr bwMode="auto">
              <a:xfrm>
                <a:off x="256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38" name="Oval 2728">
                <a:extLst>
                  <a:ext uri="{FF2B5EF4-FFF2-40B4-BE49-F238E27FC236}">
                    <a16:creationId xmlns:a16="http://schemas.microsoft.com/office/drawing/2014/main" id="{4F1250A6-3752-4183-B4D9-5300A4536074}"/>
                  </a:ext>
                </a:extLst>
              </p:cNvPr>
              <p:cNvSpPr>
                <a:spLocks noChangeArrowheads="1"/>
              </p:cNvSpPr>
              <p:nvPr/>
            </p:nvSpPr>
            <p:spPr bwMode="auto">
              <a:xfrm>
                <a:off x="247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39" name="Oval 2729">
                <a:extLst>
                  <a:ext uri="{FF2B5EF4-FFF2-40B4-BE49-F238E27FC236}">
                    <a16:creationId xmlns:a16="http://schemas.microsoft.com/office/drawing/2014/main" id="{DED79C39-0757-4EF4-82BD-D87B7BBB2CD2}"/>
                  </a:ext>
                </a:extLst>
              </p:cNvPr>
              <p:cNvSpPr>
                <a:spLocks noChangeArrowheads="1"/>
              </p:cNvSpPr>
              <p:nvPr/>
            </p:nvSpPr>
            <p:spPr bwMode="auto">
              <a:xfrm>
                <a:off x="235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40" name="Oval 2730">
                <a:extLst>
                  <a:ext uri="{FF2B5EF4-FFF2-40B4-BE49-F238E27FC236}">
                    <a16:creationId xmlns:a16="http://schemas.microsoft.com/office/drawing/2014/main" id="{D9DF39CB-E626-43AF-AA6E-5F457DC3D3E1}"/>
                  </a:ext>
                </a:extLst>
              </p:cNvPr>
              <p:cNvSpPr>
                <a:spLocks noChangeArrowheads="1"/>
              </p:cNvSpPr>
              <p:nvPr/>
            </p:nvSpPr>
            <p:spPr bwMode="auto">
              <a:xfrm>
                <a:off x="229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41" name="Oval 2731">
                <a:extLst>
                  <a:ext uri="{FF2B5EF4-FFF2-40B4-BE49-F238E27FC236}">
                    <a16:creationId xmlns:a16="http://schemas.microsoft.com/office/drawing/2014/main" id="{CE8E430F-0566-44E0-A831-A618E87492FA}"/>
                  </a:ext>
                </a:extLst>
              </p:cNvPr>
              <p:cNvSpPr>
                <a:spLocks noChangeArrowheads="1"/>
              </p:cNvSpPr>
              <p:nvPr/>
            </p:nvSpPr>
            <p:spPr bwMode="auto">
              <a:xfrm>
                <a:off x="226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42" name="Oval 2732">
                <a:extLst>
                  <a:ext uri="{FF2B5EF4-FFF2-40B4-BE49-F238E27FC236}">
                    <a16:creationId xmlns:a16="http://schemas.microsoft.com/office/drawing/2014/main" id="{04D3182D-3F11-4CB6-8C21-B1E15336D67B}"/>
                  </a:ext>
                </a:extLst>
              </p:cNvPr>
              <p:cNvSpPr>
                <a:spLocks noChangeArrowheads="1"/>
              </p:cNvSpPr>
              <p:nvPr/>
            </p:nvSpPr>
            <p:spPr bwMode="auto">
              <a:xfrm>
                <a:off x="229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43" name="Oval 2733">
                <a:extLst>
                  <a:ext uri="{FF2B5EF4-FFF2-40B4-BE49-F238E27FC236}">
                    <a16:creationId xmlns:a16="http://schemas.microsoft.com/office/drawing/2014/main" id="{D93C89EE-F466-4458-B25E-D0FD17E88792}"/>
                  </a:ext>
                </a:extLst>
              </p:cNvPr>
              <p:cNvSpPr>
                <a:spLocks noChangeArrowheads="1"/>
              </p:cNvSpPr>
              <p:nvPr/>
            </p:nvSpPr>
            <p:spPr bwMode="auto">
              <a:xfrm>
                <a:off x="235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44" name="Oval 2734">
                <a:extLst>
                  <a:ext uri="{FF2B5EF4-FFF2-40B4-BE49-F238E27FC236}">
                    <a16:creationId xmlns:a16="http://schemas.microsoft.com/office/drawing/2014/main" id="{88701911-5AF5-4905-8C8F-A68D937CECDB}"/>
                  </a:ext>
                </a:extLst>
              </p:cNvPr>
              <p:cNvSpPr>
                <a:spLocks noChangeArrowheads="1"/>
              </p:cNvSpPr>
              <p:nvPr/>
            </p:nvSpPr>
            <p:spPr bwMode="auto">
              <a:xfrm>
                <a:off x="244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45" name="Oval 2735">
                <a:extLst>
                  <a:ext uri="{FF2B5EF4-FFF2-40B4-BE49-F238E27FC236}">
                    <a16:creationId xmlns:a16="http://schemas.microsoft.com/office/drawing/2014/main" id="{13AFC4E8-9765-44FA-9075-D1ACE32BF323}"/>
                  </a:ext>
                </a:extLst>
              </p:cNvPr>
              <p:cNvSpPr>
                <a:spLocks noChangeArrowheads="1"/>
              </p:cNvSpPr>
              <p:nvPr/>
            </p:nvSpPr>
            <p:spPr bwMode="auto">
              <a:xfrm>
                <a:off x="268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46" name="Oval 2736">
                <a:extLst>
                  <a:ext uri="{FF2B5EF4-FFF2-40B4-BE49-F238E27FC236}">
                    <a16:creationId xmlns:a16="http://schemas.microsoft.com/office/drawing/2014/main" id="{FE9C3BE2-C0BB-4E84-A617-6D7889202182}"/>
                  </a:ext>
                </a:extLst>
              </p:cNvPr>
              <p:cNvSpPr>
                <a:spLocks noChangeArrowheads="1"/>
              </p:cNvSpPr>
              <p:nvPr/>
            </p:nvSpPr>
            <p:spPr bwMode="auto">
              <a:xfrm>
                <a:off x="253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47" name="Oval 2737">
                <a:extLst>
                  <a:ext uri="{FF2B5EF4-FFF2-40B4-BE49-F238E27FC236}">
                    <a16:creationId xmlns:a16="http://schemas.microsoft.com/office/drawing/2014/main" id="{0E21BB0F-784F-4BCF-88A9-801E0F2F1313}"/>
                  </a:ext>
                </a:extLst>
              </p:cNvPr>
              <p:cNvSpPr>
                <a:spLocks noChangeArrowheads="1"/>
              </p:cNvSpPr>
              <p:nvPr/>
            </p:nvSpPr>
            <p:spPr bwMode="auto">
              <a:xfrm>
                <a:off x="25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48" name="Oval 2738">
                <a:extLst>
                  <a:ext uri="{FF2B5EF4-FFF2-40B4-BE49-F238E27FC236}">
                    <a16:creationId xmlns:a16="http://schemas.microsoft.com/office/drawing/2014/main" id="{89565C82-67C4-43E1-9A08-EE552666B021}"/>
                  </a:ext>
                </a:extLst>
              </p:cNvPr>
              <p:cNvSpPr>
                <a:spLocks noChangeArrowheads="1"/>
              </p:cNvSpPr>
              <p:nvPr/>
            </p:nvSpPr>
            <p:spPr bwMode="auto">
              <a:xfrm>
                <a:off x="247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49" name="Oval 2739">
                <a:extLst>
                  <a:ext uri="{FF2B5EF4-FFF2-40B4-BE49-F238E27FC236}">
                    <a16:creationId xmlns:a16="http://schemas.microsoft.com/office/drawing/2014/main" id="{B39F0999-C685-47F6-BEC8-F5D03355FC40}"/>
                  </a:ext>
                </a:extLst>
              </p:cNvPr>
              <p:cNvSpPr>
                <a:spLocks noChangeArrowheads="1"/>
              </p:cNvSpPr>
              <p:nvPr/>
            </p:nvSpPr>
            <p:spPr bwMode="auto">
              <a:xfrm>
                <a:off x="250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50" name="Oval 2740">
                <a:extLst>
                  <a:ext uri="{FF2B5EF4-FFF2-40B4-BE49-F238E27FC236}">
                    <a16:creationId xmlns:a16="http://schemas.microsoft.com/office/drawing/2014/main" id="{6B49215F-0DBA-4E4B-A0E4-6E8F412E6B36}"/>
                  </a:ext>
                </a:extLst>
              </p:cNvPr>
              <p:cNvSpPr>
                <a:spLocks noChangeArrowheads="1"/>
              </p:cNvSpPr>
              <p:nvPr/>
            </p:nvSpPr>
            <p:spPr bwMode="auto">
              <a:xfrm>
                <a:off x="232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51" name="Oval 2741">
                <a:extLst>
                  <a:ext uri="{FF2B5EF4-FFF2-40B4-BE49-F238E27FC236}">
                    <a16:creationId xmlns:a16="http://schemas.microsoft.com/office/drawing/2014/main" id="{36CA39AB-8BF4-4DB7-AA4F-45DA2F5C7626}"/>
                  </a:ext>
                </a:extLst>
              </p:cNvPr>
              <p:cNvSpPr>
                <a:spLocks noChangeArrowheads="1"/>
              </p:cNvSpPr>
              <p:nvPr/>
            </p:nvSpPr>
            <p:spPr bwMode="auto">
              <a:xfrm>
                <a:off x="232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52" name="Oval 2742">
                <a:extLst>
                  <a:ext uri="{FF2B5EF4-FFF2-40B4-BE49-F238E27FC236}">
                    <a16:creationId xmlns:a16="http://schemas.microsoft.com/office/drawing/2014/main" id="{C54D577F-BB37-4669-8B81-9ACA2D4104E4}"/>
                  </a:ext>
                </a:extLst>
              </p:cNvPr>
              <p:cNvSpPr>
                <a:spLocks noChangeArrowheads="1"/>
              </p:cNvSpPr>
              <p:nvPr/>
            </p:nvSpPr>
            <p:spPr bwMode="auto">
              <a:xfrm>
                <a:off x="220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53" name="Oval 2743">
                <a:extLst>
                  <a:ext uri="{FF2B5EF4-FFF2-40B4-BE49-F238E27FC236}">
                    <a16:creationId xmlns:a16="http://schemas.microsoft.com/office/drawing/2014/main" id="{5C8A0734-252E-4ABC-B5DF-FCCA0C4F4427}"/>
                  </a:ext>
                </a:extLst>
              </p:cNvPr>
              <p:cNvSpPr>
                <a:spLocks noChangeArrowheads="1"/>
              </p:cNvSpPr>
              <p:nvPr/>
            </p:nvSpPr>
            <p:spPr bwMode="auto">
              <a:xfrm>
                <a:off x="220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54" name="Oval 2744">
                <a:extLst>
                  <a:ext uri="{FF2B5EF4-FFF2-40B4-BE49-F238E27FC236}">
                    <a16:creationId xmlns:a16="http://schemas.microsoft.com/office/drawing/2014/main" id="{B62FDB66-6213-493A-BF7E-9FB5B504EFF7}"/>
                  </a:ext>
                </a:extLst>
              </p:cNvPr>
              <p:cNvSpPr>
                <a:spLocks noChangeArrowheads="1"/>
              </p:cNvSpPr>
              <p:nvPr/>
            </p:nvSpPr>
            <p:spPr bwMode="auto">
              <a:xfrm>
                <a:off x="20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55" name="Oval 2745">
                <a:extLst>
                  <a:ext uri="{FF2B5EF4-FFF2-40B4-BE49-F238E27FC236}">
                    <a16:creationId xmlns:a16="http://schemas.microsoft.com/office/drawing/2014/main" id="{0410AA02-A4E7-4569-AC79-C60FDB3D594D}"/>
                  </a:ext>
                </a:extLst>
              </p:cNvPr>
              <p:cNvSpPr>
                <a:spLocks noChangeArrowheads="1"/>
              </p:cNvSpPr>
              <p:nvPr/>
            </p:nvSpPr>
            <p:spPr bwMode="auto">
              <a:xfrm>
                <a:off x="2086" y="9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56" name="Oval 2746">
                <a:extLst>
                  <a:ext uri="{FF2B5EF4-FFF2-40B4-BE49-F238E27FC236}">
                    <a16:creationId xmlns:a16="http://schemas.microsoft.com/office/drawing/2014/main" id="{6D69BCB2-A536-445B-BE8D-000C9548B789}"/>
                  </a:ext>
                </a:extLst>
              </p:cNvPr>
              <p:cNvSpPr>
                <a:spLocks noChangeArrowheads="1"/>
              </p:cNvSpPr>
              <p:nvPr/>
            </p:nvSpPr>
            <p:spPr bwMode="auto">
              <a:xfrm>
                <a:off x="1936"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57" name="Oval 2747">
                <a:extLst>
                  <a:ext uri="{FF2B5EF4-FFF2-40B4-BE49-F238E27FC236}">
                    <a16:creationId xmlns:a16="http://schemas.microsoft.com/office/drawing/2014/main" id="{78C68E1F-29E7-43A9-95F5-491ED00E825A}"/>
                  </a:ext>
                </a:extLst>
              </p:cNvPr>
              <p:cNvSpPr>
                <a:spLocks noChangeArrowheads="1"/>
              </p:cNvSpPr>
              <p:nvPr/>
            </p:nvSpPr>
            <p:spPr bwMode="auto">
              <a:xfrm>
                <a:off x="1936"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58" name="Oval 2748">
                <a:extLst>
                  <a:ext uri="{FF2B5EF4-FFF2-40B4-BE49-F238E27FC236}">
                    <a16:creationId xmlns:a16="http://schemas.microsoft.com/office/drawing/2014/main" id="{0D703754-AC39-467E-A8BE-DCE818EBFFC6}"/>
                  </a:ext>
                </a:extLst>
              </p:cNvPr>
              <p:cNvSpPr>
                <a:spLocks noChangeArrowheads="1"/>
              </p:cNvSpPr>
              <p:nvPr/>
            </p:nvSpPr>
            <p:spPr bwMode="auto">
              <a:xfrm>
                <a:off x="193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59" name="Oval 2749">
                <a:extLst>
                  <a:ext uri="{FF2B5EF4-FFF2-40B4-BE49-F238E27FC236}">
                    <a16:creationId xmlns:a16="http://schemas.microsoft.com/office/drawing/2014/main" id="{75C696DB-E599-49A6-8FE4-6B24C4BDE53A}"/>
                  </a:ext>
                </a:extLst>
              </p:cNvPr>
              <p:cNvSpPr>
                <a:spLocks noChangeArrowheads="1"/>
              </p:cNvSpPr>
              <p:nvPr/>
            </p:nvSpPr>
            <p:spPr bwMode="auto">
              <a:xfrm>
                <a:off x="1876"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60" name="Oval 2750">
                <a:extLst>
                  <a:ext uri="{FF2B5EF4-FFF2-40B4-BE49-F238E27FC236}">
                    <a16:creationId xmlns:a16="http://schemas.microsoft.com/office/drawing/2014/main" id="{B69F038A-97A9-429C-BBEA-60CB85DD1792}"/>
                  </a:ext>
                </a:extLst>
              </p:cNvPr>
              <p:cNvSpPr>
                <a:spLocks noChangeArrowheads="1"/>
              </p:cNvSpPr>
              <p:nvPr/>
            </p:nvSpPr>
            <p:spPr bwMode="auto">
              <a:xfrm>
                <a:off x="2056" y="4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61" name="Oval 2751">
                <a:extLst>
                  <a:ext uri="{FF2B5EF4-FFF2-40B4-BE49-F238E27FC236}">
                    <a16:creationId xmlns:a16="http://schemas.microsoft.com/office/drawing/2014/main" id="{72528DD1-FA07-4C69-87E0-D739B0081851}"/>
                  </a:ext>
                </a:extLst>
              </p:cNvPr>
              <p:cNvSpPr>
                <a:spLocks noChangeArrowheads="1"/>
              </p:cNvSpPr>
              <p:nvPr/>
            </p:nvSpPr>
            <p:spPr bwMode="auto">
              <a:xfrm>
                <a:off x="2086" y="3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62" name="Oval 2752">
                <a:extLst>
                  <a:ext uri="{FF2B5EF4-FFF2-40B4-BE49-F238E27FC236}">
                    <a16:creationId xmlns:a16="http://schemas.microsoft.com/office/drawing/2014/main" id="{8DD67A1F-CB3E-4886-A558-F8FF7CD2F5AF}"/>
                  </a:ext>
                </a:extLst>
              </p:cNvPr>
              <p:cNvSpPr>
                <a:spLocks noChangeArrowheads="1"/>
              </p:cNvSpPr>
              <p:nvPr/>
            </p:nvSpPr>
            <p:spPr bwMode="auto">
              <a:xfrm>
                <a:off x="193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63" name="Oval 2753">
                <a:extLst>
                  <a:ext uri="{FF2B5EF4-FFF2-40B4-BE49-F238E27FC236}">
                    <a16:creationId xmlns:a16="http://schemas.microsoft.com/office/drawing/2014/main" id="{ED81BB88-3C40-4372-97D2-2ABEA677C3DC}"/>
                  </a:ext>
                </a:extLst>
              </p:cNvPr>
              <p:cNvSpPr>
                <a:spLocks noChangeArrowheads="1"/>
              </p:cNvSpPr>
              <p:nvPr/>
            </p:nvSpPr>
            <p:spPr bwMode="auto">
              <a:xfrm>
                <a:off x="2026"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64" name="Oval 2754">
                <a:extLst>
                  <a:ext uri="{FF2B5EF4-FFF2-40B4-BE49-F238E27FC236}">
                    <a16:creationId xmlns:a16="http://schemas.microsoft.com/office/drawing/2014/main" id="{77CACFD9-90F3-422C-9BF3-6667FA35689C}"/>
                  </a:ext>
                </a:extLst>
              </p:cNvPr>
              <p:cNvSpPr>
                <a:spLocks noChangeArrowheads="1"/>
              </p:cNvSpPr>
              <p:nvPr/>
            </p:nvSpPr>
            <p:spPr bwMode="auto">
              <a:xfrm>
                <a:off x="2086" y="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65" name="Oval 2755">
                <a:extLst>
                  <a:ext uri="{FF2B5EF4-FFF2-40B4-BE49-F238E27FC236}">
                    <a16:creationId xmlns:a16="http://schemas.microsoft.com/office/drawing/2014/main" id="{336062DC-B4A7-41ED-8041-DF3A261E3EBA}"/>
                  </a:ext>
                </a:extLst>
              </p:cNvPr>
              <p:cNvSpPr>
                <a:spLocks noChangeArrowheads="1"/>
              </p:cNvSpPr>
              <p:nvPr/>
            </p:nvSpPr>
            <p:spPr bwMode="auto">
              <a:xfrm>
                <a:off x="193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66" name="Oval 2756">
                <a:extLst>
                  <a:ext uri="{FF2B5EF4-FFF2-40B4-BE49-F238E27FC236}">
                    <a16:creationId xmlns:a16="http://schemas.microsoft.com/office/drawing/2014/main" id="{65F1C575-0C77-4054-8F46-2E38B071FD9E}"/>
                  </a:ext>
                </a:extLst>
              </p:cNvPr>
              <p:cNvSpPr>
                <a:spLocks noChangeArrowheads="1"/>
              </p:cNvSpPr>
              <p:nvPr/>
            </p:nvSpPr>
            <p:spPr bwMode="auto">
              <a:xfrm>
                <a:off x="172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67" name="Oval 2757">
                <a:extLst>
                  <a:ext uri="{FF2B5EF4-FFF2-40B4-BE49-F238E27FC236}">
                    <a16:creationId xmlns:a16="http://schemas.microsoft.com/office/drawing/2014/main" id="{B0BCDA78-2793-4A81-8574-B90E706B2B57}"/>
                  </a:ext>
                </a:extLst>
              </p:cNvPr>
              <p:cNvSpPr>
                <a:spLocks noChangeArrowheads="1"/>
              </p:cNvSpPr>
              <p:nvPr/>
            </p:nvSpPr>
            <p:spPr bwMode="auto">
              <a:xfrm>
                <a:off x="157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68" name="Oval 2758">
                <a:extLst>
                  <a:ext uri="{FF2B5EF4-FFF2-40B4-BE49-F238E27FC236}">
                    <a16:creationId xmlns:a16="http://schemas.microsoft.com/office/drawing/2014/main" id="{1786878B-CCF3-4B87-8DA0-21440914F539}"/>
                  </a:ext>
                </a:extLst>
              </p:cNvPr>
              <p:cNvSpPr>
                <a:spLocks noChangeArrowheads="1"/>
              </p:cNvSpPr>
              <p:nvPr/>
            </p:nvSpPr>
            <p:spPr bwMode="auto">
              <a:xfrm>
                <a:off x="154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69" name="Oval 2759">
                <a:extLst>
                  <a:ext uri="{FF2B5EF4-FFF2-40B4-BE49-F238E27FC236}">
                    <a16:creationId xmlns:a16="http://schemas.microsoft.com/office/drawing/2014/main" id="{9CA1D9B3-E7C7-4C64-A880-7228DDEC2E06}"/>
                  </a:ext>
                </a:extLst>
              </p:cNvPr>
              <p:cNvSpPr>
                <a:spLocks noChangeArrowheads="1"/>
              </p:cNvSpPr>
              <p:nvPr/>
            </p:nvSpPr>
            <p:spPr bwMode="auto">
              <a:xfrm>
                <a:off x="142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70" name="Oval 2760">
                <a:extLst>
                  <a:ext uri="{FF2B5EF4-FFF2-40B4-BE49-F238E27FC236}">
                    <a16:creationId xmlns:a16="http://schemas.microsoft.com/office/drawing/2014/main" id="{62B8C270-3B81-4563-A6F5-64268454E25C}"/>
                  </a:ext>
                </a:extLst>
              </p:cNvPr>
              <p:cNvSpPr>
                <a:spLocks noChangeArrowheads="1"/>
              </p:cNvSpPr>
              <p:nvPr/>
            </p:nvSpPr>
            <p:spPr bwMode="auto">
              <a:xfrm>
                <a:off x="130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71" name="Oval 2761">
                <a:extLst>
                  <a:ext uri="{FF2B5EF4-FFF2-40B4-BE49-F238E27FC236}">
                    <a16:creationId xmlns:a16="http://schemas.microsoft.com/office/drawing/2014/main" id="{6EF8C317-1700-44E8-96E0-0EDBB16F7834}"/>
                  </a:ext>
                </a:extLst>
              </p:cNvPr>
              <p:cNvSpPr>
                <a:spLocks noChangeArrowheads="1"/>
              </p:cNvSpPr>
              <p:nvPr/>
            </p:nvSpPr>
            <p:spPr bwMode="auto">
              <a:xfrm>
                <a:off x="1246"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72" name="Oval 2762">
                <a:extLst>
                  <a:ext uri="{FF2B5EF4-FFF2-40B4-BE49-F238E27FC236}">
                    <a16:creationId xmlns:a16="http://schemas.microsoft.com/office/drawing/2014/main" id="{1F2C46FC-4275-4454-A274-6C659A2A5B94}"/>
                  </a:ext>
                </a:extLst>
              </p:cNvPr>
              <p:cNvSpPr>
                <a:spLocks noChangeArrowheads="1"/>
              </p:cNvSpPr>
              <p:nvPr/>
            </p:nvSpPr>
            <p:spPr bwMode="auto">
              <a:xfrm>
                <a:off x="139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73" name="Oval 2763">
                <a:extLst>
                  <a:ext uri="{FF2B5EF4-FFF2-40B4-BE49-F238E27FC236}">
                    <a16:creationId xmlns:a16="http://schemas.microsoft.com/office/drawing/2014/main" id="{9D8C38EC-92D3-4FA3-A4DE-2496C3C236D7}"/>
                  </a:ext>
                </a:extLst>
              </p:cNvPr>
              <p:cNvSpPr>
                <a:spLocks noChangeArrowheads="1"/>
              </p:cNvSpPr>
              <p:nvPr/>
            </p:nvSpPr>
            <p:spPr bwMode="auto">
              <a:xfrm>
                <a:off x="172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74" name="Oval 2764">
                <a:extLst>
                  <a:ext uri="{FF2B5EF4-FFF2-40B4-BE49-F238E27FC236}">
                    <a16:creationId xmlns:a16="http://schemas.microsoft.com/office/drawing/2014/main" id="{424BC905-3B9C-44C2-9ACA-7487D15E9509}"/>
                  </a:ext>
                </a:extLst>
              </p:cNvPr>
              <p:cNvSpPr>
                <a:spLocks noChangeArrowheads="1"/>
              </p:cNvSpPr>
              <p:nvPr/>
            </p:nvSpPr>
            <p:spPr bwMode="auto">
              <a:xfrm>
                <a:off x="169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75" name="Oval 2765">
                <a:extLst>
                  <a:ext uri="{FF2B5EF4-FFF2-40B4-BE49-F238E27FC236}">
                    <a16:creationId xmlns:a16="http://schemas.microsoft.com/office/drawing/2014/main" id="{DA8A04D8-CEF9-4FFA-9FC7-4D9D89D34116}"/>
                  </a:ext>
                </a:extLst>
              </p:cNvPr>
              <p:cNvSpPr>
                <a:spLocks noChangeArrowheads="1"/>
              </p:cNvSpPr>
              <p:nvPr/>
            </p:nvSpPr>
            <p:spPr bwMode="auto">
              <a:xfrm>
                <a:off x="1696"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76" name="Oval 2766">
                <a:extLst>
                  <a:ext uri="{FF2B5EF4-FFF2-40B4-BE49-F238E27FC236}">
                    <a16:creationId xmlns:a16="http://schemas.microsoft.com/office/drawing/2014/main" id="{2DB2FD82-82AD-4376-971F-8FDBD44D5EEA}"/>
                  </a:ext>
                </a:extLst>
              </p:cNvPr>
              <p:cNvSpPr>
                <a:spLocks noChangeArrowheads="1"/>
              </p:cNvSpPr>
              <p:nvPr/>
            </p:nvSpPr>
            <p:spPr bwMode="auto">
              <a:xfrm>
                <a:off x="151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77" name="Oval 2767">
                <a:extLst>
                  <a:ext uri="{FF2B5EF4-FFF2-40B4-BE49-F238E27FC236}">
                    <a16:creationId xmlns:a16="http://schemas.microsoft.com/office/drawing/2014/main" id="{C2B9C4DC-AD22-492B-8212-FF8DD98A1B1C}"/>
                  </a:ext>
                </a:extLst>
              </p:cNvPr>
              <p:cNvSpPr>
                <a:spLocks noChangeArrowheads="1"/>
              </p:cNvSpPr>
              <p:nvPr/>
            </p:nvSpPr>
            <p:spPr bwMode="auto">
              <a:xfrm>
                <a:off x="1576"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78" name="Oval 2768">
                <a:extLst>
                  <a:ext uri="{FF2B5EF4-FFF2-40B4-BE49-F238E27FC236}">
                    <a16:creationId xmlns:a16="http://schemas.microsoft.com/office/drawing/2014/main" id="{29B415E0-CC5D-4160-BF54-4C5AAE6CC236}"/>
                  </a:ext>
                </a:extLst>
              </p:cNvPr>
              <p:cNvSpPr>
                <a:spLocks noChangeArrowheads="1"/>
              </p:cNvSpPr>
              <p:nvPr/>
            </p:nvSpPr>
            <p:spPr bwMode="auto">
              <a:xfrm>
                <a:off x="154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79" name="Oval 2769">
                <a:extLst>
                  <a:ext uri="{FF2B5EF4-FFF2-40B4-BE49-F238E27FC236}">
                    <a16:creationId xmlns:a16="http://schemas.microsoft.com/office/drawing/2014/main" id="{889F0758-F4D2-48E6-9CB7-17BBA3439F01}"/>
                  </a:ext>
                </a:extLst>
              </p:cNvPr>
              <p:cNvSpPr>
                <a:spLocks noChangeArrowheads="1"/>
              </p:cNvSpPr>
              <p:nvPr/>
            </p:nvSpPr>
            <p:spPr bwMode="auto">
              <a:xfrm>
                <a:off x="163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80" name="Oval 2770">
                <a:extLst>
                  <a:ext uri="{FF2B5EF4-FFF2-40B4-BE49-F238E27FC236}">
                    <a16:creationId xmlns:a16="http://schemas.microsoft.com/office/drawing/2014/main" id="{D661B9DA-28D8-4CAE-8396-EAE1CFE585AA}"/>
                  </a:ext>
                </a:extLst>
              </p:cNvPr>
              <p:cNvSpPr>
                <a:spLocks noChangeArrowheads="1"/>
              </p:cNvSpPr>
              <p:nvPr/>
            </p:nvSpPr>
            <p:spPr bwMode="auto">
              <a:xfrm>
                <a:off x="1546"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81" name="Oval 2771">
                <a:extLst>
                  <a:ext uri="{FF2B5EF4-FFF2-40B4-BE49-F238E27FC236}">
                    <a16:creationId xmlns:a16="http://schemas.microsoft.com/office/drawing/2014/main" id="{ED260909-BAD8-400F-AA13-5E7F669008B8}"/>
                  </a:ext>
                </a:extLst>
              </p:cNvPr>
              <p:cNvSpPr>
                <a:spLocks noChangeArrowheads="1"/>
              </p:cNvSpPr>
              <p:nvPr/>
            </p:nvSpPr>
            <p:spPr bwMode="auto">
              <a:xfrm>
                <a:off x="160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82" name="Oval 2772">
                <a:extLst>
                  <a:ext uri="{FF2B5EF4-FFF2-40B4-BE49-F238E27FC236}">
                    <a16:creationId xmlns:a16="http://schemas.microsoft.com/office/drawing/2014/main" id="{8660C176-9321-4B70-85C2-598611771088}"/>
                  </a:ext>
                </a:extLst>
              </p:cNvPr>
              <p:cNvSpPr>
                <a:spLocks noChangeArrowheads="1"/>
              </p:cNvSpPr>
              <p:nvPr/>
            </p:nvSpPr>
            <p:spPr bwMode="auto">
              <a:xfrm>
                <a:off x="17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83" name="Oval 2773">
                <a:extLst>
                  <a:ext uri="{FF2B5EF4-FFF2-40B4-BE49-F238E27FC236}">
                    <a16:creationId xmlns:a16="http://schemas.microsoft.com/office/drawing/2014/main" id="{405BCF63-53AF-4FFC-A73F-2D0776247DF0}"/>
                  </a:ext>
                </a:extLst>
              </p:cNvPr>
              <p:cNvSpPr>
                <a:spLocks noChangeArrowheads="1"/>
              </p:cNvSpPr>
              <p:nvPr/>
            </p:nvSpPr>
            <p:spPr bwMode="auto">
              <a:xfrm>
                <a:off x="1756"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84" name="Oval 2774">
                <a:extLst>
                  <a:ext uri="{FF2B5EF4-FFF2-40B4-BE49-F238E27FC236}">
                    <a16:creationId xmlns:a16="http://schemas.microsoft.com/office/drawing/2014/main" id="{6F5AA934-4F34-49C6-BE79-D335C041E408}"/>
                  </a:ext>
                </a:extLst>
              </p:cNvPr>
              <p:cNvSpPr>
                <a:spLocks noChangeArrowheads="1"/>
              </p:cNvSpPr>
              <p:nvPr/>
            </p:nvSpPr>
            <p:spPr bwMode="auto">
              <a:xfrm>
                <a:off x="1756"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85" name="Oval 2775">
                <a:extLst>
                  <a:ext uri="{FF2B5EF4-FFF2-40B4-BE49-F238E27FC236}">
                    <a16:creationId xmlns:a16="http://schemas.microsoft.com/office/drawing/2014/main" id="{E362C7F4-9373-4BE6-AD8A-930E45AD8535}"/>
                  </a:ext>
                </a:extLst>
              </p:cNvPr>
              <p:cNvSpPr>
                <a:spLocks noChangeArrowheads="1"/>
              </p:cNvSpPr>
              <p:nvPr/>
            </p:nvSpPr>
            <p:spPr bwMode="auto">
              <a:xfrm>
                <a:off x="184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86" name="Oval 2776">
                <a:extLst>
                  <a:ext uri="{FF2B5EF4-FFF2-40B4-BE49-F238E27FC236}">
                    <a16:creationId xmlns:a16="http://schemas.microsoft.com/office/drawing/2014/main" id="{435B7E98-9856-444E-B541-162CB1679716}"/>
                  </a:ext>
                </a:extLst>
              </p:cNvPr>
              <p:cNvSpPr>
                <a:spLocks noChangeArrowheads="1"/>
              </p:cNvSpPr>
              <p:nvPr/>
            </p:nvSpPr>
            <p:spPr bwMode="auto">
              <a:xfrm>
                <a:off x="1726"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87" name="Oval 2777">
                <a:extLst>
                  <a:ext uri="{FF2B5EF4-FFF2-40B4-BE49-F238E27FC236}">
                    <a16:creationId xmlns:a16="http://schemas.microsoft.com/office/drawing/2014/main" id="{4186FA8C-CF2E-4D32-A4A4-3603C39B0B99}"/>
                  </a:ext>
                </a:extLst>
              </p:cNvPr>
              <p:cNvSpPr>
                <a:spLocks noChangeArrowheads="1"/>
              </p:cNvSpPr>
              <p:nvPr/>
            </p:nvSpPr>
            <p:spPr bwMode="auto">
              <a:xfrm>
                <a:off x="163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88" name="Oval 2778">
                <a:extLst>
                  <a:ext uri="{FF2B5EF4-FFF2-40B4-BE49-F238E27FC236}">
                    <a16:creationId xmlns:a16="http://schemas.microsoft.com/office/drawing/2014/main" id="{034127AE-3E9A-472B-93F6-103E1325CDCD}"/>
                  </a:ext>
                </a:extLst>
              </p:cNvPr>
              <p:cNvSpPr>
                <a:spLocks noChangeArrowheads="1"/>
              </p:cNvSpPr>
              <p:nvPr/>
            </p:nvSpPr>
            <p:spPr bwMode="auto">
              <a:xfrm>
                <a:off x="148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89" name="Oval 2779">
                <a:extLst>
                  <a:ext uri="{FF2B5EF4-FFF2-40B4-BE49-F238E27FC236}">
                    <a16:creationId xmlns:a16="http://schemas.microsoft.com/office/drawing/2014/main" id="{8B4862D2-2A20-49E1-A3E9-E81F980A2710}"/>
                  </a:ext>
                </a:extLst>
              </p:cNvPr>
              <p:cNvSpPr>
                <a:spLocks noChangeArrowheads="1"/>
              </p:cNvSpPr>
              <p:nvPr/>
            </p:nvSpPr>
            <p:spPr bwMode="auto">
              <a:xfrm>
                <a:off x="124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90" name="Oval 2780">
                <a:extLst>
                  <a:ext uri="{FF2B5EF4-FFF2-40B4-BE49-F238E27FC236}">
                    <a16:creationId xmlns:a16="http://schemas.microsoft.com/office/drawing/2014/main" id="{ABF13899-165B-4373-8753-8F42F6857B5A}"/>
                  </a:ext>
                </a:extLst>
              </p:cNvPr>
              <p:cNvSpPr>
                <a:spLocks noChangeArrowheads="1"/>
              </p:cNvSpPr>
              <p:nvPr/>
            </p:nvSpPr>
            <p:spPr bwMode="auto">
              <a:xfrm>
                <a:off x="1306"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3191" name="Oval 2781">
                <a:extLst>
                  <a:ext uri="{FF2B5EF4-FFF2-40B4-BE49-F238E27FC236}">
                    <a16:creationId xmlns:a16="http://schemas.microsoft.com/office/drawing/2014/main" id="{198F927F-9885-4D2C-AA3F-56661152344B}"/>
                  </a:ext>
                </a:extLst>
              </p:cNvPr>
              <p:cNvSpPr>
                <a:spLocks noChangeArrowheads="1"/>
              </p:cNvSpPr>
              <p:nvPr/>
            </p:nvSpPr>
            <p:spPr bwMode="auto">
              <a:xfrm>
                <a:off x="14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nvGrpSpPr>
            <p:cNvPr id="2606" name="Group 2983">
              <a:extLst>
                <a:ext uri="{FF2B5EF4-FFF2-40B4-BE49-F238E27FC236}">
                  <a16:creationId xmlns:a16="http://schemas.microsoft.com/office/drawing/2014/main" id="{61AA66A9-2F9C-41CA-9900-9A1767E4DA1A}"/>
                </a:ext>
              </a:extLst>
            </p:cNvPr>
            <p:cNvGrpSpPr>
              <a:grpSpLocks/>
            </p:cNvGrpSpPr>
            <p:nvPr/>
          </p:nvGrpSpPr>
          <p:grpSpPr bwMode="auto">
            <a:xfrm>
              <a:off x="1246" y="120"/>
              <a:ext cx="1979" cy="3120"/>
              <a:chOff x="1246" y="120"/>
              <a:chExt cx="1979" cy="3120"/>
            </a:xfrm>
          </p:grpSpPr>
          <p:sp>
            <p:nvSpPr>
              <p:cNvPr id="2792" name="Oval 2783">
                <a:extLst>
                  <a:ext uri="{FF2B5EF4-FFF2-40B4-BE49-F238E27FC236}">
                    <a16:creationId xmlns:a16="http://schemas.microsoft.com/office/drawing/2014/main" id="{0D772049-A969-4853-A807-C5221EC6E4CE}"/>
                  </a:ext>
                </a:extLst>
              </p:cNvPr>
              <p:cNvSpPr>
                <a:spLocks noChangeArrowheads="1"/>
              </p:cNvSpPr>
              <p:nvPr/>
            </p:nvSpPr>
            <p:spPr bwMode="auto">
              <a:xfrm>
                <a:off x="142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93" name="Oval 2784">
                <a:extLst>
                  <a:ext uri="{FF2B5EF4-FFF2-40B4-BE49-F238E27FC236}">
                    <a16:creationId xmlns:a16="http://schemas.microsoft.com/office/drawing/2014/main" id="{1FE068D8-3803-4AB8-AD39-4A9CE092671E}"/>
                  </a:ext>
                </a:extLst>
              </p:cNvPr>
              <p:cNvSpPr>
                <a:spLocks noChangeArrowheads="1"/>
              </p:cNvSpPr>
              <p:nvPr/>
            </p:nvSpPr>
            <p:spPr bwMode="auto">
              <a:xfrm>
                <a:off x="1396"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94" name="Oval 2785">
                <a:extLst>
                  <a:ext uri="{FF2B5EF4-FFF2-40B4-BE49-F238E27FC236}">
                    <a16:creationId xmlns:a16="http://schemas.microsoft.com/office/drawing/2014/main" id="{57B0ACF4-FD32-4FDE-8841-09DB22C412D0}"/>
                  </a:ext>
                </a:extLst>
              </p:cNvPr>
              <p:cNvSpPr>
                <a:spLocks noChangeArrowheads="1"/>
              </p:cNvSpPr>
              <p:nvPr/>
            </p:nvSpPr>
            <p:spPr bwMode="auto">
              <a:xfrm>
                <a:off x="145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95" name="Oval 2786">
                <a:extLst>
                  <a:ext uri="{FF2B5EF4-FFF2-40B4-BE49-F238E27FC236}">
                    <a16:creationId xmlns:a16="http://schemas.microsoft.com/office/drawing/2014/main" id="{DD132A6D-0D8E-4CFC-AF98-AC4E5C12D017}"/>
                  </a:ext>
                </a:extLst>
              </p:cNvPr>
              <p:cNvSpPr>
                <a:spLocks noChangeArrowheads="1"/>
              </p:cNvSpPr>
              <p:nvPr/>
            </p:nvSpPr>
            <p:spPr bwMode="auto">
              <a:xfrm>
                <a:off x="1366"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96" name="Oval 2787">
                <a:extLst>
                  <a:ext uri="{FF2B5EF4-FFF2-40B4-BE49-F238E27FC236}">
                    <a16:creationId xmlns:a16="http://schemas.microsoft.com/office/drawing/2014/main" id="{A2A33441-277D-4349-B43A-ECFF67CB14DD}"/>
                  </a:ext>
                </a:extLst>
              </p:cNvPr>
              <p:cNvSpPr>
                <a:spLocks noChangeArrowheads="1"/>
              </p:cNvSpPr>
              <p:nvPr/>
            </p:nvSpPr>
            <p:spPr bwMode="auto">
              <a:xfrm>
                <a:off x="127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97" name="Oval 2788">
                <a:extLst>
                  <a:ext uri="{FF2B5EF4-FFF2-40B4-BE49-F238E27FC236}">
                    <a16:creationId xmlns:a16="http://schemas.microsoft.com/office/drawing/2014/main" id="{5B671F36-904D-40B2-8D86-C45FDCEE2454}"/>
                  </a:ext>
                </a:extLst>
              </p:cNvPr>
              <p:cNvSpPr>
                <a:spLocks noChangeArrowheads="1"/>
              </p:cNvSpPr>
              <p:nvPr/>
            </p:nvSpPr>
            <p:spPr bwMode="auto">
              <a:xfrm>
                <a:off x="1306"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98" name="Oval 2789">
                <a:extLst>
                  <a:ext uri="{FF2B5EF4-FFF2-40B4-BE49-F238E27FC236}">
                    <a16:creationId xmlns:a16="http://schemas.microsoft.com/office/drawing/2014/main" id="{0A2B99D6-F833-4E06-BB34-D585896EA815}"/>
                  </a:ext>
                </a:extLst>
              </p:cNvPr>
              <p:cNvSpPr>
                <a:spLocks noChangeArrowheads="1"/>
              </p:cNvSpPr>
              <p:nvPr/>
            </p:nvSpPr>
            <p:spPr bwMode="auto">
              <a:xfrm>
                <a:off x="1276"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99" name="Oval 2790">
                <a:extLst>
                  <a:ext uri="{FF2B5EF4-FFF2-40B4-BE49-F238E27FC236}">
                    <a16:creationId xmlns:a16="http://schemas.microsoft.com/office/drawing/2014/main" id="{85EB187E-E9FF-470D-85B0-870D18B55D7E}"/>
                  </a:ext>
                </a:extLst>
              </p:cNvPr>
              <p:cNvSpPr>
                <a:spLocks noChangeArrowheads="1"/>
              </p:cNvSpPr>
              <p:nvPr/>
            </p:nvSpPr>
            <p:spPr bwMode="auto">
              <a:xfrm>
                <a:off x="124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00" name="Oval 2791">
                <a:extLst>
                  <a:ext uri="{FF2B5EF4-FFF2-40B4-BE49-F238E27FC236}">
                    <a16:creationId xmlns:a16="http://schemas.microsoft.com/office/drawing/2014/main" id="{4D9AF970-C3CA-4AFD-AC14-1348D9C6C2D3}"/>
                  </a:ext>
                </a:extLst>
              </p:cNvPr>
              <p:cNvSpPr>
                <a:spLocks noChangeArrowheads="1"/>
              </p:cNvSpPr>
              <p:nvPr/>
            </p:nvSpPr>
            <p:spPr bwMode="auto">
              <a:xfrm>
                <a:off x="1306"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01" name="Oval 2792">
                <a:extLst>
                  <a:ext uri="{FF2B5EF4-FFF2-40B4-BE49-F238E27FC236}">
                    <a16:creationId xmlns:a16="http://schemas.microsoft.com/office/drawing/2014/main" id="{A364CE03-A0E6-4CB1-85D4-7E85F50DF905}"/>
                  </a:ext>
                </a:extLst>
              </p:cNvPr>
              <p:cNvSpPr>
                <a:spLocks noChangeArrowheads="1"/>
              </p:cNvSpPr>
              <p:nvPr/>
            </p:nvSpPr>
            <p:spPr bwMode="auto">
              <a:xfrm>
                <a:off x="1576"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02" name="Oval 2793">
                <a:extLst>
                  <a:ext uri="{FF2B5EF4-FFF2-40B4-BE49-F238E27FC236}">
                    <a16:creationId xmlns:a16="http://schemas.microsoft.com/office/drawing/2014/main" id="{8F676246-2784-4A65-9966-E756CCF896DC}"/>
                  </a:ext>
                </a:extLst>
              </p:cNvPr>
              <p:cNvSpPr>
                <a:spLocks noChangeArrowheads="1"/>
              </p:cNvSpPr>
              <p:nvPr/>
            </p:nvSpPr>
            <p:spPr bwMode="auto">
              <a:xfrm>
                <a:off x="16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03" name="Oval 2794">
                <a:extLst>
                  <a:ext uri="{FF2B5EF4-FFF2-40B4-BE49-F238E27FC236}">
                    <a16:creationId xmlns:a16="http://schemas.microsoft.com/office/drawing/2014/main" id="{1331C03A-277A-445E-BC67-A1BC3E2726D0}"/>
                  </a:ext>
                </a:extLst>
              </p:cNvPr>
              <p:cNvSpPr>
                <a:spLocks noChangeArrowheads="1"/>
              </p:cNvSpPr>
              <p:nvPr/>
            </p:nvSpPr>
            <p:spPr bwMode="auto">
              <a:xfrm>
                <a:off x="1756"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04" name="Oval 2795">
                <a:extLst>
                  <a:ext uri="{FF2B5EF4-FFF2-40B4-BE49-F238E27FC236}">
                    <a16:creationId xmlns:a16="http://schemas.microsoft.com/office/drawing/2014/main" id="{76657A6B-3E94-4F03-A696-D12049C02603}"/>
                  </a:ext>
                </a:extLst>
              </p:cNvPr>
              <p:cNvSpPr>
                <a:spLocks noChangeArrowheads="1"/>
              </p:cNvSpPr>
              <p:nvPr/>
            </p:nvSpPr>
            <p:spPr bwMode="auto">
              <a:xfrm>
                <a:off x="172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05" name="Oval 2796">
                <a:extLst>
                  <a:ext uri="{FF2B5EF4-FFF2-40B4-BE49-F238E27FC236}">
                    <a16:creationId xmlns:a16="http://schemas.microsoft.com/office/drawing/2014/main" id="{516E9942-EC58-42C6-AD5A-3F00135498D5}"/>
                  </a:ext>
                </a:extLst>
              </p:cNvPr>
              <p:cNvSpPr>
                <a:spLocks noChangeArrowheads="1"/>
              </p:cNvSpPr>
              <p:nvPr/>
            </p:nvSpPr>
            <p:spPr bwMode="auto">
              <a:xfrm>
                <a:off x="1726"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06" name="Oval 2797">
                <a:extLst>
                  <a:ext uri="{FF2B5EF4-FFF2-40B4-BE49-F238E27FC236}">
                    <a16:creationId xmlns:a16="http://schemas.microsoft.com/office/drawing/2014/main" id="{EC52A1F4-DC9E-4F04-AA05-FFDB7F2FEBBC}"/>
                  </a:ext>
                </a:extLst>
              </p:cNvPr>
              <p:cNvSpPr>
                <a:spLocks noChangeArrowheads="1"/>
              </p:cNvSpPr>
              <p:nvPr/>
            </p:nvSpPr>
            <p:spPr bwMode="auto">
              <a:xfrm>
                <a:off x="163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07" name="Oval 2798">
                <a:extLst>
                  <a:ext uri="{FF2B5EF4-FFF2-40B4-BE49-F238E27FC236}">
                    <a16:creationId xmlns:a16="http://schemas.microsoft.com/office/drawing/2014/main" id="{9EC7A489-408D-4A5F-94D5-2A55CEC2B77B}"/>
                  </a:ext>
                </a:extLst>
              </p:cNvPr>
              <p:cNvSpPr>
                <a:spLocks noChangeArrowheads="1"/>
              </p:cNvSpPr>
              <p:nvPr/>
            </p:nvSpPr>
            <p:spPr bwMode="auto">
              <a:xfrm>
                <a:off x="16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08" name="Oval 2799">
                <a:extLst>
                  <a:ext uri="{FF2B5EF4-FFF2-40B4-BE49-F238E27FC236}">
                    <a16:creationId xmlns:a16="http://schemas.microsoft.com/office/drawing/2014/main" id="{95659B63-CB82-426F-9176-16E13149F027}"/>
                  </a:ext>
                </a:extLst>
              </p:cNvPr>
              <p:cNvSpPr>
                <a:spLocks noChangeArrowheads="1"/>
              </p:cNvSpPr>
              <p:nvPr/>
            </p:nvSpPr>
            <p:spPr bwMode="auto">
              <a:xfrm>
                <a:off x="175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09" name="Oval 2800">
                <a:extLst>
                  <a:ext uri="{FF2B5EF4-FFF2-40B4-BE49-F238E27FC236}">
                    <a16:creationId xmlns:a16="http://schemas.microsoft.com/office/drawing/2014/main" id="{03BB9CC8-D3BB-4F9B-BCB6-DCF93FFF4330}"/>
                  </a:ext>
                </a:extLst>
              </p:cNvPr>
              <p:cNvSpPr>
                <a:spLocks noChangeArrowheads="1"/>
              </p:cNvSpPr>
              <p:nvPr/>
            </p:nvSpPr>
            <p:spPr bwMode="auto">
              <a:xfrm>
                <a:off x="154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10" name="Oval 2801">
                <a:extLst>
                  <a:ext uri="{FF2B5EF4-FFF2-40B4-BE49-F238E27FC236}">
                    <a16:creationId xmlns:a16="http://schemas.microsoft.com/office/drawing/2014/main" id="{9F1EEA1D-01C6-4834-98D7-E70590F34B1C}"/>
                  </a:ext>
                </a:extLst>
              </p:cNvPr>
              <p:cNvSpPr>
                <a:spLocks noChangeArrowheads="1"/>
              </p:cNvSpPr>
              <p:nvPr/>
            </p:nvSpPr>
            <p:spPr bwMode="auto">
              <a:xfrm>
                <a:off x="15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11" name="Oval 2802">
                <a:extLst>
                  <a:ext uri="{FF2B5EF4-FFF2-40B4-BE49-F238E27FC236}">
                    <a16:creationId xmlns:a16="http://schemas.microsoft.com/office/drawing/2014/main" id="{CDD88DF9-910C-4929-A29A-3D526EF048B9}"/>
                  </a:ext>
                </a:extLst>
              </p:cNvPr>
              <p:cNvSpPr>
                <a:spLocks noChangeArrowheads="1"/>
              </p:cNvSpPr>
              <p:nvPr/>
            </p:nvSpPr>
            <p:spPr bwMode="auto">
              <a:xfrm>
                <a:off x="160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12" name="Oval 2803">
                <a:extLst>
                  <a:ext uri="{FF2B5EF4-FFF2-40B4-BE49-F238E27FC236}">
                    <a16:creationId xmlns:a16="http://schemas.microsoft.com/office/drawing/2014/main" id="{0695A538-8399-48BB-BE53-2E68B7F3C02D}"/>
                  </a:ext>
                </a:extLst>
              </p:cNvPr>
              <p:cNvSpPr>
                <a:spLocks noChangeArrowheads="1"/>
              </p:cNvSpPr>
              <p:nvPr/>
            </p:nvSpPr>
            <p:spPr bwMode="auto">
              <a:xfrm>
                <a:off x="1666"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13" name="Oval 2804">
                <a:extLst>
                  <a:ext uri="{FF2B5EF4-FFF2-40B4-BE49-F238E27FC236}">
                    <a16:creationId xmlns:a16="http://schemas.microsoft.com/office/drawing/2014/main" id="{96849FD4-DE1F-4D37-A9F8-5D24B1A26689}"/>
                  </a:ext>
                </a:extLst>
              </p:cNvPr>
              <p:cNvSpPr>
                <a:spLocks noChangeArrowheads="1"/>
              </p:cNvSpPr>
              <p:nvPr/>
            </p:nvSpPr>
            <p:spPr bwMode="auto">
              <a:xfrm>
                <a:off x="175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14" name="Oval 2805">
                <a:extLst>
                  <a:ext uri="{FF2B5EF4-FFF2-40B4-BE49-F238E27FC236}">
                    <a16:creationId xmlns:a16="http://schemas.microsoft.com/office/drawing/2014/main" id="{2061F435-8C91-4936-8470-0949F736220C}"/>
                  </a:ext>
                </a:extLst>
              </p:cNvPr>
              <p:cNvSpPr>
                <a:spLocks noChangeArrowheads="1"/>
              </p:cNvSpPr>
              <p:nvPr/>
            </p:nvSpPr>
            <p:spPr bwMode="auto">
              <a:xfrm>
                <a:off x="169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15" name="Oval 2806">
                <a:extLst>
                  <a:ext uri="{FF2B5EF4-FFF2-40B4-BE49-F238E27FC236}">
                    <a16:creationId xmlns:a16="http://schemas.microsoft.com/office/drawing/2014/main" id="{7067F547-A8DB-46AA-B5C1-9DEAF3F95C9C}"/>
                  </a:ext>
                </a:extLst>
              </p:cNvPr>
              <p:cNvSpPr>
                <a:spLocks noChangeArrowheads="1"/>
              </p:cNvSpPr>
              <p:nvPr/>
            </p:nvSpPr>
            <p:spPr bwMode="auto">
              <a:xfrm>
                <a:off x="1456"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16" name="Oval 2807">
                <a:extLst>
                  <a:ext uri="{FF2B5EF4-FFF2-40B4-BE49-F238E27FC236}">
                    <a16:creationId xmlns:a16="http://schemas.microsoft.com/office/drawing/2014/main" id="{88D60458-D445-4712-9E24-292E8731D679}"/>
                  </a:ext>
                </a:extLst>
              </p:cNvPr>
              <p:cNvSpPr>
                <a:spLocks noChangeArrowheads="1"/>
              </p:cNvSpPr>
              <p:nvPr/>
            </p:nvSpPr>
            <p:spPr bwMode="auto">
              <a:xfrm>
                <a:off x="142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17" name="Oval 2808">
                <a:extLst>
                  <a:ext uri="{FF2B5EF4-FFF2-40B4-BE49-F238E27FC236}">
                    <a16:creationId xmlns:a16="http://schemas.microsoft.com/office/drawing/2014/main" id="{1310FDAD-2CCA-43B1-BBA3-204CBD8A9CD1}"/>
                  </a:ext>
                </a:extLst>
              </p:cNvPr>
              <p:cNvSpPr>
                <a:spLocks noChangeArrowheads="1"/>
              </p:cNvSpPr>
              <p:nvPr/>
            </p:nvSpPr>
            <p:spPr bwMode="auto">
              <a:xfrm>
                <a:off x="127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18" name="Oval 2809">
                <a:extLst>
                  <a:ext uri="{FF2B5EF4-FFF2-40B4-BE49-F238E27FC236}">
                    <a16:creationId xmlns:a16="http://schemas.microsoft.com/office/drawing/2014/main" id="{0E5D87A0-1C1C-4195-839B-CCF1E5B11CC4}"/>
                  </a:ext>
                </a:extLst>
              </p:cNvPr>
              <p:cNvSpPr>
                <a:spLocks noChangeArrowheads="1"/>
              </p:cNvSpPr>
              <p:nvPr/>
            </p:nvSpPr>
            <p:spPr bwMode="auto">
              <a:xfrm>
                <a:off x="130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19" name="Oval 2810">
                <a:extLst>
                  <a:ext uri="{FF2B5EF4-FFF2-40B4-BE49-F238E27FC236}">
                    <a16:creationId xmlns:a16="http://schemas.microsoft.com/office/drawing/2014/main" id="{2E066F40-3C7F-42C0-A109-5ABA40E38921}"/>
                  </a:ext>
                </a:extLst>
              </p:cNvPr>
              <p:cNvSpPr>
                <a:spLocks noChangeArrowheads="1"/>
              </p:cNvSpPr>
              <p:nvPr/>
            </p:nvSpPr>
            <p:spPr bwMode="auto">
              <a:xfrm>
                <a:off x="127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20" name="Oval 2811">
                <a:extLst>
                  <a:ext uri="{FF2B5EF4-FFF2-40B4-BE49-F238E27FC236}">
                    <a16:creationId xmlns:a16="http://schemas.microsoft.com/office/drawing/2014/main" id="{478CF495-B5CD-4A0E-B1B1-43BBD7D1FEA0}"/>
                  </a:ext>
                </a:extLst>
              </p:cNvPr>
              <p:cNvSpPr>
                <a:spLocks noChangeArrowheads="1"/>
              </p:cNvSpPr>
              <p:nvPr/>
            </p:nvSpPr>
            <p:spPr bwMode="auto">
              <a:xfrm>
                <a:off x="127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21" name="Oval 2812">
                <a:extLst>
                  <a:ext uri="{FF2B5EF4-FFF2-40B4-BE49-F238E27FC236}">
                    <a16:creationId xmlns:a16="http://schemas.microsoft.com/office/drawing/2014/main" id="{BE01D9F8-749F-4BCB-A9A1-2AAD76958061}"/>
                  </a:ext>
                </a:extLst>
              </p:cNvPr>
              <p:cNvSpPr>
                <a:spLocks noChangeArrowheads="1"/>
              </p:cNvSpPr>
              <p:nvPr/>
            </p:nvSpPr>
            <p:spPr bwMode="auto">
              <a:xfrm>
                <a:off x="1246"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22" name="Oval 2813">
                <a:extLst>
                  <a:ext uri="{FF2B5EF4-FFF2-40B4-BE49-F238E27FC236}">
                    <a16:creationId xmlns:a16="http://schemas.microsoft.com/office/drawing/2014/main" id="{E728FD31-8C2D-4667-82BB-D94B7B41B376}"/>
                  </a:ext>
                </a:extLst>
              </p:cNvPr>
              <p:cNvSpPr>
                <a:spLocks noChangeArrowheads="1"/>
              </p:cNvSpPr>
              <p:nvPr/>
            </p:nvSpPr>
            <p:spPr bwMode="auto">
              <a:xfrm>
                <a:off x="12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23" name="Oval 2814">
                <a:extLst>
                  <a:ext uri="{FF2B5EF4-FFF2-40B4-BE49-F238E27FC236}">
                    <a16:creationId xmlns:a16="http://schemas.microsoft.com/office/drawing/2014/main" id="{4853CF3C-758C-476F-88E9-1EA572A9FE76}"/>
                  </a:ext>
                </a:extLst>
              </p:cNvPr>
              <p:cNvSpPr>
                <a:spLocks noChangeArrowheads="1"/>
              </p:cNvSpPr>
              <p:nvPr/>
            </p:nvSpPr>
            <p:spPr bwMode="auto">
              <a:xfrm>
                <a:off x="133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24" name="Oval 2815">
                <a:extLst>
                  <a:ext uri="{FF2B5EF4-FFF2-40B4-BE49-F238E27FC236}">
                    <a16:creationId xmlns:a16="http://schemas.microsoft.com/office/drawing/2014/main" id="{51FDDDDB-99AC-4F6C-B15D-388060854922}"/>
                  </a:ext>
                </a:extLst>
              </p:cNvPr>
              <p:cNvSpPr>
                <a:spLocks noChangeArrowheads="1"/>
              </p:cNvSpPr>
              <p:nvPr/>
            </p:nvSpPr>
            <p:spPr bwMode="auto">
              <a:xfrm>
                <a:off x="130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25" name="Oval 2816">
                <a:extLst>
                  <a:ext uri="{FF2B5EF4-FFF2-40B4-BE49-F238E27FC236}">
                    <a16:creationId xmlns:a16="http://schemas.microsoft.com/office/drawing/2014/main" id="{903B6DBA-2BA0-4670-BB0E-44DC95ADFEC2}"/>
                  </a:ext>
                </a:extLst>
              </p:cNvPr>
              <p:cNvSpPr>
                <a:spLocks noChangeArrowheads="1"/>
              </p:cNvSpPr>
              <p:nvPr/>
            </p:nvSpPr>
            <p:spPr bwMode="auto">
              <a:xfrm>
                <a:off x="145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26" name="Oval 2817">
                <a:extLst>
                  <a:ext uri="{FF2B5EF4-FFF2-40B4-BE49-F238E27FC236}">
                    <a16:creationId xmlns:a16="http://schemas.microsoft.com/office/drawing/2014/main" id="{D23B8104-9D8A-40AF-806E-6F1B0468E089}"/>
                  </a:ext>
                </a:extLst>
              </p:cNvPr>
              <p:cNvSpPr>
                <a:spLocks noChangeArrowheads="1"/>
              </p:cNvSpPr>
              <p:nvPr/>
            </p:nvSpPr>
            <p:spPr bwMode="auto">
              <a:xfrm>
                <a:off x="133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27" name="Oval 2818">
                <a:extLst>
                  <a:ext uri="{FF2B5EF4-FFF2-40B4-BE49-F238E27FC236}">
                    <a16:creationId xmlns:a16="http://schemas.microsoft.com/office/drawing/2014/main" id="{9E588A3B-6E2F-4233-B5CC-20E16AFB1FFA}"/>
                  </a:ext>
                </a:extLst>
              </p:cNvPr>
              <p:cNvSpPr>
                <a:spLocks noChangeArrowheads="1"/>
              </p:cNvSpPr>
              <p:nvPr/>
            </p:nvSpPr>
            <p:spPr bwMode="auto">
              <a:xfrm>
                <a:off x="1516"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28" name="Oval 2819">
                <a:extLst>
                  <a:ext uri="{FF2B5EF4-FFF2-40B4-BE49-F238E27FC236}">
                    <a16:creationId xmlns:a16="http://schemas.microsoft.com/office/drawing/2014/main" id="{4F94432C-1D3B-4A36-9753-7446CD37E8AB}"/>
                  </a:ext>
                </a:extLst>
              </p:cNvPr>
              <p:cNvSpPr>
                <a:spLocks noChangeArrowheads="1"/>
              </p:cNvSpPr>
              <p:nvPr/>
            </p:nvSpPr>
            <p:spPr bwMode="auto">
              <a:xfrm>
                <a:off x="178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29" name="Oval 2820">
                <a:extLst>
                  <a:ext uri="{FF2B5EF4-FFF2-40B4-BE49-F238E27FC236}">
                    <a16:creationId xmlns:a16="http://schemas.microsoft.com/office/drawing/2014/main" id="{26F439E5-D21A-434A-A4EC-C3B499415AA4}"/>
                  </a:ext>
                </a:extLst>
              </p:cNvPr>
              <p:cNvSpPr>
                <a:spLocks noChangeArrowheads="1"/>
              </p:cNvSpPr>
              <p:nvPr/>
            </p:nvSpPr>
            <p:spPr bwMode="auto">
              <a:xfrm>
                <a:off x="15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30" name="Oval 2821">
                <a:extLst>
                  <a:ext uri="{FF2B5EF4-FFF2-40B4-BE49-F238E27FC236}">
                    <a16:creationId xmlns:a16="http://schemas.microsoft.com/office/drawing/2014/main" id="{868176EB-7958-4ED6-874C-1771E515E632}"/>
                  </a:ext>
                </a:extLst>
              </p:cNvPr>
              <p:cNvSpPr>
                <a:spLocks noChangeArrowheads="1"/>
              </p:cNvSpPr>
              <p:nvPr/>
            </p:nvSpPr>
            <p:spPr bwMode="auto">
              <a:xfrm>
                <a:off x="154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31" name="Oval 2822">
                <a:extLst>
                  <a:ext uri="{FF2B5EF4-FFF2-40B4-BE49-F238E27FC236}">
                    <a16:creationId xmlns:a16="http://schemas.microsoft.com/office/drawing/2014/main" id="{0CCEA681-107D-4125-B4C3-9FB74A2C44C8}"/>
                  </a:ext>
                </a:extLst>
              </p:cNvPr>
              <p:cNvSpPr>
                <a:spLocks noChangeArrowheads="1"/>
              </p:cNvSpPr>
              <p:nvPr/>
            </p:nvSpPr>
            <p:spPr bwMode="auto">
              <a:xfrm>
                <a:off x="1666"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32" name="Oval 2823">
                <a:extLst>
                  <a:ext uri="{FF2B5EF4-FFF2-40B4-BE49-F238E27FC236}">
                    <a16:creationId xmlns:a16="http://schemas.microsoft.com/office/drawing/2014/main" id="{32A05AA8-4FF1-4EDC-8D1F-F1359639B8D6}"/>
                  </a:ext>
                </a:extLst>
              </p:cNvPr>
              <p:cNvSpPr>
                <a:spLocks noChangeArrowheads="1"/>
              </p:cNvSpPr>
              <p:nvPr/>
            </p:nvSpPr>
            <p:spPr bwMode="auto">
              <a:xfrm>
                <a:off x="151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33" name="Oval 2824">
                <a:extLst>
                  <a:ext uri="{FF2B5EF4-FFF2-40B4-BE49-F238E27FC236}">
                    <a16:creationId xmlns:a16="http://schemas.microsoft.com/office/drawing/2014/main" id="{27433B23-A21E-42B8-9064-1FD9FEAC787E}"/>
                  </a:ext>
                </a:extLst>
              </p:cNvPr>
              <p:cNvSpPr>
                <a:spLocks noChangeArrowheads="1"/>
              </p:cNvSpPr>
              <p:nvPr/>
            </p:nvSpPr>
            <p:spPr bwMode="auto">
              <a:xfrm>
                <a:off x="145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34" name="Oval 2825">
                <a:extLst>
                  <a:ext uri="{FF2B5EF4-FFF2-40B4-BE49-F238E27FC236}">
                    <a16:creationId xmlns:a16="http://schemas.microsoft.com/office/drawing/2014/main" id="{44426377-7A96-4582-9FE1-2B8DFC18E4C8}"/>
                  </a:ext>
                </a:extLst>
              </p:cNvPr>
              <p:cNvSpPr>
                <a:spLocks noChangeArrowheads="1"/>
              </p:cNvSpPr>
              <p:nvPr/>
            </p:nvSpPr>
            <p:spPr bwMode="auto">
              <a:xfrm>
                <a:off x="139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35" name="Oval 2826">
                <a:extLst>
                  <a:ext uri="{FF2B5EF4-FFF2-40B4-BE49-F238E27FC236}">
                    <a16:creationId xmlns:a16="http://schemas.microsoft.com/office/drawing/2014/main" id="{00AE6228-EFE2-4F48-9047-DC8FE170CBA6}"/>
                  </a:ext>
                </a:extLst>
              </p:cNvPr>
              <p:cNvSpPr>
                <a:spLocks noChangeArrowheads="1"/>
              </p:cNvSpPr>
              <p:nvPr/>
            </p:nvSpPr>
            <p:spPr bwMode="auto">
              <a:xfrm>
                <a:off x="1456"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36" name="Oval 2827">
                <a:extLst>
                  <a:ext uri="{FF2B5EF4-FFF2-40B4-BE49-F238E27FC236}">
                    <a16:creationId xmlns:a16="http://schemas.microsoft.com/office/drawing/2014/main" id="{3FF9B01F-7EFF-4DE6-B215-353182D599A4}"/>
                  </a:ext>
                </a:extLst>
              </p:cNvPr>
              <p:cNvSpPr>
                <a:spLocks noChangeArrowheads="1"/>
              </p:cNvSpPr>
              <p:nvPr/>
            </p:nvSpPr>
            <p:spPr bwMode="auto">
              <a:xfrm>
                <a:off x="151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37" name="Oval 2828">
                <a:extLst>
                  <a:ext uri="{FF2B5EF4-FFF2-40B4-BE49-F238E27FC236}">
                    <a16:creationId xmlns:a16="http://schemas.microsoft.com/office/drawing/2014/main" id="{CFDC902C-7C0E-4B37-9183-816542FD7B65}"/>
                  </a:ext>
                </a:extLst>
              </p:cNvPr>
              <p:cNvSpPr>
                <a:spLocks noChangeArrowheads="1"/>
              </p:cNvSpPr>
              <p:nvPr/>
            </p:nvSpPr>
            <p:spPr bwMode="auto">
              <a:xfrm>
                <a:off x="145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38" name="Oval 2829">
                <a:extLst>
                  <a:ext uri="{FF2B5EF4-FFF2-40B4-BE49-F238E27FC236}">
                    <a16:creationId xmlns:a16="http://schemas.microsoft.com/office/drawing/2014/main" id="{B2A5CCE5-AC50-4AAC-BD6E-214644643C0B}"/>
                  </a:ext>
                </a:extLst>
              </p:cNvPr>
              <p:cNvSpPr>
                <a:spLocks noChangeArrowheads="1"/>
              </p:cNvSpPr>
              <p:nvPr/>
            </p:nvSpPr>
            <p:spPr bwMode="auto">
              <a:xfrm>
                <a:off x="1426"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39" name="Oval 2830">
                <a:extLst>
                  <a:ext uri="{FF2B5EF4-FFF2-40B4-BE49-F238E27FC236}">
                    <a16:creationId xmlns:a16="http://schemas.microsoft.com/office/drawing/2014/main" id="{8D2EBB3B-0AC1-48FB-840A-A0E95D1EF663}"/>
                  </a:ext>
                </a:extLst>
              </p:cNvPr>
              <p:cNvSpPr>
                <a:spLocks noChangeArrowheads="1"/>
              </p:cNvSpPr>
              <p:nvPr/>
            </p:nvSpPr>
            <p:spPr bwMode="auto">
              <a:xfrm>
                <a:off x="1336"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40" name="Oval 2831">
                <a:extLst>
                  <a:ext uri="{FF2B5EF4-FFF2-40B4-BE49-F238E27FC236}">
                    <a16:creationId xmlns:a16="http://schemas.microsoft.com/office/drawing/2014/main" id="{FCEB5FE0-CB81-4D46-8AF7-1E89D43F3106}"/>
                  </a:ext>
                </a:extLst>
              </p:cNvPr>
              <p:cNvSpPr>
                <a:spLocks noChangeArrowheads="1"/>
              </p:cNvSpPr>
              <p:nvPr/>
            </p:nvSpPr>
            <p:spPr bwMode="auto">
              <a:xfrm>
                <a:off x="130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41" name="Oval 2832">
                <a:extLst>
                  <a:ext uri="{FF2B5EF4-FFF2-40B4-BE49-F238E27FC236}">
                    <a16:creationId xmlns:a16="http://schemas.microsoft.com/office/drawing/2014/main" id="{D8265628-6521-42F6-875E-7ACE23B41A28}"/>
                  </a:ext>
                </a:extLst>
              </p:cNvPr>
              <p:cNvSpPr>
                <a:spLocks noChangeArrowheads="1"/>
              </p:cNvSpPr>
              <p:nvPr/>
            </p:nvSpPr>
            <p:spPr bwMode="auto">
              <a:xfrm>
                <a:off x="1366"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42" name="Oval 2833">
                <a:extLst>
                  <a:ext uri="{FF2B5EF4-FFF2-40B4-BE49-F238E27FC236}">
                    <a16:creationId xmlns:a16="http://schemas.microsoft.com/office/drawing/2014/main" id="{E23769AB-85BA-4573-8D27-9C9992791EC9}"/>
                  </a:ext>
                </a:extLst>
              </p:cNvPr>
              <p:cNvSpPr>
                <a:spLocks noChangeArrowheads="1"/>
              </p:cNvSpPr>
              <p:nvPr/>
            </p:nvSpPr>
            <p:spPr bwMode="auto">
              <a:xfrm>
                <a:off x="1246"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43" name="Oval 2834">
                <a:extLst>
                  <a:ext uri="{FF2B5EF4-FFF2-40B4-BE49-F238E27FC236}">
                    <a16:creationId xmlns:a16="http://schemas.microsoft.com/office/drawing/2014/main" id="{9827C4B2-38A1-4DFF-93F1-87658EF11FC3}"/>
                  </a:ext>
                </a:extLst>
              </p:cNvPr>
              <p:cNvSpPr>
                <a:spLocks noChangeArrowheads="1"/>
              </p:cNvSpPr>
              <p:nvPr/>
            </p:nvSpPr>
            <p:spPr bwMode="auto">
              <a:xfrm>
                <a:off x="142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44" name="Oval 2835">
                <a:extLst>
                  <a:ext uri="{FF2B5EF4-FFF2-40B4-BE49-F238E27FC236}">
                    <a16:creationId xmlns:a16="http://schemas.microsoft.com/office/drawing/2014/main" id="{81B71D78-0F15-406C-BC60-6FDE98E18B51}"/>
                  </a:ext>
                </a:extLst>
              </p:cNvPr>
              <p:cNvSpPr>
                <a:spLocks noChangeArrowheads="1"/>
              </p:cNvSpPr>
              <p:nvPr/>
            </p:nvSpPr>
            <p:spPr bwMode="auto">
              <a:xfrm>
                <a:off x="1306"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45" name="Oval 2836">
                <a:extLst>
                  <a:ext uri="{FF2B5EF4-FFF2-40B4-BE49-F238E27FC236}">
                    <a16:creationId xmlns:a16="http://schemas.microsoft.com/office/drawing/2014/main" id="{581F50A6-68EA-442B-A814-79BDC1B78DC4}"/>
                  </a:ext>
                </a:extLst>
              </p:cNvPr>
              <p:cNvSpPr>
                <a:spLocks noChangeArrowheads="1"/>
              </p:cNvSpPr>
              <p:nvPr/>
            </p:nvSpPr>
            <p:spPr bwMode="auto">
              <a:xfrm>
                <a:off x="142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46" name="Oval 2837">
                <a:extLst>
                  <a:ext uri="{FF2B5EF4-FFF2-40B4-BE49-F238E27FC236}">
                    <a16:creationId xmlns:a16="http://schemas.microsoft.com/office/drawing/2014/main" id="{7D4E501C-D9A9-4909-918F-F098ADFB8539}"/>
                  </a:ext>
                </a:extLst>
              </p:cNvPr>
              <p:cNvSpPr>
                <a:spLocks noChangeArrowheads="1"/>
              </p:cNvSpPr>
              <p:nvPr/>
            </p:nvSpPr>
            <p:spPr bwMode="auto">
              <a:xfrm>
                <a:off x="12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47" name="Oval 2838">
                <a:extLst>
                  <a:ext uri="{FF2B5EF4-FFF2-40B4-BE49-F238E27FC236}">
                    <a16:creationId xmlns:a16="http://schemas.microsoft.com/office/drawing/2014/main" id="{92DE0C6A-5EC2-4E98-A1F2-7995010FFF3D}"/>
                  </a:ext>
                </a:extLst>
              </p:cNvPr>
              <p:cNvSpPr>
                <a:spLocks noChangeArrowheads="1"/>
              </p:cNvSpPr>
              <p:nvPr/>
            </p:nvSpPr>
            <p:spPr bwMode="auto">
              <a:xfrm>
                <a:off x="166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48" name="Oval 2839">
                <a:extLst>
                  <a:ext uri="{FF2B5EF4-FFF2-40B4-BE49-F238E27FC236}">
                    <a16:creationId xmlns:a16="http://schemas.microsoft.com/office/drawing/2014/main" id="{0A3AFEFC-1E87-461E-BCBB-6D0BABF56CA1}"/>
                  </a:ext>
                </a:extLst>
              </p:cNvPr>
              <p:cNvSpPr>
                <a:spLocks noChangeArrowheads="1"/>
              </p:cNvSpPr>
              <p:nvPr/>
            </p:nvSpPr>
            <p:spPr bwMode="auto">
              <a:xfrm>
                <a:off x="172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49" name="Oval 2840">
                <a:extLst>
                  <a:ext uri="{FF2B5EF4-FFF2-40B4-BE49-F238E27FC236}">
                    <a16:creationId xmlns:a16="http://schemas.microsoft.com/office/drawing/2014/main" id="{F7BB7845-B6C3-495B-84DB-6868353856DC}"/>
                  </a:ext>
                </a:extLst>
              </p:cNvPr>
              <p:cNvSpPr>
                <a:spLocks noChangeArrowheads="1"/>
              </p:cNvSpPr>
              <p:nvPr/>
            </p:nvSpPr>
            <p:spPr bwMode="auto">
              <a:xfrm>
                <a:off x="1576"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50" name="Oval 2841">
                <a:extLst>
                  <a:ext uri="{FF2B5EF4-FFF2-40B4-BE49-F238E27FC236}">
                    <a16:creationId xmlns:a16="http://schemas.microsoft.com/office/drawing/2014/main" id="{F0CCACB5-A3F0-48B4-A2EC-7D715AD49687}"/>
                  </a:ext>
                </a:extLst>
              </p:cNvPr>
              <p:cNvSpPr>
                <a:spLocks noChangeArrowheads="1"/>
              </p:cNvSpPr>
              <p:nvPr/>
            </p:nvSpPr>
            <p:spPr bwMode="auto">
              <a:xfrm>
                <a:off x="184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51" name="Oval 2842">
                <a:extLst>
                  <a:ext uri="{FF2B5EF4-FFF2-40B4-BE49-F238E27FC236}">
                    <a16:creationId xmlns:a16="http://schemas.microsoft.com/office/drawing/2014/main" id="{7C32428E-47B1-4189-A299-75B8DBCD2F5E}"/>
                  </a:ext>
                </a:extLst>
              </p:cNvPr>
              <p:cNvSpPr>
                <a:spLocks noChangeArrowheads="1"/>
              </p:cNvSpPr>
              <p:nvPr/>
            </p:nvSpPr>
            <p:spPr bwMode="auto">
              <a:xfrm>
                <a:off x="181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52" name="Oval 2843">
                <a:extLst>
                  <a:ext uri="{FF2B5EF4-FFF2-40B4-BE49-F238E27FC236}">
                    <a16:creationId xmlns:a16="http://schemas.microsoft.com/office/drawing/2014/main" id="{228DAD51-D8FF-4B6F-B61B-21F193F455E3}"/>
                  </a:ext>
                </a:extLst>
              </p:cNvPr>
              <p:cNvSpPr>
                <a:spLocks noChangeArrowheads="1"/>
              </p:cNvSpPr>
              <p:nvPr/>
            </p:nvSpPr>
            <p:spPr bwMode="auto">
              <a:xfrm>
                <a:off x="1816"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53" name="Oval 2844">
                <a:extLst>
                  <a:ext uri="{FF2B5EF4-FFF2-40B4-BE49-F238E27FC236}">
                    <a16:creationId xmlns:a16="http://schemas.microsoft.com/office/drawing/2014/main" id="{D29FE72A-37A4-49D6-B65A-16DA28ADD75D}"/>
                  </a:ext>
                </a:extLst>
              </p:cNvPr>
              <p:cNvSpPr>
                <a:spLocks noChangeArrowheads="1"/>
              </p:cNvSpPr>
              <p:nvPr/>
            </p:nvSpPr>
            <p:spPr bwMode="auto">
              <a:xfrm>
                <a:off x="193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54" name="Oval 2845">
                <a:extLst>
                  <a:ext uri="{FF2B5EF4-FFF2-40B4-BE49-F238E27FC236}">
                    <a16:creationId xmlns:a16="http://schemas.microsoft.com/office/drawing/2014/main" id="{1EB23FB0-45BE-4129-8BAC-898AFF2594F5}"/>
                  </a:ext>
                </a:extLst>
              </p:cNvPr>
              <p:cNvSpPr>
                <a:spLocks noChangeArrowheads="1"/>
              </p:cNvSpPr>
              <p:nvPr/>
            </p:nvSpPr>
            <p:spPr bwMode="auto">
              <a:xfrm>
                <a:off x="2086" y="7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55" name="Oval 2846">
                <a:extLst>
                  <a:ext uri="{FF2B5EF4-FFF2-40B4-BE49-F238E27FC236}">
                    <a16:creationId xmlns:a16="http://schemas.microsoft.com/office/drawing/2014/main" id="{2BF66118-7851-4988-BF7C-B33CD5B7DFAA}"/>
                  </a:ext>
                </a:extLst>
              </p:cNvPr>
              <p:cNvSpPr>
                <a:spLocks noChangeArrowheads="1"/>
              </p:cNvSpPr>
              <p:nvPr/>
            </p:nvSpPr>
            <p:spPr bwMode="auto">
              <a:xfrm>
                <a:off x="211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56" name="Oval 2847">
                <a:extLst>
                  <a:ext uri="{FF2B5EF4-FFF2-40B4-BE49-F238E27FC236}">
                    <a16:creationId xmlns:a16="http://schemas.microsoft.com/office/drawing/2014/main" id="{64D79C42-65F9-4B26-992D-E179ABDB5F8F}"/>
                  </a:ext>
                </a:extLst>
              </p:cNvPr>
              <p:cNvSpPr>
                <a:spLocks noChangeArrowheads="1"/>
              </p:cNvSpPr>
              <p:nvPr/>
            </p:nvSpPr>
            <p:spPr bwMode="auto">
              <a:xfrm>
                <a:off x="199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57" name="Oval 2848">
                <a:extLst>
                  <a:ext uri="{FF2B5EF4-FFF2-40B4-BE49-F238E27FC236}">
                    <a16:creationId xmlns:a16="http://schemas.microsoft.com/office/drawing/2014/main" id="{C3517A56-BAF8-40B6-8B3C-28980746EED1}"/>
                  </a:ext>
                </a:extLst>
              </p:cNvPr>
              <p:cNvSpPr>
                <a:spLocks noChangeArrowheads="1"/>
              </p:cNvSpPr>
              <p:nvPr/>
            </p:nvSpPr>
            <p:spPr bwMode="auto">
              <a:xfrm>
                <a:off x="202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58" name="Oval 2849">
                <a:extLst>
                  <a:ext uri="{FF2B5EF4-FFF2-40B4-BE49-F238E27FC236}">
                    <a16:creationId xmlns:a16="http://schemas.microsoft.com/office/drawing/2014/main" id="{F6D235F7-CE4E-4B56-8662-42117E9466D0}"/>
                  </a:ext>
                </a:extLst>
              </p:cNvPr>
              <p:cNvSpPr>
                <a:spLocks noChangeArrowheads="1"/>
              </p:cNvSpPr>
              <p:nvPr/>
            </p:nvSpPr>
            <p:spPr bwMode="auto">
              <a:xfrm>
                <a:off x="184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59" name="Oval 2850">
                <a:extLst>
                  <a:ext uri="{FF2B5EF4-FFF2-40B4-BE49-F238E27FC236}">
                    <a16:creationId xmlns:a16="http://schemas.microsoft.com/office/drawing/2014/main" id="{4F21C202-78A8-48EA-8DDB-45CE186FF7AF}"/>
                  </a:ext>
                </a:extLst>
              </p:cNvPr>
              <p:cNvSpPr>
                <a:spLocks noChangeArrowheads="1"/>
              </p:cNvSpPr>
              <p:nvPr/>
            </p:nvSpPr>
            <p:spPr bwMode="auto">
              <a:xfrm>
                <a:off x="1846"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60" name="Oval 2851">
                <a:extLst>
                  <a:ext uri="{FF2B5EF4-FFF2-40B4-BE49-F238E27FC236}">
                    <a16:creationId xmlns:a16="http://schemas.microsoft.com/office/drawing/2014/main" id="{61FDF714-3093-4CF8-8976-5CA615EFEE38}"/>
                  </a:ext>
                </a:extLst>
              </p:cNvPr>
              <p:cNvSpPr>
                <a:spLocks noChangeArrowheads="1"/>
              </p:cNvSpPr>
              <p:nvPr/>
            </p:nvSpPr>
            <p:spPr bwMode="auto">
              <a:xfrm>
                <a:off x="241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61" name="Oval 2852">
                <a:extLst>
                  <a:ext uri="{FF2B5EF4-FFF2-40B4-BE49-F238E27FC236}">
                    <a16:creationId xmlns:a16="http://schemas.microsoft.com/office/drawing/2014/main" id="{BC0E7A67-7122-44E0-BA9A-85C3A5CD5E6A}"/>
                  </a:ext>
                </a:extLst>
              </p:cNvPr>
              <p:cNvSpPr>
                <a:spLocks noChangeArrowheads="1"/>
              </p:cNvSpPr>
              <p:nvPr/>
            </p:nvSpPr>
            <p:spPr bwMode="auto">
              <a:xfrm>
                <a:off x="259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62" name="Oval 2853">
                <a:extLst>
                  <a:ext uri="{FF2B5EF4-FFF2-40B4-BE49-F238E27FC236}">
                    <a16:creationId xmlns:a16="http://schemas.microsoft.com/office/drawing/2014/main" id="{59199D29-4D75-4A8A-A983-22C1EBC21736}"/>
                  </a:ext>
                </a:extLst>
              </p:cNvPr>
              <p:cNvSpPr>
                <a:spLocks noChangeArrowheads="1"/>
              </p:cNvSpPr>
              <p:nvPr/>
            </p:nvSpPr>
            <p:spPr bwMode="auto">
              <a:xfrm>
                <a:off x="220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63" name="Oval 2854">
                <a:extLst>
                  <a:ext uri="{FF2B5EF4-FFF2-40B4-BE49-F238E27FC236}">
                    <a16:creationId xmlns:a16="http://schemas.microsoft.com/office/drawing/2014/main" id="{C8A70D15-F98C-4B57-AE92-4B06D1E34729}"/>
                  </a:ext>
                </a:extLst>
              </p:cNvPr>
              <p:cNvSpPr>
                <a:spLocks noChangeArrowheads="1"/>
              </p:cNvSpPr>
              <p:nvPr/>
            </p:nvSpPr>
            <p:spPr bwMode="auto">
              <a:xfrm>
                <a:off x="253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64" name="Oval 2855">
                <a:extLst>
                  <a:ext uri="{FF2B5EF4-FFF2-40B4-BE49-F238E27FC236}">
                    <a16:creationId xmlns:a16="http://schemas.microsoft.com/office/drawing/2014/main" id="{AC013C42-2619-4E47-BAF8-DE17C5AE8E52}"/>
                  </a:ext>
                </a:extLst>
              </p:cNvPr>
              <p:cNvSpPr>
                <a:spLocks noChangeArrowheads="1"/>
              </p:cNvSpPr>
              <p:nvPr/>
            </p:nvSpPr>
            <p:spPr bwMode="auto">
              <a:xfrm>
                <a:off x="238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65" name="Oval 2856">
                <a:extLst>
                  <a:ext uri="{FF2B5EF4-FFF2-40B4-BE49-F238E27FC236}">
                    <a16:creationId xmlns:a16="http://schemas.microsoft.com/office/drawing/2014/main" id="{9A174792-39AA-47BA-9E53-96A4E7D93D2E}"/>
                  </a:ext>
                </a:extLst>
              </p:cNvPr>
              <p:cNvSpPr>
                <a:spLocks noChangeArrowheads="1"/>
              </p:cNvSpPr>
              <p:nvPr/>
            </p:nvSpPr>
            <p:spPr bwMode="auto">
              <a:xfrm>
                <a:off x="241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66" name="Oval 2857">
                <a:extLst>
                  <a:ext uri="{FF2B5EF4-FFF2-40B4-BE49-F238E27FC236}">
                    <a16:creationId xmlns:a16="http://schemas.microsoft.com/office/drawing/2014/main" id="{21C0AAC1-1F6F-4017-90C9-8C050E0FC759}"/>
                  </a:ext>
                </a:extLst>
              </p:cNvPr>
              <p:cNvSpPr>
                <a:spLocks noChangeArrowheads="1"/>
              </p:cNvSpPr>
              <p:nvPr/>
            </p:nvSpPr>
            <p:spPr bwMode="auto">
              <a:xfrm>
                <a:off x="232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67" name="Oval 2858">
                <a:extLst>
                  <a:ext uri="{FF2B5EF4-FFF2-40B4-BE49-F238E27FC236}">
                    <a16:creationId xmlns:a16="http://schemas.microsoft.com/office/drawing/2014/main" id="{04E22DEC-658D-4261-B376-9E0C071E1096}"/>
                  </a:ext>
                </a:extLst>
              </p:cNvPr>
              <p:cNvSpPr>
                <a:spLocks noChangeArrowheads="1"/>
              </p:cNvSpPr>
              <p:nvPr/>
            </p:nvSpPr>
            <p:spPr bwMode="auto">
              <a:xfrm>
                <a:off x="229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68" name="Oval 2859">
                <a:extLst>
                  <a:ext uri="{FF2B5EF4-FFF2-40B4-BE49-F238E27FC236}">
                    <a16:creationId xmlns:a16="http://schemas.microsoft.com/office/drawing/2014/main" id="{383CB2AB-1EAF-434C-B475-E65F9993806F}"/>
                  </a:ext>
                </a:extLst>
              </p:cNvPr>
              <p:cNvSpPr>
                <a:spLocks noChangeArrowheads="1"/>
              </p:cNvSpPr>
              <p:nvPr/>
            </p:nvSpPr>
            <p:spPr bwMode="auto">
              <a:xfrm>
                <a:off x="220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69" name="Oval 2860">
                <a:extLst>
                  <a:ext uri="{FF2B5EF4-FFF2-40B4-BE49-F238E27FC236}">
                    <a16:creationId xmlns:a16="http://schemas.microsoft.com/office/drawing/2014/main" id="{D0FF22DC-471D-41F8-AAF7-544F8752038E}"/>
                  </a:ext>
                </a:extLst>
              </p:cNvPr>
              <p:cNvSpPr>
                <a:spLocks noChangeArrowheads="1"/>
              </p:cNvSpPr>
              <p:nvPr/>
            </p:nvSpPr>
            <p:spPr bwMode="auto">
              <a:xfrm>
                <a:off x="22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70" name="Oval 2861">
                <a:extLst>
                  <a:ext uri="{FF2B5EF4-FFF2-40B4-BE49-F238E27FC236}">
                    <a16:creationId xmlns:a16="http://schemas.microsoft.com/office/drawing/2014/main" id="{7B2A3491-1A5D-4926-9F98-85BADFEFCFD5}"/>
                  </a:ext>
                </a:extLst>
              </p:cNvPr>
              <p:cNvSpPr>
                <a:spLocks noChangeArrowheads="1"/>
              </p:cNvSpPr>
              <p:nvPr/>
            </p:nvSpPr>
            <p:spPr bwMode="auto">
              <a:xfrm>
                <a:off x="220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71" name="Oval 2862">
                <a:extLst>
                  <a:ext uri="{FF2B5EF4-FFF2-40B4-BE49-F238E27FC236}">
                    <a16:creationId xmlns:a16="http://schemas.microsoft.com/office/drawing/2014/main" id="{9D23DCA7-F34F-4BA5-9BDE-DDA13547A457}"/>
                  </a:ext>
                </a:extLst>
              </p:cNvPr>
              <p:cNvSpPr>
                <a:spLocks noChangeArrowheads="1"/>
              </p:cNvSpPr>
              <p:nvPr/>
            </p:nvSpPr>
            <p:spPr bwMode="auto">
              <a:xfrm>
                <a:off x="220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72" name="Oval 2863">
                <a:extLst>
                  <a:ext uri="{FF2B5EF4-FFF2-40B4-BE49-F238E27FC236}">
                    <a16:creationId xmlns:a16="http://schemas.microsoft.com/office/drawing/2014/main" id="{D1E3DD51-76B1-4264-8DA4-0606F8AE586B}"/>
                  </a:ext>
                </a:extLst>
              </p:cNvPr>
              <p:cNvSpPr>
                <a:spLocks noChangeArrowheads="1"/>
              </p:cNvSpPr>
              <p:nvPr/>
            </p:nvSpPr>
            <p:spPr bwMode="auto">
              <a:xfrm>
                <a:off x="226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73" name="Oval 2864">
                <a:extLst>
                  <a:ext uri="{FF2B5EF4-FFF2-40B4-BE49-F238E27FC236}">
                    <a16:creationId xmlns:a16="http://schemas.microsoft.com/office/drawing/2014/main" id="{226A55B7-1547-4A7B-8BF4-F95C2B459231}"/>
                  </a:ext>
                </a:extLst>
              </p:cNvPr>
              <p:cNvSpPr>
                <a:spLocks noChangeArrowheads="1"/>
              </p:cNvSpPr>
              <p:nvPr/>
            </p:nvSpPr>
            <p:spPr bwMode="auto">
              <a:xfrm>
                <a:off x="271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74" name="Oval 2865">
                <a:extLst>
                  <a:ext uri="{FF2B5EF4-FFF2-40B4-BE49-F238E27FC236}">
                    <a16:creationId xmlns:a16="http://schemas.microsoft.com/office/drawing/2014/main" id="{E5E59396-68BB-46FA-AEAB-31259CCAC71B}"/>
                  </a:ext>
                </a:extLst>
              </p:cNvPr>
              <p:cNvSpPr>
                <a:spLocks noChangeArrowheads="1"/>
              </p:cNvSpPr>
              <p:nvPr/>
            </p:nvSpPr>
            <p:spPr bwMode="auto">
              <a:xfrm>
                <a:off x="274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75" name="Oval 2866">
                <a:extLst>
                  <a:ext uri="{FF2B5EF4-FFF2-40B4-BE49-F238E27FC236}">
                    <a16:creationId xmlns:a16="http://schemas.microsoft.com/office/drawing/2014/main" id="{F73EFD56-980F-46DE-A442-29174D22C2EE}"/>
                  </a:ext>
                </a:extLst>
              </p:cNvPr>
              <p:cNvSpPr>
                <a:spLocks noChangeArrowheads="1"/>
              </p:cNvSpPr>
              <p:nvPr/>
            </p:nvSpPr>
            <p:spPr bwMode="auto">
              <a:xfrm>
                <a:off x="277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76" name="Oval 2867">
                <a:extLst>
                  <a:ext uri="{FF2B5EF4-FFF2-40B4-BE49-F238E27FC236}">
                    <a16:creationId xmlns:a16="http://schemas.microsoft.com/office/drawing/2014/main" id="{A7857A68-E134-497C-8B11-BC88DD293C38}"/>
                  </a:ext>
                </a:extLst>
              </p:cNvPr>
              <p:cNvSpPr>
                <a:spLocks noChangeArrowheads="1"/>
              </p:cNvSpPr>
              <p:nvPr/>
            </p:nvSpPr>
            <p:spPr bwMode="auto">
              <a:xfrm>
                <a:off x="271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77" name="Oval 2868">
                <a:extLst>
                  <a:ext uri="{FF2B5EF4-FFF2-40B4-BE49-F238E27FC236}">
                    <a16:creationId xmlns:a16="http://schemas.microsoft.com/office/drawing/2014/main" id="{680771A5-FA66-4D93-AD62-CD47FE3BEFF9}"/>
                  </a:ext>
                </a:extLst>
              </p:cNvPr>
              <p:cNvSpPr>
                <a:spLocks noChangeArrowheads="1"/>
              </p:cNvSpPr>
              <p:nvPr/>
            </p:nvSpPr>
            <p:spPr bwMode="auto">
              <a:xfrm>
                <a:off x="268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78" name="Oval 2869">
                <a:extLst>
                  <a:ext uri="{FF2B5EF4-FFF2-40B4-BE49-F238E27FC236}">
                    <a16:creationId xmlns:a16="http://schemas.microsoft.com/office/drawing/2014/main" id="{3ABE1EEA-EF8F-44A2-A119-AF7B87897D1B}"/>
                  </a:ext>
                </a:extLst>
              </p:cNvPr>
              <p:cNvSpPr>
                <a:spLocks noChangeArrowheads="1"/>
              </p:cNvSpPr>
              <p:nvPr/>
            </p:nvSpPr>
            <p:spPr bwMode="auto">
              <a:xfrm>
                <a:off x="271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79" name="Oval 2870">
                <a:extLst>
                  <a:ext uri="{FF2B5EF4-FFF2-40B4-BE49-F238E27FC236}">
                    <a16:creationId xmlns:a16="http://schemas.microsoft.com/office/drawing/2014/main" id="{BCD03EC3-CB26-4235-91EF-71AE86D2DAD2}"/>
                  </a:ext>
                </a:extLst>
              </p:cNvPr>
              <p:cNvSpPr>
                <a:spLocks noChangeArrowheads="1"/>
              </p:cNvSpPr>
              <p:nvPr/>
            </p:nvSpPr>
            <p:spPr bwMode="auto">
              <a:xfrm>
                <a:off x="292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80" name="Oval 2871">
                <a:extLst>
                  <a:ext uri="{FF2B5EF4-FFF2-40B4-BE49-F238E27FC236}">
                    <a16:creationId xmlns:a16="http://schemas.microsoft.com/office/drawing/2014/main" id="{AFEC504F-09CD-4DFD-A286-88E385037D59}"/>
                  </a:ext>
                </a:extLst>
              </p:cNvPr>
              <p:cNvSpPr>
                <a:spLocks noChangeArrowheads="1"/>
              </p:cNvSpPr>
              <p:nvPr/>
            </p:nvSpPr>
            <p:spPr bwMode="auto">
              <a:xfrm>
                <a:off x="268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81" name="Oval 2872">
                <a:extLst>
                  <a:ext uri="{FF2B5EF4-FFF2-40B4-BE49-F238E27FC236}">
                    <a16:creationId xmlns:a16="http://schemas.microsoft.com/office/drawing/2014/main" id="{E843F484-CEFF-423A-A045-2E6A6930B4CF}"/>
                  </a:ext>
                </a:extLst>
              </p:cNvPr>
              <p:cNvSpPr>
                <a:spLocks noChangeArrowheads="1"/>
              </p:cNvSpPr>
              <p:nvPr/>
            </p:nvSpPr>
            <p:spPr bwMode="auto">
              <a:xfrm>
                <a:off x="280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82" name="Oval 2873">
                <a:extLst>
                  <a:ext uri="{FF2B5EF4-FFF2-40B4-BE49-F238E27FC236}">
                    <a16:creationId xmlns:a16="http://schemas.microsoft.com/office/drawing/2014/main" id="{8404F9E6-BF00-491D-BBDC-AB1ABD8FD2F2}"/>
                  </a:ext>
                </a:extLst>
              </p:cNvPr>
              <p:cNvSpPr>
                <a:spLocks noChangeArrowheads="1"/>
              </p:cNvSpPr>
              <p:nvPr/>
            </p:nvSpPr>
            <p:spPr bwMode="auto">
              <a:xfrm>
                <a:off x="301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83" name="Oval 2874">
                <a:extLst>
                  <a:ext uri="{FF2B5EF4-FFF2-40B4-BE49-F238E27FC236}">
                    <a16:creationId xmlns:a16="http://schemas.microsoft.com/office/drawing/2014/main" id="{270D8579-5715-4ABA-A31E-5AD480584F5F}"/>
                  </a:ext>
                </a:extLst>
              </p:cNvPr>
              <p:cNvSpPr>
                <a:spLocks noChangeArrowheads="1"/>
              </p:cNvSpPr>
              <p:nvPr/>
            </p:nvSpPr>
            <p:spPr bwMode="auto">
              <a:xfrm>
                <a:off x="316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84" name="Oval 2875">
                <a:extLst>
                  <a:ext uri="{FF2B5EF4-FFF2-40B4-BE49-F238E27FC236}">
                    <a16:creationId xmlns:a16="http://schemas.microsoft.com/office/drawing/2014/main" id="{15E423C9-B041-4FAA-8CC5-E1A4D16A1437}"/>
                  </a:ext>
                </a:extLst>
              </p:cNvPr>
              <p:cNvSpPr>
                <a:spLocks noChangeArrowheads="1"/>
              </p:cNvSpPr>
              <p:nvPr/>
            </p:nvSpPr>
            <p:spPr bwMode="auto">
              <a:xfrm>
                <a:off x="307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85" name="Oval 2876">
                <a:extLst>
                  <a:ext uri="{FF2B5EF4-FFF2-40B4-BE49-F238E27FC236}">
                    <a16:creationId xmlns:a16="http://schemas.microsoft.com/office/drawing/2014/main" id="{81C7870D-2DAB-4006-BAB7-A8C820EDD8B4}"/>
                  </a:ext>
                </a:extLst>
              </p:cNvPr>
              <p:cNvSpPr>
                <a:spLocks noChangeArrowheads="1"/>
              </p:cNvSpPr>
              <p:nvPr/>
            </p:nvSpPr>
            <p:spPr bwMode="auto">
              <a:xfrm>
                <a:off x="295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86" name="Oval 2877">
                <a:extLst>
                  <a:ext uri="{FF2B5EF4-FFF2-40B4-BE49-F238E27FC236}">
                    <a16:creationId xmlns:a16="http://schemas.microsoft.com/office/drawing/2014/main" id="{38AEB002-0EDD-4FB8-A42A-9B4142578E93}"/>
                  </a:ext>
                </a:extLst>
              </p:cNvPr>
              <p:cNvSpPr>
                <a:spLocks noChangeArrowheads="1"/>
              </p:cNvSpPr>
              <p:nvPr/>
            </p:nvSpPr>
            <p:spPr bwMode="auto">
              <a:xfrm>
                <a:off x="301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87" name="Oval 2878">
                <a:extLst>
                  <a:ext uri="{FF2B5EF4-FFF2-40B4-BE49-F238E27FC236}">
                    <a16:creationId xmlns:a16="http://schemas.microsoft.com/office/drawing/2014/main" id="{881DA672-3D14-41E2-B489-B18C4CF6A87C}"/>
                  </a:ext>
                </a:extLst>
              </p:cNvPr>
              <p:cNvSpPr>
                <a:spLocks noChangeArrowheads="1"/>
              </p:cNvSpPr>
              <p:nvPr/>
            </p:nvSpPr>
            <p:spPr bwMode="auto">
              <a:xfrm>
                <a:off x="298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88" name="Oval 2879">
                <a:extLst>
                  <a:ext uri="{FF2B5EF4-FFF2-40B4-BE49-F238E27FC236}">
                    <a16:creationId xmlns:a16="http://schemas.microsoft.com/office/drawing/2014/main" id="{40DBC6A2-7C9E-444F-A020-185BBC115C58}"/>
                  </a:ext>
                </a:extLst>
              </p:cNvPr>
              <p:cNvSpPr>
                <a:spLocks noChangeArrowheads="1"/>
              </p:cNvSpPr>
              <p:nvPr/>
            </p:nvSpPr>
            <p:spPr bwMode="auto">
              <a:xfrm>
                <a:off x="30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89" name="Oval 2880">
                <a:extLst>
                  <a:ext uri="{FF2B5EF4-FFF2-40B4-BE49-F238E27FC236}">
                    <a16:creationId xmlns:a16="http://schemas.microsoft.com/office/drawing/2014/main" id="{BC049EA0-AF2D-4044-96BB-F731C3A87F40}"/>
                  </a:ext>
                </a:extLst>
              </p:cNvPr>
              <p:cNvSpPr>
                <a:spLocks noChangeArrowheads="1"/>
              </p:cNvSpPr>
              <p:nvPr/>
            </p:nvSpPr>
            <p:spPr bwMode="auto">
              <a:xfrm>
                <a:off x="310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90" name="Oval 2881">
                <a:extLst>
                  <a:ext uri="{FF2B5EF4-FFF2-40B4-BE49-F238E27FC236}">
                    <a16:creationId xmlns:a16="http://schemas.microsoft.com/office/drawing/2014/main" id="{58CBE8B0-4BB5-4B81-91A6-987A2AB5B95B}"/>
                  </a:ext>
                </a:extLst>
              </p:cNvPr>
              <p:cNvSpPr>
                <a:spLocks noChangeArrowheads="1"/>
              </p:cNvSpPr>
              <p:nvPr/>
            </p:nvSpPr>
            <p:spPr bwMode="auto">
              <a:xfrm>
                <a:off x="310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91" name="Oval 2882">
                <a:extLst>
                  <a:ext uri="{FF2B5EF4-FFF2-40B4-BE49-F238E27FC236}">
                    <a16:creationId xmlns:a16="http://schemas.microsoft.com/office/drawing/2014/main" id="{08F51A0B-4274-492C-BF5E-3D77E021D045}"/>
                  </a:ext>
                </a:extLst>
              </p:cNvPr>
              <p:cNvSpPr>
                <a:spLocks noChangeArrowheads="1"/>
              </p:cNvSpPr>
              <p:nvPr/>
            </p:nvSpPr>
            <p:spPr bwMode="auto">
              <a:xfrm>
                <a:off x="29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92" name="Oval 2883">
                <a:extLst>
                  <a:ext uri="{FF2B5EF4-FFF2-40B4-BE49-F238E27FC236}">
                    <a16:creationId xmlns:a16="http://schemas.microsoft.com/office/drawing/2014/main" id="{723EAAB5-7D55-4C34-8DD1-545F93C33BE3}"/>
                  </a:ext>
                </a:extLst>
              </p:cNvPr>
              <p:cNvSpPr>
                <a:spLocks noChangeArrowheads="1"/>
              </p:cNvSpPr>
              <p:nvPr/>
            </p:nvSpPr>
            <p:spPr bwMode="auto">
              <a:xfrm>
                <a:off x="280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93" name="Oval 2884">
                <a:extLst>
                  <a:ext uri="{FF2B5EF4-FFF2-40B4-BE49-F238E27FC236}">
                    <a16:creationId xmlns:a16="http://schemas.microsoft.com/office/drawing/2014/main" id="{45DA67B8-9F7E-4022-AB7B-F6A63CD9F9B5}"/>
                  </a:ext>
                </a:extLst>
              </p:cNvPr>
              <p:cNvSpPr>
                <a:spLocks noChangeArrowheads="1"/>
              </p:cNvSpPr>
              <p:nvPr/>
            </p:nvSpPr>
            <p:spPr bwMode="auto">
              <a:xfrm>
                <a:off x="289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94" name="Oval 2885">
                <a:extLst>
                  <a:ext uri="{FF2B5EF4-FFF2-40B4-BE49-F238E27FC236}">
                    <a16:creationId xmlns:a16="http://schemas.microsoft.com/office/drawing/2014/main" id="{636C8AF7-1177-4A5C-8758-09B571BD0E41}"/>
                  </a:ext>
                </a:extLst>
              </p:cNvPr>
              <p:cNvSpPr>
                <a:spLocks noChangeArrowheads="1"/>
              </p:cNvSpPr>
              <p:nvPr/>
            </p:nvSpPr>
            <p:spPr bwMode="auto">
              <a:xfrm>
                <a:off x="292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95" name="Oval 2886">
                <a:extLst>
                  <a:ext uri="{FF2B5EF4-FFF2-40B4-BE49-F238E27FC236}">
                    <a16:creationId xmlns:a16="http://schemas.microsoft.com/office/drawing/2014/main" id="{5AC4A67F-7B55-437F-BC57-FF785E970779}"/>
                  </a:ext>
                </a:extLst>
              </p:cNvPr>
              <p:cNvSpPr>
                <a:spLocks noChangeArrowheads="1"/>
              </p:cNvSpPr>
              <p:nvPr/>
            </p:nvSpPr>
            <p:spPr bwMode="auto">
              <a:xfrm>
                <a:off x="283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96" name="Oval 2887">
                <a:extLst>
                  <a:ext uri="{FF2B5EF4-FFF2-40B4-BE49-F238E27FC236}">
                    <a16:creationId xmlns:a16="http://schemas.microsoft.com/office/drawing/2014/main" id="{7BCB48F4-5A1D-4263-A0A1-60F4A6868800}"/>
                  </a:ext>
                </a:extLst>
              </p:cNvPr>
              <p:cNvSpPr>
                <a:spLocks noChangeArrowheads="1"/>
              </p:cNvSpPr>
              <p:nvPr/>
            </p:nvSpPr>
            <p:spPr bwMode="auto">
              <a:xfrm>
                <a:off x="286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97" name="Oval 2888">
                <a:extLst>
                  <a:ext uri="{FF2B5EF4-FFF2-40B4-BE49-F238E27FC236}">
                    <a16:creationId xmlns:a16="http://schemas.microsoft.com/office/drawing/2014/main" id="{88F4D7CB-A70E-4036-9358-8BF55F4D239A}"/>
                  </a:ext>
                </a:extLst>
              </p:cNvPr>
              <p:cNvSpPr>
                <a:spLocks noChangeArrowheads="1"/>
              </p:cNvSpPr>
              <p:nvPr/>
            </p:nvSpPr>
            <p:spPr bwMode="auto">
              <a:xfrm>
                <a:off x="30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98" name="Oval 2889">
                <a:extLst>
                  <a:ext uri="{FF2B5EF4-FFF2-40B4-BE49-F238E27FC236}">
                    <a16:creationId xmlns:a16="http://schemas.microsoft.com/office/drawing/2014/main" id="{411FF6B9-008B-41AF-88B2-AB19178505FE}"/>
                  </a:ext>
                </a:extLst>
              </p:cNvPr>
              <p:cNvSpPr>
                <a:spLocks noChangeArrowheads="1"/>
              </p:cNvSpPr>
              <p:nvPr/>
            </p:nvSpPr>
            <p:spPr bwMode="auto">
              <a:xfrm>
                <a:off x="295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899" name="Oval 2890">
                <a:extLst>
                  <a:ext uri="{FF2B5EF4-FFF2-40B4-BE49-F238E27FC236}">
                    <a16:creationId xmlns:a16="http://schemas.microsoft.com/office/drawing/2014/main" id="{F731392F-6559-4288-B4EB-F5869C31796B}"/>
                  </a:ext>
                </a:extLst>
              </p:cNvPr>
              <p:cNvSpPr>
                <a:spLocks noChangeArrowheads="1"/>
              </p:cNvSpPr>
              <p:nvPr/>
            </p:nvSpPr>
            <p:spPr bwMode="auto">
              <a:xfrm>
                <a:off x="295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00" name="Oval 2891">
                <a:extLst>
                  <a:ext uri="{FF2B5EF4-FFF2-40B4-BE49-F238E27FC236}">
                    <a16:creationId xmlns:a16="http://schemas.microsoft.com/office/drawing/2014/main" id="{45003271-6ADB-46CE-8D43-BD3532519B8F}"/>
                  </a:ext>
                </a:extLst>
              </p:cNvPr>
              <p:cNvSpPr>
                <a:spLocks noChangeArrowheads="1"/>
              </p:cNvSpPr>
              <p:nvPr/>
            </p:nvSpPr>
            <p:spPr bwMode="auto">
              <a:xfrm>
                <a:off x="301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01" name="Oval 2892">
                <a:extLst>
                  <a:ext uri="{FF2B5EF4-FFF2-40B4-BE49-F238E27FC236}">
                    <a16:creationId xmlns:a16="http://schemas.microsoft.com/office/drawing/2014/main" id="{F3CDD557-6677-4BE0-BE45-D17B0B7373D6}"/>
                  </a:ext>
                </a:extLst>
              </p:cNvPr>
              <p:cNvSpPr>
                <a:spLocks noChangeArrowheads="1"/>
              </p:cNvSpPr>
              <p:nvPr/>
            </p:nvSpPr>
            <p:spPr bwMode="auto">
              <a:xfrm>
                <a:off x="289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02" name="Oval 2893">
                <a:extLst>
                  <a:ext uri="{FF2B5EF4-FFF2-40B4-BE49-F238E27FC236}">
                    <a16:creationId xmlns:a16="http://schemas.microsoft.com/office/drawing/2014/main" id="{D322BF32-0FEE-411F-A9F6-E36C7A89E0C9}"/>
                  </a:ext>
                </a:extLst>
              </p:cNvPr>
              <p:cNvSpPr>
                <a:spLocks noChangeArrowheads="1"/>
              </p:cNvSpPr>
              <p:nvPr/>
            </p:nvSpPr>
            <p:spPr bwMode="auto">
              <a:xfrm>
                <a:off x="307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03" name="Oval 2894">
                <a:extLst>
                  <a:ext uri="{FF2B5EF4-FFF2-40B4-BE49-F238E27FC236}">
                    <a16:creationId xmlns:a16="http://schemas.microsoft.com/office/drawing/2014/main" id="{B95E5DC4-5246-4D8A-B364-EC50865F0861}"/>
                  </a:ext>
                </a:extLst>
              </p:cNvPr>
              <p:cNvSpPr>
                <a:spLocks noChangeArrowheads="1"/>
              </p:cNvSpPr>
              <p:nvPr/>
            </p:nvSpPr>
            <p:spPr bwMode="auto">
              <a:xfrm>
                <a:off x="310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04" name="Oval 2895">
                <a:extLst>
                  <a:ext uri="{FF2B5EF4-FFF2-40B4-BE49-F238E27FC236}">
                    <a16:creationId xmlns:a16="http://schemas.microsoft.com/office/drawing/2014/main" id="{E1F12BC7-0953-43F7-A49C-43C956C7F7AD}"/>
                  </a:ext>
                </a:extLst>
              </p:cNvPr>
              <p:cNvSpPr>
                <a:spLocks noChangeArrowheads="1"/>
              </p:cNvSpPr>
              <p:nvPr/>
            </p:nvSpPr>
            <p:spPr bwMode="auto">
              <a:xfrm>
                <a:off x="30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05" name="Oval 2896">
                <a:extLst>
                  <a:ext uri="{FF2B5EF4-FFF2-40B4-BE49-F238E27FC236}">
                    <a16:creationId xmlns:a16="http://schemas.microsoft.com/office/drawing/2014/main" id="{E48B5825-A428-4528-8CCA-DED2D471BBA2}"/>
                  </a:ext>
                </a:extLst>
              </p:cNvPr>
              <p:cNvSpPr>
                <a:spLocks noChangeArrowheads="1"/>
              </p:cNvSpPr>
              <p:nvPr/>
            </p:nvSpPr>
            <p:spPr bwMode="auto">
              <a:xfrm>
                <a:off x="295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06" name="Oval 2897">
                <a:extLst>
                  <a:ext uri="{FF2B5EF4-FFF2-40B4-BE49-F238E27FC236}">
                    <a16:creationId xmlns:a16="http://schemas.microsoft.com/office/drawing/2014/main" id="{36C588A5-375A-4BD9-B273-011DBA7AC8D2}"/>
                  </a:ext>
                </a:extLst>
              </p:cNvPr>
              <p:cNvSpPr>
                <a:spLocks noChangeArrowheads="1"/>
              </p:cNvSpPr>
              <p:nvPr/>
            </p:nvSpPr>
            <p:spPr bwMode="auto">
              <a:xfrm>
                <a:off x="292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07" name="Oval 2898">
                <a:extLst>
                  <a:ext uri="{FF2B5EF4-FFF2-40B4-BE49-F238E27FC236}">
                    <a16:creationId xmlns:a16="http://schemas.microsoft.com/office/drawing/2014/main" id="{BBE64F6D-54AA-4AFB-B7DE-8BA153CCC925}"/>
                  </a:ext>
                </a:extLst>
              </p:cNvPr>
              <p:cNvSpPr>
                <a:spLocks noChangeArrowheads="1"/>
              </p:cNvSpPr>
              <p:nvPr/>
            </p:nvSpPr>
            <p:spPr bwMode="auto">
              <a:xfrm>
                <a:off x="2835"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08" name="Oval 2899">
                <a:extLst>
                  <a:ext uri="{FF2B5EF4-FFF2-40B4-BE49-F238E27FC236}">
                    <a16:creationId xmlns:a16="http://schemas.microsoft.com/office/drawing/2014/main" id="{D504BCAD-831B-479A-80F1-7ADBE056C1F6}"/>
                  </a:ext>
                </a:extLst>
              </p:cNvPr>
              <p:cNvSpPr>
                <a:spLocks noChangeArrowheads="1"/>
              </p:cNvSpPr>
              <p:nvPr/>
            </p:nvSpPr>
            <p:spPr bwMode="auto">
              <a:xfrm>
                <a:off x="277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09" name="Oval 2900">
                <a:extLst>
                  <a:ext uri="{FF2B5EF4-FFF2-40B4-BE49-F238E27FC236}">
                    <a16:creationId xmlns:a16="http://schemas.microsoft.com/office/drawing/2014/main" id="{2421940F-5B94-49C4-91ED-48F21D10BF1D}"/>
                  </a:ext>
                </a:extLst>
              </p:cNvPr>
              <p:cNvSpPr>
                <a:spLocks noChangeArrowheads="1"/>
              </p:cNvSpPr>
              <p:nvPr/>
            </p:nvSpPr>
            <p:spPr bwMode="auto">
              <a:xfrm>
                <a:off x="271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10" name="Oval 2901">
                <a:extLst>
                  <a:ext uri="{FF2B5EF4-FFF2-40B4-BE49-F238E27FC236}">
                    <a16:creationId xmlns:a16="http://schemas.microsoft.com/office/drawing/2014/main" id="{C8EDA3E6-0112-4EB9-88D1-A10BA6F1425D}"/>
                  </a:ext>
                </a:extLst>
              </p:cNvPr>
              <p:cNvSpPr>
                <a:spLocks noChangeArrowheads="1"/>
              </p:cNvSpPr>
              <p:nvPr/>
            </p:nvSpPr>
            <p:spPr bwMode="auto">
              <a:xfrm>
                <a:off x="274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11" name="Oval 2902">
                <a:extLst>
                  <a:ext uri="{FF2B5EF4-FFF2-40B4-BE49-F238E27FC236}">
                    <a16:creationId xmlns:a16="http://schemas.microsoft.com/office/drawing/2014/main" id="{86D33BFE-B9CB-4E1A-ADB0-D13B7D8A512C}"/>
                  </a:ext>
                </a:extLst>
              </p:cNvPr>
              <p:cNvSpPr>
                <a:spLocks noChangeArrowheads="1"/>
              </p:cNvSpPr>
              <p:nvPr/>
            </p:nvSpPr>
            <p:spPr bwMode="auto">
              <a:xfrm>
                <a:off x="2805"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12" name="Oval 2903">
                <a:extLst>
                  <a:ext uri="{FF2B5EF4-FFF2-40B4-BE49-F238E27FC236}">
                    <a16:creationId xmlns:a16="http://schemas.microsoft.com/office/drawing/2014/main" id="{ED9FC8E5-D626-4802-971F-EDD24E666179}"/>
                  </a:ext>
                </a:extLst>
              </p:cNvPr>
              <p:cNvSpPr>
                <a:spLocks noChangeArrowheads="1"/>
              </p:cNvSpPr>
              <p:nvPr/>
            </p:nvSpPr>
            <p:spPr bwMode="auto">
              <a:xfrm>
                <a:off x="27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13" name="Oval 2904">
                <a:extLst>
                  <a:ext uri="{FF2B5EF4-FFF2-40B4-BE49-F238E27FC236}">
                    <a16:creationId xmlns:a16="http://schemas.microsoft.com/office/drawing/2014/main" id="{F359FB28-3542-4CB2-A167-57FF1B45866C}"/>
                  </a:ext>
                </a:extLst>
              </p:cNvPr>
              <p:cNvSpPr>
                <a:spLocks noChangeArrowheads="1"/>
              </p:cNvSpPr>
              <p:nvPr/>
            </p:nvSpPr>
            <p:spPr bwMode="auto">
              <a:xfrm>
                <a:off x="2745"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14" name="Oval 2905">
                <a:extLst>
                  <a:ext uri="{FF2B5EF4-FFF2-40B4-BE49-F238E27FC236}">
                    <a16:creationId xmlns:a16="http://schemas.microsoft.com/office/drawing/2014/main" id="{908A61E3-3F4D-4A92-9966-85BB24342E9D}"/>
                  </a:ext>
                </a:extLst>
              </p:cNvPr>
              <p:cNvSpPr>
                <a:spLocks noChangeArrowheads="1"/>
              </p:cNvSpPr>
              <p:nvPr/>
            </p:nvSpPr>
            <p:spPr bwMode="auto">
              <a:xfrm>
                <a:off x="25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15" name="Oval 2906">
                <a:extLst>
                  <a:ext uri="{FF2B5EF4-FFF2-40B4-BE49-F238E27FC236}">
                    <a16:creationId xmlns:a16="http://schemas.microsoft.com/office/drawing/2014/main" id="{FB69BFB2-F81E-4A46-BC06-E8D832B4CCB7}"/>
                  </a:ext>
                </a:extLst>
              </p:cNvPr>
              <p:cNvSpPr>
                <a:spLocks noChangeArrowheads="1"/>
              </p:cNvSpPr>
              <p:nvPr/>
            </p:nvSpPr>
            <p:spPr bwMode="auto">
              <a:xfrm>
                <a:off x="259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16" name="Oval 2907">
                <a:extLst>
                  <a:ext uri="{FF2B5EF4-FFF2-40B4-BE49-F238E27FC236}">
                    <a16:creationId xmlns:a16="http://schemas.microsoft.com/office/drawing/2014/main" id="{E10DCC3B-FA60-4916-9780-EA59DCA3E712}"/>
                  </a:ext>
                </a:extLst>
              </p:cNvPr>
              <p:cNvSpPr>
                <a:spLocks noChangeArrowheads="1"/>
              </p:cNvSpPr>
              <p:nvPr/>
            </p:nvSpPr>
            <p:spPr bwMode="auto">
              <a:xfrm>
                <a:off x="262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17" name="Oval 2908">
                <a:extLst>
                  <a:ext uri="{FF2B5EF4-FFF2-40B4-BE49-F238E27FC236}">
                    <a16:creationId xmlns:a16="http://schemas.microsoft.com/office/drawing/2014/main" id="{FD9AC08C-D289-45AD-BD2F-46962A0C3684}"/>
                  </a:ext>
                </a:extLst>
              </p:cNvPr>
              <p:cNvSpPr>
                <a:spLocks noChangeArrowheads="1"/>
              </p:cNvSpPr>
              <p:nvPr/>
            </p:nvSpPr>
            <p:spPr bwMode="auto">
              <a:xfrm>
                <a:off x="2655"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18" name="Oval 2909">
                <a:extLst>
                  <a:ext uri="{FF2B5EF4-FFF2-40B4-BE49-F238E27FC236}">
                    <a16:creationId xmlns:a16="http://schemas.microsoft.com/office/drawing/2014/main" id="{C78302BA-115A-4ECE-975F-6B1049C69CEC}"/>
                  </a:ext>
                </a:extLst>
              </p:cNvPr>
              <p:cNvSpPr>
                <a:spLocks noChangeArrowheads="1"/>
              </p:cNvSpPr>
              <p:nvPr/>
            </p:nvSpPr>
            <p:spPr bwMode="auto">
              <a:xfrm>
                <a:off x="271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19" name="Oval 2910">
                <a:extLst>
                  <a:ext uri="{FF2B5EF4-FFF2-40B4-BE49-F238E27FC236}">
                    <a16:creationId xmlns:a16="http://schemas.microsoft.com/office/drawing/2014/main" id="{93EADD7A-E1AE-41CB-A954-80765932547F}"/>
                  </a:ext>
                </a:extLst>
              </p:cNvPr>
              <p:cNvSpPr>
                <a:spLocks noChangeArrowheads="1"/>
              </p:cNvSpPr>
              <p:nvPr/>
            </p:nvSpPr>
            <p:spPr bwMode="auto">
              <a:xfrm>
                <a:off x="262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20" name="Oval 2911">
                <a:extLst>
                  <a:ext uri="{FF2B5EF4-FFF2-40B4-BE49-F238E27FC236}">
                    <a16:creationId xmlns:a16="http://schemas.microsoft.com/office/drawing/2014/main" id="{C631353E-68CD-4924-93FF-30CCC30EFBCF}"/>
                  </a:ext>
                </a:extLst>
              </p:cNvPr>
              <p:cNvSpPr>
                <a:spLocks noChangeArrowheads="1"/>
              </p:cNvSpPr>
              <p:nvPr/>
            </p:nvSpPr>
            <p:spPr bwMode="auto">
              <a:xfrm>
                <a:off x="256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21" name="Oval 2912">
                <a:extLst>
                  <a:ext uri="{FF2B5EF4-FFF2-40B4-BE49-F238E27FC236}">
                    <a16:creationId xmlns:a16="http://schemas.microsoft.com/office/drawing/2014/main" id="{7BE88486-A027-4C1A-ADC2-18B0640B1502}"/>
                  </a:ext>
                </a:extLst>
              </p:cNvPr>
              <p:cNvSpPr>
                <a:spLocks noChangeArrowheads="1"/>
              </p:cNvSpPr>
              <p:nvPr/>
            </p:nvSpPr>
            <p:spPr bwMode="auto">
              <a:xfrm>
                <a:off x="27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22" name="Oval 2913">
                <a:extLst>
                  <a:ext uri="{FF2B5EF4-FFF2-40B4-BE49-F238E27FC236}">
                    <a16:creationId xmlns:a16="http://schemas.microsoft.com/office/drawing/2014/main" id="{E87554F1-66E3-4332-A97E-076FE957A3D6}"/>
                  </a:ext>
                </a:extLst>
              </p:cNvPr>
              <p:cNvSpPr>
                <a:spLocks noChangeArrowheads="1"/>
              </p:cNvSpPr>
              <p:nvPr/>
            </p:nvSpPr>
            <p:spPr bwMode="auto">
              <a:xfrm>
                <a:off x="265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23" name="Oval 2914">
                <a:extLst>
                  <a:ext uri="{FF2B5EF4-FFF2-40B4-BE49-F238E27FC236}">
                    <a16:creationId xmlns:a16="http://schemas.microsoft.com/office/drawing/2014/main" id="{10818E67-D711-4C6C-8AEF-099DC7C4CAC5}"/>
                  </a:ext>
                </a:extLst>
              </p:cNvPr>
              <p:cNvSpPr>
                <a:spLocks noChangeArrowheads="1"/>
              </p:cNvSpPr>
              <p:nvPr/>
            </p:nvSpPr>
            <p:spPr bwMode="auto">
              <a:xfrm>
                <a:off x="25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24" name="Oval 2915">
                <a:extLst>
                  <a:ext uri="{FF2B5EF4-FFF2-40B4-BE49-F238E27FC236}">
                    <a16:creationId xmlns:a16="http://schemas.microsoft.com/office/drawing/2014/main" id="{AF4522B3-9628-4091-B2F8-70C96087FB7C}"/>
                  </a:ext>
                </a:extLst>
              </p:cNvPr>
              <p:cNvSpPr>
                <a:spLocks noChangeArrowheads="1"/>
              </p:cNvSpPr>
              <p:nvPr/>
            </p:nvSpPr>
            <p:spPr bwMode="auto">
              <a:xfrm>
                <a:off x="2805"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25" name="Oval 2916">
                <a:extLst>
                  <a:ext uri="{FF2B5EF4-FFF2-40B4-BE49-F238E27FC236}">
                    <a16:creationId xmlns:a16="http://schemas.microsoft.com/office/drawing/2014/main" id="{0D7519BC-0E92-4520-8241-D8F8DCE65373}"/>
                  </a:ext>
                </a:extLst>
              </p:cNvPr>
              <p:cNvSpPr>
                <a:spLocks noChangeArrowheads="1"/>
              </p:cNvSpPr>
              <p:nvPr/>
            </p:nvSpPr>
            <p:spPr bwMode="auto">
              <a:xfrm>
                <a:off x="307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26" name="Oval 2917">
                <a:extLst>
                  <a:ext uri="{FF2B5EF4-FFF2-40B4-BE49-F238E27FC236}">
                    <a16:creationId xmlns:a16="http://schemas.microsoft.com/office/drawing/2014/main" id="{3490953F-E176-404B-B0BB-A199FB53B295}"/>
                  </a:ext>
                </a:extLst>
              </p:cNvPr>
              <p:cNvSpPr>
                <a:spLocks noChangeArrowheads="1"/>
              </p:cNvSpPr>
              <p:nvPr/>
            </p:nvSpPr>
            <p:spPr bwMode="auto">
              <a:xfrm>
                <a:off x="301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27" name="Oval 2918">
                <a:extLst>
                  <a:ext uri="{FF2B5EF4-FFF2-40B4-BE49-F238E27FC236}">
                    <a16:creationId xmlns:a16="http://schemas.microsoft.com/office/drawing/2014/main" id="{F0FB05B2-2EE8-46F4-A528-38BF6EB50BA7}"/>
                  </a:ext>
                </a:extLst>
              </p:cNvPr>
              <p:cNvSpPr>
                <a:spLocks noChangeArrowheads="1"/>
              </p:cNvSpPr>
              <p:nvPr/>
            </p:nvSpPr>
            <p:spPr bwMode="auto">
              <a:xfrm>
                <a:off x="289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28" name="Oval 2919">
                <a:extLst>
                  <a:ext uri="{FF2B5EF4-FFF2-40B4-BE49-F238E27FC236}">
                    <a16:creationId xmlns:a16="http://schemas.microsoft.com/office/drawing/2014/main" id="{EA2D072E-D6C6-45F3-AEEB-8406A386372E}"/>
                  </a:ext>
                </a:extLst>
              </p:cNvPr>
              <p:cNvSpPr>
                <a:spLocks noChangeArrowheads="1"/>
              </p:cNvSpPr>
              <p:nvPr/>
            </p:nvSpPr>
            <p:spPr bwMode="auto">
              <a:xfrm>
                <a:off x="274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29" name="Oval 2920">
                <a:extLst>
                  <a:ext uri="{FF2B5EF4-FFF2-40B4-BE49-F238E27FC236}">
                    <a16:creationId xmlns:a16="http://schemas.microsoft.com/office/drawing/2014/main" id="{AA18448D-5795-4562-B98B-E5F51927A20C}"/>
                  </a:ext>
                </a:extLst>
              </p:cNvPr>
              <p:cNvSpPr>
                <a:spLocks noChangeArrowheads="1"/>
              </p:cNvSpPr>
              <p:nvPr/>
            </p:nvSpPr>
            <p:spPr bwMode="auto">
              <a:xfrm>
                <a:off x="259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30" name="Oval 2921">
                <a:extLst>
                  <a:ext uri="{FF2B5EF4-FFF2-40B4-BE49-F238E27FC236}">
                    <a16:creationId xmlns:a16="http://schemas.microsoft.com/office/drawing/2014/main" id="{23C259ED-3D44-4063-8810-316E13C2A55A}"/>
                  </a:ext>
                </a:extLst>
              </p:cNvPr>
              <p:cNvSpPr>
                <a:spLocks noChangeArrowheads="1"/>
              </p:cNvSpPr>
              <p:nvPr/>
            </p:nvSpPr>
            <p:spPr bwMode="auto">
              <a:xfrm>
                <a:off x="262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31" name="Oval 2922">
                <a:extLst>
                  <a:ext uri="{FF2B5EF4-FFF2-40B4-BE49-F238E27FC236}">
                    <a16:creationId xmlns:a16="http://schemas.microsoft.com/office/drawing/2014/main" id="{139CDA34-664B-44A2-A4DB-06FB08E08C9F}"/>
                  </a:ext>
                </a:extLst>
              </p:cNvPr>
              <p:cNvSpPr>
                <a:spLocks noChangeArrowheads="1"/>
              </p:cNvSpPr>
              <p:nvPr/>
            </p:nvSpPr>
            <p:spPr bwMode="auto">
              <a:xfrm>
                <a:off x="2955" y="3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32" name="Oval 2923">
                <a:extLst>
                  <a:ext uri="{FF2B5EF4-FFF2-40B4-BE49-F238E27FC236}">
                    <a16:creationId xmlns:a16="http://schemas.microsoft.com/office/drawing/2014/main" id="{DD27D70B-7C4F-45C7-B245-C398F413D4CD}"/>
                  </a:ext>
                </a:extLst>
              </p:cNvPr>
              <p:cNvSpPr>
                <a:spLocks noChangeArrowheads="1"/>
              </p:cNvSpPr>
              <p:nvPr/>
            </p:nvSpPr>
            <p:spPr bwMode="auto">
              <a:xfrm>
                <a:off x="304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33" name="Oval 2924">
                <a:extLst>
                  <a:ext uri="{FF2B5EF4-FFF2-40B4-BE49-F238E27FC236}">
                    <a16:creationId xmlns:a16="http://schemas.microsoft.com/office/drawing/2014/main" id="{45626ADB-1F1F-40B1-B4F6-79EEEAC6639B}"/>
                  </a:ext>
                </a:extLst>
              </p:cNvPr>
              <p:cNvSpPr>
                <a:spLocks noChangeArrowheads="1"/>
              </p:cNvSpPr>
              <p:nvPr/>
            </p:nvSpPr>
            <p:spPr bwMode="auto">
              <a:xfrm>
                <a:off x="286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34" name="Oval 2925">
                <a:extLst>
                  <a:ext uri="{FF2B5EF4-FFF2-40B4-BE49-F238E27FC236}">
                    <a16:creationId xmlns:a16="http://schemas.microsoft.com/office/drawing/2014/main" id="{298B77E5-9331-4F91-9A01-95DA4D59D465}"/>
                  </a:ext>
                </a:extLst>
              </p:cNvPr>
              <p:cNvSpPr>
                <a:spLocks noChangeArrowheads="1"/>
              </p:cNvSpPr>
              <p:nvPr/>
            </p:nvSpPr>
            <p:spPr bwMode="auto">
              <a:xfrm>
                <a:off x="274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35" name="Oval 2926">
                <a:extLst>
                  <a:ext uri="{FF2B5EF4-FFF2-40B4-BE49-F238E27FC236}">
                    <a16:creationId xmlns:a16="http://schemas.microsoft.com/office/drawing/2014/main" id="{6F591789-3901-482E-A2B1-EC84F1477A0A}"/>
                  </a:ext>
                </a:extLst>
              </p:cNvPr>
              <p:cNvSpPr>
                <a:spLocks noChangeArrowheads="1"/>
              </p:cNvSpPr>
              <p:nvPr/>
            </p:nvSpPr>
            <p:spPr bwMode="auto">
              <a:xfrm>
                <a:off x="283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36" name="Oval 2927">
                <a:extLst>
                  <a:ext uri="{FF2B5EF4-FFF2-40B4-BE49-F238E27FC236}">
                    <a16:creationId xmlns:a16="http://schemas.microsoft.com/office/drawing/2014/main" id="{92783266-F533-43A5-8C3C-4190F0EED971}"/>
                  </a:ext>
                </a:extLst>
              </p:cNvPr>
              <p:cNvSpPr>
                <a:spLocks noChangeArrowheads="1"/>
              </p:cNvSpPr>
              <p:nvPr/>
            </p:nvSpPr>
            <p:spPr bwMode="auto">
              <a:xfrm>
                <a:off x="277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37" name="Oval 2928">
                <a:extLst>
                  <a:ext uri="{FF2B5EF4-FFF2-40B4-BE49-F238E27FC236}">
                    <a16:creationId xmlns:a16="http://schemas.microsoft.com/office/drawing/2014/main" id="{4DBD4FAD-4274-4084-BF1B-ACE320F8CEA1}"/>
                  </a:ext>
                </a:extLst>
              </p:cNvPr>
              <p:cNvSpPr>
                <a:spLocks noChangeArrowheads="1"/>
              </p:cNvSpPr>
              <p:nvPr/>
            </p:nvSpPr>
            <p:spPr bwMode="auto">
              <a:xfrm>
                <a:off x="301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38" name="Oval 2929">
                <a:extLst>
                  <a:ext uri="{FF2B5EF4-FFF2-40B4-BE49-F238E27FC236}">
                    <a16:creationId xmlns:a16="http://schemas.microsoft.com/office/drawing/2014/main" id="{C0A9DE48-427F-41AB-8962-EF0866E14C07}"/>
                  </a:ext>
                </a:extLst>
              </p:cNvPr>
              <p:cNvSpPr>
                <a:spLocks noChangeArrowheads="1"/>
              </p:cNvSpPr>
              <p:nvPr/>
            </p:nvSpPr>
            <p:spPr bwMode="auto">
              <a:xfrm>
                <a:off x="3015"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39" name="Oval 2930">
                <a:extLst>
                  <a:ext uri="{FF2B5EF4-FFF2-40B4-BE49-F238E27FC236}">
                    <a16:creationId xmlns:a16="http://schemas.microsoft.com/office/drawing/2014/main" id="{F5FBC60B-B5A6-4A63-B235-C32469EB5534}"/>
                  </a:ext>
                </a:extLst>
              </p:cNvPr>
              <p:cNvSpPr>
                <a:spLocks noChangeArrowheads="1"/>
              </p:cNvSpPr>
              <p:nvPr/>
            </p:nvSpPr>
            <p:spPr bwMode="auto">
              <a:xfrm>
                <a:off x="283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40" name="Oval 2931">
                <a:extLst>
                  <a:ext uri="{FF2B5EF4-FFF2-40B4-BE49-F238E27FC236}">
                    <a16:creationId xmlns:a16="http://schemas.microsoft.com/office/drawing/2014/main" id="{8580DABD-3E38-4F35-9FF5-DDB4400D4833}"/>
                  </a:ext>
                </a:extLst>
              </p:cNvPr>
              <p:cNvSpPr>
                <a:spLocks noChangeArrowheads="1"/>
              </p:cNvSpPr>
              <p:nvPr/>
            </p:nvSpPr>
            <p:spPr bwMode="auto">
              <a:xfrm>
                <a:off x="274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41" name="Oval 2932">
                <a:extLst>
                  <a:ext uri="{FF2B5EF4-FFF2-40B4-BE49-F238E27FC236}">
                    <a16:creationId xmlns:a16="http://schemas.microsoft.com/office/drawing/2014/main" id="{3AD543BF-F288-4D35-B46A-12E60477D0D1}"/>
                  </a:ext>
                </a:extLst>
              </p:cNvPr>
              <p:cNvSpPr>
                <a:spLocks noChangeArrowheads="1"/>
              </p:cNvSpPr>
              <p:nvPr/>
            </p:nvSpPr>
            <p:spPr bwMode="auto">
              <a:xfrm>
                <a:off x="25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42" name="Oval 2933">
                <a:extLst>
                  <a:ext uri="{FF2B5EF4-FFF2-40B4-BE49-F238E27FC236}">
                    <a16:creationId xmlns:a16="http://schemas.microsoft.com/office/drawing/2014/main" id="{02A676AE-377F-42EE-BAED-23F39393CB6A}"/>
                  </a:ext>
                </a:extLst>
              </p:cNvPr>
              <p:cNvSpPr>
                <a:spLocks noChangeArrowheads="1"/>
              </p:cNvSpPr>
              <p:nvPr/>
            </p:nvSpPr>
            <p:spPr bwMode="auto">
              <a:xfrm>
                <a:off x="24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43" name="Oval 2934">
                <a:extLst>
                  <a:ext uri="{FF2B5EF4-FFF2-40B4-BE49-F238E27FC236}">
                    <a16:creationId xmlns:a16="http://schemas.microsoft.com/office/drawing/2014/main" id="{D1F1B4EE-C4C5-4A5B-86E7-BEC1CC6D51D3}"/>
                  </a:ext>
                </a:extLst>
              </p:cNvPr>
              <p:cNvSpPr>
                <a:spLocks noChangeArrowheads="1"/>
              </p:cNvSpPr>
              <p:nvPr/>
            </p:nvSpPr>
            <p:spPr bwMode="auto">
              <a:xfrm>
                <a:off x="238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44" name="Oval 2935">
                <a:extLst>
                  <a:ext uri="{FF2B5EF4-FFF2-40B4-BE49-F238E27FC236}">
                    <a16:creationId xmlns:a16="http://schemas.microsoft.com/office/drawing/2014/main" id="{6F87A672-022D-4F4F-A75A-D60F2E489568}"/>
                  </a:ext>
                </a:extLst>
              </p:cNvPr>
              <p:cNvSpPr>
                <a:spLocks noChangeArrowheads="1"/>
              </p:cNvSpPr>
              <p:nvPr/>
            </p:nvSpPr>
            <p:spPr bwMode="auto">
              <a:xfrm>
                <a:off x="256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45" name="Oval 2936">
                <a:extLst>
                  <a:ext uri="{FF2B5EF4-FFF2-40B4-BE49-F238E27FC236}">
                    <a16:creationId xmlns:a16="http://schemas.microsoft.com/office/drawing/2014/main" id="{D8984A34-68F0-41A5-B46C-D1F41D25033A}"/>
                  </a:ext>
                </a:extLst>
              </p:cNvPr>
              <p:cNvSpPr>
                <a:spLocks noChangeArrowheads="1"/>
              </p:cNvSpPr>
              <p:nvPr/>
            </p:nvSpPr>
            <p:spPr bwMode="auto">
              <a:xfrm>
                <a:off x="232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46" name="Oval 2937">
                <a:extLst>
                  <a:ext uri="{FF2B5EF4-FFF2-40B4-BE49-F238E27FC236}">
                    <a16:creationId xmlns:a16="http://schemas.microsoft.com/office/drawing/2014/main" id="{BB40DEC9-0B76-4183-A606-711EDDEF9F38}"/>
                  </a:ext>
                </a:extLst>
              </p:cNvPr>
              <p:cNvSpPr>
                <a:spLocks noChangeArrowheads="1"/>
              </p:cNvSpPr>
              <p:nvPr/>
            </p:nvSpPr>
            <p:spPr bwMode="auto">
              <a:xfrm>
                <a:off x="250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47" name="Oval 2938">
                <a:extLst>
                  <a:ext uri="{FF2B5EF4-FFF2-40B4-BE49-F238E27FC236}">
                    <a16:creationId xmlns:a16="http://schemas.microsoft.com/office/drawing/2014/main" id="{AC589DD6-2B2B-4565-B342-49EC62FED84A}"/>
                  </a:ext>
                </a:extLst>
              </p:cNvPr>
              <p:cNvSpPr>
                <a:spLocks noChangeArrowheads="1"/>
              </p:cNvSpPr>
              <p:nvPr/>
            </p:nvSpPr>
            <p:spPr bwMode="auto">
              <a:xfrm>
                <a:off x="238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48" name="Oval 2939">
                <a:extLst>
                  <a:ext uri="{FF2B5EF4-FFF2-40B4-BE49-F238E27FC236}">
                    <a16:creationId xmlns:a16="http://schemas.microsoft.com/office/drawing/2014/main" id="{F829549F-F2BE-4BB9-8B0C-828C49D31A5C}"/>
                  </a:ext>
                </a:extLst>
              </p:cNvPr>
              <p:cNvSpPr>
                <a:spLocks noChangeArrowheads="1"/>
              </p:cNvSpPr>
              <p:nvPr/>
            </p:nvSpPr>
            <p:spPr bwMode="auto">
              <a:xfrm>
                <a:off x="244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49" name="Oval 2940">
                <a:extLst>
                  <a:ext uri="{FF2B5EF4-FFF2-40B4-BE49-F238E27FC236}">
                    <a16:creationId xmlns:a16="http://schemas.microsoft.com/office/drawing/2014/main" id="{4B3B6947-F4AB-4D53-BC65-92DCA034AC9E}"/>
                  </a:ext>
                </a:extLst>
              </p:cNvPr>
              <p:cNvSpPr>
                <a:spLocks noChangeArrowheads="1"/>
              </p:cNvSpPr>
              <p:nvPr/>
            </p:nvSpPr>
            <p:spPr bwMode="auto">
              <a:xfrm>
                <a:off x="250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50" name="Oval 2941">
                <a:extLst>
                  <a:ext uri="{FF2B5EF4-FFF2-40B4-BE49-F238E27FC236}">
                    <a16:creationId xmlns:a16="http://schemas.microsoft.com/office/drawing/2014/main" id="{75AE08F0-B66F-4659-8E4B-33663CF7ED48}"/>
                  </a:ext>
                </a:extLst>
              </p:cNvPr>
              <p:cNvSpPr>
                <a:spLocks noChangeArrowheads="1"/>
              </p:cNvSpPr>
              <p:nvPr/>
            </p:nvSpPr>
            <p:spPr bwMode="auto">
              <a:xfrm>
                <a:off x="256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51" name="Oval 2942">
                <a:extLst>
                  <a:ext uri="{FF2B5EF4-FFF2-40B4-BE49-F238E27FC236}">
                    <a16:creationId xmlns:a16="http://schemas.microsoft.com/office/drawing/2014/main" id="{9BBEFD94-C246-4E4B-AFF0-CD04FB9FB7B7}"/>
                  </a:ext>
                </a:extLst>
              </p:cNvPr>
              <p:cNvSpPr>
                <a:spLocks noChangeArrowheads="1"/>
              </p:cNvSpPr>
              <p:nvPr/>
            </p:nvSpPr>
            <p:spPr bwMode="auto">
              <a:xfrm>
                <a:off x="244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52" name="Oval 2943">
                <a:extLst>
                  <a:ext uri="{FF2B5EF4-FFF2-40B4-BE49-F238E27FC236}">
                    <a16:creationId xmlns:a16="http://schemas.microsoft.com/office/drawing/2014/main" id="{5BF4AB5A-EEAD-4A78-8914-423590E777DF}"/>
                  </a:ext>
                </a:extLst>
              </p:cNvPr>
              <p:cNvSpPr>
                <a:spLocks noChangeArrowheads="1"/>
              </p:cNvSpPr>
              <p:nvPr/>
            </p:nvSpPr>
            <p:spPr bwMode="auto">
              <a:xfrm>
                <a:off x="238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53" name="Oval 2944">
                <a:extLst>
                  <a:ext uri="{FF2B5EF4-FFF2-40B4-BE49-F238E27FC236}">
                    <a16:creationId xmlns:a16="http://schemas.microsoft.com/office/drawing/2014/main" id="{E7B7B262-3A8C-43E4-BBD8-E84D7CABE4C3}"/>
                  </a:ext>
                </a:extLst>
              </p:cNvPr>
              <p:cNvSpPr>
                <a:spLocks noChangeArrowheads="1"/>
              </p:cNvSpPr>
              <p:nvPr/>
            </p:nvSpPr>
            <p:spPr bwMode="auto">
              <a:xfrm>
                <a:off x="238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54" name="Oval 2945">
                <a:extLst>
                  <a:ext uri="{FF2B5EF4-FFF2-40B4-BE49-F238E27FC236}">
                    <a16:creationId xmlns:a16="http://schemas.microsoft.com/office/drawing/2014/main" id="{EDB5F04B-AFDC-4419-A65D-1B5554F5E6C5}"/>
                  </a:ext>
                </a:extLst>
              </p:cNvPr>
              <p:cNvSpPr>
                <a:spLocks noChangeArrowheads="1"/>
              </p:cNvSpPr>
              <p:nvPr/>
            </p:nvSpPr>
            <p:spPr bwMode="auto">
              <a:xfrm>
                <a:off x="250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55" name="Oval 2946">
                <a:extLst>
                  <a:ext uri="{FF2B5EF4-FFF2-40B4-BE49-F238E27FC236}">
                    <a16:creationId xmlns:a16="http://schemas.microsoft.com/office/drawing/2014/main" id="{4248DD78-B065-44F8-A74C-CAB50F41246B}"/>
                  </a:ext>
                </a:extLst>
              </p:cNvPr>
              <p:cNvSpPr>
                <a:spLocks noChangeArrowheads="1"/>
              </p:cNvSpPr>
              <p:nvPr/>
            </p:nvSpPr>
            <p:spPr bwMode="auto">
              <a:xfrm>
                <a:off x="232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56" name="Oval 2947">
                <a:extLst>
                  <a:ext uri="{FF2B5EF4-FFF2-40B4-BE49-F238E27FC236}">
                    <a16:creationId xmlns:a16="http://schemas.microsoft.com/office/drawing/2014/main" id="{2EEF27A6-421F-4D2A-A086-3CD0618C34FB}"/>
                  </a:ext>
                </a:extLst>
              </p:cNvPr>
              <p:cNvSpPr>
                <a:spLocks noChangeArrowheads="1"/>
              </p:cNvSpPr>
              <p:nvPr/>
            </p:nvSpPr>
            <p:spPr bwMode="auto">
              <a:xfrm>
                <a:off x="247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57" name="Oval 2948">
                <a:extLst>
                  <a:ext uri="{FF2B5EF4-FFF2-40B4-BE49-F238E27FC236}">
                    <a16:creationId xmlns:a16="http://schemas.microsoft.com/office/drawing/2014/main" id="{96194F9C-591C-4A2A-B9D8-3F9F61EB3685}"/>
                  </a:ext>
                </a:extLst>
              </p:cNvPr>
              <p:cNvSpPr>
                <a:spLocks noChangeArrowheads="1"/>
              </p:cNvSpPr>
              <p:nvPr/>
            </p:nvSpPr>
            <p:spPr bwMode="auto">
              <a:xfrm>
                <a:off x="244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58" name="Oval 2949">
                <a:extLst>
                  <a:ext uri="{FF2B5EF4-FFF2-40B4-BE49-F238E27FC236}">
                    <a16:creationId xmlns:a16="http://schemas.microsoft.com/office/drawing/2014/main" id="{5023FF7E-BE81-4DCD-8A38-2B056F65B210}"/>
                  </a:ext>
                </a:extLst>
              </p:cNvPr>
              <p:cNvSpPr>
                <a:spLocks noChangeArrowheads="1"/>
              </p:cNvSpPr>
              <p:nvPr/>
            </p:nvSpPr>
            <p:spPr bwMode="auto">
              <a:xfrm>
                <a:off x="223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59" name="Oval 2950">
                <a:extLst>
                  <a:ext uri="{FF2B5EF4-FFF2-40B4-BE49-F238E27FC236}">
                    <a16:creationId xmlns:a16="http://schemas.microsoft.com/office/drawing/2014/main" id="{4B1E874A-AB47-48E2-B979-8133E40C1F36}"/>
                  </a:ext>
                </a:extLst>
              </p:cNvPr>
              <p:cNvSpPr>
                <a:spLocks noChangeArrowheads="1"/>
              </p:cNvSpPr>
              <p:nvPr/>
            </p:nvSpPr>
            <p:spPr bwMode="auto">
              <a:xfrm>
                <a:off x="223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60" name="Oval 2951">
                <a:extLst>
                  <a:ext uri="{FF2B5EF4-FFF2-40B4-BE49-F238E27FC236}">
                    <a16:creationId xmlns:a16="http://schemas.microsoft.com/office/drawing/2014/main" id="{B0D0BBD4-18B2-4378-8041-C40D75EC3712}"/>
                  </a:ext>
                </a:extLst>
              </p:cNvPr>
              <p:cNvSpPr>
                <a:spLocks noChangeArrowheads="1"/>
              </p:cNvSpPr>
              <p:nvPr/>
            </p:nvSpPr>
            <p:spPr bwMode="auto">
              <a:xfrm>
                <a:off x="235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61" name="Oval 2952">
                <a:extLst>
                  <a:ext uri="{FF2B5EF4-FFF2-40B4-BE49-F238E27FC236}">
                    <a16:creationId xmlns:a16="http://schemas.microsoft.com/office/drawing/2014/main" id="{AFAE9ABC-0507-406C-9330-B9EB354A4441}"/>
                  </a:ext>
                </a:extLst>
              </p:cNvPr>
              <p:cNvSpPr>
                <a:spLocks noChangeArrowheads="1"/>
              </p:cNvSpPr>
              <p:nvPr/>
            </p:nvSpPr>
            <p:spPr bwMode="auto">
              <a:xfrm>
                <a:off x="244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62" name="Oval 2953">
                <a:extLst>
                  <a:ext uri="{FF2B5EF4-FFF2-40B4-BE49-F238E27FC236}">
                    <a16:creationId xmlns:a16="http://schemas.microsoft.com/office/drawing/2014/main" id="{560FDE4A-E135-4306-BAF1-278B18B6C014}"/>
                  </a:ext>
                </a:extLst>
              </p:cNvPr>
              <p:cNvSpPr>
                <a:spLocks noChangeArrowheads="1"/>
              </p:cNvSpPr>
              <p:nvPr/>
            </p:nvSpPr>
            <p:spPr bwMode="auto">
              <a:xfrm>
                <a:off x="250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63" name="Oval 2954">
                <a:extLst>
                  <a:ext uri="{FF2B5EF4-FFF2-40B4-BE49-F238E27FC236}">
                    <a16:creationId xmlns:a16="http://schemas.microsoft.com/office/drawing/2014/main" id="{9291E4A4-ABBC-4346-8083-E51324B02EC4}"/>
                  </a:ext>
                </a:extLst>
              </p:cNvPr>
              <p:cNvSpPr>
                <a:spLocks noChangeArrowheads="1"/>
              </p:cNvSpPr>
              <p:nvPr/>
            </p:nvSpPr>
            <p:spPr bwMode="auto">
              <a:xfrm>
                <a:off x="247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64" name="Oval 2955">
                <a:extLst>
                  <a:ext uri="{FF2B5EF4-FFF2-40B4-BE49-F238E27FC236}">
                    <a16:creationId xmlns:a16="http://schemas.microsoft.com/office/drawing/2014/main" id="{8C3D7A7F-921A-4743-91B6-84A97359C38A}"/>
                  </a:ext>
                </a:extLst>
              </p:cNvPr>
              <p:cNvSpPr>
                <a:spLocks noChangeArrowheads="1"/>
              </p:cNvSpPr>
              <p:nvPr/>
            </p:nvSpPr>
            <p:spPr bwMode="auto">
              <a:xfrm>
                <a:off x="235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65" name="Oval 2956">
                <a:extLst>
                  <a:ext uri="{FF2B5EF4-FFF2-40B4-BE49-F238E27FC236}">
                    <a16:creationId xmlns:a16="http://schemas.microsoft.com/office/drawing/2014/main" id="{4248B621-6F0B-4EE2-A867-CC7F12AB6697}"/>
                  </a:ext>
                </a:extLst>
              </p:cNvPr>
              <p:cNvSpPr>
                <a:spLocks noChangeArrowheads="1"/>
              </p:cNvSpPr>
              <p:nvPr/>
            </p:nvSpPr>
            <p:spPr bwMode="auto">
              <a:xfrm>
                <a:off x="229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66" name="Oval 2957">
                <a:extLst>
                  <a:ext uri="{FF2B5EF4-FFF2-40B4-BE49-F238E27FC236}">
                    <a16:creationId xmlns:a16="http://schemas.microsoft.com/office/drawing/2014/main" id="{EF1519CC-DA48-49C3-BDA1-B261CF84C11B}"/>
                  </a:ext>
                </a:extLst>
              </p:cNvPr>
              <p:cNvSpPr>
                <a:spLocks noChangeArrowheads="1"/>
              </p:cNvSpPr>
              <p:nvPr/>
            </p:nvSpPr>
            <p:spPr bwMode="auto">
              <a:xfrm>
                <a:off x="223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67" name="Oval 2958">
                <a:extLst>
                  <a:ext uri="{FF2B5EF4-FFF2-40B4-BE49-F238E27FC236}">
                    <a16:creationId xmlns:a16="http://schemas.microsoft.com/office/drawing/2014/main" id="{3A65BF1B-D4A3-4695-B20F-070046F9C150}"/>
                  </a:ext>
                </a:extLst>
              </p:cNvPr>
              <p:cNvSpPr>
                <a:spLocks noChangeArrowheads="1"/>
              </p:cNvSpPr>
              <p:nvPr/>
            </p:nvSpPr>
            <p:spPr bwMode="auto">
              <a:xfrm>
                <a:off x="223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68" name="Oval 2959">
                <a:extLst>
                  <a:ext uri="{FF2B5EF4-FFF2-40B4-BE49-F238E27FC236}">
                    <a16:creationId xmlns:a16="http://schemas.microsoft.com/office/drawing/2014/main" id="{FAF6D771-4DA4-46DA-B8BA-B37182DFF690}"/>
                  </a:ext>
                </a:extLst>
              </p:cNvPr>
              <p:cNvSpPr>
                <a:spLocks noChangeArrowheads="1"/>
              </p:cNvSpPr>
              <p:nvPr/>
            </p:nvSpPr>
            <p:spPr bwMode="auto">
              <a:xfrm>
                <a:off x="211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69" name="Oval 2960">
                <a:extLst>
                  <a:ext uri="{FF2B5EF4-FFF2-40B4-BE49-F238E27FC236}">
                    <a16:creationId xmlns:a16="http://schemas.microsoft.com/office/drawing/2014/main" id="{57C175A7-63FC-423C-A3B5-A911C6954EF2}"/>
                  </a:ext>
                </a:extLst>
              </p:cNvPr>
              <p:cNvSpPr>
                <a:spLocks noChangeArrowheads="1"/>
              </p:cNvSpPr>
              <p:nvPr/>
            </p:nvSpPr>
            <p:spPr bwMode="auto">
              <a:xfrm>
                <a:off x="21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70" name="Oval 2961">
                <a:extLst>
                  <a:ext uri="{FF2B5EF4-FFF2-40B4-BE49-F238E27FC236}">
                    <a16:creationId xmlns:a16="http://schemas.microsoft.com/office/drawing/2014/main" id="{2AAD92E5-CAE6-4360-9382-FE0D0044553D}"/>
                  </a:ext>
                </a:extLst>
              </p:cNvPr>
              <p:cNvSpPr>
                <a:spLocks noChangeArrowheads="1"/>
              </p:cNvSpPr>
              <p:nvPr/>
            </p:nvSpPr>
            <p:spPr bwMode="auto">
              <a:xfrm>
                <a:off x="238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71" name="Oval 2962">
                <a:extLst>
                  <a:ext uri="{FF2B5EF4-FFF2-40B4-BE49-F238E27FC236}">
                    <a16:creationId xmlns:a16="http://schemas.microsoft.com/office/drawing/2014/main" id="{2E77C209-7EE6-468E-8785-175B3E0F7E52}"/>
                  </a:ext>
                </a:extLst>
              </p:cNvPr>
              <p:cNvSpPr>
                <a:spLocks noChangeArrowheads="1"/>
              </p:cNvSpPr>
              <p:nvPr/>
            </p:nvSpPr>
            <p:spPr bwMode="auto">
              <a:xfrm>
                <a:off x="238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72" name="Oval 2963">
                <a:extLst>
                  <a:ext uri="{FF2B5EF4-FFF2-40B4-BE49-F238E27FC236}">
                    <a16:creationId xmlns:a16="http://schemas.microsoft.com/office/drawing/2014/main" id="{F7402052-359B-4268-A8C2-A8FFC477B9C1}"/>
                  </a:ext>
                </a:extLst>
              </p:cNvPr>
              <p:cNvSpPr>
                <a:spLocks noChangeArrowheads="1"/>
              </p:cNvSpPr>
              <p:nvPr/>
            </p:nvSpPr>
            <p:spPr bwMode="auto">
              <a:xfrm>
                <a:off x="226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73" name="Oval 2964">
                <a:extLst>
                  <a:ext uri="{FF2B5EF4-FFF2-40B4-BE49-F238E27FC236}">
                    <a16:creationId xmlns:a16="http://schemas.microsoft.com/office/drawing/2014/main" id="{2DB17923-39CA-40B6-9A4A-43062227407F}"/>
                  </a:ext>
                </a:extLst>
              </p:cNvPr>
              <p:cNvSpPr>
                <a:spLocks noChangeArrowheads="1"/>
              </p:cNvSpPr>
              <p:nvPr/>
            </p:nvSpPr>
            <p:spPr bwMode="auto">
              <a:xfrm>
                <a:off x="2145"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74" name="Oval 2965">
                <a:extLst>
                  <a:ext uri="{FF2B5EF4-FFF2-40B4-BE49-F238E27FC236}">
                    <a16:creationId xmlns:a16="http://schemas.microsoft.com/office/drawing/2014/main" id="{928009B1-DDE3-4AD5-A924-04DD98FD0945}"/>
                  </a:ext>
                </a:extLst>
              </p:cNvPr>
              <p:cNvSpPr>
                <a:spLocks noChangeArrowheads="1"/>
              </p:cNvSpPr>
              <p:nvPr/>
            </p:nvSpPr>
            <p:spPr bwMode="auto">
              <a:xfrm>
                <a:off x="2056" y="30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75" name="Oval 2966">
                <a:extLst>
                  <a:ext uri="{FF2B5EF4-FFF2-40B4-BE49-F238E27FC236}">
                    <a16:creationId xmlns:a16="http://schemas.microsoft.com/office/drawing/2014/main" id="{417302F4-2475-4E4A-B3C2-F31DB0C84811}"/>
                  </a:ext>
                </a:extLst>
              </p:cNvPr>
              <p:cNvSpPr>
                <a:spLocks noChangeArrowheads="1"/>
              </p:cNvSpPr>
              <p:nvPr/>
            </p:nvSpPr>
            <p:spPr bwMode="auto">
              <a:xfrm>
                <a:off x="1966" y="28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76" name="Oval 2967">
                <a:extLst>
                  <a:ext uri="{FF2B5EF4-FFF2-40B4-BE49-F238E27FC236}">
                    <a16:creationId xmlns:a16="http://schemas.microsoft.com/office/drawing/2014/main" id="{439E8F78-75DF-4D30-BE54-AC9B98F9E05F}"/>
                  </a:ext>
                </a:extLst>
              </p:cNvPr>
              <p:cNvSpPr>
                <a:spLocks noChangeArrowheads="1"/>
              </p:cNvSpPr>
              <p:nvPr/>
            </p:nvSpPr>
            <p:spPr bwMode="auto">
              <a:xfrm>
                <a:off x="1966"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77" name="Oval 2968">
                <a:extLst>
                  <a:ext uri="{FF2B5EF4-FFF2-40B4-BE49-F238E27FC236}">
                    <a16:creationId xmlns:a16="http://schemas.microsoft.com/office/drawing/2014/main" id="{6CA48E93-94EF-4D7A-BCAB-C5F15F2195DB}"/>
                  </a:ext>
                </a:extLst>
              </p:cNvPr>
              <p:cNvSpPr>
                <a:spLocks noChangeArrowheads="1"/>
              </p:cNvSpPr>
              <p:nvPr/>
            </p:nvSpPr>
            <p:spPr bwMode="auto">
              <a:xfrm>
                <a:off x="2056" y="264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78" name="Oval 2969">
                <a:extLst>
                  <a:ext uri="{FF2B5EF4-FFF2-40B4-BE49-F238E27FC236}">
                    <a16:creationId xmlns:a16="http://schemas.microsoft.com/office/drawing/2014/main" id="{34C1C4D3-D295-4BD2-84AC-C961EDE5F5E9}"/>
                  </a:ext>
                </a:extLst>
              </p:cNvPr>
              <p:cNvSpPr>
                <a:spLocks noChangeArrowheads="1"/>
              </p:cNvSpPr>
              <p:nvPr/>
            </p:nvSpPr>
            <p:spPr bwMode="auto">
              <a:xfrm>
                <a:off x="211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79" name="Oval 2970">
                <a:extLst>
                  <a:ext uri="{FF2B5EF4-FFF2-40B4-BE49-F238E27FC236}">
                    <a16:creationId xmlns:a16="http://schemas.microsoft.com/office/drawing/2014/main" id="{662EA6A7-4375-458E-87AA-4F15F87700BA}"/>
                  </a:ext>
                </a:extLst>
              </p:cNvPr>
              <p:cNvSpPr>
                <a:spLocks noChangeArrowheads="1"/>
              </p:cNvSpPr>
              <p:nvPr/>
            </p:nvSpPr>
            <p:spPr bwMode="auto">
              <a:xfrm>
                <a:off x="196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80" name="Oval 2971">
                <a:extLst>
                  <a:ext uri="{FF2B5EF4-FFF2-40B4-BE49-F238E27FC236}">
                    <a16:creationId xmlns:a16="http://schemas.microsoft.com/office/drawing/2014/main" id="{78471533-4705-47CE-A66B-A2306AC01AFC}"/>
                  </a:ext>
                </a:extLst>
              </p:cNvPr>
              <p:cNvSpPr>
                <a:spLocks noChangeArrowheads="1"/>
              </p:cNvSpPr>
              <p:nvPr/>
            </p:nvSpPr>
            <p:spPr bwMode="auto">
              <a:xfrm>
                <a:off x="2056" y="24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81" name="Oval 2972">
                <a:extLst>
                  <a:ext uri="{FF2B5EF4-FFF2-40B4-BE49-F238E27FC236}">
                    <a16:creationId xmlns:a16="http://schemas.microsoft.com/office/drawing/2014/main" id="{9CFEDEAF-BF3D-4F52-9F00-1B75663FC3BF}"/>
                  </a:ext>
                </a:extLst>
              </p:cNvPr>
              <p:cNvSpPr>
                <a:spLocks noChangeArrowheads="1"/>
              </p:cNvSpPr>
              <p:nvPr/>
            </p:nvSpPr>
            <p:spPr bwMode="auto">
              <a:xfrm>
                <a:off x="21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82" name="Oval 2973">
                <a:extLst>
                  <a:ext uri="{FF2B5EF4-FFF2-40B4-BE49-F238E27FC236}">
                    <a16:creationId xmlns:a16="http://schemas.microsoft.com/office/drawing/2014/main" id="{A2DB9682-BBA0-4832-9C63-9FA40A04D806}"/>
                  </a:ext>
                </a:extLst>
              </p:cNvPr>
              <p:cNvSpPr>
                <a:spLocks noChangeArrowheads="1"/>
              </p:cNvSpPr>
              <p:nvPr/>
            </p:nvSpPr>
            <p:spPr bwMode="auto">
              <a:xfrm>
                <a:off x="196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83" name="Oval 2974">
                <a:extLst>
                  <a:ext uri="{FF2B5EF4-FFF2-40B4-BE49-F238E27FC236}">
                    <a16:creationId xmlns:a16="http://schemas.microsoft.com/office/drawing/2014/main" id="{AB09A07A-BC86-4BC4-A6A0-E14343CB7C73}"/>
                  </a:ext>
                </a:extLst>
              </p:cNvPr>
              <p:cNvSpPr>
                <a:spLocks noChangeArrowheads="1"/>
              </p:cNvSpPr>
              <p:nvPr/>
            </p:nvSpPr>
            <p:spPr bwMode="auto">
              <a:xfrm>
                <a:off x="187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84" name="Oval 2975">
                <a:extLst>
                  <a:ext uri="{FF2B5EF4-FFF2-40B4-BE49-F238E27FC236}">
                    <a16:creationId xmlns:a16="http://schemas.microsoft.com/office/drawing/2014/main" id="{75C44ACB-D1C8-4FFB-AAC5-59796680C43D}"/>
                  </a:ext>
                </a:extLst>
              </p:cNvPr>
              <p:cNvSpPr>
                <a:spLocks noChangeArrowheads="1"/>
              </p:cNvSpPr>
              <p:nvPr/>
            </p:nvSpPr>
            <p:spPr bwMode="auto">
              <a:xfrm>
                <a:off x="178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85" name="Oval 2976">
                <a:extLst>
                  <a:ext uri="{FF2B5EF4-FFF2-40B4-BE49-F238E27FC236}">
                    <a16:creationId xmlns:a16="http://schemas.microsoft.com/office/drawing/2014/main" id="{EF97FC4C-7F4A-498F-8EE4-E11CA9F83F56}"/>
                  </a:ext>
                </a:extLst>
              </p:cNvPr>
              <p:cNvSpPr>
                <a:spLocks noChangeArrowheads="1"/>
              </p:cNvSpPr>
              <p:nvPr/>
            </p:nvSpPr>
            <p:spPr bwMode="auto">
              <a:xfrm>
                <a:off x="1756"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86" name="Oval 2977">
                <a:extLst>
                  <a:ext uri="{FF2B5EF4-FFF2-40B4-BE49-F238E27FC236}">
                    <a16:creationId xmlns:a16="http://schemas.microsoft.com/office/drawing/2014/main" id="{7004B5A2-4474-467F-B46A-7E4BBEDAD2FB}"/>
                  </a:ext>
                </a:extLst>
              </p:cNvPr>
              <p:cNvSpPr>
                <a:spLocks noChangeArrowheads="1"/>
              </p:cNvSpPr>
              <p:nvPr/>
            </p:nvSpPr>
            <p:spPr bwMode="auto">
              <a:xfrm>
                <a:off x="187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87" name="Oval 2978">
                <a:extLst>
                  <a:ext uri="{FF2B5EF4-FFF2-40B4-BE49-F238E27FC236}">
                    <a16:creationId xmlns:a16="http://schemas.microsoft.com/office/drawing/2014/main" id="{B3C38E0E-1651-4782-99D5-DA5A430E743C}"/>
                  </a:ext>
                </a:extLst>
              </p:cNvPr>
              <p:cNvSpPr>
                <a:spLocks noChangeArrowheads="1"/>
              </p:cNvSpPr>
              <p:nvPr/>
            </p:nvSpPr>
            <p:spPr bwMode="auto">
              <a:xfrm>
                <a:off x="1816"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88" name="Oval 2979">
                <a:extLst>
                  <a:ext uri="{FF2B5EF4-FFF2-40B4-BE49-F238E27FC236}">
                    <a16:creationId xmlns:a16="http://schemas.microsoft.com/office/drawing/2014/main" id="{3982CDCF-659C-4248-BFBA-530C2861761F}"/>
                  </a:ext>
                </a:extLst>
              </p:cNvPr>
              <p:cNvSpPr>
                <a:spLocks noChangeArrowheads="1"/>
              </p:cNvSpPr>
              <p:nvPr/>
            </p:nvSpPr>
            <p:spPr bwMode="auto">
              <a:xfrm>
                <a:off x="18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89" name="Oval 2980">
                <a:extLst>
                  <a:ext uri="{FF2B5EF4-FFF2-40B4-BE49-F238E27FC236}">
                    <a16:creationId xmlns:a16="http://schemas.microsoft.com/office/drawing/2014/main" id="{066C74C9-9569-4AD9-9A84-038123AC7CA0}"/>
                  </a:ext>
                </a:extLst>
              </p:cNvPr>
              <p:cNvSpPr>
                <a:spLocks noChangeArrowheads="1"/>
              </p:cNvSpPr>
              <p:nvPr/>
            </p:nvSpPr>
            <p:spPr bwMode="auto">
              <a:xfrm>
                <a:off x="184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90" name="Oval 2981">
                <a:extLst>
                  <a:ext uri="{FF2B5EF4-FFF2-40B4-BE49-F238E27FC236}">
                    <a16:creationId xmlns:a16="http://schemas.microsoft.com/office/drawing/2014/main" id="{43F17E57-EFB2-4055-918B-0201A2CFC4A0}"/>
                  </a:ext>
                </a:extLst>
              </p:cNvPr>
              <p:cNvSpPr>
                <a:spLocks noChangeArrowheads="1"/>
              </p:cNvSpPr>
              <p:nvPr/>
            </p:nvSpPr>
            <p:spPr bwMode="auto">
              <a:xfrm>
                <a:off x="229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991" name="Oval 2982">
                <a:extLst>
                  <a:ext uri="{FF2B5EF4-FFF2-40B4-BE49-F238E27FC236}">
                    <a16:creationId xmlns:a16="http://schemas.microsoft.com/office/drawing/2014/main" id="{AE933B88-BE52-4EEB-893C-1F61DF22EE3F}"/>
                  </a:ext>
                </a:extLst>
              </p:cNvPr>
              <p:cNvSpPr>
                <a:spLocks noChangeArrowheads="1"/>
              </p:cNvSpPr>
              <p:nvPr/>
            </p:nvSpPr>
            <p:spPr bwMode="auto">
              <a:xfrm>
                <a:off x="232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sp>
          <p:nvSpPr>
            <p:cNvPr id="2607" name="Oval 2984">
              <a:extLst>
                <a:ext uri="{FF2B5EF4-FFF2-40B4-BE49-F238E27FC236}">
                  <a16:creationId xmlns:a16="http://schemas.microsoft.com/office/drawing/2014/main" id="{B310FD13-8104-414F-B319-F7EA9DB1B3C0}"/>
                </a:ext>
              </a:extLst>
            </p:cNvPr>
            <p:cNvSpPr>
              <a:spLocks noChangeArrowheads="1"/>
            </p:cNvSpPr>
            <p:nvPr/>
          </p:nvSpPr>
          <p:spPr bwMode="auto">
            <a:xfrm>
              <a:off x="232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08" name="Oval 2985">
              <a:extLst>
                <a:ext uri="{FF2B5EF4-FFF2-40B4-BE49-F238E27FC236}">
                  <a16:creationId xmlns:a16="http://schemas.microsoft.com/office/drawing/2014/main" id="{7B09CB79-B807-4760-AF3D-EA8344139BB7}"/>
                </a:ext>
              </a:extLst>
            </p:cNvPr>
            <p:cNvSpPr>
              <a:spLocks noChangeArrowheads="1"/>
            </p:cNvSpPr>
            <p:nvPr/>
          </p:nvSpPr>
          <p:spPr bwMode="auto">
            <a:xfrm>
              <a:off x="214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09" name="Oval 2986">
              <a:extLst>
                <a:ext uri="{FF2B5EF4-FFF2-40B4-BE49-F238E27FC236}">
                  <a16:creationId xmlns:a16="http://schemas.microsoft.com/office/drawing/2014/main" id="{06F24C27-6489-4388-B79B-702E2ECF2E9D}"/>
                </a:ext>
              </a:extLst>
            </p:cNvPr>
            <p:cNvSpPr>
              <a:spLocks noChangeArrowheads="1"/>
            </p:cNvSpPr>
            <p:nvPr/>
          </p:nvSpPr>
          <p:spPr bwMode="auto">
            <a:xfrm>
              <a:off x="2026"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10" name="Oval 2987">
              <a:extLst>
                <a:ext uri="{FF2B5EF4-FFF2-40B4-BE49-F238E27FC236}">
                  <a16:creationId xmlns:a16="http://schemas.microsoft.com/office/drawing/2014/main" id="{E5F1D6B3-EF02-48EB-AE70-03B98F580B53}"/>
                </a:ext>
              </a:extLst>
            </p:cNvPr>
            <p:cNvSpPr>
              <a:spLocks noChangeArrowheads="1"/>
            </p:cNvSpPr>
            <p:nvPr/>
          </p:nvSpPr>
          <p:spPr bwMode="auto">
            <a:xfrm>
              <a:off x="18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11" name="Oval 2988">
              <a:extLst>
                <a:ext uri="{FF2B5EF4-FFF2-40B4-BE49-F238E27FC236}">
                  <a16:creationId xmlns:a16="http://schemas.microsoft.com/office/drawing/2014/main" id="{D3FD35A0-2ECB-4B5F-BD3D-9FE35E6FD2B2}"/>
                </a:ext>
              </a:extLst>
            </p:cNvPr>
            <p:cNvSpPr>
              <a:spLocks noChangeArrowheads="1"/>
            </p:cNvSpPr>
            <p:nvPr/>
          </p:nvSpPr>
          <p:spPr bwMode="auto">
            <a:xfrm>
              <a:off x="2056" y="19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12" name="Oval 2989">
              <a:extLst>
                <a:ext uri="{FF2B5EF4-FFF2-40B4-BE49-F238E27FC236}">
                  <a16:creationId xmlns:a16="http://schemas.microsoft.com/office/drawing/2014/main" id="{FE4B1BFF-475D-442A-A04D-DF933772D019}"/>
                </a:ext>
              </a:extLst>
            </p:cNvPr>
            <p:cNvSpPr>
              <a:spLocks noChangeArrowheads="1"/>
            </p:cNvSpPr>
            <p:nvPr/>
          </p:nvSpPr>
          <p:spPr bwMode="auto">
            <a:xfrm>
              <a:off x="199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13" name="Oval 2990">
              <a:extLst>
                <a:ext uri="{FF2B5EF4-FFF2-40B4-BE49-F238E27FC236}">
                  <a16:creationId xmlns:a16="http://schemas.microsoft.com/office/drawing/2014/main" id="{2B8C1CA5-7DA5-4AEE-BED3-17701AE6B0CE}"/>
                </a:ext>
              </a:extLst>
            </p:cNvPr>
            <p:cNvSpPr>
              <a:spLocks noChangeArrowheads="1"/>
            </p:cNvSpPr>
            <p:nvPr/>
          </p:nvSpPr>
          <p:spPr bwMode="auto">
            <a:xfrm>
              <a:off x="21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14" name="Oval 2991">
              <a:extLst>
                <a:ext uri="{FF2B5EF4-FFF2-40B4-BE49-F238E27FC236}">
                  <a16:creationId xmlns:a16="http://schemas.microsoft.com/office/drawing/2014/main" id="{CB01D10D-BF65-461B-85B6-DEC830AED26B}"/>
                </a:ext>
              </a:extLst>
            </p:cNvPr>
            <p:cNvSpPr>
              <a:spLocks noChangeArrowheads="1"/>
            </p:cNvSpPr>
            <p:nvPr/>
          </p:nvSpPr>
          <p:spPr bwMode="auto">
            <a:xfrm>
              <a:off x="2145"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15" name="Oval 2992">
              <a:extLst>
                <a:ext uri="{FF2B5EF4-FFF2-40B4-BE49-F238E27FC236}">
                  <a16:creationId xmlns:a16="http://schemas.microsoft.com/office/drawing/2014/main" id="{62E0AC6D-3937-4D80-B2D1-1AD035DFB43A}"/>
                </a:ext>
              </a:extLst>
            </p:cNvPr>
            <p:cNvSpPr>
              <a:spLocks noChangeArrowheads="1"/>
            </p:cNvSpPr>
            <p:nvPr/>
          </p:nvSpPr>
          <p:spPr bwMode="auto">
            <a:xfrm>
              <a:off x="220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16" name="Oval 2993">
              <a:extLst>
                <a:ext uri="{FF2B5EF4-FFF2-40B4-BE49-F238E27FC236}">
                  <a16:creationId xmlns:a16="http://schemas.microsoft.com/office/drawing/2014/main" id="{CA81E157-52E6-49A3-9E44-DC773CAA5213}"/>
                </a:ext>
              </a:extLst>
            </p:cNvPr>
            <p:cNvSpPr>
              <a:spLocks noChangeArrowheads="1"/>
            </p:cNvSpPr>
            <p:nvPr/>
          </p:nvSpPr>
          <p:spPr bwMode="auto">
            <a:xfrm>
              <a:off x="2086"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17" name="Oval 2994">
              <a:extLst>
                <a:ext uri="{FF2B5EF4-FFF2-40B4-BE49-F238E27FC236}">
                  <a16:creationId xmlns:a16="http://schemas.microsoft.com/office/drawing/2014/main" id="{C7752D20-A552-4BC0-AE66-A3173AAC2A31}"/>
                </a:ext>
              </a:extLst>
            </p:cNvPr>
            <p:cNvSpPr>
              <a:spLocks noChangeArrowheads="1"/>
            </p:cNvSpPr>
            <p:nvPr/>
          </p:nvSpPr>
          <p:spPr bwMode="auto">
            <a:xfrm>
              <a:off x="2205"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18" name="Oval 2995">
              <a:extLst>
                <a:ext uri="{FF2B5EF4-FFF2-40B4-BE49-F238E27FC236}">
                  <a16:creationId xmlns:a16="http://schemas.microsoft.com/office/drawing/2014/main" id="{D17B062A-C983-4CD1-9CC6-AF0A901C8EFF}"/>
                </a:ext>
              </a:extLst>
            </p:cNvPr>
            <p:cNvSpPr>
              <a:spLocks noChangeArrowheads="1"/>
            </p:cNvSpPr>
            <p:nvPr/>
          </p:nvSpPr>
          <p:spPr bwMode="auto">
            <a:xfrm>
              <a:off x="21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19" name="Oval 2996">
              <a:extLst>
                <a:ext uri="{FF2B5EF4-FFF2-40B4-BE49-F238E27FC236}">
                  <a16:creationId xmlns:a16="http://schemas.microsoft.com/office/drawing/2014/main" id="{963DCA3B-884B-4FF4-8B17-9A7C270C275F}"/>
                </a:ext>
              </a:extLst>
            </p:cNvPr>
            <p:cNvSpPr>
              <a:spLocks noChangeArrowheads="1"/>
            </p:cNvSpPr>
            <p:nvPr/>
          </p:nvSpPr>
          <p:spPr bwMode="auto">
            <a:xfrm>
              <a:off x="2026"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20" name="Oval 2997">
              <a:extLst>
                <a:ext uri="{FF2B5EF4-FFF2-40B4-BE49-F238E27FC236}">
                  <a16:creationId xmlns:a16="http://schemas.microsoft.com/office/drawing/2014/main" id="{4D9F04F8-8241-4035-B3D1-FC9DD683D376}"/>
                </a:ext>
              </a:extLst>
            </p:cNvPr>
            <p:cNvSpPr>
              <a:spLocks noChangeArrowheads="1"/>
            </p:cNvSpPr>
            <p:nvPr/>
          </p:nvSpPr>
          <p:spPr bwMode="auto">
            <a:xfrm>
              <a:off x="199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21" name="Oval 2998">
              <a:extLst>
                <a:ext uri="{FF2B5EF4-FFF2-40B4-BE49-F238E27FC236}">
                  <a16:creationId xmlns:a16="http://schemas.microsoft.com/office/drawing/2014/main" id="{FD0E6989-FEC9-4459-ADC6-021DCFEEC1FA}"/>
                </a:ext>
              </a:extLst>
            </p:cNvPr>
            <p:cNvSpPr>
              <a:spLocks noChangeArrowheads="1"/>
            </p:cNvSpPr>
            <p:nvPr/>
          </p:nvSpPr>
          <p:spPr bwMode="auto">
            <a:xfrm>
              <a:off x="19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22" name="Oval 2999">
              <a:extLst>
                <a:ext uri="{FF2B5EF4-FFF2-40B4-BE49-F238E27FC236}">
                  <a16:creationId xmlns:a16="http://schemas.microsoft.com/office/drawing/2014/main" id="{5B17C7C8-E6E7-40C5-B6E9-6D0D2741FBE1}"/>
                </a:ext>
              </a:extLst>
            </p:cNvPr>
            <p:cNvSpPr>
              <a:spLocks noChangeArrowheads="1"/>
            </p:cNvSpPr>
            <p:nvPr/>
          </p:nvSpPr>
          <p:spPr bwMode="auto">
            <a:xfrm>
              <a:off x="190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23" name="Oval 3000">
              <a:extLst>
                <a:ext uri="{FF2B5EF4-FFF2-40B4-BE49-F238E27FC236}">
                  <a16:creationId xmlns:a16="http://schemas.microsoft.com/office/drawing/2014/main" id="{7B16AB51-982A-4961-B8E1-6A9165C2D91E}"/>
                </a:ext>
              </a:extLst>
            </p:cNvPr>
            <p:cNvSpPr>
              <a:spLocks noChangeArrowheads="1"/>
            </p:cNvSpPr>
            <p:nvPr/>
          </p:nvSpPr>
          <p:spPr bwMode="auto">
            <a:xfrm>
              <a:off x="2026"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24" name="Oval 3001">
              <a:extLst>
                <a:ext uri="{FF2B5EF4-FFF2-40B4-BE49-F238E27FC236}">
                  <a16:creationId xmlns:a16="http://schemas.microsoft.com/office/drawing/2014/main" id="{775F59A4-EC3F-4C72-8810-7ED5EF4C21F9}"/>
                </a:ext>
              </a:extLst>
            </p:cNvPr>
            <p:cNvSpPr>
              <a:spLocks noChangeArrowheads="1"/>
            </p:cNvSpPr>
            <p:nvPr/>
          </p:nvSpPr>
          <p:spPr bwMode="auto">
            <a:xfrm>
              <a:off x="1846"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25" name="Oval 3002">
              <a:extLst>
                <a:ext uri="{FF2B5EF4-FFF2-40B4-BE49-F238E27FC236}">
                  <a16:creationId xmlns:a16="http://schemas.microsoft.com/office/drawing/2014/main" id="{9582C577-A83F-4C5E-A2B1-E687F23B4C6C}"/>
                </a:ext>
              </a:extLst>
            </p:cNvPr>
            <p:cNvSpPr>
              <a:spLocks noChangeArrowheads="1"/>
            </p:cNvSpPr>
            <p:nvPr/>
          </p:nvSpPr>
          <p:spPr bwMode="auto">
            <a:xfrm>
              <a:off x="157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26" name="Oval 3003">
              <a:extLst>
                <a:ext uri="{FF2B5EF4-FFF2-40B4-BE49-F238E27FC236}">
                  <a16:creationId xmlns:a16="http://schemas.microsoft.com/office/drawing/2014/main" id="{1C7C4A05-34BF-4021-AF89-E03B5FB9BF24}"/>
                </a:ext>
              </a:extLst>
            </p:cNvPr>
            <p:cNvSpPr>
              <a:spLocks noChangeArrowheads="1"/>
            </p:cNvSpPr>
            <p:nvPr/>
          </p:nvSpPr>
          <p:spPr bwMode="auto">
            <a:xfrm>
              <a:off x="154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27" name="Oval 3004">
              <a:extLst>
                <a:ext uri="{FF2B5EF4-FFF2-40B4-BE49-F238E27FC236}">
                  <a16:creationId xmlns:a16="http://schemas.microsoft.com/office/drawing/2014/main" id="{214190C0-5DDA-4336-86CF-FA2054AC5410}"/>
                </a:ext>
              </a:extLst>
            </p:cNvPr>
            <p:cNvSpPr>
              <a:spLocks noChangeArrowheads="1"/>
            </p:cNvSpPr>
            <p:nvPr/>
          </p:nvSpPr>
          <p:spPr bwMode="auto">
            <a:xfrm>
              <a:off x="187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28" name="Oval 3005">
              <a:extLst>
                <a:ext uri="{FF2B5EF4-FFF2-40B4-BE49-F238E27FC236}">
                  <a16:creationId xmlns:a16="http://schemas.microsoft.com/office/drawing/2014/main" id="{9E04DE5C-D63C-4433-95A9-47B0248E9080}"/>
                </a:ext>
              </a:extLst>
            </p:cNvPr>
            <p:cNvSpPr>
              <a:spLocks noChangeArrowheads="1"/>
            </p:cNvSpPr>
            <p:nvPr/>
          </p:nvSpPr>
          <p:spPr bwMode="auto">
            <a:xfrm>
              <a:off x="19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29" name="Oval 3006">
              <a:extLst>
                <a:ext uri="{FF2B5EF4-FFF2-40B4-BE49-F238E27FC236}">
                  <a16:creationId xmlns:a16="http://schemas.microsoft.com/office/drawing/2014/main" id="{81A3C943-78D7-4ED5-8815-130890FA2F7F}"/>
                </a:ext>
              </a:extLst>
            </p:cNvPr>
            <p:cNvSpPr>
              <a:spLocks noChangeArrowheads="1"/>
            </p:cNvSpPr>
            <p:nvPr/>
          </p:nvSpPr>
          <p:spPr bwMode="auto">
            <a:xfrm>
              <a:off x="226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30" name="Oval 3007">
              <a:extLst>
                <a:ext uri="{FF2B5EF4-FFF2-40B4-BE49-F238E27FC236}">
                  <a16:creationId xmlns:a16="http://schemas.microsoft.com/office/drawing/2014/main" id="{241E86BD-4442-410A-AECB-EE0F12A1D1FC}"/>
                </a:ext>
              </a:extLst>
            </p:cNvPr>
            <p:cNvSpPr>
              <a:spLocks noChangeArrowheads="1"/>
            </p:cNvSpPr>
            <p:nvPr/>
          </p:nvSpPr>
          <p:spPr bwMode="auto">
            <a:xfrm>
              <a:off x="223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31" name="Oval 3008">
              <a:extLst>
                <a:ext uri="{FF2B5EF4-FFF2-40B4-BE49-F238E27FC236}">
                  <a16:creationId xmlns:a16="http://schemas.microsoft.com/office/drawing/2014/main" id="{8CE4DC89-104A-47BD-8903-35CF05DCF9DE}"/>
                </a:ext>
              </a:extLst>
            </p:cNvPr>
            <p:cNvSpPr>
              <a:spLocks noChangeArrowheads="1"/>
            </p:cNvSpPr>
            <p:nvPr/>
          </p:nvSpPr>
          <p:spPr bwMode="auto">
            <a:xfrm>
              <a:off x="223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32" name="Oval 3009">
              <a:extLst>
                <a:ext uri="{FF2B5EF4-FFF2-40B4-BE49-F238E27FC236}">
                  <a16:creationId xmlns:a16="http://schemas.microsoft.com/office/drawing/2014/main" id="{BB97E780-D427-4346-AD3D-E30564FA2C84}"/>
                </a:ext>
              </a:extLst>
            </p:cNvPr>
            <p:cNvSpPr>
              <a:spLocks noChangeArrowheads="1"/>
            </p:cNvSpPr>
            <p:nvPr/>
          </p:nvSpPr>
          <p:spPr bwMode="auto">
            <a:xfrm>
              <a:off x="241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33" name="Oval 3010">
              <a:extLst>
                <a:ext uri="{FF2B5EF4-FFF2-40B4-BE49-F238E27FC236}">
                  <a16:creationId xmlns:a16="http://schemas.microsoft.com/office/drawing/2014/main" id="{A7C60487-A107-4136-83E6-3568C9BB97EA}"/>
                </a:ext>
              </a:extLst>
            </p:cNvPr>
            <p:cNvSpPr>
              <a:spLocks noChangeArrowheads="1"/>
            </p:cNvSpPr>
            <p:nvPr/>
          </p:nvSpPr>
          <p:spPr bwMode="auto">
            <a:xfrm>
              <a:off x="274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34" name="Oval 3011">
              <a:extLst>
                <a:ext uri="{FF2B5EF4-FFF2-40B4-BE49-F238E27FC236}">
                  <a16:creationId xmlns:a16="http://schemas.microsoft.com/office/drawing/2014/main" id="{0DC53904-9447-4CE7-BCD4-9ECCA48CF9F9}"/>
                </a:ext>
              </a:extLst>
            </p:cNvPr>
            <p:cNvSpPr>
              <a:spLocks noChangeArrowheads="1"/>
            </p:cNvSpPr>
            <p:nvPr/>
          </p:nvSpPr>
          <p:spPr bwMode="auto">
            <a:xfrm>
              <a:off x="265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35" name="Oval 3012">
              <a:extLst>
                <a:ext uri="{FF2B5EF4-FFF2-40B4-BE49-F238E27FC236}">
                  <a16:creationId xmlns:a16="http://schemas.microsoft.com/office/drawing/2014/main" id="{11279C95-9CE3-48E7-8E49-A97AB42A9594}"/>
                </a:ext>
              </a:extLst>
            </p:cNvPr>
            <p:cNvSpPr>
              <a:spLocks noChangeArrowheads="1"/>
            </p:cNvSpPr>
            <p:nvPr/>
          </p:nvSpPr>
          <p:spPr bwMode="auto">
            <a:xfrm>
              <a:off x="268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36" name="Oval 3013">
              <a:extLst>
                <a:ext uri="{FF2B5EF4-FFF2-40B4-BE49-F238E27FC236}">
                  <a16:creationId xmlns:a16="http://schemas.microsoft.com/office/drawing/2014/main" id="{0C1A72B8-5CC7-4915-B504-E8397B983ED0}"/>
                </a:ext>
              </a:extLst>
            </p:cNvPr>
            <p:cNvSpPr>
              <a:spLocks noChangeArrowheads="1"/>
            </p:cNvSpPr>
            <p:nvPr/>
          </p:nvSpPr>
          <p:spPr bwMode="auto">
            <a:xfrm>
              <a:off x="262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37" name="Oval 3014">
              <a:extLst>
                <a:ext uri="{FF2B5EF4-FFF2-40B4-BE49-F238E27FC236}">
                  <a16:creationId xmlns:a16="http://schemas.microsoft.com/office/drawing/2014/main" id="{461D233F-CB47-4762-8B8F-EDA320CB2223}"/>
                </a:ext>
              </a:extLst>
            </p:cNvPr>
            <p:cNvSpPr>
              <a:spLocks noChangeArrowheads="1"/>
            </p:cNvSpPr>
            <p:nvPr/>
          </p:nvSpPr>
          <p:spPr bwMode="auto">
            <a:xfrm>
              <a:off x="262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38" name="Oval 3015">
              <a:extLst>
                <a:ext uri="{FF2B5EF4-FFF2-40B4-BE49-F238E27FC236}">
                  <a16:creationId xmlns:a16="http://schemas.microsoft.com/office/drawing/2014/main" id="{816540C4-086E-4A36-8496-2241D7B4B77B}"/>
                </a:ext>
              </a:extLst>
            </p:cNvPr>
            <p:cNvSpPr>
              <a:spLocks noChangeArrowheads="1"/>
            </p:cNvSpPr>
            <p:nvPr/>
          </p:nvSpPr>
          <p:spPr bwMode="auto">
            <a:xfrm>
              <a:off x="304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39" name="Oval 3016">
              <a:extLst>
                <a:ext uri="{FF2B5EF4-FFF2-40B4-BE49-F238E27FC236}">
                  <a16:creationId xmlns:a16="http://schemas.microsoft.com/office/drawing/2014/main" id="{9F68BDEC-8383-44EF-9D0F-55091A101059}"/>
                </a:ext>
              </a:extLst>
            </p:cNvPr>
            <p:cNvSpPr>
              <a:spLocks noChangeArrowheads="1"/>
            </p:cNvSpPr>
            <p:nvPr/>
          </p:nvSpPr>
          <p:spPr bwMode="auto">
            <a:xfrm>
              <a:off x="343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40" name="Oval 3017">
              <a:extLst>
                <a:ext uri="{FF2B5EF4-FFF2-40B4-BE49-F238E27FC236}">
                  <a16:creationId xmlns:a16="http://schemas.microsoft.com/office/drawing/2014/main" id="{142F5190-7A67-4279-BB00-ECC077440967}"/>
                </a:ext>
              </a:extLst>
            </p:cNvPr>
            <p:cNvSpPr>
              <a:spLocks noChangeArrowheads="1"/>
            </p:cNvSpPr>
            <p:nvPr/>
          </p:nvSpPr>
          <p:spPr bwMode="auto">
            <a:xfrm>
              <a:off x="352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41" name="Oval 3018">
              <a:extLst>
                <a:ext uri="{FF2B5EF4-FFF2-40B4-BE49-F238E27FC236}">
                  <a16:creationId xmlns:a16="http://schemas.microsoft.com/office/drawing/2014/main" id="{86761E9B-2345-4654-AA6A-392A9592B1FB}"/>
                </a:ext>
              </a:extLst>
            </p:cNvPr>
            <p:cNvSpPr>
              <a:spLocks noChangeArrowheads="1"/>
            </p:cNvSpPr>
            <p:nvPr/>
          </p:nvSpPr>
          <p:spPr bwMode="auto">
            <a:xfrm>
              <a:off x="352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42" name="Oval 3019">
              <a:extLst>
                <a:ext uri="{FF2B5EF4-FFF2-40B4-BE49-F238E27FC236}">
                  <a16:creationId xmlns:a16="http://schemas.microsoft.com/office/drawing/2014/main" id="{5CF505DD-767B-4EE7-A1C7-345A097388EC}"/>
                </a:ext>
              </a:extLst>
            </p:cNvPr>
            <p:cNvSpPr>
              <a:spLocks noChangeArrowheads="1"/>
            </p:cNvSpPr>
            <p:nvPr/>
          </p:nvSpPr>
          <p:spPr bwMode="auto">
            <a:xfrm>
              <a:off x="331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43" name="Oval 3020">
              <a:extLst>
                <a:ext uri="{FF2B5EF4-FFF2-40B4-BE49-F238E27FC236}">
                  <a16:creationId xmlns:a16="http://schemas.microsoft.com/office/drawing/2014/main" id="{7A7C6960-11BA-49C5-83F4-5544D3FE0225}"/>
                </a:ext>
              </a:extLst>
            </p:cNvPr>
            <p:cNvSpPr>
              <a:spLocks noChangeArrowheads="1"/>
            </p:cNvSpPr>
            <p:nvPr/>
          </p:nvSpPr>
          <p:spPr bwMode="auto">
            <a:xfrm>
              <a:off x="30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44" name="Oval 3021">
              <a:extLst>
                <a:ext uri="{FF2B5EF4-FFF2-40B4-BE49-F238E27FC236}">
                  <a16:creationId xmlns:a16="http://schemas.microsoft.com/office/drawing/2014/main" id="{A299362F-C77E-4FFB-A8B0-FDC3F2860517}"/>
                </a:ext>
              </a:extLst>
            </p:cNvPr>
            <p:cNvSpPr>
              <a:spLocks noChangeArrowheads="1"/>
            </p:cNvSpPr>
            <p:nvPr/>
          </p:nvSpPr>
          <p:spPr bwMode="auto">
            <a:xfrm>
              <a:off x="292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45" name="Oval 3022">
              <a:extLst>
                <a:ext uri="{FF2B5EF4-FFF2-40B4-BE49-F238E27FC236}">
                  <a16:creationId xmlns:a16="http://schemas.microsoft.com/office/drawing/2014/main" id="{4BEDAAB5-5C09-4E1D-8729-8356280275F4}"/>
                </a:ext>
              </a:extLst>
            </p:cNvPr>
            <p:cNvSpPr>
              <a:spLocks noChangeArrowheads="1"/>
            </p:cNvSpPr>
            <p:nvPr/>
          </p:nvSpPr>
          <p:spPr bwMode="auto">
            <a:xfrm>
              <a:off x="298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46" name="Oval 3023">
              <a:extLst>
                <a:ext uri="{FF2B5EF4-FFF2-40B4-BE49-F238E27FC236}">
                  <a16:creationId xmlns:a16="http://schemas.microsoft.com/office/drawing/2014/main" id="{6666CEA9-89D6-40AD-93F4-CE0FC35CC202}"/>
                </a:ext>
              </a:extLst>
            </p:cNvPr>
            <p:cNvSpPr>
              <a:spLocks noChangeArrowheads="1"/>
            </p:cNvSpPr>
            <p:nvPr/>
          </p:nvSpPr>
          <p:spPr bwMode="auto">
            <a:xfrm>
              <a:off x="292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47" name="Oval 3024">
              <a:extLst>
                <a:ext uri="{FF2B5EF4-FFF2-40B4-BE49-F238E27FC236}">
                  <a16:creationId xmlns:a16="http://schemas.microsoft.com/office/drawing/2014/main" id="{C3961067-103E-4E0D-B62E-0C2687DDC370}"/>
                </a:ext>
              </a:extLst>
            </p:cNvPr>
            <p:cNvSpPr>
              <a:spLocks noChangeArrowheads="1"/>
            </p:cNvSpPr>
            <p:nvPr/>
          </p:nvSpPr>
          <p:spPr bwMode="auto">
            <a:xfrm>
              <a:off x="328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48" name="Oval 3025">
              <a:extLst>
                <a:ext uri="{FF2B5EF4-FFF2-40B4-BE49-F238E27FC236}">
                  <a16:creationId xmlns:a16="http://schemas.microsoft.com/office/drawing/2014/main" id="{FF98C343-8784-40FA-9ABE-B7FFD3388F12}"/>
                </a:ext>
              </a:extLst>
            </p:cNvPr>
            <p:cNvSpPr>
              <a:spLocks noChangeArrowheads="1"/>
            </p:cNvSpPr>
            <p:nvPr/>
          </p:nvSpPr>
          <p:spPr bwMode="auto">
            <a:xfrm>
              <a:off x="3255"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49" name="Oval 3026">
              <a:extLst>
                <a:ext uri="{FF2B5EF4-FFF2-40B4-BE49-F238E27FC236}">
                  <a16:creationId xmlns:a16="http://schemas.microsoft.com/office/drawing/2014/main" id="{104C7E08-5D88-4B56-BECF-4ED5F6233A33}"/>
                </a:ext>
              </a:extLst>
            </p:cNvPr>
            <p:cNvSpPr>
              <a:spLocks noChangeArrowheads="1"/>
            </p:cNvSpPr>
            <p:nvPr/>
          </p:nvSpPr>
          <p:spPr bwMode="auto">
            <a:xfrm>
              <a:off x="340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50" name="Oval 3027">
              <a:extLst>
                <a:ext uri="{FF2B5EF4-FFF2-40B4-BE49-F238E27FC236}">
                  <a16:creationId xmlns:a16="http://schemas.microsoft.com/office/drawing/2014/main" id="{84015CAC-FBF9-495E-A11D-8C75D0783040}"/>
                </a:ext>
              </a:extLst>
            </p:cNvPr>
            <p:cNvSpPr>
              <a:spLocks noChangeArrowheads="1"/>
            </p:cNvSpPr>
            <p:nvPr/>
          </p:nvSpPr>
          <p:spPr bwMode="auto">
            <a:xfrm>
              <a:off x="322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51" name="Oval 3028">
              <a:extLst>
                <a:ext uri="{FF2B5EF4-FFF2-40B4-BE49-F238E27FC236}">
                  <a16:creationId xmlns:a16="http://schemas.microsoft.com/office/drawing/2014/main" id="{3D465E52-FFB8-4111-89BC-FCABEEE84B98}"/>
                </a:ext>
              </a:extLst>
            </p:cNvPr>
            <p:cNvSpPr>
              <a:spLocks noChangeArrowheads="1"/>
            </p:cNvSpPr>
            <p:nvPr/>
          </p:nvSpPr>
          <p:spPr bwMode="auto">
            <a:xfrm>
              <a:off x="316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52" name="Oval 3029">
              <a:extLst>
                <a:ext uri="{FF2B5EF4-FFF2-40B4-BE49-F238E27FC236}">
                  <a16:creationId xmlns:a16="http://schemas.microsoft.com/office/drawing/2014/main" id="{80220D5E-E3C9-4FF0-8C4F-0F40F3B8179F}"/>
                </a:ext>
              </a:extLst>
            </p:cNvPr>
            <p:cNvSpPr>
              <a:spLocks noChangeArrowheads="1"/>
            </p:cNvSpPr>
            <p:nvPr/>
          </p:nvSpPr>
          <p:spPr bwMode="auto">
            <a:xfrm>
              <a:off x="31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53" name="Oval 3030">
              <a:extLst>
                <a:ext uri="{FF2B5EF4-FFF2-40B4-BE49-F238E27FC236}">
                  <a16:creationId xmlns:a16="http://schemas.microsoft.com/office/drawing/2014/main" id="{8BAB14B7-2A0B-4868-A36B-DC4C7D913877}"/>
                </a:ext>
              </a:extLst>
            </p:cNvPr>
            <p:cNvSpPr>
              <a:spLocks noChangeArrowheads="1"/>
            </p:cNvSpPr>
            <p:nvPr/>
          </p:nvSpPr>
          <p:spPr bwMode="auto">
            <a:xfrm>
              <a:off x="394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54" name="Oval 3031">
              <a:extLst>
                <a:ext uri="{FF2B5EF4-FFF2-40B4-BE49-F238E27FC236}">
                  <a16:creationId xmlns:a16="http://schemas.microsoft.com/office/drawing/2014/main" id="{ACAB0E9A-24DD-42E5-91A3-695962550F09}"/>
                </a:ext>
              </a:extLst>
            </p:cNvPr>
            <p:cNvSpPr>
              <a:spLocks noChangeArrowheads="1"/>
            </p:cNvSpPr>
            <p:nvPr/>
          </p:nvSpPr>
          <p:spPr bwMode="auto">
            <a:xfrm>
              <a:off x="3914"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55" name="Oval 3032">
              <a:extLst>
                <a:ext uri="{FF2B5EF4-FFF2-40B4-BE49-F238E27FC236}">
                  <a16:creationId xmlns:a16="http://schemas.microsoft.com/office/drawing/2014/main" id="{0B81CDA6-BE68-46F6-BE97-82E3963038DF}"/>
                </a:ext>
              </a:extLst>
            </p:cNvPr>
            <p:cNvSpPr>
              <a:spLocks noChangeArrowheads="1"/>
            </p:cNvSpPr>
            <p:nvPr/>
          </p:nvSpPr>
          <p:spPr bwMode="auto">
            <a:xfrm>
              <a:off x="403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56" name="Oval 3033">
              <a:extLst>
                <a:ext uri="{FF2B5EF4-FFF2-40B4-BE49-F238E27FC236}">
                  <a16:creationId xmlns:a16="http://schemas.microsoft.com/office/drawing/2014/main" id="{6A5375A0-DF24-40B6-A850-2D3F3539F529}"/>
                </a:ext>
              </a:extLst>
            </p:cNvPr>
            <p:cNvSpPr>
              <a:spLocks noChangeArrowheads="1"/>
            </p:cNvSpPr>
            <p:nvPr/>
          </p:nvSpPr>
          <p:spPr bwMode="auto">
            <a:xfrm>
              <a:off x="3914"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57" name="Oval 3034">
              <a:extLst>
                <a:ext uri="{FF2B5EF4-FFF2-40B4-BE49-F238E27FC236}">
                  <a16:creationId xmlns:a16="http://schemas.microsoft.com/office/drawing/2014/main" id="{61B510F5-2264-46A8-8173-B1BB5D1A72F3}"/>
                </a:ext>
              </a:extLst>
            </p:cNvPr>
            <p:cNvSpPr>
              <a:spLocks noChangeArrowheads="1"/>
            </p:cNvSpPr>
            <p:nvPr/>
          </p:nvSpPr>
          <p:spPr bwMode="auto">
            <a:xfrm>
              <a:off x="400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58" name="Oval 3035">
              <a:extLst>
                <a:ext uri="{FF2B5EF4-FFF2-40B4-BE49-F238E27FC236}">
                  <a16:creationId xmlns:a16="http://schemas.microsoft.com/office/drawing/2014/main" id="{DC826A6B-CF7A-4EFF-B872-C2241C03B7B7}"/>
                </a:ext>
              </a:extLst>
            </p:cNvPr>
            <p:cNvSpPr>
              <a:spLocks noChangeArrowheads="1"/>
            </p:cNvSpPr>
            <p:nvPr/>
          </p:nvSpPr>
          <p:spPr bwMode="auto">
            <a:xfrm>
              <a:off x="388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59" name="Oval 3036">
              <a:extLst>
                <a:ext uri="{FF2B5EF4-FFF2-40B4-BE49-F238E27FC236}">
                  <a16:creationId xmlns:a16="http://schemas.microsoft.com/office/drawing/2014/main" id="{D776AC49-7687-4DCA-9322-F2413F2A5C0C}"/>
                </a:ext>
              </a:extLst>
            </p:cNvPr>
            <p:cNvSpPr>
              <a:spLocks noChangeArrowheads="1"/>
            </p:cNvSpPr>
            <p:nvPr/>
          </p:nvSpPr>
          <p:spPr bwMode="auto">
            <a:xfrm>
              <a:off x="367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60" name="Oval 3037">
              <a:extLst>
                <a:ext uri="{FF2B5EF4-FFF2-40B4-BE49-F238E27FC236}">
                  <a16:creationId xmlns:a16="http://schemas.microsoft.com/office/drawing/2014/main" id="{CC039493-FE8D-4AA8-8FAC-9A7BA3C21DF5}"/>
                </a:ext>
              </a:extLst>
            </p:cNvPr>
            <p:cNvSpPr>
              <a:spLocks noChangeArrowheads="1"/>
            </p:cNvSpPr>
            <p:nvPr/>
          </p:nvSpPr>
          <p:spPr bwMode="auto">
            <a:xfrm>
              <a:off x="364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61" name="Oval 3038">
              <a:extLst>
                <a:ext uri="{FF2B5EF4-FFF2-40B4-BE49-F238E27FC236}">
                  <a16:creationId xmlns:a16="http://schemas.microsoft.com/office/drawing/2014/main" id="{D4340834-F1B1-4821-9964-DEAD910C77DB}"/>
                </a:ext>
              </a:extLst>
            </p:cNvPr>
            <p:cNvSpPr>
              <a:spLocks noChangeArrowheads="1"/>
            </p:cNvSpPr>
            <p:nvPr/>
          </p:nvSpPr>
          <p:spPr bwMode="auto">
            <a:xfrm>
              <a:off x="364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62" name="Oval 3039">
              <a:extLst>
                <a:ext uri="{FF2B5EF4-FFF2-40B4-BE49-F238E27FC236}">
                  <a16:creationId xmlns:a16="http://schemas.microsoft.com/office/drawing/2014/main" id="{CCBC0F96-1B57-4A6B-A142-19A3275808E2}"/>
                </a:ext>
              </a:extLst>
            </p:cNvPr>
            <p:cNvSpPr>
              <a:spLocks noChangeArrowheads="1"/>
            </p:cNvSpPr>
            <p:nvPr/>
          </p:nvSpPr>
          <p:spPr bwMode="auto">
            <a:xfrm>
              <a:off x="394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63" name="Oval 3040">
              <a:extLst>
                <a:ext uri="{FF2B5EF4-FFF2-40B4-BE49-F238E27FC236}">
                  <a16:creationId xmlns:a16="http://schemas.microsoft.com/office/drawing/2014/main" id="{7B3F753C-B01D-4660-B855-928AE3C00C4E}"/>
                </a:ext>
              </a:extLst>
            </p:cNvPr>
            <p:cNvSpPr>
              <a:spLocks noChangeArrowheads="1"/>
            </p:cNvSpPr>
            <p:nvPr/>
          </p:nvSpPr>
          <p:spPr bwMode="auto">
            <a:xfrm>
              <a:off x="3824"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64" name="Oval 3041">
              <a:extLst>
                <a:ext uri="{FF2B5EF4-FFF2-40B4-BE49-F238E27FC236}">
                  <a16:creationId xmlns:a16="http://schemas.microsoft.com/office/drawing/2014/main" id="{5BBDF909-44F5-4F08-8712-F94071DEA16E}"/>
                </a:ext>
              </a:extLst>
            </p:cNvPr>
            <p:cNvSpPr>
              <a:spLocks noChangeArrowheads="1"/>
            </p:cNvSpPr>
            <p:nvPr/>
          </p:nvSpPr>
          <p:spPr bwMode="auto">
            <a:xfrm>
              <a:off x="391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65" name="Oval 3042">
              <a:extLst>
                <a:ext uri="{FF2B5EF4-FFF2-40B4-BE49-F238E27FC236}">
                  <a16:creationId xmlns:a16="http://schemas.microsoft.com/office/drawing/2014/main" id="{43146686-50AB-49C4-9121-25FE65B2810A}"/>
                </a:ext>
              </a:extLst>
            </p:cNvPr>
            <p:cNvSpPr>
              <a:spLocks noChangeArrowheads="1"/>
            </p:cNvSpPr>
            <p:nvPr/>
          </p:nvSpPr>
          <p:spPr bwMode="auto">
            <a:xfrm>
              <a:off x="376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66" name="Oval 3043">
              <a:extLst>
                <a:ext uri="{FF2B5EF4-FFF2-40B4-BE49-F238E27FC236}">
                  <a16:creationId xmlns:a16="http://schemas.microsoft.com/office/drawing/2014/main" id="{A596A95B-0678-4B0C-AD88-83E21D7185AE}"/>
                </a:ext>
              </a:extLst>
            </p:cNvPr>
            <p:cNvSpPr>
              <a:spLocks noChangeArrowheads="1"/>
            </p:cNvSpPr>
            <p:nvPr/>
          </p:nvSpPr>
          <p:spPr bwMode="auto">
            <a:xfrm>
              <a:off x="403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67" name="Oval 3044">
              <a:extLst>
                <a:ext uri="{FF2B5EF4-FFF2-40B4-BE49-F238E27FC236}">
                  <a16:creationId xmlns:a16="http://schemas.microsoft.com/office/drawing/2014/main" id="{96E4D5DA-5305-4409-83A3-7D4F266971DB}"/>
                </a:ext>
              </a:extLst>
            </p:cNvPr>
            <p:cNvSpPr>
              <a:spLocks noChangeArrowheads="1"/>
            </p:cNvSpPr>
            <p:nvPr/>
          </p:nvSpPr>
          <p:spPr bwMode="auto">
            <a:xfrm>
              <a:off x="39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68" name="Oval 3045">
              <a:extLst>
                <a:ext uri="{FF2B5EF4-FFF2-40B4-BE49-F238E27FC236}">
                  <a16:creationId xmlns:a16="http://schemas.microsoft.com/office/drawing/2014/main" id="{87151FD1-900E-44FB-A98B-7732C7C0AB83}"/>
                </a:ext>
              </a:extLst>
            </p:cNvPr>
            <p:cNvSpPr>
              <a:spLocks noChangeArrowheads="1"/>
            </p:cNvSpPr>
            <p:nvPr/>
          </p:nvSpPr>
          <p:spPr bwMode="auto">
            <a:xfrm>
              <a:off x="3794"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69" name="Oval 3046">
              <a:extLst>
                <a:ext uri="{FF2B5EF4-FFF2-40B4-BE49-F238E27FC236}">
                  <a16:creationId xmlns:a16="http://schemas.microsoft.com/office/drawing/2014/main" id="{C58E9B85-0297-4A30-8978-B09B6FAAAAFB}"/>
                </a:ext>
              </a:extLst>
            </p:cNvPr>
            <p:cNvSpPr>
              <a:spLocks noChangeArrowheads="1"/>
            </p:cNvSpPr>
            <p:nvPr/>
          </p:nvSpPr>
          <p:spPr bwMode="auto">
            <a:xfrm>
              <a:off x="376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70" name="Oval 3047">
              <a:extLst>
                <a:ext uri="{FF2B5EF4-FFF2-40B4-BE49-F238E27FC236}">
                  <a16:creationId xmlns:a16="http://schemas.microsoft.com/office/drawing/2014/main" id="{4F7F30BD-8F75-4D7D-8EF2-B215F56BD88D}"/>
                </a:ext>
              </a:extLst>
            </p:cNvPr>
            <p:cNvSpPr>
              <a:spLocks noChangeArrowheads="1"/>
            </p:cNvSpPr>
            <p:nvPr/>
          </p:nvSpPr>
          <p:spPr bwMode="auto">
            <a:xfrm>
              <a:off x="367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71" name="Oval 3048">
              <a:extLst>
                <a:ext uri="{FF2B5EF4-FFF2-40B4-BE49-F238E27FC236}">
                  <a16:creationId xmlns:a16="http://schemas.microsoft.com/office/drawing/2014/main" id="{EB7D61B2-CFAA-4354-BA8D-BB42BEF2CA5F}"/>
                </a:ext>
              </a:extLst>
            </p:cNvPr>
            <p:cNvSpPr>
              <a:spLocks noChangeArrowheads="1"/>
            </p:cNvSpPr>
            <p:nvPr/>
          </p:nvSpPr>
          <p:spPr bwMode="auto">
            <a:xfrm>
              <a:off x="355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72" name="Oval 3049">
              <a:extLst>
                <a:ext uri="{FF2B5EF4-FFF2-40B4-BE49-F238E27FC236}">
                  <a16:creationId xmlns:a16="http://schemas.microsoft.com/office/drawing/2014/main" id="{E86DD210-FE77-49D6-9A8B-0B9C554710A0}"/>
                </a:ext>
              </a:extLst>
            </p:cNvPr>
            <p:cNvSpPr>
              <a:spLocks noChangeArrowheads="1"/>
            </p:cNvSpPr>
            <p:nvPr/>
          </p:nvSpPr>
          <p:spPr bwMode="auto">
            <a:xfrm>
              <a:off x="34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73" name="Oval 3050">
              <a:extLst>
                <a:ext uri="{FF2B5EF4-FFF2-40B4-BE49-F238E27FC236}">
                  <a16:creationId xmlns:a16="http://schemas.microsoft.com/office/drawing/2014/main" id="{AE391646-EFC3-40F1-B1F2-1EFC496ABA12}"/>
                </a:ext>
              </a:extLst>
            </p:cNvPr>
            <p:cNvSpPr>
              <a:spLocks noChangeArrowheads="1"/>
            </p:cNvSpPr>
            <p:nvPr/>
          </p:nvSpPr>
          <p:spPr bwMode="auto">
            <a:xfrm>
              <a:off x="349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74" name="Oval 3051">
              <a:extLst>
                <a:ext uri="{FF2B5EF4-FFF2-40B4-BE49-F238E27FC236}">
                  <a16:creationId xmlns:a16="http://schemas.microsoft.com/office/drawing/2014/main" id="{8C2DD63E-26A0-48CC-9460-C97AFB20D953}"/>
                </a:ext>
              </a:extLst>
            </p:cNvPr>
            <p:cNvSpPr>
              <a:spLocks noChangeArrowheads="1"/>
            </p:cNvSpPr>
            <p:nvPr/>
          </p:nvSpPr>
          <p:spPr bwMode="auto">
            <a:xfrm>
              <a:off x="3285" y="18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75" name="Oval 3052">
              <a:extLst>
                <a:ext uri="{FF2B5EF4-FFF2-40B4-BE49-F238E27FC236}">
                  <a16:creationId xmlns:a16="http://schemas.microsoft.com/office/drawing/2014/main" id="{FB21D351-1D70-4375-867D-7B490F843DBF}"/>
                </a:ext>
              </a:extLst>
            </p:cNvPr>
            <p:cNvSpPr>
              <a:spLocks noChangeArrowheads="1"/>
            </p:cNvSpPr>
            <p:nvPr/>
          </p:nvSpPr>
          <p:spPr bwMode="auto">
            <a:xfrm>
              <a:off x="331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76" name="Oval 3053">
              <a:extLst>
                <a:ext uri="{FF2B5EF4-FFF2-40B4-BE49-F238E27FC236}">
                  <a16:creationId xmlns:a16="http://schemas.microsoft.com/office/drawing/2014/main" id="{219FE068-3072-4226-8167-336263DC9779}"/>
                </a:ext>
              </a:extLst>
            </p:cNvPr>
            <p:cNvSpPr>
              <a:spLocks noChangeArrowheads="1"/>
            </p:cNvSpPr>
            <p:nvPr/>
          </p:nvSpPr>
          <p:spPr bwMode="auto">
            <a:xfrm>
              <a:off x="32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77" name="Oval 3054">
              <a:extLst>
                <a:ext uri="{FF2B5EF4-FFF2-40B4-BE49-F238E27FC236}">
                  <a16:creationId xmlns:a16="http://schemas.microsoft.com/office/drawing/2014/main" id="{D447D7F8-77A4-4361-A673-F25662C19E21}"/>
                </a:ext>
              </a:extLst>
            </p:cNvPr>
            <p:cNvSpPr>
              <a:spLocks noChangeArrowheads="1"/>
            </p:cNvSpPr>
            <p:nvPr/>
          </p:nvSpPr>
          <p:spPr bwMode="auto">
            <a:xfrm>
              <a:off x="325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78" name="Oval 3055">
              <a:extLst>
                <a:ext uri="{FF2B5EF4-FFF2-40B4-BE49-F238E27FC236}">
                  <a16:creationId xmlns:a16="http://schemas.microsoft.com/office/drawing/2014/main" id="{5161D2A6-E5EB-4093-B915-BBEC4FDD14C2}"/>
                </a:ext>
              </a:extLst>
            </p:cNvPr>
            <p:cNvSpPr>
              <a:spLocks noChangeArrowheads="1"/>
            </p:cNvSpPr>
            <p:nvPr/>
          </p:nvSpPr>
          <p:spPr bwMode="auto">
            <a:xfrm>
              <a:off x="337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79" name="Oval 3056">
              <a:extLst>
                <a:ext uri="{FF2B5EF4-FFF2-40B4-BE49-F238E27FC236}">
                  <a16:creationId xmlns:a16="http://schemas.microsoft.com/office/drawing/2014/main" id="{461A7FD2-4B63-44B0-AE56-A379D9B958C2}"/>
                </a:ext>
              </a:extLst>
            </p:cNvPr>
            <p:cNvSpPr>
              <a:spLocks noChangeArrowheads="1"/>
            </p:cNvSpPr>
            <p:nvPr/>
          </p:nvSpPr>
          <p:spPr bwMode="auto">
            <a:xfrm>
              <a:off x="340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80" name="Oval 3057">
              <a:extLst>
                <a:ext uri="{FF2B5EF4-FFF2-40B4-BE49-F238E27FC236}">
                  <a16:creationId xmlns:a16="http://schemas.microsoft.com/office/drawing/2014/main" id="{A1CC5DA8-E610-4C7E-B25B-4620F8EAA313}"/>
                </a:ext>
              </a:extLst>
            </p:cNvPr>
            <p:cNvSpPr>
              <a:spLocks noChangeArrowheads="1"/>
            </p:cNvSpPr>
            <p:nvPr/>
          </p:nvSpPr>
          <p:spPr bwMode="auto">
            <a:xfrm>
              <a:off x="337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81" name="Oval 3058">
              <a:extLst>
                <a:ext uri="{FF2B5EF4-FFF2-40B4-BE49-F238E27FC236}">
                  <a16:creationId xmlns:a16="http://schemas.microsoft.com/office/drawing/2014/main" id="{B5E4578F-D687-42A9-8DA3-0EA0F7DCD9FF}"/>
                </a:ext>
              </a:extLst>
            </p:cNvPr>
            <p:cNvSpPr>
              <a:spLocks noChangeArrowheads="1"/>
            </p:cNvSpPr>
            <p:nvPr/>
          </p:nvSpPr>
          <p:spPr bwMode="auto">
            <a:xfrm>
              <a:off x="34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82" name="Oval 3059">
              <a:extLst>
                <a:ext uri="{FF2B5EF4-FFF2-40B4-BE49-F238E27FC236}">
                  <a16:creationId xmlns:a16="http://schemas.microsoft.com/office/drawing/2014/main" id="{B640CD62-3349-425D-A54E-2D026B98B636}"/>
                </a:ext>
              </a:extLst>
            </p:cNvPr>
            <p:cNvSpPr>
              <a:spLocks noChangeArrowheads="1"/>
            </p:cNvSpPr>
            <p:nvPr/>
          </p:nvSpPr>
          <p:spPr bwMode="auto">
            <a:xfrm>
              <a:off x="313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83" name="Oval 3060">
              <a:extLst>
                <a:ext uri="{FF2B5EF4-FFF2-40B4-BE49-F238E27FC236}">
                  <a16:creationId xmlns:a16="http://schemas.microsoft.com/office/drawing/2014/main" id="{6ACFA51A-B1DB-4C78-841F-061585FDED6D}"/>
                </a:ext>
              </a:extLst>
            </p:cNvPr>
            <p:cNvSpPr>
              <a:spLocks noChangeArrowheads="1"/>
            </p:cNvSpPr>
            <p:nvPr/>
          </p:nvSpPr>
          <p:spPr bwMode="auto">
            <a:xfrm>
              <a:off x="313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84" name="Oval 3061">
              <a:extLst>
                <a:ext uri="{FF2B5EF4-FFF2-40B4-BE49-F238E27FC236}">
                  <a16:creationId xmlns:a16="http://schemas.microsoft.com/office/drawing/2014/main" id="{33307EF6-8529-44B5-B304-D59D5260E69F}"/>
                </a:ext>
              </a:extLst>
            </p:cNvPr>
            <p:cNvSpPr>
              <a:spLocks noChangeArrowheads="1"/>
            </p:cNvSpPr>
            <p:nvPr/>
          </p:nvSpPr>
          <p:spPr bwMode="auto">
            <a:xfrm>
              <a:off x="307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85" name="Oval 3062">
              <a:extLst>
                <a:ext uri="{FF2B5EF4-FFF2-40B4-BE49-F238E27FC236}">
                  <a16:creationId xmlns:a16="http://schemas.microsoft.com/office/drawing/2014/main" id="{E3E45E8C-B6C8-4044-AC67-1784FB063000}"/>
                </a:ext>
              </a:extLst>
            </p:cNvPr>
            <p:cNvSpPr>
              <a:spLocks noChangeArrowheads="1"/>
            </p:cNvSpPr>
            <p:nvPr/>
          </p:nvSpPr>
          <p:spPr bwMode="auto">
            <a:xfrm>
              <a:off x="328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86" name="Oval 3063">
              <a:extLst>
                <a:ext uri="{FF2B5EF4-FFF2-40B4-BE49-F238E27FC236}">
                  <a16:creationId xmlns:a16="http://schemas.microsoft.com/office/drawing/2014/main" id="{FC7AFD9E-5FA0-4B2A-9E45-90984FA0B96C}"/>
                </a:ext>
              </a:extLst>
            </p:cNvPr>
            <p:cNvSpPr>
              <a:spLocks noChangeArrowheads="1"/>
            </p:cNvSpPr>
            <p:nvPr/>
          </p:nvSpPr>
          <p:spPr bwMode="auto">
            <a:xfrm>
              <a:off x="337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87" name="Oval 3064">
              <a:extLst>
                <a:ext uri="{FF2B5EF4-FFF2-40B4-BE49-F238E27FC236}">
                  <a16:creationId xmlns:a16="http://schemas.microsoft.com/office/drawing/2014/main" id="{60F9ADC8-6FAA-470B-B05E-434741836291}"/>
                </a:ext>
              </a:extLst>
            </p:cNvPr>
            <p:cNvSpPr>
              <a:spLocks noChangeArrowheads="1"/>
            </p:cNvSpPr>
            <p:nvPr/>
          </p:nvSpPr>
          <p:spPr bwMode="auto">
            <a:xfrm>
              <a:off x="3735"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88" name="Oval 3065">
              <a:extLst>
                <a:ext uri="{FF2B5EF4-FFF2-40B4-BE49-F238E27FC236}">
                  <a16:creationId xmlns:a16="http://schemas.microsoft.com/office/drawing/2014/main" id="{8EBA26E3-73C9-4531-BB7E-FA8EAD4ACBDD}"/>
                </a:ext>
              </a:extLst>
            </p:cNvPr>
            <p:cNvSpPr>
              <a:spLocks noChangeArrowheads="1"/>
            </p:cNvSpPr>
            <p:nvPr/>
          </p:nvSpPr>
          <p:spPr bwMode="auto">
            <a:xfrm>
              <a:off x="358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89" name="Oval 3066">
              <a:extLst>
                <a:ext uri="{FF2B5EF4-FFF2-40B4-BE49-F238E27FC236}">
                  <a16:creationId xmlns:a16="http://schemas.microsoft.com/office/drawing/2014/main" id="{31E82EA7-443C-4A2B-8F37-498AD82100D0}"/>
                </a:ext>
              </a:extLst>
            </p:cNvPr>
            <p:cNvSpPr>
              <a:spLocks noChangeArrowheads="1"/>
            </p:cNvSpPr>
            <p:nvPr/>
          </p:nvSpPr>
          <p:spPr bwMode="auto">
            <a:xfrm>
              <a:off x="355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90" name="Oval 3067">
              <a:extLst>
                <a:ext uri="{FF2B5EF4-FFF2-40B4-BE49-F238E27FC236}">
                  <a16:creationId xmlns:a16="http://schemas.microsoft.com/office/drawing/2014/main" id="{5EEF1AB7-8A72-4852-86E9-099B1D2B9A10}"/>
                </a:ext>
              </a:extLst>
            </p:cNvPr>
            <p:cNvSpPr>
              <a:spLocks noChangeArrowheads="1"/>
            </p:cNvSpPr>
            <p:nvPr/>
          </p:nvSpPr>
          <p:spPr bwMode="auto">
            <a:xfrm>
              <a:off x="349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91" name="Oval 3068">
              <a:extLst>
                <a:ext uri="{FF2B5EF4-FFF2-40B4-BE49-F238E27FC236}">
                  <a16:creationId xmlns:a16="http://schemas.microsoft.com/office/drawing/2014/main" id="{F8CE69D3-8147-4B43-BBD7-40B787216D2D}"/>
                </a:ext>
              </a:extLst>
            </p:cNvPr>
            <p:cNvSpPr>
              <a:spLocks noChangeArrowheads="1"/>
            </p:cNvSpPr>
            <p:nvPr/>
          </p:nvSpPr>
          <p:spPr bwMode="auto">
            <a:xfrm>
              <a:off x="337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92" name="Oval 3069">
              <a:extLst>
                <a:ext uri="{FF2B5EF4-FFF2-40B4-BE49-F238E27FC236}">
                  <a16:creationId xmlns:a16="http://schemas.microsoft.com/office/drawing/2014/main" id="{A606068B-AD19-478D-B7AD-6B7C73CD1B17}"/>
                </a:ext>
              </a:extLst>
            </p:cNvPr>
            <p:cNvSpPr>
              <a:spLocks noChangeArrowheads="1"/>
            </p:cNvSpPr>
            <p:nvPr/>
          </p:nvSpPr>
          <p:spPr bwMode="auto">
            <a:xfrm>
              <a:off x="340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93" name="Oval 3070">
              <a:extLst>
                <a:ext uri="{FF2B5EF4-FFF2-40B4-BE49-F238E27FC236}">
                  <a16:creationId xmlns:a16="http://schemas.microsoft.com/office/drawing/2014/main" id="{321B20D4-A361-45BA-ACA3-C4D41D4A1890}"/>
                </a:ext>
              </a:extLst>
            </p:cNvPr>
            <p:cNvSpPr>
              <a:spLocks noChangeArrowheads="1"/>
            </p:cNvSpPr>
            <p:nvPr/>
          </p:nvSpPr>
          <p:spPr bwMode="auto">
            <a:xfrm>
              <a:off x="325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94" name="Oval 3071">
              <a:extLst>
                <a:ext uri="{FF2B5EF4-FFF2-40B4-BE49-F238E27FC236}">
                  <a16:creationId xmlns:a16="http://schemas.microsoft.com/office/drawing/2014/main" id="{3B1BA6E6-5347-4F13-A1A1-A487ED57F7DB}"/>
                </a:ext>
              </a:extLst>
            </p:cNvPr>
            <p:cNvSpPr>
              <a:spLocks noChangeArrowheads="1"/>
            </p:cNvSpPr>
            <p:nvPr/>
          </p:nvSpPr>
          <p:spPr bwMode="auto">
            <a:xfrm>
              <a:off x="322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95" name="Oval 3072">
              <a:extLst>
                <a:ext uri="{FF2B5EF4-FFF2-40B4-BE49-F238E27FC236}">
                  <a16:creationId xmlns:a16="http://schemas.microsoft.com/office/drawing/2014/main" id="{62137C6A-F579-4CB2-A834-BD3C2E40FE83}"/>
                </a:ext>
              </a:extLst>
            </p:cNvPr>
            <p:cNvSpPr>
              <a:spLocks noChangeArrowheads="1"/>
            </p:cNvSpPr>
            <p:nvPr/>
          </p:nvSpPr>
          <p:spPr bwMode="auto">
            <a:xfrm>
              <a:off x="331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96" name="Oval 3073">
              <a:extLst>
                <a:ext uri="{FF2B5EF4-FFF2-40B4-BE49-F238E27FC236}">
                  <a16:creationId xmlns:a16="http://schemas.microsoft.com/office/drawing/2014/main" id="{EE76FAE0-EE8D-48CE-80D5-4F28CED12851}"/>
                </a:ext>
              </a:extLst>
            </p:cNvPr>
            <p:cNvSpPr>
              <a:spLocks noChangeArrowheads="1"/>
            </p:cNvSpPr>
            <p:nvPr/>
          </p:nvSpPr>
          <p:spPr bwMode="auto">
            <a:xfrm>
              <a:off x="352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97" name="Oval 3074">
              <a:extLst>
                <a:ext uri="{FF2B5EF4-FFF2-40B4-BE49-F238E27FC236}">
                  <a16:creationId xmlns:a16="http://schemas.microsoft.com/office/drawing/2014/main" id="{5804C624-E8AF-4796-A2D1-5FCD387BDF74}"/>
                </a:ext>
              </a:extLst>
            </p:cNvPr>
            <p:cNvSpPr>
              <a:spLocks noChangeArrowheads="1"/>
            </p:cNvSpPr>
            <p:nvPr/>
          </p:nvSpPr>
          <p:spPr bwMode="auto">
            <a:xfrm>
              <a:off x="3914"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98" name="Oval 3075">
              <a:extLst>
                <a:ext uri="{FF2B5EF4-FFF2-40B4-BE49-F238E27FC236}">
                  <a16:creationId xmlns:a16="http://schemas.microsoft.com/office/drawing/2014/main" id="{46364144-C139-46E2-BF8B-1E95ABE729DA}"/>
                </a:ext>
              </a:extLst>
            </p:cNvPr>
            <p:cNvSpPr>
              <a:spLocks noChangeArrowheads="1"/>
            </p:cNvSpPr>
            <p:nvPr/>
          </p:nvSpPr>
          <p:spPr bwMode="auto">
            <a:xfrm>
              <a:off x="4274"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699" name="Oval 3076">
              <a:extLst>
                <a:ext uri="{FF2B5EF4-FFF2-40B4-BE49-F238E27FC236}">
                  <a16:creationId xmlns:a16="http://schemas.microsoft.com/office/drawing/2014/main" id="{492A8816-23B4-4612-9589-47443CE4B53F}"/>
                </a:ext>
              </a:extLst>
            </p:cNvPr>
            <p:cNvSpPr>
              <a:spLocks noChangeArrowheads="1"/>
            </p:cNvSpPr>
            <p:nvPr/>
          </p:nvSpPr>
          <p:spPr bwMode="auto">
            <a:xfrm>
              <a:off x="4184"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00" name="Oval 3077">
              <a:extLst>
                <a:ext uri="{FF2B5EF4-FFF2-40B4-BE49-F238E27FC236}">
                  <a16:creationId xmlns:a16="http://schemas.microsoft.com/office/drawing/2014/main" id="{BDDDF3C2-81C9-48FE-B5BA-419ED8C9F2B4}"/>
                </a:ext>
              </a:extLst>
            </p:cNvPr>
            <p:cNvSpPr>
              <a:spLocks noChangeArrowheads="1"/>
            </p:cNvSpPr>
            <p:nvPr/>
          </p:nvSpPr>
          <p:spPr bwMode="auto">
            <a:xfrm>
              <a:off x="421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01" name="Oval 3078">
              <a:extLst>
                <a:ext uri="{FF2B5EF4-FFF2-40B4-BE49-F238E27FC236}">
                  <a16:creationId xmlns:a16="http://schemas.microsoft.com/office/drawing/2014/main" id="{7C5B4B53-FAE3-473F-9AA0-E5A3C55FE595}"/>
                </a:ext>
              </a:extLst>
            </p:cNvPr>
            <p:cNvSpPr>
              <a:spLocks noChangeArrowheads="1"/>
            </p:cNvSpPr>
            <p:nvPr/>
          </p:nvSpPr>
          <p:spPr bwMode="auto">
            <a:xfrm>
              <a:off x="4244"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02" name="Oval 3079">
              <a:extLst>
                <a:ext uri="{FF2B5EF4-FFF2-40B4-BE49-F238E27FC236}">
                  <a16:creationId xmlns:a16="http://schemas.microsoft.com/office/drawing/2014/main" id="{E5F49272-435D-4D7D-B853-A096FDD8DEFC}"/>
                </a:ext>
              </a:extLst>
            </p:cNvPr>
            <p:cNvSpPr>
              <a:spLocks noChangeArrowheads="1"/>
            </p:cNvSpPr>
            <p:nvPr/>
          </p:nvSpPr>
          <p:spPr bwMode="auto">
            <a:xfrm>
              <a:off x="4094"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03" name="Oval 3080">
              <a:extLst>
                <a:ext uri="{FF2B5EF4-FFF2-40B4-BE49-F238E27FC236}">
                  <a16:creationId xmlns:a16="http://schemas.microsoft.com/office/drawing/2014/main" id="{810A574F-D2D2-4813-B8F2-1819C432902F}"/>
                </a:ext>
              </a:extLst>
            </p:cNvPr>
            <p:cNvSpPr>
              <a:spLocks noChangeArrowheads="1"/>
            </p:cNvSpPr>
            <p:nvPr/>
          </p:nvSpPr>
          <p:spPr bwMode="auto">
            <a:xfrm>
              <a:off x="406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04" name="Oval 3081">
              <a:extLst>
                <a:ext uri="{FF2B5EF4-FFF2-40B4-BE49-F238E27FC236}">
                  <a16:creationId xmlns:a16="http://schemas.microsoft.com/office/drawing/2014/main" id="{17DCBE32-5B94-45FE-BF86-88DAE6E280BF}"/>
                </a:ext>
              </a:extLst>
            </p:cNvPr>
            <p:cNvSpPr>
              <a:spLocks noChangeArrowheads="1"/>
            </p:cNvSpPr>
            <p:nvPr/>
          </p:nvSpPr>
          <p:spPr bwMode="auto">
            <a:xfrm>
              <a:off x="4004"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05" name="Oval 3082">
              <a:extLst>
                <a:ext uri="{FF2B5EF4-FFF2-40B4-BE49-F238E27FC236}">
                  <a16:creationId xmlns:a16="http://schemas.microsoft.com/office/drawing/2014/main" id="{67A16FF7-8088-45AB-AF27-640C51C498D9}"/>
                </a:ext>
              </a:extLst>
            </p:cNvPr>
            <p:cNvSpPr>
              <a:spLocks noChangeArrowheads="1"/>
            </p:cNvSpPr>
            <p:nvPr/>
          </p:nvSpPr>
          <p:spPr bwMode="auto">
            <a:xfrm>
              <a:off x="385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06" name="Oval 3083">
              <a:extLst>
                <a:ext uri="{FF2B5EF4-FFF2-40B4-BE49-F238E27FC236}">
                  <a16:creationId xmlns:a16="http://schemas.microsoft.com/office/drawing/2014/main" id="{6D6A2322-CF8D-468D-A53F-444348757149}"/>
                </a:ext>
              </a:extLst>
            </p:cNvPr>
            <p:cNvSpPr>
              <a:spLocks noChangeArrowheads="1"/>
            </p:cNvSpPr>
            <p:nvPr/>
          </p:nvSpPr>
          <p:spPr bwMode="auto">
            <a:xfrm>
              <a:off x="4184"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07" name="Oval 3084">
              <a:extLst>
                <a:ext uri="{FF2B5EF4-FFF2-40B4-BE49-F238E27FC236}">
                  <a16:creationId xmlns:a16="http://schemas.microsoft.com/office/drawing/2014/main" id="{E7909EA4-8AE0-4865-A736-83AD218E10CE}"/>
                </a:ext>
              </a:extLst>
            </p:cNvPr>
            <p:cNvSpPr>
              <a:spLocks noChangeArrowheads="1"/>
            </p:cNvSpPr>
            <p:nvPr/>
          </p:nvSpPr>
          <p:spPr bwMode="auto">
            <a:xfrm>
              <a:off x="412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08" name="Oval 3085">
              <a:extLst>
                <a:ext uri="{FF2B5EF4-FFF2-40B4-BE49-F238E27FC236}">
                  <a16:creationId xmlns:a16="http://schemas.microsoft.com/office/drawing/2014/main" id="{17C8FCC0-348C-4B4F-94BE-280DE55B2C3E}"/>
                </a:ext>
              </a:extLst>
            </p:cNvPr>
            <p:cNvSpPr>
              <a:spLocks noChangeArrowheads="1"/>
            </p:cNvSpPr>
            <p:nvPr/>
          </p:nvSpPr>
          <p:spPr bwMode="auto">
            <a:xfrm>
              <a:off x="4064"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09" name="Oval 3086">
              <a:extLst>
                <a:ext uri="{FF2B5EF4-FFF2-40B4-BE49-F238E27FC236}">
                  <a16:creationId xmlns:a16="http://schemas.microsoft.com/office/drawing/2014/main" id="{13559A23-D408-4E7B-A1EA-255D6F8AB904}"/>
                </a:ext>
              </a:extLst>
            </p:cNvPr>
            <p:cNvSpPr>
              <a:spLocks noChangeArrowheads="1"/>
            </p:cNvSpPr>
            <p:nvPr/>
          </p:nvSpPr>
          <p:spPr bwMode="auto">
            <a:xfrm>
              <a:off x="3974"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10" name="Oval 3087">
              <a:extLst>
                <a:ext uri="{FF2B5EF4-FFF2-40B4-BE49-F238E27FC236}">
                  <a16:creationId xmlns:a16="http://schemas.microsoft.com/office/drawing/2014/main" id="{D0BD3322-8672-4FD5-8454-EBA23C648DA1}"/>
                </a:ext>
              </a:extLst>
            </p:cNvPr>
            <p:cNvSpPr>
              <a:spLocks noChangeArrowheads="1"/>
            </p:cNvSpPr>
            <p:nvPr/>
          </p:nvSpPr>
          <p:spPr bwMode="auto">
            <a:xfrm>
              <a:off x="385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11" name="Oval 3088">
              <a:extLst>
                <a:ext uri="{FF2B5EF4-FFF2-40B4-BE49-F238E27FC236}">
                  <a16:creationId xmlns:a16="http://schemas.microsoft.com/office/drawing/2014/main" id="{DB4AE540-74CC-4A2E-BE76-BC061D102681}"/>
                </a:ext>
              </a:extLst>
            </p:cNvPr>
            <p:cNvSpPr>
              <a:spLocks noChangeArrowheads="1"/>
            </p:cNvSpPr>
            <p:nvPr/>
          </p:nvSpPr>
          <p:spPr bwMode="auto">
            <a:xfrm>
              <a:off x="367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12" name="Oval 3089">
              <a:extLst>
                <a:ext uri="{FF2B5EF4-FFF2-40B4-BE49-F238E27FC236}">
                  <a16:creationId xmlns:a16="http://schemas.microsoft.com/office/drawing/2014/main" id="{4E0EB6B6-5FA7-4730-88B1-80255CB05190}"/>
                </a:ext>
              </a:extLst>
            </p:cNvPr>
            <p:cNvSpPr>
              <a:spLocks noChangeArrowheads="1"/>
            </p:cNvSpPr>
            <p:nvPr/>
          </p:nvSpPr>
          <p:spPr bwMode="auto">
            <a:xfrm>
              <a:off x="367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13" name="Oval 3090">
              <a:extLst>
                <a:ext uri="{FF2B5EF4-FFF2-40B4-BE49-F238E27FC236}">
                  <a16:creationId xmlns:a16="http://schemas.microsoft.com/office/drawing/2014/main" id="{A9BA1F96-500B-4E36-8AA8-147380D4B5CA}"/>
                </a:ext>
              </a:extLst>
            </p:cNvPr>
            <p:cNvSpPr>
              <a:spLocks noChangeArrowheads="1"/>
            </p:cNvSpPr>
            <p:nvPr/>
          </p:nvSpPr>
          <p:spPr bwMode="auto">
            <a:xfrm>
              <a:off x="35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14" name="Oval 3091">
              <a:extLst>
                <a:ext uri="{FF2B5EF4-FFF2-40B4-BE49-F238E27FC236}">
                  <a16:creationId xmlns:a16="http://schemas.microsoft.com/office/drawing/2014/main" id="{4810616B-D730-4CF5-B545-5E161D77CE24}"/>
                </a:ext>
              </a:extLst>
            </p:cNvPr>
            <p:cNvSpPr>
              <a:spLocks noChangeArrowheads="1"/>
            </p:cNvSpPr>
            <p:nvPr/>
          </p:nvSpPr>
          <p:spPr bwMode="auto">
            <a:xfrm>
              <a:off x="355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15" name="Oval 3092">
              <a:extLst>
                <a:ext uri="{FF2B5EF4-FFF2-40B4-BE49-F238E27FC236}">
                  <a16:creationId xmlns:a16="http://schemas.microsoft.com/office/drawing/2014/main" id="{0760CD4D-8D73-4F27-A9E6-FDAAE8CA2645}"/>
                </a:ext>
              </a:extLst>
            </p:cNvPr>
            <p:cNvSpPr>
              <a:spLocks noChangeArrowheads="1"/>
            </p:cNvSpPr>
            <p:nvPr/>
          </p:nvSpPr>
          <p:spPr bwMode="auto">
            <a:xfrm>
              <a:off x="355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16" name="Oval 3093">
              <a:extLst>
                <a:ext uri="{FF2B5EF4-FFF2-40B4-BE49-F238E27FC236}">
                  <a16:creationId xmlns:a16="http://schemas.microsoft.com/office/drawing/2014/main" id="{6126C524-B836-4044-965D-F6736E6D95AA}"/>
                </a:ext>
              </a:extLst>
            </p:cNvPr>
            <p:cNvSpPr>
              <a:spLocks noChangeArrowheads="1"/>
            </p:cNvSpPr>
            <p:nvPr/>
          </p:nvSpPr>
          <p:spPr bwMode="auto">
            <a:xfrm>
              <a:off x="358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17" name="Oval 3094">
              <a:extLst>
                <a:ext uri="{FF2B5EF4-FFF2-40B4-BE49-F238E27FC236}">
                  <a16:creationId xmlns:a16="http://schemas.microsoft.com/office/drawing/2014/main" id="{9ED4A760-075D-4BCF-92DC-8DFE91BC7C08}"/>
                </a:ext>
              </a:extLst>
            </p:cNvPr>
            <p:cNvSpPr>
              <a:spLocks noChangeArrowheads="1"/>
            </p:cNvSpPr>
            <p:nvPr/>
          </p:nvSpPr>
          <p:spPr bwMode="auto">
            <a:xfrm>
              <a:off x="343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18" name="Oval 3095">
              <a:extLst>
                <a:ext uri="{FF2B5EF4-FFF2-40B4-BE49-F238E27FC236}">
                  <a16:creationId xmlns:a16="http://schemas.microsoft.com/office/drawing/2014/main" id="{B14114AE-51AC-4A86-A759-ED51CA5F00B1}"/>
                </a:ext>
              </a:extLst>
            </p:cNvPr>
            <p:cNvSpPr>
              <a:spLocks noChangeArrowheads="1"/>
            </p:cNvSpPr>
            <p:nvPr/>
          </p:nvSpPr>
          <p:spPr bwMode="auto">
            <a:xfrm>
              <a:off x="340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19" name="Oval 3096">
              <a:extLst>
                <a:ext uri="{FF2B5EF4-FFF2-40B4-BE49-F238E27FC236}">
                  <a16:creationId xmlns:a16="http://schemas.microsoft.com/office/drawing/2014/main" id="{FC64DDE5-BC18-4B59-910A-692F9ED2E5B3}"/>
                </a:ext>
              </a:extLst>
            </p:cNvPr>
            <p:cNvSpPr>
              <a:spLocks noChangeArrowheads="1"/>
            </p:cNvSpPr>
            <p:nvPr/>
          </p:nvSpPr>
          <p:spPr bwMode="auto">
            <a:xfrm>
              <a:off x="331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20" name="Oval 3097">
              <a:extLst>
                <a:ext uri="{FF2B5EF4-FFF2-40B4-BE49-F238E27FC236}">
                  <a16:creationId xmlns:a16="http://schemas.microsoft.com/office/drawing/2014/main" id="{7E9F26B3-E632-40D2-A790-633F14986FDD}"/>
                </a:ext>
              </a:extLst>
            </p:cNvPr>
            <p:cNvSpPr>
              <a:spLocks noChangeArrowheads="1"/>
            </p:cNvSpPr>
            <p:nvPr/>
          </p:nvSpPr>
          <p:spPr bwMode="auto">
            <a:xfrm>
              <a:off x="340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21" name="Oval 3098">
              <a:extLst>
                <a:ext uri="{FF2B5EF4-FFF2-40B4-BE49-F238E27FC236}">
                  <a16:creationId xmlns:a16="http://schemas.microsoft.com/office/drawing/2014/main" id="{92DF911C-245A-43C7-9D5F-2F1990CB0B80}"/>
                </a:ext>
              </a:extLst>
            </p:cNvPr>
            <p:cNvSpPr>
              <a:spLocks noChangeArrowheads="1"/>
            </p:cNvSpPr>
            <p:nvPr/>
          </p:nvSpPr>
          <p:spPr bwMode="auto">
            <a:xfrm>
              <a:off x="328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22" name="Oval 3099">
              <a:extLst>
                <a:ext uri="{FF2B5EF4-FFF2-40B4-BE49-F238E27FC236}">
                  <a16:creationId xmlns:a16="http://schemas.microsoft.com/office/drawing/2014/main" id="{52EACC82-023A-45E1-9288-5126924F5F48}"/>
                </a:ext>
              </a:extLst>
            </p:cNvPr>
            <p:cNvSpPr>
              <a:spLocks noChangeArrowheads="1"/>
            </p:cNvSpPr>
            <p:nvPr/>
          </p:nvSpPr>
          <p:spPr bwMode="auto">
            <a:xfrm>
              <a:off x="334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23" name="Oval 3100">
              <a:extLst>
                <a:ext uri="{FF2B5EF4-FFF2-40B4-BE49-F238E27FC236}">
                  <a16:creationId xmlns:a16="http://schemas.microsoft.com/office/drawing/2014/main" id="{9BAFA051-63F0-4A00-BD37-C149858AC4A0}"/>
                </a:ext>
              </a:extLst>
            </p:cNvPr>
            <p:cNvSpPr>
              <a:spLocks noChangeArrowheads="1"/>
            </p:cNvSpPr>
            <p:nvPr/>
          </p:nvSpPr>
          <p:spPr bwMode="auto">
            <a:xfrm>
              <a:off x="334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24" name="Oval 3101">
              <a:extLst>
                <a:ext uri="{FF2B5EF4-FFF2-40B4-BE49-F238E27FC236}">
                  <a16:creationId xmlns:a16="http://schemas.microsoft.com/office/drawing/2014/main" id="{5CAAA34A-62F4-4CED-B8B5-39BA8B4AF655}"/>
                </a:ext>
              </a:extLst>
            </p:cNvPr>
            <p:cNvSpPr>
              <a:spLocks noChangeArrowheads="1"/>
            </p:cNvSpPr>
            <p:nvPr/>
          </p:nvSpPr>
          <p:spPr bwMode="auto">
            <a:xfrm>
              <a:off x="325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25" name="Oval 3102">
              <a:extLst>
                <a:ext uri="{FF2B5EF4-FFF2-40B4-BE49-F238E27FC236}">
                  <a16:creationId xmlns:a16="http://schemas.microsoft.com/office/drawing/2014/main" id="{C6C64E70-75A4-4F45-8D97-5F1D0FA87BA4}"/>
                </a:ext>
              </a:extLst>
            </p:cNvPr>
            <p:cNvSpPr>
              <a:spLocks noChangeArrowheads="1"/>
            </p:cNvSpPr>
            <p:nvPr/>
          </p:nvSpPr>
          <p:spPr bwMode="auto">
            <a:xfrm>
              <a:off x="319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26" name="Oval 3103">
              <a:extLst>
                <a:ext uri="{FF2B5EF4-FFF2-40B4-BE49-F238E27FC236}">
                  <a16:creationId xmlns:a16="http://schemas.microsoft.com/office/drawing/2014/main" id="{F1AD139B-ECE0-4D54-92EA-352615593F3E}"/>
                </a:ext>
              </a:extLst>
            </p:cNvPr>
            <p:cNvSpPr>
              <a:spLocks noChangeArrowheads="1"/>
            </p:cNvSpPr>
            <p:nvPr/>
          </p:nvSpPr>
          <p:spPr bwMode="auto">
            <a:xfrm>
              <a:off x="31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27" name="Oval 3104">
              <a:extLst>
                <a:ext uri="{FF2B5EF4-FFF2-40B4-BE49-F238E27FC236}">
                  <a16:creationId xmlns:a16="http://schemas.microsoft.com/office/drawing/2014/main" id="{FECDB099-9C83-4254-A18D-81110A5F633B}"/>
                </a:ext>
              </a:extLst>
            </p:cNvPr>
            <p:cNvSpPr>
              <a:spLocks noChangeArrowheads="1"/>
            </p:cNvSpPr>
            <p:nvPr/>
          </p:nvSpPr>
          <p:spPr bwMode="auto">
            <a:xfrm>
              <a:off x="319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28" name="Oval 3105">
              <a:extLst>
                <a:ext uri="{FF2B5EF4-FFF2-40B4-BE49-F238E27FC236}">
                  <a16:creationId xmlns:a16="http://schemas.microsoft.com/office/drawing/2014/main" id="{48491760-D022-4151-88A7-685571CB9DF5}"/>
                </a:ext>
              </a:extLst>
            </p:cNvPr>
            <p:cNvSpPr>
              <a:spLocks noChangeArrowheads="1"/>
            </p:cNvSpPr>
            <p:nvPr/>
          </p:nvSpPr>
          <p:spPr bwMode="auto">
            <a:xfrm>
              <a:off x="319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29" name="Oval 3106">
              <a:extLst>
                <a:ext uri="{FF2B5EF4-FFF2-40B4-BE49-F238E27FC236}">
                  <a16:creationId xmlns:a16="http://schemas.microsoft.com/office/drawing/2014/main" id="{E177A318-59F9-4DE0-86DA-8AD870345903}"/>
                </a:ext>
              </a:extLst>
            </p:cNvPr>
            <p:cNvSpPr>
              <a:spLocks noChangeArrowheads="1"/>
            </p:cNvSpPr>
            <p:nvPr/>
          </p:nvSpPr>
          <p:spPr bwMode="auto">
            <a:xfrm>
              <a:off x="319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30" name="Oval 3107">
              <a:extLst>
                <a:ext uri="{FF2B5EF4-FFF2-40B4-BE49-F238E27FC236}">
                  <a16:creationId xmlns:a16="http://schemas.microsoft.com/office/drawing/2014/main" id="{97554C76-4725-4176-A5E0-FA59E5D7A024}"/>
                </a:ext>
              </a:extLst>
            </p:cNvPr>
            <p:cNvSpPr>
              <a:spLocks noChangeArrowheads="1"/>
            </p:cNvSpPr>
            <p:nvPr/>
          </p:nvSpPr>
          <p:spPr bwMode="auto">
            <a:xfrm>
              <a:off x="31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31" name="Oval 3108">
              <a:extLst>
                <a:ext uri="{FF2B5EF4-FFF2-40B4-BE49-F238E27FC236}">
                  <a16:creationId xmlns:a16="http://schemas.microsoft.com/office/drawing/2014/main" id="{AB3C0DC0-F573-4608-BA38-E424E78E6478}"/>
                </a:ext>
              </a:extLst>
            </p:cNvPr>
            <p:cNvSpPr>
              <a:spLocks noChangeArrowheads="1"/>
            </p:cNvSpPr>
            <p:nvPr/>
          </p:nvSpPr>
          <p:spPr bwMode="auto">
            <a:xfrm>
              <a:off x="319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32" name="Oval 3109">
              <a:extLst>
                <a:ext uri="{FF2B5EF4-FFF2-40B4-BE49-F238E27FC236}">
                  <a16:creationId xmlns:a16="http://schemas.microsoft.com/office/drawing/2014/main" id="{D1F9DF7E-ADEB-4039-8F6E-2242827FEB61}"/>
                </a:ext>
              </a:extLst>
            </p:cNvPr>
            <p:cNvSpPr>
              <a:spLocks noChangeArrowheads="1"/>
            </p:cNvSpPr>
            <p:nvPr/>
          </p:nvSpPr>
          <p:spPr bwMode="auto">
            <a:xfrm>
              <a:off x="319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33" name="Oval 3110">
              <a:extLst>
                <a:ext uri="{FF2B5EF4-FFF2-40B4-BE49-F238E27FC236}">
                  <a16:creationId xmlns:a16="http://schemas.microsoft.com/office/drawing/2014/main" id="{45DD3D4F-1BD7-4A8D-A23E-F27A13F33197}"/>
                </a:ext>
              </a:extLst>
            </p:cNvPr>
            <p:cNvSpPr>
              <a:spLocks noChangeArrowheads="1"/>
            </p:cNvSpPr>
            <p:nvPr/>
          </p:nvSpPr>
          <p:spPr bwMode="auto">
            <a:xfrm>
              <a:off x="316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34" name="Oval 3111">
              <a:extLst>
                <a:ext uri="{FF2B5EF4-FFF2-40B4-BE49-F238E27FC236}">
                  <a16:creationId xmlns:a16="http://schemas.microsoft.com/office/drawing/2014/main" id="{2A12949F-61C9-437A-815F-F780017A8994}"/>
                </a:ext>
              </a:extLst>
            </p:cNvPr>
            <p:cNvSpPr>
              <a:spLocks noChangeArrowheads="1"/>
            </p:cNvSpPr>
            <p:nvPr/>
          </p:nvSpPr>
          <p:spPr bwMode="auto">
            <a:xfrm>
              <a:off x="328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35" name="Oval 3112">
              <a:extLst>
                <a:ext uri="{FF2B5EF4-FFF2-40B4-BE49-F238E27FC236}">
                  <a16:creationId xmlns:a16="http://schemas.microsoft.com/office/drawing/2014/main" id="{9C232A9A-0109-4CFA-832C-C603AD775584}"/>
                </a:ext>
              </a:extLst>
            </p:cNvPr>
            <p:cNvSpPr>
              <a:spLocks noChangeArrowheads="1"/>
            </p:cNvSpPr>
            <p:nvPr/>
          </p:nvSpPr>
          <p:spPr bwMode="auto">
            <a:xfrm>
              <a:off x="325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36" name="Oval 3113">
              <a:extLst>
                <a:ext uri="{FF2B5EF4-FFF2-40B4-BE49-F238E27FC236}">
                  <a16:creationId xmlns:a16="http://schemas.microsoft.com/office/drawing/2014/main" id="{04B835F3-19FA-4160-8657-19370E29E30D}"/>
                </a:ext>
              </a:extLst>
            </p:cNvPr>
            <p:cNvSpPr>
              <a:spLocks noChangeArrowheads="1"/>
            </p:cNvSpPr>
            <p:nvPr/>
          </p:nvSpPr>
          <p:spPr bwMode="auto">
            <a:xfrm>
              <a:off x="328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37" name="Oval 3114">
              <a:extLst>
                <a:ext uri="{FF2B5EF4-FFF2-40B4-BE49-F238E27FC236}">
                  <a16:creationId xmlns:a16="http://schemas.microsoft.com/office/drawing/2014/main" id="{A28BC890-5EA3-47BE-AC7B-611FFDF1D7BD}"/>
                </a:ext>
              </a:extLst>
            </p:cNvPr>
            <p:cNvSpPr>
              <a:spLocks noChangeArrowheads="1"/>
            </p:cNvSpPr>
            <p:nvPr/>
          </p:nvSpPr>
          <p:spPr bwMode="auto">
            <a:xfrm>
              <a:off x="352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38" name="Oval 3115">
              <a:extLst>
                <a:ext uri="{FF2B5EF4-FFF2-40B4-BE49-F238E27FC236}">
                  <a16:creationId xmlns:a16="http://schemas.microsoft.com/office/drawing/2014/main" id="{530C9BAE-6C06-4AA6-A1C5-3A122447C6B0}"/>
                </a:ext>
              </a:extLst>
            </p:cNvPr>
            <p:cNvSpPr>
              <a:spLocks noChangeArrowheads="1"/>
            </p:cNvSpPr>
            <p:nvPr/>
          </p:nvSpPr>
          <p:spPr bwMode="auto">
            <a:xfrm>
              <a:off x="352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39" name="Oval 3116">
              <a:extLst>
                <a:ext uri="{FF2B5EF4-FFF2-40B4-BE49-F238E27FC236}">
                  <a16:creationId xmlns:a16="http://schemas.microsoft.com/office/drawing/2014/main" id="{1CE74192-2956-487B-88EC-6235E48EAA5D}"/>
                </a:ext>
              </a:extLst>
            </p:cNvPr>
            <p:cNvSpPr>
              <a:spLocks noChangeArrowheads="1"/>
            </p:cNvSpPr>
            <p:nvPr/>
          </p:nvSpPr>
          <p:spPr bwMode="auto">
            <a:xfrm>
              <a:off x="346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40" name="Oval 3117">
              <a:extLst>
                <a:ext uri="{FF2B5EF4-FFF2-40B4-BE49-F238E27FC236}">
                  <a16:creationId xmlns:a16="http://schemas.microsoft.com/office/drawing/2014/main" id="{447E941A-8901-41DC-B73E-00C9709639BC}"/>
                </a:ext>
              </a:extLst>
            </p:cNvPr>
            <p:cNvSpPr>
              <a:spLocks noChangeArrowheads="1"/>
            </p:cNvSpPr>
            <p:nvPr/>
          </p:nvSpPr>
          <p:spPr bwMode="auto">
            <a:xfrm>
              <a:off x="346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41" name="Oval 3118">
              <a:extLst>
                <a:ext uri="{FF2B5EF4-FFF2-40B4-BE49-F238E27FC236}">
                  <a16:creationId xmlns:a16="http://schemas.microsoft.com/office/drawing/2014/main" id="{8686BA11-AC69-4C48-A888-78B1E6EBE12C}"/>
                </a:ext>
              </a:extLst>
            </p:cNvPr>
            <p:cNvSpPr>
              <a:spLocks noChangeArrowheads="1"/>
            </p:cNvSpPr>
            <p:nvPr/>
          </p:nvSpPr>
          <p:spPr bwMode="auto">
            <a:xfrm>
              <a:off x="334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42" name="Oval 3119">
              <a:extLst>
                <a:ext uri="{FF2B5EF4-FFF2-40B4-BE49-F238E27FC236}">
                  <a16:creationId xmlns:a16="http://schemas.microsoft.com/office/drawing/2014/main" id="{41262B00-B166-4BED-B75E-7042B15E2250}"/>
                </a:ext>
              </a:extLst>
            </p:cNvPr>
            <p:cNvSpPr>
              <a:spLocks noChangeArrowheads="1"/>
            </p:cNvSpPr>
            <p:nvPr/>
          </p:nvSpPr>
          <p:spPr bwMode="auto">
            <a:xfrm>
              <a:off x="334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43" name="Oval 3120">
              <a:extLst>
                <a:ext uri="{FF2B5EF4-FFF2-40B4-BE49-F238E27FC236}">
                  <a16:creationId xmlns:a16="http://schemas.microsoft.com/office/drawing/2014/main" id="{42EA8083-31D2-4B7E-8008-2AD2359F1974}"/>
                </a:ext>
              </a:extLst>
            </p:cNvPr>
            <p:cNvSpPr>
              <a:spLocks noChangeArrowheads="1"/>
            </p:cNvSpPr>
            <p:nvPr/>
          </p:nvSpPr>
          <p:spPr bwMode="auto">
            <a:xfrm>
              <a:off x="328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44" name="Oval 3121">
              <a:extLst>
                <a:ext uri="{FF2B5EF4-FFF2-40B4-BE49-F238E27FC236}">
                  <a16:creationId xmlns:a16="http://schemas.microsoft.com/office/drawing/2014/main" id="{A9C3F8BD-25D6-46FE-AE7B-ED1CE53534F5}"/>
                </a:ext>
              </a:extLst>
            </p:cNvPr>
            <p:cNvSpPr>
              <a:spLocks noChangeArrowheads="1"/>
            </p:cNvSpPr>
            <p:nvPr/>
          </p:nvSpPr>
          <p:spPr bwMode="auto">
            <a:xfrm>
              <a:off x="337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45" name="Oval 3122">
              <a:extLst>
                <a:ext uri="{FF2B5EF4-FFF2-40B4-BE49-F238E27FC236}">
                  <a16:creationId xmlns:a16="http://schemas.microsoft.com/office/drawing/2014/main" id="{E7FCFC41-E526-4005-93AD-B345A3651AD2}"/>
                </a:ext>
              </a:extLst>
            </p:cNvPr>
            <p:cNvSpPr>
              <a:spLocks noChangeArrowheads="1"/>
            </p:cNvSpPr>
            <p:nvPr/>
          </p:nvSpPr>
          <p:spPr bwMode="auto">
            <a:xfrm>
              <a:off x="340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46" name="Oval 3123">
              <a:extLst>
                <a:ext uri="{FF2B5EF4-FFF2-40B4-BE49-F238E27FC236}">
                  <a16:creationId xmlns:a16="http://schemas.microsoft.com/office/drawing/2014/main" id="{C5764111-6871-4885-9013-0F546A51EA2E}"/>
                </a:ext>
              </a:extLst>
            </p:cNvPr>
            <p:cNvSpPr>
              <a:spLocks noChangeArrowheads="1"/>
            </p:cNvSpPr>
            <p:nvPr/>
          </p:nvSpPr>
          <p:spPr bwMode="auto">
            <a:xfrm>
              <a:off x="36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47" name="Oval 3124">
              <a:extLst>
                <a:ext uri="{FF2B5EF4-FFF2-40B4-BE49-F238E27FC236}">
                  <a16:creationId xmlns:a16="http://schemas.microsoft.com/office/drawing/2014/main" id="{37FF6907-A4DF-4EBE-A0D1-6C5260F024C1}"/>
                </a:ext>
              </a:extLst>
            </p:cNvPr>
            <p:cNvSpPr>
              <a:spLocks noChangeArrowheads="1"/>
            </p:cNvSpPr>
            <p:nvPr/>
          </p:nvSpPr>
          <p:spPr bwMode="auto">
            <a:xfrm>
              <a:off x="355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48" name="Oval 3125">
              <a:extLst>
                <a:ext uri="{FF2B5EF4-FFF2-40B4-BE49-F238E27FC236}">
                  <a16:creationId xmlns:a16="http://schemas.microsoft.com/office/drawing/2014/main" id="{290ABC34-3954-48A3-9637-65A0D5942C0B}"/>
                </a:ext>
              </a:extLst>
            </p:cNvPr>
            <p:cNvSpPr>
              <a:spLocks noChangeArrowheads="1"/>
            </p:cNvSpPr>
            <p:nvPr/>
          </p:nvSpPr>
          <p:spPr bwMode="auto">
            <a:xfrm>
              <a:off x="397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49" name="Oval 3126">
              <a:extLst>
                <a:ext uri="{FF2B5EF4-FFF2-40B4-BE49-F238E27FC236}">
                  <a16:creationId xmlns:a16="http://schemas.microsoft.com/office/drawing/2014/main" id="{175ADE90-DAD2-4A1C-BEB5-A9E426054BF0}"/>
                </a:ext>
              </a:extLst>
            </p:cNvPr>
            <p:cNvSpPr>
              <a:spLocks noChangeArrowheads="1"/>
            </p:cNvSpPr>
            <p:nvPr/>
          </p:nvSpPr>
          <p:spPr bwMode="auto">
            <a:xfrm>
              <a:off x="379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50" name="Oval 3127">
              <a:extLst>
                <a:ext uri="{FF2B5EF4-FFF2-40B4-BE49-F238E27FC236}">
                  <a16:creationId xmlns:a16="http://schemas.microsoft.com/office/drawing/2014/main" id="{346F84E2-C28B-4AC2-A5D1-B05AF1E535CB}"/>
                </a:ext>
              </a:extLst>
            </p:cNvPr>
            <p:cNvSpPr>
              <a:spLocks noChangeArrowheads="1"/>
            </p:cNvSpPr>
            <p:nvPr/>
          </p:nvSpPr>
          <p:spPr bwMode="auto">
            <a:xfrm>
              <a:off x="3914"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51" name="Oval 3128">
              <a:extLst>
                <a:ext uri="{FF2B5EF4-FFF2-40B4-BE49-F238E27FC236}">
                  <a16:creationId xmlns:a16="http://schemas.microsoft.com/office/drawing/2014/main" id="{F7C7065E-A557-446A-8CAA-D93DF24F505B}"/>
                </a:ext>
              </a:extLst>
            </p:cNvPr>
            <p:cNvSpPr>
              <a:spLocks noChangeArrowheads="1"/>
            </p:cNvSpPr>
            <p:nvPr/>
          </p:nvSpPr>
          <p:spPr bwMode="auto">
            <a:xfrm>
              <a:off x="391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52" name="Oval 3129">
              <a:extLst>
                <a:ext uri="{FF2B5EF4-FFF2-40B4-BE49-F238E27FC236}">
                  <a16:creationId xmlns:a16="http://schemas.microsoft.com/office/drawing/2014/main" id="{AA657277-906E-4FB7-8CAC-40CB9043FB81}"/>
                </a:ext>
              </a:extLst>
            </p:cNvPr>
            <p:cNvSpPr>
              <a:spLocks noChangeArrowheads="1"/>
            </p:cNvSpPr>
            <p:nvPr/>
          </p:nvSpPr>
          <p:spPr bwMode="auto">
            <a:xfrm>
              <a:off x="379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53" name="Oval 3130">
              <a:extLst>
                <a:ext uri="{FF2B5EF4-FFF2-40B4-BE49-F238E27FC236}">
                  <a16:creationId xmlns:a16="http://schemas.microsoft.com/office/drawing/2014/main" id="{BA796E87-F32A-457B-A09D-A82C96574704}"/>
                </a:ext>
              </a:extLst>
            </p:cNvPr>
            <p:cNvSpPr>
              <a:spLocks noChangeArrowheads="1"/>
            </p:cNvSpPr>
            <p:nvPr/>
          </p:nvSpPr>
          <p:spPr bwMode="auto">
            <a:xfrm>
              <a:off x="3794"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54" name="Oval 3131">
              <a:extLst>
                <a:ext uri="{FF2B5EF4-FFF2-40B4-BE49-F238E27FC236}">
                  <a16:creationId xmlns:a16="http://schemas.microsoft.com/office/drawing/2014/main" id="{1076C74B-AB82-4214-9611-6C65392F958F}"/>
                </a:ext>
              </a:extLst>
            </p:cNvPr>
            <p:cNvSpPr>
              <a:spLocks noChangeArrowheads="1"/>
            </p:cNvSpPr>
            <p:nvPr/>
          </p:nvSpPr>
          <p:spPr bwMode="auto">
            <a:xfrm>
              <a:off x="415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55" name="Oval 3132">
              <a:extLst>
                <a:ext uri="{FF2B5EF4-FFF2-40B4-BE49-F238E27FC236}">
                  <a16:creationId xmlns:a16="http://schemas.microsoft.com/office/drawing/2014/main" id="{2CECC33E-78A5-4DFD-84C2-5251E4E011CA}"/>
                </a:ext>
              </a:extLst>
            </p:cNvPr>
            <p:cNvSpPr>
              <a:spLocks noChangeArrowheads="1"/>
            </p:cNvSpPr>
            <p:nvPr/>
          </p:nvSpPr>
          <p:spPr bwMode="auto">
            <a:xfrm>
              <a:off x="406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56" name="Oval 3133">
              <a:extLst>
                <a:ext uri="{FF2B5EF4-FFF2-40B4-BE49-F238E27FC236}">
                  <a16:creationId xmlns:a16="http://schemas.microsoft.com/office/drawing/2014/main" id="{E9E93BC7-74A5-4F50-BCB0-B4858E918748}"/>
                </a:ext>
              </a:extLst>
            </p:cNvPr>
            <p:cNvSpPr>
              <a:spLocks noChangeArrowheads="1"/>
            </p:cNvSpPr>
            <p:nvPr/>
          </p:nvSpPr>
          <p:spPr bwMode="auto">
            <a:xfrm>
              <a:off x="4034"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57" name="Oval 3134">
              <a:extLst>
                <a:ext uri="{FF2B5EF4-FFF2-40B4-BE49-F238E27FC236}">
                  <a16:creationId xmlns:a16="http://schemas.microsoft.com/office/drawing/2014/main" id="{F4478692-25C7-46EB-BAA7-A4F462F073F8}"/>
                </a:ext>
              </a:extLst>
            </p:cNvPr>
            <p:cNvSpPr>
              <a:spLocks noChangeArrowheads="1"/>
            </p:cNvSpPr>
            <p:nvPr/>
          </p:nvSpPr>
          <p:spPr bwMode="auto">
            <a:xfrm>
              <a:off x="3974"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58" name="Oval 3135">
              <a:extLst>
                <a:ext uri="{FF2B5EF4-FFF2-40B4-BE49-F238E27FC236}">
                  <a16:creationId xmlns:a16="http://schemas.microsoft.com/office/drawing/2014/main" id="{065020F9-D81F-487A-9728-44C850C52B81}"/>
                </a:ext>
              </a:extLst>
            </p:cNvPr>
            <p:cNvSpPr>
              <a:spLocks noChangeArrowheads="1"/>
            </p:cNvSpPr>
            <p:nvPr/>
          </p:nvSpPr>
          <p:spPr bwMode="auto">
            <a:xfrm>
              <a:off x="394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59" name="Oval 3136">
              <a:extLst>
                <a:ext uri="{FF2B5EF4-FFF2-40B4-BE49-F238E27FC236}">
                  <a16:creationId xmlns:a16="http://schemas.microsoft.com/office/drawing/2014/main" id="{292E6F45-4503-4B2F-8145-1E3DD5A7A70E}"/>
                </a:ext>
              </a:extLst>
            </p:cNvPr>
            <p:cNvSpPr>
              <a:spLocks noChangeArrowheads="1"/>
            </p:cNvSpPr>
            <p:nvPr/>
          </p:nvSpPr>
          <p:spPr bwMode="auto">
            <a:xfrm>
              <a:off x="379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60" name="Oval 3137">
              <a:extLst>
                <a:ext uri="{FF2B5EF4-FFF2-40B4-BE49-F238E27FC236}">
                  <a16:creationId xmlns:a16="http://schemas.microsoft.com/office/drawing/2014/main" id="{7F8C174F-1F82-4F47-AE4D-C38F37CA346A}"/>
                </a:ext>
              </a:extLst>
            </p:cNvPr>
            <p:cNvSpPr>
              <a:spLocks noChangeArrowheads="1"/>
            </p:cNvSpPr>
            <p:nvPr/>
          </p:nvSpPr>
          <p:spPr bwMode="auto">
            <a:xfrm>
              <a:off x="385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61" name="Oval 3138">
              <a:extLst>
                <a:ext uri="{FF2B5EF4-FFF2-40B4-BE49-F238E27FC236}">
                  <a16:creationId xmlns:a16="http://schemas.microsoft.com/office/drawing/2014/main" id="{D40A6F7C-872C-4D61-AC52-98E3B7C65F56}"/>
                </a:ext>
              </a:extLst>
            </p:cNvPr>
            <p:cNvSpPr>
              <a:spLocks noChangeArrowheads="1"/>
            </p:cNvSpPr>
            <p:nvPr/>
          </p:nvSpPr>
          <p:spPr bwMode="auto">
            <a:xfrm>
              <a:off x="3764"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62" name="Oval 3139">
              <a:extLst>
                <a:ext uri="{FF2B5EF4-FFF2-40B4-BE49-F238E27FC236}">
                  <a16:creationId xmlns:a16="http://schemas.microsoft.com/office/drawing/2014/main" id="{ECAFF863-340A-44B0-8701-322082B1D70C}"/>
                </a:ext>
              </a:extLst>
            </p:cNvPr>
            <p:cNvSpPr>
              <a:spLocks noChangeArrowheads="1"/>
            </p:cNvSpPr>
            <p:nvPr/>
          </p:nvSpPr>
          <p:spPr bwMode="auto">
            <a:xfrm>
              <a:off x="3705" y="24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63" name="Oval 3140">
              <a:extLst>
                <a:ext uri="{FF2B5EF4-FFF2-40B4-BE49-F238E27FC236}">
                  <a16:creationId xmlns:a16="http://schemas.microsoft.com/office/drawing/2014/main" id="{0C688072-C3E7-4EA3-9BB7-0C28B902494F}"/>
                </a:ext>
              </a:extLst>
            </p:cNvPr>
            <p:cNvSpPr>
              <a:spLocks noChangeArrowheads="1"/>
            </p:cNvSpPr>
            <p:nvPr/>
          </p:nvSpPr>
          <p:spPr bwMode="auto">
            <a:xfrm>
              <a:off x="367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64" name="Oval 3141">
              <a:extLst>
                <a:ext uri="{FF2B5EF4-FFF2-40B4-BE49-F238E27FC236}">
                  <a16:creationId xmlns:a16="http://schemas.microsoft.com/office/drawing/2014/main" id="{976FFA0E-66E3-41E9-81C2-79F69F299910}"/>
                </a:ext>
              </a:extLst>
            </p:cNvPr>
            <p:cNvSpPr>
              <a:spLocks noChangeArrowheads="1"/>
            </p:cNvSpPr>
            <p:nvPr/>
          </p:nvSpPr>
          <p:spPr bwMode="auto">
            <a:xfrm>
              <a:off x="361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65" name="Oval 3142">
              <a:extLst>
                <a:ext uri="{FF2B5EF4-FFF2-40B4-BE49-F238E27FC236}">
                  <a16:creationId xmlns:a16="http://schemas.microsoft.com/office/drawing/2014/main" id="{577C6548-3332-449A-9EA5-1CDD5665D6E1}"/>
                </a:ext>
              </a:extLst>
            </p:cNvPr>
            <p:cNvSpPr>
              <a:spLocks noChangeArrowheads="1"/>
            </p:cNvSpPr>
            <p:nvPr/>
          </p:nvSpPr>
          <p:spPr bwMode="auto">
            <a:xfrm>
              <a:off x="355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66" name="Oval 3143">
              <a:extLst>
                <a:ext uri="{FF2B5EF4-FFF2-40B4-BE49-F238E27FC236}">
                  <a16:creationId xmlns:a16="http://schemas.microsoft.com/office/drawing/2014/main" id="{3B5DBB04-FCED-4B9B-B2CA-17565869602D}"/>
                </a:ext>
              </a:extLst>
            </p:cNvPr>
            <p:cNvSpPr>
              <a:spLocks noChangeArrowheads="1"/>
            </p:cNvSpPr>
            <p:nvPr/>
          </p:nvSpPr>
          <p:spPr bwMode="auto">
            <a:xfrm>
              <a:off x="346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67" name="Oval 3144">
              <a:extLst>
                <a:ext uri="{FF2B5EF4-FFF2-40B4-BE49-F238E27FC236}">
                  <a16:creationId xmlns:a16="http://schemas.microsoft.com/office/drawing/2014/main" id="{F2922A1B-383A-4D88-B0CF-558B342FF6F6}"/>
                </a:ext>
              </a:extLst>
            </p:cNvPr>
            <p:cNvSpPr>
              <a:spLocks noChangeArrowheads="1"/>
            </p:cNvSpPr>
            <p:nvPr/>
          </p:nvSpPr>
          <p:spPr bwMode="auto">
            <a:xfrm>
              <a:off x="343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68" name="Oval 3145">
              <a:extLst>
                <a:ext uri="{FF2B5EF4-FFF2-40B4-BE49-F238E27FC236}">
                  <a16:creationId xmlns:a16="http://schemas.microsoft.com/office/drawing/2014/main" id="{24435BC1-3BF6-440E-AC69-4A6D02A87BBB}"/>
                </a:ext>
              </a:extLst>
            </p:cNvPr>
            <p:cNvSpPr>
              <a:spLocks noChangeArrowheads="1"/>
            </p:cNvSpPr>
            <p:nvPr/>
          </p:nvSpPr>
          <p:spPr bwMode="auto">
            <a:xfrm>
              <a:off x="39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69" name="Oval 3146">
              <a:extLst>
                <a:ext uri="{FF2B5EF4-FFF2-40B4-BE49-F238E27FC236}">
                  <a16:creationId xmlns:a16="http://schemas.microsoft.com/office/drawing/2014/main" id="{CE191E43-65A7-4A77-A456-E369E0C3DF5B}"/>
                </a:ext>
              </a:extLst>
            </p:cNvPr>
            <p:cNvSpPr>
              <a:spLocks noChangeArrowheads="1"/>
            </p:cNvSpPr>
            <p:nvPr/>
          </p:nvSpPr>
          <p:spPr bwMode="auto">
            <a:xfrm>
              <a:off x="382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70" name="Oval 3147">
              <a:extLst>
                <a:ext uri="{FF2B5EF4-FFF2-40B4-BE49-F238E27FC236}">
                  <a16:creationId xmlns:a16="http://schemas.microsoft.com/office/drawing/2014/main" id="{9A64915B-D54C-491B-A6F5-CACCAB0E8580}"/>
                </a:ext>
              </a:extLst>
            </p:cNvPr>
            <p:cNvSpPr>
              <a:spLocks noChangeArrowheads="1"/>
            </p:cNvSpPr>
            <p:nvPr/>
          </p:nvSpPr>
          <p:spPr bwMode="auto">
            <a:xfrm>
              <a:off x="3705" y="21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71" name="Oval 3148">
              <a:extLst>
                <a:ext uri="{FF2B5EF4-FFF2-40B4-BE49-F238E27FC236}">
                  <a16:creationId xmlns:a16="http://schemas.microsoft.com/office/drawing/2014/main" id="{FF0FCBC0-2A67-4A4D-ACA7-7A562FB742BC}"/>
                </a:ext>
              </a:extLst>
            </p:cNvPr>
            <p:cNvSpPr>
              <a:spLocks noChangeArrowheads="1"/>
            </p:cNvSpPr>
            <p:nvPr/>
          </p:nvSpPr>
          <p:spPr bwMode="auto">
            <a:xfrm>
              <a:off x="36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72" name="Oval 3149">
              <a:extLst>
                <a:ext uri="{FF2B5EF4-FFF2-40B4-BE49-F238E27FC236}">
                  <a16:creationId xmlns:a16="http://schemas.microsoft.com/office/drawing/2014/main" id="{4EC0E989-87EE-4A9B-8825-B67F755F3589}"/>
                </a:ext>
              </a:extLst>
            </p:cNvPr>
            <p:cNvSpPr>
              <a:spLocks noChangeArrowheads="1"/>
            </p:cNvSpPr>
            <p:nvPr/>
          </p:nvSpPr>
          <p:spPr bwMode="auto">
            <a:xfrm>
              <a:off x="4154"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73" name="Oval 3150">
              <a:extLst>
                <a:ext uri="{FF2B5EF4-FFF2-40B4-BE49-F238E27FC236}">
                  <a16:creationId xmlns:a16="http://schemas.microsoft.com/office/drawing/2014/main" id="{FA0FA3F2-70B8-4310-929F-9C636626EEA1}"/>
                </a:ext>
              </a:extLst>
            </p:cNvPr>
            <p:cNvSpPr>
              <a:spLocks noChangeArrowheads="1"/>
            </p:cNvSpPr>
            <p:nvPr/>
          </p:nvSpPr>
          <p:spPr bwMode="auto">
            <a:xfrm>
              <a:off x="4274"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74" name="Oval 3151">
              <a:extLst>
                <a:ext uri="{FF2B5EF4-FFF2-40B4-BE49-F238E27FC236}">
                  <a16:creationId xmlns:a16="http://schemas.microsoft.com/office/drawing/2014/main" id="{1C65EFEB-56AD-495E-8F6C-CD201429ED28}"/>
                </a:ext>
              </a:extLst>
            </p:cNvPr>
            <p:cNvSpPr>
              <a:spLocks noChangeArrowheads="1"/>
            </p:cNvSpPr>
            <p:nvPr/>
          </p:nvSpPr>
          <p:spPr bwMode="auto">
            <a:xfrm>
              <a:off x="409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75" name="Oval 3152">
              <a:extLst>
                <a:ext uri="{FF2B5EF4-FFF2-40B4-BE49-F238E27FC236}">
                  <a16:creationId xmlns:a16="http://schemas.microsoft.com/office/drawing/2014/main" id="{8B70D84F-A4C2-4E43-BB62-605B4FA9DBD4}"/>
                </a:ext>
              </a:extLst>
            </p:cNvPr>
            <p:cNvSpPr>
              <a:spLocks noChangeArrowheads="1"/>
            </p:cNvSpPr>
            <p:nvPr/>
          </p:nvSpPr>
          <p:spPr bwMode="auto">
            <a:xfrm>
              <a:off x="397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76" name="Oval 3153">
              <a:extLst>
                <a:ext uri="{FF2B5EF4-FFF2-40B4-BE49-F238E27FC236}">
                  <a16:creationId xmlns:a16="http://schemas.microsoft.com/office/drawing/2014/main" id="{96B25FF9-8E3E-4E4B-9AAB-1A2971B46475}"/>
                </a:ext>
              </a:extLst>
            </p:cNvPr>
            <p:cNvSpPr>
              <a:spLocks noChangeArrowheads="1"/>
            </p:cNvSpPr>
            <p:nvPr/>
          </p:nvSpPr>
          <p:spPr bwMode="auto">
            <a:xfrm>
              <a:off x="385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77" name="Oval 3154">
              <a:extLst>
                <a:ext uri="{FF2B5EF4-FFF2-40B4-BE49-F238E27FC236}">
                  <a16:creationId xmlns:a16="http://schemas.microsoft.com/office/drawing/2014/main" id="{DA0F317E-0D0D-4643-B07D-3C1186D37429}"/>
                </a:ext>
              </a:extLst>
            </p:cNvPr>
            <p:cNvSpPr>
              <a:spLocks noChangeArrowheads="1"/>
            </p:cNvSpPr>
            <p:nvPr/>
          </p:nvSpPr>
          <p:spPr bwMode="auto">
            <a:xfrm>
              <a:off x="3794"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78" name="Oval 3155">
              <a:extLst>
                <a:ext uri="{FF2B5EF4-FFF2-40B4-BE49-F238E27FC236}">
                  <a16:creationId xmlns:a16="http://schemas.microsoft.com/office/drawing/2014/main" id="{FB5FA394-51E8-46F8-8B56-9CF097FEB2E4}"/>
                </a:ext>
              </a:extLst>
            </p:cNvPr>
            <p:cNvSpPr>
              <a:spLocks noChangeArrowheads="1"/>
            </p:cNvSpPr>
            <p:nvPr/>
          </p:nvSpPr>
          <p:spPr bwMode="auto">
            <a:xfrm>
              <a:off x="36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79" name="Oval 3156">
              <a:extLst>
                <a:ext uri="{FF2B5EF4-FFF2-40B4-BE49-F238E27FC236}">
                  <a16:creationId xmlns:a16="http://schemas.microsoft.com/office/drawing/2014/main" id="{6554689C-2D94-42E8-8EFA-71D7D241FFA1}"/>
                </a:ext>
              </a:extLst>
            </p:cNvPr>
            <p:cNvSpPr>
              <a:spLocks noChangeArrowheads="1"/>
            </p:cNvSpPr>
            <p:nvPr/>
          </p:nvSpPr>
          <p:spPr bwMode="auto">
            <a:xfrm>
              <a:off x="409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80" name="Oval 3157">
              <a:extLst>
                <a:ext uri="{FF2B5EF4-FFF2-40B4-BE49-F238E27FC236}">
                  <a16:creationId xmlns:a16="http://schemas.microsoft.com/office/drawing/2014/main" id="{D049C377-0B8E-4A8E-9986-12A43462A116}"/>
                </a:ext>
              </a:extLst>
            </p:cNvPr>
            <p:cNvSpPr>
              <a:spLocks noChangeArrowheads="1"/>
            </p:cNvSpPr>
            <p:nvPr/>
          </p:nvSpPr>
          <p:spPr bwMode="auto">
            <a:xfrm>
              <a:off x="400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81" name="Oval 3158">
              <a:extLst>
                <a:ext uri="{FF2B5EF4-FFF2-40B4-BE49-F238E27FC236}">
                  <a16:creationId xmlns:a16="http://schemas.microsoft.com/office/drawing/2014/main" id="{C168DA0A-041A-4C08-8E8C-9060AF621EA6}"/>
                </a:ext>
              </a:extLst>
            </p:cNvPr>
            <p:cNvSpPr>
              <a:spLocks noChangeArrowheads="1"/>
            </p:cNvSpPr>
            <p:nvPr/>
          </p:nvSpPr>
          <p:spPr bwMode="auto">
            <a:xfrm>
              <a:off x="415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82" name="Oval 3159">
              <a:extLst>
                <a:ext uri="{FF2B5EF4-FFF2-40B4-BE49-F238E27FC236}">
                  <a16:creationId xmlns:a16="http://schemas.microsoft.com/office/drawing/2014/main" id="{50F0F6E1-9890-46F3-A49A-0DB1318ED20E}"/>
                </a:ext>
              </a:extLst>
            </p:cNvPr>
            <p:cNvSpPr>
              <a:spLocks noChangeArrowheads="1"/>
            </p:cNvSpPr>
            <p:nvPr/>
          </p:nvSpPr>
          <p:spPr bwMode="auto">
            <a:xfrm>
              <a:off x="424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83" name="Oval 3160">
              <a:extLst>
                <a:ext uri="{FF2B5EF4-FFF2-40B4-BE49-F238E27FC236}">
                  <a16:creationId xmlns:a16="http://schemas.microsoft.com/office/drawing/2014/main" id="{B2D418C4-7178-4F71-A534-71307B03E498}"/>
                </a:ext>
              </a:extLst>
            </p:cNvPr>
            <p:cNvSpPr>
              <a:spLocks noChangeArrowheads="1"/>
            </p:cNvSpPr>
            <p:nvPr/>
          </p:nvSpPr>
          <p:spPr bwMode="auto">
            <a:xfrm>
              <a:off x="427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84" name="Oval 3161">
              <a:extLst>
                <a:ext uri="{FF2B5EF4-FFF2-40B4-BE49-F238E27FC236}">
                  <a16:creationId xmlns:a16="http://schemas.microsoft.com/office/drawing/2014/main" id="{CD3C8309-6234-4670-8166-827C04F3C866}"/>
                </a:ext>
              </a:extLst>
            </p:cNvPr>
            <p:cNvSpPr>
              <a:spLocks noChangeArrowheads="1"/>
            </p:cNvSpPr>
            <p:nvPr/>
          </p:nvSpPr>
          <p:spPr bwMode="auto">
            <a:xfrm>
              <a:off x="4124"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85" name="Oval 3162">
              <a:extLst>
                <a:ext uri="{FF2B5EF4-FFF2-40B4-BE49-F238E27FC236}">
                  <a16:creationId xmlns:a16="http://schemas.microsoft.com/office/drawing/2014/main" id="{99DDC8D4-6858-49E3-B649-83C20BA9D1DD}"/>
                </a:ext>
              </a:extLst>
            </p:cNvPr>
            <p:cNvSpPr>
              <a:spLocks noChangeArrowheads="1"/>
            </p:cNvSpPr>
            <p:nvPr/>
          </p:nvSpPr>
          <p:spPr bwMode="auto">
            <a:xfrm>
              <a:off x="394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86" name="Oval 3163">
              <a:extLst>
                <a:ext uri="{FF2B5EF4-FFF2-40B4-BE49-F238E27FC236}">
                  <a16:creationId xmlns:a16="http://schemas.microsoft.com/office/drawing/2014/main" id="{37248B00-7250-4124-99BE-A3417FEAE569}"/>
                </a:ext>
              </a:extLst>
            </p:cNvPr>
            <p:cNvSpPr>
              <a:spLocks noChangeArrowheads="1"/>
            </p:cNvSpPr>
            <p:nvPr/>
          </p:nvSpPr>
          <p:spPr bwMode="auto">
            <a:xfrm>
              <a:off x="3884"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87" name="Oval 3164">
              <a:extLst>
                <a:ext uri="{FF2B5EF4-FFF2-40B4-BE49-F238E27FC236}">
                  <a16:creationId xmlns:a16="http://schemas.microsoft.com/office/drawing/2014/main" id="{074D325B-95E3-4E79-95B3-7D42A699E86F}"/>
                </a:ext>
              </a:extLst>
            </p:cNvPr>
            <p:cNvSpPr>
              <a:spLocks noChangeArrowheads="1"/>
            </p:cNvSpPr>
            <p:nvPr/>
          </p:nvSpPr>
          <p:spPr bwMode="auto">
            <a:xfrm>
              <a:off x="376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88" name="Oval 3165">
              <a:extLst>
                <a:ext uri="{FF2B5EF4-FFF2-40B4-BE49-F238E27FC236}">
                  <a16:creationId xmlns:a16="http://schemas.microsoft.com/office/drawing/2014/main" id="{27D88805-3713-4A15-8E29-714B5CDB9EE5}"/>
                </a:ext>
              </a:extLst>
            </p:cNvPr>
            <p:cNvSpPr>
              <a:spLocks noChangeArrowheads="1"/>
            </p:cNvSpPr>
            <p:nvPr/>
          </p:nvSpPr>
          <p:spPr bwMode="auto">
            <a:xfrm>
              <a:off x="3705" y="30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89" name="Oval 3166">
              <a:extLst>
                <a:ext uri="{FF2B5EF4-FFF2-40B4-BE49-F238E27FC236}">
                  <a16:creationId xmlns:a16="http://schemas.microsoft.com/office/drawing/2014/main" id="{24275F87-1D72-4D67-9646-3659F416BB40}"/>
                </a:ext>
              </a:extLst>
            </p:cNvPr>
            <p:cNvSpPr>
              <a:spLocks noChangeArrowheads="1"/>
            </p:cNvSpPr>
            <p:nvPr/>
          </p:nvSpPr>
          <p:spPr bwMode="auto">
            <a:xfrm>
              <a:off x="349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90" name="Oval 3167">
              <a:extLst>
                <a:ext uri="{FF2B5EF4-FFF2-40B4-BE49-F238E27FC236}">
                  <a16:creationId xmlns:a16="http://schemas.microsoft.com/office/drawing/2014/main" id="{76E70DEE-D77F-4885-AA70-6DB52C17395C}"/>
                </a:ext>
              </a:extLst>
            </p:cNvPr>
            <p:cNvSpPr>
              <a:spLocks noChangeArrowheads="1"/>
            </p:cNvSpPr>
            <p:nvPr/>
          </p:nvSpPr>
          <p:spPr bwMode="auto">
            <a:xfrm>
              <a:off x="358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2791" name="Oval 3168">
              <a:extLst>
                <a:ext uri="{FF2B5EF4-FFF2-40B4-BE49-F238E27FC236}">
                  <a16:creationId xmlns:a16="http://schemas.microsoft.com/office/drawing/2014/main" id="{A7695C32-10A6-431C-A791-0FE6F7E1E749}"/>
                </a:ext>
              </a:extLst>
            </p:cNvPr>
            <p:cNvSpPr>
              <a:spLocks noChangeArrowheads="1"/>
            </p:cNvSpPr>
            <p:nvPr/>
          </p:nvSpPr>
          <p:spPr bwMode="auto">
            <a:xfrm>
              <a:off x="355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sp>
        <p:nvSpPr>
          <p:cNvPr id="17" name="red 1">
            <a:extLst>
              <a:ext uri="{FF2B5EF4-FFF2-40B4-BE49-F238E27FC236}">
                <a16:creationId xmlns:a16="http://schemas.microsoft.com/office/drawing/2014/main" id="{15015EC1-DC85-4160-890A-1F172F70BCF2}"/>
              </a:ext>
            </a:extLst>
          </p:cNvPr>
          <p:cNvSpPr/>
          <p:nvPr>
            <p:custDataLst>
              <p:tags r:id="rId1"/>
            </p:custDataLst>
          </p:nvPr>
        </p:nvSpPr>
        <p:spPr>
          <a:xfrm>
            <a:off x="4266115" y="3244629"/>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881" name="red 1.1">
            <a:extLst>
              <a:ext uri="{FF2B5EF4-FFF2-40B4-BE49-F238E27FC236}">
                <a16:creationId xmlns:a16="http://schemas.microsoft.com/office/drawing/2014/main" id="{8CD3EE5E-41B4-4284-B396-9D6CE03EA820}"/>
              </a:ext>
            </a:extLst>
          </p:cNvPr>
          <p:cNvSpPr/>
          <p:nvPr>
            <p:custDataLst>
              <p:tags r:id="rId2"/>
            </p:custDataLst>
          </p:nvPr>
        </p:nvSpPr>
        <p:spPr>
          <a:xfrm rot="18953932">
            <a:off x="4230132" y="3244628"/>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883" name="red 1.2">
            <a:extLst>
              <a:ext uri="{FF2B5EF4-FFF2-40B4-BE49-F238E27FC236}">
                <a16:creationId xmlns:a16="http://schemas.microsoft.com/office/drawing/2014/main" id="{DAD7F397-F2A3-4830-85E2-9CF35713D997}"/>
              </a:ext>
            </a:extLst>
          </p:cNvPr>
          <p:cNvSpPr/>
          <p:nvPr>
            <p:custDataLst>
              <p:tags r:id="rId3"/>
            </p:custDataLst>
          </p:nvPr>
        </p:nvSpPr>
        <p:spPr>
          <a:xfrm rot="18953932">
            <a:off x="4234127" y="3250494"/>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882" name="red 3">
            <a:extLst>
              <a:ext uri="{FF2B5EF4-FFF2-40B4-BE49-F238E27FC236}">
                <a16:creationId xmlns:a16="http://schemas.microsoft.com/office/drawing/2014/main" id="{203811E6-396A-4C56-A7F4-ACC6E2001D92}"/>
              </a:ext>
            </a:extLst>
          </p:cNvPr>
          <p:cNvSpPr/>
          <p:nvPr>
            <p:custDataLst>
              <p:tags r:id="rId4"/>
            </p:custDataLst>
          </p:nvPr>
        </p:nvSpPr>
        <p:spPr>
          <a:xfrm rot="18953932">
            <a:off x="7728914" y="3256395"/>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887" name="red 3.1">
            <a:extLst>
              <a:ext uri="{FF2B5EF4-FFF2-40B4-BE49-F238E27FC236}">
                <a16:creationId xmlns:a16="http://schemas.microsoft.com/office/drawing/2014/main" id="{E5D057A7-173C-4778-BC46-8EB921467D47}"/>
              </a:ext>
            </a:extLst>
          </p:cNvPr>
          <p:cNvSpPr/>
          <p:nvPr>
            <p:custDataLst>
              <p:tags r:id="rId5"/>
            </p:custDataLst>
          </p:nvPr>
        </p:nvSpPr>
        <p:spPr>
          <a:xfrm rot="18953932">
            <a:off x="7728913" y="3249742"/>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890" name="Red 3.2">
            <a:extLst>
              <a:ext uri="{FF2B5EF4-FFF2-40B4-BE49-F238E27FC236}">
                <a16:creationId xmlns:a16="http://schemas.microsoft.com/office/drawing/2014/main" id="{54866710-929D-45AA-8EA5-A7D64594421C}"/>
              </a:ext>
            </a:extLst>
          </p:cNvPr>
          <p:cNvSpPr/>
          <p:nvPr>
            <p:custDataLst>
              <p:tags r:id="rId6"/>
            </p:custDataLst>
          </p:nvPr>
        </p:nvSpPr>
        <p:spPr>
          <a:xfrm rot="18953932">
            <a:off x="7721946" y="3260837"/>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891" name="red 5">
            <a:extLst>
              <a:ext uri="{FF2B5EF4-FFF2-40B4-BE49-F238E27FC236}">
                <a16:creationId xmlns:a16="http://schemas.microsoft.com/office/drawing/2014/main" id="{59511C2C-9DE4-4F41-9F35-5855BD57FAAD}"/>
              </a:ext>
            </a:extLst>
          </p:cNvPr>
          <p:cNvSpPr/>
          <p:nvPr>
            <p:custDataLst>
              <p:tags r:id="rId7"/>
            </p:custDataLst>
          </p:nvPr>
        </p:nvSpPr>
        <p:spPr>
          <a:xfrm rot="18953932">
            <a:off x="5001462" y="838392"/>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893" name="red 5.1">
            <a:extLst>
              <a:ext uri="{FF2B5EF4-FFF2-40B4-BE49-F238E27FC236}">
                <a16:creationId xmlns:a16="http://schemas.microsoft.com/office/drawing/2014/main" id="{EFE64FE4-538D-437A-A0B0-F2F713F1A3C1}"/>
              </a:ext>
            </a:extLst>
          </p:cNvPr>
          <p:cNvSpPr/>
          <p:nvPr>
            <p:custDataLst>
              <p:tags r:id="rId8"/>
            </p:custDataLst>
          </p:nvPr>
        </p:nvSpPr>
        <p:spPr>
          <a:xfrm rot="18953932">
            <a:off x="4986137" y="837807"/>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894" name="red 5.2">
            <a:extLst>
              <a:ext uri="{FF2B5EF4-FFF2-40B4-BE49-F238E27FC236}">
                <a16:creationId xmlns:a16="http://schemas.microsoft.com/office/drawing/2014/main" id="{41B83568-7635-448D-BF83-6C2891008CC4}"/>
              </a:ext>
            </a:extLst>
          </p:cNvPr>
          <p:cNvSpPr/>
          <p:nvPr>
            <p:custDataLst>
              <p:tags r:id="rId9"/>
            </p:custDataLst>
          </p:nvPr>
        </p:nvSpPr>
        <p:spPr>
          <a:xfrm rot="18953932">
            <a:off x="4984304" y="838801"/>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pic>
        <p:nvPicPr>
          <p:cNvPr id="4" name="Graphic 3">
            <a:extLst>
              <a:ext uri="{FF2B5EF4-FFF2-40B4-BE49-F238E27FC236}">
                <a16:creationId xmlns:a16="http://schemas.microsoft.com/office/drawing/2014/main" id="{9A16AAA9-0E25-4BAB-A473-AF5E36149F89}"/>
              </a:ext>
            </a:extLst>
          </p:cNvPr>
          <p:cNvPicPr>
            <a:picLocks noChangeAspect="1"/>
          </p:cNvPicPr>
          <p:nvPr>
            <p:custDataLst>
              <p:tags r:id="rId10"/>
            </p:custDataLst>
          </p:nvPr>
        </p:nvPicPr>
        <p:blipFill>
          <a:blip r:embed="rId21">
            <a:extLst>
              <a:ext uri="{96DAC541-7B7A-43D3-8B79-37D633B846F1}">
                <asvg:svgBlip xmlns:asvg="http://schemas.microsoft.com/office/drawing/2016/SVG/main" r:embed="rId22"/>
              </a:ext>
            </a:extLst>
          </a:blip>
          <a:stretch>
            <a:fillRect/>
          </a:stretch>
        </p:blipFill>
        <p:spPr>
          <a:xfrm>
            <a:off x="4850948" y="689765"/>
            <a:ext cx="328344" cy="328344"/>
          </a:xfrm>
          <a:prstGeom prst="rect">
            <a:avLst/>
          </a:prstGeom>
        </p:spPr>
      </p:pic>
      <p:pic>
        <p:nvPicPr>
          <p:cNvPr id="8" name="Graphic 7">
            <a:extLst>
              <a:ext uri="{FF2B5EF4-FFF2-40B4-BE49-F238E27FC236}">
                <a16:creationId xmlns:a16="http://schemas.microsoft.com/office/drawing/2014/main" id="{6E689990-C480-43E0-B37C-A2291BE4C19F}"/>
              </a:ext>
            </a:extLst>
          </p:cNvPr>
          <p:cNvPicPr>
            <a:picLocks noChangeAspect="1"/>
          </p:cNvPicPr>
          <p:nvPr>
            <p:custDataLst>
              <p:tags r:id="rId11"/>
            </p:custDataLst>
          </p:nvPr>
        </p:nvPicPr>
        <p:blipFill>
          <a:blip r:embed="rId23">
            <a:extLst>
              <a:ext uri="{96DAC541-7B7A-43D3-8B79-37D633B846F1}">
                <asvg:svgBlip xmlns:asvg="http://schemas.microsoft.com/office/drawing/2016/SVG/main" r:embed="rId24"/>
              </a:ext>
            </a:extLst>
          </a:blip>
          <a:stretch>
            <a:fillRect/>
          </a:stretch>
        </p:blipFill>
        <p:spPr>
          <a:xfrm>
            <a:off x="4124015" y="3119490"/>
            <a:ext cx="318989" cy="318989"/>
          </a:xfrm>
          <a:prstGeom prst="rect">
            <a:avLst/>
          </a:prstGeom>
        </p:spPr>
      </p:pic>
      <p:grpSp>
        <p:nvGrpSpPr>
          <p:cNvPr id="11" name="Group 4">
            <a:extLst>
              <a:ext uri="{FF2B5EF4-FFF2-40B4-BE49-F238E27FC236}">
                <a16:creationId xmlns:a16="http://schemas.microsoft.com/office/drawing/2014/main" id="{E8984880-1205-40F0-AD44-E535F6133B9A}"/>
              </a:ext>
            </a:extLst>
          </p:cNvPr>
          <p:cNvGrpSpPr>
            <a:grpSpLocks noChangeAspect="1"/>
          </p:cNvGrpSpPr>
          <p:nvPr>
            <p:custDataLst>
              <p:tags r:id="rId12"/>
            </p:custDataLst>
          </p:nvPr>
        </p:nvGrpSpPr>
        <p:grpSpPr bwMode="auto">
          <a:xfrm>
            <a:off x="7590232" y="3126766"/>
            <a:ext cx="330301" cy="330301"/>
            <a:chOff x="2767" y="1508"/>
            <a:chExt cx="226" cy="226"/>
          </a:xfrm>
        </p:grpSpPr>
        <p:sp>
          <p:nvSpPr>
            <p:cNvPr id="14" name="Oval 5">
              <a:extLst>
                <a:ext uri="{FF2B5EF4-FFF2-40B4-BE49-F238E27FC236}">
                  <a16:creationId xmlns:a16="http://schemas.microsoft.com/office/drawing/2014/main" id="{D04B3A96-A5F4-4D0C-9242-0C205DAF8C40}"/>
                </a:ext>
              </a:extLst>
            </p:cNvPr>
            <p:cNvSpPr>
              <a:spLocks noChangeArrowheads="1"/>
            </p:cNvSpPr>
            <p:nvPr/>
          </p:nvSpPr>
          <p:spPr bwMode="auto">
            <a:xfrm>
              <a:off x="2767" y="1508"/>
              <a:ext cx="226" cy="226"/>
            </a:xfrm>
            <a:prstGeom prst="ellipse">
              <a:avLst/>
            </a:prstGeom>
            <a:solidFill>
              <a:srgbClr val="E324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5" name="Freeform 6">
              <a:extLst>
                <a:ext uri="{FF2B5EF4-FFF2-40B4-BE49-F238E27FC236}">
                  <a16:creationId xmlns:a16="http://schemas.microsoft.com/office/drawing/2014/main" id="{F58DF7D7-B878-40A8-B446-82139D3A6AEF}"/>
                </a:ext>
              </a:extLst>
            </p:cNvPr>
            <p:cNvSpPr>
              <a:spLocks noEditPoints="1"/>
            </p:cNvSpPr>
            <p:nvPr/>
          </p:nvSpPr>
          <p:spPr bwMode="auto">
            <a:xfrm>
              <a:off x="2870" y="1618"/>
              <a:ext cx="20" cy="20"/>
            </a:xfrm>
            <a:custGeom>
              <a:avLst/>
              <a:gdLst>
                <a:gd name="T0" fmla="*/ 11 w 11"/>
                <a:gd name="T1" fmla="*/ 5 h 11"/>
                <a:gd name="T2" fmla="*/ 5 w 11"/>
                <a:gd name="T3" fmla="*/ 0 h 11"/>
                <a:gd name="T4" fmla="*/ 0 w 11"/>
                <a:gd name="T5" fmla="*/ 5 h 11"/>
                <a:gd name="T6" fmla="*/ 5 w 11"/>
                <a:gd name="T7" fmla="*/ 11 h 11"/>
                <a:gd name="T8" fmla="*/ 11 w 11"/>
                <a:gd name="T9" fmla="*/ 5 h 11"/>
                <a:gd name="T10" fmla="*/ 2 w 11"/>
                <a:gd name="T11" fmla="*/ 5 h 11"/>
                <a:gd name="T12" fmla="*/ 5 w 11"/>
                <a:gd name="T13" fmla="*/ 2 h 11"/>
                <a:gd name="T14" fmla="*/ 8 w 11"/>
                <a:gd name="T15" fmla="*/ 5 h 11"/>
                <a:gd name="T16" fmla="*/ 5 w 11"/>
                <a:gd name="T17" fmla="*/ 8 h 11"/>
                <a:gd name="T18" fmla="*/ 2 w 11"/>
                <a:gd name="T19"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1">
                  <a:moveTo>
                    <a:pt x="11" y="5"/>
                  </a:moveTo>
                  <a:cubicBezTo>
                    <a:pt x="11" y="2"/>
                    <a:pt x="8" y="0"/>
                    <a:pt x="5" y="0"/>
                  </a:cubicBezTo>
                  <a:cubicBezTo>
                    <a:pt x="2" y="0"/>
                    <a:pt x="0" y="2"/>
                    <a:pt x="0" y="5"/>
                  </a:cubicBezTo>
                  <a:cubicBezTo>
                    <a:pt x="0" y="8"/>
                    <a:pt x="2" y="11"/>
                    <a:pt x="5" y="11"/>
                  </a:cubicBezTo>
                  <a:cubicBezTo>
                    <a:pt x="8" y="11"/>
                    <a:pt x="11" y="8"/>
                    <a:pt x="11" y="5"/>
                  </a:cubicBezTo>
                  <a:close/>
                  <a:moveTo>
                    <a:pt x="2" y="5"/>
                  </a:moveTo>
                  <a:cubicBezTo>
                    <a:pt x="2" y="4"/>
                    <a:pt x="4" y="2"/>
                    <a:pt x="5" y="2"/>
                  </a:cubicBezTo>
                  <a:cubicBezTo>
                    <a:pt x="7" y="2"/>
                    <a:pt x="8" y="4"/>
                    <a:pt x="8" y="5"/>
                  </a:cubicBezTo>
                  <a:cubicBezTo>
                    <a:pt x="8" y="7"/>
                    <a:pt x="7" y="8"/>
                    <a:pt x="5" y="8"/>
                  </a:cubicBezTo>
                  <a:cubicBezTo>
                    <a:pt x="4" y="8"/>
                    <a:pt x="2" y="7"/>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6" name="Freeform 7">
              <a:extLst>
                <a:ext uri="{FF2B5EF4-FFF2-40B4-BE49-F238E27FC236}">
                  <a16:creationId xmlns:a16="http://schemas.microsoft.com/office/drawing/2014/main" id="{F791D7DF-C4A7-4AF7-93A7-96565E931BA4}"/>
                </a:ext>
              </a:extLst>
            </p:cNvPr>
            <p:cNvSpPr>
              <a:spLocks noEditPoints="1"/>
            </p:cNvSpPr>
            <p:nvPr/>
          </p:nvSpPr>
          <p:spPr bwMode="auto">
            <a:xfrm>
              <a:off x="2802" y="1540"/>
              <a:ext cx="157" cy="154"/>
            </a:xfrm>
            <a:custGeom>
              <a:avLst/>
              <a:gdLst>
                <a:gd name="T0" fmla="*/ 66 w 87"/>
                <a:gd name="T1" fmla="*/ 36 h 85"/>
                <a:gd name="T2" fmla="*/ 43 w 87"/>
                <a:gd name="T3" fmla="*/ 0 h 85"/>
                <a:gd name="T4" fmla="*/ 21 w 87"/>
                <a:gd name="T5" fmla="*/ 36 h 85"/>
                <a:gd name="T6" fmla="*/ 1 w 87"/>
                <a:gd name="T7" fmla="*/ 60 h 85"/>
                <a:gd name="T8" fmla="*/ 22 w 87"/>
                <a:gd name="T9" fmla="*/ 84 h 85"/>
                <a:gd name="T10" fmla="*/ 46 w 87"/>
                <a:gd name="T11" fmla="*/ 79 h 85"/>
                <a:gd name="T12" fmla="*/ 65 w 87"/>
                <a:gd name="T13" fmla="*/ 84 h 85"/>
                <a:gd name="T14" fmla="*/ 86 w 87"/>
                <a:gd name="T15" fmla="*/ 59 h 85"/>
                <a:gd name="T16" fmla="*/ 35 w 87"/>
                <a:gd name="T17" fmla="*/ 57 h 85"/>
                <a:gd name="T18" fmla="*/ 37 w 87"/>
                <a:gd name="T19" fmla="*/ 64 h 85"/>
                <a:gd name="T20" fmla="*/ 35 w 87"/>
                <a:gd name="T21" fmla="*/ 56 h 85"/>
                <a:gd name="T22" fmla="*/ 23 w 87"/>
                <a:gd name="T23" fmla="*/ 48 h 85"/>
                <a:gd name="T24" fmla="*/ 22 w 87"/>
                <a:gd name="T25" fmla="*/ 82 h 85"/>
                <a:gd name="T26" fmla="*/ 3 w 87"/>
                <a:gd name="T27" fmla="*/ 65 h 85"/>
                <a:gd name="T28" fmla="*/ 38 w 87"/>
                <a:gd name="T29" fmla="*/ 57 h 85"/>
                <a:gd name="T30" fmla="*/ 37 w 87"/>
                <a:gd name="T31" fmla="*/ 54 h 85"/>
                <a:gd name="T32" fmla="*/ 29 w 87"/>
                <a:gd name="T33" fmla="*/ 47 h 85"/>
                <a:gd name="T34" fmla="*/ 24 w 87"/>
                <a:gd name="T35" fmla="*/ 45 h 85"/>
                <a:gd name="T36" fmla="*/ 6 w 87"/>
                <a:gd name="T37" fmla="*/ 51 h 85"/>
                <a:gd name="T38" fmla="*/ 24 w 87"/>
                <a:gd name="T39" fmla="*/ 38 h 85"/>
                <a:gd name="T40" fmla="*/ 24 w 87"/>
                <a:gd name="T41" fmla="*/ 18 h 85"/>
                <a:gd name="T42" fmla="*/ 31 w 87"/>
                <a:gd name="T43" fmla="*/ 35 h 85"/>
                <a:gd name="T44" fmla="*/ 53 w 87"/>
                <a:gd name="T45" fmla="*/ 37 h 85"/>
                <a:gd name="T46" fmla="*/ 57 w 87"/>
                <a:gd name="T47" fmla="*/ 34 h 85"/>
                <a:gd name="T48" fmla="*/ 65 w 87"/>
                <a:gd name="T49" fmla="*/ 27 h 85"/>
                <a:gd name="T50" fmla="*/ 63 w 87"/>
                <a:gd name="T51" fmla="*/ 39 h 85"/>
                <a:gd name="T52" fmla="*/ 79 w 87"/>
                <a:gd name="T53" fmla="*/ 49 h 85"/>
                <a:gd name="T54" fmla="*/ 61 w 87"/>
                <a:gd name="T55" fmla="*/ 46 h 85"/>
                <a:gd name="T56" fmla="*/ 51 w 87"/>
                <a:gd name="T57" fmla="*/ 52 h 85"/>
                <a:gd name="T58" fmla="*/ 47 w 87"/>
                <a:gd name="T59" fmla="*/ 66 h 85"/>
                <a:gd name="T60" fmla="*/ 55 w 87"/>
                <a:gd name="T61" fmla="*/ 81 h 85"/>
                <a:gd name="T62" fmla="*/ 42 w 87"/>
                <a:gd name="T63" fmla="*/ 74 h 85"/>
                <a:gd name="T64" fmla="*/ 40 w 87"/>
                <a:gd name="T65" fmla="*/ 65 h 85"/>
                <a:gd name="T66" fmla="*/ 58 w 87"/>
                <a:gd name="T67" fmla="*/ 10 h 85"/>
                <a:gd name="T68" fmla="*/ 59 w 87"/>
                <a:gd name="T69" fmla="*/ 13 h 85"/>
                <a:gd name="T70" fmla="*/ 60 w 87"/>
                <a:gd name="T71" fmla="*/ 17 h 85"/>
                <a:gd name="T72" fmla="*/ 43 w 87"/>
                <a:gd name="T73" fmla="*/ 28 h 85"/>
                <a:gd name="T74" fmla="*/ 27 w 87"/>
                <a:gd name="T75" fmla="*/ 17 h 85"/>
                <a:gd name="T76" fmla="*/ 28 w 87"/>
                <a:gd name="T77" fmla="*/ 13 h 85"/>
                <a:gd name="T78" fmla="*/ 29 w 87"/>
                <a:gd name="T79" fmla="*/ 11 h 85"/>
                <a:gd name="T80" fmla="*/ 43 w 87"/>
                <a:gd name="T81" fmla="*/ 37 h 85"/>
                <a:gd name="T82" fmla="*/ 61 w 87"/>
                <a:gd name="T83" fmla="*/ 49 h 85"/>
                <a:gd name="T84" fmla="*/ 59 w 87"/>
                <a:gd name="T85" fmla="*/ 80 h 85"/>
                <a:gd name="T86" fmla="*/ 64 w 87"/>
                <a:gd name="T87" fmla="*/ 48 h 85"/>
                <a:gd name="T88" fmla="*/ 83 w 87"/>
                <a:gd name="T89" fmla="*/ 59 h 85"/>
                <a:gd name="T90" fmla="*/ 65 w 87"/>
                <a:gd name="T91" fmla="*/ 82 h 85"/>
                <a:gd name="T92" fmla="*/ 60 w 87"/>
                <a:gd name="T9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5">
                  <a:moveTo>
                    <a:pt x="86" y="59"/>
                  </a:moveTo>
                  <a:cubicBezTo>
                    <a:pt x="85" y="52"/>
                    <a:pt x="82" y="46"/>
                    <a:pt x="77" y="42"/>
                  </a:cubicBezTo>
                  <a:cubicBezTo>
                    <a:pt x="74" y="39"/>
                    <a:pt x="70" y="37"/>
                    <a:pt x="66" y="36"/>
                  </a:cubicBezTo>
                  <a:cubicBezTo>
                    <a:pt x="67" y="33"/>
                    <a:pt x="68" y="30"/>
                    <a:pt x="68" y="27"/>
                  </a:cubicBezTo>
                  <a:cubicBezTo>
                    <a:pt x="68" y="20"/>
                    <a:pt x="65" y="14"/>
                    <a:pt x="60" y="9"/>
                  </a:cubicBezTo>
                  <a:cubicBezTo>
                    <a:pt x="56" y="4"/>
                    <a:pt x="50" y="0"/>
                    <a:pt x="43" y="0"/>
                  </a:cubicBezTo>
                  <a:cubicBezTo>
                    <a:pt x="37" y="0"/>
                    <a:pt x="30" y="4"/>
                    <a:pt x="27" y="9"/>
                  </a:cubicBezTo>
                  <a:cubicBezTo>
                    <a:pt x="22" y="14"/>
                    <a:pt x="19" y="20"/>
                    <a:pt x="19" y="27"/>
                  </a:cubicBezTo>
                  <a:cubicBezTo>
                    <a:pt x="19" y="30"/>
                    <a:pt x="20" y="33"/>
                    <a:pt x="21" y="36"/>
                  </a:cubicBezTo>
                  <a:cubicBezTo>
                    <a:pt x="17" y="37"/>
                    <a:pt x="13" y="39"/>
                    <a:pt x="10" y="42"/>
                  </a:cubicBezTo>
                  <a:cubicBezTo>
                    <a:pt x="5" y="46"/>
                    <a:pt x="1" y="52"/>
                    <a:pt x="1" y="59"/>
                  </a:cubicBezTo>
                  <a:cubicBezTo>
                    <a:pt x="1" y="59"/>
                    <a:pt x="1" y="59"/>
                    <a:pt x="1" y="60"/>
                  </a:cubicBezTo>
                  <a:cubicBezTo>
                    <a:pt x="1" y="61"/>
                    <a:pt x="0" y="63"/>
                    <a:pt x="0" y="65"/>
                  </a:cubicBezTo>
                  <a:cubicBezTo>
                    <a:pt x="0" y="76"/>
                    <a:pt x="9" y="85"/>
                    <a:pt x="20" y="85"/>
                  </a:cubicBezTo>
                  <a:cubicBezTo>
                    <a:pt x="21" y="85"/>
                    <a:pt x="21" y="85"/>
                    <a:pt x="22" y="84"/>
                  </a:cubicBezTo>
                  <a:cubicBezTo>
                    <a:pt x="29" y="85"/>
                    <a:pt x="36" y="83"/>
                    <a:pt x="41" y="79"/>
                  </a:cubicBezTo>
                  <a:cubicBezTo>
                    <a:pt x="42" y="78"/>
                    <a:pt x="42" y="77"/>
                    <a:pt x="43" y="77"/>
                  </a:cubicBezTo>
                  <a:cubicBezTo>
                    <a:pt x="44" y="77"/>
                    <a:pt x="45" y="78"/>
                    <a:pt x="46" y="79"/>
                  </a:cubicBezTo>
                  <a:cubicBezTo>
                    <a:pt x="50" y="83"/>
                    <a:pt x="56" y="85"/>
                    <a:pt x="61" y="85"/>
                  </a:cubicBezTo>
                  <a:cubicBezTo>
                    <a:pt x="61" y="85"/>
                    <a:pt x="61" y="85"/>
                    <a:pt x="61" y="85"/>
                  </a:cubicBezTo>
                  <a:cubicBezTo>
                    <a:pt x="62" y="85"/>
                    <a:pt x="64" y="85"/>
                    <a:pt x="65" y="84"/>
                  </a:cubicBezTo>
                  <a:cubicBezTo>
                    <a:pt x="65" y="84"/>
                    <a:pt x="66" y="85"/>
                    <a:pt x="67" y="85"/>
                  </a:cubicBezTo>
                  <a:cubicBezTo>
                    <a:pt x="78" y="85"/>
                    <a:pt x="87" y="76"/>
                    <a:pt x="87" y="65"/>
                  </a:cubicBezTo>
                  <a:cubicBezTo>
                    <a:pt x="87" y="63"/>
                    <a:pt x="86" y="61"/>
                    <a:pt x="86" y="59"/>
                  </a:cubicBezTo>
                  <a:close/>
                  <a:moveTo>
                    <a:pt x="35" y="56"/>
                  </a:moveTo>
                  <a:cubicBezTo>
                    <a:pt x="35" y="57"/>
                    <a:pt x="35" y="57"/>
                    <a:pt x="35" y="57"/>
                  </a:cubicBezTo>
                  <a:cubicBezTo>
                    <a:pt x="35" y="57"/>
                    <a:pt x="35" y="57"/>
                    <a:pt x="35" y="57"/>
                  </a:cubicBezTo>
                  <a:cubicBezTo>
                    <a:pt x="35" y="57"/>
                    <a:pt x="35" y="58"/>
                    <a:pt x="36" y="58"/>
                  </a:cubicBezTo>
                  <a:cubicBezTo>
                    <a:pt x="36" y="59"/>
                    <a:pt x="37" y="60"/>
                    <a:pt x="37" y="62"/>
                  </a:cubicBezTo>
                  <a:cubicBezTo>
                    <a:pt x="37" y="62"/>
                    <a:pt x="37" y="63"/>
                    <a:pt x="37" y="64"/>
                  </a:cubicBezTo>
                  <a:cubicBezTo>
                    <a:pt x="37" y="64"/>
                    <a:pt x="37" y="64"/>
                    <a:pt x="37" y="65"/>
                  </a:cubicBezTo>
                  <a:cubicBezTo>
                    <a:pt x="30" y="62"/>
                    <a:pt x="26" y="56"/>
                    <a:pt x="26" y="49"/>
                  </a:cubicBezTo>
                  <a:cubicBezTo>
                    <a:pt x="30" y="50"/>
                    <a:pt x="33" y="53"/>
                    <a:pt x="35" y="56"/>
                  </a:cubicBezTo>
                  <a:close/>
                  <a:moveTo>
                    <a:pt x="20" y="48"/>
                  </a:moveTo>
                  <a:cubicBezTo>
                    <a:pt x="21" y="48"/>
                    <a:pt x="22" y="48"/>
                    <a:pt x="23" y="48"/>
                  </a:cubicBezTo>
                  <a:cubicBezTo>
                    <a:pt x="23" y="48"/>
                    <a:pt x="23" y="48"/>
                    <a:pt x="23" y="48"/>
                  </a:cubicBezTo>
                  <a:cubicBezTo>
                    <a:pt x="23" y="57"/>
                    <a:pt x="28" y="65"/>
                    <a:pt x="37" y="68"/>
                  </a:cubicBezTo>
                  <a:cubicBezTo>
                    <a:pt x="36" y="72"/>
                    <a:pt x="34" y="75"/>
                    <a:pt x="31" y="78"/>
                  </a:cubicBezTo>
                  <a:cubicBezTo>
                    <a:pt x="28" y="80"/>
                    <a:pt x="25" y="81"/>
                    <a:pt x="22" y="82"/>
                  </a:cubicBezTo>
                  <a:cubicBezTo>
                    <a:pt x="22" y="82"/>
                    <a:pt x="22" y="82"/>
                    <a:pt x="22" y="82"/>
                  </a:cubicBezTo>
                  <a:cubicBezTo>
                    <a:pt x="21" y="82"/>
                    <a:pt x="21" y="82"/>
                    <a:pt x="20" y="82"/>
                  </a:cubicBezTo>
                  <a:cubicBezTo>
                    <a:pt x="11" y="82"/>
                    <a:pt x="3" y="74"/>
                    <a:pt x="3" y="65"/>
                  </a:cubicBezTo>
                  <a:cubicBezTo>
                    <a:pt x="3" y="55"/>
                    <a:pt x="11" y="48"/>
                    <a:pt x="20" y="48"/>
                  </a:cubicBezTo>
                  <a:close/>
                  <a:moveTo>
                    <a:pt x="40" y="65"/>
                  </a:moveTo>
                  <a:cubicBezTo>
                    <a:pt x="40" y="62"/>
                    <a:pt x="39" y="59"/>
                    <a:pt x="38" y="57"/>
                  </a:cubicBezTo>
                  <a:cubicBezTo>
                    <a:pt x="38" y="57"/>
                    <a:pt x="38" y="57"/>
                    <a:pt x="38" y="57"/>
                  </a:cubicBezTo>
                  <a:cubicBezTo>
                    <a:pt x="38" y="56"/>
                    <a:pt x="38" y="56"/>
                    <a:pt x="37" y="55"/>
                  </a:cubicBezTo>
                  <a:cubicBezTo>
                    <a:pt x="37" y="55"/>
                    <a:pt x="37" y="54"/>
                    <a:pt x="37" y="54"/>
                  </a:cubicBezTo>
                  <a:cubicBezTo>
                    <a:pt x="36" y="53"/>
                    <a:pt x="36" y="53"/>
                    <a:pt x="36" y="53"/>
                  </a:cubicBezTo>
                  <a:cubicBezTo>
                    <a:pt x="36" y="53"/>
                    <a:pt x="36" y="52"/>
                    <a:pt x="35" y="52"/>
                  </a:cubicBezTo>
                  <a:cubicBezTo>
                    <a:pt x="34" y="50"/>
                    <a:pt x="31" y="48"/>
                    <a:pt x="29" y="47"/>
                  </a:cubicBezTo>
                  <a:cubicBezTo>
                    <a:pt x="28" y="47"/>
                    <a:pt x="28" y="46"/>
                    <a:pt x="27" y="46"/>
                  </a:cubicBezTo>
                  <a:cubicBezTo>
                    <a:pt x="27" y="46"/>
                    <a:pt x="26" y="46"/>
                    <a:pt x="25" y="46"/>
                  </a:cubicBezTo>
                  <a:cubicBezTo>
                    <a:pt x="25" y="45"/>
                    <a:pt x="24" y="45"/>
                    <a:pt x="24" y="45"/>
                  </a:cubicBezTo>
                  <a:cubicBezTo>
                    <a:pt x="23" y="45"/>
                    <a:pt x="22" y="45"/>
                    <a:pt x="22" y="45"/>
                  </a:cubicBezTo>
                  <a:cubicBezTo>
                    <a:pt x="17" y="44"/>
                    <a:pt x="11" y="46"/>
                    <a:pt x="7" y="49"/>
                  </a:cubicBezTo>
                  <a:cubicBezTo>
                    <a:pt x="7" y="50"/>
                    <a:pt x="6" y="50"/>
                    <a:pt x="6" y="51"/>
                  </a:cubicBezTo>
                  <a:cubicBezTo>
                    <a:pt x="7" y="48"/>
                    <a:pt x="9" y="46"/>
                    <a:pt x="12" y="44"/>
                  </a:cubicBezTo>
                  <a:cubicBezTo>
                    <a:pt x="15" y="41"/>
                    <a:pt x="19" y="39"/>
                    <a:pt x="23" y="39"/>
                  </a:cubicBezTo>
                  <a:cubicBezTo>
                    <a:pt x="24" y="39"/>
                    <a:pt x="24" y="39"/>
                    <a:pt x="24" y="38"/>
                  </a:cubicBezTo>
                  <a:cubicBezTo>
                    <a:pt x="24" y="38"/>
                    <a:pt x="24" y="37"/>
                    <a:pt x="24" y="37"/>
                  </a:cubicBezTo>
                  <a:cubicBezTo>
                    <a:pt x="23" y="34"/>
                    <a:pt x="22" y="30"/>
                    <a:pt x="22" y="27"/>
                  </a:cubicBezTo>
                  <a:cubicBezTo>
                    <a:pt x="22" y="24"/>
                    <a:pt x="22" y="21"/>
                    <a:pt x="24" y="18"/>
                  </a:cubicBezTo>
                  <a:cubicBezTo>
                    <a:pt x="24" y="19"/>
                    <a:pt x="23" y="19"/>
                    <a:pt x="23" y="20"/>
                  </a:cubicBezTo>
                  <a:cubicBezTo>
                    <a:pt x="23" y="25"/>
                    <a:pt x="26" y="30"/>
                    <a:pt x="29" y="34"/>
                  </a:cubicBezTo>
                  <a:cubicBezTo>
                    <a:pt x="30" y="35"/>
                    <a:pt x="30" y="35"/>
                    <a:pt x="31" y="35"/>
                  </a:cubicBezTo>
                  <a:cubicBezTo>
                    <a:pt x="31" y="36"/>
                    <a:pt x="32" y="36"/>
                    <a:pt x="32" y="36"/>
                  </a:cubicBezTo>
                  <a:cubicBezTo>
                    <a:pt x="33" y="37"/>
                    <a:pt x="33" y="37"/>
                    <a:pt x="34" y="37"/>
                  </a:cubicBezTo>
                  <a:cubicBezTo>
                    <a:pt x="40" y="41"/>
                    <a:pt x="47" y="41"/>
                    <a:pt x="53" y="37"/>
                  </a:cubicBezTo>
                  <a:cubicBezTo>
                    <a:pt x="53" y="37"/>
                    <a:pt x="54" y="37"/>
                    <a:pt x="54" y="36"/>
                  </a:cubicBezTo>
                  <a:cubicBezTo>
                    <a:pt x="55" y="36"/>
                    <a:pt x="55" y="36"/>
                    <a:pt x="56" y="35"/>
                  </a:cubicBezTo>
                  <a:cubicBezTo>
                    <a:pt x="56" y="35"/>
                    <a:pt x="57" y="35"/>
                    <a:pt x="57" y="34"/>
                  </a:cubicBezTo>
                  <a:cubicBezTo>
                    <a:pt x="61" y="30"/>
                    <a:pt x="63" y="25"/>
                    <a:pt x="63" y="20"/>
                  </a:cubicBezTo>
                  <a:cubicBezTo>
                    <a:pt x="63" y="19"/>
                    <a:pt x="63" y="19"/>
                    <a:pt x="63" y="18"/>
                  </a:cubicBezTo>
                  <a:cubicBezTo>
                    <a:pt x="64" y="21"/>
                    <a:pt x="65" y="24"/>
                    <a:pt x="65" y="27"/>
                  </a:cubicBezTo>
                  <a:cubicBezTo>
                    <a:pt x="65" y="30"/>
                    <a:pt x="64" y="34"/>
                    <a:pt x="62" y="37"/>
                  </a:cubicBezTo>
                  <a:cubicBezTo>
                    <a:pt x="62" y="37"/>
                    <a:pt x="62" y="38"/>
                    <a:pt x="62" y="38"/>
                  </a:cubicBezTo>
                  <a:cubicBezTo>
                    <a:pt x="63" y="39"/>
                    <a:pt x="63" y="39"/>
                    <a:pt x="63" y="39"/>
                  </a:cubicBezTo>
                  <a:cubicBezTo>
                    <a:pt x="68" y="39"/>
                    <a:pt x="72" y="41"/>
                    <a:pt x="75" y="44"/>
                  </a:cubicBezTo>
                  <a:cubicBezTo>
                    <a:pt x="77" y="46"/>
                    <a:pt x="79" y="48"/>
                    <a:pt x="81" y="51"/>
                  </a:cubicBezTo>
                  <a:cubicBezTo>
                    <a:pt x="80" y="50"/>
                    <a:pt x="80" y="50"/>
                    <a:pt x="79" y="49"/>
                  </a:cubicBezTo>
                  <a:cubicBezTo>
                    <a:pt x="75" y="46"/>
                    <a:pt x="70" y="44"/>
                    <a:pt x="65" y="45"/>
                  </a:cubicBezTo>
                  <a:cubicBezTo>
                    <a:pt x="64" y="45"/>
                    <a:pt x="64" y="45"/>
                    <a:pt x="63" y="45"/>
                  </a:cubicBezTo>
                  <a:cubicBezTo>
                    <a:pt x="62" y="45"/>
                    <a:pt x="62" y="45"/>
                    <a:pt x="61" y="46"/>
                  </a:cubicBezTo>
                  <a:cubicBezTo>
                    <a:pt x="61" y="46"/>
                    <a:pt x="60" y="46"/>
                    <a:pt x="59" y="46"/>
                  </a:cubicBezTo>
                  <a:cubicBezTo>
                    <a:pt x="59" y="46"/>
                    <a:pt x="58" y="47"/>
                    <a:pt x="58" y="47"/>
                  </a:cubicBezTo>
                  <a:cubicBezTo>
                    <a:pt x="55" y="48"/>
                    <a:pt x="53" y="50"/>
                    <a:pt x="51" y="52"/>
                  </a:cubicBezTo>
                  <a:cubicBezTo>
                    <a:pt x="49" y="55"/>
                    <a:pt x="47" y="59"/>
                    <a:pt x="47" y="62"/>
                  </a:cubicBezTo>
                  <a:cubicBezTo>
                    <a:pt x="47" y="63"/>
                    <a:pt x="47" y="64"/>
                    <a:pt x="47" y="64"/>
                  </a:cubicBezTo>
                  <a:cubicBezTo>
                    <a:pt x="47" y="65"/>
                    <a:pt x="47" y="65"/>
                    <a:pt x="47" y="66"/>
                  </a:cubicBezTo>
                  <a:cubicBezTo>
                    <a:pt x="47" y="67"/>
                    <a:pt x="47" y="67"/>
                    <a:pt x="47" y="68"/>
                  </a:cubicBezTo>
                  <a:cubicBezTo>
                    <a:pt x="48" y="73"/>
                    <a:pt x="50" y="77"/>
                    <a:pt x="54" y="80"/>
                  </a:cubicBezTo>
                  <a:cubicBezTo>
                    <a:pt x="55" y="80"/>
                    <a:pt x="55" y="81"/>
                    <a:pt x="55" y="81"/>
                  </a:cubicBezTo>
                  <a:cubicBezTo>
                    <a:pt x="53" y="80"/>
                    <a:pt x="50" y="79"/>
                    <a:pt x="48" y="77"/>
                  </a:cubicBezTo>
                  <a:cubicBezTo>
                    <a:pt x="47" y="76"/>
                    <a:pt x="45" y="75"/>
                    <a:pt x="44" y="74"/>
                  </a:cubicBezTo>
                  <a:cubicBezTo>
                    <a:pt x="44" y="73"/>
                    <a:pt x="43" y="73"/>
                    <a:pt x="42" y="74"/>
                  </a:cubicBezTo>
                  <a:cubicBezTo>
                    <a:pt x="41" y="75"/>
                    <a:pt x="40" y="76"/>
                    <a:pt x="39" y="77"/>
                  </a:cubicBezTo>
                  <a:cubicBezTo>
                    <a:pt x="37" y="79"/>
                    <a:pt x="34" y="80"/>
                    <a:pt x="31" y="81"/>
                  </a:cubicBezTo>
                  <a:cubicBezTo>
                    <a:pt x="37" y="77"/>
                    <a:pt x="40" y="71"/>
                    <a:pt x="40" y="65"/>
                  </a:cubicBezTo>
                  <a:close/>
                  <a:moveTo>
                    <a:pt x="29" y="11"/>
                  </a:moveTo>
                  <a:cubicBezTo>
                    <a:pt x="32" y="6"/>
                    <a:pt x="38" y="3"/>
                    <a:pt x="43" y="3"/>
                  </a:cubicBezTo>
                  <a:cubicBezTo>
                    <a:pt x="49" y="3"/>
                    <a:pt x="54" y="6"/>
                    <a:pt x="58" y="10"/>
                  </a:cubicBezTo>
                  <a:cubicBezTo>
                    <a:pt x="58" y="11"/>
                    <a:pt x="58" y="11"/>
                    <a:pt x="58" y="11"/>
                  </a:cubicBezTo>
                  <a:cubicBezTo>
                    <a:pt x="58" y="11"/>
                    <a:pt x="58" y="12"/>
                    <a:pt x="59" y="13"/>
                  </a:cubicBezTo>
                  <a:cubicBezTo>
                    <a:pt x="59" y="13"/>
                    <a:pt x="59" y="13"/>
                    <a:pt x="59" y="13"/>
                  </a:cubicBezTo>
                  <a:cubicBezTo>
                    <a:pt x="59" y="14"/>
                    <a:pt x="59" y="14"/>
                    <a:pt x="60" y="15"/>
                  </a:cubicBezTo>
                  <a:cubicBezTo>
                    <a:pt x="60" y="15"/>
                    <a:pt x="60" y="16"/>
                    <a:pt x="60" y="16"/>
                  </a:cubicBezTo>
                  <a:cubicBezTo>
                    <a:pt x="60" y="16"/>
                    <a:pt x="60" y="16"/>
                    <a:pt x="60" y="17"/>
                  </a:cubicBezTo>
                  <a:cubicBezTo>
                    <a:pt x="60" y="18"/>
                    <a:pt x="60" y="19"/>
                    <a:pt x="60" y="20"/>
                  </a:cubicBezTo>
                  <a:cubicBezTo>
                    <a:pt x="60" y="24"/>
                    <a:pt x="59" y="29"/>
                    <a:pt x="55" y="32"/>
                  </a:cubicBezTo>
                  <a:cubicBezTo>
                    <a:pt x="52" y="29"/>
                    <a:pt x="48" y="28"/>
                    <a:pt x="43" y="28"/>
                  </a:cubicBezTo>
                  <a:cubicBezTo>
                    <a:pt x="39" y="28"/>
                    <a:pt x="35" y="29"/>
                    <a:pt x="31" y="32"/>
                  </a:cubicBezTo>
                  <a:cubicBezTo>
                    <a:pt x="28" y="29"/>
                    <a:pt x="26" y="24"/>
                    <a:pt x="26" y="20"/>
                  </a:cubicBezTo>
                  <a:cubicBezTo>
                    <a:pt x="26" y="19"/>
                    <a:pt x="26" y="18"/>
                    <a:pt x="27" y="17"/>
                  </a:cubicBezTo>
                  <a:cubicBezTo>
                    <a:pt x="27" y="16"/>
                    <a:pt x="27" y="16"/>
                    <a:pt x="27" y="16"/>
                  </a:cubicBezTo>
                  <a:cubicBezTo>
                    <a:pt x="27" y="16"/>
                    <a:pt x="27" y="15"/>
                    <a:pt x="27" y="15"/>
                  </a:cubicBezTo>
                  <a:cubicBezTo>
                    <a:pt x="27" y="14"/>
                    <a:pt x="28" y="13"/>
                    <a:pt x="28" y="13"/>
                  </a:cubicBezTo>
                  <a:cubicBezTo>
                    <a:pt x="28" y="12"/>
                    <a:pt x="29" y="11"/>
                    <a:pt x="29" y="11"/>
                  </a:cubicBezTo>
                  <a:cubicBezTo>
                    <a:pt x="29" y="11"/>
                    <a:pt x="29" y="11"/>
                    <a:pt x="29" y="11"/>
                  </a:cubicBezTo>
                  <a:cubicBezTo>
                    <a:pt x="29" y="11"/>
                    <a:pt x="29" y="11"/>
                    <a:pt x="29" y="11"/>
                  </a:cubicBezTo>
                  <a:close/>
                  <a:moveTo>
                    <a:pt x="43" y="31"/>
                  </a:moveTo>
                  <a:cubicBezTo>
                    <a:pt x="47" y="31"/>
                    <a:pt x="50" y="32"/>
                    <a:pt x="53" y="34"/>
                  </a:cubicBezTo>
                  <a:cubicBezTo>
                    <a:pt x="50" y="36"/>
                    <a:pt x="47" y="37"/>
                    <a:pt x="43" y="37"/>
                  </a:cubicBezTo>
                  <a:cubicBezTo>
                    <a:pt x="40" y="37"/>
                    <a:pt x="36" y="36"/>
                    <a:pt x="33" y="34"/>
                  </a:cubicBezTo>
                  <a:cubicBezTo>
                    <a:pt x="36" y="32"/>
                    <a:pt x="40" y="31"/>
                    <a:pt x="43" y="31"/>
                  </a:cubicBezTo>
                  <a:close/>
                  <a:moveTo>
                    <a:pt x="61" y="49"/>
                  </a:moveTo>
                  <a:cubicBezTo>
                    <a:pt x="61" y="56"/>
                    <a:pt x="56" y="62"/>
                    <a:pt x="50" y="65"/>
                  </a:cubicBezTo>
                  <a:cubicBezTo>
                    <a:pt x="50" y="58"/>
                    <a:pt x="54" y="51"/>
                    <a:pt x="61" y="49"/>
                  </a:cubicBezTo>
                  <a:close/>
                  <a:moveTo>
                    <a:pt x="59" y="80"/>
                  </a:moveTo>
                  <a:cubicBezTo>
                    <a:pt x="54" y="77"/>
                    <a:pt x="51" y="73"/>
                    <a:pt x="50" y="68"/>
                  </a:cubicBezTo>
                  <a:cubicBezTo>
                    <a:pt x="58" y="65"/>
                    <a:pt x="64" y="57"/>
                    <a:pt x="64" y="48"/>
                  </a:cubicBezTo>
                  <a:cubicBezTo>
                    <a:pt x="64" y="48"/>
                    <a:pt x="64" y="48"/>
                    <a:pt x="64" y="48"/>
                  </a:cubicBezTo>
                  <a:cubicBezTo>
                    <a:pt x="65" y="48"/>
                    <a:pt x="66" y="48"/>
                    <a:pt x="67" y="48"/>
                  </a:cubicBezTo>
                  <a:cubicBezTo>
                    <a:pt x="73" y="48"/>
                    <a:pt x="80" y="52"/>
                    <a:pt x="82" y="58"/>
                  </a:cubicBezTo>
                  <a:cubicBezTo>
                    <a:pt x="82" y="58"/>
                    <a:pt x="83" y="59"/>
                    <a:pt x="83" y="59"/>
                  </a:cubicBezTo>
                  <a:cubicBezTo>
                    <a:pt x="83" y="61"/>
                    <a:pt x="84" y="63"/>
                    <a:pt x="84" y="65"/>
                  </a:cubicBezTo>
                  <a:cubicBezTo>
                    <a:pt x="84" y="74"/>
                    <a:pt x="76" y="82"/>
                    <a:pt x="67" y="82"/>
                  </a:cubicBezTo>
                  <a:cubicBezTo>
                    <a:pt x="66" y="82"/>
                    <a:pt x="66" y="82"/>
                    <a:pt x="65" y="82"/>
                  </a:cubicBezTo>
                  <a:cubicBezTo>
                    <a:pt x="65" y="82"/>
                    <a:pt x="65" y="82"/>
                    <a:pt x="65" y="82"/>
                  </a:cubicBezTo>
                  <a:cubicBezTo>
                    <a:pt x="64" y="82"/>
                    <a:pt x="63" y="81"/>
                    <a:pt x="62" y="81"/>
                  </a:cubicBezTo>
                  <a:cubicBezTo>
                    <a:pt x="62" y="81"/>
                    <a:pt x="61" y="81"/>
                    <a:pt x="60" y="81"/>
                  </a:cubicBezTo>
                  <a:cubicBezTo>
                    <a:pt x="60" y="80"/>
                    <a:pt x="60" y="80"/>
                    <a:pt x="60" y="80"/>
                  </a:cubicBezTo>
                  <a:cubicBezTo>
                    <a:pt x="59" y="80"/>
                    <a:pt x="59" y="80"/>
                    <a:pt x="59"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sp>
        <p:nvSpPr>
          <p:cNvPr id="2" name="Rectangle 1">
            <a:extLst>
              <a:ext uri="{FF2B5EF4-FFF2-40B4-BE49-F238E27FC236}">
                <a16:creationId xmlns:a16="http://schemas.microsoft.com/office/drawing/2014/main" id="{D941A42D-75B0-47CC-BB9B-14DCA7FBC5D0}"/>
              </a:ext>
            </a:extLst>
          </p:cNvPr>
          <p:cNvSpPr/>
          <p:nvPr/>
        </p:nvSpPr>
        <p:spPr>
          <a:xfrm>
            <a:off x="0" y="0"/>
            <a:ext cx="3048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23" name="TextBox 22">
            <a:extLst>
              <a:ext uri="{FF2B5EF4-FFF2-40B4-BE49-F238E27FC236}">
                <a16:creationId xmlns:a16="http://schemas.microsoft.com/office/drawing/2014/main" id="{CF3393CF-03E8-4CF0-A5FC-11D4DD9F6333}"/>
              </a:ext>
            </a:extLst>
          </p:cNvPr>
          <p:cNvSpPr txBox="1"/>
          <p:nvPr/>
        </p:nvSpPr>
        <p:spPr>
          <a:xfrm>
            <a:off x="386201" y="1341444"/>
            <a:ext cx="2709423" cy="1266501"/>
          </a:xfrm>
          <a:prstGeom prst="rect">
            <a:avLst/>
          </a:prstGeom>
          <a:noFill/>
        </p:spPr>
        <p:txBody>
          <a:bodyPr wrap="square" rtlCol="0" anchor="t">
            <a:spAutoFit/>
          </a:bodyPr>
          <a:lstStyle/>
          <a:p>
            <a:pPr marL="0" marR="0" lvl="0" indent="0" algn="l" defTabSz="685783" rtl="0" eaLnBrk="1" fontAlgn="base" latinLnBrk="0" hangingPunct="1">
              <a:lnSpc>
                <a:spcPct val="90000"/>
              </a:lnSpc>
              <a:spcBef>
                <a:spcPts val="600"/>
              </a:spcBef>
              <a:spcAft>
                <a:spcPct val="0"/>
              </a:spcAft>
              <a:buClrTx/>
              <a:buSzTx/>
              <a:buFontTx/>
              <a:buNone/>
              <a:tabLst/>
              <a:defRPr/>
            </a:pPr>
            <a:r>
              <a:rPr kumimoji="0" lang="en-US" sz="2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Protect the Workload</a:t>
            </a:r>
            <a:br>
              <a:rPr kumimoji="0" lang="en-US" sz="2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br>
            <a:r>
              <a:rPr kumimoji="0" lang="en-US" sz="28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Everywhere</a:t>
            </a:r>
          </a:p>
        </p:txBody>
      </p:sp>
      <p:sp>
        <p:nvSpPr>
          <p:cNvPr id="37" name="TextBox 36">
            <a:extLst>
              <a:ext uri="{FF2B5EF4-FFF2-40B4-BE49-F238E27FC236}">
                <a16:creationId xmlns:a16="http://schemas.microsoft.com/office/drawing/2014/main" id="{66B1CDC2-09F5-46B2-8C85-49C88B6107BE}"/>
              </a:ext>
            </a:extLst>
          </p:cNvPr>
          <p:cNvSpPr txBox="1"/>
          <p:nvPr/>
        </p:nvSpPr>
        <p:spPr>
          <a:xfrm>
            <a:off x="1624281"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03</a:t>
            </a:r>
          </a:p>
        </p:txBody>
      </p:sp>
      <p:grpSp>
        <p:nvGrpSpPr>
          <p:cNvPr id="12" name="Group 11">
            <a:extLst>
              <a:ext uri="{FF2B5EF4-FFF2-40B4-BE49-F238E27FC236}">
                <a16:creationId xmlns:a16="http://schemas.microsoft.com/office/drawing/2014/main" id="{00C164E4-AA47-44D6-A4CF-A840F3257CAD}"/>
              </a:ext>
            </a:extLst>
          </p:cNvPr>
          <p:cNvGrpSpPr/>
          <p:nvPr/>
        </p:nvGrpSpPr>
        <p:grpSpPr>
          <a:xfrm>
            <a:off x="1643331" y="710972"/>
            <a:ext cx="457390" cy="457390"/>
            <a:chOff x="1866501" y="485585"/>
            <a:chExt cx="457390" cy="457390"/>
          </a:xfrm>
        </p:grpSpPr>
        <p:sp>
          <p:nvSpPr>
            <p:cNvPr id="146" name="Oval 145">
              <a:extLst>
                <a:ext uri="{FF2B5EF4-FFF2-40B4-BE49-F238E27FC236}">
                  <a16:creationId xmlns:a16="http://schemas.microsoft.com/office/drawing/2014/main" id="{E7BA089C-A271-4556-8CB7-A3D326590ACE}"/>
                </a:ext>
              </a:extLst>
            </p:cNvPr>
            <p:cNvSpPr/>
            <p:nvPr/>
          </p:nvSpPr>
          <p:spPr>
            <a:xfrm>
              <a:off x="1866501" y="485585"/>
              <a:ext cx="457390" cy="4573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64" name="Group 63"/>
            <p:cNvGrpSpPr/>
            <p:nvPr/>
          </p:nvGrpSpPr>
          <p:grpSpPr>
            <a:xfrm>
              <a:off x="1925765" y="544915"/>
              <a:ext cx="349271" cy="349271"/>
              <a:chOff x="2581275" y="3149114"/>
              <a:chExt cx="933450" cy="933450"/>
            </a:xfrm>
          </p:grpSpPr>
          <p:sp>
            <p:nvSpPr>
              <p:cNvPr id="30" name="Freeform 25"/>
              <p:cNvSpPr>
                <a:spLocks/>
              </p:cNvSpPr>
              <p:nvPr/>
            </p:nvSpPr>
            <p:spPr bwMode="auto">
              <a:xfrm>
                <a:off x="2581275" y="3149114"/>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60" name="Freeform 59"/>
              <p:cNvSpPr>
                <a:spLocks/>
              </p:cNvSpPr>
              <p:nvPr/>
            </p:nvSpPr>
            <p:spPr bwMode="auto">
              <a:xfrm>
                <a:off x="2912865" y="3411052"/>
                <a:ext cx="560585" cy="619125"/>
              </a:xfrm>
              <a:custGeom>
                <a:avLst/>
                <a:gdLst>
                  <a:gd name="connsiteX0" fmla="*/ 343475 w 560585"/>
                  <a:gd name="connsiteY0" fmla="*/ 0 h 619125"/>
                  <a:gd name="connsiteX1" fmla="*/ 560585 w 560585"/>
                  <a:gd name="connsiteY1" fmla="*/ 219427 h 619125"/>
                  <a:gd name="connsiteX2" fmla="*/ 435784 w 560585"/>
                  <a:gd name="connsiteY2" fmla="*/ 506087 h 619125"/>
                  <a:gd name="connsiteX3" fmla="*/ 236397 w 560585"/>
                  <a:gd name="connsiteY3" fmla="*/ 619125 h 619125"/>
                  <a:gd name="connsiteX4" fmla="*/ 87 w 560585"/>
                  <a:gd name="connsiteY4" fmla="*/ 393048 h 619125"/>
                  <a:gd name="connsiteX5" fmla="*/ 64 w 560585"/>
                  <a:gd name="connsiteY5" fmla="*/ 391571 h 619125"/>
                  <a:gd name="connsiteX6" fmla="*/ 0 w 560585"/>
                  <a:gd name="connsiteY6" fmla="*/ 387488 h 619125"/>
                  <a:gd name="connsiteX7" fmla="*/ 49858 w 560585"/>
                  <a:gd name="connsiteY7" fmla="*/ 430601 h 619125"/>
                  <a:gd name="connsiteX8" fmla="*/ 135135 w 560585"/>
                  <a:gd name="connsiteY8" fmla="*/ 463550 h 619125"/>
                  <a:gd name="connsiteX9" fmla="*/ 347860 w 560585"/>
                  <a:gd name="connsiteY9" fmla="*/ 204928 h 619125"/>
                  <a:gd name="connsiteX10" fmla="*/ 347860 w 560585"/>
                  <a:gd name="connsiteY10" fmla="*/ 14093 h 619125"/>
                  <a:gd name="connsiteX11" fmla="*/ 342392 w 560585"/>
                  <a:gd name="connsiteY11" fmla="*/ 938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0585" h="619125">
                    <a:moveTo>
                      <a:pt x="343475" y="0"/>
                    </a:moveTo>
                    <a:cubicBezTo>
                      <a:pt x="343475" y="0"/>
                      <a:pt x="343475" y="0"/>
                      <a:pt x="560585" y="219427"/>
                    </a:cubicBezTo>
                    <a:cubicBezTo>
                      <a:pt x="556893" y="323600"/>
                      <a:pt x="515539" y="427034"/>
                      <a:pt x="435784" y="506087"/>
                    </a:cubicBezTo>
                    <a:cubicBezTo>
                      <a:pt x="378922" y="563714"/>
                      <a:pt x="309506" y="601394"/>
                      <a:pt x="236397" y="619125"/>
                    </a:cubicBezTo>
                    <a:cubicBezTo>
                      <a:pt x="236397" y="619125"/>
                      <a:pt x="236397" y="619125"/>
                      <a:pt x="87" y="393048"/>
                    </a:cubicBezTo>
                    <a:cubicBezTo>
                      <a:pt x="87" y="393048"/>
                      <a:pt x="87" y="393048"/>
                      <a:pt x="64" y="391571"/>
                    </a:cubicBezTo>
                    <a:lnTo>
                      <a:pt x="0" y="387488"/>
                    </a:lnTo>
                    <a:lnTo>
                      <a:pt x="49858" y="430601"/>
                    </a:lnTo>
                    <a:cubicBezTo>
                      <a:pt x="75583" y="446143"/>
                      <a:pt x="104297" y="457471"/>
                      <a:pt x="135135" y="463550"/>
                    </a:cubicBezTo>
                    <a:cubicBezTo>
                      <a:pt x="258486" y="439235"/>
                      <a:pt x="347860" y="330924"/>
                      <a:pt x="347860" y="204928"/>
                    </a:cubicBezTo>
                    <a:cubicBezTo>
                      <a:pt x="347860" y="14093"/>
                      <a:pt x="347860" y="14093"/>
                      <a:pt x="347860" y="14093"/>
                    </a:cubicBezTo>
                    <a:lnTo>
                      <a:pt x="342392" y="938"/>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nvGrpSpPr>
              <p:cNvPr id="63" name="Group 62"/>
              <p:cNvGrpSpPr/>
              <p:nvPr/>
            </p:nvGrpSpPr>
            <p:grpSpPr>
              <a:xfrm>
                <a:off x="2835275" y="3350727"/>
                <a:ext cx="425450" cy="523875"/>
                <a:chOff x="2835275" y="3350727"/>
                <a:chExt cx="425450" cy="523875"/>
              </a:xfrm>
              <a:solidFill>
                <a:schemeClr val="accent1">
                  <a:lumMod val="75000"/>
                  <a:alpha val="40000"/>
                </a:schemeClr>
              </a:solidFill>
            </p:grpSpPr>
            <p:sp>
              <p:nvSpPr>
                <p:cNvPr id="61" name="Freeform 27"/>
                <p:cNvSpPr>
                  <a:spLocks/>
                </p:cNvSpPr>
                <p:nvPr/>
              </p:nvSpPr>
              <p:spPr bwMode="auto">
                <a:xfrm>
                  <a:off x="2835275" y="3350727"/>
                  <a:ext cx="425450" cy="523875"/>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58" name="Freeform 28"/>
                <p:cNvSpPr>
                  <a:spLocks/>
                </p:cNvSpPr>
                <p:nvPr/>
              </p:nvSpPr>
              <p:spPr bwMode="auto">
                <a:xfrm>
                  <a:off x="3048000" y="3350727"/>
                  <a:ext cx="212725" cy="523875"/>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1">
                    <a:lumMod val="75000"/>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sp>
        <p:nvSpPr>
          <p:cNvPr id="1264" name="TextBox 1263">
            <a:extLst>
              <a:ext uri="{FF2B5EF4-FFF2-40B4-BE49-F238E27FC236}">
                <a16:creationId xmlns:a16="http://schemas.microsoft.com/office/drawing/2014/main" id="{3A62242C-C137-49FD-A463-6BE0BEE29070}"/>
              </a:ext>
            </a:extLst>
          </p:cNvPr>
          <p:cNvSpPr txBox="1"/>
          <p:nvPr/>
        </p:nvSpPr>
        <p:spPr>
          <a:xfrm>
            <a:off x="1047205"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02</a:t>
            </a:r>
          </a:p>
        </p:txBody>
      </p:sp>
      <p:grpSp>
        <p:nvGrpSpPr>
          <p:cNvPr id="1265" name="Group 1264">
            <a:extLst>
              <a:ext uri="{FF2B5EF4-FFF2-40B4-BE49-F238E27FC236}">
                <a16:creationId xmlns:a16="http://schemas.microsoft.com/office/drawing/2014/main" id="{0147FDED-F24C-4D80-A76F-E04E3AD489C2}"/>
              </a:ext>
            </a:extLst>
          </p:cNvPr>
          <p:cNvGrpSpPr/>
          <p:nvPr/>
        </p:nvGrpSpPr>
        <p:grpSpPr>
          <a:xfrm>
            <a:off x="1064458" y="710972"/>
            <a:ext cx="457390" cy="457390"/>
            <a:chOff x="1176043" y="485585"/>
            <a:chExt cx="457390" cy="457390"/>
          </a:xfrm>
        </p:grpSpPr>
        <p:sp>
          <p:nvSpPr>
            <p:cNvPr id="1266" name="Oval 1265">
              <a:extLst>
                <a:ext uri="{FF2B5EF4-FFF2-40B4-BE49-F238E27FC236}">
                  <a16:creationId xmlns:a16="http://schemas.microsoft.com/office/drawing/2014/main" id="{279965A9-BEC6-4FF4-ADCB-FE2AFFC1C41B}"/>
                </a:ext>
              </a:extLst>
            </p:cNvPr>
            <p:cNvSpPr/>
            <p:nvPr/>
          </p:nvSpPr>
          <p:spPr>
            <a:xfrm>
              <a:off x="1176043" y="485585"/>
              <a:ext cx="457390" cy="4573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267" name="Group 1266">
              <a:extLst>
                <a:ext uri="{FF2B5EF4-FFF2-40B4-BE49-F238E27FC236}">
                  <a16:creationId xmlns:a16="http://schemas.microsoft.com/office/drawing/2014/main" id="{DE98A654-CFB5-47C2-962D-D702E35DC8C4}"/>
                </a:ext>
              </a:extLst>
            </p:cNvPr>
            <p:cNvGrpSpPr/>
            <p:nvPr/>
          </p:nvGrpSpPr>
          <p:grpSpPr>
            <a:xfrm>
              <a:off x="1230721" y="544915"/>
              <a:ext cx="349271" cy="349271"/>
              <a:chOff x="2581275" y="2152858"/>
              <a:chExt cx="933450" cy="933450"/>
            </a:xfrm>
          </p:grpSpPr>
          <p:sp>
            <p:nvSpPr>
              <p:cNvPr id="1268" name="Freeform 5">
                <a:extLst>
                  <a:ext uri="{FF2B5EF4-FFF2-40B4-BE49-F238E27FC236}">
                    <a16:creationId xmlns:a16="http://schemas.microsoft.com/office/drawing/2014/main" id="{8C8F4F87-76D6-4F17-9275-FC82569F6E02}"/>
                  </a:ext>
                </a:extLst>
              </p:cNvPr>
              <p:cNvSpPr>
                <a:spLocks/>
              </p:cNvSpPr>
              <p:nvPr/>
            </p:nvSpPr>
            <p:spPr bwMode="auto">
              <a:xfrm>
                <a:off x="2581275" y="2152858"/>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nvGrpSpPr>
              <p:cNvPr id="1269" name="Group 1268">
                <a:extLst>
                  <a:ext uri="{FF2B5EF4-FFF2-40B4-BE49-F238E27FC236}">
                    <a16:creationId xmlns:a16="http://schemas.microsoft.com/office/drawing/2014/main" id="{160CD534-F88C-4CBD-99D8-3CA07E05A0D7}"/>
                  </a:ext>
                </a:extLst>
              </p:cNvPr>
              <p:cNvGrpSpPr/>
              <p:nvPr/>
            </p:nvGrpSpPr>
            <p:grpSpPr>
              <a:xfrm>
                <a:off x="2728913" y="2324308"/>
                <a:ext cx="638175" cy="590551"/>
                <a:chOff x="2728913" y="2324100"/>
                <a:chExt cx="638175" cy="590551"/>
              </a:xfrm>
              <a:solidFill>
                <a:schemeClr val="accent1">
                  <a:lumMod val="75000"/>
                  <a:alpha val="40000"/>
                </a:schemeClr>
              </a:solidFill>
            </p:grpSpPr>
            <p:sp>
              <p:nvSpPr>
                <p:cNvPr id="1270" name="Freeform 6">
                  <a:extLst>
                    <a:ext uri="{FF2B5EF4-FFF2-40B4-BE49-F238E27FC236}">
                      <a16:creationId xmlns:a16="http://schemas.microsoft.com/office/drawing/2014/main" id="{6EEE40AC-8FB2-495B-8372-F54495771D79}"/>
                    </a:ext>
                  </a:extLst>
                </p:cNvPr>
                <p:cNvSpPr>
                  <a:spLocks noEditPoints="1"/>
                </p:cNvSpPr>
                <p:nvPr/>
              </p:nvSpPr>
              <p:spPr bwMode="auto">
                <a:xfrm>
                  <a:off x="2728913" y="2324100"/>
                  <a:ext cx="638175" cy="333375"/>
                </a:xfrm>
                <a:custGeom>
                  <a:avLst/>
                  <a:gdLst>
                    <a:gd name="T0" fmla="*/ 237 w 864"/>
                    <a:gd name="T1" fmla="*/ 452 h 452"/>
                    <a:gd name="T2" fmla="*/ 628 w 864"/>
                    <a:gd name="T3" fmla="*/ 452 h 452"/>
                    <a:gd name="T4" fmla="*/ 835 w 864"/>
                    <a:gd name="T5" fmla="*/ 452 h 452"/>
                    <a:gd name="T6" fmla="*/ 864 w 864"/>
                    <a:gd name="T7" fmla="*/ 412 h 452"/>
                    <a:gd name="T8" fmla="*/ 788 w 864"/>
                    <a:gd name="T9" fmla="*/ 188 h 452"/>
                    <a:gd name="T10" fmla="*/ 749 w 864"/>
                    <a:gd name="T11" fmla="*/ 139 h 452"/>
                    <a:gd name="T12" fmla="*/ 721 w 864"/>
                    <a:gd name="T13" fmla="*/ 111 h 452"/>
                    <a:gd name="T14" fmla="*/ 701 w 864"/>
                    <a:gd name="T15" fmla="*/ 94 h 452"/>
                    <a:gd name="T16" fmla="*/ 680 w 864"/>
                    <a:gd name="T17" fmla="*/ 79 h 452"/>
                    <a:gd name="T18" fmla="*/ 660 w 864"/>
                    <a:gd name="T19" fmla="*/ 65 h 452"/>
                    <a:gd name="T20" fmla="*/ 636 w 864"/>
                    <a:gd name="T21" fmla="*/ 51 h 452"/>
                    <a:gd name="T22" fmla="*/ 615 w 864"/>
                    <a:gd name="T23" fmla="*/ 41 h 452"/>
                    <a:gd name="T24" fmla="*/ 601 w 864"/>
                    <a:gd name="T25" fmla="*/ 35 h 452"/>
                    <a:gd name="T26" fmla="*/ 578 w 864"/>
                    <a:gd name="T27" fmla="*/ 26 h 452"/>
                    <a:gd name="T28" fmla="*/ 563 w 864"/>
                    <a:gd name="T29" fmla="*/ 21 h 452"/>
                    <a:gd name="T30" fmla="*/ 540 w 864"/>
                    <a:gd name="T31" fmla="*/ 14 h 452"/>
                    <a:gd name="T32" fmla="*/ 524 w 864"/>
                    <a:gd name="T33" fmla="*/ 10 h 452"/>
                    <a:gd name="T34" fmla="*/ 503 w 864"/>
                    <a:gd name="T35" fmla="*/ 6 h 452"/>
                    <a:gd name="T36" fmla="*/ 486 w 864"/>
                    <a:gd name="T37" fmla="*/ 4 h 452"/>
                    <a:gd name="T38" fmla="*/ 462 w 864"/>
                    <a:gd name="T39" fmla="*/ 1 h 452"/>
                    <a:gd name="T40" fmla="*/ 452 w 864"/>
                    <a:gd name="T41" fmla="*/ 0 h 452"/>
                    <a:gd name="T42" fmla="*/ 407 w 864"/>
                    <a:gd name="T43" fmla="*/ 1 h 452"/>
                    <a:gd name="T44" fmla="*/ 390 w 864"/>
                    <a:gd name="T45" fmla="*/ 2 h 452"/>
                    <a:gd name="T46" fmla="*/ 365 w 864"/>
                    <a:gd name="T47" fmla="*/ 5 h 452"/>
                    <a:gd name="T48" fmla="*/ 349 w 864"/>
                    <a:gd name="T49" fmla="*/ 8 h 452"/>
                    <a:gd name="T50" fmla="*/ 327 w 864"/>
                    <a:gd name="T51" fmla="*/ 13 h 452"/>
                    <a:gd name="T52" fmla="*/ 311 w 864"/>
                    <a:gd name="T53" fmla="*/ 18 h 452"/>
                    <a:gd name="T54" fmla="*/ 289 w 864"/>
                    <a:gd name="T55" fmla="*/ 25 h 452"/>
                    <a:gd name="T56" fmla="*/ 275 w 864"/>
                    <a:gd name="T57" fmla="*/ 30 h 452"/>
                    <a:gd name="T58" fmla="*/ 252 w 864"/>
                    <a:gd name="T59" fmla="*/ 40 h 452"/>
                    <a:gd name="T60" fmla="*/ 238 w 864"/>
                    <a:gd name="T61" fmla="*/ 46 h 452"/>
                    <a:gd name="T62" fmla="*/ 206 w 864"/>
                    <a:gd name="T63" fmla="*/ 64 h 452"/>
                    <a:gd name="T64" fmla="*/ 194 w 864"/>
                    <a:gd name="T65" fmla="*/ 72 h 452"/>
                    <a:gd name="T66" fmla="*/ 164 w 864"/>
                    <a:gd name="T67" fmla="*/ 94 h 452"/>
                    <a:gd name="T68" fmla="*/ 153 w 864"/>
                    <a:gd name="T69" fmla="*/ 103 h 452"/>
                    <a:gd name="T70" fmla="*/ 117 w 864"/>
                    <a:gd name="T71" fmla="*/ 138 h 452"/>
                    <a:gd name="T72" fmla="*/ 83 w 864"/>
                    <a:gd name="T73" fmla="*/ 178 h 452"/>
                    <a:gd name="T74" fmla="*/ 76 w 864"/>
                    <a:gd name="T75" fmla="*/ 188 h 452"/>
                    <a:gd name="T76" fmla="*/ 0 w 864"/>
                    <a:gd name="T77" fmla="*/ 423 h 452"/>
                    <a:gd name="T78" fmla="*/ 757 w 864"/>
                    <a:gd name="T79" fmla="*/ 214 h 452"/>
                    <a:gd name="T80" fmla="*/ 648 w 864"/>
                    <a:gd name="T81" fmla="*/ 258 h 452"/>
                    <a:gd name="T82" fmla="*/ 580 w 864"/>
                    <a:gd name="T83" fmla="*/ 69 h 452"/>
                    <a:gd name="T84" fmla="*/ 597 w 864"/>
                    <a:gd name="T85" fmla="*/ 77 h 452"/>
                    <a:gd name="T86" fmla="*/ 610 w 864"/>
                    <a:gd name="T87" fmla="*/ 83 h 452"/>
                    <a:gd name="T88" fmla="*/ 638 w 864"/>
                    <a:gd name="T89" fmla="*/ 220 h 452"/>
                    <a:gd name="T90" fmla="*/ 452 w 864"/>
                    <a:gd name="T91" fmla="*/ 43 h 452"/>
                    <a:gd name="T92" fmla="*/ 452 w 864"/>
                    <a:gd name="T93" fmla="*/ 244 h 452"/>
                    <a:gd name="T94" fmla="*/ 609 w 864"/>
                    <a:gd name="T95" fmla="*/ 267 h 452"/>
                    <a:gd name="T96" fmla="*/ 452 w 864"/>
                    <a:gd name="T97" fmla="*/ 284 h 452"/>
                    <a:gd name="T98" fmla="*/ 255 w 864"/>
                    <a:gd name="T99" fmla="*/ 267 h 452"/>
                    <a:gd name="T100" fmla="*/ 412 w 864"/>
                    <a:gd name="T101" fmla="*/ 43 h 452"/>
                    <a:gd name="T102" fmla="*/ 300 w 864"/>
                    <a:gd name="T103" fmla="*/ 146 h 452"/>
                    <a:gd name="T104" fmla="*/ 254 w 864"/>
                    <a:gd name="T105" fmla="*/ 83 h 452"/>
                    <a:gd name="T106" fmla="*/ 268 w 864"/>
                    <a:gd name="T107" fmla="*/ 77 h 452"/>
                    <a:gd name="T108" fmla="*/ 285 w 864"/>
                    <a:gd name="T109" fmla="*/ 69 h 452"/>
                    <a:gd name="T110" fmla="*/ 227 w 864"/>
                    <a:gd name="T111" fmla="*/ 220 h 452"/>
                    <a:gd name="T112" fmla="*/ 107 w 864"/>
                    <a:gd name="T113" fmla="*/ 214 h 452"/>
                    <a:gd name="T114" fmla="*/ 41 w 864"/>
                    <a:gd name="T115" fmla="*/ 41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4" h="452">
                      <a:moveTo>
                        <a:pt x="41" y="452"/>
                      </a:moveTo>
                      <a:cubicBezTo>
                        <a:pt x="197" y="452"/>
                        <a:pt x="197" y="452"/>
                        <a:pt x="197" y="452"/>
                      </a:cubicBezTo>
                      <a:cubicBezTo>
                        <a:pt x="237" y="452"/>
                        <a:pt x="237" y="452"/>
                        <a:pt x="237" y="452"/>
                      </a:cubicBezTo>
                      <a:cubicBezTo>
                        <a:pt x="412" y="452"/>
                        <a:pt x="412" y="452"/>
                        <a:pt x="412" y="452"/>
                      </a:cubicBezTo>
                      <a:cubicBezTo>
                        <a:pt x="452" y="452"/>
                        <a:pt x="452" y="452"/>
                        <a:pt x="452" y="452"/>
                      </a:cubicBezTo>
                      <a:cubicBezTo>
                        <a:pt x="628" y="452"/>
                        <a:pt x="628" y="452"/>
                        <a:pt x="628" y="452"/>
                      </a:cubicBezTo>
                      <a:cubicBezTo>
                        <a:pt x="668" y="452"/>
                        <a:pt x="668" y="452"/>
                        <a:pt x="668" y="452"/>
                      </a:cubicBezTo>
                      <a:cubicBezTo>
                        <a:pt x="823" y="452"/>
                        <a:pt x="823" y="452"/>
                        <a:pt x="823" y="452"/>
                      </a:cubicBezTo>
                      <a:cubicBezTo>
                        <a:pt x="835" y="452"/>
                        <a:pt x="835" y="452"/>
                        <a:pt x="835" y="452"/>
                      </a:cubicBezTo>
                      <a:cubicBezTo>
                        <a:pt x="851" y="452"/>
                        <a:pt x="864" y="439"/>
                        <a:pt x="864" y="423"/>
                      </a:cubicBezTo>
                      <a:cubicBezTo>
                        <a:pt x="864" y="412"/>
                        <a:pt x="864" y="412"/>
                        <a:pt x="864" y="412"/>
                      </a:cubicBezTo>
                      <a:cubicBezTo>
                        <a:pt x="864" y="412"/>
                        <a:pt x="864" y="412"/>
                        <a:pt x="864" y="412"/>
                      </a:cubicBezTo>
                      <a:cubicBezTo>
                        <a:pt x="860" y="329"/>
                        <a:pt x="833" y="252"/>
                        <a:pt x="788" y="188"/>
                      </a:cubicBezTo>
                      <a:cubicBezTo>
                        <a:pt x="788" y="188"/>
                        <a:pt x="788" y="188"/>
                        <a:pt x="788" y="188"/>
                      </a:cubicBezTo>
                      <a:cubicBezTo>
                        <a:pt x="788" y="188"/>
                        <a:pt x="788" y="188"/>
                        <a:pt x="788" y="188"/>
                      </a:cubicBezTo>
                      <a:cubicBezTo>
                        <a:pt x="786" y="184"/>
                        <a:pt x="783" y="181"/>
                        <a:pt x="781" y="178"/>
                      </a:cubicBezTo>
                      <a:cubicBezTo>
                        <a:pt x="778" y="173"/>
                        <a:pt x="778" y="173"/>
                        <a:pt x="778" y="173"/>
                      </a:cubicBezTo>
                      <a:cubicBezTo>
                        <a:pt x="769" y="161"/>
                        <a:pt x="759" y="150"/>
                        <a:pt x="749" y="139"/>
                      </a:cubicBezTo>
                      <a:cubicBezTo>
                        <a:pt x="749" y="138"/>
                        <a:pt x="748" y="138"/>
                        <a:pt x="748" y="138"/>
                      </a:cubicBezTo>
                      <a:cubicBezTo>
                        <a:pt x="739" y="128"/>
                        <a:pt x="730" y="119"/>
                        <a:pt x="721" y="111"/>
                      </a:cubicBezTo>
                      <a:cubicBezTo>
                        <a:pt x="721" y="111"/>
                        <a:pt x="721" y="111"/>
                        <a:pt x="721" y="111"/>
                      </a:cubicBezTo>
                      <a:cubicBezTo>
                        <a:pt x="718" y="108"/>
                        <a:pt x="715" y="105"/>
                        <a:pt x="711" y="103"/>
                      </a:cubicBezTo>
                      <a:cubicBezTo>
                        <a:pt x="711" y="102"/>
                        <a:pt x="711" y="102"/>
                        <a:pt x="710" y="102"/>
                      </a:cubicBezTo>
                      <a:cubicBezTo>
                        <a:pt x="707" y="99"/>
                        <a:pt x="704" y="97"/>
                        <a:pt x="701" y="94"/>
                      </a:cubicBezTo>
                      <a:cubicBezTo>
                        <a:pt x="701" y="94"/>
                        <a:pt x="701" y="94"/>
                        <a:pt x="701" y="94"/>
                      </a:cubicBezTo>
                      <a:cubicBezTo>
                        <a:pt x="694" y="89"/>
                        <a:pt x="687" y="84"/>
                        <a:pt x="681" y="79"/>
                      </a:cubicBezTo>
                      <a:cubicBezTo>
                        <a:pt x="680" y="79"/>
                        <a:pt x="680" y="79"/>
                        <a:pt x="680" y="79"/>
                      </a:cubicBezTo>
                      <a:cubicBezTo>
                        <a:pt x="677" y="76"/>
                        <a:pt x="674" y="74"/>
                        <a:pt x="671" y="72"/>
                      </a:cubicBezTo>
                      <a:cubicBezTo>
                        <a:pt x="669" y="71"/>
                        <a:pt x="668" y="71"/>
                        <a:pt x="667" y="70"/>
                      </a:cubicBezTo>
                      <a:cubicBezTo>
                        <a:pt x="665" y="68"/>
                        <a:pt x="663" y="67"/>
                        <a:pt x="660" y="65"/>
                      </a:cubicBezTo>
                      <a:cubicBezTo>
                        <a:pt x="659" y="65"/>
                        <a:pt x="659" y="65"/>
                        <a:pt x="658" y="64"/>
                      </a:cubicBezTo>
                      <a:cubicBezTo>
                        <a:pt x="651" y="60"/>
                        <a:pt x="644" y="56"/>
                        <a:pt x="637" y="52"/>
                      </a:cubicBezTo>
                      <a:cubicBezTo>
                        <a:pt x="636" y="52"/>
                        <a:pt x="636" y="51"/>
                        <a:pt x="636" y="51"/>
                      </a:cubicBezTo>
                      <a:cubicBezTo>
                        <a:pt x="633" y="50"/>
                        <a:pt x="629" y="48"/>
                        <a:pt x="626" y="46"/>
                      </a:cubicBezTo>
                      <a:cubicBezTo>
                        <a:pt x="625" y="46"/>
                        <a:pt x="624" y="45"/>
                        <a:pt x="624" y="45"/>
                      </a:cubicBezTo>
                      <a:cubicBezTo>
                        <a:pt x="621" y="44"/>
                        <a:pt x="618" y="42"/>
                        <a:pt x="615" y="41"/>
                      </a:cubicBezTo>
                      <a:cubicBezTo>
                        <a:pt x="614" y="40"/>
                        <a:pt x="613" y="40"/>
                        <a:pt x="612" y="40"/>
                      </a:cubicBezTo>
                      <a:cubicBezTo>
                        <a:pt x="609" y="38"/>
                        <a:pt x="606" y="36"/>
                        <a:pt x="602" y="35"/>
                      </a:cubicBezTo>
                      <a:cubicBezTo>
                        <a:pt x="602" y="35"/>
                        <a:pt x="602" y="35"/>
                        <a:pt x="601" y="35"/>
                      </a:cubicBezTo>
                      <a:cubicBezTo>
                        <a:pt x="597" y="33"/>
                        <a:pt x="594" y="31"/>
                        <a:pt x="590" y="30"/>
                      </a:cubicBezTo>
                      <a:cubicBezTo>
                        <a:pt x="589" y="30"/>
                        <a:pt x="589" y="30"/>
                        <a:pt x="588" y="29"/>
                      </a:cubicBezTo>
                      <a:cubicBezTo>
                        <a:pt x="585" y="28"/>
                        <a:pt x="582" y="27"/>
                        <a:pt x="578" y="26"/>
                      </a:cubicBezTo>
                      <a:cubicBezTo>
                        <a:pt x="577" y="25"/>
                        <a:pt x="576" y="25"/>
                        <a:pt x="575" y="25"/>
                      </a:cubicBezTo>
                      <a:cubicBezTo>
                        <a:pt x="572" y="24"/>
                        <a:pt x="569" y="23"/>
                        <a:pt x="567" y="22"/>
                      </a:cubicBezTo>
                      <a:cubicBezTo>
                        <a:pt x="565" y="21"/>
                        <a:pt x="564" y="21"/>
                        <a:pt x="563" y="21"/>
                      </a:cubicBezTo>
                      <a:cubicBezTo>
                        <a:pt x="560" y="20"/>
                        <a:pt x="557" y="19"/>
                        <a:pt x="554" y="18"/>
                      </a:cubicBezTo>
                      <a:cubicBezTo>
                        <a:pt x="553" y="17"/>
                        <a:pt x="552" y="17"/>
                        <a:pt x="552" y="17"/>
                      </a:cubicBezTo>
                      <a:cubicBezTo>
                        <a:pt x="548" y="16"/>
                        <a:pt x="544" y="15"/>
                        <a:pt x="540" y="14"/>
                      </a:cubicBezTo>
                      <a:cubicBezTo>
                        <a:pt x="539" y="14"/>
                        <a:pt x="538" y="13"/>
                        <a:pt x="538" y="13"/>
                      </a:cubicBezTo>
                      <a:cubicBezTo>
                        <a:pt x="535" y="12"/>
                        <a:pt x="531" y="12"/>
                        <a:pt x="528" y="11"/>
                      </a:cubicBezTo>
                      <a:cubicBezTo>
                        <a:pt x="526" y="11"/>
                        <a:pt x="525" y="10"/>
                        <a:pt x="524" y="10"/>
                      </a:cubicBezTo>
                      <a:cubicBezTo>
                        <a:pt x="521" y="9"/>
                        <a:pt x="518" y="9"/>
                        <a:pt x="516" y="8"/>
                      </a:cubicBezTo>
                      <a:cubicBezTo>
                        <a:pt x="514" y="8"/>
                        <a:pt x="513" y="8"/>
                        <a:pt x="511" y="8"/>
                      </a:cubicBezTo>
                      <a:cubicBezTo>
                        <a:pt x="509" y="7"/>
                        <a:pt x="506" y="7"/>
                        <a:pt x="503" y="6"/>
                      </a:cubicBezTo>
                      <a:cubicBezTo>
                        <a:pt x="502" y="6"/>
                        <a:pt x="500" y="6"/>
                        <a:pt x="499" y="5"/>
                      </a:cubicBezTo>
                      <a:cubicBezTo>
                        <a:pt x="495" y="5"/>
                        <a:pt x="491" y="4"/>
                        <a:pt x="487" y="4"/>
                      </a:cubicBezTo>
                      <a:cubicBezTo>
                        <a:pt x="487" y="4"/>
                        <a:pt x="486" y="4"/>
                        <a:pt x="486" y="4"/>
                      </a:cubicBezTo>
                      <a:cubicBezTo>
                        <a:pt x="482" y="3"/>
                        <a:pt x="478" y="3"/>
                        <a:pt x="475" y="2"/>
                      </a:cubicBezTo>
                      <a:cubicBezTo>
                        <a:pt x="473" y="2"/>
                        <a:pt x="472" y="2"/>
                        <a:pt x="471" y="2"/>
                      </a:cubicBezTo>
                      <a:cubicBezTo>
                        <a:pt x="468" y="2"/>
                        <a:pt x="465" y="2"/>
                        <a:pt x="462" y="1"/>
                      </a:cubicBezTo>
                      <a:cubicBezTo>
                        <a:pt x="461" y="1"/>
                        <a:pt x="459" y="1"/>
                        <a:pt x="458" y="1"/>
                      </a:cubicBezTo>
                      <a:cubicBezTo>
                        <a:pt x="456" y="1"/>
                        <a:pt x="454" y="1"/>
                        <a:pt x="452" y="1"/>
                      </a:cubicBezTo>
                      <a:cubicBezTo>
                        <a:pt x="452" y="0"/>
                        <a:pt x="452" y="0"/>
                        <a:pt x="452" y="0"/>
                      </a:cubicBezTo>
                      <a:cubicBezTo>
                        <a:pt x="412" y="0"/>
                        <a:pt x="412" y="0"/>
                        <a:pt x="412" y="0"/>
                      </a:cubicBezTo>
                      <a:cubicBezTo>
                        <a:pt x="412" y="1"/>
                        <a:pt x="412" y="1"/>
                        <a:pt x="412" y="1"/>
                      </a:cubicBezTo>
                      <a:cubicBezTo>
                        <a:pt x="410" y="1"/>
                        <a:pt x="409" y="1"/>
                        <a:pt x="407" y="1"/>
                      </a:cubicBezTo>
                      <a:cubicBezTo>
                        <a:pt x="405" y="1"/>
                        <a:pt x="404" y="1"/>
                        <a:pt x="402" y="1"/>
                      </a:cubicBezTo>
                      <a:cubicBezTo>
                        <a:pt x="400" y="2"/>
                        <a:pt x="397" y="2"/>
                        <a:pt x="394" y="2"/>
                      </a:cubicBezTo>
                      <a:cubicBezTo>
                        <a:pt x="393" y="2"/>
                        <a:pt x="391" y="2"/>
                        <a:pt x="390" y="2"/>
                      </a:cubicBezTo>
                      <a:cubicBezTo>
                        <a:pt x="386" y="3"/>
                        <a:pt x="383" y="3"/>
                        <a:pt x="379" y="4"/>
                      </a:cubicBezTo>
                      <a:cubicBezTo>
                        <a:pt x="378" y="4"/>
                        <a:pt x="378" y="4"/>
                        <a:pt x="378" y="4"/>
                      </a:cubicBezTo>
                      <a:cubicBezTo>
                        <a:pt x="373" y="4"/>
                        <a:pt x="369" y="5"/>
                        <a:pt x="365" y="5"/>
                      </a:cubicBezTo>
                      <a:cubicBezTo>
                        <a:pt x="364" y="6"/>
                        <a:pt x="363" y="6"/>
                        <a:pt x="362" y="6"/>
                      </a:cubicBezTo>
                      <a:cubicBezTo>
                        <a:pt x="359" y="7"/>
                        <a:pt x="356" y="7"/>
                        <a:pt x="353" y="8"/>
                      </a:cubicBezTo>
                      <a:cubicBezTo>
                        <a:pt x="352" y="8"/>
                        <a:pt x="350" y="8"/>
                        <a:pt x="349" y="8"/>
                      </a:cubicBezTo>
                      <a:cubicBezTo>
                        <a:pt x="346" y="9"/>
                        <a:pt x="343" y="9"/>
                        <a:pt x="340" y="10"/>
                      </a:cubicBezTo>
                      <a:cubicBezTo>
                        <a:pt x="339" y="10"/>
                        <a:pt x="338" y="11"/>
                        <a:pt x="337" y="11"/>
                      </a:cubicBezTo>
                      <a:cubicBezTo>
                        <a:pt x="333" y="12"/>
                        <a:pt x="330" y="12"/>
                        <a:pt x="327" y="13"/>
                      </a:cubicBezTo>
                      <a:cubicBezTo>
                        <a:pt x="326" y="13"/>
                        <a:pt x="325" y="14"/>
                        <a:pt x="325" y="14"/>
                      </a:cubicBezTo>
                      <a:cubicBezTo>
                        <a:pt x="321" y="15"/>
                        <a:pt x="317" y="16"/>
                        <a:pt x="313" y="17"/>
                      </a:cubicBezTo>
                      <a:cubicBezTo>
                        <a:pt x="312" y="17"/>
                        <a:pt x="311" y="17"/>
                        <a:pt x="311" y="18"/>
                      </a:cubicBezTo>
                      <a:cubicBezTo>
                        <a:pt x="307" y="19"/>
                        <a:pt x="304" y="20"/>
                        <a:pt x="301" y="21"/>
                      </a:cubicBezTo>
                      <a:cubicBezTo>
                        <a:pt x="300" y="21"/>
                        <a:pt x="299" y="21"/>
                        <a:pt x="298" y="22"/>
                      </a:cubicBezTo>
                      <a:cubicBezTo>
                        <a:pt x="295" y="23"/>
                        <a:pt x="292" y="24"/>
                        <a:pt x="289" y="25"/>
                      </a:cubicBezTo>
                      <a:cubicBezTo>
                        <a:pt x="288" y="25"/>
                        <a:pt x="287" y="25"/>
                        <a:pt x="286" y="26"/>
                      </a:cubicBezTo>
                      <a:cubicBezTo>
                        <a:pt x="283" y="27"/>
                        <a:pt x="280" y="28"/>
                        <a:pt x="276" y="29"/>
                      </a:cubicBezTo>
                      <a:cubicBezTo>
                        <a:pt x="276" y="30"/>
                        <a:pt x="275" y="30"/>
                        <a:pt x="275" y="30"/>
                      </a:cubicBezTo>
                      <a:cubicBezTo>
                        <a:pt x="271" y="31"/>
                        <a:pt x="267" y="33"/>
                        <a:pt x="263" y="35"/>
                      </a:cubicBezTo>
                      <a:cubicBezTo>
                        <a:pt x="263" y="35"/>
                        <a:pt x="263" y="35"/>
                        <a:pt x="262" y="35"/>
                      </a:cubicBezTo>
                      <a:cubicBezTo>
                        <a:pt x="259" y="36"/>
                        <a:pt x="256" y="38"/>
                        <a:pt x="252" y="40"/>
                      </a:cubicBezTo>
                      <a:cubicBezTo>
                        <a:pt x="251" y="40"/>
                        <a:pt x="251" y="40"/>
                        <a:pt x="250" y="41"/>
                      </a:cubicBezTo>
                      <a:cubicBezTo>
                        <a:pt x="247" y="42"/>
                        <a:pt x="243" y="44"/>
                        <a:pt x="240" y="45"/>
                      </a:cubicBezTo>
                      <a:cubicBezTo>
                        <a:pt x="240" y="46"/>
                        <a:pt x="239" y="46"/>
                        <a:pt x="238" y="46"/>
                      </a:cubicBezTo>
                      <a:cubicBezTo>
                        <a:pt x="235" y="48"/>
                        <a:pt x="232" y="50"/>
                        <a:pt x="229" y="51"/>
                      </a:cubicBezTo>
                      <a:cubicBezTo>
                        <a:pt x="228" y="51"/>
                        <a:pt x="228" y="52"/>
                        <a:pt x="228" y="52"/>
                      </a:cubicBezTo>
                      <a:cubicBezTo>
                        <a:pt x="220" y="56"/>
                        <a:pt x="213" y="60"/>
                        <a:pt x="206" y="64"/>
                      </a:cubicBezTo>
                      <a:cubicBezTo>
                        <a:pt x="206" y="65"/>
                        <a:pt x="205" y="65"/>
                        <a:pt x="205" y="65"/>
                      </a:cubicBezTo>
                      <a:cubicBezTo>
                        <a:pt x="202" y="67"/>
                        <a:pt x="200" y="68"/>
                        <a:pt x="197" y="70"/>
                      </a:cubicBezTo>
                      <a:cubicBezTo>
                        <a:pt x="196" y="70"/>
                        <a:pt x="195" y="71"/>
                        <a:pt x="194" y="72"/>
                      </a:cubicBezTo>
                      <a:cubicBezTo>
                        <a:pt x="191" y="74"/>
                        <a:pt x="188" y="76"/>
                        <a:pt x="184" y="79"/>
                      </a:cubicBezTo>
                      <a:cubicBezTo>
                        <a:pt x="184" y="79"/>
                        <a:pt x="184" y="79"/>
                        <a:pt x="184" y="79"/>
                      </a:cubicBezTo>
                      <a:cubicBezTo>
                        <a:pt x="177" y="84"/>
                        <a:pt x="170" y="89"/>
                        <a:pt x="164" y="94"/>
                      </a:cubicBezTo>
                      <a:cubicBezTo>
                        <a:pt x="163" y="94"/>
                        <a:pt x="163" y="94"/>
                        <a:pt x="163" y="94"/>
                      </a:cubicBezTo>
                      <a:cubicBezTo>
                        <a:pt x="160" y="97"/>
                        <a:pt x="157" y="99"/>
                        <a:pt x="154" y="102"/>
                      </a:cubicBezTo>
                      <a:cubicBezTo>
                        <a:pt x="154" y="102"/>
                        <a:pt x="153" y="102"/>
                        <a:pt x="153" y="103"/>
                      </a:cubicBezTo>
                      <a:cubicBezTo>
                        <a:pt x="150" y="105"/>
                        <a:pt x="147" y="108"/>
                        <a:pt x="144" y="111"/>
                      </a:cubicBezTo>
                      <a:cubicBezTo>
                        <a:pt x="144" y="111"/>
                        <a:pt x="144" y="111"/>
                        <a:pt x="144" y="111"/>
                      </a:cubicBezTo>
                      <a:cubicBezTo>
                        <a:pt x="134" y="119"/>
                        <a:pt x="125" y="128"/>
                        <a:pt x="117" y="138"/>
                      </a:cubicBezTo>
                      <a:cubicBezTo>
                        <a:pt x="116" y="138"/>
                        <a:pt x="116" y="138"/>
                        <a:pt x="116" y="139"/>
                      </a:cubicBezTo>
                      <a:cubicBezTo>
                        <a:pt x="104" y="151"/>
                        <a:pt x="94" y="164"/>
                        <a:pt x="84" y="177"/>
                      </a:cubicBezTo>
                      <a:cubicBezTo>
                        <a:pt x="83" y="178"/>
                        <a:pt x="83" y="178"/>
                        <a:pt x="83" y="178"/>
                      </a:cubicBezTo>
                      <a:cubicBezTo>
                        <a:pt x="81" y="181"/>
                        <a:pt x="79" y="184"/>
                        <a:pt x="76" y="188"/>
                      </a:cubicBezTo>
                      <a:cubicBezTo>
                        <a:pt x="76" y="188"/>
                        <a:pt x="76" y="188"/>
                        <a:pt x="76" y="188"/>
                      </a:cubicBezTo>
                      <a:cubicBezTo>
                        <a:pt x="76" y="188"/>
                        <a:pt x="76" y="188"/>
                        <a:pt x="76" y="188"/>
                      </a:cubicBezTo>
                      <a:cubicBezTo>
                        <a:pt x="32" y="252"/>
                        <a:pt x="5" y="329"/>
                        <a:pt x="1" y="412"/>
                      </a:cubicBezTo>
                      <a:cubicBezTo>
                        <a:pt x="0" y="412"/>
                        <a:pt x="0" y="412"/>
                        <a:pt x="0" y="412"/>
                      </a:cubicBezTo>
                      <a:cubicBezTo>
                        <a:pt x="0" y="423"/>
                        <a:pt x="0" y="423"/>
                        <a:pt x="0" y="423"/>
                      </a:cubicBezTo>
                      <a:cubicBezTo>
                        <a:pt x="0" y="439"/>
                        <a:pt x="13" y="452"/>
                        <a:pt x="29" y="452"/>
                      </a:cubicBezTo>
                      <a:lnTo>
                        <a:pt x="41" y="452"/>
                      </a:lnTo>
                      <a:close/>
                      <a:moveTo>
                        <a:pt x="757" y="214"/>
                      </a:moveTo>
                      <a:cubicBezTo>
                        <a:pt x="796" y="271"/>
                        <a:pt x="820" y="339"/>
                        <a:pt x="823" y="412"/>
                      </a:cubicBezTo>
                      <a:cubicBezTo>
                        <a:pt x="668" y="412"/>
                        <a:pt x="668" y="412"/>
                        <a:pt x="668" y="412"/>
                      </a:cubicBezTo>
                      <a:cubicBezTo>
                        <a:pt x="667" y="358"/>
                        <a:pt x="660" y="306"/>
                        <a:pt x="648" y="258"/>
                      </a:cubicBezTo>
                      <a:cubicBezTo>
                        <a:pt x="693" y="247"/>
                        <a:pt x="730" y="231"/>
                        <a:pt x="757" y="214"/>
                      </a:cubicBezTo>
                      <a:close/>
                      <a:moveTo>
                        <a:pt x="579" y="69"/>
                      </a:moveTo>
                      <a:cubicBezTo>
                        <a:pt x="579" y="69"/>
                        <a:pt x="579" y="69"/>
                        <a:pt x="580" y="69"/>
                      </a:cubicBezTo>
                      <a:cubicBezTo>
                        <a:pt x="582" y="70"/>
                        <a:pt x="585" y="71"/>
                        <a:pt x="588" y="73"/>
                      </a:cubicBezTo>
                      <a:cubicBezTo>
                        <a:pt x="589" y="73"/>
                        <a:pt x="589" y="73"/>
                        <a:pt x="590" y="74"/>
                      </a:cubicBezTo>
                      <a:cubicBezTo>
                        <a:pt x="592" y="75"/>
                        <a:pt x="595" y="76"/>
                        <a:pt x="597" y="77"/>
                      </a:cubicBezTo>
                      <a:cubicBezTo>
                        <a:pt x="598" y="77"/>
                        <a:pt x="599" y="78"/>
                        <a:pt x="600" y="78"/>
                      </a:cubicBezTo>
                      <a:cubicBezTo>
                        <a:pt x="602" y="79"/>
                        <a:pt x="603" y="80"/>
                        <a:pt x="605" y="80"/>
                      </a:cubicBezTo>
                      <a:cubicBezTo>
                        <a:pt x="607" y="81"/>
                        <a:pt x="608" y="82"/>
                        <a:pt x="610" y="83"/>
                      </a:cubicBezTo>
                      <a:cubicBezTo>
                        <a:pt x="611" y="83"/>
                        <a:pt x="611" y="84"/>
                        <a:pt x="612" y="84"/>
                      </a:cubicBezTo>
                      <a:cubicBezTo>
                        <a:pt x="658" y="108"/>
                        <a:pt x="700" y="141"/>
                        <a:pt x="733" y="181"/>
                      </a:cubicBezTo>
                      <a:cubicBezTo>
                        <a:pt x="710" y="196"/>
                        <a:pt x="678" y="209"/>
                        <a:pt x="638" y="220"/>
                      </a:cubicBezTo>
                      <a:cubicBezTo>
                        <a:pt x="617" y="153"/>
                        <a:pt x="587" y="97"/>
                        <a:pt x="551" y="59"/>
                      </a:cubicBezTo>
                      <a:cubicBezTo>
                        <a:pt x="560" y="62"/>
                        <a:pt x="570" y="65"/>
                        <a:pt x="579" y="69"/>
                      </a:cubicBezTo>
                      <a:close/>
                      <a:moveTo>
                        <a:pt x="452" y="43"/>
                      </a:moveTo>
                      <a:cubicBezTo>
                        <a:pt x="493" y="52"/>
                        <a:pt x="533" y="88"/>
                        <a:pt x="564" y="146"/>
                      </a:cubicBezTo>
                      <a:cubicBezTo>
                        <a:pt x="578" y="171"/>
                        <a:pt x="589" y="199"/>
                        <a:pt x="599" y="229"/>
                      </a:cubicBezTo>
                      <a:cubicBezTo>
                        <a:pt x="556" y="237"/>
                        <a:pt x="506" y="243"/>
                        <a:pt x="452" y="244"/>
                      </a:cubicBezTo>
                      <a:lnTo>
                        <a:pt x="452" y="43"/>
                      </a:lnTo>
                      <a:close/>
                      <a:moveTo>
                        <a:pt x="452" y="284"/>
                      </a:moveTo>
                      <a:cubicBezTo>
                        <a:pt x="509" y="283"/>
                        <a:pt x="562" y="277"/>
                        <a:pt x="609" y="267"/>
                      </a:cubicBezTo>
                      <a:cubicBezTo>
                        <a:pt x="620" y="312"/>
                        <a:pt x="627" y="361"/>
                        <a:pt x="628" y="412"/>
                      </a:cubicBezTo>
                      <a:cubicBezTo>
                        <a:pt x="452" y="412"/>
                        <a:pt x="452" y="412"/>
                        <a:pt x="452" y="412"/>
                      </a:cubicBezTo>
                      <a:lnTo>
                        <a:pt x="452" y="284"/>
                      </a:lnTo>
                      <a:close/>
                      <a:moveTo>
                        <a:pt x="412" y="412"/>
                      </a:moveTo>
                      <a:cubicBezTo>
                        <a:pt x="237" y="412"/>
                        <a:pt x="237" y="412"/>
                        <a:pt x="237" y="412"/>
                      </a:cubicBezTo>
                      <a:cubicBezTo>
                        <a:pt x="238" y="361"/>
                        <a:pt x="244" y="312"/>
                        <a:pt x="255" y="267"/>
                      </a:cubicBezTo>
                      <a:cubicBezTo>
                        <a:pt x="302" y="277"/>
                        <a:pt x="356" y="283"/>
                        <a:pt x="412" y="284"/>
                      </a:cubicBezTo>
                      <a:lnTo>
                        <a:pt x="412" y="412"/>
                      </a:lnTo>
                      <a:close/>
                      <a:moveTo>
                        <a:pt x="412" y="43"/>
                      </a:moveTo>
                      <a:cubicBezTo>
                        <a:pt x="412" y="244"/>
                        <a:pt x="412" y="244"/>
                        <a:pt x="412" y="244"/>
                      </a:cubicBezTo>
                      <a:cubicBezTo>
                        <a:pt x="358" y="243"/>
                        <a:pt x="309" y="237"/>
                        <a:pt x="266" y="229"/>
                      </a:cubicBezTo>
                      <a:cubicBezTo>
                        <a:pt x="275" y="199"/>
                        <a:pt x="287" y="171"/>
                        <a:pt x="300" y="146"/>
                      </a:cubicBezTo>
                      <a:cubicBezTo>
                        <a:pt x="332" y="88"/>
                        <a:pt x="372" y="52"/>
                        <a:pt x="412" y="43"/>
                      </a:cubicBezTo>
                      <a:close/>
                      <a:moveTo>
                        <a:pt x="253" y="84"/>
                      </a:moveTo>
                      <a:cubicBezTo>
                        <a:pt x="253" y="84"/>
                        <a:pt x="254" y="83"/>
                        <a:pt x="254" y="83"/>
                      </a:cubicBezTo>
                      <a:cubicBezTo>
                        <a:pt x="256" y="82"/>
                        <a:pt x="258" y="81"/>
                        <a:pt x="260" y="80"/>
                      </a:cubicBezTo>
                      <a:cubicBezTo>
                        <a:pt x="261" y="80"/>
                        <a:pt x="263" y="79"/>
                        <a:pt x="264" y="78"/>
                      </a:cubicBezTo>
                      <a:cubicBezTo>
                        <a:pt x="265" y="78"/>
                        <a:pt x="267" y="77"/>
                        <a:pt x="268" y="77"/>
                      </a:cubicBezTo>
                      <a:cubicBezTo>
                        <a:pt x="270" y="76"/>
                        <a:pt x="272" y="75"/>
                        <a:pt x="274" y="74"/>
                      </a:cubicBezTo>
                      <a:cubicBezTo>
                        <a:pt x="275" y="73"/>
                        <a:pt x="276" y="73"/>
                        <a:pt x="276" y="73"/>
                      </a:cubicBezTo>
                      <a:cubicBezTo>
                        <a:pt x="279" y="71"/>
                        <a:pt x="282" y="70"/>
                        <a:pt x="285" y="69"/>
                      </a:cubicBezTo>
                      <a:cubicBezTo>
                        <a:pt x="285" y="69"/>
                        <a:pt x="285" y="69"/>
                        <a:pt x="285" y="69"/>
                      </a:cubicBezTo>
                      <a:cubicBezTo>
                        <a:pt x="295" y="65"/>
                        <a:pt x="304" y="62"/>
                        <a:pt x="314" y="59"/>
                      </a:cubicBezTo>
                      <a:cubicBezTo>
                        <a:pt x="277" y="97"/>
                        <a:pt x="247" y="153"/>
                        <a:pt x="227" y="220"/>
                      </a:cubicBezTo>
                      <a:cubicBezTo>
                        <a:pt x="187" y="209"/>
                        <a:pt x="154" y="196"/>
                        <a:pt x="131" y="181"/>
                      </a:cubicBezTo>
                      <a:cubicBezTo>
                        <a:pt x="165" y="141"/>
                        <a:pt x="206" y="108"/>
                        <a:pt x="253" y="84"/>
                      </a:cubicBezTo>
                      <a:close/>
                      <a:moveTo>
                        <a:pt x="107" y="214"/>
                      </a:moveTo>
                      <a:cubicBezTo>
                        <a:pt x="135" y="231"/>
                        <a:pt x="172" y="247"/>
                        <a:pt x="216" y="258"/>
                      </a:cubicBezTo>
                      <a:cubicBezTo>
                        <a:pt x="205" y="306"/>
                        <a:pt x="198" y="358"/>
                        <a:pt x="197" y="412"/>
                      </a:cubicBezTo>
                      <a:cubicBezTo>
                        <a:pt x="41" y="412"/>
                        <a:pt x="41" y="412"/>
                        <a:pt x="41" y="412"/>
                      </a:cubicBezTo>
                      <a:cubicBezTo>
                        <a:pt x="45" y="339"/>
                        <a:pt x="69" y="271"/>
                        <a:pt x="107" y="21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1" name="Freeform 7">
                  <a:extLst>
                    <a:ext uri="{FF2B5EF4-FFF2-40B4-BE49-F238E27FC236}">
                      <a16:creationId xmlns:a16="http://schemas.microsoft.com/office/drawing/2014/main" id="{F95118E3-2584-499B-9C4E-3324F810E755}"/>
                    </a:ext>
                  </a:extLst>
                </p:cNvPr>
                <p:cNvSpPr>
                  <a:spLocks/>
                </p:cNvSpPr>
                <p:nvPr/>
              </p:nvSpPr>
              <p:spPr bwMode="auto">
                <a:xfrm>
                  <a:off x="273843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2" name="Freeform 8">
                  <a:extLst>
                    <a:ext uri="{FF2B5EF4-FFF2-40B4-BE49-F238E27FC236}">
                      <a16:creationId xmlns:a16="http://schemas.microsoft.com/office/drawing/2014/main" id="{23E09E73-4FCF-4055-8919-DF0FBF577EA5}"/>
                    </a:ext>
                  </a:extLst>
                </p:cNvPr>
                <p:cNvSpPr>
                  <a:spLocks/>
                </p:cNvSpPr>
                <p:nvPr/>
              </p:nvSpPr>
              <p:spPr bwMode="auto">
                <a:xfrm>
                  <a:off x="2846388" y="2674938"/>
                  <a:ext cx="77788" cy="77788"/>
                </a:xfrm>
                <a:custGeom>
                  <a:avLst/>
                  <a:gdLst>
                    <a:gd name="T0" fmla="*/ 75 w 104"/>
                    <a:gd name="T1" fmla="*/ 105 h 105"/>
                    <a:gd name="T2" fmla="*/ 28 w 104"/>
                    <a:gd name="T3" fmla="*/ 105 h 105"/>
                    <a:gd name="T4" fmla="*/ 0 w 104"/>
                    <a:gd name="T5" fmla="*/ 76 h 105"/>
                    <a:gd name="T6" fmla="*/ 0 w 104"/>
                    <a:gd name="T7" fmla="*/ 29 h 105"/>
                    <a:gd name="T8" fmla="*/ 28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8" y="105"/>
                        <a:pt x="28" y="105"/>
                        <a:pt x="28" y="105"/>
                      </a:cubicBezTo>
                      <a:cubicBezTo>
                        <a:pt x="12" y="105"/>
                        <a:pt x="0" y="92"/>
                        <a:pt x="0" y="76"/>
                      </a:cubicBezTo>
                      <a:cubicBezTo>
                        <a:pt x="0" y="29"/>
                        <a:pt x="0" y="29"/>
                        <a:pt x="0" y="29"/>
                      </a:cubicBezTo>
                      <a:cubicBezTo>
                        <a:pt x="0" y="13"/>
                        <a:pt x="12" y="0"/>
                        <a:pt x="28"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3" name="Freeform 9">
                  <a:extLst>
                    <a:ext uri="{FF2B5EF4-FFF2-40B4-BE49-F238E27FC236}">
                      <a16:creationId xmlns:a16="http://schemas.microsoft.com/office/drawing/2014/main" id="{101A5DCA-741C-4CA4-8C65-03FC970D248B}"/>
                    </a:ext>
                  </a:extLst>
                </p:cNvPr>
                <p:cNvSpPr>
                  <a:spLocks/>
                </p:cNvSpPr>
                <p:nvPr/>
              </p:nvSpPr>
              <p:spPr bwMode="auto">
                <a:xfrm>
                  <a:off x="295433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4" name="Freeform 10">
                  <a:extLst>
                    <a:ext uri="{FF2B5EF4-FFF2-40B4-BE49-F238E27FC236}">
                      <a16:creationId xmlns:a16="http://schemas.microsoft.com/office/drawing/2014/main" id="{356B938C-066A-44CF-A504-ED81260993ED}"/>
                    </a:ext>
                  </a:extLst>
                </p:cNvPr>
                <p:cNvSpPr>
                  <a:spLocks/>
                </p:cNvSpPr>
                <p:nvPr/>
              </p:nvSpPr>
              <p:spPr bwMode="auto">
                <a:xfrm>
                  <a:off x="306228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5" name="Freeform 11">
                  <a:extLst>
                    <a:ext uri="{FF2B5EF4-FFF2-40B4-BE49-F238E27FC236}">
                      <a16:creationId xmlns:a16="http://schemas.microsoft.com/office/drawing/2014/main" id="{8D344B2F-8029-4DCF-A6CD-44520CA14415}"/>
                    </a:ext>
                  </a:extLst>
                </p:cNvPr>
                <p:cNvSpPr>
                  <a:spLocks/>
                </p:cNvSpPr>
                <p:nvPr/>
              </p:nvSpPr>
              <p:spPr bwMode="auto">
                <a:xfrm>
                  <a:off x="3170238" y="2674938"/>
                  <a:ext cx="77788" cy="77788"/>
                </a:xfrm>
                <a:custGeom>
                  <a:avLst/>
                  <a:gdLst>
                    <a:gd name="T0" fmla="*/ 76 w 104"/>
                    <a:gd name="T1" fmla="*/ 105 h 105"/>
                    <a:gd name="T2" fmla="*/ 29 w 104"/>
                    <a:gd name="T3" fmla="*/ 105 h 105"/>
                    <a:gd name="T4" fmla="*/ 0 w 104"/>
                    <a:gd name="T5" fmla="*/ 76 h 105"/>
                    <a:gd name="T6" fmla="*/ 0 w 104"/>
                    <a:gd name="T7" fmla="*/ 29 h 105"/>
                    <a:gd name="T8" fmla="*/ 29 w 104"/>
                    <a:gd name="T9" fmla="*/ 0 h 105"/>
                    <a:gd name="T10" fmla="*/ 76 w 104"/>
                    <a:gd name="T11" fmla="*/ 0 h 105"/>
                    <a:gd name="T12" fmla="*/ 104 w 104"/>
                    <a:gd name="T13" fmla="*/ 29 h 105"/>
                    <a:gd name="T14" fmla="*/ 104 w 104"/>
                    <a:gd name="T15" fmla="*/ 76 h 105"/>
                    <a:gd name="T16" fmla="*/ 76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4" y="13"/>
                        <a:pt x="104" y="29"/>
                      </a:cubicBezTo>
                      <a:cubicBezTo>
                        <a:pt x="104" y="76"/>
                        <a:pt x="104" y="76"/>
                        <a:pt x="104" y="76"/>
                      </a:cubicBezTo>
                      <a:cubicBezTo>
                        <a:pt x="104" y="92"/>
                        <a:pt x="92" y="105"/>
                        <a:pt x="76"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6" name="Freeform 12">
                  <a:extLst>
                    <a:ext uri="{FF2B5EF4-FFF2-40B4-BE49-F238E27FC236}">
                      <a16:creationId xmlns:a16="http://schemas.microsoft.com/office/drawing/2014/main" id="{C4B8CFE0-4F19-4F46-8E31-081DF6A5E3CE}"/>
                    </a:ext>
                  </a:extLst>
                </p:cNvPr>
                <p:cNvSpPr>
                  <a:spLocks/>
                </p:cNvSpPr>
                <p:nvPr/>
              </p:nvSpPr>
              <p:spPr bwMode="auto">
                <a:xfrm>
                  <a:off x="327818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77" name="Freeform 13">
                  <a:extLst>
                    <a:ext uri="{FF2B5EF4-FFF2-40B4-BE49-F238E27FC236}">
                      <a16:creationId xmlns:a16="http://schemas.microsoft.com/office/drawing/2014/main" id="{62A6BA83-BC9E-4C87-B04B-8AB735CD4A2E}"/>
                    </a:ext>
                  </a:extLst>
                </p:cNvPr>
                <p:cNvSpPr>
                  <a:spLocks/>
                </p:cNvSpPr>
                <p:nvPr/>
              </p:nvSpPr>
              <p:spPr bwMode="auto">
                <a:xfrm>
                  <a:off x="2789238" y="2776538"/>
                  <a:ext cx="65088" cy="65088"/>
                </a:xfrm>
                <a:custGeom>
                  <a:avLst/>
                  <a:gdLst>
                    <a:gd name="T0" fmla="*/ 58 w 87"/>
                    <a:gd name="T1" fmla="*/ 87 h 87"/>
                    <a:gd name="T2" fmla="*/ 28 w 87"/>
                    <a:gd name="T3" fmla="*/ 87 h 87"/>
                    <a:gd name="T4" fmla="*/ 0 w 87"/>
                    <a:gd name="T5" fmla="*/ 58 h 87"/>
                    <a:gd name="T6" fmla="*/ 0 w 87"/>
                    <a:gd name="T7" fmla="*/ 29 h 87"/>
                    <a:gd name="T8" fmla="*/ 28 w 87"/>
                    <a:gd name="T9" fmla="*/ 0 h 87"/>
                    <a:gd name="T10" fmla="*/ 58 w 87"/>
                    <a:gd name="T11" fmla="*/ 0 h 87"/>
                    <a:gd name="T12" fmla="*/ 87 w 87"/>
                    <a:gd name="T13" fmla="*/ 29 h 87"/>
                    <a:gd name="T14" fmla="*/ 87 w 87"/>
                    <a:gd name="T15" fmla="*/ 58 h 87"/>
                    <a:gd name="T16" fmla="*/ 58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8" y="87"/>
                      </a:moveTo>
                      <a:cubicBezTo>
                        <a:pt x="28" y="87"/>
                        <a:pt x="28" y="87"/>
                        <a:pt x="28" y="87"/>
                      </a:cubicBezTo>
                      <a:cubicBezTo>
                        <a:pt x="12" y="87"/>
                        <a:pt x="0" y="74"/>
                        <a:pt x="0" y="58"/>
                      </a:cubicBezTo>
                      <a:cubicBezTo>
                        <a:pt x="0" y="29"/>
                        <a:pt x="0" y="29"/>
                        <a:pt x="0" y="29"/>
                      </a:cubicBezTo>
                      <a:cubicBezTo>
                        <a:pt x="0" y="13"/>
                        <a:pt x="12" y="0"/>
                        <a:pt x="28" y="0"/>
                      </a:cubicBezTo>
                      <a:cubicBezTo>
                        <a:pt x="58" y="0"/>
                        <a:pt x="58" y="0"/>
                        <a:pt x="58" y="0"/>
                      </a:cubicBezTo>
                      <a:cubicBezTo>
                        <a:pt x="74" y="0"/>
                        <a:pt x="87" y="13"/>
                        <a:pt x="87" y="29"/>
                      </a:cubicBezTo>
                      <a:cubicBezTo>
                        <a:pt x="87" y="58"/>
                        <a:pt x="87" y="58"/>
                        <a:pt x="87" y="58"/>
                      </a:cubicBezTo>
                      <a:cubicBezTo>
                        <a:pt x="87" y="74"/>
                        <a:pt x="74" y="87"/>
                        <a:pt x="58"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61" name="Freeform 14">
                  <a:extLst>
                    <a:ext uri="{FF2B5EF4-FFF2-40B4-BE49-F238E27FC236}">
                      <a16:creationId xmlns:a16="http://schemas.microsoft.com/office/drawing/2014/main" id="{DA84508E-F07F-40E1-BA8D-831073114E3C}"/>
                    </a:ext>
                  </a:extLst>
                </p:cNvPr>
                <p:cNvSpPr>
                  <a:spLocks/>
                </p:cNvSpPr>
                <p:nvPr/>
              </p:nvSpPr>
              <p:spPr bwMode="auto">
                <a:xfrm>
                  <a:off x="2901950" y="2776538"/>
                  <a:ext cx="65088" cy="65088"/>
                </a:xfrm>
                <a:custGeom>
                  <a:avLst/>
                  <a:gdLst>
                    <a:gd name="T0" fmla="*/ 59 w 88"/>
                    <a:gd name="T1" fmla="*/ 87 h 87"/>
                    <a:gd name="T2" fmla="*/ 29 w 88"/>
                    <a:gd name="T3" fmla="*/ 87 h 87"/>
                    <a:gd name="T4" fmla="*/ 0 w 88"/>
                    <a:gd name="T5" fmla="*/ 58 h 87"/>
                    <a:gd name="T6" fmla="*/ 0 w 88"/>
                    <a:gd name="T7" fmla="*/ 29 h 87"/>
                    <a:gd name="T8" fmla="*/ 29 w 88"/>
                    <a:gd name="T9" fmla="*/ 0 h 87"/>
                    <a:gd name="T10" fmla="*/ 59 w 88"/>
                    <a:gd name="T11" fmla="*/ 0 h 87"/>
                    <a:gd name="T12" fmla="*/ 88 w 88"/>
                    <a:gd name="T13" fmla="*/ 29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9"/>
                        <a:pt x="0" y="29"/>
                        <a:pt x="0" y="29"/>
                      </a:cubicBezTo>
                      <a:cubicBezTo>
                        <a:pt x="0" y="13"/>
                        <a:pt x="13" y="0"/>
                        <a:pt x="29" y="0"/>
                      </a:cubicBezTo>
                      <a:cubicBezTo>
                        <a:pt x="59" y="0"/>
                        <a:pt x="59" y="0"/>
                        <a:pt x="59" y="0"/>
                      </a:cubicBezTo>
                      <a:cubicBezTo>
                        <a:pt x="75" y="0"/>
                        <a:pt x="88" y="13"/>
                        <a:pt x="88" y="29"/>
                      </a:cubicBezTo>
                      <a:cubicBezTo>
                        <a:pt x="88" y="58"/>
                        <a:pt x="88" y="58"/>
                        <a:pt x="88" y="58"/>
                      </a:cubicBezTo>
                      <a:cubicBezTo>
                        <a:pt x="88" y="74"/>
                        <a:pt x="75" y="87"/>
                        <a:pt x="59" y="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62" name="Freeform 15">
                  <a:extLst>
                    <a:ext uri="{FF2B5EF4-FFF2-40B4-BE49-F238E27FC236}">
                      <a16:creationId xmlns:a16="http://schemas.microsoft.com/office/drawing/2014/main" id="{B92C3BF0-1EF0-41EE-A98A-5CEDBBDFFF95}"/>
                    </a:ext>
                  </a:extLst>
                </p:cNvPr>
                <p:cNvSpPr>
                  <a:spLocks/>
                </p:cNvSpPr>
                <p:nvPr/>
              </p:nvSpPr>
              <p:spPr bwMode="auto">
                <a:xfrm>
                  <a:off x="3014663"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65" name="Freeform 16">
                  <a:extLst>
                    <a:ext uri="{FF2B5EF4-FFF2-40B4-BE49-F238E27FC236}">
                      <a16:creationId xmlns:a16="http://schemas.microsoft.com/office/drawing/2014/main" id="{C1E1D554-1576-4EDD-83FD-15742E5283CE}"/>
                    </a:ext>
                  </a:extLst>
                </p:cNvPr>
                <p:cNvSpPr>
                  <a:spLocks/>
                </p:cNvSpPr>
                <p:nvPr/>
              </p:nvSpPr>
              <p:spPr bwMode="auto">
                <a:xfrm>
                  <a:off x="3127375"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66" name="Freeform 17">
                  <a:extLst>
                    <a:ext uri="{FF2B5EF4-FFF2-40B4-BE49-F238E27FC236}">
                      <a16:creationId xmlns:a16="http://schemas.microsoft.com/office/drawing/2014/main" id="{D200CF18-B078-4D61-913B-260B984FF8B4}"/>
                    </a:ext>
                  </a:extLst>
                </p:cNvPr>
                <p:cNvSpPr>
                  <a:spLocks/>
                </p:cNvSpPr>
                <p:nvPr/>
              </p:nvSpPr>
              <p:spPr bwMode="auto">
                <a:xfrm>
                  <a:off x="3240088" y="2778125"/>
                  <a:ext cx="65088" cy="63500"/>
                </a:xfrm>
                <a:custGeom>
                  <a:avLst/>
                  <a:gdLst>
                    <a:gd name="T0" fmla="*/ 59 w 87"/>
                    <a:gd name="T1" fmla="*/ 87 h 87"/>
                    <a:gd name="T2" fmla="*/ 29 w 87"/>
                    <a:gd name="T3" fmla="*/ 87 h 87"/>
                    <a:gd name="T4" fmla="*/ 0 w 87"/>
                    <a:gd name="T5" fmla="*/ 58 h 87"/>
                    <a:gd name="T6" fmla="*/ 0 w 87"/>
                    <a:gd name="T7" fmla="*/ 28 h 87"/>
                    <a:gd name="T8" fmla="*/ 29 w 87"/>
                    <a:gd name="T9" fmla="*/ 0 h 87"/>
                    <a:gd name="T10" fmla="*/ 59 w 87"/>
                    <a:gd name="T11" fmla="*/ 0 h 87"/>
                    <a:gd name="T12" fmla="*/ 87 w 87"/>
                    <a:gd name="T13" fmla="*/ 28 h 87"/>
                    <a:gd name="T14" fmla="*/ 87 w 87"/>
                    <a:gd name="T15" fmla="*/ 58 h 87"/>
                    <a:gd name="T16" fmla="*/ 59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7" y="13"/>
                        <a:pt x="87" y="28"/>
                      </a:cubicBezTo>
                      <a:cubicBezTo>
                        <a:pt x="87" y="58"/>
                        <a:pt x="87" y="58"/>
                        <a:pt x="87" y="58"/>
                      </a:cubicBezTo>
                      <a:cubicBezTo>
                        <a:pt x="87" y="74"/>
                        <a:pt x="75" y="87"/>
                        <a:pt x="59"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68" name="Freeform 18">
                  <a:extLst>
                    <a:ext uri="{FF2B5EF4-FFF2-40B4-BE49-F238E27FC236}">
                      <a16:creationId xmlns:a16="http://schemas.microsoft.com/office/drawing/2014/main" id="{22DCEA91-244B-45C1-958A-B5850DD6C621}"/>
                    </a:ext>
                  </a:extLst>
                </p:cNvPr>
                <p:cNvSpPr>
                  <a:spLocks/>
                </p:cNvSpPr>
                <p:nvPr/>
              </p:nvSpPr>
              <p:spPr bwMode="auto">
                <a:xfrm>
                  <a:off x="2841625" y="2862263"/>
                  <a:ext cx="50800" cy="52388"/>
                </a:xfrm>
                <a:custGeom>
                  <a:avLst/>
                  <a:gdLst>
                    <a:gd name="T0" fmla="*/ 41 w 70"/>
                    <a:gd name="T1" fmla="*/ 70 h 70"/>
                    <a:gd name="T2" fmla="*/ 28 w 70"/>
                    <a:gd name="T3" fmla="*/ 70 h 70"/>
                    <a:gd name="T4" fmla="*/ 0 w 70"/>
                    <a:gd name="T5" fmla="*/ 41 h 70"/>
                    <a:gd name="T6" fmla="*/ 0 w 70"/>
                    <a:gd name="T7" fmla="*/ 29 h 70"/>
                    <a:gd name="T8" fmla="*/ 28 w 70"/>
                    <a:gd name="T9" fmla="*/ 0 h 70"/>
                    <a:gd name="T10" fmla="*/ 41 w 70"/>
                    <a:gd name="T11" fmla="*/ 0 h 70"/>
                    <a:gd name="T12" fmla="*/ 70 w 70"/>
                    <a:gd name="T13" fmla="*/ 29 h 70"/>
                    <a:gd name="T14" fmla="*/ 70 w 70"/>
                    <a:gd name="T15" fmla="*/ 41 h 70"/>
                    <a:gd name="T16" fmla="*/ 41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70" y="13"/>
                        <a:pt x="70" y="29"/>
                      </a:cubicBezTo>
                      <a:cubicBezTo>
                        <a:pt x="70" y="41"/>
                        <a:pt x="70" y="41"/>
                        <a:pt x="70" y="41"/>
                      </a:cubicBezTo>
                      <a:cubicBezTo>
                        <a:pt x="70" y="57"/>
                        <a:pt x="57" y="70"/>
                        <a:pt x="41"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69" name="Freeform 19">
                  <a:extLst>
                    <a:ext uri="{FF2B5EF4-FFF2-40B4-BE49-F238E27FC236}">
                      <a16:creationId xmlns:a16="http://schemas.microsoft.com/office/drawing/2014/main" id="{453596DB-1BD9-4CD9-9699-255A15CD45FA}"/>
                    </a:ext>
                  </a:extLst>
                </p:cNvPr>
                <p:cNvSpPr>
                  <a:spLocks/>
                </p:cNvSpPr>
                <p:nvPr/>
              </p:nvSpPr>
              <p:spPr bwMode="auto">
                <a:xfrm>
                  <a:off x="2962275" y="2862263"/>
                  <a:ext cx="50800" cy="52388"/>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69" y="13"/>
                        <a:pt x="69" y="29"/>
                      </a:cubicBezTo>
                      <a:cubicBezTo>
                        <a:pt x="69" y="41"/>
                        <a:pt x="69" y="41"/>
                        <a:pt x="69" y="41"/>
                      </a:cubicBezTo>
                      <a:cubicBezTo>
                        <a:pt x="69" y="57"/>
                        <a:pt x="57" y="70"/>
                        <a:pt x="41" y="7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70" name="Freeform 20">
                  <a:extLst>
                    <a:ext uri="{FF2B5EF4-FFF2-40B4-BE49-F238E27FC236}">
                      <a16:creationId xmlns:a16="http://schemas.microsoft.com/office/drawing/2014/main" id="{9185536E-A758-4C29-8F5A-768404EB87C5}"/>
                    </a:ext>
                  </a:extLst>
                </p:cNvPr>
                <p:cNvSpPr>
                  <a:spLocks/>
                </p:cNvSpPr>
                <p:nvPr/>
              </p:nvSpPr>
              <p:spPr bwMode="auto">
                <a:xfrm>
                  <a:off x="3081338" y="2863850"/>
                  <a:ext cx="52388" cy="50800"/>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2" y="70"/>
                        <a:pt x="0" y="57"/>
                        <a:pt x="0" y="41"/>
                      </a:cubicBezTo>
                      <a:cubicBezTo>
                        <a:pt x="0" y="29"/>
                        <a:pt x="0" y="29"/>
                        <a:pt x="0" y="29"/>
                      </a:cubicBezTo>
                      <a:cubicBezTo>
                        <a:pt x="0" y="13"/>
                        <a:pt x="12" y="0"/>
                        <a:pt x="28" y="0"/>
                      </a:cubicBezTo>
                      <a:cubicBezTo>
                        <a:pt x="41" y="0"/>
                        <a:pt x="41" y="0"/>
                        <a:pt x="41" y="0"/>
                      </a:cubicBezTo>
                      <a:cubicBezTo>
                        <a:pt x="56" y="0"/>
                        <a:pt x="69" y="13"/>
                        <a:pt x="69" y="29"/>
                      </a:cubicBezTo>
                      <a:cubicBezTo>
                        <a:pt x="69" y="41"/>
                        <a:pt x="69" y="41"/>
                        <a:pt x="69" y="41"/>
                      </a:cubicBezTo>
                      <a:cubicBezTo>
                        <a:pt x="69" y="57"/>
                        <a:pt x="56" y="70"/>
                        <a:pt x="41"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73" name="Freeform 21">
                  <a:extLst>
                    <a:ext uri="{FF2B5EF4-FFF2-40B4-BE49-F238E27FC236}">
                      <a16:creationId xmlns:a16="http://schemas.microsoft.com/office/drawing/2014/main" id="{A51C2195-A78B-4380-8C87-E5895F6FED8F}"/>
                    </a:ext>
                  </a:extLst>
                </p:cNvPr>
                <p:cNvSpPr>
                  <a:spLocks/>
                </p:cNvSpPr>
                <p:nvPr/>
              </p:nvSpPr>
              <p:spPr bwMode="auto">
                <a:xfrm>
                  <a:off x="3201988" y="2863850"/>
                  <a:ext cx="50800" cy="50800"/>
                </a:xfrm>
                <a:custGeom>
                  <a:avLst/>
                  <a:gdLst>
                    <a:gd name="T0" fmla="*/ 42 w 70"/>
                    <a:gd name="T1" fmla="*/ 70 h 70"/>
                    <a:gd name="T2" fmla="*/ 29 w 70"/>
                    <a:gd name="T3" fmla="*/ 70 h 70"/>
                    <a:gd name="T4" fmla="*/ 0 w 70"/>
                    <a:gd name="T5" fmla="*/ 41 h 70"/>
                    <a:gd name="T6" fmla="*/ 0 w 70"/>
                    <a:gd name="T7" fmla="*/ 29 h 70"/>
                    <a:gd name="T8" fmla="*/ 29 w 70"/>
                    <a:gd name="T9" fmla="*/ 0 h 70"/>
                    <a:gd name="T10" fmla="*/ 42 w 70"/>
                    <a:gd name="T11" fmla="*/ 0 h 70"/>
                    <a:gd name="T12" fmla="*/ 70 w 70"/>
                    <a:gd name="T13" fmla="*/ 29 h 70"/>
                    <a:gd name="T14" fmla="*/ 70 w 70"/>
                    <a:gd name="T15" fmla="*/ 41 h 70"/>
                    <a:gd name="T16" fmla="*/ 42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2" y="70"/>
                      </a:moveTo>
                      <a:cubicBezTo>
                        <a:pt x="29" y="70"/>
                        <a:pt x="29" y="70"/>
                        <a:pt x="29" y="70"/>
                      </a:cubicBezTo>
                      <a:cubicBezTo>
                        <a:pt x="13" y="70"/>
                        <a:pt x="0" y="57"/>
                        <a:pt x="0" y="41"/>
                      </a:cubicBezTo>
                      <a:cubicBezTo>
                        <a:pt x="0" y="29"/>
                        <a:pt x="0" y="29"/>
                        <a:pt x="0" y="29"/>
                      </a:cubicBezTo>
                      <a:cubicBezTo>
                        <a:pt x="0" y="13"/>
                        <a:pt x="13" y="0"/>
                        <a:pt x="29" y="0"/>
                      </a:cubicBezTo>
                      <a:cubicBezTo>
                        <a:pt x="42" y="0"/>
                        <a:pt x="42" y="0"/>
                        <a:pt x="42" y="0"/>
                      </a:cubicBezTo>
                      <a:cubicBezTo>
                        <a:pt x="57" y="0"/>
                        <a:pt x="70" y="13"/>
                        <a:pt x="70" y="29"/>
                      </a:cubicBezTo>
                      <a:cubicBezTo>
                        <a:pt x="70" y="41"/>
                        <a:pt x="70" y="41"/>
                        <a:pt x="70" y="41"/>
                      </a:cubicBezTo>
                      <a:cubicBezTo>
                        <a:pt x="70" y="57"/>
                        <a:pt x="57" y="70"/>
                        <a:pt x="42" y="7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grpSp>
      <p:sp>
        <p:nvSpPr>
          <p:cNvPr id="1374" name="TextBox 1373">
            <a:extLst>
              <a:ext uri="{FF2B5EF4-FFF2-40B4-BE49-F238E27FC236}">
                <a16:creationId xmlns:a16="http://schemas.microsoft.com/office/drawing/2014/main" id="{0B409806-D7AF-489F-A044-9A0622D06486}"/>
              </a:ext>
            </a:extLst>
          </p:cNvPr>
          <p:cNvSpPr txBox="1"/>
          <p:nvPr/>
        </p:nvSpPr>
        <p:spPr>
          <a:xfrm>
            <a:off x="470129"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rPr>
              <a:t>01</a:t>
            </a:r>
          </a:p>
        </p:txBody>
      </p:sp>
      <p:grpSp>
        <p:nvGrpSpPr>
          <p:cNvPr id="1375" name="Group 1374">
            <a:extLst>
              <a:ext uri="{FF2B5EF4-FFF2-40B4-BE49-F238E27FC236}">
                <a16:creationId xmlns:a16="http://schemas.microsoft.com/office/drawing/2014/main" id="{55EB1DD6-7C97-4B06-B8AC-51BB1B6247DD}"/>
              </a:ext>
            </a:extLst>
          </p:cNvPr>
          <p:cNvGrpSpPr/>
          <p:nvPr/>
        </p:nvGrpSpPr>
        <p:grpSpPr>
          <a:xfrm>
            <a:off x="485585" y="710972"/>
            <a:ext cx="457390" cy="457390"/>
            <a:chOff x="485585" y="485585"/>
            <a:chExt cx="457390" cy="457390"/>
          </a:xfrm>
        </p:grpSpPr>
        <p:sp>
          <p:nvSpPr>
            <p:cNvPr id="1376" name="Oval 1375">
              <a:extLst>
                <a:ext uri="{FF2B5EF4-FFF2-40B4-BE49-F238E27FC236}">
                  <a16:creationId xmlns:a16="http://schemas.microsoft.com/office/drawing/2014/main" id="{F1F797F5-DAE5-4527-8CB9-01E7DAD7B993}"/>
                </a:ext>
              </a:extLst>
            </p:cNvPr>
            <p:cNvSpPr/>
            <p:nvPr/>
          </p:nvSpPr>
          <p:spPr>
            <a:xfrm>
              <a:off x="485585" y="485585"/>
              <a:ext cx="457390" cy="4573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377" name="Group 1376">
              <a:extLst>
                <a:ext uri="{FF2B5EF4-FFF2-40B4-BE49-F238E27FC236}">
                  <a16:creationId xmlns:a16="http://schemas.microsoft.com/office/drawing/2014/main" id="{3FE244F8-0123-48B0-B594-7084E6E0630E}"/>
                </a:ext>
              </a:extLst>
            </p:cNvPr>
            <p:cNvGrpSpPr>
              <a:grpSpLocks noChangeAspect="1"/>
            </p:cNvGrpSpPr>
            <p:nvPr/>
          </p:nvGrpSpPr>
          <p:grpSpPr>
            <a:xfrm>
              <a:off x="549267" y="560453"/>
              <a:ext cx="318407" cy="318194"/>
              <a:chOff x="2439988" y="-1801813"/>
              <a:chExt cx="2363788" cy="2362200"/>
            </a:xfrm>
          </p:grpSpPr>
          <p:sp>
            <p:nvSpPr>
              <p:cNvPr id="1378" name="Oval 36">
                <a:extLst>
                  <a:ext uri="{FF2B5EF4-FFF2-40B4-BE49-F238E27FC236}">
                    <a16:creationId xmlns:a16="http://schemas.microsoft.com/office/drawing/2014/main" id="{C07E0534-B5A1-48F2-9BE5-68995A588A25}"/>
                  </a:ext>
                </a:extLst>
              </p:cNvPr>
              <p:cNvSpPr>
                <a:spLocks noChangeArrowheads="1"/>
              </p:cNvSpPr>
              <p:nvPr/>
            </p:nvSpPr>
            <p:spPr bwMode="auto">
              <a:xfrm>
                <a:off x="2439988" y="-1801813"/>
                <a:ext cx="2363788" cy="2362200"/>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79" name="Freeform 35">
                <a:extLst>
                  <a:ext uri="{FF2B5EF4-FFF2-40B4-BE49-F238E27FC236}">
                    <a16:creationId xmlns:a16="http://schemas.microsoft.com/office/drawing/2014/main" id="{2375AF57-A5A5-49D6-B788-064B1C20EDA4}"/>
                  </a:ext>
                </a:extLst>
              </p:cNvPr>
              <p:cNvSpPr>
                <a:spLocks/>
              </p:cNvSpPr>
              <p:nvPr/>
            </p:nvSpPr>
            <p:spPr bwMode="auto">
              <a:xfrm>
                <a:off x="2624138" y="-979488"/>
                <a:ext cx="2163763" cy="1539875"/>
              </a:xfrm>
              <a:custGeom>
                <a:avLst/>
                <a:gdLst>
                  <a:gd name="T0" fmla="*/ 574 w 574"/>
                  <a:gd name="T1" fmla="*/ 141 h 409"/>
                  <a:gd name="T2" fmla="*/ 527 w 574"/>
                  <a:gd name="T3" fmla="*/ 94 h 409"/>
                  <a:gd name="T4" fmla="*/ 507 w 574"/>
                  <a:gd name="T5" fmla="*/ 66 h 409"/>
                  <a:gd name="T6" fmla="*/ 505 w 574"/>
                  <a:gd name="T7" fmla="*/ 63 h 409"/>
                  <a:gd name="T8" fmla="*/ 501 w 574"/>
                  <a:gd name="T9" fmla="*/ 61 h 409"/>
                  <a:gd name="T10" fmla="*/ 499 w 574"/>
                  <a:gd name="T11" fmla="*/ 59 h 409"/>
                  <a:gd name="T12" fmla="*/ 494 w 574"/>
                  <a:gd name="T13" fmla="*/ 57 h 409"/>
                  <a:gd name="T14" fmla="*/ 493 w 574"/>
                  <a:gd name="T15" fmla="*/ 56 h 409"/>
                  <a:gd name="T16" fmla="*/ 487 w 574"/>
                  <a:gd name="T17" fmla="*/ 54 h 409"/>
                  <a:gd name="T18" fmla="*/ 485 w 574"/>
                  <a:gd name="T19" fmla="*/ 53 h 409"/>
                  <a:gd name="T20" fmla="*/ 482 w 574"/>
                  <a:gd name="T21" fmla="*/ 49 h 409"/>
                  <a:gd name="T22" fmla="*/ 479 w 574"/>
                  <a:gd name="T23" fmla="*/ 45 h 409"/>
                  <a:gd name="T24" fmla="*/ 479 w 574"/>
                  <a:gd name="T25" fmla="*/ 45 h 409"/>
                  <a:gd name="T26" fmla="*/ 475 w 574"/>
                  <a:gd name="T27" fmla="*/ 41 h 409"/>
                  <a:gd name="T28" fmla="*/ 475 w 574"/>
                  <a:gd name="T29" fmla="*/ 41 h 409"/>
                  <a:gd name="T30" fmla="*/ 471 w 574"/>
                  <a:gd name="T31" fmla="*/ 37 h 409"/>
                  <a:gd name="T32" fmla="*/ 471 w 574"/>
                  <a:gd name="T33" fmla="*/ 37 h 409"/>
                  <a:gd name="T34" fmla="*/ 466 w 574"/>
                  <a:gd name="T35" fmla="*/ 33 h 409"/>
                  <a:gd name="T36" fmla="*/ 399 w 574"/>
                  <a:gd name="T37" fmla="*/ 10 h 409"/>
                  <a:gd name="T38" fmla="*/ 327 w 574"/>
                  <a:gd name="T39" fmla="*/ 38 h 409"/>
                  <a:gd name="T40" fmla="*/ 265 w 574"/>
                  <a:gd name="T41" fmla="*/ 0 h 409"/>
                  <a:gd name="T42" fmla="*/ 256 w 574"/>
                  <a:gd name="T43" fmla="*/ 1 h 409"/>
                  <a:gd name="T44" fmla="*/ 253 w 574"/>
                  <a:gd name="T45" fmla="*/ 1 h 409"/>
                  <a:gd name="T46" fmla="*/ 251 w 574"/>
                  <a:gd name="T47" fmla="*/ 1 h 409"/>
                  <a:gd name="T48" fmla="*/ 249 w 574"/>
                  <a:gd name="T49" fmla="*/ 2 h 409"/>
                  <a:gd name="T50" fmla="*/ 247 w 574"/>
                  <a:gd name="T51" fmla="*/ 3 h 409"/>
                  <a:gd name="T52" fmla="*/ 244 w 574"/>
                  <a:gd name="T53" fmla="*/ 3 h 409"/>
                  <a:gd name="T54" fmla="*/ 242 w 574"/>
                  <a:gd name="T55" fmla="*/ 4 h 409"/>
                  <a:gd name="T56" fmla="*/ 240 w 574"/>
                  <a:gd name="T57" fmla="*/ 5 h 409"/>
                  <a:gd name="T58" fmla="*/ 238 w 574"/>
                  <a:gd name="T59" fmla="*/ 5 h 409"/>
                  <a:gd name="T60" fmla="*/ 236 w 574"/>
                  <a:gd name="T61" fmla="*/ 6 h 409"/>
                  <a:gd name="T62" fmla="*/ 234 w 574"/>
                  <a:gd name="T63" fmla="*/ 7 h 409"/>
                  <a:gd name="T64" fmla="*/ 232 w 574"/>
                  <a:gd name="T65" fmla="*/ 8 h 409"/>
                  <a:gd name="T66" fmla="*/ 230 w 574"/>
                  <a:gd name="T67" fmla="*/ 10 h 409"/>
                  <a:gd name="T68" fmla="*/ 228 w 574"/>
                  <a:gd name="T69" fmla="*/ 11 h 409"/>
                  <a:gd name="T70" fmla="*/ 225 w 574"/>
                  <a:gd name="T71" fmla="*/ 13 h 409"/>
                  <a:gd name="T72" fmla="*/ 223 w 574"/>
                  <a:gd name="T73" fmla="*/ 14 h 409"/>
                  <a:gd name="T74" fmla="*/ 221 w 574"/>
                  <a:gd name="T75" fmla="*/ 16 h 409"/>
                  <a:gd name="T76" fmla="*/ 220 w 574"/>
                  <a:gd name="T77" fmla="*/ 17 h 409"/>
                  <a:gd name="T78" fmla="*/ 218 w 574"/>
                  <a:gd name="T79" fmla="*/ 19 h 409"/>
                  <a:gd name="T80" fmla="*/ 216 w 574"/>
                  <a:gd name="T81" fmla="*/ 20 h 409"/>
                  <a:gd name="T82" fmla="*/ 215 w 574"/>
                  <a:gd name="T83" fmla="*/ 22 h 409"/>
                  <a:gd name="T84" fmla="*/ 213 w 574"/>
                  <a:gd name="T85" fmla="*/ 23 h 409"/>
                  <a:gd name="T86" fmla="*/ 212 w 574"/>
                  <a:gd name="T87" fmla="*/ 25 h 409"/>
                  <a:gd name="T88" fmla="*/ 210 w 574"/>
                  <a:gd name="T89" fmla="*/ 26 h 409"/>
                  <a:gd name="T90" fmla="*/ 209 w 574"/>
                  <a:gd name="T91" fmla="*/ 29 h 409"/>
                  <a:gd name="T92" fmla="*/ 208 w 574"/>
                  <a:gd name="T93" fmla="*/ 30 h 409"/>
                  <a:gd name="T94" fmla="*/ 206 w 574"/>
                  <a:gd name="T95" fmla="*/ 33 h 409"/>
                  <a:gd name="T96" fmla="*/ 205 w 574"/>
                  <a:gd name="T97" fmla="*/ 34 h 409"/>
                  <a:gd name="T98" fmla="*/ 203 w 574"/>
                  <a:gd name="T99" fmla="*/ 38 h 409"/>
                  <a:gd name="T100" fmla="*/ 131 w 574"/>
                  <a:gd name="T101" fmla="*/ 10 h 409"/>
                  <a:gd name="T102" fmla="*/ 45 w 574"/>
                  <a:gd name="T103" fmla="*/ 53 h 409"/>
                  <a:gd name="T104" fmla="*/ 39 w 574"/>
                  <a:gd name="T105" fmla="*/ 55 h 409"/>
                  <a:gd name="T106" fmla="*/ 38 w 574"/>
                  <a:gd name="T107" fmla="*/ 56 h 409"/>
                  <a:gd name="T108" fmla="*/ 33 w 574"/>
                  <a:gd name="T109" fmla="*/ 58 h 409"/>
                  <a:gd name="T110" fmla="*/ 32 w 574"/>
                  <a:gd name="T111" fmla="*/ 59 h 409"/>
                  <a:gd name="T112" fmla="*/ 21 w 574"/>
                  <a:gd name="T113" fmla="*/ 67 h 409"/>
                  <a:gd name="T114" fmla="*/ 0 w 574"/>
                  <a:gd name="T115" fmla="*/ 116 h 409"/>
                  <a:gd name="T116" fmla="*/ 45 w 574"/>
                  <a:gd name="T117" fmla="*/ 180 h 409"/>
                  <a:gd name="T118" fmla="*/ 75 w 574"/>
                  <a:gd name="T119" fmla="*/ 207 h 409"/>
                  <a:gd name="T120" fmla="*/ 277 w 574"/>
                  <a:gd name="T121" fmla="*/ 409 h 409"/>
                  <a:gd name="T122" fmla="*/ 574 w 574"/>
                  <a:gd name="T123" fmla="*/ 14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4" h="409">
                    <a:moveTo>
                      <a:pt x="574" y="141"/>
                    </a:moveTo>
                    <a:cubicBezTo>
                      <a:pt x="527" y="94"/>
                      <a:pt x="527" y="94"/>
                      <a:pt x="527" y="94"/>
                    </a:cubicBezTo>
                    <a:cubicBezTo>
                      <a:pt x="523" y="83"/>
                      <a:pt x="516" y="73"/>
                      <a:pt x="507" y="66"/>
                    </a:cubicBezTo>
                    <a:cubicBezTo>
                      <a:pt x="506" y="65"/>
                      <a:pt x="505" y="64"/>
                      <a:pt x="505" y="63"/>
                    </a:cubicBezTo>
                    <a:cubicBezTo>
                      <a:pt x="504" y="63"/>
                      <a:pt x="502" y="62"/>
                      <a:pt x="501" y="61"/>
                    </a:cubicBezTo>
                    <a:cubicBezTo>
                      <a:pt x="500" y="60"/>
                      <a:pt x="500" y="60"/>
                      <a:pt x="499" y="59"/>
                    </a:cubicBezTo>
                    <a:cubicBezTo>
                      <a:pt x="497" y="58"/>
                      <a:pt x="496" y="58"/>
                      <a:pt x="494" y="57"/>
                    </a:cubicBezTo>
                    <a:cubicBezTo>
                      <a:pt x="494" y="57"/>
                      <a:pt x="493" y="56"/>
                      <a:pt x="493" y="56"/>
                    </a:cubicBezTo>
                    <a:cubicBezTo>
                      <a:pt x="491" y="55"/>
                      <a:pt x="489" y="54"/>
                      <a:pt x="487" y="54"/>
                    </a:cubicBezTo>
                    <a:cubicBezTo>
                      <a:pt x="486" y="53"/>
                      <a:pt x="486" y="53"/>
                      <a:pt x="485" y="53"/>
                    </a:cubicBezTo>
                    <a:cubicBezTo>
                      <a:pt x="484" y="52"/>
                      <a:pt x="483" y="51"/>
                      <a:pt x="482" y="49"/>
                    </a:cubicBezTo>
                    <a:cubicBezTo>
                      <a:pt x="481" y="48"/>
                      <a:pt x="480" y="47"/>
                      <a:pt x="479" y="45"/>
                    </a:cubicBezTo>
                    <a:cubicBezTo>
                      <a:pt x="479" y="45"/>
                      <a:pt x="479" y="45"/>
                      <a:pt x="479" y="45"/>
                    </a:cubicBezTo>
                    <a:cubicBezTo>
                      <a:pt x="477" y="44"/>
                      <a:pt x="476" y="42"/>
                      <a:pt x="475" y="41"/>
                    </a:cubicBezTo>
                    <a:cubicBezTo>
                      <a:pt x="475" y="41"/>
                      <a:pt x="475" y="41"/>
                      <a:pt x="475" y="41"/>
                    </a:cubicBezTo>
                    <a:cubicBezTo>
                      <a:pt x="473" y="39"/>
                      <a:pt x="472" y="38"/>
                      <a:pt x="471" y="37"/>
                    </a:cubicBezTo>
                    <a:cubicBezTo>
                      <a:pt x="471" y="37"/>
                      <a:pt x="471" y="37"/>
                      <a:pt x="471" y="37"/>
                    </a:cubicBezTo>
                    <a:cubicBezTo>
                      <a:pt x="469" y="36"/>
                      <a:pt x="468" y="34"/>
                      <a:pt x="466" y="33"/>
                    </a:cubicBezTo>
                    <a:cubicBezTo>
                      <a:pt x="448" y="18"/>
                      <a:pt x="425" y="10"/>
                      <a:pt x="399" y="10"/>
                    </a:cubicBezTo>
                    <a:cubicBezTo>
                      <a:pt x="372" y="10"/>
                      <a:pt x="346" y="20"/>
                      <a:pt x="327" y="38"/>
                    </a:cubicBezTo>
                    <a:cubicBezTo>
                      <a:pt x="316" y="15"/>
                      <a:pt x="292" y="0"/>
                      <a:pt x="265" y="0"/>
                    </a:cubicBezTo>
                    <a:cubicBezTo>
                      <a:pt x="262" y="0"/>
                      <a:pt x="259" y="0"/>
                      <a:pt x="256" y="1"/>
                    </a:cubicBezTo>
                    <a:cubicBezTo>
                      <a:pt x="255" y="1"/>
                      <a:pt x="254" y="1"/>
                      <a:pt x="253" y="1"/>
                    </a:cubicBezTo>
                    <a:cubicBezTo>
                      <a:pt x="252" y="1"/>
                      <a:pt x="252" y="1"/>
                      <a:pt x="251" y="1"/>
                    </a:cubicBezTo>
                    <a:cubicBezTo>
                      <a:pt x="250" y="2"/>
                      <a:pt x="249" y="2"/>
                      <a:pt x="249" y="2"/>
                    </a:cubicBezTo>
                    <a:cubicBezTo>
                      <a:pt x="248" y="2"/>
                      <a:pt x="247" y="2"/>
                      <a:pt x="247" y="3"/>
                    </a:cubicBezTo>
                    <a:cubicBezTo>
                      <a:pt x="246" y="3"/>
                      <a:pt x="245" y="3"/>
                      <a:pt x="244" y="3"/>
                    </a:cubicBezTo>
                    <a:cubicBezTo>
                      <a:pt x="244" y="3"/>
                      <a:pt x="243" y="4"/>
                      <a:pt x="242" y="4"/>
                    </a:cubicBezTo>
                    <a:cubicBezTo>
                      <a:pt x="242" y="4"/>
                      <a:pt x="241" y="4"/>
                      <a:pt x="240" y="5"/>
                    </a:cubicBezTo>
                    <a:cubicBezTo>
                      <a:pt x="239" y="5"/>
                      <a:pt x="239" y="5"/>
                      <a:pt x="238" y="5"/>
                    </a:cubicBezTo>
                    <a:cubicBezTo>
                      <a:pt x="237" y="6"/>
                      <a:pt x="237" y="6"/>
                      <a:pt x="236" y="6"/>
                    </a:cubicBezTo>
                    <a:cubicBezTo>
                      <a:pt x="235" y="7"/>
                      <a:pt x="235" y="7"/>
                      <a:pt x="234" y="7"/>
                    </a:cubicBezTo>
                    <a:cubicBezTo>
                      <a:pt x="233" y="8"/>
                      <a:pt x="233" y="8"/>
                      <a:pt x="232" y="8"/>
                    </a:cubicBezTo>
                    <a:cubicBezTo>
                      <a:pt x="231" y="9"/>
                      <a:pt x="231" y="9"/>
                      <a:pt x="230" y="10"/>
                    </a:cubicBezTo>
                    <a:cubicBezTo>
                      <a:pt x="229" y="10"/>
                      <a:pt x="229" y="10"/>
                      <a:pt x="228" y="11"/>
                    </a:cubicBezTo>
                    <a:cubicBezTo>
                      <a:pt x="227" y="11"/>
                      <a:pt x="226" y="12"/>
                      <a:pt x="225" y="13"/>
                    </a:cubicBezTo>
                    <a:cubicBezTo>
                      <a:pt x="224" y="13"/>
                      <a:pt x="224" y="14"/>
                      <a:pt x="223" y="14"/>
                    </a:cubicBezTo>
                    <a:cubicBezTo>
                      <a:pt x="223" y="15"/>
                      <a:pt x="222" y="15"/>
                      <a:pt x="221" y="16"/>
                    </a:cubicBezTo>
                    <a:cubicBezTo>
                      <a:pt x="221" y="16"/>
                      <a:pt x="220" y="16"/>
                      <a:pt x="220" y="17"/>
                    </a:cubicBezTo>
                    <a:cubicBezTo>
                      <a:pt x="219" y="17"/>
                      <a:pt x="218" y="18"/>
                      <a:pt x="218" y="19"/>
                    </a:cubicBezTo>
                    <a:cubicBezTo>
                      <a:pt x="217" y="19"/>
                      <a:pt x="217" y="19"/>
                      <a:pt x="216" y="20"/>
                    </a:cubicBezTo>
                    <a:cubicBezTo>
                      <a:pt x="216" y="21"/>
                      <a:pt x="215" y="21"/>
                      <a:pt x="215" y="22"/>
                    </a:cubicBezTo>
                    <a:cubicBezTo>
                      <a:pt x="214" y="22"/>
                      <a:pt x="214" y="23"/>
                      <a:pt x="213" y="23"/>
                    </a:cubicBezTo>
                    <a:cubicBezTo>
                      <a:pt x="213" y="24"/>
                      <a:pt x="212" y="24"/>
                      <a:pt x="212" y="25"/>
                    </a:cubicBezTo>
                    <a:cubicBezTo>
                      <a:pt x="211" y="26"/>
                      <a:pt x="211" y="26"/>
                      <a:pt x="210" y="26"/>
                    </a:cubicBezTo>
                    <a:cubicBezTo>
                      <a:pt x="210" y="27"/>
                      <a:pt x="209" y="28"/>
                      <a:pt x="209" y="29"/>
                    </a:cubicBezTo>
                    <a:cubicBezTo>
                      <a:pt x="208" y="29"/>
                      <a:pt x="208" y="30"/>
                      <a:pt x="208" y="30"/>
                    </a:cubicBezTo>
                    <a:cubicBezTo>
                      <a:pt x="207" y="31"/>
                      <a:pt x="207" y="32"/>
                      <a:pt x="206" y="33"/>
                    </a:cubicBezTo>
                    <a:cubicBezTo>
                      <a:pt x="206" y="33"/>
                      <a:pt x="206" y="33"/>
                      <a:pt x="205" y="34"/>
                    </a:cubicBezTo>
                    <a:cubicBezTo>
                      <a:pt x="205" y="35"/>
                      <a:pt x="204" y="36"/>
                      <a:pt x="203" y="38"/>
                    </a:cubicBezTo>
                    <a:cubicBezTo>
                      <a:pt x="184" y="20"/>
                      <a:pt x="159" y="10"/>
                      <a:pt x="131" y="10"/>
                    </a:cubicBezTo>
                    <a:cubicBezTo>
                      <a:pt x="96" y="10"/>
                      <a:pt x="65" y="27"/>
                      <a:pt x="45" y="53"/>
                    </a:cubicBezTo>
                    <a:cubicBezTo>
                      <a:pt x="43" y="53"/>
                      <a:pt x="41" y="54"/>
                      <a:pt x="39" y="55"/>
                    </a:cubicBezTo>
                    <a:cubicBezTo>
                      <a:pt x="39" y="55"/>
                      <a:pt x="38" y="56"/>
                      <a:pt x="38" y="56"/>
                    </a:cubicBezTo>
                    <a:cubicBezTo>
                      <a:pt x="36" y="57"/>
                      <a:pt x="35" y="57"/>
                      <a:pt x="33" y="58"/>
                    </a:cubicBezTo>
                    <a:cubicBezTo>
                      <a:pt x="33" y="59"/>
                      <a:pt x="33" y="59"/>
                      <a:pt x="32" y="59"/>
                    </a:cubicBezTo>
                    <a:cubicBezTo>
                      <a:pt x="28" y="61"/>
                      <a:pt x="25" y="64"/>
                      <a:pt x="21" y="67"/>
                    </a:cubicBezTo>
                    <a:cubicBezTo>
                      <a:pt x="8" y="79"/>
                      <a:pt x="0" y="97"/>
                      <a:pt x="0" y="116"/>
                    </a:cubicBezTo>
                    <a:cubicBezTo>
                      <a:pt x="0" y="146"/>
                      <a:pt x="19" y="171"/>
                      <a:pt x="45" y="180"/>
                    </a:cubicBezTo>
                    <a:cubicBezTo>
                      <a:pt x="53" y="191"/>
                      <a:pt x="63" y="200"/>
                      <a:pt x="75" y="207"/>
                    </a:cubicBezTo>
                    <a:cubicBezTo>
                      <a:pt x="277" y="409"/>
                      <a:pt x="277" y="409"/>
                      <a:pt x="277" y="409"/>
                    </a:cubicBezTo>
                    <a:cubicBezTo>
                      <a:pt x="429" y="403"/>
                      <a:pt x="553" y="289"/>
                      <a:pt x="574" y="141"/>
                    </a:cubicBezTo>
                    <a:close/>
                  </a:path>
                </a:pathLst>
              </a:custGeom>
              <a:solidFill>
                <a:srgbClr val="00A2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80" name="Freeform 34">
                <a:extLst>
                  <a:ext uri="{FF2B5EF4-FFF2-40B4-BE49-F238E27FC236}">
                    <a16:creationId xmlns:a16="http://schemas.microsoft.com/office/drawing/2014/main" id="{8C272BC1-B759-4501-8F94-01417BE4DBE8}"/>
                  </a:ext>
                </a:extLst>
              </p:cNvPr>
              <p:cNvSpPr>
                <a:spLocks/>
              </p:cNvSpPr>
              <p:nvPr/>
            </p:nvSpPr>
            <p:spPr bwMode="auto">
              <a:xfrm>
                <a:off x="2624138" y="-979488"/>
                <a:ext cx="2001838" cy="839788"/>
              </a:xfrm>
              <a:custGeom>
                <a:avLst/>
                <a:gdLst>
                  <a:gd name="T0" fmla="*/ 485 w 531"/>
                  <a:gd name="T1" fmla="*/ 53 h 223"/>
                  <a:gd name="T2" fmla="*/ 399 w 531"/>
                  <a:gd name="T3" fmla="*/ 10 h 223"/>
                  <a:gd name="T4" fmla="*/ 327 w 531"/>
                  <a:gd name="T5" fmla="*/ 38 h 223"/>
                  <a:gd name="T6" fmla="*/ 265 w 531"/>
                  <a:gd name="T7" fmla="*/ 0 h 223"/>
                  <a:gd name="T8" fmla="*/ 203 w 531"/>
                  <a:gd name="T9" fmla="*/ 38 h 223"/>
                  <a:gd name="T10" fmla="*/ 131 w 531"/>
                  <a:gd name="T11" fmla="*/ 10 h 223"/>
                  <a:gd name="T12" fmla="*/ 45 w 531"/>
                  <a:gd name="T13" fmla="*/ 53 h 223"/>
                  <a:gd name="T14" fmla="*/ 0 w 531"/>
                  <a:gd name="T15" fmla="*/ 116 h 223"/>
                  <a:gd name="T16" fmla="*/ 45 w 531"/>
                  <a:gd name="T17" fmla="*/ 180 h 223"/>
                  <a:gd name="T18" fmla="*/ 131 w 531"/>
                  <a:gd name="T19" fmla="*/ 223 h 223"/>
                  <a:gd name="T20" fmla="*/ 236 w 531"/>
                  <a:gd name="T21" fmla="*/ 134 h 223"/>
                  <a:gd name="T22" fmla="*/ 265 w 531"/>
                  <a:gd name="T23" fmla="*/ 140 h 223"/>
                  <a:gd name="T24" fmla="*/ 294 w 531"/>
                  <a:gd name="T25" fmla="*/ 134 h 223"/>
                  <a:gd name="T26" fmla="*/ 399 w 531"/>
                  <a:gd name="T27" fmla="*/ 223 h 223"/>
                  <a:gd name="T28" fmla="*/ 485 w 531"/>
                  <a:gd name="T29" fmla="*/ 180 h 223"/>
                  <a:gd name="T30" fmla="*/ 531 w 531"/>
                  <a:gd name="T31" fmla="*/ 116 h 223"/>
                  <a:gd name="T32" fmla="*/ 485 w 531"/>
                  <a:gd name="T33" fmla="*/ 5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1" h="223">
                    <a:moveTo>
                      <a:pt x="485" y="53"/>
                    </a:moveTo>
                    <a:cubicBezTo>
                      <a:pt x="466" y="27"/>
                      <a:pt x="434" y="10"/>
                      <a:pt x="399" y="10"/>
                    </a:cubicBezTo>
                    <a:cubicBezTo>
                      <a:pt x="372" y="10"/>
                      <a:pt x="346" y="20"/>
                      <a:pt x="327" y="38"/>
                    </a:cubicBezTo>
                    <a:cubicBezTo>
                      <a:pt x="316" y="15"/>
                      <a:pt x="292" y="0"/>
                      <a:pt x="265" y="0"/>
                    </a:cubicBezTo>
                    <a:cubicBezTo>
                      <a:pt x="238" y="0"/>
                      <a:pt x="215" y="15"/>
                      <a:pt x="203" y="38"/>
                    </a:cubicBezTo>
                    <a:cubicBezTo>
                      <a:pt x="184" y="20"/>
                      <a:pt x="159" y="10"/>
                      <a:pt x="131" y="10"/>
                    </a:cubicBezTo>
                    <a:cubicBezTo>
                      <a:pt x="96" y="10"/>
                      <a:pt x="65" y="27"/>
                      <a:pt x="45" y="53"/>
                    </a:cubicBezTo>
                    <a:cubicBezTo>
                      <a:pt x="19" y="62"/>
                      <a:pt x="0" y="87"/>
                      <a:pt x="0" y="116"/>
                    </a:cubicBezTo>
                    <a:cubicBezTo>
                      <a:pt x="0" y="146"/>
                      <a:pt x="19" y="171"/>
                      <a:pt x="45" y="180"/>
                    </a:cubicBezTo>
                    <a:cubicBezTo>
                      <a:pt x="65" y="206"/>
                      <a:pt x="96" y="223"/>
                      <a:pt x="131" y="223"/>
                    </a:cubicBezTo>
                    <a:cubicBezTo>
                      <a:pt x="184" y="223"/>
                      <a:pt x="228" y="184"/>
                      <a:pt x="236" y="134"/>
                    </a:cubicBezTo>
                    <a:cubicBezTo>
                      <a:pt x="245" y="138"/>
                      <a:pt x="255" y="140"/>
                      <a:pt x="265" y="140"/>
                    </a:cubicBezTo>
                    <a:cubicBezTo>
                      <a:pt x="276" y="140"/>
                      <a:pt x="285" y="138"/>
                      <a:pt x="294" y="134"/>
                    </a:cubicBezTo>
                    <a:cubicBezTo>
                      <a:pt x="302" y="184"/>
                      <a:pt x="346" y="223"/>
                      <a:pt x="399" y="223"/>
                    </a:cubicBezTo>
                    <a:cubicBezTo>
                      <a:pt x="434" y="223"/>
                      <a:pt x="466" y="206"/>
                      <a:pt x="485" y="180"/>
                    </a:cubicBezTo>
                    <a:cubicBezTo>
                      <a:pt x="512" y="171"/>
                      <a:pt x="531" y="146"/>
                      <a:pt x="531" y="116"/>
                    </a:cubicBezTo>
                    <a:cubicBezTo>
                      <a:pt x="531" y="87"/>
                      <a:pt x="512" y="62"/>
                      <a:pt x="485" y="53"/>
                    </a:cubicBezTo>
                    <a:close/>
                  </a:path>
                </a:pathLst>
              </a:custGeom>
              <a:solidFill>
                <a:schemeClr val="accent3"/>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81" name="Oval 32">
                <a:extLst>
                  <a:ext uri="{FF2B5EF4-FFF2-40B4-BE49-F238E27FC236}">
                    <a16:creationId xmlns:a16="http://schemas.microsoft.com/office/drawing/2014/main" id="{EEE00666-BF63-4A0A-8F3E-8C2AEBEE6D36}"/>
                  </a:ext>
                </a:extLst>
              </p:cNvPr>
              <p:cNvSpPr>
                <a:spLocks noChangeArrowheads="1"/>
              </p:cNvSpPr>
              <p:nvPr/>
            </p:nvSpPr>
            <p:spPr bwMode="auto">
              <a:xfrm>
                <a:off x="2851151" y="-806451"/>
                <a:ext cx="534988" cy="530225"/>
              </a:xfrm>
              <a:prstGeom prst="ellipse">
                <a:avLst/>
              </a:prstGeom>
              <a:solidFill>
                <a:srgbClr val="BFEEF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382" name="Oval 33">
                <a:extLst>
                  <a:ext uri="{FF2B5EF4-FFF2-40B4-BE49-F238E27FC236}">
                    <a16:creationId xmlns:a16="http://schemas.microsoft.com/office/drawing/2014/main" id="{8E156959-D89A-4E30-B4C8-2E794A1F34A5}"/>
                  </a:ext>
                </a:extLst>
              </p:cNvPr>
              <p:cNvSpPr>
                <a:spLocks noChangeArrowheads="1"/>
              </p:cNvSpPr>
              <p:nvPr/>
            </p:nvSpPr>
            <p:spPr bwMode="auto">
              <a:xfrm>
                <a:off x="3863976" y="-806451"/>
                <a:ext cx="531813" cy="530225"/>
              </a:xfrm>
              <a:prstGeom prst="ellipse">
                <a:avLst/>
              </a:prstGeom>
              <a:solidFill>
                <a:srgbClr val="BFEEF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grpSp>
      <p:sp>
        <p:nvSpPr>
          <p:cNvPr id="898" name="Oval 897">
            <a:extLst>
              <a:ext uri="{FF2B5EF4-FFF2-40B4-BE49-F238E27FC236}">
                <a16:creationId xmlns:a16="http://schemas.microsoft.com/office/drawing/2014/main" id="{B764F741-6593-4D44-AEDE-A3B8034C2351}"/>
              </a:ext>
            </a:extLst>
          </p:cNvPr>
          <p:cNvSpPr/>
          <p:nvPr/>
        </p:nvSpPr>
        <p:spPr>
          <a:xfrm>
            <a:off x="5116261" y="1899657"/>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899" name="Oval 898">
            <a:extLst>
              <a:ext uri="{FF2B5EF4-FFF2-40B4-BE49-F238E27FC236}">
                <a16:creationId xmlns:a16="http://schemas.microsoft.com/office/drawing/2014/main" id="{C653EF00-1B86-474C-ADCC-30D5267A7C80}"/>
              </a:ext>
            </a:extLst>
          </p:cNvPr>
          <p:cNvSpPr/>
          <p:nvPr/>
        </p:nvSpPr>
        <p:spPr>
          <a:xfrm>
            <a:off x="7153887" y="2198698"/>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00" name="Oval 899">
            <a:extLst>
              <a:ext uri="{FF2B5EF4-FFF2-40B4-BE49-F238E27FC236}">
                <a16:creationId xmlns:a16="http://schemas.microsoft.com/office/drawing/2014/main" id="{8263A0CD-4F72-47D5-ADA6-17FB447A3724}"/>
              </a:ext>
            </a:extLst>
          </p:cNvPr>
          <p:cNvSpPr/>
          <p:nvPr/>
        </p:nvSpPr>
        <p:spPr>
          <a:xfrm>
            <a:off x="6165569" y="3655716"/>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01" name="Oval 900">
            <a:extLst>
              <a:ext uri="{FF2B5EF4-FFF2-40B4-BE49-F238E27FC236}">
                <a16:creationId xmlns:a16="http://schemas.microsoft.com/office/drawing/2014/main" id="{3A30F62B-2B49-4A29-A884-337F79F570BA}"/>
              </a:ext>
            </a:extLst>
          </p:cNvPr>
          <p:cNvSpPr/>
          <p:nvPr/>
        </p:nvSpPr>
        <p:spPr>
          <a:xfrm>
            <a:off x="5116261" y="1899657"/>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02" name="Oval 901">
            <a:extLst>
              <a:ext uri="{FF2B5EF4-FFF2-40B4-BE49-F238E27FC236}">
                <a16:creationId xmlns:a16="http://schemas.microsoft.com/office/drawing/2014/main" id="{6331F13C-2353-41F8-BBF3-9364ED181540}"/>
              </a:ext>
            </a:extLst>
          </p:cNvPr>
          <p:cNvSpPr/>
          <p:nvPr/>
        </p:nvSpPr>
        <p:spPr>
          <a:xfrm>
            <a:off x="5116261" y="1899657"/>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03" name="Oval 902">
            <a:extLst>
              <a:ext uri="{FF2B5EF4-FFF2-40B4-BE49-F238E27FC236}">
                <a16:creationId xmlns:a16="http://schemas.microsoft.com/office/drawing/2014/main" id="{DB9C550B-7CBB-4EBD-A5AA-3173A057749E}"/>
              </a:ext>
            </a:extLst>
          </p:cNvPr>
          <p:cNvSpPr/>
          <p:nvPr/>
        </p:nvSpPr>
        <p:spPr>
          <a:xfrm>
            <a:off x="5116261" y="1899657"/>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04" name="Oval 903">
            <a:extLst>
              <a:ext uri="{FF2B5EF4-FFF2-40B4-BE49-F238E27FC236}">
                <a16:creationId xmlns:a16="http://schemas.microsoft.com/office/drawing/2014/main" id="{5CFBF8FB-332A-4C4C-AE30-4F56877122B9}"/>
              </a:ext>
            </a:extLst>
          </p:cNvPr>
          <p:cNvSpPr/>
          <p:nvPr/>
        </p:nvSpPr>
        <p:spPr>
          <a:xfrm>
            <a:off x="7153887" y="2198698"/>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05" name="Oval 904">
            <a:extLst>
              <a:ext uri="{FF2B5EF4-FFF2-40B4-BE49-F238E27FC236}">
                <a16:creationId xmlns:a16="http://schemas.microsoft.com/office/drawing/2014/main" id="{03D0217E-02B8-475D-8C38-F495DBCA0332}"/>
              </a:ext>
            </a:extLst>
          </p:cNvPr>
          <p:cNvSpPr/>
          <p:nvPr/>
        </p:nvSpPr>
        <p:spPr>
          <a:xfrm>
            <a:off x="7153887" y="2198698"/>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07" name="Oval 906">
            <a:extLst>
              <a:ext uri="{FF2B5EF4-FFF2-40B4-BE49-F238E27FC236}">
                <a16:creationId xmlns:a16="http://schemas.microsoft.com/office/drawing/2014/main" id="{060A4F43-5625-4AC2-9F2B-5F0DB0EADDF6}"/>
              </a:ext>
            </a:extLst>
          </p:cNvPr>
          <p:cNvSpPr/>
          <p:nvPr/>
        </p:nvSpPr>
        <p:spPr>
          <a:xfrm>
            <a:off x="6165569" y="3655716"/>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908" name="Oval 907">
            <a:extLst>
              <a:ext uri="{FF2B5EF4-FFF2-40B4-BE49-F238E27FC236}">
                <a16:creationId xmlns:a16="http://schemas.microsoft.com/office/drawing/2014/main" id="{D5B3E41B-8D48-4068-B68D-CB973918EA52}"/>
              </a:ext>
            </a:extLst>
          </p:cNvPr>
          <p:cNvSpPr/>
          <p:nvPr/>
        </p:nvSpPr>
        <p:spPr>
          <a:xfrm>
            <a:off x="6165569" y="3655716"/>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pic>
        <p:nvPicPr>
          <p:cNvPr id="1223" name="Picture 1222">
            <a:extLst>
              <a:ext uri="{FF2B5EF4-FFF2-40B4-BE49-F238E27FC236}">
                <a16:creationId xmlns:a16="http://schemas.microsoft.com/office/drawing/2014/main" id="{C4C4BB7A-B18E-40E8-83FB-50A62CEC13FF}"/>
              </a:ext>
            </a:extLst>
          </p:cNvPr>
          <p:cNvPicPr>
            <a:picLocks noChangeAspect="1"/>
          </p:cNvPicPr>
          <p:nvPr>
            <p:custDataLst>
              <p:tags r:id="rId13"/>
            </p:custDataLst>
          </p:nvPr>
        </p:nvPicPr>
        <p:blipFill>
          <a:blip r:embed="rId25">
            <a:extLst>
              <a:ext uri="{28A0092B-C50C-407E-A947-70E740481C1C}">
                <a14:useLocalDpi xmlns:a14="http://schemas.microsoft.com/office/drawing/2010/main" val="0"/>
              </a:ext>
            </a:extLst>
          </a:blip>
          <a:stretch>
            <a:fillRect/>
          </a:stretch>
        </p:blipFill>
        <p:spPr>
          <a:xfrm>
            <a:off x="6800580" y="1724732"/>
            <a:ext cx="669926" cy="669926"/>
          </a:xfrm>
          <a:prstGeom prst="rect">
            <a:avLst/>
          </a:prstGeom>
        </p:spPr>
      </p:pic>
      <p:pic>
        <p:nvPicPr>
          <p:cNvPr id="1224" name="Picture 1223">
            <a:extLst>
              <a:ext uri="{FF2B5EF4-FFF2-40B4-BE49-F238E27FC236}">
                <a16:creationId xmlns:a16="http://schemas.microsoft.com/office/drawing/2014/main" id="{9BC47ECC-E367-4C70-9ECC-0839AC3AAC9C}"/>
              </a:ext>
            </a:extLst>
          </p:cNvPr>
          <p:cNvPicPr>
            <a:picLocks noChangeAspect="1"/>
          </p:cNvPicPr>
          <p:nvPr>
            <p:custDataLst>
              <p:tags r:id="rId14"/>
            </p:custDataLst>
          </p:nvPr>
        </p:nvPicPr>
        <p:blipFill>
          <a:blip r:embed="rId26">
            <a:extLst>
              <a:ext uri="{96DAC541-7B7A-43D3-8B79-37D633B846F1}">
                <asvg:svgBlip xmlns:asvg="http://schemas.microsoft.com/office/drawing/2016/SVG/main" r:embed="rId27"/>
              </a:ext>
            </a:extLst>
          </a:blip>
          <a:stretch>
            <a:fillRect/>
          </a:stretch>
        </p:blipFill>
        <p:spPr>
          <a:xfrm>
            <a:off x="4692051" y="1724732"/>
            <a:ext cx="669926" cy="669926"/>
          </a:xfrm>
          <a:prstGeom prst="rect">
            <a:avLst/>
          </a:prstGeom>
        </p:spPr>
      </p:pic>
      <p:pic>
        <p:nvPicPr>
          <p:cNvPr id="906" name="Picture 905">
            <a:extLst>
              <a:ext uri="{FF2B5EF4-FFF2-40B4-BE49-F238E27FC236}">
                <a16:creationId xmlns:a16="http://schemas.microsoft.com/office/drawing/2014/main" id="{C05A69E9-DCFE-4D3D-98D4-86149C2CFC38}"/>
              </a:ext>
            </a:extLst>
          </p:cNvPr>
          <p:cNvPicPr>
            <a:picLocks noChangeAspect="1"/>
          </p:cNvPicPr>
          <p:nvPr>
            <p:custDataLst>
              <p:tags r:id="rId15"/>
            </p:custDataLst>
          </p:nvPr>
        </p:nvPicPr>
        <p:blipFill>
          <a:blip r:embed="rId28"/>
          <a:stretch>
            <a:fillRect/>
          </a:stretch>
        </p:blipFill>
        <p:spPr>
          <a:xfrm>
            <a:off x="5736533" y="3371153"/>
            <a:ext cx="669926" cy="669926"/>
          </a:xfrm>
          <a:prstGeom prst="rect">
            <a:avLst/>
          </a:prstGeom>
        </p:spPr>
      </p:pic>
      <p:sp>
        <p:nvSpPr>
          <p:cNvPr id="1669" name="TextBox 1668">
            <a:extLst>
              <a:ext uri="{FF2B5EF4-FFF2-40B4-BE49-F238E27FC236}">
                <a16:creationId xmlns:a16="http://schemas.microsoft.com/office/drawing/2014/main" id="{712B7F11-E2BA-43A6-A662-642A3E465192}"/>
              </a:ext>
            </a:extLst>
          </p:cNvPr>
          <p:cNvSpPr txBox="1"/>
          <p:nvPr>
            <p:custDataLst>
              <p:tags r:id="rId16"/>
            </p:custDataLst>
          </p:nvPr>
        </p:nvSpPr>
        <p:spPr>
          <a:xfrm>
            <a:off x="5613711" y="2109031"/>
            <a:ext cx="905198" cy="893700"/>
          </a:xfrm>
          <a:prstGeom prst="ellipse">
            <a:avLst/>
          </a:prstGeom>
          <a:noFill/>
          <a:ln>
            <a:solidFill>
              <a:schemeClr val="accent3">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sp>
        <p:nvSpPr>
          <p:cNvPr id="1220" name="TextBox 1219">
            <a:extLst>
              <a:ext uri="{FF2B5EF4-FFF2-40B4-BE49-F238E27FC236}">
                <a16:creationId xmlns:a16="http://schemas.microsoft.com/office/drawing/2014/main" id="{E668D16C-220D-43E5-A795-294895F3A282}"/>
              </a:ext>
            </a:extLst>
          </p:cNvPr>
          <p:cNvSpPr txBox="1"/>
          <p:nvPr>
            <p:custDataLst>
              <p:tags r:id="rId17"/>
            </p:custDataLst>
          </p:nvPr>
        </p:nvSpPr>
        <p:spPr>
          <a:xfrm>
            <a:off x="5544359" y="2040560"/>
            <a:ext cx="1043902" cy="1030642"/>
          </a:xfrm>
          <a:prstGeom prst="ellipse">
            <a:avLst/>
          </a:prstGeom>
          <a:noFill/>
          <a:ln>
            <a:solidFill>
              <a:schemeClr val="accent3">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endParaRPr>
          </a:p>
        </p:txBody>
      </p:sp>
      <p:grpSp>
        <p:nvGrpSpPr>
          <p:cNvPr id="1198" name="Group 24">
            <a:extLst>
              <a:ext uri="{FF2B5EF4-FFF2-40B4-BE49-F238E27FC236}">
                <a16:creationId xmlns:a16="http://schemas.microsoft.com/office/drawing/2014/main" id="{769780BF-6828-4DCB-BC8B-4FF6B6B567ED}"/>
              </a:ext>
            </a:extLst>
          </p:cNvPr>
          <p:cNvGrpSpPr>
            <a:grpSpLocks noChangeAspect="1"/>
          </p:cNvGrpSpPr>
          <p:nvPr>
            <p:custDataLst>
              <p:tags r:id="rId18"/>
            </p:custDataLst>
          </p:nvPr>
        </p:nvGrpSpPr>
        <p:grpSpPr bwMode="auto">
          <a:xfrm>
            <a:off x="5474752" y="1962885"/>
            <a:ext cx="1193488" cy="1193488"/>
            <a:chOff x="1626" y="-1079"/>
            <a:chExt cx="588" cy="588"/>
          </a:xfrm>
        </p:grpSpPr>
        <p:sp>
          <p:nvSpPr>
            <p:cNvPr id="1199" name="Freeform 25">
              <a:extLst>
                <a:ext uri="{FF2B5EF4-FFF2-40B4-BE49-F238E27FC236}">
                  <a16:creationId xmlns:a16="http://schemas.microsoft.com/office/drawing/2014/main" id="{4E829A3D-BA2E-49FB-909F-435F95E11EEF}"/>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00" name="Freeform 26">
              <a:extLst>
                <a:ext uri="{FF2B5EF4-FFF2-40B4-BE49-F238E27FC236}">
                  <a16:creationId xmlns:a16="http://schemas.microsoft.com/office/drawing/2014/main" id="{BD75EEF7-565A-4C24-8E92-B2B932A31949}"/>
                </a:ext>
              </a:extLst>
            </p:cNvPr>
            <p:cNvSpPr>
              <a:spLocks/>
            </p:cNvSpPr>
            <p:nvPr/>
          </p:nvSpPr>
          <p:spPr bwMode="auto">
            <a:xfrm>
              <a:off x="1832"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01" name="Freeform 27">
              <a:extLst>
                <a:ext uri="{FF2B5EF4-FFF2-40B4-BE49-F238E27FC236}">
                  <a16:creationId xmlns:a16="http://schemas.microsoft.com/office/drawing/2014/main" id="{DFD60D55-2323-46F0-9DFF-29EA8FDE37AA}"/>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sp>
          <p:nvSpPr>
            <p:cNvPr id="1202" name="Freeform 28">
              <a:extLst>
                <a:ext uri="{FF2B5EF4-FFF2-40B4-BE49-F238E27FC236}">
                  <a16:creationId xmlns:a16="http://schemas.microsoft.com/office/drawing/2014/main" id="{51EAF139-C6B2-44D4-811A-FBED01AEDD7D}"/>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 ExtraLight" charset="0"/>
                <a:ea typeface="CiscoSans ExtraLight" charset="0"/>
                <a:cs typeface="CiscoSans ExtraLight" charset="0"/>
              </a:endParaRPr>
            </a:p>
          </p:txBody>
        </p:sp>
      </p:grpSp>
      <p:pic>
        <p:nvPicPr>
          <p:cNvPr id="870" name="Picture 2" descr="C:\Users\spius\Pictures\cisco logo blue gradient.png">
            <a:extLst>
              <a:ext uri="{FF2B5EF4-FFF2-40B4-BE49-F238E27FC236}">
                <a16:creationId xmlns:a16="http://schemas.microsoft.com/office/drawing/2014/main" id="{A9EBBD6E-A35C-42EF-AB93-465AC6EC3726}"/>
              </a:ext>
            </a:extLst>
          </p:cNvPr>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507008" y="1034053"/>
            <a:ext cx="1150106" cy="70710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052408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198"/>
                                        </p:tgtEl>
                                        <p:attrNameLst>
                                          <p:attrName>style.visibility</p:attrName>
                                        </p:attrNameLst>
                                      </p:cBhvr>
                                      <p:to>
                                        <p:strVal val="visible"/>
                                      </p:to>
                                    </p:set>
                                    <p:animEffect transition="in" filter="fade">
                                      <p:cBhvr>
                                        <p:cTn id="7" dur="250"/>
                                        <p:tgtEl>
                                          <p:spTgt spid="1198"/>
                                        </p:tgtEl>
                                      </p:cBhvr>
                                    </p:animEffect>
                                  </p:childTnLst>
                                </p:cTn>
                              </p:par>
                              <p:par>
                                <p:cTn id="8" presetID="6" presetClass="emph" presetSubtype="0" fill="hold" nodeType="withEffect">
                                  <p:stCondLst>
                                    <p:cond delay="750"/>
                                  </p:stCondLst>
                                  <p:childTnLst>
                                    <p:animScale>
                                      <p:cBhvr>
                                        <p:cTn id="9" dur="10" fill="hold"/>
                                        <p:tgtEl>
                                          <p:spTgt spid="1198"/>
                                        </p:tgtEl>
                                      </p:cBhvr>
                                      <p:by x="1000" y="1000"/>
                                    </p:animScale>
                                  </p:childTnLst>
                                </p:cTn>
                              </p:par>
                              <p:par>
                                <p:cTn id="10" presetID="6" presetClass="emph" presetSubtype="0" decel="100000" fill="hold" nodeType="withEffect">
                                  <p:stCondLst>
                                    <p:cond delay="1000"/>
                                  </p:stCondLst>
                                  <p:childTnLst>
                                    <p:animScale>
                                      <p:cBhvr>
                                        <p:cTn id="11" dur="750" fill="hold"/>
                                        <p:tgtEl>
                                          <p:spTgt spid="1198"/>
                                        </p:tgtEl>
                                      </p:cBhvr>
                                      <p:by x="9999000" y="9999000"/>
                                    </p:animScale>
                                  </p:childTnLst>
                                </p:cTn>
                              </p:par>
                              <p:par>
                                <p:cTn id="12" presetID="10" presetClass="entr" presetSubtype="0" fill="hold" nodeType="withEffect">
                                  <p:stCondLst>
                                    <p:cond delay="1000"/>
                                  </p:stCondLst>
                                  <p:childTnLst>
                                    <p:set>
                                      <p:cBhvr>
                                        <p:cTn id="13" dur="1" fill="hold">
                                          <p:stCondLst>
                                            <p:cond delay="0"/>
                                          </p:stCondLst>
                                        </p:cTn>
                                        <p:tgtEl>
                                          <p:spTgt spid="1224"/>
                                        </p:tgtEl>
                                        <p:attrNameLst>
                                          <p:attrName>style.visibility</p:attrName>
                                        </p:attrNameLst>
                                      </p:cBhvr>
                                      <p:to>
                                        <p:strVal val="visible"/>
                                      </p:to>
                                    </p:set>
                                    <p:animEffect transition="in" filter="fade">
                                      <p:cBhvr>
                                        <p:cTn id="14" dur="250"/>
                                        <p:tgtEl>
                                          <p:spTgt spid="1224"/>
                                        </p:tgtEl>
                                      </p:cBhvr>
                                    </p:animEffect>
                                  </p:childTnLst>
                                </p:cTn>
                              </p:par>
                              <p:par>
                                <p:cTn id="15" presetID="6" presetClass="emph" presetSubtype="0" fill="hold" nodeType="withEffect">
                                  <p:stCondLst>
                                    <p:cond delay="500"/>
                                  </p:stCondLst>
                                  <p:childTnLst>
                                    <p:animScale>
                                      <p:cBhvr>
                                        <p:cTn id="16" dur="10" fill="hold"/>
                                        <p:tgtEl>
                                          <p:spTgt spid="1224"/>
                                        </p:tgtEl>
                                      </p:cBhvr>
                                      <p:by x="1000" y="1000"/>
                                    </p:animScale>
                                  </p:childTnLst>
                                </p:cTn>
                              </p:par>
                              <p:par>
                                <p:cTn id="17" presetID="6" presetClass="emph" presetSubtype="0" decel="100000" fill="hold" nodeType="withEffect">
                                  <p:stCondLst>
                                    <p:cond delay="1000"/>
                                  </p:stCondLst>
                                  <p:childTnLst>
                                    <p:animScale>
                                      <p:cBhvr>
                                        <p:cTn id="18" dur="750" fill="hold"/>
                                        <p:tgtEl>
                                          <p:spTgt spid="1224"/>
                                        </p:tgtEl>
                                      </p:cBhvr>
                                      <p:by x="9999000" y="9999000"/>
                                    </p:animScale>
                                  </p:childTnLst>
                                </p:cTn>
                              </p:par>
                              <p:par>
                                <p:cTn id="19" presetID="10" presetClass="entr" presetSubtype="0" fill="hold" nodeType="withEffect">
                                  <p:stCondLst>
                                    <p:cond delay="1000"/>
                                  </p:stCondLst>
                                  <p:childTnLst>
                                    <p:set>
                                      <p:cBhvr>
                                        <p:cTn id="20" dur="1" fill="hold">
                                          <p:stCondLst>
                                            <p:cond delay="0"/>
                                          </p:stCondLst>
                                        </p:cTn>
                                        <p:tgtEl>
                                          <p:spTgt spid="1223"/>
                                        </p:tgtEl>
                                        <p:attrNameLst>
                                          <p:attrName>style.visibility</p:attrName>
                                        </p:attrNameLst>
                                      </p:cBhvr>
                                      <p:to>
                                        <p:strVal val="visible"/>
                                      </p:to>
                                    </p:set>
                                    <p:animEffect transition="in" filter="fade">
                                      <p:cBhvr>
                                        <p:cTn id="21" dur="250"/>
                                        <p:tgtEl>
                                          <p:spTgt spid="1223"/>
                                        </p:tgtEl>
                                      </p:cBhvr>
                                    </p:animEffect>
                                  </p:childTnLst>
                                </p:cTn>
                              </p:par>
                              <p:par>
                                <p:cTn id="22" presetID="6" presetClass="emph" presetSubtype="0" fill="hold" nodeType="withEffect">
                                  <p:stCondLst>
                                    <p:cond delay="500"/>
                                  </p:stCondLst>
                                  <p:childTnLst>
                                    <p:animScale>
                                      <p:cBhvr>
                                        <p:cTn id="23" dur="10" fill="hold"/>
                                        <p:tgtEl>
                                          <p:spTgt spid="1223"/>
                                        </p:tgtEl>
                                      </p:cBhvr>
                                      <p:by x="1000" y="1000"/>
                                    </p:animScale>
                                  </p:childTnLst>
                                </p:cTn>
                              </p:par>
                              <p:par>
                                <p:cTn id="24" presetID="6" presetClass="emph" presetSubtype="0" decel="100000" fill="hold" nodeType="withEffect">
                                  <p:stCondLst>
                                    <p:cond delay="1000"/>
                                  </p:stCondLst>
                                  <p:childTnLst>
                                    <p:animScale>
                                      <p:cBhvr>
                                        <p:cTn id="25" dur="750" fill="hold"/>
                                        <p:tgtEl>
                                          <p:spTgt spid="1223"/>
                                        </p:tgtEl>
                                      </p:cBhvr>
                                      <p:by x="9999000" y="9999000"/>
                                    </p:animScale>
                                  </p:childTnLst>
                                </p:cTn>
                              </p:par>
                              <p:par>
                                <p:cTn id="26" presetID="10" presetClass="entr" presetSubtype="0" fill="hold" nodeType="withEffect">
                                  <p:stCondLst>
                                    <p:cond delay="1000"/>
                                  </p:stCondLst>
                                  <p:childTnLst>
                                    <p:set>
                                      <p:cBhvr>
                                        <p:cTn id="27" dur="1" fill="hold">
                                          <p:stCondLst>
                                            <p:cond delay="0"/>
                                          </p:stCondLst>
                                        </p:cTn>
                                        <p:tgtEl>
                                          <p:spTgt spid="906"/>
                                        </p:tgtEl>
                                        <p:attrNameLst>
                                          <p:attrName>style.visibility</p:attrName>
                                        </p:attrNameLst>
                                      </p:cBhvr>
                                      <p:to>
                                        <p:strVal val="visible"/>
                                      </p:to>
                                    </p:set>
                                    <p:animEffect transition="in" filter="fade">
                                      <p:cBhvr>
                                        <p:cTn id="28" dur="250"/>
                                        <p:tgtEl>
                                          <p:spTgt spid="906"/>
                                        </p:tgtEl>
                                      </p:cBhvr>
                                    </p:animEffect>
                                  </p:childTnLst>
                                </p:cTn>
                              </p:par>
                              <p:par>
                                <p:cTn id="29" presetID="6" presetClass="emph" presetSubtype="0" fill="hold" nodeType="withEffect">
                                  <p:stCondLst>
                                    <p:cond delay="500"/>
                                  </p:stCondLst>
                                  <p:childTnLst>
                                    <p:animScale>
                                      <p:cBhvr>
                                        <p:cTn id="30" dur="10" fill="hold"/>
                                        <p:tgtEl>
                                          <p:spTgt spid="906"/>
                                        </p:tgtEl>
                                      </p:cBhvr>
                                      <p:by x="1000" y="1000"/>
                                    </p:animScale>
                                  </p:childTnLst>
                                </p:cTn>
                              </p:par>
                              <p:par>
                                <p:cTn id="31" presetID="6" presetClass="emph" presetSubtype="0" decel="100000" fill="hold" nodeType="withEffect">
                                  <p:stCondLst>
                                    <p:cond delay="1000"/>
                                  </p:stCondLst>
                                  <p:childTnLst>
                                    <p:animScale>
                                      <p:cBhvr>
                                        <p:cTn id="32" dur="750" fill="hold"/>
                                        <p:tgtEl>
                                          <p:spTgt spid="906"/>
                                        </p:tgtEl>
                                      </p:cBhvr>
                                      <p:by x="9999000" y="9999000"/>
                                    </p:animScale>
                                  </p:childTnLst>
                                </p:cTn>
                              </p:par>
                            </p:childTnLst>
                          </p:cTn>
                        </p:par>
                        <p:par>
                          <p:cTn id="33" fill="hold">
                            <p:stCondLst>
                              <p:cond delay="1750"/>
                            </p:stCondLst>
                            <p:childTnLst>
                              <p:par>
                                <p:cTn id="34" presetID="1" presetClass="entr" presetSubtype="0" fill="hold" grpId="0" nodeType="afterEffect">
                                  <p:stCondLst>
                                    <p:cond delay="0"/>
                                  </p:stCondLst>
                                  <p:childTnLst>
                                    <p:set>
                                      <p:cBhvr>
                                        <p:cTn id="35" dur="1" fill="hold">
                                          <p:stCondLst>
                                            <p:cond delay="0"/>
                                          </p:stCondLst>
                                        </p:cTn>
                                        <p:tgtEl>
                                          <p:spTgt spid="1220"/>
                                        </p:tgtEl>
                                        <p:attrNameLst>
                                          <p:attrName>style.visibility</p:attrName>
                                        </p:attrNameLst>
                                      </p:cBhvr>
                                      <p:to>
                                        <p:strVal val="visible"/>
                                      </p:to>
                                    </p:set>
                                  </p:childTnLst>
                                </p:cTn>
                              </p:par>
                              <p:par>
                                <p:cTn id="36" presetID="10" presetClass="exit" presetSubtype="0" repeatCount="indefinite" fill="hold" grpId="1" nodeType="withEffect">
                                  <p:stCondLst>
                                    <p:cond delay="0"/>
                                  </p:stCondLst>
                                  <p:childTnLst>
                                    <p:animEffect transition="out" filter="fade">
                                      <p:cBhvr>
                                        <p:cTn id="37" dur="1000"/>
                                        <p:tgtEl>
                                          <p:spTgt spid="1220"/>
                                        </p:tgtEl>
                                      </p:cBhvr>
                                    </p:animEffect>
                                    <p:set>
                                      <p:cBhvr>
                                        <p:cTn id="38" dur="1" fill="hold">
                                          <p:stCondLst>
                                            <p:cond delay="999"/>
                                          </p:stCondLst>
                                        </p:cTn>
                                        <p:tgtEl>
                                          <p:spTgt spid="1220"/>
                                        </p:tgtEl>
                                        <p:attrNameLst>
                                          <p:attrName>style.visibility</p:attrName>
                                        </p:attrNameLst>
                                      </p:cBhvr>
                                      <p:to>
                                        <p:strVal val="hidden"/>
                                      </p:to>
                                    </p:set>
                                  </p:childTnLst>
                                </p:cTn>
                              </p:par>
                              <p:par>
                                <p:cTn id="39" presetID="6" presetClass="emph" presetSubtype="0" repeatCount="indefinite" decel="100000" fill="hold" grpId="2" nodeType="withEffect">
                                  <p:stCondLst>
                                    <p:cond delay="0"/>
                                  </p:stCondLst>
                                  <p:childTnLst>
                                    <p:animScale>
                                      <p:cBhvr>
                                        <p:cTn id="40" dur="1000" fill="hold"/>
                                        <p:tgtEl>
                                          <p:spTgt spid="1220"/>
                                        </p:tgtEl>
                                      </p:cBhvr>
                                      <p:by x="150000" y="150000"/>
                                    </p:animScale>
                                  </p:childTnLst>
                                </p:cTn>
                              </p:par>
                              <p:par>
                                <p:cTn id="41" presetID="1" presetClass="entr" presetSubtype="0" fill="hold" grpId="0" nodeType="withEffect">
                                  <p:stCondLst>
                                    <p:cond delay="0"/>
                                  </p:stCondLst>
                                  <p:childTnLst>
                                    <p:set>
                                      <p:cBhvr>
                                        <p:cTn id="42" dur="1" fill="hold">
                                          <p:stCondLst>
                                            <p:cond delay="0"/>
                                          </p:stCondLst>
                                        </p:cTn>
                                        <p:tgtEl>
                                          <p:spTgt spid="1669"/>
                                        </p:tgtEl>
                                        <p:attrNameLst>
                                          <p:attrName>style.visibility</p:attrName>
                                        </p:attrNameLst>
                                      </p:cBhvr>
                                      <p:to>
                                        <p:strVal val="visible"/>
                                      </p:to>
                                    </p:set>
                                  </p:childTnLst>
                                </p:cTn>
                              </p:par>
                              <p:par>
                                <p:cTn id="43" presetID="10" presetClass="exit" presetSubtype="0" repeatCount="indefinite" fill="hold" grpId="1" nodeType="withEffect">
                                  <p:stCondLst>
                                    <p:cond delay="0"/>
                                  </p:stCondLst>
                                  <p:childTnLst>
                                    <p:animEffect transition="out" filter="fade">
                                      <p:cBhvr>
                                        <p:cTn id="44" dur="1000"/>
                                        <p:tgtEl>
                                          <p:spTgt spid="1669"/>
                                        </p:tgtEl>
                                      </p:cBhvr>
                                    </p:animEffect>
                                    <p:set>
                                      <p:cBhvr>
                                        <p:cTn id="45" dur="1" fill="hold">
                                          <p:stCondLst>
                                            <p:cond delay="999"/>
                                          </p:stCondLst>
                                        </p:cTn>
                                        <p:tgtEl>
                                          <p:spTgt spid="1669"/>
                                        </p:tgtEl>
                                        <p:attrNameLst>
                                          <p:attrName>style.visibility</p:attrName>
                                        </p:attrNameLst>
                                      </p:cBhvr>
                                      <p:to>
                                        <p:strVal val="hidden"/>
                                      </p:to>
                                    </p:set>
                                  </p:childTnLst>
                                </p:cTn>
                              </p:par>
                              <p:par>
                                <p:cTn id="46" presetID="6" presetClass="emph" presetSubtype="0" repeatCount="indefinite" decel="100000" fill="hold" grpId="2" nodeType="withEffect">
                                  <p:stCondLst>
                                    <p:cond delay="0"/>
                                  </p:stCondLst>
                                  <p:childTnLst>
                                    <p:animScale>
                                      <p:cBhvr>
                                        <p:cTn id="47" dur="1000" fill="hold"/>
                                        <p:tgtEl>
                                          <p:spTgt spid="1669"/>
                                        </p:tgtEl>
                                      </p:cBhvr>
                                      <p:by x="150000" y="150000"/>
                                    </p:animScale>
                                  </p:childTnLst>
                                </p:cTn>
                              </p:par>
                              <p:par>
                                <p:cTn id="48" presetID="10" presetClass="entr" presetSubtype="0" fill="hold" nodeType="with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par>
                                <p:cTn id="51" presetID="10" presetClass="entr" presetSubtype="0" fill="hold" nodeType="withEffect">
                                  <p:stCondLst>
                                    <p:cond delay="0"/>
                                  </p:stCondLst>
                                  <p:childTnLst>
                                    <p:set>
                                      <p:cBhvr>
                                        <p:cTn id="52" dur="1" fill="hold">
                                          <p:stCondLst>
                                            <p:cond delay="0"/>
                                          </p:stCondLst>
                                        </p:cTn>
                                        <p:tgtEl>
                                          <p:spTgt spid="8"/>
                                        </p:tgtEl>
                                        <p:attrNameLst>
                                          <p:attrName>style.visibility</p:attrName>
                                        </p:attrNameLst>
                                      </p:cBhvr>
                                      <p:to>
                                        <p:strVal val="visible"/>
                                      </p:to>
                                    </p:set>
                                    <p:animEffect transition="in" filter="fade">
                                      <p:cBhvr>
                                        <p:cTn id="53" dur="500"/>
                                        <p:tgtEl>
                                          <p:spTgt spid="8"/>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fade">
                                      <p:cBhvr>
                                        <p:cTn id="56" dur="500"/>
                                        <p:tgtEl>
                                          <p:spTgt spid="7"/>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par>
                                <p:cTn id="60" presetID="8" presetClass="emph" presetSubtype="0" repeatCount="indefinite" fill="hold" grpId="1" nodeType="withEffect">
                                  <p:stCondLst>
                                    <p:cond delay="0"/>
                                  </p:stCondLst>
                                  <p:childTnLst>
                                    <p:animRot by="21600000">
                                      <p:cBhvr>
                                        <p:cTn id="61" dur="2750" fill="hold"/>
                                        <p:tgtEl>
                                          <p:spTgt spid="7"/>
                                        </p:tgtEl>
                                        <p:attrNameLst>
                                          <p:attrName>r</p:attrName>
                                        </p:attrNameLst>
                                      </p:cBhvr>
                                    </p:animRot>
                                  </p:childTnLst>
                                </p:cTn>
                              </p:par>
                              <p:par>
                                <p:cTn id="62" presetID="10" presetClass="entr" presetSubtype="0" fill="hold" grpId="1"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0" presetClass="path" presetSubtype="0" repeatCount="indefinite" fill="hold" grpId="0" nodeType="withEffect">
                                  <p:stCondLst>
                                    <p:cond delay="50"/>
                                  </p:stCondLst>
                                  <p:childTnLst>
                                    <p:animMotion origin="layout" path="M -0.00018 -0.00309 L 0.07552 -0.03765 L 0.06024 0.40309 " pathEditMode="relative" rAng="0" ptsTypes="AAA">
                                      <p:cBhvr>
                                        <p:cTn id="66" dur="5750" fill="hold"/>
                                        <p:tgtEl>
                                          <p:spTgt spid="17"/>
                                        </p:tgtEl>
                                        <p:attrNameLst>
                                          <p:attrName>ppt_x</p:attrName>
                                          <p:attrName>ppt_y</p:attrName>
                                        </p:attrNameLst>
                                      </p:cBhvr>
                                      <p:rCtr x="3785" y="18580"/>
                                    </p:animMotion>
                                  </p:childTnLst>
                                </p:cTn>
                              </p:par>
                              <p:par>
                                <p:cTn id="67" presetID="10" presetClass="entr" presetSubtype="0" fill="hold" grpId="1" nodeType="withEffect">
                                  <p:stCondLst>
                                    <p:cond delay="500"/>
                                  </p:stCondLst>
                                  <p:childTnLst>
                                    <p:set>
                                      <p:cBhvr>
                                        <p:cTn id="68" dur="1" fill="hold">
                                          <p:stCondLst>
                                            <p:cond delay="0"/>
                                          </p:stCondLst>
                                        </p:cTn>
                                        <p:tgtEl>
                                          <p:spTgt spid="881"/>
                                        </p:tgtEl>
                                        <p:attrNameLst>
                                          <p:attrName>style.visibility</p:attrName>
                                        </p:attrNameLst>
                                      </p:cBhvr>
                                      <p:to>
                                        <p:strVal val="visible"/>
                                      </p:to>
                                    </p:set>
                                    <p:animEffect transition="in" filter="fade">
                                      <p:cBhvr>
                                        <p:cTn id="69" dur="500"/>
                                        <p:tgtEl>
                                          <p:spTgt spid="881"/>
                                        </p:tgtEl>
                                      </p:cBhvr>
                                    </p:animEffect>
                                  </p:childTnLst>
                                </p:cTn>
                              </p:par>
                              <p:par>
                                <p:cTn id="70" presetID="0" presetClass="path" presetSubtype="0" repeatCount="indefinite" fill="hold" grpId="0" nodeType="withEffect">
                                  <p:stCondLst>
                                    <p:cond delay="550"/>
                                  </p:stCondLst>
                                  <p:childTnLst>
                                    <p:animMotion origin="layout" path="M -0.00087 2.46914E-7 L 0.05868 -0.11944 L -0.13646 -0.32809 " pathEditMode="relative" ptsTypes="AAA">
                                      <p:cBhvr>
                                        <p:cTn id="71" dur="5250" fill="hold"/>
                                        <p:tgtEl>
                                          <p:spTgt spid="881"/>
                                        </p:tgtEl>
                                        <p:attrNameLst>
                                          <p:attrName>ppt_x</p:attrName>
                                          <p:attrName>ppt_y</p:attrName>
                                        </p:attrNameLst>
                                      </p:cBhvr>
                                    </p:animMotion>
                                  </p:childTnLst>
                                </p:cTn>
                              </p:par>
                              <p:par>
                                <p:cTn id="72" presetID="10" presetClass="entr" presetSubtype="0" fill="hold" grpId="1" nodeType="withEffect">
                                  <p:stCondLst>
                                    <p:cond delay="1000"/>
                                  </p:stCondLst>
                                  <p:childTnLst>
                                    <p:set>
                                      <p:cBhvr>
                                        <p:cTn id="73" dur="1" fill="hold">
                                          <p:stCondLst>
                                            <p:cond delay="0"/>
                                          </p:stCondLst>
                                        </p:cTn>
                                        <p:tgtEl>
                                          <p:spTgt spid="883"/>
                                        </p:tgtEl>
                                        <p:attrNameLst>
                                          <p:attrName>style.visibility</p:attrName>
                                        </p:attrNameLst>
                                      </p:cBhvr>
                                      <p:to>
                                        <p:strVal val="visible"/>
                                      </p:to>
                                    </p:set>
                                    <p:animEffect transition="in" filter="fade">
                                      <p:cBhvr>
                                        <p:cTn id="74" dur="500"/>
                                        <p:tgtEl>
                                          <p:spTgt spid="883"/>
                                        </p:tgtEl>
                                      </p:cBhvr>
                                    </p:animEffect>
                                  </p:childTnLst>
                                </p:cTn>
                              </p:par>
                              <p:par>
                                <p:cTn id="75" presetID="0" presetClass="path" presetSubtype="0" repeatCount="indefinite" fill="hold" grpId="0" nodeType="withEffect">
                                  <p:stCondLst>
                                    <p:cond delay="950"/>
                                  </p:stCondLst>
                                  <p:childTnLst>
                                    <p:animMotion origin="layout" path="M -0.00122 -0.00123 L 0.06875 -0.07191 L -0.12344 0.36821 " pathEditMode="relative" ptsTypes="AAA">
                                      <p:cBhvr>
                                        <p:cTn id="76" dur="5250" fill="hold"/>
                                        <p:tgtEl>
                                          <p:spTgt spid="883"/>
                                        </p:tgtEl>
                                        <p:attrNameLst>
                                          <p:attrName>ppt_x</p:attrName>
                                          <p:attrName>ppt_y</p:attrName>
                                        </p:attrNameLst>
                                      </p:cBhvr>
                                    </p:animMotion>
                                  </p:childTnLst>
                                </p:cTn>
                              </p:par>
                              <p:par>
                                <p:cTn id="77" presetID="10" presetClass="entr" presetSubtype="0" fill="hold" grpId="1" nodeType="withEffect">
                                  <p:stCondLst>
                                    <p:cond delay="0"/>
                                  </p:stCondLst>
                                  <p:childTnLst>
                                    <p:set>
                                      <p:cBhvr>
                                        <p:cTn id="78" dur="1" fill="hold">
                                          <p:stCondLst>
                                            <p:cond delay="0"/>
                                          </p:stCondLst>
                                        </p:cTn>
                                        <p:tgtEl>
                                          <p:spTgt spid="882"/>
                                        </p:tgtEl>
                                        <p:attrNameLst>
                                          <p:attrName>style.visibility</p:attrName>
                                        </p:attrNameLst>
                                      </p:cBhvr>
                                      <p:to>
                                        <p:strVal val="visible"/>
                                      </p:to>
                                    </p:set>
                                    <p:animEffect transition="in" filter="fade">
                                      <p:cBhvr>
                                        <p:cTn id="79" dur="500"/>
                                        <p:tgtEl>
                                          <p:spTgt spid="882"/>
                                        </p:tgtEl>
                                      </p:cBhvr>
                                    </p:animEffect>
                                  </p:childTnLst>
                                </p:cTn>
                              </p:par>
                              <p:par>
                                <p:cTn id="80" presetID="0" presetClass="path" presetSubtype="0" repeatCount="indefinite" decel="100000" fill="hold" grpId="0" nodeType="withEffect">
                                  <p:stCondLst>
                                    <p:cond delay="0"/>
                                  </p:stCondLst>
                                  <p:childTnLst>
                                    <p:animMotion origin="layout" path="M 0.00625 0.00494 L -0.07483 -0.01327 L 0.05642 0.3821 " pathEditMode="relative" rAng="2640000" ptsTypes="AAA">
                                      <p:cBhvr>
                                        <p:cTn id="81" dur="5250" fill="hold"/>
                                        <p:tgtEl>
                                          <p:spTgt spid="882"/>
                                        </p:tgtEl>
                                        <p:attrNameLst>
                                          <p:attrName>ppt_x</p:attrName>
                                          <p:attrName>ppt_y</p:attrName>
                                        </p:attrNameLst>
                                      </p:cBhvr>
                                      <p:rCtr x="156" y="14815"/>
                                    </p:animMotion>
                                  </p:childTnLst>
                                </p:cTn>
                              </p:par>
                              <p:par>
                                <p:cTn id="82" presetID="10" presetClass="entr" presetSubtype="0" fill="hold" grpId="1" nodeType="withEffect">
                                  <p:stCondLst>
                                    <p:cond delay="500"/>
                                  </p:stCondLst>
                                  <p:childTnLst>
                                    <p:set>
                                      <p:cBhvr>
                                        <p:cTn id="83" dur="1" fill="hold">
                                          <p:stCondLst>
                                            <p:cond delay="0"/>
                                          </p:stCondLst>
                                        </p:cTn>
                                        <p:tgtEl>
                                          <p:spTgt spid="887"/>
                                        </p:tgtEl>
                                        <p:attrNameLst>
                                          <p:attrName>style.visibility</p:attrName>
                                        </p:attrNameLst>
                                      </p:cBhvr>
                                      <p:to>
                                        <p:strVal val="visible"/>
                                      </p:to>
                                    </p:set>
                                    <p:animEffect transition="in" filter="fade">
                                      <p:cBhvr>
                                        <p:cTn id="84" dur="500"/>
                                        <p:tgtEl>
                                          <p:spTgt spid="887"/>
                                        </p:tgtEl>
                                      </p:cBhvr>
                                    </p:animEffect>
                                  </p:childTnLst>
                                </p:cTn>
                              </p:par>
                              <p:par>
                                <p:cTn id="85" presetID="0" presetClass="path" presetSubtype="0" repeatCount="indefinite" fill="hold" grpId="0" nodeType="withEffect">
                                  <p:stCondLst>
                                    <p:cond delay="500"/>
                                  </p:stCondLst>
                                  <p:childTnLst>
                                    <p:animMotion origin="layout" path="M -0.00018 -0.00093 L -0.0533 -0.12655 L 0.18021 -0.53303 " pathEditMode="relative" ptsTypes="AAA">
                                      <p:cBhvr>
                                        <p:cTn id="86" dur="5750" fill="hold"/>
                                        <p:tgtEl>
                                          <p:spTgt spid="887"/>
                                        </p:tgtEl>
                                        <p:attrNameLst>
                                          <p:attrName>ppt_x</p:attrName>
                                          <p:attrName>ppt_y</p:attrName>
                                        </p:attrNameLst>
                                      </p:cBhvr>
                                    </p:animMotion>
                                  </p:childTnLst>
                                </p:cTn>
                              </p:par>
                              <p:par>
                                <p:cTn id="87" presetID="10" presetClass="entr" presetSubtype="0" fill="hold" grpId="1" nodeType="withEffect">
                                  <p:stCondLst>
                                    <p:cond delay="950"/>
                                  </p:stCondLst>
                                  <p:childTnLst>
                                    <p:set>
                                      <p:cBhvr>
                                        <p:cTn id="88" dur="1" fill="hold">
                                          <p:stCondLst>
                                            <p:cond delay="0"/>
                                          </p:stCondLst>
                                        </p:cTn>
                                        <p:tgtEl>
                                          <p:spTgt spid="890"/>
                                        </p:tgtEl>
                                        <p:attrNameLst>
                                          <p:attrName>style.visibility</p:attrName>
                                        </p:attrNameLst>
                                      </p:cBhvr>
                                      <p:to>
                                        <p:strVal val="visible"/>
                                      </p:to>
                                    </p:set>
                                    <p:animEffect transition="in" filter="fade">
                                      <p:cBhvr>
                                        <p:cTn id="89" dur="500"/>
                                        <p:tgtEl>
                                          <p:spTgt spid="890"/>
                                        </p:tgtEl>
                                      </p:cBhvr>
                                    </p:animEffect>
                                  </p:childTnLst>
                                </p:cTn>
                              </p:par>
                              <p:par>
                                <p:cTn id="90" presetID="0" presetClass="path" presetSubtype="0" repeatCount="indefinite" decel="100000" fill="hold" grpId="0" nodeType="withEffect">
                                  <p:stCondLst>
                                    <p:cond delay="950"/>
                                  </p:stCondLst>
                                  <p:childTnLst>
                                    <p:animMotion origin="layout" path="M 0.00121 -0.00031 L -0.06094 -0.06142 L 0.16302 -0.1676 " pathEditMode="relative" ptsTypes="AAA">
                                      <p:cBhvr>
                                        <p:cTn id="91" dur="5250" fill="hold"/>
                                        <p:tgtEl>
                                          <p:spTgt spid="890"/>
                                        </p:tgtEl>
                                        <p:attrNameLst>
                                          <p:attrName>ppt_x</p:attrName>
                                          <p:attrName>ppt_y</p:attrName>
                                        </p:attrNameLst>
                                      </p:cBhvr>
                                    </p:animMotion>
                                  </p:childTnLst>
                                </p:cTn>
                              </p:par>
                              <p:par>
                                <p:cTn id="92" presetID="10" presetClass="entr" presetSubtype="0" fill="hold" grpId="1" nodeType="withEffect">
                                  <p:stCondLst>
                                    <p:cond delay="0"/>
                                  </p:stCondLst>
                                  <p:childTnLst>
                                    <p:set>
                                      <p:cBhvr>
                                        <p:cTn id="93" dur="1" fill="hold">
                                          <p:stCondLst>
                                            <p:cond delay="0"/>
                                          </p:stCondLst>
                                        </p:cTn>
                                        <p:tgtEl>
                                          <p:spTgt spid="891"/>
                                        </p:tgtEl>
                                        <p:attrNameLst>
                                          <p:attrName>style.visibility</p:attrName>
                                        </p:attrNameLst>
                                      </p:cBhvr>
                                      <p:to>
                                        <p:strVal val="visible"/>
                                      </p:to>
                                    </p:set>
                                    <p:animEffect transition="in" filter="fade">
                                      <p:cBhvr>
                                        <p:cTn id="94" dur="500"/>
                                        <p:tgtEl>
                                          <p:spTgt spid="891"/>
                                        </p:tgtEl>
                                      </p:cBhvr>
                                    </p:animEffect>
                                  </p:childTnLst>
                                </p:cTn>
                              </p:par>
                              <p:par>
                                <p:cTn id="95" presetID="0" presetClass="path" presetSubtype="0" repeatCount="indefinite" fill="hold" grpId="0" nodeType="withEffect">
                                  <p:stCondLst>
                                    <p:cond delay="0"/>
                                  </p:stCondLst>
                                  <p:childTnLst>
                                    <p:animMotion origin="layout" path="M -0.00017 -0.00185 L 0.01858 0.16852 L -0.23211 0.0216 " pathEditMode="relative" ptsTypes="AAA">
                                      <p:cBhvr>
                                        <p:cTn id="96" dur="6500" fill="hold"/>
                                        <p:tgtEl>
                                          <p:spTgt spid="891"/>
                                        </p:tgtEl>
                                        <p:attrNameLst>
                                          <p:attrName>ppt_x</p:attrName>
                                          <p:attrName>ppt_y</p:attrName>
                                        </p:attrNameLst>
                                      </p:cBhvr>
                                    </p:animMotion>
                                  </p:childTnLst>
                                </p:cTn>
                              </p:par>
                              <p:par>
                                <p:cTn id="97" presetID="10" presetClass="entr" presetSubtype="0" fill="hold" grpId="1" nodeType="withEffect">
                                  <p:stCondLst>
                                    <p:cond delay="500"/>
                                  </p:stCondLst>
                                  <p:childTnLst>
                                    <p:set>
                                      <p:cBhvr>
                                        <p:cTn id="98" dur="1" fill="hold">
                                          <p:stCondLst>
                                            <p:cond delay="0"/>
                                          </p:stCondLst>
                                        </p:cTn>
                                        <p:tgtEl>
                                          <p:spTgt spid="893"/>
                                        </p:tgtEl>
                                        <p:attrNameLst>
                                          <p:attrName>style.visibility</p:attrName>
                                        </p:attrNameLst>
                                      </p:cBhvr>
                                      <p:to>
                                        <p:strVal val="visible"/>
                                      </p:to>
                                    </p:set>
                                    <p:animEffect transition="in" filter="fade">
                                      <p:cBhvr>
                                        <p:cTn id="99" dur="500"/>
                                        <p:tgtEl>
                                          <p:spTgt spid="893"/>
                                        </p:tgtEl>
                                      </p:cBhvr>
                                    </p:animEffect>
                                  </p:childTnLst>
                                </p:cTn>
                              </p:par>
                              <p:par>
                                <p:cTn id="100" presetID="0" presetClass="path" presetSubtype="0" repeatCount="indefinite" accel="10000" fill="hold" grpId="0" nodeType="withEffect">
                                  <p:stCondLst>
                                    <p:cond delay="500"/>
                                  </p:stCondLst>
                                  <p:childTnLst>
                                    <p:animMotion origin="layout" path="M -0.00191 0.00308 L 0.04531 0.13395 L 0.1217 -0.19198 " pathEditMode="relative" ptsTypes="AAA">
                                      <p:cBhvr>
                                        <p:cTn id="101" dur="5250" fill="hold"/>
                                        <p:tgtEl>
                                          <p:spTgt spid="893"/>
                                        </p:tgtEl>
                                        <p:attrNameLst>
                                          <p:attrName>ppt_x</p:attrName>
                                          <p:attrName>ppt_y</p:attrName>
                                        </p:attrNameLst>
                                      </p:cBhvr>
                                    </p:animMotion>
                                  </p:childTnLst>
                                </p:cTn>
                              </p:par>
                              <p:par>
                                <p:cTn id="102" presetID="10" presetClass="entr" presetSubtype="0" fill="hold" grpId="1" nodeType="withEffect">
                                  <p:stCondLst>
                                    <p:cond delay="950"/>
                                  </p:stCondLst>
                                  <p:childTnLst>
                                    <p:set>
                                      <p:cBhvr>
                                        <p:cTn id="103" dur="1" fill="hold">
                                          <p:stCondLst>
                                            <p:cond delay="0"/>
                                          </p:stCondLst>
                                        </p:cTn>
                                        <p:tgtEl>
                                          <p:spTgt spid="894"/>
                                        </p:tgtEl>
                                        <p:attrNameLst>
                                          <p:attrName>style.visibility</p:attrName>
                                        </p:attrNameLst>
                                      </p:cBhvr>
                                      <p:to>
                                        <p:strVal val="visible"/>
                                      </p:to>
                                    </p:set>
                                    <p:animEffect transition="in" filter="fade">
                                      <p:cBhvr>
                                        <p:cTn id="104" dur="500"/>
                                        <p:tgtEl>
                                          <p:spTgt spid="894"/>
                                        </p:tgtEl>
                                      </p:cBhvr>
                                    </p:animEffect>
                                  </p:childTnLst>
                                </p:cTn>
                              </p:par>
                              <p:par>
                                <p:cTn id="105" presetID="0" presetClass="path" presetSubtype="0" repeatCount="indefinite" decel="100000" fill="hold" grpId="0" nodeType="withEffect">
                                  <p:stCondLst>
                                    <p:cond delay="950"/>
                                  </p:stCondLst>
                                  <p:childTnLst>
                                    <p:animMotion origin="layout" path="M 0.00105 0.00154 L 0.08716 0.10154 L 0.23299 -0.2034 " pathEditMode="relative" ptsTypes="AAA">
                                      <p:cBhvr>
                                        <p:cTn id="106" dur="5250" fill="hold"/>
                                        <p:tgtEl>
                                          <p:spTgt spid="894"/>
                                        </p:tgtEl>
                                        <p:attrNameLst>
                                          <p:attrName>ppt_x</p:attrName>
                                          <p:attrName>ppt_y</p:attrName>
                                        </p:attrNameLst>
                                      </p:cBhvr>
                                    </p:animMotion>
                                  </p:childTnLst>
                                </p:cTn>
                              </p:par>
                              <p:par>
                                <p:cTn id="107" presetID="1" presetClass="entr" presetSubtype="0" fill="hold" grpId="1" nodeType="withEffect">
                                  <p:stCondLst>
                                    <p:cond delay="750"/>
                                  </p:stCondLst>
                                  <p:childTnLst>
                                    <p:set>
                                      <p:cBhvr>
                                        <p:cTn id="108" dur="1" fill="hold">
                                          <p:stCondLst>
                                            <p:cond delay="0"/>
                                          </p:stCondLst>
                                        </p:cTn>
                                        <p:tgtEl>
                                          <p:spTgt spid="898"/>
                                        </p:tgtEl>
                                        <p:attrNameLst>
                                          <p:attrName>style.visibility</p:attrName>
                                        </p:attrNameLst>
                                      </p:cBhvr>
                                      <p:to>
                                        <p:strVal val="visible"/>
                                      </p:to>
                                    </p:set>
                                  </p:childTnLst>
                                </p:cTn>
                              </p:par>
                              <p:par>
                                <p:cTn id="109" presetID="1" presetClass="entr" presetSubtype="0" fill="hold" grpId="1" nodeType="withEffect">
                                  <p:stCondLst>
                                    <p:cond delay="750"/>
                                  </p:stCondLst>
                                  <p:childTnLst>
                                    <p:set>
                                      <p:cBhvr>
                                        <p:cTn id="110" dur="1" fill="hold">
                                          <p:stCondLst>
                                            <p:cond delay="0"/>
                                          </p:stCondLst>
                                        </p:cTn>
                                        <p:tgtEl>
                                          <p:spTgt spid="899"/>
                                        </p:tgtEl>
                                        <p:attrNameLst>
                                          <p:attrName>style.visibility</p:attrName>
                                        </p:attrNameLst>
                                      </p:cBhvr>
                                      <p:to>
                                        <p:strVal val="visible"/>
                                      </p:to>
                                    </p:set>
                                  </p:childTnLst>
                                </p:cTn>
                              </p:par>
                              <p:par>
                                <p:cTn id="111" presetID="1" presetClass="entr" presetSubtype="0" fill="hold" grpId="1" nodeType="withEffect">
                                  <p:stCondLst>
                                    <p:cond delay="750"/>
                                  </p:stCondLst>
                                  <p:childTnLst>
                                    <p:set>
                                      <p:cBhvr>
                                        <p:cTn id="112" dur="1" fill="hold">
                                          <p:stCondLst>
                                            <p:cond delay="0"/>
                                          </p:stCondLst>
                                        </p:cTn>
                                        <p:tgtEl>
                                          <p:spTgt spid="900"/>
                                        </p:tgtEl>
                                        <p:attrNameLst>
                                          <p:attrName>style.visibility</p:attrName>
                                        </p:attrNameLst>
                                      </p:cBhvr>
                                      <p:to>
                                        <p:strVal val="visible"/>
                                      </p:to>
                                    </p:set>
                                  </p:childTnLst>
                                </p:cTn>
                              </p:par>
                              <p:par>
                                <p:cTn id="113" presetID="1" presetClass="entr" presetSubtype="0" fill="hold" grpId="1" nodeType="withEffect">
                                  <p:stCondLst>
                                    <p:cond delay="750"/>
                                  </p:stCondLst>
                                  <p:childTnLst>
                                    <p:set>
                                      <p:cBhvr>
                                        <p:cTn id="114" dur="1" fill="hold">
                                          <p:stCondLst>
                                            <p:cond delay="0"/>
                                          </p:stCondLst>
                                        </p:cTn>
                                        <p:tgtEl>
                                          <p:spTgt spid="901"/>
                                        </p:tgtEl>
                                        <p:attrNameLst>
                                          <p:attrName>style.visibility</p:attrName>
                                        </p:attrNameLst>
                                      </p:cBhvr>
                                      <p:to>
                                        <p:strVal val="visible"/>
                                      </p:to>
                                    </p:set>
                                  </p:childTnLst>
                                </p:cTn>
                              </p:par>
                              <p:par>
                                <p:cTn id="115" presetID="1" presetClass="entr" presetSubtype="0" fill="hold" grpId="1" nodeType="withEffect">
                                  <p:stCondLst>
                                    <p:cond delay="750"/>
                                  </p:stCondLst>
                                  <p:childTnLst>
                                    <p:set>
                                      <p:cBhvr>
                                        <p:cTn id="116" dur="1" fill="hold">
                                          <p:stCondLst>
                                            <p:cond delay="0"/>
                                          </p:stCondLst>
                                        </p:cTn>
                                        <p:tgtEl>
                                          <p:spTgt spid="902"/>
                                        </p:tgtEl>
                                        <p:attrNameLst>
                                          <p:attrName>style.visibility</p:attrName>
                                        </p:attrNameLst>
                                      </p:cBhvr>
                                      <p:to>
                                        <p:strVal val="visible"/>
                                      </p:to>
                                    </p:set>
                                  </p:childTnLst>
                                </p:cTn>
                              </p:par>
                              <p:par>
                                <p:cTn id="117" presetID="1" presetClass="entr" presetSubtype="0" fill="hold" grpId="1" nodeType="withEffect">
                                  <p:stCondLst>
                                    <p:cond delay="750"/>
                                  </p:stCondLst>
                                  <p:childTnLst>
                                    <p:set>
                                      <p:cBhvr>
                                        <p:cTn id="118" dur="1" fill="hold">
                                          <p:stCondLst>
                                            <p:cond delay="0"/>
                                          </p:stCondLst>
                                        </p:cTn>
                                        <p:tgtEl>
                                          <p:spTgt spid="903"/>
                                        </p:tgtEl>
                                        <p:attrNameLst>
                                          <p:attrName>style.visibility</p:attrName>
                                        </p:attrNameLst>
                                      </p:cBhvr>
                                      <p:to>
                                        <p:strVal val="visible"/>
                                      </p:to>
                                    </p:set>
                                  </p:childTnLst>
                                </p:cTn>
                              </p:par>
                              <p:par>
                                <p:cTn id="119" presetID="1" presetClass="entr" presetSubtype="0" fill="hold" grpId="1" nodeType="withEffect">
                                  <p:stCondLst>
                                    <p:cond delay="750"/>
                                  </p:stCondLst>
                                  <p:childTnLst>
                                    <p:set>
                                      <p:cBhvr>
                                        <p:cTn id="120" dur="1" fill="hold">
                                          <p:stCondLst>
                                            <p:cond delay="0"/>
                                          </p:stCondLst>
                                        </p:cTn>
                                        <p:tgtEl>
                                          <p:spTgt spid="904"/>
                                        </p:tgtEl>
                                        <p:attrNameLst>
                                          <p:attrName>style.visibility</p:attrName>
                                        </p:attrNameLst>
                                      </p:cBhvr>
                                      <p:to>
                                        <p:strVal val="visible"/>
                                      </p:to>
                                    </p:set>
                                  </p:childTnLst>
                                </p:cTn>
                              </p:par>
                              <p:par>
                                <p:cTn id="121" presetID="1" presetClass="entr" presetSubtype="0" fill="hold" grpId="1" nodeType="withEffect">
                                  <p:stCondLst>
                                    <p:cond delay="750"/>
                                  </p:stCondLst>
                                  <p:childTnLst>
                                    <p:set>
                                      <p:cBhvr>
                                        <p:cTn id="122" dur="1" fill="hold">
                                          <p:stCondLst>
                                            <p:cond delay="0"/>
                                          </p:stCondLst>
                                        </p:cTn>
                                        <p:tgtEl>
                                          <p:spTgt spid="905"/>
                                        </p:tgtEl>
                                        <p:attrNameLst>
                                          <p:attrName>style.visibility</p:attrName>
                                        </p:attrNameLst>
                                      </p:cBhvr>
                                      <p:to>
                                        <p:strVal val="visible"/>
                                      </p:to>
                                    </p:set>
                                  </p:childTnLst>
                                </p:cTn>
                              </p:par>
                              <p:par>
                                <p:cTn id="123" presetID="1" presetClass="entr" presetSubtype="0" fill="hold" grpId="1" nodeType="withEffect">
                                  <p:stCondLst>
                                    <p:cond delay="750"/>
                                  </p:stCondLst>
                                  <p:childTnLst>
                                    <p:set>
                                      <p:cBhvr>
                                        <p:cTn id="124" dur="1" fill="hold">
                                          <p:stCondLst>
                                            <p:cond delay="0"/>
                                          </p:stCondLst>
                                        </p:cTn>
                                        <p:tgtEl>
                                          <p:spTgt spid="907"/>
                                        </p:tgtEl>
                                        <p:attrNameLst>
                                          <p:attrName>style.visibility</p:attrName>
                                        </p:attrNameLst>
                                      </p:cBhvr>
                                      <p:to>
                                        <p:strVal val="visible"/>
                                      </p:to>
                                    </p:set>
                                  </p:childTnLst>
                                </p:cTn>
                              </p:par>
                              <p:par>
                                <p:cTn id="125" presetID="1" presetClass="entr" presetSubtype="0" fill="hold" grpId="1" nodeType="withEffect">
                                  <p:stCondLst>
                                    <p:cond delay="750"/>
                                  </p:stCondLst>
                                  <p:childTnLst>
                                    <p:set>
                                      <p:cBhvr>
                                        <p:cTn id="126" dur="1" fill="hold">
                                          <p:stCondLst>
                                            <p:cond delay="0"/>
                                          </p:stCondLst>
                                        </p:cTn>
                                        <p:tgtEl>
                                          <p:spTgt spid="908"/>
                                        </p:tgtEl>
                                        <p:attrNameLst>
                                          <p:attrName>style.visibility</p:attrName>
                                        </p:attrNameLst>
                                      </p:cBhvr>
                                      <p:to>
                                        <p:strVal val="visible"/>
                                      </p:to>
                                    </p:set>
                                  </p:childTnLst>
                                </p:cTn>
                              </p:par>
                              <p:par>
                                <p:cTn id="127" presetID="0" presetClass="path" presetSubtype="0" repeatCount="indefinite" fill="hold" grpId="0" nodeType="withEffect">
                                  <p:stCondLst>
                                    <p:cond delay="2500"/>
                                  </p:stCondLst>
                                  <p:childTnLst>
                                    <p:animMotion origin="layout" path="M -0.00017 0.0003 L 0.03177 -0.03426 L 0.03837 0.0003 L 0.07726 -0.00031 L 0.07656 -0.06821 L 0.1283 -0.06945 L 0.09601 -0.02254 L 0.1092 0.01203 L 0.09045 0.04598 L 0.1026 0.08055 L 0.1099 0.12685 L 0.13559 0.13858 L 0.16094 0.11327 L 0.17378 0.04537 C 0.17378 0.03024 0.17396 0.01512 0.17413 0.0003 L 0.19913 0.05709 L 0.18038 0.09104 L 0.14774 0.06882 L 0.14045 0.10401 L 0.10885 0.12685 L 0.08976 0.14969 L 0.06371 0.16018 L 0.03767 0.13734 L 0.01858 0.04413 L 0.03837 0.05833 L 0.05816 0.04475 L 0.06996 0.07993 L 0.08906 0.10277 L 0.10955 0.12561 L 0.11615 0.1608 L 0.1151 0.15771 " pathEditMode="relative" ptsTypes="AAAAAAAAAAAAAAAAAAAAAAAAAAAAAAA">
                                      <p:cBhvr>
                                        <p:cTn id="128" dur="10250" fill="hold"/>
                                        <p:tgtEl>
                                          <p:spTgt spid="898"/>
                                        </p:tgtEl>
                                        <p:attrNameLst>
                                          <p:attrName>ppt_x</p:attrName>
                                          <p:attrName>ppt_y</p:attrName>
                                        </p:attrNameLst>
                                      </p:cBhvr>
                                    </p:animMotion>
                                  </p:childTnLst>
                                </p:cTn>
                              </p:par>
                              <p:par>
                                <p:cTn id="129" presetID="0" presetClass="path" presetSubtype="0" repeatCount="indefinite" fill="hold" grpId="0" nodeType="withEffect">
                                  <p:stCondLst>
                                    <p:cond delay="2250"/>
                                  </p:stCondLst>
                                  <p:childTnLst>
                                    <p:animMotion origin="layout" path="M -2.22222E-6 -0.00031 L -0.01632 0.04537 L -0.01076 0.10216 L -0.03541 0.12438 L -0.06771 0.1713 L -0.075 0.12562 L -0.09375 0.17191 L -0.1 0.13673 L -0.11284 0.18056 L -0.12708 0.13611 L -0.13159 0.0892 L -0.14618 0.06944 L -0.18437 0.08056 L -0.22291 0.06883 L -0.21007 0.02253 L -0.24826 0.03364 L -0.20382 -0.01265 L -0.18437 -0.05895 L -0.14479 -0.125 L -0.11979 -0.14969 L -0.09444 -0.12747 L -0.0743 -0.09167 L -0.10069 -0.07006 L -0.07465 -0.03549 L -0.10069 -0.00031 C -0.10087 0.01142 -0.10104 0.02315 -0.10104 0.03488 L -0.11319 0.06883 " pathEditMode="relative" ptsTypes="AAAAAAAAAAAAAAAAAAAAAAAAAAA">
                                      <p:cBhvr>
                                        <p:cTn id="130" dur="9240" fill="hold"/>
                                        <p:tgtEl>
                                          <p:spTgt spid="899"/>
                                        </p:tgtEl>
                                        <p:attrNameLst>
                                          <p:attrName>ppt_x</p:attrName>
                                          <p:attrName>ppt_y</p:attrName>
                                        </p:attrNameLst>
                                      </p:cBhvr>
                                    </p:animMotion>
                                  </p:childTnLst>
                                </p:cTn>
                              </p:par>
                              <p:par>
                                <p:cTn id="131" presetID="0" presetClass="path" presetSubtype="0" repeatCount="indefinite" fill="hold" grpId="0" nodeType="withEffect">
                                  <p:stCondLst>
                                    <p:cond delay="1750"/>
                                  </p:stCondLst>
                                  <p:childTnLst>
                                    <p:animMotion origin="layout" path="M 0.00034 0.00031 L -0.01181 -0.04352 L -0.0441 -0.06697 L -0.0507 -0.04352 L -0.07605 -0.07747 L -0.11424 -0.08858 L -0.12743 -0.14722 L -0.08889 -0.13426 L -0.05 -0.13487 L -0.03091 -0.09969 L -0.01841 -0.14722 L -0.00452 -0.10031 L -0.01285 -0.04475 L 0.02639 -0.04228 L -0.00452 -0.10216 L 0.01423 -0.11327 L 0.03333 -0.15833 L 0.06666 -0.11203 L 0.05347 -0.05401 L 0.04027 -0.11265 L 0.04548 -0.18426 L 0.06632 -0.20401 C 0.06614 -0.22006 0.06597 -0.23611 0.06597 -0.25216 L 0.04652 -0.22561 L 0.02187 -0.20277 L 0.03333 -0.15463 L 0.01423 -0.11203 L -0.00556 -0.10154 L -0.01875 -0.14598 L -0.05035 -0.13487 L -0.05035 -0.1824 L -0.07674 -0.20277 L -0.10278 -0.1571 L -0.08924 -0.13426 L -0.07674 -0.20092 L -0.04966 -0.18117 L -0.02327 -0.19413 L -0.00521 -0.21203 " pathEditMode="relative" ptsTypes="AAAAAAAAAAAAAAAAAAAAAAAAAAAAAAAAAAAAAA">
                                      <p:cBhvr>
                                        <p:cTn id="132" dur="10540" fill="hold"/>
                                        <p:tgtEl>
                                          <p:spTgt spid="900"/>
                                        </p:tgtEl>
                                        <p:attrNameLst>
                                          <p:attrName>ppt_x</p:attrName>
                                          <p:attrName>ppt_y</p:attrName>
                                        </p:attrNameLst>
                                      </p:cBhvr>
                                    </p:animMotion>
                                  </p:childTnLst>
                                </p:cTn>
                              </p:par>
                              <p:par>
                                <p:cTn id="133" presetID="0" presetClass="path" presetSubtype="0" repeatCount="indefinite" fill="hold" grpId="0" nodeType="withEffect">
                                  <p:stCondLst>
                                    <p:cond delay="1000"/>
                                  </p:stCondLst>
                                  <p:childTnLst>
                                    <p:animMotion origin="layout" path="M -0.00017 0.0003 L 0.03177 -0.03426 L 0.03837 0.0003 L 0.07726 -0.00031 L 0.07656 -0.06821 L 0.1283 -0.06945 L 0.09601 -0.02254 L 0.1092 0.01203 L 0.09045 0.04598 L 0.1026 0.08055 L 0.1099 0.12685 L 0.13559 0.13858 L 0.16094 0.11327 L 0.17378 0.04537 C 0.17378 0.03024 0.17396 0.01512 0.17413 0.0003 L 0.19913 0.05709 L 0.18038 0.09104 L 0.14774 0.06882 L 0.14045 0.10401 L 0.10885 0.12685 L 0.08976 0.14969 L 0.06371 0.16018 L 0.03767 0.13734 L 0.01858 0.04413 L 0.03837 0.05833 L 0.05816 0.04475 L 0.06996 0.07993 L 0.08906 0.10277 L 0.10955 0.12561 L 0.11615 0.1608 L 0.1151 0.15771 " pathEditMode="relative" rAng="0" ptsTypes="AAAAAAAAAAAAAAAAAAAAAAAAAAAAAAA">
                                      <p:cBhvr>
                                        <p:cTn id="134" dur="11000" fill="hold"/>
                                        <p:tgtEl>
                                          <p:spTgt spid="901"/>
                                        </p:tgtEl>
                                        <p:attrNameLst>
                                          <p:attrName>ppt_x</p:attrName>
                                          <p:attrName>ppt_y</p:attrName>
                                        </p:attrNameLst>
                                      </p:cBhvr>
                                      <p:rCtr x="9965" y="4537"/>
                                    </p:animMotion>
                                  </p:childTnLst>
                                </p:cTn>
                              </p:par>
                              <p:par>
                                <p:cTn id="135" presetID="0" presetClass="path" presetSubtype="0" repeatCount="indefinite" fill="hold" grpId="0" nodeType="withEffect">
                                  <p:stCondLst>
                                    <p:cond delay="250"/>
                                  </p:stCondLst>
                                  <p:childTnLst>
                                    <p:animMotion origin="layout" path="M -0.00017 0.0003 L 0.03177 -0.03426 L 0.03837 0.0003 L 0.07726 -0.00031 L 0.07656 -0.06821 L 0.1283 -0.06945 L 0.09601 -0.02254 L 0.1092 0.01203 L 0.09045 0.04598 L 0.1026 0.08055 L 0.1099 0.12685 L 0.13559 0.13858 L 0.16094 0.11327 L 0.17378 0.04537 C 0.17378 0.03024 0.17396 0.01512 0.17413 0.0003 L 0.19913 0.05709 L 0.18038 0.09104 L 0.14774 0.06882 L 0.14045 0.10401 L 0.10885 0.12685 L 0.08976 0.14969 L 0.06371 0.16018 L 0.03767 0.13734 L 0.01858 0.04413 L 0.03837 0.05833 L 0.05816 0.04475 L 0.06996 0.07993 L 0.08906 0.10277 L 0.10955 0.12561 L 0.11615 0.1608 L 0.1151 0.15771 " pathEditMode="relative" rAng="0" ptsTypes="AAAAAAAAAAAAAAAAAAAAAAAAAAAAAAA">
                                      <p:cBhvr>
                                        <p:cTn id="136" dur="11330" fill="hold"/>
                                        <p:tgtEl>
                                          <p:spTgt spid="902"/>
                                        </p:tgtEl>
                                        <p:attrNameLst>
                                          <p:attrName>ppt_x</p:attrName>
                                          <p:attrName>ppt_y</p:attrName>
                                        </p:attrNameLst>
                                      </p:cBhvr>
                                      <p:rCtr x="9965" y="4537"/>
                                    </p:animMotion>
                                  </p:childTnLst>
                                </p:cTn>
                              </p:par>
                              <p:par>
                                <p:cTn id="137" presetID="0" presetClass="path" presetSubtype="0" repeatCount="indefinite" fill="hold" grpId="0" nodeType="withEffect">
                                  <p:stCondLst>
                                    <p:cond delay="2000"/>
                                  </p:stCondLst>
                                  <p:childTnLst>
                                    <p:animMotion origin="layout" path="M -0.00017 0.0003 L 0.03177 -0.03426 L 0.03837 0.0003 L 0.07726 -0.00031 L 0.07656 -0.06821 L 0.1283 -0.06945 L 0.09601 -0.02254 L 0.1092 0.01203 L 0.09045 0.04598 L 0.1026 0.08055 L 0.1099 0.12685 L 0.13559 0.13858 L 0.16094 0.11327 L 0.17378 0.04537 C 0.17378 0.03024 0.17396 0.01512 0.17413 0.0003 L 0.19913 0.05709 L 0.18038 0.09104 L 0.14774 0.06882 L 0.14045 0.10401 L 0.10885 0.12685 L 0.08976 0.14969 L 0.06371 0.16018 L 0.03767 0.13734 L 0.01858 0.04413 L 0.03837 0.05833 L 0.05816 0.04475 L 0.06996 0.07993 L 0.08906 0.10277 L 0.10955 0.12561 L 0.11615 0.1608 L 0.1151 0.15771 " pathEditMode="relative" rAng="0" ptsTypes="AAAAAAAAAAAAAAAAAAAAAAAAAAAAAAA">
                                      <p:cBhvr>
                                        <p:cTn id="138" dur="12010" fill="hold"/>
                                        <p:tgtEl>
                                          <p:spTgt spid="903"/>
                                        </p:tgtEl>
                                        <p:attrNameLst>
                                          <p:attrName>ppt_x</p:attrName>
                                          <p:attrName>ppt_y</p:attrName>
                                        </p:attrNameLst>
                                      </p:cBhvr>
                                      <p:rCtr x="9965" y="4537"/>
                                    </p:animMotion>
                                  </p:childTnLst>
                                </p:cTn>
                              </p:par>
                              <p:par>
                                <p:cTn id="139" presetID="0" presetClass="path" presetSubtype="0" repeatCount="indefinite" fill="hold" grpId="0" nodeType="withEffect">
                                  <p:stCondLst>
                                    <p:cond delay="1750"/>
                                  </p:stCondLst>
                                  <p:childTnLst>
                                    <p:animMotion origin="layout" path="M -2.22222E-6 -0.00031 L -0.01632 0.04537 L -0.01076 0.10216 L -0.03541 0.12438 L -0.06771 0.1713 L -0.075 0.12562 L -0.09375 0.17191 L -0.1 0.13673 L -0.11284 0.18056 L -0.12708 0.13611 L -0.13159 0.0892 L -0.14618 0.06944 L -0.18437 0.08056 L -0.22291 0.06883 L -0.21007 0.02253 L -0.24826 0.03364 L -0.20382 -0.01265 L -0.18437 -0.05895 L -0.14479 -0.125 L -0.11979 -0.14969 L -0.09444 -0.12747 L -0.0743 -0.09167 L -0.10069 -0.07006 L -0.07465 -0.03549 L -0.10069 -0.00031 C -0.10087 0.01142 -0.10104 0.02315 -0.10104 0.03488 L -0.11319 0.06883 " pathEditMode="relative" rAng="0" ptsTypes="AAAAAAAAAAAAAAAAAAAAAAAAAAA">
                                      <p:cBhvr>
                                        <p:cTn id="140" dur="13250" fill="hold"/>
                                        <p:tgtEl>
                                          <p:spTgt spid="904"/>
                                        </p:tgtEl>
                                        <p:attrNameLst>
                                          <p:attrName>ppt_x</p:attrName>
                                          <p:attrName>ppt_y</p:attrName>
                                        </p:attrNameLst>
                                      </p:cBhvr>
                                      <p:rCtr x="-12413" y="1574"/>
                                    </p:animMotion>
                                  </p:childTnLst>
                                </p:cTn>
                              </p:par>
                              <p:par>
                                <p:cTn id="141" presetID="0" presetClass="path" presetSubtype="0" repeatCount="indefinite" fill="hold" grpId="0" nodeType="withEffect">
                                  <p:stCondLst>
                                    <p:cond delay="3250"/>
                                  </p:stCondLst>
                                  <p:childTnLst>
                                    <p:animMotion origin="layout" path="M -2.22222E-6 -0.00031 L -0.01632 0.04537 L -0.01076 0.10216 L -0.03541 0.12438 L -0.06771 0.1713 L -0.075 0.12562 L -0.09375 0.17191 L -0.1 0.13673 L -0.11284 0.18056 L -0.12708 0.13611 L -0.13159 0.0892 L -0.14618 0.06944 L -0.18437 0.08056 L -0.22291 0.06883 L -0.21007 0.02253 L -0.24826 0.03364 L -0.20382 -0.01265 L -0.18437 -0.05895 L -0.14479 -0.125 L -0.11979 -0.14969 L -0.09444 -0.12747 L -0.0743 -0.09167 L -0.10069 -0.07006 L -0.07465 -0.03549 L -0.10069 -0.00031 C -0.10087 0.01142 -0.10104 0.02315 -0.10104 0.03488 L -0.11319 0.06883 " pathEditMode="relative" rAng="0" ptsTypes="AAAAAAAAAAAAAAAAAAAAAAAAAAA">
                                      <p:cBhvr>
                                        <p:cTn id="142" dur="9750" fill="hold"/>
                                        <p:tgtEl>
                                          <p:spTgt spid="905"/>
                                        </p:tgtEl>
                                        <p:attrNameLst>
                                          <p:attrName>ppt_x</p:attrName>
                                          <p:attrName>ppt_y</p:attrName>
                                        </p:attrNameLst>
                                      </p:cBhvr>
                                      <p:rCtr x="-12413" y="1574"/>
                                    </p:animMotion>
                                  </p:childTnLst>
                                </p:cTn>
                              </p:par>
                              <p:par>
                                <p:cTn id="143" presetID="0" presetClass="path" presetSubtype="0" repeatCount="indefinite" fill="hold" grpId="0" nodeType="withEffect">
                                  <p:stCondLst>
                                    <p:cond delay="1000"/>
                                  </p:stCondLst>
                                  <p:childTnLst>
                                    <p:animMotion origin="layout" path="M 0.00034 0.00031 L -0.01181 -0.04352 L -0.0441 -0.06697 L -0.0507 -0.04352 L -0.07605 -0.07747 L -0.11424 -0.08858 L -0.12743 -0.14722 L -0.08889 -0.13426 L -0.05 -0.13487 L -0.03091 -0.09969 L -0.01841 -0.14722 L -0.00452 -0.10031 L -0.01285 -0.04475 L 0.02639 -0.04228 L -0.00452 -0.10216 L 0.01423 -0.11327 L 0.03333 -0.15833 L 0.06666 -0.11203 L 0.05347 -0.05401 L 0.04027 -0.11265 L 0.04548 -0.18426 L 0.06632 -0.20401 C 0.06614 -0.22006 0.06597 -0.23611 0.06597 -0.25216 L 0.04652 -0.22561 L 0.02187 -0.20277 L 0.03333 -0.15463 L 0.01423 -0.11203 L -0.00556 -0.10154 L -0.01875 -0.14598 L -0.05035 -0.13487 L -0.05035 -0.1824 L -0.07674 -0.20277 L -0.10278 -0.1571 L -0.08924 -0.13426 L -0.07674 -0.20092 L -0.04966 -0.18117 L -0.02327 -0.19413 L -0.00521 -0.21203 " pathEditMode="relative" rAng="0" ptsTypes="AAAAAAAAAAAAAAAAAAAAAAAAAAAAAAAAAAAAAA">
                                      <p:cBhvr>
                                        <p:cTn id="144" dur="10850" fill="hold"/>
                                        <p:tgtEl>
                                          <p:spTgt spid="907"/>
                                        </p:tgtEl>
                                        <p:attrNameLst>
                                          <p:attrName>ppt_x</p:attrName>
                                          <p:attrName>ppt_y</p:attrName>
                                        </p:attrNameLst>
                                      </p:cBhvr>
                                      <p:rCtr x="-3073" y="-12623"/>
                                    </p:animMotion>
                                  </p:childTnLst>
                                </p:cTn>
                              </p:par>
                              <p:par>
                                <p:cTn id="145" presetID="0" presetClass="path" presetSubtype="0" repeatCount="indefinite" fill="hold" grpId="0" nodeType="withEffect">
                                  <p:stCondLst>
                                    <p:cond delay="4000"/>
                                  </p:stCondLst>
                                  <p:childTnLst>
                                    <p:animMotion origin="layout" path="M 0.00034 0.00031 L -0.01181 -0.04352 L -0.0441 -0.06697 L -0.0507 -0.04352 L -0.07605 -0.07747 L -0.11424 -0.08858 L -0.12743 -0.14722 L -0.08889 -0.13426 L -0.05 -0.13487 L -0.03091 -0.09969 L -0.01841 -0.14722 L -0.00452 -0.10031 L -0.01285 -0.04475 L 0.02639 -0.04228 L -0.00452 -0.10216 L 0.01423 -0.11327 L 0.03333 -0.15833 L 0.06666 -0.11203 L 0.05347 -0.05401 L 0.04027 -0.11265 L 0.04548 -0.18426 L 0.06632 -0.20401 C 0.06614 -0.22006 0.06597 -0.23611 0.06597 -0.25216 L 0.04652 -0.22561 L 0.02187 -0.20277 L 0.03333 -0.15463 L 0.01423 -0.11203 L -0.00556 -0.10154 L -0.01875 -0.14598 L -0.05035 -0.13487 L -0.05035 -0.1824 L -0.07674 -0.20277 L -0.10278 -0.1571 L -0.08924 -0.13426 L -0.07674 -0.20092 L -0.04966 -0.18117 L -0.02327 -0.19413 L -0.00521 -0.21203 " pathEditMode="relative" rAng="0" ptsTypes="AAAAAAAAAAAAAAAAAAAAAAAAAAAAAAAAAAAAAA">
                                      <p:cBhvr>
                                        <p:cTn id="146" dur="10000" fill="hold"/>
                                        <p:tgtEl>
                                          <p:spTgt spid="908"/>
                                        </p:tgtEl>
                                        <p:attrNameLst>
                                          <p:attrName>ppt_x</p:attrName>
                                          <p:attrName>ppt_y</p:attrName>
                                        </p:attrNameLst>
                                      </p:cBhvr>
                                      <p:rCtr x="-3073" y="-126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7" grpId="0" animBg="1"/>
      <p:bldP spid="17" grpId="1" animBg="1"/>
      <p:bldP spid="881" grpId="0" animBg="1"/>
      <p:bldP spid="881" grpId="1" animBg="1"/>
      <p:bldP spid="883" grpId="0" animBg="1"/>
      <p:bldP spid="883" grpId="1" animBg="1"/>
      <p:bldP spid="882" grpId="0" animBg="1"/>
      <p:bldP spid="882" grpId="1" animBg="1"/>
      <p:bldP spid="887" grpId="0" animBg="1"/>
      <p:bldP spid="887" grpId="1" animBg="1"/>
      <p:bldP spid="890" grpId="0" animBg="1"/>
      <p:bldP spid="890" grpId="1" animBg="1"/>
      <p:bldP spid="891" grpId="0" animBg="1"/>
      <p:bldP spid="891" grpId="1" animBg="1"/>
      <p:bldP spid="893" grpId="0" animBg="1"/>
      <p:bldP spid="893" grpId="1" animBg="1"/>
      <p:bldP spid="894" grpId="0" animBg="1"/>
      <p:bldP spid="894" grpId="1" animBg="1"/>
      <p:bldP spid="898" grpId="0" animBg="1"/>
      <p:bldP spid="898" grpId="1" animBg="1"/>
      <p:bldP spid="899" grpId="0" animBg="1"/>
      <p:bldP spid="899" grpId="1" animBg="1"/>
      <p:bldP spid="900" grpId="0" animBg="1"/>
      <p:bldP spid="900" grpId="1" animBg="1"/>
      <p:bldP spid="901" grpId="0" animBg="1"/>
      <p:bldP spid="901" grpId="1" animBg="1"/>
      <p:bldP spid="902" grpId="0" animBg="1"/>
      <p:bldP spid="902" grpId="1" animBg="1"/>
      <p:bldP spid="903" grpId="0" animBg="1"/>
      <p:bldP spid="903" grpId="1" animBg="1"/>
      <p:bldP spid="904" grpId="0" animBg="1"/>
      <p:bldP spid="904" grpId="1" animBg="1"/>
      <p:bldP spid="905" grpId="0" animBg="1"/>
      <p:bldP spid="905" grpId="1" animBg="1"/>
      <p:bldP spid="907" grpId="0" animBg="1"/>
      <p:bldP spid="907" grpId="1" animBg="1"/>
      <p:bldP spid="908" grpId="0" animBg="1"/>
      <p:bldP spid="908" grpId="1" animBg="1"/>
      <p:bldP spid="1669" grpId="0" animBg="1"/>
      <p:bldP spid="1669" grpId="1" animBg="1"/>
      <p:bldP spid="1669" grpId="2" animBg="1"/>
      <p:bldP spid="1220" grpId="0" animBg="1"/>
      <p:bldP spid="1220" grpId="1" animBg="1"/>
      <p:bldP spid="1220" grpId="2"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Oval 124">
            <a:extLst>
              <a:ext uri="{FF2B5EF4-FFF2-40B4-BE49-F238E27FC236}">
                <a16:creationId xmlns:a16="http://schemas.microsoft.com/office/drawing/2014/main" id="{1BEF3ED6-9296-49BD-BE1A-23DF9C4E678E}"/>
              </a:ext>
            </a:extLst>
          </p:cNvPr>
          <p:cNvSpPr/>
          <p:nvPr/>
        </p:nvSpPr>
        <p:spPr>
          <a:xfrm>
            <a:off x="6820335" y="4536521"/>
            <a:ext cx="1620863" cy="1620863"/>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4" name="Oval 123">
            <a:extLst>
              <a:ext uri="{FF2B5EF4-FFF2-40B4-BE49-F238E27FC236}">
                <a16:creationId xmlns:a16="http://schemas.microsoft.com/office/drawing/2014/main" id="{07CBDD80-5D7D-40E7-B49F-9BFE64D8BB17}"/>
              </a:ext>
            </a:extLst>
          </p:cNvPr>
          <p:cNvSpPr/>
          <p:nvPr/>
        </p:nvSpPr>
        <p:spPr>
          <a:xfrm>
            <a:off x="4697320" y="-797741"/>
            <a:ext cx="1435670" cy="1435670"/>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3" name="Oval 122">
            <a:extLst>
              <a:ext uri="{FF2B5EF4-FFF2-40B4-BE49-F238E27FC236}">
                <a16:creationId xmlns:a16="http://schemas.microsoft.com/office/drawing/2014/main" id="{DDCB8364-5292-44CB-A446-AE1781E75F3B}"/>
              </a:ext>
            </a:extLst>
          </p:cNvPr>
          <p:cNvSpPr/>
          <p:nvPr/>
        </p:nvSpPr>
        <p:spPr>
          <a:xfrm>
            <a:off x="4895532" y="4216123"/>
            <a:ext cx="730082" cy="730082"/>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2" name="Oval 121">
            <a:extLst>
              <a:ext uri="{FF2B5EF4-FFF2-40B4-BE49-F238E27FC236}">
                <a16:creationId xmlns:a16="http://schemas.microsoft.com/office/drawing/2014/main" id="{FCE026EA-4B58-45F1-9AA3-CBBAB381B247}"/>
              </a:ext>
            </a:extLst>
          </p:cNvPr>
          <p:cNvSpPr/>
          <p:nvPr/>
        </p:nvSpPr>
        <p:spPr>
          <a:xfrm>
            <a:off x="-774933" y="-1260280"/>
            <a:ext cx="1922736" cy="1922736"/>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1" name="Oval 120">
            <a:extLst>
              <a:ext uri="{FF2B5EF4-FFF2-40B4-BE49-F238E27FC236}">
                <a16:creationId xmlns:a16="http://schemas.microsoft.com/office/drawing/2014/main" id="{EC1EDE89-E453-4522-83DB-4897BFF7C8F9}"/>
              </a:ext>
            </a:extLst>
          </p:cNvPr>
          <p:cNvSpPr/>
          <p:nvPr/>
        </p:nvSpPr>
        <p:spPr>
          <a:xfrm>
            <a:off x="321949" y="3102264"/>
            <a:ext cx="429224" cy="429224"/>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0" name="Oval 119">
            <a:extLst>
              <a:ext uri="{FF2B5EF4-FFF2-40B4-BE49-F238E27FC236}">
                <a16:creationId xmlns:a16="http://schemas.microsoft.com/office/drawing/2014/main" id="{F384E88D-A191-48E3-9FD6-BC98EB14F978}"/>
              </a:ext>
            </a:extLst>
          </p:cNvPr>
          <p:cNvSpPr/>
          <p:nvPr/>
        </p:nvSpPr>
        <p:spPr>
          <a:xfrm>
            <a:off x="8452506" y="3819096"/>
            <a:ext cx="429224" cy="429224"/>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9" name="Oval 118">
            <a:extLst>
              <a:ext uri="{FF2B5EF4-FFF2-40B4-BE49-F238E27FC236}">
                <a16:creationId xmlns:a16="http://schemas.microsoft.com/office/drawing/2014/main" id="{C7898E4B-282F-44F1-B5E6-79F427E028C8}"/>
              </a:ext>
            </a:extLst>
          </p:cNvPr>
          <p:cNvSpPr/>
          <p:nvPr/>
        </p:nvSpPr>
        <p:spPr>
          <a:xfrm>
            <a:off x="8412373" y="-13359"/>
            <a:ext cx="815522" cy="815522"/>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8" name="Oval 117">
            <a:extLst>
              <a:ext uri="{FF2B5EF4-FFF2-40B4-BE49-F238E27FC236}">
                <a16:creationId xmlns:a16="http://schemas.microsoft.com/office/drawing/2014/main" id="{E85C3714-63D2-45A9-9DD9-8D20E5D3398D}"/>
              </a:ext>
            </a:extLst>
          </p:cNvPr>
          <p:cNvSpPr/>
          <p:nvPr/>
        </p:nvSpPr>
        <p:spPr>
          <a:xfrm>
            <a:off x="1200061" y="1203703"/>
            <a:ext cx="1247904" cy="1247904"/>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7" name="Oval 116">
            <a:extLst>
              <a:ext uri="{FF2B5EF4-FFF2-40B4-BE49-F238E27FC236}">
                <a16:creationId xmlns:a16="http://schemas.microsoft.com/office/drawing/2014/main" id="{CB617890-7E9A-464D-99F3-450678DF2B1C}"/>
              </a:ext>
            </a:extLst>
          </p:cNvPr>
          <p:cNvSpPr/>
          <p:nvPr/>
        </p:nvSpPr>
        <p:spPr>
          <a:xfrm>
            <a:off x="2733337" y="3450819"/>
            <a:ext cx="543658" cy="543658"/>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6" name="Oval 115">
            <a:extLst>
              <a:ext uri="{FF2B5EF4-FFF2-40B4-BE49-F238E27FC236}">
                <a16:creationId xmlns:a16="http://schemas.microsoft.com/office/drawing/2014/main" id="{7AD8AF1B-10FC-46FF-8C0E-FF9876840162}"/>
              </a:ext>
            </a:extLst>
          </p:cNvPr>
          <p:cNvSpPr/>
          <p:nvPr/>
        </p:nvSpPr>
        <p:spPr>
          <a:xfrm>
            <a:off x="6444221" y="1715226"/>
            <a:ext cx="948038" cy="948038"/>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08" name="Group 107">
            <a:extLst>
              <a:ext uri="{FF2B5EF4-FFF2-40B4-BE49-F238E27FC236}">
                <a16:creationId xmlns:a16="http://schemas.microsoft.com/office/drawing/2014/main" id="{280D1B77-52B4-44F4-93BC-721C4152D4B7}"/>
              </a:ext>
            </a:extLst>
          </p:cNvPr>
          <p:cNvGrpSpPr/>
          <p:nvPr/>
        </p:nvGrpSpPr>
        <p:grpSpPr>
          <a:xfrm>
            <a:off x="343591" y="-84461"/>
            <a:ext cx="8634268" cy="5170394"/>
            <a:chOff x="343591" y="-84461"/>
            <a:chExt cx="8634268" cy="5170394"/>
          </a:xfrm>
        </p:grpSpPr>
        <p:cxnSp>
          <p:nvCxnSpPr>
            <p:cNvPr id="60" name="Straight Connector 59">
              <a:extLst>
                <a:ext uri="{FF2B5EF4-FFF2-40B4-BE49-F238E27FC236}">
                  <a16:creationId xmlns:a16="http://schemas.microsoft.com/office/drawing/2014/main" id="{8FB2D629-321C-46F4-AE83-DBCFBE5581A3}"/>
                </a:ext>
              </a:extLst>
            </p:cNvPr>
            <p:cNvCxnSpPr>
              <a:cxnSpLocks/>
            </p:cNvCxnSpPr>
            <p:nvPr/>
          </p:nvCxnSpPr>
          <p:spPr>
            <a:xfrm flipH="1" flipV="1">
              <a:off x="3177300" y="857242"/>
              <a:ext cx="1394702" cy="1714508"/>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BF3D1AB-4DDE-47C5-A77A-8A57780BCA88}"/>
                </a:ext>
              </a:extLst>
            </p:cNvPr>
            <p:cNvCxnSpPr/>
            <p:nvPr/>
          </p:nvCxnSpPr>
          <p:spPr>
            <a:xfrm flipH="1">
              <a:off x="3020071" y="2571750"/>
              <a:ext cx="1551929" cy="229072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01A110F-6901-41DD-8111-6549E0DF7007}"/>
                </a:ext>
              </a:extLst>
            </p:cNvPr>
            <p:cNvCxnSpPr>
              <a:cxnSpLocks/>
            </p:cNvCxnSpPr>
            <p:nvPr/>
          </p:nvCxnSpPr>
          <p:spPr>
            <a:xfrm flipH="1">
              <a:off x="2086588" y="2571749"/>
              <a:ext cx="2485412" cy="504994"/>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867E33-BFC6-4B23-BDF4-4314F139B4ED}"/>
                </a:ext>
              </a:extLst>
            </p:cNvPr>
            <p:cNvCxnSpPr>
              <a:cxnSpLocks/>
            </p:cNvCxnSpPr>
            <p:nvPr/>
          </p:nvCxnSpPr>
          <p:spPr>
            <a:xfrm flipH="1" flipV="1">
              <a:off x="3079204" y="2536995"/>
              <a:ext cx="1519910" cy="34755"/>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1C3A75C-2C41-4616-A820-30D000F068D3}"/>
                </a:ext>
              </a:extLst>
            </p:cNvPr>
            <p:cNvCxnSpPr/>
            <p:nvPr/>
          </p:nvCxnSpPr>
          <p:spPr>
            <a:xfrm flipH="1">
              <a:off x="4572000" y="1192098"/>
              <a:ext cx="650759" cy="1379652"/>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F635AEF-5A08-4A49-9478-A432D75A3383}"/>
                </a:ext>
              </a:extLst>
            </p:cNvPr>
            <p:cNvCxnSpPr/>
            <p:nvPr/>
          </p:nvCxnSpPr>
          <p:spPr>
            <a:xfrm flipH="1">
              <a:off x="4572000" y="1855024"/>
              <a:ext cx="1943451" cy="716726"/>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21364D8-54D9-4BEF-AF3F-372A3BD015A6}"/>
                </a:ext>
              </a:extLst>
            </p:cNvPr>
            <p:cNvCxnSpPr/>
            <p:nvPr/>
          </p:nvCxnSpPr>
          <p:spPr>
            <a:xfrm flipH="1">
              <a:off x="4572000" y="165271"/>
              <a:ext cx="159413" cy="2389101"/>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3AED4953-B8FF-4E52-8D0C-1C3580F43507}"/>
                </a:ext>
              </a:extLst>
            </p:cNvPr>
            <p:cNvCxnSpPr/>
            <p:nvPr/>
          </p:nvCxnSpPr>
          <p:spPr>
            <a:xfrm flipH="1">
              <a:off x="4572000" y="296538"/>
              <a:ext cx="2207394" cy="2275212"/>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FE18A97-E5C5-401B-B32F-B4A8A74C06F2}"/>
                </a:ext>
              </a:extLst>
            </p:cNvPr>
            <p:cNvCxnSpPr>
              <a:cxnSpLocks/>
            </p:cNvCxnSpPr>
            <p:nvPr/>
          </p:nvCxnSpPr>
          <p:spPr>
            <a:xfrm flipH="1">
              <a:off x="4571999" y="1065534"/>
              <a:ext cx="2853931" cy="149970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65E5DE5-7E90-4999-B92C-7616A3D022DC}"/>
                </a:ext>
              </a:extLst>
            </p:cNvPr>
            <p:cNvCxnSpPr>
              <a:cxnSpLocks/>
            </p:cNvCxnSpPr>
            <p:nvPr/>
          </p:nvCxnSpPr>
          <p:spPr>
            <a:xfrm flipH="1">
              <a:off x="4572000" y="1282629"/>
              <a:ext cx="4405859" cy="1282605"/>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CB0B35C-B6F0-49A7-9CAD-6D0C31A1D8B9}"/>
                </a:ext>
              </a:extLst>
            </p:cNvPr>
            <p:cNvCxnSpPr/>
            <p:nvPr/>
          </p:nvCxnSpPr>
          <p:spPr>
            <a:xfrm flipH="1" flipV="1">
              <a:off x="4571999" y="2571750"/>
              <a:ext cx="3133458" cy="80010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07FA748-701C-41ED-B7B3-8D84AE1E8A22}"/>
                </a:ext>
              </a:extLst>
            </p:cNvPr>
            <p:cNvCxnSpPr>
              <a:cxnSpLocks/>
            </p:cNvCxnSpPr>
            <p:nvPr/>
          </p:nvCxnSpPr>
          <p:spPr>
            <a:xfrm flipH="1" flipV="1">
              <a:off x="4562519" y="2574658"/>
              <a:ext cx="1731692" cy="1112056"/>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71CC376-4FB5-4918-887A-200FD4F67508}"/>
                </a:ext>
              </a:extLst>
            </p:cNvPr>
            <p:cNvCxnSpPr>
              <a:cxnSpLocks/>
            </p:cNvCxnSpPr>
            <p:nvPr/>
          </p:nvCxnSpPr>
          <p:spPr>
            <a:xfrm flipH="1" flipV="1">
              <a:off x="4572001" y="2571750"/>
              <a:ext cx="3880505" cy="209466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66EFAD5-369B-4487-971F-13C8E2E8FD43}"/>
                </a:ext>
              </a:extLst>
            </p:cNvPr>
            <p:cNvCxnSpPr/>
            <p:nvPr/>
          </p:nvCxnSpPr>
          <p:spPr>
            <a:xfrm flipH="1" flipV="1">
              <a:off x="4572000" y="2571750"/>
              <a:ext cx="2281503" cy="2514183"/>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112FE90-557B-4B13-A127-A4DA8E36F5B1}"/>
                </a:ext>
              </a:extLst>
            </p:cNvPr>
            <p:cNvCxnSpPr/>
            <p:nvPr/>
          </p:nvCxnSpPr>
          <p:spPr>
            <a:xfrm flipH="1" flipV="1">
              <a:off x="4562519" y="2565234"/>
              <a:ext cx="884481" cy="1628835"/>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164E693-7390-40F5-BCB6-D8B1AE9A89E2}"/>
                </a:ext>
              </a:extLst>
            </p:cNvPr>
            <p:cNvCxnSpPr/>
            <p:nvPr/>
          </p:nvCxnSpPr>
          <p:spPr>
            <a:xfrm flipV="1">
              <a:off x="519019" y="2574658"/>
              <a:ext cx="4043500" cy="1515276"/>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5C668B1-DF35-4579-8F8E-8F0081A442B9}"/>
                </a:ext>
              </a:extLst>
            </p:cNvPr>
            <p:cNvCxnSpPr/>
            <p:nvPr/>
          </p:nvCxnSpPr>
          <p:spPr>
            <a:xfrm>
              <a:off x="343591" y="2172481"/>
              <a:ext cx="4218928" cy="402177"/>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6A142D5-5FBD-496C-9141-3AA843B621E4}"/>
                </a:ext>
              </a:extLst>
            </p:cNvPr>
            <p:cNvCxnSpPr/>
            <p:nvPr/>
          </p:nvCxnSpPr>
          <p:spPr>
            <a:xfrm>
              <a:off x="1089239" y="1580530"/>
              <a:ext cx="3482761" cy="994128"/>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C3F4BD4-DDAA-4B26-A871-332A8BC80C47}"/>
                </a:ext>
              </a:extLst>
            </p:cNvPr>
            <p:cNvCxnSpPr>
              <a:cxnSpLocks/>
            </p:cNvCxnSpPr>
            <p:nvPr/>
          </p:nvCxnSpPr>
          <p:spPr>
            <a:xfrm>
              <a:off x="454282" y="599792"/>
              <a:ext cx="4124527" cy="1971958"/>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FD2682AD-EA20-4274-9D7E-970D80B5D80D}"/>
                </a:ext>
              </a:extLst>
            </p:cNvPr>
            <p:cNvCxnSpPr/>
            <p:nvPr/>
          </p:nvCxnSpPr>
          <p:spPr>
            <a:xfrm>
              <a:off x="1363733" y="-84461"/>
              <a:ext cx="3198786" cy="2659119"/>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3" name="Oval 2">
            <a:extLst>
              <a:ext uri="{FF2B5EF4-FFF2-40B4-BE49-F238E27FC236}">
                <a16:creationId xmlns:a16="http://schemas.microsoft.com/office/drawing/2014/main" id="{88D516C0-9D4D-4543-A209-BABAEF9C3255}"/>
              </a:ext>
            </a:extLst>
          </p:cNvPr>
          <p:cNvSpPr/>
          <p:nvPr/>
        </p:nvSpPr>
        <p:spPr>
          <a:xfrm>
            <a:off x="2540769" y="208231"/>
            <a:ext cx="1247904" cy="1247904"/>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 name="Oval 3">
            <a:extLst>
              <a:ext uri="{FF2B5EF4-FFF2-40B4-BE49-F238E27FC236}">
                <a16:creationId xmlns:a16="http://schemas.microsoft.com/office/drawing/2014/main" id="{66E60436-C0D3-493B-81AE-A22C68274E72}"/>
              </a:ext>
            </a:extLst>
          </p:cNvPr>
          <p:cNvSpPr/>
          <p:nvPr/>
        </p:nvSpPr>
        <p:spPr>
          <a:xfrm>
            <a:off x="1791480" y="2781636"/>
            <a:ext cx="590214" cy="590214"/>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 name="Oval 4">
            <a:extLst>
              <a:ext uri="{FF2B5EF4-FFF2-40B4-BE49-F238E27FC236}">
                <a16:creationId xmlns:a16="http://schemas.microsoft.com/office/drawing/2014/main" id="{0A43E736-135B-4C78-BA42-C2C6C2070235}"/>
              </a:ext>
            </a:extLst>
          </p:cNvPr>
          <p:cNvSpPr/>
          <p:nvPr/>
        </p:nvSpPr>
        <p:spPr>
          <a:xfrm>
            <a:off x="7093714" y="2746342"/>
            <a:ext cx="1223486" cy="1223486"/>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 name="Oval 5">
            <a:extLst>
              <a:ext uri="{FF2B5EF4-FFF2-40B4-BE49-F238E27FC236}">
                <a16:creationId xmlns:a16="http://schemas.microsoft.com/office/drawing/2014/main" id="{1EE9214C-FB40-4676-8809-0F61304FE453}"/>
              </a:ext>
            </a:extLst>
          </p:cNvPr>
          <p:cNvSpPr/>
          <p:nvPr/>
        </p:nvSpPr>
        <p:spPr>
          <a:xfrm>
            <a:off x="-114030" y="3442503"/>
            <a:ext cx="1294862" cy="1294862"/>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 name="Oval 6">
            <a:extLst>
              <a:ext uri="{FF2B5EF4-FFF2-40B4-BE49-F238E27FC236}">
                <a16:creationId xmlns:a16="http://schemas.microsoft.com/office/drawing/2014/main" id="{80C50C97-0D0D-4627-A859-4EE5B6F19475}"/>
              </a:ext>
            </a:extLst>
          </p:cNvPr>
          <p:cNvSpPr/>
          <p:nvPr/>
        </p:nvSpPr>
        <p:spPr>
          <a:xfrm>
            <a:off x="5222759" y="3969828"/>
            <a:ext cx="448483" cy="448483"/>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 name="Oval 7">
            <a:extLst>
              <a:ext uri="{FF2B5EF4-FFF2-40B4-BE49-F238E27FC236}">
                <a16:creationId xmlns:a16="http://schemas.microsoft.com/office/drawing/2014/main" id="{90D1C0CE-F6D0-470D-AE71-99838D2637EC}"/>
              </a:ext>
            </a:extLst>
          </p:cNvPr>
          <p:cNvSpPr/>
          <p:nvPr/>
        </p:nvSpPr>
        <p:spPr>
          <a:xfrm>
            <a:off x="6251508" y="1591081"/>
            <a:ext cx="527887" cy="527887"/>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9" name="Oval 8">
            <a:extLst>
              <a:ext uri="{FF2B5EF4-FFF2-40B4-BE49-F238E27FC236}">
                <a16:creationId xmlns:a16="http://schemas.microsoft.com/office/drawing/2014/main" id="{FB3F2C12-ED02-40ED-B24C-6073F51404C7}"/>
              </a:ext>
            </a:extLst>
          </p:cNvPr>
          <p:cNvSpPr/>
          <p:nvPr/>
        </p:nvSpPr>
        <p:spPr>
          <a:xfrm>
            <a:off x="8120102" y="403454"/>
            <a:ext cx="1715514" cy="1715514"/>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 name="Oval 9">
            <a:extLst>
              <a:ext uri="{FF2B5EF4-FFF2-40B4-BE49-F238E27FC236}">
                <a16:creationId xmlns:a16="http://schemas.microsoft.com/office/drawing/2014/main" id="{D8A6B6C2-39C8-45BE-9AD3-BDF99C5AA8F2}"/>
              </a:ext>
            </a:extLst>
          </p:cNvPr>
          <p:cNvSpPr/>
          <p:nvPr/>
        </p:nvSpPr>
        <p:spPr>
          <a:xfrm>
            <a:off x="5093287" y="1062626"/>
            <a:ext cx="258945" cy="258945"/>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 name="Oval 10">
            <a:extLst>
              <a:ext uri="{FF2B5EF4-FFF2-40B4-BE49-F238E27FC236}">
                <a16:creationId xmlns:a16="http://schemas.microsoft.com/office/drawing/2014/main" id="{11187520-FC3C-4929-8548-E1A65C518832}"/>
              </a:ext>
            </a:extLst>
          </p:cNvPr>
          <p:cNvSpPr/>
          <p:nvPr/>
        </p:nvSpPr>
        <p:spPr>
          <a:xfrm>
            <a:off x="6301883" y="-180975"/>
            <a:ext cx="955023" cy="955027"/>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 name="Oval 11">
            <a:extLst>
              <a:ext uri="{FF2B5EF4-FFF2-40B4-BE49-F238E27FC236}">
                <a16:creationId xmlns:a16="http://schemas.microsoft.com/office/drawing/2014/main" id="{2545E7C5-67F8-4925-9232-A388F52A4358}"/>
              </a:ext>
            </a:extLst>
          </p:cNvPr>
          <p:cNvSpPr/>
          <p:nvPr/>
        </p:nvSpPr>
        <p:spPr>
          <a:xfrm>
            <a:off x="6402878" y="4635307"/>
            <a:ext cx="901250" cy="901252"/>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 name="Oval 13">
            <a:extLst>
              <a:ext uri="{FF2B5EF4-FFF2-40B4-BE49-F238E27FC236}">
                <a16:creationId xmlns:a16="http://schemas.microsoft.com/office/drawing/2014/main" id="{B9A35D9F-4C90-4A63-B518-316D0B6D9D79}"/>
              </a:ext>
            </a:extLst>
          </p:cNvPr>
          <p:cNvSpPr/>
          <p:nvPr/>
        </p:nvSpPr>
        <p:spPr>
          <a:xfrm>
            <a:off x="814745" y="1306036"/>
            <a:ext cx="548988" cy="548988"/>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 name="Oval 14">
            <a:extLst>
              <a:ext uri="{FF2B5EF4-FFF2-40B4-BE49-F238E27FC236}">
                <a16:creationId xmlns:a16="http://schemas.microsoft.com/office/drawing/2014/main" id="{CBC1F54A-7D52-435A-84FE-45F1A787EDD5}"/>
              </a:ext>
            </a:extLst>
          </p:cNvPr>
          <p:cNvSpPr/>
          <p:nvPr/>
        </p:nvSpPr>
        <p:spPr>
          <a:xfrm>
            <a:off x="1926119" y="3766395"/>
            <a:ext cx="2192150" cy="2192150"/>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6" name="Oval 15">
            <a:extLst>
              <a:ext uri="{FF2B5EF4-FFF2-40B4-BE49-F238E27FC236}">
                <a16:creationId xmlns:a16="http://schemas.microsoft.com/office/drawing/2014/main" id="{928C84B0-4390-4568-8A3B-12C490BBEB40}"/>
              </a:ext>
            </a:extLst>
          </p:cNvPr>
          <p:cNvSpPr/>
          <p:nvPr/>
        </p:nvSpPr>
        <p:spPr>
          <a:xfrm>
            <a:off x="731627" y="-716570"/>
            <a:ext cx="1264212" cy="1264218"/>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 name="Oval 16">
            <a:extLst>
              <a:ext uri="{FF2B5EF4-FFF2-40B4-BE49-F238E27FC236}">
                <a16:creationId xmlns:a16="http://schemas.microsoft.com/office/drawing/2014/main" id="{39B13A82-AC3B-454B-948A-FDC23FF1ECDC}"/>
              </a:ext>
            </a:extLst>
          </p:cNvPr>
          <p:cNvSpPr/>
          <p:nvPr/>
        </p:nvSpPr>
        <p:spPr>
          <a:xfrm>
            <a:off x="214119" y="2043009"/>
            <a:ext cx="258945" cy="258945"/>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 name="Oval 17">
            <a:extLst>
              <a:ext uri="{FF2B5EF4-FFF2-40B4-BE49-F238E27FC236}">
                <a16:creationId xmlns:a16="http://schemas.microsoft.com/office/drawing/2014/main" id="{10545E09-5B0E-4286-BDCE-E8DBF6BBFAED}"/>
              </a:ext>
            </a:extLst>
          </p:cNvPr>
          <p:cNvSpPr/>
          <p:nvPr/>
        </p:nvSpPr>
        <p:spPr>
          <a:xfrm>
            <a:off x="3020071" y="2472258"/>
            <a:ext cx="129473" cy="129473"/>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9" name="Oval 18">
            <a:extLst>
              <a:ext uri="{FF2B5EF4-FFF2-40B4-BE49-F238E27FC236}">
                <a16:creationId xmlns:a16="http://schemas.microsoft.com/office/drawing/2014/main" id="{800729A4-BB97-4152-9610-E7E296274BA5}"/>
              </a:ext>
            </a:extLst>
          </p:cNvPr>
          <p:cNvSpPr/>
          <p:nvPr/>
        </p:nvSpPr>
        <p:spPr>
          <a:xfrm>
            <a:off x="4481681" y="-84461"/>
            <a:ext cx="499465" cy="499465"/>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0" name="Oval 19">
            <a:extLst>
              <a:ext uri="{FF2B5EF4-FFF2-40B4-BE49-F238E27FC236}">
                <a16:creationId xmlns:a16="http://schemas.microsoft.com/office/drawing/2014/main" id="{19D144D8-FCAB-4EC6-A292-E9669CBE696A}"/>
              </a:ext>
            </a:extLst>
          </p:cNvPr>
          <p:cNvSpPr/>
          <p:nvPr/>
        </p:nvSpPr>
        <p:spPr>
          <a:xfrm>
            <a:off x="8323034" y="4536938"/>
            <a:ext cx="258945" cy="258945"/>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1" name="Oval 20">
            <a:extLst>
              <a:ext uri="{FF2B5EF4-FFF2-40B4-BE49-F238E27FC236}">
                <a16:creationId xmlns:a16="http://schemas.microsoft.com/office/drawing/2014/main" id="{ED1835DF-E76C-41E1-A59B-DD6B31090F7C}"/>
              </a:ext>
            </a:extLst>
          </p:cNvPr>
          <p:cNvSpPr/>
          <p:nvPr/>
        </p:nvSpPr>
        <p:spPr>
          <a:xfrm>
            <a:off x="6237146" y="3629648"/>
            <a:ext cx="129473" cy="129473"/>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2" name="Oval 21">
            <a:extLst>
              <a:ext uri="{FF2B5EF4-FFF2-40B4-BE49-F238E27FC236}">
                <a16:creationId xmlns:a16="http://schemas.microsoft.com/office/drawing/2014/main" id="{13B0D07F-8029-43DC-858F-362CD49B3003}"/>
              </a:ext>
            </a:extLst>
          </p:cNvPr>
          <p:cNvSpPr/>
          <p:nvPr/>
        </p:nvSpPr>
        <p:spPr>
          <a:xfrm>
            <a:off x="7368865" y="997889"/>
            <a:ext cx="129473" cy="129473"/>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3" name="Oval 22">
            <a:extLst>
              <a:ext uri="{FF2B5EF4-FFF2-40B4-BE49-F238E27FC236}">
                <a16:creationId xmlns:a16="http://schemas.microsoft.com/office/drawing/2014/main" id="{A598B61E-9B22-4853-A899-6CE3C01C7F2A}"/>
              </a:ext>
            </a:extLst>
          </p:cNvPr>
          <p:cNvSpPr/>
          <p:nvPr/>
        </p:nvSpPr>
        <p:spPr>
          <a:xfrm>
            <a:off x="389546" y="538123"/>
            <a:ext cx="129473" cy="129473"/>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 name="Oval 1">
            <a:extLst>
              <a:ext uri="{FF2B5EF4-FFF2-40B4-BE49-F238E27FC236}">
                <a16:creationId xmlns:a16="http://schemas.microsoft.com/office/drawing/2014/main" id="{A163DE21-B707-4B55-9179-AB4C3BC62F92}"/>
              </a:ext>
            </a:extLst>
          </p:cNvPr>
          <p:cNvSpPr/>
          <p:nvPr/>
        </p:nvSpPr>
        <p:spPr>
          <a:xfrm>
            <a:off x="3404445" y="1404195"/>
            <a:ext cx="2335110" cy="233511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12" name="Group 111">
            <a:extLst>
              <a:ext uri="{FF2B5EF4-FFF2-40B4-BE49-F238E27FC236}">
                <a16:creationId xmlns:a16="http://schemas.microsoft.com/office/drawing/2014/main" id="{F47F552C-E72C-499F-A50B-A6D86876CF08}"/>
              </a:ext>
            </a:extLst>
          </p:cNvPr>
          <p:cNvGrpSpPr/>
          <p:nvPr/>
        </p:nvGrpSpPr>
        <p:grpSpPr>
          <a:xfrm>
            <a:off x="3464165" y="2092440"/>
            <a:ext cx="2215670" cy="958620"/>
            <a:chOff x="3503395" y="-1165007"/>
            <a:chExt cx="2215670" cy="958620"/>
          </a:xfrm>
        </p:grpSpPr>
        <p:sp>
          <p:nvSpPr>
            <p:cNvPr id="113" name="TextBox 112">
              <a:extLst>
                <a:ext uri="{FF2B5EF4-FFF2-40B4-BE49-F238E27FC236}">
                  <a16:creationId xmlns:a16="http://schemas.microsoft.com/office/drawing/2014/main" id="{48A155D4-D04F-4FB4-AD51-0C360A5EDF7F}"/>
                </a:ext>
              </a:extLst>
            </p:cNvPr>
            <p:cNvSpPr txBox="1"/>
            <p:nvPr/>
          </p:nvSpPr>
          <p:spPr>
            <a:xfrm>
              <a:off x="3852849" y="-1165007"/>
              <a:ext cx="1516762" cy="307777"/>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cs typeface="+mn-cs"/>
                </a:rPr>
                <a:t>There is Nothing</a:t>
              </a:r>
            </a:p>
          </p:txBody>
        </p:sp>
        <p:sp>
          <p:nvSpPr>
            <p:cNvPr id="114" name="TextBox 113">
              <a:extLst>
                <a:ext uri="{FF2B5EF4-FFF2-40B4-BE49-F238E27FC236}">
                  <a16:creationId xmlns:a16="http://schemas.microsoft.com/office/drawing/2014/main" id="{114E0093-B5BD-427F-A0FC-8E8DA403871D}"/>
                </a:ext>
              </a:extLst>
            </p:cNvPr>
            <p:cNvSpPr txBox="1"/>
            <p:nvPr/>
          </p:nvSpPr>
          <p:spPr>
            <a:xfrm>
              <a:off x="3503395" y="-920670"/>
              <a:ext cx="2215670" cy="46166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srgbClr val="005073"/>
                  </a:solidFill>
                  <a:effectLst/>
                  <a:uLnTx/>
                  <a:uFillTx/>
                  <a:latin typeface="CiscoSansTT" panose="020B0503020201020303" pitchFamily="34" charset="0"/>
                  <a:ea typeface="ＭＳ Ｐゴシック" charset="0"/>
                  <a:cs typeface="CiscoSansTT" panose="020B0503020201020303" pitchFamily="34" charset="0"/>
                </a:rPr>
                <a:t>“CENTER-ED”</a:t>
              </a:r>
            </a:p>
          </p:txBody>
        </p:sp>
        <p:sp>
          <p:nvSpPr>
            <p:cNvPr id="115" name="TextBox 114">
              <a:extLst>
                <a:ext uri="{FF2B5EF4-FFF2-40B4-BE49-F238E27FC236}">
                  <a16:creationId xmlns:a16="http://schemas.microsoft.com/office/drawing/2014/main" id="{243B40A0-9480-4209-B5FB-357A65FEE6D1}"/>
                </a:ext>
              </a:extLst>
            </p:cNvPr>
            <p:cNvSpPr txBox="1"/>
            <p:nvPr/>
          </p:nvSpPr>
          <p:spPr>
            <a:xfrm>
              <a:off x="3678122" y="-514164"/>
              <a:ext cx="1866216" cy="307777"/>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cs typeface="+mn-cs"/>
                </a:rPr>
                <a:t>About Data Anymore</a:t>
              </a:r>
            </a:p>
          </p:txBody>
        </p:sp>
      </p:grpSp>
    </p:spTree>
    <p:extLst>
      <p:ext uri="{BB962C8B-B14F-4D97-AF65-F5344CB8AC3E}">
        <p14:creationId xmlns:p14="http://schemas.microsoft.com/office/powerpoint/2010/main" val="1019207001"/>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withEffect">
                                  <p:stCondLst>
                                    <p:cond delay="1500"/>
                                  </p:stCondLst>
                                  <p:childTnLst>
                                    <p:animClr clrSpc="rgb" dir="cw">
                                      <p:cBhvr override="childStyle">
                                        <p:cTn id="6" dur="1000" fill="hold"/>
                                        <p:tgtEl>
                                          <p:spTgt spid="6"/>
                                        </p:tgtEl>
                                        <p:attrNameLst>
                                          <p:attrName>style.color</p:attrName>
                                        </p:attrNameLst>
                                      </p:cBhvr>
                                      <p:to>
                                        <a:schemeClr val="accent1"/>
                                      </p:to>
                                    </p:animClr>
                                    <p:animClr clrSpc="rgb" dir="cw">
                                      <p:cBhvr>
                                        <p:cTn id="7" dur="1000" fill="hold"/>
                                        <p:tgtEl>
                                          <p:spTgt spid="6"/>
                                        </p:tgtEl>
                                        <p:attrNameLst>
                                          <p:attrName>fillcolor</p:attrName>
                                        </p:attrNameLst>
                                      </p:cBhvr>
                                      <p:to>
                                        <a:schemeClr val="accent1"/>
                                      </p:to>
                                    </p:animClr>
                                    <p:set>
                                      <p:cBhvr>
                                        <p:cTn id="8" dur="1000" fill="hold"/>
                                        <p:tgtEl>
                                          <p:spTgt spid="6"/>
                                        </p:tgtEl>
                                        <p:attrNameLst>
                                          <p:attrName>fill.type</p:attrName>
                                        </p:attrNameLst>
                                      </p:cBhvr>
                                      <p:to>
                                        <p:strVal val="solid"/>
                                      </p:to>
                                    </p:set>
                                    <p:set>
                                      <p:cBhvr>
                                        <p:cTn id="9" dur="1000" fill="hold"/>
                                        <p:tgtEl>
                                          <p:spTgt spid="6"/>
                                        </p:tgtEl>
                                        <p:attrNameLst>
                                          <p:attrName>fill.on</p:attrName>
                                        </p:attrNameLst>
                                      </p:cBhvr>
                                      <p:to>
                                        <p:strVal val="true"/>
                                      </p:to>
                                    </p:set>
                                  </p:childTnLst>
                                </p:cTn>
                              </p:par>
                              <p:par>
                                <p:cTn id="10" presetID="19" presetClass="emph" presetSubtype="0" fill="hold" grpId="0" nodeType="withEffect">
                                  <p:stCondLst>
                                    <p:cond delay="600"/>
                                  </p:stCondLst>
                                  <p:childTnLst>
                                    <p:animClr clrSpc="rgb" dir="cw">
                                      <p:cBhvr override="childStyle">
                                        <p:cTn id="11" dur="1000" fill="hold"/>
                                        <p:tgtEl>
                                          <p:spTgt spid="4"/>
                                        </p:tgtEl>
                                        <p:attrNameLst>
                                          <p:attrName>style.color</p:attrName>
                                        </p:attrNameLst>
                                      </p:cBhvr>
                                      <p:to>
                                        <a:schemeClr val="accent1"/>
                                      </p:to>
                                    </p:animClr>
                                    <p:animClr clrSpc="rgb" dir="cw">
                                      <p:cBhvr>
                                        <p:cTn id="12" dur="1000" fill="hold"/>
                                        <p:tgtEl>
                                          <p:spTgt spid="4"/>
                                        </p:tgtEl>
                                        <p:attrNameLst>
                                          <p:attrName>fillcolor</p:attrName>
                                        </p:attrNameLst>
                                      </p:cBhvr>
                                      <p:to>
                                        <a:schemeClr val="accent1"/>
                                      </p:to>
                                    </p:animClr>
                                    <p:set>
                                      <p:cBhvr>
                                        <p:cTn id="13" dur="1000" fill="hold"/>
                                        <p:tgtEl>
                                          <p:spTgt spid="4"/>
                                        </p:tgtEl>
                                        <p:attrNameLst>
                                          <p:attrName>fill.type</p:attrName>
                                        </p:attrNameLst>
                                      </p:cBhvr>
                                      <p:to>
                                        <p:strVal val="solid"/>
                                      </p:to>
                                    </p:set>
                                    <p:set>
                                      <p:cBhvr>
                                        <p:cTn id="14" dur="1000" fill="hold"/>
                                        <p:tgtEl>
                                          <p:spTgt spid="4"/>
                                        </p:tgtEl>
                                        <p:attrNameLst>
                                          <p:attrName>fill.on</p:attrName>
                                        </p:attrNameLst>
                                      </p:cBhvr>
                                      <p:to>
                                        <p:strVal val="true"/>
                                      </p:to>
                                    </p:set>
                                  </p:childTnLst>
                                </p:cTn>
                              </p:par>
                              <p:par>
                                <p:cTn id="15" presetID="19" presetClass="emph" presetSubtype="0" fill="hold" grpId="0" nodeType="withEffect">
                                  <p:stCondLst>
                                    <p:cond delay="800"/>
                                  </p:stCondLst>
                                  <p:childTnLst>
                                    <p:animClr clrSpc="rgb" dir="cw">
                                      <p:cBhvr override="childStyle">
                                        <p:cTn id="16" dur="1000" fill="hold"/>
                                        <p:tgtEl>
                                          <p:spTgt spid="12"/>
                                        </p:tgtEl>
                                        <p:attrNameLst>
                                          <p:attrName>style.color</p:attrName>
                                        </p:attrNameLst>
                                      </p:cBhvr>
                                      <p:to>
                                        <a:schemeClr val="accent1"/>
                                      </p:to>
                                    </p:animClr>
                                    <p:animClr clrSpc="rgb" dir="cw">
                                      <p:cBhvr>
                                        <p:cTn id="17" dur="1000" fill="hold"/>
                                        <p:tgtEl>
                                          <p:spTgt spid="12"/>
                                        </p:tgtEl>
                                        <p:attrNameLst>
                                          <p:attrName>fillcolor</p:attrName>
                                        </p:attrNameLst>
                                      </p:cBhvr>
                                      <p:to>
                                        <a:schemeClr val="accent1"/>
                                      </p:to>
                                    </p:animClr>
                                    <p:set>
                                      <p:cBhvr>
                                        <p:cTn id="18" dur="1000" fill="hold"/>
                                        <p:tgtEl>
                                          <p:spTgt spid="12"/>
                                        </p:tgtEl>
                                        <p:attrNameLst>
                                          <p:attrName>fill.type</p:attrName>
                                        </p:attrNameLst>
                                      </p:cBhvr>
                                      <p:to>
                                        <p:strVal val="solid"/>
                                      </p:to>
                                    </p:set>
                                    <p:set>
                                      <p:cBhvr>
                                        <p:cTn id="19" dur="1000" fill="hold"/>
                                        <p:tgtEl>
                                          <p:spTgt spid="12"/>
                                        </p:tgtEl>
                                        <p:attrNameLst>
                                          <p:attrName>fill.on</p:attrName>
                                        </p:attrNameLst>
                                      </p:cBhvr>
                                      <p:to>
                                        <p:strVal val="true"/>
                                      </p:to>
                                    </p:set>
                                  </p:childTnLst>
                                </p:cTn>
                              </p:par>
                              <p:par>
                                <p:cTn id="20" presetID="19" presetClass="emph" presetSubtype="0" fill="hold" grpId="0" nodeType="withEffect">
                                  <p:stCondLst>
                                    <p:cond delay="1500"/>
                                  </p:stCondLst>
                                  <p:childTnLst>
                                    <p:animClr clrSpc="rgb" dir="cw">
                                      <p:cBhvr override="childStyle">
                                        <p:cTn id="21" dur="1000" fill="hold"/>
                                        <p:tgtEl>
                                          <p:spTgt spid="11"/>
                                        </p:tgtEl>
                                        <p:attrNameLst>
                                          <p:attrName>style.color</p:attrName>
                                        </p:attrNameLst>
                                      </p:cBhvr>
                                      <p:to>
                                        <a:schemeClr val="accent1"/>
                                      </p:to>
                                    </p:animClr>
                                    <p:animClr clrSpc="rgb" dir="cw">
                                      <p:cBhvr>
                                        <p:cTn id="22" dur="1000" fill="hold"/>
                                        <p:tgtEl>
                                          <p:spTgt spid="11"/>
                                        </p:tgtEl>
                                        <p:attrNameLst>
                                          <p:attrName>fillcolor</p:attrName>
                                        </p:attrNameLst>
                                      </p:cBhvr>
                                      <p:to>
                                        <a:schemeClr val="accent1"/>
                                      </p:to>
                                    </p:animClr>
                                    <p:set>
                                      <p:cBhvr>
                                        <p:cTn id="23" dur="1000" fill="hold"/>
                                        <p:tgtEl>
                                          <p:spTgt spid="11"/>
                                        </p:tgtEl>
                                        <p:attrNameLst>
                                          <p:attrName>fill.type</p:attrName>
                                        </p:attrNameLst>
                                      </p:cBhvr>
                                      <p:to>
                                        <p:strVal val="solid"/>
                                      </p:to>
                                    </p:set>
                                    <p:set>
                                      <p:cBhvr>
                                        <p:cTn id="24" dur="1000" fill="hold"/>
                                        <p:tgtEl>
                                          <p:spTgt spid="11"/>
                                        </p:tgtEl>
                                        <p:attrNameLst>
                                          <p:attrName>fill.on</p:attrName>
                                        </p:attrNameLst>
                                      </p:cBhvr>
                                      <p:to>
                                        <p:strVal val="true"/>
                                      </p:to>
                                    </p:set>
                                  </p:childTnLst>
                                </p:cTn>
                              </p:par>
                              <p:par>
                                <p:cTn id="25" presetID="19" presetClass="emph" presetSubtype="0" fill="hold" grpId="0" nodeType="withEffect">
                                  <p:stCondLst>
                                    <p:cond delay="900"/>
                                  </p:stCondLst>
                                  <p:childTnLst>
                                    <p:animClr clrSpc="rgb" dir="cw">
                                      <p:cBhvr override="childStyle">
                                        <p:cTn id="26" dur="1000" fill="hold"/>
                                        <p:tgtEl>
                                          <p:spTgt spid="9"/>
                                        </p:tgtEl>
                                        <p:attrNameLst>
                                          <p:attrName>style.color</p:attrName>
                                        </p:attrNameLst>
                                      </p:cBhvr>
                                      <p:to>
                                        <a:schemeClr val="accent1"/>
                                      </p:to>
                                    </p:animClr>
                                    <p:animClr clrSpc="rgb" dir="cw">
                                      <p:cBhvr>
                                        <p:cTn id="27" dur="1000" fill="hold"/>
                                        <p:tgtEl>
                                          <p:spTgt spid="9"/>
                                        </p:tgtEl>
                                        <p:attrNameLst>
                                          <p:attrName>fillcolor</p:attrName>
                                        </p:attrNameLst>
                                      </p:cBhvr>
                                      <p:to>
                                        <a:schemeClr val="accent1"/>
                                      </p:to>
                                    </p:animClr>
                                    <p:set>
                                      <p:cBhvr>
                                        <p:cTn id="28" dur="1000" fill="hold"/>
                                        <p:tgtEl>
                                          <p:spTgt spid="9"/>
                                        </p:tgtEl>
                                        <p:attrNameLst>
                                          <p:attrName>fill.type</p:attrName>
                                        </p:attrNameLst>
                                      </p:cBhvr>
                                      <p:to>
                                        <p:strVal val="solid"/>
                                      </p:to>
                                    </p:set>
                                    <p:set>
                                      <p:cBhvr>
                                        <p:cTn id="29" dur="1000" fill="hold"/>
                                        <p:tgtEl>
                                          <p:spTgt spid="9"/>
                                        </p:tgtEl>
                                        <p:attrNameLst>
                                          <p:attrName>fill.on</p:attrName>
                                        </p:attrNameLst>
                                      </p:cBhvr>
                                      <p:to>
                                        <p:strVal val="true"/>
                                      </p:to>
                                    </p:set>
                                  </p:childTnLst>
                                </p:cTn>
                              </p:par>
                              <p:par>
                                <p:cTn id="30" presetID="19" presetClass="emph" presetSubtype="0" fill="hold" grpId="0" nodeType="withEffect">
                                  <p:stCondLst>
                                    <p:cond delay="1250"/>
                                  </p:stCondLst>
                                  <p:childTnLst>
                                    <p:animClr clrSpc="rgb" dir="cw">
                                      <p:cBhvr override="childStyle">
                                        <p:cTn id="31" dur="1000" fill="hold"/>
                                        <p:tgtEl>
                                          <p:spTgt spid="5"/>
                                        </p:tgtEl>
                                        <p:attrNameLst>
                                          <p:attrName>style.color</p:attrName>
                                        </p:attrNameLst>
                                      </p:cBhvr>
                                      <p:to>
                                        <a:schemeClr val="accent1"/>
                                      </p:to>
                                    </p:animClr>
                                    <p:animClr clrSpc="rgb" dir="cw">
                                      <p:cBhvr>
                                        <p:cTn id="32" dur="1000" fill="hold"/>
                                        <p:tgtEl>
                                          <p:spTgt spid="5"/>
                                        </p:tgtEl>
                                        <p:attrNameLst>
                                          <p:attrName>fillcolor</p:attrName>
                                        </p:attrNameLst>
                                      </p:cBhvr>
                                      <p:to>
                                        <a:schemeClr val="accent1"/>
                                      </p:to>
                                    </p:animClr>
                                    <p:set>
                                      <p:cBhvr>
                                        <p:cTn id="33" dur="1000" fill="hold"/>
                                        <p:tgtEl>
                                          <p:spTgt spid="5"/>
                                        </p:tgtEl>
                                        <p:attrNameLst>
                                          <p:attrName>fill.type</p:attrName>
                                        </p:attrNameLst>
                                      </p:cBhvr>
                                      <p:to>
                                        <p:strVal val="solid"/>
                                      </p:to>
                                    </p:set>
                                    <p:set>
                                      <p:cBhvr>
                                        <p:cTn id="34" dur="1000" fill="hold"/>
                                        <p:tgtEl>
                                          <p:spTgt spid="5"/>
                                        </p:tgtEl>
                                        <p:attrNameLst>
                                          <p:attrName>fill.on</p:attrName>
                                        </p:attrNameLst>
                                      </p:cBhvr>
                                      <p:to>
                                        <p:strVal val="true"/>
                                      </p:to>
                                    </p:set>
                                  </p:childTnLst>
                                </p:cTn>
                              </p:par>
                              <p:par>
                                <p:cTn id="35" presetID="19" presetClass="emph" presetSubtype="0" fill="hold" grpId="0" nodeType="withEffect">
                                  <p:stCondLst>
                                    <p:cond delay="1500"/>
                                  </p:stCondLst>
                                  <p:childTnLst>
                                    <p:animClr clrSpc="rgb" dir="cw">
                                      <p:cBhvr override="childStyle">
                                        <p:cTn id="36" dur="1000" fill="hold"/>
                                        <p:tgtEl>
                                          <p:spTgt spid="16"/>
                                        </p:tgtEl>
                                        <p:attrNameLst>
                                          <p:attrName>style.color</p:attrName>
                                        </p:attrNameLst>
                                      </p:cBhvr>
                                      <p:to>
                                        <a:schemeClr val="accent1"/>
                                      </p:to>
                                    </p:animClr>
                                    <p:animClr clrSpc="rgb" dir="cw">
                                      <p:cBhvr>
                                        <p:cTn id="37" dur="1000" fill="hold"/>
                                        <p:tgtEl>
                                          <p:spTgt spid="16"/>
                                        </p:tgtEl>
                                        <p:attrNameLst>
                                          <p:attrName>fillcolor</p:attrName>
                                        </p:attrNameLst>
                                      </p:cBhvr>
                                      <p:to>
                                        <a:schemeClr val="accent1"/>
                                      </p:to>
                                    </p:animClr>
                                    <p:set>
                                      <p:cBhvr>
                                        <p:cTn id="38" dur="1000" fill="hold"/>
                                        <p:tgtEl>
                                          <p:spTgt spid="16"/>
                                        </p:tgtEl>
                                        <p:attrNameLst>
                                          <p:attrName>fill.type</p:attrName>
                                        </p:attrNameLst>
                                      </p:cBhvr>
                                      <p:to>
                                        <p:strVal val="solid"/>
                                      </p:to>
                                    </p:set>
                                    <p:set>
                                      <p:cBhvr>
                                        <p:cTn id="39" dur="1000" fill="hold"/>
                                        <p:tgtEl>
                                          <p:spTgt spid="16"/>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9" grpId="0" animBg="1"/>
      <p:bldP spid="11" grpId="0" animBg="1"/>
      <p:bldP spid="12" grpId="0" animBg="1"/>
      <p:bldP spid="1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Oval 124">
            <a:extLst>
              <a:ext uri="{FF2B5EF4-FFF2-40B4-BE49-F238E27FC236}">
                <a16:creationId xmlns:a16="http://schemas.microsoft.com/office/drawing/2014/main" id="{1BEF3ED6-9296-49BD-BE1A-23DF9C4E678E}"/>
              </a:ext>
            </a:extLst>
          </p:cNvPr>
          <p:cNvSpPr/>
          <p:nvPr/>
        </p:nvSpPr>
        <p:spPr>
          <a:xfrm>
            <a:off x="6820335" y="4536521"/>
            <a:ext cx="1620863" cy="1620863"/>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4" name="Oval 123">
            <a:extLst>
              <a:ext uri="{FF2B5EF4-FFF2-40B4-BE49-F238E27FC236}">
                <a16:creationId xmlns:a16="http://schemas.microsoft.com/office/drawing/2014/main" id="{07CBDD80-5D7D-40E7-B49F-9BFE64D8BB17}"/>
              </a:ext>
            </a:extLst>
          </p:cNvPr>
          <p:cNvSpPr/>
          <p:nvPr/>
        </p:nvSpPr>
        <p:spPr>
          <a:xfrm>
            <a:off x="4697320" y="-797741"/>
            <a:ext cx="1435670" cy="1435670"/>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3" name="Oval 122">
            <a:extLst>
              <a:ext uri="{FF2B5EF4-FFF2-40B4-BE49-F238E27FC236}">
                <a16:creationId xmlns:a16="http://schemas.microsoft.com/office/drawing/2014/main" id="{DDCB8364-5292-44CB-A446-AE1781E75F3B}"/>
              </a:ext>
            </a:extLst>
          </p:cNvPr>
          <p:cNvSpPr/>
          <p:nvPr/>
        </p:nvSpPr>
        <p:spPr>
          <a:xfrm>
            <a:off x="4895532" y="4216123"/>
            <a:ext cx="730082" cy="730082"/>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2" name="Oval 121">
            <a:extLst>
              <a:ext uri="{FF2B5EF4-FFF2-40B4-BE49-F238E27FC236}">
                <a16:creationId xmlns:a16="http://schemas.microsoft.com/office/drawing/2014/main" id="{FCE026EA-4B58-45F1-9AA3-CBBAB381B247}"/>
              </a:ext>
            </a:extLst>
          </p:cNvPr>
          <p:cNvSpPr/>
          <p:nvPr/>
        </p:nvSpPr>
        <p:spPr>
          <a:xfrm>
            <a:off x="-774933" y="-1260280"/>
            <a:ext cx="1922736" cy="1922736"/>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1" name="Oval 120">
            <a:extLst>
              <a:ext uri="{FF2B5EF4-FFF2-40B4-BE49-F238E27FC236}">
                <a16:creationId xmlns:a16="http://schemas.microsoft.com/office/drawing/2014/main" id="{EC1EDE89-E453-4522-83DB-4897BFF7C8F9}"/>
              </a:ext>
            </a:extLst>
          </p:cNvPr>
          <p:cNvSpPr/>
          <p:nvPr/>
        </p:nvSpPr>
        <p:spPr>
          <a:xfrm>
            <a:off x="321949" y="3102264"/>
            <a:ext cx="429224" cy="429224"/>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0" name="Oval 119">
            <a:extLst>
              <a:ext uri="{FF2B5EF4-FFF2-40B4-BE49-F238E27FC236}">
                <a16:creationId xmlns:a16="http://schemas.microsoft.com/office/drawing/2014/main" id="{F384E88D-A191-48E3-9FD6-BC98EB14F978}"/>
              </a:ext>
            </a:extLst>
          </p:cNvPr>
          <p:cNvSpPr/>
          <p:nvPr/>
        </p:nvSpPr>
        <p:spPr>
          <a:xfrm>
            <a:off x="8452506" y="3819096"/>
            <a:ext cx="429224" cy="429224"/>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9" name="Oval 118">
            <a:extLst>
              <a:ext uri="{FF2B5EF4-FFF2-40B4-BE49-F238E27FC236}">
                <a16:creationId xmlns:a16="http://schemas.microsoft.com/office/drawing/2014/main" id="{C7898E4B-282F-44F1-B5E6-79F427E028C8}"/>
              </a:ext>
            </a:extLst>
          </p:cNvPr>
          <p:cNvSpPr/>
          <p:nvPr/>
        </p:nvSpPr>
        <p:spPr>
          <a:xfrm>
            <a:off x="8412373" y="-13359"/>
            <a:ext cx="815522" cy="815522"/>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8" name="Oval 117">
            <a:extLst>
              <a:ext uri="{FF2B5EF4-FFF2-40B4-BE49-F238E27FC236}">
                <a16:creationId xmlns:a16="http://schemas.microsoft.com/office/drawing/2014/main" id="{E85C3714-63D2-45A9-9DD9-8D20E5D3398D}"/>
              </a:ext>
            </a:extLst>
          </p:cNvPr>
          <p:cNvSpPr/>
          <p:nvPr/>
        </p:nvSpPr>
        <p:spPr>
          <a:xfrm>
            <a:off x="1200061" y="1203703"/>
            <a:ext cx="1247904" cy="1247904"/>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7" name="Oval 116">
            <a:extLst>
              <a:ext uri="{FF2B5EF4-FFF2-40B4-BE49-F238E27FC236}">
                <a16:creationId xmlns:a16="http://schemas.microsoft.com/office/drawing/2014/main" id="{CB617890-7E9A-464D-99F3-450678DF2B1C}"/>
              </a:ext>
            </a:extLst>
          </p:cNvPr>
          <p:cNvSpPr/>
          <p:nvPr/>
        </p:nvSpPr>
        <p:spPr>
          <a:xfrm>
            <a:off x="2733337" y="3450819"/>
            <a:ext cx="543658" cy="543658"/>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6" name="Oval 115">
            <a:extLst>
              <a:ext uri="{FF2B5EF4-FFF2-40B4-BE49-F238E27FC236}">
                <a16:creationId xmlns:a16="http://schemas.microsoft.com/office/drawing/2014/main" id="{7AD8AF1B-10FC-46FF-8C0E-FF9876840162}"/>
              </a:ext>
            </a:extLst>
          </p:cNvPr>
          <p:cNvSpPr/>
          <p:nvPr/>
        </p:nvSpPr>
        <p:spPr>
          <a:xfrm>
            <a:off x="6444221" y="1715226"/>
            <a:ext cx="948038" cy="948038"/>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cxnSp>
        <p:nvCxnSpPr>
          <p:cNvPr id="60" name="Straight Connector 59">
            <a:extLst>
              <a:ext uri="{FF2B5EF4-FFF2-40B4-BE49-F238E27FC236}">
                <a16:creationId xmlns:a16="http://schemas.microsoft.com/office/drawing/2014/main" id="{8FB2D629-321C-46F4-AE83-DBCFBE5581A3}"/>
              </a:ext>
            </a:extLst>
          </p:cNvPr>
          <p:cNvCxnSpPr>
            <a:cxnSpLocks/>
          </p:cNvCxnSpPr>
          <p:nvPr/>
        </p:nvCxnSpPr>
        <p:spPr>
          <a:xfrm flipH="1" flipV="1">
            <a:off x="3177300" y="857242"/>
            <a:ext cx="1394702" cy="1714508"/>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BF3D1AB-4DDE-47C5-A77A-8A57780BCA88}"/>
              </a:ext>
            </a:extLst>
          </p:cNvPr>
          <p:cNvCxnSpPr/>
          <p:nvPr/>
        </p:nvCxnSpPr>
        <p:spPr>
          <a:xfrm flipH="1">
            <a:off x="3020071" y="2571750"/>
            <a:ext cx="1551929" cy="229072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01A110F-6901-41DD-8111-6549E0DF7007}"/>
              </a:ext>
            </a:extLst>
          </p:cNvPr>
          <p:cNvCxnSpPr>
            <a:cxnSpLocks/>
          </p:cNvCxnSpPr>
          <p:nvPr/>
        </p:nvCxnSpPr>
        <p:spPr>
          <a:xfrm flipH="1">
            <a:off x="2086588" y="2571749"/>
            <a:ext cx="2485412" cy="504994"/>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867E33-BFC6-4B23-BDF4-4314F139B4ED}"/>
              </a:ext>
            </a:extLst>
          </p:cNvPr>
          <p:cNvCxnSpPr>
            <a:cxnSpLocks/>
          </p:cNvCxnSpPr>
          <p:nvPr/>
        </p:nvCxnSpPr>
        <p:spPr>
          <a:xfrm flipH="1" flipV="1">
            <a:off x="3079204" y="2536995"/>
            <a:ext cx="1519910" cy="34755"/>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1C3A75C-2C41-4616-A820-30D000F068D3}"/>
              </a:ext>
            </a:extLst>
          </p:cNvPr>
          <p:cNvCxnSpPr/>
          <p:nvPr/>
        </p:nvCxnSpPr>
        <p:spPr>
          <a:xfrm flipH="1">
            <a:off x="4572000" y="1192098"/>
            <a:ext cx="650759" cy="1379652"/>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F635AEF-5A08-4A49-9478-A432D75A3383}"/>
              </a:ext>
            </a:extLst>
          </p:cNvPr>
          <p:cNvCxnSpPr/>
          <p:nvPr/>
        </p:nvCxnSpPr>
        <p:spPr>
          <a:xfrm flipH="1">
            <a:off x="4572000" y="1855024"/>
            <a:ext cx="1943451" cy="716726"/>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21364D8-54D9-4BEF-AF3F-372A3BD015A6}"/>
              </a:ext>
            </a:extLst>
          </p:cNvPr>
          <p:cNvCxnSpPr/>
          <p:nvPr/>
        </p:nvCxnSpPr>
        <p:spPr>
          <a:xfrm flipH="1">
            <a:off x="4572000" y="165271"/>
            <a:ext cx="159413" cy="2389101"/>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3AED4953-B8FF-4E52-8D0C-1C3580F43507}"/>
              </a:ext>
            </a:extLst>
          </p:cNvPr>
          <p:cNvCxnSpPr/>
          <p:nvPr/>
        </p:nvCxnSpPr>
        <p:spPr>
          <a:xfrm flipH="1">
            <a:off x="4572000" y="296538"/>
            <a:ext cx="2207394" cy="2275212"/>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FE18A97-E5C5-401B-B32F-B4A8A74C06F2}"/>
              </a:ext>
            </a:extLst>
          </p:cNvPr>
          <p:cNvCxnSpPr>
            <a:cxnSpLocks/>
          </p:cNvCxnSpPr>
          <p:nvPr/>
        </p:nvCxnSpPr>
        <p:spPr>
          <a:xfrm flipH="1">
            <a:off x="4571999" y="1065534"/>
            <a:ext cx="2853931" cy="149970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65E5DE5-7E90-4999-B92C-7616A3D022DC}"/>
              </a:ext>
            </a:extLst>
          </p:cNvPr>
          <p:cNvCxnSpPr>
            <a:cxnSpLocks/>
          </p:cNvCxnSpPr>
          <p:nvPr/>
        </p:nvCxnSpPr>
        <p:spPr>
          <a:xfrm flipH="1">
            <a:off x="4572000" y="1282629"/>
            <a:ext cx="4405859" cy="1282605"/>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CB0B35C-B6F0-49A7-9CAD-6D0C31A1D8B9}"/>
              </a:ext>
            </a:extLst>
          </p:cNvPr>
          <p:cNvCxnSpPr/>
          <p:nvPr/>
        </p:nvCxnSpPr>
        <p:spPr>
          <a:xfrm flipH="1" flipV="1">
            <a:off x="4571999" y="2571750"/>
            <a:ext cx="3133458" cy="80010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07FA748-701C-41ED-B7B3-8D84AE1E8A22}"/>
              </a:ext>
            </a:extLst>
          </p:cNvPr>
          <p:cNvCxnSpPr>
            <a:cxnSpLocks/>
          </p:cNvCxnSpPr>
          <p:nvPr/>
        </p:nvCxnSpPr>
        <p:spPr>
          <a:xfrm flipH="1" flipV="1">
            <a:off x="4562519" y="2574658"/>
            <a:ext cx="1731692" cy="1112056"/>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71CC376-4FB5-4918-887A-200FD4F67508}"/>
              </a:ext>
            </a:extLst>
          </p:cNvPr>
          <p:cNvCxnSpPr>
            <a:cxnSpLocks/>
          </p:cNvCxnSpPr>
          <p:nvPr/>
        </p:nvCxnSpPr>
        <p:spPr>
          <a:xfrm flipH="1" flipV="1">
            <a:off x="4572001" y="2571750"/>
            <a:ext cx="3880505" cy="209466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66EFAD5-369B-4487-971F-13C8E2E8FD43}"/>
              </a:ext>
            </a:extLst>
          </p:cNvPr>
          <p:cNvCxnSpPr/>
          <p:nvPr/>
        </p:nvCxnSpPr>
        <p:spPr>
          <a:xfrm flipH="1" flipV="1">
            <a:off x="4572000" y="2571750"/>
            <a:ext cx="2281503" cy="2514183"/>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112FE90-557B-4B13-A127-A4DA8E36F5B1}"/>
              </a:ext>
            </a:extLst>
          </p:cNvPr>
          <p:cNvCxnSpPr/>
          <p:nvPr/>
        </p:nvCxnSpPr>
        <p:spPr>
          <a:xfrm flipH="1" flipV="1">
            <a:off x="4562519" y="2565234"/>
            <a:ext cx="884481" cy="1628835"/>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164E693-7390-40F5-BCB6-D8B1AE9A89E2}"/>
              </a:ext>
            </a:extLst>
          </p:cNvPr>
          <p:cNvCxnSpPr/>
          <p:nvPr/>
        </p:nvCxnSpPr>
        <p:spPr>
          <a:xfrm flipV="1">
            <a:off x="519019" y="2574658"/>
            <a:ext cx="4043500" cy="1515276"/>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5C668B1-DF35-4579-8F8E-8F0081A442B9}"/>
              </a:ext>
            </a:extLst>
          </p:cNvPr>
          <p:cNvCxnSpPr/>
          <p:nvPr/>
        </p:nvCxnSpPr>
        <p:spPr>
          <a:xfrm>
            <a:off x="343591" y="2172481"/>
            <a:ext cx="4218928" cy="402177"/>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6A142D5-5FBD-496C-9141-3AA843B621E4}"/>
              </a:ext>
            </a:extLst>
          </p:cNvPr>
          <p:cNvCxnSpPr/>
          <p:nvPr/>
        </p:nvCxnSpPr>
        <p:spPr>
          <a:xfrm>
            <a:off x="1089239" y="1580530"/>
            <a:ext cx="3482761" cy="994128"/>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C3F4BD4-DDAA-4B26-A871-332A8BC80C47}"/>
              </a:ext>
            </a:extLst>
          </p:cNvPr>
          <p:cNvCxnSpPr>
            <a:cxnSpLocks/>
          </p:cNvCxnSpPr>
          <p:nvPr/>
        </p:nvCxnSpPr>
        <p:spPr>
          <a:xfrm>
            <a:off x="454282" y="599792"/>
            <a:ext cx="4124527" cy="1971958"/>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FD2682AD-EA20-4274-9D7E-970D80B5D80D}"/>
              </a:ext>
            </a:extLst>
          </p:cNvPr>
          <p:cNvCxnSpPr/>
          <p:nvPr/>
        </p:nvCxnSpPr>
        <p:spPr>
          <a:xfrm>
            <a:off x="1363733" y="-84461"/>
            <a:ext cx="3198786" cy="2659119"/>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88D516C0-9D4D-4543-A209-BABAEF9C3255}"/>
              </a:ext>
            </a:extLst>
          </p:cNvPr>
          <p:cNvSpPr/>
          <p:nvPr/>
        </p:nvSpPr>
        <p:spPr>
          <a:xfrm>
            <a:off x="2540769" y="208231"/>
            <a:ext cx="1247904" cy="1247904"/>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 name="Oval 3">
            <a:extLst>
              <a:ext uri="{FF2B5EF4-FFF2-40B4-BE49-F238E27FC236}">
                <a16:creationId xmlns:a16="http://schemas.microsoft.com/office/drawing/2014/main" id="{66E60436-C0D3-493B-81AE-A22C68274E72}"/>
              </a:ext>
            </a:extLst>
          </p:cNvPr>
          <p:cNvSpPr/>
          <p:nvPr/>
        </p:nvSpPr>
        <p:spPr>
          <a:xfrm>
            <a:off x="1791480" y="2781636"/>
            <a:ext cx="590214" cy="59021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 name="Oval 4">
            <a:extLst>
              <a:ext uri="{FF2B5EF4-FFF2-40B4-BE49-F238E27FC236}">
                <a16:creationId xmlns:a16="http://schemas.microsoft.com/office/drawing/2014/main" id="{0A43E736-135B-4C78-BA42-C2C6C2070235}"/>
              </a:ext>
            </a:extLst>
          </p:cNvPr>
          <p:cNvSpPr/>
          <p:nvPr/>
        </p:nvSpPr>
        <p:spPr>
          <a:xfrm>
            <a:off x="7093714" y="2746342"/>
            <a:ext cx="1223486" cy="122348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 name="Oval 6">
            <a:extLst>
              <a:ext uri="{FF2B5EF4-FFF2-40B4-BE49-F238E27FC236}">
                <a16:creationId xmlns:a16="http://schemas.microsoft.com/office/drawing/2014/main" id="{80C50C97-0D0D-4627-A859-4EE5B6F19475}"/>
              </a:ext>
            </a:extLst>
          </p:cNvPr>
          <p:cNvSpPr/>
          <p:nvPr/>
        </p:nvSpPr>
        <p:spPr>
          <a:xfrm>
            <a:off x="5222759" y="3969828"/>
            <a:ext cx="448483" cy="448483"/>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 name="Oval 7">
            <a:extLst>
              <a:ext uri="{FF2B5EF4-FFF2-40B4-BE49-F238E27FC236}">
                <a16:creationId xmlns:a16="http://schemas.microsoft.com/office/drawing/2014/main" id="{90D1C0CE-F6D0-470D-AE71-99838D2637EC}"/>
              </a:ext>
            </a:extLst>
          </p:cNvPr>
          <p:cNvSpPr/>
          <p:nvPr/>
        </p:nvSpPr>
        <p:spPr>
          <a:xfrm>
            <a:off x="6251508" y="1591081"/>
            <a:ext cx="527887" cy="527887"/>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9" name="Oval 8">
            <a:extLst>
              <a:ext uri="{FF2B5EF4-FFF2-40B4-BE49-F238E27FC236}">
                <a16:creationId xmlns:a16="http://schemas.microsoft.com/office/drawing/2014/main" id="{FB3F2C12-ED02-40ED-B24C-6073F51404C7}"/>
              </a:ext>
            </a:extLst>
          </p:cNvPr>
          <p:cNvSpPr/>
          <p:nvPr/>
        </p:nvSpPr>
        <p:spPr>
          <a:xfrm>
            <a:off x="8120102" y="403454"/>
            <a:ext cx="1715514" cy="171551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 name="Oval 9">
            <a:extLst>
              <a:ext uri="{FF2B5EF4-FFF2-40B4-BE49-F238E27FC236}">
                <a16:creationId xmlns:a16="http://schemas.microsoft.com/office/drawing/2014/main" id="{D8A6B6C2-39C8-45BE-9AD3-BDF99C5AA8F2}"/>
              </a:ext>
            </a:extLst>
          </p:cNvPr>
          <p:cNvSpPr/>
          <p:nvPr/>
        </p:nvSpPr>
        <p:spPr>
          <a:xfrm>
            <a:off x="5093287" y="1062626"/>
            <a:ext cx="258945" cy="258945"/>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 name="Oval 10">
            <a:extLst>
              <a:ext uri="{FF2B5EF4-FFF2-40B4-BE49-F238E27FC236}">
                <a16:creationId xmlns:a16="http://schemas.microsoft.com/office/drawing/2014/main" id="{11187520-FC3C-4929-8548-E1A65C518832}"/>
              </a:ext>
            </a:extLst>
          </p:cNvPr>
          <p:cNvSpPr/>
          <p:nvPr/>
        </p:nvSpPr>
        <p:spPr>
          <a:xfrm>
            <a:off x="6301883" y="-180975"/>
            <a:ext cx="955023" cy="955027"/>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 name="Oval 11">
            <a:extLst>
              <a:ext uri="{FF2B5EF4-FFF2-40B4-BE49-F238E27FC236}">
                <a16:creationId xmlns:a16="http://schemas.microsoft.com/office/drawing/2014/main" id="{2545E7C5-67F8-4925-9232-A388F52A4358}"/>
              </a:ext>
            </a:extLst>
          </p:cNvPr>
          <p:cNvSpPr/>
          <p:nvPr/>
        </p:nvSpPr>
        <p:spPr>
          <a:xfrm>
            <a:off x="6402878" y="4635307"/>
            <a:ext cx="901250" cy="90125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 name="Oval 13">
            <a:extLst>
              <a:ext uri="{FF2B5EF4-FFF2-40B4-BE49-F238E27FC236}">
                <a16:creationId xmlns:a16="http://schemas.microsoft.com/office/drawing/2014/main" id="{B9A35D9F-4C90-4A63-B518-316D0B6D9D79}"/>
              </a:ext>
            </a:extLst>
          </p:cNvPr>
          <p:cNvSpPr/>
          <p:nvPr/>
        </p:nvSpPr>
        <p:spPr>
          <a:xfrm>
            <a:off x="814745" y="1306036"/>
            <a:ext cx="548988" cy="548988"/>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5" name="Oval 14">
            <a:extLst>
              <a:ext uri="{FF2B5EF4-FFF2-40B4-BE49-F238E27FC236}">
                <a16:creationId xmlns:a16="http://schemas.microsoft.com/office/drawing/2014/main" id="{CBC1F54A-7D52-435A-84FE-45F1A787EDD5}"/>
              </a:ext>
            </a:extLst>
          </p:cNvPr>
          <p:cNvSpPr/>
          <p:nvPr/>
        </p:nvSpPr>
        <p:spPr>
          <a:xfrm>
            <a:off x="1926119" y="3766395"/>
            <a:ext cx="2192150" cy="2192150"/>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 name="Oval 16">
            <a:extLst>
              <a:ext uri="{FF2B5EF4-FFF2-40B4-BE49-F238E27FC236}">
                <a16:creationId xmlns:a16="http://schemas.microsoft.com/office/drawing/2014/main" id="{39B13A82-AC3B-454B-948A-FDC23FF1ECDC}"/>
              </a:ext>
            </a:extLst>
          </p:cNvPr>
          <p:cNvSpPr/>
          <p:nvPr/>
        </p:nvSpPr>
        <p:spPr>
          <a:xfrm>
            <a:off x="214119" y="2043009"/>
            <a:ext cx="258945" cy="258945"/>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8" name="Oval 17">
            <a:extLst>
              <a:ext uri="{FF2B5EF4-FFF2-40B4-BE49-F238E27FC236}">
                <a16:creationId xmlns:a16="http://schemas.microsoft.com/office/drawing/2014/main" id="{10545E09-5B0E-4286-BDCE-E8DBF6BBFAED}"/>
              </a:ext>
            </a:extLst>
          </p:cNvPr>
          <p:cNvSpPr/>
          <p:nvPr/>
        </p:nvSpPr>
        <p:spPr>
          <a:xfrm>
            <a:off x="3020071" y="2472258"/>
            <a:ext cx="129473" cy="129473"/>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9" name="Oval 18">
            <a:extLst>
              <a:ext uri="{FF2B5EF4-FFF2-40B4-BE49-F238E27FC236}">
                <a16:creationId xmlns:a16="http://schemas.microsoft.com/office/drawing/2014/main" id="{800729A4-BB97-4152-9610-E7E296274BA5}"/>
              </a:ext>
            </a:extLst>
          </p:cNvPr>
          <p:cNvSpPr/>
          <p:nvPr/>
        </p:nvSpPr>
        <p:spPr>
          <a:xfrm>
            <a:off x="4481681" y="-84461"/>
            <a:ext cx="499465" cy="499465"/>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0" name="Oval 19">
            <a:extLst>
              <a:ext uri="{FF2B5EF4-FFF2-40B4-BE49-F238E27FC236}">
                <a16:creationId xmlns:a16="http://schemas.microsoft.com/office/drawing/2014/main" id="{19D144D8-FCAB-4EC6-A292-E9669CBE696A}"/>
              </a:ext>
            </a:extLst>
          </p:cNvPr>
          <p:cNvSpPr/>
          <p:nvPr/>
        </p:nvSpPr>
        <p:spPr>
          <a:xfrm>
            <a:off x="8323034" y="4536938"/>
            <a:ext cx="258945" cy="258945"/>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1" name="Oval 20">
            <a:extLst>
              <a:ext uri="{FF2B5EF4-FFF2-40B4-BE49-F238E27FC236}">
                <a16:creationId xmlns:a16="http://schemas.microsoft.com/office/drawing/2014/main" id="{ED1835DF-E76C-41E1-A59B-DD6B31090F7C}"/>
              </a:ext>
            </a:extLst>
          </p:cNvPr>
          <p:cNvSpPr/>
          <p:nvPr/>
        </p:nvSpPr>
        <p:spPr>
          <a:xfrm>
            <a:off x="6237146" y="3629648"/>
            <a:ext cx="129473" cy="129473"/>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2" name="Oval 21">
            <a:extLst>
              <a:ext uri="{FF2B5EF4-FFF2-40B4-BE49-F238E27FC236}">
                <a16:creationId xmlns:a16="http://schemas.microsoft.com/office/drawing/2014/main" id="{13B0D07F-8029-43DC-858F-362CD49B3003}"/>
              </a:ext>
            </a:extLst>
          </p:cNvPr>
          <p:cNvSpPr/>
          <p:nvPr/>
        </p:nvSpPr>
        <p:spPr>
          <a:xfrm>
            <a:off x="7368865" y="997889"/>
            <a:ext cx="129473" cy="129473"/>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3" name="Oval 22">
            <a:extLst>
              <a:ext uri="{FF2B5EF4-FFF2-40B4-BE49-F238E27FC236}">
                <a16:creationId xmlns:a16="http://schemas.microsoft.com/office/drawing/2014/main" id="{A598B61E-9B22-4853-A899-6CE3C01C7F2A}"/>
              </a:ext>
            </a:extLst>
          </p:cNvPr>
          <p:cNvSpPr/>
          <p:nvPr/>
        </p:nvSpPr>
        <p:spPr>
          <a:xfrm>
            <a:off x="389546" y="538123"/>
            <a:ext cx="129473" cy="129473"/>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13" name="Picture 12">
            <a:extLst>
              <a:ext uri="{FF2B5EF4-FFF2-40B4-BE49-F238E27FC236}">
                <a16:creationId xmlns:a16="http://schemas.microsoft.com/office/drawing/2014/main" id="{ACACE1EE-444E-43F7-90D0-04D5DFB1CED2}"/>
              </a:ext>
            </a:extLst>
          </p:cNvPr>
          <p:cNvPicPr>
            <a:picLocks noChangeAspect="1"/>
          </p:cNvPicPr>
          <p:nvPr/>
        </p:nvPicPr>
        <p:blipFill>
          <a:blip r:embed="rId3"/>
          <a:stretch>
            <a:fillRect/>
          </a:stretch>
        </p:blipFill>
        <p:spPr>
          <a:xfrm>
            <a:off x="3788594" y="1594875"/>
            <a:ext cx="591502" cy="594360"/>
          </a:xfrm>
          <a:prstGeom prst="rect">
            <a:avLst/>
          </a:prstGeom>
        </p:spPr>
      </p:pic>
      <p:sp>
        <p:nvSpPr>
          <p:cNvPr id="63" name="Oval 62">
            <a:extLst>
              <a:ext uri="{FF2B5EF4-FFF2-40B4-BE49-F238E27FC236}">
                <a16:creationId xmlns:a16="http://schemas.microsoft.com/office/drawing/2014/main" id="{A413D7D3-1139-4258-AC90-73DED44D7DB6}"/>
              </a:ext>
            </a:extLst>
          </p:cNvPr>
          <p:cNvSpPr/>
          <p:nvPr/>
        </p:nvSpPr>
        <p:spPr>
          <a:xfrm>
            <a:off x="731627" y="-716570"/>
            <a:ext cx="1264212" cy="126421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 name="Oval 5">
            <a:extLst>
              <a:ext uri="{FF2B5EF4-FFF2-40B4-BE49-F238E27FC236}">
                <a16:creationId xmlns:a16="http://schemas.microsoft.com/office/drawing/2014/main" id="{1EE9214C-FB40-4676-8809-0F61304FE453}"/>
              </a:ext>
            </a:extLst>
          </p:cNvPr>
          <p:cNvSpPr/>
          <p:nvPr/>
        </p:nvSpPr>
        <p:spPr>
          <a:xfrm>
            <a:off x="-114030" y="3442503"/>
            <a:ext cx="1294862" cy="129486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5" name="Rectangle 64">
            <a:extLst>
              <a:ext uri="{FF2B5EF4-FFF2-40B4-BE49-F238E27FC236}">
                <a16:creationId xmlns:a16="http://schemas.microsoft.com/office/drawing/2014/main" id="{BDB3C123-18F0-4C29-A30B-25750814A87F}"/>
              </a:ext>
            </a:extLst>
          </p:cNvPr>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4" name="TextBox 103">
            <a:extLst>
              <a:ext uri="{FF2B5EF4-FFF2-40B4-BE49-F238E27FC236}">
                <a16:creationId xmlns:a16="http://schemas.microsoft.com/office/drawing/2014/main" id="{B6A57324-C45F-4149-9715-D70A5EFF7461}"/>
              </a:ext>
            </a:extLst>
          </p:cNvPr>
          <p:cNvSpPr txBox="1"/>
          <p:nvPr/>
        </p:nvSpPr>
        <p:spPr>
          <a:xfrm>
            <a:off x="1109128" y="2467684"/>
            <a:ext cx="1009892" cy="215444"/>
          </a:xfrm>
          <a:prstGeom prst="rect">
            <a:avLst/>
          </a:prstGeom>
          <a:noFill/>
        </p:spPr>
        <p:txBody>
          <a:bodyPr wrap="none" lIns="0" tIns="0" rIns="0" bIns="0" rtlCol="0" anchor="ctr">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EB"/>
                </a:solidFill>
                <a:effectLst/>
                <a:uLnTx/>
                <a:uFillTx/>
                <a:latin typeface="CiscoSansTT ExtraLight"/>
                <a:ea typeface="ＭＳ Ｐゴシック" charset="0"/>
                <a:cs typeface="+mn-cs"/>
              </a:rPr>
              <a:t>Public Cloud</a:t>
            </a:r>
          </a:p>
        </p:txBody>
      </p:sp>
      <p:sp>
        <p:nvSpPr>
          <p:cNvPr id="105" name="TextBox 104">
            <a:extLst>
              <a:ext uri="{FF2B5EF4-FFF2-40B4-BE49-F238E27FC236}">
                <a16:creationId xmlns:a16="http://schemas.microsoft.com/office/drawing/2014/main" id="{6DE8FBF3-1DE1-4AEC-974D-093DBB7EAED5}"/>
              </a:ext>
            </a:extLst>
          </p:cNvPr>
          <p:cNvSpPr txBox="1"/>
          <p:nvPr/>
        </p:nvSpPr>
        <p:spPr>
          <a:xfrm>
            <a:off x="1328584" y="3531367"/>
            <a:ext cx="1077218" cy="215444"/>
          </a:xfrm>
          <a:prstGeom prst="rect">
            <a:avLst/>
          </a:prstGeom>
          <a:noFill/>
        </p:spPr>
        <p:txBody>
          <a:bodyPr wrap="none" lIns="0" tIns="0" rIns="0" bIns="0" rtlCol="0" anchor="ctr">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EB"/>
                </a:solidFill>
                <a:effectLst/>
                <a:uLnTx/>
                <a:uFillTx/>
                <a:latin typeface="CiscoSansTT ExtraLight"/>
                <a:ea typeface="ＭＳ Ｐゴシック" charset="0"/>
                <a:cs typeface="+mn-cs"/>
              </a:rPr>
              <a:t>Private Cloud</a:t>
            </a:r>
          </a:p>
        </p:txBody>
      </p:sp>
      <p:sp>
        <p:nvSpPr>
          <p:cNvPr id="107" name="Rectangle 106">
            <a:extLst>
              <a:ext uri="{FF2B5EF4-FFF2-40B4-BE49-F238E27FC236}">
                <a16:creationId xmlns:a16="http://schemas.microsoft.com/office/drawing/2014/main" id="{864B37E5-29E3-4044-A235-96B4CE800440}"/>
              </a:ext>
            </a:extLst>
          </p:cNvPr>
          <p:cNvSpPr/>
          <p:nvPr/>
        </p:nvSpPr>
        <p:spPr>
          <a:xfrm>
            <a:off x="214119" y="2854840"/>
            <a:ext cx="2192832" cy="523220"/>
          </a:xfrm>
          <a:prstGeom prst="rect">
            <a:avLst/>
          </a:prstGeom>
        </p:spPr>
        <p:txBody>
          <a:bodyPr wrap="square" lIns="91440" tIns="91440" rIns="91440" bIns="9144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lang="en-US" sz="1100" dirty="0">
                <a:solidFill>
                  <a:srgbClr val="005073"/>
                </a:solidFill>
                <a:latin typeface="CiscoSansTT ExtraLight"/>
                <a:cs typeface="+mn-cs"/>
              </a:rPr>
              <a:t>A</a:t>
            </a:r>
            <a:r>
              <a:rPr kumimoji="0" lang="en-US" sz="1100" b="0" i="0" u="none" strike="noStrike" kern="1200" cap="none" spc="0" normalizeH="0" baseline="0" noProof="0" dirty="0">
                <a:ln>
                  <a:noFill/>
                </a:ln>
                <a:solidFill>
                  <a:srgbClr val="005073"/>
                </a:solidFill>
                <a:effectLst/>
                <a:uLnTx/>
                <a:uFillTx/>
                <a:latin typeface="CiscoSansTT ExtraLight"/>
                <a:ea typeface="ＭＳ Ｐゴシック" charset="0"/>
                <a:cs typeface="+mn-cs"/>
              </a:rPr>
              <a:t> new operating model and growth of cloud native apps</a:t>
            </a:r>
          </a:p>
        </p:txBody>
      </p:sp>
      <p:cxnSp>
        <p:nvCxnSpPr>
          <p:cNvPr id="168" name="Straight Connector 167">
            <a:extLst>
              <a:ext uri="{FF2B5EF4-FFF2-40B4-BE49-F238E27FC236}">
                <a16:creationId xmlns:a16="http://schemas.microsoft.com/office/drawing/2014/main" id="{B4DCFFE8-E760-4373-B7F4-A04049C9083B}"/>
              </a:ext>
            </a:extLst>
          </p:cNvPr>
          <p:cNvCxnSpPr>
            <a:cxnSpLocks/>
          </p:cNvCxnSpPr>
          <p:nvPr/>
        </p:nvCxnSpPr>
        <p:spPr>
          <a:xfrm>
            <a:off x="2594704" y="2583200"/>
            <a:ext cx="1937907" cy="13914"/>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10" name="Oval 109">
            <a:extLst>
              <a:ext uri="{FF2B5EF4-FFF2-40B4-BE49-F238E27FC236}">
                <a16:creationId xmlns:a16="http://schemas.microsoft.com/office/drawing/2014/main" id="{5394AA98-99D5-4849-B03C-A4CE4540CA88}"/>
              </a:ext>
            </a:extLst>
          </p:cNvPr>
          <p:cNvSpPr/>
          <p:nvPr/>
        </p:nvSpPr>
        <p:spPr>
          <a:xfrm>
            <a:off x="2227816" y="2222426"/>
            <a:ext cx="727424" cy="727422"/>
          </a:xfrm>
          <a:prstGeom prst="ellipse">
            <a:avLst/>
          </a:prstGeom>
          <a:solidFill>
            <a:schemeClr val="bg2"/>
          </a:solidFill>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111" name="Group 110">
            <a:extLst>
              <a:ext uri="{FF2B5EF4-FFF2-40B4-BE49-F238E27FC236}">
                <a16:creationId xmlns:a16="http://schemas.microsoft.com/office/drawing/2014/main" id="{0C438896-214D-4C6C-8B0D-3B7AABC527FA}"/>
              </a:ext>
            </a:extLst>
          </p:cNvPr>
          <p:cNvGrpSpPr/>
          <p:nvPr/>
        </p:nvGrpSpPr>
        <p:grpSpPr>
          <a:xfrm>
            <a:off x="2299596" y="2290425"/>
            <a:ext cx="590214" cy="590214"/>
            <a:chOff x="1617300" y="1885950"/>
            <a:chExt cx="1370523" cy="1371600"/>
          </a:xfrm>
        </p:grpSpPr>
        <p:sp>
          <p:nvSpPr>
            <p:cNvPr id="126" name="Oval 24">
              <a:extLst>
                <a:ext uri="{FF2B5EF4-FFF2-40B4-BE49-F238E27FC236}">
                  <a16:creationId xmlns:a16="http://schemas.microsoft.com/office/drawing/2014/main" id="{D1E578BA-A421-449D-B18E-B19DD4C58EAD}"/>
                </a:ext>
              </a:extLst>
            </p:cNvPr>
            <p:cNvSpPr>
              <a:spLocks noChangeArrowheads="1"/>
            </p:cNvSpPr>
            <p:nvPr/>
          </p:nvSpPr>
          <p:spPr bwMode="auto">
            <a:xfrm>
              <a:off x="1617300" y="1885950"/>
              <a:ext cx="1370523" cy="1371600"/>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7" name="Freeform 25">
              <a:extLst>
                <a:ext uri="{FF2B5EF4-FFF2-40B4-BE49-F238E27FC236}">
                  <a16:creationId xmlns:a16="http://schemas.microsoft.com/office/drawing/2014/main" id="{1EB4872D-3442-4465-BF26-05729E37D5BB}"/>
                </a:ext>
              </a:extLst>
            </p:cNvPr>
            <p:cNvSpPr>
              <a:spLocks/>
            </p:cNvSpPr>
            <p:nvPr/>
          </p:nvSpPr>
          <p:spPr bwMode="auto">
            <a:xfrm>
              <a:off x="1734204" y="2233429"/>
              <a:ext cx="1252542" cy="1024121"/>
            </a:xfrm>
            <a:custGeom>
              <a:avLst/>
              <a:gdLst>
                <a:gd name="T0" fmla="*/ 982 w 1316"/>
                <a:gd name="T1" fmla="*/ 49 h 1075"/>
                <a:gd name="T2" fmla="*/ 887 w 1316"/>
                <a:gd name="T3" fmla="*/ 1 h 1075"/>
                <a:gd name="T4" fmla="*/ 887 w 1316"/>
                <a:gd name="T5" fmla="*/ 0 h 1075"/>
                <a:gd name="T6" fmla="*/ 735 w 1316"/>
                <a:gd name="T7" fmla="*/ 0 h 1075"/>
                <a:gd name="T8" fmla="*/ 735 w 1316"/>
                <a:gd name="T9" fmla="*/ 0 h 1075"/>
                <a:gd name="T10" fmla="*/ 733 w 1316"/>
                <a:gd name="T11" fmla="*/ 0 h 1075"/>
                <a:gd name="T12" fmla="*/ 605 w 1316"/>
                <a:gd name="T13" fmla="*/ 128 h 1075"/>
                <a:gd name="T14" fmla="*/ 612 w 1316"/>
                <a:gd name="T15" fmla="*/ 169 h 1075"/>
                <a:gd name="T16" fmla="*/ 401 w 1316"/>
                <a:gd name="T17" fmla="*/ 169 h 1075"/>
                <a:gd name="T18" fmla="*/ 276 w 1316"/>
                <a:gd name="T19" fmla="*/ 256 h 1075"/>
                <a:gd name="T20" fmla="*/ 276 w 1316"/>
                <a:gd name="T21" fmla="*/ 337 h 1075"/>
                <a:gd name="T22" fmla="*/ 137 w 1316"/>
                <a:gd name="T23" fmla="*/ 337 h 1075"/>
                <a:gd name="T24" fmla="*/ 6 w 1316"/>
                <a:gd name="T25" fmla="*/ 446 h 1075"/>
                <a:gd name="T26" fmla="*/ 40 w 1316"/>
                <a:gd name="T27" fmla="*/ 553 h 1075"/>
                <a:gd name="T28" fmla="*/ 40 w 1316"/>
                <a:gd name="T29" fmla="*/ 553 h 1075"/>
                <a:gd name="T30" fmla="*/ 561 w 1316"/>
                <a:gd name="T31" fmla="*/ 1074 h 1075"/>
                <a:gd name="T32" fmla="*/ 597 w 1316"/>
                <a:gd name="T33" fmla="*/ 1075 h 1075"/>
                <a:gd name="T34" fmla="*/ 1316 w 1316"/>
                <a:gd name="T35" fmla="*/ 384 h 1075"/>
                <a:gd name="T36" fmla="*/ 982 w 1316"/>
                <a:gd name="T37" fmla="*/ 49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16" h="1075">
                  <a:moveTo>
                    <a:pt x="982" y="49"/>
                  </a:moveTo>
                  <a:cubicBezTo>
                    <a:pt x="959" y="21"/>
                    <a:pt x="925" y="2"/>
                    <a:pt x="887" y="1"/>
                  </a:cubicBezTo>
                  <a:cubicBezTo>
                    <a:pt x="887" y="0"/>
                    <a:pt x="887" y="0"/>
                    <a:pt x="887" y="0"/>
                  </a:cubicBezTo>
                  <a:cubicBezTo>
                    <a:pt x="735" y="0"/>
                    <a:pt x="735" y="0"/>
                    <a:pt x="735" y="0"/>
                  </a:cubicBezTo>
                  <a:cubicBezTo>
                    <a:pt x="735" y="0"/>
                    <a:pt x="735" y="0"/>
                    <a:pt x="735" y="0"/>
                  </a:cubicBezTo>
                  <a:cubicBezTo>
                    <a:pt x="734" y="0"/>
                    <a:pt x="734" y="0"/>
                    <a:pt x="733" y="0"/>
                  </a:cubicBezTo>
                  <a:cubicBezTo>
                    <a:pt x="662" y="0"/>
                    <a:pt x="605" y="57"/>
                    <a:pt x="605" y="128"/>
                  </a:cubicBezTo>
                  <a:cubicBezTo>
                    <a:pt x="605" y="142"/>
                    <a:pt x="607" y="156"/>
                    <a:pt x="612" y="169"/>
                  </a:cubicBezTo>
                  <a:cubicBezTo>
                    <a:pt x="401" y="169"/>
                    <a:pt x="401" y="169"/>
                    <a:pt x="401" y="169"/>
                  </a:cubicBezTo>
                  <a:cubicBezTo>
                    <a:pt x="345" y="169"/>
                    <a:pt x="294" y="203"/>
                    <a:pt x="276" y="256"/>
                  </a:cubicBezTo>
                  <a:cubicBezTo>
                    <a:pt x="267" y="285"/>
                    <a:pt x="268" y="313"/>
                    <a:pt x="276" y="337"/>
                  </a:cubicBezTo>
                  <a:cubicBezTo>
                    <a:pt x="137" y="337"/>
                    <a:pt x="137" y="337"/>
                    <a:pt x="137" y="337"/>
                  </a:cubicBezTo>
                  <a:cubicBezTo>
                    <a:pt x="73" y="337"/>
                    <a:pt x="15" y="383"/>
                    <a:pt x="6" y="446"/>
                  </a:cubicBezTo>
                  <a:cubicBezTo>
                    <a:pt x="0" y="488"/>
                    <a:pt x="15" y="526"/>
                    <a:pt x="40" y="553"/>
                  </a:cubicBezTo>
                  <a:cubicBezTo>
                    <a:pt x="40" y="553"/>
                    <a:pt x="40" y="553"/>
                    <a:pt x="40" y="553"/>
                  </a:cubicBezTo>
                  <a:cubicBezTo>
                    <a:pt x="561" y="1074"/>
                    <a:pt x="561" y="1074"/>
                    <a:pt x="561" y="1074"/>
                  </a:cubicBezTo>
                  <a:cubicBezTo>
                    <a:pt x="573" y="1075"/>
                    <a:pt x="585" y="1075"/>
                    <a:pt x="597" y="1075"/>
                  </a:cubicBezTo>
                  <a:cubicBezTo>
                    <a:pt x="985" y="1075"/>
                    <a:pt x="1301" y="768"/>
                    <a:pt x="1316" y="384"/>
                  </a:cubicBezTo>
                  <a:lnTo>
                    <a:pt x="982" y="49"/>
                  </a:lnTo>
                  <a:close/>
                </a:path>
              </a:pathLst>
            </a:custGeom>
            <a:solidFill>
              <a:srgbClr val="00A3E1"/>
            </a:solidFill>
            <a:ln>
              <a:noFill/>
            </a:ln>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8" name="Freeform 26">
              <a:extLst>
                <a:ext uri="{FF2B5EF4-FFF2-40B4-BE49-F238E27FC236}">
                  <a16:creationId xmlns:a16="http://schemas.microsoft.com/office/drawing/2014/main" id="{D9469F85-01D2-444A-BBF4-5B644E7C33AE}"/>
                </a:ext>
              </a:extLst>
            </p:cNvPr>
            <p:cNvSpPr>
              <a:spLocks/>
            </p:cNvSpPr>
            <p:nvPr/>
          </p:nvSpPr>
          <p:spPr bwMode="auto">
            <a:xfrm>
              <a:off x="1729355" y="2233429"/>
              <a:ext cx="1158803" cy="565125"/>
            </a:xfrm>
            <a:custGeom>
              <a:avLst/>
              <a:gdLst>
                <a:gd name="T0" fmla="*/ 1115 w 1217"/>
                <a:gd name="T1" fmla="*/ 342 h 593"/>
                <a:gd name="T2" fmla="*/ 1124 w 1217"/>
                <a:gd name="T3" fmla="*/ 297 h 593"/>
                <a:gd name="T4" fmla="*/ 1007 w 1217"/>
                <a:gd name="T5" fmla="*/ 170 h 593"/>
                <a:gd name="T6" fmla="*/ 1014 w 1217"/>
                <a:gd name="T7" fmla="*/ 128 h 593"/>
                <a:gd name="T8" fmla="*/ 892 w 1217"/>
                <a:gd name="T9" fmla="*/ 1 h 593"/>
                <a:gd name="T10" fmla="*/ 892 w 1217"/>
                <a:gd name="T11" fmla="*/ 0 h 593"/>
                <a:gd name="T12" fmla="*/ 740 w 1217"/>
                <a:gd name="T13" fmla="*/ 0 h 593"/>
                <a:gd name="T14" fmla="*/ 740 w 1217"/>
                <a:gd name="T15" fmla="*/ 0 h 593"/>
                <a:gd name="T16" fmla="*/ 738 w 1217"/>
                <a:gd name="T17" fmla="*/ 0 h 593"/>
                <a:gd name="T18" fmla="*/ 610 w 1217"/>
                <a:gd name="T19" fmla="*/ 128 h 593"/>
                <a:gd name="T20" fmla="*/ 617 w 1217"/>
                <a:gd name="T21" fmla="*/ 169 h 593"/>
                <a:gd name="T22" fmla="*/ 406 w 1217"/>
                <a:gd name="T23" fmla="*/ 169 h 593"/>
                <a:gd name="T24" fmla="*/ 281 w 1217"/>
                <a:gd name="T25" fmla="*/ 256 h 593"/>
                <a:gd name="T26" fmla="*/ 281 w 1217"/>
                <a:gd name="T27" fmla="*/ 337 h 593"/>
                <a:gd name="T28" fmla="*/ 142 w 1217"/>
                <a:gd name="T29" fmla="*/ 337 h 593"/>
                <a:gd name="T30" fmla="*/ 11 w 1217"/>
                <a:gd name="T31" fmla="*/ 446 h 593"/>
                <a:gd name="T32" fmla="*/ 138 w 1217"/>
                <a:gd name="T33" fmla="*/ 593 h 593"/>
                <a:gd name="T34" fmla="*/ 1078 w 1217"/>
                <a:gd name="T35" fmla="*/ 593 h 593"/>
                <a:gd name="T36" fmla="*/ 1209 w 1217"/>
                <a:gd name="T37" fmla="*/ 481 h 593"/>
                <a:gd name="T38" fmla="*/ 1115 w 1217"/>
                <a:gd name="T39" fmla="*/ 3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7" h="593">
                  <a:moveTo>
                    <a:pt x="1115" y="342"/>
                  </a:moveTo>
                  <a:cubicBezTo>
                    <a:pt x="1121" y="328"/>
                    <a:pt x="1124" y="313"/>
                    <a:pt x="1124" y="297"/>
                  </a:cubicBezTo>
                  <a:cubicBezTo>
                    <a:pt x="1124" y="230"/>
                    <a:pt x="1072" y="175"/>
                    <a:pt x="1007" y="170"/>
                  </a:cubicBezTo>
                  <a:cubicBezTo>
                    <a:pt x="1012" y="157"/>
                    <a:pt x="1014" y="143"/>
                    <a:pt x="1014" y="128"/>
                  </a:cubicBezTo>
                  <a:cubicBezTo>
                    <a:pt x="1014" y="59"/>
                    <a:pt x="960" y="3"/>
                    <a:pt x="892" y="1"/>
                  </a:cubicBezTo>
                  <a:cubicBezTo>
                    <a:pt x="892" y="0"/>
                    <a:pt x="892" y="0"/>
                    <a:pt x="892" y="0"/>
                  </a:cubicBezTo>
                  <a:cubicBezTo>
                    <a:pt x="740" y="0"/>
                    <a:pt x="740" y="0"/>
                    <a:pt x="740" y="0"/>
                  </a:cubicBezTo>
                  <a:cubicBezTo>
                    <a:pt x="740" y="0"/>
                    <a:pt x="740" y="0"/>
                    <a:pt x="740" y="0"/>
                  </a:cubicBezTo>
                  <a:cubicBezTo>
                    <a:pt x="739" y="0"/>
                    <a:pt x="739" y="0"/>
                    <a:pt x="738" y="0"/>
                  </a:cubicBezTo>
                  <a:cubicBezTo>
                    <a:pt x="667" y="0"/>
                    <a:pt x="610" y="57"/>
                    <a:pt x="610" y="128"/>
                  </a:cubicBezTo>
                  <a:cubicBezTo>
                    <a:pt x="610" y="142"/>
                    <a:pt x="612" y="156"/>
                    <a:pt x="617" y="169"/>
                  </a:cubicBezTo>
                  <a:cubicBezTo>
                    <a:pt x="406" y="169"/>
                    <a:pt x="406" y="169"/>
                    <a:pt x="406" y="169"/>
                  </a:cubicBezTo>
                  <a:cubicBezTo>
                    <a:pt x="350" y="169"/>
                    <a:pt x="299" y="203"/>
                    <a:pt x="281" y="256"/>
                  </a:cubicBezTo>
                  <a:cubicBezTo>
                    <a:pt x="272" y="285"/>
                    <a:pt x="273" y="313"/>
                    <a:pt x="281" y="337"/>
                  </a:cubicBezTo>
                  <a:cubicBezTo>
                    <a:pt x="142" y="337"/>
                    <a:pt x="142" y="337"/>
                    <a:pt x="142" y="337"/>
                  </a:cubicBezTo>
                  <a:cubicBezTo>
                    <a:pt x="78" y="337"/>
                    <a:pt x="20" y="383"/>
                    <a:pt x="11" y="446"/>
                  </a:cubicBezTo>
                  <a:cubicBezTo>
                    <a:pt x="0" y="525"/>
                    <a:pt x="61" y="593"/>
                    <a:pt x="138" y="593"/>
                  </a:cubicBezTo>
                  <a:cubicBezTo>
                    <a:pt x="1078" y="593"/>
                    <a:pt x="1078" y="593"/>
                    <a:pt x="1078" y="593"/>
                  </a:cubicBezTo>
                  <a:cubicBezTo>
                    <a:pt x="1143" y="593"/>
                    <a:pt x="1201" y="546"/>
                    <a:pt x="1209" y="481"/>
                  </a:cubicBezTo>
                  <a:cubicBezTo>
                    <a:pt x="1217" y="415"/>
                    <a:pt x="1175" y="358"/>
                    <a:pt x="1115" y="3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9" name="Freeform 27">
              <a:extLst>
                <a:ext uri="{FF2B5EF4-FFF2-40B4-BE49-F238E27FC236}">
                  <a16:creationId xmlns:a16="http://schemas.microsoft.com/office/drawing/2014/main" id="{AE38D5DD-E92F-4E86-8D9D-FEA3C513F1CE}"/>
                </a:ext>
              </a:extLst>
            </p:cNvPr>
            <p:cNvSpPr>
              <a:spLocks noEditPoints="1"/>
            </p:cNvSpPr>
            <p:nvPr/>
          </p:nvSpPr>
          <p:spPr bwMode="auto">
            <a:xfrm>
              <a:off x="1884509" y="2587912"/>
              <a:ext cx="838799" cy="182090"/>
            </a:xfrm>
            <a:custGeom>
              <a:avLst/>
              <a:gdLst>
                <a:gd name="T0" fmla="*/ 724 w 881"/>
                <a:gd name="T1" fmla="*/ 98 h 191"/>
                <a:gd name="T2" fmla="*/ 873 w 881"/>
                <a:gd name="T3" fmla="*/ 32 h 191"/>
                <a:gd name="T4" fmla="*/ 845 w 881"/>
                <a:gd name="T5" fmla="*/ 58 h 191"/>
                <a:gd name="T6" fmla="*/ 763 w 881"/>
                <a:gd name="T7" fmla="*/ 98 h 191"/>
                <a:gd name="T8" fmla="*/ 845 w 881"/>
                <a:gd name="T9" fmla="*/ 137 h 191"/>
                <a:gd name="T10" fmla="*/ 874 w 881"/>
                <a:gd name="T11" fmla="*/ 162 h 191"/>
                <a:gd name="T12" fmla="*/ 548 w 881"/>
                <a:gd name="T13" fmla="*/ 153 h 191"/>
                <a:gd name="T14" fmla="*/ 487 w 881"/>
                <a:gd name="T15" fmla="*/ 21 h 191"/>
                <a:gd name="T16" fmla="*/ 449 w 881"/>
                <a:gd name="T17" fmla="*/ 21 h 191"/>
                <a:gd name="T18" fmla="*/ 449 w 881"/>
                <a:gd name="T19" fmla="*/ 172 h 191"/>
                <a:gd name="T20" fmla="*/ 468 w 881"/>
                <a:gd name="T21" fmla="*/ 191 h 191"/>
                <a:gd name="T22" fmla="*/ 567 w 881"/>
                <a:gd name="T23" fmla="*/ 172 h 191"/>
                <a:gd name="T24" fmla="*/ 117 w 881"/>
                <a:gd name="T25" fmla="*/ 62 h 191"/>
                <a:gd name="T26" fmla="*/ 38 w 881"/>
                <a:gd name="T27" fmla="*/ 120 h 191"/>
                <a:gd name="T28" fmla="*/ 19 w 881"/>
                <a:gd name="T29" fmla="*/ 191 h 191"/>
                <a:gd name="T30" fmla="*/ 0 w 881"/>
                <a:gd name="T31" fmla="*/ 22 h 191"/>
                <a:gd name="T32" fmla="*/ 61 w 881"/>
                <a:gd name="T33" fmla="*/ 3 h 191"/>
                <a:gd name="T34" fmla="*/ 79 w 881"/>
                <a:gd name="T35" fmla="*/ 62 h 191"/>
                <a:gd name="T36" fmla="*/ 38 w 881"/>
                <a:gd name="T37" fmla="*/ 41 h 191"/>
                <a:gd name="T38" fmla="*/ 61 w 881"/>
                <a:gd name="T39" fmla="*/ 82 h 191"/>
                <a:gd name="T40" fmla="*/ 430 w 881"/>
                <a:gd name="T41" fmla="*/ 131 h 191"/>
                <a:gd name="T42" fmla="*/ 320 w 881"/>
                <a:gd name="T43" fmla="*/ 191 h 191"/>
                <a:gd name="T44" fmla="*/ 309 w 881"/>
                <a:gd name="T45" fmla="*/ 188 h 191"/>
                <a:gd name="T46" fmla="*/ 306 w 881"/>
                <a:gd name="T47" fmla="*/ 185 h 191"/>
                <a:gd name="T48" fmla="*/ 304 w 881"/>
                <a:gd name="T49" fmla="*/ 183 h 191"/>
                <a:gd name="T50" fmla="*/ 302 w 881"/>
                <a:gd name="T51" fmla="*/ 179 h 191"/>
                <a:gd name="T52" fmla="*/ 301 w 881"/>
                <a:gd name="T53" fmla="*/ 176 h 191"/>
                <a:gd name="T54" fmla="*/ 301 w 881"/>
                <a:gd name="T55" fmla="*/ 172 h 191"/>
                <a:gd name="T56" fmla="*/ 301 w 881"/>
                <a:gd name="T57" fmla="*/ 172 h 191"/>
                <a:gd name="T58" fmla="*/ 320 w 881"/>
                <a:gd name="T59" fmla="*/ 2 h 191"/>
                <a:gd name="T60" fmla="*/ 418 w 881"/>
                <a:gd name="T61" fmla="*/ 56 h 191"/>
                <a:gd name="T62" fmla="*/ 430 w 881"/>
                <a:gd name="T63" fmla="*/ 131 h 191"/>
                <a:gd name="T64" fmla="*/ 339 w 881"/>
                <a:gd name="T65" fmla="*/ 40 h 191"/>
                <a:gd name="T66" fmla="*/ 362 w 881"/>
                <a:gd name="T67" fmla="*/ 71 h 191"/>
                <a:gd name="T68" fmla="*/ 362 w 881"/>
                <a:gd name="T69" fmla="*/ 40 h 191"/>
                <a:gd name="T70" fmla="*/ 368 w 881"/>
                <a:gd name="T71" fmla="*/ 109 h 191"/>
                <a:gd name="T72" fmla="*/ 339 w 881"/>
                <a:gd name="T73" fmla="*/ 153 h 191"/>
                <a:gd name="T74" fmla="*/ 392 w 881"/>
                <a:gd name="T75" fmla="*/ 131 h 191"/>
                <a:gd name="T76" fmla="*/ 669 w 881"/>
                <a:gd name="T77" fmla="*/ 153 h 191"/>
                <a:gd name="T78" fmla="*/ 696 w 881"/>
                <a:gd name="T79" fmla="*/ 42 h 191"/>
                <a:gd name="T80" fmla="*/ 696 w 881"/>
                <a:gd name="T81" fmla="*/ 3 h 191"/>
                <a:gd name="T82" fmla="*/ 583 w 881"/>
                <a:gd name="T83" fmla="*/ 23 h 191"/>
                <a:gd name="T84" fmla="*/ 630 w 881"/>
                <a:gd name="T85" fmla="*/ 42 h 191"/>
                <a:gd name="T86" fmla="*/ 603 w 881"/>
                <a:gd name="T87" fmla="*/ 153 h 191"/>
                <a:gd name="T88" fmla="*/ 603 w 881"/>
                <a:gd name="T89" fmla="*/ 191 h 191"/>
                <a:gd name="T90" fmla="*/ 716 w 881"/>
                <a:gd name="T91" fmla="*/ 172 h 191"/>
                <a:gd name="T92" fmla="*/ 281 w 881"/>
                <a:gd name="T93" fmla="*/ 114 h 191"/>
                <a:gd name="T94" fmla="*/ 262 w 881"/>
                <a:gd name="T95" fmla="*/ 0 h 191"/>
                <a:gd name="T96" fmla="*/ 243 w 881"/>
                <a:gd name="T97" fmla="*/ 114 h 191"/>
                <a:gd name="T98" fmla="*/ 175 w 881"/>
                <a:gd name="T99" fmla="*/ 114 h 191"/>
                <a:gd name="T100" fmla="*/ 156 w 881"/>
                <a:gd name="T101" fmla="*/ 0 h 191"/>
                <a:gd name="T102" fmla="*/ 137 w 881"/>
                <a:gd name="T103" fmla="*/ 114 h 191"/>
                <a:gd name="T104" fmla="*/ 281 w 881"/>
                <a:gd name="T105" fmla="*/ 11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1" h="191">
                  <a:moveTo>
                    <a:pt x="811" y="191"/>
                  </a:moveTo>
                  <a:cubicBezTo>
                    <a:pt x="763" y="191"/>
                    <a:pt x="724" y="149"/>
                    <a:pt x="724" y="98"/>
                  </a:cubicBezTo>
                  <a:cubicBezTo>
                    <a:pt x="724" y="46"/>
                    <a:pt x="763" y="4"/>
                    <a:pt x="811" y="4"/>
                  </a:cubicBezTo>
                  <a:cubicBezTo>
                    <a:pt x="835" y="4"/>
                    <a:pt x="857" y="14"/>
                    <a:pt x="873" y="32"/>
                  </a:cubicBezTo>
                  <a:cubicBezTo>
                    <a:pt x="880" y="40"/>
                    <a:pt x="880" y="52"/>
                    <a:pt x="872" y="59"/>
                  </a:cubicBezTo>
                  <a:cubicBezTo>
                    <a:pt x="864" y="66"/>
                    <a:pt x="852" y="66"/>
                    <a:pt x="845" y="58"/>
                  </a:cubicBezTo>
                  <a:cubicBezTo>
                    <a:pt x="836" y="48"/>
                    <a:pt x="824" y="42"/>
                    <a:pt x="811" y="42"/>
                  </a:cubicBezTo>
                  <a:cubicBezTo>
                    <a:pt x="784" y="42"/>
                    <a:pt x="763" y="67"/>
                    <a:pt x="763" y="98"/>
                  </a:cubicBezTo>
                  <a:cubicBezTo>
                    <a:pt x="763" y="128"/>
                    <a:pt x="784" y="153"/>
                    <a:pt x="811" y="153"/>
                  </a:cubicBezTo>
                  <a:cubicBezTo>
                    <a:pt x="824" y="153"/>
                    <a:pt x="836" y="147"/>
                    <a:pt x="845" y="137"/>
                  </a:cubicBezTo>
                  <a:cubicBezTo>
                    <a:pt x="852" y="129"/>
                    <a:pt x="864" y="128"/>
                    <a:pt x="872" y="135"/>
                  </a:cubicBezTo>
                  <a:cubicBezTo>
                    <a:pt x="880" y="142"/>
                    <a:pt x="881" y="155"/>
                    <a:pt x="874" y="162"/>
                  </a:cubicBezTo>
                  <a:cubicBezTo>
                    <a:pt x="857" y="181"/>
                    <a:pt x="835" y="191"/>
                    <a:pt x="811" y="191"/>
                  </a:cubicBezTo>
                  <a:close/>
                  <a:moveTo>
                    <a:pt x="548" y="153"/>
                  </a:moveTo>
                  <a:cubicBezTo>
                    <a:pt x="487" y="153"/>
                    <a:pt x="487" y="153"/>
                    <a:pt x="487" y="153"/>
                  </a:cubicBezTo>
                  <a:cubicBezTo>
                    <a:pt x="487" y="21"/>
                    <a:pt x="487" y="21"/>
                    <a:pt x="487" y="21"/>
                  </a:cubicBezTo>
                  <a:cubicBezTo>
                    <a:pt x="487" y="10"/>
                    <a:pt x="479" y="2"/>
                    <a:pt x="468" y="2"/>
                  </a:cubicBezTo>
                  <a:cubicBezTo>
                    <a:pt x="457" y="2"/>
                    <a:pt x="449" y="10"/>
                    <a:pt x="449" y="21"/>
                  </a:cubicBezTo>
                  <a:cubicBezTo>
                    <a:pt x="449" y="171"/>
                    <a:pt x="449" y="171"/>
                    <a:pt x="449" y="171"/>
                  </a:cubicBezTo>
                  <a:cubicBezTo>
                    <a:pt x="449" y="172"/>
                    <a:pt x="449" y="172"/>
                    <a:pt x="449" y="172"/>
                  </a:cubicBezTo>
                  <a:cubicBezTo>
                    <a:pt x="449" y="172"/>
                    <a:pt x="449" y="172"/>
                    <a:pt x="449" y="172"/>
                  </a:cubicBezTo>
                  <a:cubicBezTo>
                    <a:pt x="449" y="182"/>
                    <a:pt x="457" y="191"/>
                    <a:pt x="468" y="191"/>
                  </a:cubicBezTo>
                  <a:cubicBezTo>
                    <a:pt x="548" y="191"/>
                    <a:pt x="548" y="191"/>
                    <a:pt x="548" y="191"/>
                  </a:cubicBezTo>
                  <a:cubicBezTo>
                    <a:pt x="558" y="191"/>
                    <a:pt x="567" y="182"/>
                    <a:pt x="567" y="172"/>
                  </a:cubicBezTo>
                  <a:cubicBezTo>
                    <a:pt x="567" y="161"/>
                    <a:pt x="558" y="153"/>
                    <a:pt x="548" y="153"/>
                  </a:cubicBezTo>
                  <a:close/>
                  <a:moveTo>
                    <a:pt x="117" y="62"/>
                  </a:moveTo>
                  <a:cubicBezTo>
                    <a:pt x="117" y="98"/>
                    <a:pt x="89" y="120"/>
                    <a:pt x="61" y="120"/>
                  </a:cubicBezTo>
                  <a:cubicBezTo>
                    <a:pt x="38" y="120"/>
                    <a:pt x="38" y="120"/>
                    <a:pt x="38" y="120"/>
                  </a:cubicBezTo>
                  <a:cubicBezTo>
                    <a:pt x="38" y="172"/>
                    <a:pt x="38" y="172"/>
                    <a:pt x="38" y="172"/>
                  </a:cubicBezTo>
                  <a:cubicBezTo>
                    <a:pt x="38" y="182"/>
                    <a:pt x="29" y="191"/>
                    <a:pt x="19" y="191"/>
                  </a:cubicBezTo>
                  <a:cubicBezTo>
                    <a:pt x="8" y="191"/>
                    <a:pt x="0" y="182"/>
                    <a:pt x="0" y="172"/>
                  </a:cubicBezTo>
                  <a:cubicBezTo>
                    <a:pt x="0" y="22"/>
                    <a:pt x="0" y="22"/>
                    <a:pt x="0" y="22"/>
                  </a:cubicBezTo>
                  <a:cubicBezTo>
                    <a:pt x="0" y="11"/>
                    <a:pt x="8" y="3"/>
                    <a:pt x="19" y="3"/>
                  </a:cubicBezTo>
                  <a:cubicBezTo>
                    <a:pt x="61" y="3"/>
                    <a:pt x="61" y="3"/>
                    <a:pt x="61" y="3"/>
                  </a:cubicBezTo>
                  <a:cubicBezTo>
                    <a:pt x="89" y="3"/>
                    <a:pt x="117" y="25"/>
                    <a:pt x="117" y="62"/>
                  </a:cubicBezTo>
                  <a:close/>
                  <a:moveTo>
                    <a:pt x="79" y="62"/>
                  </a:moveTo>
                  <a:cubicBezTo>
                    <a:pt x="79" y="45"/>
                    <a:pt x="66" y="41"/>
                    <a:pt x="61" y="41"/>
                  </a:cubicBezTo>
                  <a:cubicBezTo>
                    <a:pt x="38" y="41"/>
                    <a:pt x="38" y="41"/>
                    <a:pt x="38" y="41"/>
                  </a:cubicBezTo>
                  <a:cubicBezTo>
                    <a:pt x="38" y="82"/>
                    <a:pt x="38" y="82"/>
                    <a:pt x="38" y="82"/>
                  </a:cubicBezTo>
                  <a:cubicBezTo>
                    <a:pt x="61" y="82"/>
                    <a:pt x="61" y="82"/>
                    <a:pt x="61" y="82"/>
                  </a:cubicBezTo>
                  <a:cubicBezTo>
                    <a:pt x="66" y="82"/>
                    <a:pt x="79" y="78"/>
                    <a:pt x="79" y="62"/>
                  </a:cubicBezTo>
                  <a:close/>
                  <a:moveTo>
                    <a:pt x="430" y="131"/>
                  </a:moveTo>
                  <a:cubicBezTo>
                    <a:pt x="430" y="168"/>
                    <a:pt x="398" y="191"/>
                    <a:pt x="368" y="191"/>
                  </a:cubicBezTo>
                  <a:cubicBezTo>
                    <a:pt x="320" y="191"/>
                    <a:pt x="320" y="191"/>
                    <a:pt x="320" y="191"/>
                  </a:cubicBezTo>
                  <a:cubicBezTo>
                    <a:pt x="320" y="191"/>
                    <a:pt x="320" y="191"/>
                    <a:pt x="320" y="191"/>
                  </a:cubicBezTo>
                  <a:cubicBezTo>
                    <a:pt x="316" y="191"/>
                    <a:pt x="312" y="190"/>
                    <a:pt x="309" y="188"/>
                  </a:cubicBezTo>
                  <a:cubicBezTo>
                    <a:pt x="309" y="187"/>
                    <a:pt x="308" y="187"/>
                    <a:pt x="308" y="187"/>
                  </a:cubicBezTo>
                  <a:cubicBezTo>
                    <a:pt x="308" y="186"/>
                    <a:pt x="307" y="186"/>
                    <a:pt x="306" y="185"/>
                  </a:cubicBezTo>
                  <a:cubicBezTo>
                    <a:pt x="306" y="185"/>
                    <a:pt x="306" y="184"/>
                    <a:pt x="305" y="184"/>
                  </a:cubicBezTo>
                  <a:cubicBezTo>
                    <a:pt x="305" y="183"/>
                    <a:pt x="304" y="183"/>
                    <a:pt x="304" y="183"/>
                  </a:cubicBezTo>
                  <a:cubicBezTo>
                    <a:pt x="304" y="182"/>
                    <a:pt x="303" y="181"/>
                    <a:pt x="303" y="181"/>
                  </a:cubicBezTo>
                  <a:cubicBezTo>
                    <a:pt x="303" y="180"/>
                    <a:pt x="303" y="180"/>
                    <a:pt x="302" y="179"/>
                  </a:cubicBezTo>
                  <a:cubicBezTo>
                    <a:pt x="302" y="179"/>
                    <a:pt x="302" y="178"/>
                    <a:pt x="302" y="177"/>
                  </a:cubicBezTo>
                  <a:cubicBezTo>
                    <a:pt x="302" y="177"/>
                    <a:pt x="301" y="176"/>
                    <a:pt x="301" y="176"/>
                  </a:cubicBezTo>
                  <a:cubicBezTo>
                    <a:pt x="301" y="175"/>
                    <a:pt x="301" y="174"/>
                    <a:pt x="301" y="174"/>
                  </a:cubicBezTo>
                  <a:cubicBezTo>
                    <a:pt x="301" y="173"/>
                    <a:pt x="301" y="173"/>
                    <a:pt x="301" y="172"/>
                  </a:cubicBezTo>
                  <a:cubicBezTo>
                    <a:pt x="301" y="172"/>
                    <a:pt x="301" y="172"/>
                    <a:pt x="301" y="172"/>
                  </a:cubicBezTo>
                  <a:cubicBezTo>
                    <a:pt x="301" y="172"/>
                    <a:pt x="301" y="172"/>
                    <a:pt x="301" y="172"/>
                  </a:cubicBezTo>
                  <a:cubicBezTo>
                    <a:pt x="301" y="21"/>
                    <a:pt x="301" y="21"/>
                    <a:pt x="301" y="21"/>
                  </a:cubicBezTo>
                  <a:cubicBezTo>
                    <a:pt x="301" y="11"/>
                    <a:pt x="309" y="2"/>
                    <a:pt x="320" y="2"/>
                  </a:cubicBezTo>
                  <a:cubicBezTo>
                    <a:pt x="362" y="2"/>
                    <a:pt x="362" y="2"/>
                    <a:pt x="362" y="2"/>
                  </a:cubicBezTo>
                  <a:cubicBezTo>
                    <a:pt x="390" y="2"/>
                    <a:pt x="418" y="22"/>
                    <a:pt x="418" y="56"/>
                  </a:cubicBezTo>
                  <a:cubicBezTo>
                    <a:pt x="418" y="67"/>
                    <a:pt x="414" y="77"/>
                    <a:pt x="409" y="86"/>
                  </a:cubicBezTo>
                  <a:cubicBezTo>
                    <a:pt x="421" y="96"/>
                    <a:pt x="430" y="111"/>
                    <a:pt x="430" y="131"/>
                  </a:cubicBezTo>
                  <a:close/>
                  <a:moveTo>
                    <a:pt x="362" y="40"/>
                  </a:moveTo>
                  <a:cubicBezTo>
                    <a:pt x="339" y="40"/>
                    <a:pt x="339" y="40"/>
                    <a:pt x="339" y="40"/>
                  </a:cubicBezTo>
                  <a:cubicBezTo>
                    <a:pt x="339" y="71"/>
                    <a:pt x="339" y="71"/>
                    <a:pt x="339" y="71"/>
                  </a:cubicBezTo>
                  <a:cubicBezTo>
                    <a:pt x="362" y="71"/>
                    <a:pt x="362" y="71"/>
                    <a:pt x="362" y="71"/>
                  </a:cubicBezTo>
                  <a:cubicBezTo>
                    <a:pt x="363" y="71"/>
                    <a:pt x="380" y="71"/>
                    <a:pt x="380" y="56"/>
                  </a:cubicBezTo>
                  <a:cubicBezTo>
                    <a:pt x="380" y="41"/>
                    <a:pt x="363" y="40"/>
                    <a:pt x="362" y="40"/>
                  </a:cubicBezTo>
                  <a:close/>
                  <a:moveTo>
                    <a:pt x="392" y="131"/>
                  </a:moveTo>
                  <a:cubicBezTo>
                    <a:pt x="392" y="110"/>
                    <a:pt x="368" y="109"/>
                    <a:pt x="368" y="109"/>
                  </a:cubicBezTo>
                  <a:cubicBezTo>
                    <a:pt x="339" y="109"/>
                    <a:pt x="339" y="109"/>
                    <a:pt x="339" y="109"/>
                  </a:cubicBezTo>
                  <a:cubicBezTo>
                    <a:pt x="339" y="153"/>
                    <a:pt x="339" y="153"/>
                    <a:pt x="339" y="153"/>
                  </a:cubicBezTo>
                  <a:cubicBezTo>
                    <a:pt x="368" y="153"/>
                    <a:pt x="368" y="153"/>
                    <a:pt x="368" y="153"/>
                  </a:cubicBezTo>
                  <a:cubicBezTo>
                    <a:pt x="368" y="153"/>
                    <a:pt x="392" y="152"/>
                    <a:pt x="392" y="131"/>
                  </a:cubicBezTo>
                  <a:close/>
                  <a:moveTo>
                    <a:pt x="696" y="153"/>
                  </a:moveTo>
                  <a:cubicBezTo>
                    <a:pt x="669" y="153"/>
                    <a:pt x="669" y="153"/>
                    <a:pt x="669" y="153"/>
                  </a:cubicBezTo>
                  <a:cubicBezTo>
                    <a:pt x="669" y="42"/>
                    <a:pt x="669" y="42"/>
                    <a:pt x="669" y="42"/>
                  </a:cubicBezTo>
                  <a:cubicBezTo>
                    <a:pt x="696" y="42"/>
                    <a:pt x="696" y="42"/>
                    <a:pt x="696" y="42"/>
                  </a:cubicBezTo>
                  <a:cubicBezTo>
                    <a:pt x="707" y="42"/>
                    <a:pt x="716" y="33"/>
                    <a:pt x="716" y="23"/>
                  </a:cubicBezTo>
                  <a:cubicBezTo>
                    <a:pt x="716" y="12"/>
                    <a:pt x="707" y="3"/>
                    <a:pt x="696" y="3"/>
                  </a:cubicBezTo>
                  <a:cubicBezTo>
                    <a:pt x="603" y="3"/>
                    <a:pt x="603" y="3"/>
                    <a:pt x="603" y="3"/>
                  </a:cubicBezTo>
                  <a:cubicBezTo>
                    <a:pt x="592" y="3"/>
                    <a:pt x="583" y="12"/>
                    <a:pt x="583" y="23"/>
                  </a:cubicBezTo>
                  <a:cubicBezTo>
                    <a:pt x="583" y="33"/>
                    <a:pt x="592" y="42"/>
                    <a:pt x="603" y="42"/>
                  </a:cubicBezTo>
                  <a:cubicBezTo>
                    <a:pt x="630" y="42"/>
                    <a:pt x="630" y="42"/>
                    <a:pt x="630" y="42"/>
                  </a:cubicBezTo>
                  <a:cubicBezTo>
                    <a:pt x="630" y="153"/>
                    <a:pt x="630" y="153"/>
                    <a:pt x="630" y="153"/>
                  </a:cubicBezTo>
                  <a:cubicBezTo>
                    <a:pt x="603" y="153"/>
                    <a:pt x="603" y="153"/>
                    <a:pt x="603" y="153"/>
                  </a:cubicBezTo>
                  <a:cubicBezTo>
                    <a:pt x="592" y="153"/>
                    <a:pt x="583" y="161"/>
                    <a:pt x="583" y="172"/>
                  </a:cubicBezTo>
                  <a:cubicBezTo>
                    <a:pt x="583" y="182"/>
                    <a:pt x="592" y="191"/>
                    <a:pt x="603" y="191"/>
                  </a:cubicBezTo>
                  <a:cubicBezTo>
                    <a:pt x="696" y="191"/>
                    <a:pt x="696" y="191"/>
                    <a:pt x="696" y="191"/>
                  </a:cubicBezTo>
                  <a:cubicBezTo>
                    <a:pt x="707" y="191"/>
                    <a:pt x="716" y="182"/>
                    <a:pt x="716" y="172"/>
                  </a:cubicBezTo>
                  <a:cubicBezTo>
                    <a:pt x="716" y="161"/>
                    <a:pt x="707" y="153"/>
                    <a:pt x="696" y="153"/>
                  </a:cubicBezTo>
                  <a:close/>
                  <a:moveTo>
                    <a:pt x="281" y="114"/>
                  </a:moveTo>
                  <a:cubicBezTo>
                    <a:pt x="281" y="19"/>
                    <a:pt x="281" y="19"/>
                    <a:pt x="281" y="19"/>
                  </a:cubicBezTo>
                  <a:cubicBezTo>
                    <a:pt x="281" y="8"/>
                    <a:pt x="272" y="0"/>
                    <a:pt x="262" y="0"/>
                  </a:cubicBezTo>
                  <a:cubicBezTo>
                    <a:pt x="251" y="0"/>
                    <a:pt x="243" y="8"/>
                    <a:pt x="243" y="19"/>
                  </a:cubicBezTo>
                  <a:cubicBezTo>
                    <a:pt x="243" y="114"/>
                    <a:pt x="243" y="114"/>
                    <a:pt x="243" y="114"/>
                  </a:cubicBezTo>
                  <a:cubicBezTo>
                    <a:pt x="243" y="153"/>
                    <a:pt x="217" y="153"/>
                    <a:pt x="209" y="153"/>
                  </a:cubicBezTo>
                  <a:cubicBezTo>
                    <a:pt x="201" y="153"/>
                    <a:pt x="175" y="153"/>
                    <a:pt x="175" y="114"/>
                  </a:cubicBezTo>
                  <a:cubicBezTo>
                    <a:pt x="175" y="19"/>
                    <a:pt x="175" y="19"/>
                    <a:pt x="175" y="19"/>
                  </a:cubicBezTo>
                  <a:cubicBezTo>
                    <a:pt x="175" y="8"/>
                    <a:pt x="167" y="0"/>
                    <a:pt x="156" y="0"/>
                  </a:cubicBezTo>
                  <a:cubicBezTo>
                    <a:pt x="146" y="0"/>
                    <a:pt x="137" y="8"/>
                    <a:pt x="137" y="19"/>
                  </a:cubicBezTo>
                  <a:cubicBezTo>
                    <a:pt x="137" y="114"/>
                    <a:pt x="137" y="114"/>
                    <a:pt x="137" y="114"/>
                  </a:cubicBezTo>
                  <a:cubicBezTo>
                    <a:pt x="137" y="161"/>
                    <a:pt x="165" y="191"/>
                    <a:pt x="209" y="191"/>
                  </a:cubicBezTo>
                  <a:cubicBezTo>
                    <a:pt x="253" y="191"/>
                    <a:pt x="281" y="161"/>
                    <a:pt x="281" y="114"/>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sp>
        <p:nvSpPr>
          <p:cNvPr id="166" name="Arc 165">
            <a:extLst>
              <a:ext uri="{FF2B5EF4-FFF2-40B4-BE49-F238E27FC236}">
                <a16:creationId xmlns:a16="http://schemas.microsoft.com/office/drawing/2014/main" id="{B6F2C94C-3BC7-4F96-8956-AE7E73CEFB86}"/>
              </a:ext>
            </a:extLst>
          </p:cNvPr>
          <p:cNvSpPr/>
          <p:nvPr/>
        </p:nvSpPr>
        <p:spPr>
          <a:xfrm>
            <a:off x="2607179" y="605768"/>
            <a:ext cx="3929206" cy="3929200"/>
          </a:xfrm>
          <a:prstGeom prst="arc">
            <a:avLst>
              <a:gd name="adj1" fmla="val 9553380"/>
              <a:gd name="adj2" fmla="val 10168261"/>
            </a:avLst>
          </a:prstGeom>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cxnSp>
        <p:nvCxnSpPr>
          <p:cNvPr id="167" name="Straight Connector 166">
            <a:extLst>
              <a:ext uri="{FF2B5EF4-FFF2-40B4-BE49-F238E27FC236}">
                <a16:creationId xmlns:a16="http://schemas.microsoft.com/office/drawing/2014/main" id="{67C26A00-49DD-484F-A696-85756C0DD771}"/>
              </a:ext>
            </a:extLst>
          </p:cNvPr>
          <p:cNvCxnSpPr>
            <a:cxnSpLocks/>
          </p:cNvCxnSpPr>
          <p:nvPr/>
        </p:nvCxnSpPr>
        <p:spPr>
          <a:xfrm flipH="1">
            <a:off x="2836809" y="2598389"/>
            <a:ext cx="1708893" cy="1036481"/>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448738BB-20F5-42B1-87AA-C910AE2C3AB1}"/>
              </a:ext>
            </a:extLst>
          </p:cNvPr>
          <p:cNvSpPr/>
          <p:nvPr/>
        </p:nvSpPr>
        <p:spPr>
          <a:xfrm>
            <a:off x="2516110" y="3268125"/>
            <a:ext cx="727424" cy="727422"/>
          </a:xfrm>
          <a:prstGeom prst="ellipse">
            <a:avLst/>
          </a:prstGeom>
          <a:solidFill>
            <a:schemeClr val="bg2"/>
          </a:solidFill>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130" name="Group 129">
            <a:extLst>
              <a:ext uri="{FF2B5EF4-FFF2-40B4-BE49-F238E27FC236}">
                <a16:creationId xmlns:a16="http://schemas.microsoft.com/office/drawing/2014/main" id="{52AF4717-F414-479C-92A3-D1D0F6354772}"/>
              </a:ext>
            </a:extLst>
          </p:cNvPr>
          <p:cNvGrpSpPr/>
          <p:nvPr/>
        </p:nvGrpSpPr>
        <p:grpSpPr>
          <a:xfrm>
            <a:off x="2588347" y="3337252"/>
            <a:ext cx="590214" cy="590214"/>
            <a:chOff x="-1843206" y="2752009"/>
            <a:chExt cx="1371600" cy="1371600"/>
          </a:xfrm>
        </p:grpSpPr>
        <p:sp>
          <p:nvSpPr>
            <p:cNvPr id="131" name="Freeform: Shape 130">
              <a:extLst>
                <a:ext uri="{FF2B5EF4-FFF2-40B4-BE49-F238E27FC236}">
                  <a16:creationId xmlns:a16="http://schemas.microsoft.com/office/drawing/2014/main" id="{834A4D01-FD95-4D8B-9D04-451E2302B85B}"/>
                </a:ext>
              </a:extLst>
            </p:cNvPr>
            <p:cNvSpPr/>
            <p:nvPr/>
          </p:nvSpPr>
          <p:spPr>
            <a:xfrm>
              <a:off x="-1843206" y="2752009"/>
              <a:ext cx="1371600" cy="1371600"/>
            </a:xfrm>
            <a:custGeom>
              <a:avLst/>
              <a:gdLst>
                <a:gd name="connsiteX0" fmla="*/ 3436144 w 3438525"/>
                <a:gd name="connsiteY0" fmla="*/ 1721644 h 3438525"/>
                <a:gd name="connsiteX1" fmla="*/ 3362801 w 3438525"/>
                <a:gd name="connsiteY1" fmla="*/ 2217896 h 3438525"/>
                <a:gd name="connsiteX2" fmla="*/ 3007519 w 3438525"/>
                <a:gd name="connsiteY2" fmla="*/ 2855119 h 3438525"/>
                <a:gd name="connsiteX3" fmla="*/ 1930241 w 3438525"/>
                <a:gd name="connsiteY3" fmla="*/ 3423761 h 3438525"/>
                <a:gd name="connsiteX4" fmla="*/ 1721644 w 3438525"/>
                <a:gd name="connsiteY4" fmla="*/ 3436144 h 3438525"/>
                <a:gd name="connsiteX5" fmla="*/ 1466374 w 3438525"/>
                <a:gd name="connsiteY5" fmla="*/ 3417094 h 3438525"/>
                <a:gd name="connsiteX6" fmla="*/ 1312069 w 3438525"/>
                <a:gd name="connsiteY6" fmla="*/ 3386614 h 3438525"/>
                <a:gd name="connsiteX7" fmla="*/ 388144 w 3438525"/>
                <a:gd name="connsiteY7" fmla="*/ 2799874 h 3438525"/>
                <a:gd name="connsiteX8" fmla="*/ 7144 w 3438525"/>
                <a:gd name="connsiteY8" fmla="*/ 1721644 h 3438525"/>
                <a:gd name="connsiteX9" fmla="*/ 1721644 w 3438525"/>
                <a:gd name="connsiteY9" fmla="*/ 7144 h 3438525"/>
                <a:gd name="connsiteX10" fmla="*/ 3414236 w 3438525"/>
                <a:gd name="connsiteY10" fmla="*/ 1449229 h 3438525"/>
                <a:gd name="connsiteX11" fmla="*/ 3436144 w 3438525"/>
                <a:gd name="connsiteY11" fmla="*/ 1721644 h 343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8525" h="3438525">
                  <a:moveTo>
                    <a:pt x="3436144" y="1721644"/>
                  </a:moveTo>
                  <a:cubicBezTo>
                    <a:pt x="3436144" y="1894046"/>
                    <a:pt x="3410426" y="2060734"/>
                    <a:pt x="3362801" y="2217896"/>
                  </a:cubicBezTo>
                  <a:cubicBezTo>
                    <a:pt x="3291364" y="2456021"/>
                    <a:pt x="3168491" y="2673191"/>
                    <a:pt x="3007519" y="2855119"/>
                  </a:cubicBezTo>
                  <a:cubicBezTo>
                    <a:pt x="2737009" y="3162776"/>
                    <a:pt x="2357914" y="3371374"/>
                    <a:pt x="1930241" y="3423761"/>
                  </a:cubicBezTo>
                  <a:cubicBezTo>
                    <a:pt x="1861661" y="3432334"/>
                    <a:pt x="1792129" y="3436144"/>
                    <a:pt x="1721644" y="3436144"/>
                  </a:cubicBezTo>
                  <a:cubicBezTo>
                    <a:pt x="1634966" y="3436144"/>
                    <a:pt x="1549241" y="3429476"/>
                    <a:pt x="1466374" y="3417094"/>
                  </a:cubicBezTo>
                  <a:cubicBezTo>
                    <a:pt x="1413986" y="3409474"/>
                    <a:pt x="1362551" y="3398996"/>
                    <a:pt x="1312069" y="3386614"/>
                  </a:cubicBezTo>
                  <a:cubicBezTo>
                    <a:pt x="942499" y="3296126"/>
                    <a:pt x="620554" y="3085624"/>
                    <a:pt x="388144" y="2799874"/>
                  </a:cubicBezTo>
                  <a:cubicBezTo>
                    <a:pt x="150019" y="2505551"/>
                    <a:pt x="7144" y="2130266"/>
                    <a:pt x="7144" y="1721644"/>
                  </a:cubicBezTo>
                  <a:cubicBezTo>
                    <a:pt x="7144" y="774859"/>
                    <a:pt x="774859" y="7144"/>
                    <a:pt x="1721644" y="7144"/>
                  </a:cubicBezTo>
                  <a:cubicBezTo>
                    <a:pt x="2576036" y="7144"/>
                    <a:pt x="3283744" y="631984"/>
                    <a:pt x="3414236" y="1449229"/>
                  </a:cubicBezTo>
                  <a:cubicBezTo>
                    <a:pt x="3428524" y="1537811"/>
                    <a:pt x="3436144" y="1629251"/>
                    <a:pt x="3436144" y="1721644"/>
                  </a:cubicBezTo>
                  <a:close/>
                </a:path>
              </a:pathLst>
            </a:custGeom>
            <a:solidFill>
              <a:srgbClr val="00BCEB"/>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nvGrpSpPr>
            <p:cNvPr id="132" name="Group 131">
              <a:extLst>
                <a:ext uri="{FF2B5EF4-FFF2-40B4-BE49-F238E27FC236}">
                  <a16:creationId xmlns:a16="http://schemas.microsoft.com/office/drawing/2014/main" id="{BAD68D2E-43B8-460E-8474-B193070D28C3}"/>
                </a:ext>
              </a:extLst>
            </p:cNvPr>
            <p:cNvGrpSpPr/>
            <p:nvPr/>
          </p:nvGrpSpPr>
          <p:grpSpPr>
            <a:xfrm>
              <a:off x="-1669193" y="3248977"/>
              <a:ext cx="1151849" cy="874632"/>
              <a:chOff x="-1691228" y="3143352"/>
              <a:chExt cx="1206038" cy="980257"/>
            </a:xfrm>
          </p:grpSpPr>
          <p:sp>
            <p:nvSpPr>
              <p:cNvPr id="139" name="Freeform: Shape 138">
                <a:extLst>
                  <a:ext uri="{FF2B5EF4-FFF2-40B4-BE49-F238E27FC236}">
                    <a16:creationId xmlns:a16="http://schemas.microsoft.com/office/drawing/2014/main" id="{DF0A3BB1-DFAF-4FCA-B34F-2B04EBEB8209}"/>
                  </a:ext>
                </a:extLst>
              </p:cNvPr>
              <p:cNvSpPr/>
              <p:nvPr/>
            </p:nvSpPr>
            <p:spPr>
              <a:xfrm>
                <a:off x="-1688378" y="3161400"/>
                <a:ext cx="1203188" cy="961260"/>
              </a:xfrm>
              <a:custGeom>
                <a:avLst/>
                <a:gdLst>
                  <a:gd name="connsiteX0" fmla="*/ 2981801 w 2981325"/>
                  <a:gd name="connsiteY0" fmla="*/ 1198721 h 2419350"/>
                  <a:gd name="connsiteX1" fmla="*/ 2626519 w 2981325"/>
                  <a:gd name="connsiteY1" fmla="*/ 1835944 h 2419350"/>
                  <a:gd name="connsiteX2" fmla="*/ 1549241 w 2981325"/>
                  <a:gd name="connsiteY2" fmla="*/ 2404586 h 2419350"/>
                  <a:gd name="connsiteX3" fmla="*/ 1340644 w 2981325"/>
                  <a:gd name="connsiteY3" fmla="*/ 2416969 h 2419350"/>
                  <a:gd name="connsiteX4" fmla="*/ 1085374 w 2981325"/>
                  <a:gd name="connsiteY4" fmla="*/ 2397919 h 2419350"/>
                  <a:gd name="connsiteX5" fmla="*/ 931069 w 2981325"/>
                  <a:gd name="connsiteY5" fmla="*/ 2367439 h 2419350"/>
                  <a:gd name="connsiteX6" fmla="*/ 7144 w 2981325"/>
                  <a:gd name="connsiteY6" fmla="*/ 1780699 h 2419350"/>
                  <a:gd name="connsiteX7" fmla="*/ 7144 w 2981325"/>
                  <a:gd name="connsiteY7" fmla="*/ 1640681 h 2419350"/>
                  <a:gd name="connsiteX8" fmla="*/ 1512094 w 2981325"/>
                  <a:gd name="connsiteY8" fmla="*/ 7144 h 2419350"/>
                  <a:gd name="connsiteX9" fmla="*/ 2356961 w 2981325"/>
                  <a:gd name="connsiteY9" fmla="*/ 852011 h 2419350"/>
                  <a:gd name="connsiteX10" fmla="*/ 2574131 w 2981325"/>
                  <a:gd name="connsiteY10" fmla="*/ 791051 h 2419350"/>
                  <a:gd name="connsiteX11" fmla="*/ 2981801 w 2981325"/>
                  <a:gd name="connsiteY11" fmla="*/ 1198721 h 2419350"/>
                  <a:gd name="connsiteX0" fmla="*/ 3016325 w 3016325"/>
                  <a:gd name="connsiteY0" fmla="*/ 1191575 h 2409825"/>
                  <a:gd name="connsiteX1" fmla="*/ 2619374 w 3016325"/>
                  <a:gd name="connsiteY1" fmla="*/ 1828799 h 2409825"/>
                  <a:gd name="connsiteX2" fmla="*/ 1542096 w 3016325"/>
                  <a:gd name="connsiteY2" fmla="*/ 2397441 h 2409825"/>
                  <a:gd name="connsiteX3" fmla="*/ 1333499 w 3016325"/>
                  <a:gd name="connsiteY3" fmla="*/ 2409824 h 2409825"/>
                  <a:gd name="connsiteX4" fmla="*/ 1078229 w 3016325"/>
                  <a:gd name="connsiteY4" fmla="*/ 2390774 h 2409825"/>
                  <a:gd name="connsiteX5" fmla="*/ 923924 w 3016325"/>
                  <a:gd name="connsiteY5" fmla="*/ 2360294 h 2409825"/>
                  <a:gd name="connsiteX6" fmla="*/ -1 w 3016325"/>
                  <a:gd name="connsiteY6" fmla="*/ 1773554 h 2409825"/>
                  <a:gd name="connsiteX7" fmla="*/ -1 w 3016325"/>
                  <a:gd name="connsiteY7" fmla="*/ 1633536 h 2409825"/>
                  <a:gd name="connsiteX8" fmla="*/ 1504949 w 3016325"/>
                  <a:gd name="connsiteY8" fmla="*/ -1 h 2409825"/>
                  <a:gd name="connsiteX9" fmla="*/ 2349816 w 3016325"/>
                  <a:gd name="connsiteY9" fmla="*/ 844866 h 2409825"/>
                  <a:gd name="connsiteX10" fmla="*/ 2566986 w 3016325"/>
                  <a:gd name="connsiteY10" fmla="*/ 783906 h 2409825"/>
                  <a:gd name="connsiteX11" fmla="*/ 3016325 w 3016325"/>
                  <a:gd name="connsiteY11" fmla="*/ 1191575 h 2409825"/>
                  <a:gd name="connsiteX0" fmla="*/ 3016325 w 3016325"/>
                  <a:gd name="connsiteY0" fmla="*/ 1191575 h 2409825"/>
                  <a:gd name="connsiteX1" fmla="*/ 2619374 w 3016325"/>
                  <a:gd name="connsiteY1" fmla="*/ 1828799 h 2409825"/>
                  <a:gd name="connsiteX2" fmla="*/ 1542096 w 3016325"/>
                  <a:gd name="connsiteY2" fmla="*/ 2397441 h 2409825"/>
                  <a:gd name="connsiteX3" fmla="*/ 1333499 w 3016325"/>
                  <a:gd name="connsiteY3" fmla="*/ 2409824 h 2409825"/>
                  <a:gd name="connsiteX4" fmla="*/ 1078229 w 3016325"/>
                  <a:gd name="connsiteY4" fmla="*/ 2390774 h 2409825"/>
                  <a:gd name="connsiteX5" fmla="*/ 923924 w 3016325"/>
                  <a:gd name="connsiteY5" fmla="*/ 2360294 h 2409825"/>
                  <a:gd name="connsiteX6" fmla="*/ -1 w 3016325"/>
                  <a:gd name="connsiteY6" fmla="*/ 1773554 h 2409825"/>
                  <a:gd name="connsiteX7" fmla="*/ -1 w 3016325"/>
                  <a:gd name="connsiteY7" fmla="*/ 1633536 h 2409825"/>
                  <a:gd name="connsiteX8" fmla="*/ 1504949 w 3016325"/>
                  <a:gd name="connsiteY8" fmla="*/ -1 h 2409825"/>
                  <a:gd name="connsiteX9" fmla="*/ 2349816 w 3016325"/>
                  <a:gd name="connsiteY9" fmla="*/ 844866 h 2409825"/>
                  <a:gd name="connsiteX10" fmla="*/ 2566986 w 3016325"/>
                  <a:gd name="connsiteY10" fmla="*/ 783906 h 2409825"/>
                  <a:gd name="connsiteX11" fmla="*/ 3016325 w 3016325"/>
                  <a:gd name="connsiteY11" fmla="*/ 1191575 h 2409825"/>
                  <a:gd name="connsiteX0" fmla="*/ 3016325 w 3016325"/>
                  <a:gd name="connsiteY0" fmla="*/ 1191575 h 2409825"/>
                  <a:gd name="connsiteX1" fmla="*/ 2619374 w 3016325"/>
                  <a:gd name="connsiteY1" fmla="*/ 1828799 h 2409825"/>
                  <a:gd name="connsiteX2" fmla="*/ 1542096 w 3016325"/>
                  <a:gd name="connsiteY2" fmla="*/ 2397441 h 2409825"/>
                  <a:gd name="connsiteX3" fmla="*/ 1333499 w 3016325"/>
                  <a:gd name="connsiteY3" fmla="*/ 2409824 h 2409825"/>
                  <a:gd name="connsiteX4" fmla="*/ 1078229 w 3016325"/>
                  <a:gd name="connsiteY4" fmla="*/ 2390774 h 2409825"/>
                  <a:gd name="connsiteX5" fmla="*/ 923924 w 3016325"/>
                  <a:gd name="connsiteY5" fmla="*/ 2360294 h 2409825"/>
                  <a:gd name="connsiteX6" fmla="*/ -1 w 3016325"/>
                  <a:gd name="connsiteY6" fmla="*/ 1773554 h 2409825"/>
                  <a:gd name="connsiteX7" fmla="*/ -1 w 3016325"/>
                  <a:gd name="connsiteY7" fmla="*/ 1633536 h 2409825"/>
                  <a:gd name="connsiteX8" fmla="*/ 1504949 w 3016325"/>
                  <a:gd name="connsiteY8" fmla="*/ -1 h 2409825"/>
                  <a:gd name="connsiteX9" fmla="*/ 2349816 w 3016325"/>
                  <a:gd name="connsiteY9" fmla="*/ 844866 h 2409825"/>
                  <a:gd name="connsiteX10" fmla="*/ 2566986 w 3016325"/>
                  <a:gd name="connsiteY10" fmla="*/ 783906 h 2409825"/>
                  <a:gd name="connsiteX11" fmla="*/ 3016325 w 3016325"/>
                  <a:gd name="connsiteY11" fmla="*/ 1191575 h 240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6325" h="2409825">
                    <a:moveTo>
                      <a:pt x="3016325" y="1191575"/>
                    </a:moveTo>
                    <a:cubicBezTo>
                      <a:pt x="2907384" y="1416317"/>
                      <a:pt x="2823409" y="1605519"/>
                      <a:pt x="2619374" y="1828799"/>
                    </a:cubicBezTo>
                    <a:cubicBezTo>
                      <a:pt x="2405242" y="2063129"/>
                      <a:pt x="1969769" y="2345054"/>
                      <a:pt x="1542096" y="2397441"/>
                    </a:cubicBezTo>
                    <a:cubicBezTo>
                      <a:pt x="1473516" y="2406014"/>
                      <a:pt x="1403984" y="2409824"/>
                      <a:pt x="1333499" y="2409824"/>
                    </a:cubicBezTo>
                    <a:cubicBezTo>
                      <a:pt x="1246821" y="2409824"/>
                      <a:pt x="1161096" y="2403156"/>
                      <a:pt x="1078229" y="2390774"/>
                    </a:cubicBezTo>
                    <a:cubicBezTo>
                      <a:pt x="1025841" y="2383154"/>
                      <a:pt x="974406" y="2372676"/>
                      <a:pt x="923924" y="2360294"/>
                    </a:cubicBezTo>
                    <a:cubicBezTo>
                      <a:pt x="554354" y="2269806"/>
                      <a:pt x="232409" y="2059304"/>
                      <a:pt x="-1" y="1773554"/>
                    </a:cubicBezTo>
                    <a:lnTo>
                      <a:pt x="-1" y="1633536"/>
                    </a:lnTo>
                    <a:lnTo>
                      <a:pt x="1504949" y="-1"/>
                    </a:lnTo>
                    <a:lnTo>
                      <a:pt x="2349816" y="844866"/>
                    </a:lnTo>
                    <a:lnTo>
                      <a:pt x="2566986" y="783906"/>
                    </a:lnTo>
                    <a:cubicBezTo>
                      <a:pt x="2702876" y="919796"/>
                      <a:pt x="2880435" y="1055685"/>
                      <a:pt x="3016325" y="1191575"/>
                    </a:cubicBezTo>
                    <a:close/>
                  </a:path>
                </a:pathLst>
              </a:custGeom>
              <a:solidFill>
                <a:srgbClr val="00A3E0"/>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0" name="Freeform: Shape 139">
                <a:extLst>
                  <a:ext uri="{FF2B5EF4-FFF2-40B4-BE49-F238E27FC236}">
                    <a16:creationId xmlns:a16="http://schemas.microsoft.com/office/drawing/2014/main" id="{5C5347D9-62F4-4162-A4B7-EB9767842F20}"/>
                  </a:ext>
                </a:extLst>
              </p:cNvPr>
              <p:cNvSpPr/>
              <p:nvPr/>
            </p:nvSpPr>
            <p:spPr>
              <a:xfrm>
                <a:off x="-1691228" y="3143352"/>
                <a:ext cx="619310" cy="980257"/>
              </a:xfrm>
              <a:custGeom>
                <a:avLst/>
                <a:gdLst>
                  <a:gd name="connsiteX0" fmla="*/ 1549241 w 1552575"/>
                  <a:gd name="connsiteY0" fmla="*/ 135731 h 2457450"/>
                  <a:gd name="connsiteX1" fmla="*/ 1549241 w 1552575"/>
                  <a:gd name="connsiteY1" fmla="*/ 2442686 h 2457450"/>
                  <a:gd name="connsiteX2" fmla="*/ 1340644 w 1552575"/>
                  <a:gd name="connsiteY2" fmla="*/ 2455069 h 2457450"/>
                  <a:gd name="connsiteX3" fmla="*/ 1085374 w 1552575"/>
                  <a:gd name="connsiteY3" fmla="*/ 2436019 h 2457450"/>
                  <a:gd name="connsiteX4" fmla="*/ 931069 w 1552575"/>
                  <a:gd name="connsiteY4" fmla="*/ 2405539 h 2457450"/>
                  <a:gd name="connsiteX5" fmla="*/ 7144 w 1552575"/>
                  <a:gd name="connsiteY5" fmla="*/ 1818799 h 2457450"/>
                  <a:gd name="connsiteX6" fmla="*/ 7144 w 1552575"/>
                  <a:gd name="connsiteY6" fmla="*/ 135731 h 2457450"/>
                  <a:gd name="connsiteX7" fmla="*/ 135731 w 1552575"/>
                  <a:gd name="connsiteY7" fmla="*/ 7144 h 2457450"/>
                  <a:gd name="connsiteX8" fmla="*/ 1420654 w 1552575"/>
                  <a:gd name="connsiteY8" fmla="*/ 7144 h 2457450"/>
                  <a:gd name="connsiteX9" fmla="*/ 1549241 w 1552575"/>
                  <a:gd name="connsiteY9" fmla="*/ 135731 h 245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2575" h="2457450">
                    <a:moveTo>
                      <a:pt x="1549241" y="135731"/>
                    </a:moveTo>
                    <a:lnTo>
                      <a:pt x="1549241" y="2442686"/>
                    </a:lnTo>
                    <a:cubicBezTo>
                      <a:pt x="1480661" y="2451259"/>
                      <a:pt x="1411129" y="2455069"/>
                      <a:pt x="1340644" y="2455069"/>
                    </a:cubicBezTo>
                    <a:cubicBezTo>
                      <a:pt x="1253966" y="2455069"/>
                      <a:pt x="1168241" y="2448401"/>
                      <a:pt x="1085374" y="2436019"/>
                    </a:cubicBezTo>
                    <a:cubicBezTo>
                      <a:pt x="1032986" y="2428399"/>
                      <a:pt x="981551" y="2417921"/>
                      <a:pt x="931069" y="2405539"/>
                    </a:cubicBezTo>
                    <a:cubicBezTo>
                      <a:pt x="561499" y="2315051"/>
                      <a:pt x="239554" y="2104549"/>
                      <a:pt x="7144" y="1818799"/>
                    </a:cubicBezTo>
                    <a:lnTo>
                      <a:pt x="7144" y="135731"/>
                    </a:lnTo>
                    <a:cubicBezTo>
                      <a:pt x="7144" y="64294"/>
                      <a:pt x="64294" y="7144"/>
                      <a:pt x="135731" y="7144"/>
                    </a:cubicBezTo>
                    <a:lnTo>
                      <a:pt x="1420654" y="7144"/>
                    </a:lnTo>
                    <a:cubicBezTo>
                      <a:pt x="1492091" y="7144"/>
                      <a:pt x="1549241" y="64294"/>
                      <a:pt x="1549241" y="135731"/>
                    </a:cubicBezTo>
                    <a:close/>
                  </a:path>
                </a:pathLst>
              </a:custGeom>
              <a:solidFill>
                <a:srgbClr val="FFFFF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1" name="Freeform: Shape 140">
                <a:extLst>
                  <a:ext uri="{FF2B5EF4-FFF2-40B4-BE49-F238E27FC236}">
                    <a16:creationId xmlns:a16="http://schemas.microsoft.com/office/drawing/2014/main" id="{722B5FBB-B16B-4EB6-94AD-994DA35AE707}"/>
                  </a:ext>
                </a:extLst>
              </p:cNvPr>
              <p:cNvSpPr/>
              <p:nvPr/>
            </p:nvSpPr>
            <p:spPr>
              <a:xfrm>
                <a:off x="-1260751" y="3457566"/>
                <a:ext cx="619310" cy="664903"/>
              </a:xfrm>
              <a:custGeom>
                <a:avLst/>
                <a:gdLst>
                  <a:gd name="connsiteX0" fmla="*/ 1548289 w 1552575"/>
                  <a:gd name="connsiteY0" fmla="*/ 154781 h 1666875"/>
                  <a:gd name="connsiteX1" fmla="*/ 1548289 w 1552575"/>
                  <a:gd name="connsiteY1" fmla="*/ 1086326 h 1666875"/>
                  <a:gd name="connsiteX2" fmla="*/ 471011 w 1552575"/>
                  <a:gd name="connsiteY2" fmla="*/ 1654969 h 1666875"/>
                  <a:gd name="connsiteX3" fmla="*/ 262414 w 1552575"/>
                  <a:gd name="connsiteY3" fmla="*/ 1667351 h 1666875"/>
                  <a:gd name="connsiteX4" fmla="*/ 7144 w 1552575"/>
                  <a:gd name="connsiteY4" fmla="*/ 1648301 h 1666875"/>
                  <a:gd name="connsiteX5" fmla="*/ 7144 w 1552575"/>
                  <a:gd name="connsiteY5" fmla="*/ 154781 h 1666875"/>
                  <a:gd name="connsiteX6" fmla="*/ 154781 w 1552575"/>
                  <a:gd name="connsiteY6" fmla="*/ 7144 h 1666875"/>
                  <a:gd name="connsiteX7" fmla="*/ 1401604 w 1552575"/>
                  <a:gd name="connsiteY7" fmla="*/ 7144 h 1666875"/>
                  <a:gd name="connsiteX8" fmla="*/ 1548289 w 1552575"/>
                  <a:gd name="connsiteY8" fmla="*/ 154781 h 166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2575" h="1666875">
                    <a:moveTo>
                      <a:pt x="1548289" y="154781"/>
                    </a:moveTo>
                    <a:lnTo>
                      <a:pt x="1548289" y="1086326"/>
                    </a:lnTo>
                    <a:cubicBezTo>
                      <a:pt x="1277779" y="1393984"/>
                      <a:pt x="898684" y="1602581"/>
                      <a:pt x="471011" y="1654969"/>
                    </a:cubicBezTo>
                    <a:cubicBezTo>
                      <a:pt x="402431" y="1663541"/>
                      <a:pt x="332899" y="1667351"/>
                      <a:pt x="262414" y="1667351"/>
                    </a:cubicBezTo>
                    <a:cubicBezTo>
                      <a:pt x="175736" y="1667351"/>
                      <a:pt x="90011" y="1660684"/>
                      <a:pt x="7144" y="1648301"/>
                    </a:cubicBezTo>
                    <a:lnTo>
                      <a:pt x="7144" y="154781"/>
                    </a:lnTo>
                    <a:cubicBezTo>
                      <a:pt x="7144" y="72866"/>
                      <a:pt x="72866" y="7144"/>
                      <a:pt x="154781" y="7144"/>
                    </a:cubicBezTo>
                    <a:lnTo>
                      <a:pt x="1401604" y="7144"/>
                    </a:lnTo>
                    <a:cubicBezTo>
                      <a:pt x="1481614" y="7144"/>
                      <a:pt x="1548289" y="72866"/>
                      <a:pt x="1548289" y="154781"/>
                    </a:cubicBezTo>
                    <a:close/>
                  </a:path>
                </a:pathLst>
              </a:custGeom>
              <a:solidFill>
                <a:srgbClr val="FFFFF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2" name="Freeform: Shape 141">
                <a:extLst>
                  <a:ext uri="{FF2B5EF4-FFF2-40B4-BE49-F238E27FC236}">
                    <a16:creationId xmlns:a16="http://schemas.microsoft.com/office/drawing/2014/main" id="{DB891820-98B0-4EBC-A11A-FAE27473CCCE}"/>
                  </a:ext>
                </a:extLst>
              </p:cNvPr>
              <p:cNvSpPr/>
              <p:nvPr/>
            </p:nvSpPr>
            <p:spPr>
              <a:xfrm>
                <a:off x="-1593582" y="3248977"/>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3" name="Freeform: Shape 142">
                <a:extLst>
                  <a:ext uri="{FF2B5EF4-FFF2-40B4-BE49-F238E27FC236}">
                    <a16:creationId xmlns:a16="http://schemas.microsoft.com/office/drawing/2014/main" id="{B5911627-E9E6-4DFA-B31F-AE3FE6E1A5DD}"/>
                  </a:ext>
                </a:extLst>
              </p:cNvPr>
              <p:cNvSpPr/>
              <p:nvPr/>
            </p:nvSpPr>
            <p:spPr>
              <a:xfrm>
                <a:off x="-1593582" y="3377398"/>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4" name="Freeform: Shape 143">
                <a:extLst>
                  <a:ext uri="{FF2B5EF4-FFF2-40B4-BE49-F238E27FC236}">
                    <a16:creationId xmlns:a16="http://schemas.microsoft.com/office/drawing/2014/main" id="{D6F72EA2-7E1F-408A-B069-D8613EC956ED}"/>
                  </a:ext>
                </a:extLst>
              </p:cNvPr>
              <p:cNvSpPr/>
              <p:nvPr/>
            </p:nvSpPr>
            <p:spPr>
              <a:xfrm>
                <a:off x="-1593582" y="3505439"/>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5" name="Freeform: Shape 144">
                <a:extLst>
                  <a:ext uri="{FF2B5EF4-FFF2-40B4-BE49-F238E27FC236}">
                    <a16:creationId xmlns:a16="http://schemas.microsoft.com/office/drawing/2014/main" id="{C985E225-23FD-4A3D-B594-499CF79B1146}"/>
                  </a:ext>
                </a:extLst>
              </p:cNvPr>
              <p:cNvSpPr/>
              <p:nvPr/>
            </p:nvSpPr>
            <p:spPr>
              <a:xfrm>
                <a:off x="-1593582" y="3633480"/>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6" name="Freeform: Shape 145">
                <a:extLst>
                  <a:ext uri="{FF2B5EF4-FFF2-40B4-BE49-F238E27FC236}">
                    <a16:creationId xmlns:a16="http://schemas.microsoft.com/office/drawing/2014/main" id="{FC58C98B-416B-4033-BEB3-1EF5AB93C48C}"/>
                  </a:ext>
                </a:extLst>
              </p:cNvPr>
              <p:cNvSpPr/>
              <p:nvPr/>
            </p:nvSpPr>
            <p:spPr>
              <a:xfrm>
                <a:off x="-1438945" y="3248977"/>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7" name="Freeform: Shape 146">
                <a:extLst>
                  <a:ext uri="{FF2B5EF4-FFF2-40B4-BE49-F238E27FC236}">
                    <a16:creationId xmlns:a16="http://schemas.microsoft.com/office/drawing/2014/main" id="{E2FC42A6-A34B-4B15-BCE8-AFFEB7C01D64}"/>
                  </a:ext>
                </a:extLst>
              </p:cNvPr>
              <p:cNvSpPr/>
              <p:nvPr/>
            </p:nvSpPr>
            <p:spPr>
              <a:xfrm>
                <a:off x="-1438945" y="3377398"/>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8" name="Freeform: Shape 147">
                <a:extLst>
                  <a:ext uri="{FF2B5EF4-FFF2-40B4-BE49-F238E27FC236}">
                    <a16:creationId xmlns:a16="http://schemas.microsoft.com/office/drawing/2014/main" id="{E869BEF0-E7F6-45B0-AC65-EF37621D4339}"/>
                  </a:ext>
                </a:extLst>
              </p:cNvPr>
              <p:cNvSpPr/>
              <p:nvPr/>
            </p:nvSpPr>
            <p:spPr>
              <a:xfrm>
                <a:off x="-1438945" y="3505439"/>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9" name="Freeform: Shape 148">
                <a:extLst>
                  <a:ext uri="{FF2B5EF4-FFF2-40B4-BE49-F238E27FC236}">
                    <a16:creationId xmlns:a16="http://schemas.microsoft.com/office/drawing/2014/main" id="{6078BB6B-3189-4163-BF01-78B24D295EBD}"/>
                  </a:ext>
                </a:extLst>
              </p:cNvPr>
              <p:cNvSpPr/>
              <p:nvPr/>
            </p:nvSpPr>
            <p:spPr>
              <a:xfrm>
                <a:off x="-1438945" y="3633480"/>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0" name="Freeform: Shape 149">
                <a:extLst>
                  <a:ext uri="{FF2B5EF4-FFF2-40B4-BE49-F238E27FC236}">
                    <a16:creationId xmlns:a16="http://schemas.microsoft.com/office/drawing/2014/main" id="{5C7D0C67-2D56-4E7C-8FAB-AE2745DF2AA0}"/>
                  </a:ext>
                </a:extLst>
              </p:cNvPr>
              <p:cNvSpPr/>
              <p:nvPr/>
            </p:nvSpPr>
            <p:spPr>
              <a:xfrm>
                <a:off x="-1284687" y="3248977"/>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1" name="Freeform: Shape 150">
                <a:extLst>
                  <a:ext uri="{FF2B5EF4-FFF2-40B4-BE49-F238E27FC236}">
                    <a16:creationId xmlns:a16="http://schemas.microsoft.com/office/drawing/2014/main" id="{35A713E5-8439-4053-A2ED-3CF899C8614C}"/>
                  </a:ext>
                </a:extLst>
              </p:cNvPr>
              <p:cNvSpPr/>
              <p:nvPr/>
            </p:nvSpPr>
            <p:spPr>
              <a:xfrm>
                <a:off x="-1284687" y="3377398"/>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2" name="Freeform: Shape 151">
                <a:extLst>
                  <a:ext uri="{FF2B5EF4-FFF2-40B4-BE49-F238E27FC236}">
                    <a16:creationId xmlns:a16="http://schemas.microsoft.com/office/drawing/2014/main" id="{2F8EF748-CDCA-4EE9-A145-FCA5E72DF3A4}"/>
                  </a:ext>
                </a:extLst>
              </p:cNvPr>
              <p:cNvSpPr/>
              <p:nvPr/>
            </p:nvSpPr>
            <p:spPr>
              <a:xfrm>
                <a:off x="-1284687" y="3505439"/>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3" name="Freeform: Shape 152">
                <a:extLst>
                  <a:ext uri="{FF2B5EF4-FFF2-40B4-BE49-F238E27FC236}">
                    <a16:creationId xmlns:a16="http://schemas.microsoft.com/office/drawing/2014/main" id="{588662B5-AA24-4E6E-B69A-FFCBB1D0857F}"/>
                  </a:ext>
                </a:extLst>
              </p:cNvPr>
              <p:cNvSpPr/>
              <p:nvPr/>
            </p:nvSpPr>
            <p:spPr>
              <a:xfrm>
                <a:off x="-1284687" y="3633480"/>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4" name="Freeform: Shape 153">
                <a:extLst>
                  <a:ext uri="{FF2B5EF4-FFF2-40B4-BE49-F238E27FC236}">
                    <a16:creationId xmlns:a16="http://schemas.microsoft.com/office/drawing/2014/main" id="{D6DAAC34-3FE3-461F-B34D-5D7305D5188D}"/>
                  </a:ext>
                </a:extLst>
              </p:cNvPr>
              <p:cNvSpPr/>
              <p:nvPr/>
            </p:nvSpPr>
            <p:spPr>
              <a:xfrm>
                <a:off x="-1043043" y="3540774"/>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5" name="Freeform: Shape 154">
                <a:extLst>
                  <a:ext uri="{FF2B5EF4-FFF2-40B4-BE49-F238E27FC236}">
                    <a16:creationId xmlns:a16="http://schemas.microsoft.com/office/drawing/2014/main" id="{66C7DEDA-C6BB-42C7-9008-1EA616857CBF}"/>
                  </a:ext>
                </a:extLst>
              </p:cNvPr>
              <p:cNvSpPr/>
              <p:nvPr/>
            </p:nvSpPr>
            <p:spPr>
              <a:xfrm>
                <a:off x="-1043043" y="3639180"/>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6" name="Freeform: Shape 155">
                <a:extLst>
                  <a:ext uri="{FF2B5EF4-FFF2-40B4-BE49-F238E27FC236}">
                    <a16:creationId xmlns:a16="http://schemas.microsoft.com/office/drawing/2014/main" id="{EED5E926-6355-43B6-8A70-AFB58B286F88}"/>
                  </a:ext>
                </a:extLst>
              </p:cNvPr>
              <p:cNvSpPr/>
              <p:nvPr/>
            </p:nvSpPr>
            <p:spPr>
              <a:xfrm>
                <a:off x="-1043043" y="3737585"/>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7" name="Freeform: Shape 156">
                <a:extLst>
                  <a:ext uri="{FF2B5EF4-FFF2-40B4-BE49-F238E27FC236}">
                    <a16:creationId xmlns:a16="http://schemas.microsoft.com/office/drawing/2014/main" id="{C76730FB-3ED2-4591-97C1-F4A781C9205E}"/>
                  </a:ext>
                </a:extLst>
              </p:cNvPr>
              <p:cNvSpPr/>
              <p:nvPr/>
            </p:nvSpPr>
            <p:spPr>
              <a:xfrm>
                <a:off x="-1043043" y="3835991"/>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8" name="Freeform: Shape 157">
                <a:extLst>
                  <a:ext uri="{FF2B5EF4-FFF2-40B4-BE49-F238E27FC236}">
                    <a16:creationId xmlns:a16="http://schemas.microsoft.com/office/drawing/2014/main" id="{D3B09E97-7F61-4F29-BC8B-483F086C6D6B}"/>
                  </a:ext>
                </a:extLst>
              </p:cNvPr>
              <p:cNvSpPr/>
              <p:nvPr/>
            </p:nvSpPr>
            <p:spPr>
              <a:xfrm>
                <a:off x="-924500" y="3540774"/>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9" name="Freeform: Shape 158">
                <a:extLst>
                  <a:ext uri="{FF2B5EF4-FFF2-40B4-BE49-F238E27FC236}">
                    <a16:creationId xmlns:a16="http://schemas.microsoft.com/office/drawing/2014/main" id="{E26D0CFD-226B-4DD1-8E2F-9D78C1C1309E}"/>
                  </a:ext>
                </a:extLst>
              </p:cNvPr>
              <p:cNvSpPr/>
              <p:nvPr/>
            </p:nvSpPr>
            <p:spPr>
              <a:xfrm>
                <a:off x="-924500" y="3639180"/>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0" name="Freeform: Shape 159">
                <a:extLst>
                  <a:ext uri="{FF2B5EF4-FFF2-40B4-BE49-F238E27FC236}">
                    <a16:creationId xmlns:a16="http://schemas.microsoft.com/office/drawing/2014/main" id="{45E7B9EB-84EF-453E-B8BB-726DC6B3C0AE}"/>
                  </a:ext>
                </a:extLst>
              </p:cNvPr>
              <p:cNvSpPr/>
              <p:nvPr/>
            </p:nvSpPr>
            <p:spPr>
              <a:xfrm>
                <a:off x="-924500" y="3737585"/>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1" name="Freeform: Shape 160">
                <a:extLst>
                  <a:ext uri="{FF2B5EF4-FFF2-40B4-BE49-F238E27FC236}">
                    <a16:creationId xmlns:a16="http://schemas.microsoft.com/office/drawing/2014/main" id="{7690AFD7-44E7-4CD8-BA43-8B811A2FA3EA}"/>
                  </a:ext>
                </a:extLst>
              </p:cNvPr>
              <p:cNvSpPr/>
              <p:nvPr/>
            </p:nvSpPr>
            <p:spPr>
              <a:xfrm>
                <a:off x="-924500" y="3835991"/>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2" name="Freeform: Shape 161">
                <a:extLst>
                  <a:ext uri="{FF2B5EF4-FFF2-40B4-BE49-F238E27FC236}">
                    <a16:creationId xmlns:a16="http://schemas.microsoft.com/office/drawing/2014/main" id="{AFC89B81-22C3-4DA4-94FD-D0E26BB0B57D}"/>
                  </a:ext>
                </a:extLst>
              </p:cNvPr>
              <p:cNvSpPr/>
              <p:nvPr/>
            </p:nvSpPr>
            <p:spPr>
              <a:xfrm>
                <a:off x="-805957" y="3540774"/>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3" name="Freeform: Shape 162">
                <a:extLst>
                  <a:ext uri="{FF2B5EF4-FFF2-40B4-BE49-F238E27FC236}">
                    <a16:creationId xmlns:a16="http://schemas.microsoft.com/office/drawing/2014/main" id="{154B2336-F92C-4041-B971-D697D5E9F008}"/>
                  </a:ext>
                </a:extLst>
              </p:cNvPr>
              <p:cNvSpPr/>
              <p:nvPr/>
            </p:nvSpPr>
            <p:spPr>
              <a:xfrm>
                <a:off x="-805957" y="3639180"/>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4" name="Freeform: Shape 163">
                <a:extLst>
                  <a:ext uri="{FF2B5EF4-FFF2-40B4-BE49-F238E27FC236}">
                    <a16:creationId xmlns:a16="http://schemas.microsoft.com/office/drawing/2014/main" id="{998299D6-D6E3-416F-9018-687D7915A5E8}"/>
                  </a:ext>
                </a:extLst>
              </p:cNvPr>
              <p:cNvSpPr/>
              <p:nvPr/>
            </p:nvSpPr>
            <p:spPr>
              <a:xfrm>
                <a:off x="-805957" y="3737585"/>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5" name="Freeform: Shape 164">
                <a:extLst>
                  <a:ext uri="{FF2B5EF4-FFF2-40B4-BE49-F238E27FC236}">
                    <a16:creationId xmlns:a16="http://schemas.microsoft.com/office/drawing/2014/main" id="{A3CC2822-8A04-4658-876E-69CFE9088372}"/>
                  </a:ext>
                </a:extLst>
              </p:cNvPr>
              <p:cNvSpPr/>
              <p:nvPr/>
            </p:nvSpPr>
            <p:spPr>
              <a:xfrm>
                <a:off x="-805957" y="3835991"/>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sp>
          <p:nvSpPr>
            <p:cNvPr id="133" name="Freeform 6">
              <a:extLst>
                <a:ext uri="{FF2B5EF4-FFF2-40B4-BE49-F238E27FC236}">
                  <a16:creationId xmlns:a16="http://schemas.microsoft.com/office/drawing/2014/main" id="{E9C38BCC-AF76-48DA-840D-09CDA6E6A73B}"/>
                </a:ext>
              </a:extLst>
            </p:cNvPr>
            <p:cNvSpPr>
              <a:spLocks/>
            </p:cNvSpPr>
            <p:nvPr/>
          </p:nvSpPr>
          <p:spPr bwMode="auto">
            <a:xfrm>
              <a:off x="-1155949" y="2955266"/>
              <a:ext cx="681541" cy="737705"/>
            </a:xfrm>
            <a:custGeom>
              <a:avLst/>
              <a:gdLst>
                <a:gd name="T0" fmla="*/ 1245 w 1245"/>
                <a:gd name="T1" fmla="*/ 496 h 1192"/>
                <a:gd name="T2" fmla="*/ 1020 w 1245"/>
                <a:gd name="T3" fmla="*/ 272 h 1192"/>
                <a:gd name="T4" fmla="*/ 1018 w 1245"/>
                <a:gd name="T5" fmla="*/ 271 h 1192"/>
                <a:gd name="T6" fmla="*/ 23 w 1245"/>
                <a:gd name="T7" fmla="*/ 276 h 1192"/>
                <a:gd name="T8" fmla="*/ 23 w 1245"/>
                <a:gd name="T9" fmla="*/ 361 h 1192"/>
                <a:gd name="T10" fmla="*/ 26 w 1245"/>
                <a:gd name="T11" fmla="*/ 363 h 1192"/>
                <a:gd name="T12" fmla="*/ 26 w 1245"/>
                <a:gd name="T13" fmla="*/ 363 h 1192"/>
                <a:gd name="T14" fmla="*/ 149 w 1245"/>
                <a:gd name="T15" fmla="*/ 487 h 1192"/>
                <a:gd name="T16" fmla="*/ 167 w 1245"/>
                <a:gd name="T17" fmla="*/ 527 h 1192"/>
                <a:gd name="T18" fmla="*/ 168 w 1245"/>
                <a:gd name="T19" fmla="*/ 528 h 1192"/>
                <a:gd name="T20" fmla="*/ 168 w 1245"/>
                <a:gd name="T21" fmla="*/ 529 h 1192"/>
                <a:gd name="T22" fmla="*/ 302 w 1245"/>
                <a:gd name="T23" fmla="*/ 663 h 1192"/>
                <a:gd name="T24" fmla="*/ 318 w 1245"/>
                <a:gd name="T25" fmla="*/ 692 h 1192"/>
                <a:gd name="T26" fmla="*/ 318 w 1245"/>
                <a:gd name="T27" fmla="*/ 692 h 1192"/>
                <a:gd name="T28" fmla="*/ 432 w 1245"/>
                <a:gd name="T29" fmla="*/ 806 h 1192"/>
                <a:gd name="T30" fmla="*/ 432 w 1245"/>
                <a:gd name="T31" fmla="*/ 812 h 1192"/>
                <a:gd name="T32" fmla="*/ 467 w 1245"/>
                <a:gd name="T33" fmla="*/ 885 h 1192"/>
                <a:gd name="T34" fmla="*/ 775 w 1245"/>
                <a:gd name="T35" fmla="*/ 1192 h 1192"/>
                <a:gd name="T36" fmla="*/ 1245 w 1245"/>
                <a:gd name="T37" fmla="*/ 516 h 1192"/>
                <a:gd name="T38" fmla="*/ 1245 w 1245"/>
                <a:gd name="T39" fmla="*/ 496 h 1192"/>
                <a:gd name="connsiteX0" fmla="*/ 9954 w 13217"/>
                <a:gd name="connsiteY0" fmla="*/ 3582 h 14923"/>
                <a:gd name="connsiteX1" fmla="*/ 8147 w 13217"/>
                <a:gd name="connsiteY1" fmla="*/ 1703 h 14923"/>
                <a:gd name="connsiteX2" fmla="*/ 8131 w 13217"/>
                <a:gd name="connsiteY2" fmla="*/ 1694 h 14923"/>
                <a:gd name="connsiteX3" fmla="*/ 139 w 13217"/>
                <a:gd name="connsiteY3" fmla="*/ 1736 h 14923"/>
                <a:gd name="connsiteX4" fmla="*/ 139 w 13217"/>
                <a:gd name="connsiteY4" fmla="*/ 2450 h 14923"/>
                <a:gd name="connsiteX5" fmla="*/ 163 w 13217"/>
                <a:gd name="connsiteY5" fmla="*/ 2466 h 14923"/>
                <a:gd name="connsiteX6" fmla="*/ 163 w 13217"/>
                <a:gd name="connsiteY6" fmla="*/ 2466 h 14923"/>
                <a:gd name="connsiteX7" fmla="*/ 1151 w 13217"/>
                <a:gd name="connsiteY7" fmla="*/ 3507 h 14923"/>
                <a:gd name="connsiteX8" fmla="*/ 1295 w 13217"/>
                <a:gd name="connsiteY8" fmla="*/ 3842 h 14923"/>
                <a:gd name="connsiteX9" fmla="*/ 1303 w 13217"/>
                <a:gd name="connsiteY9" fmla="*/ 3851 h 14923"/>
                <a:gd name="connsiteX10" fmla="*/ 1303 w 13217"/>
                <a:gd name="connsiteY10" fmla="*/ 3859 h 14923"/>
                <a:gd name="connsiteX11" fmla="*/ 2380 w 13217"/>
                <a:gd name="connsiteY11" fmla="*/ 4983 h 14923"/>
                <a:gd name="connsiteX12" fmla="*/ 2508 w 13217"/>
                <a:gd name="connsiteY12" fmla="*/ 5226 h 14923"/>
                <a:gd name="connsiteX13" fmla="*/ 2508 w 13217"/>
                <a:gd name="connsiteY13" fmla="*/ 5226 h 14923"/>
                <a:gd name="connsiteX14" fmla="*/ 3424 w 13217"/>
                <a:gd name="connsiteY14" fmla="*/ 6183 h 14923"/>
                <a:gd name="connsiteX15" fmla="*/ 3424 w 13217"/>
                <a:gd name="connsiteY15" fmla="*/ 6233 h 14923"/>
                <a:gd name="connsiteX16" fmla="*/ 3705 w 13217"/>
                <a:gd name="connsiteY16" fmla="*/ 6845 h 14923"/>
                <a:gd name="connsiteX17" fmla="*/ 12649 w 13217"/>
                <a:gd name="connsiteY17" fmla="*/ 14923 h 14923"/>
                <a:gd name="connsiteX18" fmla="*/ 9954 w 13217"/>
                <a:gd name="connsiteY18" fmla="*/ 3750 h 14923"/>
                <a:gd name="connsiteX19" fmla="*/ 9954 w 13217"/>
                <a:gd name="connsiteY19" fmla="*/ 3582 h 14923"/>
                <a:gd name="connsiteX0" fmla="*/ 9954 w 13757"/>
                <a:gd name="connsiteY0" fmla="*/ 3582 h 14923"/>
                <a:gd name="connsiteX1" fmla="*/ 8147 w 13757"/>
                <a:gd name="connsiteY1" fmla="*/ 1703 h 14923"/>
                <a:gd name="connsiteX2" fmla="*/ 8131 w 13757"/>
                <a:gd name="connsiteY2" fmla="*/ 1694 h 14923"/>
                <a:gd name="connsiteX3" fmla="*/ 139 w 13757"/>
                <a:gd name="connsiteY3" fmla="*/ 1736 h 14923"/>
                <a:gd name="connsiteX4" fmla="*/ 139 w 13757"/>
                <a:gd name="connsiteY4" fmla="*/ 2450 h 14923"/>
                <a:gd name="connsiteX5" fmla="*/ 163 w 13757"/>
                <a:gd name="connsiteY5" fmla="*/ 2466 h 14923"/>
                <a:gd name="connsiteX6" fmla="*/ 163 w 13757"/>
                <a:gd name="connsiteY6" fmla="*/ 2466 h 14923"/>
                <a:gd name="connsiteX7" fmla="*/ 1151 w 13757"/>
                <a:gd name="connsiteY7" fmla="*/ 3507 h 14923"/>
                <a:gd name="connsiteX8" fmla="*/ 1295 w 13757"/>
                <a:gd name="connsiteY8" fmla="*/ 3842 h 14923"/>
                <a:gd name="connsiteX9" fmla="*/ 1303 w 13757"/>
                <a:gd name="connsiteY9" fmla="*/ 3851 h 14923"/>
                <a:gd name="connsiteX10" fmla="*/ 1303 w 13757"/>
                <a:gd name="connsiteY10" fmla="*/ 3859 h 14923"/>
                <a:gd name="connsiteX11" fmla="*/ 2380 w 13757"/>
                <a:gd name="connsiteY11" fmla="*/ 4983 h 14923"/>
                <a:gd name="connsiteX12" fmla="*/ 2508 w 13757"/>
                <a:gd name="connsiteY12" fmla="*/ 5226 h 14923"/>
                <a:gd name="connsiteX13" fmla="*/ 2508 w 13757"/>
                <a:gd name="connsiteY13" fmla="*/ 5226 h 14923"/>
                <a:gd name="connsiteX14" fmla="*/ 3424 w 13757"/>
                <a:gd name="connsiteY14" fmla="*/ 6183 h 14923"/>
                <a:gd name="connsiteX15" fmla="*/ 3424 w 13757"/>
                <a:gd name="connsiteY15" fmla="*/ 6233 h 14923"/>
                <a:gd name="connsiteX16" fmla="*/ 3705 w 13757"/>
                <a:gd name="connsiteY16" fmla="*/ 6845 h 14923"/>
                <a:gd name="connsiteX17" fmla="*/ 12649 w 13757"/>
                <a:gd name="connsiteY17" fmla="*/ 14923 h 14923"/>
                <a:gd name="connsiteX18" fmla="*/ 13095 w 13757"/>
                <a:gd name="connsiteY18" fmla="*/ 6304 h 14923"/>
                <a:gd name="connsiteX19" fmla="*/ 9954 w 13757"/>
                <a:gd name="connsiteY19" fmla="*/ 3582 h 14923"/>
                <a:gd name="connsiteX0" fmla="*/ 9954 w 13829"/>
                <a:gd name="connsiteY0" fmla="*/ 3582 h 14923"/>
                <a:gd name="connsiteX1" fmla="*/ 8147 w 13829"/>
                <a:gd name="connsiteY1" fmla="*/ 1703 h 14923"/>
                <a:gd name="connsiteX2" fmla="*/ 8131 w 13829"/>
                <a:gd name="connsiteY2" fmla="*/ 1694 h 14923"/>
                <a:gd name="connsiteX3" fmla="*/ 139 w 13829"/>
                <a:gd name="connsiteY3" fmla="*/ 1736 h 14923"/>
                <a:gd name="connsiteX4" fmla="*/ 139 w 13829"/>
                <a:gd name="connsiteY4" fmla="*/ 2450 h 14923"/>
                <a:gd name="connsiteX5" fmla="*/ 163 w 13829"/>
                <a:gd name="connsiteY5" fmla="*/ 2466 h 14923"/>
                <a:gd name="connsiteX6" fmla="*/ 163 w 13829"/>
                <a:gd name="connsiteY6" fmla="*/ 2466 h 14923"/>
                <a:gd name="connsiteX7" fmla="*/ 1151 w 13829"/>
                <a:gd name="connsiteY7" fmla="*/ 3507 h 14923"/>
                <a:gd name="connsiteX8" fmla="*/ 1295 w 13829"/>
                <a:gd name="connsiteY8" fmla="*/ 3842 h 14923"/>
                <a:gd name="connsiteX9" fmla="*/ 1303 w 13829"/>
                <a:gd name="connsiteY9" fmla="*/ 3851 h 14923"/>
                <a:gd name="connsiteX10" fmla="*/ 1303 w 13829"/>
                <a:gd name="connsiteY10" fmla="*/ 3859 h 14923"/>
                <a:gd name="connsiteX11" fmla="*/ 2380 w 13829"/>
                <a:gd name="connsiteY11" fmla="*/ 4983 h 14923"/>
                <a:gd name="connsiteX12" fmla="*/ 2508 w 13829"/>
                <a:gd name="connsiteY12" fmla="*/ 5226 h 14923"/>
                <a:gd name="connsiteX13" fmla="*/ 2508 w 13829"/>
                <a:gd name="connsiteY13" fmla="*/ 5226 h 14923"/>
                <a:gd name="connsiteX14" fmla="*/ 3424 w 13829"/>
                <a:gd name="connsiteY14" fmla="*/ 6183 h 14923"/>
                <a:gd name="connsiteX15" fmla="*/ 3424 w 13829"/>
                <a:gd name="connsiteY15" fmla="*/ 6233 h 14923"/>
                <a:gd name="connsiteX16" fmla="*/ 3705 w 13829"/>
                <a:gd name="connsiteY16" fmla="*/ 6845 h 14923"/>
                <a:gd name="connsiteX17" fmla="*/ 12649 w 13829"/>
                <a:gd name="connsiteY17" fmla="*/ 14923 h 14923"/>
                <a:gd name="connsiteX18" fmla="*/ 13095 w 13829"/>
                <a:gd name="connsiteY18" fmla="*/ 6304 h 14923"/>
                <a:gd name="connsiteX19" fmla="*/ 9954 w 13829"/>
                <a:gd name="connsiteY19" fmla="*/ 3582 h 14923"/>
                <a:gd name="connsiteX0" fmla="*/ 9954 w 13403"/>
                <a:gd name="connsiteY0" fmla="*/ 3582 h 14923"/>
                <a:gd name="connsiteX1" fmla="*/ 8147 w 13403"/>
                <a:gd name="connsiteY1" fmla="*/ 1703 h 14923"/>
                <a:gd name="connsiteX2" fmla="*/ 8131 w 13403"/>
                <a:gd name="connsiteY2" fmla="*/ 1694 h 14923"/>
                <a:gd name="connsiteX3" fmla="*/ 139 w 13403"/>
                <a:gd name="connsiteY3" fmla="*/ 1736 h 14923"/>
                <a:gd name="connsiteX4" fmla="*/ 139 w 13403"/>
                <a:gd name="connsiteY4" fmla="*/ 2450 h 14923"/>
                <a:gd name="connsiteX5" fmla="*/ 163 w 13403"/>
                <a:gd name="connsiteY5" fmla="*/ 2466 h 14923"/>
                <a:gd name="connsiteX6" fmla="*/ 163 w 13403"/>
                <a:gd name="connsiteY6" fmla="*/ 2466 h 14923"/>
                <a:gd name="connsiteX7" fmla="*/ 1151 w 13403"/>
                <a:gd name="connsiteY7" fmla="*/ 3507 h 14923"/>
                <a:gd name="connsiteX8" fmla="*/ 1295 w 13403"/>
                <a:gd name="connsiteY8" fmla="*/ 3842 h 14923"/>
                <a:gd name="connsiteX9" fmla="*/ 1303 w 13403"/>
                <a:gd name="connsiteY9" fmla="*/ 3851 h 14923"/>
                <a:gd name="connsiteX10" fmla="*/ 1303 w 13403"/>
                <a:gd name="connsiteY10" fmla="*/ 3859 h 14923"/>
                <a:gd name="connsiteX11" fmla="*/ 2380 w 13403"/>
                <a:gd name="connsiteY11" fmla="*/ 4983 h 14923"/>
                <a:gd name="connsiteX12" fmla="*/ 2508 w 13403"/>
                <a:gd name="connsiteY12" fmla="*/ 5226 h 14923"/>
                <a:gd name="connsiteX13" fmla="*/ 2508 w 13403"/>
                <a:gd name="connsiteY13" fmla="*/ 5226 h 14923"/>
                <a:gd name="connsiteX14" fmla="*/ 3424 w 13403"/>
                <a:gd name="connsiteY14" fmla="*/ 6183 h 14923"/>
                <a:gd name="connsiteX15" fmla="*/ 3424 w 13403"/>
                <a:gd name="connsiteY15" fmla="*/ 6233 h 14923"/>
                <a:gd name="connsiteX16" fmla="*/ 3705 w 13403"/>
                <a:gd name="connsiteY16" fmla="*/ 6845 h 14923"/>
                <a:gd name="connsiteX17" fmla="*/ 12649 w 13403"/>
                <a:gd name="connsiteY17" fmla="*/ 14923 h 14923"/>
                <a:gd name="connsiteX18" fmla="*/ 13095 w 13403"/>
                <a:gd name="connsiteY18" fmla="*/ 6304 h 14923"/>
                <a:gd name="connsiteX19" fmla="*/ 9954 w 13403"/>
                <a:gd name="connsiteY19" fmla="*/ 3582 h 14923"/>
                <a:gd name="connsiteX0" fmla="*/ 9954 w 13217"/>
                <a:gd name="connsiteY0" fmla="*/ 3582 h 14923"/>
                <a:gd name="connsiteX1" fmla="*/ 8147 w 13217"/>
                <a:gd name="connsiteY1" fmla="*/ 1703 h 14923"/>
                <a:gd name="connsiteX2" fmla="*/ 8131 w 13217"/>
                <a:gd name="connsiteY2" fmla="*/ 1694 h 14923"/>
                <a:gd name="connsiteX3" fmla="*/ 139 w 13217"/>
                <a:gd name="connsiteY3" fmla="*/ 1736 h 14923"/>
                <a:gd name="connsiteX4" fmla="*/ 139 w 13217"/>
                <a:gd name="connsiteY4" fmla="*/ 2450 h 14923"/>
                <a:gd name="connsiteX5" fmla="*/ 163 w 13217"/>
                <a:gd name="connsiteY5" fmla="*/ 2466 h 14923"/>
                <a:gd name="connsiteX6" fmla="*/ 163 w 13217"/>
                <a:gd name="connsiteY6" fmla="*/ 2466 h 14923"/>
                <a:gd name="connsiteX7" fmla="*/ 1151 w 13217"/>
                <a:gd name="connsiteY7" fmla="*/ 3507 h 14923"/>
                <a:gd name="connsiteX8" fmla="*/ 1295 w 13217"/>
                <a:gd name="connsiteY8" fmla="*/ 3842 h 14923"/>
                <a:gd name="connsiteX9" fmla="*/ 1303 w 13217"/>
                <a:gd name="connsiteY9" fmla="*/ 3851 h 14923"/>
                <a:gd name="connsiteX10" fmla="*/ 1303 w 13217"/>
                <a:gd name="connsiteY10" fmla="*/ 3859 h 14923"/>
                <a:gd name="connsiteX11" fmla="*/ 2380 w 13217"/>
                <a:gd name="connsiteY11" fmla="*/ 4983 h 14923"/>
                <a:gd name="connsiteX12" fmla="*/ 2508 w 13217"/>
                <a:gd name="connsiteY12" fmla="*/ 5226 h 14923"/>
                <a:gd name="connsiteX13" fmla="*/ 2508 w 13217"/>
                <a:gd name="connsiteY13" fmla="*/ 5226 h 14923"/>
                <a:gd name="connsiteX14" fmla="*/ 3424 w 13217"/>
                <a:gd name="connsiteY14" fmla="*/ 6183 h 14923"/>
                <a:gd name="connsiteX15" fmla="*/ 3424 w 13217"/>
                <a:gd name="connsiteY15" fmla="*/ 6233 h 14923"/>
                <a:gd name="connsiteX16" fmla="*/ 3705 w 13217"/>
                <a:gd name="connsiteY16" fmla="*/ 6845 h 14923"/>
                <a:gd name="connsiteX17" fmla="*/ 12649 w 13217"/>
                <a:gd name="connsiteY17" fmla="*/ 14923 h 14923"/>
                <a:gd name="connsiteX18" fmla="*/ 13095 w 13217"/>
                <a:gd name="connsiteY18" fmla="*/ 6304 h 14923"/>
                <a:gd name="connsiteX19" fmla="*/ 9954 w 13217"/>
                <a:gd name="connsiteY19" fmla="*/ 3582 h 14923"/>
                <a:gd name="connsiteX0" fmla="*/ 9954 w 13379"/>
                <a:gd name="connsiteY0" fmla="*/ 3582 h 14923"/>
                <a:gd name="connsiteX1" fmla="*/ 8147 w 13379"/>
                <a:gd name="connsiteY1" fmla="*/ 1703 h 14923"/>
                <a:gd name="connsiteX2" fmla="*/ 8131 w 13379"/>
                <a:gd name="connsiteY2" fmla="*/ 1694 h 14923"/>
                <a:gd name="connsiteX3" fmla="*/ 139 w 13379"/>
                <a:gd name="connsiteY3" fmla="*/ 1736 h 14923"/>
                <a:gd name="connsiteX4" fmla="*/ 139 w 13379"/>
                <a:gd name="connsiteY4" fmla="*/ 2450 h 14923"/>
                <a:gd name="connsiteX5" fmla="*/ 163 w 13379"/>
                <a:gd name="connsiteY5" fmla="*/ 2466 h 14923"/>
                <a:gd name="connsiteX6" fmla="*/ 163 w 13379"/>
                <a:gd name="connsiteY6" fmla="*/ 2466 h 14923"/>
                <a:gd name="connsiteX7" fmla="*/ 1151 w 13379"/>
                <a:gd name="connsiteY7" fmla="*/ 3507 h 14923"/>
                <a:gd name="connsiteX8" fmla="*/ 1295 w 13379"/>
                <a:gd name="connsiteY8" fmla="*/ 3842 h 14923"/>
                <a:gd name="connsiteX9" fmla="*/ 1303 w 13379"/>
                <a:gd name="connsiteY9" fmla="*/ 3851 h 14923"/>
                <a:gd name="connsiteX10" fmla="*/ 1303 w 13379"/>
                <a:gd name="connsiteY10" fmla="*/ 3859 h 14923"/>
                <a:gd name="connsiteX11" fmla="*/ 2380 w 13379"/>
                <a:gd name="connsiteY11" fmla="*/ 4983 h 14923"/>
                <a:gd name="connsiteX12" fmla="*/ 2508 w 13379"/>
                <a:gd name="connsiteY12" fmla="*/ 5226 h 14923"/>
                <a:gd name="connsiteX13" fmla="*/ 2508 w 13379"/>
                <a:gd name="connsiteY13" fmla="*/ 5226 h 14923"/>
                <a:gd name="connsiteX14" fmla="*/ 3424 w 13379"/>
                <a:gd name="connsiteY14" fmla="*/ 6183 h 14923"/>
                <a:gd name="connsiteX15" fmla="*/ 3424 w 13379"/>
                <a:gd name="connsiteY15" fmla="*/ 6233 h 14923"/>
                <a:gd name="connsiteX16" fmla="*/ 3705 w 13379"/>
                <a:gd name="connsiteY16" fmla="*/ 6845 h 14923"/>
                <a:gd name="connsiteX17" fmla="*/ 12649 w 13379"/>
                <a:gd name="connsiteY17" fmla="*/ 14923 h 14923"/>
                <a:gd name="connsiteX18" fmla="*/ 13095 w 13379"/>
                <a:gd name="connsiteY18" fmla="*/ 6304 h 14923"/>
                <a:gd name="connsiteX19" fmla="*/ 9954 w 13379"/>
                <a:gd name="connsiteY19" fmla="*/ 3582 h 14923"/>
                <a:gd name="connsiteX0" fmla="*/ 9954 w 13467"/>
                <a:gd name="connsiteY0" fmla="*/ 3582 h 14923"/>
                <a:gd name="connsiteX1" fmla="*/ 8147 w 13467"/>
                <a:gd name="connsiteY1" fmla="*/ 1703 h 14923"/>
                <a:gd name="connsiteX2" fmla="*/ 8131 w 13467"/>
                <a:gd name="connsiteY2" fmla="*/ 1694 h 14923"/>
                <a:gd name="connsiteX3" fmla="*/ 139 w 13467"/>
                <a:gd name="connsiteY3" fmla="*/ 1736 h 14923"/>
                <a:gd name="connsiteX4" fmla="*/ 139 w 13467"/>
                <a:gd name="connsiteY4" fmla="*/ 2450 h 14923"/>
                <a:gd name="connsiteX5" fmla="*/ 163 w 13467"/>
                <a:gd name="connsiteY5" fmla="*/ 2466 h 14923"/>
                <a:gd name="connsiteX6" fmla="*/ 163 w 13467"/>
                <a:gd name="connsiteY6" fmla="*/ 2466 h 14923"/>
                <a:gd name="connsiteX7" fmla="*/ 1151 w 13467"/>
                <a:gd name="connsiteY7" fmla="*/ 3507 h 14923"/>
                <a:gd name="connsiteX8" fmla="*/ 1295 w 13467"/>
                <a:gd name="connsiteY8" fmla="*/ 3842 h 14923"/>
                <a:gd name="connsiteX9" fmla="*/ 1303 w 13467"/>
                <a:gd name="connsiteY9" fmla="*/ 3851 h 14923"/>
                <a:gd name="connsiteX10" fmla="*/ 1303 w 13467"/>
                <a:gd name="connsiteY10" fmla="*/ 3859 h 14923"/>
                <a:gd name="connsiteX11" fmla="*/ 2380 w 13467"/>
                <a:gd name="connsiteY11" fmla="*/ 4983 h 14923"/>
                <a:gd name="connsiteX12" fmla="*/ 2508 w 13467"/>
                <a:gd name="connsiteY12" fmla="*/ 5226 h 14923"/>
                <a:gd name="connsiteX13" fmla="*/ 2508 w 13467"/>
                <a:gd name="connsiteY13" fmla="*/ 5226 h 14923"/>
                <a:gd name="connsiteX14" fmla="*/ 3424 w 13467"/>
                <a:gd name="connsiteY14" fmla="*/ 6183 h 14923"/>
                <a:gd name="connsiteX15" fmla="*/ 3424 w 13467"/>
                <a:gd name="connsiteY15" fmla="*/ 6233 h 14923"/>
                <a:gd name="connsiteX16" fmla="*/ 3705 w 13467"/>
                <a:gd name="connsiteY16" fmla="*/ 6845 h 14923"/>
                <a:gd name="connsiteX17" fmla="*/ 12649 w 13467"/>
                <a:gd name="connsiteY17" fmla="*/ 14923 h 14923"/>
                <a:gd name="connsiteX18" fmla="*/ 13252 w 13467"/>
                <a:gd name="connsiteY18" fmla="*/ 6828 h 14923"/>
                <a:gd name="connsiteX19" fmla="*/ 9954 w 13467"/>
                <a:gd name="connsiteY19" fmla="*/ 3582 h 14923"/>
                <a:gd name="connsiteX0" fmla="*/ 9954 w 13520"/>
                <a:gd name="connsiteY0" fmla="*/ 3582 h 14923"/>
                <a:gd name="connsiteX1" fmla="*/ 8147 w 13520"/>
                <a:gd name="connsiteY1" fmla="*/ 1703 h 14923"/>
                <a:gd name="connsiteX2" fmla="*/ 8131 w 13520"/>
                <a:gd name="connsiteY2" fmla="*/ 1694 h 14923"/>
                <a:gd name="connsiteX3" fmla="*/ 139 w 13520"/>
                <a:gd name="connsiteY3" fmla="*/ 1736 h 14923"/>
                <a:gd name="connsiteX4" fmla="*/ 139 w 13520"/>
                <a:gd name="connsiteY4" fmla="*/ 2450 h 14923"/>
                <a:gd name="connsiteX5" fmla="*/ 163 w 13520"/>
                <a:gd name="connsiteY5" fmla="*/ 2466 h 14923"/>
                <a:gd name="connsiteX6" fmla="*/ 163 w 13520"/>
                <a:gd name="connsiteY6" fmla="*/ 2466 h 14923"/>
                <a:gd name="connsiteX7" fmla="*/ 1151 w 13520"/>
                <a:gd name="connsiteY7" fmla="*/ 3507 h 14923"/>
                <a:gd name="connsiteX8" fmla="*/ 1295 w 13520"/>
                <a:gd name="connsiteY8" fmla="*/ 3842 h 14923"/>
                <a:gd name="connsiteX9" fmla="*/ 1303 w 13520"/>
                <a:gd name="connsiteY9" fmla="*/ 3851 h 14923"/>
                <a:gd name="connsiteX10" fmla="*/ 1303 w 13520"/>
                <a:gd name="connsiteY10" fmla="*/ 3859 h 14923"/>
                <a:gd name="connsiteX11" fmla="*/ 2380 w 13520"/>
                <a:gd name="connsiteY11" fmla="*/ 4983 h 14923"/>
                <a:gd name="connsiteX12" fmla="*/ 2508 w 13520"/>
                <a:gd name="connsiteY12" fmla="*/ 5226 h 14923"/>
                <a:gd name="connsiteX13" fmla="*/ 2508 w 13520"/>
                <a:gd name="connsiteY13" fmla="*/ 5226 h 14923"/>
                <a:gd name="connsiteX14" fmla="*/ 3424 w 13520"/>
                <a:gd name="connsiteY14" fmla="*/ 6183 h 14923"/>
                <a:gd name="connsiteX15" fmla="*/ 3424 w 13520"/>
                <a:gd name="connsiteY15" fmla="*/ 6233 h 14923"/>
                <a:gd name="connsiteX16" fmla="*/ 3705 w 13520"/>
                <a:gd name="connsiteY16" fmla="*/ 6845 h 14923"/>
                <a:gd name="connsiteX17" fmla="*/ 12649 w 13520"/>
                <a:gd name="connsiteY17" fmla="*/ 14923 h 14923"/>
                <a:gd name="connsiteX18" fmla="*/ 13252 w 13520"/>
                <a:gd name="connsiteY18" fmla="*/ 6828 h 14923"/>
                <a:gd name="connsiteX19" fmla="*/ 9954 w 13520"/>
                <a:gd name="connsiteY19" fmla="*/ 3582 h 14923"/>
                <a:gd name="connsiteX0" fmla="*/ 9954 w 13487"/>
                <a:gd name="connsiteY0" fmla="*/ 3582 h 15218"/>
                <a:gd name="connsiteX1" fmla="*/ 8147 w 13487"/>
                <a:gd name="connsiteY1" fmla="*/ 1703 h 15218"/>
                <a:gd name="connsiteX2" fmla="*/ 8131 w 13487"/>
                <a:gd name="connsiteY2" fmla="*/ 1694 h 15218"/>
                <a:gd name="connsiteX3" fmla="*/ 139 w 13487"/>
                <a:gd name="connsiteY3" fmla="*/ 1736 h 15218"/>
                <a:gd name="connsiteX4" fmla="*/ 139 w 13487"/>
                <a:gd name="connsiteY4" fmla="*/ 2450 h 15218"/>
                <a:gd name="connsiteX5" fmla="*/ 163 w 13487"/>
                <a:gd name="connsiteY5" fmla="*/ 2466 h 15218"/>
                <a:gd name="connsiteX6" fmla="*/ 163 w 13487"/>
                <a:gd name="connsiteY6" fmla="*/ 2466 h 15218"/>
                <a:gd name="connsiteX7" fmla="*/ 1151 w 13487"/>
                <a:gd name="connsiteY7" fmla="*/ 3507 h 15218"/>
                <a:gd name="connsiteX8" fmla="*/ 1295 w 13487"/>
                <a:gd name="connsiteY8" fmla="*/ 3842 h 15218"/>
                <a:gd name="connsiteX9" fmla="*/ 1303 w 13487"/>
                <a:gd name="connsiteY9" fmla="*/ 3851 h 15218"/>
                <a:gd name="connsiteX10" fmla="*/ 1303 w 13487"/>
                <a:gd name="connsiteY10" fmla="*/ 3859 h 15218"/>
                <a:gd name="connsiteX11" fmla="*/ 2380 w 13487"/>
                <a:gd name="connsiteY11" fmla="*/ 4983 h 15218"/>
                <a:gd name="connsiteX12" fmla="*/ 2508 w 13487"/>
                <a:gd name="connsiteY12" fmla="*/ 5226 h 15218"/>
                <a:gd name="connsiteX13" fmla="*/ 2508 w 13487"/>
                <a:gd name="connsiteY13" fmla="*/ 5226 h 15218"/>
                <a:gd name="connsiteX14" fmla="*/ 3424 w 13487"/>
                <a:gd name="connsiteY14" fmla="*/ 6183 h 15218"/>
                <a:gd name="connsiteX15" fmla="*/ 3424 w 13487"/>
                <a:gd name="connsiteY15" fmla="*/ 6233 h 15218"/>
                <a:gd name="connsiteX16" fmla="*/ 3705 w 13487"/>
                <a:gd name="connsiteY16" fmla="*/ 6845 h 15218"/>
                <a:gd name="connsiteX17" fmla="*/ 12555 w 13487"/>
                <a:gd name="connsiteY17" fmla="*/ 15218 h 15218"/>
                <a:gd name="connsiteX18" fmla="*/ 13252 w 13487"/>
                <a:gd name="connsiteY18" fmla="*/ 6828 h 15218"/>
                <a:gd name="connsiteX19" fmla="*/ 9954 w 13487"/>
                <a:gd name="connsiteY19" fmla="*/ 3582 h 15218"/>
                <a:gd name="connsiteX0" fmla="*/ 9954 w 13487"/>
                <a:gd name="connsiteY0" fmla="*/ 3582 h 15218"/>
                <a:gd name="connsiteX1" fmla="*/ 8147 w 13487"/>
                <a:gd name="connsiteY1" fmla="*/ 1703 h 15218"/>
                <a:gd name="connsiteX2" fmla="*/ 8131 w 13487"/>
                <a:gd name="connsiteY2" fmla="*/ 1694 h 15218"/>
                <a:gd name="connsiteX3" fmla="*/ 139 w 13487"/>
                <a:gd name="connsiteY3" fmla="*/ 1736 h 15218"/>
                <a:gd name="connsiteX4" fmla="*/ 139 w 13487"/>
                <a:gd name="connsiteY4" fmla="*/ 2450 h 15218"/>
                <a:gd name="connsiteX5" fmla="*/ 163 w 13487"/>
                <a:gd name="connsiteY5" fmla="*/ 2466 h 15218"/>
                <a:gd name="connsiteX6" fmla="*/ 163 w 13487"/>
                <a:gd name="connsiteY6" fmla="*/ 2466 h 15218"/>
                <a:gd name="connsiteX7" fmla="*/ 1151 w 13487"/>
                <a:gd name="connsiteY7" fmla="*/ 3507 h 15218"/>
                <a:gd name="connsiteX8" fmla="*/ 1295 w 13487"/>
                <a:gd name="connsiteY8" fmla="*/ 3842 h 15218"/>
                <a:gd name="connsiteX9" fmla="*/ 1303 w 13487"/>
                <a:gd name="connsiteY9" fmla="*/ 3851 h 15218"/>
                <a:gd name="connsiteX10" fmla="*/ 1303 w 13487"/>
                <a:gd name="connsiteY10" fmla="*/ 3859 h 15218"/>
                <a:gd name="connsiteX11" fmla="*/ 2380 w 13487"/>
                <a:gd name="connsiteY11" fmla="*/ 4983 h 15218"/>
                <a:gd name="connsiteX12" fmla="*/ 2508 w 13487"/>
                <a:gd name="connsiteY12" fmla="*/ 5226 h 15218"/>
                <a:gd name="connsiteX13" fmla="*/ 2508 w 13487"/>
                <a:gd name="connsiteY13" fmla="*/ 5226 h 15218"/>
                <a:gd name="connsiteX14" fmla="*/ 3424 w 13487"/>
                <a:gd name="connsiteY14" fmla="*/ 6183 h 15218"/>
                <a:gd name="connsiteX15" fmla="*/ 3424 w 13487"/>
                <a:gd name="connsiteY15" fmla="*/ 6233 h 15218"/>
                <a:gd name="connsiteX16" fmla="*/ 3705 w 13487"/>
                <a:gd name="connsiteY16" fmla="*/ 6845 h 15218"/>
                <a:gd name="connsiteX17" fmla="*/ 12555 w 13487"/>
                <a:gd name="connsiteY17" fmla="*/ 15218 h 15218"/>
                <a:gd name="connsiteX18" fmla="*/ 13252 w 13487"/>
                <a:gd name="connsiteY18" fmla="*/ 7155 h 15218"/>
                <a:gd name="connsiteX19" fmla="*/ 9954 w 13487"/>
                <a:gd name="connsiteY19" fmla="*/ 3582 h 15218"/>
                <a:gd name="connsiteX0" fmla="*/ 9954 w 13419"/>
                <a:gd name="connsiteY0" fmla="*/ 3582 h 15218"/>
                <a:gd name="connsiteX1" fmla="*/ 8147 w 13419"/>
                <a:gd name="connsiteY1" fmla="*/ 1703 h 15218"/>
                <a:gd name="connsiteX2" fmla="*/ 8131 w 13419"/>
                <a:gd name="connsiteY2" fmla="*/ 1694 h 15218"/>
                <a:gd name="connsiteX3" fmla="*/ 139 w 13419"/>
                <a:gd name="connsiteY3" fmla="*/ 1736 h 15218"/>
                <a:gd name="connsiteX4" fmla="*/ 139 w 13419"/>
                <a:gd name="connsiteY4" fmla="*/ 2450 h 15218"/>
                <a:gd name="connsiteX5" fmla="*/ 163 w 13419"/>
                <a:gd name="connsiteY5" fmla="*/ 2466 h 15218"/>
                <a:gd name="connsiteX6" fmla="*/ 163 w 13419"/>
                <a:gd name="connsiteY6" fmla="*/ 2466 h 15218"/>
                <a:gd name="connsiteX7" fmla="*/ 1151 w 13419"/>
                <a:gd name="connsiteY7" fmla="*/ 3507 h 15218"/>
                <a:gd name="connsiteX8" fmla="*/ 1295 w 13419"/>
                <a:gd name="connsiteY8" fmla="*/ 3842 h 15218"/>
                <a:gd name="connsiteX9" fmla="*/ 1303 w 13419"/>
                <a:gd name="connsiteY9" fmla="*/ 3851 h 15218"/>
                <a:gd name="connsiteX10" fmla="*/ 1303 w 13419"/>
                <a:gd name="connsiteY10" fmla="*/ 3859 h 15218"/>
                <a:gd name="connsiteX11" fmla="*/ 2380 w 13419"/>
                <a:gd name="connsiteY11" fmla="*/ 4983 h 15218"/>
                <a:gd name="connsiteX12" fmla="*/ 2508 w 13419"/>
                <a:gd name="connsiteY12" fmla="*/ 5226 h 15218"/>
                <a:gd name="connsiteX13" fmla="*/ 2508 w 13419"/>
                <a:gd name="connsiteY13" fmla="*/ 5226 h 15218"/>
                <a:gd name="connsiteX14" fmla="*/ 3424 w 13419"/>
                <a:gd name="connsiteY14" fmla="*/ 6183 h 15218"/>
                <a:gd name="connsiteX15" fmla="*/ 3424 w 13419"/>
                <a:gd name="connsiteY15" fmla="*/ 6233 h 15218"/>
                <a:gd name="connsiteX16" fmla="*/ 3705 w 13419"/>
                <a:gd name="connsiteY16" fmla="*/ 6845 h 15218"/>
                <a:gd name="connsiteX17" fmla="*/ 12555 w 13419"/>
                <a:gd name="connsiteY17" fmla="*/ 15218 h 15218"/>
                <a:gd name="connsiteX18" fmla="*/ 13252 w 13419"/>
                <a:gd name="connsiteY18" fmla="*/ 7155 h 15218"/>
                <a:gd name="connsiteX19" fmla="*/ 9954 w 13419"/>
                <a:gd name="connsiteY19" fmla="*/ 3582 h 15218"/>
                <a:gd name="connsiteX0" fmla="*/ 9954 w 13372"/>
                <a:gd name="connsiteY0" fmla="*/ 3582 h 15218"/>
                <a:gd name="connsiteX1" fmla="*/ 8147 w 13372"/>
                <a:gd name="connsiteY1" fmla="*/ 1703 h 15218"/>
                <a:gd name="connsiteX2" fmla="*/ 8131 w 13372"/>
                <a:gd name="connsiteY2" fmla="*/ 1694 h 15218"/>
                <a:gd name="connsiteX3" fmla="*/ 139 w 13372"/>
                <a:gd name="connsiteY3" fmla="*/ 1736 h 15218"/>
                <a:gd name="connsiteX4" fmla="*/ 139 w 13372"/>
                <a:gd name="connsiteY4" fmla="*/ 2450 h 15218"/>
                <a:gd name="connsiteX5" fmla="*/ 163 w 13372"/>
                <a:gd name="connsiteY5" fmla="*/ 2466 h 15218"/>
                <a:gd name="connsiteX6" fmla="*/ 163 w 13372"/>
                <a:gd name="connsiteY6" fmla="*/ 2466 h 15218"/>
                <a:gd name="connsiteX7" fmla="*/ 1151 w 13372"/>
                <a:gd name="connsiteY7" fmla="*/ 3507 h 15218"/>
                <a:gd name="connsiteX8" fmla="*/ 1295 w 13372"/>
                <a:gd name="connsiteY8" fmla="*/ 3842 h 15218"/>
                <a:gd name="connsiteX9" fmla="*/ 1303 w 13372"/>
                <a:gd name="connsiteY9" fmla="*/ 3851 h 15218"/>
                <a:gd name="connsiteX10" fmla="*/ 1303 w 13372"/>
                <a:gd name="connsiteY10" fmla="*/ 3859 h 15218"/>
                <a:gd name="connsiteX11" fmla="*/ 2380 w 13372"/>
                <a:gd name="connsiteY11" fmla="*/ 4983 h 15218"/>
                <a:gd name="connsiteX12" fmla="*/ 2508 w 13372"/>
                <a:gd name="connsiteY12" fmla="*/ 5226 h 15218"/>
                <a:gd name="connsiteX13" fmla="*/ 2508 w 13372"/>
                <a:gd name="connsiteY13" fmla="*/ 5226 h 15218"/>
                <a:gd name="connsiteX14" fmla="*/ 3424 w 13372"/>
                <a:gd name="connsiteY14" fmla="*/ 6183 h 15218"/>
                <a:gd name="connsiteX15" fmla="*/ 3424 w 13372"/>
                <a:gd name="connsiteY15" fmla="*/ 6233 h 15218"/>
                <a:gd name="connsiteX16" fmla="*/ 3705 w 13372"/>
                <a:gd name="connsiteY16" fmla="*/ 6845 h 15218"/>
                <a:gd name="connsiteX17" fmla="*/ 12555 w 13372"/>
                <a:gd name="connsiteY17" fmla="*/ 15218 h 15218"/>
                <a:gd name="connsiteX18" fmla="*/ 13252 w 13372"/>
                <a:gd name="connsiteY18" fmla="*/ 7155 h 15218"/>
                <a:gd name="connsiteX19" fmla="*/ 9954 w 13372"/>
                <a:gd name="connsiteY19" fmla="*/ 3582 h 15218"/>
                <a:gd name="connsiteX0" fmla="*/ 9954 w 13483"/>
                <a:gd name="connsiteY0" fmla="*/ 3582 h 15218"/>
                <a:gd name="connsiteX1" fmla="*/ 8147 w 13483"/>
                <a:gd name="connsiteY1" fmla="*/ 1703 h 15218"/>
                <a:gd name="connsiteX2" fmla="*/ 8131 w 13483"/>
                <a:gd name="connsiteY2" fmla="*/ 1694 h 15218"/>
                <a:gd name="connsiteX3" fmla="*/ 139 w 13483"/>
                <a:gd name="connsiteY3" fmla="*/ 1736 h 15218"/>
                <a:gd name="connsiteX4" fmla="*/ 139 w 13483"/>
                <a:gd name="connsiteY4" fmla="*/ 2450 h 15218"/>
                <a:gd name="connsiteX5" fmla="*/ 163 w 13483"/>
                <a:gd name="connsiteY5" fmla="*/ 2466 h 15218"/>
                <a:gd name="connsiteX6" fmla="*/ 163 w 13483"/>
                <a:gd name="connsiteY6" fmla="*/ 2466 h 15218"/>
                <a:gd name="connsiteX7" fmla="*/ 1151 w 13483"/>
                <a:gd name="connsiteY7" fmla="*/ 3507 h 15218"/>
                <a:gd name="connsiteX8" fmla="*/ 1295 w 13483"/>
                <a:gd name="connsiteY8" fmla="*/ 3842 h 15218"/>
                <a:gd name="connsiteX9" fmla="*/ 1303 w 13483"/>
                <a:gd name="connsiteY9" fmla="*/ 3851 h 15218"/>
                <a:gd name="connsiteX10" fmla="*/ 1303 w 13483"/>
                <a:gd name="connsiteY10" fmla="*/ 3859 h 15218"/>
                <a:gd name="connsiteX11" fmla="*/ 2380 w 13483"/>
                <a:gd name="connsiteY11" fmla="*/ 4983 h 15218"/>
                <a:gd name="connsiteX12" fmla="*/ 2508 w 13483"/>
                <a:gd name="connsiteY12" fmla="*/ 5226 h 15218"/>
                <a:gd name="connsiteX13" fmla="*/ 2508 w 13483"/>
                <a:gd name="connsiteY13" fmla="*/ 5226 h 15218"/>
                <a:gd name="connsiteX14" fmla="*/ 3424 w 13483"/>
                <a:gd name="connsiteY14" fmla="*/ 6183 h 15218"/>
                <a:gd name="connsiteX15" fmla="*/ 3424 w 13483"/>
                <a:gd name="connsiteY15" fmla="*/ 6233 h 15218"/>
                <a:gd name="connsiteX16" fmla="*/ 3705 w 13483"/>
                <a:gd name="connsiteY16" fmla="*/ 6845 h 15218"/>
                <a:gd name="connsiteX17" fmla="*/ 12555 w 13483"/>
                <a:gd name="connsiteY17" fmla="*/ 15218 h 15218"/>
                <a:gd name="connsiteX18" fmla="*/ 13252 w 13483"/>
                <a:gd name="connsiteY18" fmla="*/ 7155 h 15218"/>
                <a:gd name="connsiteX19" fmla="*/ 9954 w 13483"/>
                <a:gd name="connsiteY19" fmla="*/ 3582 h 1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483" h="15218">
                  <a:moveTo>
                    <a:pt x="9954" y="3582"/>
                  </a:moveTo>
                  <a:lnTo>
                    <a:pt x="8147" y="1703"/>
                  </a:lnTo>
                  <a:cubicBezTo>
                    <a:pt x="8142" y="1700"/>
                    <a:pt x="8136" y="1697"/>
                    <a:pt x="8131" y="1694"/>
                  </a:cubicBezTo>
                  <a:cubicBezTo>
                    <a:pt x="5914" y="-579"/>
                    <a:pt x="2340" y="-562"/>
                    <a:pt x="139" y="1736"/>
                  </a:cubicBezTo>
                  <a:cubicBezTo>
                    <a:pt x="-46" y="1929"/>
                    <a:pt x="-46" y="2248"/>
                    <a:pt x="139" y="2450"/>
                  </a:cubicBezTo>
                  <a:cubicBezTo>
                    <a:pt x="147" y="2458"/>
                    <a:pt x="155" y="2458"/>
                    <a:pt x="163" y="2466"/>
                  </a:cubicBezTo>
                  <a:lnTo>
                    <a:pt x="163" y="2466"/>
                  </a:lnTo>
                  <a:lnTo>
                    <a:pt x="1151" y="3507"/>
                  </a:lnTo>
                  <a:cubicBezTo>
                    <a:pt x="1159" y="3632"/>
                    <a:pt x="1207" y="3750"/>
                    <a:pt x="1295" y="3842"/>
                  </a:cubicBezTo>
                  <a:cubicBezTo>
                    <a:pt x="1295" y="3851"/>
                    <a:pt x="1303" y="3851"/>
                    <a:pt x="1303" y="3851"/>
                  </a:cubicBezTo>
                  <a:lnTo>
                    <a:pt x="1303" y="3859"/>
                  </a:lnTo>
                  <a:lnTo>
                    <a:pt x="2380" y="4983"/>
                  </a:lnTo>
                  <a:cubicBezTo>
                    <a:pt x="2404" y="5075"/>
                    <a:pt x="2444" y="5159"/>
                    <a:pt x="2508" y="5226"/>
                  </a:cubicBezTo>
                  <a:lnTo>
                    <a:pt x="2508" y="5226"/>
                  </a:lnTo>
                  <a:lnTo>
                    <a:pt x="3424" y="6183"/>
                  </a:lnTo>
                  <a:lnTo>
                    <a:pt x="3424" y="6233"/>
                  </a:lnTo>
                  <a:cubicBezTo>
                    <a:pt x="3424" y="6485"/>
                    <a:pt x="3536" y="6703"/>
                    <a:pt x="3705" y="6845"/>
                  </a:cubicBezTo>
                  <a:cubicBezTo>
                    <a:pt x="6179" y="9421"/>
                    <a:pt x="12555" y="15218"/>
                    <a:pt x="12555" y="15218"/>
                  </a:cubicBezTo>
                  <a:cubicBezTo>
                    <a:pt x="13469" y="12725"/>
                    <a:pt x="13723" y="9985"/>
                    <a:pt x="13252" y="7155"/>
                  </a:cubicBezTo>
                  <a:lnTo>
                    <a:pt x="9954" y="3582"/>
                  </a:ln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nvGrpSpPr>
            <p:cNvPr id="134" name="Group 133">
              <a:extLst>
                <a:ext uri="{FF2B5EF4-FFF2-40B4-BE49-F238E27FC236}">
                  <a16:creationId xmlns:a16="http://schemas.microsoft.com/office/drawing/2014/main" id="{9DE36A65-0C0A-40B1-86F7-2977740890D8}"/>
                </a:ext>
              </a:extLst>
            </p:cNvPr>
            <p:cNvGrpSpPr/>
            <p:nvPr/>
          </p:nvGrpSpPr>
          <p:grpSpPr>
            <a:xfrm>
              <a:off x="-1157406" y="2927198"/>
              <a:ext cx="433225" cy="374457"/>
              <a:chOff x="-1169834" y="4620577"/>
              <a:chExt cx="912813" cy="788988"/>
            </a:xfrm>
          </p:grpSpPr>
          <p:sp>
            <p:nvSpPr>
              <p:cNvPr id="135" name="Freeform 7">
                <a:extLst>
                  <a:ext uri="{FF2B5EF4-FFF2-40B4-BE49-F238E27FC236}">
                    <a16:creationId xmlns:a16="http://schemas.microsoft.com/office/drawing/2014/main" id="{9385F938-0155-43D8-99B8-3957A37F0003}"/>
                  </a:ext>
                </a:extLst>
              </p:cNvPr>
              <p:cNvSpPr>
                <a:spLocks/>
              </p:cNvSpPr>
              <p:nvPr/>
            </p:nvSpPr>
            <p:spPr bwMode="auto">
              <a:xfrm>
                <a:off x="-793596" y="5249227"/>
                <a:ext cx="160338" cy="160338"/>
              </a:xfrm>
              <a:custGeom>
                <a:avLst/>
                <a:gdLst>
                  <a:gd name="T0" fmla="*/ 92 w 183"/>
                  <a:gd name="T1" fmla="*/ 0 h 183"/>
                  <a:gd name="T2" fmla="*/ 182 w 183"/>
                  <a:gd name="T3" fmla="*/ 93 h 183"/>
                  <a:gd name="T4" fmla="*/ 91 w 183"/>
                  <a:gd name="T5" fmla="*/ 183 h 183"/>
                  <a:gd name="T6" fmla="*/ 0 w 183"/>
                  <a:gd name="T7" fmla="*/ 91 h 183"/>
                  <a:gd name="T8" fmla="*/ 92 w 183"/>
                  <a:gd name="T9" fmla="*/ 0 h 183"/>
                </a:gdLst>
                <a:ahLst/>
                <a:cxnLst>
                  <a:cxn ang="0">
                    <a:pos x="T0" y="T1"/>
                  </a:cxn>
                  <a:cxn ang="0">
                    <a:pos x="T2" y="T3"/>
                  </a:cxn>
                  <a:cxn ang="0">
                    <a:pos x="T4" y="T5"/>
                  </a:cxn>
                  <a:cxn ang="0">
                    <a:pos x="T6" y="T7"/>
                  </a:cxn>
                  <a:cxn ang="0">
                    <a:pos x="T8" y="T9"/>
                  </a:cxn>
                </a:cxnLst>
                <a:rect l="0" t="0" r="r" b="b"/>
                <a:pathLst>
                  <a:path w="183" h="183">
                    <a:moveTo>
                      <a:pt x="92" y="0"/>
                    </a:moveTo>
                    <a:cubicBezTo>
                      <a:pt x="142" y="1"/>
                      <a:pt x="183" y="41"/>
                      <a:pt x="182" y="93"/>
                    </a:cubicBezTo>
                    <a:cubicBezTo>
                      <a:pt x="182" y="142"/>
                      <a:pt x="141" y="183"/>
                      <a:pt x="91" y="183"/>
                    </a:cubicBezTo>
                    <a:cubicBezTo>
                      <a:pt x="41" y="183"/>
                      <a:pt x="0" y="142"/>
                      <a:pt x="0" y="91"/>
                    </a:cubicBezTo>
                    <a:cubicBezTo>
                      <a:pt x="0" y="41"/>
                      <a:pt x="41" y="0"/>
                      <a:pt x="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6" name="Freeform 8">
                <a:extLst>
                  <a:ext uri="{FF2B5EF4-FFF2-40B4-BE49-F238E27FC236}">
                    <a16:creationId xmlns:a16="http://schemas.microsoft.com/office/drawing/2014/main" id="{2BEE2313-5724-4427-AA93-98358128B9AB}"/>
                  </a:ext>
                </a:extLst>
              </p:cNvPr>
              <p:cNvSpPr>
                <a:spLocks/>
              </p:cNvSpPr>
              <p:nvPr/>
            </p:nvSpPr>
            <p:spPr bwMode="auto">
              <a:xfrm>
                <a:off x="-912659" y="5052377"/>
                <a:ext cx="396875" cy="192088"/>
              </a:xfrm>
              <a:custGeom>
                <a:avLst/>
                <a:gdLst>
                  <a:gd name="T0" fmla="*/ 391 w 456"/>
                  <a:gd name="T1" fmla="*/ 215 h 221"/>
                  <a:gd name="T2" fmla="*/ 348 w 456"/>
                  <a:gd name="T3" fmla="*/ 197 h 221"/>
                  <a:gd name="T4" fmla="*/ 108 w 456"/>
                  <a:gd name="T5" fmla="*/ 197 h 221"/>
                  <a:gd name="T6" fmla="*/ 23 w 456"/>
                  <a:gd name="T7" fmla="*/ 197 h 221"/>
                  <a:gd name="T8" fmla="*/ 23 w 456"/>
                  <a:gd name="T9" fmla="*/ 112 h 221"/>
                  <a:gd name="T10" fmla="*/ 433 w 456"/>
                  <a:gd name="T11" fmla="*/ 112 h 221"/>
                  <a:gd name="T12" fmla="*/ 433 w 456"/>
                  <a:gd name="T13" fmla="*/ 197 h 221"/>
                  <a:gd name="T14" fmla="*/ 391 w 456"/>
                  <a:gd name="T15" fmla="*/ 215 h 2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6" h="221">
                    <a:moveTo>
                      <a:pt x="391" y="215"/>
                    </a:moveTo>
                    <a:cubicBezTo>
                      <a:pt x="375" y="215"/>
                      <a:pt x="360" y="209"/>
                      <a:pt x="348" y="197"/>
                    </a:cubicBezTo>
                    <a:cubicBezTo>
                      <a:pt x="282" y="131"/>
                      <a:pt x="174" y="131"/>
                      <a:pt x="108" y="197"/>
                    </a:cubicBezTo>
                    <a:cubicBezTo>
                      <a:pt x="85" y="221"/>
                      <a:pt x="47" y="221"/>
                      <a:pt x="23" y="197"/>
                    </a:cubicBezTo>
                    <a:cubicBezTo>
                      <a:pt x="0" y="174"/>
                      <a:pt x="0" y="136"/>
                      <a:pt x="23" y="112"/>
                    </a:cubicBezTo>
                    <a:cubicBezTo>
                      <a:pt x="136" y="0"/>
                      <a:pt x="320" y="0"/>
                      <a:pt x="433" y="112"/>
                    </a:cubicBezTo>
                    <a:cubicBezTo>
                      <a:pt x="456" y="136"/>
                      <a:pt x="456" y="174"/>
                      <a:pt x="433" y="197"/>
                    </a:cubicBezTo>
                    <a:cubicBezTo>
                      <a:pt x="421" y="209"/>
                      <a:pt x="406" y="215"/>
                      <a:pt x="391" y="21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7" name="Freeform 9">
                <a:extLst>
                  <a:ext uri="{FF2B5EF4-FFF2-40B4-BE49-F238E27FC236}">
                    <a16:creationId xmlns:a16="http://schemas.microsoft.com/office/drawing/2014/main" id="{06A87010-DCA9-4BBD-954F-694071946C35}"/>
                  </a:ext>
                </a:extLst>
              </p:cNvPr>
              <p:cNvSpPr>
                <a:spLocks/>
              </p:cNvSpPr>
              <p:nvPr/>
            </p:nvSpPr>
            <p:spPr bwMode="auto">
              <a:xfrm>
                <a:off x="-1044421" y="4834890"/>
                <a:ext cx="661988" cy="266700"/>
              </a:xfrm>
              <a:custGeom>
                <a:avLst/>
                <a:gdLst>
                  <a:gd name="T0" fmla="*/ 694 w 760"/>
                  <a:gd name="T1" fmla="*/ 299 h 305"/>
                  <a:gd name="T2" fmla="*/ 652 w 760"/>
                  <a:gd name="T3" fmla="*/ 281 h 305"/>
                  <a:gd name="T4" fmla="*/ 109 w 760"/>
                  <a:gd name="T5" fmla="*/ 281 h 305"/>
                  <a:gd name="T6" fmla="*/ 24 w 760"/>
                  <a:gd name="T7" fmla="*/ 281 h 305"/>
                  <a:gd name="T8" fmla="*/ 24 w 760"/>
                  <a:gd name="T9" fmla="*/ 197 h 305"/>
                  <a:gd name="T10" fmla="*/ 737 w 760"/>
                  <a:gd name="T11" fmla="*/ 197 h 305"/>
                  <a:gd name="T12" fmla="*/ 737 w 760"/>
                  <a:gd name="T13" fmla="*/ 281 h 305"/>
                  <a:gd name="T14" fmla="*/ 694 w 760"/>
                  <a:gd name="T15" fmla="*/ 299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0" h="305">
                    <a:moveTo>
                      <a:pt x="694" y="299"/>
                    </a:moveTo>
                    <a:cubicBezTo>
                      <a:pt x="679" y="299"/>
                      <a:pt x="663" y="293"/>
                      <a:pt x="652" y="281"/>
                    </a:cubicBezTo>
                    <a:cubicBezTo>
                      <a:pt x="502" y="132"/>
                      <a:pt x="258" y="132"/>
                      <a:pt x="109" y="281"/>
                    </a:cubicBezTo>
                    <a:cubicBezTo>
                      <a:pt x="85" y="305"/>
                      <a:pt x="47" y="305"/>
                      <a:pt x="24" y="281"/>
                    </a:cubicBezTo>
                    <a:cubicBezTo>
                      <a:pt x="0" y="258"/>
                      <a:pt x="0" y="220"/>
                      <a:pt x="24" y="197"/>
                    </a:cubicBezTo>
                    <a:cubicBezTo>
                      <a:pt x="220" y="0"/>
                      <a:pt x="540" y="0"/>
                      <a:pt x="737" y="197"/>
                    </a:cubicBezTo>
                    <a:cubicBezTo>
                      <a:pt x="760" y="220"/>
                      <a:pt x="760" y="258"/>
                      <a:pt x="737" y="281"/>
                    </a:cubicBezTo>
                    <a:cubicBezTo>
                      <a:pt x="725" y="293"/>
                      <a:pt x="709" y="299"/>
                      <a:pt x="694" y="29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8" name="Freeform 10">
                <a:extLst>
                  <a:ext uri="{FF2B5EF4-FFF2-40B4-BE49-F238E27FC236}">
                    <a16:creationId xmlns:a16="http://schemas.microsoft.com/office/drawing/2014/main" id="{C61829F8-36EC-455E-8810-C13EBF425861}"/>
                  </a:ext>
                </a:extLst>
              </p:cNvPr>
              <p:cNvSpPr>
                <a:spLocks/>
              </p:cNvSpPr>
              <p:nvPr/>
            </p:nvSpPr>
            <p:spPr bwMode="auto">
              <a:xfrm>
                <a:off x="-1169834" y="4620577"/>
                <a:ext cx="912813" cy="334963"/>
              </a:xfrm>
              <a:custGeom>
                <a:avLst/>
                <a:gdLst>
                  <a:gd name="T0" fmla="*/ 981 w 1047"/>
                  <a:gd name="T1" fmla="*/ 378 h 384"/>
                  <a:gd name="T2" fmla="*/ 938 w 1047"/>
                  <a:gd name="T3" fmla="*/ 361 h 384"/>
                  <a:gd name="T4" fmla="*/ 108 w 1047"/>
                  <a:gd name="T5" fmla="*/ 361 h 384"/>
                  <a:gd name="T6" fmla="*/ 23 w 1047"/>
                  <a:gd name="T7" fmla="*/ 361 h 384"/>
                  <a:gd name="T8" fmla="*/ 23 w 1047"/>
                  <a:gd name="T9" fmla="*/ 276 h 384"/>
                  <a:gd name="T10" fmla="*/ 1023 w 1047"/>
                  <a:gd name="T11" fmla="*/ 276 h 384"/>
                  <a:gd name="T12" fmla="*/ 1023 w 1047"/>
                  <a:gd name="T13" fmla="*/ 361 h 384"/>
                  <a:gd name="T14" fmla="*/ 981 w 1047"/>
                  <a:gd name="T15" fmla="*/ 378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7" h="384">
                    <a:moveTo>
                      <a:pt x="981" y="378"/>
                    </a:moveTo>
                    <a:cubicBezTo>
                      <a:pt x="965" y="378"/>
                      <a:pt x="950" y="373"/>
                      <a:pt x="938" y="361"/>
                    </a:cubicBezTo>
                    <a:cubicBezTo>
                      <a:pt x="709" y="132"/>
                      <a:pt x="337" y="132"/>
                      <a:pt x="108" y="361"/>
                    </a:cubicBezTo>
                    <a:cubicBezTo>
                      <a:pt x="85" y="384"/>
                      <a:pt x="47" y="384"/>
                      <a:pt x="23" y="361"/>
                    </a:cubicBezTo>
                    <a:cubicBezTo>
                      <a:pt x="0" y="337"/>
                      <a:pt x="0" y="299"/>
                      <a:pt x="23" y="276"/>
                    </a:cubicBezTo>
                    <a:cubicBezTo>
                      <a:pt x="299" y="0"/>
                      <a:pt x="747" y="0"/>
                      <a:pt x="1023" y="276"/>
                    </a:cubicBezTo>
                    <a:cubicBezTo>
                      <a:pt x="1047" y="299"/>
                      <a:pt x="1047" y="337"/>
                      <a:pt x="1023" y="361"/>
                    </a:cubicBezTo>
                    <a:cubicBezTo>
                      <a:pt x="1011" y="373"/>
                      <a:pt x="996" y="378"/>
                      <a:pt x="981" y="3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sp>
        <p:nvSpPr>
          <p:cNvPr id="221" name="TextBox 220">
            <a:extLst>
              <a:ext uri="{FF2B5EF4-FFF2-40B4-BE49-F238E27FC236}">
                <a16:creationId xmlns:a16="http://schemas.microsoft.com/office/drawing/2014/main" id="{5E3969F2-D2D2-4DF1-A80F-8F4814626785}"/>
              </a:ext>
            </a:extLst>
          </p:cNvPr>
          <p:cNvSpPr txBox="1"/>
          <p:nvPr/>
        </p:nvSpPr>
        <p:spPr>
          <a:xfrm>
            <a:off x="6963147" y="1963647"/>
            <a:ext cx="1200650" cy="215444"/>
          </a:xfrm>
          <a:prstGeom prst="rect">
            <a:avLst/>
          </a:prstGeom>
          <a:noFill/>
        </p:spPr>
        <p:txBody>
          <a:bodyPr wrap="none" lIns="0" tIns="0" rIns="0" bIns="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EB"/>
                </a:solidFill>
                <a:effectLst/>
                <a:uLnTx/>
                <a:uFillTx/>
                <a:latin typeface="CiscoSansTT ExtraLight"/>
                <a:ea typeface="ＭＳ Ｐゴシック" charset="0"/>
                <a:cs typeface="+mn-cs"/>
              </a:rPr>
              <a:t>5G Telco Edge</a:t>
            </a:r>
          </a:p>
        </p:txBody>
      </p:sp>
      <p:sp>
        <p:nvSpPr>
          <p:cNvPr id="222" name="Rectangle 221">
            <a:extLst>
              <a:ext uri="{FF2B5EF4-FFF2-40B4-BE49-F238E27FC236}">
                <a16:creationId xmlns:a16="http://schemas.microsoft.com/office/drawing/2014/main" id="{6D3DD2A6-CF2E-4FAE-8A51-2B0BC59738BF}"/>
              </a:ext>
            </a:extLst>
          </p:cNvPr>
          <p:cNvSpPr/>
          <p:nvPr/>
        </p:nvSpPr>
        <p:spPr>
          <a:xfrm>
            <a:off x="6882115" y="2138203"/>
            <a:ext cx="1715515" cy="523220"/>
          </a:xfrm>
          <a:prstGeom prst="rect">
            <a:avLst/>
          </a:prstGeom>
        </p:spPr>
        <p:txBody>
          <a:bodyPr wrap="square" lIns="91440" tIns="91440" rIns="91440" bIns="9144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5073"/>
                </a:solidFill>
                <a:effectLst/>
                <a:uLnTx/>
                <a:uFillTx/>
                <a:latin typeface="CiscoSansTT ExtraLight"/>
                <a:ea typeface="ＭＳ Ｐゴシック" charset="0"/>
                <a:cs typeface="+mn-cs"/>
              </a:rPr>
              <a:t>New apps are creating new BW demands</a:t>
            </a:r>
          </a:p>
        </p:txBody>
      </p:sp>
      <p:cxnSp>
        <p:nvCxnSpPr>
          <p:cNvPr id="229" name="Straight Connector 228">
            <a:extLst>
              <a:ext uri="{FF2B5EF4-FFF2-40B4-BE49-F238E27FC236}">
                <a16:creationId xmlns:a16="http://schemas.microsoft.com/office/drawing/2014/main" id="{F51F668E-ACAF-4ABB-9F0E-95BFC289C11D}"/>
              </a:ext>
            </a:extLst>
          </p:cNvPr>
          <p:cNvCxnSpPr>
            <a:cxnSpLocks/>
          </p:cNvCxnSpPr>
          <p:nvPr/>
        </p:nvCxnSpPr>
        <p:spPr>
          <a:xfrm flipV="1">
            <a:off x="4563473" y="2092207"/>
            <a:ext cx="1910588" cy="478139"/>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4" name="Oval 213">
            <a:extLst>
              <a:ext uri="{FF2B5EF4-FFF2-40B4-BE49-F238E27FC236}">
                <a16:creationId xmlns:a16="http://schemas.microsoft.com/office/drawing/2014/main" id="{6ACB18D2-32FA-4361-924B-BC8AE257BCFF}"/>
              </a:ext>
            </a:extLst>
          </p:cNvPr>
          <p:cNvSpPr/>
          <p:nvPr/>
        </p:nvSpPr>
        <p:spPr>
          <a:xfrm>
            <a:off x="6132436" y="1715364"/>
            <a:ext cx="727424" cy="727422"/>
          </a:xfrm>
          <a:prstGeom prst="ellipse">
            <a:avLst/>
          </a:prstGeom>
          <a:solidFill>
            <a:schemeClr val="bg2"/>
          </a:solidFill>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215" name="Group 214">
            <a:extLst>
              <a:ext uri="{FF2B5EF4-FFF2-40B4-BE49-F238E27FC236}">
                <a16:creationId xmlns:a16="http://schemas.microsoft.com/office/drawing/2014/main" id="{F765F0AF-61EF-4B9C-8BD1-CD98E3DDFD9A}"/>
              </a:ext>
            </a:extLst>
          </p:cNvPr>
          <p:cNvGrpSpPr/>
          <p:nvPr/>
        </p:nvGrpSpPr>
        <p:grpSpPr>
          <a:xfrm>
            <a:off x="6207763" y="1791344"/>
            <a:ext cx="595820" cy="594360"/>
            <a:chOff x="2020646" y="3712312"/>
            <a:chExt cx="595820" cy="594360"/>
          </a:xfrm>
        </p:grpSpPr>
        <p:sp>
          <p:nvSpPr>
            <p:cNvPr id="216" name="Oval 27">
              <a:extLst>
                <a:ext uri="{FF2B5EF4-FFF2-40B4-BE49-F238E27FC236}">
                  <a16:creationId xmlns:a16="http://schemas.microsoft.com/office/drawing/2014/main" id="{82CF33BC-E851-4FE3-AA1B-1A7BC209331E}"/>
                </a:ext>
              </a:extLst>
            </p:cNvPr>
            <p:cNvSpPr>
              <a:spLocks noChangeArrowheads="1"/>
            </p:cNvSpPr>
            <p:nvPr/>
          </p:nvSpPr>
          <p:spPr bwMode="auto">
            <a:xfrm>
              <a:off x="2020646" y="3712312"/>
              <a:ext cx="595820" cy="59436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7" name="Freeform 28">
              <a:extLst>
                <a:ext uri="{FF2B5EF4-FFF2-40B4-BE49-F238E27FC236}">
                  <a16:creationId xmlns:a16="http://schemas.microsoft.com/office/drawing/2014/main" id="{96E914AE-CEF7-4194-9DCC-96C8887FE55B}"/>
                </a:ext>
              </a:extLst>
            </p:cNvPr>
            <p:cNvSpPr>
              <a:spLocks/>
            </p:cNvSpPr>
            <p:nvPr/>
          </p:nvSpPr>
          <p:spPr bwMode="auto">
            <a:xfrm>
              <a:off x="2092417" y="3783353"/>
              <a:ext cx="524049" cy="523319"/>
            </a:xfrm>
            <a:custGeom>
              <a:avLst/>
              <a:gdLst>
                <a:gd name="T0" fmla="*/ 911 w 912"/>
                <a:gd name="T1" fmla="*/ 355 h 912"/>
                <a:gd name="T2" fmla="*/ 692 w 912"/>
                <a:gd name="T3" fmla="*/ 136 h 912"/>
                <a:gd name="T4" fmla="*/ 672 w 912"/>
                <a:gd name="T5" fmla="*/ 115 h 912"/>
                <a:gd name="T6" fmla="*/ 394 w 912"/>
                <a:gd name="T7" fmla="*/ 0 h 912"/>
                <a:gd name="T8" fmla="*/ 394 w 912"/>
                <a:gd name="T9" fmla="*/ 0 h 912"/>
                <a:gd name="T10" fmla="*/ 115 w 912"/>
                <a:gd name="T11" fmla="*/ 115 h 912"/>
                <a:gd name="T12" fmla="*/ 0 w 912"/>
                <a:gd name="T13" fmla="*/ 394 h 912"/>
                <a:gd name="T14" fmla="*/ 115 w 912"/>
                <a:gd name="T15" fmla="*/ 672 h 912"/>
                <a:gd name="T16" fmla="*/ 146 w 912"/>
                <a:gd name="T17" fmla="*/ 700 h 912"/>
                <a:gd name="T18" fmla="*/ 356 w 912"/>
                <a:gd name="T19" fmla="*/ 910 h 912"/>
                <a:gd name="T20" fmla="*/ 394 w 912"/>
                <a:gd name="T21" fmla="*/ 912 h 912"/>
                <a:gd name="T22" fmla="*/ 912 w 912"/>
                <a:gd name="T23" fmla="*/ 394 h 912"/>
                <a:gd name="T24" fmla="*/ 911 w 912"/>
                <a:gd name="T25" fmla="*/ 355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2" h="912">
                  <a:moveTo>
                    <a:pt x="911" y="355"/>
                  </a:moveTo>
                  <a:cubicBezTo>
                    <a:pt x="692" y="136"/>
                    <a:pt x="692" y="136"/>
                    <a:pt x="692" y="136"/>
                  </a:cubicBezTo>
                  <a:cubicBezTo>
                    <a:pt x="686" y="129"/>
                    <a:pt x="679" y="122"/>
                    <a:pt x="672" y="115"/>
                  </a:cubicBezTo>
                  <a:cubicBezTo>
                    <a:pt x="598" y="41"/>
                    <a:pt x="499" y="0"/>
                    <a:pt x="394" y="0"/>
                  </a:cubicBezTo>
                  <a:cubicBezTo>
                    <a:pt x="394" y="0"/>
                    <a:pt x="394" y="0"/>
                    <a:pt x="394" y="0"/>
                  </a:cubicBezTo>
                  <a:cubicBezTo>
                    <a:pt x="289" y="0"/>
                    <a:pt x="190" y="41"/>
                    <a:pt x="115" y="115"/>
                  </a:cubicBezTo>
                  <a:cubicBezTo>
                    <a:pt x="41" y="190"/>
                    <a:pt x="0" y="289"/>
                    <a:pt x="0" y="394"/>
                  </a:cubicBezTo>
                  <a:cubicBezTo>
                    <a:pt x="0" y="499"/>
                    <a:pt x="41" y="598"/>
                    <a:pt x="115" y="672"/>
                  </a:cubicBezTo>
                  <a:cubicBezTo>
                    <a:pt x="125" y="682"/>
                    <a:pt x="135" y="691"/>
                    <a:pt x="146" y="700"/>
                  </a:cubicBezTo>
                  <a:cubicBezTo>
                    <a:pt x="356" y="910"/>
                    <a:pt x="356" y="910"/>
                    <a:pt x="356" y="910"/>
                  </a:cubicBezTo>
                  <a:cubicBezTo>
                    <a:pt x="368" y="911"/>
                    <a:pt x="381" y="912"/>
                    <a:pt x="394" y="912"/>
                  </a:cubicBezTo>
                  <a:cubicBezTo>
                    <a:pt x="680" y="912"/>
                    <a:pt x="912" y="680"/>
                    <a:pt x="912" y="394"/>
                  </a:cubicBezTo>
                  <a:cubicBezTo>
                    <a:pt x="912" y="381"/>
                    <a:pt x="912" y="368"/>
                    <a:pt x="911" y="355"/>
                  </a:cubicBezTo>
                  <a:close/>
                </a:path>
              </a:pathLst>
            </a:custGeom>
            <a:solidFill>
              <a:srgbClr val="00A1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8" name="Freeform 29">
              <a:extLst>
                <a:ext uri="{FF2B5EF4-FFF2-40B4-BE49-F238E27FC236}">
                  <a16:creationId xmlns:a16="http://schemas.microsoft.com/office/drawing/2014/main" id="{80E46A9F-E693-4721-AAB1-E04F4E70D99A}"/>
                </a:ext>
              </a:extLst>
            </p:cNvPr>
            <p:cNvSpPr>
              <a:spLocks/>
            </p:cNvSpPr>
            <p:nvPr/>
          </p:nvSpPr>
          <p:spPr bwMode="auto">
            <a:xfrm>
              <a:off x="2309676" y="3961929"/>
              <a:ext cx="102669" cy="112887"/>
            </a:xfrm>
            <a:custGeom>
              <a:avLst/>
              <a:gdLst>
                <a:gd name="T0" fmla="*/ 90 w 179"/>
                <a:gd name="T1" fmla="*/ 197 h 197"/>
                <a:gd name="T2" fmla="*/ 0 w 179"/>
                <a:gd name="T3" fmla="*/ 99 h 197"/>
                <a:gd name="T4" fmla="*/ 90 w 179"/>
                <a:gd name="T5" fmla="*/ 0 h 197"/>
                <a:gd name="T6" fmla="*/ 144 w 179"/>
                <a:gd name="T7" fmla="*/ 21 h 197"/>
                <a:gd name="T8" fmla="*/ 147 w 179"/>
                <a:gd name="T9" fmla="*/ 48 h 197"/>
                <a:gd name="T10" fmla="*/ 118 w 179"/>
                <a:gd name="T11" fmla="*/ 51 h 197"/>
                <a:gd name="T12" fmla="*/ 90 w 179"/>
                <a:gd name="T13" fmla="*/ 40 h 197"/>
                <a:gd name="T14" fmla="*/ 40 w 179"/>
                <a:gd name="T15" fmla="*/ 99 h 197"/>
                <a:gd name="T16" fmla="*/ 90 w 179"/>
                <a:gd name="T17" fmla="*/ 158 h 197"/>
                <a:gd name="T18" fmla="*/ 137 w 179"/>
                <a:gd name="T19" fmla="*/ 118 h 197"/>
                <a:gd name="T20" fmla="*/ 111 w 179"/>
                <a:gd name="T21" fmla="*/ 118 h 197"/>
                <a:gd name="T22" fmla="*/ 91 w 179"/>
                <a:gd name="T23" fmla="*/ 99 h 197"/>
                <a:gd name="T24" fmla="*/ 111 w 179"/>
                <a:gd name="T25" fmla="*/ 79 h 197"/>
                <a:gd name="T26" fmla="*/ 159 w 179"/>
                <a:gd name="T27" fmla="*/ 79 h 197"/>
                <a:gd name="T28" fmla="*/ 179 w 179"/>
                <a:gd name="T29" fmla="*/ 99 h 197"/>
                <a:gd name="T30" fmla="*/ 90 w 179"/>
                <a:gd name="T31"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9" h="197">
                  <a:moveTo>
                    <a:pt x="90" y="197"/>
                  </a:moveTo>
                  <a:cubicBezTo>
                    <a:pt x="40" y="197"/>
                    <a:pt x="0" y="153"/>
                    <a:pt x="0" y="99"/>
                  </a:cubicBezTo>
                  <a:cubicBezTo>
                    <a:pt x="0" y="44"/>
                    <a:pt x="40" y="0"/>
                    <a:pt x="90" y="0"/>
                  </a:cubicBezTo>
                  <a:cubicBezTo>
                    <a:pt x="110" y="0"/>
                    <a:pt x="129" y="7"/>
                    <a:pt x="144" y="21"/>
                  </a:cubicBezTo>
                  <a:cubicBezTo>
                    <a:pt x="153" y="28"/>
                    <a:pt x="154" y="40"/>
                    <a:pt x="147" y="48"/>
                  </a:cubicBezTo>
                  <a:cubicBezTo>
                    <a:pt x="139" y="57"/>
                    <a:pt x="127" y="58"/>
                    <a:pt x="118" y="51"/>
                  </a:cubicBezTo>
                  <a:cubicBezTo>
                    <a:pt x="110" y="43"/>
                    <a:pt x="100" y="40"/>
                    <a:pt x="90" y="40"/>
                  </a:cubicBezTo>
                  <a:cubicBezTo>
                    <a:pt x="62" y="40"/>
                    <a:pt x="40" y="66"/>
                    <a:pt x="40" y="99"/>
                  </a:cubicBezTo>
                  <a:cubicBezTo>
                    <a:pt x="40" y="131"/>
                    <a:pt x="62" y="158"/>
                    <a:pt x="90" y="158"/>
                  </a:cubicBezTo>
                  <a:cubicBezTo>
                    <a:pt x="111" y="158"/>
                    <a:pt x="130" y="141"/>
                    <a:pt x="137" y="118"/>
                  </a:cubicBezTo>
                  <a:cubicBezTo>
                    <a:pt x="111" y="118"/>
                    <a:pt x="111" y="118"/>
                    <a:pt x="111" y="118"/>
                  </a:cubicBezTo>
                  <a:cubicBezTo>
                    <a:pt x="100" y="118"/>
                    <a:pt x="91" y="109"/>
                    <a:pt x="91" y="99"/>
                  </a:cubicBezTo>
                  <a:cubicBezTo>
                    <a:pt x="91" y="88"/>
                    <a:pt x="100" y="79"/>
                    <a:pt x="111" y="79"/>
                  </a:cubicBezTo>
                  <a:cubicBezTo>
                    <a:pt x="159" y="79"/>
                    <a:pt x="159" y="79"/>
                    <a:pt x="159" y="79"/>
                  </a:cubicBezTo>
                  <a:cubicBezTo>
                    <a:pt x="170" y="79"/>
                    <a:pt x="179" y="88"/>
                    <a:pt x="179" y="99"/>
                  </a:cubicBezTo>
                  <a:cubicBezTo>
                    <a:pt x="179" y="153"/>
                    <a:pt x="139" y="197"/>
                    <a:pt x="90" y="1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19" name="Freeform 30">
              <a:extLst>
                <a:ext uri="{FF2B5EF4-FFF2-40B4-BE49-F238E27FC236}">
                  <a16:creationId xmlns:a16="http://schemas.microsoft.com/office/drawing/2014/main" id="{3558AD66-4F9A-4370-AEBE-750B59CFE09C}"/>
                </a:ext>
              </a:extLst>
            </p:cNvPr>
            <p:cNvSpPr>
              <a:spLocks/>
            </p:cNvSpPr>
            <p:nvPr/>
          </p:nvSpPr>
          <p:spPr bwMode="auto">
            <a:xfrm>
              <a:off x="2217712" y="3961929"/>
              <a:ext cx="82719" cy="112887"/>
            </a:xfrm>
            <a:custGeom>
              <a:avLst/>
              <a:gdLst>
                <a:gd name="T0" fmla="*/ 67 w 144"/>
                <a:gd name="T1" fmla="*/ 197 h 197"/>
                <a:gd name="T2" fmla="*/ 4 w 144"/>
                <a:gd name="T3" fmla="*/ 156 h 197"/>
                <a:gd name="T4" fmla="*/ 16 w 144"/>
                <a:gd name="T5" fmla="*/ 130 h 197"/>
                <a:gd name="T6" fmla="*/ 42 w 144"/>
                <a:gd name="T7" fmla="*/ 142 h 197"/>
                <a:gd name="T8" fmla="*/ 67 w 144"/>
                <a:gd name="T9" fmla="*/ 158 h 197"/>
                <a:gd name="T10" fmla="*/ 103 w 144"/>
                <a:gd name="T11" fmla="*/ 128 h 197"/>
                <a:gd name="T12" fmla="*/ 72 w 144"/>
                <a:gd name="T13" fmla="*/ 98 h 197"/>
                <a:gd name="T14" fmla="*/ 44 w 144"/>
                <a:gd name="T15" fmla="*/ 104 h 197"/>
                <a:gd name="T16" fmla="*/ 21 w 144"/>
                <a:gd name="T17" fmla="*/ 104 h 197"/>
                <a:gd name="T18" fmla="*/ 13 w 144"/>
                <a:gd name="T19" fmla="*/ 83 h 197"/>
                <a:gd name="T20" fmla="*/ 29 w 144"/>
                <a:gd name="T21" fmla="*/ 15 h 197"/>
                <a:gd name="T22" fmla="*/ 49 w 144"/>
                <a:gd name="T23" fmla="*/ 0 h 197"/>
                <a:gd name="T24" fmla="*/ 114 w 144"/>
                <a:gd name="T25" fmla="*/ 0 h 197"/>
                <a:gd name="T26" fmla="*/ 134 w 144"/>
                <a:gd name="T27" fmla="*/ 20 h 197"/>
                <a:gd name="T28" fmla="*/ 114 w 144"/>
                <a:gd name="T29" fmla="*/ 40 h 197"/>
                <a:gd name="T30" fmla="*/ 65 w 144"/>
                <a:gd name="T31" fmla="*/ 40 h 197"/>
                <a:gd name="T32" fmla="*/ 60 w 144"/>
                <a:gd name="T33" fmla="*/ 59 h 197"/>
                <a:gd name="T34" fmla="*/ 72 w 144"/>
                <a:gd name="T35" fmla="*/ 58 h 197"/>
                <a:gd name="T36" fmla="*/ 144 w 144"/>
                <a:gd name="T37" fmla="*/ 128 h 197"/>
                <a:gd name="T38" fmla="*/ 67 w 144"/>
                <a:gd name="T39"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97">
                  <a:moveTo>
                    <a:pt x="67" y="197"/>
                  </a:moveTo>
                  <a:cubicBezTo>
                    <a:pt x="39" y="197"/>
                    <a:pt x="14" y="180"/>
                    <a:pt x="4" y="156"/>
                  </a:cubicBezTo>
                  <a:cubicBezTo>
                    <a:pt x="0" y="145"/>
                    <a:pt x="6" y="134"/>
                    <a:pt x="16" y="130"/>
                  </a:cubicBezTo>
                  <a:cubicBezTo>
                    <a:pt x="26" y="126"/>
                    <a:pt x="38" y="131"/>
                    <a:pt x="42" y="142"/>
                  </a:cubicBezTo>
                  <a:cubicBezTo>
                    <a:pt x="46" y="151"/>
                    <a:pt x="56" y="158"/>
                    <a:pt x="67" y="158"/>
                  </a:cubicBezTo>
                  <a:cubicBezTo>
                    <a:pt x="103" y="158"/>
                    <a:pt x="103" y="135"/>
                    <a:pt x="103" y="128"/>
                  </a:cubicBezTo>
                  <a:cubicBezTo>
                    <a:pt x="103" y="114"/>
                    <a:pt x="86" y="98"/>
                    <a:pt x="72" y="98"/>
                  </a:cubicBezTo>
                  <a:cubicBezTo>
                    <a:pt x="55" y="98"/>
                    <a:pt x="44" y="104"/>
                    <a:pt x="44" y="104"/>
                  </a:cubicBezTo>
                  <a:cubicBezTo>
                    <a:pt x="37" y="108"/>
                    <a:pt x="28" y="108"/>
                    <a:pt x="21" y="104"/>
                  </a:cubicBezTo>
                  <a:cubicBezTo>
                    <a:pt x="14" y="99"/>
                    <a:pt x="11" y="91"/>
                    <a:pt x="13" y="83"/>
                  </a:cubicBezTo>
                  <a:cubicBezTo>
                    <a:pt x="29" y="15"/>
                    <a:pt x="29" y="15"/>
                    <a:pt x="29" y="15"/>
                  </a:cubicBezTo>
                  <a:cubicBezTo>
                    <a:pt x="31" y="7"/>
                    <a:pt x="39" y="0"/>
                    <a:pt x="49" y="0"/>
                  </a:cubicBezTo>
                  <a:cubicBezTo>
                    <a:pt x="114" y="0"/>
                    <a:pt x="114" y="0"/>
                    <a:pt x="114" y="0"/>
                  </a:cubicBezTo>
                  <a:cubicBezTo>
                    <a:pt x="125" y="0"/>
                    <a:pt x="134" y="9"/>
                    <a:pt x="134" y="20"/>
                  </a:cubicBezTo>
                  <a:cubicBezTo>
                    <a:pt x="134" y="31"/>
                    <a:pt x="125" y="40"/>
                    <a:pt x="114" y="40"/>
                  </a:cubicBezTo>
                  <a:cubicBezTo>
                    <a:pt x="65" y="40"/>
                    <a:pt x="65" y="40"/>
                    <a:pt x="65" y="40"/>
                  </a:cubicBezTo>
                  <a:cubicBezTo>
                    <a:pt x="60" y="59"/>
                    <a:pt x="60" y="59"/>
                    <a:pt x="60" y="59"/>
                  </a:cubicBezTo>
                  <a:cubicBezTo>
                    <a:pt x="64" y="59"/>
                    <a:pt x="68" y="58"/>
                    <a:pt x="72" y="58"/>
                  </a:cubicBezTo>
                  <a:cubicBezTo>
                    <a:pt x="109" y="58"/>
                    <a:pt x="144" y="92"/>
                    <a:pt x="144" y="128"/>
                  </a:cubicBezTo>
                  <a:cubicBezTo>
                    <a:pt x="144" y="170"/>
                    <a:pt x="113" y="197"/>
                    <a:pt x="67" y="1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20" name="Freeform 31">
              <a:extLst>
                <a:ext uri="{FF2B5EF4-FFF2-40B4-BE49-F238E27FC236}">
                  <a16:creationId xmlns:a16="http://schemas.microsoft.com/office/drawing/2014/main" id="{9498DB11-1CD3-4AC9-9DE6-8E4E57BEB34B}"/>
                </a:ext>
              </a:extLst>
            </p:cNvPr>
            <p:cNvSpPr>
              <a:spLocks noEditPoints="1"/>
            </p:cNvSpPr>
            <p:nvPr/>
          </p:nvSpPr>
          <p:spPr bwMode="auto">
            <a:xfrm>
              <a:off x="2092417" y="3783353"/>
              <a:ext cx="452765" cy="452278"/>
            </a:xfrm>
            <a:custGeom>
              <a:avLst/>
              <a:gdLst>
                <a:gd name="T0" fmla="*/ 394 w 788"/>
                <a:gd name="T1" fmla="*/ 0 h 788"/>
                <a:gd name="T2" fmla="*/ 115 w 788"/>
                <a:gd name="T3" fmla="*/ 115 h 788"/>
                <a:gd name="T4" fmla="*/ 115 w 788"/>
                <a:gd name="T5" fmla="*/ 672 h 788"/>
                <a:gd name="T6" fmla="*/ 394 w 788"/>
                <a:gd name="T7" fmla="*/ 788 h 788"/>
                <a:gd name="T8" fmla="*/ 788 w 788"/>
                <a:gd name="T9" fmla="*/ 394 h 788"/>
                <a:gd name="T10" fmla="*/ 691 w 788"/>
                <a:gd name="T11" fmla="*/ 326 h 788"/>
                <a:gd name="T12" fmla="*/ 581 w 788"/>
                <a:gd name="T13" fmla="*/ 207 h 788"/>
                <a:gd name="T14" fmla="*/ 462 w 788"/>
                <a:gd name="T15" fmla="*/ 96 h 788"/>
                <a:gd name="T16" fmla="*/ 650 w 788"/>
                <a:gd name="T17" fmla="*/ 138 h 788"/>
                <a:gd name="T18" fmla="*/ 691 w 788"/>
                <a:gd name="T19" fmla="*/ 462 h 788"/>
                <a:gd name="T20" fmla="*/ 462 w 788"/>
                <a:gd name="T21" fmla="*/ 691 h 788"/>
                <a:gd name="T22" fmla="*/ 581 w 788"/>
                <a:gd name="T23" fmla="*/ 581 h 788"/>
                <a:gd name="T24" fmla="*/ 691 w 788"/>
                <a:gd name="T25" fmla="*/ 462 h 788"/>
                <a:gd name="T26" fmla="*/ 394 w 788"/>
                <a:gd name="T27" fmla="*/ 670 h 788"/>
                <a:gd name="T28" fmla="*/ 117 w 788"/>
                <a:gd name="T29" fmla="*/ 394 h 788"/>
                <a:gd name="T30" fmla="*/ 394 w 788"/>
                <a:gd name="T31" fmla="*/ 117 h 788"/>
                <a:gd name="T32" fmla="*/ 670 w 788"/>
                <a:gd name="T33" fmla="*/ 394 h 788"/>
                <a:gd name="T34" fmla="*/ 96 w 788"/>
                <a:gd name="T35" fmla="*/ 462 h 788"/>
                <a:gd name="T36" fmla="*/ 207 w 788"/>
                <a:gd name="T37" fmla="*/ 581 h 788"/>
                <a:gd name="T38" fmla="*/ 326 w 788"/>
                <a:gd name="T39" fmla="*/ 691 h 788"/>
                <a:gd name="T40" fmla="*/ 96 w 788"/>
                <a:gd name="T41" fmla="*/ 462 h 788"/>
                <a:gd name="T42" fmla="*/ 138 w 788"/>
                <a:gd name="T43" fmla="*/ 138 h 788"/>
                <a:gd name="T44" fmla="*/ 326 w 788"/>
                <a:gd name="T45" fmla="*/ 96 h 788"/>
                <a:gd name="T46" fmla="*/ 207 w 788"/>
                <a:gd name="T47" fmla="*/ 207 h 788"/>
                <a:gd name="T48" fmla="*/ 96 w 788"/>
                <a:gd name="T49" fmla="*/ 326 h 788"/>
                <a:gd name="T50" fmla="*/ 394 w 788"/>
                <a:gd name="T51" fmla="*/ 32 h 788"/>
                <a:gd name="T52" fmla="*/ 455 w 788"/>
                <a:gd name="T53" fmla="*/ 65 h 788"/>
                <a:gd name="T54" fmla="*/ 332 w 788"/>
                <a:gd name="T55" fmla="*/ 65 h 788"/>
                <a:gd name="T56" fmla="*/ 394 w 788"/>
                <a:gd name="T57" fmla="*/ 32 h 788"/>
                <a:gd name="T58" fmla="*/ 65 w 788"/>
                <a:gd name="T59" fmla="*/ 332 h 788"/>
                <a:gd name="T60" fmla="*/ 65 w 788"/>
                <a:gd name="T61" fmla="*/ 455 h 788"/>
                <a:gd name="T62" fmla="*/ 32 w 788"/>
                <a:gd name="T63" fmla="*/ 394 h 788"/>
                <a:gd name="T64" fmla="*/ 394 w 788"/>
                <a:gd name="T65" fmla="*/ 756 h 788"/>
                <a:gd name="T66" fmla="*/ 258 w 788"/>
                <a:gd name="T67" fmla="*/ 729 h 788"/>
                <a:gd name="T68" fmla="*/ 332 w 788"/>
                <a:gd name="T69" fmla="*/ 723 h 788"/>
                <a:gd name="T70" fmla="*/ 455 w 788"/>
                <a:gd name="T71" fmla="*/ 723 h 788"/>
                <a:gd name="T72" fmla="*/ 529 w 788"/>
                <a:gd name="T73" fmla="*/ 729 h 788"/>
                <a:gd name="T74" fmla="*/ 723 w 788"/>
                <a:gd name="T75" fmla="*/ 455 h 788"/>
                <a:gd name="T76" fmla="*/ 723 w 788"/>
                <a:gd name="T77" fmla="*/ 332 h 788"/>
                <a:gd name="T78" fmla="*/ 756 w 788"/>
                <a:gd name="T79" fmla="*/ 394 h 788"/>
                <a:gd name="T80" fmla="*/ 723 w 788"/>
                <a:gd name="T81" fmla="*/ 455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88" h="788">
                  <a:moveTo>
                    <a:pt x="672" y="115"/>
                  </a:moveTo>
                  <a:cubicBezTo>
                    <a:pt x="598" y="41"/>
                    <a:pt x="499" y="0"/>
                    <a:pt x="394" y="0"/>
                  </a:cubicBezTo>
                  <a:cubicBezTo>
                    <a:pt x="394" y="0"/>
                    <a:pt x="394" y="0"/>
                    <a:pt x="394" y="0"/>
                  </a:cubicBezTo>
                  <a:cubicBezTo>
                    <a:pt x="289" y="0"/>
                    <a:pt x="190" y="41"/>
                    <a:pt x="115" y="115"/>
                  </a:cubicBezTo>
                  <a:cubicBezTo>
                    <a:pt x="41" y="190"/>
                    <a:pt x="0" y="289"/>
                    <a:pt x="0" y="394"/>
                  </a:cubicBezTo>
                  <a:cubicBezTo>
                    <a:pt x="0" y="499"/>
                    <a:pt x="41" y="598"/>
                    <a:pt x="115" y="672"/>
                  </a:cubicBezTo>
                  <a:cubicBezTo>
                    <a:pt x="189" y="747"/>
                    <a:pt x="288" y="788"/>
                    <a:pt x="393" y="788"/>
                  </a:cubicBezTo>
                  <a:cubicBezTo>
                    <a:pt x="393" y="788"/>
                    <a:pt x="393" y="788"/>
                    <a:pt x="394" y="788"/>
                  </a:cubicBezTo>
                  <a:cubicBezTo>
                    <a:pt x="499" y="788"/>
                    <a:pt x="598" y="747"/>
                    <a:pt x="672" y="672"/>
                  </a:cubicBezTo>
                  <a:cubicBezTo>
                    <a:pt x="747" y="598"/>
                    <a:pt x="788" y="499"/>
                    <a:pt x="788" y="394"/>
                  </a:cubicBezTo>
                  <a:cubicBezTo>
                    <a:pt x="788" y="288"/>
                    <a:pt x="747" y="189"/>
                    <a:pt x="672" y="115"/>
                  </a:cubicBezTo>
                  <a:close/>
                  <a:moveTo>
                    <a:pt x="691" y="326"/>
                  </a:moveTo>
                  <a:cubicBezTo>
                    <a:pt x="690" y="334"/>
                    <a:pt x="688" y="342"/>
                    <a:pt x="685" y="350"/>
                  </a:cubicBezTo>
                  <a:cubicBezTo>
                    <a:pt x="660" y="299"/>
                    <a:pt x="625" y="250"/>
                    <a:pt x="581" y="207"/>
                  </a:cubicBezTo>
                  <a:cubicBezTo>
                    <a:pt x="537" y="163"/>
                    <a:pt x="488" y="128"/>
                    <a:pt x="438" y="102"/>
                  </a:cubicBezTo>
                  <a:cubicBezTo>
                    <a:pt x="446" y="100"/>
                    <a:pt x="454" y="98"/>
                    <a:pt x="462" y="96"/>
                  </a:cubicBezTo>
                  <a:cubicBezTo>
                    <a:pt x="482" y="92"/>
                    <a:pt x="502" y="90"/>
                    <a:pt x="521" y="90"/>
                  </a:cubicBezTo>
                  <a:cubicBezTo>
                    <a:pt x="573" y="90"/>
                    <a:pt x="618" y="106"/>
                    <a:pt x="650" y="138"/>
                  </a:cubicBezTo>
                  <a:cubicBezTo>
                    <a:pt x="693" y="181"/>
                    <a:pt x="707" y="248"/>
                    <a:pt x="691" y="326"/>
                  </a:cubicBezTo>
                  <a:close/>
                  <a:moveTo>
                    <a:pt x="691" y="462"/>
                  </a:moveTo>
                  <a:cubicBezTo>
                    <a:pt x="707" y="540"/>
                    <a:pt x="693" y="607"/>
                    <a:pt x="650" y="650"/>
                  </a:cubicBezTo>
                  <a:cubicBezTo>
                    <a:pt x="607" y="693"/>
                    <a:pt x="540" y="707"/>
                    <a:pt x="462" y="691"/>
                  </a:cubicBezTo>
                  <a:cubicBezTo>
                    <a:pt x="454" y="690"/>
                    <a:pt x="446" y="688"/>
                    <a:pt x="438" y="685"/>
                  </a:cubicBezTo>
                  <a:cubicBezTo>
                    <a:pt x="488" y="660"/>
                    <a:pt x="537" y="625"/>
                    <a:pt x="581" y="581"/>
                  </a:cubicBezTo>
                  <a:cubicBezTo>
                    <a:pt x="625" y="537"/>
                    <a:pt x="660" y="488"/>
                    <a:pt x="685" y="438"/>
                  </a:cubicBezTo>
                  <a:cubicBezTo>
                    <a:pt x="688" y="446"/>
                    <a:pt x="690" y="454"/>
                    <a:pt x="691" y="462"/>
                  </a:cubicBezTo>
                  <a:close/>
                  <a:moveTo>
                    <a:pt x="558" y="558"/>
                  </a:moveTo>
                  <a:cubicBezTo>
                    <a:pt x="508" y="608"/>
                    <a:pt x="452" y="646"/>
                    <a:pt x="394" y="670"/>
                  </a:cubicBezTo>
                  <a:cubicBezTo>
                    <a:pt x="336" y="646"/>
                    <a:pt x="279" y="608"/>
                    <a:pt x="229" y="558"/>
                  </a:cubicBezTo>
                  <a:cubicBezTo>
                    <a:pt x="179" y="508"/>
                    <a:pt x="141" y="452"/>
                    <a:pt x="117" y="394"/>
                  </a:cubicBezTo>
                  <a:cubicBezTo>
                    <a:pt x="141" y="336"/>
                    <a:pt x="179" y="279"/>
                    <a:pt x="229" y="229"/>
                  </a:cubicBezTo>
                  <a:cubicBezTo>
                    <a:pt x="279" y="179"/>
                    <a:pt x="336" y="141"/>
                    <a:pt x="394" y="117"/>
                  </a:cubicBezTo>
                  <a:cubicBezTo>
                    <a:pt x="452" y="141"/>
                    <a:pt x="508" y="179"/>
                    <a:pt x="558" y="229"/>
                  </a:cubicBezTo>
                  <a:cubicBezTo>
                    <a:pt x="608" y="279"/>
                    <a:pt x="646" y="336"/>
                    <a:pt x="670" y="394"/>
                  </a:cubicBezTo>
                  <a:cubicBezTo>
                    <a:pt x="646" y="452"/>
                    <a:pt x="608" y="508"/>
                    <a:pt x="558" y="558"/>
                  </a:cubicBezTo>
                  <a:close/>
                  <a:moveTo>
                    <a:pt x="96" y="462"/>
                  </a:moveTo>
                  <a:cubicBezTo>
                    <a:pt x="98" y="454"/>
                    <a:pt x="100" y="446"/>
                    <a:pt x="102" y="438"/>
                  </a:cubicBezTo>
                  <a:cubicBezTo>
                    <a:pt x="128" y="488"/>
                    <a:pt x="163" y="537"/>
                    <a:pt x="207" y="581"/>
                  </a:cubicBezTo>
                  <a:cubicBezTo>
                    <a:pt x="250" y="625"/>
                    <a:pt x="299" y="660"/>
                    <a:pt x="350" y="685"/>
                  </a:cubicBezTo>
                  <a:cubicBezTo>
                    <a:pt x="342" y="688"/>
                    <a:pt x="334" y="690"/>
                    <a:pt x="326" y="691"/>
                  </a:cubicBezTo>
                  <a:cubicBezTo>
                    <a:pt x="248" y="707"/>
                    <a:pt x="181" y="693"/>
                    <a:pt x="138" y="650"/>
                  </a:cubicBezTo>
                  <a:cubicBezTo>
                    <a:pt x="95" y="607"/>
                    <a:pt x="80" y="540"/>
                    <a:pt x="96" y="462"/>
                  </a:cubicBezTo>
                  <a:close/>
                  <a:moveTo>
                    <a:pt x="96" y="326"/>
                  </a:moveTo>
                  <a:cubicBezTo>
                    <a:pt x="80" y="248"/>
                    <a:pt x="95" y="181"/>
                    <a:pt x="138" y="138"/>
                  </a:cubicBezTo>
                  <a:cubicBezTo>
                    <a:pt x="170" y="106"/>
                    <a:pt x="214" y="90"/>
                    <a:pt x="267" y="90"/>
                  </a:cubicBezTo>
                  <a:cubicBezTo>
                    <a:pt x="286" y="90"/>
                    <a:pt x="305" y="92"/>
                    <a:pt x="326" y="96"/>
                  </a:cubicBezTo>
                  <a:cubicBezTo>
                    <a:pt x="334" y="98"/>
                    <a:pt x="342" y="100"/>
                    <a:pt x="350" y="102"/>
                  </a:cubicBezTo>
                  <a:cubicBezTo>
                    <a:pt x="299" y="128"/>
                    <a:pt x="250" y="163"/>
                    <a:pt x="207" y="207"/>
                  </a:cubicBezTo>
                  <a:cubicBezTo>
                    <a:pt x="163" y="250"/>
                    <a:pt x="128" y="299"/>
                    <a:pt x="102" y="350"/>
                  </a:cubicBezTo>
                  <a:cubicBezTo>
                    <a:pt x="100" y="342"/>
                    <a:pt x="98" y="334"/>
                    <a:pt x="96" y="326"/>
                  </a:cubicBezTo>
                  <a:close/>
                  <a:moveTo>
                    <a:pt x="394" y="32"/>
                  </a:moveTo>
                  <a:cubicBezTo>
                    <a:pt x="394" y="32"/>
                    <a:pt x="394" y="32"/>
                    <a:pt x="394" y="32"/>
                  </a:cubicBezTo>
                  <a:cubicBezTo>
                    <a:pt x="442" y="32"/>
                    <a:pt x="487" y="41"/>
                    <a:pt x="530" y="58"/>
                  </a:cubicBezTo>
                  <a:cubicBezTo>
                    <a:pt x="506" y="57"/>
                    <a:pt x="481" y="60"/>
                    <a:pt x="455" y="65"/>
                  </a:cubicBezTo>
                  <a:cubicBezTo>
                    <a:pt x="435" y="69"/>
                    <a:pt x="414" y="75"/>
                    <a:pt x="394" y="83"/>
                  </a:cubicBezTo>
                  <a:cubicBezTo>
                    <a:pt x="373" y="75"/>
                    <a:pt x="353" y="69"/>
                    <a:pt x="332" y="65"/>
                  </a:cubicBezTo>
                  <a:cubicBezTo>
                    <a:pt x="307" y="60"/>
                    <a:pt x="282" y="57"/>
                    <a:pt x="258" y="58"/>
                  </a:cubicBezTo>
                  <a:cubicBezTo>
                    <a:pt x="301" y="41"/>
                    <a:pt x="347" y="32"/>
                    <a:pt x="394" y="32"/>
                  </a:cubicBezTo>
                  <a:close/>
                  <a:moveTo>
                    <a:pt x="58" y="258"/>
                  </a:moveTo>
                  <a:cubicBezTo>
                    <a:pt x="57" y="282"/>
                    <a:pt x="60" y="307"/>
                    <a:pt x="65" y="332"/>
                  </a:cubicBezTo>
                  <a:cubicBezTo>
                    <a:pt x="69" y="353"/>
                    <a:pt x="75" y="373"/>
                    <a:pt x="83" y="394"/>
                  </a:cubicBezTo>
                  <a:cubicBezTo>
                    <a:pt x="75" y="414"/>
                    <a:pt x="69" y="435"/>
                    <a:pt x="65" y="455"/>
                  </a:cubicBezTo>
                  <a:cubicBezTo>
                    <a:pt x="60" y="481"/>
                    <a:pt x="57" y="506"/>
                    <a:pt x="58" y="530"/>
                  </a:cubicBezTo>
                  <a:cubicBezTo>
                    <a:pt x="41" y="487"/>
                    <a:pt x="32" y="441"/>
                    <a:pt x="32" y="394"/>
                  </a:cubicBezTo>
                  <a:cubicBezTo>
                    <a:pt x="32" y="347"/>
                    <a:pt x="41" y="301"/>
                    <a:pt x="58" y="258"/>
                  </a:cubicBezTo>
                  <a:close/>
                  <a:moveTo>
                    <a:pt x="394" y="756"/>
                  </a:moveTo>
                  <a:cubicBezTo>
                    <a:pt x="393" y="756"/>
                    <a:pt x="393" y="756"/>
                    <a:pt x="393" y="756"/>
                  </a:cubicBezTo>
                  <a:cubicBezTo>
                    <a:pt x="346" y="756"/>
                    <a:pt x="300" y="747"/>
                    <a:pt x="258" y="729"/>
                  </a:cubicBezTo>
                  <a:cubicBezTo>
                    <a:pt x="261" y="730"/>
                    <a:pt x="264" y="730"/>
                    <a:pt x="267" y="730"/>
                  </a:cubicBezTo>
                  <a:cubicBezTo>
                    <a:pt x="288" y="730"/>
                    <a:pt x="310" y="727"/>
                    <a:pt x="332" y="723"/>
                  </a:cubicBezTo>
                  <a:cubicBezTo>
                    <a:pt x="353" y="718"/>
                    <a:pt x="373" y="712"/>
                    <a:pt x="394" y="705"/>
                  </a:cubicBezTo>
                  <a:cubicBezTo>
                    <a:pt x="414" y="712"/>
                    <a:pt x="435" y="718"/>
                    <a:pt x="455" y="723"/>
                  </a:cubicBezTo>
                  <a:cubicBezTo>
                    <a:pt x="478" y="727"/>
                    <a:pt x="500" y="730"/>
                    <a:pt x="521" y="730"/>
                  </a:cubicBezTo>
                  <a:cubicBezTo>
                    <a:pt x="524" y="730"/>
                    <a:pt x="526" y="730"/>
                    <a:pt x="529" y="729"/>
                  </a:cubicBezTo>
                  <a:cubicBezTo>
                    <a:pt x="487" y="747"/>
                    <a:pt x="441" y="756"/>
                    <a:pt x="394" y="756"/>
                  </a:cubicBezTo>
                  <a:close/>
                  <a:moveTo>
                    <a:pt x="723" y="455"/>
                  </a:moveTo>
                  <a:cubicBezTo>
                    <a:pt x="718" y="435"/>
                    <a:pt x="712" y="414"/>
                    <a:pt x="705" y="394"/>
                  </a:cubicBezTo>
                  <a:cubicBezTo>
                    <a:pt x="712" y="373"/>
                    <a:pt x="718" y="353"/>
                    <a:pt x="723" y="332"/>
                  </a:cubicBezTo>
                  <a:cubicBezTo>
                    <a:pt x="728" y="306"/>
                    <a:pt x="730" y="281"/>
                    <a:pt x="729" y="257"/>
                  </a:cubicBezTo>
                  <a:cubicBezTo>
                    <a:pt x="747" y="300"/>
                    <a:pt x="756" y="346"/>
                    <a:pt x="756" y="394"/>
                  </a:cubicBezTo>
                  <a:cubicBezTo>
                    <a:pt x="756" y="441"/>
                    <a:pt x="747" y="487"/>
                    <a:pt x="729" y="529"/>
                  </a:cubicBezTo>
                  <a:cubicBezTo>
                    <a:pt x="730" y="506"/>
                    <a:pt x="728" y="481"/>
                    <a:pt x="723" y="455"/>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cxnSp>
        <p:nvCxnSpPr>
          <p:cNvPr id="210" name="Straight Connector 209">
            <a:extLst>
              <a:ext uri="{FF2B5EF4-FFF2-40B4-BE49-F238E27FC236}">
                <a16:creationId xmlns:a16="http://schemas.microsoft.com/office/drawing/2014/main" id="{F400FBA2-2369-4E7B-9EB2-37D716251A8A}"/>
              </a:ext>
            </a:extLst>
          </p:cNvPr>
          <p:cNvCxnSpPr>
            <a:cxnSpLocks/>
          </p:cNvCxnSpPr>
          <p:nvPr/>
        </p:nvCxnSpPr>
        <p:spPr>
          <a:xfrm>
            <a:off x="4552198" y="2567609"/>
            <a:ext cx="1515514" cy="1340402"/>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E137DF50-88D3-4C78-A7D8-24CA156F1A84}"/>
              </a:ext>
            </a:extLst>
          </p:cNvPr>
          <p:cNvCxnSpPr>
            <a:cxnSpLocks/>
          </p:cNvCxnSpPr>
          <p:nvPr/>
        </p:nvCxnSpPr>
        <p:spPr>
          <a:xfrm>
            <a:off x="4563473" y="2577832"/>
            <a:ext cx="1910588" cy="478139"/>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73" name="Oval 172">
            <a:extLst>
              <a:ext uri="{FF2B5EF4-FFF2-40B4-BE49-F238E27FC236}">
                <a16:creationId xmlns:a16="http://schemas.microsoft.com/office/drawing/2014/main" id="{7B4D908D-CB9B-4823-A26C-DC8D16D8805E}"/>
              </a:ext>
            </a:extLst>
          </p:cNvPr>
          <p:cNvSpPr/>
          <p:nvPr/>
        </p:nvSpPr>
        <p:spPr>
          <a:xfrm>
            <a:off x="5679835" y="3529870"/>
            <a:ext cx="727424" cy="727422"/>
          </a:xfrm>
          <a:prstGeom prst="ellipse">
            <a:avLst/>
          </a:prstGeom>
          <a:solidFill>
            <a:schemeClr val="bg2"/>
          </a:solidFill>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174" name="Oval 173">
            <a:extLst>
              <a:ext uri="{FF2B5EF4-FFF2-40B4-BE49-F238E27FC236}">
                <a16:creationId xmlns:a16="http://schemas.microsoft.com/office/drawing/2014/main" id="{A9C92498-A381-4630-B1FC-9463BD5B5B9D}"/>
              </a:ext>
            </a:extLst>
          </p:cNvPr>
          <p:cNvSpPr/>
          <p:nvPr/>
        </p:nvSpPr>
        <p:spPr>
          <a:xfrm>
            <a:off x="6142934" y="2704808"/>
            <a:ext cx="727424" cy="727422"/>
          </a:xfrm>
          <a:prstGeom prst="ellipse">
            <a:avLst/>
          </a:prstGeom>
          <a:solidFill>
            <a:schemeClr val="bg2"/>
          </a:solidFill>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175" name="Group 25">
            <a:extLst>
              <a:ext uri="{FF2B5EF4-FFF2-40B4-BE49-F238E27FC236}">
                <a16:creationId xmlns:a16="http://schemas.microsoft.com/office/drawing/2014/main" id="{BFD3E43B-9209-489A-B151-A97372BBBFED}"/>
              </a:ext>
            </a:extLst>
          </p:cNvPr>
          <p:cNvGrpSpPr>
            <a:grpSpLocks noChangeAspect="1"/>
          </p:cNvGrpSpPr>
          <p:nvPr/>
        </p:nvGrpSpPr>
        <p:grpSpPr bwMode="auto">
          <a:xfrm>
            <a:off x="5754093" y="3594061"/>
            <a:ext cx="589751" cy="590214"/>
            <a:chOff x="1800" y="539"/>
            <a:chExt cx="2544" cy="2546"/>
          </a:xfrm>
        </p:grpSpPr>
        <p:sp>
          <p:nvSpPr>
            <p:cNvPr id="176" name="Oval 26">
              <a:extLst>
                <a:ext uri="{FF2B5EF4-FFF2-40B4-BE49-F238E27FC236}">
                  <a16:creationId xmlns:a16="http://schemas.microsoft.com/office/drawing/2014/main" id="{C4161D6E-66C0-44E8-914A-D7BF504CD86C}"/>
                </a:ext>
              </a:extLst>
            </p:cNvPr>
            <p:cNvSpPr>
              <a:spLocks noChangeArrowheads="1"/>
            </p:cNvSpPr>
            <p:nvPr/>
          </p:nvSpPr>
          <p:spPr bwMode="auto">
            <a:xfrm>
              <a:off x="1800" y="539"/>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7" name="Freeform 27">
              <a:extLst>
                <a:ext uri="{FF2B5EF4-FFF2-40B4-BE49-F238E27FC236}">
                  <a16:creationId xmlns:a16="http://schemas.microsoft.com/office/drawing/2014/main" id="{9CE30F7B-A5DA-4CA2-B55D-122F3501B45C}"/>
                </a:ext>
              </a:extLst>
            </p:cNvPr>
            <p:cNvSpPr>
              <a:spLocks/>
            </p:cNvSpPr>
            <p:nvPr/>
          </p:nvSpPr>
          <p:spPr bwMode="auto">
            <a:xfrm>
              <a:off x="2528" y="1069"/>
              <a:ext cx="1805" cy="2016"/>
            </a:xfrm>
            <a:custGeom>
              <a:avLst/>
              <a:gdLst>
                <a:gd name="T0" fmla="*/ 1022 w 1022"/>
                <a:gd name="T1" fmla="*/ 512 h 1140"/>
                <a:gd name="T2" fmla="*/ 518 w 1022"/>
                <a:gd name="T3" fmla="*/ 8 h 1140"/>
                <a:gd name="T4" fmla="*/ 518 w 1022"/>
                <a:gd name="T5" fmla="*/ 8 h 1140"/>
                <a:gd name="T6" fmla="*/ 498 w 1022"/>
                <a:gd name="T7" fmla="*/ 0 h 1140"/>
                <a:gd name="T8" fmla="*/ 118 w 1022"/>
                <a:gd name="T9" fmla="*/ 0 h 1140"/>
                <a:gd name="T10" fmla="*/ 89 w 1022"/>
                <a:gd name="T11" fmla="*/ 28 h 1140"/>
                <a:gd name="T12" fmla="*/ 89 w 1022"/>
                <a:gd name="T13" fmla="*/ 417 h 1140"/>
                <a:gd name="T14" fmla="*/ 28 w 1022"/>
                <a:gd name="T15" fmla="*/ 417 h 1140"/>
                <a:gd name="T16" fmla="*/ 0 w 1022"/>
                <a:gd name="T17" fmla="*/ 445 h 1140"/>
                <a:gd name="T18" fmla="*/ 0 w 1022"/>
                <a:gd name="T19" fmla="*/ 812 h 1140"/>
                <a:gd name="T20" fmla="*/ 8 w 1022"/>
                <a:gd name="T21" fmla="*/ 832 h 1140"/>
                <a:gd name="T22" fmla="*/ 316 w 1022"/>
                <a:gd name="T23" fmla="*/ 1140 h 1140"/>
                <a:gd name="T24" fmla="*/ 1022 w 1022"/>
                <a:gd name="T25" fmla="*/ 51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2" h="1140">
                  <a:moveTo>
                    <a:pt x="1022" y="512"/>
                  </a:moveTo>
                  <a:cubicBezTo>
                    <a:pt x="518" y="8"/>
                    <a:pt x="518" y="8"/>
                    <a:pt x="518" y="8"/>
                  </a:cubicBezTo>
                  <a:cubicBezTo>
                    <a:pt x="518" y="8"/>
                    <a:pt x="518" y="8"/>
                    <a:pt x="518" y="8"/>
                  </a:cubicBezTo>
                  <a:cubicBezTo>
                    <a:pt x="513" y="3"/>
                    <a:pt x="506" y="0"/>
                    <a:pt x="498" y="0"/>
                  </a:cubicBezTo>
                  <a:cubicBezTo>
                    <a:pt x="118" y="0"/>
                    <a:pt x="118" y="0"/>
                    <a:pt x="118" y="0"/>
                  </a:cubicBezTo>
                  <a:cubicBezTo>
                    <a:pt x="102" y="0"/>
                    <a:pt x="89" y="12"/>
                    <a:pt x="89" y="28"/>
                  </a:cubicBezTo>
                  <a:cubicBezTo>
                    <a:pt x="89" y="417"/>
                    <a:pt x="89" y="417"/>
                    <a:pt x="89" y="417"/>
                  </a:cubicBezTo>
                  <a:cubicBezTo>
                    <a:pt x="28" y="417"/>
                    <a:pt x="28" y="417"/>
                    <a:pt x="28" y="417"/>
                  </a:cubicBezTo>
                  <a:cubicBezTo>
                    <a:pt x="13" y="417"/>
                    <a:pt x="0" y="429"/>
                    <a:pt x="0" y="445"/>
                  </a:cubicBezTo>
                  <a:cubicBezTo>
                    <a:pt x="0" y="812"/>
                    <a:pt x="0" y="812"/>
                    <a:pt x="0" y="812"/>
                  </a:cubicBezTo>
                  <a:cubicBezTo>
                    <a:pt x="0" y="820"/>
                    <a:pt x="3" y="827"/>
                    <a:pt x="8" y="832"/>
                  </a:cubicBezTo>
                  <a:cubicBezTo>
                    <a:pt x="316" y="1140"/>
                    <a:pt x="316" y="1140"/>
                    <a:pt x="316" y="1140"/>
                  </a:cubicBezTo>
                  <a:cubicBezTo>
                    <a:pt x="679" y="1136"/>
                    <a:pt x="977" y="864"/>
                    <a:pt x="1022" y="512"/>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8" name="Freeform 28">
              <a:extLst>
                <a:ext uri="{FF2B5EF4-FFF2-40B4-BE49-F238E27FC236}">
                  <a16:creationId xmlns:a16="http://schemas.microsoft.com/office/drawing/2014/main" id="{E3040CE6-D4EC-4ADB-84FD-DBE513C0F907}"/>
                </a:ext>
              </a:extLst>
            </p:cNvPr>
            <p:cNvSpPr>
              <a:spLocks/>
            </p:cNvSpPr>
            <p:nvPr/>
          </p:nvSpPr>
          <p:spPr bwMode="auto">
            <a:xfrm>
              <a:off x="2528" y="1069"/>
              <a:ext cx="1088" cy="1487"/>
            </a:xfrm>
            <a:custGeom>
              <a:avLst/>
              <a:gdLst>
                <a:gd name="T0" fmla="*/ 588 w 616"/>
                <a:gd name="T1" fmla="*/ 417 h 841"/>
                <a:gd name="T2" fmla="*/ 527 w 616"/>
                <a:gd name="T3" fmla="*/ 417 h 841"/>
                <a:gd name="T4" fmla="*/ 527 w 616"/>
                <a:gd name="T5" fmla="*/ 28 h 841"/>
                <a:gd name="T6" fmla="*/ 498 w 616"/>
                <a:gd name="T7" fmla="*/ 0 h 841"/>
                <a:gd name="T8" fmla="*/ 118 w 616"/>
                <a:gd name="T9" fmla="*/ 0 h 841"/>
                <a:gd name="T10" fmla="*/ 89 w 616"/>
                <a:gd name="T11" fmla="*/ 28 h 841"/>
                <a:gd name="T12" fmla="*/ 89 w 616"/>
                <a:gd name="T13" fmla="*/ 417 h 841"/>
                <a:gd name="T14" fmla="*/ 28 w 616"/>
                <a:gd name="T15" fmla="*/ 417 h 841"/>
                <a:gd name="T16" fmla="*/ 0 w 616"/>
                <a:gd name="T17" fmla="*/ 445 h 841"/>
                <a:gd name="T18" fmla="*/ 0 w 616"/>
                <a:gd name="T19" fmla="*/ 812 h 841"/>
                <a:gd name="T20" fmla="*/ 28 w 616"/>
                <a:gd name="T21" fmla="*/ 841 h 841"/>
                <a:gd name="T22" fmla="*/ 588 w 616"/>
                <a:gd name="T23" fmla="*/ 841 h 841"/>
                <a:gd name="T24" fmla="*/ 616 w 616"/>
                <a:gd name="T25" fmla="*/ 812 h 841"/>
                <a:gd name="T26" fmla="*/ 616 w 616"/>
                <a:gd name="T27" fmla="*/ 445 h 841"/>
                <a:gd name="T28" fmla="*/ 588 w 616"/>
                <a:gd name="T29" fmla="*/ 417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6" h="841">
                  <a:moveTo>
                    <a:pt x="588" y="417"/>
                  </a:moveTo>
                  <a:cubicBezTo>
                    <a:pt x="527" y="417"/>
                    <a:pt x="527" y="417"/>
                    <a:pt x="527" y="417"/>
                  </a:cubicBezTo>
                  <a:cubicBezTo>
                    <a:pt x="527" y="28"/>
                    <a:pt x="527" y="28"/>
                    <a:pt x="527" y="28"/>
                  </a:cubicBezTo>
                  <a:cubicBezTo>
                    <a:pt x="527" y="12"/>
                    <a:pt x="514" y="0"/>
                    <a:pt x="498" y="0"/>
                  </a:cubicBezTo>
                  <a:cubicBezTo>
                    <a:pt x="118" y="0"/>
                    <a:pt x="118" y="0"/>
                    <a:pt x="118" y="0"/>
                  </a:cubicBezTo>
                  <a:cubicBezTo>
                    <a:pt x="102" y="0"/>
                    <a:pt x="89" y="12"/>
                    <a:pt x="89" y="28"/>
                  </a:cubicBezTo>
                  <a:cubicBezTo>
                    <a:pt x="89" y="417"/>
                    <a:pt x="89" y="417"/>
                    <a:pt x="89" y="417"/>
                  </a:cubicBezTo>
                  <a:cubicBezTo>
                    <a:pt x="28" y="417"/>
                    <a:pt x="28" y="417"/>
                    <a:pt x="28" y="417"/>
                  </a:cubicBezTo>
                  <a:cubicBezTo>
                    <a:pt x="13" y="417"/>
                    <a:pt x="0" y="429"/>
                    <a:pt x="0" y="445"/>
                  </a:cubicBezTo>
                  <a:cubicBezTo>
                    <a:pt x="0" y="812"/>
                    <a:pt x="0" y="812"/>
                    <a:pt x="0" y="812"/>
                  </a:cubicBezTo>
                  <a:cubicBezTo>
                    <a:pt x="0" y="828"/>
                    <a:pt x="13" y="841"/>
                    <a:pt x="28" y="841"/>
                  </a:cubicBezTo>
                  <a:cubicBezTo>
                    <a:pt x="588" y="841"/>
                    <a:pt x="588" y="841"/>
                    <a:pt x="588" y="841"/>
                  </a:cubicBezTo>
                  <a:cubicBezTo>
                    <a:pt x="603" y="841"/>
                    <a:pt x="616" y="828"/>
                    <a:pt x="616" y="812"/>
                  </a:cubicBezTo>
                  <a:cubicBezTo>
                    <a:pt x="616" y="445"/>
                    <a:pt x="616" y="445"/>
                    <a:pt x="616" y="445"/>
                  </a:cubicBezTo>
                  <a:cubicBezTo>
                    <a:pt x="616" y="429"/>
                    <a:pt x="603" y="417"/>
                    <a:pt x="588" y="41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9" name="Freeform 29">
              <a:extLst>
                <a:ext uri="{FF2B5EF4-FFF2-40B4-BE49-F238E27FC236}">
                  <a16:creationId xmlns:a16="http://schemas.microsoft.com/office/drawing/2014/main" id="{55B0A57E-06C2-44E9-B07C-79A4202A12DB}"/>
                </a:ext>
              </a:extLst>
            </p:cNvPr>
            <p:cNvSpPr>
              <a:spLocks/>
            </p:cNvSpPr>
            <p:nvPr/>
          </p:nvSpPr>
          <p:spPr bwMode="auto">
            <a:xfrm>
              <a:off x="2759" y="1142"/>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100"/>
                    <a:pt x="9" y="108"/>
                    <a:pt x="19" y="108"/>
                  </a:cubicBezTo>
                  <a:cubicBezTo>
                    <a:pt x="89" y="108"/>
                    <a:pt x="89" y="108"/>
                    <a:pt x="89" y="108"/>
                  </a:cubicBezTo>
                  <a:cubicBezTo>
                    <a:pt x="100" y="108"/>
                    <a:pt x="108" y="100"/>
                    <a:pt x="108" y="89"/>
                  </a:cubicBezTo>
                  <a:cubicBezTo>
                    <a:pt x="108" y="19"/>
                    <a:pt x="108" y="19"/>
                    <a:pt x="108" y="19"/>
                  </a:cubicBezTo>
                  <a:cubicBezTo>
                    <a:pt x="108" y="9"/>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0" name="Freeform 30">
              <a:extLst>
                <a:ext uri="{FF2B5EF4-FFF2-40B4-BE49-F238E27FC236}">
                  <a16:creationId xmlns:a16="http://schemas.microsoft.com/office/drawing/2014/main" id="{C5E07425-379D-4DA8-8B2D-ED7BBC485984}"/>
                </a:ext>
              </a:extLst>
            </p:cNvPr>
            <p:cNvSpPr>
              <a:spLocks/>
            </p:cNvSpPr>
            <p:nvPr/>
          </p:nvSpPr>
          <p:spPr bwMode="auto">
            <a:xfrm>
              <a:off x="2977" y="1142"/>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100"/>
                    <a:pt x="9" y="108"/>
                    <a:pt x="19" y="108"/>
                  </a:cubicBezTo>
                  <a:cubicBezTo>
                    <a:pt x="89" y="108"/>
                    <a:pt x="89" y="108"/>
                    <a:pt x="89" y="108"/>
                  </a:cubicBezTo>
                  <a:cubicBezTo>
                    <a:pt x="99" y="108"/>
                    <a:pt x="108" y="100"/>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1" name="Freeform 31">
              <a:extLst>
                <a:ext uri="{FF2B5EF4-FFF2-40B4-BE49-F238E27FC236}">
                  <a16:creationId xmlns:a16="http://schemas.microsoft.com/office/drawing/2014/main" id="{E2D051CE-9B8A-4482-97DD-3AAE4AD53D81}"/>
                </a:ext>
              </a:extLst>
            </p:cNvPr>
            <p:cNvSpPr>
              <a:spLocks/>
            </p:cNvSpPr>
            <p:nvPr/>
          </p:nvSpPr>
          <p:spPr bwMode="auto">
            <a:xfrm>
              <a:off x="3194" y="1142"/>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9"/>
                    <a:pt x="0" y="19"/>
                  </a:cubicBezTo>
                  <a:cubicBezTo>
                    <a:pt x="0" y="89"/>
                    <a:pt x="0" y="89"/>
                    <a:pt x="0" y="89"/>
                  </a:cubicBezTo>
                  <a:cubicBezTo>
                    <a:pt x="0" y="100"/>
                    <a:pt x="8" y="108"/>
                    <a:pt x="19" y="108"/>
                  </a:cubicBezTo>
                  <a:cubicBezTo>
                    <a:pt x="89" y="108"/>
                    <a:pt x="89" y="108"/>
                    <a:pt x="89" y="108"/>
                  </a:cubicBezTo>
                  <a:cubicBezTo>
                    <a:pt x="99" y="108"/>
                    <a:pt x="108" y="100"/>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2" name="Freeform 32">
              <a:extLst>
                <a:ext uri="{FF2B5EF4-FFF2-40B4-BE49-F238E27FC236}">
                  <a16:creationId xmlns:a16="http://schemas.microsoft.com/office/drawing/2014/main" id="{37A51EE4-4940-49B8-86EE-32482B29D613}"/>
                </a:ext>
              </a:extLst>
            </p:cNvPr>
            <p:cNvSpPr>
              <a:spLocks/>
            </p:cNvSpPr>
            <p:nvPr/>
          </p:nvSpPr>
          <p:spPr bwMode="auto">
            <a:xfrm>
              <a:off x="2759" y="1359"/>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99"/>
                    <a:pt x="9" y="108"/>
                    <a:pt x="19" y="108"/>
                  </a:cubicBezTo>
                  <a:cubicBezTo>
                    <a:pt x="89" y="108"/>
                    <a:pt x="89" y="108"/>
                    <a:pt x="89" y="108"/>
                  </a:cubicBezTo>
                  <a:cubicBezTo>
                    <a:pt x="100" y="108"/>
                    <a:pt x="108" y="99"/>
                    <a:pt x="108" y="89"/>
                  </a:cubicBezTo>
                  <a:cubicBezTo>
                    <a:pt x="108" y="19"/>
                    <a:pt x="108" y="19"/>
                    <a:pt x="108" y="19"/>
                  </a:cubicBezTo>
                  <a:cubicBezTo>
                    <a:pt x="108" y="9"/>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3" name="Freeform 33">
              <a:extLst>
                <a:ext uri="{FF2B5EF4-FFF2-40B4-BE49-F238E27FC236}">
                  <a16:creationId xmlns:a16="http://schemas.microsoft.com/office/drawing/2014/main" id="{37B1C1EF-D0D9-46B2-9734-67915925B4A7}"/>
                </a:ext>
              </a:extLst>
            </p:cNvPr>
            <p:cNvSpPr>
              <a:spLocks/>
            </p:cNvSpPr>
            <p:nvPr/>
          </p:nvSpPr>
          <p:spPr bwMode="auto">
            <a:xfrm>
              <a:off x="2977" y="1359"/>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99"/>
                    <a:pt x="9" y="108"/>
                    <a:pt x="19" y="108"/>
                  </a:cubicBezTo>
                  <a:cubicBezTo>
                    <a:pt x="89" y="108"/>
                    <a:pt x="89" y="108"/>
                    <a:pt x="89" y="108"/>
                  </a:cubicBezTo>
                  <a:cubicBezTo>
                    <a:pt x="99" y="108"/>
                    <a:pt x="108" y="99"/>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4" name="Freeform 34">
              <a:extLst>
                <a:ext uri="{FF2B5EF4-FFF2-40B4-BE49-F238E27FC236}">
                  <a16:creationId xmlns:a16="http://schemas.microsoft.com/office/drawing/2014/main" id="{9BD198DB-97B3-4FC3-853B-9D88902B0544}"/>
                </a:ext>
              </a:extLst>
            </p:cNvPr>
            <p:cNvSpPr>
              <a:spLocks/>
            </p:cNvSpPr>
            <p:nvPr/>
          </p:nvSpPr>
          <p:spPr bwMode="auto">
            <a:xfrm>
              <a:off x="3194" y="1359"/>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9"/>
                    <a:pt x="0" y="19"/>
                  </a:cubicBezTo>
                  <a:cubicBezTo>
                    <a:pt x="0" y="89"/>
                    <a:pt x="0" y="89"/>
                    <a:pt x="0" y="89"/>
                  </a:cubicBezTo>
                  <a:cubicBezTo>
                    <a:pt x="0" y="99"/>
                    <a:pt x="8" y="108"/>
                    <a:pt x="19" y="108"/>
                  </a:cubicBezTo>
                  <a:cubicBezTo>
                    <a:pt x="89" y="108"/>
                    <a:pt x="89" y="108"/>
                    <a:pt x="89" y="108"/>
                  </a:cubicBezTo>
                  <a:cubicBezTo>
                    <a:pt x="99" y="108"/>
                    <a:pt x="108" y="99"/>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5" name="Freeform 35">
              <a:extLst>
                <a:ext uri="{FF2B5EF4-FFF2-40B4-BE49-F238E27FC236}">
                  <a16:creationId xmlns:a16="http://schemas.microsoft.com/office/drawing/2014/main" id="{0116B838-4350-4306-8B5C-76015FB543C3}"/>
                </a:ext>
              </a:extLst>
            </p:cNvPr>
            <p:cNvSpPr>
              <a:spLocks/>
            </p:cNvSpPr>
            <p:nvPr/>
          </p:nvSpPr>
          <p:spPr bwMode="auto">
            <a:xfrm>
              <a:off x="2759" y="1577"/>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8"/>
                    <a:pt x="0" y="19"/>
                  </a:cubicBezTo>
                  <a:cubicBezTo>
                    <a:pt x="0" y="89"/>
                    <a:pt x="0" y="89"/>
                    <a:pt x="0" y="89"/>
                  </a:cubicBezTo>
                  <a:cubicBezTo>
                    <a:pt x="0" y="99"/>
                    <a:pt x="9" y="108"/>
                    <a:pt x="19" y="108"/>
                  </a:cubicBezTo>
                  <a:cubicBezTo>
                    <a:pt x="89" y="108"/>
                    <a:pt x="89" y="108"/>
                    <a:pt x="89" y="108"/>
                  </a:cubicBezTo>
                  <a:cubicBezTo>
                    <a:pt x="100" y="108"/>
                    <a:pt x="108" y="99"/>
                    <a:pt x="108" y="89"/>
                  </a:cubicBezTo>
                  <a:cubicBezTo>
                    <a:pt x="108" y="19"/>
                    <a:pt x="108" y="19"/>
                    <a:pt x="108" y="19"/>
                  </a:cubicBezTo>
                  <a:cubicBezTo>
                    <a:pt x="108" y="8"/>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6" name="Freeform 36">
              <a:extLst>
                <a:ext uri="{FF2B5EF4-FFF2-40B4-BE49-F238E27FC236}">
                  <a16:creationId xmlns:a16="http://schemas.microsoft.com/office/drawing/2014/main" id="{AAF383CE-C26E-4856-B57F-2EAB20AD383C}"/>
                </a:ext>
              </a:extLst>
            </p:cNvPr>
            <p:cNvSpPr>
              <a:spLocks/>
            </p:cNvSpPr>
            <p:nvPr/>
          </p:nvSpPr>
          <p:spPr bwMode="auto">
            <a:xfrm>
              <a:off x="2977" y="1577"/>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8"/>
                    <a:pt x="0" y="19"/>
                  </a:cubicBezTo>
                  <a:cubicBezTo>
                    <a:pt x="0" y="89"/>
                    <a:pt x="0" y="89"/>
                    <a:pt x="0" y="89"/>
                  </a:cubicBezTo>
                  <a:cubicBezTo>
                    <a:pt x="0" y="99"/>
                    <a:pt x="9" y="108"/>
                    <a:pt x="19" y="108"/>
                  </a:cubicBezTo>
                  <a:cubicBezTo>
                    <a:pt x="89" y="108"/>
                    <a:pt x="89" y="108"/>
                    <a:pt x="89" y="108"/>
                  </a:cubicBezTo>
                  <a:cubicBezTo>
                    <a:pt x="99" y="108"/>
                    <a:pt x="108" y="99"/>
                    <a:pt x="108" y="89"/>
                  </a:cubicBezTo>
                  <a:cubicBezTo>
                    <a:pt x="108" y="19"/>
                    <a:pt x="108" y="19"/>
                    <a:pt x="108" y="19"/>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7" name="Freeform 37">
              <a:extLst>
                <a:ext uri="{FF2B5EF4-FFF2-40B4-BE49-F238E27FC236}">
                  <a16:creationId xmlns:a16="http://schemas.microsoft.com/office/drawing/2014/main" id="{4AED0A87-4B08-4EE2-853E-88B546165712}"/>
                </a:ext>
              </a:extLst>
            </p:cNvPr>
            <p:cNvSpPr>
              <a:spLocks/>
            </p:cNvSpPr>
            <p:nvPr/>
          </p:nvSpPr>
          <p:spPr bwMode="auto">
            <a:xfrm>
              <a:off x="3194" y="1577"/>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8"/>
                    <a:pt x="0" y="19"/>
                  </a:cubicBezTo>
                  <a:cubicBezTo>
                    <a:pt x="0" y="89"/>
                    <a:pt x="0" y="89"/>
                    <a:pt x="0" y="89"/>
                  </a:cubicBezTo>
                  <a:cubicBezTo>
                    <a:pt x="0" y="99"/>
                    <a:pt x="8" y="108"/>
                    <a:pt x="19" y="108"/>
                  </a:cubicBezTo>
                  <a:cubicBezTo>
                    <a:pt x="89" y="108"/>
                    <a:pt x="89" y="108"/>
                    <a:pt x="89" y="108"/>
                  </a:cubicBezTo>
                  <a:cubicBezTo>
                    <a:pt x="99" y="108"/>
                    <a:pt x="108" y="99"/>
                    <a:pt x="108" y="89"/>
                  </a:cubicBezTo>
                  <a:cubicBezTo>
                    <a:pt x="108" y="19"/>
                    <a:pt x="108" y="19"/>
                    <a:pt x="108" y="19"/>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8" name="Freeform 38">
              <a:extLst>
                <a:ext uri="{FF2B5EF4-FFF2-40B4-BE49-F238E27FC236}">
                  <a16:creationId xmlns:a16="http://schemas.microsoft.com/office/drawing/2014/main" id="{3AD37813-E7BE-4E3B-836D-3FC8FA7AB837}"/>
                </a:ext>
              </a:extLst>
            </p:cNvPr>
            <p:cNvSpPr>
              <a:spLocks/>
            </p:cNvSpPr>
            <p:nvPr/>
          </p:nvSpPr>
          <p:spPr bwMode="auto">
            <a:xfrm>
              <a:off x="2759" y="1798"/>
              <a:ext cx="191"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100" y="107"/>
                    <a:pt x="108" y="99"/>
                    <a:pt x="108" y="89"/>
                  </a:cubicBezTo>
                  <a:cubicBezTo>
                    <a:pt x="108" y="18"/>
                    <a:pt x="108" y="18"/>
                    <a:pt x="108" y="18"/>
                  </a:cubicBezTo>
                  <a:cubicBezTo>
                    <a:pt x="108" y="8"/>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9" name="Freeform 39">
              <a:extLst>
                <a:ext uri="{FF2B5EF4-FFF2-40B4-BE49-F238E27FC236}">
                  <a16:creationId xmlns:a16="http://schemas.microsoft.com/office/drawing/2014/main" id="{249FB56C-C829-45A3-8354-A3DD1778412E}"/>
                </a:ext>
              </a:extLst>
            </p:cNvPr>
            <p:cNvSpPr>
              <a:spLocks/>
            </p:cNvSpPr>
            <p:nvPr/>
          </p:nvSpPr>
          <p:spPr bwMode="auto">
            <a:xfrm>
              <a:off x="2977" y="1798"/>
              <a:ext cx="190"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0" name="Freeform 40">
              <a:extLst>
                <a:ext uri="{FF2B5EF4-FFF2-40B4-BE49-F238E27FC236}">
                  <a16:creationId xmlns:a16="http://schemas.microsoft.com/office/drawing/2014/main" id="{7C1B52B1-E973-466E-84B9-976B984ED843}"/>
                </a:ext>
              </a:extLst>
            </p:cNvPr>
            <p:cNvSpPr>
              <a:spLocks/>
            </p:cNvSpPr>
            <p:nvPr/>
          </p:nvSpPr>
          <p:spPr bwMode="auto">
            <a:xfrm>
              <a:off x="3194" y="1798"/>
              <a:ext cx="191"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8" y="0"/>
                    <a:pt x="0" y="8"/>
                    <a:pt x="0" y="18"/>
                  </a:cubicBezTo>
                  <a:cubicBezTo>
                    <a:pt x="0" y="89"/>
                    <a:pt x="0" y="89"/>
                    <a:pt x="0" y="89"/>
                  </a:cubicBezTo>
                  <a:cubicBezTo>
                    <a:pt x="0" y="99"/>
                    <a:pt x="8"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1" name="Freeform 41">
              <a:extLst>
                <a:ext uri="{FF2B5EF4-FFF2-40B4-BE49-F238E27FC236}">
                  <a16:creationId xmlns:a16="http://schemas.microsoft.com/office/drawing/2014/main" id="{D4306BCF-E7C6-4215-8B15-4FD7ED292520}"/>
                </a:ext>
              </a:extLst>
            </p:cNvPr>
            <p:cNvSpPr>
              <a:spLocks/>
            </p:cNvSpPr>
            <p:nvPr/>
          </p:nvSpPr>
          <p:spPr bwMode="auto">
            <a:xfrm>
              <a:off x="2759" y="2015"/>
              <a:ext cx="191"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100" y="107"/>
                    <a:pt x="108" y="99"/>
                    <a:pt x="108" y="89"/>
                  </a:cubicBezTo>
                  <a:cubicBezTo>
                    <a:pt x="108" y="18"/>
                    <a:pt x="108" y="18"/>
                    <a:pt x="108" y="18"/>
                  </a:cubicBezTo>
                  <a:cubicBezTo>
                    <a:pt x="108" y="8"/>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2" name="Freeform 42">
              <a:extLst>
                <a:ext uri="{FF2B5EF4-FFF2-40B4-BE49-F238E27FC236}">
                  <a16:creationId xmlns:a16="http://schemas.microsoft.com/office/drawing/2014/main" id="{DB7B224E-A85E-4C58-AEF4-A3FE40E55C64}"/>
                </a:ext>
              </a:extLst>
            </p:cNvPr>
            <p:cNvSpPr>
              <a:spLocks/>
            </p:cNvSpPr>
            <p:nvPr/>
          </p:nvSpPr>
          <p:spPr bwMode="auto">
            <a:xfrm>
              <a:off x="2977" y="2015"/>
              <a:ext cx="190"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3" name="Freeform 43">
              <a:extLst>
                <a:ext uri="{FF2B5EF4-FFF2-40B4-BE49-F238E27FC236}">
                  <a16:creationId xmlns:a16="http://schemas.microsoft.com/office/drawing/2014/main" id="{33476065-C839-4A40-A1E6-F353856AF6AE}"/>
                </a:ext>
              </a:extLst>
            </p:cNvPr>
            <p:cNvSpPr>
              <a:spLocks/>
            </p:cNvSpPr>
            <p:nvPr/>
          </p:nvSpPr>
          <p:spPr bwMode="auto">
            <a:xfrm>
              <a:off x="3194" y="2015"/>
              <a:ext cx="191"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8" y="0"/>
                    <a:pt x="0" y="8"/>
                    <a:pt x="0" y="18"/>
                  </a:cubicBezTo>
                  <a:cubicBezTo>
                    <a:pt x="0" y="89"/>
                    <a:pt x="0" y="89"/>
                    <a:pt x="0" y="89"/>
                  </a:cubicBezTo>
                  <a:cubicBezTo>
                    <a:pt x="0" y="99"/>
                    <a:pt x="8"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4" name="Freeform 44">
              <a:extLst>
                <a:ext uri="{FF2B5EF4-FFF2-40B4-BE49-F238E27FC236}">
                  <a16:creationId xmlns:a16="http://schemas.microsoft.com/office/drawing/2014/main" id="{53261B9A-DD60-4715-85E6-D4A58DB81910}"/>
                </a:ext>
              </a:extLst>
            </p:cNvPr>
            <p:cNvSpPr>
              <a:spLocks/>
            </p:cNvSpPr>
            <p:nvPr/>
          </p:nvSpPr>
          <p:spPr bwMode="auto">
            <a:xfrm>
              <a:off x="2977" y="2228"/>
              <a:ext cx="190" cy="327"/>
            </a:xfrm>
            <a:custGeom>
              <a:avLst/>
              <a:gdLst>
                <a:gd name="T0" fmla="*/ 108 w 108"/>
                <a:gd name="T1" fmla="*/ 185 h 185"/>
                <a:gd name="T2" fmla="*/ 108 w 108"/>
                <a:gd name="T3" fmla="*/ 18 h 185"/>
                <a:gd name="T4" fmla="*/ 89 w 108"/>
                <a:gd name="T5" fmla="*/ 0 h 185"/>
                <a:gd name="T6" fmla="*/ 19 w 108"/>
                <a:gd name="T7" fmla="*/ 0 h 185"/>
                <a:gd name="T8" fmla="*/ 0 w 108"/>
                <a:gd name="T9" fmla="*/ 18 h 185"/>
                <a:gd name="T10" fmla="*/ 0 w 108"/>
                <a:gd name="T11" fmla="*/ 185 h 185"/>
                <a:gd name="T12" fmla="*/ 108 w 108"/>
                <a:gd name="T13" fmla="*/ 185 h 185"/>
              </a:gdLst>
              <a:ahLst/>
              <a:cxnLst>
                <a:cxn ang="0">
                  <a:pos x="T0" y="T1"/>
                </a:cxn>
                <a:cxn ang="0">
                  <a:pos x="T2" y="T3"/>
                </a:cxn>
                <a:cxn ang="0">
                  <a:pos x="T4" y="T5"/>
                </a:cxn>
                <a:cxn ang="0">
                  <a:pos x="T6" y="T7"/>
                </a:cxn>
                <a:cxn ang="0">
                  <a:pos x="T8" y="T9"/>
                </a:cxn>
                <a:cxn ang="0">
                  <a:pos x="T10" y="T11"/>
                </a:cxn>
                <a:cxn ang="0">
                  <a:pos x="T12" y="T13"/>
                </a:cxn>
              </a:cxnLst>
              <a:rect l="0" t="0" r="r" b="b"/>
              <a:pathLst>
                <a:path w="108" h="185">
                  <a:moveTo>
                    <a:pt x="108" y="185"/>
                  </a:moveTo>
                  <a:cubicBezTo>
                    <a:pt x="108" y="18"/>
                    <a:pt x="108" y="18"/>
                    <a:pt x="108" y="18"/>
                  </a:cubicBezTo>
                  <a:cubicBezTo>
                    <a:pt x="108" y="8"/>
                    <a:pt x="99" y="0"/>
                    <a:pt x="89" y="0"/>
                  </a:cubicBezTo>
                  <a:cubicBezTo>
                    <a:pt x="19" y="0"/>
                    <a:pt x="19" y="0"/>
                    <a:pt x="19" y="0"/>
                  </a:cubicBezTo>
                  <a:cubicBezTo>
                    <a:pt x="9" y="0"/>
                    <a:pt x="0" y="8"/>
                    <a:pt x="0" y="18"/>
                  </a:cubicBezTo>
                  <a:cubicBezTo>
                    <a:pt x="0" y="185"/>
                    <a:pt x="0" y="185"/>
                    <a:pt x="0" y="185"/>
                  </a:cubicBezTo>
                  <a:lnTo>
                    <a:pt x="108" y="185"/>
                  </a:ln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95" name="Group 13">
            <a:extLst>
              <a:ext uri="{FF2B5EF4-FFF2-40B4-BE49-F238E27FC236}">
                <a16:creationId xmlns:a16="http://schemas.microsoft.com/office/drawing/2014/main" id="{3BD7A6A8-F01C-4DFF-A5C1-09D9881E1866}"/>
              </a:ext>
            </a:extLst>
          </p:cNvPr>
          <p:cNvGrpSpPr>
            <a:grpSpLocks noChangeAspect="1"/>
          </p:cNvGrpSpPr>
          <p:nvPr/>
        </p:nvGrpSpPr>
        <p:grpSpPr bwMode="auto">
          <a:xfrm>
            <a:off x="6221409" y="2759378"/>
            <a:ext cx="595093" cy="594360"/>
            <a:chOff x="1256" y="-2"/>
            <a:chExt cx="3246" cy="3242"/>
          </a:xfrm>
        </p:grpSpPr>
        <p:sp>
          <p:nvSpPr>
            <p:cNvPr id="196" name="Oval 14">
              <a:extLst>
                <a:ext uri="{FF2B5EF4-FFF2-40B4-BE49-F238E27FC236}">
                  <a16:creationId xmlns:a16="http://schemas.microsoft.com/office/drawing/2014/main" id="{91D1B371-756D-43E6-A0E2-32D6CBCC6BAD}"/>
                </a:ext>
              </a:extLst>
            </p:cNvPr>
            <p:cNvSpPr>
              <a:spLocks noChangeArrowheads="1"/>
            </p:cNvSpPr>
            <p:nvPr/>
          </p:nvSpPr>
          <p:spPr bwMode="auto">
            <a:xfrm>
              <a:off x="1256" y="-2"/>
              <a:ext cx="3246" cy="324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97" name="Freeform 15">
              <a:extLst>
                <a:ext uri="{FF2B5EF4-FFF2-40B4-BE49-F238E27FC236}">
                  <a16:creationId xmlns:a16="http://schemas.microsoft.com/office/drawing/2014/main" id="{73E86D30-DEA3-4877-BC61-B0C4982A941C}"/>
                </a:ext>
              </a:extLst>
            </p:cNvPr>
            <p:cNvSpPr>
              <a:spLocks/>
            </p:cNvSpPr>
            <p:nvPr/>
          </p:nvSpPr>
          <p:spPr bwMode="auto">
            <a:xfrm>
              <a:off x="1934" y="559"/>
              <a:ext cx="2568" cy="2681"/>
            </a:xfrm>
            <a:custGeom>
              <a:avLst/>
              <a:gdLst>
                <a:gd name="T0" fmla="*/ 1258 w 1261"/>
                <a:gd name="T1" fmla="*/ 450 h 1318"/>
                <a:gd name="T2" fmla="*/ 814 w 1261"/>
                <a:gd name="T3" fmla="*/ 6 h 1318"/>
                <a:gd name="T4" fmla="*/ 813 w 1261"/>
                <a:gd name="T5" fmla="*/ 7 h 1318"/>
                <a:gd name="T6" fmla="*/ 779 w 1261"/>
                <a:gd name="T7" fmla="*/ 8 h 1318"/>
                <a:gd name="T8" fmla="*/ 775 w 1261"/>
                <a:gd name="T9" fmla="*/ 49 h 1318"/>
                <a:gd name="T10" fmla="*/ 863 w 1261"/>
                <a:gd name="T11" fmla="*/ 237 h 1318"/>
                <a:gd name="T12" fmla="*/ 724 w 1261"/>
                <a:gd name="T13" fmla="*/ 98 h 1318"/>
                <a:gd name="T14" fmla="*/ 720 w 1261"/>
                <a:gd name="T15" fmla="*/ 93 h 1318"/>
                <a:gd name="T16" fmla="*/ 679 w 1261"/>
                <a:gd name="T17" fmla="*/ 90 h 1318"/>
                <a:gd name="T18" fmla="*/ 676 w 1261"/>
                <a:gd name="T19" fmla="*/ 131 h 1318"/>
                <a:gd name="T20" fmla="*/ 741 w 1261"/>
                <a:gd name="T21" fmla="*/ 292 h 1318"/>
                <a:gd name="T22" fmla="*/ 644 w 1261"/>
                <a:gd name="T23" fmla="*/ 195 h 1318"/>
                <a:gd name="T24" fmla="*/ 626 w 1261"/>
                <a:gd name="T25" fmla="*/ 171 h 1318"/>
                <a:gd name="T26" fmla="*/ 585 w 1261"/>
                <a:gd name="T27" fmla="*/ 168 h 1318"/>
                <a:gd name="T28" fmla="*/ 582 w 1261"/>
                <a:gd name="T29" fmla="*/ 208 h 1318"/>
                <a:gd name="T30" fmla="*/ 619 w 1261"/>
                <a:gd name="T31" fmla="*/ 309 h 1318"/>
                <a:gd name="T32" fmla="*/ 614 w 1261"/>
                <a:gd name="T33" fmla="*/ 348 h 1318"/>
                <a:gd name="T34" fmla="*/ 535 w 1261"/>
                <a:gd name="T35" fmla="*/ 269 h 1318"/>
                <a:gd name="T36" fmla="*/ 464 w 1261"/>
                <a:gd name="T37" fmla="*/ 228 h 1318"/>
                <a:gd name="T38" fmla="*/ 415 w 1261"/>
                <a:gd name="T39" fmla="*/ 244 h 1318"/>
                <a:gd name="T40" fmla="*/ 347 w 1261"/>
                <a:gd name="T41" fmla="*/ 176 h 1318"/>
                <a:gd name="T42" fmla="*/ 347 w 1261"/>
                <a:gd name="T43" fmla="*/ 176 h 1318"/>
                <a:gd name="T44" fmla="*/ 341 w 1261"/>
                <a:gd name="T45" fmla="*/ 169 h 1318"/>
                <a:gd name="T46" fmla="*/ 317 w 1261"/>
                <a:gd name="T47" fmla="*/ 163 h 1318"/>
                <a:gd name="T48" fmla="*/ 253 w 1261"/>
                <a:gd name="T49" fmla="*/ 100 h 1318"/>
                <a:gd name="T50" fmla="*/ 247 w 1261"/>
                <a:gd name="T51" fmla="*/ 91 h 1318"/>
                <a:gd name="T52" fmla="*/ 220 w 1261"/>
                <a:gd name="T53" fmla="*/ 86 h 1318"/>
                <a:gd name="T54" fmla="*/ 156 w 1261"/>
                <a:gd name="T55" fmla="*/ 23 h 1318"/>
                <a:gd name="T56" fmla="*/ 147 w 1261"/>
                <a:gd name="T57" fmla="*/ 10 h 1318"/>
                <a:gd name="T58" fmla="*/ 107 w 1261"/>
                <a:gd name="T59" fmla="*/ 14 h 1318"/>
                <a:gd name="T60" fmla="*/ 0 w 1261"/>
                <a:gd name="T61" fmla="*/ 309 h 1318"/>
                <a:gd name="T62" fmla="*/ 107 w 1261"/>
                <a:gd name="T63" fmla="*/ 605 h 1318"/>
                <a:gd name="T64" fmla="*/ 129 w 1261"/>
                <a:gd name="T65" fmla="*/ 615 h 1318"/>
                <a:gd name="T66" fmla="*/ 131 w 1261"/>
                <a:gd name="T67" fmla="*/ 615 h 1318"/>
                <a:gd name="T68" fmla="*/ 250 w 1261"/>
                <a:gd name="T69" fmla="*/ 734 h 1318"/>
                <a:gd name="T70" fmla="*/ 101 w 1261"/>
                <a:gd name="T71" fmla="*/ 1072 h 1318"/>
                <a:gd name="T72" fmla="*/ 108 w 1261"/>
                <a:gd name="T73" fmla="*/ 1105 h 1318"/>
                <a:gd name="T74" fmla="*/ 124 w 1261"/>
                <a:gd name="T75" fmla="*/ 1112 h 1318"/>
                <a:gd name="T76" fmla="*/ 316 w 1261"/>
                <a:gd name="T77" fmla="*/ 1304 h 1318"/>
                <a:gd name="T78" fmla="*/ 464 w 1261"/>
                <a:gd name="T79" fmla="*/ 1318 h 1318"/>
                <a:gd name="T80" fmla="*/ 1261 w 1261"/>
                <a:gd name="T81" fmla="*/ 521 h 1318"/>
                <a:gd name="T82" fmla="*/ 1258 w 1261"/>
                <a:gd name="T83" fmla="*/ 450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1" h="1318">
                  <a:moveTo>
                    <a:pt x="1258" y="450"/>
                  </a:moveTo>
                  <a:cubicBezTo>
                    <a:pt x="814" y="6"/>
                    <a:pt x="814" y="6"/>
                    <a:pt x="814" y="6"/>
                  </a:cubicBezTo>
                  <a:cubicBezTo>
                    <a:pt x="813" y="7"/>
                    <a:pt x="813" y="7"/>
                    <a:pt x="813" y="7"/>
                  </a:cubicBezTo>
                  <a:cubicBezTo>
                    <a:pt x="803" y="0"/>
                    <a:pt x="789" y="0"/>
                    <a:pt x="779" y="8"/>
                  </a:cubicBezTo>
                  <a:cubicBezTo>
                    <a:pt x="766" y="19"/>
                    <a:pt x="765" y="37"/>
                    <a:pt x="775" y="49"/>
                  </a:cubicBezTo>
                  <a:cubicBezTo>
                    <a:pt x="820" y="103"/>
                    <a:pt x="850" y="168"/>
                    <a:pt x="863" y="237"/>
                  </a:cubicBezTo>
                  <a:cubicBezTo>
                    <a:pt x="724" y="98"/>
                    <a:pt x="724" y="98"/>
                    <a:pt x="724" y="98"/>
                  </a:cubicBezTo>
                  <a:cubicBezTo>
                    <a:pt x="722" y="96"/>
                    <a:pt x="721" y="95"/>
                    <a:pt x="720" y="93"/>
                  </a:cubicBezTo>
                  <a:cubicBezTo>
                    <a:pt x="710" y="81"/>
                    <a:pt x="692" y="80"/>
                    <a:pt x="679" y="90"/>
                  </a:cubicBezTo>
                  <a:cubicBezTo>
                    <a:pt x="667" y="100"/>
                    <a:pt x="666" y="118"/>
                    <a:pt x="676" y="131"/>
                  </a:cubicBezTo>
                  <a:cubicBezTo>
                    <a:pt x="714" y="176"/>
                    <a:pt x="737" y="233"/>
                    <a:pt x="741" y="292"/>
                  </a:cubicBezTo>
                  <a:cubicBezTo>
                    <a:pt x="644" y="195"/>
                    <a:pt x="644" y="195"/>
                    <a:pt x="644" y="195"/>
                  </a:cubicBezTo>
                  <a:cubicBezTo>
                    <a:pt x="638" y="186"/>
                    <a:pt x="632" y="178"/>
                    <a:pt x="626" y="171"/>
                  </a:cubicBezTo>
                  <a:cubicBezTo>
                    <a:pt x="615" y="159"/>
                    <a:pt x="597" y="157"/>
                    <a:pt x="585" y="168"/>
                  </a:cubicBezTo>
                  <a:cubicBezTo>
                    <a:pt x="573" y="178"/>
                    <a:pt x="572" y="196"/>
                    <a:pt x="582" y="208"/>
                  </a:cubicBezTo>
                  <a:cubicBezTo>
                    <a:pt x="606" y="236"/>
                    <a:pt x="619" y="272"/>
                    <a:pt x="619" y="309"/>
                  </a:cubicBezTo>
                  <a:cubicBezTo>
                    <a:pt x="619" y="323"/>
                    <a:pt x="618" y="336"/>
                    <a:pt x="614" y="348"/>
                  </a:cubicBezTo>
                  <a:cubicBezTo>
                    <a:pt x="535" y="269"/>
                    <a:pt x="535" y="269"/>
                    <a:pt x="535" y="269"/>
                  </a:cubicBezTo>
                  <a:cubicBezTo>
                    <a:pt x="521" y="244"/>
                    <a:pt x="494" y="228"/>
                    <a:pt x="464" y="228"/>
                  </a:cubicBezTo>
                  <a:cubicBezTo>
                    <a:pt x="445" y="228"/>
                    <a:pt x="428" y="234"/>
                    <a:pt x="415" y="244"/>
                  </a:cubicBezTo>
                  <a:cubicBezTo>
                    <a:pt x="347" y="176"/>
                    <a:pt x="347" y="176"/>
                    <a:pt x="347" y="176"/>
                  </a:cubicBezTo>
                  <a:cubicBezTo>
                    <a:pt x="347" y="176"/>
                    <a:pt x="347" y="176"/>
                    <a:pt x="347" y="176"/>
                  </a:cubicBezTo>
                  <a:cubicBezTo>
                    <a:pt x="345" y="173"/>
                    <a:pt x="343" y="171"/>
                    <a:pt x="341" y="169"/>
                  </a:cubicBezTo>
                  <a:cubicBezTo>
                    <a:pt x="334" y="163"/>
                    <a:pt x="325" y="161"/>
                    <a:pt x="317" y="163"/>
                  </a:cubicBezTo>
                  <a:cubicBezTo>
                    <a:pt x="253" y="100"/>
                    <a:pt x="253" y="100"/>
                    <a:pt x="253" y="100"/>
                  </a:cubicBezTo>
                  <a:cubicBezTo>
                    <a:pt x="252" y="97"/>
                    <a:pt x="249" y="94"/>
                    <a:pt x="247" y="91"/>
                  </a:cubicBezTo>
                  <a:cubicBezTo>
                    <a:pt x="239" y="85"/>
                    <a:pt x="229" y="83"/>
                    <a:pt x="220" y="86"/>
                  </a:cubicBezTo>
                  <a:cubicBezTo>
                    <a:pt x="156" y="23"/>
                    <a:pt x="156" y="23"/>
                    <a:pt x="156" y="23"/>
                  </a:cubicBezTo>
                  <a:cubicBezTo>
                    <a:pt x="155" y="18"/>
                    <a:pt x="152" y="13"/>
                    <a:pt x="147" y="10"/>
                  </a:cubicBezTo>
                  <a:cubicBezTo>
                    <a:pt x="135" y="0"/>
                    <a:pt x="117" y="1"/>
                    <a:pt x="107" y="14"/>
                  </a:cubicBezTo>
                  <a:cubicBezTo>
                    <a:pt x="38" y="97"/>
                    <a:pt x="0" y="202"/>
                    <a:pt x="0" y="309"/>
                  </a:cubicBezTo>
                  <a:cubicBezTo>
                    <a:pt x="0" y="417"/>
                    <a:pt x="38" y="522"/>
                    <a:pt x="107" y="605"/>
                  </a:cubicBezTo>
                  <a:cubicBezTo>
                    <a:pt x="113" y="612"/>
                    <a:pt x="121" y="615"/>
                    <a:pt x="129" y="615"/>
                  </a:cubicBezTo>
                  <a:cubicBezTo>
                    <a:pt x="130" y="615"/>
                    <a:pt x="130" y="615"/>
                    <a:pt x="131" y="615"/>
                  </a:cubicBezTo>
                  <a:cubicBezTo>
                    <a:pt x="250" y="734"/>
                    <a:pt x="250" y="734"/>
                    <a:pt x="250" y="734"/>
                  </a:cubicBezTo>
                  <a:cubicBezTo>
                    <a:pt x="101" y="1072"/>
                    <a:pt x="101" y="1072"/>
                    <a:pt x="101" y="1072"/>
                  </a:cubicBezTo>
                  <a:cubicBezTo>
                    <a:pt x="95" y="1084"/>
                    <a:pt x="98" y="1097"/>
                    <a:pt x="108" y="1105"/>
                  </a:cubicBezTo>
                  <a:cubicBezTo>
                    <a:pt x="112" y="1109"/>
                    <a:pt x="118" y="1112"/>
                    <a:pt x="124" y="1112"/>
                  </a:cubicBezTo>
                  <a:cubicBezTo>
                    <a:pt x="316" y="1304"/>
                    <a:pt x="316" y="1304"/>
                    <a:pt x="316" y="1304"/>
                  </a:cubicBezTo>
                  <a:cubicBezTo>
                    <a:pt x="364" y="1313"/>
                    <a:pt x="413" y="1318"/>
                    <a:pt x="464" y="1318"/>
                  </a:cubicBezTo>
                  <a:cubicBezTo>
                    <a:pt x="904" y="1318"/>
                    <a:pt x="1261" y="961"/>
                    <a:pt x="1261" y="521"/>
                  </a:cubicBezTo>
                  <a:cubicBezTo>
                    <a:pt x="1261" y="497"/>
                    <a:pt x="1260" y="473"/>
                    <a:pt x="1258" y="450"/>
                  </a:cubicBezTo>
                  <a:close/>
                </a:path>
              </a:pathLst>
            </a:custGeom>
            <a:solidFill>
              <a:srgbClr val="00A1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98" name="Freeform 16">
              <a:extLst>
                <a:ext uri="{FF2B5EF4-FFF2-40B4-BE49-F238E27FC236}">
                  <a16:creationId xmlns:a16="http://schemas.microsoft.com/office/drawing/2014/main" id="{055A8248-9121-4C87-AFAB-9851393CA229}"/>
                </a:ext>
              </a:extLst>
            </p:cNvPr>
            <p:cNvSpPr>
              <a:spLocks/>
            </p:cNvSpPr>
            <p:nvPr/>
          </p:nvSpPr>
          <p:spPr bwMode="auto">
            <a:xfrm>
              <a:off x="3290" y="722"/>
              <a:ext cx="271" cy="925"/>
            </a:xfrm>
            <a:custGeom>
              <a:avLst/>
              <a:gdLst>
                <a:gd name="T0" fmla="*/ 32 w 133"/>
                <a:gd name="T1" fmla="*/ 455 h 455"/>
                <a:gd name="T2" fmla="*/ 13 w 133"/>
                <a:gd name="T3" fmla="*/ 449 h 455"/>
                <a:gd name="T4" fmla="*/ 10 w 133"/>
                <a:gd name="T5" fmla="*/ 408 h 455"/>
                <a:gd name="T6" fmla="*/ 75 w 133"/>
                <a:gd name="T7" fmla="*/ 229 h 455"/>
                <a:gd name="T8" fmla="*/ 10 w 133"/>
                <a:gd name="T9" fmla="*/ 51 h 455"/>
                <a:gd name="T10" fmla="*/ 13 w 133"/>
                <a:gd name="T11" fmla="*/ 10 h 455"/>
                <a:gd name="T12" fmla="*/ 54 w 133"/>
                <a:gd name="T13" fmla="*/ 13 h 455"/>
                <a:gd name="T14" fmla="*/ 133 w 133"/>
                <a:gd name="T15" fmla="*/ 229 h 455"/>
                <a:gd name="T16" fmla="*/ 54 w 133"/>
                <a:gd name="T17" fmla="*/ 445 h 455"/>
                <a:gd name="T18" fmla="*/ 32 w 133"/>
                <a:gd name="T19"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455">
                  <a:moveTo>
                    <a:pt x="32" y="455"/>
                  </a:moveTo>
                  <a:cubicBezTo>
                    <a:pt x="25" y="455"/>
                    <a:pt x="19" y="453"/>
                    <a:pt x="13" y="449"/>
                  </a:cubicBezTo>
                  <a:cubicBezTo>
                    <a:pt x="1" y="438"/>
                    <a:pt x="0" y="420"/>
                    <a:pt x="10" y="408"/>
                  </a:cubicBezTo>
                  <a:cubicBezTo>
                    <a:pt x="52" y="358"/>
                    <a:pt x="75" y="295"/>
                    <a:pt x="75" y="229"/>
                  </a:cubicBezTo>
                  <a:cubicBezTo>
                    <a:pt x="75" y="164"/>
                    <a:pt x="52" y="101"/>
                    <a:pt x="10" y="51"/>
                  </a:cubicBezTo>
                  <a:cubicBezTo>
                    <a:pt x="0" y="38"/>
                    <a:pt x="1" y="20"/>
                    <a:pt x="13" y="10"/>
                  </a:cubicBezTo>
                  <a:cubicBezTo>
                    <a:pt x="26" y="0"/>
                    <a:pt x="44" y="1"/>
                    <a:pt x="54" y="13"/>
                  </a:cubicBezTo>
                  <a:cubicBezTo>
                    <a:pt x="105" y="74"/>
                    <a:pt x="133" y="150"/>
                    <a:pt x="133" y="229"/>
                  </a:cubicBezTo>
                  <a:cubicBezTo>
                    <a:pt x="133" y="308"/>
                    <a:pt x="105" y="385"/>
                    <a:pt x="54" y="445"/>
                  </a:cubicBezTo>
                  <a:cubicBezTo>
                    <a:pt x="48" y="452"/>
                    <a:pt x="40" y="455"/>
                    <a:pt x="32" y="455"/>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99" name="Freeform 17">
              <a:extLst>
                <a:ext uri="{FF2B5EF4-FFF2-40B4-BE49-F238E27FC236}">
                  <a16:creationId xmlns:a16="http://schemas.microsoft.com/office/drawing/2014/main" id="{42440686-C798-4EC5-AE5E-2616B3A86AC9}"/>
                </a:ext>
              </a:extLst>
            </p:cNvPr>
            <p:cNvSpPr>
              <a:spLocks/>
            </p:cNvSpPr>
            <p:nvPr/>
          </p:nvSpPr>
          <p:spPr bwMode="auto">
            <a:xfrm>
              <a:off x="2197" y="724"/>
              <a:ext cx="269" cy="921"/>
            </a:xfrm>
            <a:custGeom>
              <a:avLst/>
              <a:gdLst>
                <a:gd name="T0" fmla="*/ 99 w 132"/>
                <a:gd name="T1" fmla="*/ 453 h 453"/>
                <a:gd name="T2" fmla="*/ 77 w 132"/>
                <a:gd name="T3" fmla="*/ 442 h 453"/>
                <a:gd name="T4" fmla="*/ 0 w 132"/>
                <a:gd name="T5" fmla="*/ 228 h 453"/>
                <a:gd name="T6" fmla="*/ 77 w 132"/>
                <a:gd name="T7" fmla="*/ 14 h 453"/>
                <a:gd name="T8" fmla="*/ 118 w 132"/>
                <a:gd name="T9" fmla="*/ 10 h 453"/>
                <a:gd name="T10" fmla="*/ 121 w 132"/>
                <a:gd name="T11" fmla="*/ 51 h 453"/>
                <a:gd name="T12" fmla="*/ 57 w 132"/>
                <a:gd name="T13" fmla="*/ 228 h 453"/>
                <a:gd name="T14" fmla="*/ 121 w 132"/>
                <a:gd name="T15" fmla="*/ 406 h 453"/>
                <a:gd name="T16" fmla="*/ 118 w 132"/>
                <a:gd name="T17" fmla="*/ 446 h 453"/>
                <a:gd name="T18" fmla="*/ 99 w 132"/>
                <a:gd name="T19" fmla="*/ 453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453">
                  <a:moveTo>
                    <a:pt x="99" y="453"/>
                  </a:moveTo>
                  <a:cubicBezTo>
                    <a:pt x="91" y="453"/>
                    <a:pt x="83" y="449"/>
                    <a:pt x="77" y="442"/>
                  </a:cubicBezTo>
                  <a:cubicBezTo>
                    <a:pt x="27" y="382"/>
                    <a:pt x="0" y="306"/>
                    <a:pt x="0" y="228"/>
                  </a:cubicBezTo>
                  <a:cubicBezTo>
                    <a:pt x="0" y="150"/>
                    <a:pt x="27" y="74"/>
                    <a:pt x="77" y="14"/>
                  </a:cubicBezTo>
                  <a:cubicBezTo>
                    <a:pt x="87" y="2"/>
                    <a:pt x="105" y="0"/>
                    <a:pt x="118" y="10"/>
                  </a:cubicBezTo>
                  <a:cubicBezTo>
                    <a:pt x="130" y="21"/>
                    <a:pt x="132" y="39"/>
                    <a:pt x="121" y="51"/>
                  </a:cubicBezTo>
                  <a:cubicBezTo>
                    <a:pt x="80" y="101"/>
                    <a:pt x="57" y="164"/>
                    <a:pt x="57" y="228"/>
                  </a:cubicBezTo>
                  <a:cubicBezTo>
                    <a:pt x="57" y="293"/>
                    <a:pt x="80" y="356"/>
                    <a:pt x="121" y="406"/>
                  </a:cubicBezTo>
                  <a:cubicBezTo>
                    <a:pt x="132" y="418"/>
                    <a:pt x="130" y="436"/>
                    <a:pt x="118" y="446"/>
                  </a:cubicBezTo>
                  <a:cubicBezTo>
                    <a:pt x="112" y="451"/>
                    <a:pt x="106" y="453"/>
                    <a:pt x="99" y="453"/>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00" name="Freeform 18">
              <a:extLst>
                <a:ext uri="{FF2B5EF4-FFF2-40B4-BE49-F238E27FC236}">
                  <a16:creationId xmlns:a16="http://schemas.microsoft.com/office/drawing/2014/main" id="{FF598702-BB3A-46BB-BA6B-37DC4CDD9C24}"/>
                </a:ext>
              </a:extLst>
            </p:cNvPr>
            <p:cNvSpPr>
              <a:spLocks/>
            </p:cNvSpPr>
            <p:nvPr/>
          </p:nvSpPr>
          <p:spPr bwMode="auto">
            <a:xfrm>
              <a:off x="3492" y="555"/>
              <a:ext cx="330" cy="1259"/>
            </a:xfrm>
            <a:custGeom>
              <a:avLst/>
              <a:gdLst>
                <a:gd name="T0" fmla="*/ 32 w 162"/>
                <a:gd name="T1" fmla="*/ 619 h 619"/>
                <a:gd name="T2" fmla="*/ 14 w 162"/>
                <a:gd name="T3" fmla="*/ 612 h 619"/>
                <a:gd name="T4" fmla="*/ 10 w 162"/>
                <a:gd name="T5" fmla="*/ 572 h 619"/>
                <a:gd name="T6" fmla="*/ 104 w 162"/>
                <a:gd name="T7" fmla="*/ 311 h 619"/>
                <a:gd name="T8" fmla="*/ 10 w 162"/>
                <a:gd name="T9" fmla="*/ 51 h 619"/>
                <a:gd name="T10" fmla="*/ 14 w 162"/>
                <a:gd name="T11" fmla="*/ 10 h 619"/>
                <a:gd name="T12" fmla="*/ 54 w 162"/>
                <a:gd name="T13" fmla="*/ 14 h 619"/>
                <a:gd name="T14" fmla="*/ 162 w 162"/>
                <a:gd name="T15" fmla="*/ 311 h 619"/>
                <a:gd name="T16" fmla="*/ 54 w 162"/>
                <a:gd name="T17" fmla="*/ 609 h 619"/>
                <a:gd name="T18" fmla="*/ 32 w 162"/>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619">
                  <a:moveTo>
                    <a:pt x="32" y="619"/>
                  </a:moveTo>
                  <a:cubicBezTo>
                    <a:pt x="26" y="619"/>
                    <a:pt x="19" y="617"/>
                    <a:pt x="14" y="612"/>
                  </a:cubicBezTo>
                  <a:cubicBezTo>
                    <a:pt x="1" y="602"/>
                    <a:pt x="0" y="584"/>
                    <a:pt x="10" y="572"/>
                  </a:cubicBezTo>
                  <a:cubicBezTo>
                    <a:pt x="71" y="499"/>
                    <a:pt x="104" y="406"/>
                    <a:pt x="104" y="311"/>
                  </a:cubicBezTo>
                  <a:cubicBezTo>
                    <a:pt x="104" y="216"/>
                    <a:pt x="71" y="124"/>
                    <a:pt x="10" y="51"/>
                  </a:cubicBezTo>
                  <a:cubicBezTo>
                    <a:pt x="0" y="39"/>
                    <a:pt x="1" y="21"/>
                    <a:pt x="14" y="10"/>
                  </a:cubicBezTo>
                  <a:cubicBezTo>
                    <a:pt x="26" y="0"/>
                    <a:pt x="44" y="2"/>
                    <a:pt x="54" y="14"/>
                  </a:cubicBezTo>
                  <a:cubicBezTo>
                    <a:pt x="124" y="97"/>
                    <a:pt x="162" y="203"/>
                    <a:pt x="162" y="311"/>
                  </a:cubicBezTo>
                  <a:cubicBezTo>
                    <a:pt x="162" y="420"/>
                    <a:pt x="124" y="525"/>
                    <a:pt x="54" y="609"/>
                  </a:cubicBezTo>
                  <a:cubicBezTo>
                    <a:pt x="49" y="615"/>
                    <a:pt x="40" y="619"/>
                    <a:pt x="32" y="619"/>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01" name="Freeform 19">
              <a:extLst>
                <a:ext uri="{FF2B5EF4-FFF2-40B4-BE49-F238E27FC236}">
                  <a16:creationId xmlns:a16="http://schemas.microsoft.com/office/drawing/2014/main" id="{3F832ED9-A5D1-4062-AB1D-1FDCC48B188B}"/>
                </a:ext>
              </a:extLst>
            </p:cNvPr>
            <p:cNvSpPr>
              <a:spLocks/>
            </p:cNvSpPr>
            <p:nvPr/>
          </p:nvSpPr>
          <p:spPr bwMode="auto">
            <a:xfrm>
              <a:off x="1934" y="559"/>
              <a:ext cx="328" cy="1251"/>
            </a:xfrm>
            <a:custGeom>
              <a:avLst/>
              <a:gdLst>
                <a:gd name="T0" fmla="*/ 129 w 161"/>
                <a:gd name="T1" fmla="*/ 615 h 615"/>
                <a:gd name="T2" fmla="*/ 107 w 161"/>
                <a:gd name="T3" fmla="*/ 605 h 615"/>
                <a:gd name="T4" fmla="*/ 0 w 161"/>
                <a:gd name="T5" fmla="*/ 309 h 615"/>
                <a:gd name="T6" fmla="*/ 107 w 161"/>
                <a:gd name="T7" fmla="*/ 14 h 615"/>
                <a:gd name="T8" fmla="*/ 147 w 161"/>
                <a:gd name="T9" fmla="*/ 10 h 615"/>
                <a:gd name="T10" fmla="*/ 151 w 161"/>
                <a:gd name="T11" fmla="*/ 51 h 615"/>
                <a:gd name="T12" fmla="*/ 58 w 161"/>
                <a:gd name="T13" fmla="*/ 309 h 615"/>
                <a:gd name="T14" fmla="*/ 151 w 161"/>
                <a:gd name="T15" fmla="*/ 568 h 615"/>
                <a:gd name="T16" fmla="*/ 147 w 161"/>
                <a:gd name="T17" fmla="*/ 609 h 615"/>
                <a:gd name="T18" fmla="*/ 129 w 161"/>
                <a:gd name="T19"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1" h="615">
                  <a:moveTo>
                    <a:pt x="129" y="615"/>
                  </a:moveTo>
                  <a:cubicBezTo>
                    <a:pt x="121" y="615"/>
                    <a:pt x="113" y="612"/>
                    <a:pt x="107" y="605"/>
                  </a:cubicBezTo>
                  <a:cubicBezTo>
                    <a:pt x="38" y="522"/>
                    <a:pt x="0" y="417"/>
                    <a:pt x="0" y="309"/>
                  </a:cubicBezTo>
                  <a:cubicBezTo>
                    <a:pt x="0" y="202"/>
                    <a:pt x="38" y="97"/>
                    <a:pt x="107" y="14"/>
                  </a:cubicBezTo>
                  <a:cubicBezTo>
                    <a:pt x="117" y="1"/>
                    <a:pt x="135" y="0"/>
                    <a:pt x="147" y="10"/>
                  </a:cubicBezTo>
                  <a:cubicBezTo>
                    <a:pt x="160" y="20"/>
                    <a:pt x="161" y="38"/>
                    <a:pt x="151" y="51"/>
                  </a:cubicBezTo>
                  <a:cubicBezTo>
                    <a:pt x="91" y="123"/>
                    <a:pt x="58" y="215"/>
                    <a:pt x="58" y="309"/>
                  </a:cubicBezTo>
                  <a:cubicBezTo>
                    <a:pt x="58" y="404"/>
                    <a:pt x="91" y="496"/>
                    <a:pt x="151" y="568"/>
                  </a:cubicBezTo>
                  <a:cubicBezTo>
                    <a:pt x="161" y="580"/>
                    <a:pt x="160" y="599"/>
                    <a:pt x="147" y="609"/>
                  </a:cubicBezTo>
                  <a:cubicBezTo>
                    <a:pt x="142" y="613"/>
                    <a:pt x="136" y="615"/>
                    <a:pt x="129" y="615"/>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02" name="Freeform 20">
              <a:extLst>
                <a:ext uri="{FF2B5EF4-FFF2-40B4-BE49-F238E27FC236}">
                  <a16:creationId xmlns:a16="http://schemas.microsoft.com/office/drawing/2014/main" id="{B83205DA-0E21-4F70-8ECE-D59E3601CA93}"/>
                </a:ext>
              </a:extLst>
            </p:cNvPr>
            <p:cNvSpPr>
              <a:spLocks/>
            </p:cNvSpPr>
            <p:nvPr/>
          </p:nvSpPr>
          <p:spPr bwMode="auto">
            <a:xfrm>
              <a:off x="3099" y="879"/>
              <a:ext cx="214" cy="612"/>
            </a:xfrm>
            <a:custGeom>
              <a:avLst/>
              <a:gdLst>
                <a:gd name="T0" fmla="*/ 32 w 105"/>
                <a:gd name="T1" fmla="*/ 301 h 301"/>
                <a:gd name="T2" fmla="*/ 13 w 105"/>
                <a:gd name="T3" fmla="*/ 294 h 301"/>
                <a:gd name="T4" fmla="*/ 10 w 105"/>
                <a:gd name="T5" fmla="*/ 253 h 301"/>
                <a:gd name="T6" fmla="*/ 47 w 105"/>
                <a:gd name="T7" fmla="*/ 152 h 301"/>
                <a:gd name="T8" fmla="*/ 10 w 105"/>
                <a:gd name="T9" fmla="*/ 51 h 301"/>
                <a:gd name="T10" fmla="*/ 13 w 105"/>
                <a:gd name="T11" fmla="*/ 11 h 301"/>
                <a:gd name="T12" fmla="*/ 54 w 105"/>
                <a:gd name="T13" fmla="*/ 14 h 301"/>
                <a:gd name="T14" fmla="*/ 105 w 105"/>
                <a:gd name="T15" fmla="*/ 152 h 301"/>
                <a:gd name="T16" fmla="*/ 54 w 105"/>
                <a:gd name="T17" fmla="*/ 291 h 301"/>
                <a:gd name="T18" fmla="*/ 32 w 105"/>
                <a:gd name="T19"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301">
                  <a:moveTo>
                    <a:pt x="32" y="301"/>
                  </a:moveTo>
                  <a:cubicBezTo>
                    <a:pt x="25" y="301"/>
                    <a:pt x="18" y="299"/>
                    <a:pt x="13" y="294"/>
                  </a:cubicBezTo>
                  <a:cubicBezTo>
                    <a:pt x="1" y="284"/>
                    <a:pt x="0" y="266"/>
                    <a:pt x="10" y="253"/>
                  </a:cubicBezTo>
                  <a:cubicBezTo>
                    <a:pt x="34" y="225"/>
                    <a:pt x="47" y="189"/>
                    <a:pt x="47" y="152"/>
                  </a:cubicBezTo>
                  <a:cubicBezTo>
                    <a:pt x="47" y="115"/>
                    <a:pt x="34" y="79"/>
                    <a:pt x="10" y="51"/>
                  </a:cubicBezTo>
                  <a:cubicBezTo>
                    <a:pt x="0" y="39"/>
                    <a:pt x="1" y="21"/>
                    <a:pt x="13" y="11"/>
                  </a:cubicBezTo>
                  <a:cubicBezTo>
                    <a:pt x="25" y="0"/>
                    <a:pt x="43" y="2"/>
                    <a:pt x="54" y="14"/>
                  </a:cubicBezTo>
                  <a:cubicBezTo>
                    <a:pt x="87" y="52"/>
                    <a:pt x="105" y="102"/>
                    <a:pt x="105" y="152"/>
                  </a:cubicBezTo>
                  <a:cubicBezTo>
                    <a:pt x="105" y="203"/>
                    <a:pt x="87" y="252"/>
                    <a:pt x="54" y="291"/>
                  </a:cubicBezTo>
                  <a:cubicBezTo>
                    <a:pt x="48" y="298"/>
                    <a:pt x="40" y="301"/>
                    <a:pt x="32" y="301"/>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03" name="Freeform 21">
              <a:extLst>
                <a:ext uri="{FF2B5EF4-FFF2-40B4-BE49-F238E27FC236}">
                  <a16:creationId xmlns:a16="http://schemas.microsoft.com/office/drawing/2014/main" id="{B55FE957-6633-4A92-9B51-C99ECD41C638}"/>
                </a:ext>
              </a:extLst>
            </p:cNvPr>
            <p:cNvSpPr>
              <a:spLocks/>
            </p:cNvSpPr>
            <p:nvPr/>
          </p:nvSpPr>
          <p:spPr bwMode="auto">
            <a:xfrm>
              <a:off x="2443" y="883"/>
              <a:ext cx="214" cy="606"/>
            </a:xfrm>
            <a:custGeom>
              <a:avLst/>
              <a:gdLst>
                <a:gd name="T0" fmla="*/ 72 w 105"/>
                <a:gd name="T1" fmla="*/ 298 h 298"/>
                <a:gd name="T2" fmla="*/ 50 w 105"/>
                <a:gd name="T3" fmla="*/ 287 h 298"/>
                <a:gd name="T4" fmla="*/ 0 w 105"/>
                <a:gd name="T5" fmla="*/ 150 h 298"/>
                <a:gd name="T6" fmla="*/ 50 w 105"/>
                <a:gd name="T7" fmla="*/ 13 h 298"/>
                <a:gd name="T8" fmla="*/ 91 w 105"/>
                <a:gd name="T9" fmla="*/ 10 h 298"/>
                <a:gd name="T10" fmla="*/ 94 w 105"/>
                <a:gd name="T11" fmla="*/ 51 h 298"/>
                <a:gd name="T12" fmla="*/ 58 w 105"/>
                <a:gd name="T13" fmla="*/ 150 h 298"/>
                <a:gd name="T14" fmla="*/ 94 w 105"/>
                <a:gd name="T15" fmla="*/ 250 h 298"/>
                <a:gd name="T16" fmla="*/ 91 w 105"/>
                <a:gd name="T17" fmla="*/ 291 h 298"/>
                <a:gd name="T18" fmla="*/ 72 w 105"/>
                <a:gd name="T19"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298">
                  <a:moveTo>
                    <a:pt x="72" y="298"/>
                  </a:moveTo>
                  <a:cubicBezTo>
                    <a:pt x="64" y="298"/>
                    <a:pt x="56" y="294"/>
                    <a:pt x="50" y="287"/>
                  </a:cubicBezTo>
                  <a:cubicBezTo>
                    <a:pt x="18" y="249"/>
                    <a:pt x="0" y="200"/>
                    <a:pt x="0" y="150"/>
                  </a:cubicBezTo>
                  <a:cubicBezTo>
                    <a:pt x="0" y="100"/>
                    <a:pt x="18" y="52"/>
                    <a:pt x="50" y="13"/>
                  </a:cubicBezTo>
                  <a:cubicBezTo>
                    <a:pt x="60" y="1"/>
                    <a:pt x="79" y="0"/>
                    <a:pt x="91" y="10"/>
                  </a:cubicBezTo>
                  <a:cubicBezTo>
                    <a:pt x="103" y="20"/>
                    <a:pt x="105" y="38"/>
                    <a:pt x="94" y="51"/>
                  </a:cubicBezTo>
                  <a:cubicBezTo>
                    <a:pt x="71" y="78"/>
                    <a:pt x="58" y="114"/>
                    <a:pt x="58" y="150"/>
                  </a:cubicBezTo>
                  <a:cubicBezTo>
                    <a:pt x="58" y="187"/>
                    <a:pt x="71" y="222"/>
                    <a:pt x="94" y="250"/>
                  </a:cubicBezTo>
                  <a:cubicBezTo>
                    <a:pt x="105" y="262"/>
                    <a:pt x="103" y="281"/>
                    <a:pt x="91" y="291"/>
                  </a:cubicBezTo>
                  <a:cubicBezTo>
                    <a:pt x="85" y="295"/>
                    <a:pt x="79" y="298"/>
                    <a:pt x="72" y="298"/>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204" name="Freeform 22">
              <a:extLst>
                <a:ext uri="{FF2B5EF4-FFF2-40B4-BE49-F238E27FC236}">
                  <a16:creationId xmlns:a16="http://schemas.microsoft.com/office/drawing/2014/main" id="{95E2F891-9882-4989-B3D1-43858B7C8340}"/>
                </a:ext>
              </a:extLst>
            </p:cNvPr>
            <p:cNvSpPr>
              <a:spLocks noEditPoints="1"/>
            </p:cNvSpPr>
            <p:nvPr/>
          </p:nvSpPr>
          <p:spPr bwMode="auto">
            <a:xfrm>
              <a:off x="2128" y="1153"/>
              <a:ext cx="1500" cy="1670"/>
            </a:xfrm>
            <a:custGeom>
              <a:avLst/>
              <a:gdLst>
                <a:gd name="T0" fmla="*/ 732 w 737"/>
                <a:gd name="T1" fmla="*/ 780 h 821"/>
                <a:gd name="T2" fmla="*/ 395 w 737"/>
                <a:gd name="T3" fmla="*/ 17 h 821"/>
                <a:gd name="T4" fmla="*/ 393 w 737"/>
                <a:gd name="T5" fmla="*/ 13 h 821"/>
                <a:gd name="T6" fmla="*/ 393 w 737"/>
                <a:gd name="T7" fmla="*/ 13 h 821"/>
                <a:gd name="T8" fmla="*/ 390 w 737"/>
                <a:gd name="T9" fmla="*/ 9 h 821"/>
                <a:gd name="T10" fmla="*/ 390 w 737"/>
                <a:gd name="T11" fmla="*/ 8 h 821"/>
                <a:gd name="T12" fmla="*/ 386 w 737"/>
                <a:gd name="T13" fmla="*/ 5 h 821"/>
                <a:gd name="T14" fmla="*/ 385 w 737"/>
                <a:gd name="T15" fmla="*/ 5 h 821"/>
                <a:gd name="T16" fmla="*/ 381 w 737"/>
                <a:gd name="T17" fmla="*/ 2 h 821"/>
                <a:gd name="T18" fmla="*/ 380 w 737"/>
                <a:gd name="T19" fmla="*/ 2 h 821"/>
                <a:gd name="T20" fmla="*/ 380 w 737"/>
                <a:gd name="T21" fmla="*/ 2 h 821"/>
                <a:gd name="T22" fmla="*/ 376 w 737"/>
                <a:gd name="T23" fmla="*/ 0 h 821"/>
                <a:gd name="T24" fmla="*/ 375 w 737"/>
                <a:gd name="T25" fmla="*/ 0 h 821"/>
                <a:gd name="T26" fmla="*/ 371 w 737"/>
                <a:gd name="T27" fmla="*/ 0 h 821"/>
                <a:gd name="T28" fmla="*/ 369 w 737"/>
                <a:gd name="T29" fmla="*/ 0 h 821"/>
                <a:gd name="T30" fmla="*/ 366 w 737"/>
                <a:gd name="T31" fmla="*/ 0 h 821"/>
                <a:gd name="T32" fmla="*/ 363 w 737"/>
                <a:gd name="T33" fmla="*/ 0 h 821"/>
                <a:gd name="T34" fmla="*/ 362 w 737"/>
                <a:gd name="T35" fmla="*/ 0 h 821"/>
                <a:gd name="T36" fmla="*/ 357 w 737"/>
                <a:gd name="T37" fmla="*/ 2 h 821"/>
                <a:gd name="T38" fmla="*/ 357 w 737"/>
                <a:gd name="T39" fmla="*/ 2 h 821"/>
                <a:gd name="T40" fmla="*/ 357 w 737"/>
                <a:gd name="T41" fmla="*/ 2 h 821"/>
                <a:gd name="T42" fmla="*/ 352 w 737"/>
                <a:gd name="T43" fmla="*/ 5 h 821"/>
                <a:gd name="T44" fmla="*/ 352 w 737"/>
                <a:gd name="T45" fmla="*/ 5 h 821"/>
                <a:gd name="T46" fmla="*/ 348 w 737"/>
                <a:gd name="T47" fmla="*/ 8 h 821"/>
                <a:gd name="T48" fmla="*/ 348 w 737"/>
                <a:gd name="T49" fmla="*/ 9 h 821"/>
                <a:gd name="T50" fmla="*/ 344 w 737"/>
                <a:gd name="T51" fmla="*/ 13 h 821"/>
                <a:gd name="T52" fmla="*/ 344 w 737"/>
                <a:gd name="T53" fmla="*/ 13 h 821"/>
                <a:gd name="T54" fmla="*/ 342 w 737"/>
                <a:gd name="T55" fmla="*/ 17 h 821"/>
                <a:gd name="T56" fmla="*/ 6 w 737"/>
                <a:gd name="T57" fmla="*/ 780 h 821"/>
                <a:gd name="T58" fmla="*/ 13 w 737"/>
                <a:gd name="T59" fmla="*/ 813 h 821"/>
                <a:gd name="T60" fmla="*/ 32 w 737"/>
                <a:gd name="T61" fmla="*/ 821 h 821"/>
                <a:gd name="T62" fmla="*/ 46 w 737"/>
                <a:gd name="T63" fmla="*/ 817 h 821"/>
                <a:gd name="T64" fmla="*/ 369 w 737"/>
                <a:gd name="T65" fmla="*/ 632 h 821"/>
                <a:gd name="T66" fmla="*/ 691 w 737"/>
                <a:gd name="T67" fmla="*/ 817 h 821"/>
                <a:gd name="T68" fmla="*/ 706 w 737"/>
                <a:gd name="T69" fmla="*/ 821 h 821"/>
                <a:gd name="T70" fmla="*/ 725 w 737"/>
                <a:gd name="T71" fmla="*/ 813 h 821"/>
                <a:gd name="T72" fmla="*/ 732 w 737"/>
                <a:gd name="T73" fmla="*/ 780 h 821"/>
                <a:gd name="T74" fmla="*/ 528 w 737"/>
                <a:gd name="T75" fmla="*/ 461 h 821"/>
                <a:gd name="T76" fmla="*/ 421 w 737"/>
                <a:gd name="T77" fmla="*/ 391 h 821"/>
                <a:gd name="T78" fmla="*/ 480 w 737"/>
                <a:gd name="T79" fmla="*/ 352 h 821"/>
                <a:gd name="T80" fmla="*/ 528 w 737"/>
                <a:gd name="T81" fmla="*/ 461 h 821"/>
                <a:gd name="T82" fmla="*/ 483 w 737"/>
                <a:gd name="T83" fmla="*/ 500 h 821"/>
                <a:gd name="T84" fmla="*/ 369 w 737"/>
                <a:gd name="T85" fmla="*/ 565 h 821"/>
                <a:gd name="T86" fmla="*/ 255 w 737"/>
                <a:gd name="T87" fmla="*/ 500 h 821"/>
                <a:gd name="T88" fmla="*/ 369 w 737"/>
                <a:gd name="T89" fmla="*/ 425 h 821"/>
                <a:gd name="T90" fmla="*/ 483 w 737"/>
                <a:gd name="T91" fmla="*/ 500 h 821"/>
                <a:gd name="T92" fmla="*/ 369 w 737"/>
                <a:gd name="T93" fmla="*/ 100 h 821"/>
                <a:gd name="T94" fmla="*/ 457 w 737"/>
                <a:gd name="T95" fmla="*/ 299 h 821"/>
                <a:gd name="T96" fmla="*/ 369 w 737"/>
                <a:gd name="T97" fmla="*/ 356 h 821"/>
                <a:gd name="T98" fmla="*/ 281 w 737"/>
                <a:gd name="T99" fmla="*/ 299 h 821"/>
                <a:gd name="T100" fmla="*/ 369 w 737"/>
                <a:gd name="T101" fmla="*/ 100 h 821"/>
                <a:gd name="T102" fmla="*/ 316 w 737"/>
                <a:gd name="T103" fmla="*/ 391 h 821"/>
                <a:gd name="T104" fmla="*/ 210 w 737"/>
                <a:gd name="T105" fmla="*/ 461 h 821"/>
                <a:gd name="T106" fmla="*/ 257 w 737"/>
                <a:gd name="T107" fmla="*/ 352 h 821"/>
                <a:gd name="T108" fmla="*/ 316 w 737"/>
                <a:gd name="T109" fmla="*/ 391 h 821"/>
                <a:gd name="T110" fmla="*/ 94 w 737"/>
                <a:gd name="T111" fmla="*/ 723 h 821"/>
                <a:gd name="T112" fmla="*/ 182 w 737"/>
                <a:gd name="T113" fmla="*/ 524 h 821"/>
                <a:gd name="T114" fmla="*/ 311 w 737"/>
                <a:gd name="T115" fmla="*/ 599 h 821"/>
                <a:gd name="T116" fmla="*/ 94 w 737"/>
                <a:gd name="T117" fmla="*/ 723 h 821"/>
                <a:gd name="T118" fmla="*/ 427 w 737"/>
                <a:gd name="T119" fmla="*/ 599 h 821"/>
                <a:gd name="T120" fmla="*/ 556 w 737"/>
                <a:gd name="T121" fmla="*/ 524 h 821"/>
                <a:gd name="T122" fmla="*/ 644 w 737"/>
                <a:gd name="T123" fmla="*/ 723 h 821"/>
                <a:gd name="T124" fmla="*/ 427 w 737"/>
                <a:gd name="T125" fmla="*/ 59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7" h="821">
                  <a:moveTo>
                    <a:pt x="732" y="780"/>
                  </a:moveTo>
                  <a:cubicBezTo>
                    <a:pt x="395" y="17"/>
                    <a:pt x="395" y="17"/>
                    <a:pt x="395" y="17"/>
                  </a:cubicBezTo>
                  <a:cubicBezTo>
                    <a:pt x="395" y="15"/>
                    <a:pt x="394" y="14"/>
                    <a:pt x="393" y="13"/>
                  </a:cubicBezTo>
                  <a:cubicBezTo>
                    <a:pt x="393" y="13"/>
                    <a:pt x="393" y="13"/>
                    <a:pt x="393" y="13"/>
                  </a:cubicBezTo>
                  <a:cubicBezTo>
                    <a:pt x="392" y="11"/>
                    <a:pt x="391" y="10"/>
                    <a:pt x="390" y="9"/>
                  </a:cubicBezTo>
                  <a:cubicBezTo>
                    <a:pt x="390" y="9"/>
                    <a:pt x="390" y="9"/>
                    <a:pt x="390" y="8"/>
                  </a:cubicBezTo>
                  <a:cubicBezTo>
                    <a:pt x="388" y="7"/>
                    <a:pt x="387" y="6"/>
                    <a:pt x="386" y="5"/>
                  </a:cubicBezTo>
                  <a:cubicBezTo>
                    <a:pt x="386" y="5"/>
                    <a:pt x="385" y="5"/>
                    <a:pt x="385" y="5"/>
                  </a:cubicBezTo>
                  <a:cubicBezTo>
                    <a:pt x="384" y="4"/>
                    <a:pt x="382" y="3"/>
                    <a:pt x="381" y="2"/>
                  </a:cubicBezTo>
                  <a:cubicBezTo>
                    <a:pt x="381" y="2"/>
                    <a:pt x="381" y="2"/>
                    <a:pt x="380" y="2"/>
                  </a:cubicBezTo>
                  <a:cubicBezTo>
                    <a:pt x="380" y="2"/>
                    <a:pt x="380" y="2"/>
                    <a:pt x="380" y="2"/>
                  </a:cubicBezTo>
                  <a:cubicBezTo>
                    <a:pt x="379" y="1"/>
                    <a:pt x="377" y="1"/>
                    <a:pt x="376" y="0"/>
                  </a:cubicBezTo>
                  <a:cubicBezTo>
                    <a:pt x="375" y="0"/>
                    <a:pt x="375" y="0"/>
                    <a:pt x="375" y="0"/>
                  </a:cubicBezTo>
                  <a:cubicBezTo>
                    <a:pt x="373" y="0"/>
                    <a:pt x="372" y="0"/>
                    <a:pt x="371" y="0"/>
                  </a:cubicBezTo>
                  <a:cubicBezTo>
                    <a:pt x="370" y="0"/>
                    <a:pt x="370" y="0"/>
                    <a:pt x="369" y="0"/>
                  </a:cubicBezTo>
                  <a:cubicBezTo>
                    <a:pt x="368" y="0"/>
                    <a:pt x="367" y="0"/>
                    <a:pt x="366" y="0"/>
                  </a:cubicBezTo>
                  <a:cubicBezTo>
                    <a:pt x="365" y="0"/>
                    <a:pt x="364" y="0"/>
                    <a:pt x="363" y="0"/>
                  </a:cubicBezTo>
                  <a:cubicBezTo>
                    <a:pt x="363" y="0"/>
                    <a:pt x="362" y="0"/>
                    <a:pt x="362" y="0"/>
                  </a:cubicBezTo>
                  <a:cubicBezTo>
                    <a:pt x="360" y="1"/>
                    <a:pt x="359" y="1"/>
                    <a:pt x="357" y="2"/>
                  </a:cubicBezTo>
                  <a:cubicBezTo>
                    <a:pt x="357" y="2"/>
                    <a:pt x="357" y="2"/>
                    <a:pt x="357" y="2"/>
                  </a:cubicBezTo>
                  <a:cubicBezTo>
                    <a:pt x="357" y="2"/>
                    <a:pt x="357" y="2"/>
                    <a:pt x="357" y="2"/>
                  </a:cubicBezTo>
                  <a:cubicBezTo>
                    <a:pt x="355" y="3"/>
                    <a:pt x="354" y="4"/>
                    <a:pt x="352" y="5"/>
                  </a:cubicBezTo>
                  <a:cubicBezTo>
                    <a:pt x="352" y="5"/>
                    <a:pt x="352" y="5"/>
                    <a:pt x="352" y="5"/>
                  </a:cubicBezTo>
                  <a:cubicBezTo>
                    <a:pt x="350" y="6"/>
                    <a:pt x="349" y="7"/>
                    <a:pt x="348" y="8"/>
                  </a:cubicBezTo>
                  <a:cubicBezTo>
                    <a:pt x="348" y="9"/>
                    <a:pt x="348" y="9"/>
                    <a:pt x="348" y="9"/>
                  </a:cubicBezTo>
                  <a:cubicBezTo>
                    <a:pt x="346" y="10"/>
                    <a:pt x="345" y="11"/>
                    <a:pt x="344" y="13"/>
                  </a:cubicBezTo>
                  <a:cubicBezTo>
                    <a:pt x="344" y="13"/>
                    <a:pt x="344" y="13"/>
                    <a:pt x="344" y="13"/>
                  </a:cubicBezTo>
                  <a:cubicBezTo>
                    <a:pt x="344" y="14"/>
                    <a:pt x="343" y="15"/>
                    <a:pt x="342" y="17"/>
                  </a:cubicBezTo>
                  <a:cubicBezTo>
                    <a:pt x="6" y="780"/>
                    <a:pt x="6" y="780"/>
                    <a:pt x="6" y="780"/>
                  </a:cubicBezTo>
                  <a:cubicBezTo>
                    <a:pt x="0" y="792"/>
                    <a:pt x="3" y="805"/>
                    <a:pt x="13" y="813"/>
                  </a:cubicBezTo>
                  <a:cubicBezTo>
                    <a:pt x="18" y="818"/>
                    <a:pt x="25" y="821"/>
                    <a:pt x="32" y="821"/>
                  </a:cubicBezTo>
                  <a:cubicBezTo>
                    <a:pt x="37" y="821"/>
                    <a:pt x="42" y="819"/>
                    <a:pt x="46" y="817"/>
                  </a:cubicBezTo>
                  <a:cubicBezTo>
                    <a:pt x="369" y="632"/>
                    <a:pt x="369" y="632"/>
                    <a:pt x="369" y="632"/>
                  </a:cubicBezTo>
                  <a:cubicBezTo>
                    <a:pt x="691" y="817"/>
                    <a:pt x="691" y="817"/>
                    <a:pt x="691" y="817"/>
                  </a:cubicBezTo>
                  <a:cubicBezTo>
                    <a:pt x="696" y="819"/>
                    <a:pt x="701" y="821"/>
                    <a:pt x="706" y="821"/>
                  </a:cubicBezTo>
                  <a:cubicBezTo>
                    <a:pt x="713" y="821"/>
                    <a:pt x="719" y="818"/>
                    <a:pt x="725" y="813"/>
                  </a:cubicBezTo>
                  <a:cubicBezTo>
                    <a:pt x="734" y="805"/>
                    <a:pt x="737" y="792"/>
                    <a:pt x="732" y="780"/>
                  </a:cubicBezTo>
                  <a:close/>
                  <a:moveTo>
                    <a:pt x="528" y="461"/>
                  </a:moveTo>
                  <a:cubicBezTo>
                    <a:pt x="421" y="391"/>
                    <a:pt x="421" y="391"/>
                    <a:pt x="421" y="391"/>
                  </a:cubicBezTo>
                  <a:cubicBezTo>
                    <a:pt x="480" y="352"/>
                    <a:pt x="480" y="352"/>
                    <a:pt x="480" y="352"/>
                  </a:cubicBezTo>
                  <a:lnTo>
                    <a:pt x="528" y="461"/>
                  </a:lnTo>
                  <a:close/>
                  <a:moveTo>
                    <a:pt x="483" y="500"/>
                  </a:moveTo>
                  <a:cubicBezTo>
                    <a:pt x="369" y="565"/>
                    <a:pt x="369" y="565"/>
                    <a:pt x="369" y="565"/>
                  </a:cubicBezTo>
                  <a:cubicBezTo>
                    <a:pt x="255" y="500"/>
                    <a:pt x="255" y="500"/>
                    <a:pt x="255" y="500"/>
                  </a:cubicBezTo>
                  <a:cubicBezTo>
                    <a:pt x="369" y="425"/>
                    <a:pt x="369" y="425"/>
                    <a:pt x="369" y="425"/>
                  </a:cubicBezTo>
                  <a:lnTo>
                    <a:pt x="483" y="500"/>
                  </a:lnTo>
                  <a:close/>
                  <a:moveTo>
                    <a:pt x="369" y="100"/>
                  </a:moveTo>
                  <a:cubicBezTo>
                    <a:pt x="457" y="299"/>
                    <a:pt x="457" y="299"/>
                    <a:pt x="457" y="299"/>
                  </a:cubicBezTo>
                  <a:cubicBezTo>
                    <a:pt x="369" y="356"/>
                    <a:pt x="369" y="356"/>
                    <a:pt x="369" y="356"/>
                  </a:cubicBezTo>
                  <a:cubicBezTo>
                    <a:pt x="281" y="299"/>
                    <a:pt x="281" y="299"/>
                    <a:pt x="281" y="299"/>
                  </a:cubicBezTo>
                  <a:lnTo>
                    <a:pt x="369" y="100"/>
                  </a:lnTo>
                  <a:close/>
                  <a:moveTo>
                    <a:pt x="316" y="391"/>
                  </a:moveTo>
                  <a:cubicBezTo>
                    <a:pt x="210" y="461"/>
                    <a:pt x="210" y="461"/>
                    <a:pt x="210" y="461"/>
                  </a:cubicBezTo>
                  <a:cubicBezTo>
                    <a:pt x="257" y="352"/>
                    <a:pt x="257" y="352"/>
                    <a:pt x="257" y="352"/>
                  </a:cubicBezTo>
                  <a:lnTo>
                    <a:pt x="316" y="391"/>
                  </a:lnTo>
                  <a:close/>
                  <a:moveTo>
                    <a:pt x="94" y="723"/>
                  </a:moveTo>
                  <a:cubicBezTo>
                    <a:pt x="182" y="524"/>
                    <a:pt x="182" y="524"/>
                    <a:pt x="182" y="524"/>
                  </a:cubicBezTo>
                  <a:cubicBezTo>
                    <a:pt x="311" y="599"/>
                    <a:pt x="311" y="599"/>
                    <a:pt x="311" y="599"/>
                  </a:cubicBezTo>
                  <a:lnTo>
                    <a:pt x="94" y="723"/>
                  </a:lnTo>
                  <a:close/>
                  <a:moveTo>
                    <a:pt x="427" y="599"/>
                  </a:moveTo>
                  <a:cubicBezTo>
                    <a:pt x="556" y="524"/>
                    <a:pt x="556" y="524"/>
                    <a:pt x="556" y="524"/>
                  </a:cubicBezTo>
                  <a:cubicBezTo>
                    <a:pt x="644" y="723"/>
                    <a:pt x="644" y="723"/>
                    <a:pt x="644" y="723"/>
                  </a:cubicBezTo>
                  <a:lnTo>
                    <a:pt x="427" y="599"/>
                  </a:ln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05" name="Oval 23">
              <a:extLst>
                <a:ext uri="{FF2B5EF4-FFF2-40B4-BE49-F238E27FC236}">
                  <a16:creationId xmlns:a16="http://schemas.microsoft.com/office/drawing/2014/main" id="{48DD4BF4-6BC0-43B0-9F0C-E54BC772BA93}"/>
                </a:ext>
              </a:extLst>
            </p:cNvPr>
            <p:cNvSpPr>
              <a:spLocks noChangeArrowheads="1"/>
            </p:cNvSpPr>
            <p:nvPr/>
          </p:nvSpPr>
          <p:spPr bwMode="auto">
            <a:xfrm>
              <a:off x="2712" y="1023"/>
              <a:ext cx="334" cy="33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
        <p:nvSpPr>
          <p:cNvPr id="208" name="Arc 207">
            <a:extLst>
              <a:ext uri="{FF2B5EF4-FFF2-40B4-BE49-F238E27FC236}">
                <a16:creationId xmlns:a16="http://schemas.microsoft.com/office/drawing/2014/main" id="{873466B9-EFBD-43E1-8BEA-A9A5FD0018E9}"/>
              </a:ext>
            </a:extLst>
          </p:cNvPr>
          <p:cNvSpPr/>
          <p:nvPr/>
        </p:nvSpPr>
        <p:spPr>
          <a:xfrm>
            <a:off x="2608597" y="617697"/>
            <a:ext cx="3929206" cy="3929200"/>
          </a:xfrm>
          <a:prstGeom prst="arc">
            <a:avLst>
              <a:gd name="adj1" fmla="val 1568304"/>
              <a:gd name="adj2" fmla="val 1824289"/>
            </a:avLst>
          </a:prstGeom>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cxnSp>
        <p:nvCxnSpPr>
          <p:cNvPr id="243" name="Straight Connector 242">
            <a:extLst>
              <a:ext uri="{FF2B5EF4-FFF2-40B4-BE49-F238E27FC236}">
                <a16:creationId xmlns:a16="http://schemas.microsoft.com/office/drawing/2014/main" id="{B7F97C49-01F6-4478-8386-4650B68D0156}"/>
              </a:ext>
            </a:extLst>
          </p:cNvPr>
          <p:cNvCxnSpPr>
            <a:cxnSpLocks/>
          </p:cNvCxnSpPr>
          <p:nvPr/>
        </p:nvCxnSpPr>
        <p:spPr>
          <a:xfrm flipV="1">
            <a:off x="4552198" y="1242798"/>
            <a:ext cx="1515514" cy="1340402"/>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0" name="Oval 229">
            <a:extLst>
              <a:ext uri="{FF2B5EF4-FFF2-40B4-BE49-F238E27FC236}">
                <a16:creationId xmlns:a16="http://schemas.microsoft.com/office/drawing/2014/main" id="{8DB8831B-555D-4DB8-8834-5B1E6F4A9310}"/>
              </a:ext>
            </a:extLst>
          </p:cNvPr>
          <p:cNvSpPr/>
          <p:nvPr/>
        </p:nvSpPr>
        <p:spPr>
          <a:xfrm>
            <a:off x="5678417" y="903279"/>
            <a:ext cx="727424" cy="727422"/>
          </a:xfrm>
          <a:prstGeom prst="ellipse">
            <a:avLst/>
          </a:prstGeom>
          <a:solidFill>
            <a:schemeClr val="bg2"/>
          </a:solidFill>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231" name="Graphic 3">
            <a:extLst>
              <a:ext uri="{FF2B5EF4-FFF2-40B4-BE49-F238E27FC236}">
                <a16:creationId xmlns:a16="http://schemas.microsoft.com/office/drawing/2014/main" id="{239CF708-1CEE-4C8F-A6DC-780049F2DD14}"/>
              </a:ext>
            </a:extLst>
          </p:cNvPr>
          <p:cNvGrpSpPr/>
          <p:nvPr/>
        </p:nvGrpSpPr>
        <p:grpSpPr>
          <a:xfrm>
            <a:off x="5754093" y="970331"/>
            <a:ext cx="590214" cy="590214"/>
            <a:chOff x="2850355" y="850105"/>
            <a:chExt cx="3438524" cy="3438525"/>
          </a:xfrm>
        </p:grpSpPr>
        <p:sp>
          <p:nvSpPr>
            <p:cNvPr id="232" name="Freeform: Shape 231">
              <a:extLst>
                <a:ext uri="{FF2B5EF4-FFF2-40B4-BE49-F238E27FC236}">
                  <a16:creationId xmlns:a16="http://schemas.microsoft.com/office/drawing/2014/main" id="{2A2BAE42-EF41-440B-A048-616AE09218D3}"/>
                </a:ext>
              </a:extLst>
            </p:cNvPr>
            <p:cNvSpPr/>
            <p:nvPr/>
          </p:nvSpPr>
          <p:spPr>
            <a:xfrm>
              <a:off x="2850355" y="850105"/>
              <a:ext cx="3438524" cy="3438525"/>
            </a:xfrm>
            <a:custGeom>
              <a:avLst/>
              <a:gdLst>
                <a:gd name="connsiteX0" fmla="*/ 3432334 w 3438525"/>
                <a:gd name="connsiteY0" fmla="*/ 1719739 h 3438525"/>
                <a:gd name="connsiteX1" fmla="*/ 1719739 w 3438525"/>
                <a:gd name="connsiteY1" fmla="*/ 3432334 h 3438525"/>
                <a:gd name="connsiteX2" fmla="*/ 7144 w 3438525"/>
                <a:gd name="connsiteY2" fmla="*/ 1719739 h 3438525"/>
                <a:gd name="connsiteX3" fmla="*/ 1719739 w 3438525"/>
                <a:gd name="connsiteY3" fmla="*/ 7144 h 3438525"/>
                <a:gd name="connsiteX4" fmla="*/ 3432334 w 3438525"/>
                <a:gd name="connsiteY4" fmla="*/ 1719739 h 343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25" h="3438525">
                  <a:moveTo>
                    <a:pt x="3432334" y="1719739"/>
                  </a:moveTo>
                  <a:cubicBezTo>
                    <a:pt x="3432334" y="2665579"/>
                    <a:pt x="2665579" y="3432334"/>
                    <a:pt x="1719739" y="3432334"/>
                  </a:cubicBezTo>
                  <a:cubicBezTo>
                    <a:pt x="773899" y="3432334"/>
                    <a:pt x="7144" y="2665579"/>
                    <a:pt x="7144" y="1719739"/>
                  </a:cubicBezTo>
                  <a:cubicBezTo>
                    <a:pt x="7144" y="773899"/>
                    <a:pt x="773899" y="7144"/>
                    <a:pt x="1719739" y="7144"/>
                  </a:cubicBezTo>
                  <a:cubicBezTo>
                    <a:pt x="2665579" y="7144"/>
                    <a:pt x="3432334" y="773899"/>
                    <a:pt x="3432334" y="1719739"/>
                  </a:cubicBezTo>
                  <a:close/>
                </a:path>
              </a:pathLst>
            </a:custGeom>
            <a:solidFill>
              <a:schemeClr val="accent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33" name="Freeform: Shape 232">
              <a:extLst>
                <a:ext uri="{FF2B5EF4-FFF2-40B4-BE49-F238E27FC236}">
                  <a16:creationId xmlns:a16="http://schemas.microsoft.com/office/drawing/2014/main" id="{AF40BBFB-2D13-436C-BD3F-B96270554342}"/>
                </a:ext>
              </a:extLst>
            </p:cNvPr>
            <p:cNvSpPr/>
            <p:nvPr/>
          </p:nvSpPr>
          <p:spPr>
            <a:xfrm>
              <a:off x="3004353" y="1182867"/>
              <a:ext cx="3276600" cy="3105150"/>
            </a:xfrm>
            <a:custGeom>
              <a:avLst/>
              <a:gdLst>
                <a:gd name="connsiteX0" fmla="*/ 3278337 w 3276600"/>
                <a:gd name="connsiteY0" fmla="*/ 1386978 h 3105150"/>
                <a:gd name="connsiteX1" fmla="*/ 3265954 w 3276600"/>
                <a:gd name="connsiteY1" fmla="*/ 1184096 h 3105150"/>
                <a:gd name="connsiteX2" fmla="*/ 2303929 w 3276600"/>
                <a:gd name="connsiteY2" fmla="*/ 222071 h 3105150"/>
                <a:gd name="connsiteX3" fmla="*/ 2291547 w 3276600"/>
                <a:gd name="connsiteY3" fmla="*/ 209688 h 3105150"/>
                <a:gd name="connsiteX4" fmla="*/ 2283927 w 3276600"/>
                <a:gd name="connsiteY4" fmla="*/ 203021 h 3105150"/>
                <a:gd name="connsiteX5" fmla="*/ 1292374 w 3276600"/>
                <a:gd name="connsiteY5" fmla="*/ 210641 h 3105150"/>
                <a:gd name="connsiteX6" fmla="*/ 1283802 w 3276600"/>
                <a:gd name="connsiteY6" fmla="*/ 324941 h 3105150"/>
                <a:gd name="connsiteX7" fmla="*/ 1288564 w 3276600"/>
                <a:gd name="connsiteY7" fmla="*/ 329703 h 3105150"/>
                <a:gd name="connsiteX8" fmla="*/ 1288564 w 3276600"/>
                <a:gd name="connsiteY8" fmla="*/ 329703 h 3105150"/>
                <a:gd name="connsiteX9" fmla="*/ 1460014 w 3276600"/>
                <a:gd name="connsiteY9" fmla="*/ 501153 h 3105150"/>
                <a:gd name="connsiteX10" fmla="*/ 1477159 w 3276600"/>
                <a:gd name="connsiteY10" fmla="*/ 534491 h 3105150"/>
                <a:gd name="connsiteX11" fmla="*/ 1481922 w 3276600"/>
                <a:gd name="connsiteY11" fmla="*/ 539253 h 3105150"/>
                <a:gd name="connsiteX12" fmla="*/ 1481922 w 3276600"/>
                <a:gd name="connsiteY12" fmla="*/ 539253 h 3105150"/>
                <a:gd name="connsiteX13" fmla="*/ 1707664 w 3276600"/>
                <a:gd name="connsiteY13" fmla="*/ 764996 h 3105150"/>
                <a:gd name="connsiteX14" fmla="*/ 1728619 w 3276600"/>
                <a:gd name="connsiteY14" fmla="*/ 787856 h 3105150"/>
                <a:gd name="connsiteX15" fmla="*/ 2197249 w 3276600"/>
                <a:gd name="connsiteY15" fmla="*/ 1256486 h 3105150"/>
                <a:gd name="connsiteX16" fmla="*/ 2197249 w 3276600"/>
                <a:gd name="connsiteY16" fmla="*/ 1769883 h 3105150"/>
                <a:gd name="connsiteX17" fmla="*/ 2214394 w 3276600"/>
                <a:gd name="connsiteY17" fmla="*/ 1819413 h 3105150"/>
                <a:gd name="connsiteX18" fmla="*/ 1496209 w 3276600"/>
                <a:gd name="connsiteY18" fmla="*/ 1101228 h 3105150"/>
                <a:gd name="connsiteX19" fmla="*/ 1496209 w 3276600"/>
                <a:gd name="connsiteY19" fmla="*/ 1101228 h 3105150"/>
                <a:gd name="connsiteX20" fmla="*/ 1489542 w 3276600"/>
                <a:gd name="connsiteY20" fmla="*/ 1095513 h 3105150"/>
                <a:gd name="connsiteX21" fmla="*/ 1135212 w 3276600"/>
                <a:gd name="connsiteY21" fmla="*/ 855483 h 3105150"/>
                <a:gd name="connsiteX22" fmla="*/ 811362 w 3276600"/>
                <a:gd name="connsiteY22" fmla="*/ 625931 h 3105150"/>
                <a:gd name="connsiteX23" fmla="*/ 707539 w 3276600"/>
                <a:gd name="connsiteY23" fmla="*/ 625931 h 3105150"/>
                <a:gd name="connsiteX24" fmla="*/ 446554 w 3276600"/>
                <a:gd name="connsiteY24" fmla="*/ 811668 h 3105150"/>
                <a:gd name="connsiteX25" fmla="*/ 34122 w 3276600"/>
                <a:gd name="connsiteY25" fmla="*/ 1099324 h 3105150"/>
                <a:gd name="connsiteX26" fmla="*/ 17929 w 3276600"/>
                <a:gd name="connsiteY26" fmla="*/ 1185049 h 3105150"/>
                <a:gd name="connsiteX27" fmla="*/ 26502 w 3276600"/>
                <a:gd name="connsiteY27" fmla="*/ 1194574 h 3105150"/>
                <a:gd name="connsiteX28" fmla="*/ 26502 w 3276600"/>
                <a:gd name="connsiteY28" fmla="*/ 1194574 h 3105150"/>
                <a:gd name="connsiteX29" fmla="*/ 307489 w 3276600"/>
                <a:gd name="connsiteY29" fmla="*/ 1475561 h 3105150"/>
                <a:gd name="connsiteX30" fmla="*/ 307489 w 3276600"/>
                <a:gd name="connsiteY30" fmla="*/ 1591766 h 3105150"/>
                <a:gd name="connsiteX31" fmla="*/ 307489 w 3276600"/>
                <a:gd name="connsiteY31" fmla="*/ 1591766 h 3105150"/>
                <a:gd name="connsiteX32" fmla="*/ 307489 w 3276600"/>
                <a:gd name="connsiteY32" fmla="*/ 1591766 h 3105150"/>
                <a:gd name="connsiteX33" fmla="*/ 960904 w 3276600"/>
                <a:gd name="connsiteY33" fmla="*/ 2245181 h 3105150"/>
                <a:gd name="connsiteX34" fmla="*/ 945664 w 3276600"/>
                <a:gd name="connsiteY34" fmla="*/ 2301378 h 3105150"/>
                <a:gd name="connsiteX35" fmla="*/ 945664 w 3276600"/>
                <a:gd name="connsiteY35" fmla="*/ 2633801 h 3105150"/>
                <a:gd name="connsiteX36" fmla="*/ 945664 w 3276600"/>
                <a:gd name="connsiteY36" fmla="*/ 2633801 h 3105150"/>
                <a:gd name="connsiteX37" fmla="*/ 945664 w 3276600"/>
                <a:gd name="connsiteY37" fmla="*/ 2633801 h 3105150"/>
                <a:gd name="connsiteX38" fmla="*/ 1402864 w 3276600"/>
                <a:gd name="connsiteY38" fmla="*/ 3091001 h 3105150"/>
                <a:gd name="connsiteX39" fmla="*/ 1565742 w 3276600"/>
                <a:gd name="connsiteY39" fmla="*/ 3098621 h 3105150"/>
                <a:gd name="connsiteX40" fmla="*/ 3278337 w 3276600"/>
                <a:gd name="connsiteY40" fmla="*/ 1386978 h 310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76600" h="3105150">
                  <a:moveTo>
                    <a:pt x="3278337" y="1386978"/>
                  </a:moveTo>
                  <a:cubicBezTo>
                    <a:pt x="3278337" y="1318399"/>
                    <a:pt x="3274527" y="1250771"/>
                    <a:pt x="3265954" y="1184096"/>
                  </a:cubicBezTo>
                  <a:lnTo>
                    <a:pt x="2303929" y="222071"/>
                  </a:lnTo>
                  <a:cubicBezTo>
                    <a:pt x="2300119" y="217308"/>
                    <a:pt x="2296309" y="213498"/>
                    <a:pt x="2291547" y="209688"/>
                  </a:cubicBezTo>
                  <a:lnTo>
                    <a:pt x="2283927" y="203021"/>
                  </a:lnTo>
                  <a:cubicBezTo>
                    <a:pt x="1972459" y="-60822"/>
                    <a:pt x="1601937" y="-57964"/>
                    <a:pt x="1292374" y="210641"/>
                  </a:cubicBezTo>
                  <a:cubicBezTo>
                    <a:pt x="1258084" y="240168"/>
                    <a:pt x="1255227" y="290651"/>
                    <a:pt x="1283802" y="324941"/>
                  </a:cubicBezTo>
                  <a:cubicBezTo>
                    <a:pt x="1285707" y="326846"/>
                    <a:pt x="1286659" y="328751"/>
                    <a:pt x="1288564" y="329703"/>
                  </a:cubicBezTo>
                  <a:lnTo>
                    <a:pt x="1288564" y="329703"/>
                  </a:lnTo>
                  <a:lnTo>
                    <a:pt x="1460014" y="501153"/>
                  </a:lnTo>
                  <a:cubicBezTo>
                    <a:pt x="1462872" y="512583"/>
                    <a:pt x="1468587" y="524013"/>
                    <a:pt x="1477159" y="534491"/>
                  </a:cubicBezTo>
                  <a:cubicBezTo>
                    <a:pt x="1479064" y="536396"/>
                    <a:pt x="1480017" y="537348"/>
                    <a:pt x="1481922" y="539253"/>
                  </a:cubicBezTo>
                  <a:lnTo>
                    <a:pt x="1481922" y="539253"/>
                  </a:lnTo>
                  <a:lnTo>
                    <a:pt x="1707664" y="764996"/>
                  </a:lnTo>
                  <a:cubicBezTo>
                    <a:pt x="1713379" y="773568"/>
                    <a:pt x="1720047" y="781188"/>
                    <a:pt x="1728619" y="787856"/>
                  </a:cubicBezTo>
                  <a:lnTo>
                    <a:pt x="2197249" y="1256486"/>
                  </a:lnTo>
                  <a:lnTo>
                    <a:pt x="2197249" y="1769883"/>
                  </a:lnTo>
                  <a:cubicBezTo>
                    <a:pt x="2197249" y="1788933"/>
                    <a:pt x="2203917" y="1806078"/>
                    <a:pt x="2214394" y="1819413"/>
                  </a:cubicBezTo>
                  <a:lnTo>
                    <a:pt x="1496209" y="1101228"/>
                  </a:lnTo>
                  <a:lnTo>
                    <a:pt x="1496209" y="1101228"/>
                  </a:lnTo>
                  <a:cubicBezTo>
                    <a:pt x="1494304" y="1099324"/>
                    <a:pt x="1491447" y="1097418"/>
                    <a:pt x="1489542" y="1095513"/>
                  </a:cubicBezTo>
                  <a:lnTo>
                    <a:pt x="1135212" y="855483"/>
                  </a:lnTo>
                  <a:lnTo>
                    <a:pt x="811362" y="625931"/>
                  </a:lnTo>
                  <a:cubicBezTo>
                    <a:pt x="779929" y="604023"/>
                    <a:pt x="738972" y="604023"/>
                    <a:pt x="707539" y="625931"/>
                  </a:cubicBezTo>
                  <a:lnTo>
                    <a:pt x="446554" y="811668"/>
                  </a:lnTo>
                  <a:lnTo>
                    <a:pt x="34122" y="1099324"/>
                  </a:lnTo>
                  <a:cubicBezTo>
                    <a:pt x="5547" y="1118374"/>
                    <a:pt x="-1121" y="1157426"/>
                    <a:pt x="17929" y="1185049"/>
                  </a:cubicBezTo>
                  <a:cubicBezTo>
                    <a:pt x="20787" y="1188858"/>
                    <a:pt x="23644" y="1191716"/>
                    <a:pt x="26502" y="1194574"/>
                  </a:cubicBezTo>
                  <a:lnTo>
                    <a:pt x="26502" y="1194574"/>
                  </a:lnTo>
                  <a:lnTo>
                    <a:pt x="307489" y="1475561"/>
                  </a:lnTo>
                  <a:lnTo>
                    <a:pt x="307489" y="1591766"/>
                  </a:lnTo>
                  <a:lnTo>
                    <a:pt x="307489" y="1591766"/>
                  </a:lnTo>
                  <a:lnTo>
                    <a:pt x="307489" y="1591766"/>
                  </a:lnTo>
                  <a:lnTo>
                    <a:pt x="960904" y="2245181"/>
                  </a:lnTo>
                  <a:cubicBezTo>
                    <a:pt x="951379" y="2261374"/>
                    <a:pt x="945664" y="2280424"/>
                    <a:pt x="945664" y="2301378"/>
                  </a:cubicBezTo>
                  <a:lnTo>
                    <a:pt x="945664" y="2633801"/>
                  </a:lnTo>
                  <a:lnTo>
                    <a:pt x="945664" y="2633801"/>
                  </a:lnTo>
                  <a:lnTo>
                    <a:pt x="945664" y="2633801"/>
                  </a:lnTo>
                  <a:lnTo>
                    <a:pt x="1402864" y="3091001"/>
                  </a:lnTo>
                  <a:cubicBezTo>
                    <a:pt x="1456204" y="3095764"/>
                    <a:pt x="1510497" y="3098621"/>
                    <a:pt x="1565742" y="3098621"/>
                  </a:cubicBezTo>
                  <a:cubicBezTo>
                    <a:pt x="2511574" y="3099574"/>
                    <a:pt x="3278337" y="2332811"/>
                    <a:pt x="3278337" y="1386978"/>
                  </a:cubicBezTo>
                  <a:close/>
                </a:path>
              </a:pathLst>
            </a:custGeom>
            <a:solidFill>
              <a:srgbClr val="00A3E0"/>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34" name="Freeform: Shape 233">
              <a:extLst>
                <a:ext uri="{FF2B5EF4-FFF2-40B4-BE49-F238E27FC236}">
                  <a16:creationId xmlns:a16="http://schemas.microsoft.com/office/drawing/2014/main" id="{439A703C-7F6A-45C5-A87C-E3F771BB2E7E}"/>
                </a:ext>
              </a:extLst>
            </p:cNvPr>
            <p:cNvSpPr/>
            <p:nvPr/>
          </p:nvSpPr>
          <p:spPr>
            <a:xfrm>
              <a:off x="5193506" y="1916906"/>
              <a:ext cx="809625" cy="1333500"/>
            </a:xfrm>
            <a:custGeom>
              <a:avLst/>
              <a:gdLst>
                <a:gd name="connsiteX0" fmla="*/ 739616 w 809625"/>
                <a:gd name="connsiteY0" fmla="*/ 510064 h 1333500"/>
                <a:gd name="connsiteX1" fmla="*/ 739616 w 809625"/>
                <a:gd name="connsiteY1" fmla="*/ 290036 h 1333500"/>
                <a:gd name="connsiteX2" fmla="*/ 660559 w 809625"/>
                <a:gd name="connsiteY2" fmla="*/ 210979 h 1333500"/>
                <a:gd name="connsiteX3" fmla="*/ 560546 w 809625"/>
                <a:gd name="connsiteY3" fmla="*/ 210979 h 1333500"/>
                <a:gd name="connsiteX4" fmla="*/ 560546 w 809625"/>
                <a:gd name="connsiteY4" fmla="*/ 86201 h 1333500"/>
                <a:gd name="connsiteX5" fmla="*/ 481489 w 809625"/>
                <a:gd name="connsiteY5" fmla="*/ 7144 h 1333500"/>
                <a:gd name="connsiteX6" fmla="*/ 265271 w 809625"/>
                <a:gd name="connsiteY6" fmla="*/ 7144 h 1333500"/>
                <a:gd name="connsiteX7" fmla="*/ 186214 w 809625"/>
                <a:gd name="connsiteY7" fmla="*/ 86201 h 1333500"/>
                <a:gd name="connsiteX8" fmla="*/ 186214 w 809625"/>
                <a:gd name="connsiteY8" fmla="*/ 210979 h 1333500"/>
                <a:gd name="connsiteX9" fmla="*/ 86201 w 809625"/>
                <a:gd name="connsiteY9" fmla="*/ 210979 h 1333500"/>
                <a:gd name="connsiteX10" fmla="*/ 7144 w 809625"/>
                <a:gd name="connsiteY10" fmla="*/ 290036 h 1333500"/>
                <a:gd name="connsiteX11" fmla="*/ 7144 w 809625"/>
                <a:gd name="connsiteY11" fmla="*/ 1035844 h 1333500"/>
                <a:gd name="connsiteX12" fmla="*/ 86201 w 809625"/>
                <a:gd name="connsiteY12" fmla="*/ 1114901 h 1333500"/>
                <a:gd name="connsiteX13" fmla="*/ 186214 w 809625"/>
                <a:gd name="connsiteY13" fmla="*/ 1114901 h 1333500"/>
                <a:gd name="connsiteX14" fmla="*/ 186214 w 809625"/>
                <a:gd name="connsiteY14" fmla="*/ 1248251 h 1333500"/>
                <a:gd name="connsiteX15" fmla="*/ 265271 w 809625"/>
                <a:gd name="connsiteY15" fmla="*/ 1327309 h 1333500"/>
                <a:gd name="connsiteX16" fmla="*/ 481489 w 809625"/>
                <a:gd name="connsiteY16" fmla="*/ 1327309 h 1333500"/>
                <a:gd name="connsiteX17" fmla="*/ 560546 w 809625"/>
                <a:gd name="connsiteY17" fmla="*/ 1248251 h 1333500"/>
                <a:gd name="connsiteX18" fmla="*/ 560546 w 809625"/>
                <a:gd name="connsiteY18" fmla="*/ 1114901 h 1333500"/>
                <a:gd name="connsiteX19" fmla="*/ 660559 w 809625"/>
                <a:gd name="connsiteY19" fmla="*/ 1114901 h 1333500"/>
                <a:gd name="connsiteX20" fmla="*/ 739616 w 809625"/>
                <a:gd name="connsiteY20" fmla="*/ 1035844 h 1333500"/>
                <a:gd name="connsiteX21" fmla="*/ 739616 w 809625"/>
                <a:gd name="connsiteY21" fmla="*/ 815816 h 1333500"/>
                <a:gd name="connsiteX22" fmla="*/ 808196 w 809625"/>
                <a:gd name="connsiteY22" fmla="*/ 737711 h 1333500"/>
                <a:gd name="connsiteX23" fmla="*/ 808196 w 809625"/>
                <a:gd name="connsiteY23" fmla="*/ 588169 h 1333500"/>
                <a:gd name="connsiteX24" fmla="*/ 739616 w 809625"/>
                <a:gd name="connsiteY24" fmla="*/ 510064 h 1333500"/>
                <a:gd name="connsiteX25" fmla="*/ 594836 w 809625"/>
                <a:gd name="connsiteY25" fmla="*/ 957739 h 1333500"/>
                <a:gd name="connsiteX26" fmla="*/ 145256 w 809625"/>
                <a:gd name="connsiteY26" fmla="*/ 957739 h 1333500"/>
                <a:gd name="connsiteX27" fmla="*/ 145256 w 809625"/>
                <a:gd name="connsiteY27" fmla="*/ 368141 h 1333500"/>
                <a:gd name="connsiteX28" fmla="*/ 594836 w 809625"/>
                <a:gd name="connsiteY28" fmla="*/ 368141 h 1333500"/>
                <a:gd name="connsiteX29" fmla="*/ 594836 w 809625"/>
                <a:gd name="connsiteY29" fmla="*/ 957739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09625" h="1333500">
                  <a:moveTo>
                    <a:pt x="739616" y="510064"/>
                  </a:moveTo>
                  <a:lnTo>
                    <a:pt x="739616" y="290036"/>
                  </a:lnTo>
                  <a:cubicBezTo>
                    <a:pt x="739616" y="246221"/>
                    <a:pt x="704374" y="210979"/>
                    <a:pt x="660559" y="210979"/>
                  </a:cubicBezTo>
                  <a:lnTo>
                    <a:pt x="560546" y="210979"/>
                  </a:lnTo>
                  <a:lnTo>
                    <a:pt x="560546" y="86201"/>
                  </a:lnTo>
                  <a:cubicBezTo>
                    <a:pt x="560546" y="42386"/>
                    <a:pt x="525304" y="7144"/>
                    <a:pt x="481489" y="7144"/>
                  </a:cubicBezTo>
                  <a:lnTo>
                    <a:pt x="265271" y="7144"/>
                  </a:lnTo>
                  <a:cubicBezTo>
                    <a:pt x="221456" y="7144"/>
                    <a:pt x="186214" y="42386"/>
                    <a:pt x="186214" y="86201"/>
                  </a:cubicBezTo>
                  <a:lnTo>
                    <a:pt x="186214" y="210979"/>
                  </a:lnTo>
                  <a:lnTo>
                    <a:pt x="86201" y="210979"/>
                  </a:lnTo>
                  <a:cubicBezTo>
                    <a:pt x="42386" y="210979"/>
                    <a:pt x="7144" y="246221"/>
                    <a:pt x="7144" y="290036"/>
                  </a:cubicBezTo>
                  <a:lnTo>
                    <a:pt x="7144" y="1035844"/>
                  </a:lnTo>
                  <a:cubicBezTo>
                    <a:pt x="7144" y="1079659"/>
                    <a:pt x="42386" y="1114901"/>
                    <a:pt x="86201" y="1114901"/>
                  </a:cubicBezTo>
                  <a:lnTo>
                    <a:pt x="186214" y="1114901"/>
                  </a:lnTo>
                  <a:lnTo>
                    <a:pt x="186214" y="1248251"/>
                  </a:lnTo>
                  <a:cubicBezTo>
                    <a:pt x="186214" y="1292066"/>
                    <a:pt x="221456" y="1327309"/>
                    <a:pt x="265271" y="1327309"/>
                  </a:cubicBezTo>
                  <a:lnTo>
                    <a:pt x="481489" y="1327309"/>
                  </a:lnTo>
                  <a:cubicBezTo>
                    <a:pt x="525304" y="1327309"/>
                    <a:pt x="560546" y="1292066"/>
                    <a:pt x="560546" y="1248251"/>
                  </a:cubicBezTo>
                  <a:lnTo>
                    <a:pt x="560546" y="1114901"/>
                  </a:lnTo>
                  <a:lnTo>
                    <a:pt x="660559" y="1114901"/>
                  </a:lnTo>
                  <a:cubicBezTo>
                    <a:pt x="704374" y="1114901"/>
                    <a:pt x="739616" y="1079659"/>
                    <a:pt x="739616" y="1035844"/>
                  </a:cubicBezTo>
                  <a:lnTo>
                    <a:pt x="739616" y="815816"/>
                  </a:lnTo>
                  <a:cubicBezTo>
                    <a:pt x="778669" y="811054"/>
                    <a:pt x="808196" y="777716"/>
                    <a:pt x="808196" y="737711"/>
                  </a:cubicBezTo>
                  <a:lnTo>
                    <a:pt x="808196" y="588169"/>
                  </a:lnTo>
                  <a:cubicBezTo>
                    <a:pt x="808196" y="548164"/>
                    <a:pt x="778669" y="514826"/>
                    <a:pt x="739616" y="510064"/>
                  </a:cubicBezTo>
                  <a:close/>
                  <a:moveTo>
                    <a:pt x="594836" y="957739"/>
                  </a:moveTo>
                  <a:lnTo>
                    <a:pt x="145256" y="957739"/>
                  </a:lnTo>
                  <a:lnTo>
                    <a:pt x="145256" y="368141"/>
                  </a:lnTo>
                  <a:lnTo>
                    <a:pt x="594836" y="368141"/>
                  </a:lnTo>
                  <a:lnTo>
                    <a:pt x="594836" y="957739"/>
                  </a:lnTo>
                  <a:close/>
                </a:path>
              </a:pathLst>
            </a:custGeom>
            <a:solidFill>
              <a:schemeClr val="bg2"/>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35" name="Freeform: Shape 234">
              <a:extLst>
                <a:ext uri="{FF2B5EF4-FFF2-40B4-BE49-F238E27FC236}">
                  <a16:creationId xmlns:a16="http://schemas.microsoft.com/office/drawing/2014/main" id="{89EC5C09-11DD-4832-A2EB-78170C062B26}"/>
                </a:ext>
              </a:extLst>
            </p:cNvPr>
            <p:cNvSpPr/>
            <p:nvPr/>
          </p:nvSpPr>
          <p:spPr>
            <a:xfrm>
              <a:off x="3004353" y="1785223"/>
              <a:ext cx="1514475" cy="990600"/>
            </a:xfrm>
            <a:custGeom>
              <a:avLst/>
              <a:gdLst>
                <a:gd name="connsiteX0" fmla="*/ 1488589 w 1514475"/>
                <a:gd name="connsiteY0" fmla="*/ 493157 h 990600"/>
                <a:gd name="connsiteX1" fmla="*/ 1135212 w 1514475"/>
                <a:gd name="connsiteY1" fmla="*/ 253127 h 990600"/>
                <a:gd name="connsiteX2" fmla="*/ 811362 w 1514475"/>
                <a:gd name="connsiteY2" fmla="*/ 23574 h 990600"/>
                <a:gd name="connsiteX3" fmla="*/ 707539 w 1514475"/>
                <a:gd name="connsiteY3" fmla="*/ 23574 h 990600"/>
                <a:gd name="connsiteX4" fmla="*/ 446554 w 1514475"/>
                <a:gd name="connsiteY4" fmla="*/ 209312 h 990600"/>
                <a:gd name="connsiteX5" fmla="*/ 34122 w 1514475"/>
                <a:gd name="connsiteY5" fmla="*/ 496967 h 990600"/>
                <a:gd name="connsiteX6" fmla="*/ 17929 w 1514475"/>
                <a:gd name="connsiteY6" fmla="*/ 582692 h 990600"/>
                <a:gd name="connsiteX7" fmla="*/ 69364 w 1514475"/>
                <a:gd name="connsiteY7" fmla="*/ 609362 h 990600"/>
                <a:gd name="connsiteX8" fmla="*/ 103654 w 1514475"/>
                <a:gd name="connsiteY8" fmla="*/ 598884 h 990600"/>
                <a:gd name="connsiteX9" fmla="*/ 307489 w 1514475"/>
                <a:gd name="connsiteY9" fmla="*/ 460772 h 990600"/>
                <a:gd name="connsiteX10" fmla="*/ 307489 w 1514475"/>
                <a:gd name="connsiteY10" fmla="*/ 989409 h 990600"/>
                <a:gd name="connsiteX11" fmla="*/ 638959 w 1514475"/>
                <a:gd name="connsiteY11" fmla="*/ 989409 h 990600"/>
                <a:gd name="connsiteX12" fmla="*/ 638959 w 1514475"/>
                <a:gd name="connsiteY12" fmla="*/ 717947 h 990600"/>
                <a:gd name="connsiteX13" fmla="*/ 761832 w 1514475"/>
                <a:gd name="connsiteY13" fmla="*/ 595074 h 990600"/>
                <a:gd name="connsiteX14" fmla="*/ 884704 w 1514475"/>
                <a:gd name="connsiteY14" fmla="*/ 717947 h 990600"/>
                <a:gd name="connsiteX15" fmla="*/ 884704 w 1514475"/>
                <a:gd name="connsiteY15" fmla="*/ 989409 h 990600"/>
                <a:gd name="connsiteX16" fmla="*/ 1213317 w 1514475"/>
                <a:gd name="connsiteY16" fmla="*/ 989409 h 990600"/>
                <a:gd name="connsiteX17" fmla="*/ 1213317 w 1514475"/>
                <a:gd name="connsiteY17" fmla="*/ 454104 h 990600"/>
                <a:gd name="connsiteX18" fmla="*/ 1420009 w 1514475"/>
                <a:gd name="connsiteY18" fmla="*/ 594122 h 990600"/>
                <a:gd name="connsiteX19" fmla="*/ 1454299 w 1514475"/>
                <a:gd name="connsiteY19" fmla="*/ 604599 h 990600"/>
                <a:gd name="connsiteX20" fmla="*/ 1505734 w 1514475"/>
                <a:gd name="connsiteY20" fmla="*/ 577929 h 990600"/>
                <a:gd name="connsiteX21" fmla="*/ 1488589 w 1514475"/>
                <a:gd name="connsiteY21" fmla="*/ 493157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14475" h="990600">
                  <a:moveTo>
                    <a:pt x="1488589" y="493157"/>
                  </a:moveTo>
                  <a:lnTo>
                    <a:pt x="1135212" y="253127"/>
                  </a:lnTo>
                  <a:lnTo>
                    <a:pt x="811362" y="23574"/>
                  </a:lnTo>
                  <a:cubicBezTo>
                    <a:pt x="779929" y="1667"/>
                    <a:pt x="738972" y="1667"/>
                    <a:pt x="707539" y="23574"/>
                  </a:cubicBezTo>
                  <a:lnTo>
                    <a:pt x="446554" y="209312"/>
                  </a:lnTo>
                  <a:lnTo>
                    <a:pt x="34122" y="496967"/>
                  </a:lnTo>
                  <a:cubicBezTo>
                    <a:pt x="5547" y="516017"/>
                    <a:pt x="-1121" y="555069"/>
                    <a:pt x="17929" y="582692"/>
                  </a:cubicBezTo>
                  <a:cubicBezTo>
                    <a:pt x="30312" y="600789"/>
                    <a:pt x="49362" y="609362"/>
                    <a:pt x="69364" y="609362"/>
                  </a:cubicBezTo>
                  <a:cubicBezTo>
                    <a:pt x="81747" y="609362"/>
                    <a:pt x="93177" y="605552"/>
                    <a:pt x="103654" y="598884"/>
                  </a:cubicBezTo>
                  <a:lnTo>
                    <a:pt x="307489" y="460772"/>
                  </a:lnTo>
                  <a:lnTo>
                    <a:pt x="307489" y="989409"/>
                  </a:lnTo>
                  <a:lnTo>
                    <a:pt x="638959" y="989409"/>
                  </a:lnTo>
                  <a:lnTo>
                    <a:pt x="638959" y="717947"/>
                  </a:lnTo>
                  <a:cubicBezTo>
                    <a:pt x="638959" y="650319"/>
                    <a:pt x="694204" y="595074"/>
                    <a:pt x="761832" y="595074"/>
                  </a:cubicBezTo>
                  <a:cubicBezTo>
                    <a:pt x="829459" y="595074"/>
                    <a:pt x="884704" y="650319"/>
                    <a:pt x="884704" y="717947"/>
                  </a:cubicBezTo>
                  <a:lnTo>
                    <a:pt x="884704" y="989409"/>
                  </a:lnTo>
                  <a:lnTo>
                    <a:pt x="1213317" y="989409"/>
                  </a:lnTo>
                  <a:lnTo>
                    <a:pt x="1213317" y="454104"/>
                  </a:lnTo>
                  <a:lnTo>
                    <a:pt x="1420009" y="594122"/>
                  </a:lnTo>
                  <a:cubicBezTo>
                    <a:pt x="1430487" y="601742"/>
                    <a:pt x="1442869" y="604599"/>
                    <a:pt x="1454299" y="604599"/>
                  </a:cubicBezTo>
                  <a:cubicBezTo>
                    <a:pt x="1474302" y="604599"/>
                    <a:pt x="1493352" y="595074"/>
                    <a:pt x="1505734" y="577929"/>
                  </a:cubicBezTo>
                  <a:cubicBezTo>
                    <a:pt x="1523832" y="550307"/>
                    <a:pt x="1517164" y="512207"/>
                    <a:pt x="1488589" y="493157"/>
                  </a:cubicBezTo>
                  <a:close/>
                </a:path>
              </a:pathLst>
            </a:custGeom>
            <a:solidFill>
              <a:schemeClr val="bg2"/>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36" name="Freeform: Shape 235">
              <a:extLst>
                <a:ext uri="{FF2B5EF4-FFF2-40B4-BE49-F238E27FC236}">
                  <a16:creationId xmlns:a16="http://schemas.microsoft.com/office/drawing/2014/main" id="{2DB716F9-7AE5-41C6-9D62-B73871BD1300}"/>
                </a:ext>
              </a:extLst>
            </p:cNvPr>
            <p:cNvSpPr/>
            <p:nvPr/>
          </p:nvSpPr>
          <p:spPr>
            <a:xfrm>
              <a:off x="4687729" y="1787366"/>
              <a:ext cx="209550" cy="209550"/>
            </a:xfrm>
            <a:custGeom>
              <a:avLst/>
              <a:gdLst>
                <a:gd name="connsiteX0" fmla="*/ 205264 w 209550"/>
                <a:gd name="connsiteY0" fmla="*/ 106204 h 209550"/>
                <a:gd name="connsiteX1" fmla="*/ 106204 w 209550"/>
                <a:gd name="connsiteY1" fmla="*/ 205264 h 209550"/>
                <a:gd name="connsiteX2" fmla="*/ 7144 w 209550"/>
                <a:gd name="connsiteY2" fmla="*/ 106204 h 209550"/>
                <a:gd name="connsiteX3" fmla="*/ 106204 w 209550"/>
                <a:gd name="connsiteY3" fmla="*/ 7144 h 209550"/>
                <a:gd name="connsiteX4" fmla="*/ 205264 w 209550"/>
                <a:gd name="connsiteY4" fmla="*/ 106204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09550">
                  <a:moveTo>
                    <a:pt x="205264" y="106204"/>
                  </a:moveTo>
                  <a:cubicBezTo>
                    <a:pt x="205264" y="160913"/>
                    <a:pt x="160913" y="205264"/>
                    <a:pt x="106204" y="205264"/>
                  </a:cubicBezTo>
                  <a:cubicBezTo>
                    <a:pt x="51494" y="205264"/>
                    <a:pt x="7144" y="160913"/>
                    <a:pt x="7144" y="106204"/>
                  </a:cubicBezTo>
                  <a:cubicBezTo>
                    <a:pt x="7144" y="51494"/>
                    <a:pt x="51494" y="7144"/>
                    <a:pt x="106204" y="7144"/>
                  </a:cubicBezTo>
                  <a:cubicBezTo>
                    <a:pt x="160913" y="7144"/>
                    <a:pt x="205264" y="51494"/>
                    <a:pt x="205264" y="106204"/>
                  </a:cubicBezTo>
                  <a:close/>
                </a:path>
              </a:pathLst>
            </a:custGeom>
            <a:solidFill>
              <a:schemeClr val="bg2"/>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37" name="Freeform: Shape 236">
              <a:extLst>
                <a:ext uri="{FF2B5EF4-FFF2-40B4-BE49-F238E27FC236}">
                  <a16:creationId xmlns:a16="http://schemas.microsoft.com/office/drawing/2014/main" id="{D64A8DB1-6172-4ACF-A1D3-DB6BA551B8D9}"/>
                </a:ext>
              </a:extLst>
            </p:cNvPr>
            <p:cNvSpPr/>
            <p:nvPr/>
          </p:nvSpPr>
          <p:spPr>
            <a:xfrm>
              <a:off x="4453546" y="1472195"/>
              <a:ext cx="676275" cy="276225"/>
            </a:xfrm>
            <a:custGeom>
              <a:avLst/>
              <a:gdLst>
                <a:gd name="connsiteX0" fmla="*/ 597562 w 676275"/>
                <a:gd name="connsiteY0" fmla="*/ 272785 h 276225"/>
                <a:gd name="connsiteX1" fmla="*/ 545174 w 676275"/>
                <a:gd name="connsiteY1" fmla="*/ 253735 h 276225"/>
                <a:gd name="connsiteX2" fmla="*/ 540412 w 676275"/>
                <a:gd name="connsiteY2" fmla="*/ 249925 h 276225"/>
                <a:gd name="connsiteX3" fmla="*/ 141314 w 676275"/>
                <a:gd name="connsiteY3" fmla="*/ 252783 h 276225"/>
                <a:gd name="connsiteX4" fmla="*/ 27014 w 676275"/>
                <a:gd name="connsiteY4" fmla="*/ 244210 h 276225"/>
                <a:gd name="connsiteX5" fmla="*/ 35587 w 676275"/>
                <a:gd name="connsiteY5" fmla="*/ 129910 h 276225"/>
                <a:gd name="connsiteX6" fmla="*/ 645187 w 676275"/>
                <a:gd name="connsiteY6" fmla="*/ 125148 h 276225"/>
                <a:gd name="connsiteX7" fmla="*/ 649949 w 676275"/>
                <a:gd name="connsiteY7" fmla="*/ 128958 h 276225"/>
                <a:gd name="connsiteX8" fmla="*/ 659474 w 676275"/>
                <a:gd name="connsiteY8" fmla="*/ 243258 h 276225"/>
                <a:gd name="connsiteX9" fmla="*/ 597562 w 676275"/>
                <a:gd name="connsiteY9" fmla="*/ 272785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6275" h="276225">
                  <a:moveTo>
                    <a:pt x="597562" y="272785"/>
                  </a:moveTo>
                  <a:cubicBezTo>
                    <a:pt x="579464" y="272785"/>
                    <a:pt x="560414" y="266118"/>
                    <a:pt x="545174" y="253735"/>
                  </a:cubicBezTo>
                  <a:lnTo>
                    <a:pt x="540412" y="249925"/>
                  </a:lnTo>
                  <a:cubicBezTo>
                    <a:pt x="411824" y="140388"/>
                    <a:pt x="269901" y="142293"/>
                    <a:pt x="141314" y="252783"/>
                  </a:cubicBezTo>
                  <a:cubicBezTo>
                    <a:pt x="107024" y="282310"/>
                    <a:pt x="56541" y="278500"/>
                    <a:pt x="27014" y="244210"/>
                  </a:cubicBezTo>
                  <a:cubicBezTo>
                    <a:pt x="-2513" y="209920"/>
                    <a:pt x="1296" y="159438"/>
                    <a:pt x="35587" y="129910"/>
                  </a:cubicBezTo>
                  <a:cubicBezTo>
                    <a:pt x="223229" y="-32015"/>
                    <a:pt x="456591" y="-33920"/>
                    <a:pt x="645187" y="125148"/>
                  </a:cubicBezTo>
                  <a:lnTo>
                    <a:pt x="649949" y="128958"/>
                  </a:lnTo>
                  <a:cubicBezTo>
                    <a:pt x="684239" y="157533"/>
                    <a:pt x="688049" y="208968"/>
                    <a:pt x="659474" y="243258"/>
                  </a:cubicBezTo>
                  <a:cubicBezTo>
                    <a:pt x="643282" y="263260"/>
                    <a:pt x="620421" y="272785"/>
                    <a:pt x="597562" y="272785"/>
                  </a:cubicBezTo>
                  <a:close/>
                </a:path>
              </a:pathLst>
            </a:custGeom>
            <a:solidFill>
              <a:schemeClr val="tx2"/>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38" name="Freeform: Shape 237">
              <a:extLst>
                <a:ext uri="{FF2B5EF4-FFF2-40B4-BE49-F238E27FC236}">
                  <a16:creationId xmlns:a16="http://schemas.microsoft.com/office/drawing/2014/main" id="{41F3893F-01CA-463E-94D2-26C3CACC4CFB}"/>
                </a:ext>
              </a:extLst>
            </p:cNvPr>
            <p:cNvSpPr/>
            <p:nvPr/>
          </p:nvSpPr>
          <p:spPr>
            <a:xfrm>
              <a:off x="4262094" y="1182628"/>
              <a:ext cx="1066800" cy="352425"/>
            </a:xfrm>
            <a:custGeom>
              <a:avLst/>
              <a:gdLst>
                <a:gd name="connsiteX0" fmla="*/ 982372 w 1066800"/>
                <a:gd name="connsiteY0" fmla="*/ 352802 h 352425"/>
                <a:gd name="connsiteX1" fmla="*/ 929984 w 1066800"/>
                <a:gd name="connsiteY1" fmla="*/ 333752 h 352425"/>
                <a:gd name="connsiteX2" fmla="*/ 922364 w 1066800"/>
                <a:gd name="connsiteY2" fmla="*/ 327084 h 352425"/>
                <a:gd name="connsiteX3" fmla="*/ 141314 w 1066800"/>
                <a:gd name="connsiteY3" fmla="*/ 332799 h 352425"/>
                <a:gd name="connsiteX4" fmla="*/ 27014 w 1066800"/>
                <a:gd name="connsiteY4" fmla="*/ 324227 h 352425"/>
                <a:gd name="connsiteX5" fmla="*/ 35586 w 1066800"/>
                <a:gd name="connsiteY5" fmla="*/ 209927 h 352425"/>
                <a:gd name="connsiteX6" fmla="*/ 1027139 w 1066800"/>
                <a:gd name="connsiteY6" fmla="*/ 202307 h 352425"/>
                <a:gd name="connsiteX7" fmla="*/ 1034759 w 1066800"/>
                <a:gd name="connsiteY7" fmla="*/ 208974 h 352425"/>
                <a:gd name="connsiteX8" fmla="*/ 1044284 w 1066800"/>
                <a:gd name="connsiteY8" fmla="*/ 323274 h 352425"/>
                <a:gd name="connsiteX9" fmla="*/ 982372 w 1066800"/>
                <a:gd name="connsiteY9" fmla="*/ 352802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800" h="352425">
                  <a:moveTo>
                    <a:pt x="982372" y="352802"/>
                  </a:moveTo>
                  <a:cubicBezTo>
                    <a:pt x="964274" y="352802"/>
                    <a:pt x="945224" y="346134"/>
                    <a:pt x="929984" y="333752"/>
                  </a:cubicBezTo>
                  <a:lnTo>
                    <a:pt x="922364" y="327084"/>
                  </a:lnTo>
                  <a:cubicBezTo>
                    <a:pt x="673761" y="116582"/>
                    <a:pt x="388964" y="118487"/>
                    <a:pt x="141314" y="332799"/>
                  </a:cubicBezTo>
                  <a:cubicBezTo>
                    <a:pt x="107024" y="362327"/>
                    <a:pt x="56541" y="358517"/>
                    <a:pt x="27014" y="324227"/>
                  </a:cubicBezTo>
                  <a:cubicBezTo>
                    <a:pt x="-2514" y="289937"/>
                    <a:pt x="1297" y="239454"/>
                    <a:pt x="35586" y="209927"/>
                  </a:cubicBezTo>
                  <a:cubicBezTo>
                    <a:pt x="345149" y="-57726"/>
                    <a:pt x="716624" y="-60583"/>
                    <a:pt x="1027139" y="202307"/>
                  </a:cubicBezTo>
                  <a:lnTo>
                    <a:pt x="1034759" y="208974"/>
                  </a:lnTo>
                  <a:cubicBezTo>
                    <a:pt x="1069049" y="237549"/>
                    <a:pt x="1072859" y="288984"/>
                    <a:pt x="1044284" y="323274"/>
                  </a:cubicBezTo>
                  <a:cubicBezTo>
                    <a:pt x="1028091" y="343277"/>
                    <a:pt x="1005232" y="352802"/>
                    <a:pt x="982372" y="352802"/>
                  </a:cubicBezTo>
                  <a:close/>
                </a:path>
              </a:pathLst>
            </a:custGeom>
            <a:solidFill>
              <a:schemeClr val="tx2"/>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39" name="Freeform: Shape 238">
              <a:extLst>
                <a:ext uri="{FF2B5EF4-FFF2-40B4-BE49-F238E27FC236}">
                  <a16:creationId xmlns:a16="http://schemas.microsoft.com/office/drawing/2014/main" id="{FFC1DAB2-A802-4F47-9735-663FA5CD109F}"/>
                </a:ext>
              </a:extLst>
            </p:cNvPr>
            <p:cNvSpPr/>
            <p:nvPr/>
          </p:nvSpPr>
          <p:spPr>
            <a:xfrm>
              <a:off x="3942874" y="3002756"/>
              <a:ext cx="1219200" cy="981075"/>
            </a:xfrm>
            <a:custGeom>
              <a:avLst/>
              <a:gdLst>
                <a:gd name="connsiteX0" fmla="*/ 1220629 w 1219200"/>
                <a:gd name="connsiteY0" fmla="*/ 482441 h 981075"/>
                <a:gd name="connsiteX1" fmla="*/ 1120616 w 1219200"/>
                <a:gd name="connsiteY1" fmla="*/ 371951 h 981075"/>
                <a:gd name="connsiteX2" fmla="*/ 1034891 w 1219200"/>
                <a:gd name="connsiteY2" fmla="*/ 116681 h 981075"/>
                <a:gd name="connsiteX3" fmla="*/ 882491 w 1219200"/>
                <a:gd name="connsiteY3" fmla="*/ 7144 h 981075"/>
                <a:gd name="connsiteX4" fmla="*/ 345281 w 1219200"/>
                <a:gd name="connsiteY4" fmla="*/ 7144 h 981075"/>
                <a:gd name="connsiteX5" fmla="*/ 192881 w 1219200"/>
                <a:gd name="connsiteY5" fmla="*/ 116681 h 981075"/>
                <a:gd name="connsiteX6" fmla="*/ 107156 w 1219200"/>
                <a:gd name="connsiteY6" fmla="*/ 371951 h 981075"/>
                <a:gd name="connsiteX7" fmla="*/ 7144 w 1219200"/>
                <a:gd name="connsiteY7" fmla="*/ 482441 h 981075"/>
                <a:gd name="connsiteX8" fmla="*/ 7144 w 1219200"/>
                <a:gd name="connsiteY8" fmla="*/ 814864 h 981075"/>
                <a:gd name="connsiteX9" fmla="*/ 150019 w 1219200"/>
                <a:gd name="connsiteY9" fmla="*/ 814864 h 981075"/>
                <a:gd name="connsiteX10" fmla="*/ 150019 w 1219200"/>
                <a:gd name="connsiteY10" fmla="*/ 893921 h 981075"/>
                <a:gd name="connsiteX11" fmla="*/ 235744 w 1219200"/>
                <a:gd name="connsiteY11" fmla="*/ 979646 h 981075"/>
                <a:gd name="connsiteX12" fmla="*/ 321469 w 1219200"/>
                <a:gd name="connsiteY12" fmla="*/ 893921 h 981075"/>
                <a:gd name="connsiteX13" fmla="*/ 321469 w 1219200"/>
                <a:gd name="connsiteY13" fmla="*/ 814864 h 981075"/>
                <a:gd name="connsiteX14" fmla="*/ 914876 w 1219200"/>
                <a:gd name="connsiteY14" fmla="*/ 814864 h 981075"/>
                <a:gd name="connsiteX15" fmla="*/ 914876 w 1219200"/>
                <a:gd name="connsiteY15" fmla="*/ 893921 h 981075"/>
                <a:gd name="connsiteX16" fmla="*/ 1000601 w 1219200"/>
                <a:gd name="connsiteY16" fmla="*/ 979646 h 981075"/>
                <a:gd name="connsiteX17" fmla="*/ 1086326 w 1219200"/>
                <a:gd name="connsiteY17" fmla="*/ 893921 h 981075"/>
                <a:gd name="connsiteX18" fmla="*/ 1086326 w 1219200"/>
                <a:gd name="connsiteY18" fmla="*/ 814864 h 981075"/>
                <a:gd name="connsiteX19" fmla="*/ 1220629 w 1219200"/>
                <a:gd name="connsiteY19" fmla="*/ 814864 h 981075"/>
                <a:gd name="connsiteX20" fmla="*/ 1220629 w 1219200"/>
                <a:gd name="connsiteY20" fmla="*/ 482441 h 981075"/>
                <a:gd name="connsiteX21" fmla="*/ 301466 w 1219200"/>
                <a:gd name="connsiteY21" fmla="*/ 152876 h 981075"/>
                <a:gd name="connsiteX22" fmla="*/ 345281 w 1219200"/>
                <a:gd name="connsiteY22" fmla="*/ 121444 h 981075"/>
                <a:gd name="connsiteX23" fmla="*/ 882491 w 1219200"/>
                <a:gd name="connsiteY23" fmla="*/ 121444 h 981075"/>
                <a:gd name="connsiteX24" fmla="*/ 926306 w 1219200"/>
                <a:gd name="connsiteY24" fmla="*/ 152876 h 981075"/>
                <a:gd name="connsiteX25" fmla="*/ 999649 w 1219200"/>
                <a:gd name="connsiteY25" fmla="*/ 370999 h 981075"/>
                <a:gd name="connsiteX26" fmla="*/ 227171 w 1219200"/>
                <a:gd name="connsiteY26" fmla="*/ 370999 h 981075"/>
                <a:gd name="connsiteX27" fmla="*/ 301466 w 1219200"/>
                <a:gd name="connsiteY27" fmla="*/ 152876 h 981075"/>
                <a:gd name="connsiteX28" fmla="*/ 433864 w 1219200"/>
                <a:gd name="connsiteY28" fmla="*/ 600551 h 981075"/>
                <a:gd name="connsiteX29" fmla="*/ 329089 w 1219200"/>
                <a:gd name="connsiteY29" fmla="*/ 699611 h 981075"/>
                <a:gd name="connsiteX30" fmla="*/ 224314 w 1219200"/>
                <a:gd name="connsiteY30" fmla="*/ 600551 h 981075"/>
                <a:gd name="connsiteX31" fmla="*/ 224314 w 1219200"/>
                <a:gd name="connsiteY31" fmla="*/ 593884 h 981075"/>
                <a:gd name="connsiteX32" fmla="*/ 329089 w 1219200"/>
                <a:gd name="connsiteY32" fmla="*/ 489109 h 981075"/>
                <a:gd name="connsiteX33" fmla="*/ 433864 w 1219200"/>
                <a:gd name="connsiteY33" fmla="*/ 593884 h 981075"/>
                <a:gd name="connsiteX34" fmla="*/ 433864 w 1219200"/>
                <a:gd name="connsiteY34" fmla="*/ 600551 h 981075"/>
                <a:gd name="connsiteX35" fmla="*/ 805339 w 1219200"/>
                <a:gd name="connsiteY35" fmla="*/ 600551 h 981075"/>
                <a:gd name="connsiteX36" fmla="*/ 805339 w 1219200"/>
                <a:gd name="connsiteY36" fmla="*/ 593884 h 981075"/>
                <a:gd name="connsiteX37" fmla="*/ 910114 w 1219200"/>
                <a:gd name="connsiteY37" fmla="*/ 489109 h 981075"/>
                <a:gd name="connsiteX38" fmla="*/ 1014889 w 1219200"/>
                <a:gd name="connsiteY38" fmla="*/ 593884 h 981075"/>
                <a:gd name="connsiteX39" fmla="*/ 1014889 w 1219200"/>
                <a:gd name="connsiteY39" fmla="*/ 600551 h 981075"/>
                <a:gd name="connsiteX40" fmla="*/ 910114 w 1219200"/>
                <a:gd name="connsiteY40" fmla="*/ 699611 h 981075"/>
                <a:gd name="connsiteX41" fmla="*/ 805339 w 1219200"/>
                <a:gd name="connsiteY41" fmla="*/ 600551 h 981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200" h="981075">
                  <a:moveTo>
                    <a:pt x="1220629" y="482441"/>
                  </a:moveTo>
                  <a:cubicBezTo>
                    <a:pt x="1220629" y="425291"/>
                    <a:pt x="1176814" y="377666"/>
                    <a:pt x="1120616" y="371951"/>
                  </a:cubicBezTo>
                  <a:lnTo>
                    <a:pt x="1034891" y="116681"/>
                  </a:lnTo>
                  <a:cubicBezTo>
                    <a:pt x="1012984" y="50959"/>
                    <a:pt x="952024" y="7144"/>
                    <a:pt x="882491" y="7144"/>
                  </a:cubicBezTo>
                  <a:lnTo>
                    <a:pt x="345281" y="7144"/>
                  </a:lnTo>
                  <a:cubicBezTo>
                    <a:pt x="276701" y="7144"/>
                    <a:pt x="215741" y="50959"/>
                    <a:pt x="192881" y="116681"/>
                  </a:cubicBezTo>
                  <a:lnTo>
                    <a:pt x="107156" y="371951"/>
                  </a:lnTo>
                  <a:cubicBezTo>
                    <a:pt x="50959" y="377666"/>
                    <a:pt x="7144" y="425291"/>
                    <a:pt x="7144" y="482441"/>
                  </a:cubicBezTo>
                  <a:lnTo>
                    <a:pt x="7144" y="814864"/>
                  </a:lnTo>
                  <a:lnTo>
                    <a:pt x="150019" y="814864"/>
                  </a:lnTo>
                  <a:lnTo>
                    <a:pt x="150019" y="893921"/>
                  </a:lnTo>
                  <a:cubicBezTo>
                    <a:pt x="150019" y="940594"/>
                    <a:pt x="188119" y="979646"/>
                    <a:pt x="235744" y="979646"/>
                  </a:cubicBezTo>
                  <a:cubicBezTo>
                    <a:pt x="283369" y="979646"/>
                    <a:pt x="321469" y="940594"/>
                    <a:pt x="321469" y="893921"/>
                  </a:cubicBezTo>
                  <a:lnTo>
                    <a:pt x="321469" y="814864"/>
                  </a:lnTo>
                  <a:lnTo>
                    <a:pt x="914876" y="814864"/>
                  </a:lnTo>
                  <a:lnTo>
                    <a:pt x="914876" y="893921"/>
                  </a:lnTo>
                  <a:cubicBezTo>
                    <a:pt x="914876" y="940594"/>
                    <a:pt x="952976" y="979646"/>
                    <a:pt x="1000601" y="979646"/>
                  </a:cubicBezTo>
                  <a:cubicBezTo>
                    <a:pt x="1047274" y="979646"/>
                    <a:pt x="1086326" y="940594"/>
                    <a:pt x="1086326" y="893921"/>
                  </a:cubicBezTo>
                  <a:lnTo>
                    <a:pt x="1086326" y="814864"/>
                  </a:lnTo>
                  <a:lnTo>
                    <a:pt x="1220629" y="814864"/>
                  </a:lnTo>
                  <a:lnTo>
                    <a:pt x="1220629" y="482441"/>
                  </a:lnTo>
                  <a:close/>
                  <a:moveTo>
                    <a:pt x="301466" y="152876"/>
                  </a:moveTo>
                  <a:cubicBezTo>
                    <a:pt x="308134" y="133826"/>
                    <a:pt x="325279" y="121444"/>
                    <a:pt x="345281" y="121444"/>
                  </a:cubicBezTo>
                  <a:lnTo>
                    <a:pt x="882491" y="121444"/>
                  </a:lnTo>
                  <a:cubicBezTo>
                    <a:pt x="902494" y="121444"/>
                    <a:pt x="919639" y="133826"/>
                    <a:pt x="926306" y="152876"/>
                  </a:cubicBezTo>
                  <a:lnTo>
                    <a:pt x="999649" y="370999"/>
                  </a:lnTo>
                  <a:lnTo>
                    <a:pt x="227171" y="370999"/>
                  </a:lnTo>
                  <a:lnTo>
                    <a:pt x="301466" y="152876"/>
                  </a:lnTo>
                  <a:close/>
                  <a:moveTo>
                    <a:pt x="433864" y="600551"/>
                  </a:moveTo>
                  <a:cubicBezTo>
                    <a:pt x="431006" y="655796"/>
                    <a:pt x="385286" y="699611"/>
                    <a:pt x="329089" y="699611"/>
                  </a:cubicBezTo>
                  <a:cubicBezTo>
                    <a:pt x="272891" y="699611"/>
                    <a:pt x="228124" y="655796"/>
                    <a:pt x="224314" y="600551"/>
                  </a:cubicBezTo>
                  <a:cubicBezTo>
                    <a:pt x="224314" y="598646"/>
                    <a:pt x="224314" y="596741"/>
                    <a:pt x="224314" y="593884"/>
                  </a:cubicBezTo>
                  <a:cubicBezTo>
                    <a:pt x="224314" y="535781"/>
                    <a:pt x="270986" y="489109"/>
                    <a:pt x="329089" y="489109"/>
                  </a:cubicBezTo>
                  <a:cubicBezTo>
                    <a:pt x="387191" y="489109"/>
                    <a:pt x="433864" y="535781"/>
                    <a:pt x="433864" y="593884"/>
                  </a:cubicBezTo>
                  <a:cubicBezTo>
                    <a:pt x="433864" y="596741"/>
                    <a:pt x="433864" y="598646"/>
                    <a:pt x="433864" y="600551"/>
                  </a:cubicBezTo>
                  <a:close/>
                  <a:moveTo>
                    <a:pt x="805339" y="600551"/>
                  </a:moveTo>
                  <a:cubicBezTo>
                    <a:pt x="805339" y="598646"/>
                    <a:pt x="805339" y="596741"/>
                    <a:pt x="805339" y="593884"/>
                  </a:cubicBezTo>
                  <a:cubicBezTo>
                    <a:pt x="805339" y="535781"/>
                    <a:pt x="852011" y="489109"/>
                    <a:pt x="910114" y="489109"/>
                  </a:cubicBezTo>
                  <a:cubicBezTo>
                    <a:pt x="968216" y="489109"/>
                    <a:pt x="1014889" y="535781"/>
                    <a:pt x="1014889" y="593884"/>
                  </a:cubicBezTo>
                  <a:cubicBezTo>
                    <a:pt x="1014889" y="595789"/>
                    <a:pt x="1014889" y="597694"/>
                    <a:pt x="1014889" y="600551"/>
                  </a:cubicBezTo>
                  <a:cubicBezTo>
                    <a:pt x="1012031" y="655796"/>
                    <a:pt x="966311" y="699611"/>
                    <a:pt x="910114" y="699611"/>
                  </a:cubicBezTo>
                  <a:cubicBezTo>
                    <a:pt x="853916" y="699611"/>
                    <a:pt x="809149" y="655796"/>
                    <a:pt x="805339" y="600551"/>
                  </a:cubicBezTo>
                  <a:close/>
                </a:path>
              </a:pathLst>
            </a:custGeom>
            <a:solidFill>
              <a:schemeClr val="tx2"/>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cxnSp>
        <p:nvCxnSpPr>
          <p:cNvPr id="77" name="Straight Connector 76">
            <a:extLst>
              <a:ext uri="{FF2B5EF4-FFF2-40B4-BE49-F238E27FC236}">
                <a16:creationId xmlns:a16="http://schemas.microsoft.com/office/drawing/2014/main" id="{32A91D3F-9E11-4128-A957-AC93B2743E07}"/>
              </a:ext>
            </a:extLst>
          </p:cNvPr>
          <p:cNvCxnSpPr>
            <a:cxnSpLocks/>
          </p:cNvCxnSpPr>
          <p:nvPr/>
        </p:nvCxnSpPr>
        <p:spPr>
          <a:xfrm flipH="1" flipV="1">
            <a:off x="2836809" y="1531128"/>
            <a:ext cx="1708893" cy="1036481"/>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E5393AC7-A142-466A-AF5F-EE8E11D830AA}"/>
              </a:ext>
            </a:extLst>
          </p:cNvPr>
          <p:cNvSpPr txBox="1"/>
          <p:nvPr/>
        </p:nvSpPr>
        <p:spPr>
          <a:xfrm>
            <a:off x="1099790" y="1345734"/>
            <a:ext cx="1366690" cy="400110"/>
          </a:xfrm>
          <a:prstGeom prst="rect">
            <a:avLst/>
          </a:prstGeom>
          <a:noFill/>
        </p:spPr>
        <p:txBody>
          <a:bodyPr wrap="square" lIns="91440" tIns="91440" rIns="91440" bIns="91440" rtlCol="0" anchor="ctr">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EB"/>
                </a:solidFill>
                <a:effectLst/>
                <a:uLnTx/>
                <a:uFillTx/>
                <a:latin typeface="CiscoSansTT ExtraLight"/>
                <a:ea typeface="ＭＳ Ｐゴシック" charset="0"/>
                <a:cs typeface="+mn-cs"/>
              </a:rPr>
              <a:t>Enterprise DC</a:t>
            </a:r>
          </a:p>
        </p:txBody>
      </p:sp>
      <p:sp>
        <p:nvSpPr>
          <p:cNvPr id="80" name="Rectangle 79">
            <a:extLst>
              <a:ext uri="{FF2B5EF4-FFF2-40B4-BE49-F238E27FC236}">
                <a16:creationId xmlns:a16="http://schemas.microsoft.com/office/drawing/2014/main" id="{544FBEC3-1703-4C46-94D2-BED21C19C3E2}"/>
              </a:ext>
            </a:extLst>
          </p:cNvPr>
          <p:cNvSpPr/>
          <p:nvPr/>
        </p:nvSpPr>
        <p:spPr>
          <a:xfrm>
            <a:off x="716360" y="1585604"/>
            <a:ext cx="1750120" cy="523220"/>
          </a:xfrm>
          <a:prstGeom prst="rect">
            <a:avLst/>
          </a:prstGeom>
        </p:spPr>
        <p:txBody>
          <a:bodyPr wrap="square" lIns="91440" tIns="91440" rIns="91440" bIns="9144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5073"/>
                </a:solidFill>
                <a:effectLst/>
                <a:uLnTx/>
                <a:uFillTx/>
                <a:latin typeface="CiscoSansTT ExtraLight"/>
                <a:ea typeface="ＭＳ Ｐゴシック" charset="0"/>
                <a:cs typeface="+mn-cs"/>
              </a:rPr>
              <a:t>This is where we began, and it’s here to stay</a:t>
            </a:r>
          </a:p>
        </p:txBody>
      </p:sp>
      <p:sp>
        <p:nvSpPr>
          <p:cNvPr id="82" name="Oval 81">
            <a:extLst>
              <a:ext uri="{FF2B5EF4-FFF2-40B4-BE49-F238E27FC236}">
                <a16:creationId xmlns:a16="http://schemas.microsoft.com/office/drawing/2014/main" id="{A834ED0B-EFB0-45BF-8619-8EB8E2D6B9B7}"/>
              </a:ext>
            </a:extLst>
          </p:cNvPr>
          <p:cNvSpPr/>
          <p:nvPr/>
        </p:nvSpPr>
        <p:spPr>
          <a:xfrm>
            <a:off x="2518067" y="1177046"/>
            <a:ext cx="727424" cy="727422"/>
          </a:xfrm>
          <a:prstGeom prst="ellipse">
            <a:avLst/>
          </a:prstGeom>
          <a:solidFill>
            <a:schemeClr val="bg2"/>
          </a:solidFill>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nvGrpSpPr>
          <p:cNvPr id="83" name="Group 82">
            <a:extLst>
              <a:ext uri="{FF2B5EF4-FFF2-40B4-BE49-F238E27FC236}">
                <a16:creationId xmlns:a16="http://schemas.microsoft.com/office/drawing/2014/main" id="{795EBF12-E484-44F5-B748-A4361148DD68}"/>
              </a:ext>
            </a:extLst>
          </p:cNvPr>
          <p:cNvGrpSpPr/>
          <p:nvPr/>
        </p:nvGrpSpPr>
        <p:grpSpPr>
          <a:xfrm>
            <a:off x="2582084" y="1243597"/>
            <a:ext cx="590214" cy="590214"/>
            <a:chOff x="1547664" y="1885950"/>
            <a:chExt cx="1370525" cy="1371600"/>
          </a:xfrm>
        </p:grpSpPr>
        <p:sp>
          <p:nvSpPr>
            <p:cNvPr id="85" name="Oval 5">
              <a:extLst>
                <a:ext uri="{FF2B5EF4-FFF2-40B4-BE49-F238E27FC236}">
                  <a16:creationId xmlns:a16="http://schemas.microsoft.com/office/drawing/2014/main" id="{19C3FADE-1996-4160-A2C0-2F75CC0A68D3}"/>
                </a:ext>
              </a:extLst>
            </p:cNvPr>
            <p:cNvSpPr>
              <a:spLocks noChangeArrowheads="1"/>
            </p:cNvSpPr>
            <p:nvPr/>
          </p:nvSpPr>
          <p:spPr bwMode="auto">
            <a:xfrm>
              <a:off x="1547664" y="1885950"/>
              <a:ext cx="1370525" cy="1371600"/>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87" name="Freeform 6">
              <a:extLst>
                <a:ext uri="{FF2B5EF4-FFF2-40B4-BE49-F238E27FC236}">
                  <a16:creationId xmlns:a16="http://schemas.microsoft.com/office/drawing/2014/main" id="{B6DF9854-9B36-4FA9-B413-F00C493398A8}"/>
                </a:ext>
              </a:extLst>
            </p:cNvPr>
            <p:cNvSpPr>
              <a:spLocks/>
            </p:cNvSpPr>
            <p:nvPr/>
          </p:nvSpPr>
          <p:spPr bwMode="auto">
            <a:xfrm>
              <a:off x="1669417" y="2233429"/>
              <a:ext cx="1247695" cy="1024121"/>
            </a:xfrm>
            <a:custGeom>
              <a:avLst/>
              <a:gdLst>
                <a:gd name="T0" fmla="*/ 977 w 1311"/>
                <a:gd name="T1" fmla="*/ 49 h 1075"/>
                <a:gd name="T2" fmla="*/ 882 w 1311"/>
                <a:gd name="T3" fmla="*/ 0 h 1075"/>
                <a:gd name="T4" fmla="*/ 728 w 1311"/>
                <a:gd name="T5" fmla="*/ 0 h 1075"/>
                <a:gd name="T6" fmla="*/ 600 w 1311"/>
                <a:gd name="T7" fmla="*/ 128 h 1075"/>
                <a:gd name="T8" fmla="*/ 607 w 1311"/>
                <a:gd name="T9" fmla="*/ 169 h 1075"/>
                <a:gd name="T10" fmla="*/ 393 w 1311"/>
                <a:gd name="T11" fmla="*/ 169 h 1075"/>
                <a:gd name="T12" fmla="*/ 265 w 1311"/>
                <a:gd name="T13" fmla="*/ 297 h 1075"/>
                <a:gd name="T14" fmla="*/ 271 w 1311"/>
                <a:gd name="T15" fmla="*/ 337 h 1075"/>
                <a:gd name="T16" fmla="*/ 128 w 1311"/>
                <a:gd name="T17" fmla="*/ 337 h 1075"/>
                <a:gd name="T18" fmla="*/ 0 w 1311"/>
                <a:gd name="T19" fmla="*/ 465 h 1075"/>
                <a:gd name="T20" fmla="*/ 36 w 1311"/>
                <a:gd name="T21" fmla="*/ 554 h 1075"/>
                <a:gd name="T22" fmla="*/ 556 w 1311"/>
                <a:gd name="T23" fmla="*/ 1074 h 1075"/>
                <a:gd name="T24" fmla="*/ 592 w 1311"/>
                <a:gd name="T25" fmla="*/ 1075 h 1075"/>
                <a:gd name="T26" fmla="*/ 1311 w 1311"/>
                <a:gd name="T27" fmla="*/ 384 h 1075"/>
                <a:gd name="T28" fmla="*/ 977 w 1311"/>
                <a:gd name="T29" fmla="*/ 49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11" h="1075">
                  <a:moveTo>
                    <a:pt x="977" y="49"/>
                  </a:moveTo>
                  <a:cubicBezTo>
                    <a:pt x="954" y="21"/>
                    <a:pt x="920" y="2"/>
                    <a:pt x="882" y="0"/>
                  </a:cubicBezTo>
                  <a:cubicBezTo>
                    <a:pt x="882" y="0"/>
                    <a:pt x="728" y="0"/>
                    <a:pt x="728" y="0"/>
                  </a:cubicBezTo>
                  <a:cubicBezTo>
                    <a:pt x="657" y="0"/>
                    <a:pt x="600" y="57"/>
                    <a:pt x="600" y="128"/>
                  </a:cubicBezTo>
                  <a:cubicBezTo>
                    <a:pt x="600" y="142"/>
                    <a:pt x="602" y="156"/>
                    <a:pt x="607" y="169"/>
                  </a:cubicBezTo>
                  <a:cubicBezTo>
                    <a:pt x="393" y="169"/>
                    <a:pt x="393" y="169"/>
                    <a:pt x="393" y="169"/>
                  </a:cubicBezTo>
                  <a:cubicBezTo>
                    <a:pt x="322" y="169"/>
                    <a:pt x="265" y="226"/>
                    <a:pt x="265" y="297"/>
                  </a:cubicBezTo>
                  <a:cubicBezTo>
                    <a:pt x="265" y="311"/>
                    <a:pt x="267" y="324"/>
                    <a:pt x="271" y="337"/>
                  </a:cubicBezTo>
                  <a:cubicBezTo>
                    <a:pt x="128" y="337"/>
                    <a:pt x="128" y="337"/>
                    <a:pt x="128" y="337"/>
                  </a:cubicBezTo>
                  <a:cubicBezTo>
                    <a:pt x="57" y="337"/>
                    <a:pt x="0" y="394"/>
                    <a:pt x="0" y="465"/>
                  </a:cubicBezTo>
                  <a:cubicBezTo>
                    <a:pt x="0" y="499"/>
                    <a:pt x="14" y="531"/>
                    <a:pt x="36" y="554"/>
                  </a:cubicBezTo>
                  <a:cubicBezTo>
                    <a:pt x="556" y="1074"/>
                    <a:pt x="556" y="1074"/>
                    <a:pt x="556" y="1074"/>
                  </a:cubicBezTo>
                  <a:cubicBezTo>
                    <a:pt x="568" y="1075"/>
                    <a:pt x="580" y="1075"/>
                    <a:pt x="592" y="1075"/>
                  </a:cubicBezTo>
                  <a:cubicBezTo>
                    <a:pt x="980" y="1075"/>
                    <a:pt x="1296" y="768"/>
                    <a:pt x="1311" y="384"/>
                  </a:cubicBezTo>
                  <a:lnTo>
                    <a:pt x="977" y="49"/>
                  </a:lnTo>
                  <a:close/>
                </a:path>
              </a:pathLst>
            </a:custGeom>
            <a:solidFill>
              <a:srgbClr val="00A3E1"/>
            </a:solidFill>
            <a:ln>
              <a:noFill/>
            </a:ln>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88" name="Freeform 7">
              <a:extLst>
                <a:ext uri="{FF2B5EF4-FFF2-40B4-BE49-F238E27FC236}">
                  <a16:creationId xmlns:a16="http://schemas.microsoft.com/office/drawing/2014/main" id="{AE768BA0-559A-44FD-B079-255FB83776CD}"/>
                </a:ext>
              </a:extLst>
            </p:cNvPr>
            <p:cNvSpPr>
              <a:spLocks/>
            </p:cNvSpPr>
            <p:nvPr/>
          </p:nvSpPr>
          <p:spPr bwMode="auto">
            <a:xfrm>
              <a:off x="1669417" y="2233429"/>
              <a:ext cx="1142104" cy="565125"/>
            </a:xfrm>
            <a:custGeom>
              <a:avLst/>
              <a:gdLst>
                <a:gd name="T0" fmla="*/ 1105 w 1200"/>
                <a:gd name="T1" fmla="*/ 342 h 593"/>
                <a:gd name="T2" fmla="*/ 1114 w 1200"/>
                <a:gd name="T3" fmla="*/ 297 h 593"/>
                <a:gd name="T4" fmla="*/ 997 w 1200"/>
                <a:gd name="T5" fmla="*/ 170 h 593"/>
                <a:gd name="T6" fmla="*/ 1004 w 1200"/>
                <a:gd name="T7" fmla="*/ 128 h 593"/>
                <a:gd name="T8" fmla="*/ 882 w 1200"/>
                <a:gd name="T9" fmla="*/ 0 h 593"/>
                <a:gd name="T10" fmla="*/ 728 w 1200"/>
                <a:gd name="T11" fmla="*/ 0 h 593"/>
                <a:gd name="T12" fmla="*/ 600 w 1200"/>
                <a:gd name="T13" fmla="*/ 128 h 593"/>
                <a:gd name="T14" fmla="*/ 607 w 1200"/>
                <a:gd name="T15" fmla="*/ 169 h 593"/>
                <a:gd name="T16" fmla="*/ 393 w 1200"/>
                <a:gd name="T17" fmla="*/ 169 h 593"/>
                <a:gd name="T18" fmla="*/ 265 w 1200"/>
                <a:gd name="T19" fmla="*/ 297 h 593"/>
                <a:gd name="T20" fmla="*/ 271 w 1200"/>
                <a:gd name="T21" fmla="*/ 337 h 593"/>
                <a:gd name="T22" fmla="*/ 128 w 1200"/>
                <a:gd name="T23" fmla="*/ 337 h 593"/>
                <a:gd name="T24" fmla="*/ 0 w 1200"/>
                <a:gd name="T25" fmla="*/ 465 h 593"/>
                <a:gd name="T26" fmla="*/ 128 w 1200"/>
                <a:gd name="T27" fmla="*/ 593 h 593"/>
                <a:gd name="T28" fmla="*/ 1072 w 1200"/>
                <a:gd name="T29" fmla="*/ 593 h 593"/>
                <a:gd name="T30" fmla="*/ 1200 w 1200"/>
                <a:gd name="T31" fmla="*/ 465 h 593"/>
                <a:gd name="T32" fmla="*/ 1105 w 1200"/>
                <a:gd name="T33" fmla="*/ 3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0" h="593">
                  <a:moveTo>
                    <a:pt x="1105" y="342"/>
                  </a:moveTo>
                  <a:cubicBezTo>
                    <a:pt x="1111" y="328"/>
                    <a:pt x="1114" y="313"/>
                    <a:pt x="1114" y="297"/>
                  </a:cubicBezTo>
                  <a:cubicBezTo>
                    <a:pt x="1114" y="230"/>
                    <a:pt x="1062" y="175"/>
                    <a:pt x="997" y="170"/>
                  </a:cubicBezTo>
                  <a:cubicBezTo>
                    <a:pt x="1002" y="157"/>
                    <a:pt x="1004" y="143"/>
                    <a:pt x="1004" y="128"/>
                  </a:cubicBezTo>
                  <a:cubicBezTo>
                    <a:pt x="1004" y="59"/>
                    <a:pt x="950" y="3"/>
                    <a:pt x="882" y="0"/>
                  </a:cubicBezTo>
                  <a:cubicBezTo>
                    <a:pt x="882" y="0"/>
                    <a:pt x="728" y="0"/>
                    <a:pt x="728" y="0"/>
                  </a:cubicBezTo>
                  <a:cubicBezTo>
                    <a:pt x="657" y="0"/>
                    <a:pt x="600" y="57"/>
                    <a:pt x="600" y="128"/>
                  </a:cubicBezTo>
                  <a:cubicBezTo>
                    <a:pt x="600" y="142"/>
                    <a:pt x="602" y="156"/>
                    <a:pt x="607" y="169"/>
                  </a:cubicBezTo>
                  <a:cubicBezTo>
                    <a:pt x="393" y="169"/>
                    <a:pt x="393" y="169"/>
                    <a:pt x="393" y="169"/>
                  </a:cubicBezTo>
                  <a:cubicBezTo>
                    <a:pt x="322" y="169"/>
                    <a:pt x="265" y="226"/>
                    <a:pt x="265" y="297"/>
                  </a:cubicBezTo>
                  <a:cubicBezTo>
                    <a:pt x="265" y="311"/>
                    <a:pt x="267" y="324"/>
                    <a:pt x="271" y="337"/>
                  </a:cubicBezTo>
                  <a:cubicBezTo>
                    <a:pt x="128" y="337"/>
                    <a:pt x="128" y="337"/>
                    <a:pt x="128" y="337"/>
                  </a:cubicBezTo>
                  <a:cubicBezTo>
                    <a:pt x="57" y="337"/>
                    <a:pt x="0" y="394"/>
                    <a:pt x="0" y="465"/>
                  </a:cubicBezTo>
                  <a:cubicBezTo>
                    <a:pt x="0" y="536"/>
                    <a:pt x="57" y="593"/>
                    <a:pt x="128" y="593"/>
                  </a:cubicBezTo>
                  <a:cubicBezTo>
                    <a:pt x="1072" y="593"/>
                    <a:pt x="1072" y="593"/>
                    <a:pt x="1072" y="593"/>
                  </a:cubicBezTo>
                  <a:cubicBezTo>
                    <a:pt x="1143" y="593"/>
                    <a:pt x="1200" y="536"/>
                    <a:pt x="1200" y="465"/>
                  </a:cubicBezTo>
                  <a:cubicBezTo>
                    <a:pt x="1200" y="406"/>
                    <a:pt x="1160" y="356"/>
                    <a:pt x="1105" y="3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nvGrpSpPr>
            <p:cNvPr id="90" name="Group 89">
              <a:extLst>
                <a:ext uri="{FF2B5EF4-FFF2-40B4-BE49-F238E27FC236}">
                  <a16:creationId xmlns:a16="http://schemas.microsoft.com/office/drawing/2014/main" id="{0CA91F32-EB2A-4711-A3F4-CDB7E9FDCC2D}"/>
                </a:ext>
              </a:extLst>
            </p:cNvPr>
            <p:cNvGrpSpPr/>
            <p:nvPr/>
          </p:nvGrpSpPr>
          <p:grpSpPr>
            <a:xfrm>
              <a:off x="1735141" y="2591683"/>
              <a:ext cx="1011732" cy="175086"/>
              <a:chOff x="1735141" y="2591683"/>
              <a:chExt cx="1011732" cy="175086"/>
            </a:xfrm>
            <a:solidFill>
              <a:schemeClr val="tx2"/>
            </a:solidFill>
          </p:grpSpPr>
          <p:sp>
            <p:nvSpPr>
              <p:cNvPr id="92" name="Freeform 8">
                <a:extLst>
                  <a:ext uri="{FF2B5EF4-FFF2-40B4-BE49-F238E27FC236}">
                    <a16:creationId xmlns:a16="http://schemas.microsoft.com/office/drawing/2014/main" id="{C6425FBB-4569-45B9-AE7F-6E9D2E7686FD}"/>
                  </a:ext>
                </a:extLst>
              </p:cNvPr>
              <p:cNvSpPr>
                <a:spLocks/>
              </p:cNvSpPr>
              <p:nvPr/>
            </p:nvSpPr>
            <p:spPr bwMode="auto">
              <a:xfrm>
                <a:off x="1916693" y="2591683"/>
                <a:ext cx="141147" cy="173470"/>
              </a:xfrm>
              <a:custGeom>
                <a:avLst/>
                <a:gdLst>
                  <a:gd name="T0" fmla="*/ 130 w 148"/>
                  <a:gd name="T1" fmla="*/ 182 h 182"/>
                  <a:gd name="T2" fmla="*/ 116 w 148"/>
                  <a:gd name="T3" fmla="*/ 175 h 182"/>
                  <a:gd name="T4" fmla="*/ 37 w 148"/>
                  <a:gd name="T5" fmla="*/ 74 h 182"/>
                  <a:gd name="T6" fmla="*/ 37 w 148"/>
                  <a:gd name="T7" fmla="*/ 164 h 182"/>
                  <a:gd name="T8" fmla="*/ 19 w 148"/>
                  <a:gd name="T9" fmla="*/ 182 h 182"/>
                  <a:gd name="T10" fmla="*/ 0 w 148"/>
                  <a:gd name="T11" fmla="*/ 164 h 182"/>
                  <a:gd name="T12" fmla="*/ 0 w 148"/>
                  <a:gd name="T13" fmla="*/ 20 h 182"/>
                  <a:gd name="T14" fmla="*/ 13 w 148"/>
                  <a:gd name="T15" fmla="*/ 3 h 182"/>
                  <a:gd name="T16" fmla="*/ 33 w 148"/>
                  <a:gd name="T17" fmla="*/ 9 h 182"/>
                  <a:gd name="T18" fmla="*/ 112 w 148"/>
                  <a:gd name="T19" fmla="*/ 110 h 182"/>
                  <a:gd name="T20" fmla="*/ 112 w 148"/>
                  <a:gd name="T21" fmla="*/ 20 h 182"/>
                  <a:gd name="T22" fmla="*/ 130 w 148"/>
                  <a:gd name="T23" fmla="*/ 2 h 182"/>
                  <a:gd name="T24" fmla="*/ 148 w 148"/>
                  <a:gd name="T25" fmla="*/ 20 h 182"/>
                  <a:gd name="T26" fmla="*/ 148 w 148"/>
                  <a:gd name="T27" fmla="*/ 164 h 182"/>
                  <a:gd name="T28" fmla="*/ 136 w 148"/>
                  <a:gd name="T29" fmla="*/ 182 h 182"/>
                  <a:gd name="T30" fmla="*/ 130 w 148"/>
                  <a:gd name="T31"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8" h="182">
                    <a:moveTo>
                      <a:pt x="130" y="182"/>
                    </a:moveTo>
                    <a:cubicBezTo>
                      <a:pt x="125" y="182"/>
                      <a:pt x="119" y="180"/>
                      <a:pt x="116" y="175"/>
                    </a:cubicBezTo>
                    <a:cubicBezTo>
                      <a:pt x="37" y="74"/>
                      <a:pt x="37" y="74"/>
                      <a:pt x="37" y="74"/>
                    </a:cubicBezTo>
                    <a:cubicBezTo>
                      <a:pt x="37" y="164"/>
                      <a:pt x="37" y="164"/>
                      <a:pt x="37" y="164"/>
                    </a:cubicBezTo>
                    <a:cubicBezTo>
                      <a:pt x="37" y="174"/>
                      <a:pt x="29" y="182"/>
                      <a:pt x="19" y="182"/>
                    </a:cubicBezTo>
                    <a:cubicBezTo>
                      <a:pt x="9" y="182"/>
                      <a:pt x="0" y="174"/>
                      <a:pt x="0" y="164"/>
                    </a:cubicBezTo>
                    <a:cubicBezTo>
                      <a:pt x="0" y="20"/>
                      <a:pt x="0" y="20"/>
                      <a:pt x="0" y="20"/>
                    </a:cubicBezTo>
                    <a:cubicBezTo>
                      <a:pt x="0" y="12"/>
                      <a:pt x="5" y="5"/>
                      <a:pt x="13" y="3"/>
                    </a:cubicBezTo>
                    <a:cubicBezTo>
                      <a:pt x="20" y="0"/>
                      <a:pt x="28" y="3"/>
                      <a:pt x="33" y="9"/>
                    </a:cubicBezTo>
                    <a:cubicBezTo>
                      <a:pt x="112" y="110"/>
                      <a:pt x="112" y="110"/>
                      <a:pt x="112" y="110"/>
                    </a:cubicBezTo>
                    <a:cubicBezTo>
                      <a:pt x="112" y="20"/>
                      <a:pt x="112" y="20"/>
                      <a:pt x="112" y="20"/>
                    </a:cubicBezTo>
                    <a:cubicBezTo>
                      <a:pt x="112" y="10"/>
                      <a:pt x="120" y="2"/>
                      <a:pt x="130" y="2"/>
                    </a:cubicBezTo>
                    <a:cubicBezTo>
                      <a:pt x="140" y="2"/>
                      <a:pt x="148" y="10"/>
                      <a:pt x="148" y="20"/>
                    </a:cubicBezTo>
                    <a:cubicBezTo>
                      <a:pt x="148" y="164"/>
                      <a:pt x="148" y="164"/>
                      <a:pt x="148" y="164"/>
                    </a:cubicBezTo>
                    <a:cubicBezTo>
                      <a:pt x="148" y="172"/>
                      <a:pt x="143" y="179"/>
                      <a:pt x="136" y="182"/>
                    </a:cubicBezTo>
                    <a:cubicBezTo>
                      <a:pt x="134" y="182"/>
                      <a:pt x="132" y="182"/>
                      <a:pt x="130"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94" name="Freeform 9">
                <a:extLst>
                  <a:ext uri="{FF2B5EF4-FFF2-40B4-BE49-F238E27FC236}">
                    <a16:creationId xmlns:a16="http://schemas.microsoft.com/office/drawing/2014/main" id="{5C09299E-0598-4D02-A0AD-9434EA2313F3}"/>
                  </a:ext>
                </a:extLst>
              </p:cNvPr>
              <p:cNvSpPr>
                <a:spLocks noEditPoints="1"/>
              </p:cNvSpPr>
              <p:nvPr/>
            </p:nvSpPr>
            <p:spPr bwMode="auto">
              <a:xfrm>
                <a:off x="1735141" y="2591683"/>
                <a:ext cx="158925" cy="173470"/>
              </a:xfrm>
              <a:custGeom>
                <a:avLst/>
                <a:gdLst>
                  <a:gd name="T0" fmla="*/ 84 w 167"/>
                  <a:gd name="T1" fmla="*/ 182 h 182"/>
                  <a:gd name="T2" fmla="*/ 0 w 167"/>
                  <a:gd name="T3" fmla="*/ 91 h 182"/>
                  <a:gd name="T4" fmla="*/ 84 w 167"/>
                  <a:gd name="T5" fmla="*/ 0 h 182"/>
                  <a:gd name="T6" fmla="*/ 167 w 167"/>
                  <a:gd name="T7" fmla="*/ 91 h 182"/>
                  <a:gd name="T8" fmla="*/ 84 w 167"/>
                  <a:gd name="T9" fmla="*/ 182 h 182"/>
                  <a:gd name="T10" fmla="*/ 84 w 167"/>
                  <a:gd name="T11" fmla="*/ 37 h 182"/>
                  <a:gd name="T12" fmla="*/ 37 w 167"/>
                  <a:gd name="T13" fmla="*/ 91 h 182"/>
                  <a:gd name="T14" fmla="*/ 84 w 167"/>
                  <a:gd name="T15" fmla="*/ 146 h 182"/>
                  <a:gd name="T16" fmla="*/ 131 w 167"/>
                  <a:gd name="T17" fmla="*/ 91 h 182"/>
                  <a:gd name="T18" fmla="*/ 84 w 167"/>
                  <a:gd name="T19" fmla="*/ 3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82">
                    <a:moveTo>
                      <a:pt x="84" y="182"/>
                    </a:moveTo>
                    <a:cubicBezTo>
                      <a:pt x="38" y="182"/>
                      <a:pt x="0" y="142"/>
                      <a:pt x="0" y="91"/>
                    </a:cubicBezTo>
                    <a:cubicBezTo>
                      <a:pt x="0" y="41"/>
                      <a:pt x="38" y="0"/>
                      <a:pt x="84" y="0"/>
                    </a:cubicBezTo>
                    <a:cubicBezTo>
                      <a:pt x="130" y="0"/>
                      <a:pt x="167" y="41"/>
                      <a:pt x="167" y="91"/>
                    </a:cubicBezTo>
                    <a:cubicBezTo>
                      <a:pt x="167" y="142"/>
                      <a:pt x="130" y="182"/>
                      <a:pt x="84" y="182"/>
                    </a:cubicBezTo>
                    <a:close/>
                    <a:moveTo>
                      <a:pt x="84" y="37"/>
                    </a:moveTo>
                    <a:cubicBezTo>
                      <a:pt x="58" y="37"/>
                      <a:pt x="37" y="61"/>
                      <a:pt x="37" y="91"/>
                    </a:cubicBezTo>
                    <a:cubicBezTo>
                      <a:pt x="37" y="121"/>
                      <a:pt x="58" y="146"/>
                      <a:pt x="84" y="146"/>
                    </a:cubicBezTo>
                    <a:cubicBezTo>
                      <a:pt x="110" y="146"/>
                      <a:pt x="131" y="121"/>
                      <a:pt x="131" y="91"/>
                    </a:cubicBezTo>
                    <a:cubicBezTo>
                      <a:pt x="131" y="61"/>
                      <a:pt x="110" y="37"/>
                      <a:pt x="8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96" name="Freeform 10">
                <a:extLst>
                  <a:ext uri="{FF2B5EF4-FFF2-40B4-BE49-F238E27FC236}">
                    <a16:creationId xmlns:a16="http://schemas.microsoft.com/office/drawing/2014/main" id="{B74BBB72-588D-48A9-9335-937A4AD8320C}"/>
                  </a:ext>
                </a:extLst>
              </p:cNvPr>
              <p:cNvSpPr>
                <a:spLocks noEditPoints="1"/>
              </p:cNvSpPr>
              <p:nvPr/>
            </p:nvSpPr>
            <p:spPr bwMode="auto">
              <a:xfrm>
                <a:off x="2203296" y="2593299"/>
                <a:ext cx="107746" cy="171854"/>
              </a:xfrm>
              <a:custGeom>
                <a:avLst/>
                <a:gdLst>
                  <a:gd name="T0" fmla="*/ 59 w 113"/>
                  <a:gd name="T1" fmla="*/ 0 h 180"/>
                  <a:gd name="T2" fmla="*/ 18 w 113"/>
                  <a:gd name="T3" fmla="*/ 0 h 180"/>
                  <a:gd name="T4" fmla="*/ 0 w 113"/>
                  <a:gd name="T5" fmla="*/ 18 h 180"/>
                  <a:gd name="T6" fmla="*/ 0 w 113"/>
                  <a:gd name="T7" fmla="*/ 162 h 180"/>
                  <a:gd name="T8" fmla="*/ 18 w 113"/>
                  <a:gd name="T9" fmla="*/ 180 h 180"/>
                  <a:gd name="T10" fmla="*/ 37 w 113"/>
                  <a:gd name="T11" fmla="*/ 162 h 180"/>
                  <a:gd name="T12" fmla="*/ 37 w 113"/>
                  <a:gd name="T13" fmla="*/ 113 h 180"/>
                  <a:gd name="T14" fmla="*/ 59 w 113"/>
                  <a:gd name="T15" fmla="*/ 113 h 180"/>
                  <a:gd name="T16" fmla="*/ 113 w 113"/>
                  <a:gd name="T17" fmla="*/ 56 h 180"/>
                  <a:gd name="T18" fmla="*/ 59 w 113"/>
                  <a:gd name="T19" fmla="*/ 0 h 180"/>
                  <a:gd name="T20" fmla="*/ 59 w 113"/>
                  <a:gd name="T21" fmla="*/ 76 h 180"/>
                  <a:gd name="T22" fmla="*/ 37 w 113"/>
                  <a:gd name="T23" fmla="*/ 76 h 180"/>
                  <a:gd name="T24" fmla="*/ 37 w 113"/>
                  <a:gd name="T25" fmla="*/ 36 h 180"/>
                  <a:gd name="T26" fmla="*/ 59 w 113"/>
                  <a:gd name="T27" fmla="*/ 36 h 180"/>
                  <a:gd name="T28" fmla="*/ 76 w 113"/>
                  <a:gd name="T29" fmla="*/ 56 h 180"/>
                  <a:gd name="T30" fmla="*/ 59 w 113"/>
                  <a:gd name="T31"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80">
                    <a:moveTo>
                      <a:pt x="59" y="0"/>
                    </a:moveTo>
                    <a:cubicBezTo>
                      <a:pt x="18" y="0"/>
                      <a:pt x="18" y="0"/>
                      <a:pt x="18" y="0"/>
                    </a:cubicBezTo>
                    <a:cubicBezTo>
                      <a:pt x="8" y="0"/>
                      <a:pt x="0" y="8"/>
                      <a:pt x="0" y="18"/>
                    </a:cubicBezTo>
                    <a:cubicBezTo>
                      <a:pt x="0" y="162"/>
                      <a:pt x="0" y="162"/>
                      <a:pt x="0" y="162"/>
                    </a:cubicBezTo>
                    <a:cubicBezTo>
                      <a:pt x="0" y="172"/>
                      <a:pt x="8" y="180"/>
                      <a:pt x="18" y="180"/>
                    </a:cubicBezTo>
                    <a:cubicBezTo>
                      <a:pt x="29" y="180"/>
                      <a:pt x="37" y="172"/>
                      <a:pt x="37" y="162"/>
                    </a:cubicBezTo>
                    <a:cubicBezTo>
                      <a:pt x="37" y="113"/>
                      <a:pt x="37" y="113"/>
                      <a:pt x="37" y="113"/>
                    </a:cubicBezTo>
                    <a:cubicBezTo>
                      <a:pt x="59" y="113"/>
                      <a:pt x="59" y="113"/>
                      <a:pt x="59" y="113"/>
                    </a:cubicBezTo>
                    <a:cubicBezTo>
                      <a:pt x="85" y="113"/>
                      <a:pt x="113" y="92"/>
                      <a:pt x="113" y="56"/>
                    </a:cubicBezTo>
                    <a:cubicBezTo>
                      <a:pt x="113" y="21"/>
                      <a:pt x="85" y="0"/>
                      <a:pt x="59" y="0"/>
                    </a:cubicBezTo>
                    <a:close/>
                    <a:moveTo>
                      <a:pt x="59" y="76"/>
                    </a:moveTo>
                    <a:cubicBezTo>
                      <a:pt x="37" y="76"/>
                      <a:pt x="37" y="76"/>
                      <a:pt x="37" y="76"/>
                    </a:cubicBezTo>
                    <a:cubicBezTo>
                      <a:pt x="37" y="36"/>
                      <a:pt x="37" y="36"/>
                      <a:pt x="37" y="36"/>
                    </a:cubicBezTo>
                    <a:cubicBezTo>
                      <a:pt x="59" y="36"/>
                      <a:pt x="59" y="36"/>
                      <a:pt x="59" y="36"/>
                    </a:cubicBezTo>
                    <a:cubicBezTo>
                      <a:pt x="64" y="36"/>
                      <a:pt x="76" y="40"/>
                      <a:pt x="76" y="56"/>
                    </a:cubicBezTo>
                    <a:cubicBezTo>
                      <a:pt x="76" y="72"/>
                      <a:pt x="64" y="76"/>
                      <a:pt x="5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98" name="Freeform 11">
                <a:extLst>
                  <a:ext uri="{FF2B5EF4-FFF2-40B4-BE49-F238E27FC236}">
                    <a16:creationId xmlns:a16="http://schemas.microsoft.com/office/drawing/2014/main" id="{9D75A121-164E-4813-BF51-29BE9CE7DC38}"/>
                  </a:ext>
                </a:extLst>
              </p:cNvPr>
              <p:cNvSpPr>
                <a:spLocks/>
              </p:cNvSpPr>
              <p:nvPr/>
            </p:nvSpPr>
            <p:spPr bwMode="auto">
              <a:xfrm>
                <a:off x="2465118" y="2594377"/>
                <a:ext cx="102897" cy="170777"/>
              </a:xfrm>
              <a:custGeom>
                <a:avLst/>
                <a:gdLst>
                  <a:gd name="T0" fmla="*/ 89 w 108"/>
                  <a:gd name="T1" fmla="*/ 109 h 179"/>
                  <a:gd name="T2" fmla="*/ 108 w 108"/>
                  <a:gd name="T3" fmla="*/ 90 h 179"/>
                  <a:gd name="T4" fmla="*/ 89 w 108"/>
                  <a:gd name="T5" fmla="*/ 72 h 179"/>
                  <a:gd name="T6" fmla="*/ 37 w 108"/>
                  <a:gd name="T7" fmla="*/ 72 h 179"/>
                  <a:gd name="T8" fmla="*/ 37 w 108"/>
                  <a:gd name="T9" fmla="*/ 37 h 179"/>
                  <a:gd name="T10" fmla="*/ 89 w 108"/>
                  <a:gd name="T11" fmla="*/ 37 h 179"/>
                  <a:gd name="T12" fmla="*/ 108 w 108"/>
                  <a:gd name="T13" fmla="*/ 19 h 179"/>
                  <a:gd name="T14" fmla="*/ 89 w 108"/>
                  <a:gd name="T15" fmla="*/ 0 h 179"/>
                  <a:gd name="T16" fmla="*/ 18 w 108"/>
                  <a:gd name="T17" fmla="*/ 0 h 179"/>
                  <a:gd name="T18" fmla="*/ 0 w 108"/>
                  <a:gd name="T19" fmla="*/ 19 h 179"/>
                  <a:gd name="T20" fmla="*/ 0 w 108"/>
                  <a:gd name="T21" fmla="*/ 19 h 179"/>
                  <a:gd name="T22" fmla="*/ 0 w 108"/>
                  <a:gd name="T23" fmla="*/ 20 h 179"/>
                  <a:gd name="T24" fmla="*/ 0 w 108"/>
                  <a:gd name="T25" fmla="*/ 161 h 179"/>
                  <a:gd name="T26" fmla="*/ 0 w 108"/>
                  <a:gd name="T27" fmla="*/ 161 h 179"/>
                  <a:gd name="T28" fmla="*/ 0 w 108"/>
                  <a:gd name="T29" fmla="*/ 161 h 179"/>
                  <a:gd name="T30" fmla="*/ 18 w 108"/>
                  <a:gd name="T31" fmla="*/ 179 h 179"/>
                  <a:gd name="T32" fmla="*/ 18 w 108"/>
                  <a:gd name="T33" fmla="*/ 179 h 179"/>
                  <a:gd name="T34" fmla="*/ 89 w 108"/>
                  <a:gd name="T35" fmla="*/ 179 h 179"/>
                  <a:gd name="T36" fmla="*/ 108 w 108"/>
                  <a:gd name="T37" fmla="*/ 161 h 179"/>
                  <a:gd name="T38" fmla="*/ 89 w 108"/>
                  <a:gd name="T39" fmla="*/ 143 h 179"/>
                  <a:gd name="T40" fmla="*/ 89 w 108"/>
                  <a:gd name="T41" fmla="*/ 143 h 179"/>
                  <a:gd name="T42" fmla="*/ 37 w 108"/>
                  <a:gd name="T43" fmla="*/ 143 h 179"/>
                  <a:gd name="T44" fmla="*/ 37 w 108"/>
                  <a:gd name="T45" fmla="*/ 109 h 179"/>
                  <a:gd name="T46" fmla="*/ 89 w 108"/>
                  <a:gd name="T47" fmla="*/ 10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179">
                    <a:moveTo>
                      <a:pt x="89" y="109"/>
                    </a:moveTo>
                    <a:cubicBezTo>
                      <a:pt x="100" y="109"/>
                      <a:pt x="108" y="100"/>
                      <a:pt x="108" y="90"/>
                    </a:cubicBezTo>
                    <a:cubicBezTo>
                      <a:pt x="108" y="80"/>
                      <a:pt x="100" y="72"/>
                      <a:pt x="89" y="72"/>
                    </a:cubicBezTo>
                    <a:cubicBezTo>
                      <a:pt x="37" y="72"/>
                      <a:pt x="37" y="72"/>
                      <a:pt x="37" y="72"/>
                    </a:cubicBezTo>
                    <a:cubicBezTo>
                      <a:pt x="37" y="37"/>
                      <a:pt x="37" y="37"/>
                      <a:pt x="37" y="37"/>
                    </a:cubicBezTo>
                    <a:cubicBezTo>
                      <a:pt x="89" y="37"/>
                      <a:pt x="89" y="37"/>
                      <a:pt x="89" y="37"/>
                    </a:cubicBezTo>
                    <a:cubicBezTo>
                      <a:pt x="100" y="37"/>
                      <a:pt x="108" y="29"/>
                      <a:pt x="108" y="19"/>
                    </a:cubicBezTo>
                    <a:cubicBezTo>
                      <a:pt x="108" y="9"/>
                      <a:pt x="100" y="0"/>
                      <a:pt x="89" y="0"/>
                    </a:cubicBezTo>
                    <a:cubicBezTo>
                      <a:pt x="18" y="0"/>
                      <a:pt x="18" y="0"/>
                      <a:pt x="18" y="0"/>
                    </a:cubicBezTo>
                    <a:cubicBezTo>
                      <a:pt x="8" y="0"/>
                      <a:pt x="0" y="9"/>
                      <a:pt x="0" y="19"/>
                    </a:cubicBezTo>
                    <a:cubicBezTo>
                      <a:pt x="0" y="19"/>
                      <a:pt x="0" y="19"/>
                      <a:pt x="0" y="19"/>
                    </a:cubicBezTo>
                    <a:cubicBezTo>
                      <a:pt x="0" y="19"/>
                      <a:pt x="0" y="19"/>
                      <a:pt x="0" y="20"/>
                    </a:cubicBezTo>
                    <a:cubicBezTo>
                      <a:pt x="0" y="161"/>
                      <a:pt x="0" y="161"/>
                      <a:pt x="0" y="161"/>
                    </a:cubicBezTo>
                    <a:cubicBezTo>
                      <a:pt x="0" y="161"/>
                      <a:pt x="0" y="161"/>
                      <a:pt x="0" y="161"/>
                    </a:cubicBezTo>
                    <a:cubicBezTo>
                      <a:pt x="0" y="161"/>
                      <a:pt x="0" y="161"/>
                      <a:pt x="0" y="161"/>
                    </a:cubicBezTo>
                    <a:cubicBezTo>
                      <a:pt x="0" y="171"/>
                      <a:pt x="8" y="179"/>
                      <a:pt x="18" y="179"/>
                    </a:cubicBezTo>
                    <a:cubicBezTo>
                      <a:pt x="18" y="179"/>
                      <a:pt x="18" y="179"/>
                      <a:pt x="18" y="179"/>
                    </a:cubicBezTo>
                    <a:cubicBezTo>
                      <a:pt x="89" y="179"/>
                      <a:pt x="89" y="179"/>
                      <a:pt x="89" y="179"/>
                    </a:cubicBezTo>
                    <a:cubicBezTo>
                      <a:pt x="100" y="179"/>
                      <a:pt x="108" y="171"/>
                      <a:pt x="108" y="161"/>
                    </a:cubicBezTo>
                    <a:cubicBezTo>
                      <a:pt x="108" y="151"/>
                      <a:pt x="100" y="143"/>
                      <a:pt x="89" y="143"/>
                    </a:cubicBezTo>
                    <a:cubicBezTo>
                      <a:pt x="89" y="143"/>
                      <a:pt x="89" y="143"/>
                      <a:pt x="89" y="143"/>
                    </a:cubicBezTo>
                    <a:cubicBezTo>
                      <a:pt x="37" y="143"/>
                      <a:pt x="37" y="143"/>
                      <a:pt x="37" y="143"/>
                    </a:cubicBezTo>
                    <a:cubicBezTo>
                      <a:pt x="37" y="109"/>
                      <a:pt x="37" y="109"/>
                      <a:pt x="37" y="109"/>
                    </a:cubicBezTo>
                    <a:lnTo>
                      <a:pt x="89"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0" name="Freeform 12">
                <a:extLst>
                  <a:ext uri="{FF2B5EF4-FFF2-40B4-BE49-F238E27FC236}">
                    <a16:creationId xmlns:a16="http://schemas.microsoft.com/office/drawing/2014/main" id="{F694ECC5-5B13-41C2-A799-5002367ED109}"/>
                  </a:ext>
                </a:extLst>
              </p:cNvPr>
              <p:cNvSpPr>
                <a:spLocks noEditPoints="1"/>
              </p:cNvSpPr>
              <p:nvPr/>
            </p:nvSpPr>
            <p:spPr bwMode="auto">
              <a:xfrm>
                <a:off x="2324510" y="2593299"/>
                <a:ext cx="116904" cy="171854"/>
              </a:xfrm>
              <a:custGeom>
                <a:avLst/>
                <a:gdLst>
                  <a:gd name="T0" fmla="*/ 86 w 123"/>
                  <a:gd name="T1" fmla="*/ 110 h 180"/>
                  <a:gd name="T2" fmla="*/ 122 w 123"/>
                  <a:gd name="T3" fmla="*/ 56 h 180"/>
                  <a:gd name="T4" fmla="*/ 69 w 123"/>
                  <a:gd name="T5" fmla="*/ 0 h 180"/>
                  <a:gd name="T6" fmla="*/ 18 w 123"/>
                  <a:gd name="T7" fmla="*/ 0 h 180"/>
                  <a:gd name="T8" fmla="*/ 0 w 123"/>
                  <a:gd name="T9" fmla="*/ 18 h 180"/>
                  <a:gd name="T10" fmla="*/ 0 w 123"/>
                  <a:gd name="T11" fmla="*/ 162 h 180"/>
                  <a:gd name="T12" fmla="*/ 18 w 123"/>
                  <a:gd name="T13" fmla="*/ 180 h 180"/>
                  <a:gd name="T14" fmla="*/ 37 w 123"/>
                  <a:gd name="T15" fmla="*/ 162 h 180"/>
                  <a:gd name="T16" fmla="*/ 37 w 123"/>
                  <a:gd name="T17" fmla="*/ 113 h 180"/>
                  <a:gd name="T18" fmla="*/ 42 w 123"/>
                  <a:gd name="T19" fmla="*/ 113 h 180"/>
                  <a:gd name="T20" fmla="*/ 88 w 123"/>
                  <a:gd name="T21" fmla="*/ 173 h 180"/>
                  <a:gd name="T22" fmla="*/ 102 w 123"/>
                  <a:gd name="T23" fmla="*/ 180 h 180"/>
                  <a:gd name="T24" fmla="*/ 113 w 123"/>
                  <a:gd name="T25" fmla="*/ 177 h 180"/>
                  <a:gd name="T26" fmla="*/ 117 w 123"/>
                  <a:gd name="T27" fmla="*/ 151 h 180"/>
                  <a:gd name="T28" fmla="*/ 86 w 123"/>
                  <a:gd name="T29" fmla="*/ 110 h 180"/>
                  <a:gd name="T30" fmla="*/ 85 w 123"/>
                  <a:gd name="T31" fmla="*/ 56 h 180"/>
                  <a:gd name="T32" fmla="*/ 69 w 123"/>
                  <a:gd name="T33" fmla="*/ 76 h 180"/>
                  <a:gd name="T34" fmla="*/ 37 w 123"/>
                  <a:gd name="T35" fmla="*/ 76 h 180"/>
                  <a:gd name="T36" fmla="*/ 37 w 123"/>
                  <a:gd name="T37" fmla="*/ 36 h 180"/>
                  <a:gd name="T38" fmla="*/ 69 w 123"/>
                  <a:gd name="T39" fmla="*/ 36 h 180"/>
                  <a:gd name="T40" fmla="*/ 85 w 123"/>
                  <a:gd name="T41" fmla="*/ 5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 h="180">
                    <a:moveTo>
                      <a:pt x="86" y="110"/>
                    </a:moveTo>
                    <a:cubicBezTo>
                      <a:pt x="105" y="102"/>
                      <a:pt x="122" y="84"/>
                      <a:pt x="122" y="56"/>
                    </a:cubicBezTo>
                    <a:cubicBezTo>
                      <a:pt x="122" y="21"/>
                      <a:pt x="95" y="0"/>
                      <a:pt x="69" y="0"/>
                    </a:cubicBezTo>
                    <a:cubicBezTo>
                      <a:pt x="18" y="0"/>
                      <a:pt x="18" y="0"/>
                      <a:pt x="18" y="0"/>
                    </a:cubicBezTo>
                    <a:cubicBezTo>
                      <a:pt x="8" y="0"/>
                      <a:pt x="0" y="8"/>
                      <a:pt x="0" y="18"/>
                    </a:cubicBezTo>
                    <a:cubicBezTo>
                      <a:pt x="0" y="162"/>
                      <a:pt x="0" y="162"/>
                      <a:pt x="0" y="162"/>
                    </a:cubicBezTo>
                    <a:cubicBezTo>
                      <a:pt x="0" y="172"/>
                      <a:pt x="8" y="180"/>
                      <a:pt x="18" y="180"/>
                    </a:cubicBezTo>
                    <a:cubicBezTo>
                      <a:pt x="29" y="180"/>
                      <a:pt x="37" y="172"/>
                      <a:pt x="37" y="162"/>
                    </a:cubicBezTo>
                    <a:cubicBezTo>
                      <a:pt x="37" y="113"/>
                      <a:pt x="37" y="113"/>
                      <a:pt x="37" y="113"/>
                    </a:cubicBezTo>
                    <a:cubicBezTo>
                      <a:pt x="42" y="113"/>
                      <a:pt x="42" y="113"/>
                      <a:pt x="42" y="113"/>
                    </a:cubicBezTo>
                    <a:cubicBezTo>
                      <a:pt x="88" y="173"/>
                      <a:pt x="88" y="173"/>
                      <a:pt x="88" y="173"/>
                    </a:cubicBezTo>
                    <a:cubicBezTo>
                      <a:pt x="91" y="178"/>
                      <a:pt x="97" y="180"/>
                      <a:pt x="102" y="180"/>
                    </a:cubicBezTo>
                    <a:cubicBezTo>
                      <a:pt x="106" y="180"/>
                      <a:pt x="110" y="179"/>
                      <a:pt x="113" y="177"/>
                    </a:cubicBezTo>
                    <a:cubicBezTo>
                      <a:pt x="121" y="171"/>
                      <a:pt x="123" y="159"/>
                      <a:pt x="117" y="151"/>
                    </a:cubicBezTo>
                    <a:lnTo>
                      <a:pt x="86" y="110"/>
                    </a:lnTo>
                    <a:close/>
                    <a:moveTo>
                      <a:pt x="85" y="56"/>
                    </a:moveTo>
                    <a:cubicBezTo>
                      <a:pt x="85" y="72"/>
                      <a:pt x="73" y="76"/>
                      <a:pt x="69" y="76"/>
                    </a:cubicBezTo>
                    <a:cubicBezTo>
                      <a:pt x="37" y="76"/>
                      <a:pt x="37" y="76"/>
                      <a:pt x="37" y="76"/>
                    </a:cubicBezTo>
                    <a:cubicBezTo>
                      <a:pt x="37" y="36"/>
                      <a:pt x="37" y="36"/>
                      <a:pt x="37" y="36"/>
                    </a:cubicBezTo>
                    <a:cubicBezTo>
                      <a:pt x="69" y="36"/>
                      <a:pt x="69" y="36"/>
                      <a:pt x="69" y="36"/>
                    </a:cubicBezTo>
                    <a:cubicBezTo>
                      <a:pt x="73" y="36"/>
                      <a:pt x="85" y="40"/>
                      <a:pt x="8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2" name="Freeform 13">
                <a:extLst>
                  <a:ext uri="{FF2B5EF4-FFF2-40B4-BE49-F238E27FC236}">
                    <a16:creationId xmlns:a16="http://schemas.microsoft.com/office/drawing/2014/main" id="{BCAA0488-58BE-4AD3-BB24-8AA7E4127396}"/>
                  </a:ext>
                </a:extLst>
              </p:cNvPr>
              <p:cNvSpPr>
                <a:spLocks/>
              </p:cNvSpPr>
              <p:nvPr/>
            </p:nvSpPr>
            <p:spPr bwMode="auto">
              <a:xfrm>
                <a:off x="2071308" y="2663334"/>
                <a:ext cx="116904" cy="33940"/>
              </a:xfrm>
              <a:custGeom>
                <a:avLst/>
                <a:gdLst>
                  <a:gd name="T0" fmla="*/ 0 w 123"/>
                  <a:gd name="T1" fmla="*/ 18 h 36"/>
                  <a:gd name="T2" fmla="*/ 18 w 123"/>
                  <a:gd name="T3" fmla="*/ 0 h 36"/>
                  <a:gd name="T4" fmla="*/ 104 w 123"/>
                  <a:gd name="T5" fmla="*/ 0 h 36"/>
                  <a:gd name="T6" fmla="*/ 123 w 123"/>
                  <a:gd name="T7" fmla="*/ 18 h 36"/>
                  <a:gd name="T8" fmla="*/ 104 w 123"/>
                  <a:gd name="T9" fmla="*/ 36 h 36"/>
                  <a:gd name="T10" fmla="*/ 18 w 123"/>
                  <a:gd name="T11" fmla="*/ 36 h 36"/>
                  <a:gd name="T12" fmla="*/ 0 w 123"/>
                  <a:gd name="T13" fmla="*/ 18 h 36"/>
                </a:gdLst>
                <a:ahLst/>
                <a:cxnLst>
                  <a:cxn ang="0">
                    <a:pos x="T0" y="T1"/>
                  </a:cxn>
                  <a:cxn ang="0">
                    <a:pos x="T2" y="T3"/>
                  </a:cxn>
                  <a:cxn ang="0">
                    <a:pos x="T4" y="T5"/>
                  </a:cxn>
                  <a:cxn ang="0">
                    <a:pos x="T6" y="T7"/>
                  </a:cxn>
                  <a:cxn ang="0">
                    <a:pos x="T8" y="T9"/>
                  </a:cxn>
                  <a:cxn ang="0">
                    <a:pos x="T10" y="T11"/>
                  </a:cxn>
                  <a:cxn ang="0">
                    <a:pos x="T12" y="T13"/>
                  </a:cxn>
                </a:cxnLst>
                <a:rect l="0" t="0" r="r" b="b"/>
                <a:pathLst>
                  <a:path w="123" h="36">
                    <a:moveTo>
                      <a:pt x="0" y="18"/>
                    </a:moveTo>
                    <a:cubicBezTo>
                      <a:pt x="0" y="8"/>
                      <a:pt x="8" y="0"/>
                      <a:pt x="18" y="0"/>
                    </a:cubicBezTo>
                    <a:cubicBezTo>
                      <a:pt x="104" y="0"/>
                      <a:pt x="104" y="0"/>
                      <a:pt x="104" y="0"/>
                    </a:cubicBezTo>
                    <a:cubicBezTo>
                      <a:pt x="115" y="0"/>
                      <a:pt x="123" y="8"/>
                      <a:pt x="123" y="18"/>
                    </a:cubicBezTo>
                    <a:cubicBezTo>
                      <a:pt x="123" y="28"/>
                      <a:pt x="115" y="36"/>
                      <a:pt x="104" y="36"/>
                    </a:cubicBezTo>
                    <a:cubicBezTo>
                      <a:pt x="18" y="36"/>
                      <a:pt x="18" y="36"/>
                      <a:pt x="18" y="36"/>
                    </a:cubicBezTo>
                    <a:cubicBezTo>
                      <a:pt x="8" y="36"/>
                      <a:pt x="0" y="28"/>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3" name="Freeform 14">
                <a:extLst>
                  <a:ext uri="{FF2B5EF4-FFF2-40B4-BE49-F238E27FC236}">
                    <a16:creationId xmlns:a16="http://schemas.microsoft.com/office/drawing/2014/main" id="{984D8998-2BCD-4858-997A-F331BEB62FE8}"/>
                  </a:ext>
                </a:extLst>
              </p:cNvPr>
              <p:cNvSpPr>
                <a:spLocks/>
              </p:cNvSpPr>
              <p:nvPr/>
            </p:nvSpPr>
            <p:spPr bwMode="auto">
              <a:xfrm>
                <a:off x="2582022" y="2591683"/>
                <a:ext cx="164851" cy="175086"/>
              </a:xfrm>
              <a:custGeom>
                <a:avLst/>
                <a:gdLst>
                  <a:gd name="T0" fmla="*/ 153 w 173"/>
                  <a:gd name="T1" fmla="*/ 182 h 184"/>
                  <a:gd name="T2" fmla="*/ 135 w 173"/>
                  <a:gd name="T3" fmla="*/ 167 h 184"/>
                  <a:gd name="T4" fmla="*/ 124 w 173"/>
                  <a:gd name="T5" fmla="*/ 101 h 184"/>
                  <a:gd name="T6" fmla="*/ 104 w 173"/>
                  <a:gd name="T7" fmla="*/ 169 h 184"/>
                  <a:gd name="T8" fmla="*/ 87 w 173"/>
                  <a:gd name="T9" fmla="*/ 182 h 184"/>
                  <a:gd name="T10" fmla="*/ 69 w 173"/>
                  <a:gd name="T11" fmla="*/ 169 h 184"/>
                  <a:gd name="T12" fmla="*/ 49 w 173"/>
                  <a:gd name="T13" fmla="*/ 101 h 184"/>
                  <a:gd name="T14" fmla="*/ 38 w 173"/>
                  <a:gd name="T15" fmla="*/ 167 h 184"/>
                  <a:gd name="T16" fmla="*/ 17 w 173"/>
                  <a:gd name="T17" fmla="*/ 182 h 184"/>
                  <a:gd name="T18" fmla="*/ 2 w 173"/>
                  <a:gd name="T19" fmla="*/ 161 h 184"/>
                  <a:gd name="T20" fmla="*/ 26 w 173"/>
                  <a:gd name="T21" fmla="*/ 16 h 184"/>
                  <a:gd name="T22" fmla="*/ 43 w 173"/>
                  <a:gd name="T23" fmla="*/ 0 h 184"/>
                  <a:gd name="T24" fmla="*/ 62 w 173"/>
                  <a:gd name="T25" fmla="*/ 14 h 184"/>
                  <a:gd name="T26" fmla="*/ 87 w 173"/>
                  <a:gd name="T27" fmla="*/ 98 h 184"/>
                  <a:gd name="T28" fmla="*/ 111 w 173"/>
                  <a:gd name="T29" fmla="*/ 14 h 184"/>
                  <a:gd name="T30" fmla="*/ 130 w 173"/>
                  <a:gd name="T31" fmla="*/ 0 h 184"/>
                  <a:gd name="T32" fmla="*/ 147 w 173"/>
                  <a:gd name="T33" fmla="*/ 16 h 184"/>
                  <a:gd name="T34" fmla="*/ 171 w 173"/>
                  <a:gd name="T35" fmla="*/ 161 h 184"/>
                  <a:gd name="T36" fmla="*/ 156 w 173"/>
                  <a:gd name="T37" fmla="*/ 182 h 184"/>
                  <a:gd name="T38" fmla="*/ 153 w 173"/>
                  <a:gd name="T39" fmla="*/ 18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3" h="184">
                    <a:moveTo>
                      <a:pt x="153" y="182"/>
                    </a:moveTo>
                    <a:cubicBezTo>
                      <a:pt x="144" y="182"/>
                      <a:pt x="137" y="176"/>
                      <a:pt x="135" y="167"/>
                    </a:cubicBezTo>
                    <a:cubicBezTo>
                      <a:pt x="124" y="101"/>
                      <a:pt x="124" y="101"/>
                      <a:pt x="124" y="101"/>
                    </a:cubicBezTo>
                    <a:cubicBezTo>
                      <a:pt x="104" y="169"/>
                      <a:pt x="104" y="169"/>
                      <a:pt x="104" y="169"/>
                    </a:cubicBezTo>
                    <a:cubicBezTo>
                      <a:pt x="102" y="177"/>
                      <a:pt x="95" y="182"/>
                      <a:pt x="87" y="182"/>
                    </a:cubicBezTo>
                    <a:cubicBezTo>
                      <a:pt x="78" y="182"/>
                      <a:pt x="71" y="177"/>
                      <a:pt x="69" y="169"/>
                    </a:cubicBezTo>
                    <a:cubicBezTo>
                      <a:pt x="49" y="101"/>
                      <a:pt x="49" y="101"/>
                      <a:pt x="49" y="101"/>
                    </a:cubicBezTo>
                    <a:cubicBezTo>
                      <a:pt x="38" y="167"/>
                      <a:pt x="38" y="167"/>
                      <a:pt x="38" y="167"/>
                    </a:cubicBezTo>
                    <a:cubicBezTo>
                      <a:pt x="36" y="177"/>
                      <a:pt x="27" y="184"/>
                      <a:pt x="17" y="182"/>
                    </a:cubicBezTo>
                    <a:cubicBezTo>
                      <a:pt x="7" y="181"/>
                      <a:pt x="0" y="171"/>
                      <a:pt x="2" y="161"/>
                    </a:cubicBezTo>
                    <a:cubicBezTo>
                      <a:pt x="26" y="16"/>
                      <a:pt x="26" y="16"/>
                      <a:pt x="26" y="16"/>
                    </a:cubicBezTo>
                    <a:cubicBezTo>
                      <a:pt x="28" y="7"/>
                      <a:pt x="35" y="1"/>
                      <a:pt x="43" y="0"/>
                    </a:cubicBezTo>
                    <a:cubicBezTo>
                      <a:pt x="52" y="0"/>
                      <a:pt x="60" y="5"/>
                      <a:pt x="62" y="14"/>
                    </a:cubicBezTo>
                    <a:cubicBezTo>
                      <a:pt x="87" y="98"/>
                      <a:pt x="87" y="98"/>
                      <a:pt x="87" y="98"/>
                    </a:cubicBezTo>
                    <a:cubicBezTo>
                      <a:pt x="111" y="14"/>
                      <a:pt x="111" y="14"/>
                      <a:pt x="111" y="14"/>
                    </a:cubicBezTo>
                    <a:cubicBezTo>
                      <a:pt x="114" y="5"/>
                      <a:pt x="121" y="0"/>
                      <a:pt x="130" y="0"/>
                    </a:cubicBezTo>
                    <a:cubicBezTo>
                      <a:pt x="139" y="1"/>
                      <a:pt x="146" y="7"/>
                      <a:pt x="147" y="16"/>
                    </a:cubicBezTo>
                    <a:cubicBezTo>
                      <a:pt x="171" y="161"/>
                      <a:pt x="171" y="161"/>
                      <a:pt x="171" y="161"/>
                    </a:cubicBezTo>
                    <a:cubicBezTo>
                      <a:pt x="173" y="171"/>
                      <a:pt x="166" y="181"/>
                      <a:pt x="156" y="182"/>
                    </a:cubicBezTo>
                    <a:cubicBezTo>
                      <a:pt x="155" y="182"/>
                      <a:pt x="154" y="182"/>
                      <a:pt x="153"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sp>
        <p:nvSpPr>
          <p:cNvPr id="2" name="Oval 1">
            <a:extLst>
              <a:ext uri="{FF2B5EF4-FFF2-40B4-BE49-F238E27FC236}">
                <a16:creationId xmlns:a16="http://schemas.microsoft.com/office/drawing/2014/main" id="{A163DE21-B707-4B55-9179-AB4C3BC62F92}"/>
              </a:ext>
            </a:extLst>
          </p:cNvPr>
          <p:cNvSpPr/>
          <p:nvPr/>
        </p:nvSpPr>
        <p:spPr>
          <a:xfrm>
            <a:off x="3404445" y="1404195"/>
            <a:ext cx="2335110" cy="233511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12" name="Group 111">
            <a:extLst>
              <a:ext uri="{FF2B5EF4-FFF2-40B4-BE49-F238E27FC236}">
                <a16:creationId xmlns:a16="http://schemas.microsoft.com/office/drawing/2014/main" id="{F47F552C-E72C-499F-A50B-A6D86876CF08}"/>
              </a:ext>
            </a:extLst>
          </p:cNvPr>
          <p:cNvGrpSpPr/>
          <p:nvPr/>
        </p:nvGrpSpPr>
        <p:grpSpPr>
          <a:xfrm>
            <a:off x="3464165" y="2092440"/>
            <a:ext cx="2215670" cy="958620"/>
            <a:chOff x="3503395" y="-1165007"/>
            <a:chExt cx="2215670" cy="958620"/>
          </a:xfrm>
        </p:grpSpPr>
        <p:sp>
          <p:nvSpPr>
            <p:cNvPr id="113" name="TextBox 112">
              <a:extLst>
                <a:ext uri="{FF2B5EF4-FFF2-40B4-BE49-F238E27FC236}">
                  <a16:creationId xmlns:a16="http://schemas.microsoft.com/office/drawing/2014/main" id="{48A155D4-D04F-4FB4-AD51-0C360A5EDF7F}"/>
                </a:ext>
              </a:extLst>
            </p:cNvPr>
            <p:cNvSpPr txBox="1"/>
            <p:nvPr/>
          </p:nvSpPr>
          <p:spPr>
            <a:xfrm>
              <a:off x="3852849" y="-1165007"/>
              <a:ext cx="1516762" cy="307777"/>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cs typeface="+mn-cs"/>
                </a:rPr>
                <a:t>There is Nothing</a:t>
              </a:r>
            </a:p>
          </p:txBody>
        </p:sp>
        <p:sp>
          <p:nvSpPr>
            <p:cNvPr id="114" name="TextBox 113">
              <a:extLst>
                <a:ext uri="{FF2B5EF4-FFF2-40B4-BE49-F238E27FC236}">
                  <a16:creationId xmlns:a16="http://schemas.microsoft.com/office/drawing/2014/main" id="{114E0093-B5BD-427F-A0FC-8E8DA403871D}"/>
                </a:ext>
              </a:extLst>
            </p:cNvPr>
            <p:cNvSpPr txBox="1"/>
            <p:nvPr/>
          </p:nvSpPr>
          <p:spPr>
            <a:xfrm>
              <a:off x="3503395" y="-920670"/>
              <a:ext cx="2215670" cy="46166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srgbClr val="005073"/>
                  </a:solidFill>
                  <a:effectLst/>
                  <a:uLnTx/>
                  <a:uFillTx/>
                  <a:latin typeface="CiscoSansTT" panose="020B0503020201020303" pitchFamily="34" charset="0"/>
                  <a:ea typeface="ＭＳ Ｐゴシック" charset="0"/>
                  <a:cs typeface="CiscoSansTT" panose="020B0503020201020303" pitchFamily="34" charset="0"/>
                </a:rPr>
                <a:t>“CENTER-ED”</a:t>
              </a:r>
            </a:p>
          </p:txBody>
        </p:sp>
        <p:sp>
          <p:nvSpPr>
            <p:cNvPr id="115" name="TextBox 114">
              <a:extLst>
                <a:ext uri="{FF2B5EF4-FFF2-40B4-BE49-F238E27FC236}">
                  <a16:creationId xmlns:a16="http://schemas.microsoft.com/office/drawing/2014/main" id="{243B40A0-9480-4209-B5FB-357A65FEE6D1}"/>
                </a:ext>
              </a:extLst>
            </p:cNvPr>
            <p:cNvSpPr txBox="1"/>
            <p:nvPr/>
          </p:nvSpPr>
          <p:spPr>
            <a:xfrm>
              <a:off x="3678122" y="-514164"/>
              <a:ext cx="1866216" cy="307777"/>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5073"/>
                  </a:solidFill>
                  <a:effectLst/>
                  <a:uLnTx/>
                  <a:uFillTx/>
                  <a:latin typeface="CiscoSansTT ExtraLight"/>
                  <a:ea typeface="ＭＳ Ｐゴシック" charset="0"/>
                  <a:cs typeface="+mn-cs"/>
                </a:rPr>
                <a:t>About Data Anymore</a:t>
              </a:r>
            </a:p>
          </p:txBody>
        </p:sp>
      </p:grpSp>
      <p:sp>
        <p:nvSpPr>
          <p:cNvPr id="244" name="Rectangle 4">
            <a:extLst>
              <a:ext uri="{FF2B5EF4-FFF2-40B4-BE49-F238E27FC236}">
                <a16:creationId xmlns:a16="http://schemas.microsoft.com/office/drawing/2014/main" id="{67A0192E-1F4D-4948-8C77-6C443CF3090D}"/>
              </a:ext>
            </a:extLst>
          </p:cNvPr>
          <p:cNvSpPr>
            <a:spLocks noChangeArrowheads="1"/>
          </p:cNvSpPr>
          <p:nvPr/>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marL="0" marR="0" lvl="0" indent="0" algn="l" defTabSz="61074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20" normalizeH="0" baseline="0" noProof="0" dirty="0">
                <a:ln>
                  <a:noFill/>
                </a:ln>
                <a:solidFill>
                  <a:srgbClr val="FFFFFF">
                    <a:lumMod val="65000"/>
                  </a:srgbClr>
                </a:solidFill>
                <a:effectLst/>
                <a:uLnTx/>
                <a:uFillTx/>
                <a:latin typeface="CiscoSansTT ExtraLight"/>
                <a:ea typeface="ＭＳ Ｐゴシック" charset="0"/>
                <a:cs typeface="CiscoSans Thin"/>
              </a:rPr>
              <a:t>© 2019  Cisco and/or its affiliates. All rights reserved.   </a:t>
            </a:r>
          </a:p>
        </p:txBody>
      </p:sp>
      <p:sp>
        <p:nvSpPr>
          <p:cNvPr id="206" name="TextBox 205">
            <a:extLst>
              <a:ext uri="{FF2B5EF4-FFF2-40B4-BE49-F238E27FC236}">
                <a16:creationId xmlns:a16="http://schemas.microsoft.com/office/drawing/2014/main" id="{C145B3B3-AFFD-4BD0-BA47-B9914148BF5C}"/>
              </a:ext>
            </a:extLst>
          </p:cNvPr>
          <p:cNvSpPr txBox="1"/>
          <p:nvPr/>
        </p:nvSpPr>
        <p:spPr>
          <a:xfrm>
            <a:off x="6576150" y="3814811"/>
            <a:ext cx="371897" cy="215444"/>
          </a:xfrm>
          <a:prstGeom prst="rect">
            <a:avLst/>
          </a:prstGeom>
          <a:noFill/>
        </p:spPr>
        <p:txBody>
          <a:bodyPr wrap="none" lIns="0" tIns="0" rIns="0" bIns="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EB"/>
                </a:solidFill>
                <a:effectLst/>
                <a:uLnTx/>
                <a:uFillTx/>
                <a:latin typeface="CiscoSansTT ExtraLight"/>
                <a:ea typeface="ＭＳ Ｐゴシック" charset="0"/>
                <a:cs typeface="+mn-cs"/>
              </a:rPr>
              <a:t>Colo</a:t>
            </a:r>
          </a:p>
        </p:txBody>
      </p:sp>
      <p:sp>
        <p:nvSpPr>
          <p:cNvPr id="207" name="TextBox 206">
            <a:extLst>
              <a:ext uri="{FF2B5EF4-FFF2-40B4-BE49-F238E27FC236}">
                <a16:creationId xmlns:a16="http://schemas.microsoft.com/office/drawing/2014/main" id="{D843E7C8-4FD5-40BD-BF06-59E8687D9897}"/>
              </a:ext>
            </a:extLst>
          </p:cNvPr>
          <p:cNvSpPr txBox="1"/>
          <p:nvPr/>
        </p:nvSpPr>
        <p:spPr>
          <a:xfrm>
            <a:off x="6944469" y="2961589"/>
            <a:ext cx="1279196" cy="215444"/>
          </a:xfrm>
          <a:prstGeom prst="rect">
            <a:avLst/>
          </a:prstGeom>
          <a:noFill/>
        </p:spPr>
        <p:txBody>
          <a:bodyPr wrap="none" lIns="0" tIns="0" rIns="0" bIns="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EB"/>
                </a:solidFill>
                <a:effectLst/>
                <a:uLnTx/>
                <a:uFillTx/>
                <a:latin typeface="CiscoSansTT ExtraLight"/>
                <a:ea typeface="ＭＳ Ｐゴシック" charset="0"/>
                <a:cs typeface="+mn-cs"/>
              </a:rPr>
              <a:t>Enterprise Edge</a:t>
            </a:r>
          </a:p>
        </p:txBody>
      </p:sp>
      <p:sp>
        <p:nvSpPr>
          <p:cNvPr id="209" name="Rectangle 208">
            <a:extLst>
              <a:ext uri="{FF2B5EF4-FFF2-40B4-BE49-F238E27FC236}">
                <a16:creationId xmlns:a16="http://schemas.microsoft.com/office/drawing/2014/main" id="{2145EB27-4C7B-480A-B76F-9793D9693C00}"/>
              </a:ext>
            </a:extLst>
          </p:cNvPr>
          <p:cNvSpPr/>
          <p:nvPr/>
        </p:nvSpPr>
        <p:spPr>
          <a:xfrm>
            <a:off x="6813197" y="3275751"/>
            <a:ext cx="2240081" cy="523220"/>
          </a:xfrm>
          <a:prstGeom prst="rect">
            <a:avLst/>
          </a:prstGeom>
        </p:spPr>
        <p:txBody>
          <a:bodyPr wrap="square" lIns="91440" tIns="91440" rIns="91440" bIns="9144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5073"/>
                </a:solidFill>
                <a:effectLst/>
                <a:uLnTx/>
                <a:uFillTx/>
                <a:latin typeface="CiscoSansTT ExtraLight"/>
                <a:ea typeface="ＭＳ Ｐゴシック" charset="0"/>
                <a:cs typeface="+mn-cs"/>
              </a:rPr>
              <a:t>Data processing needs to be closer to the sources of demand</a:t>
            </a:r>
          </a:p>
        </p:txBody>
      </p:sp>
      <p:sp>
        <p:nvSpPr>
          <p:cNvPr id="240" name="TextBox 239">
            <a:extLst>
              <a:ext uri="{FF2B5EF4-FFF2-40B4-BE49-F238E27FC236}">
                <a16:creationId xmlns:a16="http://schemas.microsoft.com/office/drawing/2014/main" id="{EE020CC3-D306-4A8A-BAEC-9E73C13B2072}"/>
              </a:ext>
            </a:extLst>
          </p:cNvPr>
          <p:cNvSpPr txBox="1"/>
          <p:nvPr/>
        </p:nvSpPr>
        <p:spPr>
          <a:xfrm>
            <a:off x="6574732" y="1052023"/>
            <a:ext cx="711733" cy="215444"/>
          </a:xfrm>
          <a:prstGeom prst="rect">
            <a:avLst/>
          </a:prstGeom>
          <a:noFill/>
        </p:spPr>
        <p:txBody>
          <a:bodyPr wrap="none" lIns="0" tIns="0" rIns="0" bIns="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EB"/>
                </a:solidFill>
                <a:effectLst/>
                <a:uLnTx/>
                <a:uFillTx/>
                <a:latin typeface="CiscoSansTT ExtraLight"/>
                <a:ea typeface="ＭＳ Ｐゴシック" charset="0"/>
                <a:cs typeface="+mn-cs"/>
              </a:rPr>
              <a:t>IoT Edge</a:t>
            </a:r>
          </a:p>
        </p:txBody>
      </p:sp>
      <p:sp>
        <p:nvSpPr>
          <p:cNvPr id="241" name="Rectangle 240">
            <a:extLst>
              <a:ext uri="{FF2B5EF4-FFF2-40B4-BE49-F238E27FC236}">
                <a16:creationId xmlns:a16="http://schemas.microsoft.com/office/drawing/2014/main" id="{BC9C84FA-F163-4FC9-809A-CC6C245396ED}"/>
              </a:ext>
            </a:extLst>
          </p:cNvPr>
          <p:cNvSpPr/>
          <p:nvPr/>
        </p:nvSpPr>
        <p:spPr>
          <a:xfrm>
            <a:off x="6580175" y="1190416"/>
            <a:ext cx="2603367" cy="692497"/>
          </a:xfrm>
          <a:prstGeom prst="rect">
            <a:avLst/>
          </a:prstGeom>
        </p:spPr>
        <p:txBody>
          <a:bodyPr wrap="square" lIns="91440" tIns="91440" rIns="91440" bIns="9144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5073"/>
                </a:solidFill>
                <a:effectLst/>
                <a:uLnTx/>
                <a:uFillTx/>
                <a:latin typeface="CiscoSansTT ExtraLight"/>
                <a:ea typeface="ＭＳ Ｐゴシック" charset="0"/>
              </a:rPr>
              <a:t>Significant amounts of data are being generated remotely which need to be analyzed, processed, and consumed. </a:t>
            </a:r>
          </a:p>
        </p:txBody>
      </p:sp>
    </p:spTree>
    <p:extLst>
      <p:ext uri="{BB962C8B-B14F-4D97-AF65-F5344CB8AC3E}">
        <p14:creationId xmlns:p14="http://schemas.microsoft.com/office/powerpoint/2010/main" val="208553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fill="hold" grpId="0" nodeType="withEffect">
                                  <p:stCondLst>
                                    <p:cond delay="0"/>
                                  </p:stCondLst>
                                  <p:childTnLst>
                                    <p:animMotion origin="layout" path="M -1.94444E-6 -1.97531E-6 L 0.16545 0.31543 " pathEditMode="relative" rAng="0" ptsTypes="AA">
                                      <p:cBhvr from="" to="">
                                        <p:cTn id="6" dur="1500" accel="50000" decel="50000" fill="hold">
                                          <p:stCondLst>
                                            <p:cond delay="0"/>
                                          </p:stCondLst>
                                        </p:cTn>
                                        <p:tgtEl>
                                          <p:spTgt spid="63"/>
                                        </p:tgtEl>
                                        <p:attrNameLst>
                                          <p:attrName>ppt_x</p:attrName>
                                          <p:attrName>ppt_y</p:attrName>
                                        </p:attrNameLst>
                                      </p:cBhvr>
                                      <p:rCtr x="9323" y="12037"/>
                                    </p:animMotion>
                                  </p:childTnLst>
                                </p:cTn>
                              </p:par>
                              <p:par>
                                <p:cTn id="7" presetID="6" presetClass="emph" presetSubtype="0" accel="50000" decel="50000" fill="hold" grpId="1" nodeType="withEffect">
                                  <p:stCondLst>
                                    <p:cond delay="0"/>
                                  </p:stCondLst>
                                  <p:childTnLst>
                                    <p:animScale>
                                      <p:cBhvr>
                                        <p:cTn id="8" dur="1500" fill="hold"/>
                                        <p:tgtEl>
                                          <p:spTgt spid="63"/>
                                        </p:tgtEl>
                                      </p:cBhvr>
                                      <p:by x="47000" y="47000"/>
                                    </p:animScale>
                                  </p:childTnLst>
                                </p:cTn>
                              </p:par>
                              <p:par>
                                <p:cTn id="9" presetID="1" presetClass="exit" presetSubtype="0" fill="hold" grpId="2" nodeType="withEffect">
                                  <p:stCondLst>
                                    <p:cond delay="1500"/>
                                  </p:stCondLst>
                                  <p:childTnLst>
                                    <p:set>
                                      <p:cBhvr>
                                        <p:cTn id="10" dur="1" fill="hold">
                                          <p:stCondLst>
                                            <p:cond delay="0"/>
                                          </p:stCondLst>
                                        </p:cTn>
                                        <p:tgtEl>
                                          <p:spTgt spid="63"/>
                                        </p:tgtEl>
                                        <p:attrNameLst>
                                          <p:attrName>style.visibility</p:attrName>
                                        </p:attrNameLst>
                                      </p:cBhvr>
                                      <p:to>
                                        <p:strVal val="hidden"/>
                                      </p:to>
                                    </p:set>
                                  </p:childTnLst>
                                </p:cTn>
                              </p:par>
                              <p:par>
                                <p:cTn id="11" presetID="22" presetClass="entr" presetSubtype="8" fill="hold" nodeType="withEffect">
                                  <p:stCondLst>
                                    <p:cond delay="250"/>
                                  </p:stCondLst>
                                  <p:childTnLst>
                                    <p:set>
                                      <p:cBhvr>
                                        <p:cTn id="12" dur="1" fill="hold">
                                          <p:stCondLst>
                                            <p:cond delay="0"/>
                                          </p:stCondLst>
                                        </p:cTn>
                                        <p:tgtEl>
                                          <p:spTgt spid="77"/>
                                        </p:tgtEl>
                                        <p:attrNameLst>
                                          <p:attrName>style.visibility</p:attrName>
                                        </p:attrNameLst>
                                      </p:cBhvr>
                                      <p:to>
                                        <p:strVal val="visible"/>
                                      </p:to>
                                    </p:set>
                                    <p:animEffect transition="in" filter="wipe(left)">
                                      <p:cBhvr>
                                        <p:cTn id="13" dur="500"/>
                                        <p:tgtEl>
                                          <p:spTgt spid="77"/>
                                        </p:tgtEl>
                                      </p:cBhvr>
                                    </p:animEffect>
                                  </p:childTnLst>
                                </p:cTn>
                              </p:par>
                              <p:par>
                                <p:cTn id="14" presetID="35" presetClass="path" presetSubtype="0" fill="hold" nodeType="withEffect">
                                  <p:stCondLst>
                                    <p:cond delay="0"/>
                                  </p:stCondLst>
                                  <p:childTnLst>
                                    <p:animMotion origin="layout" path="M 1.38889E-6 3.08642E-6 L -0.13472 -0.26667 " pathEditMode="relative" rAng="0" ptsTypes="AA">
                                      <p:cBhvr from="" to="">
                                        <p:cTn id="15" dur="1500" spd="-100000" accel="50000" decel="50000" fill="hold">
                                          <p:stCondLst>
                                            <p:cond delay="0"/>
                                          </p:stCondLst>
                                        </p:cTn>
                                        <p:tgtEl>
                                          <p:spTgt spid="77"/>
                                        </p:tgtEl>
                                        <p:attrNameLst>
                                          <p:attrName>ppt_x</p:attrName>
                                          <p:attrName>ppt_y</p:attrName>
                                        </p:attrNameLst>
                                      </p:cBhvr>
                                      <p:rCtr x="-6736" y="-13333"/>
                                    </p:animMotion>
                                  </p:childTnLst>
                                </p:cTn>
                              </p:par>
                              <p:par>
                                <p:cTn id="16" presetID="10" presetClass="exit" presetSubtype="0" fill="hold" nodeType="withEffect">
                                  <p:stCondLst>
                                    <p:cond delay="500"/>
                                  </p:stCondLst>
                                  <p:childTnLst>
                                    <p:animEffect transition="out" filter="fade">
                                      <p:cBhvr>
                                        <p:cTn id="17" dur="500"/>
                                        <p:tgtEl>
                                          <p:spTgt spid="106"/>
                                        </p:tgtEl>
                                      </p:cBhvr>
                                    </p:animEffect>
                                    <p:set>
                                      <p:cBhvr>
                                        <p:cTn id="18" dur="1" fill="hold">
                                          <p:stCondLst>
                                            <p:cond delay="499"/>
                                          </p:stCondLst>
                                        </p:cTn>
                                        <p:tgtEl>
                                          <p:spTgt spid="106"/>
                                        </p:tgtEl>
                                        <p:attrNameLst>
                                          <p:attrName>style.visibility</p:attrName>
                                        </p:attrNameLst>
                                      </p:cBhvr>
                                      <p:to>
                                        <p:strVal val="hidden"/>
                                      </p:to>
                                    </p:set>
                                  </p:childTnLst>
                                </p:cTn>
                              </p:par>
                              <p:par>
                                <p:cTn id="19" presetID="10" presetClass="exit" presetSubtype="0" fill="hold" nodeType="withEffect">
                                  <p:stCondLst>
                                    <p:cond delay="500"/>
                                  </p:stCondLst>
                                  <p:childTnLst>
                                    <p:animEffect transition="out" filter="fade">
                                      <p:cBhvr>
                                        <p:cTn id="20" dur="500"/>
                                        <p:tgtEl>
                                          <p:spTgt spid="60"/>
                                        </p:tgtEl>
                                      </p:cBhvr>
                                    </p:animEffect>
                                    <p:set>
                                      <p:cBhvr>
                                        <p:cTn id="21" dur="1" fill="hold">
                                          <p:stCondLst>
                                            <p:cond delay="499"/>
                                          </p:stCondLst>
                                        </p:cTn>
                                        <p:tgtEl>
                                          <p:spTgt spid="60"/>
                                        </p:tgtEl>
                                        <p:attrNameLst>
                                          <p:attrName>style.visibility</p:attrName>
                                        </p:attrNameLst>
                                      </p:cBhvr>
                                      <p:to>
                                        <p:strVal val="hidden"/>
                                      </p:to>
                                    </p:set>
                                  </p:childTnLst>
                                </p:cTn>
                              </p:par>
                              <p:par>
                                <p:cTn id="22" presetID="10" presetClass="exit" presetSubtype="0" fill="hold" grpId="0" nodeType="withEffect">
                                  <p:stCondLst>
                                    <p:cond delay="500"/>
                                  </p:stCondLst>
                                  <p:childTnLst>
                                    <p:animEffect transition="out" filter="fade">
                                      <p:cBhvr>
                                        <p:cTn id="23" dur="1000"/>
                                        <p:tgtEl>
                                          <p:spTgt spid="3"/>
                                        </p:tgtEl>
                                      </p:cBhvr>
                                    </p:animEffect>
                                    <p:set>
                                      <p:cBhvr>
                                        <p:cTn id="24" dur="1" fill="hold">
                                          <p:stCondLst>
                                            <p:cond delay="999"/>
                                          </p:stCondLst>
                                        </p:cTn>
                                        <p:tgtEl>
                                          <p:spTgt spid="3"/>
                                        </p:tgtEl>
                                        <p:attrNameLst>
                                          <p:attrName>style.visibility</p:attrName>
                                        </p:attrNameLst>
                                      </p:cBhvr>
                                      <p:to>
                                        <p:strVal val="hidden"/>
                                      </p:to>
                                    </p:set>
                                  </p:childTnLst>
                                </p:cTn>
                              </p:par>
                              <p:par>
                                <p:cTn id="25" presetID="10" presetClass="exit" presetSubtype="0" fill="hold" nodeType="withEffect">
                                  <p:stCondLst>
                                    <p:cond delay="500"/>
                                  </p:stCondLst>
                                  <p:childTnLst>
                                    <p:animEffect transition="out" filter="fade">
                                      <p:cBhvr>
                                        <p:cTn id="26" dur="500"/>
                                        <p:tgtEl>
                                          <p:spTgt spid="101"/>
                                        </p:tgtEl>
                                      </p:cBhvr>
                                    </p:animEffect>
                                    <p:set>
                                      <p:cBhvr>
                                        <p:cTn id="27" dur="1" fill="hold">
                                          <p:stCondLst>
                                            <p:cond delay="499"/>
                                          </p:stCondLst>
                                        </p:cTn>
                                        <p:tgtEl>
                                          <p:spTgt spid="101"/>
                                        </p:tgtEl>
                                        <p:attrNameLst>
                                          <p:attrName>style.visibility</p:attrName>
                                        </p:attrNameLst>
                                      </p:cBhvr>
                                      <p:to>
                                        <p:strVal val="hidden"/>
                                      </p:to>
                                    </p:set>
                                  </p:childTnLst>
                                </p:cTn>
                              </p:par>
                              <p:par>
                                <p:cTn id="28" presetID="10" presetClass="exit" presetSubtype="0" fill="hold" grpId="0" nodeType="withEffect">
                                  <p:stCondLst>
                                    <p:cond delay="500"/>
                                  </p:stCondLst>
                                  <p:childTnLst>
                                    <p:animEffect transition="out" filter="fade">
                                      <p:cBhvr>
                                        <p:cTn id="29" dur="1000"/>
                                        <p:tgtEl>
                                          <p:spTgt spid="23"/>
                                        </p:tgtEl>
                                      </p:cBhvr>
                                    </p:animEffect>
                                    <p:set>
                                      <p:cBhvr>
                                        <p:cTn id="30" dur="1" fill="hold">
                                          <p:stCondLst>
                                            <p:cond delay="999"/>
                                          </p:stCondLst>
                                        </p:cTn>
                                        <p:tgtEl>
                                          <p:spTgt spid="23"/>
                                        </p:tgtEl>
                                        <p:attrNameLst>
                                          <p:attrName>style.visibility</p:attrName>
                                        </p:attrNameLst>
                                      </p:cBhvr>
                                      <p:to>
                                        <p:strVal val="hidden"/>
                                      </p:to>
                                    </p:set>
                                  </p:childTnLst>
                                </p:cTn>
                              </p:par>
                              <p:par>
                                <p:cTn id="31" presetID="10" presetClass="exit" presetSubtype="0" fill="hold" grpId="0" nodeType="withEffect">
                                  <p:stCondLst>
                                    <p:cond delay="500"/>
                                  </p:stCondLst>
                                  <p:childTnLst>
                                    <p:animEffect transition="out" filter="fade">
                                      <p:cBhvr>
                                        <p:cTn id="32" dur="1000"/>
                                        <p:tgtEl>
                                          <p:spTgt spid="122"/>
                                        </p:tgtEl>
                                      </p:cBhvr>
                                    </p:animEffect>
                                    <p:set>
                                      <p:cBhvr>
                                        <p:cTn id="33" dur="1" fill="hold">
                                          <p:stCondLst>
                                            <p:cond delay="999"/>
                                          </p:stCondLst>
                                        </p:cTn>
                                        <p:tgtEl>
                                          <p:spTgt spid="122"/>
                                        </p:tgtEl>
                                        <p:attrNameLst>
                                          <p:attrName>style.visibility</p:attrName>
                                        </p:attrNameLst>
                                      </p:cBhvr>
                                      <p:to>
                                        <p:strVal val="hidden"/>
                                      </p:to>
                                    </p:set>
                                  </p:childTnLst>
                                </p:cTn>
                              </p:par>
                              <p:par>
                                <p:cTn id="34" presetID="10" presetClass="exit" presetSubtype="0" fill="hold" grpId="0" nodeType="withEffect">
                                  <p:stCondLst>
                                    <p:cond delay="500"/>
                                  </p:stCondLst>
                                  <p:childTnLst>
                                    <p:animEffect transition="out" filter="fade">
                                      <p:cBhvr>
                                        <p:cTn id="35" dur="1000"/>
                                        <p:tgtEl>
                                          <p:spTgt spid="118"/>
                                        </p:tgtEl>
                                      </p:cBhvr>
                                    </p:animEffect>
                                    <p:set>
                                      <p:cBhvr>
                                        <p:cTn id="36" dur="1" fill="hold">
                                          <p:stCondLst>
                                            <p:cond delay="999"/>
                                          </p:stCondLst>
                                        </p:cTn>
                                        <p:tgtEl>
                                          <p:spTgt spid="118"/>
                                        </p:tgtEl>
                                        <p:attrNameLst>
                                          <p:attrName>style.visibility</p:attrName>
                                        </p:attrNameLst>
                                      </p:cBhvr>
                                      <p:to>
                                        <p:strVal val="hidden"/>
                                      </p:to>
                                    </p:set>
                                  </p:childTnLst>
                                </p:cTn>
                              </p:par>
                              <p:par>
                                <p:cTn id="37" presetID="10" presetClass="exit" presetSubtype="0" fill="hold" grpId="0" nodeType="withEffect">
                                  <p:stCondLst>
                                    <p:cond delay="500"/>
                                  </p:stCondLst>
                                  <p:childTnLst>
                                    <p:animEffect transition="out" filter="fade">
                                      <p:cBhvr>
                                        <p:cTn id="38" dur="1000"/>
                                        <p:tgtEl>
                                          <p:spTgt spid="14"/>
                                        </p:tgtEl>
                                      </p:cBhvr>
                                    </p:animEffect>
                                    <p:set>
                                      <p:cBhvr>
                                        <p:cTn id="39" dur="1" fill="hold">
                                          <p:stCondLst>
                                            <p:cond delay="999"/>
                                          </p:stCondLst>
                                        </p:cTn>
                                        <p:tgtEl>
                                          <p:spTgt spid="14"/>
                                        </p:tgtEl>
                                        <p:attrNameLst>
                                          <p:attrName>style.visibility</p:attrName>
                                        </p:attrNameLst>
                                      </p:cBhvr>
                                      <p:to>
                                        <p:strVal val="hidden"/>
                                      </p:to>
                                    </p:set>
                                  </p:childTnLst>
                                </p:cTn>
                              </p:par>
                              <p:par>
                                <p:cTn id="40" presetID="10" presetClass="exit" presetSubtype="0" fill="hold" nodeType="withEffect">
                                  <p:stCondLst>
                                    <p:cond delay="500"/>
                                  </p:stCondLst>
                                  <p:childTnLst>
                                    <p:animEffect transition="out" filter="fade">
                                      <p:cBhvr>
                                        <p:cTn id="41" dur="500"/>
                                        <p:tgtEl>
                                          <p:spTgt spid="99"/>
                                        </p:tgtEl>
                                      </p:cBhvr>
                                    </p:animEffect>
                                    <p:set>
                                      <p:cBhvr>
                                        <p:cTn id="42" dur="1" fill="hold">
                                          <p:stCondLst>
                                            <p:cond delay="499"/>
                                          </p:stCondLst>
                                        </p:cTn>
                                        <p:tgtEl>
                                          <p:spTgt spid="99"/>
                                        </p:tgtEl>
                                        <p:attrNameLst>
                                          <p:attrName>style.visibility</p:attrName>
                                        </p:attrNameLst>
                                      </p:cBhvr>
                                      <p:to>
                                        <p:strVal val="hidden"/>
                                      </p:to>
                                    </p:set>
                                  </p:childTnLst>
                                </p:cTn>
                              </p:par>
                            </p:childTnLst>
                          </p:cTn>
                        </p:par>
                        <p:par>
                          <p:cTn id="43" fill="hold">
                            <p:stCondLst>
                              <p:cond delay="1500"/>
                            </p:stCondLst>
                            <p:childTnLst>
                              <p:par>
                                <p:cTn id="44" presetID="10" presetClass="entr" presetSubtype="0" repeatCount="0" fill="hold" nodeType="afterEffect">
                                  <p:stCondLst>
                                    <p:cond delay="0"/>
                                  </p:stCondLst>
                                  <p:childTnLst>
                                    <p:set>
                                      <p:cBhvr>
                                        <p:cTn id="45" dur="1" fill="hold">
                                          <p:stCondLst>
                                            <p:cond delay="0"/>
                                          </p:stCondLst>
                                        </p:cTn>
                                        <p:tgtEl>
                                          <p:spTgt spid="83"/>
                                        </p:tgtEl>
                                        <p:attrNameLst>
                                          <p:attrName>style.visibility</p:attrName>
                                        </p:attrNameLst>
                                      </p:cBhvr>
                                      <p:to>
                                        <p:strVal val="visible"/>
                                      </p:to>
                                    </p:set>
                                    <p:animEffect transition="in" filter="fade">
                                      <p:cBhvr>
                                        <p:cTn id="46" dur="100"/>
                                        <p:tgtEl>
                                          <p:spTgt spid="8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9"/>
                                        </p:tgtEl>
                                        <p:attrNameLst>
                                          <p:attrName>style.visibility</p:attrName>
                                        </p:attrNameLst>
                                      </p:cBhvr>
                                      <p:to>
                                        <p:strVal val="visible"/>
                                      </p:to>
                                    </p:set>
                                    <p:animEffect transition="in" filter="fade">
                                      <p:cBhvr>
                                        <p:cTn id="49" dur="500"/>
                                        <p:tgtEl>
                                          <p:spTgt spid="79"/>
                                        </p:tgtEl>
                                      </p:cBhvr>
                                    </p:animEffect>
                                  </p:childTnLst>
                                </p:cTn>
                              </p:par>
                              <p:par>
                                <p:cTn id="50" presetID="10" presetClass="entr" presetSubtype="0" fill="hold" grpId="0" nodeType="withEffect">
                                  <p:stCondLst>
                                    <p:cond delay="750"/>
                                  </p:stCondLst>
                                  <p:childTnLst>
                                    <p:set>
                                      <p:cBhvr>
                                        <p:cTn id="51" dur="1" fill="hold">
                                          <p:stCondLst>
                                            <p:cond delay="0"/>
                                          </p:stCondLst>
                                        </p:cTn>
                                        <p:tgtEl>
                                          <p:spTgt spid="80"/>
                                        </p:tgtEl>
                                        <p:attrNameLst>
                                          <p:attrName>style.visibility</p:attrName>
                                        </p:attrNameLst>
                                      </p:cBhvr>
                                      <p:to>
                                        <p:strVal val="visible"/>
                                      </p:to>
                                    </p:set>
                                    <p:animEffect transition="in" filter="fade">
                                      <p:cBhvr>
                                        <p:cTn id="52" dur="500"/>
                                        <p:tgtEl>
                                          <p:spTgt spid="80"/>
                                        </p:tgtEl>
                                      </p:cBhvr>
                                    </p:animEffect>
                                  </p:childTnLst>
                                </p:cTn>
                              </p:par>
                              <p:par>
                                <p:cTn id="53" presetID="10" presetClass="entr" presetSubtype="0" fill="hold" grpId="0" nodeType="withEffect">
                                  <p:stCondLst>
                                    <p:cond delay="750"/>
                                  </p:stCondLst>
                                  <p:childTnLst>
                                    <p:set>
                                      <p:cBhvr>
                                        <p:cTn id="54" dur="1" fill="hold">
                                          <p:stCondLst>
                                            <p:cond delay="0"/>
                                          </p:stCondLst>
                                        </p:cTn>
                                        <p:tgtEl>
                                          <p:spTgt spid="82"/>
                                        </p:tgtEl>
                                        <p:attrNameLst>
                                          <p:attrName>style.visibility</p:attrName>
                                        </p:attrNameLst>
                                      </p:cBhvr>
                                      <p:to>
                                        <p:strVal val="visible"/>
                                      </p:to>
                                    </p:set>
                                    <p:animEffect transition="in" filter="fade">
                                      <p:cBhvr>
                                        <p:cTn id="55" dur="500"/>
                                        <p:tgtEl>
                                          <p:spTgt spid="82"/>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xit" presetSubtype="0" fill="hold" grpId="1" nodeType="clickEffect">
                                  <p:stCondLst>
                                    <p:cond delay="0"/>
                                  </p:stCondLst>
                                  <p:childTnLst>
                                    <p:animEffect transition="out" filter="fade">
                                      <p:cBhvr>
                                        <p:cTn id="59" dur="500"/>
                                        <p:tgtEl>
                                          <p:spTgt spid="80"/>
                                        </p:tgtEl>
                                      </p:cBhvr>
                                    </p:animEffect>
                                    <p:set>
                                      <p:cBhvr>
                                        <p:cTn id="60" dur="1" fill="hold">
                                          <p:stCondLst>
                                            <p:cond delay="499"/>
                                          </p:stCondLst>
                                        </p:cTn>
                                        <p:tgtEl>
                                          <p:spTgt spid="80"/>
                                        </p:tgtEl>
                                        <p:attrNameLst>
                                          <p:attrName>style.visibility</p:attrName>
                                        </p:attrNameLst>
                                      </p:cBhvr>
                                      <p:to>
                                        <p:strVal val="hidden"/>
                                      </p:to>
                                    </p:set>
                                  </p:childTnLst>
                                </p:cTn>
                              </p:par>
                              <p:par>
                                <p:cTn id="61" presetID="10" presetClass="exit" presetSubtype="0" fill="hold" grpId="1" nodeType="withEffect">
                                  <p:stCondLst>
                                    <p:cond delay="0"/>
                                  </p:stCondLst>
                                  <p:childTnLst>
                                    <p:animEffect transition="out" filter="fade">
                                      <p:cBhvr>
                                        <p:cTn id="62" dur="500"/>
                                        <p:tgtEl>
                                          <p:spTgt spid="82"/>
                                        </p:tgtEl>
                                      </p:cBhvr>
                                    </p:animEffect>
                                    <p:set>
                                      <p:cBhvr>
                                        <p:cTn id="63" dur="1" fill="hold">
                                          <p:stCondLst>
                                            <p:cond delay="499"/>
                                          </p:stCondLst>
                                        </p:cTn>
                                        <p:tgtEl>
                                          <p:spTgt spid="82"/>
                                        </p:tgtEl>
                                        <p:attrNameLst>
                                          <p:attrName>style.visibility</p:attrName>
                                        </p:attrNameLst>
                                      </p:cBhvr>
                                      <p:to>
                                        <p:strVal val="hidden"/>
                                      </p:to>
                                    </p:set>
                                  </p:childTnLst>
                                </p:cTn>
                              </p:par>
                            </p:childTnLst>
                          </p:cTn>
                        </p:par>
                        <p:par>
                          <p:cTn id="64" fill="hold">
                            <p:stCondLst>
                              <p:cond delay="500"/>
                            </p:stCondLst>
                            <p:childTnLst>
                              <p:par>
                                <p:cTn id="65" presetID="35" presetClass="path" presetSubtype="0" fill="hold" grpId="0" nodeType="afterEffect">
                                  <p:stCondLst>
                                    <p:cond delay="0"/>
                                  </p:stCondLst>
                                  <p:childTnLst>
                                    <p:animMotion origin="layout" path="M 5E-6 1.85185E-6 L 0.05555 -0.09537 " pathEditMode="relative" rAng="0" ptsTypes="AA">
                                      <p:cBhvr from="" to="">
                                        <p:cTn id="66" dur="1500" accel="50000" decel="50000" fill="hold">
                                          <p:stCondLst>
                                            <p:cond delay="0"/>
                                          </p:stCondLst>
                                        </p:cTn>
                                        <p:tgtEl>
                                          <p:spTgt spid="4"/>
                                        </p:tgtEl>
                                        <p:attrNameLst>
                                          <p:attrName>ppt_x</p:attrName>
                                          <p:attrName>ppt_y</p:attrName>
                                        </p:attrNameLst>
                                      </p:cBhvr>
                                      <p:rCtr x="3003" y="-4630"/>
                                    </p:animMotion>
                                  </p:childTnLst>
                                </p:cTn>
                              </p:par>
                              <p:par>
                                <p:cTn id="67" presetID="35" presetClass="path" presetSubtype="0" fill="hold" grpId="0" nodeType="withEffect">
                                  <p:stCondLst>
                                    <p:cond delay="0"/>
                                  </p:stCondLst>
                                  <p:childTnLst>
                                    <p:animMotion origin="layout" path="M -3.33333E-6 -1.7284E-6 L 0.25695 -0.08889 " pathEditMode="relative" rAng="0" ptsTypes="AA">
                                      <p:cBhvr from="" to="">
                                        <p:cTn id="68" dur="1500" accel="50000" decel="50000" fill="hold">
                                          <p:stCondLst>
                                            <p:cond delay="0"/>
                                          </p:stCondLst>
                                        </p:cTn>
                                        <p:tgtEl>
                                          <p:spTgt spid="6"/>
                                        </p:tgtEl>
                                        <p:attrNameLst>
                                          <p:attrName>ppt_x</p:attrName>
                                          <p:attrName>ppt_y</p:attrName>
                                        </p:attrNameLst>
                                      </p:cBhvr>
                                      <p:rCtr x="13003" y="-4105"/>
                                    </p:animMotion>
                                  </p:childTnLst>
                                </p:cTn>
                              </p:par>
                              <p:par>
                                <p:cTn id="69" presetID="6" presetClass="emph" presetSubtype="0" accel="50000" decel="50000" fill="hold" grpId="1" nodeType="withEffect">
                                  <p:stCondLst>
                                    <p:cond delay="0"/>
                                  </p:stCondLst>
                                  <p:childTnLst>
                                    <p:animScale>
                                      <p:cBhvr>
                                        <p:cTn id="70" dur="1500" fill="hold"/>
                                        <p:tgtEl>
                                          <p:spTgt spid="6"/>
                                        </p:tgtEl>
                                      </p:cBhvr>
                                      <p:by x="46000" y="46000"/>
                                    </p:animScale>
                                  </p:childTnLst>
                                </p:cTn>
                              </p:par>
                              <p:par>
                                <p:cTn id="71" presetID="10" presetClass="exit" presetSubtype="0" fill="hold" nodeType="withEffect">
                                  <p:stCondLst>
                                    <p:cond delay="0"/>
                                  </p:stCondLst>
                                  <p:childTnLst>
                                    <p:animEffect transition="out" filter="fade">
                                      <p:cBhvr>
                                        <p:cTn id="72" dur="500"/>
                                        <p:tgtEl>
                                          <p:spTgt spid="64"/>
                                        </p:tgtEl>
                                      </p:cBhvr>
                                    </p:animEffect>
                                    <p:set>
                                      <p:cBhvr>
                                        <p:cTn id="73" dur="1" fill="hold">
                                          <p:stCondLst>
                                            <p:cond delay="499"/>
                                          </p:stCondLst>
                                        </p:cTn>
                                        <p:tgtEl>
                                          <p:spTgt spid="64"/>
                                        </p:tgtEl>
                                        <p:attrNameLst>
                                          <p:attrName>style.visibility</p:attrName>
                                        </p:attrNameLst>
                                      </p:cBhvr>
                                      <p:to>
                                        <p:strVal val="hidden"/>
                                      </p:to>
                                    </p:set>
                                  </p:childTnLst>
                                </p:cTn>
                              </p:par>
                              <p:par>
                                <p:cTn id="74" presetID="10" presetClass="exit" presetSubtype="0" fill="hold" nodeType="withEffect">
                                  <p:stCondLst>
                                    <p:cond delay="0"/>
                                  </p:stCondLst>
                                  <p:childTnLst>
                                    <p:animEffect transition="out" filter="fade">
                                      <p:cBhvr>
                                        <p:cTn id="75" dur="500"/>
                                        <p:tgtEl>
                                          <p:spTgt spid="95"/>
                                        </p:tgtEl>
                                      </p:cBhvr>
                                    </p:animEffect>
                                    <p:set>
                                      <p:cBhvr>
                                        <p:cTn id="76" dur="1" fill="hold">
                                          <p:stCondLst>
                                            <p:cond delay="499"/>
                                          </p:stCondLst>
                                        </p:cTn>
                                        <p:tgtEl>
                                          <p:spTgt spid="95"/>
                                        </p:tgtEl>
                                        <p:attrNameLst>
                                          <p:attrName>style.visibility</p:attrName>
                                        </p:attrNameLst>
                                      </p:cBhvr>
                                      <p:to>
                                        <p:strVal val="hidden"/>
                                      </p:to>
                                    </p:set>
                                  </p:childTnLst>
                                </p:cTn>
                              </p:par>
                              <p:par>
                                <p:cTn id="77" presetID="10" presetClass="exit" presetSubtype="0" fill="hold" grpId="0" nodeType="withEffect">
                                  <p:stCondLst>
                                    <p:cond delay="500"/>
                                  </p:stCondLst>
                                  <p:childTnLst>
                                    <p:animEffect transition="out" filter="fade">
                                      <p:cBhvr>
                                        <p:cTn id="78" dur="1000"/>
                                        <p:tgtEl>
                                          <p:spTgt spid="121"/>
                                        </p:tgtEl>
                                      </p:cBhvr>
                                    </p:animEffect>
                                    <p:set>
                                      <p:cBhvr>
                                        <p:cTn id="79" dur="1" fill="hold">
                                          <p:stCondLst>
                                            <p:cond delay="999"/>
                                          </p:stCondLst>
                                        </p:cTn>
                                        <p:tgtEl>
                                          <p:spTgt spid="121"/>
                                        </p:tgtEl>
                                        <p:attrNameLst>
                                          <p:attrName>style.visibility</p:attrName>
                                        </p:attrNameLst>
                                      </p:cBhvr>
                                      <p:to>
                                        <p:strVal val="hidden"/>
                                      </p:to>
                                    </p:set>
                                  </p:childTnLst>
                                </p:cTn>
                              </p:par>
                              <p:par>
                                <p:cTn id="80" presetID="10" presetClass="exit" presetSubtype="0" fill="hold" grpId="0" nodeType="withEffect">
                                  <p:stCondLst>
                                    <p:cond delay="500"/>
                                  </p:stCondLst>
                                  <p:childTnLst>
                                    <p:animEffect transition="out" filter="fade">
                                      <p:cBhvr>
                                        <p:cTn id="81" dur="1000"/>
                                        <p:tgtEl>
                                          <p:spTgt spid="17"/>
                                        </p:tgtEl>
                                      </p:cBhvr>
                                    </p:animEffect>
                                    <p:set>
                                      <p:cBhvr>
                                        <p:cTn id="82" dur="1" fill="hold">
                                          <p:stCondLst>
                                            <p:cond delay="999"/>
                                          </p:stCondLst>
                                        </p:cTn>
                                        <p:tgtEl>
                                          <p:spTgt spid="17"/>
                                        </p:tgtEl>
                                        <p:attrNameLst>
                                          <p:attrName>style.visibility</p:attrName>
                                        </p:attrNameLst>
                                      </p:cBhvr>
                                      <p:to>
                                        <p:strVal val="hidden"/>
                                      </p:to>
                                    </p:set>
                                  </p:childTnLst>
                                </p:cTn>
                              </p:par>
                              <p:par>
                                <p:cTn id="83" presetID="10" presetClass="exit" presetSubtype="0" fill="hold" nodeType="withEffect">
                                  <p:stCondLst>
                                    <p:cond delay="500"/>
                                  </p:stCondLst>
                                  <p:childTnLst>
                                    <p:animEffect transition="out" filter="fade">
                                      <p:cBhvr>
                                        <p:cTn id="84" dur="500"/>
                                        <p:tgtEl>
                                          <p:spTgt spid="97"/>
                                        </p:tgtEl>
                                      </p:cBhvr>
                                    </p:animEffect>
                                    <p:set>
                                      <p:cBhvr>
                                        <p:cTn id="85" dur="1" fill="hold">
                                          <p:stCondLst>
                                            <p:cond delay="499"/>
                                          </p:stCondLst>
                                        </p:cTn>
                                        <p:tgtEl>
                                          <p:spTgt spid="97"/>
                                        </p:tgtEl>
                                        <p:attrNameLst>
                                          <p:attrName>style.visibility</p:attrName>
                                        </p:attrNameLst>
                                      </p:cBhvr>
                                      <p:to>
                                        <p:strVal val="hidden"/>
                                      </p:to>
                                    </p:set>
                                  </p:childTnLst>
                                </p:cTn>
                              </p:par>
                              <p:par>
                                <p:cTn id="86" presetID="10" presetClass="exit" presetSubtype="0" fill="hold" grpId="0" nodeType="withEffect">
                                  <p:stCondLst>
                                    <p:cond delay="500"/>
                                  </p:stCondLst>
                                  <p:childTnLst>
                                    <p:animEffect transition="out" filter="fade">
                                      <p:cBhvr>
                                        <p:cTn id="87" dur="1000"/>
                                        <p:tgtEl>
                                          <p:spTgt spid="18"/>
                                        </p:tgtEl>
                                      </p:cBhvr>
                                    </p:animEffect>
                                    <p:set>
                                      <p:cBhvr>
                                        <p:cTn id="88" dur="1" fill="hold">
                                          <p:stCondLst>
                                            <p:cond delay="999"/>
                                          </p:stCondLst>
                                        </p:cTn>
                                        <p:tgtEl>
                                          <p:spTgt spid="18"/>
                                        </p:tgtEl>
                                        <p:attrNameLst>
                                          <p:attrName>style.visibility</p:attrName>
                                        </p:attrNameLst>
                                      </p:cBhvr>
                                      <p:to>
                                        <p:strVal val="hidden"/>
                                      </p:to>
                                    </p:set>
                                  </p:childTnLst>
                                </p:cTn>
                              </p:par>
                              <p:par>
                                <p:cTn id="89" presetID="10" presetClass="exit" presetSubtype="0" fill="hold" nodeType="withEffect">
                                  <p:stCondLst>
                                    <p:cond delay="500"/>
                                  </p:stCondLst>
                                  <p:childTnLst>
                                    <p:animEffect transition="out" filter="fade">
                                      <p:cBhvr>
                                        <p:cTn id="90" dur="500"/>
                                        <p:tgtEl>
                                          <p:spTgt spid="66"/>
                                        </p:tgtEl>
                                      </p:cBhvr>
                                    </p:animEffect>
                                    <p:set>
                                      <p:cBhvr>
                                        <p:cTn id="91" dur="1" fill="hold">
                                          <p:stCondLst>
                                            <p:cond delay="499"/>
                                          </p:stCondLst>
                                        </p:cTn>
                                        <p:tgtEl>
                                          <p:spTgt spid="66"/>
                                        </p:tgtEl>
                                        <p:attrNameLst>
                                          <p:attrName>style.visibility</p:attrName>
                                        </p:attrNameLst>
                                      </p:cBhvr>
                                      <p:to>
                                        <p:strVal val="hidden"/>
                                      </p:to>
                                    </p:set>
                                  </p:childTnLst>
                                </p:cTn>
                              </p:par>
                              <p:par>
                                <p:cTn id="92" presetID="10" presetClass="exit" presetSubtype="0" fill="hold" grpId="0" nodeType="withEffect">
                                  <p:stCondLst>
                                    <p:cond delay="500"/>
                                  </p:stCondLst>
                                  <p:childTnLst>
                                    <p:animEffect transition="out" filter="fade">
                                      <p:cBhvr>
                                        <p:cTn id="93" dur="500"/>
                                        <p:tgtEl>
                                          <p:spTgt spid="117"/>
                                        </p:tgtEl>
                                      </p:cBhvr>
                                    </p:animEffect>
                                    <p:set>
                                      <p:cBhvr>
                                        <p:cTn id="94" dur="1" fill="hold">
                                          <p:stCondLst>
                                            <p:cond delay="499"/>
                                          </p:stCondLst>
                                        </p:cTn>
                                        <p:tgtEl>
                                          <p:spTgt spid="117"/>
                                        </p:tgtEl>
                                        <p:attrNameLst>
                                          <p:attrName>style.visibility</p:attrName>
                                        </p:attrNameLst>
                                      </p:cBhvr>
                                      <p:to>
                                        <p:strVal val="hidden"/>
                                      </p:to>
                                    </p:set>
                                  </p:childTnLst>
                                </p:cTn>
                              </p:par>
                              <p:par>
                                <p:cTn id="95" presetID="10" presetClass="exit" presetSubtype="0" fill="hold" grpId="0" nodeType="withEffect">
                                  <p:stCondLst>
                                    <p:cond delay="500"/>
                                  </p:stCondLst>
                                  <p:childTnLst>
                                    <p:animEffect transition="out" filter="fade">
                                      <p:cBhvr>
                                        <p:cTn id="96" dur="1000"/>
                                        <p:tgtEl>
                                          <p:spTgt spid="15"/>
                                        </p:tgtEl>
                                      </p:cBhvr>
                                    </p:animEffect>
                                    <p:set>
                                      <p:cBhvr>
                                        <p:cTn id="97" dur="1" fill="hold">
                                          <p:stCondLst>
                                            <p:cond delay="999"/>
                                          </p:stCondLst>
                                        </p:cTn>
                                        <p:tgtEl>
                                          <p:spTgt spid="15"/>
                                        </p:tgtEl>
                                        <p:attrNameLst>
                                          <p:attrName>style.visibility</p:attrName>
                                        </p:attrNameLst>
                                      </p:cBhvr>
                                      <p:to>
                                        <p:strVal val="hidden"/>
                                      </p:to>
                                    </p:set>
                                  </p:childTnLst>
                                </p:cTn>
                              </p:par>
                              <p:par>
                                <p:cTn id="98" presetID="10" presetClass="exit" presetSubtype="0" fill="hold" nodeType="withEffect">
                                  <p:stCondLst>
                                    <p:cond delay="500"/>
                                  </p:stCondLst>
                                  <p:childTnLst>
                                    <p:animEffect transition="out" filter="fade">
                                      <p:cBhvr>
                                        <p:cTn id="99" dur="1000"/>
                                        <p:tgtEl>
                                          <p:spTgt spid="62"/>
                                        </p:tgtEl>
                                      </p:cBhvr>
                                    </p:animEffect>
                                    <p:set>
                                      <p:cBhvr>
                                        <p:cTn id="100" dur="1" fill="hold">
                                          <p:stCondLst>
                                            <p:cond delay="999"/>
                                          </p:stCondLst>
                                        </p:cTn>
                                        <p:tgtEl>
                                          <p:spTgt spid="62"/>
                                        </p:tgtEl>
                                        <p:attrNameLst>
                                          <p:attrName>style.visibility</p:attrName>
                                        </p:attrNameLst>
                                      </p:cBhvr>
                                      <p:to>
                                        <p:strVal val="hidden"/>
                                      </p:to>
                                    </p:set>
                                  </p:childTnLst>
                                </p:cTn>
                              </p:par>
                              <p:par>
                                <p:cTn id="101" presetID="1" presetClass="exit" presetSubtype="0" fill="hold" grpId="1" nodeType="withEffect">
                                  <p:stCondLst>
                                    <p:cond delay="1500"/>
                                  </p:stCondLst>
                                  <p:childTnLst>
                                    <p:set>
                                      <p:cBhvr>
                                        <p:cTn id="102" dur="1" fill="hold">
                                          <p:stCondLst>
                                            <p:cond delay="0"/>
                                          </p:stCondLst>
                                        </p:cTn>
                                        <p:tgtEl>
                                          <p:spTgt spid="4"/>
                                        </p:tgtEl>
                                        <p:attrNameLst>
                                          <p:attrName>style.visibility</p:attrName>
                                        </p:attrNameLst>
                                      </p:cBhvr>
                                      <p:to>
                                        <p:strVal val="hidden"/>
                                      </p:to>
                                    </p:set>
                                  </p:childTnLst>
                                </p:cTn>
                              </p:par>
                              <p:par>
                                <p:cTn id="103" presetID="1" presetClass="exit" presetSubtype="0" fill="hold" grpId="2" nodeType="withEffect">
                                  <p:stCondLst>
                                    <p:cond delay="1500"/>
                                  </p:stCondLst>
                                  <p:childTnLst>
                                    <p:set>
                                      <p:cBhvr>
                                        <p:cTn id="104" dur="1" fill="hold">
                                          <p:stCondLst>
                                            <p:cond delay="0"/>
                                          </p:stCondLst>
                                        </p:cTn>
                                        <p:tgtEl>
                                          <p:spTgt spid="6"/>
                                        </p:tgtEl>
                                        <p:attrNameLst>
                                          <p:attrName>style.visibility</p:attrName>
                                        </p:attrNameLst>
                                      </p:cBhvr>
                                      <p:to>
                                        <p:strVal val="hidden"/>
                                      </p:to>
                                    </p:set>
                                  </p:childTnLst>
                                </p:cTn>
                              </p:par>
                              <p:par>
                                <p:cTn id="105" presetID="10" presetClass="entr" presetSubtype="0" repeatCount="0" fill="hold" nodeType="withEffect">
                                  <p:stCondLst>
                                    <p:cond delay="1500"/>
                                  </p:stCondLst>
                                  <p:childTnLst>
                                    <p:set>
                                      <p:cBhvr>
                                        <p:cTn id="106" dur="1" fill="hold">
                                          <p:stCondLst>
                                            <p:cond delay="0"/>
                                          </p:stCondLst>
                                        </p:cTn>
                                        <p:tgtEl>
                                          <p:spTgt spid="111"/>
                                        </p:tgtEl>
                                        <p:attrNameLst>
                                          <p:attrName>style.visibility</p:attrName>
                                        </p:attrNameLst>
                                      </p:cBhvr>
                                      <p:to>
                                        <p:strVal val="visible"/>
                                      </p:to>
                                    </p:set>
                                    <p:animEffect transition="in" filter="fade">
                                      <p:cBhvr>
                                        <p:cTn id="107" dur="100"/>
                                        <p:tgtEl>
                                          <p:spTgt spid="111"/>
                                        </p:tgtEl>
                                      </p:cBhvr>
                                    </p:animEffect>
                                  </p:childTnLst>
                                </p:cTn>
                              </p:par>
                              <p:par>
                                <p:cTn id="108" presetID="10" presetClass="entr" presetSubtype="0" repeatCount="0" fill="hold" nodeType="withEffect">
                                  <p:stCondLst>
                                    <p:cond delay="1500"/>
                                  </p:stCondLst>
                                  <p:childTnLst>
                                    <p:set>
                                      <p:cBhvr>
                                        <p:cTn id="109" dur="1" fill="hold">
                                          <p:stCondLst>
                                            <p:cond delay="0"/>
                                          </p:stCondLst>
                                        </p:cTn>
                                        <p:tgtEl>
                                          <p:spTgt spid="130"/>
                                        </p:tgtEl>
                                        <p:attrNameLst>
                                          <p:attrName>style.visibility</p:attrName>
                                        </p:attrNameLst>
                                      </p:cBhvr>
                                      <p:to>
                                        <p:strVal val="visible"/>
                                      </p:to>
                                    </p:set>
                                    <p:animEffect transition="in" filter="fade">
                                      <p:cBhvr>
                                        <p:cTn id="110" dur="100"/>
                                        <p:tgtEl>
                                          <p:spTgt spid="130"/>
                                        </p:tgtEl>
                                      </p:cBhvr>
                                    </p:animEffect>
                                  </p:childTnLst>
                                </p:cTn>
                              </p:par>
                              <p:par>
                                <p:cTn id="111" presetID="10" presetClass="entr" presetSubtype="0" fill="hold" grpId="0" nodeType="withEffect">
                                  <p:stCondLst>
                                    <p:cond delay="1500"/>
                                  </p:stCondLst>
                                  <p:childTnLst>
                                    <p:set>
                                      <p:cBhvr>
                                        <p:cTn id="112" dur="1" fill="hold">
                                          <p:stCondLst>
                                            <p:cond delay="0"/>
                                          </p:stCondLst>
                                        </p:cTn>
                                        <p:tgtEl>
                                          <p:spTgt spid="104"/>
                                        </p:tgtEl>
                                        <p:attrNameLst>
                                          <p:attrName>style.visibility</p:attrName>
                                        </p:attrNameLst>
                                      </p:cBhvr>
                                      <p:to>
                                        <p:strVal val="visible"/>
                                      </p:to>
                                    </p:set>
                                    <p:animEffect transition="in" filter="fade">
                                      <p:cBhvr>
                                        <p:cTn id="113" dur="500"/>
                                        <p:tgtEl>
                                          <p:spTgt spid="104"/>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05"/>
                                        </p:tgtEl>
                                        <p:attrNameLst>
                                          <p:attrName>style.visibility</p:attrName>
                                        </p:attrNameLst>
                                      </p:cBhvr>
                                      <p:to>
                                        <p:strVal val="visible"/>
                                      </p:to>
                                    </p:set>
                                    <p:animEffect transition="in" filter="fade">
                                      <p:cBhvr>
                                        <p:cTn id="116" dur="500"/>
                                        <p:tgtEl>
                                          <p:spTgt spid="105"/>
                                        </p:tgtEl>
                                      </p:cBhvr>
                                    </p:animEffect>
                                  </p:childTnLst>
                                </p:cTn>
                              </p:par>
                              <p:par>
                                <p:cTn id="117" presetID="10" presetClass="entr" presetSubtype="0" fill="hold" grpId="0" nodeType="withEffect">
                                  <p:stCondLst>
                                    <p:cond delay="2000"/>
                                  </p:stCondLst>
                                  <p:childTnLst>
                                    <p:set>
                                      <p:cBhvr>
                                        <p:cTn id="118" dur="1" fill="hold">
                                          <p:stCondLst>
                                            <p:cond delay="0"/>
                                          </p:stCondLst>
                                        </p:cTn>
                                        <p:tgtEl>
                                          <p:spTgt spid="107"/>
                                        </p:tgtEl>
                                        <p:attrNameLst>
                                          <p:attrName>style.visibility</p:attrName>
                                        </p:attrNameLst>
                                      </p:cBhvr>
                                      <p:to>
                                        <p:strVal val="visible"/>
                                      </p:to>
                                    </p:set>
                                    <p:animEffect transition="in" filter="fade">
                                      <p:cBhvr>
                                        <p:cTn id="119" dur="500"/>
                                        <p:tgtEl>
                                          <p:spTgt spid="107"/>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66"/>
                                        </p:tgtEl>
                                        <p:attrNameLst>
                                          <p:attrName>style.visibility</p:attrName>
                                        </p:attrNameLst>
                                      </p:cBhvr>
                                      <p:to>
                                        <p:strVal val="visible"/>
                                      </p:to>
                                    </p:set>
                                    <p:animEffect transition="in" filter="fade">
                                      <p:cBhvr>
                                        <p:cTn id="122" dur="500"/>
                                        <p:tgtEl>
                                          <p:spTgt spid="166"/>
                                        </p:tgtEl>
                                      </p:cBhvr>
                                    </p:animEffect>
                                  </p:childTnLst>
                                </p:cTn>
                              </p:par>
                              <p:par>
                                <p:cTn id="123" presetID="10" presetClass="entr" presetSubtype="0" fill="hold" grpId="0" nodeType="withEffect">
                                  <p:stCondLst>
                                    <p:cond delay="2000"/>
                                  </p:stCondLst>
                                  <p:childTnLst>
                                    <p:set>
                                      <p:cBhvr>
                                        <p:cTn id="124" dur="1" fill="hold">
                                          <p:stCondLst>
                                            <p:cond delay="0"/>
                                          </p:stCondLst>
                                        </p:cTn>
                                        <p:tgtEl>
                                          <p:spTgt spid="109"/>
                                        </p:tgtEl>
                                        <p:attrNameLst>
                                          <p:attrName>style.visibility</p:attrName>
                                        </p:attrNameLst>
                                      </p:cBhvr>
                                      <p:to>
                                        <p:strVal val="visible"/>
                                      </p:to>
                                    </p:set>
                                    <p:animEffect transition="in" filter="fade">
                                      <p:cBhvr>
                                        <p:cTn id="125" dur="500"/>
                                        <p:tgtEl>
                                          <p:spTgt spid="109"/>
                                        </p:tgtEl>
                                      </p:cBhvr>
                                    </p:animEffect>
                                  </p:childTnLst>
                                </p:cTn>
                              </p:par>
                              <p:par>
                                <p:cTn id="126" presetID="10" presetClass="entr" presetSubtype="0" fill="hold" grpId="0" nodeType="withEffect">
                                  <p:stCondLst>
                                    <p:cond delay="2000"/>
                                  </p:stCondLst>
                                  <p:childTnLst>
                                    <p:set>
                                      <p:cBhvr>
                                        <p:cTn id="127" dur="1" fill="hold">
                                          <p:stCondLst>
                                            <p:cond delay="0"/>
                                          </p:stCondLst>
                                        </p:cTn>
                                        <p:tgtEl>
                                          <p:spTgt spid="110"/>
                                        </p:tgtEl>
                                        <p:attrNameLst>
                                          <p:attrName>style.visibility</p:attrName>
                                        </p:attrNameLst>
                                      </p:cBhvr>
                                      <p:to>
                                        <p:strVal val="visible"/>
                                      </p:to>
                                    </p:set>
                                    <p:animEffect transition="in" filter="fade">
                                      <p:cBhvr>
                                        <p:cTn id="128" dur="500"/>
                                        <p:tgtEl>
                                          <p:spTgt spid="110"/>
                                        </p:tgtEl>
                                      </p:cBhvr>
                                    </p:animEffect>
                                  </p:childTnLst>
                                </p:cTn>
                              </p:par>
                              <p:par>
                                <p:cTn id="129" presetID="22" presetClass="entr" presetSubtype="8" fill="hold" nodeType="withEffect">
                                  <p:stCondLst>
                                    <p:cond delay="250"/>
                                  </p:stCondLst>
                                  <p:childTnLst>
                                    <p:set>
                                      <p:cBhvr>
                                        <p:cTn id="130" dur="1" fill="hold">
                                          <p:stCondLst>
                                            <p:cond delay="0"/>
                                          </p:stCondLst>
                                        </p:cTn>
                                        <p:tgtEl>
                                          <p:spTgt spid="168"/>
                                        </p:tgtEl>
                                        <p:attrNameLst>
                                          <p:attrName>style.visibility</p:attrName>
                                        </p:attrNameLst>
                                      </p:cBhvr>
                                      <p:to>
                                        <p:strVal val="visible"/>
                                      </p:to>
                                    </p:set>
                                    <p:animEffect transition="in" filter="wipe(left)">
                                      <p:cBhvr>
                                        <p:cTn id="131" dur="500"/>
                                        <p:tgtEl>
                                          <p:spTgt spid="168"/>
                                        </p:tgtEl>
                                      </p:cBhvr>
                                    </p:animEffect>
                                  </p:childTnLst>
                                </p:cTn>
                              </p:par>
                              <p:par>
                                <p:cTn id="132" presetID="35" presetClass="path" presetSubtype="0" fill="hold" nodeType="withEffect">
                                  <p:stCondLst>
                                    <p:cond delay="0"/>
                                  </p:stCondLst>
                                  <p:childTnLst>
                                    <p:animMotion origin="layout" path="M -3.33333E-6 4.93827E-6 L -0.07934 0.09907 " pathEditMode="relative" rAng="0" ptsTypes="AA">
                                      <p:cBhvr from="" to="">
                                        <p:cTn id="133" dur="1500" spd="-100000" accel="50000" decel="50000" fill="hold">
                                          <p:stCondLst>
                                            <p:cond delay="0"/>
                                          </p:stCondLst>
                                        </p:cTn>
                                        <p:tgtEl>
                                          <p:spTgt spid="168"/>
                                        </p:tgtEl>
                                        <p:attrNameLst>
                                          <p:attrName>ppt_x</p:attrName>
                                          <p:attrName>ppt_y</p:attrName>
                                        </p:attrNameLst>
                                      </p:cBhvr>
                                      <p:rCtr x="-3976" y="4938"/>
                                    </p:animMotion>
                                  </p:childTnLst>
                                </p:cTn>
                              </p:par>
                              <p:par>
                                <p:cTn id="134" presetID="22" presetClass="entr" presetSubtype="8" fill="hold" nodeType="withEffect">
                                  <p:stCondLst>
                                    <p:cond delay="250"/>
                                  </p:stCondLst>
                                  <p:childTnLst>
                                    <p:set>
                                      <p:cBhvr>
                                        <p:cTn id="135" dur="1" fill="hold">
                                          <p:stCondLst>
                                            <p:cond delay="0"/>
                                          </p:stCondLst>
                                        </p:cTn>
                                        <p:tgtEl>
                                          <p:spTgt spid="167"/>
                                        </p:tgtEl>
                                        <p:attrNameLst>
                                          <p:attrName>style.visibility</p:attrName>
                                        </p:attrNameLst>
                                      </p:cBhvr>
                                      <p:to>
                                        <p:strVal val="visible"/>
                                      </p:to>
                                    </p:set>
                                    <p:animEffect transition="in" filter="wipe(left)">
                                      <p:cBhvr>
                                        <p:cTn id="136" dur="500"/>
                                        <p:tgtEl>
                                          <p:spTgt spid="167"/>
                                        </p:tgtEl>
                                      </p:cBhvr>
                                    </p:animEffect>
                                  </p:childTnLst>
                                </p:cTn>
                              </p:par>
                              <p:par>
                                <p:cTn id="137" presetID="35" presetClass="path" presetSubtype="0" fill="hold" nodeType="withEffect">
                                  <p:stCondLst>
                                    <p:cond delay="0"/>
                                  </p:stCondLst>
                                  <p:childTnLst>
                                    <p:animMotion origin="layout" path="M 4.16667E-6 -4.19753E-6 L -0.18802 0.14476 " pathEditMode="relative" rAng="0" ptsTypes="AA">
                                      <p:cBhvr from="" to="">
                                        <p:cTn id="138" dur="1500" spd="-100000" accel="50000" decel="50000" fill="hold">
                                          <p:stCondLst>
                                            <p:cond delay="0"/>
                                          </p:stCondLst>
                                        </p:cTn>
                                        <p:tgtEl>
                                          <p:spTgt spid="167"/>
                                        </p:tgtEl>
                                        <p:attrNameLst>
                                          <p:attrName>ppt_x</p:attrName>
                                          <p:attrName>ppt_y</p:attrName>
                                        </p:attrNameLst>
                                      </p:cBhvr>
                                      <p:rCtr x="-9410" y="7222"/>
                                    </p:animMotion>
                                  </p:childTnLst>
                                </p:cTn>
                              </p:par>
                              <p:par>
                                <p:cTn id="139" presetID="8" presetClass="emph" presetSubtype="0" fill="hold" nodeType="withEffect">
                                  <p:stCondLst>
                                    <p:cond delay="0"/>
                                  </p:stCondLst>
                                  <p:childTnLst>
                                    <p:animRot by="1200000">
                                      <p:cBhvr>
                                        <p:cTn id="140" dur="10" fill="hold"/>
                                        <p:tgtEl>
                                          <p:spTgt spid="167"/>
                                        </p:tgtEl>
                                        <p:attrNameLst>
                                          <p:attrName>r</p:attrName>
                                        </p:attrNameLst>
                                      </p:cBhvr>
                                    </p:animRot>
                                  </p:childTnLst>
                                </p:cTn>
                              </p:par>
                              <p:par>
                                <p:cTn id="141" presetID="8" presetClass="emph" presetSubtype="0" fill="hold" nodeType="withEffect">
                                  <p:stCondLst>
                                    <p:cond delay="0"/>
                                  </p:stCondLst>
                                  <p:childTnLst>
                                    <p:animRot by="-1200000">
                                      <p:cBhvr>
                                        <p:cTn id="142" dur="1500" fill="hold"/>
                                        <p:tgtEl>
                                          <p:spTgt spid="167"/>
                                        </p:tgtEl>
                                        <p:attrNameLst>
                                          <p:attrName>r</p:attrName>
                                        </p:attrNameLst>
                                      </p:cBhvr>
                                    </p:animRot>
                                  </p:childTnLst>
                                </p:cTn>
                              </p:par>
                            </p:childTnLst>
                          </p:cTn>
                        </p:par>
                      </p:childTnLst>
                    </p:cTn>
                  </p:par>
                  <p:par>
                    <p:cTn id="143" fill="hold">
                      <p:stCondLst>
                        <p:cond delay="indefinite"/>
                      </p:stCondLst>
                      <p:childTnLst>
                        <p:par>
                          <p:cTn id="144" fill="hold">
                            <p:stCondLst>
                              <p:cond delay="0"/>
                            </p:stCondLst>
                            <p:childTnLst>
                              <p:par>
                                <p:cTn id="145" presetID="10" presetClass="exit" presetSubtype="0" fill="hold" grpId="1" nodeType="clickEffect">
                                  <p:stCondLst>
                                    <p:cond delay="0"/>
                                  </p:stCondLst>
                                  <p:childTnLst>
                                    <p:animEffect transition="out" filter="fade">
                                      <p:cBhvr>
                                        <p:cTn id="146" dur="500"/>
                                        <p:tgtEl>
                                          <p:spTgt spid="107"/>
                                        </p:tgtEl>
                                      </p:cBhvr>
                                    </p:animEffect>
                                    <p:set>
                                      <p:cBhvr>
                                        <p:cTn id="147" dur="1" fill="hold">
                                          <p:stCondLst>
                                            <p:cond delay="499"/>
                                          </p:stCondLst>
                                        </p:cTn>
                                        <p:tgtEl>
                                          <p:spTgt spid="107"/>
                                        </p:tgtEl>
                                        <p:attrNameLst>
                                          <p:attrName>style.visibility</p:attrName>
                                        </p:attrNameLst>
                                      </p:cBhvr>
                                      <p:to>
                                        <p:strVal val="hidden"/>
                                      </p:to>
                                    </p:set>
                                  </p:childTnLst>
                                </p:cTn>
                              </p:par>
                              <p:par>
                                <p:cTn id="148" presetID="10" presetClass="exit" presetSubtype="0" fill="hold" grpId="1" nodeType="withEffect">
                                  <p:stCondLst>
                                    <p:cond delay="0"/>
                                  </p:stCondLst>
                                  <p:childTnLst>
                                    <p:animEffect transition="out" filter="fade">
                                      <p:cBhvr>
                                        <p:cTn id="149" dur="500"/>
                                        <p:tgtEl>
                                          <p:spTgt spid="166"/>
                                        </p:tgtEl>
                                      </p:cBhvr>
                                    </p:animEffect>
                                    <p:set>
                                      <p:cBhvr>
                                        <p:cTn id="150" dur="1" fill="hold">
                                          <p:stCondLst>
                                            <p:cond delay="499"/>
                                          </p:stCondLst>
                                        </p:cTn>
                                        <p:tgtEl>
                                          <p:spTgt spid="166"/>
                                        </p:tgtEl>
                                        <p:attrNameLst>
                                          <p:attrName>style.visibility</p:attrName>
                                        </p:attrNameLst>
                                      </p:cBhvr>
                                      <p:to>
                                        <p:strVal val="hidden"/>
                                      </p:to>
                                    </p:set>
                                  </p:childTnLst>
                                </p:cTn>
                              </p:par>
                              <p:par>
                                <p:cTn id="151" presetID="10" presetClass="exit" presetSubtype="0" fill="hold" grpId="1" nodeType="withEffect">
                                  <p:stCondLst>
                                    <p:cond delay="0"/>
                                  </p:stCondLst>
                                  <p:childTnLst>
                                    <p:animEffect transition="out" filter="fade">
                                      <p:cBhvr>
                                        <p:cTn id="152" dur="500"/>
                                        <p:tgtEl>
                                          <p:spTgt spid="109"/>
                                        </p:tgtEl>
                                      </p:cBhvr>
                                    </p:animEffect>
                                    <p:set>
                                      <p:cBhvr>
                                        <p:cTn id="153" dur="1" fill="hold">
                                          <p:stCondLst>
                                            <p:cond delay="499"/>
                                          </p:stCondLst>
                                        </p:cTn>
                                        <p:tgtEl>
                                          <p:spTgt spid="109"/>
                                        </p:tgtEl>
                                        <p:attrNameLst>
                                          <p:attrName>style.visibility</p:attrName>
                                        </p:attrNameLst>
                                      </p:cBhvr>
                                      <p:to>
                                        <p:strVal val="hidden"/>
                                      </p:to>
                                    </p:set>
                                  </p:childTnLst>
                                </p:cTn>
                              </p:par>
                              <p:par>
                                <p:cTn id="154" presetID="10" presetClass="exit" presetSubtype="0" fill="hold" grpId="1" nodeType="withEffect">
                                  <p:stCondLst>
                                    <p:cond delay="0"/>
                                  </p:stCondLst>
                                  <p:childTnLst>
                                    <p:animEffect transition="out" filter="fade">
                                      <p:cBhvr>
                                        <p:cTn id="155" dur="500"/>
                                        <p:tgtEl>
                                          <p:spTgt spid="110"/>
                                        </p:tgtEl>
                                      </p:cBhvr>
                                    </p:animEffect>
                                    <p:set>
                                      <p:cBhvr>
                                        <p:cTn id="156" dur="1" fill="hold">
                                          <p:stCondLst>
                                            <p:cond delay="499"/>
                                          </p:stCondLst>
                                        </p:cTn>
                                        <p:tgtEl>
                                          <p:spTgt spid="110"/>
                                        </p:tgtEl>
                                        <p:attrNameLst>
                                          <p:attrName>style.visibility</p:attrName>
                                        </p:attrNameLst>
                                      </p:cBhvr>
                                      <p:to>
                                        <p:strVal val="hidden"/>
                                      </p:to>
                                    </p:set>
                                  </p:childTnLst>
                                </p:cTn>
                              </p:par>
                              <p:par>
                                <p:cTn id="157" presetID="35" presetClass="path" presetSubtype="0" fill="hold" grpId="0" nodeType="withEffect">
                                  <p:stCondLst>
                                    <p:cond delay="0"/>
                                  </p:stCondLst>
                                  <p:childTnLst>
                                    <p:animMotion origin="layout" path="M -4.72222E-6 2.22222E-6 L -0.12969 -0.05864 " pathEditMode="relative" rAng="0" ptsTypes="AA">
                                      <p:cBhvr from="" to="">
                                        <p:cTn id="158" dur="1500" accel="50000" decel="50000" fill="hold">
                                          <p:stCondLst>
                                            <p:cond delay="0"/>
                                          </p:stCondLst>
                                        </p:cTn>
                                        <p:tgtEl>
                                          <p:spTgt spid="5"/>
                                        </p:tgtEl>
                                        <p:attrNameLst>
                                          <p:attrName>ppt_x</p:attrName>
                                          <p:attrName>ppt_y</p:attrName>
                                        </p:attrNameLst>
                                      </p:cBhvr>
                                      <p:rCtr x="-6094" y="-3056"/>
                                    </p:animMotion>
                                  </p:childTnLst>
                                </p:cTn>
                              </p:par>
                              <p:par>
                                <p:cTn id="159" presetID="6" presetClass="emph" presetSubtype="0" accel="50000" decel="50000" fill="hold" grpId="1" nodeType="withEffect">
                                  <p:stCondLst>
                                    <p:cond delay="0"/>
                                  </p:stCondLst>
                                  <p:childTnLst>
                                    <p:animScale>
                                      <p:cBhvr>
                                        <p:cTn id="160" dur="1500" fill="hold"/>
                                        <p:tgtEl>
                                          <p:spTgt spid="5"/>
                                        </p:tgtEl>
                                      </p:cBhvr>
                                      <p:by x="49000" y="49000"/>
                                    </p:animScale>
                                  </p:childTnLst>
                                </p:cTn>
                              </p:par>
                              <p:par>
                                <p:cTn id="161" presetID="35" presetClass="path" presetSubtype="0" fill="hold" grpId="0" nodeType="withEffect">
                                  <p:stCondLst>
                                    <p:cond delay="0"/>
                                  </p:stCondLst>
                                  <p:childTnLst>
                                    <p:animMotion origin="layout" path="M 8.33333E-7 1.11111E-6 L -0.08802 -0.23272 " pathEditMode="relative" rAng="0" ptsTypes="AA">
                                      <p:cBhvr from="" to="">
                                        <p:cTn id="162" dur="1500" accel="50000" decel="50000" fill="hold">
                                          <p:stCondLst>
                                            <p:cond delay="0"/>
                                          </p:stCondLst>
                                        </p:cTn>
                                        <p:tgtEl>
                                          <p:spTgt spid="12"/>
                                        </p:tgtEl>
                                        <p:attrNameLst>
                                          <p:attrName>ppt_x</p:attrName>
                                          <p:attrName>ppt_y</p:attrName>
                                        </p:attrNameLst>
                                      </p:cBhvr>
                                      <p:rCtr x="-4184" y="-11265"/>
                                    </p:animMotion>
                                  </p:childTnLst>
                                </p:cTn>
                              </p:par>
                              <p:par>
                                <p:cTn id="163" presetID="6" presetClass="emph" presetSubtype="0" accel="50000" decel="50000" fill="hold" grpId="1" nodeType="withEffect">
                                  <p:stCondLst>
                                    <p:cond delay="0"/>
                                  </p:stCondLst>
                                  <p:childTnLst>
                                    <p:animScale>
                                      <p:cBhvr>
                                        <p:cTn id="164" dur="1500" fill="hold"/>
                                        <p:tgtEl>
                                          <p:spTgt spid="12"/>
                                        </p:tgtEl>
                                      </p:cBhvr>
                                      <p:by x="66000" y="66000"/>
                                    </p:animScale>
                                  </p:childTnLst>
                                </p:cTn>
                              </p:par>
                              <p:par>
                                <p:cTn id="165" presetID="22" presetClass="entr" presetSubtype="2" fill="hold" nodeType="withEffect">
                                  <p:stCondLst>
                                    <p:cond delay="250"/>
                                  </p:stCondLst>
                                  <p:childTnLst>
                                    <p:set>
                                      <p:cBhvr>
                                        <p:cTn id="166" dur="1" fill="hold">
                                          <p:stCondLst>
                                            <p:cond delay="0"/>
                                          </p:stCondLst>
                                        </p:cTn>
                                        <p:tgtEl>
                                          <p:spTgt spid="211"/>
                                        </p:tgtEl>
                                        <p:attrNameLst>
                                          <p:attrName>style.visibility</p:attrName>
                                        </p:attrNameLst>
                                      </p:cBhvr>
                                      <p:to>
                                        <p:strVal val="visible"/>
                                      </p:to>
                                    </p:set>
                                    <p:animEffect transition="in" filter="wipe(right)">
                                      <p:cBhvr>
                                        <p:cTn id="167" dur="500"/>
                                        <p:tgtEl>
                                          <p:spTgt spid="211"/>
                                        </p:tgtEl>
                                      </p:cBhvr>
                                    </p:animEffect>
                                  </p:childTnLst>
                                </p:cTn>
                              </p:par>
                              <p:par>
                                <p:cTn id="168" presetID="35" presetClass="path" presetSubtype="0" fill="hold" nodeType="withEffect">
                                  <p:stCondLst>
                                    <p:cond delay="0"/>
                                  </p:stCondLst>
                                  <p:childTnLst>
                                    <p:animMotion origin="layout" path="M -2.22222E-6 -8.64198E-7 L 0.14792 0.09753 " pathEditMode="relative" rAng="0" ptsTypes="AA">
                                      <p:cBhvr from="" to="">
                                        <p:cTn id="169" dur="1500" spd="-100000" accel="50000" decel="50000" fill="hold">
                                          <p:stCondLst>
                                            <p:cond delay="0"/>
                                          </p:stCondLst>
                                        </p:cTn>
                                        <p:tgtEl>
                                          <p:spTgt spid="211"/>
                                        </p:tgtEl>
                                        <p:attrNameLst>
                                          <p:attrName>ppt_x</p:attrName>
                                          <p:attrName>ppt_y</p:attrName>
                                        </p:attrNameLst>
                                      </p:cBhvr>
                                      <p:rCtr x="7396" y="4877"/>
                                    </p:animMotion>
                                  </p:childTnLst>
                                </p:cTn>
                              </p:par>
                              <p:par>
                                <p:cTn id="170" presetID="22" presetClass="entr" presetSubtype="2" fill="hold" nodeType="withEffect">
                                  <p:stCondLst>
                                    <p:cond delay="250"/>
                                  </p:stCondLst>
                                  <p:childTnLst>
                                    <p:set>
                                      <p:cBhvr>
                                        <p:cTn id="171" dur="1" fill="hold">
                                          <p:stCondLst>
                                            <p:cond delay="0"/>
                                          </p:stCondLst>
                                        </p:cTn>
                                        <p:tgtEl>
                                          <p:spTgt spid="210"/>
                                        </p:tgtEl>
                                        <p:attrNameLst>
                                          <p:attrName>style.visibility</p:attrName>
                                        </p:attrNameLst>
                                      </p:cBhvr>
                                      <p:to>
                                        <p:strVal val="visible"/>
                                      </p:to>
                                    </p:set>
                                    <p:animEffect transition="in" filter="wipe(right)">
                                      <p:cBhvr>
                                        <p:cTn id="172" dur="500"/>
                                        <p:tgtEl>
                                          <p:spTgt spid="210"/>
                                        </p:tgtEl>
                                      </p:cBhvr>
                                    </p:animEffect>
                                  </p:childTnLst>
                                </p:cTn>
                              </p:par>
                              <p:par>
                                <p:cTn id="173" presetID="35" presetClass="path" presetSubtype="0" fill="hold" nodeType="withEffect">
                                  <p:stCondLst>
                                    <p:cond delay="0"/>
                                  </p:stCondLst>
                                  <p:childTnLst>
                                    <p:animMotion origin="layout" path="M 8.33333E-7 -9.87654E-7 L 0.06319 0.16019 " pathEditMode="relative" rAng="0" ptsTypes="AA">
                                      <p:cBhvr from="" to="">
                                        <p:cTn id="174" dur="1500" spd="-100000" accel="50000" decel="50000" fill="hold">
                                          <p:stCondLst>
                                            <p:cond delay="0"/>
                                          </p:stCondLst>
                                        </p:cTn>
                                        <p:tgtEl>
                                          <p:spTgt spid="210"/>
                                        </p:tgtEl>
                                        <p:attrNameLst>
                                          <p:attrName>ppt_x</p:attrName>
                                          <p:attrName>ppt_y</p:attrName>
                                        </p:attrNameLst>
                                      </p:cBhvr>
                                      <p:rCtr x="3160" y="7994"/>
                                    </p:animMotion>
                                  </p:childTnLst>
                                </p:cTn>
                              </p:par>
                              <p:par>
                                <p:cTn id="175" presetID="10" presetClass="exit" presetSubtype="0" fill="hold" nodeType="withEffect">
                                  <p:stCondLst>
                                    <p:cond delay="500"/>
                                  </p:stCondLst>
                                  <p:childTnLst>
                                    <p:animEffect transition="out" filter="fade">
                                      <p:cBhvr>
                                        <p:cTn id="176" dur="500"/>
                                        <p:tgtEl>
                                          <p:spTgt spid="93"/>
                                        </p:tgtEl>
                                      </p:cBhvr>
                                    </p:animEffect>
                                    <p:set>
                                      <p:cBhvr>
                                        <p:cTn id="177" dur="1" fill="hold">
                                          <p:stCondLst>
                                            <p:cond delay="499"/>
                                          </p:stCondLst>
                                        </p:cTn>
                                        <p:tgtEl>
                                          <p:spTgt spid="93"/>
                                        </p:tgtEl>
                                        <p:attrNameLst>
                                          <p:attrName>style.visibility</p:attrName>
                                        </p:attrNameLst>
                                      </p:cBhvr>
                                      <p:to>
                                        <p:strVal val="hidden"/>
                                      </p:to>
                                    </p:set>
                                  </p:childTnLst>
                                </p:cTn>
                              </p:par>
                              <p:par>
                                <p:cTn id="178" presetID="10" presetClass="exit" presetSubtype="0" fill="hold" grpId="0" nodeType="withEffect">
                                  <p:stCondLst>
                                    <p:cond delay="500"/>
                                  </p:stCondLst>
                                  <p:childTnLst>
                                    <p:animEffect transition="out" filter="fade">
                                      <p:cBhvr>
                                        <p:cTn id="179" dur="1000"/>
                                        <p:tgtEl>
                                          <p:spTgt spid="7"/>
                                        </p:tgtEl>
                                      </p:cBhvr>
                                    </p:animEffect>
                                    <p:set>
                                      <p:cBhvr>
                                        <p:cTn id="180" dur="1" fill="hold">
                                          <p:stCondLst>
                                            <p:cond delay="999"/>
                                          </p:stCondLst>
                                        </p:cTn>
                                        <p:tgtEl>
                                          <p:spTgt spid="7"/>
                                        </p:tgtEl>
                                        <p:attrNameLst>
                                          <p:attrName>style.visibility</p:attrName>
                                        </p:attrNameLst>
                                      </p:cBhvr>
                                      <p:to>
                                        <p:strVal val="hidden"/>
                                      </p:to>
                                    </p:set>
                                  </p:childTnLst>
                                </p:cTn>
                              </p:par>
                              <p:par>
                                <p:cTn id="181" presetID="10" presetClass="exit" presetSubtype="0" fill="hold" grpId="0" nodeType="withEffect">
                                  <p:stCondLst>
                                    <p:cond delay="500"/>
                                  </p:stCondLst>
                                  <p:childTnLst>
                                    <p:animEffect transition="out" filter="fade">
                                      <p:cBhvr>
                                        <p:cTn id="182" dur="1000"/>
                                        <p:tgtEl>
                                          <p:spTgt spid="123"/>
                                        </p:tgtEl>
                                      </p:cBhvr>
                                    </p:animEffect>
                                    <p:set>
                                      <p:cBhvr>
                                        <p:cTn id="183" dur="1" fill="hold">
                                          <p:stCondLst>
                                            <p:cond delay="999"/>
                                          </p:stCondLst>
                                        </p:cTn>
                                        <p:tgtEl>
                                          <p:spTgt spid="123"/>
                                        </p:tgtEl>
                                        <p:attrNameLst>
                                          <p:attrName>style.visibility</p:attrName>
                                        </p:attrNameLst>
                                      </p:cBhvr>
                                      <p:to>
                                        <p:strVal val="hidden"/>
                                      </p:to>
                                    </p:set>
                                  </p:childTnLst>
                                </p:cTn>
                              </p:par>
                              <p:par>
                                <p:cTn id="184" presetID="10" presetClass="exit" presetSubtype="0" fill="hold" nodeType="withEffect">
                                  <p:stCondLst>
                                    <p:cond delay="500"/>
                                  </p:stCondLst>
                                  <p:childTnLst>
                                    <p:animEffect transition="out" filter="fade">
                                      <p:cBhvr>
                                        <p:cTn id="185" dur="500"/>
                                        <p:tgtEl>
                                          <p:spTgt spid="91"/>
                                        </p:tgtEl>
                                      </p:cBhvr>
                                    </p:animEffect>
                                    <p:set>
                                      <p:cBhvr>
                                        <p:cTn id="186" dur="1" fill="hold">
                                          <p:stCondLst>
                                            <p:cond delay="499"/>
                                          </p:stCondLst>
                                        </p:cTn>
                                        <p:tgtEl>
                                          <p:spTgt spid="91"/>
                                        </p:tgtEl>
                                        <p:attrNameLst>
                                          <p:attrName>style.visibility</p:attrName>
                                        </p:attrNameLst>
                                      </p:cBhvr>
                                      <p:to>
                                        <p:strVal val="hidden"/>
                                      </p:to>
                                    </p:set>
                                  </p:childTnLst>
                                </p:cTn>
                              </p:par>
                              <p:par>
                                <p:cTn id="187" presetID="10" presetClass="exit" presetSubtype="0" fill="hold" grpId="0" nodeType="withEffect">
                                  <p:stCondLst>
                                    <p:cond delay="500"/>
                                  </p:stCondLst>
                                  <p:childTnLst>
                                    <p:animEffect transition="out" filter="fade">
                                      <p:cBhvr>
                                        <p:cTn id="188" dur="1000"/>
                                        <p:tgtEl>
                                          <p:spTgt spid="125"/>
                                        </p:tgtEl>
                                      </p:cBhvr>
                                    </p:animEffect>
                                    <p:set>
                                      <p:cBhvr>
                                        <p:cTn id="189" dur="1" fill="hold">
                                          <p:stCondLst>
                                            <p:cond delay="999"/>
                                          </p:stCondLst>
                                        </p:cTn>
                                        <p:tgtEl>
                                          <p:spTgt spid="125"/>
                                        </p:tgtEl>
                                        <p:attrNameLst>
                                          <p:attrName>style.visibility</p:attrName>
                                        </p:attrNameLst>
                                      </p:cBhvr>
                                      <p:to>
                                        <p:strVal val="hidden"/>
                                      </p:to>
                                    </p:set>
                                  </p:childTnLst>
                                </p:cTn>
                              </p:par>
                              <p:par>
                                <p:cTn id="190" presetID="10" presetClass="exit" presetSubtype="0" fill="hold" grpId="0" nodeType="withEffect">
                                  <p:stCondLst>
                                    <p:cond delay="500"/>
                                  </p:stCondLst>
                                  <p:childTnLst>
                                    <p:animEffect transition="out" filter="fade">
                                      <p:cBhvr>
                                        <p:cTn id="191" dur="1000"/>
                                        <p:tgtEl>
                                          <p:spTgt spid="20"/>
                                        </p:tgtEl>
                                      </p:cBhvr>
                                    </p:animEffect>
                                    <p:set>
                                      <p:cBhvr>
                                        <p:cTn id="192" dur="1" fill="hold">
                                          <p:stCondLst>
                                            <p:cond delay="999"/>
                                          </p:stCondLst>
                                        </p:cTn>
                                        <p:tgtEl>
                                          <p:spTgt spid="20"/>
                                        </p:tgtEl>
                                        <p:attrNameLst>
                                          <p:attrName>style.visibility</p:attrName>
                                        </p:attrNameLst>
                                      </p:cBhvr>
                                      <p:to>
                                        <p:strVal val="hidden"/>
                                      </p:to>
                                    </p:set>
                                  </p:childTnLst>
                                </p:cTn>
                              </p:par>
                              <p:par>
                                <p:cTn id="193" presetID="10" presetClass="exit" presetSubtype="0" fill="hold" grpId="0" nodeType="withEffect">
                                  <p:stCondLst>
                                    <p:cond delay="500"/>
                                  </p:stCondLst>
                                  <p:childTnLst>
                                    <p:animEffect transition="out" filter="fade">
                                      <p:cBhvr>
                                        <p:cTn id="194" dur="1000"/>
                                        <p:tgtEl>
                                          <p:spTgt spid="120"/>
                                        </p:tgtEl>
                                      </p:cBhvr>
                                    </p:animEffect>
                                    <p:set>
                                      <p:cBhvr>
                                        <p:cTn id="195" dur="1" fill="hold">
                                          <p:stCondLst>
                                            <p:cond delay="999"/>
                                          </p:stCondLst>
                                        </p:cTn>
                                        <p:tgtEl>
                                          <p:spTgt spid="120"/>
                                        </p:tgtEl>
                                        <p:attrNameLst>
                                          <p:attrName>style.visibility</p:attrName>
                                        </p:attrNameLst>
                                      </p:cBhvr>
                                      <p:to>
                                        <p:strVal val="hidden"/>
                                      </p:to>
                                    </p:set>
                                  </p:childTnLst>
                                </p:cTn>
                              </p:par>
                              <p:par>
                                <p:cTn id="196" presetID="10" presetClass="exit" presetSubtype="0" fill="hold" nodeType="withEffect">
                                  <p:stCondLst>
                                    <p:cond delay="500"/>
                                  </p:stCondLst>
                                  <p:childTnLst>
                                    <p:animEffect transition="out" filter="fade">
                                      <p:cBhvr>
                                        <p:cTn id="197" dur="500"/>
                                        <p:tgtEl>
                                          <p:spTgt spid="86"/>
                                        </p:tgtEl>
                                      </p:cBhvr>
                                    </p:animEffect>
                                    <p:set>
                                      <p:cBhvr>
                                        <p:cTn id="198" dur="1" fill="hold">
                                          <p:stCondLst>
                                            <p:cond delay="499"/>
                                          </p:stCondLst>
                                        </p:cTn>
                                        <p:tgtEl>
                                          <p:spTgt spid="86"/>
                                        </p:tgtEl>
                                        <p:attrNameLst>
                                          <p:attrName>style.visibility</p:attrName>
                                        </p:attrNameLst>
                                      </p:cBhvr>
                                      <p:to>
                                        <p:strVal val="hidden"/>
                                      </p:to>
                                    </p:set>
                                  </p:childTnLst>
                                </p:cTn>
                              </p:par>
                              <p:par>
                                <p:cTn id="199" presetID="10" presetClass="exit" presetSubtype="0" fill="hold" nodeType="withEffect">
                                  <p:stCondLst>
                                    <p:cond delay="500"/>
                                  </p:stCondLst>
                                  <p:childTnLst>
                                    <p:animEffect transition="out" filter="fade">
                                      <p:cBhvr>
                                        <p:cTn id="200" dur="500"/>
                                        <p:tgtEl>
                                          <p:spTgt spid="89"/>
                                        </p:tgtEl>
                                      </p:cBhvr>
                                    </p:animEffect>
                                    <p:set>
                                      <p:cBhvr>
                                        <p:cTn id="201" dur="1" fill="hold">
                                          <p:stCondLst>
                                            <p:cond delay="499"/>
                                          </p:stCondLst>
                                        </p:cTn>
                                        <p:tgtEl>
                                          <p:spTgt spid="89"/>
                                        </p:tgtEl>
                                        <p:attrNameLst>
                                          <p:attrName>style.visibility</p:attrName>
                                        </p:attrNameLst>
                                      </p:cBhvr>
                                      <p:to>
                                        <p:strVal val="hidden"/>
                                      </p:to>
                                    </p:set>
                                  </p:childTnLst>
                                </p:cTn>
                              </p:par>
                              <p:par>
                                <p:cTn id="202" presetID="10" presetClass="exit" presetSubtype="0" fill="hold" nodeType="withEffect">
                                  <p:stCondLst>
                                    <p:cond delay="500"/>
                                  </p:stCondLst>
                                  <p:childTnLst>
                                    <p:animEffect transition="out" filter="fade">
                                      <p:cBhvr>
                                        <p:cTn id="203" dur="500"/>
                                        <p:tgtEl>
                                          <p:spTgt spid="84"/>
                                        </p:tgtEl>
                                      </p:cBhvr>
                                    </p:animEffect>
                                    <p:set>
                                      <p:cBhvr>
                                        <p:cTn id="204" dur="1" fill="hold">
                                          <p:stCondLst>
                                            <p:cond delay="499"/>
                                          </p:stCondLst>
                                        </p:cTn>
                                        <p:tgtEl>
                                          <p:spTgt spid="84"/>
                                        </p:tgtEl>
                                        <p:attrNameLst>
                                          <p:attrName>style.visibility</p:attrName>
                                        </p:attrNameLst>
                                      </p:cBhvr>
                                      <p:to>
                                        <p:strVal val="hidden"/>
                                      </p:to>
                                    </p:set>
                                  </p:childTnLst>
                                </p:cTn>
                              </p:par>
                              <p:par>
                                <p:cTn id="205" presetID="10" presetClass="exit" presetSubtype="0" fill="hold" grpId="0" nodeType="withEffect">
                                  <p:stCondLst>
                                    <p:cond delay="500"/>
                                  </p:stCondLst>
                                  <p:childTnLst>
                                    <p:animEffect transition="out" filter="fade">
                                      <p:cBhvr>
                                        <p:cTn id="206" dur="500"/>
                                        <p:tgtEl>
                                          <p:spTgt spid="21"/>
                                        </p:tgtEl>
                                      </p:cBhvr>
                                    </p:animEffect>
                                    <p:set>
                                      <p:cBhvr>
                                        <p:cTn id="207" dur="1" fill="hold">
                                          <p:stCondLst>
                                            <p:cond delay="499"/>
                                          </p:stCondLst>
                                        </p:cTn>
                                        <p:tgtEl>
                                          <p:spTgt spid="21"/>
                                        </p:tgtEl>
                                        <p:attrNameLst>
                                          <p:attrName>style.visibility</p:attrName>
                                        </p:attrNameLst>
                                      </p:cBhvr>
                                      <p:to>
                                        <p:strVal val="hidden"/>
                                      </p:to>
                                    </p:set>
                                  </p:childTnLst>
                                </p:cTn>
                              </p:par>
                            </p:childTnLst>
                          </p:cTn>
                        </p:par>
                        <p:par>
                          <p:cTn id="208" fill="hold">
                            <p:stCondLst>
                              <p:cond delay="1500"/>
                            </p:stCondLst>
                            <p:childTnLst>
                              <p:par>
                                <p:cTn id="209" presetID="10" presetClass="entr" presetSubtype="0" repeatCount="0" fill="hold" nodeType="afterEffect">
                                  <p:stCondLst>
                                    <p:cond delay="0"/>
                                  </p:stCondLst>
                                  <p:childTnLst>
                                    <p:set>
                                      <p:cBhvr>
                                        <p:cTn id="210" dur="1" fill="hold">
                                          <p:stCondLst>
                                            <p:cond delay="0"/>
                                          </p:stCondLst>
                                        </p:cTn>
                                        <p:tgtEl>
                                          <p:spTgt spid="175"/>
                                        </p:tgtEl>
                                        <p:attrNameLst>
                                          <p:attrName>style.visibility</p:attrName>
                                        </p:attrNameLst>
                                      </p:cBhvr>
                                      <p:to>
                                        <p:strVal val="visible"/>
                                      </p:to>
                                    </p:set>
                                    <p:animEffect transition="in" filter="fade">
                                      <p:cBhvr>
                                        <p:cTn id="211" dur="100"/>
                                        <p:tgtEl>
                                          <p:spTgt spid="175"/>
                                        </p:tgtEl>
                                      </p:cBhvr>
                                    </p:animEffect>
                                  </p:childTnLst>
                                </p:cTn>
                              </p:par>
                              <p:par>
                                <p:cTn id="212" presetID="10" presetClass="entr" presetSubtype="0" repeatCount="0" fill="hold" nodeType="withEffect">
                                  <p:stCondLst>
                                    <p:cond delay="0"/>
                                  </p:stCondLst>
                                  <p:childTnLst>
                                    <p:set>
                                      <p:cBhvr>
                                        <p:cTn id="213" dur="1" fill="hold">
                                          <p:stCondLst>
                                            <p:cond delay="0"/>
                                          </p:stCondLst>
                                        </p:cTn>
                                        <p:tgtEl>
                                          <p:spTgt spid="195"/>
                                        </p:tgtEl>
                                        <p:attrNameLst>
                                          <p:attrName>style.visibility</p:attrName>
                                        </p:attrNameLst>
                                      </p:cBhvr>
                                      <p:to>
                                        <p:strVal val="visible"/>
                                      </p:to>
                                    </p:set>
                                    <p:animEffect transition="in" filter="fade">
                                      <p:cBhvr>
                                        <p:cTn id="214" dur="100"/>
                                        <p:tgtEl>
                                          <p:spTgt spid="195"/>
                                        </p:tgtEl>
                                      </p:cBhvr>
                                    </p:animEffect>
                                  </p:childTnLst>
                                </p:cTn>
                              </p:par>
                              <p:par>
                                <p:cTn id="215" presetID="10" presetClass="entr" presetSubtype="0" fill="hold" grpId="0" nodeType="withEffect">
                                  <p:stCondLst>
                                    <p:cond delay="0"/>
                                  </p:stCondLst>
                                  <p:childTnLst>
                                    <p:set>
                                      <p:cBhvr>
                                        <p:cTn id="216" dur="1" fill="hold">
                                          <p:stCondLst>
                                            <p:cond delay="0"/>
                                          </p:stCondLst>
                                        </p:cTn>
                                        <p:tgtEl>
                                          <p:spTgt spid="207"/>
                                        </p:tgtEl>
                                        <p:attrNameLst>
                                          <p:attrName>style.visibility</p:attrName>
                                        </p:attrNameLst>
                                      </p:cBhvr>
                                      <p:to>
                                        <p:strVal val="visible"/>
                                      </p:to>
                                    </p:set>
                                    <p:animEffect transition="in" filter="fade">
                                      <p:cBhvr>
                                        <p:cTn id="217" dur="500"/>
                                        <p:tgtEl>
                                          <p:spTgt spid="207"/>
                                        </p:tgtEl>
                                      </p:cBhvr>
                                    </p:animEffect>
                                  </p:childTnLst>
                                </p:cTn>
                              </p:par>
                              <p:par>
                                <p:cTn id="218" presetID="10" presetClass="entr" presetSubtype="0" fill="hold" grpId="0" nodeType="withEffect">
                                  <p:stCondLst>
                                    <p:cond delay="0"/>
                                  </p:stCondLst>
                                  <p:childTnLst>
                                    <p:set>
                                      <p:cBhvr>
                                        <p:cTn id="219" dur="1" fill="hold">
                                          <p:stCondLst>
                                            <p:cond delay="0"/>
                                          </p:stCondLst>
                                        </p:cTn>
                                        <p:tgtEl>
                                          <p:spTgt spid="206"/>
                                        </p:tgtEl>
                                        <p:attrNameLst>
                                          <p:attrName>style.visibility</p:attrName>
                                        </p:attrNameLst>
                                      </p:cBhvr>
                                      <p:to>
                                        <p:strVal val="visible"/>
                                      </p:to>
                                    </p:set>
                                    <p:animEffect transition="in" filter="fade">
                                      <p:cBhvr>
                                        <p:cTn id="220" dur="500"/>
                                        <p:tgtEl>
                                          <p:spTgt spid="206"/>
                                        </p:tgtEl>
                                      </p:cBhvr>
                                    </p:animEffect>
                                  </p:childTnLst>
                                </p:cTn>
                              </p:par>
                              <p:par>
                                <p:cTn id="221" presetID="10" presetClass="entr" presetSubtype="0" fill="hold" grpId="0" nodeType="withEffect">
                                  <p:stCondLst>
                                    <p:cond delay="750"/>
                                  </p:stCondLst>
                                  <p:childTnLst>
                                    <p:set>
                                      <p:cBhvr>
                                        <p:cTn id="222" dur="1" fill="hold">
                                          <p:stCondLst>
                                            <p:cond delay="0"/>
                                          </p:stCondLst>
                                        </p:cTn>
                                        <p:tgtEl>
                                          <p:spTgt spid="173"/>
                                        </p:tgtEl>
                                        <p:attrNameLst>
                                          <p:attrName>style.visibility</p:attrName>
                                        </p:attrNameLst>
                                      </p:cBhvr>
                                      <p:to>
                                        <p:strVal val="visible"/>
                                      </p:to>
                                    </p:set>
                                    <p:animEffect transition="in" filter="fade">
                                      <p:cBhvr>
                                        <p:cTn id="223" dur="500"/>
                                        <p:tgtEl>
                                          <p:spTgt spid="173"/>
                                        </p:tgtEl>
                                      </p:cBhvr>
                                    </p:animEffect>
                                  </p:childTnLst>
                                </p:cTn>
                              </p:par>
                              <p:par>
                                <p:cTn id="224" presetID="10" presetClass="entr" presetSubtype="0" fill="hold" grpId="0" nodeType="withEffect">
                                  <p:stCondLst>
                                    <p:cond delay="750"/>
                                  </p:stCondLst>
                                  <p:childTnLst>
                                    <p:set>
                                      <p:cBhvr>
                                        <p:cTn id="225" dur="1" fill="hold">
                                          <p:stCondLst>
                                            <p:cond delay="0"/>
                                          </p:stCondLst>
                                        </p:cTn>
                                        <p:tgtEl>
                                          <p:spTgt spid="208"/>
                                        </p:tgtEl>
                                        <p:attrNameLst>
                                          <p:attrName>style.visibility</p:attrName>
                                        </p:attrNameLst>
                                      </p:cBhvr>
                                      <p:to>
                                        <p:strVal val="visible"/>
                                      </p:to>
                                    </p:set>
                                    <p:animEffect transition="in" filter="fade">
                                      <p:cBhvr>
                                        <p:cTn id="226" dur="500"/>
                                        <p:tgtEl>
                                          <p:spTgt spid="208"/>
                                        </p:tgtEl>
                                      </p:cBhvr>
                                    </p:animEffect>
                                  </p:childTnLst>
                                </p:cTn>
                              </p:par>
                              <p:par>
                                <p:cTn id="227" presetID="10" presetClass="entr" presetSubtype="0" fill="hold" grpId="0" nodeType="withEffect">
                                  <p:stCondLst>
                                    <p:cond delay="750"/>
                                  </p:stCondLst>
                                  <p:childTnLst>
                                    <p:set>
                                      <p:cBhvr>
                                        <p:cTn id="228" dur="1" fill="hold">
                                          <p:stCondLst>
                                            <p:cond delay="0"/>
                                          </p:stCondLst>
                                        </p:cTn>
                                        <p:tgtEl>
                                          <p:spTgt spid="174"/>
                                        </p:tgtEl>
                                        <p:attrNameLst>
                                          <p:attrName>style.visibility</p:attrName>
                                        </p:attrNameLst>
                                      </p:cBhvr>
                                      <p:to>
                                        <p:strVal val="visible"/>
                                      </p:to>
                                    </p:set>
                                    <p:animEffect transition="in" filter="fade">
                                      <p:cBhvr>
                                        <p:cTn id="229" dur="500"/>
                                        <p:tgtEl>
                                          <p:spTgt spid="174"/>
                                        </p:tgtEl>
                                      </p:cBhvr>
                                    </p:animEffect>
                                  </p:childTnLst>
                                </p:cTn>
                              </p:par>
                              <p:par>
                                <p:cTn id="230" presetID="10" presetClass="entr" presetSubtype="0" fill="hold" grpId="0" nodeType="withEffect">
                                  <p:stCondLst>
                                    <p:cond delay="750"/>
                                  </p:stCondLst>
                                  <p:childTnLst>
                                    <p:set>
                                      <p:cBhvr>
                                        <p:cTn id="231" dur="1" fill="hold">
                                          <p:stCondLst>
                                            <p:cond delay="0"/>
                                          </p:stCondLst>
                                        </p:cTn>
                                        <p:tgtEl>
                                          <p:spTgt spid="209"/>
                                        </p:tgtEl>
                                        <p:attrNameLst>
                                          <p:attrName>style.visibility</p:attrName>
                                        </p:attrNameLst>
                                      </p:cBhvr>
                                      <p:to>
                                        <p:strVal val="visible"/>
                                      </p:to>
                                    </p:set>
                                    <p:animEffect transition="in" filter="fade">
                                      <p:cBhvr>
                                        <p:cTn id="232" dur="500"/>
                                        <p:tgtEl>
                                          <p:spTgt spid="209"/>
                                        </p:tgtEl>
                                      </p:cBhvr>
                                    </p:animEffect>
                                  </p:childTnLst>
                                </p:cTn>
                              </p:par>
                              <p:par>
                                <p:cTn id="233" presetID="10" presetClass="exit" presetSubtype="0" fill="hold" grpId="1" nodeType="withEffect">
                                  <p:stCondLst>
                                    <p:cond delay="0"/>
                                  </p:stCondLst>
                                  <p:childTnLst>
                                    <p:animEffect transition="out" filter="fade">
                                      <p:cBhvr>
                                        <p:cTn id="234" dur="500"/>
                                        <p:tgtEl>
                                          <p:spTgt spid="173"/>
                                        </p:tgtEl>
                                      </p:cBhvr>
                                    </p:animEffect>
                                    <p:set>
                                      <p:cBhvr>
                                        <p:cTn id="235" dur="1" fill="hold">
                                          <p:stCondLst>
                                            <p:cond delay="499"/>
                                          </p:stCondLst>
                                        </p:cTn>
                                        <p:tgtEl>
                                          <p:spTgt spid="173"/>
                                        </p:tgtEl>
                                        <p:attrNameLst>
                                          <p:attrName>style.visibility</p:attrName>
                                        </p:attrNameLst>
                                      </p:cBhvr>
                                      <p:to>
                                        <p:strVal val="hidden"/>
                                      </p:to>
                                    </p:set>
                                  </p:childTnLst>
                                </p:cTn>
                              </p:par>
                              <p:par>
                                <p:cTn id="236" presetID="10" presetClass="exit" presetSubtype="0" fill="hold" grpId="1" nodeType="withEffect">
                                  <p:stCondLst>
                                    <p:cond delay="0"/>
                                  </p:stCondLst>
                                  <p:childTnLst>
                                    <p:animEffect transition="out" filter="fade">
                                      <p:cBhvr>
                                        <p:cTn id="237" dur="500"/>
                                        <p:tgtEl>
                                          <p:spTgt spid="208"/>
                                        </p:tgtEl>
                                      </p:cBhvr>
                                    </p:animEffect>
                                    <p:set>
                                      <p:cBhvr>
                                        <p:cTn id="238" dur="1" fill="hold">
                                          <p:stCondLst>
                                            <p:cond delay="499"/>
                                          </p:stCondLst>
                                        </p:cTn>
                                        <p:tgtEl>
                                          <p:spTgt spid="208"/>
                                        </p:tgtEl>
                                        <p:attrNameLst>
                                          <p:attrName>style.visibility</p:attrName>
                                        </p:attrNameLst>
                                      </p:cBhvr>
                                      <p:to>
                                        <p:strVal val="hidden"/>
                                      </p:to>
                                    </p:set>
                                  </p:childTnLst>
                                </p:cTn>
                              </p:par>
                              <p:par>
                                <p:cTn id="239" presetID="10" presetClass="exit" presetSubtype="0" fill="hold" grpId="1" nodeType="withEffect">
                                  <p:stCondLst>
                                    <p:cond delay="0"/>
                                  </p:stCondLst>
                                  <p:childTnLst>
                                    <p:animEffect transition="out" filter="fade">
                                      <p:cBhvr>
                                        <p:cTn id="240" dur="500"/>
                                        <p:tgtEl>
                                          <p:spTgt spid="174"/>
                                        </p:tgtEl>
                                      </p:cBhvr>
                                    </p:animEffect>
                                    <p:set>
                                      <p:cBhvr>
                                        <p:cTn id="241" dur="1" fill="hold">
                                          <p:stCondLst>
                                            <p:cond delay="499"/>
                                          </p:stCondLst>
                                        </p:cTn>
                                        <p:tgtEl>
                                          <p:spTgt spid="174"/>
                                        </p:tgtEl>
                                        <p:attrNameLst>
                                          <p:attrName>style.visibility</p:attrName>
                                        </p:attrNameLst>
                                      </p:cBhvr>
                                      <p:to>
                                        <p:strVal val="hidden"/>
                                      </p:to>
                                    </p:set>
                                  </p:childTnLst>
                                </p:cTn>
                              </p:par>
                              <p:par>
                                <p:cTn id="242" presetID="10" presetClass="exit" presetSubtype="0" fill="hold" grpId="1" nodeType="withEffect">
                                  <p:stCondLst>
                                    <p:cond delay="0"/>
                                  </p:stCondLst>
                                  <p:childTnLst>
                                    <p:animEffect transition="out" filter="fade">
                                      <p:cBhvr>
                                        <p:cTn id="243" dur="500"/>
                                        <p:tgtEl>
                                          <p:spTgt spid="209"/>
                                        </p:tgtEl>
                                      </p:cBhvr>
                                    </p:animEffect>
                                    <p:set>
                                      <p:cBhvr>
                                        <p:cTn id="244" dur="1" fill="hold">
                                          <p:stCondLst>
                                            <p:cond delay="499"/>
                                          </p:stCondLst>
                                        </p:cTn>
                                        <p:tgtEl>
                                          <p:spTgt spid="209"/>
                                        </p:tgtEl>
                                        <p:attrNameLst>
                                          <p:attrName>style.visibility</p:attrName>
                                        </p:attrNameLst>
                                      </p:cBhvr>
                                      <p:to>
                                        <p:strVal val="hidden"/>
                                      </p:to>
                                    </p:set>
                                  </p:childTnLst>
                                </p:cTn>
                              </p:par>
                              <p:par>
                                <p:cTn id="245" presetID="1" presetClass="exit" presetSubtype="0" fill="hold" grpId="2" nodeType="withEffect">
                                  <p:stCondLst>
                                    <p:cond delay="0"/>
                                  </p:stCondLst>
                                  <p:childTnLst>
                                    <p:set>
                                      <p:cBhvr>
                                        <p:cTn id="246" dur="1" fill="hold">
                                          <p:stCondLst>
                                            <p:cond delay="0"/>
                                          </p:stCondLst>
                                        </p:cTn>
                                        <p:tgtEl>
                                          <p:spTgt spid="5"/>
                                        </p:tgtEl>
                                        <p:attrNameLst>
                                          <p:attrName>style.visibility</p:attrName>
                                        </p:attrNameLst>
                                      </p:cBhvr>
                                      <p:to>
                                        <p:strVal val="hidden"/>
                                      </p:to>
                                    </p:set>
                                  </p:childTnLst>
                                </p:cTn>
                              </p:par>
                              <p:par>
                                <p:cTn id="247" presetID="1" presetClass="exit" presetSubtype="0" fill="hold" grpId="2" nodeType="withEffect">
                                  <p:stCondLst>
                                    <p:cond delay="0"/>
                                  </p:stCondLst>
                                  <p:childTnLst>
                                    <p:set>
                                      <p:cBhvr>
                                        <p:cTn id="248" dur="1" fill="hold">
                                          <p:stCondLst>
                                            <p:cond delay="0"/>
                                          </p:stCondLst>
                                        </p:cTn>
                                        <p:tgtEl>
                                          <p:spTgt spid="12"/>
                                        </p:tgtEl>
                                        <p:attrNameLst>
                                          <p:attrName>style.visibility</p:attrName>
                                        </p:attrNameLst>
                                      </p:cBhvr>
                                      <p:to>
                                        <p:strVal val="hidden"/>
                                      </p:to>
                                    </p:set>
                                  </p:childTnLst>
                                </p:cTn>
                              </p:par>
                            </p:childTnLst>
                          </p:cTn>
                        </p:par>
                      </p:childTnLst>
                    </p:cTn>
                  </p:par>
                  <p:par>
                    <p:cTn id="249" fill="hold">
                      <p:stCondLst>
                        <p:cond delay="indefinite"/>
                      </p:stCondLst>
                      <p:childTnLst>
                        <p:par>
                          <p:cTn id="250" fill="hold">
                            <p:stCondLst>
                              <p:cond delay="0"/>
                            </p:stCondLst>
                            <p:childTnLst>
                              <p:par>
                                <p:cTn id="251" presetID="10" presetClass="exit" presetSubtype="0" fill="hold" grpId="2" nodeType="clickEffect">
                                  <p:stCondLst>
                                    <p:cond delay="0"/>
                                  </p:stCondLst>
                                  <p:childTnLst>
                                    <p:animEffect transition="out" filter="fade">
                                      <p:cBhvr>
                                        <p:cTn id="252" dur="500"/>
                                        <p:tgtEl>
                                          <p:spTgt spid="173"/>
                                        </p:tgtEl>
                                      </p:cBhvr>
                                    </p:animEffect>
                                    <p:set>
                                      <p:cBhvr>
                                        <p:cTn id="253" dur="1" fill="hold">
                                          <p:stCondLst>
                                            <p:cond delay="499"/>
                                          </p:stCondLst>
                                        </p:cTn>
                                        <p:tgtEl>
                                          <p:spTgt spid="173"/>
                                        </p:tgtEl>
                                        <p:attrNameLst>
                                          <p:attrName>style.visibility</p:attrName>
                                        </p:attrNameLst>
                                      </p:cBhvr>
                                      <p:to>
                                        <p:strVal val="hidden"/>
                                      </p:to>
                                    </p:set>
                                  </p:childTnLst>
                                </p:cTn>
                              </p:par>
                              <p:par>
                                <p:cTn id="254" presetID="10" presetClass="exit" presetSubtype="0" fill="hold" grpId="2" nodeType="withEffect">
                                  <p:stCondLst>
                                    <p:cond delay="0"/>
                                  </p:stCondLst>
                                  <p:childTnLst>
                                    <p:animEffect transition="out" filter="fade">
                                      <p:cBhvr>
                                        <p:cTn id="255" dur="500"/>
                                        <p:tgtEl>
                                          <p:spTgt spid="208"/>
                                        </p:tgtEl>
                                      </p:cBhvr>
                                    </p:animEffect>
                                    <p:set>
                                      <p:cBhvr>
                                        <p:cTn id="256" dur="1" fill="hold">
                                          <p:stCondLst>
                                            <p:cond delay="499"/>
                                          </p:stCondLst>
                                        </p:cTn>
                                        <p:tgtEl>
                                          <p:spTgt spid="208"/>
                                        </p:tgtEl>
                                        <p:attrNameLst>
                                          <p:attrName>style.visibility</p:attrName>
                                        </p:attrNameLst>
                                      </p:cBhvr>
                                      <p:to>
                                        <p:strVal val="hidden"/>
                                      </p:to>
                                    </p:set>
                                  </p:childTnLst>
                                </p:cTn>
                              </p:par>
                              <p:par>
                                <p:cTn id="257" presetID="10" presetClass="exit" presetSubtype="0" fill="hold" grpId="2" nodeType="withEffect">
                                  <p:stCondLst>
                                    <p:cond delay="0"/>
                                  </p:stCondLst>
                                  <p:childTnLst>
                                    <p:animEffect transition="out" filter="fade">
                                      <p:cBhvr>
                                        <p:cTn id="258" dur="500"/>
                                        <p:tgtEl>
                                          <p:spTgt spid="174"/>
                                        </p:tgtEl>
                                      </p:cBhvr>
                                    </p:animEffect>
                                    <p:set>
                                      <p:cBhvr>
                                        <p:cTn id="259" dur="1" fill="hold">
                                          <p:stCondLst>
                                            <p:cond delay="499"/>
                                          </p:stCondLst>
                                        </p:cTn>
                                        <p:tgtEl>
                                          <p:spTgt spid="174"/>
                                        </p:tgtEl>
                                        <p:attrNameLst>
                                          <p:attrName>style.visibility</p:attrName>
                                        </p:attrNameLst>
                                      </p:cBhvr>
                                      <p:to>
                                        <p:strVal val="hidden"/>
                                      </p:to>
                                    </p:set>
                                  </p:childTnLst>
                                </p:cTn>
                              </p:par>
                              <p:par>
                                <p:cTn id="260" presetID="10" presetClass="exit" presetSubtype="0" fill="hold" grpId="2" nodeType="withEffect">
                                  <p:stCondLst>
                                    <p:cond delay="0"/>
                                  </p:stCondLst>
                                  <p:childTnLst>
                                    <p:animEffect transition="out" filter="fade">
                                      <p:cBhvr>
                                        <p:cTn id="261" dur="500"/>
                                        <p:tgtEl>
                                          <p:spTgt spid="209"/>
                                        </p:tgtEl>
                                      </p:cBhvr>
                                    </p:animEffect>
                                    <p:set>
                                      <p:cBhvr>
                                        <p:cTn id="262" dur="1" fill="hold">
                                          <p:stCondLst>
                                            <p:cond delay="499"/>
                                          </p:stCondLst>
                                        </p:cTn>
                                        <p:tgtEl>
                                          <p:spTgt spid="209"/>
                                        </p:tgtEl>
                                        <p:attrNameLst>
                                          <p:attrName>style.visibility</p:attrName>
                                        </p:attrNameLst>
                                      </p:cBhvr>
                                      <p:to>
                                        <p:strVal val="hidden"/>
                                      </p:to>
                                    </p:set>
                                  </p:childTnLst>
                                </p:cTn>
                              </p:par>
                              <p:par>
                                <p:cTn id="263" presetID="35" presetClass="path" presetSubtype="0" fill="hold" grpId="0" nodeType="withEffect">
                                  <p:stCondLst>
                                    <p:cond delay="0"/>
                                  </p:stCondLst>
                                  <p:childTnLst>
                                    <p:animMotion origin="layout" path="M -2.77778E-6 4.19753E-6 L -0.27031 0.1608 " pathEditMode="relative" rAng="0" ptsTypes="AA">
                                      <p:cBhvr from="" to="">
                                        <p:cTn id="264" dur="1500" accel="50000" decel="50000" fill="hold">
                                          <p:stCondLst>
                                            <p:cond delay="0"/>
                                          </p:stCondLst>
                                        </p:cTn>
                                        <p:tgtEl>
                                          <p:spTgt spid="9"/>
                                        </p:tgtEl>
                                        <p:attrNameLst>
                                          <p:attrName>ppt_x</p:attrName>
                                          <p:attrName>ppt_y</p:attrName>
                                        </p:attrNameLst>
                                      </p:cBhvr>
                                      <p:rCtr x="-13524" y="8025"/>
                                    </p:animMotion>
                                  </p:childTnLst>
                                </p:cTn>
                              </p:par>
                              <p:par>
                                <p:cTn id="265" presetID="6" presetClass="emph" presetSubtype="0" accel="50000" decel="50000" fill="hold" grpId="1" nodeType="withEffect">
                                  <p:stCondLst>
                                    <p:cond delay="0"/>
                                  </p:stCondLst>
                                  <p:childTnLst>
                                    <p:animScale>
                                      <p:cBhvr>
                                        <p:cTn id="266" dur="1500" fill="hold"/>
                                        <p:tgtEl>
                                          <p:spTgt spid="9"/>
                                        </p:tgtEl>
                                      </p:cBhvr>
                                      <p:by x="35000" y="35000"/>
                                    </p:animScale>
                                  </p:childTnLst>
                                </p:cTn>
                              </p:par>
                              <p:par>
                                <p:cTn id="267" presetID="22" presetClass="entr" presetSubtype="2" fill="hold" nodeType="withEffect">
                                  <p:stCondLst>
                                    <p:cond delay="250"/>
                                  </p:stCondLst>
                                  <p:childTnLst>
                                    <p:set>
                                      <p:cBhvr>
                                        <p:cTn id="268" dur="1" fill="hold">
                                          <p:stCondLst>
                                            <p:cond delay="0"/>
                                          </p:stCondLst>
                                        </p:cTn>
                                        <p:tgtEl>
                                          <p:spTgt spid="229"/>
                                        </p:tgtEl>
                                        <p:attrNameLst>
                                          <p:attrName>style.visibility</p:attrName>
                                        </p:attrNameLst>
                                      </p:cBhvr>
                                      <p:to>
                                        <p:strVal val="visible"/>
                                      </p:to>
                                    </p:set>
                                    <p:animEffect transition="in" filter="wipe(right)">
                                      <p:cBhvr>
                                        <p:cTn id="269" dur="500"/>
                                        <p:tgtEl>
                                          <p:spTgt spid="229"/>
                                        </p:tgtEl>
                                      </p:cBhvr>
                                    </p:animEffect>
                                  </p:childTnLst>
                                </p:cTn>
                              </p:par>
                              <p:par>
                                <p:cTn id="270" presetID="35" presetClass="path" presetSubtype="0" fill="hold" nodeType="withEffect">
                                  <p:stCondLst>
                                    <p:cond delay="0"/>
                                  </p:stCondLst>
                                  <p:childTnLst>
                                    <p:animMotion origin="layout" path="M -2.22222E-6 3.58025E-6 L 0.25799 -0.11358 " pathEditMode="relative" rAng="0" ptsTypes="AA">
                                      <p:cBhvr from="" to="">
                                        <p:cTn id="271" dur="1500" spd="-100000" accel="50000" decel="50000" fill="hold">
                                          <p:stCondLst>
                                            <p:cond delay="0"/>
                                          </p:stCondLst>
                                        </p:cTn>
                                        <p:tgtEl>
                                          <p:spTgt spid="229"/>
                                        </p:tgtEl>
                                        <p:attrNameLst>
                                          <p:attrName>ppt_x</p:attrName>
                                          <p:attrName>ppt_y</p:attrName>
                                        </p:attrNameLst>
                                      </p:cBhvr>
                                      <p:rCtr x="12899" y="-5679"/>
                                    </p:animMotion>
                                  </p:childTnLst>
                                </p:cTn>
                              </p:par>
                              <p:par>
                                <p:cTn id="272" presetID="10" presetClass="exit" presetSubtype="0" fill="hold" grpId="0" nodeType="withEffect">
                                  <p:stCondLst>
                                    <p:cond delay="250"/>
                                  </p:stCondLst>
                                  <p:childTnLst>
                                    <p:animEffect transition="out" filter="fade">
                                      <p:cBhvr>
                                        <p:cTn id="273" dur="1000"/>
                                        <p:tgtEl>
                                          <p:spTgt spid="116"/>
                                        </p:tgtEl>
                                      </p:cBhvr>
                                    </p:animEffect>
                                    <p:set>
                                      <p:cBhvr>
                                        <p:cTn id="274" dur="1" fill="hold">
                                          <p:stCondLst>
                                            <p:cond delay="999"/>
                                          </p:stCondLst>
                                        </p:cTn>
                                        <p:tgtEl>
                                          <p:spTgt spid="116"/>
                                        </p:tgtEl>
                                        <p:attrNameLst>
                                          <p:attrName>style.visibility</p:attrName>
                                        </p:attrNameLst>
                                      </p:cBhvr>
                                      <p:to>
                                        <p:strVal val="hidden"/>
                                      </p:to>
                                    </p:set>
                                  </p:childTnLst>
                                </p:cTn>
                              </p:par>
                              <p:par>
                                <p:cTn id="275" presetID="10" presetClass="exit" presetSubtype="0" fill="hold" grpId="0" nodeType="withEffect">
                                  <p:stCondLst>
                                    <p:cond delay="250"/>
                                  </p:stCondLst>
                                  <p:childTnLst>
                                    <p:animEffect transition="out" filter="fade">
                                      <p:cBhvr>
                                        <p:cTn id="276" dur="1000"/>
                                        <p:tgtEl>
                                          <p:spTgt spid="8"/>
                                        </p:tgtEl>
                                      </p:cBhvr>
                                    </p:animEffect>
                                    <p:set>
                                      <p:cBhvr>
                                        <p:cTn id="277" dur="1" fill="hold">
                                          <p:stCondLst>
                                            <p:cond delay="999"/>
                                          </p:stCondLst>
                                        </p:cTn>
                                        <p:tgtEl>
                                          <p:spTgt spid="8"/>
                                        </p:tgtEl>
                                        <p:attrNameLst>
                                          <p:attrName>style.visibility</p:attrName>
                                        </p:attrNameLst>
                                      </p:cBhvr>
                                      <p:to>
                                        <p:strVal val="hidden"/>
                                      </p:to>
                                    </p:set>
                                  </p:childTnLst>
                                </p:cTn>
                              </p:par>
                              <p:par>
                                <p:cTn id="278" presetID="10" presetClass="exit" presetSubtype="0" fill="hold" grpId="0" nodeType="withEffect">
                                  <p:stCondLst>
                                    <p:cond delay="250"/>
                                  </p:stCondLst>
                                  <p:childTnLst>
                                    <p:animEffect transition="out" filter="fade">
                                      <p:cBhvr>
                                        <p:cTn id="279" dur="1000"/>
                                        <p:tgtEl>
                                          <p:spTgt spid="22"/>
                                        </p:tgtEl>
                                      </p:cBhvr>
                                    </p:animEffect>
                                    <p:set>
                                      <p:cBhvr>
                                        <p:cTn id="280" dur="1" fill="hold">
                                          <p:stCondLst>
                                            <p:cond delay="999"/>
                                          </p:stCondLst>
                                        </p:cTn>
                                        <p:tgtEl>
                                          <p:spTgt spid="22"/>
                                        </p:tgtEl>
                                        <p:attrNameLst>
                                          <p:attrName>style.visibility</p:attrName>
                                        </p:attrNameLst>
                                      </p:cBhvr>
                                      <p:to>
                                        <p:strVal val="hidden"/>
                                      </p:to>
                                    </p:set>
                                  </p:childTnLst>
                                </p:cTn>
                              </p:par>
                              <p:par>
                                <p:cTn id="281" presetID="10" presetClass="exit" presetSubtype="0" fill="hold" nodeType="withEffect">
                                  <p:stCondLst>
                                    <p:cond delay="250"/>
                                  </p:stCondLst>
                                  <p:childTnLst>
                                    <p:animEffect transition="out" filter="fade">
                                      <p:cBhvr>
                                        <p:cTn id="282" dur="500"/>
                                        <p:tgtEl>
                                          <p:spTgt spid="78"/>
                                        </p:tgtEl>
                                      </p:cBhvr>
                                    </p:animEffect>
                                    <p:set>
                                      <p:cBhvr>
                                        <p:cTn id="283" dur="1" fill="hold">
                                          <p:stCondLst>
                                            <p:cond delay="499"/>
                                          </p:stCondLst>
                                        </p:cTn>
                                        <p:tgtEl>
                                          <p:spTgt spid="78"/>
                                        </p:tgtEl>
                                        <p:attrNameLst>
                                          <p:attrName>style.visibility</p:attrName>
                                        </p:attrNameLst>
                                      </p:cBhvr>
                                      <p:to>
                                        <p:strVal val="hidden"/>
                                      </p:to>
                                    </p:set>
                                  </p:childTnLst>
                                </p:cTn>
                              </p:par>
                              <p:par>
                                <p:cTn id="284" presetID="10" presetClass="exit" presetSubtype="0" fill="hold" grpId="0" nodeType="withEffect">
                                  <p:stCondLst>
                                    <p:cond delay="250"/>
                                  </p:stCondLst>
                                  <p:childTnLst>
                                    <p:animEffect transition="out" filter="fade">
                                      <p:cBhvr>
                                        <p:cTn id="285" dur="1000"/>
                                        <p:tgtEl>
                                          <p:spTgt spid="119"/>
                                        </p:tgtEl>
                                      </p:cBhvr>
                                    </p:animEffect>
                                    <p:set>
                                      <p:cBhvr>
                                        <p:cTn id="286" dur="1" fill="hold">
                                          <p:stCondLst>
                                            <p:cond delay="999"/>
                                          </p:stCondLst>
                                        </p:cTn>
                                        <p:tgtEl>
                                          <p:spTgt spid="119"/>
                                        </p:tgtEl>
                                        <p:attrNameLst>
                                          <p:attrName>style.visibility</p:attrName>
                                        </p:attrNameLst>
                                      </p:cBhvr>
                                      <p:to>
                                        <p:strVal val="hidden"/>
                                      </p:to>
                                    </p:set>
                                  </p:childTnLst>
                                </p:cTn>
                              </p:par>
                              <p:par>
                                <p:cTn id="287" presetID="10" presetClass="exit" presetSubtype="0" fill="hold" nodeType="withEffect">
                                  <p:stCondLst>
                                    <p:cond delay="250"/>
                                  </p:stCondLst>
                                  <p:childTnLst>
                                    <p:animEffect transition="out" filter="fade">
                                      <p:cBhvr>
                                        <p:cTn id="288" dur="500"/>
                                        <p:tgtEl>
                                          <p:spTgt spid="72"/>
                                        </p:tgtEl>
                                      </p:cBhvr>
                                    </p:animEffect>
                                    <p:set>
                                      <p:cBhvr>
                                        <p:cTn id="289" dur="1" fill="hold">
                                          <p:stCondLst>
                                            <p:cond delay="499"/>
                                          </p:stCondLst>
                                        </p:cTn>
                                        <p:tgtEl>
                                          <p:spTgt spid="72"/>
                                        </p:tgtEl>
                                        <p:attrNameLst>
                                          <p:attrName>style.visibility</p:attrName>
                                        </p:attrNameLst>
                                      </p:cBhvr>
                                      <p:to>
                                        <p:strVal val="hidden"/>
                                      </p:to>
                                    </p:set>
                                  </p:childTnLst>
                                </p:cTn>
                              </p:par>
                              <p:par>
                                <p:cTn id="290" presetID="10" presetClass="exit" presetSubtype="0" fill="hold" nodeType="withEffect">
                                  <p:stCondLst>
                                    <p:cond delay="250"/>
                                  </p:stCondLst>
                                  <p:childTnLst>
                                    <p:animEffect transition="out" filter="fade">
                                      <p:cBhvr>
                                        <p:cTn id="291" dur="500"/>
                                        <p:tgtEl>
                                          <p:spTgt spid="81"/>
                                        </p:tgtEl>
                                      </p:cBhvr>
                                    </p:animEffect>
                                    <p:set>
                                      <p:cBhvr>
                                        <p:cTn id="292" dur="1" fill="hold">
                                          <p:stCondLst>
                                            <p:cond delay="499"/>
                                          </p:stCondLst>
                                        </p:cTn>
                                        <p:tgtEl>
                                          <p:spTgt spid="81"/>
                                        </p:tgtEl>
                                        <p:attrNameLst>
                                          <p:attrName>style.visibility</p:attrName>
                                        </p:attrNameLst>
                                      </p:cBhvr>
                                      <p:to>
                                        <p:strVal val="hidden"/>
                                      </p:to>
                                    </p:set>
                                  </p:childTnLst>
                                </p:cTn>
                              </p:par>
                            </p:childTnLst>
                          </p:cTn>
                        </p:par>
                        <p:par>
                          <p:cTn id="293" fill="hold">
                            <p:stCondLst>
                              <p:cond delay="1500"/>
                            </p:stCondLst>
                            <p:childTnLst>
                              <p:par>
                                <p:cTn id="294" presetID="10" presetClass="entr" presetSubtype="0" repeatCount="0" fill="hold" nodeType="afterEffect">
                                  <p:stCondLst>
                                    <p:cond delay="0"/>
                                  </p:stCondLst>
                                  <p:childTnLst>
                                    <p:set>
                                      <p:cBhvr>
                                        <p:cTn id="295" dur="1" fill="hold">
                                          <p:stCondLst>
                                            <p:cond delay="0"/>
                                          </p:stCondLst>
                                        </p:cTn>
                                        <p:tgtEl>
                                          <p:spTgt spid="215"/>
                                        </p:tgtEl>
                                        <p:attrNameLst>
                                          <p:attrName>style.visibility</p:attrName>
                                        </p:attrNameLst>
                                      </p:cBhvr>
                                      <p:to>
                                        <p:strVal val="visible"/>
                                      </p:to>
                                    </p:set>
                                    <p:animEffect transition="in" filter="fade">
                                      <p:cBhvr>
                                        <p:cTn id="296" dur="100"/>
                                        <p:tgtEl>
                                          <p:spTgt spid="215"/>
                                        </p:tgtEl>
                                      </p:cBhvr>
                                    </p:animEffect>
                                  </p:childTnLst>
                                </p:cTn>
                              </p:par>
                              <p:par>
                                <p:cTn id="297" presetID="1" presetClass="exit" presetSubtype="0" fill="hold" grpId="2" nodeType="withEffect">
                                  <p:stCondLst>
                                    <p:cond delay="0"/>
                                  </p:stCondLst>
                                  <p:childTnLst>
                                    <p:set>
                                      <p:cBhvr>
                                        <p:cTn id="298" dur="1" fill="hold">
                                          <p:stCondLst>
                                            <p:cond delay="0"/>
                                          </p:stCondLst>
                                        </p:cTn>
                                        <p:tgtEl>
                                          <p:spTgt spid="9"/>
                                        </p:tgtEl>
                                        <p:attrNameLst>
                                          <p:attrName>style.visibility</p:attrName>
                                        </p:attrNameLst>
                                      </p:cBhvr>
                                      <p:to>
                                        <p:strVal val="hidden"/>
                                      </p:to>
                                    </p:set>
                                  </p:childTnLst>
                                </p:cTn>
                              </p:par>
                              <p:par>
                                <p:cTn id="299" presetID="10" presetClass="entr" presetSubtype="0" fill="hold" grpId="0" nodeType="withEffect">
                                  <p:stCondLst>
                                    <p:cond delay="0"/>
                                  </p:stCondLst>
                                  <p:childTnLst>
                                    <p:set>
                                      <p:cBhvr>
                                        <p:cTn id="300" dur="1" fill="hold">
                                          <p:stCondLst>
                                            <p:cond delay="0"/>
                                          </p:stCondLst>
                                        </p:cTn>
                                        <p:tgtEl>
                                          <p:spTgt spid="221"/>
                                        </p:tgtEl>
                                        <p:attrNameLst>
                                          <p:attrName>style.visibility</p:attrName>
                                        </p:attrNameLst>
                                      </p:cBhvr>
                                      <p:to>
                                        <p:strVal val="visible"/>
                                      </p:to>
                                    </p:set>
                                    <p:animEffect transition="in" filter="fade">
                                      <p:cBhvr>
                                        <p:cTn id="301" dur="500"/>
                                        <p:tgtEl>
                                          <p:spTgt spid="221"/>
                                        </p:tgtEl>
                                      </p:cBhvr>
                                    </p:animEffect>
                                  </p:childTnLst>
                                </p:cTn>
                              </p:par>
                              <p:par>
                                <p:cTn id="302" presetID="10" presetClass="entr" presetSubtype="0" fill="hold" grpId="0" nodeType="withEffect">
                                  <p:stCondLst>
                                    <p:cond delay="750"/>
                                  </p:stCondLst>
                                  <p:childTnLst>
                                    <p:set>
                                      <p:cBhvr>
                                        <p:cTn id="303" dur="1" fill="hold">
                                          <p:stCondLst>
                                            <p:cond delay="0"/>
                                          </p:stCondLst>
                                        </p:cTn>
                                        <p:tgtEl>
                                          <p:spTgt spid="222"/>
                                        </p:tgtEl>
                                        <p:attrNameLst>
                                          <p:attrName>style.visibility</p:attrName>
                                        </p:attrNameLst>
                                      </p:cBhvr>
                                      <p:to>
                                        <p:strVal val="visible"/>
                                      </p:to>
                                    </p:set>
                                    <p:animEffect transition="in" filter="fade">
                                      <p:cBhvr>
                                        <p:cTn id="304" dur="500"/>
                                        <p:tgtEl>
                                          <p:spTgt spid="222"/>
                                        </p:tgtEl>
                                      </p:cBhvr>
                                    </p:animEffect>
                                  </p:childTnLst>
                                </p:cTn>
                              </p:par>
                              <p:par>
                                <p:cTn id="305" presetID="10" presetClass="entr" presetSubtype="0" fill="hold" grpId="0" nodeType="withEffect">
                                  <p:stCondLst>
                                    <p:cond delay="750"/>
                                  </p:stCondLst>
                                  <p:childTnLst>
                                    <p:set>
                                      <p:cBhvr>
                                        <p:cTn id="306" dur="1" fill="hold">
                                          <p:stCondLst>
                                            <p:cond delay="0"/>
                                          </p:stCondLst>
                                        </p:cTn>
                                        <p:tgtEl>
                                          <p:spTgt spid="214"/>
                                        </p:tgtEl>
                                        <p:attrNameLst>
                                          <p:attrName>style.visibility</p:attrName>
                                        </p:attrNameLst>
                                      </p:cBhvr>
                                      <p:to>
                                        <p:strVal val="visible"/>
                                      </p:to>
                                    </p:set>
                                    <p:animEffect transition="in" filter="fade">
                                      <p:cBhvr>
                                        <p:cTn id="307" dur="500"/>
                                        <p:tgtEl>
                                          <p:spTgt spid="214"/>
                                        </p:tgtEl>
                                      </p:cBhvr>
                                    </p:animEffect>
                                  </p:childTnLst>
                                </p:cTn>
                              </p:par>
                            </p:childTnLst>
                          </p:cTn>
                        </p:par>
                      </p:childTnLst>
                    </p:cTn>
                  </p:par>
                  <p:par>
                    <p:cTn id="308" fill="hold">
                      <p:stCondLst>
                        <p:cond delay="indefinite"/>
                      </p:stCondLst>
                      <p:childTnLst>
                        <p:par>
                          <p:cTn id="309" fill="hold">
                            <p:stCondLst>
                              <p:cond delay="0"/>
                            </p:stCondLst>
                            <p:childTnLst>
                              <p:par>
                                <p:cTn id="310" presetID="10" presetClass="exit" presetSubtype="0" fill="hold" grpId="1" nodeType="clickEffect">
                                  <p:stCondLst>
                                    <p:cond delay="0"/>
                                  </p:stCondLst>
                                  <p:childTnLst>
                                    <p:animEffect transition="out" filter="fade">
                                      <p:cBhvr>
                                        <p:cTn id="311" dur="500"/>
                                        <p:tgtEl>
                                          <p:spTgt spid="222"/>
                                        </p:tgtEl>
                                      </p:cBhvr>
                                    </p:animEffect>
                                    <p:set>
                                      <p:cBhvr>
                                        <p:cTn id="312" dur="1" fill="hold">
                                          <p:stCondLst>
                                            <p:cond delay="499"/>
                                          </p:stCondLst>
                                        </p:cTn>
                                        <p:tgtEl>
                                          <p:spTgt spid="222"/>
                                        </p:tgtEl>
                                        <p:attrNameLst>
                                          <p:attrName>style.visibility</p:attrName>
                                        </p:attrNameLst>
                                      </p:cBhvr>
                                      <p:to>
                                        <p:strVal val="hidden"/>
                                      </p:to>
                                    </p:set>
                                  </p:childTnLst>
                                </p:cTn>
                              </p:par>
                              <p:par>
                                <p:cTn id="313" presetID="10" presetClass="exit" presetSubtype="0" fill="hold" grpId="1" nodeType="withEffect">
                                  <p:stCondLst>
                                    <p:cond delay="0"/>
                                  </p:stCondLst>
                                  <p:childTnLst>
                                    <p:animEffect transition="out" filter="fade">
                                      <p:cBhvr>
                                        <p:cTn id="314" dur="500"/>
                                        <p:tgtEl>
                                          <p:spTgt spid="214"/>
                                        </p:tgtEl>
                                      </p:cBhvr>
                                    </p:animEffect>
                                    <p:set>
                                      <p:cBhvr>
                                        <p:cTn id="315" dur="1" fill="hold">
                                          <p:stCondLst>
                                            <p:cond delay="499"/>
                                          </p:stCondLst>
                                        </p:cTn>
                                        <p:tgtEl>
                                          <p:spTgt spid="214"/>
                                        </p:tgtEl>
                                        <p:attrNameLst>
                                          <p:attrName>style.visibility</p:attrName>
                                        </p:attrNameLst>
                                      </p:cBhvr>
                                      <p:to>
                                        <p:strVal val="hidden"/>
                                      </p:to>
                                    </p:set>
                                  </p:childTnLst>
                                </p:cTn>
                              </p:par>
                              <p:par>
                                <p:cTn id="316" presetID="35" presetClass="path" presetSubtype="0" fill="hold" grpId="0" nodeType="withEffect">
                                  <p:stCondLst>
                                    <p:cond delay="0"/>
                                  </p:stCondLst>
                                  <p:childTnLst>
                                    <p:animMotion origin="layout" path="M -1.38889E-6 -4.93827E-7 L -0.07986 0.18827 " pathEditMode="relative" rAng="0" ptsTypes="AA">
                                      <p:cBhvr from="" to="">
                                        <p:cTn id="317" dur="1500" accel="50000" decel="50000" fill="hold">
                                          <p:stCondLst>
                                            <p:cond delay="0"/>
                                          </p:stCondLst>
                                        </p:cTn>
                                        <p:tgtEl>
                                          <p:spTgt spid="11"/>
                                        </p:tgtEl>
                                        <p:attrNameLst>
                                          <p:attrName>ppt_x</p:attrName>
                                          <p:attrName>ppt_y</p:attrName>
                                        </p:attrNameLst>
                                      </p:cBhvr>
                                      <p:rCtr x="-3993" y="9414"/>
                                    </p:animMotion>
                                  </p:childTnLst>
                                </p:cTn>
                              </p:par>
                              <p:par>
                                <p:cTn id="318" presetID="6" presetClass="emph" presetSubtype="0" accel="50000" decel="50000" fill="hold" grpId="1" nodeType="withEffect">
                                  <p:stCondLst>
                                    <p:cond delay="0"/>
                                  </p:stCondLst>
                                  <p:childTnLst>
                                    <p:animScale>
                                      <p:cBhvr>
                                        <p:cTn id="319" dur="1500" fill="hold"/>
                                        <p:tgtEl>
                                          <p:spTgt spid="11"/>
                                        </p:tgtEl>
                                      </p:cBhvr>
                                      <p:by x="62000" y="62000"/>
                                    </p:animScale>
                                  </p:childTnLst>
                                </p:cTn>
                              </p:par>
                              <p:par>
                                <p:cTn id="320" presetID="22" presetClass="entr" presetSubtype="2" fill="hold" nodeType="withEffect">
                                  <p:stCondLst>
                                    <p:cond delay="250"/>
                                  </p:stCondLst>
                                  <p:childTnLst>
                                    <p:set>
                                      <p:cBhvr>
                                        <p:cTn id="321" dur="1" fill="hold">
                                          <p:stCondLst>
                                            <p:cond delay="0"/>
                                          </p:stCondLst>
                                        </p:cTn>
                                        <p:tgtEl>
                                          <p:spTgt spid="243"/>
                                        </p:tgtEl>
                                        <p:attrNameLst>
                                          <p:attrName>style.visibility</p:attrName>
                                        </p:attrNameLst>
                                      </p:cBhvr>
                                      <p:to>
                                        <p:strVal val="visible"/>
                                      </p:to>
                                    </p:set>
                                    <p:animEffect transition="in" filter="wipe(right)">
                                      <p:cBhvr>
                                        <p:cTn id="322" dur="500"/>
                                        <p:tgtEl>
                                          <p:spTgt spid="243"/>
                                        </p:tgtEl>
                                      </p:cBhvr>
                                    </p:animEffect>
                                  </p:childTnLst>
                                </p:cTn>
                              </p:par>
                              <p:par>
                                <p:cTn id="323" presetID="35" presetClass="path" presetSubtype="0" fill="hold" nodeType="withEffect">
                                  <p:stCondLst>
                                    <p:cond delay="0"/>
                                  </p:stCondLst>
                                  <p:childTnLst>
                                    <p:animMotion origin="layout" path="M 8.33333E-7 -3.58025E-6 L 0.10868 -0.22932 " pathEditMode="relative" rAng="0" ptsTypes="AA">
                                      <p:cBhvr from="" to="">
                                        <p:cTn id="324" dur="1500" spd="-100000" accel="50000" decel="50000" fill="hold">
                                          <p:stCondLst>
                                            <p:cond delay="0"/>
                                          </p:stCondLst>
                                        </p:cTn>
                                        <p:tgtEl>
                                          <p:spTgt spid="243"/>
                                        </p:tgtEl>
                                        <p:attrNameLst>
                                          <p:attrName>ppt_x</p:attrName>
                                          <p:attrName>ppt_y</p:attrName>
                                        </p:attrNameLst>
                                      </p:cBhvr>
                                      <p:rCtr x="5434" y="-11481"/>
                                    </p:animMotion>
                                  </p:childTnLst>
                                </p:cTn>
                              </p:par>
                              <p:par>
                                <p:cTn id="325" presetID="10" presetClass="exit" presetSubtype="0" fill="hold" nodeType="withEffect">
                                  <p:stCondLst>
                                    <p:cond delay="500"/>
                                  </p:stCondLst>
                                  <p:childTnLst>
                                    <p:animEffect transition="out" filter="fade">
                                      <p:cBhvr>
                                        <p:cTn id="326" dur="500"/>
                                        <p:tgtEl>
                                          <p:spTgt spid="76"/>
                                        </p:tgtEl>
                                      </p:cBhvr>
                                    </p:animEffect>
                                    <p:set>
                                      <p:cBhvr>
                                        <p:cTn id="327" dur="1" fill="hold">
                                          <p:stCondLst>
                                            <p:cond delay="499"/>
                                          </p:stCondLst>
                                        </p:cTn>
                                        <p:tgtEl>
                                          <p:spTgt spid="76"/>
                                        </p:tgtEl>
                                        <p:attrNameLst>
                                          <p:attrName>style.visibility</p:attrName>
                                        </p:attrNameLst>
                                      </p:cBhvr>
                                      <p:to>
                                        <p:strVal val="hidden"/>
                                      </p:to>
                                    </p:set>
                                  </p:childTnLst>
                                </p:cTn>
                              </p:par>
                              <p:par>
                                <p:cTn id="328" presetID="10" presetClass="exit" presetSubtype="0" fill="hold" grpId="0" nodeType="withEffect">
                                  <p:stCondLst>
                                    <p:cond delay="500"/>
                                  </p:stCondLst>
                                  <p:childTnLst>
                                    <p:animEffect transition="out" filter="fade">
                                      <p:cBhvr>
                                        <p:cTn id="329" dur="1000"/>
                                        <p:tgtEl>
                                          <p:spTgt spid="124"/>
                                        </p:tgtEl>
                                      </p:cBhvr>
                                    </p:animEffect>
                                    <p:set>
                                      <p:cBhvr>
                                        <p:cTn id="330" dur="1" fill="hold">
                                          <p:stCondLst>
                                            <p:cond delay="999"/>
                                          </p:stCondLst>
                                        </p:cTn>
                                        <p:tgtEl>
                                          <p:spTgt spid="124"/>
                                        </p:tgtEl>
                                        <p:attrNameLst>
                                          <p:attrName>style.visibility</p:attrName>
                                        </p:attrNameLst>
                                      </p:cBhvr>
                                      <p:to>
                                        <p:strVal val="hidden"/>
                                      </p:to>
                                    </p:set>
                                  </p:childTnLst>
                                </p:cTn>
                              </p:par>
                              <p:par>
                                <p:cTn id="331" presetID="10" presetClass="exit" presetSubtype="0" fill="hold" grpId="0" nodeType="withEffect">
                                  <p:stCondLst>
                                    <p:cond delay="500"/>
                                  </p:stCondLst>
                                  <p:childTnLst>
                                    <p:animEffect transition="out" filter="fade">
                                      <p:cBhvr>
                                        <p:cTn id="332" dur="1000"/>
                                        <p:tgtEl>
                                          <p:spTgt spid="19"/>
                                        </p:tgtEl>
                                      </p:cBhvr>
                                    </p:animEffect>
                                    <p:set>
                                      <p:cBhvr>
                                        <p:cTn id="333" dur="1" fill="hold">
                                          <p:stCondLst>
                                            <p:cond delay="999"/>
                                          </p:stCondLst>
                                        </p:cTn>
                                        <p:tgtEl>
                                          <p:spTgt spid="19"/>
                                        </p:tgtEl>
                                        <p:attrNameLst>
                                          <p:attrName>style.visibility</p:attrName>
                                        </p:attrNameLst>
                                      </p:cBhvr>
                                      <p:to>
                                        <p:strVal val="hidden"/>
                                      </p:to>
                                    </p:set>
                                  </p:childTnLst>
                                </p:cTn>
                              </p:par>
                              <p:par>
                                <p:cTn id="334" presetID="10" presetClass="exit" presetSubtype="0" fill="hold" nodeType="withEffect">
                                  <p:stCondLst>
                                    <p:cond delay="500"/>
                                  </p:stCondLst>
                                  <p:childTnLst>
                                    <p:animEffect transition="out" filter="fade">
                                      <p:cBhvr>
                                        <p:cTn id="335" dur="500"/>
                                        <p:tgtEl>
                                          <p:spTgt spid="74"/>
                                        </p:tgtEl>
                                      </p:cBhvr>
                                    </p:animEffect>
                                    <p:set>
                                      <p:cBhvr>
                                        <p:cTn id="336" dur="1" fill="hold">
                                          <p:stCondLst>
                                            <p:cond delay="499"/>
                                          </p:stCondLst>
                                        </p:cTn>
                                        <p:tgtEl>
                                          <p:spTgt spid="74"/>
                                        </p:tgtEl>
                                        <p:attrNameLst>
                                          <p:attrName>style.visibility</p:attrName>
                                        </p:attrNameLst>
                                      </p:cBhvr>
                                      <p:to>
                                        <p:strVal val="hidden"/>
                                      </p:to>
                                    </p:set>
                                  </p:childTnLst>
                                </p:cTn>
                              </p:par>
                              <p:par>
                                <p:cTn id="337" presetID="10" presetClass="exit" presetSubtype="0" fill="hold" grpId="0" nodeType="withEffect">
                                  <p:stCondLst>
                                    <p:cond delay="500"/>
                                  </p:stCondLst>
                                  <p:childTnLst>
                                    <p:animEffect transition="out" filter="fade">
                                      <p:cBhvr>
                                        <p:cTn id="338" dur="1000"/>
                                        <p:tgtEl>
                                          <p:spTgt spid="10"/>
                                        </p:tgtEl>
                                      </p:cBhvr>
                                    </p:animEffect>
                                    <p:set>
                                      <p:cBhvr>
                                        <p:cTn id="339" dur="1" fill="hold">
                                          <p:stCondLst>
                                            <p:cond delay="999"/>
                                          </p:stCondLst>
                                        </p:cTn>
                                        <p:tgtEl>
                                          <p:spTgt spid="10"/>
                                        </p:tgtEl>
                                        <p:attrNameLst>
                                          <p:attrName>style.visibility</p:attrName>
                                        </p:attrNameLst>
                                      </p:cBhvr>
                                      <p:to>
                                        <p:strVal val="hidden"/>
                                      </p:to>
                                    </p:set>
                                  </p:childTnLst>
                                </p:cTn>
                              </p:par>
                              <p:par>
                                <p:cTn id="340" presetID="10" presetClass="exit" presetSubtype="0" fill="hold" nodeType="withEffect">
                                  <p:stCondLst>
                                    <p:cond delay="500"/>
                                  </p:stCondLst>
                                  <p:childTnLst>
                                    <p:animEffect transition="out" filter="fade">
                                      <p:cBhvr>
                                        <p:cTn id="341" dur="500"/>
                                        <p:tgtEl>
                                          <p:spTgt spid="70"/>
                                        </p:tgtEl>
                                      </p:cBhvr>
                                    </p:animEffect>
                                    <p:set>
                                      <p:cBhvr>
                                        <p:cTn id="342" dur="1" fill="hold">
                                          <p:stCondLst>
                                            <p:cond delay="499"/>
                                          </p:stCondLst>
                                        </p:cTn>
                                        <p:tgtEl>
                                          <p:spTgt spid="70"/>
                                        </p:tgtEl>
                                        <p:attrNameLst>
                                          <p:attrName>style.visibility</p:attrName>
                                        </p:attrNameLst>
                                      </p:cBhvr>
                                      <p:to>
                                        <p:strVal val="hidden"/>
                                      </p:to>
                                    </p:set>
                                  </p:childTnLst>
                                </p:cTn>
                              </p:par>
                            </p:childTnLst>
                          </p:cTn>
                        </p:par>
                        <p:par>
                          <p:cTn id="343" fill="hold">
                            <p:stCondLst>
                              <p:cond delay="1500"/>
                            </p:stCondLst>
                            <p:childTnLst>
                              <p:par>
                                <p:cTn id="344" presetID="1" presetClass="exit" presetSubtype="0" fill="hold" grpId="2" nodeType="afterEffect">
                                  <p:stCondLst>
                                    <p:cond delay="0"/>
                                  </p:stCondLst>
                                  <p:childTnLst>
                                    <p:set>
                                      <p:cBhvr>
                                        <p:cTn id="345" dur="1" fill="hold">
                                          <p:stCondLst>
                                            <p:cond delay="0"/>
                                          </p:stCondLst>
                                        </p:cTn>
                                        <p:tgtEl>
                                          <p:spTgt spid="11"/>
                                        </p:tgtEl>
                                        <p:attrNameLst>
                                          <p:attrName>style.visibility</p:attrName>
                                        </p:attrNameLst>
                                      </p:cBhvr>
                                      <p:to>
                                        <p:strVal val="hidden"/>
                                      </p:to>
                                    </p:set>
                                  </p:childTnLst>
                                </p:cTn>
                              </p:par>
                              <p:par>
                                <p:cTn id="346" presetID="10" presetClass="entr" presetSubtype="0" repeatCount="0" fill="hold" nodeType="withEffect">
                                  <p:stCondLst>
                                    <p:cond delay="0"/>
                                  </p:stCondLst>
                                  <p:childTnLst>
                                    <p:set>
                                      <p:cBhvr>
                                        <p:cTn id="347" dur="1" fill="hold">
                                          <p:stCondLst>
                                            <p:cond delay="0"/>
                                          </p:stCondLst>
                                        </p:cTn>
                                        <p:tgtEl>
                                          <p:spTgt spid="231"/>
                                        </p:tgtEl>
                                        <p:attrNameLst>
                                          <p:attrName>style.visibility</p:attrName>
                                        </p:attrNameLst>
                                      </p:cBhvr>
                                      <p:to>
                                        <p:strVal val="visible"/>
                                      </p:to>
                                    </p:set>
                                    <p:animEffect transition="in" filter="fade">
                                      <p:cBhvr>
                                        <p:cTn id="348" dur="100"/>
                                        <p:tgtEl>
                                          <p:spTgt spid="231"/>
                                        </p:tgtEl>
                                      </p:cBhvr>
                                    </p:animEffect>
                                  </p:childTnLst>
                                </p:cTn>
                              </p:par>
                              <p:par>
                                <p:cTn id="349" presetID="10" presetClass="entr" presetSubtype="0" fill="hold" grpId="0" nodeType="withEffect">
                                  <p:stCondLst>
                                    <p:cond delay="0"/>
                                  </p:stCondLst>
                                  <p:childTnLst>
                                    <p:set>
                                      <p:cBhvr>
                                        <p:cTn id="350" dur="1" fill="hold">
                                          <p:stCondLst>
                                            <p:cond delay="0"/>
                                          </p:stCondLst>
                                        </p:cTn>
                                        <p:tgtEl>
                                          <p:spTgt spid="240"/>
                                        </p:tgtEl>
                                        <p:attrNameLst>
                                          <p:attrName>style.visibility</p:attrName>
                                        </p:attrNameLst>
                                      </p:cBhvr>
                                      <p:to>
                                        <p:strVal val="visible"/>
                                      </p:to>
                                    </p:set>
                                    <p:animEffect transition="in" filter="fade">
                                      <p:cBhvr>
                                        <p:cTn id="351" dur="500"/>
                                        <p:tgtEl>
                                          <p:spTgt spid="240"/>
                                        </p:tgtEl>
                                      </p:cBhvr>
                                    </p:animEffect>
                                  </p:childTnLst>
                                </p:cTn>
                              </p:par>
                              <p:par>
                                <p:cTn id="352" presetID="10" presetClass="entr" presetSubtype="0" fill="hold" grpId="0" nodeType="withEffect">
                                  <p:stCondLst>
                                    <p:cond delay="750"/>
                                  </p:stCondLst>
                                  <p:childTnLst>
                                    <p:set>
                                      <p:cBhvr>
                                        <p:cTn id="353" dur="1" fill="hold">
                                          <p:stCondLst>
                                            <p:cond delay="0"/>
                                          </p:stCondLst>
                                        </p:cTn>
                                        <p:tgtEl>
                                          <p:spTgt spid="241"/>
                                        </p:tgtEl>
                                        <p:attrNameLst>
                                          <p:attrName>style.visibility</p:attrName>
                                        </p:attrNameLst>
                                      </p:cBhvr>
                                      <p:to>
                                        <p:strVal val="visible"/>
                                      </p:to>
                                    </p:set>
                                    <p:animEffect transition="in" filter="fade">
                                      <p:cBhvr>
                                        <p:cTn id="354" dur="500"/>
                                        <p:tgtEl>
                                          <p:spTgt spid="241"/>
                                        </p:tgtEl>
                                      </p:cBhvr>
                                    </p:animEffect>
                                  </p:childTnLst>
                                </p:cTn>
                              </p:par>
                              <p:par>
                                <p:cTn id="355" presetID="10" presetClass="entr" presetSubtype="0" fill="hold" grpId="0" nodeType="withEffect">
                                  <p:stCondLst>
                                    <p:cond delay="750"/>
                                  </p:stCondLst>
                                  <p:childTnLst>
                                    <p:set>
                                      <p:cBhvr>
                                        <p:cTn id="356" dur="1" fill="hold">
                                          <p:stCondLst>
                                            <p:cond delay="0"/>
                                          </p:stCondLst>
                                        </p:cTn>
                                        <p:tgtEl>
                                          <p:spTgt spid="230"/>
                                        </p:tgtEl>
                                        <p:attrNameLst>
                                          <p:attrName>style.visibility</p:attrName>
                                        </p:attrNameLst>
                                      </p:cBhvr>
                                      <p:to>
                                        <p:strVal val="visible"/>
                                      </p:to>
                                    </p:set>
                                    <p:animEffect transition="in" filter="fade">
                                      <p:cBhvr>
                                        <p:cTn id="357" dur="500"/>
                                        <p:tgtEl>
                                          <p:spTgt spid="230"/>
                                        </p:tgtEl>
                                      </p:cBhvr>
                                    </p:animEffect>
                                  </p:childTnLst>
                                </p:cTn>
                              </p:par>
                            </p:childTnLst>
                          </p:cTn>
                        </p:par>
                        <p:par>
                          <p:cTn id="358" fill="hold">
                            <p:stCondLst>
                              <p:cond delay="2750"/>
                            </p:stCondLst>
                            <p:childTnLst>
                              <p:par>
                                <p:cTn id="359" presetID="1" presetClass="entr" presetSubtype="0" fill="hold" grpId="0" nodeType="afterEffect">
                                  <p:stCondLst>
                                    <p:cond delay="0"/>
                                  </p:stCondLst>
                                  <p:childTnLst>
                                    <p:set>
                                      <p:cBhvr>
                                        <p:cTn id="360"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animBg="1"/>
      <p:bldP spid="124" grpId="0" animBg="1"/>
      <p:bldP spid="123" grpId="0" animBg="1"/>
      <p:bldP spid="122" grpId="0" animBg="1"/>
      <p:bldP spid="121" grpId="0" animBg="1"/>
      <p:bldP spid="120" grpId="0" animBg="1"/>
      <p:bldP spid="119" grpId="0" animBg="1"/>
      <p:bldP spid="118" grpId="0" animBg="1"/>
      <p:bldP spid="117" grpId="0" animBg="1"/>
      <p:bldP spid="116" grpId="0" animBg="1"/>
      <p:bldP spid="3" grpId="0" animBg="1"/>
      <p:bldP spid="4" grpId="0" animBg="1"/>
      <p:bldP spid="4" grpId="1" animBg="1"/>
      <p:bldP spid="5" grpId="0" animBg="1"/>
      <p:bldP spid="5" grpId="1" animBg="1"/>
      <p:bldP spid="5" grpId="2" animBg="1"/>
      <p:bldP spid="7" grpId="0" animBg="1"/>
      <p:bldP spid="8" grpId="0" animBg="1"/>
      <p:bldP spid="9" grpId="0" animBg="1"/>
      <p:bldP spid="9" grpId="1" animBg="1"/>
      <p:bldP spid="9" grpId="2" animBg="1"/>
      <p:bldP spid="10" grpId="0" animBg="1"/>
      <p:bldP spid="11" grpId="0" animBg="1"/>
      <p:bldP spid="11" grpId="1" animBg="1"/>
      <p:bldP spid="11" grpId="2" animBg="1"/>
      <p:bldP spid="12" grpId="0" animBg="1"/>
      <p:bldP spid="12" grpId="1" animBg="1"/>
      <p:bldP spid="12" grpId="2" animBg="1"/>
      <p:bldP spid="14" grpId="0" animBg="1"/>
      <p:bldP spid="15" grpId="0" animBg="1"/>
      <p:bldP spid="17" grpId="0" animBg="1"/>
      <p:bldP spid="18" grpId="0" animBg="1"/>
      <p:bldP spid="19" grpId="0" animBg="1"/>
      <p:bldP spid="20" grpId="0" animBg="1"/>
      <p:bldP spid="21" grpId="0" animBg="1"/>
      <p:bldP spid="22" grpId="0" animBg="1"/>
      <p:bldP spid="23" grpId="0" animBg="1"/>
      <p:bldP spid="63" grpId="0" animBg="1"/>
      <p:bldP spid="63" grpId="1" animBg="1"/>
      <p:bldP spid="63" grpId="2" animBg="1"/>
      <p:bldP spid="6" grpId="0" animBg="1"/>
      <p:bldP spid="6" grpId="1" animBg="1"/>
      <p:bldP spid="6" grpId="2" animBg="1"/>
      <p:bldP spid="65" grpId="0" animBg="1"/>
      <p:bldP spid="104" grpId="0"/>
      <p:bldP spid="105" grpId="0"/>
      <p:bldP spid="107" grpId="0"/>
      <p:bldP spid="107" grpId="1"/>
      <p:bldP spid="110" grpId="0" animBg="1"/>
      <p:bldP spid="110" grpId="1" animBg="1"/>
      <p:bldP spid="166" grpId="0" animBg="1"/>
      <p:bldP spid="166" grpId="1" animBg="1"/>
      <p:bldP spid="109" grpId="0" animBg="1"/>
      <p:bldP spid="109" grpId="1" animBg="1"/>
      <p:bldP spid="221" grpId="0"/>
      <p:bldP spid="222" grpId="0"/>
      <p:bldP spid="222" grpId="1"/>
      <p:bldP spid="214" grpId="0" animBg="1"/>
      <p:bldP spid="214" grpId="1" animBg="1"/>
      <p:bldP spid="173" grpId="0" animBg="1"/>
      <p:bldP spid="173" grpId="1" animBg="1"/>
      <p:bldP spid="173" grpId="2" animBg="1"/>
      <p:bldP spid="174" grpId="0" animBg="1"/>
      <p:bldP spid="174" grpId="1" animBg="1"/>
      <p:bldP spid="174" grpId="2" animBg="1"/>
      <p:bldP spid="208" grpId="0" animBg="1"/>
      <p:bldP spid="208" grpId="1" animBg="1"/>
      <p:bldP spid="208" grpId="2" animBg="1"/>
      <p:bldP spid="230" grpId="0" animBg="1"/>
      <p:bldP spid="79" grpId="0"/>
      <p:bldP spid="80" grpId="0"/>
      <p:bldP spid="80" grpId="1"/>
      <p:bldP spid="82" grpId="0" animBg="1" autoUpdateAnimBg="0"/>
      <p:bldP spid="82" grpId="1" animBg="1"/>
      <p:bldP spid="206" grpId="0"/>
      <p:bldP spid="207" grpId="0"/>
      <p:bldP spid="209" grpId="0"/>
      <p:bldP spid="209" grpId="1"/>
      <p:bldP spid="209" grpId="2"/>
      <p:bldP spid="240" grpId="0"/>
      <p:bldP spid="24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6" name="Straight Connector 105">
            <a:extLst>
              <a:ext uri="{FF2B5EF4-FFF2-40B4-BE49-F238E27FC236}">
                <a16:creationId xmlns:a16="http://schemas.microsoft.com/office/drawing/2014/main" id="{0E4AC551-A29F-487D-BC0C-0E92BD148221}"/>
              </a:ext>
            </a:extLst>
          </p:cNvPr>
          <p:cNvCxnSpPr>
            <a:cxnSpLocks/>
          </p:cNvCxnSpPr>
          <p:nvPr/>
        </p:nvCxnSpPr>
        <p:spPr>
          <a:xfrm flipH="1" flipV="1">
            <a:off x="4581618" y="1131925"/>
            <a:ext cx="1526450" cy="1867849"/>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56A4063-EFBF-48B1-A8A5-E8A708744211}"/>
              </a:ext>
            </a:extLst>
          </p:cNvPr>
          <p:cNvCxnSpPr>
            <a:cxnSpLocks/>
            <a:stCxn id="98" idx="7"/>
            <a:endCxn id="28" idx="8"/>
          </p:cNvCxnSpPr>
          <p:nvPr/>
        </p:nvCxnSpPr>
        <p:spPr>
          <a:xfrm flipH="1">
            <a:off x="3905473" y="1671288"/>
            <a:ext cx="1908729" cy="2340405"/>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A81D5042-C878-43DC-8170-2F84E186F879}"/>
              </a:ext>
            </a:extLst>
          </p:cNvPr>
          <p:cNvCxnSpPr>
            <a:cxnSpLocks/>
            <a:stCxn id="40" idx="1"/>
          </p:cNvCxnSpPr>
          <p:nvPr/>
        </p:nvCxnSpPr>
        <p:spPr>
          <a:xfrm flipV="1">
            <a:off x="3871589" y="4065344"/>
            <a:ext cx="1377847" cy="30374"/>
          </a:xfrm>
          <a:prstGeom prst="straightConnector1">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D69CA40-79D4-474F-ACB6-771A585A1E8C}"/>
              </a:ext>
            </a:extLst>
          </p:cNvPr>
          <p:cNvCxnSpPr>
            <a:cxnSpLocks/>
          </p:cNvCxnSpPr>
          <p:nvPr/>
        </p:nvCxnSpPr>
        <p:spPr>
          <a:xfrm flipV="1">
            <a:off x="5247161" y="1666024"/>
            <a:ext cx="548444" cy="242835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9F9352D-CC80-48A4-A8B1-B31537882471}"/>
              </a:ext>
            </a:extLst>
          </p:cNvPr>
          <p:cNvCxnSpPr>
            <a:cxnSpLocks/>
            <a:stCxn id="58" idx="6"/>
          </p:cNvCxnSpPr>
          <p:nvPr/>
        </p:nvCxnSpPr>
        <p:spPr>
          <a:xfrm flipH="1" flipV="1">
            <a:off x="2935675" y="2986400"/>
            <a:ext cx="2260292" cy="1098302"/>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FF21A98D-29F5-4DD0-9BB9-F21CAFCC0276}"/>
              </a:ext>
            </a:extLst>
          </p:cNvPr>
          <p:cNvCxnSpPr>
            <a:cxnSpLocks/>
          </p:cNvCxnSpPr>
          <p:nvPr/>
        </p:nvCxnSpPr>
        <p:spPr>
          <a:xfrm flipV="1">
            <a:off x="2950349" y="1163577"/>
            <a:ext cx="1577323" cy="1837822"/>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B6E73A1-CFFF-4864-8A13-60346F01529F}"/>
              </a:ext>
            </a:extLst>
          </p:cNvPr>
          <p:cNvCxnSpPr>
            <a:cxnSpLocks/>
          </p:cNvCxnSpPr>
          <p:nvPr/>
        </p:nvCxnSpPr>
        <p:spPr>
          <a:xfrm>
            <a:off x="2955492" y="2996501"/>
            <a:ext cx="3145881" cy="19438"/>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F358388-05FE-4F4B-BA65-BD0644F1B30A}"/>
              </a:ext>
            </a:extLst>
          </p:cNvPr>
          <p:cNvCxnSpPr>
            <a:cxnSpLocks/>
          </p:cNvCxnSpPr>
          <p:nvPr/>
        </p:nvCxnSpPr>
        <p:spPr>
          <a:xfrm flipH="1" flipV="1">
            <a:off x="4570603" y="1135495"/>
            <a:ext cx="1344643" cy="549281"/>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F48D54B-69E8-4BC6-9B68-1A852A1D183F}"/>
              </a:ext>
            </a:extLst>
          </p:cNvPr>
          <p:cNvCxnSpPr>
            <a:cxnSpLocks/>
            <a:endCxn id="9" idx="0"/>
          </p:cNvCxnSpPr>
          <p:nvPr/>
        </p:nvCxnSpPr>
        <p:spPr>
          <a:xfrm flipH="1">
            <a:off x="3264374" y="1135495"/>
            <a:ext cx="1306229" cy="533825"/>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07CB2FC2-B6E2-45AB-87DC-7E2F9983C233}"/>
              </a:ext>
            </a:extLst>
          </p:cNvPr>
          <p:cNvCxnSpPr>
            <a:cxnSpLocks/>
            <a:stCxn id="9" idx="0"/>
          </p:cNvCxnSpPr>
          <p:nvPr/>
        </p:nvCxnSpPr>
        <p:spPr>
          <a:xfrm>
            <a:off x="3264374" y="1669320"/>
            <a:ext cx="1940330" cy="238831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8F5C0CA-3788-4428-B4DD-D3FDAC085351}"/>
              </a:ext>
            </a:extLst>
          </p:cNvPr>
          <p:cNvCxnSpPr>
            <a:cxnSpLocks/>
          </p:cNvCxnSpPr>
          <p:nvPr/>
        </p:nvCxnSpPr>
        <p:spPr>
          <a:xfrm>
            <a:off x="3366720" y="1675626"/>
            <a:ext cx="2545771" cy="35151"/>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631E6CA6-FE6E-4069-B50E-7EBA710F5FBE}"/>
              </a:ext>
            </a:extLst>
          </p:cNvPr>
          <p:cNvCxnSpPr>
            <a:cxnSpLocks/>
            <a:stCxn id="5" idx="7"/>
          </p:cNvCxnSpPr>
          <p:nvPr/>
        </p:nvCxnSpPr>
        <p:spPr>
          <a:xfrm>
            <a:off x="3259025" y="1583769"/>
            <a:ext cx="623397" cy="2522384"/>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38AB1D44-D9F6-4288-93AF-EF3D248CDA7D}"/>
              </a:ext>
            </a:extLst>
          </p:cNvPr>
          <p:cNvCxnSpPr>
            <a:cxnSpLocks/>
            <a:stCxn id="9" idx="12"/>
          </p:cNvCxnSpPr>
          <p:nvPr/>
        </p:nvCxnSpPr>
        <p:spPr>
          <a:xfrm flipH="1">
            <a:off x="2952860" y="1684110"/>
            <a:ext cx="302480" cy="1313961"/>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CE2192C-292D-4933-B884-1A1C739E57F2}"/>
              </a:ext>
            </a:extLst>
          </p:cNvPr>
          <p:cNvCxnSpPr>
            <a:cxnSpLocks/>
            <a:endCxn id="40" idx="1"/>
          </p:cNvCxnSpPr>
          <p:nvPr/>
        </p:nvCxnSpPr>
        <p:spPr>
          <a:xfrm>
            <a:off x="2952860" y="2999774"/>
            <a:ext cx="918729" cy="1095944"/>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18F3C705-445B-4189-92B8-6F3717B01858}"/>
              </a:ext>
            </a:extLst>
          </p:cNvPr>
          <p:cNvCxnSpPr>
            <a:cxnSpLocks/>
          </p:cNvCxnSpPr>
          <p:nvPr/>
        </p:nvCxnSpPr>
        <p:spPr>
          <a:xfrm flipV="1">
            <a:off x="5310232" y="3032103"/>
            <a:ext cx="797836" cy="102553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1995E89-15E0-41D7-B97C-BF681E8407FB}"/>
              </a:ext>
            </a:extLst>
          </p:cNvPr>
          <p:cNvCxnSpPr>
            <a:cxnSpLocks/>
          </p:cNvCxnSpPr>
          <p:nvPr/>
        </p:nvCxnSpPr>
        <p:spPr>
          <a:xfrm>
            <a:off x="5782048" y="1593967"/>
            <a:ext cx="326020" cy="1405807"/>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46F4F50A-69AD-40D4-B8FC-C467DCB9C284}"/>
              </a:ext>
            </a:extLst>
          </p:cNvPr>
          <p:cNvCxnSpPr>
            <a:cxnSpLocks/>
          </p:cNvCxnSpPr>
          <p:nvPr/>
        </p:nvCxnSpPr>
        <p:spPr>
          <a:xfrm>
            <a:off x="4570603" y="1135495"/>
            <a:ext cx="686943" cy="2914858"/>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5BB8B8D7-377F-4997-AFD0-FBE0B8BA9BB1}"/>
              </a:ext>
            </a:extLst>
          </p:cNvPr>
          <p:cNvCxnSpPr>
            <a:cxnSpLocks/>
            <a:stCxn id="40" idx="1"/>
          </p:cNvCxnSpPr>
          <p:nvPr/>
        </p:nvCxnSpPr>
        <p:spPr>
          <a:xfrm flipV="1">
            <a:off x="3871589" y="2993079"/>
            <a:ext cx="2252644" cy="1102639"/>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7BB3CE2E-98B0-40A4-9480-E430106ADBF9}"/>
              </a:ext>
            </a:extLst>
          </p:cNvPr>
          <p:cNvCxnSpPr>
            <a:cxnSpLocks/>
          </p:cNvCxnSpPr>
          <p:nvPr/>
        </p:nvCxnSpPr>
        <p:spPr>
          <a:xfrm>
            <a:off x="3248242" y="1665220"/>
            <a:ext cx="2859826" cy="1334554"/>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56AEF836-6AF5-4207-9DE3-2A4F5F03AF0F}"/>
              </a:ext>
            </a:extLst>
          </p:cNvPr>
          <p:cNvCxnSpPr>
            <a:cxnSpLocks/>
          </p:cNvCxnSpPr>
          <p:nvPr/>
        </p:nvCxnSpPr>
        <p:spPr>
          <a:xfrm flipH="1">
            <a:off x="3911172" y="1120770"/>
            <a:ext cx="668476" cy="2943455"/>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067" name="Group 44">
            <a:extLst>
              <a:ext uri="{FF2B5EF4-FFF2-40B4-BE49-F238E27FC236}">
                <a16:creationId xmlns:a16="http://schemas.microsoft.com/office/drawing/2014/main" id="{3D0058D3-5A49-4229-9802-B1CB20E95771}"/>
              </a:ext>
            </a:extLst>
          </p:cNvPr>
          <p:cNvGrpSpPr>
            <a:grpSpLocks noChangeAspect="1"/>
          </p:cNvGrpSpPr>
          <p:nvPr/>
        </p:nvGrpSpPr>
        <p:grpSpPr bwMode="auto">
          <a:xfrm flipV="1">
            <a:off x="4598759" y="2887262"/>
            <a:ext cx="247974" cy="248154"/>
            <a:chOff x="1608" y="347"/>
            <a:chExt cx="2544" cy="2546"/>
          </a:xfrm>
        </p:grpSpPr>
        <p:sp>
          <p:nvSpPr>
            <p:cNvPr id="1068" name="Oval 45">
              <a:extLst>
                <a:ext uri="{FF2B5EF4-FFF2-40B4-BE49-F238E27FC236}">
                  <a16:creationId xmlns:a16="http://schemas.microsoft.com/office/drawing/2014/main" id="{86097B5B-2F08-4828-97F6-2C0E4FE4177D}"/>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69" name="Freeform 46">
              <a:extLst>
                <a:ext uri="{FF2B5EF4-FFF2-40B4-BE49-F238E27FC236}">
                  <a16:creationId xmlns:a16="http://schemas.microsoft.com/office/drawing/2014/main" id="{88D25E51-F406-41DE-9C86-96A38F5A8352}"/>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70" name="Freeform 47">
              <a:extLst>
                <a:ext uri="{FF2B5EF4-FFF2-40B4-BE49-F238E27FC236}">
                  <a16:creationId xmlns:a16="http://schemas.microsoft.com/office/drawing/2014/main" id="{67221A69-EF14-432E-B5C1-BD54D38DAF3F}"/>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71" name="Freeform 48">
              <a:extLst>
                <a:ext uri="{FF2B5EF4-FFF2-40B4-BE49-F238E27FC236}">
                  <a16:creationId xmlns:a16="http://schemas.microsoft.com/office/drawing/2014/main" id="{60D41C96-81C0-4BCC-AAB9-2331DA95880D}"/>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72" name="Freeform 49">
              <a:extLst>
                <a:ext uri="{FF2B5EF4-FFF2-40B4-BE49-F238E27FC236}">
                  <a16:creationId xmlns:a16="http://schemas.microsoft.com/office/drawing/2014/main" id="{5F3F2D8F-2B0B-4B76-9710-F9F5669556A1}"/>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73" name="Freeform 50">
              <a:extLst>
                <a:ext uri="{FF2B5EF4-FFF2-40B4-BE49-F238E27FC236}">
                  <a16:creationId xmlns:a16="http://schemas.microsoft.com/office/drawing/2014/main" id="{01A3B4F9-58E6-4E33-9EED-676D36F6814F}"/>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74" name="Freeform 51">
              <a:extLst>
                <a:ext uri="{FF2B5EF4-FFF2-40B4-BE49-F238E27FC236}">
                  <a16:creationId xmlns:a16="http://schemas.microsoft.com/office/drawing/2014/main" id="{2E0B9CA3-2FF1-4418-9F2C-D4743B802739}"/>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75" name="Freeform 52">
              <a:extLst>
                <a:ext uri="{FF2B5EF4-FFF2-40B4-BE49-F238E27FC236}">
                  <a16:creationId xmlns:a16="http://schemas.microsoft.com/office/drawing/2014/main" id="{D371807A-ADD9-4A84-B9EC-6B6B36BE2076}"/>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76" name="Freeform 53">
              <a:extLst>
                <a:ext uri="{FF2B5EF4-FFF2-40B4-BE49-F238E27FC236}">
                  <a16:creationId xmlns:a16="http://schemas.microsoft.com/office/drawing/2014/main" id="{C17F32FC-3471-4139-860B-9477B6E4C594}"/>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77" name="Freeform 54">
              <a:extLst>
                <a:ext uri="{FF2B5EF4-FFF2-40B4-BE49-F238E27FC236}">
                  <a16:creationId xmlns:a16="http://schemas.microsoft.com/office/drawing/2014/main" id="{A6B6845C-2212-4164-B142-A63063118714}"/>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78" name="Freeform 55">
              <a:extLst>
                <a:ext uri="{FF2B5EF4-FFF2-40B4-BE49-F238E27FC236}">
                  <a16:creationId xmlns:a16="http://schemas.microsoft.com/office/drawing/2014/main" id="{D500CC5F-55F8-4BBB-8603-F780240C3ABC}"/>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79" name="Freeform 56">
              <a:extLst>
                <a:ext uri="{FF2B5EF4-FFF2-40B4-BE49-F238E27FC236}">
                  <a16:creationId xmlns:a16="http://schemas.microsoft.com/office/drawing/2014/main" id="{8912B25E-6285-4F8E-B752-5D3F4AA0ABB8}"/>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80" name="Freeform 57">
              <a:extLst>
                <a:ext uri="{FF2B5EF4-FFF2-40B4-BE49-F238E27FC236}">
                  <a16:creationId xmlns:a16="http://schemas.microsoft.com/office/drawing/2014/main" id="{F0E0F983-3360-4CD6-A969-32501AE00C13}"/>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81" name="Freeform 58">
              <a:extLst>
                <a:ext uri="{FF2B5EF4-FFF2-40B4-BE49-F238E27FC236}">
                  <a16:creationId xmlns:a16="http://schemas.microsoft.com/office/drawing/2014/main" id="{0E1CF162-7DEE-4247-9118-21E53853BB79}"/>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82" name="Freeform 59">
              <a:extLst>
                <a:ext uri="{FF2B5EF4-FFF2-40B4-BE49-F238E27FC236}">
                  <a16:creationId xmlns:a16="http://schemas.microsoft.com/office/drawing/2014/main" id="{5A25E222-4009-40E1-8312-FE8D7E6EC4F3}"/>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83" name="Freeform 60">
              <a:extLst>
                <a:ext uri="{FF2B5EF4-FFF2-40B4-BE49-F238E27FC236}">
                  <a16:creationId xmlns:a16="http://schemas.microsoft.com/office/drawing/2014/main" id="{AFE1D30C-2BB9-479C-BD3F-A9756E67E02A}"/>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84" name="Freeform 61">
              <a:extLst>
                <a:ext uri="{FF2B5EF4-FFF2-40B4-BE49-F238E27FC236}">
                  <a16:creationId xmlns:a16="http://schemas.microsoft.com/office/drawing/2014/main" id="{987EACD2-C00E-4E5D-B4D3-A04B2504F0ED}"/>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85" name="Freeform 62">
              <a:extLst>
                <a:ext uri="{FF2B5EF4-FFF2-40B4-BE49-F238E27FC236}">
                  <a16:creationId xmlns:a16="http://schemas.microsoft.com/office/drawing/2014/main" id="{4E9ED9E1-BF35-4FB4-8D45-B4E4EC75DE91}"/>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86" name="Freeform 63">
              <a:extLst>
                <a:ext uri="{FF2B5EF4-FFF2-40B4-BE49-F238E27FC236}">
                  <a16:creationId xmlns:a16="http://schemas.microsoft.com/office/drawing/2014/main" id="{73293E71-DD08-4AB1-90B4-81D0ABBD57EF}"/>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87" name="Freeform 64">
              <a:extLst>
                <a:ext uri="{FF2B5EF4-FFF2-40B4-BE49-F238E27FC236}">
                  <a16:creationId xmlns:a16="http://schemas.microsoft.com/office/drawing/2014/main" id="{696C577E-D1D7-4D0F-B711-4E2FF494F6FD}"/>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88" name="Freeform 65">
              <a:extLst>
                <a:ext uri="{FF2B5EF4-FFF2-40B4-BE49-F238E27FC236}">
                  <a16:creationId xmlns:a16="http://schemas.microsoft.com/office/drawing/2014/main" id="{F95E6216-CDF0-4567-8E98-929F62B69A15}"/>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89" name="Freeform 66">
              <a:extLst>
                <a:ext uri="{FF2B5EF4-FFF2-40B4-BE49-F238E27FC236}">
                  <a16:creationId xmlns:a16="http://schemas.microsoft.com/office/drawing/2014/main" id="{49BF5BE3-6B3E-481B-B850-C14F368737A6}"/>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90" name="Freeform 67">
              <a:extLst>
                <a:ext uri="{FF2B5EF4-FFF2-40B4-BE49-F238E27FC236}">
                  <a16:creationId xmlns:a16="http://schemas.microsoft.com/office/drawing/2014/main" id="{A3324B3B-A631-466A-A1E6-8A4374C46036}"/>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91" name="Freeform 68">
              <a:extLst>
                <a:ext uri="{FF2B5EF4-FFF2-40B4-BE49-F238E27FC236}">
                  <a16:creationId xmlns:a16="http://schemas.microsoft.com/office/drawing/2014/main" id="{92031455-FA04-42CC-9F81-3E5FA8897735}"/>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92" name="Freeform 69">
              <a:extLst>
                <a:ext uri="{FF2B5EF4-FFF2-40B4-BE49-F238E27FC236}">
                  <a16:creationId xmlns:a16="http://schemas.microsoft.com/office/drawing/2014/main" id="{A435A387-638A-4FD1-9B86-01A4DB34D6BD}"/>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93" name="Freeform 70">
              <a:extLst>
                <a:ext uri="{FF2B5EF4-FFF2-40B4-BE49-F238E27FC236}">
                  <a16:creationId xmlns:a16="http://schemas.microsoft.com/office/drawing/2014/main" id="{10D92655-050E-4075-8CDA-75A560A9616E}"/>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94" name="Freeform 71">
              <a:extLst>
                <a:ext uri="{FF2B5EF4-FFF2-40B4-BE49-F238E27FC236}">
                  <a16:creationId xmlns:a16="http://schemas.microsoft.com/office/drawing/2014/main" id="{E3034FBF-784F-402D-9117-23623400C31B}"/>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95" name="Freeform 72">
              <a:extLst>
                <a:ext uri="{FF2B5EF4-FFF2-40B4-BE49-F238E27FC236}">
                  <a16:creationId xmlns:a16="http://schemas.microsoft.com/office/drawing/2014/main" id="{15006F05-5E04-4DDF-81C2-A0C863FD166B}"/>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96" name="Freeform 73">
              <a:extLst>
                <a:ext uri="{FF2B5EF4-FFF2-40B4-BE49-F238E27FC236}">
                  <a16:creationId xmlns:a16="http://schemas.microsoft.com/office/drawing/2014/main" id="{DE4B5ED9-A89D-426B-9484-F75948B9A2DC}"/>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97" name="Freeform 74">
              <a:extLst>
                <a:ext uri="{FF2B5EF4-FFF2-40B4-BE49-F238E27FC236}">
                  <a16:creationId xmlns:a16="http://schemas.microsoft.com/office/drawing/2014/main" id="{4B61F1B2-BBC2-48AE-B413-0F1302B27DA1}"/>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98" name="Freeform 75">
              <a:extLst>
                <a:ext uri="{FF2B5EF4-FFF2-40B4-BE49-F238E27FC236}">
                  <a16:creationId xmlns:a16="http://schemas.microsoft.com/office/drawing/2014/main" id="{69AF6A36-9CFC-4FD9-9575-5417C94FE2FB}"/>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99" name="Freeform 76">
              <a:extLst>
                <a:ext uri="{FF2B5EF4-FFF2-40B4-BE49-F238E27FC236}">
                  <a16:creationId xmlns:a16="http://schemas.microsoft.com/office/drawing/2014/main" id="{ADE29A86-CA08-4EC1-9577-BB547B7109E0}"/>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100" name="Freeform 77">
              <a:extLst>
                <a:ext uri="{FF2B5EF4-FFF2-40B4-BE49-F238E27FC236}">
                  <a16:creationId xmlns:a16="http://schemas.microsoft.com/office/drawing/2014/main" id="{4A12F67C-EDAC-42A2-B770-085533EF3547}"/>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101" name="Freeform 78">
              <a:extLst>
                <a:ext uri="{FF2B5EF4-FFF2-40B4-BE49-F238E27FC236}">
                  <a16:creationId xmlns:a16="http://schemas.microsoft.com/office/drawing/2014/main" id="{FE1C3E02-388B-4626-91AD-6112C9D5AAC0}"/>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102" name="Freeform 79">
              <a:extLst>
                <a:ext uri="{FF2B5EF4-FFF2-40B4-BE49-F238E27FC236}">
                  <a16:creationId xmlns:a16="http://schemas.microsoft.com/office/drawing/2014/main" id="{4DC975C1-0768-432E-AD30-E8237C6DFE73}"/>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103" name="Freeform 80">
              <a:extLst>
                <a:ext uri="{FF2B5EF4-FFF2-40B4-BE49-F238E27FC236}">
                  <a16:creationId xmlns:a16="http://schemas.microsoft.com/office/drawing/2014/main" id="{F05AE1BA-6B5C-4CEB-8E7C-77ACC6FDA3FF}"/>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104" name="Freeform 81">
              <a:extLst>
                <a:ext uri="{FF2B5EF4-FFF2-40B4-BE49-F238E27FC236}">
                  <a16:creationId xmlns:a16="http://schemas.microsoft.com/office/drawing/2014/main" id="{139B27F6-B759-4A69-9D8C-753596B3E47B}"/>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sp>
        <p:nvSpPr>
          <p:cNvPr id="1105" name="TextBox 1104">
            <a:extLst>
              <a:ext uri="{FF2B5EF4-FFF2-40B4-BE49-F238E27FC236}">
                <a16:creationId xmlns:a16="http://schemas.microsoft.com/office/drawing/2014/main" id="{433E7D80-7999-4C5C-9662-F503623B7D92}"/>
              </a:ext>
            </a:extLst>
          </p:cNvPr>
          <p:cNvSpPr txBox="1"/>
          <p:nvPr/>
        </p:nvSpPr>
        <p:spPr>
          <a:xfrm>
            <a:off x="1502320" y="1474882"/>
            <a:ext cx="1366690" cy="400110"/>
          </a:xfrm>
          <a:prstGeom prst="rect">
            <a:avLst/>
          </a:prstGeom>
          <a:noFill/>
        </p:spPr>
        <p:txBody>
          <a:bodyPr wrap="square" lIns="91440" tIns="91440" rIns="91440" bIns="91440" rtlCol="0" anchor="ctr">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EB"/>
                </a:solidFill>
                <a:effectLst/>
                <a:uLnTx/>
                <a:uFillTx/>
                <a:latin typeface="CiscoSansTT ExtraLight"/>
                <a:ea typeface="ＭＳ Ｐゴシック" charset="0"/>
                <a:cs typeface="+mn-cs"/>
              </a:rPr>
              <a:t>Enterprise DC</a:t>
            </a:r>
          </a:p>
        </p:txBody>
      </p:sp>
      <p:sp>
        <p:nvSpPr>
          <p:cNvPr id="1106" name="TextBox 1105">
            <a:extLst>
              <a:ext uri="{FF2B5EF4-FFF2-40B4-BE49-F238E27FC236}">
                <a16:creationId xmlns:a16="http://schemas.microsoft.com/office/drawing/2014/main" id="{9FB2066A-495C-4685-8FDE-39CF4E6572BA}"/>
              </a:ext>
            </a:extLst>
          </p:cNvPr>
          <p:cNvSpPr txBox="1"/>
          <p:nvPr/>
        </p:nvSpPr>
        <p:spPr>
          <a:xfrm>
            <a:off x="988586" y="2894582"/>
            <a:ext cx="1527662" cy="215444"/>
          </a:xfrm>
          <a:prstGeom prst="rect">
            <a:avLst/>
          </a:prstGeom>
          <a:noFill/>
        </p:spPr>
        <p:txBody>
          <a:bodyPr wrap="none" lIns="0" tIns="0" rIns="0" bIns="0" rtlCol="0" anchor="ctr">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EB"/>
                </a:solidFill>
                <a:effectLst/>
                <a:uLnTx/>
                <a:uFillTx/>
                <a:latin typeface="CiscoSansTT ExtraLight"/>
                <a:ea typeface="ＭＳ Ｐゴシック" charset="0"/>
                <a:cs typeface="+mn-cs"/>
              </a:rPr>
              <a:t>Public Cloud / IaaS</a:t>
            </a:r>
          </a:p>
        </p:txBody>
      </p:sp>
      <p:sp>
        <p:nvSpPr>
          <p:cNvPr id="1107" name="TextBox 1106">
            <a:extLst>
              <a:ext uri="{FF2B5EF4-FFF2-40B4-BE49-F238E27FC236}">
                <a16:creationId xmlns:a16="http://schemas.microsoft.com/office/drawing/2014/main" id="{1F014D67-80B2-4CA7-9CB8-0303362BE27E}"/>
              </a:ext>
            </a:extLst>
          </p:cNvPr>
          <p:cNvSpPr txBox="1"/>
          <p:nvPr/>
        </p:nvSpPr>
        <p:spPr>
          <a:xfrm>
            <a:off x="2332591" y="4001616"/>
            <a:ext cx="1077218" cy="215444"/>
          </a:xfrm>
          <a:prstGeom prst="rect">
            <a:avLst/>
          </a:prstGeom>
          <a:noFill/>
        </p:spPr>
        <p:txBody>
          <a:bodyPr wrap="none" lIns="0" tIns="0" rIns="0" bIns="0" rtlCol="0" anchor="ctr">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EB"/>
                </a:solidFill>
                <a:effectLst/>
                <a:uLnTx/>
                <a:uFillTx/>
                <a:latin typeface="CiscoSansTT ExtraLight"/>
                <a:ea typeface="ＭＳ Ｐゴシック" charset="0"/>
                <a:cs typeface="+mn-cs"/>
              </a:rPr>
              <a:t>Private Cloud</a:t>
            </a:r>
          </a:p>
        </p:txBody>
      </p:sp>
      <p:sp>
        <p:nvSpPr>
          <p:cNvPr id="1108" name="TextBox 1107">
            <a:extLst>
              <a:ext uri="{FF2B5EF4-FFF2-40B4-BE49-F238E27FC236}">
                <a16:creationId xmlns:a16="http://schemas.microsoft.com/office/drawing/2014/main" id="{8B019970-3C69-4DC8-8FAC-7714E2EBD3F8}"/>
              </a:ext>
            </a:extLst>
          </p:cNvPr>
          <p:cNvSpPr txBox="1"/>
          <p:nvPr/>
        </p:nvSpPr>
        <p:spPr>
          <a:xfrm>
            <a:off x="5720264" y="4001616"/>
            <a:ext cx="1936428" cy="215444"/>
          </a:xfrm>
          <a:prstGeom prst="rect">
            <a:avLst/>
          </a:prstGeom>
          <a:noFill/>
        </p:spPr>
        <p:txBody>
          <a:bodyPr wrap="none" lIns="0" tIns="0" rIns="0" bIns="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EB"/>
                </a:solidFill>
                <a:effectLst/>
                <a:uLnTx/>
                <a:uFillTx/>
                <a:latin typeface="CiscoSansTT ExtraLight"/>
                <a:ea typeface="ＭＳ Ｐゴシック" charset="0"/>
                <a:cs typeface="+mn-cs"/>
              </a:rPr>
              <a:t>Colo / Bare Metal Cloud</a:t>
            </a:r>
          </a:p>
        </p:txBody>
      </p:sp>
      <p:sp>
        <p:nvSpPr>
          <p:cNvPr id="1109" name="TextBox 1108">
            <a:extLst>
              <a:ext uri="{FF2B5EF4-FFF2-40B4-BE49-F238E27FC236}">
                <a16:creationId xmlns:a16="http://schemas.microsoft.com/office/drawing/2014/main" id="{19C9C919-D1C9-472D-A8E9-E6B15422B294}"/>
              </a:ext>
            </a:extLst>
          </p:cNvPr>
          <p:cNvSpPr txBox="1"/>
          <p:nvPr/>
        </p:nvSpPr>
        <p:spPr>
          <a:xfrm>
            <a:off x="6521445" y="2894582"/>
            <a:ext cx="1279196" cy="215444"/>
          </a:xfrm>
          <a:prstGeom prst="rect">
            <a:avLst/>
          </a:prstGeom>
          <a:noFill/>
        </p:spPr>
        <p:txBody>
          <a:bodyPr wrap="none" lIns="0" tIns="0" rIns="0" bIns="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EB"/>
                </a:solidFill>
                <a:effectLst/>
                <a:uLnTx/>
                <a:uFillTx/>
                <a:latin typeface="CiscoSansTT ExtraLight"/>
                <a:ea typeface="ＭＳ Ｐゴシック" charset="0"/>
                <a:cs typeface="+mn-cs"/>
              </a:rPr>
              <a:t>Enterprise Edge</a:t>
            </a:r>
          </a:p>
        </p:txBody>
      </p:sp>
      <p:sp>
        <p:nvSpPr>
          <p:cNvPr id="1110" name="TextBox 1109">
            <a:extLst>
              <a:ext uri="{FF2B5EF4-FFF2-40B4-BE49-F238E27FC236}">
                <a16:creationId xmlns:a16="http://schemas.microsoft.com/office/drawing/2014/main" id="{14099CE0-8F2C-4443-BD2F-2245C8A0B1AA}"/>
              </a:ext>
            </a:extLst>
          </p:cNvPr>
          <p:cNvSpPr txBox="1"/>
          <p:nvPr/>
        </p:nvSpPr>
        <p:spPr>
          <a:xfrm>
            <a:off x="6216567" y="1567215"/>
            <a:ext cx="1200650" cy="215444"/>
          </a:xfrm>
          <a:prstGeom prst="rect">
            <a:avLst/>
          </a:prstGeom>
          <a:noFill/>
        </p:spPr>
        <p:txBody>
          <a:bodyPr wrap="none" lIns="0" tIns="0" rIns="0" bIns="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EB"/>
                </a:solidFill>
                <a:effectLst/>
                <a:uLnTx/>
                <a:uFillTx/>
                <a:latin typeface="CiscoSansTT ExtraLight"/>
                <a:ea typeface="ＭＳ Ｐゴシック" charset="0"/>
                <a:cs typeface="+mn-cs"/>
              </a:rPr>
              <a:t>5G Telco Edge</a:t>
            </a:r>
          </a:p>
        </p:txBody>
      </p:sp>
      <p:sp>
        <p:nvSpPr>
          <p:cNvPr id="1111" name="TextBox 1110">
            <a:extLst>
              <a:ext uri="{FF2B5EF4-FFF2-40B4-BE49-F238E27FC236}">
                <a16:creationId xmlns:a16="http://schemas.microsoft.com/office/drawing/2014/main" id="{65150FFE-B102-4142-B798-086E06F0D67A}"/>
              </a:ext>
            </a:extLst>
          </p:cNvPr>
          <p:cNvSpPr txBox="1"/>
          <p:nvPr/>
        </p:nvSpPr>
        <p:spPr>
          <a:xfrm>
            <a:off x="4994837" y="852028"/>
            <a:ext cx="711733" cy="215444"/>
          </a:xfrm>
          <a:prstGeom prst="rect">
            <a:avLst/>
          </a:prstGeom>
          <a:noFill/>
        </p:spPr>
        <p:txBody>
          <a:bodyPr wrap="none" lIns="0" tIns="0" rIns="0" bIns="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CEB"/>
                </a:solidFill>
                <a:effectLst/>
                <a:uLnTx/>
                <a:uFillTx/>
                <a:latin typeface="CiscoSansTT ExtraLight"/>
                <a:ea typeface="ＭＳ Ｐゴシック" charset="0"/>
                <a:cs typeface="+mn-cs"/>
              </a:rPr>
              <a:t>IoT Edge</a:t>
            </a:r>
          </a:p>
        </p:txBody>
      </p:sp>
      <p:cxnSp>
        <p:nvCxnSpPr>
          <p:cNvPr id="1174" name="Straight Connector 1173">
            <a:extLst>
              <a:ext uri="{FF2B5EF4-FFF2-40B4-BE49-F238E27FC236}">
                <a16:creationId xmlns:a16="http://schemas.microsoft.com/office/drawing/2014/main" id="{3C525FAD-C8F6-4105-8587-382A2D2CBED1}"/>
              </a:ext>
            </a:extLst>
          </p:cNvPr>
          <p:cNvCxnSpPr>
            <a:cxnSpLocks/>
          </p:cNvCxnSpPr>
          <p:nvPr/>
        </p:nvCxnSpPr>
        <p:spPr>
          <a:xfrm flipV="1">
            <a:off x="2950587" y="1670370"/>
            <a:ext cx="2860165" cy="1335836"/>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348" name="Group 44">
            <a:extLst>
              <a:ext uri="{FF2B5EF4-FFF2-40B4-BE49-F238E27FC236}">
                <a16:creationId xmlns:a16="http://schemas.microsoft.com/office/drawing/2014/main" id="{3F7B1C98-2E8F-4F01-BEE2-E9F87691BECE}"/>
              </a:ext>
            </a:extLst>
          </p:cNvPr>
          <p:cNvGrpSpPr>
            <a:grpSpLocks noChangeAspect="1"/>
          </p:cNvGrpSpPr>
          <p:nvPr/>
        </p:nvGrpSpPr>
        <p:grpSpPr bwMode="auto">
          <a:xfrm flipV="1">
            <a:off x="3555359" y="3145539"/>
            <a:ext cx="247974" cy="248154"/>
            <a:chOff x="1608" y="347"/>
            <a:chExt cx="2544" cy="2546"/>
          </a:xfrm>
        </p:grpSpPr>
        <p:sp>
          <p:nvSpPr>
            <p:cNvPr id="1349" name="Oval 45">
              <a:extLst>
                <a:ext uri="{FF2B5EF4-FFF2-40B4-BE49-F238E27FC236}">
                  <a16:creationId xmlns:a16="http://schemas.microsoft.com/office/drawing/2014/main" id="{8B39FE3A-EACB-455A-BC73-9F6F9FE0E23E}"/>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50" name="Freeform 46">
              <a:extLst>
                <a:ext uri="{FF2B5EF4-FFF2-40B4-BE49-F238E27FC236}">
                  <a16:creationId xmlns:a16="http://schemas.microsoft.com/office/drawing/2014/main" id="{D73347F3-4CE6-4D23-BD5C-AE2BC507DDD3}"/>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51" name="Freeform 47">
              <a:extLst>
                <a:ext uri="{FF2B5EF4-FFF2-40B4-BE49-F238E27FC236}">
                  <a16:creationId xmlns:a16="http://schemas.microsoft.com/office/drawing/2014/main" id="{EAF5C12B-EA26-485F-8A1F-81BA4ABEF9A8}"/>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52" name="Freeform 48">
              <a:extLst>
                <a:ext uri="{FF2B5EF4-FFF2-40B4-BE49-F238E27FC236}">
                  <a16:creationId xmlns:a16="http://schemas.microsoft.com/office/drawing/2014/main" id="{A7C12B09-DE4B-4F30-83A0-0544C9B90DE8}"/>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53" name="Freeform 49">
              <a:extLst>
                <a:ext uri="{FF2B5EF4-FFF2-40B4-BE49-F238E27FC236}">
                  <a16:creationId xmlns:a16="http://schemas.microsoft.com/office/drawing/2014/main" id="{B7990C4F-7834-460D-B89D-4986DB036D0E}"/>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54" name="Freeform 50">
              <a:extLst>
                <a:ext uri="{FF2B5EF4-FFF2-40B4-BE49-F238E27FC236}">
                  <a16:creationId xmlns:a16="http://schemas.microsoft.com/office/drawing/2014/main" id="{CDC9C6B5-8709-4AD4-8737-ED0173557BC4}"/>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55" name="Freeform 51">
              <a:extLst>
                <a:ext uri="{FF2B5EF4-FFF2-40B4-BE49-F238E27FC236}">
                  <a16:creationId xmlns:a16="http://schemas.microsoft.com/office/drawing/2014/main" id="{C4D438BC-E313-4CC6-884E-1772291FCAD5}"/>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56" name="Freeform 52">
              <a:extLst>
                <a:ext uri="{FF2B5EF4-FFF2-40B4-BE49-F238E27FC236}">
                  <a16:creationId xmlns:a16="http://schemas.microsoft.com/office/drawing/2014/main" id="{EE1E3DD9-C87E-4339-94FB-A4BF404B344C}"/>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57" name="Freeform 53">
              <a:extLst>
                <a:ext uri="{FF2B5EF4-FFF2-40B4-BE49-F238E27FC236}">
                  <a16:creationId xmlns:a16="http://schemas.microsoft.com/office/drawing/2014/main" id="{DEDE4A4B-4668-492F-88AA-4D7FA8B528FA}"/>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58" name="Freeform 54">
              <a:extLst>
                <a:ext uri="{FF2B5EF4-FFF2-40B4-BE49-F238E27FC236}">
                  <a16:creationId xmlns:a16="http://schemas.microsoft.com/office/drawing/2014/main" id="{61BDBCD9-CFF6-491F-A7A0-BC855CABE677}"/>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59" name="Freeform 55">
              <a:extLst>
                <a:ext uri="{FF2B5EF4-FFF2-40B4-BE49-F238E27FC236}">
                  <a16:creationId xmlns:a16="http://schemas.microsoft.com/office/drawing/2014/main" id="{4C618A4D-880A-4E9D-AB6A-3D2E75F1823F}"/>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60" name="Freeform 56">
              <a:extLst>
                <a:ext uri="{FF2B5EF4-FFF2-40B4-BE49-F238E27FC236}">
                  <a16:creationId xmlns:a16="http://schemas.microsoft.com/office/drawing/2014/main" id="{286DFAEA-5E7D-4816-9830-F4B78905EFB5}"/>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61" name="Freeform 57">
              <a:extLst>
                <a:ext uri="{FF2B5EF4-FFF2-40B4-BE49-F238E27FC236}">
                  <a16:creationId xmlns:a16="http://schemas.microsoft.com/office/drawing/2014/main" id="{D6423AA7-3690-4128-83A2-5F1B2787A337}"/>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62" name="Freeform 58">
              <a:extLst>
                <a:ext uri="{FF2B5EF4-FFF2-40B4-BE49-F238E27FC236}">
                  <a16:creationId xmlns:a16="http://schemas.microsoft.com/office/drawing/2014/main" id="{2B0BBD84-E33C-4FDE-9E3F-62DAB8623998}"/>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63" name="Freeform 59">
              <a:extLst>
                <a:ext uri="{FF2B5EF4-FFF2-40B4-BE49-F238E27FC236}">
                  <a16:creationId xmlns:a16="http://schemas.microsoft.com/office/drawing/2014/main" id="{40BB6B43-6726-4EC4-BC4E-C6AD98487508}"/>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64" name="Freeform 60">
              <a:extLst>
                <a:ext uri="{FF2B5EF4-FFF2-40B4-BE49-F238E27FC236}">
                  <a16:creationId xmlns:a16="http://schemas.microsoft.com/office/drawing/2014/main" id="{EA6C100C-9363-49DB-9A70-C49655959A42}"/>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65" name="Freeform 61">
              <a:extLst>
                <a:ext uri="{FF2B5EF4-FFF2-40B4-BE49-F238E27FC236}">
                  <a16:creationId xmlns:a16="http://schemas.microsoft.com/office/drawing/2014/main" id="{AC5AB3D5-84F4-4FE4-9801-E618F9142F36}"/>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66" name="Freeform 62">
              <a:extLst>
                <a:ext uri="{FF2B5EF4-FFF2-40B4-BE49-F238E27FC236}">
                  <a16:creationId xmlns:a16="http://schemas.microsoft.com/office/drawing/2014/main" id="{AF4D7476-9650-4DB6-B4A1-D7D21EA3DC74}"/>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67" name="Freeform 63">
              <a:extLst>
                <a:ext uri="{FF2B5EF4-FFF2-40B4-BE49-F238E27FC236}">
                  <a16:creationId xmlns:a16="http://schemas.microsoft.com/office/drawing/2014/main" id="{897FCDD0-4654-4C4F-8BFF-A10A9D156AB0}"/>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68" name="Freeform 64">
              <a:extLst>
                <a:ext uri="{FF2B5EF4-FFF2-40B4-BE49-F238E27FC236}">
                  <a16:creationId xmlns:a16="http://schemas.microsoft.com/office/drawing/2014/main" id="{37E8A655-9A33-4167-B732-D01013754E57}"/>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69" name="Freeform 65">
              <a:extLst>
                <a:ext uri="{FF2B5EF4-FFF2-40B4-BE49-F238E27FC236}">
                  <a16:creationId xmlns:a16="http://schemas.microsoft.com/office/drawing/2014/main" id="{E8A74191-9DFB-43B8-A2BD-D2C9030E4FE0}"/>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70" name="Freeform 66">
              <a:extLst>
                <a:ext uri="{FF2B5EF4-FFF2-40B4-BE49-F238E27FC236}">
                  <a16:creationId xmlns:a16="http://schemas.microsoft.com/office/drawing/2014/main" id="{9D673CCC-BDAA-4C75-BCD2-C39BE387058B}"/>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71" name="Freeform 67">
              <a:extLst>
                <a:ext uri="{FF2B5EF4-FFF2-40B4-BE49-F238E27FC236}">
                  <a16:creationId xmlns:a16="http://schemas.microsoft.com/office/drawing/2014/main" id="{5B125919-9193-4431-80A3-645C195836D4}"/>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72" name="Freeform 68">
              <a:extLst>
                <a:ext uri="{FF2B5EF4-FFF2-40B4-BE49-F238E27FC236}">
                  <a16:creationId xmlns:a16="http://schemas.microsoft.com/office/drawing/2014/main" id="{16304E6A-928A-4BA0-AF58-1F7795CC45A0}"/>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73" name="Freeform 69">
              <a:extLst>
                <a:ext uri="{FF2B5EF4-FFF2-40B4-BE49-F238E27FC236}">
                  <a16:creationId xmlns:a16="http://schemas.microsoft.com/office/drawing/2014/main" id="{57F2BC83-E1BC-4259-B939-549F4E20D173}"/>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74" name="Freeform 70">
              <a:extLst>
                <a:ext uri="{FF2B5EF4-FFF2-40B4-BE49-F238E27FC236}">
                  <a16:creationId xmlns:a16="http://schemas.microsoft.com/office/drawing/2014/main" id="{15BD3CCE-13A3-40AE-9453-2CBF4268E0C4}"/>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75" name="Freeform 71">
              <a:extLst>
                <a:ext uri="{FF2B5EF4-FFF2-40B4-BE49-F238E27FC236}">
                  <a16:creationId xmlns:a16="http://schemas.microsoft.com/office/drawing/2014/main" id="{A4DA9801-38FB-4BAA-814F-52EEA08BEE8D}"/>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76" name="Freeform 72">
              <a:extLst>
                <a:ext uri="{FF2B5EF4-FFF2-40B4-BE49-F238E27FC236}">
                  <a16:creationId xmlns:a16="http://schemas.microsoft.com/office/drawing/2014/main" id="{2DC14F2D-A703-4DCC-9458-815BC0084A3F}"/>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77" name="Freeform 73">
              <a:extLst>
                <a:ext uri="{FF2B5EF4-FFF2-40B4-BE49-F238E27FC236}">
                  <a16:creationId xmlns:a16="http://schemas.microsoft.com/office/drawing/2014/main" id="{9839D26F-14AC-492B-8E42-B8E16D7F4D77}"/>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78" name="Freeform 74">
              <a:extLst>
                <a:ext uri="{FF2B5EF4-FFF2-40B4-BE49-F238E27FC236}">
                  <a16:creationId xmlns:a16="http://schemas.microsoft.com/office/drawing/2014/main" id="{8D0CE3F4-EF4A-426E-84D2-FC0979990537}"/>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79" name="Freeform 75">
              <a:extLst>
                <a:ext uri="{FF2B5EF4-FFF2-40B4-BE49-F238E27FC236}">
                  <a16:creationId xmlns:a16="http://schemas.microsoft.com/office/drawing/2014/main" id="{E0915F62-D9AC-4714-A6DE-272CA621BFC3}"/>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80" name="Freeform 76">
              <a:extLst>
                <a:ext uri="{FF2B5EF4-FFF2-40B4-BE49-F238E27FC236}">
                  <a16:creationId xmlns:a16="http://schemas.microsoft.com/office/drawing/2014/main" id="{08750362-E2FD-4381-9485-0EFF0553EA7E}"/>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81" name="Freeform 77">
              <a:extLst>
                <a:ext uri="{FF2B5EF4-FFF2-40B4-BE49-F238E27FC236}">
                  <a16:creationId xmlns:a16="http://schemas.microsoft.com/office/drawing/2014/main" id="{013D464F-A9F3-4D2F-8C20-51AC5BEEC3B4}"/>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82" name="Freeform 78">
              <a:extLst>
                <a:ext uri="{FF2B5EF4-FFF2-40B4-BE49-F238E27FC236}">
                  <a16:creationId xmlns:a16="http://schemas.microsoft.com/office/drawing/2014/main" id="{2BC948CE-2982-47E4-AC1A-4B8929C6C186}"/>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83" name="Freeform 79">
              <a:extLst>
                <a:ext uri="{FF2B5EF4-FFF2-40B4-BE49-F238E27FC236}">
                  <a16:creationId xmlns:a16="http://schemas.microsoft.com/office/drawing/2014/main" id="{176BEC39-4D63-4BBA-A077-360D398CD998}"/>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84" name="Freeform 80">
              <a:extLst>
                <a:ext uri="{FF2B5EF4-FFF2-40B4-BE49-F238E27FC236}">
                  <a16:creationId xmlns:a16="http://schemas.microsoft.com/office/drawing/2014/main" id="{2DBD238A-58B8-4DFF-B041-1171D14D1199}"/>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85" name="Freeform 81">
              <a:extLst>
                <a:ext uri="{FF2B5EF4-FFF2-40B4-BE49-F238E27FC236}">
                  <a16:creationId xmlns:a16="http://schemas.microsoft.com/office/drawing/2014/main" id="{685AD6DA-541B-42E8-A6CA-90F27498CA0B}"/>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386" name="Group 44">
            <a:extLst>
              <a:ext uri="{FF2B5EF4-FFF2-40B4-BE49-F238E27FC236}">
                <a16:creationId xmlns:a16="http://schemas.microsoft.com/office/drawing/2014/main" id="{10C0956F-344C-4D6F-BE0C-E7E1DC60103C}"/>
              </a:ext>
            </a:extLst>
          </p:cNvPr>
          <p:cNvGrpSpPr>
            <a:grpSpLocks noChangeAspect="1"/>
          </p:cNvGrpSpPr>
          <p:nvPr/>
        </p:nvGrpSpPr>
        <p:grpSpPr bwMode="auto">
          <a:xfrm flipV="1">
            <a:off x="5100974" y="1273359"/>
            <a:ext cx="247974" cy="248154"/>
            <a:chOff x="1608" y="347"/>
            <a:chExt cx="2544" cy="2546"/>
          </a:xfrm>
        </p:grpSpPr>
        <p:sp>
          <p:nvSpPr>
            <p:cNvPr id="1387" name="Oval 45">
              <a:extLst>
                <a:ext uri="{FF2B5EF4-FFF2-40B4-BE49-F238E27FC236}">
                  <a16:creationId xmlns:a16="http://schemas.microsoft.com/office/drawing/2014/main" id="{AF96F4D4-7C7F-4B2C-A43A-67A3B02F8B26}"/>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88" name="Freeform 46">
              <a:extLst>
                <a:ext uri="{FF2B5EF4-FFF2-40B4-BE49-F238E27FC236}">
                  <a16:creationId xmlns:a16="http://schemas.microsoft.com/office/drawing/2014/main" id="{220803B6-D329-4520-959F-B2BA7037DBC2}"/>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89" name="Freeform 47">
              <a:extLst>
                <a:ext uri="{FF2B5EF4-FFF2-40B4-BE49-F238E27FC236}">
                  <a16:creationId xmlns:a16="http://schemas.microsoft.com/office/drawing/2014/main" id="{111F1A78-EAA5-4655-8534-30FD4A653FE7}"/>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90" name="Freeform 48">
              <a:extLst>
                <a:ext uri="{FF2B5EF4-FFF2-40B4-BE49-F238E27FC236}">
                  <a16:creationId xmlns:a16="http://schemas.microsoft.com/office/drawing/2014/main" id="{A1A331D4-E968-4F3A-BFA3-225742F9F7F4}"/>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91" name="Freeform 49">
              <a:extLst>
                <a:ext uri="{FF2B5EF4-FFF2-40B4-BE49-F238E27FC236}">
                  <a16:creationId xmlns:a16="http://schemas.microsoft.com/office/drawing/2014/main" id="{E0602126-5500-4CD2-A8F3-E80B34D30E32}"/>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92" name="Freeform 50">
              <a:extLst>
                <a:ext uri="{FF2B5EF4-FFF2-40B4-BE49-F238E27FC236}">
                  <a16:creationId xmlns:a16="http://schemas.microsoft.com/office/drawing/2014/main" id="{5890E191-7289-4911-AD23-5FEEFFA7882D}"/>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93" name="Freeform 51">
              <a:extLst>
                <a:ext uri="{FF2B5EF4-FFF2-40B4-BE49-F238E27FC236}">
                  <a16:creationId xmlns:a16="http://schemas.microsoft.com/office/drawing/2014/main" id="{068A2AA9-EC32-444D-A2B5-2C0CA03B694B}"/>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94" name="Freeform 52">
              <a:extLst>
                <a:ext uri="{FF2B5EF4-FFF2-40B4-BE49-F238E27FC236}">
                  <a16:creationId xmlns:a16="http://schemas.microsoft.com/office/drawing/2014/main" id="{606C201E-20ED-4270-8BF0-E9869B871C8D}"/>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95" name="Freeform 53">
              <a:extLst>
                <a:ext uri="{FF2B5EF4-FFF2-40B4-BE49-F238E27FC236}">
                  <a16:creationId xmlns:a16="http://schemas.microsoft.com/office/drawing/2014/main" id="{AD704585-7CD2-4E80-8217-CEBEECBF8965}"/>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96" name="Freeform 54">
              <a:extLst>
                <a:ext uri="{FF2B5EF4-FFF2-40B4-BE49-F238E27FC236}">
                  <a16:creationId xmlns:a16="http://schemas.microsoft.com/office/drawing/2014/main" id="{1F49A0CE-CD71-4721-9372-0CBCB2361B8C}"/>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97" name="Freeform 55">
              <a:extLst>
                <a:ext uri="{FF2B5EF4-FFF2-40B4-BE49-F238E27FC236}">
                  <a16:creationId xmlns:a16="http://schemas.microsoft.com/office/drawing/2014/main" id="{EC100CF4-BD29-4C43-8BA6-DA4D69958121}"/>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98" name="Freeform 56">
              <a:extLst>
                <a:ext uri="{FF2B5EF4-FFF2-40B4-BE49-F238E27FC236}">
                  <a16:creationId xmlns:a16="http://schemas.microsoft.com/office/drawing/2014/main" id="{D4808944-8CF2-4C43-936B-0C09FE268952}"/>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99" name="Freeform 57">
              <a:extLst>
                <a:ext uri="{FF2B5EF4-FFF2-40B4-BE49-F238E27FC236}">
                  <a16:creationId xmlns:a16="http://schemas.microsoft.com/office/drawing/2014/main" id="{C31A4BAD-87DF-4C35-802C-CAB659A528FF}"/>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00" name="Freeform 58">
              <a:extLst>
                <a:ext uri="{FF2B5EF4-FFF2-40B4-BE49-F238E27FC236}">
                  <a16:creationId xmlns:a16="http://schemas.microsoft.com/office/drawing/2014/main" id="{99169D45-4E53-434B-ABA1-C926D93C2628}"/>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01" name="Freeform 59">
              <a:extLst>
                <a:ext uri="{FF2B5EF4-FFF2-40B4-BE49-F238E27FC236}">
                  <a16:creationId xmlns:a16="http://schemas.microsoft.com/office/drawing/2014/main" id="{2207D0F5-D977-474E-A8B8-E529528EAF1E}"/>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02" name="Freeform 60">
              <a:extLst>
                <a:ext uri="{FF2B5EF4-FFF2-40B4-BE49-F238E27FC236}">
                  <a16:creationId xmlns:a16="http://schemas.microsoft.com/office/drawing/2014/main" id="{479B0FF2-B1D3-48E5-AD77-B737D10DCAB9}"/>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03" name="Freeform 61">
              <a:extLst>
                <a:ext uri="{FF2B5EF4-FFF2-40B4-BE49-F238E27FC236}">
                  <a16:creationId xmlns:a16="http://schemas.microsoft.com/office/drawing/2014/main" id="{0F59F57C-886A-4504-86E4-B5587CD570C3}"/>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04" name="Freeform 62">
              <a:extLst>
                <a:ext uri="{FF2B5EF4-FFF2-40B4-BE49-F238E27FC236}">
                  <a16:creationId xmlns:a16="http://schemas.microsoft.com/office/drawing/2014/main" id="{8A704122-B049-4B37-8EB7-6E9C92E5349A}"/>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05" name="Freeform 63">
              <a:extLst>
                <a:ext uri="{FF2B5EF4-FFF2-40B4-BE49-F238E27FC236}">
                  <a16:creationId xmlns:a16="http://schemas.microsoft.com/office/drawing/2014/main" id="{C9C0FD11-9822-4ACE-B682-7E4571083FA6}"/>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06" name="Freeform 64">
              <a:extLst>
                <a:ext uri="{FF2B5EF4-FFF2-40B4-BE49-F238E27FC236}">
                  <a16:creationId xmlns:a16="http://schemas.microsoft.com/office/drawing/2014/main" id="{F6433AE2-B740-4DB4-AD6A-101BB7E75563}"/>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07" name="Freeform 65">
              <a:extLst>
                <a:ext uri="{FF2B5EF4-FFF2-40B4-BE49-F238E27FC236}">
                  <a16:creationId xmlns:a16="http://schemas.microsoft.com/office/drawing/2014/main" id="{DACE97E7-6F4D-428A-8FDB-83B352380FCC}"/>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08" name="Freeform 66">
              <a:extLst>
                <a:ext uri="{FF2B5EF4-FFF2-40B4-BE49-F238E27FC236}">
                  <a16:creationId xmlns:a16="http://schemas.microsoft.com/office/drawing/2014/main" id="{A8213369-5739-4759-8BC4-9910A04D5BEF}"/>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09" name="Freeform 67">
              <a:extLst>
                <a:ext uri="{FF2B5EF4-FFF2-40B4-BE49-F238E27FC236}">
                  <a16:creationId xmlns:a16="http://schemas.microsoft.com/office/drawing/2014/main" id="{07957A6D-A390-4F85-8AB9-019756259A35}"/>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10" name="Freeform 68">
              <a:extLst>
                <a:ext uri="{FF2B5EF4-FFF2-40B4-BE49-F238E27FC236}">
                  <a16:creationId xmlns:a16="http://schemas.microsoft.com/office/drawing/2014/main" id="{DA708A5E-1B1F-45EA-B65E-B13CB3088807}"/>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11" name="Freeform 69">
              <a:extLst>
                <a:ext uri="{FF2B5EF4-FFF2-40B4-BE49-F238E27FC236}">
                  <a16:creationId xmlns:a16="http://schemas.microsoft.com/office/drawing/2014/main" id="{C9F478EE-6D8D-494E-8B44-3DAA4F4AEE9A}"/>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12" name="Freeform 70">
              <a:extLst>
                <a:ext uri="{FF2B5EF4-FFF2-40B4-BE49-F238E27FC236}">
                  <a16:creationId xmlns:a16="http://schemas.microsoft.com/office/drawing/2014/main" id="{2F847F57-EC67-4EBE-82EA-3DFECB4A1BA3}"/>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13" name="Freeform 71">
              <a:extLst>
                <a:ext uri="{FF2B5EF4-FFF2-40B4-BE49-F238E27FC236}">
                  <a16:creationId xmlns:a16="http://schemas.microsoft.com/office/drawing/2014/main" id="{72E98E36-322B-47CB-85DA-D4EC59CAA0C0}"/>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14" name="Freeform 72">
              <a:extLst>
                <a:ext uri="{FF2B5EF4-FFF2-40B4-BE49-F238E27FC236}">
                  <a16:creationId xmlns:a16="http://schemas.microsoft.com/office/drawing/2014/main" id="{4D5F90CE-A6BC-4E47-953F-9398799E4C6E}"/>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15" name="Freeform 73">
              <a:extLst>
                <a:ext uri="{FF2B5EF4-FFF2-40B4-BE49-F238E27FC236}">
                  <a16:creationId xmlns:a16="http://schemas.microsoft.com/office/drawing/2014/main" id="{68F8668E-4F4A-41E7-BF4A-734C2E362B59}"/>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16" name="Freeform 74">
              <a:extLst>
                <a:ext uri="{FF2B5EF4-FFF2-40B4-BE49-F238E27FC236}">
                  <a16:creationId xmlns:a16="http://schemas.microsoft.com/office/drawing/2014/main" id="{CD313835-18DA-4D49-B12F-3C94F94E0FB5}"/>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17" name="Freeform 75">
              <a:extLst>
                <a:ext uri="{FF2B5EF4-FFF2-40B4-BE49-F238E27FC236}">
                  <a16:creationId xmlns:a16="http://schemas.microsoft.com/office/drawing/2014/main" id="{501D4AD1-46B0-412D-9D31-2E4E58C8C7BB}"/>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18" name="Freeform 76">
              <a:extLst>
                <a:ext uri="{FF2B5EF4-FFF2-40B4-BE49-F238E27FC236}">
                  <a16:creationId xmlns:a16="http://schemas.microsoft.com/office/drawing/2014/main" id="{15E47FE4-D148-4B66-9BE9-873AC2045B6D}"/>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19" name="Freeform 77">
              <a:extLst>
                <a:ext uri="{FF2B5EF4-FFF2-40B4-BE49-F238E27FC236}">
                  <a16:creationId xmlns:a16="http://schemas.microsoft.com/office/drawing/2014/main" id="{3326EBD0-A6F2-40EC-95A6-DC13B7ECD3DC}"/>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20" name="Freeform 78">
              <a:extLst>
                <a:ext uri="{FF2B5EF4-FFF2-40B4-BE49-F238E27FC236}">
                  <a16:creationId xmlns:a16="http://schemas.microsoft.com/office/drawing/2014/main" id="{50287413-A802-436B-8C1D-89EA409AD2A7}"/>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21" name="Freeform 79">
              <a:extLst>
                <a:ext uri="{FF2B5EF4-FFF2-40B4-BE49-F238E27FC236}">
                  <a16:creationId xmlns:a16="http://schemas.microsoft.com/office/drawing/2014/main" id="{592F5E22-B33E-4256-8FF4-0BB1386BD42D}"/>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22" name="Freeform 80">
              <a:extLst>
                <a:ext uri="{FF2B5EF4-FFF2-40B4-BE49-F238E27FC236}">
                  <a16:creationId xmlns:a16="http://schemas.microsoft.com/office/drawing/2014/main" id="{EC1A501D-BD99-49B4-BD94-FC1065834F22}"/>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23" name="Freeform 81">
              <a:extLst>
                <a:ext uri="{FF2B5EF4-FFF2-40B4-BE49-F238E27FC236}">
                  <a16:creationId xmlns:a16="http://schemas.microsoft.com/office/drawing/2014/main" id="{917ABCC6-4298-4947-BC7D-9113A55AE613}"/>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424" name="Group 44">
            <a:extLst>
              <a:ext uri="{FF2B5EF4-FFF2-40B4-BE49-F238E27FC236}">
                <a16:creationId xmlns:a16="http://schemas.microsoft.com/office/drawing/2014/main" id="{07F8F185-7786-417C-A909-9FA12028BF24}"/>
              </a:ext>
            </a:extLst>
          </p:cNvPr>
          <p:cNvGrpSpPr>
            <a:grpSpLocks noChangeAspect="1"/>
          </p:cNvGrpSpPr>
          <p:nvPr/>
        </p:nvGrpSpPr>
        <p:grpSpPr bwMode="auto">
          <a:xfrm flipV="1">
            <a:off x="4415773" y="2167489"/>
            <a:ext cx="247974" cy="248154"/>
            <a:chOff x="1608" y="347"/>
            <a:chExt cx="2544" cy="2546"/>
          </a:xfrm>
        </p:grpSpPr>
        <p:sp>
          <p:nvSpPr>
            <p:cNvPr id="1425" name="Oval 45">
              <a:extLst>
                <a:ext uri="{FF2B5EF4-FFF2-40B4-BE49-F238E27FC236}">
                  <a16:creationId xmlns:a16="http://schemas.microsoft.com/office/drawing/2014/main" id="{997412CA-56B3-4699-A725-0BB90983348A}"/>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26" name="Freeform 46">
              <a:extLst>
                <a:ext uri="{FF2B5EF4-FFF2-40B4-BE49-F238E27FC236}">
                  <a16:creationId xmlns:a16="http://schemas.microsoft.com/office/drawing/2014/main" id="{CBF22510-97D9-46D3-8765-C70E275BEE5A}"/>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27" name="Freeform 47">
              <a:extLst>
                <a:ext uri="{FF2B5EF4-FFF2-40B4-BE49-F238E27FC236}">
                  <a16:creationId xmlns:a16="http://schemas.microsoft.com/office/drawing/2014/main" id="{98EDFE16-1599-448E-86D4-E57A48687119}"/>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28" name="Freeform 48">
              <a:extLst>
                <a:ext uri="{FF2B5EF4-FFF2-40B4-BE49-F238E27FC236}">
                  <a16:creationId xmlns:a16="http://schemas.microsoft.com/office/drawing/2014/main" id="{C670363B-89D4-4BB7-B92D-9B1F7FF9ECED}"/>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29" name="Freeform 49">
              <a:extLst>
                <a:ext uri="{FF2B5EF4-FFF2-40B4-BE49-F238E27FC236}">
                  <a16:creationId xmlns:a16="http://schemas.microsoft.com/office/drawing/2014/main" id="{B18FB4B7-BD4B-4416-96B6-192DEE9B3D1C}"/>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30" name="Freeform 50">
              <a:extLst>
                <a:ext uri="{FF2B5EF4-FFF2-40B4-BE49-F238E27FC236}">
                  <a16:creationId xmlns:a16="http://schemas.microsoft.com/office/drawing/2014/main" id="{BFE97BEF-B04D-4A45-A617-EAF6942ADB8A}"/>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31" name="Freeform 51">
              <a:extLst>
                <a:ext uri="{FF2B5EF4-FFF2-40B4-BE49-F238E27FC236}">
                  <a16:creationId xmlns:a16="http://schemas.microsoft.com/office/drawing/2014/main" id="{C8646194-3D67-43FC-80A4-4F374D5F92F7}"/>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32" name="Freeform 52">
              <a:extLst>
                <a:ext uri="{FF2B5EF4-FFF2-40B4-BE49-F238E27FC236}">
                  <a16:creationId xmlns:a16="http://schemas.microsoft.com/office/drawing/2014/main" id="{B311E189-2106-4D29-AB88-161CBB5A4754}"/>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33" name="Freeform 53">
              <a:extLst>
                <a:ext uri="{FF2B5EF4-FFF2-40B4-BE49-F238E27FC236}">
                  <a16:creationId xmlns:a16="http://schemas.microsoft.com/office/drawing/2014/main" id="{10502B79-06F1-49D4-A786-F0B77F795DBC}"/>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34" name="Freeform 54">
              <a:extLst>
                <a:ext uri="{FF2B5EF4-FFF2-40B4-BE49-F238E27FC236}">
                  <a16:creationId xmlns:a16="http://schemas.microsoft.com/office/drawing/2014/main" id="{EBB1FC10-78C6-4B77-8851-2685C220402C}"/>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35" name="Freeform 55">
              <a:extLst>
                <a:ext uri="{FF2B5EF4-FFF2-40B4-BE49-F238E27FC236}">
                  <a16:creationId xmlns:a16="http://schemas.microsoft.com/office/drawing/2014/main" id="{5755876E-F8CD-428B-9044-B0A19641E17A}"/>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36" name="Freeform 56">
              <a:extLst>
                <a:ext uri="{FF2B5EF4-FFF2-40B4-BE49-F238E27FC236}">
                  <a16:creationId xmlns:a16="http://schemas.microsoft.com/office/drawing/2014/main" id="{21B690DC-A0C0-406A-AFB0-123004C9C7EB}"/>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37" name="Freeform 57">
              <a:extLst>
                <a:ext uri="{FF2B5EF4-FFF2-40B4-BE49-F238E27FC236}">
                  <a16:creationId xmlns:a16="http://schemas.microsoft.com/office/drawing/2014/main" id="{98A063FF-9638-49DD-8526-8081D10C178F}"/>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38" name="Freeform 58">
              <a:extLst>
                <a:ext uri="{FF2B5EF4-FFF2-40B4-BE49-F238E27FC236}">
                  <a16:creationId xmlns:a16="http://schemas.microsoft.com/office/drawing/2014/main" id="{5BA35E2A-D060-4E17-B07B-F217EE15474E}"/>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39" name="Freeform 59">
              <a:extLst>
                <a:ext uri="{FF2B5EF4-FFF2-40B4-BE49-F238E27FC236}">
                  <a16:creationId xmlns:a16="http://schemas.microsoft.com/office/drawing/2014/main" id="{36D0DE3B-2226-4DA6-80D1-298EA76D35FD}"/>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40" name="Freeform 60">
              <a:extLst>
                <a:ext uri="{FF2B5EF4-FFF2-40B4-BE49-F238E27FC236}">
                  <a16:creationId xmlns:a16="http://schemas.microsoft.com/office/drawing/2014/main" id="{E992109B-BCB5-41AB-A03E-1BB673782E48}"/>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41" name="Freeform 61">
              <a:extLst>
                <a:ext uri="{FF2B5EF4-FFF2-40B4-BE49-F238E27FC236}">
                  <a16:creationId xmlns:a16="http://schemas.microsoft.com/office/drawing/2014/main" id="{4FF3E493-2EAE-476C-A1CD-134231809D84}"/>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42" name="Freeform 62">
              <a:extLst>
                <a:ext uri="{FF2B5EF4-FFF2-40B4-BE49-F238E27FC236}">
                  <a16:creationId xmlns:a16="http://schemas.microsoft.com/office/drawing/2014/main" id="{6C340B45-7C6A-4614-A79C-5800C736AF76}"/>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43" name="Freeform 63">
              <a:extLst>
                <a:ext uri="{FF2B5EF4-FFF2-40B4-BE49-F238E27FC236}">
                  <a16:creationId xmlns:a16="http://schemas.microsoft.com/office/drawing/2014/main" id="{E3F2821A-1836-456C-8975-60A667A40E47}"/>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44" name="Freeform 64">
              <a:extLst>
                <a:ext uri="{FF2B5EF4-FFF2-40B4-BE49-F238E27FC236}">
                  <a16:creationId xmlns:a16="http://schemas.microsoft.com/office/drawing/2014/main" id="{BE3D2906-B5D8-4201-875A-EAEA04EBB731}"/>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45" name="Freeform 65">
              <a:extLst>
                <a:ext uri="{FF2B5EF4-FFF2-40B4-BE49-F238E27FC236}">
                  <a16:creationId xmlns:a16="http://schemas.microsoft.com/office/drawing/2014/main" id="{527B48FF-6D03-4C9D-8D70-BE5C7FE9F9F2}"/>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46" name="Freeform 66">
              <a:extLst>
                <a:ext uri="{FF2B5EF4-FFF2-40B4-BE49-F238E27FC236}">
                  <a16:creationId xmlns:a16="http://schemas.microsoft.com/office/drawing/2014/main" id="{F625940D-62CB-449D-9B10-59A66CBFE283}"/>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47" name="Freeform 67">
              <a:extLst>
                <a:ext uri="{FF2B5EF4-FFF2-40B4-BE49-F238E27FC236}">
                  <a16:creationId xmlns:a16="http://schemas.microsoft.com/office/drawing/2014/main" id="{13057718-E81A-49D7-A046-CDF51EDA702A}"/>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48" name="Freeform 68">
              <a:extLst>
                <a:ext uri="{FF2B5EF4-FFF2-40B4-BE49-F238E27FC236}">
                  <a16:creationId xmlns:a16="http://schemas.microsoft.com/office/drawing/2014/main" id="{FA18671E-D269-4B5B-9838-6F32B1ED3EE7}"/>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49" name="Freeform 69">
              <a:extLst>
                <a:ext uri="{FF2B5EF4-FFF2-40B4-BE49-F238E27FC236}">
                  <a16:creationId xmlns:a16="http://schemas.microsoft.com/office/drawing/2014/main" id="{850CBBEE-0A47-42A3-8C22-D444FED0A68C}"/>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50" name="Freeform 70">
              <a:extLst>
                <a:ext uri="{FF2B5EF4-FFF2-40B4-BE49-F238E27FC236}">
                  <a16:creationId xmlns:a16="http://schemas.microsoft.com/office/drawing/2014/main" id="{2C6534F7-0538-434A-A9AB-D717473F5800}"/>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51" name="Freeform 71">
              <a:extLst>
                <a:ext uri="{FF2B5EF4-FFF2-40B4-BE49-F238E27FC236}">
                  <a16:creationId xmlns:a16="http://schemas.microsoft.com/office/drawing/2014/main" id="{8E40CD4E-F857-4383-8A98-BD5297AD3C19}"/>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52" name="Freeform 72">
              <a:extLst>
                <a:ext uri="{FF2B5EF4-FFF2-40B4-BE49-F238E27FC236}">
                  <a16:creationId xmlns:a16="http://schemas.microsoft.com/office/drawing/2014/main" id="{3C3B8BAB-91FB-4A1D-8DB4-7D88F384F6AB}"/>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53" name="Freeform 73">
              <a:extLst>
                <a:ext uri="{FF2B5EF4-FFF2-40B4-BE49-F238E27FC236}">
                  <a16:creationId xmlns:a16="http://schemas.microsoft.com/office/drawing/2014/main" id="{E9142834-1AEC-4DF6-9CFD-12F1A5308685}"/>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54" name="Freeform 74">
              <a:extLst>
                <a:ext uri="{FF2B5EF4-FFF2-40B4-BE49-F238E27FC236}">
                  <a16:creationId xmlns:a16="http://schemas.microsoft.com/office/drawing/2014/main" id="{01B3C28A-7DA1-4872-85DF-F7CB4D9EBC79}"/>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55" name="Freeform 75">
              <a:extLst>
                <a:ext uri="{FF2B5EF4-FFF2-40B4-BE49-F238E27FC236}">
                  <a16:creationId xmlns:a16="http://schemas.microsoft.com/office/drawing/2014/main" id="{AB682E46-ABA4-40FD-8114-A4D2DF0E66CF}"/>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56" name="Freeform 76">
              <a:extLst>
                <a:ext uri="{FF2B5EF4-FFF2-40B4-BE49-F238E27FC236}">
                  <a16:creationId xmlns:a16="http://schemas.microsoft.com/office/drawing/2014/main" id="{19AAF5CD-8A50-42CB-BA5A-81BE6A427D2C}"/>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57" name="Freeform 77">
              <a:extLst>
                <a:ext uri="{FF2B5EF4-FFF2-40B4-BE49-F238E27FC236}">
                  <a16:creationId xmlns:a16="http://schemas.microsoft.com/office/drawing/2014/main" id="{4F53AA37-0D5C-4E5C-8759-08BB9BDE7F82}"/>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58" name="Freeform 78">
              <a:extLst>
                <a:ext uri="{FF2B5EF4-FFF2-40B4-BE49-F238E27FC236}">
                  <a16:creationId xmlns:a16="http://schemas.microsoft.com/office/drawing/2014/main" id="{AD2CF59B-8B7A-4734-B166-25B4092F0E89}"/>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59" name="Freeform 79">
              <a:extLst>
                <a:ext uri="{FF2B5EF4-FFF2-40B4-BE49-F238E27FC236}">
                  <a16:creationId xmlns:a16="http://schemas.microsoft.com/office/drawing/2014/main" id="{6DAF2C06-CA90-4B61-A316-EB61CC487A09}"/>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60" name="Freeform 80">
              <a:extLst>
                <a:ext uri="{FF2B5EF4-FFF2-40B4-BE49-F238E27FC236}">
                  <a16:creationId xmlns:a16="http://schemas.microsoft.com/office/drawing/2014/main" id="{EC3DA8CE-9043-4E81-87D5-48A74F4686A8}"/>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61" name="Freeform 81">
              <a:extLst>
                <a:ext uri="{FF2B5EF4-FFF2-40B4-BE49-F238E27FC236}">
                  <a16:creationId xmlns:a16="http://schemas.microsoft.com/office/drawing/2014/main" id="{DAF9671B-3BA5-484D-A3A1-C690E2E082EE}"/>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462" name="Group 44">
            <a:extLst>
              <a:ext uri="{FF2B5EF4-FFF2-40B4-BE49-F238E27FC236}">
                <a16:creationId xmlns:a16="http://schemas.microsoft.com/office/drawing/2014/main" id="{045B97E9-D10C-4396-A66D-56C143D6EF3C}"/>
              </a:ext>
            </a:extLst>
          </p:cNvPr>
          <p:cNvGrpSpPr>
            <a:grpSpLocks noChangeAspect="1"/>
          </p:cNvGrpSpPr>
          <p:nvPr/>
        </p:nvGrpSpPr>
        <p:grpSpPr bwMode="auto">
          <a:xfrm flipV="1">
            <a:off x="5817216" y="2137063"/>
            <a:ext cx="247974" cy="248154"/>
            <a:chOff x="1608" y="347"/>
            <a:chExt cx="2544" cy="2546"/>
          </a:xfrm>
        </p:grpSpPr>
        <p:sp>
          <p:nvSpPr>
            <p:cNvPr id="1463" name="Oval 45">
              <a:extLst>
                <a:ext uri="{FF2B5EF4-FFF2-40B4-BE49-F238E27FC236}">
                  <a16:creationId xmlns:a16="http://schemas.microsoft.com/office/drawing/2014/main" id="{88CFAD16-5443-440C-9C20-928AF4BEFAA8}"/>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64" name="Freeform 46">
              <a:extLst>
                <a:ext uri="{FF2B5EF4-FFF2-40B4-BE49-F238E27FC236}">
                  <a16:creationId xmlns:a16="http://schemas.microsoft.com/office/drawing/2014/main" id="{6708F892-D077-4CDD-BB06-985D6CB92003}"/>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65" name="Freeform 47">
              <a:extLst>
                <a:ext uri="{FF2B5EF4-FFF2-40B4-BE49-F238E27FC236}">
                  <a16:creationId xmlns:a16="http://schemas.microsoft.com/office/drawing/2014/main" id="{3E5CC20F-9093-4D2B-A46D-EDD22FCD629C}"/>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66" name="Freeform 48">
              <a:extLst>
                <a:ext uri="{FF2B5EF4-FFF2-40B4-BE49-F238E27FC236}">
                  <a16:creationId xmlns:a16="http://schemas.microsoft.com/office/drawing/2014/main" id="{A7E944C0-51EC-4F3A-9EBA-1DABAE6934E1}"/>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67" name="Freeform 49">
              <a:extLst>
                <a:ext uri="{FF2B5EF4-FFF2-40B4-BE49-F238E27FC236}">
                  <a16:creationId xmlns:a16="http://schemas.microsoft.com/office/drawing/2014/main" id="{7B806B66-C374-46FA-A004-D8E763B511CA}"/>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68" name="Freeform 50">
              <a:extLst>
                <a:ext uri="{FF2B5EF4-FFF2-40B4-BE49-F238E27FC236}">
                  <a16:creationId xmlns:a16="http://schemas.microsoft.com/office/drawing/2014/main" id="{075A4323-F7AD-4D32-B0A0-03FEE83EE090}"/>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69" name="Freeform 51">
              <a:extLst>
                <a:ext uri="{FF2B5EF4-FFF2-40B4-BE49-F238E27FC236}">
                  <a16:creationId xmlns:a16="http://schemas.microsoft.com/office/drawing/2014/main" id="{E2807E66-508D-4721-A781-37529C0C57FE}"/>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70" name="Freeform 52">
              <a:extLst>
                <a:ext uri="{FF2B5EF4-FFF2-40B4-BE49-F238E27FC236}">
                  <a16:creationId xmlns:a16="http://schemas.microsoft.com/office/drawing/2014/main" id="{95854AD7-FA5A-4627-BB99-B63EE71D2028}"/>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71" name="Freeform 53">
              <a:extLst>
                <a:ext uri="{FF2B5EF4-FFF2-40B4-BE49-F238E27FC236}">
                  <a16:creationId xmlns:a16="http://schemas.microsoft.com/office/drawing/2014/main" id="{E664566C-054C-484E-ABA0-8F471243DBFF}"/>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72" name="Freeform 54">
              <a:extLst>
                <a:ext uri="{FF2B5EF4-FFF2-40B4-BE49-F238E27FC236}">
                  <a16:creationId xmlns:a16="http://schemas.microsoft.com/office/drawing/2014/main" id="{1D2F9BF3-B78F-4D8D-97F0-43FA06A66DD1}"/>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73" name="Freeform 55">
              <a:extLst>
                <a:ext uri="{FF2B5EF4-FFF2-40B4-BE49-F238E27FC236}">
                  <a16:creationId xmlns:a16="http://schemas.microsoft.com/office/drawing/2014/main" id="{9C2AFB8F-0D32-4C95-9B80-7E918AF173EC}"/>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74" name="Freeform 56">
              <a:extLst>
                <a:ext uri="{FF2B5EF4-FFF2-40B4-BE49-F238E27FC236}">
                  <a16:creationId xmlns:a16="http://schemas.microsoft.com/office/drawing/2014/main" id="{B2B3B2E7-003D-4283-A465-6ECFC0B2536B}"/>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75" name="Freeform 57">
              <a:extLst>
                <a:ext uri="{FF2B5EF4-FFF2-40B4-BE49-F238E27FC236}">
                  <a16:creationId xmlns:a16="http://schemas.microsoft.com/office/drawing/2014/main" id="{4C956204-7A4D-43BA-8B86-ABDFB4C90962}"/>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76" name="Freeform 58">
              <a:extLst>
                <a:ext uri="{FF2B5EF4-FFF2-40B4-BE49-F238E27FC236}">
                  <a16:creationId xmlns:a16="http://schemas.microsoft.com/office/drawing/2014/main" id="{897984F7-7106-4209-BFB2-6DE5D2E4957D}"/>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77" name="Freeform 59">
              <a:extLst>
                <a:ext uri="{FF2B5EF4-FFF2-40B4-BE49-F238E27FC236}">
                  <a16:creationId xmlns:a16="http://schemas.microsoft.com/office/drawing/2014/main" id="{C8FAA02C-FA90-4204-BDCF-FBD66AE63C9B}"/>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78" name="Freeform 60">
              <a:extLst>
                <a:ext uri="{FF2B5EF4-FFF2-40B4-BE49-F238E27FC236}">
                  <a16:creationId xmlns:a16="http://schemas.microsoft.com/office/drawing/2014/main" id="{9F8E3E5C-6697-4ADE-9645-2D447F3E0640}"/>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79" name="Freeform 61">
              <a:extLst>
                <a:ext uri="{FF2B5EF4-FFF2-40B4-BE49-F238E27FC236}">
                  <a16:creationId xmlns:a16="http://schemas.microsoft.com/office/drawing/2014/main" id="{06D2355B-2669-4DAF-8E36-A31A0E1F97E2}"/>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80" name="Freeform 62">
              <a:extLst>
                <a:ext uri="{FF2B5EF4-FFF2-40B4-BE49-F238E27FC236}">
                  <a16:creationId xmlns:a16="http://schemas.microsoft.com/office/drawing/2014/main" id="{0A3F3FA1-84E3-4809-87AC-B4F4E2BB3391}"/>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81" name="Freeform 63">
              <a:extLst>
                <a:ext uri="{FF2B5EF4-FFF2-40B4-BE49-F238E27FC236}">
                  <a16:creationId xmlns:a16="http://schemas.microsoft.com/office/drawing/2014/main" id="{FB70770B-7600-4DCA-BB98-33B9E4B29686}"/>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82" name="Freeform 64">
              <a:extLst>
                <a:ext uri="{FF2B5EF4-FFF2-40B4-BE49-F238E27FC236}">
                  <a16:creationId xmlns:a16="http://schemas.microsoft.com/office/drawing/2014/main" id="{177F63F1-A4EC-4985-91EB-D39605C2A1C6}"/>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83" name="Freeform 65">
              <a:extLst>
                <a:ext uri="{FF2B5EF4-FFF2-40B4-BE49-F238E27FC236}">
                  <a16:creationId xmlns:a16="http://schemas.microsoft.com/office/drawing/2014/main" id="{1C6F2639-AE5D-42D8-B073-490E8A4D7A76}"/>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84" name="Freeform 66">
              <a:extLst>
                <a:ext uri="{FF2B5EF4-FFF2-40B4-BE49-F238E27FC236}">
                  <a16:creationId xmlns:a16="http://schemas.microsoft.com/office/drawing/2014/main" id="{68AC8131-CD72-408E-B08D-557AEAF1D780}"/>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85" name="Freeform 67">
              <a:extLst>
                <a:ext uri="{FF2B5EF4-FFF2-40B4-BE49-F238E27FC236}">
                  <a16:creationId xmlns:a16="http://schemas.microsoft.com/office/drawing/2014/main" id="{A219812E-1530-400B-A0AB-42E6EE609D5B}"/>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86" name="Freeform 68">
              <a:extLst>
                <a:ext uri="{FF2B5EF4-FFF2-40B4-BE49-F238E27FC236}">
                  <a16:creationId xmlns:a16="http://schemas.microsoft.com/office/drawing/2014/main" id="{0621AEEB-2A3A-4185-B238-9A56DCC67275}"/>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87" name="Freeform 69">
              <a:extLst>
                <a:ext uri="{FF2B5EF4-FFF2-40B4-BE49-F238E27FC236}">
                  <a16:creationId xmlns:a16="http://schemas.microsoft.com/office/drawing/2014/main" id="{88A2D636-1BF9-43E8-9DB8-5ED21FD1175C}"/>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88" name="Freeform 70">
              <a:extLst>
                <a:ext uri="{FF2B5EF4-FFF2-40B4-BE49-F238E27FC236}">
                  <a16:creationId xmlns:a16="http://schemas.microsoft.com/office/drawing/2014/main" id="{BA4FE512-6D4B-4CFE-A326-FC8138267AF5}"/>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89" name="Freeform 71">
              <a:extLst>
                <a:ext uri="{FF2B5EF4-FFF2-40B4-BE49-F238E27FC236}">
                  <a16:creationId xmlns:a16="http://schemas.microsoft.com/office/drawing/2014/main" id="{AEDA2311-09E5-413F-8600-35C906690759}"/>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90" name="Freeform 72">
              <a:extLst>
                <a:ext uri="{FF2B5EF4-FFF2-40B4-BE49-F238E27FC236}">
                  <a16:creationId xmlns:a16="http://schemas.microsoft.com/office/drawing/2014/main" id="{C54CABDE-C44F-4155-9F9F-8B7A2B69321B}"/>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91" name="Freeform 73">
              <a:extLst>
                <a:ext uri="{FF2B5EF4-FFF2-40B4-BE49-F238E27FC236}">
                  <a16:creationId xmlns:a16="http://schemas.microsoft.com/office/drawing/2014/main" id="{A6377843-ED47-4BAD-89CF-B6E27E447669}"/>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92" name="Freeform 74">
              <a:extLst>
                <a:ext uri="{FF2B5EF4-FFF2-40B4-BE49-F238E27FC236}">
                  <a16:creationId xmlns:a16="http://schemas.microsoft.com/office/drawing/2014/main" id="{10E2F82B-0DD4-4378-8732-ADF6434FE884}"/>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93" name="Freeform 75">
              <a:extLst>
                <a:ext uri="{FF2B5EF4-FFF2-40B4-BE49-F238E27FC236}">
                  <a16:creationId xmlns:a16="http://schemas.microsoft.com/office/drawing/2014/main" id="{813699C0-9F9A-4B7D-9907-F7E84E80C975}"/>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94" name="Freeform 76">
              <a:extLst>
                <a:ext uri="{FF2B5EF4-FFF2-40B4-BE49-F238E27FC236}">
                  <a16:creationId xmlns:a16="http://schemas.microsoft.com/office/drawing/2014/main" id="{7E33D1F5-6560-4659-88CA-D7C8E62965E1}"/>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95" name="Freeform 77">
              <a:extLst>
                <a:ext uri="{FF2B5EF4-FFF2-40B4-BE49-F238E27FC236}">
                  <a16:creationId xmlns:a16="http://schemas.microsoft.com/office/drawing/2014/main" id="{E3853CA6-80AD-4C94-B0DA-BECA4D920C1F}"/>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96" name="Freeform 78">
              <a:extLst>
                <a:ext uri="{FF2B5EF4-FFF2-40B4-BE49-F238E27FC236}">
                  <a16:creationId xmlns:a16="http://schemas.microsoft.com/office/drawing/2014/main" id="{376CADD5-2B68-487F-8DA8-ED4D13D70DA8}"/>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97" name="Freeform 79">
              <a:extLst>
                <a:ext uri="{FF2B5EF4-FFF2-40B4-BE49-F238E27FC236}">
                  <a16:creationId xmlns:a16="http://schemas.microsoft.com/office/drawing/2014/main" id="{0F407B2E-8F48-4E07-8134-CD5E62E31E6B}"/>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98" name="Freeform 80">
              <a:extLst>
                <a:ext uri="{FF2B5EF4-FFF2-40B4-BE49-F238E27FC236}">
                  <a16:creationId xmlns:a16="http://schemas.microsoft.com/office/drawing/2014/main" id="{1B38C3B6-B85E-46D2-9E41-A9FE81AC9236}"/>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499" name="Freeform 81">
              <a:extLst>
                <a:ext uri="{FF2B5EF4-FFF2-40B4-BE49-F238E27FC236}">
                  <a16:creationId xmlns:a16="http://schemas.microsoft.com/office/drawing/2014/main" id="{EBD7334E-2643-458A-84FD-22F083D6E8A0}"/>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500" name="Group 44">
            <a:extLst>
              <a:ext uri="{FF2B5EF4-FFF2-40B4-BE49-F238E27FC236}">
                <a16:creationId xmlns:a16="http://schemas.microsoft.com/office/drawing/2014/main" id="{1A9837D4-E072-4557-B57D-BAB222028862}"/>
              </a:ext>
            </a:extLst>
          </p:cNvPr>
          <p:cNvGrpSpPr>
            <a:grpSpLocks noChangeAspect="1"/>
          </p:cNvGrpSpPr>
          <p:nvPr/>
        </p:nvGrpSpPr>
        <p:grpSpPr bwMode="auto">
          <a:xfrm flipV="1">
            <a:off x="5009381" y="3379982"/>
            <a:ext cx="247974" cy="248154"/>
            <a:chOff x="1608" y="347"/>
            <a:chExt cx="2544" cy="2546"/>
          </a:xfrm>
        </p:grpSpPr>
        <p:sp>
          <p:nvSpPr>
            <p:cNvPr id="1501" name="Oval 45">
              <a:extLst>
                <a:ext uri="{FF2B5EF4-FFF2-40B4-BE49-F238E27FC236}">
                  <a16:creationId xmlns:a16="http://schemas.microsoft.com/office/drawing/2014/main" id="{545B4644-843A-4D0C-A254-72E95561B142}"/>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02" name="Freeform 46">
              <a:extLst>
                <a:ext uri="{FF2B5EF4-FFF2-40B4-BE49-F238E27FC236}">
                  <a16:creationId xmlns:a16="http://schemas.microsoft.com/office/drawing/2014/main" id="{1B1D9C81-BFD9-4C2A-BFFB-775AB0D7360A}"/>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03" name="Freeform 47">
              <a:extLst>
                <a:ext uri="{FF2B5EF4-FFF2-40B4-BE49-F238E27FC236}">
                  <a16:creationId xmlns:a16="http://schemas.microsoft.com/office/drawing/2014/main" id="{13298831-9502-48B7-9EE5-B87EA5E565FF}"/>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04" name="Freeform 48">
              <a:extLst>
                <a:ext uri="{FF2B5EF4-FFF2-40B4-BE49-F238E27FC236}">
                  <a16:creationId xmlns:a16="http://schemas.microsoft.com/office/drawing/2014/main" id="{27E59E81-1D38-4F18-B1A9-4FDD4866884B}"/>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05" name="Freeform 49">
              <a:extLst>
                <a:ext uri="{FF2B5EF4-FFF2-40B4-BE49-F238E27FC236}">
                  <a16:creationId xmlns:a16="http://schemas.microsoft.com/office/drawing/2014/main" id="{44D316B3-A727-43DC-9049-B26120B45BB8}"/>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06" name="Freeform 50">
              <a:extLst>
                <a:ext uri="{FF2B5EF4-FFF2-40B4-BE49-F238E27FC236}">
                  <a16:creationId xmlns:a16="http://schemas.microsoft.com/office/drawing/2014/main" id="{B84F120A-A40D-4C1B-8630-066D3546CF62}"/>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07" name="Freeform 51">
              <a:extLst>
                <a:ext uri="{FF2B5EF4-FFF2-40B4-BE49-F238E27FC236}">
                  <a16:creationId xmlns:a16="http://schemas.microsoft.com/office/drawing/2014/main" id="{AF953133-78D2-43E4-AB86-56E7E089A637}"/>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08" name="Freeform 52">
              <a:extLst>
                <a:ext uri="{FF2B5EF4-FFF2-40B4-BE49-F238E27FC236}">
                  <a16:creationId xmlns:a16="http://schemas.microsoft.com/office/drawing/2014/main" id="{691C17BB-D4D9-440D-8F3A-2CB6E06A309A}"/>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09" name="Freeform 53">
              <a:extLst>
                <a:ext uri="{FF2B5EF4-FFF2-40B4-BE49-F238E27FC236}">
                  <a16:creationId xmlns:a16="http://schemas.microsoft.com/office/drawing/2014/main" id="{1480E926-DA03-4D9E-97EE-C68729736EB6}"/>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10" name="Freeform 54">
              <a:extLst>
                <a:ext uri="{FF2B5EF4-FFF2-40B4-BE49-F238E27FC236}">
                  <a16:creationId xmlns:a16="http://schemas.microsoft.com/office/drawing/2014/main" id="{51273337-15D2-4B2E-97C1-DC9F98D0F702}"/>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11" name="Freeform 55">
              <a:extLst>
                <a:ext uri="{FF2B5EF4-FFF2-40B4-BE49-F238E27FC236}">
                  <a16:creationId xmlns:a16="http://schemas.microsoft.com/office/drawing/2014/main" id="{ECE8F72A-299B-4552-85AB-765EF57257EF}"/>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12" name="Freeform 56">
              <a:extLst>
                <a:ext uri="{FF2B5EF4-FFF2-40B4-BE49-F238E27FC236}">
                  <a16:creationId xmlns:a16="http://schemas.microsoft.com/office/drawing/2014/main" id="{A8A2D411-3820-44F5-8CA0-D73CC57AE07E}"/>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13" name="Freeform 57">
              <a:extLst>
                <a:ext uri="{FF2B5EF4-FFF2-40B4-BE49-F238E27FC236}">
                  <a16:creationId xmlns:a16="http://schemas.microsoft.com/office/drawing/2014/main" id="{180A40CE-3AD8-4FA5-A7A6-80BCFCF17937}"/>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14" name="Freeform 58">
              <a:extLst>
                <a:ext uri="{FF2B5EF4-FFF2-40B4-BE49-F238E27FC236}">
                  <a16:creationId xmlns:a16="http://schemas.microsoft.com/office/drawing/2014/main" id="{6578EB8E-E461-46D1-994F-28A6042BAFD5}"/>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15" name="Freeform 59">
              <a:extLst>
                <a:ext uri="{FF2B5EF4-FFF2-40B4-BE49-F238E27FC236}">
                  <a16:creationId xmlns:a16="http://schemas.microsoft.com/office/drawing/2014/main" id="{88A14DAE-8A30-4B3A-AD08-4034B6FC01F9}"/>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16" name="Freeform 60">
              <a:extLst>
                <a:ext uri="{FF2B5EF4-FFF2-40B4-BE49-F238E27FC236}">
                  <a16:creationId xmlns:a16="http://schemas.microsoft.com/office/drawing/2014/main" id="{6A8CD075-D7AF-4544-88F3-AE12B6D44645}"/>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17" name="Freeform 61">
              <a:extLst>
                <a:ext uri="{FF2B5EF4-FFF2-40B4-BE49-F238E27FC236}">
                  <a16:creationId xmlns:a16="http://schemas.microsoft.com/office/drawing/2014/main" id="{B1529EA1-86B4-4F2A-A596-72F984A2A7E6}"/>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18" name="Freeform 62">
              <a:extLst>
                <a:ext uri="{FF2B5EF4-FFF2-40B4-BE49-F238E27FC236}">
                  <a16:creationId xmlns:a16="http://schemas.microsoft.com/office/drawing/2014/main" id="{DFA6E026-6021-4671-B501-71B828B5C96C}"/>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19" name="Freeform 63">
              <a:extLst>
                <a:ext uri="{FF2B5EF4-FFF2-40B4-BE49-F238E27FC236}">
                  <a16:creationId xmlns:a16="http://schemas.microsoft.com/office/drawing/2014/main" id="{7FE9F0A8-9D97-4C83-8D55-87743D63F761}"/>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20" name="Freeform 64">
              <a:extLst>
                <a:ext uri="{FF2B5EF4-FFF2-40B4-BE49-F238E27FC236}">
                  <a16:creationId xmlns:a16="http://schemas.microsoft.com/office/drawing/2014/main" id="{41A3DA0B-E09B-4E96-A747-866F6549ED36}"/>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21" name="Freeform 65">
              <a:extLst>
                <a:ext uri="{FF2B5EF4-FFF2-40B4-BE49-F238E27FC236}">
                  <a16:creationId xmlns:a16="http://schemas.microsoft.com/office/drawing/2014/main" id="{9B9D032B-02CC-46F5-B95A-BB82AD8CC8A8}"/>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22" name="Freeform 66">
              <a:extLst>
                <a:ext uri="{FF2B5EF4-FFF2-40B4-BE49-F238E27FC236}">
                  <a16:creationId xmlns:a16="http://schemas.microsoft.com/office/drawing/2014/main" id="{D83BB47B-1367-4B7B-8613-36B0E3662303}"/>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23" name="Freeform 67">
              <a:extLst>
                <a:ext uri="{FF2B5EF4-FFF2-40B4-BE49-F238E27FC236}">
                  <a16:creationId xmlns:a16="http://schemas.microsoft.com/office/drawing/2014/main" id="{D6CB5266-D119-4D22-97BD-B95988AC0AE1}"/>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24" name="Freeform 68">
              <a:extLst>
                <a:ext uri="{FF2B5EF4-FFF2-40B4-BE49-F238E27FC236}">
                  <a16:creationId xmlns:a16="http://schemas.microsoft.com/office/drawing/2014/main" id="{B7ACC0AD-8941-4110-A1A4-46513A56342F}"/>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25" name="Freeform 69">
              <a:extLst>
                <a:ext uri="{FF2B5EF4-FFF2-40B4-BE49-F238E27FC236}">
                  <a16:creationId xmlns:a16="http://schemas.microsoft.com/office/drawing/2014/main" id="{B6FDD3B2-C990-425F-A2D3-D12F5A86E53D}"/>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26" name="Freeform 70">
              <a:extLst>
                <a:ext uri="{FF2B5EF4-FFF2-40B4-BE49-F238E27FC236}">
                  <a16:creationId xmlns:a16="http://schemas.microsoft.com/office/drawing/2014/main" id="{4614B8B8-F0A6-455D-8A7D-1C339038A995}"/>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27" name="Freeform 71">
              <a:extLst>
                <a:ext uri="{FF2B5EF4-FFF2-40B4-BE49-F238E27FC236}">
                  <a16:creationId xmlns:a16="http://schemas.microsoft.com/office/drawing/2014/main" id="{92F698B2-D1F4-4D5E-B28C-AF8ECB41DCD8}"/>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28" name="Freeform 72">
              <a:extLst>
                <a:ext uri="{FF2B5EF4-FFF2-40B4-BE49-F238E27FC236}">
                  <a16:creationId xmlns:a16="http://schemas.microsoft.com/office/drawing/2014/main" id="{F4765936-B957-473C-A286-72EEC4DF5DF7}"/>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29" name="Freeform 73">
              <a:extLst>
                <a:ext uri="{FF2B5EF4-FFF2-40B4-BE49-F238E27FC236}">
                  <a16:creationId xmlns:a16="http://schemas.microsoft.com/office/drawing/2014/main" id="{3978811E-C83F-4265-B080-AB57F5683D3F}"/>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30" name="Freeform 74">
              <a:extLst>
                <a:ext uri="{FF2B5EF4-FFF2-40B4-BE49-F238E27FC236}">
                  <a16:creationId xmlns:a16="http://schemas.microsoft.com/office/drawing/2014/main" id="{1A01C125-E74F-4E95-86B5-D3BA25AEBF28}"/>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31" name="Freeform 75">
              <a:extLst>
                <a:ext uri="{FF2B5EF4-FFF2-40B4-BE49-F238E27FC236}">
                  <a16:creationId xmlns:a16="http://schemas.microsoft.com/office/drawing/2014/main" id="{59B008ED-5A4C-4B98-A450-9D9500664DDA}"/>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32" name="Freeform 76">
              <a:extLst>
                <a:ext uri="{FF2B5EF4-FFF2-40B4-BE49-F238E27FC236}">
                  <a16:creationId xmlns:a16="http://schemas.microsoft.com/office/drawing/2014/main" id="{4C52FC14-2975-45C1-A31A-AFEFA10F14C4}"/>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33" name="Freeform 77">
              <a:extLst>
                <a:ext uri="{FF2B5EF4-FFF2-40B4-BE49-F238E27FC236}">
                  <a16:creationId xmlns:a16="http://schemas.microsoft.com/office/drawing/2014/main" id="{37B5AD07-F6BC-4D60-8A25-66C70E3B60B2}"/>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34" name="Freeform 78">
              <a:extLst>
                <a:ext uri="{FF2B5EF4-FFF2-40B4-BE49-F238E27FC236}">
                  <a16:creationId xmlns:a16="http://schemas.microsoft.com/office/drawing/2014/main" id="{EE90D9AE-EC56-459C-86BD-63778A03AD03}"/>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35" name="Freeform 79">
              <a:extLst>
                <a:ext uri="{FF2B5EF4-FFF2-40B4-BE49-F238E27FC236}">
                  <a16:creationId xmlns:a16="http://schemas.microsoft.com/office/drawing/2014/main" id="{54E4E8F1-5E69-493E-BF3A-EF8B4EBF450D}"/>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36" name="Freeform 80">
              <a:extLst>
                <a:ext uri="{FF2B5EF4-FFF2-40B4-BE49-F238E27FC236}">
                  <a16:creationId xmlns:a16="http://schemas.microsoft.com/office/drawing/2014/main" id="{F9930F3D-67EC-4423-9DC4-43583628E02E}"/>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37" name="Freeform 81">
              <a:extLst>
                <a:ext uri="{FF2B5EF4-FFF2-40B4-BE49-F238E27FC236}">
                  <a16:creationId xmlns:a16="http://schemas.microsoft.com/office/drawing/2014/main" id="{CACFB5A1-739F-44C9-B427-1C5B2A73D973}"/>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538" name="Group 44">
            <a:extLst>
              <a:ext uri="{FF2B5EF4-FFF2-40B4-BE49-F238E27FC236}">
                <a16:creationId xmlns:a16="http://schemas.microsoft.com/office/drawing/2014/main" id="{DF132132-D06F-4E3D-8208-AE2BAB50D273}"/>
              </a:ext>
            </a:extLst>
          </p:cNvPr>
          <p:cNvGrpSpPr>
            <a:grpSpLocks noChangeAspect="1"/>
          </p:cNvGrpSpPr>
          <p:nvPr/>
        </p:nvGrpSpPr>
        <p:grpSpPr bwMode="auto">
          <a:xfrm flipV="1">
            <a:off x="4598672" y="2887262"/>
            <a:ext cx="247974" cy="248154"/>
            <a:chOff x="1608" y="347"/>
            <a:chExt cx="2544" cy="2546"/>
          </a:xfrm>
        </p:grpSpPr>
        <p:sp>
          <p:nvSpPr>
            <p:cNvPr id="1539" name="Oval 45">
              <a:extLst>
                <a:ext uri="{FF2B5EF4-FFF2-40B4-BE49-F238E27FC236}">
                  <a16:creationId xmlns:a16="http://schemas.microsoft.com/office/drawing/2014/main" id="{6840FB7C-090D-48A1-92E8-AD8177F02CE1}"/>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40" name="Freeform 46">
              <a:extLst>
                <a:ext uri="{FF2B5EF4-FFF2-40B4-BE49-F238E27FC236}">
                  <a16:creationId xmlns:a16="http://schemas.microsoft.com/office/drawing/2014/main" id="{116137FD-ED67-41BD-B65D-577025B0338F}"/>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41" name="Freeform 47">
              <a:extLst>
                <a:ext uri="{FF2B5EF4-FFF2-40B4-BE49-F238E27FC236}">
                  <a16:creationId xmlns:a16="http://schemas.microsoft.com/office/drawing/2014/main" id="{B0BA4FA1-C49D-4095-8804-ABE1A45B627C}"/>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42" name="Freeform 48">
              <a:extLst>
                <a:ext uri="{FF2B5EF4-FFF2-40B4-BE49-F238E27FC236}">
                  <a16:creationId xmlns:a16="http://schemas.microsoft.com/office/drawing/2014/main" id="{F2F5F053-E5A3-40E1-8E7C-B314B5A0645F}"/>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43" name="Freeform 49">
              <a:extLst>
                <a:ext uri="{FF2B5EF4-FFF2-40B4-BE49-F238E27FC236}">
                  <a16:creationId xmlns:a16="http://schemas.microsoft.com/office/drawing/2014/main" id="{AF34B6CF-8949-418B-96C3-E6ABC2B28445}"/>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44" name="Freeform 50">
              <a:extLst>
                <a:ext uri="{FF2B5EF4-FFF2-40B4-BE49-F238E27FC236}">
                  <a16:creationId xmlns:a16="http://schemas.microsoft.com/office/drawing/2014/main" id="{1F7958C3-7DDF-4B8D-9811-8B285D996082}"/>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45" name="Freeform 51">
              <a:extLst>
                <a:ext uri="{FF2B5EF4-FFF2-40B4-BE49-F238E27FC236}">
                  <a16:creationId xmlns:a16="http://schemas.microsoft.com/office/drawing/2014/main" id="{7D947BBF-AC33-429F-A66D-DD85402A1553}"/>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46" name="Freeform 52">
              <a:extLst>
                <a:ext uri="{FF2B5EF4-FFF2-40B4-BE49-F238E27FC236}">
                  <a16:creationId xmlns:a16="http://schemas.microsoft.com/office/drawing/2014/main" id="{24CF4FD6-691B-498C-813C-ADFE9A16E739}"/>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47" name="Freeform 53">
              <a:extLst>
                <a:ext uri="{FF2B5EF4-FFF2-40B4-BE49-F238E27FC236}">
                  <a16:creationId xmlns:a16="http://schemas.microsoft.com/office/drawing/2014/main" id="{80BF670B-F20B-4BD4-90F3-FEEEDDC84BEA}"/>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48" name="Freeform 54">
              <a:extLst>
                <a:ext uri="{FF2B5EF4-FFF2-40B4-BE49-F238E27FC236}">
                  <a16:creationId xmlns:a16="http://schemas.microsoft.com/office/drawing/2014/main" id="{D4BF3A24-D1D8-4A2D-B6F9-C885F70706DF}"/>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49" name="Freeform 55">
              <a:extLst>
                <a:ext uri="{FF2B5EF4-FFF2-40B4-BE49-F238E27FC236}">
                  <a16:creationId xmlns:a16="http://schemas.microsoft.com/office/drawing/2014/main" id="{A0A2A15B-C123-492B-ADD1-323E5DD6A58E}"/>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50" name="Freeform 56">
              <a:extLst>
                <a:ext uri="{FF2B5EF4-FFF2-40B4-BE49-F238E27FC236}">
                  <a16:creationId xmlns:a16="http://schemas.microsoft.com/office/drawing/2014/main" id="{C415E66D-0459-4A83-A22D-D199237D6AFF}"/>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51" name="Freeform 57">
              <a:extLst>
                <a:ext uri="{FF2B5EF4-FFF2-40B4-BE49-F238E27FC236}">
                  <a16:creationId xmlns:a16="http://schemas.microsoft.com/office/drawing/2014/main" id="{B9A63EB7-E95A-4C98-8488-7B17FF135EFE}"/>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52" name="Freeform 58">
              <a:extLst>
                <a:ext uri="{FF2B5EF4-FFF2-40B4-BE49-F238E27FC236}">
                  <a16:creationId xmlns:a16="http://schemas.microsoft.com/office/drawing/2014/main" id="{5A6DDED6-72E0-4DA9-91B1-13968754BCF0}"/>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53" name="Freeform 59">
              <a:extLst>
                <a:ext uri="{FF2B5EF4-FFF2-40B4-BE49-F238E27FC236}">
                  <a16:creationId xmlns:a16="http://schemas.microsoft.com/office/drawing/2014/main" id="{460684C3-99F6-45CC-BE8C-F5DB41187BE9}"/>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54" name="Freeform 60">
              <a:extLst>
                <a:ext uri="{FF2B5EF4-FFF2-40B4-BE49-F238E27FC236}">
                  <a16:creationId xmlns:a16="http://schemas.microsoft.com/office/drawing/2014/main" id="{0EBDD314-EEF6-4C55-AA24-FA18F4DC522C}"/>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55" name="Freeform 61">
              <a:extLst>
                <a:ext uri="{FF2B5EF4-FFF2-40B4-BE49-F238E27FC236}">
                  <a16:creationId xmlns:a16="http://schemas.microsoft.com/office/drawing/2014/main" id="{28B92AEC-FDA2-4AF2-AE1D-555E58606D67}"/>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56" name="Freeform 62">
              <a:extLst>
                <a:ext uri="{FF2B5EF4-FFF2-40B4-BE49-F238E27FC236}">
                  <a16:creationId xmlns:a16="http://schemas.microsoft.com/office/drawing/2014/main" id="{90E62783-F5FF-4815-B6C2-54171832A2FB}"/>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57" name="Freeform 63">
              <a:extLst>
                <a:ext uri="{FF2B5EF4-FFF2-40B4-BE49-F238E27FC236}">
                  <a16:creationId xmlns:a16="http://schemas.microsoft.com/office/drawing/2014/main" id="{518E2850-6BE4-4519-8F3E-7DE9A1336CE7}"/>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58" name="Freeform 64">
              <a:extLst>
                <a:ext uri="{FF2B5EF4-FFF2-40B4-BE49-F238E27FC236}">
                  <a16:creationId xmlns:a16="http://schemas.microsoft.com/office/drawing/2014/main" id="{EC97A8D6-A6F2-4DFF-A84F-168592756F4E}"/>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59" name="Freeform 65">
              <a:extLst>
                <a:ext uri="{FF2B5EF4-FFF2-40B4-BE49-F238E27FC236}">
                  <a16:creationId xmlns:a16="http://schemas.microsoft.com/office/drawing/2014/main" id="{69B227A3-BE3A-46D1-A49A-A7EF6CB60A0A}"/>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60" name="Freeform 66">
              <a:extLst>
                <a:ext uri="{FF2B5EF4-FFF2-40B4-BE49-F238E27FC236}">
                  <a16:creationId xmlns:a16="http://schemas.microsoft.com/office/drawing/2014/main" id="{83A6EF47-E2E7-4154-8FEE-732745046795}"/>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61" name="Freeform 67">
              <a:extLst>
                <a:ext uri="{FF2B5EF4-FFF2-40B4-BE49-F238E27FC236}">
                  <a16:creationId xmlns:a16="http://schemas.microsoft.com/office/drawing/2014/main" id="{E759E367-C171-41E1-96AF-CA07303B23C0}"/>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62" name="Freeform 68">
              <a:extLst>
                <a:ext uri="{FF2B5EF4-FFF2-40B4-BE49-F238E27FC236}">
                  <a16:creationId xmlns:a16="http://schemas.microsoft.com/office/drawing/2014/main" id="{DDD19DA1-5DE3-4F0A-ADAA-93408D0A5832}"/>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63" name="Freeform 69">
              <a:extLst>
                <a:ext uri="{FF2B5EF4-FFF2-40B4-BE49-F238E27FC236}">
                  <a16:creationId xmlns:a16="http://schemas.microsoft.com/office/drawing/2014/main" id="{E50044F8-209B-490A-8F18-F292E92D6990}"/>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64" name="Freeform 70">
              <a:extLst>
                <a:ext uri="{FF2B5EF4-FFF2-40B4-BE49-F238E27FC236}">
                  <a16:creationId xmlns:a16="http://schemas.microsoft.com/office/drawing/2014/main" id="{4BF8B36C-8028-4A25-91FE-2D461440F67F}"/>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65" name="Freeform 71">
              <a:extLst>
                <a:ext uri="{FF2B5EF4-FFF2-40B4-BE49-F238E27FC236}">
                  <a16:creationId xmlns:a16="http://schemas.microsoft.com/office/drawing/2014/main" id="{64FBAEC0-7EA4-4FC2-8D62-8AD547E4E8E7}"/>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66" name="Freeform 72">
              <a:extLst>
                <a:ext uri="{FF2B5EF4-FFF2-40B4-BE49-F238E27FC236}">
                  <a16:creationId xmlns:a16="http://schemas.microsoft.com/office/drawing/2014/main" id="{F627D32A-B20F-470F-911A-4285085281EA}"/>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67" name="Freeform 73">
              <a:extLst>
                <a:ext uri="{FF2B5EF4-FFF2-40B4-BE49-F238E27FC236}">
                  <a16:creationId xmlns:a16="http://schemas.microsoft.com/office/drawing/2014/main" id="{350DE95F-5C10-4D30-97B2-B487DC0A340C}"/>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68" name="Freeform 74">
              <a:extLst>
                <a:ext uri="{FF2B5EF4-FFF2-40B4-BE49-F238E27FC236}">
                  <a16:creationId xmlns:a16="http://schemas.microsoft.com/office/drawing/2014/main" id="{3BC23E4D-190E-4226-BF1D-A5BC6B51A6BF}"/>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69" name="Freeform 75">
              <a:extLst>
                <a:ext uri="{FF2B5EF4-FFF2-40B4-BE49-F238E27FC236}">
                  <a16:creationId xmlns:a16="http://schemas.microsoft.com/office/drawing/2014/main" id="{EF625A38-0143-4F08-8609-B0ACD6B647DF}"/>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70" name="Freeform 76">
              <a:extLst>
                <a:ext uri="{FF2B5EF4-FFF2-40B4-BE49-F238E27FC236}">
                  <a16:creationId xmlns:a16="http://schemas.microsoft.com/office/drawing/2014/main" id="{B634310D-9379-4657-AD66-E1AC7CB19A23}"/>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71" name="Freeform 77">
              <a:extLst>
                <a:ext uri="{FF2B5EF4-FFF2-40B4-BE49-F238E27FC236}">
                  <a16:creationId xmlns:a16="http://schemas.microsoft.com/office/drawing/2014/main" id="{19A74B4B-6C70-424B-8A28-627574F7DC5D}"/>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72" name="Freeform 78">
              <a:extLst>
                <a:ext uri="{FF2B5EF4-FFF2-40B4-BE49-F238E27FC236}">
                  <a16:creationId xmlns:a16="http://schemas.microsoft.com/office/drawing/2014/main" id="{CE96E5F6-9243-4A40-B6A3-98F8E4D80EAC}"/>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73" name="Freeform 79">
              <a:extLst>
                <a:ext uri="{FF2B5EF4-FFF2-40B4-BE49-F238E27FC236}">
                  <a16:creationId xmlns:a16="http://schemas.microsoft.com/office/drawing/2014/main" id="{C4B5C3C6-C5AE-4F5A-89F1-B902C15CDE7F}"/>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74" name="Freeform 80">
              <a:extLst>
                <a:ext uri="{FF2B5EF4-FFF2-40B4-BE49-F238E27FC236}">
                  <a16:creationId xmlns:a16="http://schemas.microsoft.com/office/drawing/2014/main" id="{6A0712BA-70A3-4850-A37C-DDF3A1117880}"/>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75" name="Freeform 81">
              <a:extLst>
                <a:ext uri="{FF2B5EF4-FFF2-40B4-BE49-F238E27FC236}">
                  <a16:creationId xmlns:a16="http://schemas.microsoft.com/office/drawing/2014/main" id="{BC48534B-D711-458C-83F4-85DFFC2608C3}"/>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576" name="Group 44">
            <a:extLst>
              <a:ext uri="{FF2B5EF4-FFF2-40B4-BE49-F238E27FC236}">
                <a16:creationId xmlns:a16="http://schemas.microsoft.com/office/drawing/2014/main" id="{EA2F329E-AA11-4A06-8C08-654EB0C76ADB}"/>
              </a:ext>
            </a:extLst>
          </p:cNvPr>
          <p:cNvGrpSpPr>
            <a:grpSpLocks noChangeAspect="1"/>
          </p:cNvGrpSpPr>
          <p:nvPr/>
        </p:nvGrpSpPr>
        <p:grpSpPr bwMode="auto">
          <a:xfrm flipV="1">
            <a:off x="4270279" y="1737842"/>
            <a:ext cx="247974" cy="248154"/>
            <a:chOff x="1608" y="347"/>
            <a:chExt cx="2544" cy="2546"/>
          </a:xfrm>
        </p:grpSpPr>
        <p:sp>
          <p:nvSpPr>
            <p:cNvPr id="1577" name="Oval 45">
              <a:extLst>
                <a:ext uri="{FF2B5EF4-FFF2-40B4-BE49-F238E27FC236}">
                  <a16:creationId xmlns:a16="http://schemas.microsoft.com/office/drawing/2014/main" id="{2B209BBB-0F41-4F75-BD69-7BAFD21ADD9E}"/>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78" name="Freeform 46">
              <a:extLst>
                <a:ext uri="{FF2B5EF4-FFF2-40B4-BE49-F238E27FC236}">
                  <a16:creationId xmlns:a16="http://schemas.microsoft.com/office/drawing/2014/main" id="{A48321E8-ED45-4719-AE76-3D970956B5CD}"/>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79" name="Freeform 47">
              <a:extLst>
                <a:ext uri="{FF2B5EF4-FFF2-40B4-BE49-F238E27FC236}">
                  <a16:creationId xmlns:a16="http://schemas.microsoft.com/office/drawing/2014/main" id="{C46A92DA-E1AE-4BE4-A556-A90E2AF412EB}"/>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80" name="Freeform 48">
              <a:extLst>
                <a:ext uri="{FF2B5EF4-FFF2-40B4-BE49-F238E27FC236}">
                  <a16:creationId xmlns:a16="http://schemas.microsoft.com/office/drawing/2014/main" id="{0E16A562-B543-464A-9258-82CA6CDDA311}"/>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81" name="Freeform 49">
              <a:extLst>
                <a:ext uri="{FF2B5EF4-FFF2-40B4-BE49-F238E27FC236}">
                  <a16:creationId xmlns:a16="http://schemas.microsoft.com/office/drawing/2014/main" id="{3070E52E-03CF-4238-B2C5-F4684936C046}"/>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82" name="Freeform 50">
              <a:extLst>
                <a:ext uri="{FF2B5EF4-FFF2-40B4-BE49-F238E27FC236}">
                  <a16:creationId xmlns:a16="http://schemas.microsoft.com/office/drawing/2014/main" id="{AD05C333-4E45-4816-9F26-206795458FC6}"/>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83" name="Freeform 51">
              <a:extLst>
                <a:ext uri="{FF2B5EF4-FFF2-40B4-BE49-F238E27FC236}">
                  <a16:creationId xmlns:a16="http://schemas.microsoft.com/office/drawing/2014/main" id="{48F631D7-ABB0-4AE8-8801-F3BD0025B80A}"/>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84" name="Freeform 52">
              <a:extLst>
                <a:ext uri="{FF2B5EF4-FFF2-40B4-BE49-F238E27FC236}">
                  <a16:creationId xmlns:a16="http://schemas.microsoft.com/office/drawing/2014/main" id="{5684B7F9-63CD-4506-AFFC-6B2A4082F510}"/>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85" name="Freeform 53">
              <a:extLst>
                <a:ext uri="{FF2B5EF4-FFF2-40B4-BE49-F238E27FC236}">
                  <a16:creationId xmlns:a16="http://schemas.microsoft.com/office/drawing/2014/main" id="{72F6625B-DDBB-452C-A049-502DF2D252AF}"/>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86" name="Freeform 54">
              <a:extLst>
                <a:ext uri="{FF2B5EF4-FFF2-40B4-BE49-F238E27FC236}">
                  <a16:creationId xmlns:a16="http://schemas.microsoft.com/office/drawing/2014/main" id="{6A775E44-2208-4B93-A13C-FACCA3E5CE89}"/>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87" name="Freeform 55">
              <a:extLst>
                <a:ext uri="{FF2B5EF4-FFF2-40B4-BE49-F238E27FC236}">
                  <a16:creationId xmlns:a16="http://schemas.microsoft.com/office/drawing/2014/main" id="{561EFD90-D9A7-471C-B886-B3725A932469}"/>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88" name="Freeform 56">
              <a:extLst>
                <a:ext uri="{FF2B5EF4-FFF2-40B4-BE49-F238E27FC236}">
                  <a16:creationId xmlns:a16="http://schemas.microsoft.com/office/drawing/2014/main" id="{E7E09161-EC66-4968-AB5F-4F7241BE5B1B}"/>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89" name="Freeform 57">
              <a:extLst>
                <a:ext uri="{FF2B5EF4-FFF2-40B4-BE49-F238E27FC236}">
                  <a16:creationId xmlns:a16="http://schemas.microsoft.com/office/drawing/2014/main" id="{A584889F-946F-4637-B3FF-94FFB24A679B}"/>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90" name="Freeform 58">
              <a:extLst>
                <a:ext uri="{FF2B5EF4-FFF2-40B4-BE49-F238E27FC236}">
                  <a16:creationId xmlns:a16="http://schemas.microsoft.com/office/drawing/2014/main" id="{0BDA525F-A067-4320-B991-78796478A013}"/>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91" name="Freeform 59">
              <a:extLst>
                <a:ext uri="{FF2B5EF4-FFF2-40B4-BE49-F238E27FC236}">
                  <a16:creationId xmlns:a16="http://schemas.microsoft.com/office/drawing/2014/main" id="{A1609E82-AF83-44FA-B5B4-3E2B029E3224}"/>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92" name="Freeform 60">
              <a:extLst>
                <a:ext uri="{FF2B5EF4-FFF2-40B4-BE49-F238E27FC236}">
                  <a16:creationId xmlns:a16="http://schemas.microsoft.com/office/drawing/2014/main" id="{9FDB07E4-B05E-48CB-AA34-079E333E5A8B}"/>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93" name="Freeform 61">
              <a:extLst>
                <a:ext uri="{FF2B5EF4-FFF2-40B4-BE49-F238E27FC236}">
                  <a16:creationId xmlns:a16="http://schemas.microsoft.com/office/drawing/2014/main" id="{97720756-6022-4615-ADA0-0A005894E4F7}"/>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94" name="Freeform 62">
              <a:extLst>
                <a:ext uri="{FF2B5EF4-FFF2-40B4-BE49-F238E27FC236}">
                  <a16:creationId xmlns:a16="http://schemas.microsoft.com/office/drawing/2014/main" id="{C41B5E94-43DB-4D7B-A0CA-F397921FFE32}"/>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95" name="Freeform 63">
              <a:extLst>
                <a:ext uri="{FF2B5EF4-FFF2-40B4-BE49-F238E27FC236}">
                  <a16:creationId xmlns:a16="http://schemas.microsoft.com/office/drawing/2014/main" id="{C5B24DF4-CEAC-4410-9379-35DD262BADDB}"/>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96" name="Freeform 64">
              <a:extLst>
                <a:ext uri="{FF2B5EF4-FFF2-40B4-BE49-F238E27FC236}">
                  <a16:creationId xmlns:a16="http://schemas.microsoft.com/office/drawing/2014/main" id="{EC78F459-58FE-4FBF-A184-8EA35C25085E}"/>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97" name="Freeform 65">
              <a:extLst>
                <a:ext uri="{FF2B5EF4-FFF2-40B4-BE49-F238E27FC236}">
                  <a16:creationId xmlns:a16="http://schemas.microsoft.com/office/drawing/2014/main" id="{6F1F867D-087D-432B-8751-AAFEFA52C1E8}"/>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98" name="Freeform 66">
              <a:extLst>
                <a:ext uri="{FF2B5EF4-FFF2-40B4-BE49-F238E27FC236}">
                  <a16:creationId xmlns:a16="http://schemas.microsoft.com/office/drawing/2014/main" id="{14B52C16-AD70-411A-A931-84B66A2E4702}"/>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599" name="Freeform 67">
              <a:extLst>
                <a:ext uri="{FF2B5EF4-FFF2-40B4-BE49-F238E27FC236}">
                  <a16:creationId xmlns:a16="http://schemas.microsoft.com/office/drawing/2014/main" id="{55456E8E-0E48-4E7B-8C61-A91D2BEB7091}"/>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00" name="Freeform 68">
              <a:extLst>
                <a:ext uri="{FF2B5EF4-FFF2-40B4-BE49-F238E27FC236}">
                  <a16:creationId xmlns:a16="http://schemas.microsoft.com/office/drawing/2014/main" id="{A34D2C5D-9E78-47E4-97A0-B288A459C50B}"/>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01" name="Freeform 69">
              <a:extLst>
                <a:ext uri="{FF2B5EF4-FFF2-40B4-BE49-F238E27FC236}">
                  <a16:creationId xmlns:a16="http://schemas.microsoft.com/office/drawing/2014/main" id="{B0FBB0D3-3A18-484B-B37F-3B83A081911B}"/>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02" name="Freeform 70">
              <a:extLst>
                <a:ext uri="{FF2B5EF4-FFF2-40B4-BE49-F238E27FC236}">
                  <a16:creationId xmlns:a16="http://schemas.microsoft.com/office/drawing/2014/main" id="{6E491999-22C6-4E43-8A9E-90672E221446}"/>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03" name="Freeform 71">
              <a:extLst>
                <a:ext uri="{FF2B5EF4-FFF2-40B4-BE49-F238E27FC236}">
                  <a16:creationId xmlns:a16="http://schemas.microsoft.com/office/drawing/2014/main" id="{D525FF04-48B4-4657-BE12-C2CB96B42443}"/>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04" name="Freeform 72">
              <a:extLst>
                <a:ext uri="{FF2B5EF4-FFF2-40B4-BE49-F238E27FC236}">
                  <a16:creationId xmlns:a16="http://schemas.microsoft.com/office/drawing/2014/main" id="{9FD81AF3-2F54-44C1-AA0E-B4972CBF2D73}"/>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05" name="Freeform 73">
              <a:extLst>
                <a:ext uri="{FF2B5EF4-FFF2-40B4-BE49-F238E27FC236}">
                  <a16:creationId xmlns:a16="http://schemas.microsoft.com/office/drawing/2014/main" id="{CF33C54D-D5C5-43EF-921D-89D87FD2D33A}"/>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06" name="Freeform 74">
              <a:extLst>
                <a:ext uri="{FF2B5EF4-FFF2-40B4-BE49-F238E27FC236}">
                  <a16:creationId xmlns:a16="http://schemas.microsoft.com/office/drawing/2014/main" id="{8839B230-379D-4F56-8C4E-434B9972DEAD}"/>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07" name="Freeform 75">
              <a:extLst>
                <a:ext uri="{FF2B5EF4-FFF2-40B4-BE49-F238E27FC236}">
                  <a16:creationId xmlns:a16="http://schemas.microsoft.com/office/drawing/2014/main" id="{AF006D2E-9872-43A7-B955-F5571EEDA99E}"/>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08" name="Freeform 76">
              <a:extLst>
                <a:ext uri="{FF2B5EF4-FFF2-40B4-BE49-F238E27FC236}">
                  <a16:creationId xmlns:a16="http://schemas.microsoft.com/office/drawing/2014/main" id="{8931CA42-DEEF-40BC-A44B-86860EAE3B1D}"/>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09" name="Freeform 77">
              <a:extLst>
                <a:ext uri="{FF2B5EF4-FFF2-40B4-BE49-F238E27FC236}">
                  <a16:creationId xmlns:a16="http://schemas.microsoft.com/office/drawing/2014/main" id="{32C722B7-D998-409E-AEEA-B20E9D2F5E50}"/>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10" name="Freeform 78">
              <a:extLst>
                <a:ext uri="{FF2B5EF4-FFF2-40B4-BE49-F238E27FC236}">
                  <a16:creationId xmlns:a16="http://schemas.microsoft.com/office/drawing/2014/main" id="{7C8DB4E5-E906-4DD4-8094-F2F789CAD00D}"/>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11" name="Freeform 79">
              <a:extLst>
                <a:ext uri="{FF2B5EF4-FFF2-40B4-BE49-F238E27FC236}">
                  <a16:creationId xmlns:a16="http://schemas.microsoft.com/office/drawing/2014/main" id="{3BA36D99-BED0-42D3-9914-45A64DAE55C1}"/>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12" name="Freeform 80">
              <a:extLst>
                <a:ext uri="{FF2B5EF4-FFF2-40B4-BE49-F238E27FC236}">
                  <a16:creationId xmlns:a16="http://schemas.microsoft.com/office/drawing/2014/main" id="{CED144D6-6421-4454-A4FF-38858186E338}"/>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13" name="Freeform 81">
              <a:extLst>
                <a:ext uri="{FF2B5EF4-FFF2-40B4-BE49-F238E27FC236}">
                  <a16:creationId xmlns:a16="http://schemas.microsoft.com/office/drawing/2014/main" id="{2109973D-AA1C-42B8-815C-DF7B121910A4}"/>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14" name="Group 44">
            <a:extLst>
              <a:ext uri="{FF2B5EF4-FFF2-40B4-BE49-F238E27FC236}">
                <a16:creationId xmlns:a16="http://schemas.microsoft.com/office/drawing/2014/main" id="{1553E963-3D2C-4746-B1D5-D76D21599666}"/>
              </a:ext>
            </a:extLst>
          </p:cNvPr>
          <p:cNvGrpSpPr>
            <a:grpSpLocks noChangeAspect="1"/>
          </p:cNvGrpSpPr>
          <p:nvPr/>
        </p:nvGrpSpPr>
        <p:grpSpPr bwMode="auto">
          <a:xfrm flipV="1">
            <a:off x="3431372" y="2134139"/>
            <a:ext cx="247974" cy="248154"/>
            <a:chOff x="1608" y="347"/>
            <a:chExt cx="2544" cy="2546"/>
          </a:xfrm>
        </p:grpSpPr>
        <p:sp>
          <p:nvSpPr>
            <p:cNvPr id="1615" name="Oval 45">
              <a:extLst>
                <a:ext uri="{FF2B5EF4-FFF2-40B4-BE49-F238E27FC236}">
                  <a16:creationId xmlns:a16="http://schemas.microsoft.com/office/drawing/2014/main" id="{72CBB46C-1168-40AF-AC43-7A8B9ECD8F94}"/>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16" name="Freeform 46">
              <a:extLst>
                <a:ext uri="{FF2B5EF4-FFF2-40B4-BE49-F238E27FC236}">
                  <a16:creationId xmlns:a16="http://schemas.microsoft.com/office/drawing/2014/main" id="{3DCABE32-B2CB-4CD5-B76B-08C94EEFA54B}"/>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17" name="Freeform 47">
              <a:extLst>
                <a:ext uri="{FF2B5EF4-FFF2-40B4-BE49-F238E27FC236}">
                  <a16:creationId xmlns:a16="http://schemas.microsoft.com/office/drawing/2014/main" id="{106091E1-BBF4-4DA3-8D25-9AAA300745D8}"/>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18" name="Freeform 48">
              <a:extLst>
                <a:ext uri="{FF2B5EF4-FFF2-40B4-BE49-F238E27FC236}">
                  <a16:creationId xmlns:a16="http://schemas.microsoft.com/office/drawing/2014/main" id="{2823C773-F88D-413E-B50E-4B4F461A20F4}"/>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19" name="Freeform 49">
              <a:extLst>
                <a:ext uri="{FF2B5EF4-FFF2-40B4-BE49-F238E27FC236}">
                  <a16:creationId xmlns:a16="http://schemas.microsoft.com/office/drawing/2014/main" id="{F4AE0DC5-5F26-406C-9181-60E6E7994979}"/>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20" name="Freeform 50">
              <a:extLst>
                <a:ext uri="{FF2B5EF4-FFF2-40B4-BE49-F238E27FC236}">
                  <a16:creationId xmlns:a16="http://schemas.microsoft.com/office/drawing/2014/main" id="{46923E3F-E44C-4DB8-98BC-A6746AA5FC5A}"/>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21" name="Freeform 51">
              <a:extLst>
                <a:ext uri="{FF2B5EF4-FFF2-40B4-BE49-F238E27FC236}">
                  <a16:creationId xmlns:a16="http://schemas.microsoft.com/office/drawing/2014/main" id="{64350948-B4F4-4FF0-A8D6-B0BE1866B7EA}"/>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22" name="Freeform 52">
              <a:extLst>
                <a:ext uri="{FF2B5EF4-FFF2-40B4-BE49-F238E27FC236}">
                  <a16:creationId xmlns:a16="http://schemas.microsoft.com/office/drawing/2014/main" id="{CF96A8AC-51CB-4BCE-9965-2D0B65411691}"/>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23" name="Freeform 53">
              <a:extLst>
                <a:ext uri="{FF2B5EF4-FFF2-40B4-BE49-F238E27FC236}">
                  <a16:creationId xmlns:a16="http://schemas.microsoft.com/office/drawing/2014/main" id="{157A3FD1-F0E7-44BD-9BDF-CC8AC3F21C69}"/>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24" name="Freeform 54">
              <a:extLst>
                <a:ext uri="{FF2B5EF4-FFF2-40B4-BE49-F238E27FC236}">
                  <a16:creationId xmlns:a16="http://schemas.microsoft.com/office/drawing/2014/main" id="{6EBCD3EC-35CA-4553-99B7-5A5B7EAF5802}"/>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25" name="Freeform 55">
              <a:extLst>
                <a:ext uri="{FF2B5EF4-FFF2-40B4-BE49-F238E27FC236}">
                  <a16:creationId xmlns:a16="http://schemas.microsoft.com/office/drawing/2014/main" id="{8A9A502B-5B4B-4D4A-A419-255F1FE84AD0}"/>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26" name="Freeform 56">
              <a:extLst>
                <a:ext uri="{FF2B5EF4-FFF2-40B4-BE49-F238E27FC236}">
                  <a16:creationId xmlns:a16="http://schemas.microsoft.com/office/drawing/2014/main" id="{6E220D8A-D693-4ED2-A194-3F1FAFED1379}"/>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27" name="Freeform 57">
              <a:extLst>
                <a:ext uri="{FF2B5EF4-FFF2-40B4-BE49-F238E27FC236}">
                  <a16:creationId xmlns:a16="http://schemas.microsoft.com/office/drawing/2014/main" id="{AC8D69C3-745E-4014-91C2-9DF584D6A607}"/>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28" name="Freeform 58">
              <a:extLst>
                <a:ext uri="{FF2B5EF4-FFF2-40B4-BE49-F238E27FC236}">
                  <a16:creationId xmlns:a16="http://schemas.microsoft.com/office/drawing/2014/main" id="{6CB406E8-87DE-4639-B249-379535BB9658}"/>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29" name="Freeform 59">
              <a:extLst>
                <a:ext uri="{FF2B5EF4-FFF2-40B4-BE49-F238E27FC236}">
                  <a16:creationId xmlns:a16="http://schemas.microsoft.com/office/drawing/2014/main" id="{2F89691B-2966-40B3-B3C4-8059A63F7CD9}"/>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30" name="Freeform 60">
              <a:extLst>
                <a:ext uri="{FF2B5EF4-FFF2-40B4-BE49-F238E27FC236}">
                  <a16:creationId xmlns:a16="http://schemas.microsoft.com/office/drawing/2014/main" id="{6DA5B4D9-683B-4DEA-BD8D-CA33B38C1196}"/>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31" name="Freeform 61">
              <a:extLst>
                <a:ext uri="{FF2B5EF4-FFF2-40B4-BE49-F238E27FC236}">
                  <a16:creationId xmlns:a16="http://schemas.microsoft.com/office/drawing/2014/main" id="{A4B26A61-AF3F-42F2-8971-4344CFAAAE7B}"/>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32" name="Freeform 62">
              <a:extLst>
                <a:ext uri="{FF2B5EF4-FFF2-40B4-BE49-F238E27FC236}">
                  <a16:creationId xmlns:a16="http://schemas.microsoft.com/office/drawing/2014/main" id="{1287947B-2B45-4168-8F5E-96D618449FE8}"/>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33" name="Freeform 63">
              <a:extLst>
                <a:ext uri="{FF2B5EF4-FFF2-40B4-BE49-F238E27FC236}">
                  <a16:creationId xmlns:a16="http://schemas.microsoft.com/office/drawing/2014/main" id="{50D58A9E-A0D3-463D-B9D6-E1B7593F9D09}"/>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34" name="Freeform 64">
              <a:extLst>
                <a:ext uri="{FF2B5EF4-FFF2-40B4-BE49-F238E27FC236}">
                  <a16:creationId xmlns:a16="http://schemas.microsoft.com/office/drawing/2014/main" id="{63E4DF06-4129-4577-94AD-E40CE6150C11}"/>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35" name="Freeform 65">
              <a:extLst>
                <a:ext uri="{FF2B5EF4-FFF2-40B4-BE49-F238E27FC236}">
                  <a16:creationId xmlns:a16="http://schemas.microsoft.com/office/drawing/2014/main" id="{1E55331E-13C4-48B2-AA63-94DB7EC8E3C7}"/>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36" name="Freeform 66">
              <a:extLst>
                <a:ext uri="{FF2B5EF4-FFF2-40B4-BE49-F238E27FC236}">
                  <a16:creationId xmlns:a16="http://schemas.microsoft.com/office/drawing/2014/main" id="{356AEDB6-632A-46EA-837B-50B50B5CB2BD}"/>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37" name="Freeform 67">
              <a:extLst>
                <a:ext uri="{FF2B5EF4-FFF2-40B4-BE49-F238E27FC236}">
                  <a16:creationId xmlns:a16="http://schemas.microsoft.com/office/drawing/2014/main" id="{75C000E9-B906-447E-9ABE-2592C32E5EAF}"/>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38" name="Freeform 68">
              <a:extLst>
                <a:ext uri="{FF2B5EF4-FFF2-40B4-BE49-F238E27FC236}">
                  <a16:creationId xmlns:a16="http://schemas.microsoft.com/office/drawing/2014/main" id="{9B22E005-4192-4951-925D-EEB2B06AD055}"/>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39" name="Freeform 69">
              <a:extLst>
                <a:ext uri="{FF2B5EF4-FFF2-40B4-BE49-F238E27FC236}">
                  <a16:creationId xmlns:a16="http://schemas.microsoft.com/office/drawing/2014/main" id="{0ADE4926-D7E8-4C76-84E3-9E2AFE735D71}"/>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40" name="Freeform 70">
              <a:extLst>
                <a:ext uri="{FF2B5EF4-FFF2-40B4-BE49-F238E27FC236}">
                  <a16:creationId xmlns:a16="http://schemas.microsoft.com/office/drawing/2014/main" id="{A366C055-896B-4B8B-A8D9-E149A69AAB8C}"/>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41" name="Freeform 71">
              <a:extLst>
                <a:ext uri="{FF2B5EF4-FFF2-40B4-BE49-F238E27FC236}">
                  <a16:creationId xmlns:a16="http://schemas.microsoft.com/office/drawing/2014/main" id="{90BBFC09-D5E1-48DF-9A27-2D7DA882F1F7}"/>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42" name="Freeform 72">
              <a:extLst>
                <a:ext uri="{FF2B5EF4-FFF2-40B4-BE49-F238E27FC236}">
                  <a16:creationId xmlns:a16="http://schemas.microsoft.com/office/drawing/2014/main" id="{8110410A-EFF4-485A-9241-8D53D46015F6}"/>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43" name="Freeform 73">
              <a:extLst>
                <a:ext uri="{FF2B5EF4-FFF2-40B4-BE49-F238E27FC236}">
                  <a16:creationId xmlns:a16="http://schemas.microsoft.com/office/drawing/2014/main" id="{9BCE4DAA-BF19-4523-8EA7-94D270627F43}"/>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44" name="Freeform 74">
              <a:extLst>
                <a:ext uri="{FF2B5EF4-FFF2-40B4-BE49-F238E27FC236}">
                  <a16:creationId xmlns:a16="http://schemas.microsoft.com/office/drawing/2014/main" id="{09DB6A3F-E931-4F38-A321-A8FB869E783A}"/>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45" name="Freeform 75">
              <a:extLst>
                <a:ext uri="{FF2B5EF4-FFF2-40B4-BE49-F238E27FC236}">
                  <a16:creationId xmlns:a16="http://schemas.microsoft.com/office/drawing/2014/main" id="{99E905A4-1013-4D65-9370-2CBDDE5BA2D1}"/>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46" name="Freeform 76">
              <a:extLst>
                <a:ext uri="{FF2B5EF4-FFF2-40B4-BE49-F238E27FC236}">
                  <a16:creationId xmlns:a16="http://schemas.microsoft.com/office/drawing/2014/main" id="{A0417FB3-1010-4D9C-8E63-8856296F14B7}"/>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47" name="Freeform 77">
              <a:extLst>
                <a:ext uri="{FF2B5EF4-FFF2-40B4-BE49-F238E27FC236}">
                  <a16:creationId xmlns:a16="http://schemas.microsoft.com/office/drawing/2014/main" id="{69B010E3-106F-47CF-A25E-7564CB436577}"/>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48" name="Freeform 78">
              <a:extLst>
                <a:ext uri="{FF2B5EF4-FFF2-40B4-BE49-F238E27FC236}">
                  <a16:creationId xmlns:a16="http://schemas.microsoft.com/office/drawing/2014/main" id="{A71C777E-847F-474B-9C47-A60CFDA8F6E7}"/>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49" name="Freeform 79">
              <a:extLst>
                <a:ext uri="{FF2B5EF4-FFF2-40B4-BE49-F238E27FC236}">
                  <a16:creationId xmlns:a16="http://schemas.microsoft.com/office/drawing/2014/main" id="{1F6E3BBB-D20B-4EF1-9FD9-7505A492465D}"/>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50" name="Freeform 80">
              <a:extLst>
                <a:ext uri="{FF2B5EF4-FFF2-40B4-BE49-F238E27FC236}">
                  <a16:creationId xmlns:a16="http://schemas.microsoft.com/office/drawing/2014/main" id="{E3DE5F74-6F21-4A0F-B579-8F8583F8564A}"/>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51" name="Freeform 81">
              <a:extLst>
                <a:ext uri="{FF2B5EF4-FFF2-40B4-BE49-F238E27FC236}">
                  <a16:creationId xmlns:a16="http://schemas.microsoft.com/office/drawing/2014/main" id="{2C835839-7D61-4C5D-BE70-4DD066F61E74}"/>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690" name="Group 44">
            <a:extLst>
              <a:ext uri="{FF2B5EF4-FFF2-40B4-BE49-F238E27FC236}">
                <a16:creationId xmlns:a16="http://schemas.microsoft.com/office/drawing/2014/main" id="{0B9AE0A4-52F2-444B-B18D-C2242C2334CE}"/>
              </a:ext>
            </a:extLst>
          </p:cNvPr>
          <p:cNvGrpSpPr>
            <a:grpSpLocks noChangeAspect="1"/>
          </p:cNvGrpSpPr>
          <p:nvPr/>
        </p:nvGrpSpPr>
        <p:grpSpPr bwMode="auto">
          <a:xfrm flipV="1">
            <a:off x="5427541" y="2650313"/>
            <a:ext cx="247974" cy="248154"/>
            <a:chOff x="1608" y="347"/>
            <a:chExt cx="2544" cy="2546"/>
          </a:xfrm>
        </p:grpSpPr>
        <p:sp>
          <p:nvSpPr>
            <p:cNvPr id="1691" name="Oval 45">
              <a:extLst>
                <a:ext uri="{FF2B5EF4-FFF2-40B4-BE49-F238E27FC236}">
                  <a16:creationId xmlns:a16="http://schemas.microsoft.com/office/drawing/2014/main" id="{ED12AA31-2AA8-48FF-9922-82E335ECD1DF}"/>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92" name="Freeform 46">
              <a:extLst>
                <a:ext uri="{FF2B5EF4-FFF2-40B4-BE49-F238E27FC236}">
                  <a16:creationId xmlns:a16="http://schemas.microsoft.com/office/drawing/2014/main" id="{36480F3E-593F-4D10-BAFB-912740F4FF66}"/>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93" name="Freeform 47">
              <a:extLst>
                <a:ext uri="{FF2B5EF4-FFF2-40B4-BE49-F238E27FC236}">
                  <a16:creationId xmlns:a16="http://schemas.microsoft.com/office/drawing/2014/main" id="{F57B3BD7-E0CD-45AA-BAE0-EB495ACF821A}"/>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94" name="Freeform 48">
              <a:extLst>
                <a:ext uri="{FF2B5EF4-FFF2-40B4-BE49-F238E27FC236}">
                  <a16:creationId xmlns:a16="http://schemas.microsoft.com/office/drawing/2014/main" id="{566A1E89-FE9C-48B3-BE05-9C60205F6FEB}"/>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95" name="Freeform 49">
              <a:extLst>
                <a:ext uri="{FF2B5EF4-FFF2-40B4-BE49-F238E27FC236}">
                  <a16:creationId xmlns:a16="http://schemas.microsoft.com/office/drawing/2014/main" id="{BE951306-42F8-418E-9B10-A645BAFB2626}"/>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96" name="Freeform 50">
              <a:extLst>
                <a:ext uri="{FF2B5EF4-FFF2-40B4-BE49-F238E27FC236}">
                  <a16:creationId xmlns:a16="http://schemas.microsoft.com/office/drawing/2014/main" id="{7D0AACBF-3067-4ADB-AC5B-9D3F9CFF4CB9}"/>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97" name="Freeform 51">
              <a:extLst>
                <a:ext uri="{FF2B5EF4-FFF2-40B4-BE49-F238E27FC236}">
                  <a16:creationId xmlns:a16="http://schemas.microsoft.com/office/drawing/2014/main" id="{80246112-FA98-4698-A9D4-25F8E3FBF446}"/>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98" name="Freeform 52">
              <a:extLst>
                <a:ext uri="{FF2B5EF4-FFF2-40B4-BE49-F238E27FC236}">
                  <a16:creationId xmlns:a16="http://schemas.microsoft.com/office/drawing/2014/main" id="{14F4CF59-4F7E-4579-A6AB-49AD30E7AED7}"/>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99" name="Freeform 53">
              <a:extLst>
                <a:ext uri="{FF2B5EF4-FFF2-40B4-BE49-F238E27FC236}">
                  <a16:creationId xmlns:a16="http://schemas.microsoft.com/office/drawing/2014/main" id="{A21BFA4F-7D07-42FA-9A37-3811351EAE19}"/>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00" name="Freeform 54">
              <a:extLst>
                <a:ext uri="{FF2B5EF4-FFF2-40B4-BE49-F238E27FC236}">
                  <a16:creationId xmlns:a16="http://schemas.microsoft.com/office/drawing/2014/main" id="{82C75185-2635-4460-9CD1-FE1C6EB2D0F4}"/>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01" name="Freeform 55">
              <a:extLst>
                <a:ext uri="{FF2B5EF4-FFF2-40B4-BE49-F238E27FC236}">
                  <a16:creationId xmlns:a16="http://schemas.microsoft.com/office/drawing/2014/main" id="{A46E1E19-0D21-41D7-A61C-6314D8D4F69D}"/>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02" name="Freeform 56">
              <a:extLst>
                <a:ext uri="{FF2B5EF4-FFF2-40B4-BE49-F238E27FC236}">
                  <a16:creationId xmlns:a16="http://schemas.microsoft.com/office/drawing/2014/main" id="{932C0EDE-8175-452B-A758-47DF9ED70300}"/>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03" name="Freeform 57">
              <a:extLst>
                <a:ext uri="{FF2B5EF4-FFF2-40B4-BE49-F238E27FC236}">
                  <a16:creationId xmlns:a16="http://schemas.microsoft.com/office/drawing/2014/main" id="{0ECD39BF-EA65-430C-BF4B-AD4D16A982C9}"/>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04" name="Freeform 58">
              <a:extLst>
                <a:ext uri="{FF2B5EF4-FFF2-40B4-BE49-F238E27FC236}">
                  <a16:creationId xmlns:a16="http://schemas.microsoft.com/office/drawing/2014/main" id="{8C37A6ED-C01D-4885-8B8E-C0735CA43839}"/>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05" name="Freeform 59">
              <a:extLst>
                <a:ext uri="{FF2B5EF4-FFF2-40B4-BE49-F238E27FC236}">
                  <a16:creationId xmlns:a16="http://schemas.microsoft.com/office/drawing/2014/main" id="{0A7E0093-102B-448C-AC03-0E2E634B1BA0}"/>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06" name="Freeform 60">
              <a:extLst>
                <a:ext uri="{FF2B5EF4-FFF2-40B4-BE49-F238E27FC236}">
                  <a16:creationId xmlns:a16="http://schemas.microsoft.com/office/drawing/2014/main" id="{5E77DCAE-D12E-4BA9-846F-5D165CFC412B}"/>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07" name="Freeform 61">
              <a:extLst>
                <a:ext uri="{FF2B5EF4-FFF2-40B4-BE49-F238E27FC236}">
                  <a16:creationId xmlns:a16="http://schemas.microsoft.com/office/drawing/2014/main" id="{56F9ACAF-D5A7-484A-B0F6-F93E246B0F69}"/>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08" name="Freeform 62">
              <a:extLst>
                <a:ext uri="{FF2B5EF4-FFF2-40B4-BE49-F238E27FC236}">
                  <a16:creationId xmlns:a16="http://schemas.microsoft.com/office/drawing/2014/main" id="{3998CB5F-1776-4011-AD0B-47B661A05543}"/>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09" name="Freeform 63">
              <a:extLst>
                <a:ext uri="{FF2B5EF4-FFF2-40B4-BE49-F238E27FC236}">
                  <a16:creationId xmlns:a16="http://schemas.microsoft.com/office/drawing/2014/main" id="{68E85920-8AEF-43D2-97BA-91B80C492E9C}"/>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10" name="Freeform 64">
              <a:extLst>
                <a:ext uri="{FF2B5EF4-FFF2-40B4-BE49-F238E27FC236}">
                  <a16:creationId xmlns:a16="http://schemas.microsoft.com/office/drawing/2014/main" id="{6E9BB6D1-D7B4-4194-8E6D-C3E414E6A233}"/>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11" name="Freeform 65">
              <a:extLst>
                <a:ext uri="{FF2B5EF4-FFF2-40B4-BE49-F238E27FC236}">
                  <a16:creationId xmlns:a16="http://schemas.microsoft.com/office/drawing/2014/main" id="{1E1C5F28-3751-4184-B51A-96DC960C654A}"/>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12" name="Freeform 66">
              <a:extLst>
                <a:ext uri="{FF2B5EF4-FFF2-40B4-BE49-F238E27FC236}">
                  <a16:creationId xmlns:a16="http://schemas.microsoft.com/office/drawing/2014/main" id="{9071222A-DE94-4D76-A315-25A00201248D}"/>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13" name="Freeform 67">
              <a:extLst>
                <a:ext uri="{FF2B5EF4-FFF2-40B4-BE49-F238E27FC236}">
                  <a16:creationId xmlns:a16="http://schemas.microsoft.com/office/drawing/2014/main" id="{131B3B9D-3353-4F6B-BEA3-382AD9967696}"/>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14" name="Freeform 68">
              <a:extLst>
                <a:ext uri="{FF2B5EF4-FFF2-40B4-BE49-F238E27FC236}">
                  <a16:creationId xmlns:a16="http://schemas.microsoft.com/office/drawing/2014/main" id="{50118C88-8DE6-43CF-91FD-A9B3063C6432}"/>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15" name="Freeform 69">
              <a:extLst>
                <a:ext uri="{FF2B5EF4-FFF2-40B4-BE49-F238E27FC236}">
                  <a16:creationId xmlns:a16="http://schemas.microsoft.com/office/drawing/2014/main" id="{A58DA873-F3EF-43B4-9200-D600F4F52FF6}"/>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16" name="Freeform 70">
              <a:extLst>
                <a:ext uri="{FF2B5EF4-FFF2-40B4-BE49-F238E27FC236}">
                  <a16:creationId xmlns:a16="http://schemas.microsoft.com/office/drawing/2014/main" id="{60DC4DCF-848F-48F0-B91C-5AA336164A36}"/>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17" name="Freeform 71">
              <a:extLst>
                <a:ext uri="{FF2B5EF4-FFF2-40B4-BE49-F238E27FC236}">
                  <a16:creationId xmlns:a16="http://schemas.microsoft.com/office/drawing/2014/main" id="{1A68C88A-9D9F-4AC1-8331-BDCBDC3C577F}"/>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18" name="Freeform 72">
              <a:extLst>
                <a:ext uri="{FF2B5EF4-FFF2-40B4-BE49-F238E27FC236}">
                  <a16:creationId xmlns:a16="http://schemas.microsoft.com/office/drawing/2014/main" id="{A4A9CDFA-01EC-4944-AD15-99FB7423F60C}"/>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19" name="Freeform 73">
              <a:extLst>
                <a:ext uri="{FF2B5EF4-FFF2-40B4-BE49-F238E27FC236}">
                  <a16:creationId xmlns:a16="http://schemas.microsoft.com/office/drawing/2014/main" id="{F0CB98B8-E47E-4CC5-BDC5-674B9B7623C1}"/>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20" name="Freeform 74">
              <a:extLst>
                <a:ext uri="{FF2B5EF4-FFF2-40B4-BE49-F238E27FC236}">
                  <a16:creationId xmlns:a16="http://schemas.microsoft.com/office/drawing/2014/main" id="{22AD4304-3501-4413-9EDD-08959FE26242}"/>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21" name="Freeform 75">
              <a:extLst>
                <a:ext uri="{FF2B5EF4-FFF2-40B4-BE49-F238E27FC236}">
                  <a16:creationId xmlns:a16="http://schemas.microsoft.com/office/drawing/2014/main" id="{CE74A694-88AB-49CD-8074-029F74A8920A}"/>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22" name="Freeform 76">
              <a:extLst>
                <a:ext uri="{FF2B5EF4-FFF2-40B4-BE49-F238E27FC236}">
                  <a16:creationId xmlns:a16="http://schemas.microsoft.com/office/drawing/2014/main" id="{83F0BEA6-7390-4CD6-B85A-F3DFAEFDA730}"/>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23" name="Freeform 77">
              <a:extLst>
                <a:ext uri="{FF2B5EF4-FFF2-40B4-BE49-F238E27FC236}">
                  <a16:creationId xmlns:a16="http://schemas.microsoft.com/office/drawing/2014/main" id="{07775606-9B4A-4A22-B31A-EE47F89E78E1}"/>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24" name="Freeform 78">
              <a:extLst>
                <a:ext uri="{FF2B5EF4-FFF2-40B4-BE49-F238E27FC236}">
                  <a16:creationId xmlns:a16="http://schemas.microsoft.com/office/drawing/2014/main" id="{0F2B98ED-95A1-439D-8188-0793CFEADA9A}"/>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25" name="Freeform 79">
              <a:extLst>
                <a:ext uri="{FF2B5EF4-FFF2-40B4-BE49-F238E27FC236}">
                  <a16:creationId xmlns:a16="http://schemas.microsoft.com/office/drawing/2014/main" id="{31832E80-058F-4E0C-90B3-A779A06F5939}"/>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26" name="Freeform 80">
              <a:extLst>
                <a:ext uri="{FF2B5EF4-FFF2-40B4-BE49-F238E27FC236}">
                  <a16:creationId xmlns:a16="http://schemas.microsoft.com/office/drawing/2014/main" id="{5B91EEF7-9DF2-46DD-A5BF-6C7228E258EE}"/>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27" name="Freeform 81">
              <a:extLst>
                <a:ext uri="{FF2B5EF4-FFF2-40B4-BE49-F238E27FC236}">
                  <a16:creationId xmlns:a16="http://schemas.microsoft.com/office/drawing/2014/main" id="{3E67C60A-2FB7-4B5C-89A3-8A82C475DD74}"/>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728" name="Group 44">
            <a:extLst>
              <a:ext uri="{FF2B5EF4-FFF2-40B4-BE49-F238E27FC236}">
                <a16:creationId xmlns:a16="http://schemas.microsoft.com/office/drawing/2014/main" id="{E697D2F4-B6DA-4D06-A768-E4D06394EA37}"/>
              </a:ext>
            </a:extLst>
          </p:cNvPr>
          <p:cNvGrpSpPr>
            <a:grpSpLocks noChangeAspect="1"/>
          </p:cNvGrpSpPr>
          <p:nvPr/>
        </p:nvGrpSpPr>
        <p:grpSpPr bwMode="auto">
          <a:xfrm flipV="1">
            <a:off x="4026030" y="2637836"/>
            <a:ext cx="247974" cy="248154"/>
            <a:chOff x="1608" y="347"/>
            <a:chExt cx="2544" cy="2546"/>
          </a:xfrm>
        </p:grpSpPr>
        <p:sp>
          <p:nvSpPr>
            <p:cNvPr id="1729" name="Oval 45">
              <a:extLst>
                <a:ext uri="{FF2B5EF4-FFF2-40B4-BE49-F238E27FC236}">
                  <a16:creationId xmlns:a16="http://schemas.microsoft.com/office/drawing/2014/main" id="{3C51BFC1-AB1E-408F-A5D2-B9C29567F847}"/>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30" name="Freeform 46">
              <a:extLst>
                <a:ext uri="{FF2B5EF4-FFF2-40B4-BE49-F238E27FC236}">
                  <a16:creationId xmlns:a16="http://schemas.microsoft.com/office/drawing/2014/main" id="{DA70A0F5-B61A-4152-AF94-89F16BE8B154}"/>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31" name="Freeform 47">
              <a:extLst>
                <a:ext uri="{FF2B5EF4-FFF2-40B4-BE49-F238E27FC236}">
                  <a16:creationId xmlns:a16="http://schemas.microsoft.com/office/drawing/2014/main" id="{FF1A5CEE-1C19-4F74-A94F-08C1E6A6913C}"/>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32" name="Freeform 48">
              <a:extLst>
                <a:ext uri="{FF2B5EF4-FFF2-40B4-BE49-F238E27FC236}">
                  <a16:creationId xmlns:a16="http://schemas.microsoft.com/office/drawing/2014/main" id="{4DD85C65-8B24-4401-B3E8-6542EA42D96B}"/>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33" name="Freeform 49">
              <a:extLst>
                <a:ext uri="{FF2B5EF4-FFF2-40B4-BE49-F238E27FC236}">
                  <a16:creationId xmlns:a16="http://schemas.microsoft.com/office/drawing/2014/main" id="{6F227564-0369-4EFB-98C8-EDE1E23B1371}"/>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34" name="Freeform 50">
              <a:extLst>
                <a:ext uri="{FF2B5EF4-FFF2-40B4-BE49-F238E27FC236}">
                  <a16:creationId xmlns:a16="http://schemas.microsoft.com/office/drawing/2014/main" id="{3FF2AC78-1121-4A53-9B04-FC73D7C57BEF}"/>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35" name="Freeform 51">
              <a:extLst>
                <a:ext uri="{FF2B5EF4-FFF2-40B4-BE49-F238E27FC236}">
                  <a16:creationId xmlns:a16="http://schemas.microsoft.com/office/drawing/2014/main" id="{B6D749A3-412C-4A8B-8CFC-05E93A7A4ED2}"/>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36" name="Freeform 52">
              <a:extLst>
                <a:ext uri="{FF2B5EF4-FFF2-40B4-BE49-F238E27FC236}">
                  <a16:creationId xmlns:a16="http://schemas.microsoft.com/office/drawing/2014/main" id="{39D150EA-B774-4F7D-B685-894EE863E9C4}"/>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37" name="Freeform 53">
              <a:extLst>
                <a:ext uri="{FF2B5EF4-FFF2-40B4-BE49-F238E27FC236}">
                  <a16:creationId xmlns:a16="http://schemas.microsoft.com/office/drawing/2014/main" id="{59F940F6-4D17-43DD-8493-79FA3F1A15C0}"/>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38" name="Freeform 54">
              <a:extLst>
                <a:ext uri="{FF2B5EF4-FFF2-40B4-BE49-F238E27FC236}">
                  <a16:creationId xmlns:a16="http://schemas.microsoft.com/office/drawing/2014/main" id="{F204CC83-AAC9-4878-A82B-E7268AEEFBF4}"/>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39" name="Freeform 55">
              <a:extLst>
                <a:ext uri="{FF2B5EF4-FFF2-40B4-BE49-F238E27FC236}">
                  <a16:creationId xmlns:a16="http://schemas.microsoft.com/office/drawing/2014/main" id="{67C3C982-9E9B-4C0E-BCD3-35ACEA657A5F}"/>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40" name="Freeform 56">
              <a:extLst>
                <a:ext uri="{FF2B5EF4-FFF2-40B4-BE49-F238E27FC236}">
                  <a16:creationId xmlns:a16="http://schemas.microsoft.com/office/drawing/2014/main" id="{D070814F-0D36-4F1E-8D9E-96B2F34D3C6F}"/>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41" name="Freeform 57">
              <a:extLst>
                <a:ext uri="{FF2B5EF4-FFF2-40B4-BE49-F238E27FC236}">
                  <a16:creationId xmlns:a16="http://schemas.microsoft.com/office/drawing/2014/main" id="{AED14552-130B-4691-8726-1DF31799B74A}"/>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42" name="Freeform 58">
              <a:extLst>
                <a:ext uri="{FF2B5EF4-FFF2-40B4-BE49-F238E27FC236}">
                  <a16:creationId xmlns:a16="http://schemas.microsoft.com/office/drawing/2014/main" id="{B8DFEB7F-D923-45E2-AB3F-5F14CF386A6A}"/>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43" name="Freeform 59">
              <a:extLst>
                <a:ext uri="{FF2B5EF4-FFF2-40B4-BE49-F238E27FC236}">
                  <a16:creationId xmlns:a16="http://schemas.microsoft.com/office/drawing/2014/main" id="{0E5F303C-F8C1-478C-A8FB-4E3A5C90A6B4}"/>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44" name="Freeform 60">
              <a:extLst>
                <a:ext uri="{FF2B5EF4-FFF2-40B4-BE49-F238E27FC236}">
                  <a16:creationId xmlns:a16="http://schemas.microsoft.com/office/drawing/2014/main" id="{91113E41-C79F-4A56-943A-470C7164CF53}"/>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45" name="Freeform 61">
              <a:extLst>
                <a:ext uri="{FF2B5EF4-FFF2-40B4-BE49-F238E27FC236}">
                  <a16:creationId xmlns:a16="http://schemas.microsoft.com/office/drawing/2014/main" id="{70ACB55F-2FE5-4F9D-B23C-9C28CA6F0D2A}"/>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46" name="Freeform 62">
              <a:extLst>
                <a:ext uri="{FF2B5EF4-FFF2-40B4-BE49-F238E27FC236}">
                  <a16:creationId xmlns:a16="http://schemas.microsoft.com/office/drawing/2014/main" id="{E93DAEF0-8871-4841-ACC2-CFDBA5D660A6}"/>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47" name="Freeform 63">
              <a:extLst>
                <a:ext uri="{FF2B5EF4-FFF2-40B4-BE49-F238E27FC236}">
                  <a16:creationId xmlns:a16="http://schemas.microsoft.com/office/drawing/2014/main" id="{5A1EA988-32FC-412F-9383-8C137AFB9444}"/>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48" name="Freeform 64">
              <a:extLst>
                <a:ext uri="{FF2B5EF4-FFF2-40B4-BE49-F238E27FC236}">
                  <a16:creationId xmlns:a16="http://schemas.microsoft.com/office/drawing/2014/main" id="{0B49DC98-C9AC-4D38-B5FC-EE82DDDA367F}"/>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49" name="Freeform 65">
              <a:extLst>
                <a:ext uri="{FF2B5EF4-FFF2-40B4-BE49-F238E27FC236}">
                  <a16:creationId xmlns:a16="http://schemas.microsoft.com/office/drawing/2014/main" id="{6CEB30A1-A0CF-4D8A-B216-B2410A1DA38D}"/>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50" name="Freeform 66">
              <a:extLst>
                <a:ext uri="{FF2B5EF4-FFF2-40B4-BE49-F238E27FC236}">
                  <a16:creationId xmlns:a16="http://schemas.microsoft.com/office/drawing/2014/main" id="{B3014FBA-9815-4511-9025-A712D7852A9F}"/>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51" name="Freeform 67">
              <a:extLst>
                <a:ext uri="{FF2B5EF4-FFF2-40B4-BE49-F238E27FC236}">
                  <a16:creationId xmlns:a16="http://schemas.microsoft.com/office/drawing/2014/main" id="{C6ADE975-0F55-4F19-8BB6-9DA3E2FA1181}"/>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52" name="Freeform 68">
              <a:extLst>
                <a:ext uri="{FF2B5EF4-FFF2-40B4-BE49-F238E27FC236}">
                  <a16:creationId xmlns:a16="http://schemas.microsoft.com/office/drawing/2014/main" id="{595E7C7F-53A5-4B44-9E0C-CC54FA438CCE}"/>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53" name="Freeform 69">
              <a:extLst>
                <a:ext uri="{FF2B5EF4-FFF2-40B4-BE49-F238E27FC236}">
                  <a16:creationId xmlns:a16="http://schemas.microsoft.com/office/drawing/2014/main" id="{70AD46D8-91A8-46F0-ABCD-1BE58DACBCB4}"/>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54" name="Freeform 70">
              <a:extLst>
                <a:ext uri="{FF2B5EF4-FFF2-40B4-BE49-F238E27FC236}">
                  <a16:creationId xmlns:a16="http://schemas.microsoft.com/office/drawing/2014/main" id="{FE1CEA18-3FCD-42F2-A943-1CB1B99B43A2}"/>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55" name="Freeform 71">
              <a:extLst>
                <a:ext uri="{FF2B5EF4-FFF2-40B4-BE49-F238E27FC236}">
                  <a16:creationId xmlns:a16="http://schemas.microsoft.com/office/drawing/2014/main" id="{1DFC1BA6-7F25-4313-812C-74F0BC6F2D7F}"/>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56" name="Freeform 72">
              <a:extLst>
                <a:ext uri="{FF2B5EF4-FFF2-40B4-BE49-F238E27FC236}">
                  <a16:creationId xmlns:a16="http://schemas.microsoft.com/office/drawing/2014/main" id="{D1E9D40C-320C-4FE7-A4C6-DC6253868957}"/>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57" name="Freeform 73">
              <a:extLst>
                <a:ext uri="{FF2B5EF4-FFF2-40B4-BE49-F238E27FC236}">
                  <a16:creationId xmlns:a16="http://schemas.microsoft.com/office/drawing/2014/main" id="{57DD1D6D-76DE-492B-B787-9AABB91D64EB}"/>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58" name="Freeform 74">
              <a:extLst>
                <a:ext uri="{FF2B5EF4-FFF2-40B4-BE49-F238E27FC236}">
                  <a16:creationId xmlns:a16="http://schemas.microsoft.com/office/drawing/2014/main" id="{F4D9224E-02BD-4090-8452-C44196A6FBAD}"/>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59" name="Freeform 75">
              <a:extLst>
                <a:ext uri="{FF2B5EF4-FFF2-40B4-BE49-F238E27FC236}">
                  <a16:creationId xmlns:a16="http://schemas.microsoft.com/office/drawing/2014/main" id="{DB951110-D7B8-48E5-9D8C-C586D89F9D4D}"/>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60" name="Freeform 76">
              <a:extLst>
                <a:ext uri="{FF2B5EF4-FFF2-40B4-BE49-F238E27FC236}">
                  <a16:creationId xmlns:a16="http://schemas.microsoft.com/office/drawing/2014/main" id="{6476F5D8-803B-4C88-9E9D-28C409AC7D87}"/>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61" name="Freeform 77">
              <a:extLst>
                <a:ext uri="{FF2B5EF4-FFF2-40B4-BE49-F238E27FC236}">
                  <a16:creationId xmlns:a16="http://schemas.microsoft.com/office/drawing/2014/main" id="{553F00D7-3D65-4339-BE65-E4EEBD471D9A}"/>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62" name="Freeform 78">
              <a:extLst>
                <a:ext uri="{FF2B5EF4-FFF2-40B4-BE49-F238E27FC236}">
                  <a16:creationId xmlns:a16="http://schemas.microsoft.com/office/drawing/2014/main" id="{C8C066CE-9617-49D0-9475-79793013D15A}"/>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63" name="Freeform 79">
              <a:extLst>
                <a:ext uri="{FF2B5EF4-FFF2-40B4-BE49-F238E27FC236}">
                  <a16:creationId xmlns:a16="http://schemas.microsoft.com/office/drawing/2014/main" id="{62B6F17F-0CCA-406A-9399-F3C602E96C63}"/>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64" name="Freeform 80">
              <a:extLst>
                <a:ext uri="{FF2B5EF4-FFF2-40B4-BE49-F238E27FC236}">
                  <a16:creationId xmlns:a16="http://schemas.microsoft.com/office/drawing/2014/main" id="{7503FD64-361E-4299-B76D-27EF89A13F96}"/>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65" name="Freeform 81">
              <a:extLst>
                <a:ext uri="{FF2B5EF4-FFF2-40B4-BE49-F238E27FC236}">
                  <a16:creationId xmlns:a16="http://schemas.microsoft.com/office/drawing/2014/main" id="{365E10ED-153E-473C-8239-3E185B7ADC1C}"/>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766" name="Group 44">
            <a:extLst>
              <a:ext uri="{FF2B5EF4-FFF2-40B4-BE49-F238E27FC236}">
                <a16:creationId xmlns:a16="http://schemas.microsoft.com/office/drawing/2014/main" id="{353A2495-AA44-46E2-97A3-0939EC14A096}"/>
              </a:ext>
            </a:extLst>
          </p:cNvPr>
          <p:cNvGrpSpPr>
            <a:grpSpLocks noChangeAspect="1"/>
          </p:cNvGrpSpPr>
          <p:nvPr/>
        </p:nvGrpSpPr>
        <p:grpSpPr bwMode="auto">
          <a:xfrm flipV="1">
            <a:off x="2990365" y="2149344"/>
            <a:ext cx="247974" cy="248154"/>
            <a:chOff x="1608" y="347"/>
            <a:chExt cx="2544" cy="2546"/>
          </a:xfrm>
        </p:grpSpPr>
        <p:sp>
          <p:nvSpPr>
            <p:cNvPr id="1767" name="Oval 45">
              <a:extLst>
                <a:ext uri="{FF2B5EF4-FFF2-40B4-BE49-F238E27FC236}">
                  <a16:creationId xmlns:a16="http://schemas.microsoft.com/office/drawing/2014/main" id="{71BFAB2B-94E0-4088-BEBD-AD1AB5350482}"/>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68" name="Freeform 46">
              <a:extLst>
                <a:ext uri="{FF2B5EF4-FFF2-40B4-BE49-F238E27FC236}">
                  <a16:creationId xmlns:a16="http://schemas.microsoft.com/office/drawing/2014/main" id="{40117D7A-A709-43A5-8DE8-FBE0A77559BD}"/>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69" name="Freeform 47">
              <a:extLst>
                <a:ext uri="{FF2B5EF4-FFF2-40B4-BE49-F238E27FC236}">
                  <a16:creationId xmlns:a16="http://schemas.microsoft.com/office/drawing/2014/main" id="{3422C546-8F42-4750-A128-0519018F7987}"/>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70" name="Freeform 48">
              <a:extLst>
                <a:ext uri="{FF2B5EF4-FFF2-40B4-BE49-F238E27FC236}">
                  <a16:creationId xmlns:a16="http://schemas.microsoft.com/office/drawing/2014/main" id="{4CFA9811-0589-4F79-8621-61C294571B9F}"/>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71" name="Freeform 49">
              <a:extLst>
                <a:ext uri="{FF2B5EF4-FFF2-40B4-BE49-F238E27FC236}">
                  <a16:creationId xmlns:a16="http://schemas.microsoft.com/office/drawing/2014/main" id="{2C9DBD05-018A-4BC0-B3B0-68E3ED8FDA6E}"/>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72" name="Freeform 50">
              <a:extLst>
                <a:ext uri="{FF2B5EF4-FFF2-40B4-BE49-F238E27FC236}">
                  <a16:creationId xmlns:a16="http://schemas.microsoft.com/office/drawing/2014/main" id="{0F9EBFF9-D10F-4715-A75A-77F18F4ADA6D}"/>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73" name="Freeform 51">
              <a:extLst>
                <a:ext uri="{FF2B5EF4-FFF2-40B4-BE49-F238E27FC236}">
                  <a16:creationId xmlns:a16="http://schemas.microsoft.com/office/drawing/2014/main" id="{1ADE4B90-3603-4E5C-B4B8-E4BC4169B73A}"/>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74" name="Freeform 52">
              <a:extLst>
                <a:ext uri="{FF2B5EF4-FFF2-40B4-BE49-F238E27FC236}">
                  <a16:creationId xmlns:a16="http://schemas.microsoft.com/office/drawing/2014/main" id="{03C5D72C-D358-480C-8ED2-3003971BFA16}"/>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75" name="Freeform 53">
              <a:extLst>
                <a:ext uri="{FF2B5EF4-FFF2-40B4-BE49-F238E27FC236}">
                  <a16:creationId xmlns:a16="http://schemas.microsoft.com/office/drawing/2014/main" id="{2ED41726-58C3-4D0E-BB24-7DCB1ABDF855}"/>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76" name="Freeform 54">
              <a:extLst>
                <a:ext uri="{FF2B5EF4-FFF2-40B4-BE49-F238E27FC236}">
                  <a16:creationId xmlns:a16="http://schemas.microsoft.com/office/drawing/2014/main" id="{1A94BFCC-4A56-4E28-B554-8A2C33ECE7E2}"/>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77" name="Freeform 55">
              <a:extLst>
                <a:ext uri="{FF2B5EF4-FFF2-40B4-BE49-F238E27FC236}">
                  <a16:creationId xmlns:a16="http://schemas.microsoft.com/office/drawing/2014/main" id="{BABE15B6-33AF-41F2-AD3D-D49C7AEEA02F}"/>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78" name="Freeform 56">
              <a:extLst>
                <a:ext uri="{FF2B5EF4-FFF2-40B4-BE49-F238E27FC236}">
                  <a16:creationId xmlns:a16="http://schemas.microsoft.com/office/drawing/2014/main" id="{15ADEB78-F8DD-48C1-8023-4F26D8101850}"/>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79" name="Freeform 57">
              <a:extLst>
                <a:ext uri="{FF2B5EF4-FFF2-40B4-BE49-F238E27FC236}">
                  <a16:creationId xmlns:a16="http://schemas.microsoft.com/office/drawing/2014/main" id="{E096530F-398B-4979-A035-C13EAE4AAE2D}"/>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80" name="Freeform 58">
              <a:extLst>
                <a:ext uri="{FF2B5EF4-FFF2-40B4-BE49-F238E27FC236}">
                  <a16:creationId xmlns:a16="http://schemas.microsoft.com/office/drawing/2014/main" id="{58F1A13E-C8D0-4B33-BD9D-58CD54DDFE7C}"/>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81" name="Freeform 59">
              <a:extLst>
                <a:ext uri="{FF2B5EF4-FFF2-40B4-BE49-F238E27FC236}">
                  <a16:creationId xmlns:a16="http://schemas.microsoft.com/office/drawing/2014/main" id="{BA36F9D4-C465-41B6-A08A-84DF0AD3635E}"/>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82" name="Freeform 60">
              <a:extLst>
                <a:ext uri="{FF2B5EF4-FFF2-40B4-BE49-F238E27FC236}">
                  <a16:creationId xmlns:a16="http://schemas.microsoft.com/office/drawing/2014/main" id="{A6AB4C12-1BD0-439B-B189-80B33D06053F}"/>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83" name="Freeform 61">
              <a:extLst>
                <a:ext uri="{FF2B5EF4-FFF2-40B4-BE49-F238E27FC236}">
                  <a16:creationId xmlns:a16="http://schemas.microsoft.com/office/drawing/2014/main" id="{2C3A79CA-11C0-4699-9C8A-EADC04DD36BB}"/>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84" name="Freeform 62">
              <a:extLst>
                <a:ext uri="{FF2B5EF4-FFF2-40B4-BE49-F238E27FC236}">
                  <a16:creationId xmlns:a16="http://schemas.microsoft.com/office/drawing/2014/main" id="{FB9C7A23-9F19-45F9-8AFA-B3874806A979}"/>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85" name="Freeform 63">
              <a:extLst>
                <a:ext uri="{FF2B5EF4-FFF2-40B4-BE49-F238E27FC236}">
                  <a16:creationId xmlns:a16="http://schemas.microsoft.com/office/drawing/2014/main" id="{F16F3B1A-49D4-45A9-B672-96CE47A7B1A1}"/>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86" name="Freeform 64">
              <a:extLst>
                <a:ext uri="{FF2B5EF4-FFF2-40B4-BE49-F238E27FC236}">
                  <a16:creationId xmlns:a16="http://schemas.microsoft.com/office/drawing/2014/main" id="{5D4EFD36-926D-41F4-8805-4D2A5A35D87A}"/>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87" name="Freeform 65">
              <a:extLst>
                <a:ext uri="{FF2B5EF4-FFF2-40B4-BE49-F238E27FC236}">
                  <a16:creationId xmlns:a16="http://schemas.microsoft.com/office/drawing/2014/main" id="{4693714C-7276-485A-8ED8-850D3AD5D25E}"/>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88" name="Freeform 66">
              <a:extLst>
                <a:ext uri="{FF2B5EF4-FFF2-40B4-BE49-F238E27FC236}">
                  <a16:creationId xmlns:a16="http://schemas.microsoft.com/office/drawing/2014/main" id="{240E83DC-DC29-4D0B-BA36-F2680F38ED60}"/>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89" name="Freeform 67">
              <a:extLst>
                <a:ext uri="{FF2B5EF4-FFF2-40B4-BE49-F238E27FC236}">
                  <a16:creationId xmlns:a16="http://schemas.microsoft.com/office/drawing/2014/main" id="{9582A359-A221-4C76-8436-15DC51E6A18C}"/>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90" name="Freeform 68">
              <a:extLst>
                <a:ext uri="{FF2B5EF4-FFF2-40B4-BE49-F238E27FC236}">
                  <a16:creationId xmlns:a16="http://schemas.microsoft.com/office/drawing/2014/main" id="{2E442D37-B1D1-4EB5-A3C2-367468EF09D9}"/>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91" name="Freeform 69">
              <a:extLst>
                <a:ext uri="{FF2B5EF4-FFF2-40B4-BE49-F238E27FC236}">
                  <a16:creationId xmlns:a16="http://schemas.microsoft.com/office/drawing/2014/main" id="{26928A9B-1E6D-4370-BA2E-94728D96C06B}"/>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92" name="Freeform 70">
              <a:extLst>
                <a:ext uri="{FF2B5EF4-FFF2-40B4-BE49-F238E27FC236}">
                  <a16:creationId xmlns:a16="http://schemas.microsoft.com/office/drawing/2014/main" id="{C5CBFE10-993E-4A58-BF73-353DDFD7C626}"/>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93" name="Freeform 71">
              <a:extLst>
                <a:ext uri="{FF2B5EF4-FFF2-40B4-BE49-F238E27FC236}">
                  <a16:creationId xmlns:a16="http://schemas.microsoft.com/office/drawing/2014/main" id="{9A1C9435-9669-4756-9024-69D768C1AFCF}"/>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94" name="Freeform 72">
              <a:extLst>
                <a:ext uri="{FF2B5EF4-FFF2-40B4-BE49-F238E27FC236}">
                  <a16:creationId xmlns:a16="http://schemas.microsoft.com/office/drawing/2014/main" id="{2F382364-805E-4ED3-B02D-83A904C69955}"/>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95" name="Freeform 73">
              <a:extLst>
                <a:ext uri="{FF2B5EF4-FFF2-40B4-BE49-F238E27FC236}">
                  <a16:creationId xmlns:a16="http://schemas.microsoft.com/office/drawing/2014/main" id="{42B72860-534E-41A7-9265-03EAD29E7511}"/>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96" name="Freeform 74">
              <a:extLst>
                <a:ext uri="{FF2B5EF4-FFF2-40B4-BE49-F238E27FC236}">
                  <a16:creationId xmlns:a16="http://schemas.microsoft.com/office/drawing/2014/main" id="{F442BE1A-1B10-4477-98A5-D3C11CDDDB73}"/>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97" name="Freeform 75">
              <a:extLst>
                <a:ext uri="{FF2B5EF4-FFF2-40B4-BE49-F238E27FC236}">
                  <a16:creationId xmlns:a16="http://schemas.microsoft.com/office/drawing/2014/main" id="{5E8F8E7E-62C4-4F34-A701-B11BF018D018}"/>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98" name="Freeform 76">
              <a:extLst>
                <a:ext uri="{FF2B5EF4-FFF2-40B4-BE49-F238E27FC236}">
                  <a16:creationId xmlns:a16="http://schemas.microsoft.com/office/drawing/2014/main" id="{99F4DD19-D63B-423B-873F-5F2AB2F4A317}"/>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99" name="Freeform 77">
              <a:extLst>
                <a:ext uri="{FF2B5EF4-FFF2-40B4-BE49-F238E27FC236}">
                  <a16:creationId xmlns:a16="http://schemas.microsoft.com/office/drawing/2014/main" id="{1FB5E368-3311-46FF-93DA-62384C535548}"/>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00" name="Freeform 78">
              <a:extLst>
                <a:ext uri="{FF2B5EF4-FFF2-40B4-BE49-F238E27FC236}">
                  <a16:creationId xmlns:a16="http://schemas.microsoft.com/office/drawing/2014/main" id="{A605FC38-1ACD-4032-BA5D-129E655D0B1E}"/>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01" name="Freeform 79">
              <a:extLst>
                <a:ext uri="{FF2B5EF4-FFF2-40B4-BE49-F238E27FC236}">
                  <a16:creationId xmlns:a16="http://schemas.microsoft.com/office/drawing/2014/main" id="{C5A74874-55E5-4275-B012-C123BD87A5A7}"/>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02" name="Freeform 80">
              <a:extLst>
                <a:ext uri="{FF2B5EF4-FFF2-40B4-BE49-F238E27FC236}">
                  <a16:creationId xmlns:a16="http://schemas.microsoft.com/office/drawing/2014/main" id="{0FD762D3-F4B0-4007-AF96-19ADD4942214}"/>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03" name="Freeform 81">
              <a:extLst>
                <a:ext uri="{FF2B5EF4-FFF2-40B4-BE49-F238E27FC236}">
                  <a16:creationId xmlns:a16="http://schemas.microsoft.com/office/drawing/2014/main" id="{2145382A-A6FF-41BE-A3A7-5987976B039A}"/>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843" name="Group 44">
            <a:extLst>
              <a:ext uri="{FF2B5EF4-FFF2-40B4-BE49-F238E27FC236}">
                <a16:creationId xmlns:a16="http://schemas.microsoft.com/office/drawing/2014/main" id="{5E19ECA9-71FB-4A84-814A-16DB567AB610}"/>
              </a:ext>
            </a:extLst>
          </p:cNvPr>
          <p:cNvGrpSpPr>
            <a:grpSpLocks noChangeAspect="1"/>
          </p:cNvGrpSpPr>
          <p:nvPr/>
        </p:nvGrpSpPr>
        <p:grpSpPr bwMode="auto">
          <a:xfrm flipV="1">
            <a:off x="3255523" y="3361697"/>
            <a:ext cx="247974" cy="248154"/>
            <a:chOff x="1608" y="347"/>
            <a:chExt cx="2544" cy="2546"/>
          </a:xfrm>
        </p:grpSpPr>
        <p:sp>
          <p:nvSpPr>
            <p:cNvPr id="1844" name="Oval 45">
              <a:extLst>
                <a:ext uri="{FF2B5EF4-FFF2-40B4-BE49-F238E27FC236}">
                  <a16:creationId xmlns:a16="http://schemas.microsoft.com/office/drawing/2014/main" id="{8D62C970-714F-475A-8F0F-ADF91EDAAE9C}"/>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45" name="Freeform 46">
              <a:extLst>
                <a:ext uri="{FF2B5EF4-FFF2-40B4-BE49-F238E27FC236}">
                  <a16:creationId xmlns:a16="http://schemas.microsoft.com/office/drawing/2014/main" id="{1192146C-7B4D-4B00-8142-363584BF9406}"/>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46" name="Freeform 47">
              <a:extLst>
                <a:ext uri="{FF2B5EF4-FFF2-40B4-BE49-F238E27FC236}">
                  <a16:creationId xmlns:a16="http://schemas.microsoft.com/office/drawing/2014/main" id="{29BE4A39-6718-4AEC-92F6-8C9A4A3232DC}"/>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47" name="Freeform 48">
              <a:extLst>
                <a:ext uri="{FF2B5EF4-FFF2-40B4-BE49-F238E27FC236}">
                  <a16:creationId xmlns:a16="http://schemas.microsoft.com/office/drawing/2014/main" id="{3511F489-8E95-4644-AB1B-924A0627137B}"/>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48" name="Freeform 49">
              <a:extLst>
                <a:ext uri="{FF2B5EF4-FFF2-40B4-BE49-F238E27FC236}">
                  <a16:creationId xmlns:a16="http://schemas.microsoft.com/office/drawing/2014/main" id="{8606B6A3-AE5F-48A9-9FD6-67F99E951B02}"/>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49" name="Freeform 50">
              <a:extLst>
                <a:ext uri="{FF2B5EF4-FFF2-40B4-BE49-F238E27FC236}">
                  <a16:creationId xmlns:a16="http://schemas.microsoft.com/office/drawing/2014/main" id="{9B671085-C2F3-49C6-89A6-81F8B14F3DEC}"/>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50" name="Freeform 51">
              <a:extLst>
                <a:ext uri="{FF2B5EF4-FFF2-40B4-BE49-F238E27FC236}">
                  <a16:creationId xmlns:a16="http://schemas.microsoft.com/office/drawing/2014/main" id="{6AAD19CB-3DD4-4CD7-BB74-B281F4884223}"/>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51" name="Freeform 52">
              <a:extLst>
                <a:ext uri="{FF2B5EF4-FFF2-40B4-BE49-F238E27FC236}">
                  <a16:creationId xmlns:a16="http://schemas.microsoft.com/office/drawing/2014/main" id="{3A8617DD-93EB-4CAA-81E9-9AAD6D7CFBF5}"/>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52" name="Freeform 53">
              <a:extLst>
                <a:ext uri="{FF2B5EF4-FFF2-40B4-BE49-F238E27FC236}">
                  <a16:creationId xmlns:a16="http://schemas.microsoft.com/office/drawing/2014/main" id="{38265920-0662-4BD7-9D15-06781F4589AE}"/>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53" name="Freeform 54">
              <a:extLst>
                <a:ext uri="{FF2B5EF4-FFF2-40B4-BE49-F238E27FC236}">
                  <a16:creationId xmlns:a16="http://schemas.microsoft.com/office/drawing/2014/main" id="{CF6EAFE5-9DF2-41B0-96E7-760561BF06FC}"/>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54" name="Freeform 55">
              <a:extLst>
                <a:ext uri="{FF2B5EF4-FFF2-40B4-BE49-F238E27FC236}">
                  <a16:creationId xmlns:a16="http://schemas.microsoft.com/office/drawing/2014/main" id="{4303499B-4B9F-4035-98C1-2A8CD93457BA}"/>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55" name="Freeform 56">
              <a:extLst>
                <a:ext uri="{FF2B5EF4-FFF2-40B4-BE49-F238E27FC236}">
                  <a16:creationId xmlns:a16="http://schemas.microsoft.com/office/drawing/2014/main" id="{DF4F2E50-6BDF-4C22-990E-80D328276BDF}"/>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56" name="Freeform 57">
              <a:extLst>
                <a:ext uri="{FF2B5EF4-FFF2-40B4-BE49-F238E27FC236}">
                  <a16:creationId xmlns:a16="http://schemas.microsoft.com/office/drawing/2014/main" id="{16A49FDE-56B2-4A7F-AF24-496ADCC44546}"/>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57" name="Freeform 58">
              <a:extLst>
                <a:ext uri="{FF2B5EF4-FFF2-40B4-BE49-F238E27FC236}">
                  <a16:creationId xmlns:a16="http://schemas.microsoft.com/office/drawing/2014/main" id="{421145CC-1400-4CBC-B702-BD5E61401FD5}"/>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58" name="Freeform 59">
              <a:extLst>
                <a:ext uri="{FF2B5EF4-FFF2-40B4-BE49-F238E27FC236}">
                  <a16:creationId xmlns:a16="http://schemas.microsoft.com/office/drawing/2014/main" id="{151A3F07-A1A2-48E0-9B9B-9925A3B191CF}"/>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59" name="Freeform 60">
              <a:extLst>
                <a:ext uri="{FF2B5EF4-FFF2-40B4-BE49-F238E27FC236}">
                  <a16:creationId xmlns:a16="http://schemas.microsoft.com/office/drawing/2014/main" id="{0254E167-2B36-400E-BFEA-ADBA420EE561}"/>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60" name="Freeform 61">
              <a:extLst>
                <a:ext uri="{FF2B5EF4-FFF2-40B4-BE49-F238E27FC236}">
                  <a16:creationId xmlns:a16="http://schemas.microsoft.com/office/drawing/2014/main" id="{1F7A11FB-212E-4115-AB9C-478363A58C49}"/>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61" name="Freeform 62">
              <a:extLst>
                <a:ext uri="{FF2B5EF4-FFF2-40B4-BE49-F238E27FC236}">
                  <a16:creationId xmlns:a16="http://schemas.microsoft.com/office/drawing/2014/main" id="{A973D4BC-F661-47BF-A14C-91F66AF6E07B}"/>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62" name="Freeform 63">
              <a:extLst>
                <a:ext uri="{FF2B5EF4-FFF2-40B4-BE49-F238E27FC236}">
                  <a16:creationId xmlns:a16="http://schemas.microsoft.com/office/drawing/2014/main" id="{FE262537-F5EF-480A-B471-2228D6EFBE21}"/>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63" name="Freeform 64">
              <a:extLst>
                <a:ext uri="{FF2B5EF4-FFF2-40B4-BE49-F238E27FC236}">
                  <a16:creationId xmlns:a16="http://schemas.microsoft.com/office/drawing/2014/main" id="{D81E242B-263F-4CC3-B648-248FB0F04C47}"/>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64" name="Freeform 65">
              <a:extLst>
                <a:ext uri="{FF2B5EF4-FFF2-40B4-BE49-F238E27FC236}">
                  <a16:creationId xmlns:a16="http://schemas.microsoft.com/office/drawing/2014/main" id="{AEEB39E7-E337-4B82-BB74-7A8E9C5F5340}"/>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65" name="Freeform 66">
              <a:extLst>
                <a:ext uri="{FF2B5EF4-FFF2-40B4-BE49-F238E27FC236}">
                  <a16:creationId xmlns:a16="http://schemas.microsoft.com/office/drawing/2014/main" id="{DA1E169D-70F6-4A9C-91F6-3BA3C91187FD}"/>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66" name="Freeform 67">
              <a:extLst>
                <a:ext uri="{FF2B5EF4-FFF2-40B4-BE49-F238E27FC236}">
                  <a16:creationId xmlns:a16="http://schemas.microsoft.com/office/drawing/2014/main" id="{ADC56B88-8ADA-49FA-AA38-01678533409F}"/>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67" name="Freeform 68">
              <a:extLst>
                <a:ext uri="{FF2B5EF4-FFF2-40B4-BE49-F238E27FC236}">
                  <a16:creationId xmlns:a16="http://schemas.microsoft.com/office/drawing/2014/main" id="{2751A894-40D2-4978-8625-A4B4B40FDB9F}"/>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68" name="Freeform 69">
              <a:extLst>
                <a:ext uri="{FF2B5EF4-FFF2-40B4-BE49-F238E27FC236}">
                  <a16:creationId xmlns:a16="http://schemas.microsoft.com/office/drawing/2014/main" id="{6D77DCDE-A1AB-48BB-A210-2D7AAD0B268A}"/>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69" name="Freeform 70">
              <a:extLst>
                <a:ext uri="{FF2B5EF4-FFF2-40B4-BE49-F238E27FC236}">
                  <a16:creationId xmlns:a16="http://schemas.microsoft.com/office/drawing/2014/main" id="{EF4B0682-7DED-40C0-B50A-09B4CA847FB4}"/>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70" name="Freeform 71">
              <a:extLst>
                <a:ext uri="{FF2B5EF4-FFF2-40B4-BE49-F238E27FC236}">
                  <a16:creationId xmlns:a16="http://schemas.microsoft.com/office/drawing/2014/main" id="{AB5C4A26-19EC-4201-94EC-410CEDFB6398}"/>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71" name="Freeform 72">
              <a:extLst>
                <a:ext uri="{FF2B5EF4-FFF2-40B4-BE49-F238E27FC236}">
                  <a16:creationId xmlns:a16="http://schemas.microsoft.com/office/drawing/2014/main" id="{1E4E274F-AAC0-4437-A466-030B6213B041}"/>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72" name="Freeform 73">
              <a:extLst>
                <a:ext uri="{FF2B5EF4-FFF2-40B4-BE49-F238E27FC236}">
                  <a16:creationId xmlns:a16="http://schemas.microsoft.com/office/drawing/2014/main" id="{394D0949-3427-45F7-BB44-88D57F155A92}"/>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73" name="Freeform 74">
              <a:extLst>
                <a:ext uri="{FF2B5EF4-FFF2-40B4-BE49-F238E27FC236}">
                  <a16:creationId xmlns:a16="http://schemas.microsoft.com/office/drawing/2014/main" id="{B8831866-4940-4800-828C-3EC9335808B0}"/>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74" name="Freeform 75">
              <a:extLst>
                <a:ext uri="{FF2B5EF4-FFF2-40B4-BE49-F238E27FC236}">
                  <a16:creationId xmlns:a16="http://schemas.microsoft.com/office/drawing/2014/main" id="{9B11A43F-BBC5-4746-A2E8-C48BAE0D95EA}"/>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75" name="Freeform 76">
              <a:extLst>
                <a:ext uri="{FF2B5EF4-FFF2-40B4-BE49-F238E27FC236}">
                  <a16:creationId xmlns:a16="http://schemas.microsoft.com/office/drawing/2014/main" id="{D4578613-9668-49C6-B10E-433BA6D47B73}"/>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76" name="Freeform 77">
              <a:extLst>
                <a:ext uri="{FF2B5EF4-FFF2-40B4-BE49-F238E27FC236}">
                  <a16:creationId xmlns:a16="http://schemas.microsoft.com/office/drawing/2014/main" id="{7542C050-4198-46C6-AE04-00B99D93E0CD}"/>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77" name="Freeform 78">
              <a:extLst>
                <a:ext uri="{FF2B5EF4-FFF2-40B4-BE49-F238E27FC236}">
                  <a16:creationId xmlns:a16="http://schemas.microsoft.com/office/drawing/2014/main" id="{B702CBEB-DDD0-4525-A00B-939CA46B5FE7}"/>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78" name="Freeform 79">
              <a:extLst>
                <a:ext uri="{FF2B5EF4-FFF2-40B4-BE49-F238E27FC236}">
                  <a16:creationId xmlns:a16="http://schemas.microsoft.com/office/drawing/2014/main" id="{4CD0BE40-6965-460D-B55A-9DAAE5F4A7D7}"/>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79" name="Freeform 80">
              <a:extLst>
                <a:ext uri="{FF2B5EF4-FFF2-40B4-BE49-F238E27FC236}">
                  <a16:creationId xmlns:a16="http://schemas.microsoft.com/office/drawing/2014/main" id="{9ADFF14B-8C8B-499E-A700-6FD7CBC10E97}"/>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80" name="Freeform 81">
              <a:extLst>
                <a:ext uri="{FF2B5EF4-FFF2-40B4-BE49-F238E27FC236}">
                  <a16:creationId xmlns:a16="http://schemas.microsoft.com/office/drawing/2014/main" id="{911FDFC3-640F-4E75-A62D-94F504CCBFC3}"/>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920" name="Group 44">
            <a:extLst>
              <a:ext uri="{FF2B5EF4-FFF2-40B4-BE49-F238E27FC236}">
                <a16:creationId xmlns:a16="http://schemas.microsoft.com/office/drawing/2014/main" id="{A81F31C4-C6C4-4E47-9718-B31287D2839A}"/>
              </a:ext>
            </a:extLst>
          </p:cNvPr>
          <p:cNvGrpSpPr>
            <a:grpSpLocks noChangeAspect="1"/>
          </p:cNvGrpSpPr>
          <p:nvPr/>
        </p:nvGrpSpPr>
        <p:grpSpPr bwMode="auto">
          <a:xfrm flipV="1">
            <a:off x="4422553" y="2167489"/>
            <a:ext cx="247974" cy="248154"/>
            <a:chOff x="1608" y="347"/>
            <a:chExt cx="2544" cy="2546"/>
          </a:xfrm>
        </p:grpSpPr>
        <p:sp>
          <p:nvSpPr>
            <p:cNvPr id="1921" name="Oval 45">
              <a:extLst>
                <a:ext uri="{FF2B5EF4-FFF2-40B4-BE49-F238E27FC236}">
                  <a16:creationId xmlns:a16="http://schemas.microsoft.com/office/drawing/2014/main" id="{0434F8E6-9D42-475C-9C8B-65E4A026C4BD}"/>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22" name="Freeform 46">
              <a:extLst>
                <a:ext uri="{FF2B5EF4-FFF2-40B4-BE49-F238E27FC236}">
                  <a16:creationId xmlns:a16="http://schemas.microsoft.com/office/drawing/2014/main" id="{B9D22350-7D65-4F2F-BC2F-5E5F92BCB72F}"/>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23" name="Freeform 47">
              <a:extLst>
                <a:ext uri="{FF2B5EF4-FFF2-40B4-BE49-F238E27FC236}">
                  <a16:creationId xmlns:a16="http://schemas.microsoft.com/office/drawing/2014/main" id="{95A1AD9F-BB84-4D7C-8C40-BFEC034701B4}"/>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24" name="Freeform 48">
              <a:extLst>
                <a:ext uri="{FF2B5EF4-FFF2-40B4-BE49-F238E27FC236}">
                  <a16:creationId xmlns:a16="http://schemas.microsoft.com/office/drawing/2014/main" id="{C62B69D3-491C-4E3A-9B3E-E9125FDCE79F}"/>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25" name="Freeform 49">
              <a:extLst>
                <a:ext uri="{FF2B5EF4-FFF2-40B4-BE49-F238E27FC236}">
                  <a16:creationId xmlns:a16="http://schemas.microsoft.com/office/drawing/2014/main" id="{67DEA0DF-CD12-4023-ACA6-6A8966282D4A}"/>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26" name="Freeform 50">
              <a:extLst>
                <a:ext uri="{FF2B5EF4-FFF2-40B4-BE49-F238E27FC236}">
                  <a16:creationId xmlns:a16="http://schemas.microsoft.com/office/drawing/2014/main" id="{625D8995-D9AF-419C-AD41-AB5F601572C3}"/>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27" name="Freeform 51">
              <a:extLst>
                <a:ext uri="{FF2B5EF4-FFF2-40B4-BE49-F238E27FC236}">
                  <a16:creationId xmlns:a16="http://schemas.microsoft.com/office/drawing/2014/main" id="{36AA7448-DB68-48C5-BF35-0421DAF2DAB5}"/>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28" name="Freeform 52">
              <a:extLst>
                <a:ext uri="{FF2B5EF4-FFF2-40B4-BE49-F238E27FC236}">
                  <a16:creationId xmlns:a16="http://schemas.microsoft.com/office/drawing/2014/main" id="{4E967FAF-3040-4808-A162-8B4A898DF875}"/>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29" name="Freeform 53">
              <a:extLst>
                <a:ext uri="{FF2B5EF4-FFF2-40B4-BE49-F238E27FC236}">
                  <a16:creationId xmlns:a16="http://schemas.microsoft.com/office/drawing/2014/main" id="{735635BB-5D8E-440D-BA95-22BB10A13B39}"/>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30" name="Freeform 54">
              <a:extLst>
                <a:ext uri="{FF2B5EF4-FFF2-40B4-BE49-F238E27FC236}">
                  <a16:creationId xmlns:a16="http://schemas.microsoft.com/office/drawing/2014/main" id="{51C81E35-14E3-424C-B2B8-4ACBBA783518}"/>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31" name="Freeform 55">
              <a:extLst>
                <a:ext uri="{FF2B5EF4-FFF2-40B4-BE49-F238E27FC236}">
                  <a16:creationId xmlns:a16="http://schemas.microsoft.com/office/drawing/2014/main" id="{558BA121-363E-4E4B-9409-F64A9B04A2A5}"/>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32" name="Freeform 56">
              <a:extLst>
                <a:ext uri="{FF2B5EF4-FFF2-40B4-BE49-F238E27FC236}">
                  <a16:creationId xmlns:a16="http://schemas.microsoft.com/office/drawing/2014/main" id="{8F2C25C9-1BD5-468D-A567-856EDA1EDC29}"/>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33" name="Freeform 57">
              <a:extLst>
                <a:ext uri="{FF2B5EF4-FFF2-40B4-BE49-F238E27FC236}">
                  <a16:creationId xmlns:a16="http://schemas.microsoft.com/office/drawing/2014/main" id="{8C4DA65D-D692-4309-AD33-F5A604CA820E}"/>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34" name="Freeform 58">
              <a:extLst>
                <a:ext uri="{FF2B5EF4-FFF2-40B4-BE49-F238E27FC236}">
                  <a16:creationId xmlns:a16="http://schemas.microsoft.com/office/drawing/2014/main" id="{30957626-7B6C-4926-B57A-63811E9856BD}"/>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35" name="Freeform 59">
              <a:extLst>
                <a:ext uri="{FF2B5EF4-FFF2-40B4-BE49-F238E27FC236}">
                  <a16:creationId xmlns:a16="http://schemas.microsoft.com/office/drawing/2014/main" id="{13C7651D-CBE1-4D41-83E8-07FB3C531B68}"/>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36" name="Freeform 60">
              <a:extLst>
                <a:ext uri="{FF2B5EF4-FFF2-40B4-BE49-F238E27FC236}">
                  <a16:creationId xmlns:a16="http://schemas.microsoft.com/office/drawing/2014/main" id="{F568040B-16A0-4A81-B8C8-A8BE9EC3D9E7}"/>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37" name="Freeform 61">
              <a:extLst>
                <a:ext uri="{FF2B5EF4-FFF2-40B4-BE49-F238E27FC236}">
                  <a16:creationId xmlns:a16="http://schemas.microsoft.com/office/drawing/2014/main" id="{9336BB82-E160-43F9-AE2C-CF86727E405F}"/>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38" name="Freeform 62">
              <a:extLst>
                <a:ext uri="{FF2B5EF4-FFF2-40B4-BE49-F238E27FC236}">
                  <a16:creationId xmlns:a16="http://schemas.microsoft.com/office/drawing/2014/main" id="{D5F87670-EAB1-415C-BCC6-BB309D9799BE}"/>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39" name="Freeform 63">
              <a:extLst>
                <a:ext uri="{FF2B5EF4-FFF2-40B4-BE49-F238E27FC236}">
                  <a16:creationId xmlns:a16="http://schemas.microsoft.com/office/drawing/2014/main" id="{E952D252-8700-4A2C-9DE0-6672CD9602F4}"/>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40" name="Freeform 64">
              <a:extLst>
                <a:ext uri="{FF2B5EF4-FFF2-40B4-BE49-F238E27FC236}">
                  <a16:creationId xmlns:a16="http://schemas.microsoft.com/office/drawing/2014/main" id="{669FE4A2-8DED-46E3-BD89-8E2024FD6E34}"/>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41" name="Freeform 65">
              <a:extLst>
                <a:ext uri="{FF2B5EF4-FFF2-40B4-BE49-F238E27FC236}">
                  <a16:creationId xmlns:a16="http://schemas.microsoft.com/office/drawing/2014/main" id="{930BF397-7128-45C0-AE8D-9746F594CAB8}"/>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42" name="Freeform 66">
              <a:extLst>
                <a:ext uri="{FF2B5EF4-FFF2-40B4-BE49-F238E27FC236}">
                  <a16:creationId xmlns:a16="http://schemas.microsoft.com/office/drawing/2014/main" id="{53FEB55B-FFD6-45F6-A22C-E9CE58498897}"/>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43" name="Freeform 67">
              <a:extLst>
                <a:ext uri="{FF2B5EF4-FFF2-40B4-BE49-F238E27FC236}">
                  <a16:creationId xmlns:a16="http://schemas.microsoft.com/office/drawing/2014/main" id="{9441E09E-C3DE-48A5-89E8-5C23EB55C846}"/>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44" name="Freeform 68">
              <a:extLst>
                <a:ext uri="{FF2B5EF4-FFF2-40B4-BE49-F238E27FC236}">
                  <a16:creationId xmlns:a16="http://schemas.microsoft.com/office/drawing/2014/main" id="{A8780546-C613-4DBE-8DAB-342F97997BBF}"/>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45" name="Freeform 69">
              <a:extLst>
                <a:ext uri="{FF2B5EF4-FFF2-40B4-BE49-F238E27FC236}">
                  <a16:creationId xmlns:a16="http://schemas.microsoft.com/office/drawing/2014/main" id="{54FF18CE-75E2-4C11-A646-DED9D1A02990}"/>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46" name="Freeform 70">
              <a:extLst>
                <a:ext uri="{FF2B5EF4-FFF2-40B4-BE49-F238E27FC236}">
                  <a16:creationId xmlns:a16="http://schemas.microsoft.com/office/drawing/2014/main" id="{DA5F5FBD-C634-428C-9178-C3A6ABA35D5D}"/>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47" name="Freeform 71">
              <a:extLst>
                <a:ext uri="{FF2B5EF4-FFF2-40B4-BE49-F238E27FC236}">
                  <a16:creationId xmlns:a16="http://schemas.microsoft.com/office/drawing/2014/main" id="{442DB592-C9BB-488D-BC8C-4EAE833713A5}"/>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48" name="Freeform 72">
              <a:extLst>
                <a:ext uri="{FF2B5EF4-FFF2-40B4-BE49-F238E27FC236}">
                  <a16:creationId xmlns:a16="http://schemas.microsoft.com/office/drawing/2014/main" id="{00092086-B6AF-49D3-8AE1-769AFE93737B}"/>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49" name="Freeform 73">
              <a:extLst>
                <a:ext uri="{FF2B5EF4-FFF2-40B4-BE49-F238E27FC236}">
                  <a16:creationId xmlns:a16="http://schemas.microsoft.com/office/drawing/2014/main" id="{FE993B63-982C-41CA-A4C6-0BE01C332547}"/>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50" name="Freeform 74">
              <a:extLst>
                <a:ext uri="{FF2B5EF4-FFF2-40B4-BE49-F238E27FC236}">
                  <a16:creationId xmlns:a16="http://schemas.microsoft.com/office/drawing/2014/main" id="{E0D24AAF-1807-4E5E-9C38-67CDE60F444B}"/>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51" name="Freeform 75">
              <a:extLst>
                <a:ext uri="{FF2B5EF4-FFF2-40B4-BE49-F238E27FC236}">
                  <a16:creationId xmlns:a16="http://schemas.microsoft.com/office/drawing/2014/main" id="{AD0B38FB-0C95-4208-8CB5-DB7CF4D64A65}"/>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52" name="Freeform 76">
              <a:extLst>
                <a:ext uri="{FF2B5EF4-FFF2-40B4-BE49-F238E27FC236}">
                  <a16:creationId xmlns:a16="http://schemas.microsoft.com/office/drawing/2014/main" id="{625086B1-FB27-438C-9777-63272EF89605}"/>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53" name="Freeform 77">
              <a:extLst>
                <a:ext uri="{FF2B5EF4-FFF2-40B4-BE49-F238E27FC236}">
                  <a16:creationId xmlns:a16="http://schemas.microsoft.com/office/drawing/2014/main" id="{4A5E794B-9917-4F3E-8C58-D4A99C21F558}"/>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54" name="Freeform 78">
              <a:extLst>
                <a:ext uri="{FF2B5EF4-FFF2-40B4-BE49-F238E27FC236}">
                  <a16:creationId xmlns:a16="http://schemas.microsoft.com/office/drawing/2014/main" id="{77D6B65D-2E2A-4B49-A444-EED7FA1E36AC}"/>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55" name="Freeform 79">
              <a:extLst>
                <a:ext uri="{FF2B5EF4-FFF2-40B4-BE49-F238E27FC236}">
                  <a16:creationId xmlns:a16="http://schemas.microsoft.com/office/drawing/2014/main" id="{C8F35ACE-331B-44DF-8288-630A23712834}"/>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56" name="Freeform 80">
              <a:extLst>
                <a:ext uri="{FF2B5EF4-FFF2-40B4-BE49-F238E27FC236}">
                  <a16:creationId xmlns:a16="http://schemas.microsoft.com/office/drawing/2014/main" id="{E28D941A-9FE6-45E2-84B0-6FC29131B5EA}"/>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57" name="Freeform 81">
              <a:extLst>
                <a:ext uri="{FF2B5EF4-FFF2-40B4-BE49-F238E27FC236}">
                  <a16:creationId xmlns:a16="http://schemas.microsoft.com/office/drawing/2014/main" id="{112D4429-1DE2-4BB7-8354-D191F45A2037}"/>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958" name="Group 44">
            <a:extLst>
              <a:ext uri="{FF2B5EF4-FFF2-40B4-BE49-F238E27FC236}">
                <a16:creationId xmlns:a16="http://schemas.microsoft.com/office/drawing/2014/main" id="{F9072305-73FB-4E56-94A4-C6ACCEC07730}"/>
              </a:ext>
            </a:extLst>
          </p:cNvPr>
          <p:cNvGrpSpPr>
            <a:grpSpLocks noChangeAspect="1"/>
          </p:cNvGrpSpPr>
          <p:nvPr/>
        </p:nvGrpSpPr>
        <p:grpSpPr bwMode="auto">
          <a:xfrm flipV="1">
            <a:off x="5176442" y="1890923"/>
            <a:ext cx="247974" cy="248154"/>
            <a:chOff x="1608" y="347"/>
            <a:chExt cx="2544" cy="2546"/>
          </a:xfrm>
        </p:grpSpPr>
        <p:sp>
          <p:nvSpPr>
            <p:cNvPr id="1959" name="Oval 45">
              <a:extLst>
                <a:ext uri="{FF2B5EF4-FFF2-40B4-BE49-F238E27FC236}">
                  <a16:creationId xmlns:a16="http://schemas.microsoft.com/office/drawing/2014/main" id="{BAC2BEF4-1932-4DCD-89B1-8EBBC3BCDC52}"/>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60" name="Freeform 46">
              <a:extLst>
                <a:ext uri="{FF2B5EF4-FFF2-40B4-BE49-F238E27FC236}">
                  <a16:creationId xmlns:a16="http://schemas.microsoft.com/office/drawing/2014/main" id="{0E74B7DE-7058-4CED-8A61-DC45761F46CC}"/>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61" name="Freeform 47">
              <a:extLst>
                <a:ext uri="{FF2B5EF4-FFF2-40B4-BE49-F238E27FC236}">
                  <a16:creationId xmlns:a16="http://schemas.microsoft.com/office/drawing/2014/main" id="{2C98DAB8-E6E0-4702-A660-023E02FCC941}"/>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62" name="Freeform 48">
              <a:extLst>
                <a:ext uri="{FF2B5EF4-FFF2-40B4-BE49-F238E27FC236}">
                  <a16:creationId xmlns:a16="http://schemas.microsoft.com/office/drawing/2014/main" id="{51E51E6A-F239-4EB5-9A0F-68C21015A862}"/>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63" name="Freeform 49">
              <a:extLst>
                <a:ext uri="{FF2B5EF4-FFF2-40B4-BE49-F238E27FC236}">
                  <a16:creationId xmlns:a16="http://schemas.microsoft.com/office/drawing/2014/main" id="{15B19EC1-9F1D-40F8-A9B4-66A907878802}"/>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64" name="Freeform 50">
              <a:extLst>
                <a:ext uri="{FF2B5EF4-FFF2-40B4-BE49-F238E27FC236}">
                  <a16:creationId xmlns:a16="http://schemas.microsoft.com/office/drawing/2014/main" id="{65D49364-8937-4ABD-85E1-F4639193D516}"/>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65" name="Freeform 51">
              <a:extLst>
                <a:ext uri="{FF2B5EF4-FFF2-40B4-BE49-F238E27FC236}">
                  <a16:creationId xmlns:a16="http://schemas.microsoft.com/office/drawing/2014/main" id="{88649D2A-ECC8-4F2B-A101-2CEC23FC65B0}"/>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66" name="Freeform 52">
              <a:extLst>
                <a:ext uri="{FF2B5EF4-FFF2-40B4-BE49-F238E27FC236}">
                  <a16:creationId xmlns:a16="http://schemas.microsoft.com/office/drawing/2014/main" id="{CE6FBE1E-3CA4-4E96-A742-2E4D41DBE99D}"/>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67" name="Freeform 53">
              <a:extLst>
                <a:ext uri="{FF2B5EF4-FFF2-40B4-BE49-F238E27FC236}">
                  <a16:creationId xmlns:a16="http://schemas.microsoft.com/office/drawing/2014/main" id="{2B35F6E5-756A-496D-8F59-E652EF6BD65D}"/>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68" name="Freeform 54">
              <a:extLst>
                <a:ext uri="{FF2B5EF4-FFF2-40B4-BE49-F238E27FC236}">
                  <a16:creationId xmlns:a16="http://schemas.microsoft.com/office/drawing/2014/main" id="{8E978E3F-A00A-4A3A-951A-06710C370D6E}"/>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69" name="Freeform 55">
              <a:extLst>
                <a:ext uri="{FF2B5EF4-FFF2-40B4-BE49-F238E27FC236}">
                  <a16:creationId xmlns:a16="http://schemas.microsoft.com/office/drawing/2014/main" id="{D5DF692B-2117-4DB9-8C4A-ECDE77060674}"/>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70" name="Freeform 56">
              <a:extLst>
                <a:ext uri="{FF2B5EF4-FFF2-40B4-BE49-F238E27FC236}">
                  <a16:creationId xmlns:a16="http://schemas.microsoft.com/office/drawing/2014/main" id="{6F77EEF8-230E-4CE2-94D8-13C3254340C6}"/>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71" name="Freeform 57">
              <a:extLst>
                <a:ext uri="{FF2B5EF4-FFF2-40B4-BE49-F238E27FC236}">
                  <a16:creationId xmlns:a16="http://schemas.microsoft.com/office/drawing/2014/main" id="{D171B1FF-66DD-4F05-AC21-1C2A7259870F}"/>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72" name="Freeform 58">
              <a:extLst>
                <a:ext uri="{FF2B5EF4-FFF2-40B4-BE49-F238E27FC236}">
                  <a16:creationId xmlns:a16="http://schemas.microsoft.com/office/drawing/2014/main" id="{BE25403E-903F-4261-A07E-82BACC7F8FF3}"/>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73" name="Freeform 59">
              <a:extLst>
                <a:ext uri="{FF2B5EF4-FFF2-40B4-BE49-F238E27FC236}">
                  <a16:creationId xmlns:a16="http://schemas.microsoft.com/office/drawing/2014/main" id="{9BE0A195-78A9-4DAE-9378-E39B022B5C02}"/>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74" name="Freeform 60">
              <a:extLst>
                <a:ext uri="{FF2B5EF4-FFF2-40B4-BE49-F238E27FC236}">
                  <a16:creationId xmlns:a16="http://schemas.microsoft.com/office/drawing/2014/main" id="{FECD9715-B91A-44A2-978D-70F6C2A55052}"/>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75" name="Freeform 61">
              <a:extLst>
                <a:ext uri="{FF2B5EF4-FFF2-40B4-BE49-F238E27FC236}">
                  <a16:creationId xmlns:a16="http://schemas.microsoft.com/office/drawing/2014/main" id="{939B122A-B21B-4405-8FC7-11D94E65B658}"/>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76" name="Freeform 62">
              <a:extLst>
                <a:ext uri="{FF2B5EF4-FFF2-40B4-BE49-F238E27FC236}">
                  <a16:creationId xmlns:a16="http://schemas.microsoft.com/office/drawing/2014/main" id="{1A572CC8-29B0-45CA-A739-04EDA9936EE2}"/>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77" name="Freeform 63">
              <a:extLst>
                <a:ext uri="{FF2B5EF4-FFF2-40B4-BE49-F238E27FC236}">
                  <a16:creationId xmlns:a16="http://schemas.microsoft.com/office/drawing/2014/main" id="{1BC2F01D-1046-4832-B094-03603BA87DD5}"/>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78" name="Freeform 64">
              <a:extLst>
                <a:ext uri="{FF2B5EF4-FFF2-40B4-BE49-F238E27FC236}">
                  <a16:creationId xmlns:a16="http://schemas.microsoft.com/office/drawing/2014/main" id="{DD32B927-785B-477B-A040-49352528FD5E}"/>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79" name="Freeform 65">
              <a:extLst>
                <a:ext uri="{FF2B5EF4-FFF2-40B4-BE49-F238E27FC236}">
                  <a16:creationId xmlns:a16="http://schemas.microsoft.com/office/drawing/2014/main" id="{3A91B0CB-F46D-4336-A1A7-6842EA1B258B}"/>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80" name="Freeform 66">
              <a:extLst>
                <a:ext uri="{FF2B5EF4-FFF2-40B4-BE49-F238E27FC236}">
                  <a16:creationId xmlns:a16="http://schemas.microsoft.com/office/drawing/2014/main" id="{0CEE256C-9AA5-46FB-85BF-6A66C51E9A2F}"/>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81" name="Freeform 67">
              <a:extLst>
                <a:ext uri="{FF2B5EF4-FFF2-40B4-BE49-F238E27FC236}">
                  <a16:creationId xmlns:a16="http://schemas.microsoft.com/office/drawing/2014/main" id="{BCCE90E8-17E6-408C-9A40-958291744F67}"/>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82" name="Freeform 68">
              <a:extLst>
                <a:ext uri="{FF2B5EF4-FFF2-40B4-BE49-F238E27FC236}">
                  <a16:creationId xmlns:a16="http://schemas.microsoft.com/office/drawing/2014/main" id="{F8EAEFE5-19CC-478B-B0C3-328F9A76BEFA}"/>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83" name="Freeform 69">
              <a:extLst>
                <a:ext uri="{FF2B5EF4-FFF2-40B4-BE49-F238E27FC236}">
                  <a16:creationId xmlns:a16="http://schemas.microsoft.com/office/drawing/2014/main" id="{5BDE127D-DEA3-495A-9691-BF6AB836904C}"/>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84" name="Freeform 70">
              <a:extLst>
                <a:ext uri="{FF2B5EF4-FFF2-40B4-BE49-F238E27FC236}">
                  <a16:creationId xmlns:a16="http://schemas.microsoft.com/office/drawing/2014/main" id="{EFA20F1F-7413-486A-AB30-A4CE6CDD2F74}"/>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85" name="Freeform 71">
              <a:extLst>
                <a:ext uri="{FF2B5EF4-FFF2-40B4-BE49-F238E27FC236}">
                  <a16:creationId xmlns:a16="http://schemas.microsoft.com/office/drawing/2014/main" id="{84B5DCC6-9F07-47E8-8D43-DCF2C2D6B579}"/>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86" name="Freeform 72">
              <a:extLst>
                <a:ext uri="{FF2B5EF4-FFF2-40B4-BE49-F238E27FC236}">
                  <a16:creationId xmlns:a16="http://schemas.microsoft.com/office/drawing/2014/main" id="{509A8799-85FA-49E6-9A08-FB619AA26B63}"/>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87" name="Freeform 73">
              <a:extLst>
                <a:ext uri="{FF2B5EF4-FFF2-40B4-BE49-F238E27FC236}">
                  <a16:creationId xmlns:a16="http://schemas.microsoft.com/office/drawing/2014/main" id="{3C8E2C96-5A05-47CD-84E0-2C5B3E8989DE}"/>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88" name="Freeform 74">
              <a:extLst>
                <a:ext uri="{FF2B5EF4-FFF2-40B4-BE49-F238E27FC236}">
                  <a16:creationId xmlns:a16="http://schemas.microsoft.com/office/drawing/2014/main" id="{D18AD15F-50C4-48F5-AB7C-5031657A4D0C}"/>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89" name="Freeform 75">
              <a:extLst>
                <a:ext uri="{FF2B5EF4-FFF2-40B4-BE49-F238E27FC236}">
                  <a16:creationId xmlns:a16="http://schemas.microsoft.com/office/drawing/2014/main" id="{FFF49487-03B6-4042-9013-1707F52A0055}"/>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90" name="Freeform 76">
              <a:extLst>
                <a:ext uri="{FF2B5EF4-FFF2-40B4-BE49-F238E27FC236}">
                  <a16:creationId xmlns:a16="http://schemas.microsoft.com/office/drawing/2014/main" id="{9A6B3656-523A-417D-86EE-775768F70E1F}"/>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91" name="Freeform 77">
              <a:extLst>
                <a:ext uri="{FF2B5EF4-FFF2-40B4-BE49-F238E27FC236}">
                  <a16:creationId xmlns:a16="http://schemas.microsoft.com/office/drawing/2014/main" id="{31C3CA82-F800-41E5-B323-68A602334570}"/>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92" name="Freeform 78">
              <a:extLst>
                <a:ext uri="{FF2B5EF4-FFF2-40B4-BE49-F238E27FC236}">
                  <a16:creationId xmlns:a16="http://schemas.microsoft.com/office/drawing/2014/main" id="{8FE1DF01-C55E-4E67-8031-AE7A920ED96F}"/>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93" name="Freeform 79">
              <a:extLst>
                <a:ext uri="{FF2B5EF4-FFF2-40B4-BE49-F238E27FC236}">
                  <a16:creationId xmlns:a16="http://schemas.microsoft.com/office/drawing/2014/main" id="{066C997E-DFF1-4638-8467-0FD2BA0563F1}"/>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94" name="Freeform 80">
              <a:extLst>
                <a:ext uri="{FF2B5EF4-FFF2-40B4-BE49-F238E27FC236}">
                  <a16:creationId xmlns:a16="http://schemas.microsoft.com/office/drawing/2014/main" id="{04AE5A47-0BF6-4E87-8180-DF8AB5A503A2}"/>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95" name="Freeform 81">
              <a:extLst>
                <a:ext uri="{FF2B5EF4-FFF2-40B4-BE49-F238E27FC236}">
                  <a16:creationId xmlns:a16="http://schemas.microsoft.com/office/drawing/2014/main" id="{6086BD20-3C91-46EC-A323-0DDB3C4CB9A9}"/>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996" name="Group 44">
            <a:extLst>
              <a:ext uri="{FF2B5EF4-FFF2-40B4-BE49-F238E27FC236}">
                <a16:creationId xmlns:a16="http://schemas.microsoft.com/office/drawing/2014/main" id="{7E49F5E6-0746-4D54-B296-6F1A5A6C5EC4}"/>
              </a:ext>
            </a:extLst>
          </p:cNvPr>
          <p:cNvGrpSpPr>
            <a:grpSpLocks noChangeAspect="1"/>
          </p:cNvGrpSpPr>
          <p:nvPr/>
        </p:nvGrpSpPr>
        <p:grpSpPr bwMode="auto">
          <a:xfrm flipV="1">
            <a:off x="4783591" y="2513838"/>
            <a:ext cx="247974" cy="248154"/>
            <a:chOff x="1608" y="347"/>
            <a:chExt cx="2544" cy="2546"/>
          </a:xfrm>
        </p:grpSpPr>
        <p:sp>
          <p:nvSpPr>
            <p:cNvPr id="1997" name="Oval 45">
              <a:extLst>
                <a:ext uri="{FF2B5EF4-FFF2-40B4-BE49-F238E27FC236}">
                  <a16:creationId xmlns:a16="http://schemas.microsoft.com/office/drawing/2014/main" id="{4135261B-8A97-40F6-89BD-CE75AE48AD92}"/>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98" name="Freeform 46">
              <a:extLst>
                <a:ext uri="{FF2B5EF4-FFF2-40B4-BE49-F238E27FC236}">
                  <a16:creationId xmlns:a16="http://schemas.microsoft.com/office/drawing/2014/main" id="{51BC1288-A303-4EAA-9AF3-05D7C675E6BA}"/>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999" name="Freeform 47">
              <a:extLst>
                <a:ext uri="{FF2B5EF4-FFF2-40B4-BE49-F238E27FC236}">
                  <a16:creationId xmlns:a16="http://schemas.microsoft.com/office/drawing/2014/main" id="{4585628E-D06D-45A5-8EC2-F2DB9A44F31E}"/>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00" name="Freeform 48">
              <a:extLst>
                <a:ext uri="{FF2B5EF4-FFF2-40B4-BE49-F238E27FC236}">
                  <a16:creationId xmlns:a16="http://schemas.microsoft.com/office/drawing/2014/main" id="{04DCAF12-4B29-433F-990E-0F4B8F648006}"/>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01" name="Freeform 49">
              <a:extLst>
                <a:ext uri="{FF2B5EF4-FFF2-40B4-BE49-F238E27FC236}">
                  <a16:creationId xmlns:a16="http://schemas.microsoft.com/office/drawing/2014/main" id="{AC94D8D9-2F87-4ED4-9672-C576846ACD85}"/>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02" name="Freeform 50">
              <a:extLst>
                <a:ext uri="{FF2B5EF4-FFF2-40B4-BE49-F238E27FC236}">
                  <a16:creationId xmlns:a16="http://schemas.microsoft.com/office/drawing/2014/main" id="{06CA2C17-942B-4726-B992-5F0A38FEF959}"/>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03" name="Freeform 51">
              <a:extLst>
                <a:ext uri="{FF2B5EF4-FFF2-40B4-BE49-F238E27FC236}">
                  <a16:creationId xmlns:a16="http://schemas.microsoft.com/office/drawing/2014/main" id="{EE7D8EF8-315D-4C2C-8262-42D8D00ECC9F}"/>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04" name="Freeform 52">
              <a:extLst>
                <a:ext uri="{FF2B5EF4-FFF2-40B4-BE49-F238E27FC236}">
                  <a16:creationId xmlns:a16="http://schemas.microsoft.com/office/drawing/2014/main" id="{49D980C2-ED01-42B2-BD01-B33C84A672D8}"/>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05" name="Freeform 53">
              <a:extLst>
                <a:ext uri="{FF2B5EF4-FFF2-40B4-BE49-F238E27FC236}">
                  <a16:creationId xmlns:a16="http://schemas.microsoft.com/office/drawing/2014/main" id="{F0F17206-9D5B-4229-A5C8-7665F0E670D4}"/>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06" name="Freeform 54">
              <a:extLst>
                <a:ext uri="{FF2B5EF4-FFF2-40B4-BE49-F238E27FC236}">
                  <a16:creationId xmlns:a16="http://schemas.microsoft.com/office/drawing/2014/main" id="{27925F2A-BA06-44AC-8FAE-EC2B47DD2F67}"/>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07" name="Freeform 55">
              <a:extLst>
                <a:ext uri="{FF2B5EF4-FFF2-40B4-BE49-F238E27FC236}">
                  <a16:creationId xmlns:a16="http://schemas.microsoft.com/office/drawing/2014/main" id="{43929DF6-4F51-401F-AC68-676238A83B20}"/>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08" name="Freeform 56">
              <a:extLst>
                <a:ext uri="{FF2B5EF4-FFF2-40B4-BE49-F238E27FC236}">
                  <a16:creationId xmlns:a16="http://schemas.microsoft.com/office/drawing/2014/main" id="{66AD72ED-2810-455E-8D42-6E560608DC7C}"/>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09" name="Freeform 57">
              <a:extLst>
                <a:ext uri="{FF2B5EF4-FFF2-40B4-BE49-F238E27FC236}">
                  <a16:creationId xmlns:a16="http://schemas.microsoft.com/office/drawing/2014/main" id="{51A1CE10-6526-471C-8B7B-3BD7BA34C341}"/>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10" name="Freeform 58">
              <a:extLst>
                <a:ext uri="{FF2B5EF4-FFF2-40B4-BE49-F238E27FC236}">
                  <a16:creationId xmlns:a16="http://schemas.microsoft.com/office/drawing/2014/main" id="{5542D98F-F856-47ED-8B81-EC526661F74B}"/>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11" name="Freeform 59">
              <a:extLst>
                <a:ext uri="{FF2B5EF4-FFF2-40B4-BE49-F238E27FC236}">
                  <a16:creationId xmlns:a16="http://schemas.microsoft.com/office/drawing/2014/main" id="{C8B0A394-3D8D-4242-AD7A-AEEE6C434EEB}"/>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12" name="Freeform 60">
              <a:extLst>
                <a:ext uri="{FF2B5EF4-FFF2-40B4-BE49-F238E27FC236}">
                  <a16:creationId xmlns:a16="http://schemas.microsoft.com/office/drawing/2014/main" id="{8166FE08-C5E6-4208-B329-02E2D28A1E03}"/>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13" name="Freeform 61">
              <a:extLst>
                <a:ext uri="{FF2B5EF4-FFF2-40B4-BE49-F238E27FC236}">
                  <a16:creationId xmlns:a16="http://schemas.microsoft.com/office/drawing/2014/main" id="{A0EDE5A1-3B82-48D7-9D20-28CD67832D90}"/>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14" name="Freeform 62">
              <a:extLst>
                <a:ext uri="{FF2B5EF4-FFF2-40B4-BE49-F238E27FC236}">
                  <a16:creationId xmlns:a16="http://schemas.microsoft.com/office/drawing/2014/main" id="{ADB03BE9-0155-4472-AAE9-F4146B16155C}"/>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15" name="Freeform 63">
              <a:extLst>
                <a:ext uri="{FF2B5EF4-FFF2-40B4-BE49-F238E27FC236}">
                  <a16:creationId xmlns:a16="http://schemas.microsoft.com/office/drawing/2014/main" id="{5BDB2524-009B-4DED-BBC5-3517796E0817}"/>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16" name="Freeform 64">
              <a:extLst>
                <a:ext uri="{FF2B5EF4-FFF2-40B4-BE49-F238E27FC236}">
                  <a16:creationId xmlns:a16="http://schemas.microsoft.com/office/drawing/2014/main" id="{641A169B-5D2E-4DD6-B7D3-FBF5AE28725D}"/>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17" name="Freeform 65">
              <a:extLst>
                <a:ext uri="{FF2B5EF4-FFF2-40B4-BE49-F238E27FC236}">
                  <a16:creationId xmlns:a16="http://schemas.microsoft.com/office/drawing/2014/main" id="{C4B53641-3E2F-465C-A660-EBA6817E62DD}"/>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18" name="Freeform 66">
              <a:extLst>
                <a:ext uri="{FF2B5EF4-FFF2-40B4-BE49-F238E27FC236}">
                  <a16:creationId xmlns:a16="http://schemas.microsoft.com/office/drawing/2014/main" id="{C9319A51-4117-465B-8A97-A976D38A19E4}"/>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19" name="Freeform 67">
              <a:extLst>
                <a:ext uri="{FF2B5EF4-FFF2-40B4-BE49-F238E27FC236}">
                  <a16:creationId xmlns:a16="http://schemas.microsoft.com/office/drawing/2014/main" id="{1128A64A-1123-4DAD-9DCB-8F7A81087023}"/>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20" name="Freeform 68">
              <a:extLst>
                <a:ext uri="{FF2B5EF4-FFF2-40B4-BE49-F238E27FC236}">
                  <a16:creationId xmlns:a16="http://schemas.microsoft.com/office/drawing/2014/main" id="{0BD01854-365F-4BFA-8C6B-028D1859F915}"/>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21" name="Freeform 69">
              <a:extLst>
                <a:ext uri="{FF2B5EF4-FFF2-40B4-BE49-F238E27FC236}">
                  <a16:creationId xmlns:a16="http://schemas.microsoft.com/office/drawing/2014/main" id="{76E990BC-DDAE-4D01-8CE2-AD36BED6B0FD}"/>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22" name="Freeform 70">
              <a:extLst>
                <a:ext uri="{FF2B5EF4-FFF2-40B4-BE49-F238E27FC236}">
                  <a16:creationId xmlns:a16="http://schemas.microsoft.com/office/drawing/2014/main" id="{325EE238-F7DE-411B-B808-8F36F72E0A19}"/>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23" name="Freeform 71">
              <a:extLst>
                <a:ext uri="{FF2B5EF4-FFF2-40B4-BE49-F238E27FC236}">
                  <a16:creationId xmlns:a16="http://schemas.microsoft.com/office/drawing/2014/main" id="{C1DC5EDF-3E9E-44DC-B8E1-BF3A8CE42419}"/>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24" name="Freeform 72">
              <a:extLst>
                <a:ext uri="{FF2B5EF4-FFF2-40B4-BE49-F238E27FC236}">
                  <a16:creationId xmlns:a16="http://schemas.microsoft.com/office/drawing/2014/main" id="{F6DF8A0B-3913-4DFB-8D8C-061104436735}"/>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25" name="Freeform 73">
              <a:extLst>
                <a:ext uri="{FF2B5EF4-FFF2-40B4-BE49-F238E27FC236}">
                  <a16:creationId xmlns:a16="http://schemas.microsoft.com/office/drawing/2014/main" id="{56B46DE5-8A00-4573-AD39-BDAF6FD58C22}"/>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26" name="Freeform 74">
              <a:extLst>
                <a:ext uri="{FF2B5EF4-FFF2-40B4-BE49-F238E27FC236}">
                  <a16:creationId xmlns:a16="http://schemas.microsoft.com/office/drawing/2014/main" id="{83DEB576-5E15-4138-8CDD-6778118E6228}"/>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27" name="Freeform 75">
              <a:extLst>
                <a:ext uri="{FF2B5EF4-FFF2-40B4-BE49-F238E27FC236}">
                  <a16:creationId xmlns:a16="http://schemas.microsoft.com/office/drawing/2014/main" id="{5EB93BF5-4554-48D1-82AD-63F788D1D12D}"/>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28" name="Freeform 76">
              <a:extLst>
                <a:ext uri="{FF2B5EF4-FFF2-40B4-BE49-F238E27FC236}">
                  <a16:creationId xmlns:a16="http://schemas.microsoft.com/office/drawing/2014/main" id="{E6B59B62-66A2-443A-B4D7-9CAAA6D25D63}"/>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29" name="Freeform 77">
              <a:extLst>
                <a:ext uri="{FF2B5EF4-FFF2-40B4-BE49-F238E27FC236}">
                  <a16:creationId xmlns:a16="http://schemas.microsoft.com/office/drawing/2014/main" id="{F2CA4F12-062F-4225-983B-6998B034E78D}"/>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30" name="Freeform 78">
              <a:extLst>
                <a:ext uri="{FF2B5EF4-FFF2-40B4-BE49-F238E27FC236}">
                  <a16:creationId xmlns:a16="http://schemas.microsoft.com/office/drawing/2014/main" id="{8C63193D-E681-41F8-9454-CA7095F5AB35}"/>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31" name="Freeform 79">
              <a:extLst>
                <a:ext uri="{FF2B5EF4-FFF2-40B4-BE49-F238E27FC236}">
                  <a16:creationId xmlns:a16="http://schemas.microsoft.com/office/drawing/2014/main" id="{C877A130-EB58-49B8-ADCE-119C9483DF38}"/>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32" name="Freeform 80">
              <a:extLst>
                <a:ext uri="{FF2B5EF4-FFF2-40B4-BE49-F238E27FC236}">
                  <a16:creationId xmlns:a16="http://schemas.microsoft.com/office/drawing/2014/main" id="{F2940741-559E-4CDE-AA33-5B6781545CDB}"/>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33" name="Freeform 81">
              <a:extLst>
                <a:ext uri="{FF2B5EF4-FFF2-40B4-BE49-F238E27FC236}">
                  <a16:creationId xmlns:a16="http://schemas.microsoft.com/office/drawing/2014/main" id="{878C309C-260F-447B-A0E7-72004C28D4EB}"/>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2034" name="Group 44">
            <a:extLst>
              <a:ext uri="{FF2B5EF4-FFF2-40B4-BE49-F238E27FC236}">
                <a16:creationId xmlns:a16="http://schemas.microsoft.com/office/drawing/2014/main" id="{3BF70101-AD57-4126-AC58-58620B9DBB74}"/>
              </a:ext>
            </a:extLst>
          </p:cNvPr>
          <p:cNvGrpSpPr>
            <a:grpSpLocks noChangeAspect="1"/>
          </p:cNvGrpSpPr>
          <p:nvPr/>
        </p:nvGrpSpPr>
        <p:grpSpPr bwMode="auto">
          <a:xfrm flipV="1">
            <a:off x="5571200" y="3435286"/>
            <a:ext cx="247974" cy="248154"/>
            <a:chOff x="1608" y="347"/>
            <a:chExt cx="2544" cy="2546"/>
          </a:xfrm>
        </p:grpSpPr>
        <p:sp>
          <p:nvSpPr>
            <p:cNvPr id="2035" name="Oval 45">
              <a:extLst>
                <a:ext uri="{FF2B5EF4-FFF2-40B4-BE49-F238E27FC236}">
                  <a16:creationId xmlns:a16="http://schemas.microsoft.com/office/drawing/2014/main" id="{4405C4DA-AAE7-4078-86EC-221A9C97A26F}"/>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36" name="Freeform 46">
              <a:extLst>
                <a:ext uri="{FF2B5EF4-FFF2-40B4-BE49-F238E27FC236}">
                  <a16:creationId xmlns:a16="http://schemas.microsoft.com/office/drawing/2014/main" id="{B57B7EC6-A874-42CD-8220-D624DE0E6B4B}"/>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37" name="Freeform 47">
              <a:extLst>
                <a:ext uri="{FF2B5EF4-FFF2-40B4-BE49-F238E27FC236}">
                  <a16:creationId xmlns:a16="http://schemas.microsoft.com/office/drawing/2014/main" id="{5E681D70-AA7E-43F3-8773-77B41EF1CB58}"/>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38" name="Freeform 48">
              <a:extLst>
                <a:ext uri="{FF2B5EF4-FFF2-40B4-BE49-F238E27FC236}">
                  <a16:creationId xmlns:a16="http://schemas.microsoft.com/office/drawing/2014/main" id="{F0B33EDF-F0FE-4A84-9EA8-CEFC4BD730DA}"/>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39" name="Freeform 49">
              <a:extLst>
                <a:ext uri="{FF2B5EF4-FFF2-40B4-BE49-F238E27FC236}">
                  <a16:creationId xmlns:a16="http://schemas.microsoft.com/office/drawing/2014/main" id="{57D2EE46-5562-40D7-B875-387909035F31}"/>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40" name="Freeform 50">
              <a:extLst>
                <a:ext uri="{FF2B5EF4-FFF2-40B4-BE49-F238E27FC236}">
                  <a16:creationId xmlns:a16="http://schemas.microsoft.com/office/drawing/2014/main" id="{ACEEA8DC-1D53-4801-923C-40892BA58972}"/>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41" name="Freeform 51">
              <a:extLst>
                <a:ext uri="{FF2B5EF4-FFF2-40B4-BE49-F238E27FC236}">
                  <a16:creationId xmlns:a16="http://schemas.microsoft.com/office/drawing/2014/main" id="{4807B0FD-B3D5-4B16-87D1-18014A9666CF}"/>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42" name="Freeform 52">
              <a:extLst>
                <a:ext uri="{FF2B5EF4-FFF2-40B4-BE49-F238E27FC236}">
                  <a16:creationId xmlns:a16="http://schemas.microsoft.com/office/drawing/2014/main" id="{C44828F4-28E2-448A-B2DF-CD013C492B17}"/>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43" name="Freeform 53">
              <a:extLst>
                <a:ext uri="{FF2B5EF4-FFF2-40B4-BE49-F238E27FC236}">
                  <a16:creationId xmlns:a16="http://schemas.microsoft.com/office/drawing/2014/main" id="{050883F6-922F-4AA3-AD5C-22092A6F9D9D}"/>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44" name="Freeform 54">
              <a:extLst>
                <a:ext uri="{FF2B5EF4-FFF2-40B4-BE49-F238E27FC236}">
                  <a16:creationId xmlns:a16="http://schemas.microsoft.com/office/drawing/2014/main" id="{67C219C5-9DC5-4A4E-A167-40A79407DDD7}"/>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45" name="Freeform 55">
              <a:extLst>
                <a:ext uri="{FF2B5EF4-FFF2-40B4-BE49-F238E27FC236}">
                  <a16:creationId xmlns:a16="http://schemas.microsoft.com/office/drawing/2014/main" id="{3ADD9508-7573-46FA-A133-52A45D8D9E9D}"/>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46" name="Freeform 56">
              <a:extLst>
                <a:ext uri="{FF2B5EF4-FFF2-40B4-BE49-F238E27FC236}">
                  <a16:creationId xmlns:a16="http://schemas.microsoft.com/office/drawing/2014/main" id="{84C3B601-3AA6-439E-AB2E-055F66824803}"/>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47" name="Freeform 57">
              <a:extLst>
                <a:ext uri="{FF2B5EF4-FFF2-40B4-BE49-F238E27FC236}">
                  <a16:creationId xmlns:a16="http://schemas.microsoft.com/office/drawing/2014/main" id="{9C3F81F6-A906-41B8-809C-81E3E7796BF0}"/>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48" name="Freeform 58">
              <a:extLst>
                <a:ext uri="{FF2B5EF4-FFF2-40B4-BE49-F238E27FC236}">
                  <a16:creationId xmlns:a16="http://schemas.microsoft.com/office/drawing/2014/main" id="{092A92CF-7771-4F83-8668-EB4597D1293D}"/>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49" name="Freeform 59">
              <a:extLst>
                <a:ext uri="{FF2B5EF4-FFF2-40B4-BE49-F238E27FC236}">
                  <a16:creationId xmlns:a16="http://schemas.microsoft.com/office/drawing/2014/main" id="{2C0AAF32-CA99-4A61-8484-037914D876A7}"/>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50" name="Freeform 60">
              <a:extLst>
                <a:ext uri="{FF2B5EF4-FFF2-40B4-BE49-F238E27FC236}">
                  <a16:creationId xmlns:a16="http://schemas.microsoft.com/office/drawing/2014/main" id="{56EC1D88-37F8-4BF6-BDE1-CEC565D6898C}"/>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51" name="Freeform 61">
              <a:extLst>
                <a:ext uri="{FF2B5EF4-FFF2-40B4-BE49-F238E27FC236}">
                  <a16:creationId xmlns:a16="http://schemas.microsoft.com/office/drawing/2014/main" id="{9329F3FE-A769-46E8-85F9-08B3DAB9F3D5}"/>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52" name="Freeform 62">
              <a:extLst>
                <a:ext uri="{FF2B5EF4-FFF2-40B4-BE49-F238E27FC236}">
                  <a16:creationId xmlns:a16="http://schemas.microsoft.com/office/drawing/2014/main" id="{48283C57-B1B9-4CAD-9420-E2916DCE8EEC}"/>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53" name="Freeform 63">
              <a:extLst>
                <a:ext uri="{FF2B5EF4-FFF2-40B4-BE49-F238E27FC236}">
                  <a16:creationId xmlns:a16="http://schemas.microsoft.com/office/drawing/2014/main" id="{20615EE6-A230-43FF-A8E0-82C57D1DBC28}"/>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54" name="Freeform 64">
              <a:extLst>
                <a:ext uri="{FF2B5EF4-FFF2-40B4-BE49-F238E27FC236}">
                  <a16:creationId xmlns:a16="http://schemas.microsoft.com/office/drawing/2014/main" id="{E8A79FD7-28F2-469B-B4E6-EEA3E30672C4}"/>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55" name="Freeform 65">
              <a:extLst>
                <a:ext uri="{FF2B5EF4-FFF2-40B4-BE49-F238E27FC236}">
                  <a16:creationId xmlns:a16="http://schemas.microsoft.com/office/drawing/2014/main" id="{38A66292-83AD-4A7E-A57F-A618C5CD8BD6}"/>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56" name="Freeform 66">
              <a:extLst>
                <a:ext uri="{FF2B5EF4-FFF2-40B4-BE49-F238E27FC236}">
                  <a16:creationId xmlns:a16="http://schemas.microsoft.com/office/drawing/2014/main" id="{2AC0A6D6-71A9-4490-B6E0-A3432241F8C8}"/>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57" name="Freeform 67">
              <a:extLst>
                <a:ext uri="{FF2B5EF4-FFF2-40B4-BE49-F238E27FC236}">
                  <a16:creationId xmlns:a16="http://schemas.microsoft.com/office/drawing/2014/main" id="{96C89FDF-3FEE-4C3F-BB18-346C51111C14}"/>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58" name="Freeform 68">
              <a:extLst>
                <a:ext uri="{FF2B5EF4-FFF2-40B4-BE49-F238E27FC236}">
                  <a16:creationId xmlns:a16="http://schemas.microsoft.com/office/drawing/2014/main" id="{BED28941-B23E-411F-9088-2255CDF87B95}"/>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59" name="Freeform 69">
              <a:extLst>
                <a:ext uri="{FF2B5EF4-FFF2-40B4-BE49-F238E27FC236}">
                  <a16:creationId xmlns:a16="http://schemas.microsoft.com/office/drawing/2014/main" id="{43111DDA-D8C2-4C8A-867F-813178BE5698}"/>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60" name="Freeform 70">
              <a:extLst>
                <a:ext uri="{FF2B5EF4-FFF2-40B4-BE49-F238E27FC236}">
                  <a16:creationId xmlns:a16="http://schemas.microsoft.com/office/drawing/2014/main" id="{DC674822-180F-451A-A745-1BDE9955F709}"/>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61" name="Freeform 71">
              <a:extLst>
                <a:ext uri="{FF2B5EF4-FFF2-40B4-BE49-F238E27FC236}">
                  <a16:creationId xmlns:a16="http://schemas.microsoft.com/office/drawing/2014/main" id="{D304E291-21AF-46F4-B002-649639D6F778}"/>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62" name="Freeform 72">
              <a:extLst>
                <a:ext uri="{FF2B5EF4-FFF2-40B4-BE49-F238E27FC236}">
                  <a16:creationId xmlns:a16="http://schemas.microsoft.com/office/drawing/2014/main" id="{15FE4345-F03C-46D8-B3C7-9AD3124CEE7C}"/>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63" name="Freeform 73">
              <a:extLst>
                <a:ext uri="{FF2B5EF4-FFF2-40B4-BE49-F238E27FC236}">
                  <a16:creationId xmlns:a16="http://schemas.microsoft.com/office/drawing/2014/main" id="{A5645239-21A8-4561-99D1-52BEC7C28786}"/>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64" name="Freeform 74">
              <a:extLst>
                <a:ext uri="{FF2B5EF4-FFF2-40B4-BE49-F238E27FC236}">
                  <a16:creationId xmlns:a16="http://schemas.microsoft.com/office/drawing/2014/main" id="{AD514A6C-1689-44BB-BF3A-499513FFA757}"/>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65" name="Freeform 75">
              <a:extLst>
                <a:ext uri="{FF2B5EF4-FFF2-40B4-BE49-F238E27FC236}">
                  <a16:creationId xmlns:a16="http://schemas.microsoft.com/office/drawing/2014/main" id="{52562F98-0AC3-4D36-A7ED-171D79D2150F}"/>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66" name="Freeform 76">
              <a:extLst>
                <a:ext uri="{FF2B5EF4-FFF2-40B4-BE49-F238E27FC236}">
                  <a16:creationId xmlns:a16="http://schemas.microsoft.com/office/drawing/2014/main" id="{B497126A-74DC-4539-9E8B-F3FBBDCFFDA2}"/>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67" name="Freeform 77">
              <a:extLst>
                <a:ext uri="{FF2B5EF4-FFF2-40B4-BE49-F238E27FC236}">
                  <a16:creationId xmlns:a16="http://schemas.microsoft.com/office/drawing/2014/main" id="{A377FBAE-5B33-4143-AFE3-664BC81BD218}"/>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68" name="Freeform 78">
              <a:extLst>
                <a:ext uri="{FF2B5EF4-FFF2-40B4-BE49-F238E27FC236}">
                  <a16:creationId xmlns:a16="http://schemas.microsoft.com/office/drawing/2014/main" id="{F883BA56-5EC1-4C60-96B1-1286EF006FAD}"/>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69" name="Freeform 79">
              <a:extLst>
                <a:ext uri="{FF2B5EF4-FFF2-40B4-BE49-F238E27FC236}">
                  <a16:creationId xmlns:a16="http://schemas.microsoft.com/office/drawing/2014/main" id="{8733E948-14EF-488E-932D-FE8A617E0F36}"/>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70" name="Freeform 80">
              <a:extLst>
                <a:ext uri="{FF2B5EF4-FFF2-40B4-BE49-F238E27FC236}">
                  <a16:creationId xmlns:a16="http://schemas.microsoft.com/office/drawing/2014/main" id="{CC571DFC-D3D1-4CA8-AC6C-DB95D105FEBB}"/>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71" name="Freeform 81">
              <a:extLst>
                <a:ext uri="{FF2B5EF4-FFF2-40B4-BE49-F238E27FC236}">
                  <a16:creationId xmlns:a16="http://schemas.microsoft.com/office/drawing/2014/main" id="{E0CBD3F3-598A-4B79-9A2E-ECFC963D3CB3}"/>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2072" name="Group 44">
            <a:extLst>
              <a:ext uri="{FF2B5EF4-FFF2-40B4-BE49-F238E27FC236}">
                <a16:creationId xmlns:a16="http://schemas.microsoft.com/office/drawing/2014/main" id="{521F817B-4A66-4FA8-A7B2-A01802F3305E}"/>
              </a:ext>
            </a:extLst>
          </p:cNvPr>
          <p:cNvGrpSpPr>
            <a:grpSpLocks noChangeAspect="1"/>
          </p:cNvGrpSpPr>
          <p:nvPr/>
        </p:nvGrpSpPr>
        <p:grpSpPr bwMode="auto">
          <a:xfrm flipV="1">
            <a:off x="4018432" y="3467933"/>
            <a:ext cx="247974" cy="248154"/>
            <a:chOff x="1608" y="347"/>
            <a:chExt cx="2544" cy="2546"/>
          </a:xfrm>
        </p:grpSpPr>
        <p:sp>
          <p:nvSpPr>
            <p:cNvPr id="2073" name="Oval 45">
              <a:extLst>
                <a:ext uri="{FF2B5EF4-FFF2-40B4-BE49-F238E27FC236}">
                  <a16:creationId xmlns:a16="http://schemas.microsoft.com/office/drawing/2014/main" id="{BDB8C4C4-A02F-4DA1-A600-E30166A0ED0B}"/>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74" name="Freeform 46">
              <a:extLst>
                <a:ext uri="{FF2B5EF4-FFF2-40B4-BE49-F238E27FC236}">
                  <a16:creationId xmlns:a16="http://schemas.microsoft.com/office/drawing/2014/main" id="{5A4594C6-A435-4B36-BC52-C2876C487EFD}"/>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75" name="Freeform 47">
              <a:extLst>
                <a:ext uri="{FF2B5EF4-FFF2-40B4-BE49-F238E27FC236}">
                  <a16:creationId xmlns:a16="http://schemas.microsoft.com/office/drawing/2014/main" id="{299C3DDE-8166-4982-A543-5600537DA64D}"/>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76" name="Freeform 48">
              <a:extLst>
                <a:ext uri="{FF2B5EF4-FFF2-40B4-BE49-F238E27FC236}">
                  <a16:creationId xmlns:a16="http://schemas.microsoft.com/office/drawing/2014/main" id="{E0D1A3FF-9B20-480F-A948-A4948DA1C6C0}"/>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77" name="Freeform 49">
              <a:extLst>
                <a:ext uri="{FF2B5EF4-FFF2-40B4-BE49-F238E27FC236}">
                  <a16:creationId xmlns:a16="http://schemas.microsoft.com/office/drawing/2014/main" id="{60B6BEA6-98D7-47EA-9CD7-A3DDE8DCF2D1}"/>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78" name="Freeform 50">
              <a:extLst>
                <a:ext uri="{FF2B5EF4-FFF2-40B4-BE49-F238E27FC236}">
                  <a16:creationId xmlns:a16="http://schemas.microsoft.com/office/drawing/2014/main" id="{92DE715B-3785-40F0-8304-BD270D7CACC6}"/>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79" name="Freeform 51">
              <a:extLst>
                <a:ext uri="{FF2B5EF4-FFF2-40B4-BE49-F238E27FC236}">
                  <a16:creationId xmlns:a16="http://schemas.microsoft.com/office/drawing/2014/main" id="{A5F54B17-E0FA-47B1-B447-FCB8AF7D2D58}"/>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80" name="Freeform 52">
              <a:extLst>
                <a:ext uri="{FF2B5EF4-FFF2-40B4-BE49-F238E27FC236}">
                  <a16:creationId xmlns:a16="http://schemas.microsoft.com/office/drawing/2014/main" id="{A17F4083-1942-4C70-9529-87F2CAE18B4F}"/>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81" name="Freeform 53">
              <a:extLst>
                <a:ext uri="{FF2B5EF4-FFF2-40B4-BE49-F238E27FC236}">
                  <a16:creationId xmlns:a16="http://schemas.microsoft.com/office/drawing/2014/main" id="{070EC434-AAC2-4EEE-BADC-D03B6C35158F}"/>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82" name="Freeform 54">
              <a:extLst>
                <a:ext uri="{FF2B5EF4-FFF2-40B4-BE49-F238E27FC236}">
                  <a16:creationId xmlns:a16="http://schemas.microsoft.com/office/drawing/2014/main" id="{7A47B4DD-1F5E-4B28-8457-47A232EA308A}"/>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83" name="Freeform 55">
              <a:extLst>
                <a:ext uri="{FF2B5EF4-FFF2-40B4-BE49-F238E27FC236}">
                  <a16:creationId xmlns:a16="http://schemas.microsoft.com/office/drawing/2014/main" id="{6DD869A0-78BF-4F3F-8799-0E0E77F209EA}"/>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84" name="Freeform 56">
              <a:extLst>
                <a:ext uri="{FF2B5EF4-FFF2-40B4-BE49-F238E27FC236}">
                  <a16:creationId xmlns:a16="http://schemas.microsoft.com/office/drawing/2014/main" id="{74F59BD6-53D7-430D-AE64-8A8F43BCEAF8}"/>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85" name="Freeform 57">
              <a:extLst>
                <a:ext uri="{FF2B5EF4-FFF2-40B4-BE49-F238E27FC236}">
                  <a16:creationId xmlns:a16="http://schemas.microsoft.com/office/drawing/2014/main" id="{4CAE79EC-C7DE-447D-95FA-2D3E4683B305}"/>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86" name="Freeform 58">
              <a:extLst>
                <a:ext uri="{FF2B5EF4-FFF2-40B4-BE49-F238E27FC236}">
                  <a16:creationId xmlns:a16="http://schemas.microsoft.com/office/drawing/2014/main" id="{3E0365A2-533E-4164-B71A-2A45B599EA80}"/>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87" name="Freeform 59">
              <a:extLst>
                <a:ext uri="{FF2B5EF4-FFF2-40B4-BE49-F238E27FC236}">
                  <a16:creationId xmlns:a16="http://schemas.microsoft.com/office/drawing/2014/main" id="{C8170AA4-EB6C-49CE-A73A-65DDEE4AE552}"/>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88" name="Freeform 60">
              <a:extLst>
                <a:ext uri="{FF2B5EF4-FFF2-40B4-BE49-F238E27FC236}">
                  <a16:creationId xmlns:a16="http://schemas.microsoft.com/office/drawing/2014/main" id="{715F49CB-C432-4FE1-B815-2A800F1F0575}"/>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89" name="Freeform 61">
              <a:extLst>
                <a:ext uri="{FF2B5EF4-FFF2-40B4-BE49-F238E27FC236}">
                  <a16:creationId xmlns:a16="http://schemas.microsoft.com/office/drawing/2014/main" id="{6B1EE00E-974D-4E80-8667-2F5E19C8EDA1}"/>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90" name="Freeform 62">
              <a:extLst>
                <a:ext uri="{FF2B5EF4-FFF2-40B4-BE49-F238E27FC236}">
                  <a16:creationId xmlns:a16="http://schemas.microsoft.com/office/drawing/2014/main" id="{DA9271AE-6CC0-49ED-8D21-479303ADEE97}"/>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91" name="Freeform 63">
              <a:extLst>
                <a:ext uri="{FF2B5EF4-FFF2-40B4-BE49-F238E27FC236}">
                  <a16:creationId xmlns:a16="http://schemas.microsoft.com/office/drawing/2014/main" id="{01F41B6B-1B4C-417B-B825-CC530481004C}"/>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92" name="Freeform 64">
              <a:extLst>
                <a:ext uri="{FF2B5EF4-FFF2-40B4-BE49-F238E27FC236}">
                  <a16:creationId xmlns:a16="http://schemas.microsoft.com/office/drawing/2014/main" id="{52529714-F489-41C9-9A04-BBA98D619E7C}"/>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93" name="Freeform 65">
              <a:extLst>
                <a:ext uri="{FF2B5EF4-FFF2-40B4-BE49-F238E27FC236}">
                  <a16:creationId xmlns:a16="http://schemas.microsoft.com/office/drawing/2014/main" id="{8BD1A6D9-0D7A-4F91-88C1-A696EEA55626}"/>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94" name="Freeform 66">
              <a:extLst>
                <a:ext uri="{FF2B5EF4-FFF2-40B4-BE49-F238E27FC236}">
                  <a16:creationId xmlns:a16="http://schemas.microsoft.com/office/drawing/2014/main" id="{6A989484-1385-4458-BF16-BD7315FC5F9E}"/>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95" name="Freeform 67">
              <a:extLst>
                <a:ext uri="{FF2B5EF4-FFF2-40B4-BE49-F238E27FC236}">
                  <a16:creationId xmlns:a16="http://schemas.microsoft.com/office/drawing/2014/main" id="{917F0F5C-0114-4356-ABDF-19BE8360C00E}"/>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96" name="Freeform 68">
              <a:extLst>
                <a:ext uri="{FF2B5EF4-FFF2-40B4-BE49-F238E27FC236}">
                  <a16:creationId xmlns:a16="http://schemas.microsoft.com/office/drawing/2014/main" id="{A0304CAD-FCE5-4822-ACD7-536D3A7DC3D1}"/>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97" name="Freeform 69">
              <a:extLst>
                <a:ext uri="{FF2B5EF4-FFF2-40B4-BE49-F238E27FC236}">
                  <a16:creationId xmlns:a16="http://schemas.microsoft.com/office/drawing/2014/main" id="{4BDEFCA2-3339-4D1D-823A-37FDEA602BFC}"/>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98" name="Freeform 70">
              <a:extLst>
                <a:ext uri="{FF2B5EF4-FFF2-40B4-BE49-F238E27FC236}">
                  <a16:creationId xmlns:a16="http://schemas.microsoft.com/office/drawing/2014/main" id="{517C9566-7E50-4731-A7FB-D751FCBC9E73}"/>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099" name="Freeform 71">
              <a:extLst>
                <a:ext uri="{FF2B5EF4-FFF2-40B4-BE49-F238E27FC236}">
                  <a16:creationId xmlns:a16="http://schemas.microsoft.com/office/drawing/2014/main" id="{D89289E5-3F20-45B5-84EA-65D6FC57FC9E}"/>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00" name="Freeform 72">
              <a:extLst>
                <a:ext uri="{FF2B5EF4-FFF2-40B4-BE49-F238E27FC236}">
                  <a16:creationId xmlns:a16="http://schemas.microsoft.com/office/drawing/2014/main" id="{08E7A6F2-3F09-4E63-AFE3-F8083BDE0FFF}"/>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01" name="Freeform 73">
              <a:extLst>
                <a:ext uri="{FF2B5EF4-FFF2-40B4-BE49-F238E27FC236}">
                  <a16:creationId xmlns:a16="http://schemas.microsoft.com/office/drawing/2014/main" id="{116BFDE9-3C4C-468D-AC05-12454555B5DD}"/>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02" name="Freeform 74">
              <a:extLst>
                <a:ext uri="{FF2B5EF4-FFF2-40B4-BE49-F238E27FC236}">
                  <a16:creationId xmlns:a16="http://schemas.microsoft.com/office/drawing/2014/main" id="{F41462BA-0947-49B4-9253-DA411CE1D00E}"/>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03" name="Freeform 75">
              <a:extLst>
                <a:ext uri="{FF2B5EF4-FFF2-40B4-BE49-F238E27FC236}">
                  <a16:creationId xmlns:a16="http://schemas.microsoft.com/office/drawing/2014/main" id="{E6044A20-C011-4199-95BF-3A2A21A08FA0}"/>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04" name="Freeform 76">
              <a:extLst>
                <a:ext uri="{FF2B5EF4-FFF2-40B4-BE49-F238E27FC236}">
                  <a16:creationId xmlns:a16="http://schemas.microsoft.com/office/drawing/2014/main" id="{B78C167C-A63A-4738-A94E-3F5FB3EC1E6D}"/>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05" name="Freeform 77">
              <a:extLst>
                <a:ext uri="{FF2B5EF4-FFF2-40B4-BE49-F238E27FC236}">
                  <a16:creationId xmlns:a16="http://schemas.microsoft.com/office/drawing/2014/main" id="{A169E529-B0E4-4297-8347-039B39B7BFD1}"/>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06" name="Freeform 78">
              <a:extLst>
                <a:ext uri="{FF2B5EF4-FFF2-40B4-BE49-F238E27FC236}">
                  <a16:creationId xmlns:a16="http://schemas.microsoft.com/office/drawing/2014/main" id="{B926BCA8-D2E6-4B1E-B3B8-8A0FFA7EEB93}"/>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07" name="Freeform 79">
              <a:extLst>
                <a:ext uri="{FF2B5EF4-FFF2-40B4-BE49-F238E27FC236}">
                  <a16:creationId xmlns:a16="http://schemas.microsoft.com/office/drawing/2014/main" id="{DF597D7E-7F1A-4CE2-A8FC-C5B70EDF32C3}"/>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08" name="Freeform 80">
              <a:extLst>
                <a:ext uri="{FF2B5EF4-FFF2-40B4-BE49-F238E27FC236}">
                  <a16:creationId xmlns:a16="http://schemas.microsoft.com/office/drawing/2014/main" id="{AA20C0CB-A96A-4C4A-9993-58C592996C26}"/>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09" name="Freeform 81">
              <a:extLst>
                <a:ext uri="{FF2B5EF4-FFF2-40B4-BE49-F238E27FC236}">
                  <a16:creationId xmlns:a16="http://schemas.microsoft.com/office/drawing/2014/main" id="{D8D4C965-DC95-4AEA-A993-80D543ACC48E}"/>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2111" name="Group 44">
            <a:extLst>
              <a:ext uri="{FF2B5EF4-FFF2-40B4-BE49-F238E27FC236}">
                <a16:creationId xmlns:a16="http://schemas.microsoft.com/office/drawing/2014/main" id="{2F84D42D-58DB-4517-8A4A-81FCC95057D5}"/>
              </a:ext>
            </a:extLst>
          </p:cNvPr>
          <p:cNvGrpSpPr>
            <a:grpSpLocks noChangeAspect="1"/>
          </p:cNvGrpSpPr>
          <p:nvPr/>
        </p:nvGrpSpPr>
        <p:grpSpPr bwMode="auto">
          <a:xfrm flipV="1">
            <a:off x="4443514" y="3975865"/>
            <a:ext cx="247974" cy="248154"/>
            <a:chOff x="1608" y="347"/>
            <a:chExt cx="2544" cy="2546"/>
          </a:xfrm>
        </p:grpSpPr>
        <p:sp>
          <p:nvSpPr>
            <p:cNvPr id="2112" name="Oval 45">
              <a:extLst>
                <a:ext uri="{FF2B5EF4-FFF2-40B4-BE49-F238E27FC236}">
                  <a16:creationId xmlns:a16="http://schemas.microsoft.com/office/drawing/2014/main" id="{BA4F715A-C512-453B-8CCC-B64B32C71F5A}"/>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13" name="Freeform 46">
              <a:extLst>
                <a:ext uri="{FF2B5EF4-FFF2-40B4-BE49-F238E27FC236}">
                  <a16:creationId xmlns:a16="http://schemas.microsoft.com/office/drawing/2014/main" id="{D465B0CC-B3ED-47CB-BD91-F24E04D73DE4}"/>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14" name="Freeform 47">
              <a:extLst>
                <a:ext uri="{FF2B5EF4-FFF2-40B4-BE49-F238E27FC236}">
                  <a16:creationId xmlns:a16="http://schemas.microsoft.com/office/drawing/2014/main" id="{69DD1921-3A5F-4635-8D80-F5C0963C27F6}"/>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15" name="Freeform 48">
              <a:extLst>
                <a:ext uri="{FF2B5EF4-FFF2-40B4-BE49-F238E27FC236}">
                  <a16:creationId xmlns:a16="http://schemas.microsoft.com/office/drawing/2014/main" id="{DF90FD98-D254-4BCA-B238-88AB0A9FBCF4}"/>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16" name="Freeform 49">
              <a:extLst>
                <a:ext uri="{FF2B5EF4-FFF2-40B4-BE49-F238E27FC236}">
                  <a16:creationId xmlns:a16="http://schemas.microsoft.com/office/drawing/2014/main" id="{BA991052-A429-4693-A6EA-DB95F0F61B66}"/>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17" name="Freeform 50">
              <a:extLst>
                <a:ext uri="{FF2B5EF4-FFF2-40B4-BE49-F238E27FC236}">
                  <a16:creationId xmlns:a16="http://schemas.microsoft.com/office/drawing/2014/main" id="{73B0E9F7-51D1-4D9B-BD6A-13380CDE6979}"/>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18" name="Freeform 51">
              <a:extLst>
                <a:ext uri="{FF2B5EF4-FFF2-40B4-BE49-F238E27FC236}">
                  <a16:creationId xmlns:a16="http://schemas.microsoft.com/office/drawing/2014/main" id="{61867F37-D5AE-4267-97C9-B0871EC0CFAD}"/>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19" name="Freeform 52">
              <a:extLst>
                <a:ext uri="{FF2B5EF4-FFF2-40B4-BE49-F238E27FC236}">
                  <a16:creationId xmlns:a16="http://schemas.microsoft.com/office/drawing/2014/main" id="{A022F4D8-AC66-484E-BBD6-BE046C993D75}"/>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20" name="Freeform 53">
              <a:extLst>
                <a:ext uri="{FF2B5EF4-FFF2-40B4-BE49-F238E27FC236}">
                  <a16:creationId xmlns:a16="http://schemas.microsoft.com/office/drawing/2014/main" id="{9C29BCBF-1149-478A-A706-A4551B9C7466}"/>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21" name="Freeform 54">
              <a:extLst>
                <a:ext uri="{FF2B5EF4-FFF2-40B4-BE49-F238E27FC236}">
                  <a16:creationId xmlns:a16="http://schemas.microsoft.com/office/drawing/2014/main" id="{1313D99B-8A4A-4F79-B45A-C750FF7A1AF7}"/>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22" name="Freeform 55">
              <a:extLst>
                <a:ext uri="{FF2B5EF4-FFF2-40B4-BE49-F238E27FC236}">
                  <a16:creationId xmlns:a16="http://schemas.microsoft.com/office/drawing/2014/main" id="{213F63B5-D8F1-4D0E-AE48-388051D7FEE8}"/>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23" name="Freeform 56">
              <a:extLst>
                <a:ext uri="{FF2B5EF4-FFF2-40B4-BE49-F238E27FC236}">
                  <a16:creationId xmlns:a16="http://schemas.microsoft.com/office/drawing/2014/main" id="{10860948-5ED1-4C3B-B732-53C4B590642E}"/>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24" name="Freeform 57">
              <a:extLst>
                <a:ext uri="{FF2B5EF4-FFF2-40B4-BE49-F238E27FC236}">
                  <a16:creationId xmlns:a16="http://schemas.microsoft.com/office/drawing/2014/main" id="{87965343-9BEE-4030-B61E-CBA29F61B82D}"/>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25" name="Freeform 58">
              <a:extLst>
                <a:ext uri="{FF2B5EF4-FFF2-40B4-BE49-F238E27FC236}">
                  <a16:creationId xmlns:a16="http://schemas.microsoft.com/office/drawing/2014/main" id="{F6A9F1EC-440D-4491-80B3-E0C6455135BF}"/>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26" name="Freeform 59">
              <a:extLst>
                <a:ext uri="{FF2B5EF4-FFF2-40B4-BE49-F238E27FC236}">
                  <a16:creationId xmlns:a16="http://schemas.microsoft.com/office/drawing/2014/main" id="{ABB525CC-EDE0-4052-92C5-DA41FB5786D3}"/>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27" name="Freeform 60">
              <a:extLst>
                <a:ext uri="{FF2B5EF4-FFF2-40B4-BE49-F238E27FC236}">
                  <a16:creationId xmlns:a16="http://schemas.microsoft.com/office/drawing/2014/main" id="{ACD4B80B-9EDD-4778-B553-AC00E719D312}"/>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28" name="Freeform 61">
              <a:extLst>
                <a:ext uri="{FF2B5EF4-FFF2-40B4-BE49-F238E27FC236}">
                  <a16:creationId xmlns:a16="http://schemas.microsoft.com/office/drawing/2014/main" id="{396D64A4-80CF-4928-9EE4-A838A417612D}"/>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29" name="Freeform 62">
              <a:extLst>
                <a:ext uri="{FF2B5EF4-FFF2-40B4-BE49-F238E27FC236}">
                  <a16:creationId xmlns:a16="http://schemas.microsoft.com/office/drawing/2014/main" id="{AAD185DC-891E-4E36-848B-4FF1A5A4F0B8}"/>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30" name="Freeform 63">
              <a:extLst>
                <a:ext uri="{FF2B5EF4-FFF2-40B4-BE49-F238E27FC236}">
                  <a16:creationId xmlns:a16="http://schemas.microsoft.com/office/drawing/2014/main" id="{B0AC3821-26B3-4D96-9D0A-AE54C3045CE4}"/>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31" name="Freeform 64">
              <a:extLst>
                <a:ext uri="{FF2B5EF4-FFF2-40B4-BE49-F238E27FC236}">
                  <a16:creationId xmlns:a16="http://schemas.microsoft.com/office/drawing/2014/main" id="{A0F52BE7-E0DC-4743-B484-633267787300}"/>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32" name="Freeform 65">
              <a:extLst>
                <a:ext uri="{FF2B5EF4-FFF2-40B4-BE49-F238E27FC236}">
                  <a16:creationId xmlns:a16="http://schemas.microsoft.com/office/drawing/2014/main" id="{B0E64F1B-8095-4E14-9BE8-44442B165788}"/>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33" name="Freeform 66">
              <a:extLst>
                <a:ext uri="{FF2B5EF4-FFF2-40B4-BE49-F238E27FC236}">
                  <a16:creationId xmlns:a16="http://schemas.microsoft.com/office/drawing/2014/main" id="{1E0B4016-42FE-497D-B630-248DBCE44A4F}"/>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34" name="Freeform 67">
              <a:extLst>
                <a:ext uri="{FF2B5EF4-FFF2-40B4-BE49-F238E27FC236}">
                  <a16:creationId xmlns:a16="http://schemas.microsoft.com/office/drawing/2014/main" id="{0230BDD7-A797-4F9A-976C-B29C80354E39}"/>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35" name="Freeform 68">
              <a:extLst>
                <a:ext uri="{FF2B5EF4-FFF2-40B4-BE49-F238E27FC236}">
                  <a16:creationId xmlns:a16="http://schemas.microsoft.com/office/drawing/2014/main" id="{1027C4D2-2654-4354-B772-4880E3E7C7FF}"/>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36" name="Freeform 69">
              <a:extLst>
                <a:ext uri="{FF2B5EF4-FFF2-40B4-BE49-F238E27FC236}">
                  <a16:creationId xmlns:a16="http://schemas.microsoft.com/office/drawing/2014/main" id="{43693416-2505-4D0D-9277-B133E631CE4F}"/>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37" name="Freeform 70">
              <a:extLst>
                <a:ext uri="{FF2B5EF4-FFF2-40B4-BE49-F238E27FC236}">
                  <a16:creationId xmlns:a16="http://schemas.microsoft.com/office/drawing/2014/main" id="{8B300D86-B63F-4CB6-A953-BCA8FF6FF5F0}"/>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38" name="Freeform 71">
              <a:extLst>
                <a:ext uri="{FF2B5EF4-FFF2-40B4-BE49-F238E27FC236}">
                  <a16:creationId xmlns:a16="http://schemas.microsoft.com/office/drawing/2014/main" id="{576BBA45-1255-46C9-99BB-89EA9252860A}"/>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39" name="Freeform 72">
              <a:extLst>
                <a:ext uri="{FF2B5EF4-FFF2-40B4-BE49-F238E27FC236}">
                  <a16:creationId xmlns:a16="http://schemas.microsoft.com/office/drawing/2014/main" id="{E6480263-EE73-421D-B563-B3E5DF2F17E5}"/>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40" name="Freeform 73">
              <a:extLst>
                <a:ext uri="{FF2B5EF4-FFF2-40B4-BE49-F238E27FC236}">
                  <a16:creationId xmlns:a16="http://schemas.microsoft.com/office/drawing/2014/main" id="{6F66A23E-92AF-426D-8B0C-9F30D1FAB322}"/>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41" name="Freeform 74">
              <a:extLst>
                <a:ext uri="{FF2B5EF4-FFF2-40B4-BE49-F238E27FC236}">
                  <a16:creationId xmlns:a16="http://schemas.microsoft.com/office/drawing/2014/main" id="{970C883A-FDAD-4ADE-BF21-49F78206D9A6}"/>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42" name="Freeform 75">
              <a:extLst>
                <a:ext uri="{FF2B5EF4-FFF2-40B4-BE49-F238E27FC236}">
                  <a16:creationId xmlns:a16="http://schemas.microsoft.com/office/drawing/2014/main" id="{285E9EC3-18FB-43E0-91DA-6FA93B95A0B5}"/>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43" name="Freeform 76">
              <a:extLst>
                <a:ext uri="{FF2B5EF4-FFF2-40B4-BE49-F238E27FC236}">
                  <a16:creationId xmlns:a16="http://schemas.microsoft.com/office/drawing/2014/main" id="{34F4376E-29B4-4A4F-8D19-45D24E697DD3}"/>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44" name="Freeform 77">
              <a:extLst>
                <a:ext uri="{FF2B5EF4-FFF2-40B4-BE49-F238E27FC236}">
                  <a16:creationId xmlns:a16="http://schemas.microsoft.com/office/drawing/2014/main" id="{F7EA0690-C2A9-4741-A5BF-99C996B21758}"/>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45" name="Freeform 78">
              <a:extLst>
                <a:ext uri="{FF2B5EF4-FFF2-40B4-BE49-F238E27FC236}">
                  <a16:creationId xmlns:a16="http://schemas.microsoft.com/office/drawing/2014/main" id="{AFD7E9DC-398E-4456-9330-5812AC4D8A57}"/>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46" name="Freeform 79">
              <a:extLst>
                <a:ext uri="{FF2B5EF4-FFF2-40B4-BE49-F238E27FC236}">
                  <a16:creationId xmlns:a16="http://schemas.microsoft.com/office/drawing/2014/main" id="{FCA4508C-06B3-4CC8-BBD0-5118BDDAB9E6}"/>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47" name="Freeform 80">
              <a:extLst>
                <a:ext uri="{FF2B5EF4-FFF2-40B4-BE49-F238E27FC236}">
                  <a16:creationId xmlns:a16="http://schemas.microsoft.com/office/drawing/2014/main" id="{951906C2-C135-47D0-94A2-30F4684D76CC}"/>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148" name="Freeform 81">
              <a:extLst>
                <a:ext uri="{FF2B5EF4-FFF2-40B4-BE49-F238E27FC236}">
                  <a16:creationId xmlns:a16="http://schemas.microsoft.com/office/drawing/2014/main" id="{28615B63-0893-4F7C-A84F-18B697795F28}"/>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2" name="Group 1">
            <a:extLst>
              <a:ext uri="{FF2B5EF4-FFF2-40B4-BE49-F238E27FC236}">
                <a16:creationId xmlns:a16="http://schemas.microsoft.com/office/drawing/2014/main" id="{4B94DB0F-7EB0-4913-801D-99ABA31FA21C}"/>
              </a:ext>
            </a:extLst>
          </p:cNvPr>
          <p:cNvGrpSpPr/>
          <p:nvPr/>
        </p:nvGrpSpPr>
        <p:grpSpPr>
          <a:xfrm>
            <a:off x="2957800" y="1364941"/>
            <a:ext cx="590214" cy="590214"/>
            <a:chOff x="1547664" y="1885950"/>
            <a:chExt cx="1370525" cy="1371600"/>
          </a:xfrm>
        </p:grpSpPr>
        <p:sp>
          <p:nvSpPr>
            <p:cNvPr id="3" name="Oval 5">
              <a:extLst>
                <a:ext uri="{FF2B5EF4-FFF2-40B4-BE49-F238E27FC236}">
                  <a16:creationId xmlns:a16="http://schemas.microsoft.com/office/drawing/2014/main" id="{7C0FF95A-3CC2-4D4F-B953-678AD1CE2CC7}"/>
                </a:ext>
              </a:extLst>
            </p:cNvPr>
            <p:cNvSpPr>
              <a:spLocks noChangeArrowheads="1"/>
            </p:cNvSpPr>
            <p:nvPr/>
          </p:nvSpPr>
          <p:spPr bwMode="auto">
            <a:xfrm>
              <a:off x="1547664" y="1885950"/>
              <a:ext cx="1370525" cy="1371600"/>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4" name="Freeform 6">
              <a:extLst>
                <a:ext uri="{FF2B5EF4-FFF2-40B4-BE49-F238E27FC236}">
                  <a16:creationId xmlns:a16="http://schemas.microsoft.com/office/drawing/2014/main" id="{5EE6A6E2-EFC4-4ADD-A4CC-7174FC5348CD}"/>
                </a:ext>
              </a:extLst>
            </p:cNvPr>
            <p:cNvSpPr>
              <a:spLocks/>
            </p:cNvSpPr>
            <p:nvPr/>
          </p:nvSpPr>
          <p:spPr bwMode="auto">
            <a:xfrm>
              <a:off x="1669417" y="2233429"/>
              <a:ext cx="1247695" cy="1024121"/>
            </a:xfrm>
            <a:custGeom>
              <a:avLst/>
              <a:gdLst>
                <a:gd name="T0" fmla="*/ 977 w 1311"/>
                <a:gd name="T1" fmla="*/ 49 h 1075"/>
                <a:gd name="T2" fmla="*/ 882 w 1311"/>
                <a:gd name="T3" fmla="*/ 0 h 1075"/>
                <a:gd name="T4" fmla="*/ 728 w 1311"/>
                <a:gd name="T5" fmla="*/ 0 h 1075"/>
                <a:gd name="T6" fmla="*/ 600 w 1311"/>
                <a:gd name="T7" fmla="*/ 128 h 1075"/>
                <a:gd name="T8" fmla="*/ 607 w 1311"/>
                <a:gd name="T9" fmla="*/ 169 h 1075"/>
                <a:gd name="T10" fmla="*/ 393 w 1311"/>
                <a:gd name="T11" fmla="*/ 169 h 1075"/>
                <a:gd name="T12" fmla="*/ 265 w 1311"/>
                <a:gd name="T13" fmla="*/ 297 h 1075"/>
                <a:gd name="T14" fmla="*/ 271 w 1311"/>
                <a:gd name="T15" fmla="*/ 337 h 1075"/>
                <a:gd name="T16" fmla="*/ 128 w 1311"/>
                <a:gd name="T17" fmla="*/ 337 h 1075"/>
                <a:gd name="T18" fmla="*/ 0 w 1311"/>
                <a:gd name="T19" fmla="*/ 465 h 1075"/>
                <a:gd name="T20" fmla="*/ 36 w 1311"/>
                <a:gd name="T21" fmla="*/ 554 h 1075"/>
                <a:gd name="T22" fmla="*/ 556 w 1311"/>
                <a:gd name="T23" fmla="*/ 1074 h 1075"/>
                <a:gd name="T24" fmla="*/ 592 w 1311"/>
                <a:gd name="T25" fmla="*/ 1075 h 1075"/>
                <a:gd name="T26" fmla="*/ 1311 w 1311"/>
                <a:gd name="T27" fmla="*/ 384 h 1075"/>
                <a:gd name="T28" fmla="*/ 977 w 1311"/>
                <a:gd name="T29" fmla="*/ 49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11" h="1075">
                  <a:moveTo>
                    <a:pt x="977" y="49"/>
                  </a:moveTo>
                  <a:cubicBezTo>
                    <a:pt x="954" y="21"/>
                    <a:pt x="920" y="2"/>
                    <a:pt x="882" y="0"/>
                  </a:cubicBezTo>
                  <a:cubicBezTo>
                    <a:pt x="882" y="0"/>
                    <a:pt x="728" y="0"/>
                    <a:pt x="728" y="0"/>
                  </a:cubicBezTo>
                  <a:cubicBezTo>
                    <a:pt x="657" y="0"/>
                    <a:pt x="600" y="57"/>
                    <a:pt x="600" y="128"/>
                  </a:cubicBezTo>
                  <a:cubicBezTo>
                    <a:pt x="600" y="142"/>
                    <a:pt x="602" y="156"/>
                    <a:pt x="607" y="169"/>
                  </a:cubicBezTo>
                  <a:cubicBezTo>
                    <a:pt x="393" y="169"/>
                    <a:pt x="393" y="169"/>
                    <a:pt x="393" y="169"/>
                  </a:cubicBezTo>
                  <a:cubicBezTo>
                    <a:pt x="322" y="169"/>
                    <a:pt x="265" y="226"/>
                    <a:pt x="265" y="297"/>
                  </a:cubicBezTo>
                  <a:cubicBezTo>
                    <a:pt x="265" y="311"/>
                    <a:pt x="267" y="324"/>
                    <a:pt x="271" y="337"/>
                  </a:cubicBezTo>
                  <a:cubicBezTo>
                    <a:pt x="128" y="337"/>
                    <a:pt x="128" y="337"/>
                    <a:pt x="128" y="337"/>
                  </a:cubicBezTo>
                  <a:cubicBezTo>
                    <a:pt x="57" y="337"/>
                    <a:pt x="0" y="394"/>
                    <a:pt x="0" y="465"/>
                  </a:cubicBezTo>
                  <a:cubicBezTo>
                    <a:pt x="0" y="499"/>
                    <a:pt x="14" y="531"/>
                    <a:pt x="36" y="554"/>
                  </a:cubicBezTo>
                  <a:cubicBezTo>
                    <a:pt x="556" y="1074"/>
                    <a:pt x="556" y="1074"/>
                    <a:pt x="556" y="1074"/>
                  </a:cubicBezTo>
                  <a:cubicBezTo>
                    <a:pt x="568" y="1075"/>
                    <a:pt x="580" y="1075"/>
                    <a:pt x="592" y="1075"/>
                  </a:cubicBezTo>
                  <a:cubicBezTo>
                    <a:pt x="980" y="1075"/>
                    <a:pt x="1296" y="768"/>
                    <a:pt x="1311" y="384"/>
                  </a:cubicBezTo>
                  <a:lnTo>
                    <a:pt x="977" y="49"/>
                  </a:lnTo>
                  <a:close/>
                </a:path>
              </a:pathLst>
            </a:custGeom>
            <a:solidFill>
              <a:srgbClr val="00A3E1"/>
            </a:solidFill>
            <a:ln>
              <a:noFill/>
            </a:ln>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5" name="Freeform 7">
              <a:extLst>
                <a:ext uri="{FF2B5EF4-FFF2-40B4-BE49-F238E27FC236}">
                  <a16:creationId xmlns:a16="http://schemas.microsoft.com/office/drawing/2014/main" id="{5FF536A6-408C-4097-A41C-4B39C93DBE46}"/>
                </a:ext>
              </a:extLst>
            </p:cNvPr>
            <p:cNvSpPr>
              <a:spLocks/>
            </p:cNvSpPr>
            <p:nvPr/>
          </p:nvSpPr>
          <p:spPr bwMode="auto">
            <a:xfrm>
              <a:off x="1669417" y="2233429"/>
              <a:ext cx="1142104" cy="565125"/>
            </a:xfrm>
            <a:custGeom>
              <a:avLst/>
              <a:gdLst>
                <a:gd name="T0" fmla="*/ 1105 w 1200"/>
                <a:gd name="T1" fmla="*/ 342 h 593"/>
                <a:gd name="T2" fmla="*/ 1114 w 1200"/>
                <a:gd name="T3" fmla="*/ 297 h 593"/>
                <a:gd name="T4" fmla="*/ 997 w 1200"/>
                <a:gd name="T5" fmla="*/ 170 h 593"/>
                <a:gd name="T6" fmla="*/ 1004 w 1200"/>
                <a:gd name="T7" fmla="*/ 128 h 593"/>
                <a:gd name="T8" fmla="*/ 882 w 1200"/>
                <a:gd name="T9" fmla="*/ 0 h 593"/>
                <a:gd name="T10" fmla="*/ 728 w 1200"/>
                <a:gd name="T11" fmla="*/ 0 h 593"/>
                <a:gd name="T12" fmla="*/ 600 w 1200"/>
                <a:gd name="T13" fmla="*/ 128 h 593"/>
                <a:gd name="T14" fmla="*/ 607 w 1200"/>
                <a:gd name="T15" fmla="*/ 169 h 593"/>
                <a:gd name="T16" fmla="*/ 393 w 1200"/>
                <a:gd name="T17" fmla="*/ 169 h 593"/>
                <a:gd name="T18" fmla="*/ 265 w 1200"/>
                <a:gd name="T19" fmla="*/ 297 h 593"/>
                <a:gd name="T20" fmla="*/ 271 w 1200"/>
                <a:gd name="T21" fmla="*/ 337 h 593"/>
                <a:gd name="T22" fmla="*/ 128 w 1200"/>
                <a:gd name="T23" fmla="*/ 337 h 593"/>
                <a:gd name="T24" fmla="*/ 0 w 1200"/>
                <a:gd name="T25" fmla="*/ 465 h 593"/>
                <a:gd name="T26" fmla="*/ 128 w 1200"/>
                <a:gd name="T27" fmla="*/ 593 h 593"/>
                <a:gd name="T28" fmla="*/ 1072 w 1200"/>
                <a:gd name="T29" fmla="*/ 593 h 593"/>
                <a:gd name="T30" fmla="*/ 1200 w 1200"/>
                <a:gd name="T31" fmla="*/ 465 h 593"/>
                <a:gd name="T32" fmla="*/ 1105 w 1200"/>
                <a:gd name="T33" fmla="*/ 3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0" h="593">
                  <a:moveTo>
                    <a:pt x="1105" y="342"/>
                  </a:moveTo>
                  <a:cubicBezTo>
                    <a:pt x="1111" y="328"/>
                    <a:pt x="1114" y="313"/>
                    <a:pt x="1114" y="297"/>
                  </a:cubicBezTo>
                  <a:cubicBezTo>
                    <a:pt x="1114" y="230"/>
                    <a:pt x="1062" y="175"/>
                    <a:pt x="997" y="170"/>
                  </a:cubicBezTo>
                  <a:cubicBezTo>
                    <a:pt x="1002" y="157"/>
                    <a:pt x="1004" y="143"/>
                    <a:pt x="1004" y="128"/>
                  </a:cubicBezTo>
                  <a:cubicBezTo>
                    <a:pt x="1004" y="59"/>
                    <a:pt x="950" y="3"/>
                    <a:pt x="882" y="0"/>
                  </a:cubicBezTo>
                  <a:cubicBezTo>
                    <a:pt x="882" y="0"/>
                    <a:pt x="728" y="0"/>
                    <a:pt x="728" y="0"/>
                  </a:cubicBezTo>
                  <a:cubicBezTo>
                    <a:pt x="657" y="0"/>
                    <a:pt x="600" y="57"/>
                    <a:pt x="600" y="128"/>
                  </a:cubicBezTo>
                  <a:cubicBezTo>
                    <a:pt x="600" y="142"/>
                    <a:pt x="602" y="156"/>
                    <a:pt x="607" y="169"/>
                  </a:cubicBezTo>
                  <a:cubicBezTo>
                    <a:pt x="393" y="169"/>
                    <a:pt x="393" y="169"/>
                    <a:pt x="393" y="169"/>
                  </a:cubicBezTo>
                  <a:cubicBezTo>
                    <a:pt x="322" y="169"/>
                    <a:pt x="265" y="226"/>
                    <a:pt x="265" y="297"/>
                  </a:cubicBezTo>
                  <a:cubicBezTo>
                    <a:pt x="265" y="311"/>
                    <a:pt x="267" y="324"/>
                    <a:pt x="271" y="337"/>
                  </a:cubicBezTo>
                  <a:cubicBezTo>
                    <a:pt x="128" y="337"/>
                    <a:pt x="128" y="337"/>
                    <a:pt x="128" y="337"/>
                  </a:cubicBezTo>
                  <a:cubicBezTo>
                    <a:pt x="57" y="337"/>
                    <a:pt x="0" y="394"/>
                    <a:pt x="0" y="465"/>
                  </a:cubicBezTo>
                  <a:cubicBezTo>
                    <a:pt x="0" y="536"/>
                    <a:pt x="57" y="593"/>
                    <a:pt x="128" y="593"/>
                  </a:cubicBezTo>
                  <a:cubicBezTo>
                    <a:pt x="1072" y="593"/>
                    <a:pt x="1072" y="593"/>
                    <a:pt x="1072" y="593"/>
                  </a:cubicBezTo>
                  <a:cubicBezTo>
                    <a:pt x="1143" y="593"/>
                    <a:pt x="1200" y="536"/>
                    <a:pt x="1200" y="465"/>
                  </a:cubicBezTo>
                  <a:cubicBezTo>
                    <a:pt x="1200" y="406"/>
                    <a:pt x="1160" y="356"/>
                    <a:pt x="1105" y="3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nvGrpSpPr>
            <p:cNvPr id="6" name="Group 5">
              <a:extLst>
                <a:ext uri="{FF2B5EF4-FFF2-40B4-BE49-F238E27FC236}">
                  <a16:creationId xmlns:a16="http://schemas.microsoft.com/office/drawing/2014/main" id="{F82AFA80-7972-48ED-9362-031E791F2536}"/>
                </a:ext>
              </a:extLst>
            </p:cNvPr>
            <p:cNvGrpSpPr/>
            <p:nvPr/>
          </p:nvGrpSpPr>
          <p:grpSpPr>
            <a:xfrm>
              <a:off x="1735141" y="2591683"/>
              <a:ext cx="1011732" cy="175086"/>
              <a:chOff x="1735141" y="2591683"/>
              <a:chExt cx="1011732" cy="175086"/>
            </a:xfrm>
            <a:solidFill>
              <a:schemeClr val="tx2"/>
            </a:solidFill>
          </p:grpSpPr>
          <p:sp>
            <p:nvSpPr>
              <p:cNvPr id="7" name="Freeform 8">
                <a:extLst>
                  <a:ext uri="{FF2B5EF4-FFF2-40B4-BE49-F238E27FC236}">
                    <a16:creationId xmlns:a16="http://schemas.microsoft.com/office/drawing/2014/main" id="{2E563CFF-C7E4-448C-8C48-0A0C4AC0BD83}"/>
                  </a:ext>
                </a:extLst>
              </p:cNvPr>
              <p:cNvSpPr>
                <a:spLocks/>
              </p:cNvSpPr>
              <p:nvPr/>
            </p:nvSpPr>
            <p:spPr bwMode="auto">
              <a:xfrm>
                <a:off x="1916693" y="2591683"/>
                <a:ext cx="141147" cy="173470"/>
              </a:xfrm>
              <a:custGeom>
                <a:avLst/>
                <a:gdLst>
                  <a:gd name="T0" fmla="*/ 130 w 148"/>
                  <a:gd name="T1" fmla="*/ 182 h 182"/>
                  <a:gd name="T2" fmla="*/ 116 w 148"/>
                  <a:gd name="T3" fmla="*/ 175 h 182"/>
                  <a:gd name="T4" fmla="*/ 37 w 148"/>
                  <a:gd name="T5" fmla="*/ 74 h 182"/>
                  <a:gd name="T6" fmla="*/ 37 w 148"/>
                  <a:gd name="T7" fmla="*/ 164 h 182"/>
                  <a:gd name="T8" fmla="*/ 19 w 148"/>
                  <a:gd name="T9" fmla="*/ 182 h 182"/>
                  <a:gd name="T10" fmla="*/ 0 w 148"/>
                  <a:gd name="T11" fmla="*/ 164 h 182"/>
                  <a:gd name="T12" fmla="*/ 0 w 148"/>
                  <a:gd name="T13" fmla="*/ 20 h 182"/>
                  <a:gd name="T14" fmla="*/ 13 w 148"/>
                  <a:gd name="T15" fmla="*/ 3 h 182"/>
                  <a:gd name="T16" fmla="*/ 33 w 148"/>
                  <a:gd name="T17" fmla="*/ 9 h 182"/>
                  <a:gd name="T18" fmla="*/ 112 w 148"/>
                  <a:gd name="T19" fmla="*/ 110 h 182"/>
                  <a:gd name="T20" fmla="*/ 112 w 148"/>
                  <a:gd name="T21" fmla="*/ 20 h 182"/>
                  <a:gd name="T22" fmla="*/ 130 w 148"/>
                  <a:gd name="T23" fmla="*/ 2 h 182"/>
                  <a:gd name="T24" fmla="*/ 148 w 148"/>
                  <a:gd name="T25" fmla="*/ 20 h 182"/>
                  <a:gd name="T26" fmla="*/ 148 w 148"/>
                  <a:gd name="T27" fmla="*/ 164 h 182"/>
                  <a:gd name="T28" fmla="*/ 136 w 148"/>
                  <a:gd name="T29" fmla="*/ 182 h 182"/>
                  <a:gd name="T30" fmla="*/ 130 w 148"/>
                  <a:gd name="T31"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8" h="182">
                    <a:moveTo>
                      <a:pt x="130" y="182"/>
                    </a:moveTo>
                    <a:cubicBezTo>
                      <a:pt x="125" y="182"/>
                      <a:pt x="119" y="180"/>
                      <a:pt x="116" y="175"/>
                    </a:cubicBezTo>
                    <a:cubicBezTo>
                      <a:pt x="37" y="74"/>
                      <a:pt x="37" y="74"/>
                      <a:pt x="37" y="74"/>
                    </a:cubicBezTo>
                    <a:cubicBezTo>
                      <a:pt x="37" y="164"/>
                      <a:pt x="37" y="164"/>
                      <a:pt x="37" y="164"/>
                    </a:cubicBezTo>
                    <a:cubicBezTo>
                      <a:pt x="37" y="174"/>
                      <a:pt x="29" y="182"/>
                      <a:pt x="19" y="182"/>
                    </a:cubicBezTo>
                    <a:cubicBezTo>
                      <a:pt x="9" y="182"/>
                      <a:pt x="0" y="174"/>
                      <a:pt x="0" y="164"/>
                    </a:cubicBezTo>
                    <a:cubicBezTo>
                      <a:pt x="0" y="20"/>
                      <a:pt x="0" y="20"/>
                      <a:pt x="0" y="20"/>
                    </a:cubicBezTo>
                    <a:cubicBezTo>
                      <a:pt x="0" y="12"/>
                      <a:pt x="5" y="5"/>
                      <a:pt x="13" y="3"/>
                    </a:cubicBezTo>
                    <a:cubicBezTo>
                      <a:pt x="20" y="0"/>
                      <a:pt x="28" y="3"/>
                      <a:pt x="33" y="9"/>
                    </a:cubicBezTo>
                    <a:cubicBezTo>
                      <a:pt x="112" y="110"/>
                      <a:pt x="112" y="110"/>
                      <a:pt x="112" y="110"/>
                    </a:cubicBezTo>
                    <a:cubicBezTo>
                      <a:pt x="112" y="20"/>
                      <a:pt x="112" y="20"/>
                      <a:pt x="112" y="20"/>
                    </a:cubicBezTo>
                    <a:cubicBezTo>
                      <a:pt x="112" y="10"/>
                      <a:pt x="120" y="2"/>
                      <a:pt x="130" y="2"/>
                    </a:cubicBezTo>
                    <a:cubicBezTo>
                      <a:pt x="140" y="2"/>
                      <a:pt x="148" y="10"/>
                      <a:pt x="148" y="20"/>
                    </a:cubicBezTo>
                    <a:cubicBezTo>
                      <a:pt x="148" y="164"/>
                      <a:pt x="148" y="164"/>
                      <a:pt x="148" y="164"/>
                    </a:cubicBezTo>
                    <a:cubicBezTo>
                      <a:pt x="148" y="172"/>
                      <a:pt x="143" y="179"/>
                      <a:pt x="136" y="182"/>
                    </a:cubicBezTo>
                    <a:cubicBezTo>
                      <a:pt x="134" y="182"/>
                      <a:pt x="132" y="182"/>
                      <a:pt x="130"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8" name="Freeform 9">
                <a:extLst>
                  <a:ext uri="{FF2B5EF4-FFF2-40B4-BE49-F238E27FC236}">
                    <a16:creationId xmlns:a16="http://schemas.microsoft.com/office/drawing/2014/main" id="{63136DBB-A1A5-424B-9E2E-7786D41A4502}"/>
                  </a:ext>
                </a:extLst>
              </p:cNvPr>
              <p:cNvSpPr>
                <a:spLocks noEditPoints="1"/>
              </p:cNvSpPr>
              <p:nvPr/>
            </p:nvSpPr>
            <p:spPr bwMode="auto">
              <a:xfrm>
                <a:off x="1735141" y="2591683"/>
                <a:ext cx="158925" cy="173470"/>
              </a:xfrm>
              <a:custGeom>
                <a:avLst/>
                <a:gdLst>
                  <a:gd name="T0" fmla="*/ 84 w 167"/>
                  <a:gd name="T1" fmla="*/ 182 h 182"/>
                  <a:gd name="T2" fmla="*/ 0 w 167"/>
                  <a:gd name="T3" fmla="*/ 91 h 182"/>
                  <a:gd name="T4" fmla="*/ 84 w 167"/>
                  <a:gd name="T5" fmla="*/ 0 h 182"/>
                  <a:gd name="T6" fmla="*/ 167 w 167"/>
                  <a:gd name="T7" fmla="*/ 91 h 182"/>
                  <a:gd name="T8" fmla="*/ 84 w 167"/>
                  <a:gd name="T9" fmla="*/ 182 h 182"/>
                  <a:gd name="T10" fmla="*/ 84 w 167"/>
                  <a:gd name="T11" fmla="*/ 37 h 182"/>
                  <a:gd name="T12" fmla="*/ 37 w 167"/>
                  <a:gd name="T13" fmla="*/ 91 h 182"/>
                  <a:gd name="T14" fmla="*/ 84 w 167"/>
                  <a:gd name="T15" fmla="*/ 146 h 182"/>
                  <a:gd name="T16" fmla="*/ 131 w 167"/>
                  <a:gd name="T17" fmla="*/ 91 h 182"/>
                  <a:gd name="T18" fmla="*/ 84 w 167"/>
                  <a:gd name="T19" fmla="*/ 3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82">
                    <a:moveTo>
                      <a:pt x="84" y="182"/>
                    </a:moveTo>
                    <a:cubicBezTo>
                      <a:pt x="38" y="182"/>
                      <a:pt x="0" y="142"/>
                      <a:pt x="0" y="91"/>
                    </a:cubicBezTo>
                    <a:cubicBezTo>
                      <a:pt x="0" y="41"/>
                      <a:pt x="38" y="0"/>
                      <a:pt x="84" y="0"/>
                    </a:cubicBezTo>
                    <a:cubicBezTo>
                      <a:pt x="130" y="0"/>
                      <a:pt x="167" y="41"/>
                      <a:pt x="167" y="91"/>
                    </a:cubicBezTo>
                    <a:cubicBezTo>
                      <a:pt x="167" y="142"/>
                      <a:pt x="130" y="182"/>
                      <a:pt x="84" y="182"/>
                    </a:cubicBezTo>
                    <a:close/>
                    <a:moveTo>
                      <a:pt x="84" y="37"/>
                    </a:moveTo>
                    <a:cubicBezTo>
                      <a:pt x="58" y="37"/>
                      <a:pt x="37" y="61"/>
                      <a:pt x="37" y="91"/>
                    </a:cubicBezTo>
                    <a:cubicBezTo>
                      <a:pt x="37" y="121"/>
                      <a:pt x="58" y="146"/>
                      <a:pt x="84" y="146"/>
                    </a:cubicBezTo>
                    <a:cubicBezTo>
                      <a:pt x="110" y="146"/>
                      <a:pt x="131" y="121"/>
                      <a:pt x="131" y="91"/>
                    </a:cubicBezTo>
                    <a:cubicBezTo>
                      <a:pt x="131" y="61"/>
                      <a:pt x="110" y="37"/>
                      <a:pt x="8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9" name="Freeform 10">
                <a:extLst>
                  <a:ext uri="{FF2B5EF4-FFF2-40B4-BE49-F238E27FC236}">
                    <a16:creationId xmlns:a16="http://schemas.microsoft.com/office/drawing/2014/main" id="{691C0EDA-8BAA-4CEC-9D7F-6761C184F416}"/>
                  </a:ext>
                </a:extLst>
              </p:cNvPr>
              <p:cNvSpPr>
                <a:spLocks noEditPoints="1"/>
              </p:cNvSpPr>
              <p:nvPr/>
            </p:nvSpPr>
            <p:spPr bwMode="auto">
              <a:xfrm>
                <a:off x="2203296" y="2593299"/>
                <a:ext cx="107746" cy="171854"/>
              </a:xfrm>
              <a:custGeom>
                <a:avLst/>
                <a:gdLst>
                  <a:gd name="T0" fmla="*/ 59 w 113"/>
                  <a:gd name="T1" fmla="*/ 0 h 180"/>
                  <a:gd name="T2" fmla="*/ 18 w 113"/>
                  <a:gd name="T3" fmla="*/ 0 h 180"/>
                  <a:gd name="T4" fmla="*/ 0 w 113"/>
                  <a:gd name="T5" fmla="*/ 18 h 180"/>
                  <a:gd name="T6" fmla="*/ 0 w 113"/>
                  <a:gd name="T7" fmla="*/ 162 h 180"/>
                  <a:gd name="T8" fmla="*/ 18 w 113"/>
                  <a:gd name="T9" fmla="*/ 180 h 180"/>
                  <a:gd name="T10" fmla="*/ 37 w 113"/>
                  <a:gd name="T11" fmla="*/ 162 h 180"/>
                  <a:gd name="T12" fmla="*/ 37 w 113"/>
                  <a:gd name="T13" fmla="*/ 113 h 180"/>
                  <a:gd name="T14" fmla="*/ 59 w 113"/>
                  <a:gd name="T15" fmla="*/ 113 h 180"/>
                  <a:gd name="T16" fmla="*/ 113 w 113"/>
                  <a:gd name="T17" fmla="*/ 56 h 180"/>
                  <a:gd name="T18" fmla="*/ 59 w 113"/>
                  <a:gd name="T19" fmla="*/ 0 h 180"/>
                  <a:gd name="T20" fmla="*/ 59 w 113"/>
                  <a:gd name="T21" fmla="*/ 76 h 180"/>
                  <a:gd name="T22" fmla="*/ 37 w 113"/>
                  <a:gd name="T23" fmla="*/ 76 h 180"/>
                  <a:gd name="T24" fmla="*/ 37 w 113"/>
                  <a:gd name="T25" fmla="*/ 36 h 180"/>
                  <a:gd name="T26" fmla="*/ 59 w 113"/>
                  <a:gd name="T27" fmla="*/ 36 h 180"/>
                  <a:gd name="T28" fmla="*/ 76 w 113"/>
                  <a:gd name="T29" fmla="*/ 56 h 180"/>
                  <a:gd name="T30" fmla="*/ 59 w 113"/>
                  <a:gd name="T31"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80">
                    <a:moveTo>
                      <a:pt x="59" y="0"/>
                    </a:moveTo>
                    <a:cubicBezTo>
                      <a:pt x="18" y="0"/>
                      <a:pt x="18" y="0"/>
                      <a:pt x="18" y="0"/>
                    </a:cubicBezTo>
                    <a:cubicBezTo>
                      <a:pt x="8" y="0"/>
                      <a:pt x="0" y="8"/>
                      <a:pt x="0" y="18"/>
                    </a:cubicBezTo>
                    <a:cubicBezTo>
                      <a:pt x="0" y="162"/>
                      <a:pt x="0" y="162"/>
                      <a:pt x="0" y="162"/>
                    </a:cubicBezTo>
                    <a:cubicBezTo>
                      <a:pt x="0" y="172"/>
                      <a:pt x="8" y="180"/>
                      <a:pt x="18" y="180"/>
                    </a:cubicBezTo>
                    <a:cubicBezTo>
                      <a:pt x="29" y="180"/>
                      <a:pt x="37" y="172"/>
                      <a:pt x="37" y="162"/>
                    </a:cubicBezTo>
                    <a:cubicBezTo>
                      <a:pt x="37" y="113"/>
                      <a:pt x="37" y="113"/>
                      <a:pt x="37" y="113"/>
                    </a:cubicBezTo>
                    <a:cubicBezTo>
                      <a:pt x="59" y="113"/>
                      <a:pt x="59" y="113"/>
                      <a:pt x="59" y="113"/>
                    </a:cubicBezTo>
                    <a:cubicBezTo>
                      <a:pt x="85" y="113"/>
                      <a:pt x="113" y="92"/>
                      <a:pt x="113" y="56"/>
                    </a:cubicBezTo>
                    <a:cubicBezTo>
                      <a:pt x="113" y="21"/>
                      <a:pt x="85" y="0"/>
                      <a:pt x="59" y="0"/>
                    </a:cubicBezTo>
                    <a:close/>
                    <a:moveTo>
                      <a:pt x="59" y="76"/>
                    </a:moveTo>
                    <a:cubicBezTo>
                      <a:pt x="37" y="76"/>
                      <a:pt x="37" y="76"/>
                      <a:pt x="37" y="76"/>
                    </a:cubicBezTo>
                    <a:cubicBezTo>
                      <a:pt x="37" y="36"/>
                      <a:pt x="37" y="36"/>
                      <a:pt x="37" y="36"/>
                    </a:cubicBezTo>
                    <a:cubicBezTo>
                      <a:pt x="59" y="36"/>
                      <a:pt x="59" y="36"/>
                      <a:pt x="59" y="36"/>
                    </a:cubicBezTo>
                    <a:cubicBezTo>
                      <a:pt x="64" y="36"/>
                      <a:pt x="76" y="40"/>
                      <a:pt x="76" y="56"/>
                    </a:cubicBezTo>
                    <a:cubicBezTo>
                      <a:pt x="76" y="72"/>
                      <a:pt x="64" y="76"/>
                      <a:pt x="5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 name="Freeform 11">
                <a:extLst>
                  <a:ext uri="{FF2B5EF4-FFF2-40B4-BE49-F238E27FC236}">
                    <a16:creationId xmlns:a16="http://schemas.microsoft.com/office/drawing/2014/main" id="{4CBA3A26-0188-4129-A550-2C0B356E9EEB}"/>
                  </a:ext>
                </a:extLst>
              </p:cNvPr>
              <p:cNvSpPr>
                <a:spLocks/>
              </p:cNvSpPr>
              <p:nvPr/>
            </p:nvSpPr>
            <p:spPr bwMode="auto">
              <a:xfrm>
                <a:off x="2465118" y="2594377"/>
                <a:ext cx="102897" cy="170777"/>
              </a:xfrm>
              <a:custGeom>
                <a:avLst/>
                <a:gdLst>
                  <a:gd name="T0" fmla="*/ 89 w 108"/>
                  <a:gd name="T1" fmla="*/ 109 h 179"/>
                  <a:gd name="T2" fmla="*/ 108 w 108"/>
                  <a:gd name="T3" fmla="*/ 90 h 179"/>
                  <a:gd name="T4" fmla="*/ 89 w 108"/>
                  <a:gd name="T5" fmla="*/ 72 h 179"/>
                  <a:gd name="T6" fmla="*/ 37 w 108"/>
                  <a:gd name="T7" fmla="*/ 72 h 179"/>
                  <a:gd name="T8" fmla="*/ 37 w 108"/>
                  <a:gd name="T9" fmla="*/ 37 h 179"/>
                  <a:gd name="T10" fmla="*/ 89 w 108"/>
                  <a:gd name="T11" fmla="*/ 37 h 179"/>
                  <a:gd name="T12" fmla="*/ 108 w 108"/>
                  <a:gd name="T13" fmla="*/ 19 h 179"/>
                  <a:gd name="T14" fmla="*/ 89 w 108"/>
                  <a:gd name="T15" fmla="*/ 0 h 179"/>
                  <a:gd name="T16" fmla="*/ 18 w 108"/>
                  <a:gd name="T17" fmla="*/ 0 h 179"/>
                  <a:gd name="T18" fmla="*/ 0 w 108"/>
                  <a:gd name="T19" fmla="*/ 19 h 179"/>
                  <a:gd name="T20" fmla="*/ 0 w 108"/>
                  <a:gd name="T21" fmla="*/ 19 h 179"/>
                  <a:gd name="T22" fmla="*/ 0 w 108"/>
                  <a:gd name="T23" fmla="*/ 20 h 179"/>
                  <a:gd name="T24" fmla="*/ 0 w 108"/>
                  <a:gd name="T25" fmla="*/ 161 h 179"/>
                  <a:gd name="T26" fmla="*/ 0 w 108"/>
                  <a:gd name="T27" fmla="*/ 161 h 179"/>
                  <a:gd name="T28" fmla="*/ 0 w 108"/>
                  <a:gd name="T29" fmla="*/ 161 h 179"/>
                  <a:gd name="T30" fmla="*/ 18 w 108"/>
                  <a:gd name="T31" fmla="*/ 179 h 179"/>
                  <a:gd name="T32" fmla="*/ 18 w 108"/>
                  <a:gd name="T33" fmla="*/ 179 h 179"/>
                  <a:gd name="T34" fmla="*/ 89 w 108"/>
                  <a:gd name="T35" fmla="*/ 179 h 179"/>
                  <a:gd name="T36" fmla="*/ 108 w 108"/>
                  <a:gd name="T37" fmla="*/ 161 h 179"/>
                  <a:gd name="T38" fmla="*/ 89 w 108"/>
                  <a:gd name="T39" fmla="*/ 143 h 179"/>
                  <a:gd name="T40" fmla="*/ 89 w 108"/>
                  <a:gd name="T41" fmla="*/ 143 h 179"/>
                  <a:gd name="T42" fmla="*/ 37 w 108"/>
                  <a:gd name="T43" fmla="*/ 143 h 179"/>
                  <a:gd name="T44" fmla="*/ 37 w 108"/>
                  <a:gd name="T45" fmla="*/ 109 h 179"/>
                  <a:gd name="T46" fmla="*/ 89 w 108"/>
                  <a:gd name="T47" fmla="*/ 10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179">
                    <a:moveTo>
                      <a:pt x="89" y="109"/>
                    </a:moveTo>
                    <a:cubicBezTo>
                      <a:pt x="100" y="109"/>
                      <a:pt x="108" y="100"/>
                      <a:pt x="108" y="90"/>
                    </a:cubicBezTo>
                    <a:cubicBezTo>
                      <a:pt x="108" y="80"/>
                      <a:pt x="100" y="72"/>
                      <a:pt x="89" y="72"/>
                    </a:cubicBezTo>
                    <a:cubicBezTo>
                      <a:pt x="37" y="72"/>
                      <a:pt x="37" y="72"/>
                      <a:pt x="37" y="72"/>
                    </a:cubicBezTo>
                    <a:cubicBezTo>
                      <a:pt x="37" y="37"/>
                      <a:pt x="37" y="37"/>
                      <a:pt x="37" y="37"/>
                    </a:cubicBezTo>
                    <a:cubicBezTo>
                      <a:pt x="89" y="37"/>
                      <a:pt x="89" y="37"/>
                      <a:pt x="89" y="37"/>
                    </a:cubicBezTo>
                    <a:cubicBezTo>
                      <a:pt x="100" y="37"/>
                      <a:pt x="108" y="29"/>
                      <a:pt x="108" y="19"/>
                    </a:cubicBezTo>
                    <a:cubicBezTo>
                      <a:pt x="108" y="9"/>
                      <a:pt x="100" y="0"/>
                      <a:pt x="89" y="0"/>
                    </a:cubicBezTo>
                    <a:cubicBezTo>
                      <a:pt x="18" y="0"/>
                      <a:pt x="18" y="0"/>
                      <a:pt x="18" y="0"/>
                    </a:cubicBezTo>
                    <a:cubicBezTo>
                      <a:pt x="8" y="0"/>
                      <a:pt x="0" y="9"/>
                      <a:pt x="0" y="19"/>
                    </a:cubicBezTo>
                    <a:cubicBezTo>
                      <a:pt x="0" y="19"/>
                      <a:pt x="0" y="19"/>
                      <a:pt x="0" y="19"/>
                    </a:cubicBezTo>
                    <a:cubicBezTo>
                      <a:pt x="0" y="19"/>
                      <a:pt x="0" y="19"/>
                      <a:pt x="0" y="20"/>
                    </a:cubicBezTo>
                    <a:cubicBezTo>
                      <a:pt x="0" y="161"/>
                      <a:pt x="0" y="161"/>
                      <a:pt x="0" y="161"/>
                    </a:cubicBezTo>
                    <a:cubicBezTo>
                      <a:pt x="0" y="161"/>
                      <a:pt x="0" y="161"/>
                      <a:pt x="0" y="161"/>
                    </a:cubicBezTo>
                    <a:cubicBezTo>
                      <a:pt x="0" y="161"/>
                      <a:pt x="0" y="161"/>
                      <a:pt x="0" y="161"/>
                    </a:cubicBezTo>
                    <a:cubicBezTo>
                      <a:pt x="0" y="171"/>
                      <a:pt x="8" y="179"/>
                      <a:pt x="18" y="179"/>
                    </a:cubicBezTo>
                    <a:cubicBezTo>
                      <a:pt x="18" y="179"/>
                      <a:pt x="18" y="179"/>
                      <a:pt x="18" y="179"/>
                    </a:cubicBezTo>
                    <a:cubicBezTo>
                      <a:pt x="89" y="179"/>
                      <a:pt x="89" y="179"/>
                      <a:pt x="89" y="179"/>
                    </a:cubicBezTo>
                    <a:cubicBezTo>
                      <a:pt x="100" y="179"/>
                      <a:pt x="108" y="171"/>
                      <a:pt x="108" y="161"/>
                    </a:cubicBezTo>
                    <a:cubicBezTo>
                      <a:pt x="108" y="151"/>
                      <a:pt x="100" y="143"/>
                      <a:pt x="89" y="143"/>
                    </a:cubicBezTo>
                    <a:cubicBezTo>
                      <a:pt x="89" y="143"/>
                      <a:pt x="89" y="143"/>
                      <a:pt x="89" y="143"/>
                    </a:cubicBezTo>
                    <a:cubicBezTo>
                      <a:pt x="37" y="143"/>
                      <a:pt x="37" y="143"/>
                      <a:pt x="37" y="143"/>
                    </a:cubicBezTo>
                    <a:cubicBezTo>
                      <a:pt x="37" y="109"/>
                      <a:pt x="37" y="109"/>
                      <a:pt x="37" y="109"/>
                    </a:cubicBezTo>
                    <a:lnTo>
                      <a:pt x="89"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1" name="Freeform 12">
                <a:extLst>
                  <a:ext uri="{FF2B5EF4-FFF2-40B4-BE49-F238E27FC236}">
                    <a16:creationId xmlns:a16="http://schemas.microsoft.com/office/drawing/2014/main" id="{7C502E27-5D77-4E00-910D-E940A0AF4116}"/>
                  </a:ext>
                </a:extLst>
              </p:cNvPr>
              <p:cNvSpPr>
                <a:spLocks noEditPoints="1"/>
              </p:cNvSpPr>
              <p:nvPr/>
            </p:nvSpPr>
            <p:spPr bwMode="auto">
              <a:xfrm>
                <a:off x="2324510" y="2593299"/>
                <a:ext cx="116904" cy="171854"/>
              </a:xfrm>
              <a:custGeom>
                <a:avLst/>
                <a:gdLst>
                  <a:gd name="T0" fmla="*/ 86 w 123"/>
                  <a:gd name="T1" fmla="*/ 110 h 180"/>
                  <a:gd name="T2" fmla="*/ 122 w 123"/>
                  <a:gd name="T3" fmla="*/ 56 h 180"/>
                  <a:gd name="T4" fmla="*/ 69 w 123"/>
                  <a:gd name="T5" fmla="*/ 0 h 180"/>
                  <a:gd name="T6" fmla="*/ 18 w 123"/>
                  <a:gd name="T7" fmla="*/ 0 h 180"/>
                  <a:gd name="T8" fmla="*/ 0 w 123"/>
                  <a:gd name="T9" fmla="*/ 18 h 180"/>
                  <a:gd name="T10" fmla="*/ 0 w 123"/>
                  <a:gd name="T11" fmla="*/ 162 h 180"/>
                  <a:gd name="T12" fmla="*/ 18 w 123"/>
                  <a:gd name="T13" fmla="*/ 180 h 180"/>
                  <a:gd name="T14" fmla="*/ 37 w 123"/>
                  <a:gd name="T15" fmla="*/ 162 h 180"/>
                  <a:gd name="T16" fmla="*/ 37 w 123"/>
                  <a:gd name="T17" fmla="*/ 113 h 180"/>
                  <a:gd name="T18" fmla="*/ 42 w 123"/>
                  <a:gd name="T19" fmla="*/ 113 h 180"/>
                  <a:gd name="T20" fmla="*/ 88 w 123"/>
                  <a:gd name="T21" fmla="*/ 173 h 180"/>
                  <a:gd name="T22" fmla="*/ 102 w 123"/>
                  <a:gd name="T23" fmla="*/ 180 h 180"/>
                  <a:gd name="T24" fmla="*/ 113 w 123"/>
                  <a:gd name="T25" fmla="*/ 177 h 180"/>
                  <a:gd name="T26" fmla="*/ 117 w 123"/>
                  <a:gd name="T27" fmla="*/ 151 h 180"/>
                  <a:gd name="T28" fmla="*/ 86 w 123"/>
                  <a:gd name="T29" fmla="*/ 110 h 180"/>
                  <a:gd name="T30" fmla="*/ 85 w 123"/>
                  <a:gd name="T31" fmla="*/ 56 h 180"/>
                  <a:gd name="T32" fmla="*/ 69 w 123"/>
                  <a:gd name="T33" fmla="*/ 76 h 180"/>
                  <a:gd name="T34" fmla="*/ 37 w 123"/>
                  <a:gd name="T35" fmla="*/ 76 h 180"/>
                  <a:gd name="T36" fmla="*/ 37 w 123"/>
                  <a:gd name="T37" fmla="*/ 36 h 180"/>
                  <a:gd name="T38" fmla="*/ 69 w 123"/>
                  <a:gd name="T39" fmla="*/ 36 h 180"/>
                  <a:gd name="T40" fmla="*/ 85 w 123"/>
                  <a:gd name="T41" fmla="*/ 5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 h="180">
                    <a:moveTo>
                      <a:pt x="86" y="110"/>
                    </a:moveTo>
                    <a:cubicBezTo>
                      <a:pt x="105" y="102"/>
                      <a:pt x="122" y="84"/>
                      <a:pt x="122" y="56"/>
                    </a:cubicBezTo>
                    <a:cubicBezTo>
                      <a:pt x="122" y="21"/>
                      <a:pt x="95" y="0"/>
                      <a:pt x="69" y="0"/>
                    </a:cubicBezTo>
                    <a:cubicBezTo>
                      <a:pt x="18" y="0"/>
                      <a:pt x="18" y="0"/>
                      <a:pt x="18" y="0"/>
                    </a:cubicBezTo>
                    <a:cubicBezTo>
                      <a:pt x="8" y="0"/>
                      <a:pt x="0" y="8"/>
                      <a:pt x="0" y="18"/>
                    </a:cubicBezTo>
                    <a:cubicBezTo>
                      <a:pt x="0" y="162"/>
                      <a:pt x="0" y="162"/>
                      <a:pt x="0" y="162"/>
                    </a:cubicBezTo>
                    <a:cubicBezTo>
                      <a:pt x="0" y="172"/>
                      <a:pt x="8" y="180"/>
                      <a:pt x="18" y="180"/>
                    </a:cubicBezTo>
                    <a:cubicBezTo>
                      <a:pt x="29" y="180"/>
                      <a:pt x="37" y="172"/>
                      <a:pt x="37" y="162"/>
                    </a:cubicBezTo>
                    <a:cubicBezTo>
                      <a:pt x="37" y="113"/>
                      <a:pt x="37" y="113"/>
                      <a:pt x="37" y="113"/>
                    </a:cubicBezTo>
                    <a:cubicBezTo>
                      <a:pt x="42" y="113"/>
                      <a:pt x="42" y="113"/>
                      <a:pt x="42" y="113"/>
                    </a:cubicBezTo>
                    <a:cubicBezTo>
                      <a:pt x="88" y="173"/>
                      <a:pt x="88" y="173"/>
                      <a:pt x="88" y="173"/>
                    </a:cubicBezTo>
                    <a:cubicBezTo>
                      <a:pt x="91" y="178"/>
                      <a:pt x="97" y="180"/>
                      <a:pt x="102" y="180"/>
                    </a:cubicBezTo>
                    <a:cubicBezTo>
                      <a:pt x="106" y="180"/>
                      <a:pt x="110" y="179"/>
                      <a:pt x="113" y="177"/>
                    </a:cubicBezTo>
                    <a:cubicBezTo>
                      <a:pt x="121" y="171"/>
                      <a:pt x="123" y="159"/>
                      <a:pt x="117" y="151"/>
                    </a:cubicBezTo>
                    <a:lnTo>
                      <a:pt x="86" y="110"/>
                    </a:lnTo>
                    <a:close/>
                    <a:moveTo>
                      <a:pt x="85" y="56"/>
                    </a:moveTo>
                    <a:cubicBezTo>
                      <a:pt x="85" y="72"/>
                      <a:pt x="73" y="76"/>
                      <a:pt x="69" y="76"/>
                    </a:cubicBezTo>
                    <a:cubicBezTo>
                      <a:pt x="37" y="76"/>
                      <a:pt x="37" y="76"/>
                      <a:pt x="37" y="76"/>
                    </a:cubicBezTo>
                    <a:cubicBezTo>
                      <a:pt x="37" y="36"/>
                      <a:pt x="37" y="36"/>
                      <a:pt x="37" y="36"/>
                    </a:cubicBezTo>
                    <a:cubicBezTo>
                      <a:pt x="69" y="36"/>
                      <a:pt x="69" y="36"/>
                      <a:pt x="69" y="36"/>
                    </a:cubicBezTo>
                    <a:cubicBezTo>
                      <a:pt x="73" y="36"/>
                      <a:pt x="85" y="40"/>
                      <a:pt x="8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 name="Freeform 13">
                <a:extLst>
                  <a:ext uri="{FF2B5EF4-FFF2-40B4-BE49-F238E27FC236}">
                    <a16:creationId xmlns:a16="http://schemas.microsoft.com/office/drawing/2014/main" id="{D18EF17F-7ACF-4A2A-B789-87B97265EB99}"/>
                  </a:ext>
                </a:extLst>
              </p:cNvPr>
              <p:cNvSpPr>
                <a:spLocks/>
              </p:cNvSpPr>
              <p:nvPr/>
            </p:nvSpPr>
            <p:spPr bwMode="auto">
              <a:xfrm>
                <a:off x="2071308" y="2663334"/>
                <a:ext cx="116904" cy="33940"/>
              </a:xfrm>
              <a:custGeom>
                <a:avLst/>
                <a:gdLst>
                  <a:gd name="T0" fmla="*/ 0 w 123"/>
                  <a:gd name="T1" fmla="*/ 18 h 36"/>
                  <a:gd name="T2" fmla="*/ 18 w 123"/>
                  <a:gd name="T3" fmla="*/ 0 h 36"/>
                  <a:gd name="T4" fmla="*/ 104 w 123"/>
                  <a:gd name="T5" fmla="*/ 0 h 36"/>
                  <a:gd name="T6" fmla="*/ 123 w 123"/>
                  <a:gd name="T7" fmla="*/ 18 h 36"/>
                  <a:gd name="T8" fmla="*/ 104 w 123"/>
                  <a:gd name="T9" fmla="*/ 36 h 36"/>
                  <a:gd name="T10" fmla="*/ 18 w 123"/>
                  <a:gd name="T11" fmla="*/ 36 h 36"/>
                  <a:gd name="T12" fmla="*/ 0 w 123"/>
                  <a:gd name="T13" fmla="*/ 18 h 36"/>
                </a:gdLst>
                <a:ahLst/>
                <a:cxnLst>
                  <a:cxn ang="0">
                    <a:pos x="T0" y="T1"/>
                  </a:cxn>
                  <a:cxn ang="0">
                    <a:pos x="T2" y="T3"/>
                  </a:cxn>
                  <a:cxn ang="0">
                    <a:pos x="T4" y="T5"/>
                  </a:cxn>
                  <a:cxn ang="0">
                    <a:pos x="T6" y="T7"/>
                  </a:cxn>
                  <a:cxn ang="0">
                    <a:pos x="T8" y="T9"/>
                  </a:cxn>
                  <a:cxn ang="0">
                    <a:pos x="T10" y="T11"/>
                  </a:cxn>
                  <a:cxn ang="0">
                    <a:pos x="T12" y="T13"/>
                  </a:cxn>
                </a:cxnLst>
                <a:rect l="0" t="0" r="r" b="b"/>
                <a:pathLst>
                  <a:path w="123" h="36">
                    <a:moveTo>
                      <a:pt x="0" y="18"/>
                    </a:moveTo>
                    <a:cubicBezTo>
                      <a:pt x="0" y="8"/>
                      <a:pt x="8" y="0"/>
                      <a:pt x="18" y="0"/>
                    </a:cubicBezTo>
                    <a:cubicBezTo>
                      <a:pt x="104" y="0"/>
                      <a:pt x="104" y="0"/>
                      <a:pt x="104" y="0"/>
                    </a:cubicBezTo>
                    <a:cubicBezTo>
                      <a:pt x="115" y="0"/>
                      <a:pt x="123" y="8"/>
                      <a:pt x="123" y="18"/>
                    </a:cubicBezTo>
                    <a:cubicBezTo>
                      <a:pt x="123" y="28"/>
                      <a:pt x="115" y="36"/>
                      <a:pt x="104" y="36"/>
                    </a:cubicBezTo>
                    <a:cubicBezTo>
                      <a:pt x="18" y="36"/>
                      <a:pt x="18" y="36"/>
                      <a:pt x="18" y="36"/>
                    </a:cubicBezTo>
                    <a:cubicBezTo>
                      <a:pt x="8" y="36"/>
                      <a:pt x="0" y="28"/>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 name="Freeform 14">
                <a:extLst>
                  <a:ext uri="{FF2B5EF4-FFF2-40B4-BE49-F238E27FC236}">
                    <a16:creationId xmlns:a16="http://schemas.microsoft.com/office/drawing/2014/main" id="{335C53C5-47CA-4F7A-A32C-7FB130879901}"/>
                  </a:ext>
                </a:extLst>
              </p:cNvPr>
              <p:cNvSpPr>
                <a:spLocks/>
              </p:cNvSpPr>
              <p:nvPr/>
            </p:nvSpPr>
            <p:spPr bwMode="auto">
              <a:xfrm>
                <a:off x="2582022" y="2591683"/>
                <a:ext cx="164851" cy="175086"/>
              </a:xfrm>
              <a:custGeom>
                <a:avLst/>
                <a:gdLst>
                  <a:gd name="T0" fmla="*/ 153 w 173"/>
                  <a:gd name="T1" fmla="*/ 182 h 184"/>
                  <a:gd name="T2" fmla="*/ 135 w 173"/>
                  <a:gd name="T3" fmla="*/ 167 h 184"/>
                  <a:gd name="T4" fmla="*/ 124 w 173"/>
                  <a:gd name="T5" fmla="*/ 101 h 184"/>
                  <a:gd name="T6" fmla="*/ 104 w 173"/>
                  <a:gd name="T7" fmla="*/ 169 h 184"/>
                  <a:gd name="T8" fmla="*/ 87 w 173"/>
                  <a:gd name="T9" fmla="*/ 182 h 184"/>
                  <a:gd name="T10" fmla="*/ 69 w 173"/>
                  <a:gd name="T11" fmla="*/ 169 h 184"/>
                  <a:gd name="T12" fmla="*/ 49 w 173"/>
                  <a:gd name="T13" fmla="*/ 101 h 184"/>
                  <a:gd name="T14" fmla="*/ 38 w 173"/>
                  <a:gd name="T15" fmla="*/ 167 h 184"/>
                  <a:gd name="T16" fmla="*/ 17 w 173"/>
                  <a:gd name="T17" fmla="*/ 182 h 184"/>
                  <a:gd name="T18" fmla="*/ 2 w 173"/>
                  <a:gd name="T19" fmla="*/ 161 h 184"/>
                  <a:gd name="T20" fmla="*/ 26 w 173"/>
                  <a:gd name="T21" fmla="*/ 16 h 184"/>
                  <a:gd name="T22" fmla="*/ 43 w 173"/>
                  <a:gd name="T23" fmla="*/ 0 h 184"/>
                  <a:gd name="T24" fmla="*/ 62 w 173"/>
                  <a:gd name="T25" fmla="*/ 14 h 184"/>
                  <a:gd name="T26" fmla="*/ 87 w 173"/>
                  <a:gd name="T27" fmla="*/ 98 h 184"/>
                  <a:gd name="T28" fmla="*/ 111 w 173"/>
                  <a:gd name="T29" fmla="*/ 14 h 184"/>
                  <a:gd name="T30" fmla="*/ 130 w 173"/>
                  <a:gd name="T31" fmla="*/ 0 h 184"/>
                  <a:gd name="T32" fmla="*/ 147 w 173"/>
                  <a:gd name="T33" fmla="*/ 16 h 184"/>
                  <a:gd name="T34" fmla="*/ 171 w 173"/>
                  <a:gd name="T35" fmla="*/ 161 h 184"/>
                  <a:gd name="T36" fmla="*/ 156 w 173"/>
                  <a:gd name="T37" fmla="*/ 182 h 184"/>
                  <a:gd name="T38" fmla="*/ 153 w 173"/>
                  <a:gd name="T39" fmla="*/ 18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3" h="184">
                    <a:moveTo>
                      <a:pt x="153" y="182"/>
                    </a:moveTo>
                    <a:cubicBezTo>
                      <a:pt x="144" y="182"/>
                      <a:pt x="137" y="176"/>
                      <a:pt x="135" y="167"/>
                    </a:cubicBezTo>
                    <a:cubicBezTo>
                      <a:pt x="124" y="101"/>
                      <a:pt x="124" y="101"/>
                      <a:pt x="124" y="101"/>
                    </a:cubicBezTo>
                    <a:cubicBezTo>
                      <a:pt x="104" y="169"/>
                      <a:pt x="104" y="169"/>
                      <a:pt x="104" y="169"/>
                    </a:cubicBezTo>
                    <a:cubicBezTo>
                      <a:pt x="102" y="177"/>
                      <a:pt x="95" y="182"/>
                      <a:pt x="87" y="182"/>
                    </a:cubicBezTo>
                    <a:cubicBezTo>
                      <a:pt x="78" y="182"/>
                      <a:pt x="71" y="177"/>
                      <a:pt x="69" y="169"/>
                    </a:cubicBezTo>
                    <a:cubicBezTo>
                      <a:pt x="49" y="101"/>
                      <a:pt x="49" y="101"/>
                      <a:pt x="49" y="101"/>
                    </a:cubicBezTo>
                    <a:cubicBezTo>
                      <a:pt x="38" y="167"/>
                      <a:pt x="38" y="167"/>
                      <a:pt x="38" y="167"/>
                    </a:cubicBezTo>
                    <a:cubicBezTo>
                      <a:pt x="36" y="177"/>
                      <a:pt x="27" y="184"/>
                      <a:pt x="17" y="182"/>
                    </a:cubicBezTo>
                    <a:cubicBezTo>
                      <a:pt x="7" y="181"/>
                      <a:pt x="0" y="171"/>
                      <a:pt x="2" y="161"/>
                    </a:cubicBezTo>
                    <a:cubicBezTo>
                      <a:pt x="26" y="16"/>
                      <a:pt x="26" y="16"/>
                      <a:pt x="26" y="16"/>
                    </a:cubicBezTo>
                    <a:cubicBezTo>
                      <a:pt x="28" y="7"/>
                      <a:pt x="35" y="1"/>
                      <a:pt x="43" y="0"/>
                    </a:cubicBezTo>
                    <a:cubicBezTo>
                      <a:pt x="52" y="0"/>
                      <a:pt x="60" y="5"/>
                      <a:pt x="62" y="14"/>
                    </a:cubicBezTo>
                    <a:cubicBezTo>
                      <a:pt x="87" y="98"/>
                      <a:pt x="87" y="98"/>
                      <a:pt x="87" y="98"/>
                    </a:cubicBezTo>
                    <a:cubicBezTo>
                      <a:pt x="111" y="14"/>
                      <a:pt x="111" y="14"/>
                      <a:pt x="111" y="14"/>
                    </a:cubicBezTo>
                    <a:cubicBezTo>
                      <a:pt x="114" y="5"/>
                      <a:pt x="121" y="0"/>
                      <a:pt x="130" y="0"/>
                    </a:cubicBezTo>
                    <a:cubicBezTo>
                      <a:pt x="139" y="1"/>
                      <a:pt x="146" y="7"/>
                      <a:pt x="147" y="16"/>
                    </a:cubicBezTo>
                    <a:cubicBezTo>
                      <a:pt x="171" y="161"/>
                      <a:pt x="171" y="161"/>
                      <a:pt x="171" y="161"/>
                    </a:cubicBezTo>
                    <a:cubicBezTo>
                      <a:pt x="173" y="171"/>
                      <a:pt x="166" y="181"/>
                      <a:pt x="156" y="182"/>
                    </a:cubicBezTo>
                    <a:cubicBezTo>
                      <a:pt x="155" y="182"/>
                      <a:pt x="154" y="182"/>
                      <a:pt x="153"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grpSp>
        <p:nvGrpSpPr>
          <p:cNvPr id="14" name="Group 13">
            <a:extLst>
              <a:ext uri="{FF2B5EF4-FFF2-40B4-BE49-F238E27FC236}">
                <a16:creationId xmlns:a16="http://schemas.microsoft.com/office/drawing/2014/main" id="{59468B94-E570-431E-8EE0-5278E410F463}"/>
              </a:ext>
            </a:extLst>
          </p:cNvPr>
          <p:cNvGrpSpPr/>
          <p:nvPr/>
        </p:nvGrpSpPr>
        <p:grpSpPr>
          <a:xfrm>
            <a:off x="2654232" y="2711099"/>
            <a:ext cx="590214" cy="590214"/>
            <a:chOff x="1617300" y="1885950"/>
            <a:chExt cx="1370523" cy="1371600"/>
          </a:xfrm>
        </p:grpSpPr>
        <p:sp>
          <p:nvSpPr>
            <p:cNvPr id="15" name="Oval 24">
              <a:extLst>
                <a:ext uri="{FF2B5EF4-FFF2-40B4-BE49-F238E27FC236}">
                  <a16:creationId xmlns:a16="http://schemas.microsoft.com/office/drawing/2014/main" id="{796C25B4-E463-4F37-92E6-2A8E3057C3A5}"/>
                </a:ext>
              </a:extLst>
            </p:cNvPr>
            <p:cNvSpPr>
              <a:spLocks noChangeArrowheads="1"/>
            </p:cNvSpPr>
            <p:nvPr/>
          </p:nvSpPr>
          <p:spPr bwMode="auto">
            <a:xfrm>
              <a:off x="1617300" y="1885950"/>
              <a:ext cx="1370523" cy="1371600"/>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6" name="Freeform 25">
              <a:extLst>
                <a:ext uri="{FF2B5EF4-FFF2-40B4-BE49-F238E27FC236}">
                  <a16:creationId xmlns:a16="http://schemas.microsoft.com/office/drawing/2014/main" id="{D9C87F32-72C0-4A8B-95D5-821F7CDD3802}"/>
                </a:ext>
              </a:extLst>
            </p:cNvPr>
            <p:cNvSpPr>
              <a:spLocks/>
            </p:cNvSpPr>
            <p:nvPr/>
          </p:nvSpPr>
          <p:spPr bwMode="auto">
            <a:xfrm>
              <a:off x="1734204" y="2233429"/>
              <a:ext cx="1252542" cy="1024121"/>
            </a:xfrm>
            <a:custGeom>
              <a:avLst/>
              <a:gdLst>
                <a:gd name="T0" fmla="*/ 982 w 1316"/>
                <a:gd name="T1" fmla="*/ 49 h 1075"/>
                <a:gd name="T2" fmla="*/ 887 w 1316"/>
                <a:gd name="T3" fmla="*/ 1 h 1075"/>
                <a:gd name="T4" fmla="*/ 887 w 1316"/>
                <a:gd name="T5" fmla="*/ 0 h 1075"/>
                <a:gd name="T6" fmla="*/ 735 w 1316"/>
                <a:gd name="T7" fmla="*/ 0 h 1075"/>
                <a:gd name="T8" fmla="*/ 735 w 1316"/>
                <a:gd name="T9" fmla="*/ 0 h 1075"/>
                <a:gd name="T10" fmla="*/ 733 w 1316"/>
                <a:gd name="T11" fmla="*/ 0 h 1075"/>
                <a:gd name="T12" fmla="*/ 605 w 1316"/>
                <a:gd name="T13" fmla="*/ 128 h 1075"/>
                <a:gd name="T14" fmla="*/ 612 w 1316"/>
                <a:gd name="T15" fmla="*/ 169 h 1075"/>
                <a:gd name="T16" fmla="*/ 401 w 1316"/>
                <a:gd name="T17" fmla="*/ 169 h 1075"/>
                <a:gd name="T18" fmla="*/ 276 w 1316"/>
                <a:gd name="T19" fmla="*/ 256 h 1075"/>
                <a:gd name="T20" fmla="*/ 276 w 1316"/>
                <a:gd name="T21" fmla="*/ 337 h 1075"/>
                <a:gd name="T22" fmla="*/ 137 w 1316"/>
                <a:gd name="T23" fmla="*/ 337 h 1075"/>
                <a:gd name="T24" fmla="*/ 6 w 1316"/>
                <a:gd name="T25" fmla="*/ 446 h 1075"/>
                <a:gd name="T26" fmla="*/ 40 w 1316"/>
                <a:gd name="T27" fmla="*/ 553 h 1075"/>
                <a:gd name="T28" fmla="*/ 40 w 1316"/>
                <a:gd name="T29" fmla="*/ 553 h 1075"/>
                <a:gd name="T30" fmla="*/ 561 w 1316"/>
                <a:gd name="T31" fmla="*/ 1074 h 1075"/>
                <a:gd name="T32" fmla="*/ 597 w 1316"/>
                <a:gd name="T33" fmla="*/ 1075 h 1075"/>
                <a:gd name="T34" fmla="*/ 1316 w 1316"/>
                <a:gd name="T35" fmla="*/ 384 h 1075"/>
                <a:gd name="T36" fmla="*/ 982 w 1316"/>
                <a:gd name="T37" fmla="*/ 49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16" h="1075">
                  <a:moveTo>
                    <a:pt x="982" y="49"/>
                  </a:moveTo>
                  <a:cubicBezTo>
                    <a:pt x="959" y="21"/>
                    <a:pt x="925" y="2"/>
                    <a:pt x="887" y="1"/>
                  </a:cubicBezTo>
                  <a:cubicBezTo>
                    <a:pt x="887" y="0"/>
                    <a:pt x="887" y="0"/>
                    <a:pt x="887" y="0"/>
                  </a:cubicBezTo>
                  <a:cubicBezTo>
                    <a:pt x="735" y="0"/>
                    <a:pt x="735" y="0"/>
                    <a:pt x="735" y="0"/>
                  </a:cubicBezTo>
                  <a:cubicBezTo>
                    <a:pt x="735" y="0"/>
                    <a:pt x="735" y="0"/>
                    <a:pt x="735" y="0"/>
                  </a:cubicBezTo>
                  <a:cubicBezTo>
                    <a:pt x="734" y="0"/>
                    <a:pt x="734" y="0"/>
                    <a:pt x="733" y="0"/>
                  </a:cubicBezTo>
                  <a:cubicBezTo>
                    <a:pt x="662" y="0"/>
                    <a:pt x="605" y="57"/>
                    <a:pt x="605" y="128"/>
                  </a:cubicBezTo>
                  <a:cubicBezTo>
                    <a:pt x="605" y="142"/>
                    <a:pt x="607" y="156"/>
                    <a:pt x="612" y="169"/>
                  </a:cubicBezTo>
                  <a:cubicBezTo>
                    <a:pt x="401" y="169"/>
                    <a:pt x="401" y="169"/>
                    <a:pt x="401" y="169"/>
                  </a:cubicBezTo>
                  <a:cubicBezTo>
                    <a:pt x="345" y="169"/>
                    <a:pt x="294" y="203"/>
                    <a:pt x="276" y="256"/>
                  </a:cubicBezTo>
                  <a:cubicBezTo>
                    <a:pt x="267" y="285"/>
                    <a:pt x="268" y="313"/>
                    <a:pt x="276" y="337"/>
                  </a:cubicBezTo>
                  <a:cubicBezTo>
                    <a:pt x="137" y="337"/>
                    <a:pt x="137" y="337"/>
                    <a:pt x="137" y="337"/>
                  </a:cubicBezTo>
                  <a:cubicBezTo>
                    <a:pt x="73" y="337"/>
                    <a:pt x="15" y="383"/>
                    <a:pt x="6" y="446"/>
                  </a:cubicBezTo>
                  <a:cubicBezTo>
                    <a:pt x="0" y="488"/>
                    <a:pt x="15" y="526"/>
                    <a:pt x="40" y="553"/>
                  </a:cubicBezTo>
                  <a:cubicBezTo>
                    <a:pt x="40" y="553"/>
                    <a:pt x="40" y="553"/>
                    <a:pt x="40" y="553"/>
                  </a:cubicBezTo>
                  <a:cubicBezTo>
                    <a:pt x="561" y="1074"/>
                    <a:pt x="561" y="1074"/>
                    <a:pt x="561" y="1074"/>
                  </a:cubicBezTo>
                  <a:cubicBezTo>
                    <a:pt x="573" y="1075"/>
                    <a:pt x="585" y="1075"/>
                    <a:pt x="597" y="1075"/>
                  </a:cubicBezTo>
                  <a:cubicBezTo>
                    <a:pt x="985" y="1075"/>
                    <a:pt x="1301" y="768"/>
                    <a:pt x="1316" y="384"/>
                  </a:cubicBezTo>
                  <a:lnTo>
                    <a:pt x="982" y="49"/>
                  </a:lnTo>
                  <a:close/>
                </a:path>
              </a:pathLst>
            </a:custGeom>
            <a:solidFill>
              <a:srgbClr val="00A3E1"/>
            </a:solidFill>
            <a:ln>
              <a:noFill/>
            </a:ln>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7" name="Freeform 26">
              <a:extLst>
                <a:ext uri="{FF2B5EF4-FFF2-40B4-BE49-F238E27FC236}">
                  <a16:creationId xmlns:a16="http://schemas.microsoft.com/office/drawing/2014/main" id="{E890CFBA-F84C-449B-9FC0-1607F25C1926}"/>
                </a:ext>
              </a:extLst>
            </p:cNvPr>
            <p:cNvSpPr>
              <a:spLocks/>
            </p:cNvSpPr>
            <p:nvPr/>
          </p:nvSpPr>
          <p:spPr bwMode="auto">
            <a:xfrm>
              <a:off x="1729355" y="2233429"/>
              <a:ext cx="1158803" cy="565125"/>
            </a:xfrm>
            <a:custGeom>
              <a:avLst/>
              <a:gdLst>
                <a:gd name="T0" fmla="*/ 1115 w 1217"/>
                <a:gd name="T1" fmla="*/ 342 h 593"/>
                <a:gd name="T2" fmla="*/ 1124 w 1217"/>
                <a:gd name="T3" fmla="*/ 297 h 593"/>
                <a:gd name="T4" fmla="*/ 1007 w 1217"/>
                <a:gd name="T5" fmla="*/ 170 h 593"/>
                <a:gd name="T6" fmla="*/ 1014 w 1217"/>
                <a:gd name="T7" fmla="*/ 128 h 593"/>
                <a:gd name="T8" fmla="*/ 892 w 1217"/>
                <a:gd name="T9" fmla="*/ 1 h 593"/>
                <a:gd name="T10" fmla="*/ 892 w 1217"/>
                <a:gd name="T11" fmla="*/ 0 h 593"/>
                <a:gd name="T12" fmla="*/ 740 w 1217"/>
                <a:gd name="T13" fmla="*/ 0 h 593"/>
                <a:gd name="T14" fmla="*/ 740 w 1217"/>
                <a:gd name="T15" fmla="*/ 0 h 593"/>
                <a:gd name="T16" fmla="*/ 738 w 1217"/>
                <a:gd name="T17" fmla="*/ 0 h 593"/>
                <a:gd name="T18" fmla="*/ 610 w 1217"/>
                <a:gd name="T19" fmla="*/ 128 h 593"/>
                <a:gd name="T20" fmla="*/ 617 w 1217"/>
                <a:gd name="T21" fmla="*/ 169 h 593"/>
                <a:gd name="T22" fmla="*/ 406 w 1217"/>
                <a:gd name="T23" fmla="*/ 169 h 593"/>
                <a:gd name="T24" fmla="*/ 281 w 1217"/>
                <a:gd name="T25" fmla="*/ 256 h 593"/>
                <a:gd name="T26" fmla="*/ 281 w 1217"/>
                <a:gd name="T27" fmla="*/ 337 h 593"/>
                <a:gd name="T28" fmla="*/ 142 w 1217"/>
                <a:gd name="T29" fmla="*/ 337 h 593"/>
                <a:gd name="T30" fmla="*/ 11 w 1217"/>
                <a:gd name="T31" fmla="*/ 446 h 593"/>
                <a:gd name="T32" fmla="*/ 138 w 1217"/>
                <a:gd name="T33" fmla="*/ 593 h 593"/>
                <a:gd name="T34" fmla="*/ 1078 w 1217"/>
                <a:gd name="T35" fmla="*/ 593 h 593"/>
                <a:gd name="T36" fmla="*/ 1209 w 1217"/>
                <a:gd name="T37" fmla="*/ 481 h 593"/>
                <a:gd name="T38" fmla="*/ 1115 w 1217"/>
                <a:gd name="T39" fmla="*/ 3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7" h="593">
                  <a:moveTo>
                    <a:pt x="1115" y="342"/>
                  </a:moveTo>
                  <a:cubicBezTo>
                    <a:pt x="1121" y="328"/>
                    <a:pt x="1124" y="313"/>
                    <a:pt x="1124" y="297"/>
                  </a:cubicBezTo>
                  <a:cubicBezTo>
                    <a:pt x="1124" y="230"/>
                    <a:pt x="1072" y="175"/>
                    <a:pt x="1007" y="170"/>
                  </a:cubicBezTo>
                  <a:cubicBezTo>
                    <a:pt x="1012" y="157"/>
                    <a:pt x="1014" y="143"/>
                    <a:pt x="1014" y="128"/>
                  </a:cubicBezTo>
                  <a:cubicBezTo>
                    <a:pt x="1014" y="59"/>
                    <a:pt x="960" y="3"/>
                    <a:pt x="892" y="1"/>
                  </a:cubicBezTo>
                  <a:cubicBezTo>
                    <a:pt x="892" y="0"/>
                    <a:pt x="892" y="0"/>
                    <a:pt x="892" y="0"/>
                  </a:cubicBezTo>
                  <a:cubicBezTo>
                    <a:pt x="740" y="0"/>
                    <a:pt x="740" y="0"/>
                    <a:pt x="740" y="0"/>
                  </a:cubicBezTo>
                  <a:cubicBezTo>
                    <a:pt x="740" y="0"/>
                    <a:pt x="740" y="0"/>
                    <a:pt x="740" y="0"/>
                  </a:cubicBezTo>
                  <a:cubicBezTo>
                    <a:pt x="739" y="0"/>
                    <a:pt x="739" y="0"/>
                    <a:pt x="738" y="0"/>
                  </a:cubicBezTo>
                  <a:cubicBezTo>
                    <a:pt x="667" y="0"/>
                    <a:pt x="610" y="57"/>
                    <a:pt x="610" y="128"/>
                  </a:cubicBezTo>
                  <a:cubicBezTo>
                    <a:pt x="610" y="142"/>
                    <a:pt x="612" y="156"/>
                    <a:pt x="617" y="169"/>
                  </a:cubicBezTo>
                  <a:cubicBezTo>
                    <a:pt x="406" y="169"/>
                    <a:pt x="406" y="169"/>
                    <a:pt x="406" y="169"/>
                  </a:cubicBezTo>
                  <a:cubicBezTo>
                    <a:pt x="350" y="169"/>
                    <a:pt x="299" y="203"/>
                    <a:pt x="281" y="256"/>
                  </a:cubicBezTo>
                  <a:cubicBezTo>
                    <a:pt x="272" y="285"/>
                    <a:pt x="273" y="313"/>
                    <a:pt x="281" y="337"/>
                  </a:cubicBezTo>
                  <a:cubicBezTo>
                    <a:pt x="142" y="337"/>
                    <a:pt x="142" y="337"/>
                    <a:pt x="142" y="337"/>
                  </a:cubicBezTo>
                  <a:cubicBezTo>
                    <a:pt x="78" y="337"/>
                    <a:pt x="20" y="383"/>
                    <a:pt x="11" y="446"/>
                  </a:cubicBezTo>
                  <a:cubicBezTo>
                    <a:pt x="0" y="525"/>
                    <a:pt x="61" y="593"/>
                    <a:pt x="138" y="593"/>
                  </a:cubicBezTo>
                  <a:cubicBezTo>
                    <a:pt x="1078" y="593"/>
                    <a:pt x="1078" y="593"/>
                    <a:pt x="1078" y="593"/>
                  </a:cubicBezTo>
                  <a:cubicBezTo>
                    <a:pt x="1143" y="593"/>
                    <a:pt x="1201" y="546"/>
                    <a:pt x="1209" y="481"/>
                  </a:cubicBezTo>
                  <a:cubicBezTo>
                    <a:pt x="1217" y="415"/>
                    <a:pt x="1175" y="358"/>
                    <a:pt x="1115" y="3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8" name="Freeform 27">
              <a:extLst>
                <a:ext uri="{FF2B5EF4-FFF2-40B4-BE49-F238E27FC236}">
                  <a16:creationId xmlns:a16="http://schemas.microsoft.com/office/drawing/2014/main" id="{1806BC06-DD95-4753-A0DB-B8A55D8AABBA}"/>
                </a:ext>
              </a:extLst>
            </p:cNvPr>
            <p:cNvSpPr>
              <a:spLocks noEditPoints="1"/>
            </p:cNvSpPr>
            <p:nvPr/>
          </p:nvSpPr>
          <p:spPr bwMode="auto">
            <a:xfrm>
              <a:off x="1884509" y="2587912"/>
              <a:ext cx="838799" cy="182090"/>
            </a:xfrm>
            <a:custGeom>
              <a:avLst/>
              <a:gdLst>
                <a:gd name="T0" fmla="*/ 724 w 881"/>
                <a:gd name="T1" fmla="*/ 98 h 191"/>
                <a:gd name="T2" fmla="*/ 873 w 881"/>
                <a:gd name="T3" fmla="*/ 32 h 191"/>
                <a:gd name="T4" fmla="*/ 845 w 881"/>
                <a:gd name="T5" fmla="*/ 58 h 191"/>
                <a:gd name="T6" fmla="*/ 763 w 881"/>
                <a:gd name="T7" fmla="*/ 98 h 191"/>
                <a:gd name="T8" fmla="*/ 845 w 881"/>
                <a:gd name="T9" fmla="*/ 137 h 191"/>
                <a:gd name="T10" fmla="*/ 874 w 881"/>
                <a:gd name="T11" fmla="*/ 162 h 191"/>
                <a:gd name="T12" fmla="*/ 548 w 881"/>
                <a:gd name="T13" fmla="*/ 153 h 191"/>
                <a:gd name="T14" fmla="*/ 487 w 881"/>
                <a:gd name="T15" fmla="*/ 21 h 191"/>
                <a:gd name="T16" fmla="*/ 449 w 881"/>
                <a:gd name="T17" fmla="*/ 21 h 191"/>
                <a:gd name="T18" fmla="*/ 449 w 881"/>
                <a:gd name="T19" fmla="*/ 172 h 191"/>
                <a:gd name="T20" fmla="*/ 468 w 881"/>
                <a:gd name="T21" fmla="*/ 191 h 191"/>
                <a:gd name="T22" fmla="*/ 567 w 881"/>
                <a:gd name="T23" fmla="*/ 172 h 191"/>
                <a:gd name="T24" fmla="*/ 117 w 881"/>
                <a:gd name="T25" fmla="*/ 62 h 191"/>
                <a:gd name="T26" fmla="*/ 38 w 881"/>
                <a:gd name="T27" fmla="*/ 120 h 191"/>
                <a:gd name="T28" fmla="*/ 19 w 881"/>
                <a:gd name="T29" fmla="*/ 191 h 191"/>
                <a:gd name="T30" fmla="*/ 0 w 881"/>
                <a:gd name="T31" fmla="*/ 22 h 191"/>
                <a:gd name="T32" fmla="*/ 61 w 881"/>
                <a:gd name="T33" fmla="*/ 3 h 191"/>
                <a:gd name="T34" fmla="*/ 79 w 881"/>
                <a:gd name="T35" fmla="*/ 62 h 191"/>
                <a:gd name="T36" fmla="*/ 38 w 881"/>
                <a:gd name="T37" fmla="*/ 41 h 191"/>
                <a:gd name="T38" fmla="*/ 61 w 881"/>
                <a:gd name="T39" fmla="*/ 82 h 191"/>
                <a:gd name="T40" fmla="*/ 430 w 881"/>
                <a:gd name="T41" fmla="*/ 131 h 191"/>
                <a:gd name="T42" fmla="*/ 320 w 881"/>
                <a:gd name="T43" fmla="*/ 191 h 191"/>
                <a:gd name="T44" fmla="*/ 309 w 881"/>
                <a:gd name="T45" fmla="*/ 188 h 191"/>
                <a:gd name="T46" fmla="*/ 306 w 881"/>
                <a:gd name="T47" fmla="*/ 185 h 191"/>
                <a:gd name="T48" fmla="*/ 304 w 881"/>
                <a:gd name="T49" fmla="*/ 183 h 191"/>
                <a:gd name="T50" fmla="*/ 302 w 881"/>
                <a:gd name="T51" fmla="*/ 179 h 191"/>
                <a:gd name="T52" fmla="*/ 301 w 881"/>
                <a:gd name="T53" fmla="*/ 176 h 191"/>
                <a:gd name="T54" fmla="*/ 301 w 881"/>
                <a:gd name="T55" fmla="*/ 172 h 191"/>
                <a:gd name="T56" fmla="*/ 301 w 881"/>
                <a:gd name="T57" fmla="*/ 172 h 191"/>
                <a:gd name="T58" fmla="*/ 320 w 881"/>
                <a:gd name="T59" fmla="*/ 2 h 191"/>
                <a:gd name="T60" fmla="*/ 418 w 881"/>
                <a:gd name="T61" fmla="*/ 56 h 191"/>
                <a:gd name="T62" fmla="*/ 430 w 881"/>
                <a:gd name="T63" fmla="*/ 131 h 191"/>
                <a:gd name="T64" fmla="*/ 339 w 881"/>
                <a:gd name="T65" fmla="*/ 40 h 191"/>
                <a:gd name="T66" fmla="*/ 362 w 881"/>
                <a:gd name="T67" fmla="*/ 71 h 191"/>
                <a:gd name="T68" fmla="*/ 362 w 881"/>
                <a:gd name="T69" fmla="*/ 40 h 191"/>
                <a:gd name="T70" fmla="*/ 368 w 881"/>
                <a:gd name="T71" fmla="*/ 109 h 191"/>
                <a:gd name="T72" fmla="*/ 339 w 881"/>
                <a:gd name="T73" fmla="*/ 153 h 191"/>
                <a:gd name="T74" fmla="*/ 392 w 881"/>
                <a:gd name="T75" fmla="*/ 131 h 191"/>
                <a:gd name="T76" fmla="*/ 669 w 881"/>
                <a:gd name="T77" fmla="*/ 153 h 191"/>
                <a:gd name="T78" fmla="*/ 696 w 881"/>
                <a:gd name="T79" fmla="*/ 42 h 191"/>
                <a:gd name="T80" fmla="*/ 696 w 881"/>
                <a:gd name="T81" fmla="*/ 3 h 191"/>
                <a:gd name="T82" fmla="*/ 583 w 881"/>
                <a:gd name="T83" fmla="*/ 23 h 191"/>
                <a:gd name="T84" fmla="*/ 630 w 881"/>
                <a:gd name="T85" fmla="*/ 42 h 191"/>
                <a:gd name="T86" fmla="*/ 603 w 881"/>
                <a:gd name="T87" fmla="*/ 153 h 191"/>
                <a:gd name="T88" fmla="*/ 603 w 881"/>
                <a:gd name="T89" fmla="*/ 191 h 191"/>
                <a:gd name="T90" fmla="*/ 716 w 881"/>
                <a:gd name="T91" fmla="*/ 172 h 191"/>
                <a:gd name="T92" fmla="*/ 281 w 881"/>
                <a:gd name="T93" fmla="*/ 114 h 191"/>
                <a:gd name="T94" fmla="*/ 262 w 881"/>
                <a:gd name="T95" fmla="*/ 0 h 191"/>
                <a:gd name="T96" fmla="*/ 243 w 881"/>
                <a:gd name="T97" fmla="*/ 114 h 191"/>
                <a:gd name="T98" fmla="*/ 175 w 881"/>
                <a:gd name="T99" fmla="*/ 114 h 191"/>
                <a:gd name="T100" fmla="*/ 156 w 881"/>
                <a:gd name="T101" fmla="*/ 0 h 191"/>
                <a:gd name="T102" fmla="*/ 137 w 881"/>
                <a:gd name="T103" fmla="*/ 114 h 191"/>
                <a:gd name="T104" fmla="*/ 281 w 881"/>
                <a:gd name="T105" fmla="*/ 11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1" h="191">
                  <a:moveTo>
                    <a:pt x="811" y="191"/>
                  </a:moveTo>
                  <a:cubicBezTo>
                    <a:pt x="763" y="191"/>
                    <a:pt x="724" y="149"/>
                    <a:pt x="724" y="98"/>
                  </a:cubicBezTo>
                  <a:cubicBezTo>
                    <a:pt x="724" y="46"/>
                    <a:pt x="763" y="4"/>
                    <a:pt x="811" y="4"/>
                  </a:cubicBezTo>
                  <a:cubicBezTo>
                    <a:pt x="835" y="4"/>
                    <a:pt x="857" y="14"/>
                    <a:pt x="873" y="32"/>
                  </a:cubicBezTo>
                  <a:cubicBezTo>
                    <a:pt x="880" y="40"/>
                    <a:pt x="880" y="52"/>
                    <a:pt x="872" y="59"/>
                  </a:cubicBezTo>
                  <a:cubicBezTo>
                    <a:pt x="864" y="66"/>
                    <a:pt x="852" y="66"/>
                    <a:pt x="845" y="58"/>
                  </a:cubicBezTo>
                  <a:cubicBezTo>
                    <a:pt x="836" y="48"/>
                    <a:pt x="824" y="42"/>
                    <a:pt x="811" y="42"/>
                  </a:cubicBezTo>
                  <a:cubicBezTo>
                    <a:pt x="784" y="42"/>
                    <a:pt x="763" y="67"/>
                    <a:pt x="763" y="98"/>
                  </a:cubicBezTo>
                  <a:cubicBezTo>
                    <a:pt x="763" y="128"/>
                    <a:pt x="784" y="153"/>
                    <a:pt x="811" y="153"/>
                  </a:cubicBezTo>
                  <a:cubicBezTo>
                    <a:pt x="824" y="153"/>
                    <a:pt x="836" y="147"/>
                    <a:pt x="845" y="137"/>
                  </a:cubicBezTo>
                  <a:cubicBezTo>
                    <a:pt x="852" y="129"/>
                    <a:pt x="864" y="128"/>
                    <a:pt x="872" y="135"/>
                  </a:cubicBezTo>
                  <a:cubicBezTo>
                    <a:pt x="880" y="142"/>
                    <a:pt x="881" y="155"/>
                    <a:pt x="874" y="162"/>
                  </a:cubicBezTo>
                  <a:cubicBezTo>
                    <a:pt x="857" y="181"/>
                    <a:pt x="835" y="191"/>
                    <a:pt x="811" y="191"/>
                  </a:cubicBezTo>
                  <a:close/>
                  <a:moveTo>
                    <a:pt x="548" y="153"/>
                  </a:moveTo>
                  <a:cubicBezTo>
                    <a:pt x="487" y="153"/>
                    <a:pt x="487" y="153"/>
                    <a:pt x="487" y="153"/>
                  </a:cubicBezTo>
                  <a:cubicBezTo>
                    <a:pt x="487" y="21"/>
                    <a:pt x="487" y="21"/>
                    <a:pt x="487" y="21"/>
                  </a:cubicBezTo>
                  <a:cubicBezTo>
                    <a:pt x="487" y="10"/>
                    <a:pt x="479" y="2"/>
                    <a:pt x="468" y="2"/>
                  </a:cubicBezTo>
                  <a:cubicBezTo>
                    <a:pt x="457" y="2"/>
                    <a:pt x="449" y="10"/>
                    <a:pt x="449" y="21"/>
                  </a:cubicBezTo>
                  <a:cubicBezTo>
                    <a:pt x="449" y="171"/>
                    <a:pt x="449" y="171"/>
                    <a:pt x="449" y="171"/>
                  </a:cubicBezTo>
                  <a:cubicBezTo>
                    <a:pt x="449" y="172"/>
                    <a:pt x="449" y="172"/>
                    <a:pt x="449" y="172"/>
                  </a:cubicBezTo>
                  <a:cubicBezTo>
                    <a:pt x="449" y="172"/>
                    <a:pt x="449" y="172"/>
                    <a:pt x="449" y="172"/>
                  </a:cubicBezTo>
                  <a:cubicBezTo>
                    <a:pt x="449" y="182"/>
                    <a:pt x="457" y="191"/>
                    <a:pt x="468" y="191"/>
                  </a:cubicBezTo>
                  <a:cubicBezTo>
                    <a:pt x="548" y="191"/>
                    <a:pt x="548" y="191"/>
                    <a:pt x="548" y="191"/>
                  </a:cubicBezTo>
                  <a:cubicBezTo>
                    <a:pt x="558" y="191"/>
                    <a:pt x="567" y="182"/>
                    <a:pt x="567" y="172"/>
                  </a:cubicBezTo>
                  <a:cubicBezTo>
                    <a:pt x="567" y="161"/>
                    <a:pt x="558" y="153"/>
                    <a:pt x="548" y="153"/>
                  </a:cubicBezTo>
                  <a:close/>
                  <a:moveTo>
                    <a:pt x="117" y="62"/>
                  </a:moveTo>
                  <a:cubicBezTo>
                    <a:pt x="117" y="98"/>
                    <a:pt x="89" y="120"/>
                    <a:pt x="61" y="120"/>
                  </a:cubicBezTo>
                  <a:cubicBezTo>
                    <a:pt x="38" y="120"/>
                    <a:pt x="38" y="120"/>
                    <a:pt x="38" y="120"/>
                  </a:cubicBezTo>
                  <a:cubicBezTo>
                    <a:pt x="38" y="172"/>
                    <a:pt x="38" y="172"/>
                    <a:pt x="38" y="172"/>
                  </a:cubicBezTo>
                  <a:cubicBezTo>
                    <a:pt x="38" y="182"/>
                    <a:pt x="29" y="191"/>
                    <a:pt x="19" y="191"/>
                  </a:cubicBezTo>
                  <a:cubicBezTo>
                    <a:pt x="8" y="191"/>
                    <a:pt x="0" y="182"/>
                    <a:pt x="0" y="172"/>
                  </a:cubicBezTo>
                  <a:cubicBezTo>
                    <a:pt x="0" y="22"/>
                    <a:pt x="0" y="22"/>
                    <a:pt x="0" y="22"/>
                  </a:cubicBezTo>
                  <a:cubicBezTo>
                    <a:pt x="0" y="11"/>
                    <a:pt x="8" y="3"/>
                    <a:pt x="19" y="3"/>
                  </a:cubicBezTo>
                  <a:cubicBezTo>
                    <a:pt x="61" y="3"/>
                    <a:pt x="61" y="3"/>
                    <a:pt x="61" y="3"/>
                  </a:cubicBezTo>
                  <a:cubicBezTo>
                    <a:pt x="89" y="3"/>
                    <a:pt x="117" y="25"/>
                    <a:pt x="117" y="62"/>
                  </a:cubicBezTo>
                  <a:close/>
                  <a:moveTo>
                    <a:pt x="79" y="62"/>
                  </a:moveTo>
                  <a:cubicBezTo>
                    <a:pt x="79" y="45"/>
                    <a:pt x="66" y="41"/>
                    <a:pt x="61" y="41"/>
                  </a:cubicBezTo>
                  <a:cubicBezTo>
                    <a:pt x="38" y="41"/>
                    <a:pt x="38" y="41"/>
                    <a:pt x="38" y="41"/>
                  </a:cubicBezTo>
                  <a:cubicBezTo>
                    <a:pt x="38" y="82"/>
                    <a:pt x="38" y="82"/>
                    <a:pt x="38" y="82"/>
                  </a:cubicBezTo>
                  <a:cubicBezTo>
                    <a:pt x="61" y="82"/>
                    <a:pt x="61" y="82"/>
                    <a:pt x="61" y="82"/>
                  </a:cubicBezTo>
                  <a:cubicBezTo>
                    <a:pt x="66" y="82"/>
                    <a:pt x="79" y="78"/>
                    <a:pt x="79" y="62"/>
                  </a:cubicBezTo>
                  <a:close/>
                  <a:moveTo>
                    <a:pt x="430" y="131"/>
                  </a:moveTo>
                  <a:cubicBezTo>
                    <a:pt x="430" y="168"/>
                    <a:pt x="398" y="191"/>
                    <a:pt x="368" y="191"/>
                  </a:cubicBezTo>
                  <a:cubicBezTo>
                    <a:pt x="320" y="191"/>
                    <a:pt x="320" y="191"/>
                    <a:pt x="320" y="191"/>
                  </a:cubicBezTo>
                  <a:cubicBezTo>
                    <a:pt x="320" y="191"/>
                    <a:pt x="320" y="191"/>
                    <a:pt x="320" y="191"/>
                  </a:cubicBezTo>
                  <a:cubicBezTo>
                    <a:pt x="316" y="191"/>
                    <a:pt x="312" y="190"/>
                    <a:pt x="309" y="188"/>
                  </a:cubicBezTo>
                  <a:cubicBezTo>
                    <a:pt x="309" y="187"/>
                    <a:pt x="308" y="187"/>
                    <a:pt x="308" y="187"/>
                  </a:cubicBezTo>
                  <a:cubicBezTo>
                    <a:pt x="308" y="186"/>
                    <a:pt x="307" y="186"/>
                    <a:pt x="306" y="185"/>
                  </a:cubicBezTo>
                  <a:cubicBezTo>
                    <a:pt x="306" y="185"/>
                    <a:pt x="306" y="184"/>
                    <a:pt x="305" y="184"/>
                  </a:cubicBezTo>
                  <a:cubicBezTo>
                    <a:pt x="305" y="183"/>
                    <a:pt x="304" y="183"/>
                    <a:pt x="304" y="183"/>
                  </a:cubicBezTo>
                  <a:cubicBezTo>
                    <a:pt x="304" y="182"/>
                    <a:pt x="303" y="181"/>
                    <a:pt x="303" y="181"/>
                  </a:cubicBezTo>
                  <a:cubicBezTo>
                    <a:pt x="303" y="180"/>
                    <a:pt x="303" y="180"/>
                    <a:pt x="302" y="179"/>
                  </a:cubicBezTo>
                  <a:cubicBezTo>
                    <a:pt x="302" y="179"/>
                    <a:pt x="302" y="178"/>
                    <a:pt x="302" y="177"/>
                  </a:cubicBezTo>
                  <a:cubicBezTo>
                    <a:pt x="302" y="177"/>
                    <a:pt x="301" y="176"/>
                    <a:pt x="301" y="176"/>
                  </a:cubicBezTo>
                  <a:cubicBezTo>
                    <a:pt x="301" y="175"/>
                    <a:pt x="301" y="174"/>
                    <a:pt x="301" y="174"/>
                  </a:cubicBezTo>
                  <a:cubicBezTo>
                    <a:pt x="301" y="173"/>
                    <a:pt x="301" y="173"/>
                    <a:pt x="301" y="172"/>
                  </a:cubicBezTo>
                  <a:cubicBezTo>
                    <a:pt x="301" y="172"/>
                    <a:pt x="301" y="172"/>
                    <a:pt x="301" y="172"/>
                  </a:cubicBezTo>
                  <a:cubicBezTo>
                    <a:pt x="301" y="172"/>
                    <a:pt x="301" y="172"/>
                    <a:pt x="301" y="172"/>
                  </a:cubicBezTo>
                  <a:cubicBezTo>
                    <a:pt x="301" y="21"/>
                    <a:pt x="301" y="21"/>
                    <a:pt x="301" y="21"/>
                  </a:cubicBezTo>
                  <a:cubicBezTo>
                    <a:pt x="301" y="11"/>
                    <a:pt x="309" y="2"/>
                    <a:pt x="320" y="2"/>
                  </a:cubicBezTo>
                  <a:cubicBezTo>
                    <a:pt x="362" y="2"/>
                    <a:pt x="362" y="2"/>
                    <a:pt x="362" y="2"/>
                  </a:cubicBezTo>
                  <a:cubicBezTo>
                    <a:pt x="390" y="2"/>
                    <a:pt x="418" y="22"/>
                    <a:pt x="418" y="56"/>
                  </a:cubicBezTo>
                  <a:cubicBezTo>
                    <a:pt x="418" y="67"/>
                    <a:pt x="414" y="77"/>
                    <a:pt x="409" y="86"/>
                  </a:cubicBezTo>
                  <a:cubicBezTo>
                    <a:pt x="421" y="96"/>
                    <a:pt x="430" y="111"/>
                    <a:pt x="430" y="131"/>
                  </a:cubicBezTo>
                  <a:close/>
                  <a:moveTo>
                    <a:pt x="362" y="40"/>
                  </a:moveTo>
                  <a:cubicBezTo>
                    <a:pt x="339" y="40"/>
                    <a:pt x="339" y="40"/>
                    <a:pt x="339" y="40"/>
                  </a:cubicBezTo>
                  <a:cubicBezTo>
                    <a:pt x="339" y="71"/>
                    <a:pt x="339" y="71"/>
                    <a:pt x="339" y="71"/>
                  </a:cubicBezTo>
                  <a:cubicBezTo>
                    <a:pt x="362" y="71"/>
                    <a:pt x="362" y="71"/>
                    <a:pt x="362" y="71"/>
                  </a:cubicBezTo>
                  <a:cubicBezTo>
                    <a:pt x="363" y="71"/>
                    <a:pt x="380" y="71"/>
                    <a:pt x="380" y="56"/>
                  </a:cubicBezTo>
                  <a:cubicBezTo>
                    <a:pt x="380" y="41"/>
                    <a:pt x="363" y="40"/>
                    <a:pt x="362" y="40"/>
                  </a:cubicBezTo>
                  <a:close/>
                  <a:moveTo>
                    <a:pt x="392" y="131"/>
                  </a:moveTo>
                  <a:cubicBezTo>
                    <a:pt x="392" y="110"/>
                    <a:pt x="368" y="109"/>
                    <a:pt x="368" y="109"/>
                  </a:cubicBezTo>
                  <a:cubicBezTo>
                    <a:pt x="339" y="109"/>
                    <a:pt x="339" y="109"/>
                    <a:pt x="339" y="109"/>
                  </a:cubicBezTo>
                  <a:cubicBezTo>
                    <a:pt x="339" y="153"/>
                    <a:pt x="339" y="153"/>
                    <a:pt x="339" y="153"/>
                  </a:cubicBezTo>
                  <a:cubicBezTo>
                    <a:pt x="368" y="153"/>
                    <a:pt x="368" y="153"/>
                    <a:pt x="368" y="153"/>
                  </a:cubicBezTo>
                  <a:cubicBezTo>
                    <a:pt x="368" y="153"/>
                    <a:pt x="392" y="152"/>
                    <a:pt x="392" y="131"/>
                  </a:cubicBezTo>
                  <a:close/>
                  <a:moveTo>
                    <a:pt x="696" y="153"/>
                  </a:moveTo>
                  <a:cubicBezTo>
                    <a:pt x="669" y="153"/>
                    <a:pt x="669" y="153"/>
                    <a:pt x="669" y="153"/>
                  </a:cubicBezTo>
                  <a:cubicBezTo>
                    <a:pt x="669" y="42"/>
                    <a:pt x="669" y="42"/>
                    <a:pt x="669" y="42"/>
                  </a:cubicBezTo>
                  <a:cubicBezTo>
                    <a:pt x="696" y="42"/>
                    <a:pt x="696" y="42"/>
                    <a:pt x="696" y="42"/>
                  </a:cubicBezTo>
                  <a:cubicBezTo>
                    <a:pt x="707" y="42"/>
                    <a:pt x="716" y="33"/>
                    <a:pt x="716" y="23"/>
                  </a:cubicBezTo>
                  <a:cubicBezTo>
                    <a:pt x="716" y="12"/>
                    <a:pt x="707" y="3"/>
                    <a:pt x="696" y="3"/>
                  </a:cubicBezTo>
                  <a:cubicBezTo>
                    <a:pt x="603" y="3"/>
                    <a:pt x="603" y="3"/>
                    <a:pt x="603" y="3"/>
                  </a:cubicBezTo>
                  <a:cubicBezTo>
                    <a:pt x="592" y="3"/>
                    <a:pt x="583" y="12"/>
                    <a:pt x="583" y="23"/>
                  </a:cubicBezTo>
                  <a:cubicBezTo>
                    <a:pt x="583" y="33"/>
                    <a:pt x="592" y="42"/>
                    <a:pt x="603" y="42"/>
                  </a:cubicBezTo>
                  <a:cubicBezTo>
                    <a:pt x="630" y="42"/>
                    <a:pt x="630" y="42"/>
                    <a:pt x="630" y="42"/>
                  </a:cubicBezTo>
                  <a:cubicBezTo>
                    <a:pt x="630" y="153"/>
                    <a:pt x="630" y="153"/>
                    <a:pt x="630" y="153"/>
                  </a:cubicBezTo>
                  <a:cubicBezTo>
                    <a:pt x="603" y="153"/>
                    <a:pt x="603" y="153"/>
                    <a:pt x="603" y="153"/>
                  </a:cubicBezTo>
                  <a:cubicBezTo>
                    <a:pt x="592" y="153"/>
                    <a:pt x="583" y="161"/>
                    <a:pt x="583" y="172"/>
                  </a:cubicBezTo>
                  <a:cubicBezTo>
                    <a:pt x="583" y="182"/>
                    <a:pt x="592" y="191"/>
                    <a:pt x="603" y="191"/>
                  </a:cubicBezTo>
                  <a:cubicBezTo>
                    <a:pt x="696" y="191"/>
                    <a:pt x="696" y="191"/>
                    <a:pt x="696" y="191"/>
                  </a:cubicBezTo>
                  <a:cubicBezTo>
                    <a:pt x="707" y="191"/>
                    <a:pt x="716" y="182"/>
                    <a:pt x="716" y="172"/>
                  </a:cubicBezTo>
                  <a:cubicBezTo>
                    <a:pt x="716" y="161"/>
                    <a:pt x="707" y="153"/>
                    <a:pt x="696" y="153"/>
                  </a:cubicBezTo>
                  <a:close/>
                  <a:moveTo>
                    <a:pt x="281" y="114"/>
                  </a:moveTo>
                  <a:cubicBezTo>
                    <a:pt x="281" y="19"/>
                    <a:pt x="281" y="19"/>
                    <a:pt x="281" y="19"/>
                  </a:cubicBezTo>
                  <a:cubicBezTo>
                    <a:pt x="281" y="8"/>
                    <a:pt x="272" y="0"/>
                    <a:pt x="262" y="0"/>
                  </a:cubicBezTo>
                  <a:cubicBezTo>
                    <a:pt x="251" y="0"/>
                    <a:pt x="243" y="8"/>
                    <a:pt x="243" y="19"/>
                  </a:cubicBezTo>
                  <a:cubicBezTo>
                    <a:pt x="243" y="114"/>
                    <a:pt x="243" y="114"/>
                    <a:pt x="243" y="114"/>
                  </a:cubicBezTo>
                  <a:cubicBezTo>
                    <a:pt x="243" y="153"/>
                    <a:pt x="217" y="153"/>
                    <a:pt x="209" y="153"/>
                  </a:cubicBezTo>
                  <a:cubicBezTo>
                    <a:pt x="201" y="153"/>
                    <a:pt x="175" y="153"/>
                    <a:pt x="175" y="114"/>
                  </a:cubicBezTo>
                  <a:cubicBezTo>
                    <a:pt x="175" y="19"/>
                    <a:pt x="175" y="19"/>
                    <a:pt x="175" y="19"/>
                  </a:cubicBezTo>
                  <a:cubicBezTo>
                    <a:pt x="175" y="8"/>
                    <a:pt x="167" y="0"/>
                    <a:pt x="156" y="0"/>
                  </a:cubicBezTo>
                  <a:cubicBezTo>
                    <a:pt x="146" y="0"/>
                    <a:pt x="137" y="8"/>
                    <a:pt x="137" y="19"/>
                  </a:cubicBezTo>
                  <a:cubicBezTo>
                    <a:pt x="137" y="114"/>
                    <a:pt x="137" y="114"/>
                    <a:pt x="137" y="114"/>
                  </a:cubicBezTo>
                  <a:cubicBezTo>
                    <a:pt x="137" y="161"/>
                    <a:pt x="165" y="191"/>
                    <a:pt x="209" y="191"/>
                  </a:cubicBezTo>
                  <a:cubicBezTo>
                    <a:pt x="253" y="191"/>
                    <a:pt x="281" y="161"/>
                    <a:pt x="281" y="114"/>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19" name="Group 18">
            <a:extLst>
              <a:ext uri="{FF2B5EF4-FFF2-40B4-BE49-F238E27FC236}">
                <a16:creationId xmlns:a16="http://schemas.microsoft.com/office/drawing/2014/main" id="{4C123F3E-C379-486A-A1C1-7DDE17298A98}"/>
              </a:ext>
            </a:extLst>
          </p:cNvPr>
          <p:cNvGrpSpPr/>
          <p:nvPr/>
        </p:nvGrpSpPr>
        <p:grpSpPr>
          <a:xfrm>
            <a:off x="3582708" y="3790913"/>
            <a:ext cx="590214" cy="590214"/>
            <a:chOff x="-1843206" y="2752009"/>
            <a:chExt cx="1371600" cy="1371600"/>
          </a:xfrm>
        </p:grpSpPr>
        <p:sp>
          <p:nvSpPr>
            <p:cNvPr id="20" name="Freeform: Shape 19">
              <a:extLst>
                <a:ext uri="{FF2B5EF4-FFF2-40B4-BE49-F238E27FC236}">
                  <a16:creationId xmlns:a16="http://schemas.microsoft.com/office/drawing/2014/main" id="{8D4F8C34-F268-442B-8F9C-682B6E5D2354}"/>
                </a:ext>
              </a:extLst>
            </p:cNvPr>
            <p:cNvSpPr/>
            <p:nvPr/>
          </p:nvSpPr>
          <p:spPr>
            <a:xfrm>
              <a:off x="-1843206" y="2752009"/>
              <a:ext cx="1371600" cy="1371600"/>
            </a:xfrm>
            <a:custGeom>
              <a:avLst/>
              <a:gdLst>
                <a:gd name="connsiteX0" fmla="*/ 3436144 w 3438525"/>
                <a:gd name="connsiteY0" fmla="*/ 1721644 h 3438525"/>
                <a:gd name="connsiteX1" fmla="*/ 3362801 w 3438525"/>
                <a:gd name="connsiteY1" fmla="*/ 2217896 h 3438525"/>
                <a:gd name="connsiteX2" fmla="*/ 3007519 w 3438525"/>
                <a:gd name="connsiteY2" fmla="*/ 2855119 h 3438525"/>
                <a:gd name="connsiteX3" fmla="*/ 1930241 w 3438525"/>
                <a:gd name="connsiteY3" fmla="*/ 3423761 h 3438525"/>
                <a:gd name="connsiteX4" fmla="*/ 1721644 w 3438525"/>
                <a:gd name="connsiteY4" fmla="*/ 3436144 h 3438525"/>
                <a:gd name="connsiteX5" fmla="*/ 1466374 w 3438525"/>
                <a:gd name="connsiteY5" fmla="*/ 3417094 h 3438525"/>
                <a:gd name="connsiteX6" fmla="*/ 1312069 w 3438525"/>
                <a:gd name="connsiteY6" fmla="*/ 3386614 h 3438525"/>
                <a:gd name="connsiteX7" fmla="*/ 388144 w 3438525"/>
                <a:gd name="connsiteY7" fmla="*/ 2799874 h 3438525"/>
                <a:gd name="connsiteX8" fmla="*/ 7144 w 3438525"/>
                <a:gd name="connsiteY8" fmla="*/ 1721644 h 3438525"/>
                <a:gd name="connsiteX9" fmla="*/ 1721644 w 3438525"/>
                <a:gd name="connsiteY9" fmla="*/ 7144 h 3438525"/>
                <a:gd name="connsiteX10" fmla="*/ 3414236 w 3438525"/>
                <a:gd name="connsiteY10" fmla="*/ 1449229 h 3438525"/>
                <a:gd name="connsiteX11" fmla="*/ 3436144 w 3438525"/>
                <a:gd name="connsiteY11" fmla="*/ 1721644 h 343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8525" h="3438525">
                  <a:moveTo>
                    <a:pt x="3436144" y="1721644"/>
                  </a:moveTo>
                  <a:cubicBezTo>
                    <a:pt x="3436144" y="1894046"/>
                    <a:pt x="3410426" y="2060734"/>
                    <a:pt x="3362801" y="2217896"/>
                  </a:cubicBezTo>
                  <a:cubicBezTo>
                    <a:pt x="3291364" y="2456021"/>
                    <a:pt x="3168491" y="2673191"/>
                    <a:pt x="3007519" y="2855119"/>
                  </a:cubicBezTo>
                  <a:cubicBezTo>
                    <a:pt x="2737009" y="3162776"/>
                    <a:pt x="2357914" y="3371374"/>
                    <a:pt x="1930241" y="3423761"/>
                  </a:cubicBezTo>
                  <a:cubicBezTo>
                    <a:pt x="1861661" y="3432334"/>
                    <a:pt x="1792129" y="3436144"/>
                    <a:pt x="1721644" y="3436144"/>
                  </a:cubicBezTo>
                  <a:cubicBezTo>
                    <a:pt x="1634966" y="3436144"/>
                    <a:pt x="1549241" y="3429476"/>
                    <a:pt x="1466374" y="3417094"/>
                  </a:cubicBezTo>
                  <a:cubicBezTo>
                    <a:pt x="1413986" y="3409474"/>
                    <a:pt x="1362551" y="3398996"/>
                    <a:pt x="1312069" y="3386614"/>
                  </a:cubicBezTo>
                  <a:cubicBezTo>
                    <a:pt x="942499" y="3296126"/>
                    <a:pt x="620554" y="3085624"/>
                    <a:pt x="388144" y="2799874"/>
                  </a:cubicBezTo>
                  <a:cubicBezTo>
                    <a:pt x="150019" y="2505551"/>
                    <a:pt x="7144" y="2130266"/>
                    <a:pt x="7144" y="1721644"/>
                  </a:cubicBezTo>
                  <a:cubicBezTo>
                    <a:pt x="7144" y="774859"/>
                    <a:pt x="774859" y="7144"/>
                    <a:pt x="1721644" y="7144"/>
                  </a:cubicBezTo>
                  <a:cubicBezTo>
                    <a:pt x="2576036" y="7144"/>
                    <a:pt x="3283744" y="631984"/>
                    <a:pt x="3414236" y="1449229"/>
                  </a:cubicBezTo>
                  <a:cubicBezTo>
                    <a:pt x="3428524" y="1537811"/>
                    <a:pt x="3436144" y="1629251"/>
                    <a:pt x="3436144" y="1721644"/>
                  </a:cubicBezTo>
                  <a:close/>
                </a:path>
              </a:pathLst>
            </a:custGeom>
            <a:solidFill>
              <a:srgbClr val="00BCEB"/>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nvGrpSpPr>
            <p:cNvPr id="21" name="Group 20">
              <a:extLst>
                <a:ext uri="{FF2B5EF4-FFF2-40B4-BE49-F238E27FC236}">
                  <a16:creationId xmlns:a16="http://schemas.microsoft.com/office/drawing/2014/main" id="{A8BCE357-AB00-458F-82CD-C7BF85E8F499}"/>
                </a:ext>
              </a:extLst>
            </p:cNvPr>
            <p:cNvGrpSpPr/>
            <p:nvPr/>
          </p:nvGrpSpPr>
          <p:grpSpPr>
            <a:xfrm>
              <a:off x="-1669193" y="3248977"/>
              <a:ext cx="1151849" cy="874632"/>
              <a:chOff x="-1691228" y="3143352"/>
              <a:chExt cx="1206038" cy="980257"/>
            </a:xfrm>
          </p:grpSpPr>
          <p:sp>
            <p:nvSpPr>
              <p:cNvPr id="28" name="Freeform: Shape 27">
                <a:extLst>
                  <a:ext uri="{FF2B5EF4-FFF2-40B4-BE49-F238E27FC236}">
                    <a16:creationId xmlns:a16="http://schemas.microsoft.com/office/drawing/2014/main" id="{067B4334-6B41-4E44-AA70-1E77FEBCA25C}"/>
                  </a:ext>
                </a:extLst>
              </p:cNvPr>
              <p:cNvSpPr/>
              <p:nvPr/>
            </p:nvSpPr>
            <p:spPr>
              <a:xfrm>
                <a:off x="-1688378" y="3161400"/>
                <a:ext cx="1203188" cy="961260"/>
              </a:xfrm>
              <a:custGeom>
                <a:avLst/>
                <a:gdLst>
                  <a:gd name="connsiteX0" fmla="*/ 2981801 w 2981325"/>
                  <a:gd name="connsiteY0" fmla="*/ 1198721 h 2419350"/>
                  <a:gd name="connsiteX1" fmla="*/ 2626519 w 2981325"/>
                  <a:gd name="connsiteY1" fmla="*/ 1835944 h 2419350"/>
                  <a:gd name="connsiteX2" fmla="*/ 1549241 w 2981325"/>
                  <a:gd name="connsiteY2" fmla="*/ 2404586 h 2419350"/>
                  <a:gd name="connsiteX3" fmla="*/ 1340644 w 2981325"/>
                  <a:gd name="connsiteY3" fmla="*/ 2416969 h 2419350"/>
                  <a:gd name="connsiteX4" fmla="*/ 1085374 w 2981325"/>
                  <a:gd name="connsiteY4" fmla="*/ 2397919 h 2419350"/>
                  <a:gd name="connsiteX5" fmla="*/ 931069 w 2981325"/>
                  <a:gd name="connsiteY5" fmla="*/ 2367439 h 2419350"/>
                  <a:gd name="connsiteX6" fmla="*/ 7144 w 2981325"/>
                  <a:gd name="connsiteY6" fmla="*/ 1780699 h 2419350"/>
                  <a:gd name="connsiteX7" fmla="*/ 7144 w 2981325"/>
                  <a:gd name="connsiteY7" fmla="*/ 1640681 h 2419350"/>
                  <a:gd name="connsiteX8" fmla="*/ 1512094 w 2981325"/>
                  <a:gd name="connsiteY8" fmla="*/ 7144 h 2419350"/>
                  <a:gd name="connsiteX9" fmla="*/ 2356961 w 2981325"/>
                  <a:gd name="connsiteY9" fmla="*/ 852011 h 2419350"/>
                  <a:gd name="connsiteX10" fmla="*/ 2574131 w 2981325"/>
                  <a:gd name="connsiteY10" fmla="*/ 791051 h 2419350"/>
                  <a:gd name="connsiteX11" fmla="*/ 2981801 w 2981325"/>
                  <a:gd name="connsiteY11" fmla="*/ 1198721 h 2419350"/>
                  <a:gd name="connsiteX0" fmla="*/ 3016325 w 3016325"/>
                  <a:gd name="connsiteY0" fmla="*/ 1191575 h 2409825"/>
                  <a:gd name="connsiteX1" fmla="*/ 2619374 w 3016325"/>
                  <a:gd name="connsiteY1" fmla="*/ 1828799 h 2409825"/>
                  <a:gd name="connsiteX2" fmla="*/ 1542096 w 3016325"/>
                  <a:gd name="connsiteY2" fmla="*/ 2397441 h 2409825"/>
                  <a:gd name="connsiteX3" fmla="*/ 1333499 w 3016325"/>
                  <a:gd name="connsiteY3" fmla="*/ 2409824 h 2409825"/>
                  <a:gd name="connsiteX4" fmla="*/ 1078229 w 3016325"/>
                  <a:gd name="connsiteY4" fmla="*/ 2390774 h 2409825"/>
                  <a:gd name="connsiteX5" fmla="*/ 923924 w 3016325"/>
                  <a:gd name="connsiteY5" fmla="*/ 2360294 h 2409825"/>
                  <a:gd name="connsiteX6" fmla="*/ -1 w 3016325"/>
                  <a:gd name="connsiteY6" fmla="*/ 1773554 h 2409825"/>
                  <a:gd name="connsiteX7" fmla="*/ -1 w 3016325"/>
                  <a:gd name="connsiteY7" fmla="*/ 1633536 h 2409825"/>
                  <a:gd name="connsiteX8" fmla="*/ 1504949 w 3016325"/>
                  <a:gd name="connsiteY8" fmla="*/ -1 h 2409825"/>
                  <a:gd name="connsiteX9" fmla="*/ 2349816 w 3016325"/>
                  <a:gd name="connsiteY9" fmla="*/ 844866 h 2409825"/>
                  <a:gd name="connsiteX10" fmla="*/ 2566986 w 3016325"/>
                  <a:gd name="connsiteY10" fmla="*/ 783906 h 2409825"/>
                  <a:gd name="connsiteX11" fmla="*/ 3016325 w 3016325"/>
                  <a:gd name="connsiteY11" fmla="*/ 1191575 h 2409825"/>
                  <a:gd name="connsiteX0" fmla="*/ 3016325 w 3016325"/>
                  <a:gd name="connsiteY0" fmla="*/ 1191575 h 2409825"/>
                  <a:gd name="connsiteX1" fmla="*/ 2619374 w 3016325"/>
                  <a:gd name="connsiteY1" fmla="*/ 1828799 h 2409825"/>
                  <a:gd name="connsiteX2" fmla="*/ 1542096 w 3016325"/>
                  <a:gd name="connsiteY2" fmla="*/ 2397441 h 2409825"/>
                  <a:gd name="connsiteX3" fmla="*/ 1333499 w 3016325"/>
                  <a:gd name="connsiteY3" fmla="*/ 2409824 h 2409825"/>
                  <a:gd name="connsiteX4" fmla="*/ 1078229 w 3016325"/>
                  <a:gd name="connsiteY4" fmla="*/ 2390774 h 2409825"/>
                  <a:gd name="connsiteX5" fmla="*/ 923924 w 3016325"/>
                  <a:gd name="connsiteY5" fmla="*/ 2360294 h 2409825"/>
                  <a:gd name="connsiteX6" fmla="*/ -1 w 3016325"/>
                  <a:gd name="connsiteY6" fmla="*/ 1773554 h 2409825"/>
                  <a:gd name="connsiteX7" fmla="*/ -1 w 3016325"/>
                  <a:gd name="connsiteY7" fmla="*/ 1633536 h 2409825"/>
                  <a:gd name="connsiteX8" fmla="*/ 1504949 w 3016325"/>
                  <a:gd name="connsiteY8" fmla="*/ -1 h 2409825"/>
                  <a:gd name="connsiteX9" fmla="*/ 2349816 w 3016325"/>
                  <a:gd name="connsiteY9" fmla="*/ 844866 h 2409825"/>
                  <a:gd name="connsiteX10" fmla="*/ 2566986 w 3016325"/>
                  <a:gd name="connsiteY10" fmla="*/ 783906 h 2409825"/>
                  <a:gd name="connsiteX11" fmla="*/ 3016325 w 3016325"/>
                  <a:gd name="connsiteY11" fmla="*/ 1191575 h 2409825"/>
                  <a:gd name="connsiteX0" fmla="*/ 3016325 w 3016325"/>
                  <a:gd name="connsiteY0" fmla="*/ 1191575 h 2409825"/>
                  <a:gd name="connsiteX1" fmla="*/ 2619374 w 3016325"/>
                  <a:gd name="connsiteY1" fmla="*/ 1828799 h 2409825"/>
                  <a:gd name="connsiteX2" fmla="*/ 1542096 w 3016325"/>
                  <a:gd name="connsiteY2" fmla="*/ 2397441 h 2409825"/>
                  <a:gd name="connsiteX3" fmla="*/ 1333499 w 3016325"/>
                  <a:gd name="connsiteY3" fmla="*/ 2409824 h 2409825"/>
                  <a:gd name="connsiteX4" fmla="*/ 1078229 w 3016325"/>
                  <a:gd name="connsiteY4" fmla="*/ 2390774 h 2409825"/>
                  <a:gd name="connsiteX5" fmla="*/ 923924 w 3016325"/>
                  <a:gd name="connsiteY5" fmla="*/ 2360294 h 2409825"/>
                  <a:gd name="connsiteX6" fmla="*/ -1 w 3016325"/>
                  <a:gd name="connsiteY6" fmla="*/ 1773554 h 2409825"/>
                  <a:gd name="connsiteX7" fmla="*/ -1 w 3016325"/>
                  <a:gd name="connsiteY7" fmla="*/ 1633536 h 2409825"/>
                  <a:gd name="connsiteX8" fmla="*/ 1504949 w 3016325"/>
                  <a:gd name="connsiteY8" fmla="*/ -1 h 2409825"/>
                  <a:gd name="connsiteX9" fmla="*/ 2349816 w 3016325"/>
                  <a:gd name="connsiteY9" fmla="*/ 844866 h 2409825"/>
                  <a:gd name="connsiteX10" fmla="*/ 2566986 w 3016325"/>
                  <a:gd name="connsiteY10" fmla="*/ 783906 h 2409825"/>
                  <a:gd name="connsiteX11" fmla="*/ 3016325 w 3016325"/>
                  <a:gd name="connsiteY11" fmla="*/ 1191575 h 240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6325" h="2409825">
                    <a:moveTo>
                      <a:pt x="3016325" y="1191575"/>
                    </a:moveTo>
                    <a:cubicBezTo>
                      <a:pt x="2907384" y="1416317"/>
                      <a:pt x="2823409" y="1605519"/>
                      <a:pt x="2619374" y="1828799"/>
                    </a:cubicBezTo>
                    <a:cubicBezTo>
                      <a:pt x="2405242" y="2063129"/>
                      <a:pt x="1969769" y="2345054"/>
                      <a:pt x="1542096" y="2397441"/>
                    </a:cubicBezTo>
                    <a:cubicBezTo>
                      <a:pt x="1473516" y="2406014"/>
                      <a:pt x="1403984" y="2409824"/>
                      <a:pt x="1333499" y="2409824"/>
                    </a:cubicBezTo>
                    <a:cubicBezTo>
                      <a:pt x="1246821" y="2409824"/>
                      <a:pt x="1161096" y="2403156"/>
                      <a:pt x="1078229" y="2390774"/>
                    </a:cubicBezTo>
                    <a:cubicBezTo>
                      <a:pt x="1025841" y="2383154"/>
                      <a:pt x="974406" y="2372676"/>
                      <a:pt x="923924" y="2360294"/>
                    </a:cubicBezTo>
                    <a:cubicBezTo>
                      <a:pt x="554354" y="2269806"/>
                      <a:pt x="232409" y="2059304"/>
                      <a:pt x="-1" y="1773554"/>
                    </a:cubicBezTo>
                    <a:lnTo>
                      <a:pt x="-1" y="1633536"/>
                    </a:lnTo>
                    <a:lnTo>
                      <a:pt x="1504949" y="-1"/>
                    </a:lnTo>
                    <a:lnTo>
                      <a:pt x="2349816" y="844866"/>
                    </a:lnTo>
                    <a:lnTo>
                      <a:pt x="2566986" y="783906"/>
                    </a:lnTo>
                    <a:cubicBezTo>
                      <a:pt x="2702876" y="919796"/>
                      <a:pt x="2880435" y="1055685"/>
                      <a:pt x="3016325" y="1191575"/>
                    </a:cubicBezTo>
                    <a:close/>
                  </a:path>
                </a:pathLst>
              </a:custGeom>
              <a:solidFill>
                <a:srgbClr val="00A3E0"/>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9" name="Freeform: Shape 28">
                <a:extLst>
                  <a:ext uri="{FF2B5EF4-FFF2-40B4-BE49-F238E27FC236}">
                    <a16:creationId xmlns:a16="http://schemas.microsoft.com/office/drawing/2014/main" id="{10D07BCB-9D32-4138-8941-FFC401467190}"/>
                  </a:ext>
                </a:extLst>
              </p:cNvPr>
              <p:cNvSpPr/>
              <p:nvPr/>
            </p:nvSpPr>
            <p:spPr>
              <a:xfrm>
                <a:off x="-1691228" y="3143352"/>
                <a:ext cx="619310" cy="980257"/>
              </a:xfrm>
              <a:custGeom>
                <a:avLst/>
                <a:gdLst>
                  <a:gd name="connsiteX0" fmla="*/ 1549241 w 1552575"/>
                  <a:gd name="connsiteY0" fmla="*/ 135731 h 2457450"/>
                  <a:gd name="connsiteX1" fmla="*/ 1549241 w 1552575"/>
                  <a:gd name="connsiteY1" fmla="*/ 2442686 h 2457450"/>
                  <a:gd name="connsiteX2" fmla="*/ 1340644 w 1552575"/>
                  <a:gd name="connsiteY2" fmla="*/ 2455069 h 2457450"/>
                  <a:gd name="connsiteX3" fmla="*/ 1085374 w 1552575"/>
                  <a:gd name="connsiteY3" fmla="*/ 2436019 h 2457450"/>
                  <a:gd name="connsiteX4" fmla="*/ 931069 w 1552575"/>
                  <a:gd name="connsiteY4" fmla="*/ 2405539 h 2457450"/>
                  <a:gd name="connsiteX5" fmla="*/ 7144 w 1552575"/>
                  <a:gd name="connsiteY5" fmla="*/ 1818799 h 2457450"/>
                  <a:gd name="connsiteX6" fmla="*/ 7144 w 1552575"/>
                  <a:gd name="connsiteY6" fmla="*/ 135731 h 2457450"/>
                  <a:gd name="connsiteX7" fmla="*/ 135731 w 1552575"/>
                  <a:gd name="connsiteY7" fmla="*/ 7144 h 2457450"/>
                  <a:gd name="connsiteX8" fmla="*/ 1420654 w 1552575"/>
                  <a:gd name="connsiteY8" fmla="*/ 7144 h 2457450"/>
                  <a:gd name="connsiteX9" fmla="*/ 1549241 w 1552575"/>
                  <a:gd name="connsiteY9" fmla="*/ 135731 h 245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2575" h="2457450">
                    <a:moveTo>
                      <a:pt x="1549241" y="135731"/>
                    </a:moveTo>
                    <a:lnTo>
                      <a:pt x="1549241" y="2442686"/>
                    </a:lnTo>
                    <a:cubicBezTo>
                      <a:pt x="1480661" y="2451259"/>
                      <a:pt x="1411129" y="2455069"/>
                      <a:pt x="1340644" y="2455069"/>
                    </a:cubicBezTo>
                    <a:cubicBezTo>
                      <a:pt x="1253966" y="2455069"/>
                      <a:pt x="1168241" y="2448401"/>
                      <a:pt x="1085374" y="2436019"/>
                    </a:cubicBezTo>
                    <a:cubicBezTo>
                      <a:pt x="1032986" y="2428399"/>
                      <a:pt x="981551" y="2417921"/>
                      <a:pt x="931069" y="2405539"/>
                    </a:cubicBezTo>
                    <a:cubicBezTo>
                      <a:pt x="561499" y="2315051"/>
                      <a:pt x="239554" y="2104549"/>
                      <a:pt x="7144" y="1818799"/>
                    </a:cubicBezTo>
                    <a:lnTo>
                      <a:pt x="7144" y="135731"/>
                    </a:lnTo>
                    <a:cubicBezTo>
                      <a:pt x="7144" y="64294"/>
                      <a:pt x="64294" y="7144"/>
                      <a:pt x="135731" y="7144"/>
                    </a:cubicBezTo>
                    <a:lnTo>
                      <a:pt x="1420654" y="7144"/>
                    </a:lnTo>
                    <a:cubicBezTo>
                      <a:pt x="1492091" y="7144"/>
                      <a:pt x="1549241" y="64294"/>
                      <a:pt x="1549241" y="135731"/>
                    </a:cubicBezTo>
                    <a:close/>
                  </a:path>
                </a:pathLst>
              </a:custGeom>
              <a:solidFill>
                <a:srgbClr val="FFFFF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30" name="Freeform: Shape 29">
                <a:extLst>
                  <a:ext uri="{FF2B5EF4-FFF2-40B4-BE49-F238E27FC236}">
                    <a16:creationId xmlns:a16="http://schemas.microsoft.com/office/drawing/2014/main" id="{1A0814DA-13C2-48D7-9F18-A05B7A77C787}"/>
                  </a:ext>
                </a:extLst>
              </p:cNvPr>
              <p:cNvSpPr/>
              <p:nvPr/>
            </p:nvSpPr>
            <p:spPr>
              <a:xfrm>
                <a:off x="-1260751" y="3457566"/>
                <a:ext cx="619310" cy="664903"/>
              </a:xfrm>
              <a:custGeom>
                <a:avLst/>
                <a:gdLst>
                  <a:gd name="connsiteX0" fmla="*/ 1548289 w 1552575"/>
                  <a:gd name="connsiteY0" fmla="*/ 154781 h 1666875"/>
                  <a:gd name="connsiteX1" fmla="*/ 1548289 w 1552575"/>
                  <a:gd name="connsiteY1" fmla="*/ 1086326 h 1666875"/>
                  <a:gd name="connsiteX2" fmla="*/ 471011 w 1552575"/>
                  <a:gd name="connsiteY2" fmla="*/ 1654969 h 1666875"/>
                  <a:gd name="connsiteX3" fmla="*/ 262414 w 1552575"/>
                  <a:gd name="connsiteY3" fmla="*/ 1667351 h 1666875"/>
                  <a:gd name="connsiteX4" fmla="*/ 7144 w 1552575"/>
                  <a:gd name="connsiteY4" fmla="*/ 1648301 h 1666875"/>
                  <a:gd name="connsiteX5" fmla="*/ 7144 w 1552575"/>
                  <a:gd name="connsiteY5" fmla="*/ 154781 h 1666875"/>
                  <a:gd name="connsiteX6" fmla="*/ 154781 w 1552575"/>
                  <a:gd name="connsiteY6" fmla="*/ 7144 h 1666875"/>
                  <a:gd name="connsiteX7" fmla="*/ 1401604 w 1552575"/>
                  <a:gd name="connsiteY7" fmla="*/ 7144 h 1666875"/>
                  <a:gd name="connsiteX8" fmla="*/ 1548289 w 1552575"/>
                  <a:gd name="connsiteY8" fmla="*/ 154781 h 166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2575" h="1666875">
                    <a:moveTo>
                      <a:pt x="1548289" y="154781"/>
                    </a:moveTo>
                    <a:lnTo>
                      <a:pt x="1548289" y="1086326"/>
                    </a:lnTo>
                    <a:cubicBezTo>
                      <a:pt x="1277779" y="1393984"/>
                      <a:pt x="898684" y="1602581"/>
                      <a:pt x="471011" y="1654969"/>
                    </a:cubicBezTo>
                    <a:cubicBezTo>
                      <a:pt x="402431" y="1663541"/>
                      <a:pt x="332899" y="1667351"/>
                      <a:pt x="262414" y="1667351"/>
                    </a:cubicBezTo>
                    <a:cubicBezTo>
                      <a:pt x="175736" y="1667351"/>
                      <a:pt x="90011" y="1660684"/>
                      <a:pt x="7144" y="1648301"/>
                    </a:cubicBezTo>
                    <a:lnTo>
                      <a:pt x="7144" y="154781"/>
                    </a:lnTo>
                    <a:cubicBezTo>
                      <a:pt x="7144" y="72866"/>
                      <a:pt x="72866" y="7144"/>
                      <a:pt x="154781" y="7144"/>
                    </a:cubicBezTo>
                    <a:lnTo>
                      <a:pt x="1401604" y="7144"/>
                    </a:lnTo>
                    <a:cubicBezTo>
                      <a:pt x="1481614" y="7144"/>
                      <a:pt x="1548289" y="72866"/>
                      <a:pt x="1548289" y="154781"/>
                    </a:cubicBezTo>
                    <a:close/>
                  </a:path>
                </a:pathLst>
              </a:custGeom>
              <a:solidFill>
                <a:srgbClr val="FFFFF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31" name="Freeform: Shape 30">
                <a:extLst>
                  <a:ext uri="{FF2B5EF4-FFF2-40B4-BE49-F238E27FC236}">
                    <a16:creationId xmlns:a16="http://schemas.microsoft.com/office/drawing/2014/main" id="{DB12A9F6-6A54-463A-9FC2-0FB5ACCE5B0B}"/>
                  </a:ext>
                </a:extLst>
              </p:cNvPr>
              <p:cNvSpPr/>
              <p:nvPr/>
            </p:nvSpPr>
            <p:spPr>
              <a:xfrm>
                <a:off x="-1593582" y="3248977"/>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32" name="Freeform: Shape 31">
                <a:extLst>
                  <a:ext uri="{FF2B5EF4-FFF2-40B4-BE49-F238E27FC236}">
                    <a16:creationId xmlns:a16="http://schemas.microsoft.com/office/drawing/2014/main" id="{33921CDB-4E3F-4E08-B1DB-03FC0A295B5C}"/>
                  </a:ext>
                </a:extLst>
              </p:cNvPr>
              <p:cNvSpPr/>
              <p:nvPr/>
            </p:nvSpPr>
            <p:spPr>
              <a:xfrm>
                <a:off x="-1593582" y="3377398"/>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33" name="Freeform: Shape 32">
                <a:extLst>
                  <a:ext uri="{FF2B5EF4-FFF2-40B4-BE49-F238E27FC236}">
                    <a16:creationId xmlns:a16="http://schemas.microsoft.com/office/drawing/2014/main" id="{F5A5BA10-388E-4B9C-80E2-E9B8C0667D1E}"/>
                  </a:ext>
                </a:extLst>
              </p:cNvPr>
              <p:cNvSpPr/>
              <p:nvPr/>
            </p:nvSpPr>
            <p:spPr>
              <a:xfrm>
                <a:off x="-1593582" y="3505439"/>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34" name="Freeform: Shape 33">
                <a:extLst>
                  <a:ext uri="{FF2B5EF4-FFF2-40B4-BE49-F238E27FC236}">
                    <a16:creationId xmlns:a16="http://schemas.microsoft.com/office/drawing/2014/main" id="{473A2DAF-57B1-418D-ADD9-5EA85F0A7849}"/>
                  </a:ext>
                </a:extLst>
              </p:cNvPr>
              <p:cNvSpPr/>
              <p:nvPr/>
            </p:nvSpPr>
            <p:spPr>
              <a:xfrm>
                <a:off x="-1593582" y="3633480"/>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35" name="Freeform: Shape 34">
                <a:extLst>
                  <a:ext uri="{FF2B5EF4-FFF2-40B4-BE49-F238E27FC236}">
                    <a16:creationId xmlns:a16="http://schemas.microsoft.com/office/drawing/2014/main" id="{A14BDCD7-6276-4816-9A71-802E09010832}"/>
                  </a:ext>
                </a:extLst>
              </p:cNvPr>
              <p:cNvSpPr/>
              <p:nvPr/>
            </p:nvSpPr>
            <p:spPr>
              <a:xfrm>
                <a:off x="-1438945" y="3248977"/>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36" name="Freeform: Shape 35">
                <a:extLst>
                  <a:ext uri="{FF2B5EF4-FFF2-40B4-BE49-F238E27FC236}">
                    <a16:creationId xmlns:a16="http://schemas.microsoft.com/office/drawing/2014/main" id="{1D42DC84-C7DF-4C8B-87CE-01A82D8D6162}"/>
                  </a:ext>
                </a:extLst>
              </p:cNvPr>
              <p:cNvSpPr/>
              <p:nvPr/>
            </p:nvSpPr>
            <p:spPr>
              <a:xfrm>
                <a:off x="-1438945" y="3377398"/>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37" name="Freeform: Shape 36">
                <a:extLst>
                  <a:ext uri="{FF2B5EF4-FFF2-40B4-BE49-F238E27FC236}">
                    <a16:creationId xmlns:a16="http://schemas.microsoft.com/office/drawing/2014/main" id="{0FE9BF38-8B4C-4424-BE71-7A8421EA0862}"/>
                  </a:ext>
                </a:extLst>
              </p:cNvPr>
              <p:cNvSpPr/>
              <p:nvPr/>
            </p:nvSpPr>
            <p:spPr>
              <a:xfrm>
                <a:off x="-1438945" y="3505439"/>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38" name="Freeform: Shape 37">
                <a:extLst>
                  <a:ext uri="{FF2B5EF4-FFF2-40B4-BE49-F238E27FC236}">
                    <a16:creationId xmlns:a16="http://schemas.microsoft.com/office/drawing/2014/main" id="{5D474D87-D1FE-46E6-B170-32EF5074B5C4}"/>
                  </a:ext>
                </a:extLst>
              </p:cNvPr>
              <p:cNvSpPr/>
              <p:nvPr/>
            </p:nvSpPr>
            <p:spPr>
              <a:xfrm>
                <a:off x="-1438945" y="3633480"/>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39" name="Freeform: Shape 38">
                <a:extLst>
                  <a:ext uri="{FF2B5EF4-FFF2-40B4-BE49-F238E27FC236}">
                    <a16:creationId xmlns:a16="http://schemas.microsoft.com/office/drawing/2014/main" id="{13E405A9-0824-4CDD-991F-91153B035AA3}"/>
                  </a:ext>
                </a:extLst>
              </p:cNvPr>
              <p:cNvSpPr/>
              <p:nvPr/>
            </p:nvSpPr>
            <p:spPr>
              <a:xfrm>
                <a:off x="-1284687" y="3248977"/>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40" name="Freeform: Shape 39">
                <a:extLst>
                  <a:ext uri="{FF2B5EF4-FFF2-40B4-BE49-F238E27FC236}">
                    <a16:creationId xmlns:a16="http://schemas.microsoft.com/office/drawing/2014/main" id="{56AE8E34-16D2-4891-8C43-B9AD4ED031BD}"/>
                  </a:ext>
                </a:extLst>
              </p:cNvPr>
              <p:cNvSpPr/>
              <p:nvPr/>
            </p:nvSpPr>
            <p:spPr>
              <a:xfrm>
                <a:off x="-1284687" y="3377398"/>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41" name="Freeform: Shape 40">
                <a:extLst>
                  <a:ext uri="{FF2B5EF4-FFF2-40B4-BE49-F238E27FC236}">
                    <a16:creationId xmlns:a16="http://schemas.microsoft.com/office/drawing/2014/main" id="{9F64843E-6553-4B67-8400-19C65B9D671B}"/>
                  </a:ext>
                </a:extLst>
              </p:cNvPr>
              <p:cNvSpPr/>
              <p:nvPr/>
            </p:nvSpPr>
            <p:spPr>
              <a:xfrm>
                <a:off x="-1284687" y="3505439"/>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42" name="Freeform: Shape 41">
                <a:extLst>
                  <a:ext uri="{FF2B5EF4-FFF2-40B4-BE49-F238E27FC236}">
                    <a16:creationId xmlns:a16="http://schemas.microsoft.com/office/drawing/2014/main" id="{83213FBA-FD51-48CE-8344-979F07690CE4}"/>
                  </a:ext>
                </a:extLst>
              </p:cNvPr>
              <p:cNvSpPr/>
              <p:nvPr/>
            </p:nvSpPr>
            <p:spPr>
              <a:xfrm>
                <a:off x="-1284687" y="3633480"/>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43" name="Freeform: Shape 42">
                <a:extLst>
                  <a:ext uri="{FF2B5EF4-FFF2-40B4-BE49-F238E27FC236}">
                    <a16:creationId xmlns:a16="http://schemas.microsoft.com/office/drawing/2014/main" id="{CF07F498-2739-4CD9-98AE-5BDD7C69A81A}"/>
                  </a:ext>
                </a:extLst>
              </p:cNvPr>
              <p:cNvSpPr/>
              <p:nvPr/>
            </p:nvSpPr>
            <p:spPr>
              <a:xfrm>
                <a:off x="-1043043" y="3540774"/>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44" name="Freeform: Shape 43">
                <a:extLst>
                  <a:ext uri="{FF2B5EF4-FFF2-40B4-BE49-F238E27FC236}">
                    <a16:creationId xmlns:a16="http://schemas.microsoft.com/office/drawing/2014/main" id="{8B6B87A7-7E63-462A-A5D8-E802B5608C18}"/>
                  </a:ext>
                </a:extLst>
              </p:cNvPr>
              <p:cNvSpPr/>
              <p:nvPr/>
            </p:nvSpPr>
            <p:spPr>
              <a:xfrm>
                <a:off x="-1043043" y="3639180"/>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45" name="Freeform: Shape 44">
                <a:extLst>
                  <a:ext uri="{FF2B5EF4-FFF2-40B4-BE49-F238E27FC236}">
                    <a16:creationId xmlns:a16="http://schemas.microsoft.com/office/drawing/2014/main" id="{51C07242-6B8A-4D44-9686-6E64BC16C02A}"/>
                  </a:ext>
                </a:extLst>
              </p:cNvPr>
              <p:cNvSpPr/>
              <p:nvPr/>
            </p:nvSpPr>
            <p:spPr>
              <a:xfrm>
                <a:off x="-1043043" y="3737585"/>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46" name="Freeform: Shape 45">
                <a:extLst>
                  <a:ext uri="{FF2B5EF4-FFF2-40B4-BE49-F238E27FC236}">
                    <a16:creationId xmlns:a16="http://schemas.microsoft.com/office/drawing/2014/main" id="{1A3B34FD-CDE1-40E0-9DA6-2F7BBCCADA94}"/>
                  </a:ext>
                </a:extLst>
              </p:cNvPr>
              <p:cNvSpPr/>
              <p:nvPr/>
            </p:nvSpPr>
            <p:spPr>
              <a:xfrm>
                <a:off x="-1043043" y="3835991"/>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47" name="Freeform: Shape 46">
                <a:extLst>
                  <a:ext uri="{FF2B5EF4-FFF2-40B4-BE49-F238E27FC236}">
                    <a16:creationId xmlns:a16="http://schemas.microsoft.com/office/drawing/2014/main" id="{4918BC1B-916B-4A3B-ACF4-018F3B2F1DB4}"/>
                  </a:ext>
                </a:extLst>
              </p:cNvPr>
              <p:cNvSpPr/>
              <p:nvPr/>
            </p:nvSpPr>
            <p:spPr>
              <a:xfrm>
                <a:off x="-924500" y="3540774"/>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48" name="Freeform: Shape 47">
                <a:extLst>
                  <a:ext uri="{FF2B5EF4-FFF2-40B4-BE49-F238E27FC236}">
                    <a16:creationId xmlns:a16="http://schemas.microsoft.com/office/drawing/2014/main" id="{C98BE304-F82C-4527-9759-10E83BE25C87}"/>
                  </a:ext>
                </a:extLst>
              </p:cNvPr>
              <p:cNvSpPr/>
              <p:nvPr/>
            </p:nvSpPr>
            <p:spPr>
              <a:xfrm>
                <a:off x="-924500" y="3639180"/>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49" name="Freeform: Shape 48">
                <a:extLst>
                  <a:ext uri="{FF2B5EF4-FFF2-40B4-BE49-F238E27FC236}">
                    <a16:creationId xmlns:a16="http://schemas.microsoft.com/office/drawing/2014/main" id="{8A8F30EC-21C2-4B50-A818-E1662311AB05}"/>
                  </a:ext>
                </a:extLst>
              </p:cNvPr>
              <p:cNvSpPr/>
              <p:nvPr/>
            </p:nvSpPr>
            <p:spPr>
              <a:xfrm>
                <a:off x="-924500" y="3737585"/>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50" name="Freeform: Shape 49">
                <a:extLst>
                  <a:ext uri="{FF2B5EF4-FFF2-40B4-BE49-F238E27FC236}">
                    <a16:creationId xmlns:a16="http://schemas.microsoft.com/office/drawing/2014/main" id="{038E46A1-AB1E-4E82-B33B-37686806C2D7}"/>
                  </a:ext>
                </a:extLst>
              </p:cNvPr>
              <p:cNvSpPr/>
              <p:nvPr/>
            </p:nvSpPr>
            <p:spPr>
              <a:xfrm>
                <a:off x="-924500" y="3835991"/>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51" name="Freeform: Shape 50">
                <a:extLst>
                  <a:ext uri="{FF2B5EF4-FFF2-40B4-BE49-F238E27FC236}">
                    <a16:creationId xmlns:a16="http://schemas.microsoft.com/office/drawing/2014/main" id="{9304AC26-9B7E-462E-BD14-6E426E85280A}"/>
                  </a:ext>
                </a:extLst>
              </p:cNvPr>
              <p:cNvSpPr/>
              <p:nvPr/>
            </p:nvSpPr>
            <p:spPr>
              <a:xfrm>
                <a:off x="-805957" y="3540774"/>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52" name="Freeform: Shape 51">
                <a:extLst>
                  <a:ext uri="{FF2B5EF4-FFF2-40B4-BE49-F238E27FC236}">
                    <a16:creationId xmlns:a16="http://schemas.microsoft.com/office/drawing/2014/main" id="{25015846-5FDC-441F-9F42-4AB0DC732D0B}"/>
                  </a:ext>
                </a:extLst>
              </p:cNvPr>
              <p:cNvSpPr/>
              <p:nvPr/>
            </p:nvSpPr>
            <p:spPr>
              <a:xfrm>
                <a:off x="-805957" y="3639180"/>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53" name="Freeform: Shape 52">
                <a:extLst>
                  <a:ext uri="{FF2B5EF4-FFF2-40B4-BE49-F238E27FC236}">
                    <a16:creationId xmlns:a16="http://schemas.microsoft.com/office/drawing/2014/main" id="{C1317520-2DFC-4233-9740-ACABCAEA9872}"/>
                  </a:ext>
                </a:extLst>
              </p:cNvPr>
              <p:cNvSpPr/>
              <p:nvPr/>
            </p:nvSpPr>
            <p:spPr>
              <a:xfrm>
                <a:off x="-805957" y="3737585"/>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54" name="Freeform: Shape 53">
                <a:extLst>
                  <a:ext uri="{FF2B5EF4-FFF2-40B4-BE49-F238E27FC236}">
                    <a16:creationId xmlns:a16="http://schemas.microsoft.com/office/drawing/2014/main" id="{E282730C-E8A1-49CA-9AE6-458B270FB183}"/>
                  </a:ext>
                </a:extLst>
              </p:cNvPr>
              <p:cNvSpPr/>
              <p:nvPr/>
            </p:nvSpPr>
            <p:spPr>
              <a:xfrm>
                <a:off x="-805957" y="3835991"/>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sp>
          <p:nvSpPr>
            <p:cNvPr id="22" name="Freeform 6">
              <a:extLst>
                <a:ext uri="{FF2B5EF4-FFF2-40B4-BE49-F238E27FC236}">
                  <a16:creationId xmlns:a16="http://schemas.microsoft.com/office/drawing/2014/main" id="{99EA259B-0A0F-4C1C-A79F-5C4518DF01E4}"/>
                </a:ext>
              </a:extLst>
            </p:cNvPr>
            <p:cNvSpPr>
              <a:spLocks/>
            </p:cNvSpPr>
            <p:nvPr/>
          </p:nvSpPr>
          <p:spPr bwMode="auto">
            <a:xfrm>
              <a:off x="-1155949" y="2955266"/>
              <a:ext cx="681541" cy="737705"/>
            </a:xfrm>
            <a:custGeom>
              <a:avLst/>
              <a:gdLst>
                <a:gd name="T0" fmla="*/ 1245 w 1245"/>
                <a:gd name="T1" fmla="*/ 496 h 1192"/>
                <a:gd name="T2" fmla="*/ 1020 w 1245"/>
                <a:gd name="T3" fmla="*/ 272 h 1192"/>
                <a:gd name="T4" fmla="*/ 1018 w 1245"/>
                <a:gd name="T5" fmla="*/ 271 h 1192"/>
                <a:gd name="T6" fmla="*/ 23 w 1245"/>
                <a:gd name="T7" fmla="*/ 276 h 1192"/>
                <a:gd name="T8" fmla="*/ 23 w 1245"/>
                <a:gd name="T9" fmla="*/ 361 h 1192"/>
                <a:gd name="T10" fmla="*/ 26 w 1245"/>
                <a:gd name="T11" fmla="*/ 363 h 1192"/>
                <a:gd name="T12" fmla="*/ 26 w 1245"/>
                <a:gd name="T13" fmla="*/ 363 h 1192"/>
                <a:gd name="T14" fmla="*/ 149 w 1245"/>
                <a:gd name="T15" fmla="*/ 487 h 1192"/>
                <a:gd name="T16" fmla="*/ 167 w 1245"/>
                <a:gd name="T17" fmla="*/ 527 h 1192"/>
                <a:gd name="T18" fmla="*/ 168 w 1245"/>
                <a:gd name="T19" fmla="*/ 528 h 1192"/>
                <a:gd name="T20" fmla="*/ 168 w 1245"/>
                <a:gd name="T21" fmla="*/ 529 h 1192"/>
                <a:gd name="T22" fmla="*/ 302 w 1245"/>
                <a:gd name="T23" fmla="*/ 663 h 1192"/>
                <a:gd name="T24" fmla="*/ 318 w 1245"/>
                <a:gd name="T25" fmla="*/ 692 h 1192"/>
                <a:gd name="T26" fmla="*/ 318 w 1245"/>
                <a:gd name="T27" fmla="*/ 692 h 1192"/>
                <a:gd name="T28" fmla="*/ 432 w 1245"/>
                <a:gd name="T29" fmla="*/ 806 h 1192"/>
                <a:gd name="T30" fmla="*/ 432 w 1245"/>
                <a:gd name="T31" fmla="*/ 812 h 1192"/>
                <a:gd name="T32" fmla="*/ 467 w 1245"/>
                <a:gd name="T33" fmla="*/ 885 h 1192"/>
                <a:gd name="T34" fmla="*/ 775 w 1245"/>
                <a:gd name="T35" fmla="*/ 1192 h 1192"/>
                <a:gd name="T36" fmla="*/ 1245 w 1245"/>
                <a:gd name="T37" fmla="*/ 516 h 1192"/>
                <a:gd name="T38" fmla="*/ 1245 w 1245"/>
                <a:gd name="T39" fmla="*/ 496 h 1192"/>
                <a:gd name="connsiteX0" fmla="*/ 9954 w 13217"/>
                <a:gd name="connsiteY0" fmla="*/ 3582 h 14923"/>
                <a:gd name="connsiteX1" fmla="*/ 8147 w 13217"/>
                <a:gd name="connsiteY1" fmla="*/ 1703 h 14923"/>
                <a:gd name="connsiteX2" fmla="*/ 8131 w 13217"/>
                <a:gd name="connsiteY2" fmla="*/ 1694 h 14923"/>
                <a:gd name="connsiteX3" fmla="*/ 139 w 13217"/>
                <a:gd name="connsiteY3" fmla="*/ 1736 h 14923"/>
                <a:gd name="connsiteX4" fmla="*/ 139 w 13217"/>
                <a:gd name="connsiteY4" fmla="*/ 2450 h 14923"/>
                <a:gd name="connsiteX5" fmla="*/ 163 w 13217"/>
                <a:gd name="connsiteY5" fmla="*/ 2466 h 14923"/>
                <a:gd name="connsiteX6" fmla="*/ 163 w 13217"/>
                <a:gd name="connsiteY6" fmla="*/ 2466 h 14923"/>
                <a:gd name="connsiteX7" fmla="*/ 1151 w 13217"/>
                <a:gd name="connsiteY7" fmla="*/ 3507 h 14923"/>
                <a:gd name="connsiteX8" fmla="*/ 1295 w 13217"/>
                <a:gd name="connsiteY8" fmla="*/ 3842 h 14923"/>
                <a:gd name="connsiteX9" fmla="*/ 1303 w 13217"/>
                <a:gd name="connsiteY9" fmla="*/ 3851 h 14923"/>
                <a:gd name="connsiteX10" fmla="*/ 1303 w 13217"/>
                <a:gd name="connsiteY10" fmla="*/ 3859 h 14923"/>
                <a:gd name="connsiteX11" fmla="*/ 2380 w 13217"/>
                <a:gd name="connsiteY11" fmla="*/ 4983 h 14923"/>
                <a:gd name="connsiteX12" fmla="*/ 2508 w 13217"/>
                <a:gd name="connsiteY12" fmla="*/ 5226 h 14923"/>
                <a:gd name="connsiteX13" fmla="*/ 2508 w 13217"/>
                <a:gd name="connsiteY13" fmla="*/ 5226 h 14923"/>
                <a:gd name="connsiteX14" fmla="*/ 3424 w 13217"/>
                <a:gd name="connsiteY14" fmla="*/ 6183 h 14923"/>
                <a:gd name="connsiteX15" fmla="*/ 3424 w 13217"/>
                <a:gd name="connsiteY15" fmla="*/ 6233 h 14923"/>
                <a:gd name="connsiteX16" fmla="*/ 3705 w 13217"/>
                <a:gd name="connsiteY16" fmla="*/ 6845 h 14923"/>
                <a:gd name="connsiteX17" fmla="*/ 12649 w 13217"/>
                <a:gd name="connsiteY17" fmla="*/ 14923 h 14923"/>
                <a:gd name="connsiteX18" fmla="*/ 9954 w 13217"/>
                <a:gd name="connsiteY18" fmla="*/ 3750 h 14923"/>
                <a:gd name="connsiteX19" fmla="*/ 9954 w 13217"/>
                <a:gd name="connsiteY19" fmla="*/ 3582 h 14923"/>
                <a:gd name="connsiteX0" fmla="*/ 9954 w 13757"/>
                <a:gd name="connsiteY0" fmla="*/ 3582 h 14923"/>
                <a:gd name="connsiteX1" fmla="*/ 8147 w 13757"/>
                <a:gd name="connsiteY1" fmla="*/ 1703 h 14923"/>
                <a:gd name="connsiteX2" fmla="*/ 8131 w 13757"/>
                <a:gd name="connsiteY2" fmla="*/ 1694 h 14923"/>
                <a:gd name="connsiteX3" fmla="*/ 139 w 13757"/>
                <a:gd name="connsiteY3" fmla="*/ 1736 h 14923"/>
                <a:gd name="connsiteX4" fmla="*/ 139 w 13757"/>
                <a:gd name="connsiteY4" fmla="*/ 2450 h 14923"/>
                <a:gd name="connsiteX5" fmla="*/ 163 w 13757"/>
                <a:gd name="connsiteY5" fmla="*/ 2466 h 14923"/>
                <a:gd name="connsiteX6" fmla="*/ 163 w 13757"/>
                <a:gd name="connsiteY6" fmla="*/ 2466 h 14923"/>
                <a:gd name="connsiteX7" fmla="*/ 1151 w 13757"/>
                <a:gd name="connsiteY7" fmla="*/ 3507 h 14923"/>
                <a:gd name="connsiteX8" fmla="*/ 1295 w 13757"/>
                <a:gd name="connsiteY8" fmla="*/ 3842 h 14923"/>
                <a:gd name="connsiteX9" fmla="*/ 1303 w 13757"/>
                <a:gd name="connsiteY9" fmla="*/ 3851 h 14923"/>
                <a:gd name="connsiteX10" fmla="*/ 1303 w 13757"/>
                <a:gd name="connsiteY10" fmla="*/ 3859 h 14923"/>
                <a:gd name="connsiteX11" fmla="*/ 2380 w 13757"/>
                <a:gd name="connsiteY11" fmla="*/ 4983 h 14923"/>
                <a:gd name="connsiteX12" fmla="*/ 2508 w 13757"/>
                <a:gd name="connsiteY12" fmla="*/ 5226 h 14923"/>
                <a:gd name="connsiteX13" fmla="*/ 2508 w 13757"/>
                <a:gd name="connsiteY13" fmla="*/ 5226 h 14923"/>
                <a:gd name="connsiteX14" fmla="*/ 3424 w 13757"/>
                <a:gd name="connsiteY14" fmla="*/ 6183 h 14923"/>
                <a:gd name="connsiteX15" fmla="*/ 3424 w 13757"/>
                <a:gd name="connsiteY15" fmla="*/ 6233 h 14923"/>
                <a:gd name="connsiteX16" fmla="*/ 3705 w 13757"/>
                <a:gd name="connsiteY16" fmla="*/ 6845 h 14923"/>
                <a:gd name="connsiteX17" fmla="*/ 12649 w 13757"/>
                <a:gd name="connsiteY17" fmla="*/ 14923 h 14923"/>
                <a:gd name="connsiteX18" fmla="*/ 13095 w 13757"/>
                <a:gd name="connsiteY18" fmla="*/ 6304 h 14923"/>
                <a:gd name="connsiteX19" fmla="*/ 9954 w 13757"/>
                <a:gd name="connsiteY19" fmla="*/ 3582 h 14923"/>
                <a:gd name="connsiteX0" fmla="*/ 9954 w 13829"/>
                <a:gd name="connsiteY0" fmla="*/ 3582 h 14923"/>
                <a:gd name="connsiteX1" fmla="*/ 8147 w 13829"/>
                <a:gd name="connsiteY1" fmla="*/ 1703 h 14923"/>
                <a:gd name="connsiteX2" fmla="*/ 8131 w 13829"/>
                <a:gd name="connsiteY2" fmla="*/ 1694 h 14923"/>
                <a:gd name="connsiteX3" fmla="*/ 139 w 13829"/>
                <a:gd name="connsiteY3" fmla="*/ 1736 h 14923"/>
                <a:gd name="connsiteX4" fmla="*/ 139 w 13829"/>
                <a:gd name="connsiteY4" fmla="*/ 2450 h 14923"/>
                <a:gd name="connsiteX5" fmla="*/ 163 w 13829"/>
                <a:gd name="connsiteY5" fmla="*/ 2466 h 14923"/>
                <a:gd name="connsiteX6" fmla="*/ 163 w 13829"/>
                <a:gd name="connsiteY6" fmla="*/ 2466 h 14923"/>
                <a:gd name="connsiteX7" fmla="*/ 1151 w 13829"/>
                <a:gd name="connsiteY7" fmla="*/ 3507 h 14923"/>
                <a:gd name="connsiteX8" fmla="*/ 1295 w 13829"/>
                <a:gd name="connsiteY8" fmla="*/ 3842 h 14923"/>
                <a:gd name="connsiteX9" fmla="*/ 1303 w 13829"/>
                <a:gd name="connsiteY9" fmla="*/ 3851 h 14923"/>
                <a:gd name="connsiteX10" fmla="*/ 1303 w 13829"/>
                <a:gd name="connsiteY10" fmla="*/ 3859 h 14923"/>
                <a:gd name="connsiteX11" fmla="*/ 2380 w 13829"/>
                <a:gd name="connsiteY11" fmla="*/ 4983 h 14923"/>
                <a:gd name="connsiteX12" fmla="*/ 2508 w 13829"/>
                <a:gd name="connsiteY12" fmla="*/ 5226 h 14923"/>
                <a:gd name="connsiteX13" fmla="*/ 2508 w 13829"/>
                <a:gd name="connsiteY13" fmla="*/ 5226 h 14923"/>
                <a:gd name="connsiteX14" fmla="*/ 3424 w 13829"/>
                <a:gd name="connsiteY14" fmla="*/ 6183 h 14923"/>
                <a:gd name="connsiteX15" fmla="*/ 3424 w 13829"/>
                <a:gd name="connsiteY15" fmla="*/ 6233 h 14923"/>
                <a:gd name="connsiteX16" fmla="*/ 3705 w 13829"/>
                <a:gd name="connsiteY16" fmla="*/ 6845 h 14923"/>
                <a:gd name="connsiteX17" fmla="*/ 12649 w 13829"/>
                <a:gd name="connsiteY17" fmla="*/ 14923 h 14923"/>
                <a:gd name="connsiteX18" fmla="*/ 13095 w 13829"/>
                <a:gd name="connsiteY18" fmla="*/ 6304 h 14923"/>
                <a:gd name="connsiteX19" fmla="*/ 9954 w 13829"/>
                <a:gd name="connsiteY19" fmla="*/ 3582 h 14923"/>
                <a:gd name="connsiteX0" fmla="*/ 9954 w 13403"/>
                <a:gd name="connsiteY0" fmla="*/ 3582 h 14923"/>
                <a:gd name="connsiteX1" fmla="*/ 8147 w 13403"/>
                <a:gd name="connsiteY1" fmla="*/ 1703 h 14923"/>
                <a:gd name="connsiteX2" fmla="*/ 8131 w 13403"/>
                <a:gd name="connsiteY2" fmla="*/ 1694 h 14923"/>
                <a:gd name="connsiteX3" fmla="*/ 139 w 13403"/>
                <a:gd name="connsiteY3" fmla="*/ 1736 h 14923"/>
                <a:gd name="connsiteX4" fmla="*/ 139 w 13403"/>
                <a:gd name="connsiteY4" fmla="*/ 2450 h 14923"/>
                <a:gd name="connsiteX5" fmla="*/ 163 w 13403"/>
                <a:gd name="connsiteY5" fmla="*/ 2466 h 14923"/>
                <a:gd name="connsiteX6" fmla="*/ 163 w 13403"/>
                <a:gd name="connsiteY6" fmla="*/ 2466 h 14923"/>
                <a:gd name="connsiteX7" fmla="*/ 1151 w 13403"/>
                <a:gd name="connsiteY7" fmla="*/ 3507 h 14923"/>
                <a:gd name="connsiteX8" fmla="*/ 1295 w 13403"/>
                <a:gd name="connsiteY8" fmla="*/ 3842 h 14923"/>
                <a:gd name="connsiteX9" fmla="*/ 1303 w 13403"/>
                <a:gd name="connsiteY9" fmla="*/ 3851 h 14923"/>
                <a:gd name="connsiteX10" fmla="*/ 1303 w 13403"/>
                <a:gd name="connsiteY10" fmla="*/ 3859 h 14923"/>
                <a:gd name="connsiteX11" fmla="*/ 2380 w 13403"/>
                <a:gd name="connsiteY11" fmla="*/ 4983 h 14923"/>
                <a:gd name="connsiteX12" fmla="*/ 2508 w 13403"/>
                <a:gd name="connsiteY12" fmla="*/ 5226 h 14923"/>
                <a:gd name="connsiteX13" fmla="*/ 2508 w 13403"/>
                <a:gd name="connsiteY13" fmla="*/ 5226 h 14923"/>
                <a:gd name="connsiteX14" fmla="*/ 3424 w 13403"/>
                <a:gd name="connsiteY14" fmla="*/ 6183 h 14923"/>
                <a:gd name="connsiteX15" fmla="*/ 3424 w 13403"/>
                <a:gd name="connsiteY15" fmla="*/ 6233 h 14923"/>
                <a:gd name="connsiteX16" fmla="*/ 3705 w 13403"/>
                <a:gd name="connsiteY16" fmla="*/ 6845 h 14923"/>
                <a:gd name="connsiteX17" fmla="*/ 12649 w 13403"/>
                <a:gd name="connsiteY17" fmla="*/ 14923 h 14923"/>
                <a:gd name="connsiteX18" fmla="*/ 13095 w 13403"/>
                <a:gd name="connsiteY18" fmla="*/ 6304 h 14923"/>
                <a:gd name="connsiteX19" fmla="*/ 9954 w 13403"/>
                <a:gd name="connsiteY19" fmla="*/ 3582 h 14923"/>
                <a:gd name="connsiteX0" fmla="*/ 9954 w 13217"/>
                <a:gd name="connsiteY0" fmla="*/ 3582 h 14923"/>
                <a:gd name="connsiteX1" fmla="*/ 8147 w 13217"/>
                <a:gd name="connsiteY1" fmla="*/ 1703 h 14923"/>
                <a:gd name="connsiteX2" fmla="*/ 8131 w 13217"/>
                <a:gd name="connsiteY2" fmla="*/ 1694 h 14923"/>
                <a:gd name="connsiteX3" fmla="*/ 139 w 13217"/>
                <a:gd name="connsiteY3" fmla="*/ 1736 h 14923"/>
                <a:gd name="connsiteX4" fmla="*/ 139 w 13217"/>
                <a:gd name="connsiteY4" fmla="*/ 2450 h 14923"/>
                <a:gd name="connsiteX5" fmla="*/ 163 w 13217"/>
                <a:gd name="connsiteY5" fmla="*/ 2466 h 14923"/>
                <a:gd name="connsiteX6" fmla="*/ 163 w 13217"/>
                <a:gd name="connsiteY6" fmla="*/ 2466 h 14923"/>
                <a:gd name="connsiteX7" fmla="*/ 1151 w 13217"/>
                <a:gd name="connsiteY7" fmla="*/ 3507 h 14923"/>
                <a:gd name="connsiteX8" fmla="*/ 1295 w 13217"/>
                <a:gd name="connsiteY8" fmla="*/ 3842 h 14923"/>
                <a:gd name="connsiteX9" fmla="*/ 1303 w 13217"/>
                <a:gd name="connsiteY9" fmla="*/ 3851 h 14923"/>
                <a:gd name="connsiteX10" fmla="*/ 1303 w 13217"/>
                <a:gd name="connsiteY10" fmla="*/ 3859 h 14923"/>
                <a:gd name="connsiteX11" fmla="*/ 2380 w 13217"/>
                <a:gd name="connsiteY11" fmla="*/ 4983 h 14923"/>
                <a:gd name="connsiteX12" fmla="*/ 2508 w 13217"/>
                <a:gd name="connsiteY12" fmla="*/ 5226 h 14923"/>
                <a:gd name="connsiteX13" fmla="*/ 2508 w 13217"/>
                <a:gd name="connsiteY13" fmla="*/ 5226 h 14923"/>
                <a:gd name="connsiteX14" fmla="*/ 3424 w 13217"/>
                <a:gd name="connsiteY14" fmla="*/ 6183 h 14923"/>
                <a:gd name="connsiteX15" fmla="*/ 3424 w 13217"/>
                <a:gd name="connsiteY15" fmla="*/ 6233 h 14923"/>
                <a:gd name="connsiteX16" fmla="*/ 3705 w 13217"/>
                <a:gd name="connsiteY16" fmla="*/ 6845 h 14923"/>
                <a:gd name="connsiteX17" fmla="*/ 12649 w 13217"/>
                <a:gd name="connsiteY17" fmla="*/ 14923 h 14923"/>
                <a:gd name="connsiteX18" fmla="*/ 13095 w 13217"/>
                <a:gd name="connsiteY18" fmla="*/ 6304 h 14923"/>
                <a:gd name="connsiteX19" fmla="*/ 9954 w 13217"/>
                <a:gd name="connsiteY19" fmla="*/ 3582 h 14923"/>
                <a:gd name="connsiteX0" fmla="*/ 9954 w 13379"/>
                <a:gd name="connsiteY0" fmla="*/ 3582 h 14923"/>
                <a:gd name="connsiteX1" fmla="*/ 8147 w 13379"/>
                <a:gd name="connsiteY1" fmla="*/ 1703 h 14923"/>
                <a:gd name="connsiteX2" fmla="*/ 8131 w 13379"/>
                <a:gd name="connsiteY2" fmla="*/ 1694 h 14923"/>
                <a:gd name="connsiteX3" fmla="*/ 139 w 13379"/>
                <a:gd name="connsiteY3" fmla="*/ 1736 h 14923"/>
                <a:gd name="connsiteX4" fmla="*/ 139 w 13379"/>
                <a:gd name="connsiteY4" fmla="*/ 2450 h 14923"/>
                <a:gd name="connsiteX5" fmla="*/ 163 w 13379"/>
                <a:gd name="connsiteY5" fmla="*/ 2466 h 14923"/>
                <a:gd name="connsiteX6" fmla="*/ 163 w 13379"/>
                <a:gd name="connsiteY6" fmla="*/ 2466 h 14923"/>
                <a:gd name="connsiteX7" fmla="*/ 1151 w 13379"/>
                <a:gd name="connsiteY7" fmla="*/ 3507 h 14923"/>
                <a:gd name="connsiteX8" fmla="*/ 1295 w 13379"/>
                <a:gd name="connsiteY8" fmla="*/ 3842 h 14923"/>
                <a:gd name="connsiteX9" fmla="*/ 1303 w 13379"/>
                <a:gd name="connsiteY9" fmla="*/ 3851 h 14923"/>
                <a:gd name="connsiteX10" fmla="*/ 1303 w 13379"/>
                <a:gd name="connsiteY10" fmla="*/ 3859 h 14923"/>
                <a:gd name="connsiteX11" fmla="*/ 2380 w 13379"/>
                <a:gd name="connsiteY11" fmla="*/ 4983 h 14923"/>
                <a:gd name="connsiteX12" fmla="*/ 2508 w 13379"/>
                <a:gd name="connsiteY12" fmla="*/ 5226 h 14923"/>
                <a:gd name="connsiteX13" fmla="*/ 2508 w 13379"/>
                <a:gd name="connsiteY13" fmla="*/ 5226 h 14923"/>
                <a:gd name="connsiteX14" fmla="*/ 3424 w 13379"/>
                <a:gd name="connsiteY14" fmla="*/ 6183 h 14923"/>
                <a:gd name="connsiteX15" fmla="*/ 3424 w 13379"/>
                <a:gd name="connsiteY15" fmla="*/ 6233 h 14923"/>
                <a:gd name="connsiteX16" fmla="*/ 3705 w 13379"/>
                <a:gd name="connsiteY16" fmla="*/ 6845 h 14923"/>
                <a:gd name="connsiteX17" fmla="*/ 12649 w 13379"/>
                <a:gd name="connsiteY17" fmla="*/ 14923 h 14923"/>
                <a:gd name="connsiteX18" fmla="*/ 13095 w 13379"/>
                <a:gd name="connsiteY18" fmla="*/ 6304 h 14923"/>
                <a:gd name="connsiteX19" fmla="*/ 9954 w 13379"/>
                <a:gd name="connsiteY19" fmla="*/ 3582 h 14923"/>
                <a:gd name="connsiteX0" fmla="*/ 9954 w 13467"/>
                <a:gd name="connsiteY0" fmla="*/ 3582 h 14923"/>
                <a:gd name="connsiteX1" fmla="*/ 8147 w 13467"/>
                <a:gd name="connsiteY1" fmla="*/ 1703 h 14923"/>
                <a:gd name="connsiteX2" fmla="*/ 8131 w 13467"/>
                <a:gd name="connsiteY2" fmla="*/ 1694 h 14923"/>
                <a:gd name="connsiteX3" fmla="*/ 139 w 13467"/>
                <a:gd name="connsiteY3" fmla="*/ 1736 h 14923"/>
                <a:gd name="connsiteX4" fmla="*/ 139 w 13467"/>
                <a:gd name="connsiteY4" fmla="*/ 2450 h 14923"/>
                <a:gd name="connsiteX5" fmla="*/ 163 w 13467"/>
                <a:gd name="connsiteY5" fmla="*/ 2466 h 14923"/>
                <a:gd name="connsiteX6" fmla="*/ 163 w 13467"/>
                <a:gd name="connsiteY6" fmla="*/ 2466 h 14923"/>
                <a:gd name="connsiteX7" fmla="*/ 1151 w 13467"/>
                <a:gd name="connsiteY7" fmla="*/ 3507 h 14923"/>
                <a:gd name="connsiteX8" fmla="*/ 1295 w 13467"/>
                <a:gd name="connsiteY8" fmla="*/ 3842 h 14923"/>
                <a:gd name="connsiteX9" fmla="*/ 1303 w 13467"/>
                <a:gd name="connsiteY9" fmla="*/ 3851 h 14923"/>
                <a:gd name="connsiteX10" fmla="*/ 1303 w 13467"/>
                <a:gd name="connsiteY10" fmla="*/ 3859 h 14923"/>
                <a:gd name="connsiteX11" fmla="*/ 2380 w 13467"/>
                <a:gd name="connsiteY11" fmla="*/ 4983 h 14923"/>
                <a:gd name="connsiteX12" fmla="*/ 2508 w 13467"/>
                <a:gd name="connsiteY12" fmla="*/ 5226 h 14923"/>
                <a:gd name="connsiteX13" fmla="*/ 2508 w 13467"/>
                <a:gd name="connsiteY13" fmla="*/ 5226 h 14923"/>
                <a:gd name="connsiteX14" fmla="*/ 3424 w 13467"/>
                <a:gd name="connsiteY14" fmla="*/ 6183 h 14923"/>
                <a:gd name="connsiteX15" fmla="*/ 3424 w 13467"/>
                <a:gd name="connsiteY15" fmla="*/ 6233 h 14923"/>
                <a:gd name="connsiteX16" fmla="*/ 3705 w 13467"/>
                <a:gd name="connsiteY16" fmla="*/ 6845 h 14923"/>
                <a:gd name="connsiteX17" fmla="*/ 12649 w 13467"/>
                <a:gd name="connsiteY17" fmla="*/ 14923 h 14923"/>
                <a:gd name="connsiteX18" fmla="*/ 13252 w 13467"/>
                <a:gd name="connsiteY18" fmla="*/ 6828 h 14923"/>
                <a:gd name="connsiteX19" fmla="*/ 9954 w 13467"/>
                <a:gd name="connsiteY19" fmla="*/ 3582 h 14923"/>
                <a:gd name="connsiteX0" fmla="*/ 9954 w 13520"/>
                <a:gd name="connsiteY0" fmla="*/ 3582 h 14923"/>
                <a:gd name="connsiteX1" fmla="*/ 8147 w 13520"/>
                <a:gd name="connsiteY1" fmla="*/ 1703 h 14923"/>
                <a:gd name="connsiteX2" fmla="*/ 8131 w 13520"/>
                <a:gd name="connsiteY2" fmla="*/ 1694 h 14923"/>
                <a:gd name="connsiteX3" fmla="*/ 139 w 13520"/>
                <a:gd name="connsiteY3" fmla="*/ 1736 h 14923"/>
                <a:gd name="connsiteX4" fmla="*/ 139 w 13520"/>
                <a:gd name="connsiteY4" fmla="*/ 2450 h 14923"/>
                <a:gd name="connsiteX5" fmla="*/ 163 w 13520"/>
                <a:gd name="connsiteY5" fmla="*/ 2466 h 14923"/>
                <a:gd name="connsiteX6" fmla="*/ 163 w 13520"/>
                <a:gd name="connsiteY6" fmla="*/ 2466 h 14923"/>
                <a:gd name="connsiteX7" fmla="*/ 1151 w 13520"/>
                <a:gd name="connsiteY7" fmla="*/ 3507 h 14923"/>
                <a:gd name="connsiteX8" fmla="*/ 1295 w 13520"/>
                <a:gd name="connsiteY8" fmla="*/ 3842 h 14923"/>
                <a:gd name="connsiteX9" fmla="*/ 1303 w 13520"/>
                <a:gd name="connsiteY9" fmla="*/ 3851 h 14923"/>
                <a:gd name="connsiteX10" fmla="*/ 1303 w 13520"/>
                <a:gd name="connsiteY10" fmla="*/ 3859 h 14923"/>
                <a:gd name="connsiteX11" fmla="*/ 2380 w 13520"/>
                <a:gd name="connsiteY11" fmla="*/ 4983 h 14923"/>
                <a:gd name="connsiteX12" fmla="*/ 2508 w 13520"/>
                <a:gd name="connsiteY12" fmla="*/ 5226 h 14923"/>
                <a:gd name="connsiteX13" fmla="*/ 2508 w 13520"/>
                <a:gd name="connsiteY13" fmla="*/ 5226 h 14923"/>
                <a:gd name="connsiteX14" fmla="*/ 3424 w 13520"/>
                <a:gd name="connsiteY14" fmla="*/ 6183 h 14923"/>
                <a:gd name="connsiteX15" fmla="*/ 3424 w 13520"/>
                <a:gd name="connsiteY15" fmla="*/ 6233 h 14923"/>
                <a:gd name="connsiteX16" fmla="*/ 3705 w 13520"/>
                <a:gd name="connsiteY16" fmla="*/ 6845 h 14923"/>
                <a:gd name="connsiteX17" fmla="*/ 12649 w 13520"/>
                <a:gd name="connsiteY17" fmla="*/ 14923 h 14923"/>
                <a:gd name="connsiteX18" fmla="*/ 13252 w 13520"/>
                <a:gd name="connsiteY18" fmla="*/ 6828 h 14923"/>
                <a:gd name="connsiteX19" fmla="*/ 9954 w 13520"/>
                <a:gd name="connsiteY19" fmla="*/ 3582 h 14923"/>
                <a:gd name="connsiteX0" fmla="*/ 9954 w 13487"/>
                <a:gd name="connsiteY0" fmla="*/ 3582 h 15218"/>
                <a:gd name="connsiteX1" fmla="*/ 8147 w 13487"/>
                <a:gd name="connsiteY1" fmla="*/ 1703 h 15218"/>
                <a:gd name="connsiteX2" fmla="*/ 8131 w 13487"/>
                <a:gd name="connsiteY2" fmla="*/ 1694 h 15218"/>
                <a:gd name="connsiteX3" fmla="*/ 139 w 13487"/>
                <a:gd name="connsiteY3" fmla="*/ 1736 h 15218"/>
                <a:gd name="connsiteX4" fmla="*/ 139 w 13487"/>
                <a:gd name="connsiteY4" fmla="*/ 2450 h 15218"/>
                <a:gd name="connsiteX5" fmla="*/ 163 w 13487"/>
                <a:gd name="connsiteY5" fmla="*/ 2466 h 15218"/>
                <a:gd name="connsiteX6" fmla="*/ 163 w 13487"/>
                <a:gd name="connsiteY6" fmla="*/ 2466 h 15218"/>
                <a:gd name="connsiteX7" fmla="*/ 1151 w 13487"/>
                <a:gd name="connsiteY7" fmla="*/ 3507 h 15218"/>
                <a:gd name="connsiteX8" fmla="*/ 1295 w 13487"/>
                <a:gd name="connsiteY8" fmla="*/ 3842 h 15218"/>
                <a:gd name="connsiteX9" fmla="*/ 1303 w 13487"/>
                <a:gd name="connsiteY9" fmla="*/ 3851 h 15218"/>
                <a:gd name="connsiteX10" fmla="*/ 1303 w 13487"/>
                <a:gd name="connsiteY10" fmla="*/ 3859 h 15218"/>
                <a:gd name="connsiteX11" fmla="*/ 2380 w 13487"/>
                <a:gd name="connsiteY11" fmla="*/ 4983 h 15218"/>
                <a:gd name="connsiteX12" fmla="*/ 2508 w 13487"/>
                <a:gd name="connsiteY12" fmla="*/ 5226 h 15218"/>
                <a:gd name="connsiteX13" fmla="*/ 2508 w 13487"/>
                <a:gd name="connsiteY13" fmla="*/ 5226 h 15218"/>
                <a:gd name="connsiteX14" fmla="*/ 3424 w 13487"/>
                <a:gd name="connsiteY14" fmla="*/ 6183 h 15218"/>
                <a:gd name="connsiteX15" fmla="*/ 3424 w 13487"/>
                <a:gd name="connsiteY15" fmla="*/ 6233 h 15218"/>
                <a:gd name="connsiteX16" fmla="*/ 3705 w 13487"/>
                <a:gd name="connsiteY16" fmla="*/ 6845 h 15218"/>
                <a:gd name="connsiteX17" fmla="*/ 12555 w 13487"/>
                <a:gd name="connsiteY17" fmla="*/ 15218 h 15218"/>
                <a:gd name="connsiteX18" fmla="*/ 13252 w 13487"/>
                <a:gd name="connsiteY18" fmla="*/ 6828 h 15218"/>
                <a:gd name="connsiteX19" fmla="*/ 9954 w 13487"/>
                <a:gd name="connsiteY19" fmla="*/ 3582 h 15218"/>
                <a:gd name="connsiteX0" fmla="*/ 9954 w 13487"/>
                <a:gd name="connsiteY0" fmla="*/ 3582 h 15218"/>
                <a:gd name="connsiteX1" fmla="*/ 8147 w 13487"/>
                <a:gd name="connsiteY1" fmla="*/ 1703 h 15218"/>
                <a:gd name="connsiteX2" fmla="*/ 8131 w 13487"/>
                <a:gd name="connsiteY2" fmla="*/ 1694 h 15218"/>
                <a:gd name="connsiteX3" fmla="*/ 139 w 13487"/>
                <a:gd name="connsiteY3" fmla="*/ 1736 h 15218"/>
                <a:gd name="connsiteX4" fmla="*/ 139 w 13487"/>
                <a:gd name="connsiteY4" fmla="*/ 2450 h 15218"/>
                <a:gd name="connsiteX5" fmla="*/ 163 w 13487"/>
                <a:gd name="connsiteY5" fmla="*/ 2466 h 15218"/>
                <a:gd name="connsiteX6" fmla="*/ 163 w 13487"/>
                <a:gd name="connsiteY6" fmla="*/ 2466 h 15218"/>
                <a:gd name="connsiteX7" fmla="*/ 1151 w 13487"/>
                <a:gd name="connsiteY7" fmla="*/ 3507 h 15218"/>
                <a:gd name="connsiteX8" fmla="*/ 1295 w 13487"/>
                <a:gd name="connsiteY8" fmla="*/ 3842 h 15218"/>
                <a:gd name="connsiteX9" fmla="*/ 1303 w 13487"/>
                <a:gd name="connsiteY9" fmla="*/ 3851 h 15218"/>
                <a:gd name="connsiteX10" fmla="*/ 1303 w 13487"/>
                <a:gd name="connsiteY10" fmla="*/ 3859 h 15218"/>
                <a:gd name="connsiteX11" fmla="*/ 2380 w 13487"/>
                <a:gd name="connsiteY11" fmla="*/ 4983 h 15218"/>
                <a:gd name="connsiteX12" fmla="*/ 2508 w 13487"/>
                <a:gd name="connsiteY12" fmla="*/ 5226 h 15218"/>
                <a:gd name="connsiteX13" fmla="*/ 2508 w 13487"/>
                <a:gd name="connsiteY13" fmla="*/ 5226 h 15218"/>
                <a:gd name="connsiteX14" fmla="*/ 3424 w 13487"/>
                <a:gd name="connsiteY14" fmla="*/ 6183 h 15218"/>
                <a:gd name="connsiteX15" fmla="*/ 3424 w 13487"/>
                <a:gd name="connsiteY15" fmla="*/ 6233 h 15218"/>
                <a:gd name="connsiteX16" fmla="*/ 3705 w 13487"/>
                <a:gd name="connsiteY16" fmla="*/ 6845 h 15218"/>
                <a:gd name="connsiteX17" fmla="*/ 12555 w 13487"/>
                <a:gd name="connsiteY17" fmla="*/ 15218 h 15218"/>
                <a:gd name="connsiteX18" fmla="*/ 13252 w 13487"/>
                <a:gd name="connsiteY18" fmla="*/ 7155 h 15218"/>
                <a:gd name="connsiteX19" fmla="*/ 9954 w 13487"/>
                <a:gd name="connsiteY19" fmla="*/ 3582 h 15218"/>
                <a:gd name="connsiteX0" fmla="*/ 9954 w 13419"/>
                <a:gd name="connsiteY0" fmla="*/ 3582 h 15218"/>
                <a:gd name="connsiteX1" fmla="*/ 8147 w 13419"/>
                <a:gd name="connsiteY1" fmla="*/ 1703 h 15218"/>
                <a:gd name="connsiteX2" fmla="*/ 8131 w 13419"/>
                <a:gd name="connsiteY2" fmla="*/ 1694 h 15218"/>
                <a:gd name="connsiteX3" fmla="*/ 139 w 13419"/>
                <a:gd name="connsiteY3" fmla="*/ 1736 h 15218"/>
                <a:gd name="connsiteX4" fmla="*/ 139 w 13419"/>
                <a:gd name="connsiteY4" fmla="*/ 2450 h 15218"/>
                <a:gd name="connsiteX5" fmla="*/ 163 w 13419"/>
                <a:gd name="connsiteY5" fmla="*/ 2466 h 15218"/>
                <a:gd name="connsiteX6" fmla="*/ 163 w 13419"/>
                <a:gd name="connsiteY6" fmla="*/ 2466 h 15218"/>
                <a:gd name="connsiteX7" fmla="*/ 1151 w 13419"/>
                <a:gd name="connsiteY7" fmla="*/ 3507 h 15218"/>
                <a:gd name="connsiteX8" fmla="*/ 1295 w 13419"/>
                <a:gd name="connsiteY8" fmla="*/ 3842 h 15218"/>
                <a:gd name="connsiteX9" fmla="*/ 1303 w 13419"/>
                <a:gd name="connsiteY9" fmla="*/ 3851 h 15218"/>
                <a:gd name="connsiteX10" fmla="*/ 1303 w 13419"/>
                <a:gd name="connsiteY10" fmla="*/ 3859 h 15218"/>
                <a:gd name="connsiteX11" fmla="*/ 2380 w 13419"/>
                <a:gd name="connsiteY11" fmla="*/ 4983 h 15218"/>
                <a:gd name="connsiteX12" fmla="*/ 2508 w 13419"/>
                <a:gd name="connsiteY12" fmla="*/ 5226 h 15218"/>
                <a:gd name="connsiteX13" fmla="*/ 2508 w 13419"/>
                <a:gd name="connsiteY13" fmla="*/ 5226 h 15218"/>
                <a:gd name="connsiteX14" fmla="*/ 3424 w 13419"/>
                <a:gd name="connsiteY14" fmla="*/ 6183 h 15218"/>
                <a:gd name="connsiteX15" fmla="*/ 3424 w 13419"/>
                <a:gd name="connsiteY15" fmla="*/ 6233 h 15218"/>
                <a:gd name="connsiteX16" fmla="*/ 3705 w 13419"/>
                <a:gd name="connsiteY16" fmla="*/ 6845 h 15218"/>
                <a:gd name="connsiteX17" fmla="*/ 12555 w 13419"/>
                <a:gd name="connsiteY17" fmla="*/ 15218 h 15218"/>
                <a:gd name="connsiteX18" fmla="*/ 13252 w 13419"/>
                <a:gd name="connsiteY18" fmla="*/ 7155 h 15218"/>
                <a:gd name="connsiteX19" fmla="*/ 9954 w 13419"/>
                <a:gd name="connsiteY19" fmla="*/ 3582 h 15218"/>
                <a:gd name="connsiteX0" fmla="*/ 9954 w 13372"/>
                <a:gd name="connsiteY0" fmla="*/ 3582 h 15218"/>
                <a:gd name="connsiteX1" fmla="*/ 8147 w 13372"/>
                <a:gd name="connsiteY1" fmla="*/ 1703 h 15218"/>
                <a:gd name="connsiteX2" fmla="*/ 8131 w 13372"/>
                <a:gd name="connsiteY2" fmla="*/ 1694 h 15218"/>
                <a:gd name="connsiteX3" fmla="*/ 139 w 13372"/>
                <a:gd name="connsiteY3" fmla="*/ 1736 h 15218"/>
                <a:gd name="connsiteX4" fmla="*/ 139 w 13372"/>
                <a:gd name="connsiteY4" fmla="*/ 2450 h 15218"/>
                <a:gd name="connsiteX5" fmla="*/ 163 w 13372"/>
                <a:gd name="connsiteY5" fmla="*/ 2466 h 15218"/>
                <a:gd name="connsiteX6" fmla="*/ 163 w 13372"/>
                <a:gd name="connsiteY6" fmla="*/ 2466 h 15218"/>
                <a:gd name="connsiteX7" fmla="*/ 1151 w 13372"/>
                <a:gd name="connsiteY7" fmla="*/ 3507 h 15218"/>
                <a:gd name="connsiteX8" fmla="*/ 1295 w 13372"/>
                <a:gd name="connsiteY8" fmla="*/ 3842 h 15218"/>
                <a:gd name="connsiteX9" fmla="*/ 1303 w 13372"/>
                <a:gd name="connsiteY9" fmla="*/ 3851 h 15218"/>
                <a:gd name="connsiteX10" fmla="*/ 1303 w 13372"/>
                <a:gd name="connsiteY10" fmla="*/ 3859 h 15218"/>
                <a:gd name="connsiteX11" fmla="*/ 2380 w 13372"/>
                <a:gd name="connsiteY11" fmla="*/ 4983 h 15218"/>
                <a:gd name="connsiteX12" fmla="*/ 2508 w 13372"/>
                <a:gd name="connsiteY12" fmla="*/ 5226 h 15218"/>
                <a:gd name="connsiteX13" fmla="*/ 2508 w 13372"/>
                <a:gd name="connsiteY13" fmla="*/ 5226 h 15218"/>
                <a:gd name="connsiteX14" fmla="*/ 3424 w 13372"/>
                <a:gd name="connsiteY14" fmla="*/ 6183 h 15218"/>
                <a:gd name="connsiteX15" fmla="*/ 3424 w 13372"/>
                <a:gd name="connsiteY15" fmla="*/ 6233 h 15218"/>
                <a:gd name="connsiteX16" fmla="*/ 3705 w 13372"/>
                <a:gd name="connsiteY16" fmla="*/ 6845 h 15218"/>
                <a:gd name="connsiteX17" fmla="*/ 12555 w 13372"/>
                <a:gd name="connsiteY17" fmla="*/ 15218 h 15218"/>
                <a:gd name="connsiteX18" fmla="*/ 13252 w 13372"/>
                <a:gd name="connsiteY18" fmla="*/ 7155 h 15218"/>
                <a:gd name="connsiteX19" fmla="*/ 9954 w 13372"/>
                <a:gd name="connsiteY19" fmla="*/ 3582 h 15218"/>
                <a:gd name="connsiteX0" fmla="*/ 9954 w 13483"/>
                <a:gd name="connsiteY0" fmla="*/ 3582 h 15218"/>
                <a:gd name="connsiteX1" fmla="*/ 8147 w 13483"/>
                <a:gd name="connsiteY1" fmla="*/ 1703 h 15218"/>
                <a:gd name="connsiteX2" fmla="*/ 8131 w 13483"/>
                <a:gd name="connsiteY2" fmla="*/ 1694 h 15218"/>
                <a:gd name="connsiteX3" fmla="*/ 139 w 13483"/>
                <a:gd name="connsiteY3" fmla="*/ 1736 h 15218"/>
                <a:gd name="connsiteX4" fmla="*/ 139 w 13483"/>
                <a:gd name="connsiteY4" fmla="*/ 2450 h 15218"/>
                <a:gd name="connsiteX5" fmla="*/ 163 w 13483"/>
                <a:gd name="connsiteY5" fmla="*/ 2466 h 15218"/>
                <a:gd name="connsiteX6" fmla="*/ 163 w 13483"/>
                <a:gd name="connsiteY6" fmla="*/ 2466 h 15218"/>
                <a:gd name="connsiteX7" fmla="*/ 1151 w 13483"/>
                <a:gd name="connsiteY7" fmla="*/ 3507 h 15218"/>
                <a:gd name="connsiteX8" fmla="*/ 1295 w 13483"/>
                <a:gd name="connsiteY8" fmla="*/ 3842 h 15218"/>
                <a:gd name="connsiteX9" fmla="*/ 1303 w 13483"/>
                <a:gd name="connsiteY9" fmla="*/ 3851 h 15218"/>
                <a:gd name="connsiteX10" fmla="*/ 1303 w 13483"/>
                <a:gd name="connsiteY10" fmla="*/ 3859 h 15218"/>
                <a:gd name="connsiteX11" fmla="*/ 2380 w 13483"/>
                <a:gd name="connsiteY11" fmla="*/ 4983 h 15218"/>
                <a:gd name="connsiteX12" fmla="*/ 2508 w 13483"/>
                <a:gd name="connsiteY12" fmla="*/ 5226 h 15218"/>
                <a:gd name="connsiteX13" fmla="*/ 2508 w 13483"/>
                <a:gd name="connsiteY13" fmla="*/ 5226 h 15218"/>
                <a:gd name="connsiteX14" fmla="*/ 3424 w 13483"/>
                <a:gd name="connsiteY14" fmla="*/ 6183 h 15218"/>
                <a:gd name="connsiteX15" fmla="*/ 3424 w 13483"/>
                <a:gd name="connsiteY15" fmla="*/ 6233 h 15218"/>
                <a:gd name="connsiteX16" fmla="*/ 3705 w 13483"/>
                <a:gd name="connsiteY16" fmla="*/ 6845 h 15218"/>
                <a:gd name="connsiteX17" fmla="*/ 12555 w 13483"/>
                <a:gd name="connsiteY17" fmla="*/ 15218 h 15218"/>
                <a:gd name="connsiteX18" fmla="*/ 13252 w 13483"/>
                <a:gd name="connsiteY18" fmla="*/ 7155 h 15218"/>
                <a:gd name="connsiteX19" fmla="*/ 9954 w 13483"/>
                <a:gd name="connsiteY19" fmla="*/ 3582 h 1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483" h="15218">
                  <a:moveTo>
                    <a:pt x="9954" y="3582"/>
                  </a:moveTo>
                  <a:lnTo>
                    <a:pt x="8147" y="1703"/>
                  </a:lnTo>
                  <a:cubicBezTo>
                    <a:pt x="8142" y="1700"/>
                    <a:pt x="8136" y="1697"/>
                    <a:pt x="8131" y="1694"/>
                  </a:cubicBezTo>
                  <a:cubicBezTo>
                    <a:pt x="5914" y="-579"/>
                    <a:pt x="2340" y="-562"/>
                    <a:pt x="139" y="1736"/>
                  </a:cubicBezTo>
                  <a:cubicBezTo>
                    <a:pt x="-46" y="1929"/>
                    <a:pt x="-46" y="2248"/>
                    <a:pt x="139" y="2450"/>
                  </a:cubicBezTo>
                  <a:cubicBezTo>
                    <a:pt x="147" y="2458"/>
                    <a:pt x="155" y="2458"/>
                    <a:pt x="163" y="2466"/>
                  </a:cubicBezTo>
                  <a:lnTo>
                    <a:pt x="163" y="2466"/>
                  </a:lnTo>
                  <a:lnTo>
                    <a:pt x="1151" y="3507"/>
                  </a:lnTo>
                  <a:cubicBezTo>
                    <a:pt x="1159" y="3632"/>
                    <a:pt x="1207" y="3750"/>
                    <a:pt x="1295" y="3842"/>
                  </a:cubicBezTo>
                  <a:cubicBezTo>
                    <a:pt x="1295" y="3851"/>
                    <a:pt x="1303" y="3851"/>
                    <a:pt x="1303" y="3851"/>
                  </a:cubicBezTo>
                  <a:lnTo>
                    <a:pt x="1303" y="3859"/>
                  </a:lnTo>
                  <a:lnTo>
                    <a:pt x="2380" y="4983"/>
                  </a:lnTo>
                  <a:cubicBezTo>
                    <a:pt x="2404" y="5075"/>
                    <a:pt x="2444" y="5159"/>
                    <a:pt x="2508" y="5226"/>
                  </a:cubicBezTo>
                  <a:lnTo>
                    <a:pt x="2508" y="5226"/>
                  </a:lnTo>
                  <a:lnTo>
                    <a:pt x="3424" y="6183"/>
                  </a:lnTo>
                  <a:lnTo>
                    <a:pt x="3424" y="6233"/>
                  </a:lnTo>
                  <a:cubicBezTo>
                    <a:pt x="3424" y="6485"/>
                    <a:pt x="3536" y="6703"/>
                    <a:pt x="3705" y="6845"/>
                  </a:cubicBezTo>
                  <a:cubicBezTo>
                    <a:pt x="6179" y="9421"/>
                    <a:pt x="12555" y="15218"/>
                    <a:pt x="12555" y="15218"/>
                  </a:cubicBezTo>
                  <a:cubicBezTo>
                    <a:pt x="13469" y="12725"/>
                    <a:pt x="13723" y="9985"/>
                    <a:pt x="13252" y="7155"/>
                  </a:cubicBezTo>
                  <a:lnTo>
                    <a:pt x="9954" y="3582"/>
                  </a:lnTo>
                  <a:close/>
                </a:path>
              </a:pathLst>
            </a:custGeom>
            <a:solidFill>
              <a:srgbClr val="00A3E0"/>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nvGrpSpPr>
            <p:cNvPr id="23" name="Group 22">
              <a:extLst>
                <a:ext uri="{FF2B5EF4-FFF2-40B4-BE49-F238E27FC236}">
                  <a16:creationId xmlns:a16="http://schemas.microsoft.com/office/drawing/2014/main" id="{8137422B-7792-4E70-85AE-FAF60D7F3AED}"/>
                </a:ext>
              </a:extLst>
            </p:cNvPr>
            <p:cNvGrpSpPr/>
            <p:nvPr/>
          </p:nvGrpSpPr>
          <p:grpSpPr>
            <a:xfrm>
              <a:off x="-1157406" y="2927198"/>
              <a:ext cx="433225" cy="374457"/>
              <a:chOff x="-1169834" y="4620577"/>
              <a:chExt cx="912813" cy="788988"/>
            </a:xfrm>
          </p:grpSpPr>
          <p:sp>
            <p:nvSpPr>
              <p:cNvPr id="24" name="Freeform 7">
                <a:extLst>
                  <a:ext uri="{FF2B5EF4-FFF2-40B4-BE49-F238E27FC236}">
                    <a16:creationId xmlns:a16="http://schemas.microsoft.com/office/drawing/2014/main" id="{4BFC165C-627D-403F-AB87-81315807ED82}"/>
                  </a:ext>
                </a:extLst>
              </p:cNvPr>
              <p:cNvSpPr>
                <a:spLocks/>
              </p:cNvSpPr>
              <p:nvPr/>
            </p:nvSpPr>
            <p:spPr bwMode="auto">
              <a:xfrm>
                <a:off x="-793596" y="5249227"/>
                <a:ext cx="160338" cy="160338"/>
              </a:xfrm>
              <a:custGeom>
                <a:avLst/>
                <a:gdLst>
                  <a:gd name="T0" fmla="*/ 92 w 183"/>
                  <a:gd name="T1" fmla="*/ 0 h 183"/>
                  <a:gd name="T2" fmla="*/ 182 w 183"/>
                  <a:gd name="T3" fmla="*/ 93 h 183"/>
                  <a:gd name="T4" fmla="*/ 91 w 183"/>
                  <a:gd name="T5" fmla="*/ 183 h 183"/>
                  <a:gd name="T6" fmla="*/ 0 w 183"/>
                  <a:gd name="T7" fmla="*/ 91 h 183"/>
                  <a:gd name="T8" fmla="*/ 92 w 183"/>
                  <a:gd name="T9" fmla="*/ 0 h 183"/>
                </a:gdLst>
                <a:ahLst/>
                <a:cxnLst>
                  <a:cxn ang="0">
                    <a:pos x="T0" y="T1"/>
                  </a:cxn>
                  <a:cxn ang="0">
                    <a:pos x="T2" y="T3"/>
                  </a:cxn>
                  <a:cxn ang="0">
                    <a:pos x="T4" y="T5"/>
                  </a:cxn>
                  <a:cxn ang="0">
                    <a:pos x="T6" y="T7"/>
                  </a:cxn>
                  <a:cxn ang="0">
                    <a:pos x="T8" y="T9"/>
                  </a:cxn>
                </a:cxnLst>
                <a:rect l="0" t="0" r="r" b="b"/>
                <a:pathLst>
                  <a:path w="183" h="183">
                    <a:moveTo>
                      <a:pt x="92" y="0"/>
                    </a:moveTo>
                    <a:cubicBezTo>
                      <a:pt x="142" y="1"/>
                      <a:pt x="183" y="41"/>
                      <a:pt x="182" y="93"/>
                    </a:cubicBezTo>
                    <a:cubicBezTo>
                      <a:pt x="182" y="142"/>
                      <a:pt x="141" y="183"/>
                      <a:pt x="91" y="183"/>
                    </a:cubicBezTo>
                    <a:cubicBezTo>
                      <a:pt x="41" y="183"/>
                      <a:pt x="0" y="142"/>
                      <a:pt x="0" y="91"/>
                    </a:cubicBezTo>
                    <a:cubicBezTo>
                      <a:pt x="0" y="41"/>
                      <a:pt x="41" y="0"/>
                      <a:pt x="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5" name="Freeform 8">
                <a:extLst>
                  <a:ext uri="{FF2B5EF4-FFF2-40B4-BE49-F238E27FC236}">
                    <a16:creationId xmlns:a16="http://schemas.microsoft.com/office/drawing/2014/main" id="{F8F6CFC6-CB16-476B-B136-04FC7025A94E}"/>
                  </a:ext>
                </a:extLst>
              </p:cNvPr>
              <p:cNvSpPr>
                <a:spLocks/>
              </p:cNvSpPr>
              <p:nvPr/>
            </p:nvSpPr>
            <p:spPr bwMode="auto">
              <a:xfrm>
                <a:off x="-912659" y="5052377"/>
                <a:ext cx="396875" cy="192088"/>
              </a:xfrm>
              <a:custGeom>
                <a:avLst/>
                <a:gdLst>
                  <a:gd name="T0" fmla="*/ 391 w 456"/>
                  <a:gd name="T1" fmla="*/ 215 h 221"/>
                  <a:gd name="T2" fmla="*/ 348 w 456"/>
                  <a:gd name="T3" fmla="*/ 197 h 221"/>
                  <a:gd name="T4" fmla="*/ 108 w 456"/>
                  <a:gd name="T5" fmla="*/ 197 h 221"/>
                  <a:gd name="T6" fmla="*/ 23 w 456"/>
                  <a:gd name="T7" fmla="*/ 197 h 221"/>
                  <a:gd name="T8" fmla="*/ 23 w 456"/>
                  <a:gd name="T9" fmla="*/ 112 h 221"/>
                  <a:gd name="T10" fmla="*/ 433 w 456"/>
                  <a:gd name="T11" fmla="*/ 112 h 221"/>
                  <a:gd name="T12" fmla="*/ 433 w 456"/>
                  <a:gd name="T13" fmla="*/ 197 h 221"/>
                  <a:gd name="T14" fmla="*/ 391 w 456"/>
                  <a:gd name="T15" fmla="*/ 215 h 2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6" h="221">
                    <a:moveTo>
                      <a:pt x="391" y="215"/>
                    </a:moveTo>
                    <a:cubicBezTo>
                      <a:pt x="375" y="215"/>
                      <a:pt x="360" y="209"/>
                      <a:pt x="348" y="197"/>
                    </a:cubicBezTo>
                    <a:cubicBezTo>
                      <a:pt x="282" y="131"/>
                      <a:pt x="174" y="131"/>
                      <a:pt x="108" y="197"/>
                    </a:cubicBezTo>
                    <a:cubicBezTo>
                      <a:pt x="85" y="221"/>
                      <a:pt x="47" y="221"/>
                      <a:pt x="23" y="197"/>
                    </a:cubicBezTo>
                    <a:cubicBezTo>
                      <a:pt x="0" y="174"/>
                      <a:pt x="0" y="136"/>
                      <a:pt x="23" y="112"/>
                    </a:cubicBezTo>
                    <a:cubicBezTo>
                      <a:pt x="136" y="0"/>
                      <a:pt x="320" y="0"/>
                      <a:pt x="433" y="112"/>
                    </a:cubicBezTo>
                    <a:cubicBezTo>
                      <a:pt x="456" y="136"/>
                      <a:pt x="456" y="174"/>
                      <a:pt x="433" y="197"/>
                    </a:cubicBezTo>
                    <a:cubicBezTo>
                      <a:pt x="421" y="209"/>
                      <a:pt x="406" y="215"/>
                      <a:pt x="391" y="21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6" name="Freeform 9">
                <a:extLst>
                  <a:ext uri="{FF2B5EF4-FFF2-40B4-BE49-F238E27FC236}">
                    <a16:creationId xmlns:a16="http://schemas.microsoft.com/office/drawing/2014/main" id="{6E941335-CD86-40EE-9D0A-38F6D38A6C5C}"/>
                  </a:ext>
                </a:extLst>
              </p:cNvPr>
              <p:cNvSpPr>
                <a:spLocks/>
              </p:cNvSpPr>
              <p:nvPr/>
            </p:nvSpPr>
            <p:spPr bwMode="auto">
              <a:xfrm>
                <a:off x="-1044421" y="4834890"/>
                <a:ext cx="661988" cy="266700"/>
              </a:xfrm>
              <a:custGeom>
                <a:avLst/>
                <a:gdLst>
                  <a:gd name="T0" fmla="*/ 694 w 760"/>
                  <a:gd name="T1" fmla="*/ 299 h 305"/>
                  <a:gd name="T2" fmla="*/ 652 w 760"/>
                  <a:gd name="T3" fmla="*/ 281 h 305"/>
                  <a:gd name="T4" fmla="*/ 109 w 760"/>
                  <a:gd name="T5" fmla="*/ 281 h 305"/>
                  <a:gd name="T6" fmla="*/ 24 w 760"/>
                  <a:gd name="T7" fmla="*/ 281 h 305"/>
                  <a:gd name="T8" fmla="*/ 24 w 760"/>
                  <a:gd name="T9" fmla="*/ 197 h 305"/>
                  <a:gd name="T10" fmla="*/ 737 w 760"/>
                  <a:gd name="T11" fmla="*/ 197 h 305"/>
                  <a:gd name="T12" fmla="*/ 737 w 760"/>
                  <a:gd name="T13" fmla="*/ 281 h 305"/>
                  <a:gd name="T14" fmla="*/ 694 w 760"/>
                  <a:gd name="T15" fmla="*/ 299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0" h="305">
                    <a:moveTo>
                      <a:pt x="694" y="299"/>
                    </a:moveTo>
                    <a:cubicBezTo>
                      <a:pt x="679" y="299"/>
                      <a:pt x="663" y="293"/>
                      <a:pt x="652" y="281"/>
                    </a:cubicBezTo>
                    <a:cubicBezTo>
                      <a:pt x="502" y="132"/>
                      <a:pt x="258" y="132"/>
                      <a:pt x="109" y="281"/>
                    </a:cubicBezTo>
                    <a:cubicBezTo>
                      <a:pt x="85" y="305"/>
                      <a:pt x="47" y="305"/>
                      <a:pt x="24" y="281"/>
                    </a:cubicBezTo>
                    <a:cubicBezTo>
                      <a:pt x="0" y="258"/>
                      <a:pt x="0" y="220"/>
                      <a:pt x="24" y="197"/>
                    </a:cubicBezTo>
                    <a:cubicBezTo>
                      <a:pt x="220" y="0"/>
                      <a:pt x="540" y="0"/>
                      <a:pt x="737" y="197"/>
                    </a:cubicBezTo>
                    <a:cubicBezTo>
                      <a:pt x="760" y="220"/>
                      <a:pt x="760" y="258"/>
                      <a:pt x="737" y="281"/>
                    </a:cubicBezTo>
                    <a:cubicBezTo>
                      <a:pt x="725" y="293"/>
                      <a:pt x="709" y="299"/>
                      <a:pt x="694" y="29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27" name="Freeform 10">
                <a:extLst>
                  <a:ext uri="{FF2B5EF4-FFF2-40B4-BE49-F238E27FC236}">
                    <a16:creationId xmlns:a16="http://schemas.microsoft.com/office/drawing/2014/main" id="{C9C0C135-A53A-4BCD-B8DA-FFC9C07DC7EC}"/>
                  </a:ext>
                </a:extLst>
              </p:cNvPr>
              <p:cNvSpPr>
                <a:spLocks/>
              </p:cNvSpPr>
              <p:nvPr/>
            </p:nvSpPr>
            <p:spPr bwMode="auto">
              <a:xfrm>
                <a:off x="-1169834" y="4620577"/>
                <a:ext cx="912813" cy="334963"/>
              </a:xfrm>
              <a:custGeom>
                <a:avLst/>
                <a:gdLst>
                  <a:gd name="T0" fmla="*/ 981 w 1047"/>
                  <a:gd name="T1" fmla="*/ 378 h 384"/>
                  <a:gd name="T2" fmla="*/ 938 w 1047"/>
                  <a:gd name="T3" fmla="*/ 361 h 384"/>
                  <a:gd name="T4" fmla="*/ 108 w 1047"/>
                  <a:gd name="T5" fmla="*/ 361 h 384"/>
                  <a:gd name="T6" fmla="*/ 23 w 1047"/>
                  <a:gd name="T7" fmla="*/ 361 h 384"/>
                  <a:gd name="T8" fmla="*/ 23 w 1047"/>
                  <a:gd name="T9" fmla="*/ 276 h 384"/>
                  <a:gd name="T10" fmla="*/ 1023 w 1047"/>
                  <a:gd name="T11" fmla="*/ 276 h 384"/>
                  <a:gd name="T12" fmla="*/ 1023 w 1047"/>
                  <a:gd name="T13" fmla="*/ 361 h 384"/>
                  <a:gd name="T14" fmla="*/ 981 w 1047"/>
                  <a:gd name="T15" fmla="*/ 378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7" h="384">
                    <a:moveTo>
                      <a:pt x="981" y="378"/>
                    </a:moveTo>
                    <a:cubicBezTo>
                      <a:pt x="965" y="378"/>
                      <a:pt x="950" y="373"/>
                      <a:pt x="938" y="361"/>
                    </a:cubicBezTo>
                    <a:cubicBezTo>
                      <a:pt x="709" y="132"/>
                      <a:pt x="337" y="132"/>
                      <a:pt x="108" y="361"/>
                    </a:cubicBezTo>
                    <a:cubicBezTo>
                      <a:pt x="85" y="384"/>
                      <a:pt x="47" y="384"/>
                      <a:pt x="23" y="361"/>
                    </a:cubicBezTo>
                    <a:cubicBezTo>
                      <a:pt x="0" y="337"/>
                      <a:pt x="0" y="299"/>
                      <a:pt x="23" y="276"/>
                    </a:cubicBezTo>
                    <a:cubicBezTo>
                      <a:pt x="299" y="0"/>
                      <a:pt x="747" y="0"/>
                      <a:pt x="1023" y="276"/>
                    </a:cubicBezTo>
                    <a:cubicBezTo>
                      <a:pt x="1047" y="299"/>
                      <a:pt x="1047" y="337"/>
                      <a:pt x="1023" y="361"/>
                    </a:cubicBezTo>
                    <a:cubicBezTo>
                      <a:pt x="1011" y="373"/>
                      <a:pt x="996" y="378"/>
                      <a:pt x="981" y="3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grpSp>
        <p:nvGrpSpPr>
          <p:cNvPr id="55" name="Group 25">
            <a:extLst>
              <a:ext uri="{FF2B5EF4-FFF2-40B4-BE49-F238E27FC236}">
                <a16:creationId xmlns:a16="http://schemas.microsoft.com/office/drawing/2014/main" id="{5D67F113-4191-46A6-9761-3921F6D9661C}"/>
              </a:ext>
            </a:extLst>
          </p:cNvPr>
          <p:cNvGrpSpPr>
            <a:grpSpLocks noChangeAspect="1"/>
          </p:cNvGrpSpPr>
          <p:nvPr/>
        </p:nvGrpSpPr>
        <p:grpSpPr bwMode="auto">
          <a:xfrm>
            <a:off x="4990761" y="3790913"/>
            <a:ext cx="589751" cy="590214"/>
            <a:chOff x="1800" y="539"/>
            <a:chExt cx="2544" cy="2546"/>
          </a:xfrm>
        </p:grpSpPr>
        <p:sp>
          <p:nvSpPr>
            <p:cNvPr id="56" name="Oval 26">
              <a:extLst>
                <a:ext uri="{FF2B5EF4-FFF2-40B4-BE49-F238E27FC236}">
                  <a16:creationId xmlns:a16="http://schemas.microsoft.com/office/drawing/2014/main" id="{6DC16A96-0B25-4BA7-BF30-072C0191AD4A}"/>
                </a:ext>
              </a:extLst>
            </p:cNvPr>
            <p:cNvSpPr>
              <a:spLocks noChangeArrowheads="1"/>
            </p:cNvSpPr>
            <p:nvPr/>
          </p:nvSpPr>
          <p:spPr bwMode="auto">
            <a:xfrm>
              <a:off x="1800" y="539"/>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57" name="Freeform 27">
              <a:extLst>
                <a:ext uri="{FF2B5EF4-FFF2-40B4-BE49-F238E27FC236}">
                  <a16:creationId xmlns:a16="http://schemas.microsoft.com/office/drawing/2014/main" id="{0C38D57E-2061-4D5B-B711-D7D73CCDF534}"/>
                </a:ext>
              </a:extLst>
            </p:cNvPr>
            <p:cNvSpPr>
              <a:spLocks/>
            </p:cNvSpPr>
            <p:nvPr/>
          </p:nvSpPr>
          <p:spPr bwMode="auto">
            <a:xfrm>
              <a:off x="2528" y="1069"/>
              <a:ext cx="1805" cy="2016"/>
            </a:xfrm>
            <a:custGeom>
              <a:avLst/>
              <a:gdLst>
                <a:gd name="T0" fmla="*/ 1022 w 1022"/>
                <a:gd name="T1" fmla="*/ 512 h 1140"/>
                <a:gd name="T2" fmla="*/ 518 w 1022"/>
                <a:gd name="T3" fmla="*/ 8 h 1140"/>
                <a:gd name="T4" fmla="*/ 518 w 1022"/>
                <a:gd name="T5" fmla="*/ 8 h 1140"/>
                <a:gd name="T6" fmla="*/ 498 w 1022"/>
                <a:gd name="T7" fmla="*/ 0 h 1140"/>
                <a:gd name="T8" fmla="*/ 118 w 1022"/>
                <a:gd name="T9" fmla="*/ 0 h 1140"/>
                <a:gd name="T10" fmla="*/ 89 w 1022"/>
                <a:gd name="T11" fmla="*/ 28 h 1140"/>
                <a:gd name="T12" fmla="*/ 89 w 1022"/>
                <a:gd name="T13" fmla="*/ 417 h 1140"/>
                <a:gd name="T14" fmla="*/ 28 w 1022"/>
                <a:gd name="T15" fmla="*/ 417 h 1140"/>
                <a:gd name="T16" fmla="*/ 0 w 1022"/>
                <a:gd name="T17" fmla="*/ 445 h 1140"/>
                <a:gd name="T18" fmla="*/ 0 w 1022"/>
                <a:gd name="T19" fmla="*/ 812 h 1140"/>
                <a:gd name="T20" fmla="*/ 8 w 1022"/>
                <a:gd name="T21" fmla="*/ 832 h 1140"/>
                <a:gd name="T22" fmla="*/ 316 w 1022"/>
                <a:gd name="T23" fmla="*/ 1140 h 1140"/>
                <a:gd name="T24" fmla="*/ 1022 w 1022"/>
                <a:gd name="T25" fmla="*/ 51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2" h="1140">
                  <a:moveTo>
                    <a:pt x="1022" y="512"/>
                  </a:moveTo>
                  <a:cubicBezTo>
                    <a:pt x="518" y="8"/>
                    <a:pt x="518" y="8"/>
                    <a:pt x="518" y="8"/>
                  </a:cubicBezTo>
                  <a:cubicBezTo>
                    <a:pt x="518" y="8"/>
                    <a:pt x="518" y="8"/>
                    <a:pt x="518" y="8"/>
                  </a:cubicBezTo>
                  <a:cubicBezTo>
                    <a:pt x="513" y="3"/>
                    <a:pt x="506" y="0"/>
                    <a:pt x="498" y="0"/>
                  </a:cubicBezTo>
                  <a:cubicBezTo>
                    <a:pt x="118" y="0"/>
                    <a:pt x="118" y="0"/>
                    <a:pt x="118" y="0"/>
                  </a:cubicBezTo>
                  <a:cubicBezTo>
                    <a:pt x="102" y="0"/>
                    <a:pt x="89" y="12"/>
                    <a:pt x="89" y="28"/>
                  </a:cubicBezTo>
                  <a:cubicBezTo>
                    <a:pt x="89" y="417"/>
                    <a:pt x="89" y="417"/>
                    <a:pt x="89" y="417"/>
                  </a:cubicBezTo>
                  <a:cubicBezTo>
                    <a:pt x="28" y="417"/>
                    <a:pt x="28" y="417"/>
                    <a:pt x="28" y="417"/>
                  </a:cubicBezTo>
                  <a:cubicBezTo>
                    <a:pt x="13" y="417"/>
                    <a:pt x="0" y="429"/>
                    <a:pt x="0" y="445"/>
                  </a:cubicBezTo>
                  <a:cubicBezTo>
                    <a:pt x="0" y="812"/>
                    <a:pt x="0" y="812"/>
                    <a:pt x="0" y="812"/>
                  </a:cubicBezTo>
                  <a:cubicBezTo>
                    <a:pt x="0" y="820"/>
                    <a:pt x="3" y="827"/>
                    <a:pt x="8" y="832"/>
                  </a:cubicBezTo>
                  <a:cubicBezTo>
                    <a:pt x="316" y="1140"/>
                    <a:pt x="316" y="1140"/>
                    <a:pt x="316" y="1140"/>
                  </a:cubicBezTo>
                  <a:cubicBezTo>
                    <a:pt x="679" y="1136"/>
                    <a:pt x="977" y="864"/>
                    <a:pt x="1022" y="512"/>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58" name="Freeform 28">
              <a:extLst>
                <a:ext uri="{FF2B5EF4-FFF2-40B4-BE49-F238E27FC236}">
                  <a16:creationId xmlns:a16="http://schemas.microsoft.com/office/drawing/2014/main" id="{7B0BCCBE-C036-476D-A198-9FB19B07F1A1}"/>
                </a:ext>
              </a:extLst>
            </p:cNvPr>
            <p:cNvSpPr>
              <a:spLocks/>
            </p:cNvSpPr>
            <p:nvPr/>
          </p:nvSpPr>
          <p:spPr bwMode="auto">
            <a:xfrm>
              <a:off x="2528" y="1069"/>
              <a:ext cx="1088" cy="1487"/>
            </a:xfrm>
            <a:custGeom>
              <a:avLst/>
              <a:gdLst>
                <a:gd name="T0" fmla="*/ 588 w 616"/>
                <a:gd name="T1" fmla="*/ 417 h 841"/>
                <a:gd name="T2" fmla="*/ 527 w 616"/>
                <a:gd name="T3" fmla="*/ 417 h 841"/>
                <a:gd name="T4" fmla="*/ 527 w 616"/>
                <a:gd name="T5" fmla="*/ 28 h 841"/>
                <a:gd name="T6" fmla="*/ 498 w 616"/>
                <a:gd name="T7" fmla="*/ 0 h 841"/>
                <a:gd name="T8" fmla="*/ 118 w 616"/>
                <a:gd name="T9" fmla="*/ 0 h 841"/>
                <a:gd name="T10" fmla="*/ 89 w 616"/>
                <a:gd name="T11" fmla="*/ 28 h 841"/>
                <a:gd name="T12" fmla="*/ 89 w 616"/>
                <a:gd name="T13" fmla="*/ 417 h 841"/>
                <a:gd name="T14" fmla="*/ 28 w 616"/>
                <a:gd name="T15" fmla="*/ 417 h 841"/>
                <a:gd name="T16" fmla="*/ 0 w 616"/>
                <a:gd name="T17" fmla="*/ 445 h 841"/>
                <a:gd name="T18" fmla="*/ 0 w 616"/>
                <a:gd name="T19" fmla="*/ 812 h 841"/>
                <a:gd name="T20" fmla="*/ 28 w 616"/>
                <a:gd name="T21" fmla="*/ 841 h 841"/>
                <a:gd name="T22" fmla="*/ 588 w 616"/>
                <a:gd name="T23" fmla="*/ 841 h 841"/>
                <a:gd name="T24" fmla="*/ 616 w 616"/>
                <a:gd name="T25" fmla="*/ 812 h 841"/>
                <a:gd name="T26" fmla="*/ 616 w 616"/>
                <a:gd name="T27" fmla="*/ 445 h 841"/>
                <a:gd name="T28" fmla="*/ 588 w 616"/>
                <a:gd name="T29" fmla="*/ 417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6" h="841">
                  <a:moveTo>
                    <a:pt x="588" y="417"/>
                  </a:moveTo>
                  <a:cubicBezTo>
                    <a:pt x="527" y="417"/>
                    <a:pt x="527" y="417"/>
                    <a:pt x="527" y="417"/>
                  </a:cubicBezTo>
                  <a:cubicBezTo>
                    <a:pt x="527" y="28"/>
                    <a:pt x="527" y="28"/>
                    <a:pt x="527" y="28"/>
                  </a:cubicBezTo>
                  <a:cubicBezTo>
                    <a:pt x="527" y="12"/>
                    <a:pt x="514" y="0"/>
                    <a:pt x="498" y="0"/>
                  </a:cubicBezTo>
                  <a:cubicBezTo>
                    <a:pt x="118" y="0"/>
                    <a:pt x="118" y="0"/>
                    <a:pt x="118" y="0"/>
                  </a:cubicBezTo>
                  <a:cubicBezTo>
                    <a:pt x="102" y="0"/>
                    <a:pt x="89" y="12"/>
                    <a:pt x="89" y="28"/>
                  </a:cubicBezTo>
                  <a:cubicBezTo>
                    <a:pt x="89" y="417"/>
                    <a:pt x="89" y="417"/>
                    <a:pt x="89" y="417"/>
                  </a:cubicBezTo>
                  <a:cubicBezTo>
                    <a:pt x="28" y="417"/>
                    <a:pt x="28" y="417"/>
                    <a:pt x="28" y="417"/>
                  </a:cubicBezTo>
                  <a:cubicBezTo>
                    <a:pt x="13" y="417"/>
                    <a:pt x="0" y="429"/>
                    <a:pt x="0" y="445"/>
                  </a:cubicBezTo>
                  <a:cubicBezTo>
                    <a:pt x="0" y="812"/>
                    <a:pt x="0" y="812"/>
                    <a:pt x="0" y="812"/>
                  </a:cubicBezTo>
                  <a:cubicBezTo>
                    <a:pt x="0" y="828"/>
                    <a:pt x="13" y="841"/>
                    <a:pt x="28" y="841"/>
                  </a:cubicBezTo>
                  <a:cubicBezTo>
                    <a:pt x="588" y="841"/>
                    <a:pt x="588" y="841"/>
                    <a:pt x="588" y="841"/>
                  </a:cubicBezTo>
                  <a:cubicBezTo>
                    <a:pt x="603" y="841"/>
                    <a:pt x="616" y="828"/>
                    <a:pt x="616" y="812"/>
                  </a:cubicBezTo>
                  <a:cubicBezTo>
                    <a:pt x="616" y="445"/>
                    <a:pt x="616" y="445"/>
                    <a:pt x="616" y="445"/>
                  </a:cubicBezTo>
                  <a:cubicBezTo>
                    <a:pt x="616" y="429"/>
                    <a:pt x="603" y="417"/>
                    <a:pt x="588" y="41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59" name="Freeform 29">
              <a:extLst>
                <a:ext uri="{FF2B5EF4-FFF2-40B4-BE49-F238E27FC236}">
                  <a16:creationId xmlns:a16="http://schemas.microsoft.com/office/drawing/2014/main" id="{17D0C556-CB34-40DC-8C44-6B319E521118}"/>
                </a:ext>
              </a:extLst>
            </p:cNvPr>
            <p:cNvSpPr>
              <a:spLocks/>
            </p:cNvSpPr>
            <p:nvPr/>
          </p:nvSpPr>
          <p:spPr bwMode="auto">
            <a:xfrm>
              <a:off x="2759" y="1142"/>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100"/>
                    <a:pt x="9" y="108"/>
                    <a:pt x="19" y="108"/>
                  </a:cubicBezTo>
                  <a:cubicBezTo>
                    <a:pt x="89" y="108"/>
                    <a:pt x="89" y="108"/>
                    <a:pt x="89" y="108"/>
                  </a:cubicBezTo>
                  <a:cubicBezTo>
                    <a:pt x="100" y="108"/>
                    <a:pt x="108" y="100"/>
                    <a:pt x="108" y="89"/>
                  </a:cubicBezTo>
                  <a:cubicBezTo>
                    <a:pt x="108" y="19"/>
                    <a:pt x="108" y="19"/>
                    <a:pt x="108" y="19"/>
                  </a:cubicBezTo>
                  <a:cubicBezTo>
                    <a:pt x="108" y="9"/>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0" name="Freeform 30">
              <a:extLst>
                <a:ext uri="{FF2B5EF4-FFF2-40B4-BE49-F238E27FC236}">
                  <a16:creationId xmlns:a16="http://schemas.microsoft.com/office/drawing/2014/main" id="{FFA82BCB-2466-4756-B0A6-01220CE1E6E1}"/>
                </a:ext>
              </a:extLst>
            </p:cNvPr>
            <p:cNvSpPr>
              <a:spLocks/>
            </p:cNvSpPr>
            <p:nvPr/>
          </p:nvSpPr>
          <p:spPr bwMode="auto">
            <a:xfrm>
              <a:off x="2977" y="1142"/>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100"/>
                    <a:pt x="9" y="108"/>
                    <a:pt x="19" y="108"/>
                  </a:cubicBezTo>
                  <a:cubicBezTo>
                    <a:pt x="89" y="108"/>
                    <a:pt x="89" y="108"/>
                    <a:pt x="89" y="108"/>
                  </a:cubicBezTo>
                  <a:cubicBezTo>
                    <a:pt x="99" y="108"/>
                    <a:pt x="108" y="100"/>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1" name="Freeform 31">
              <a:extLst>
                <a:ext uri="{FF2B5EF4-FFF2-40B4-BE49-F238E27FC236}">
                  <a16:creationId xmlns:a16="http://schemas.microsoft.com/office/drawing/2014/main" id="{7A7CCF13-2B8B-40B4-A86A-730320EF6DA2}"/>
                </a:ext>
              </a:extLst>
            </p:cNvPr>
            <p:cNvSpPr>
              <a:spLocks/>
            </p:cNvSpPr>
            <p:nvPr/>
          </p:nvSpPr>
          <p:spPr bwMode="auto">
            <a:xfrm>
              <a:off x="3194" y="1142"/>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9"/>
                    <a:pt x="0" y="19"/>
                  </a:cubicBezTo>
                  <a:cubicBezTo>
                    <a:pt x="0" y="89"/>
                    <a:pt x="0" y="89"/>
                    <a:pt x="0" y="89"/>
                  </a:cubicBezTo>
                  <a:cubicBezTo>
                    <a:pt x="0" y="100"/>
                    <a:pt x="8" y="108"/>
                    <a:pt x="19" y="108"/>
                  </a:cubicBezTo>
                  <a:cubicBezTo>
                    <a:pt x="89" y="108"/>
                    <a:pt x="89" y="108"/>
                    <a:pt x="89" y="108"/>
                  </a:cubicBezTo>
                  <a:cubicBezTo>
                    <a:pt x="99" y="108"/>
                    <a:pt x="108" y="100"/>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2" name="Freeform 32">
              <a:extLst>
                <a:ext uri="{FF2B5EF4-FFF2-40B4-BE49-F238E27FC236}">
                  <a16:creationId xmlns:a16="http://schemas.microsoft.com/office/drawing/2014/main" id="{9FC21D8F-9454-4DF5-98C3-66188E0B2507}"/>
                </a:ext>
              </a:extLst>
            </p:cNvPr>
            <p:cNvSpPr>
              <a:spLocks/>
            </p:cNvSpPr>
            <p:nvPr/>
          </p:nvSpPr>
          <p:spPr bwMode="auto">
            <a:xfrm>
              <a:off x="2759" y="1359"/>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99"/>
                    <a:pt x="9" y="108"/>
                    <a:pt x="19" y="108"/>
                  </a:cubicBezTo>
                  <a:cubicBezTo>
                    <a:pt x="89" y="108"/>
                    <a:pt x="89" y="108"/>
                    <a:pt x="89" y="108"/>
                  </a:cubicBezTo>
                  <a:cubicBezTo>
                    <a:pt x="100" y="108"/>
                    <a:pt x="108" y="99"/>
                    <a:pt x="108" y="89"/>
                  </a:cubicBezTo>
                  <a:cubicBezTo>
                    <a:pt x="108" y="19"/>
                    <a:pt x="108" y="19"/>
                    <a:pt x="108" y="19"/>
                  </a:cubicBezTo>
                  <a:cubicBezTo>
                    <a:pt x="108" y="9"/>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3" name="Freeform 33">
              <a:extLst>
                <a:ext uri="{FF2B5EF4-FFF2-40B4-BE49-F238E27FC236}">
                  <a16:creationId xmlns:a16="http://schemas.microsoft.com/office/drawing/2014/main" id="{A4BB817E-08B0-4C45-A79A-075F53B331AF}"/>
                </a:ext>
              </a:extLst>
            </p:cNvPr>
            <p:cNvSpPr>
              <a:spLocks/>
            </p:cNvSpPr>
            <p:nvPr/>
          </p:nvSpPr>
          <p:spPr bwMode="auto">
            <a:xfrm>
              <a:off x="2977" y="1359"/>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99"/>
                    <a:pt x="9" y="108"/>
                    <a:pt x="19" y="108"/>
                  </a:cubicBezTo>
                  <a:cubicBezTo>
                    <a:pt x="89" y="108"/>
                    <a:pt x="89" y="108"/>
                    <a:pt x="89" y="108"/>
                  </a:cubicBezTo>
                  <a:cubicBezTo>
                    <a:pt x="99" y="108"/>
                    <a:pt x="108" y="99"/>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4" name="Freeform 34">
              <a:extLst>
                <a:ext uri="{FF2B5EF4-FFF2-40B4-BE49-F238E27FC236}">
                  <a16:creationId xmlns:a16="http://schemas.microsoft.com/office/drawing/2014/main" id="{CBA1D2D2-03A7-41ED-80BF-1681B08995C6}"/>
                </a:ext>
              </a:extLst>
            </p:cNvPr>
            <p:cNvSpPr>
              <a:spLocks/>
            </p:cNvSpPr>
            <p:nvPr/>
          </p:nvSpPr>
          <p:spPr bwMode="auto">
            <a:xfrm>
              <a:off x="3194" y="1359"/>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9"/>
                    <a:pt x="0" y="19"/>
                  </a:cubicBezTo>
                  <a:cubicBezTo>
                    <a:pt x="0" y="89"/>
                    <a:pt x="0" y="89"/>
                    <a:pt x="0" y="89"/>
                  </a:cubicBezTo>
                  <a:cubicBezTo>
                    <a:pt x="0" y="99"/>
                    <a:pt x="8" y="108"/>
                    <a:pt x="19" y="108"/>
                  </a:cubicBezTo>
                  <a:cubicBezTo>
                    <a:pt x="89" y="108"/>
                    <a:pt x="89" y="108"/>
                    <a:pt x="89" y="108"/>
                  </a:cubicBezTo>
                  <a:cubicBezTo>
                    <a:pt x="99" y="108"/>
                    <a:pt x="108" y="99"/>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5" name="Freeform 35">
              <a:extLst>
                <a:ext uri="{FF2B5EF4-FFF2-40B4-BE49-F238E27FC236}">
                  <a16:creationId xmlns:a16="http://schemas.microsoft.com/office/drawing/2014/main" id="{CC70C579-73AE-438B-942A-7823ABEF17A8}"/>
                </a:ext>
              </a:extLst>
            </p:cNvPr>
            <p:cNvSpPr>
              <a:spLocks/>
            </p:cNvSpPr>
            <p:nvPr/>
          </p:nvSpPr>
          <p:spPr bwMode="auto">
            <a:xfrm>
              <a:off x="2759" y="1577"/>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8"/>
                    <a:pt x="0" y="19"/>
                  </a:cubicBezTo>
                  <a:cubicBezTo>
                    <a:pt x="0" y="89"/>
                    <a:pt x="0" y="89"/>
                    <a:pt x="0" y="89"/>
                  </a:cubicBezTo>
                  <a:cubicBezTo>
                    <a:pt x="0" y="99"/>
                    <a:pt x="9" y="108"/>
                    <a:pt x="19" y="108"/>
                  </a:cubicBezTo>
                  <a:cubicBezTo>
                    <a:pt x="89" y="108"/>
                    <a:pt x="89" y="108"/>
                    <a:pt x="89" y="108"/>
                  </a:cubicBezTo>
                  <a:cubicBezTo>
                    <a:pt x="100" y="108"/>
                    <a:pt x="108" y="99"/>
                    <a:pt x="108" y="89"/>
                  </a:cubicBezTo>
                  <a:cubicBezTo>
                    <a:pt x="108" y="19"/>
                    <a:pt x="108" y="19"/>
                    <a:pt x="108" y="19"/>
                  </a:cubicBezTo>
                  <a:cubicBezTo>
                    <a:pt x="108" y="8"/>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6" name="Freeform 36">
              <a:extLst>
                <a:ext uri="{FF2B5EF4-FFF2-40B4-BE49-F238E27FC236}">
                  <a16:creationId xmlns:a16="http://schemas.microsoft.com/office/drawing/2014/main" id="{831DF019-4D25-4EED-9F04-B29E563B33F2}"/>
                </a:ext>
              </a:extLst>
            </p:cNvPr>
            <p:cNvSpPr>
              <a:spLocks/>
            </p:cNvSpPr>
            <p:nvPr/>
          </p:nvSpPr>
          <p:spPr bwMode="auto">
            <a:xfrm>
              <a:off x="2977" y="1577"/>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8"/>
                    <a:pt x="0" y="19"/>
                  </a:cubicBezTo>
                  <a:cubicBezTo>
                    <a:pt x="0" y="89"/>
                    <a:pt x="0" y="89"/>
                    <a:pt x="0" y="89"/>
                  </a:cubicBezTo>
                  <a:cubicBezTo>
                    <a:pt x="0" y="99"/>
                    <a:pt x="9" y="108"/>
                    <a:pt x="19" y="108"/>
                  </a:cubicBezTo>
                  <a:cubicBezTo>
                    <a:pt x="89" y="108"/>
                    <a:pt x="89" y="108"/>
                    <a:pt x="89" y="108"/>
                  </a:cubicBezTo>
                  <a:cubicBezTo>
                    <a:pt x="99" y="108"/>
                    <a:pt x="108" y="99"/>
                    <a:pt x="108" y="89"/>
                  </a:cubicBezTo>
                  <a:cubicBezTo>
                    <a:pt x="108" y="19"/>
                    <a:pt x="108" y="19"/>
                    <a:pt x="108" y="19"/>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7" name="Freeform 37">
              <a:extLst>
                <a:ext uri="{FF2B5EF4-FFF2-40B4-BE49-F238E27FC236}">
                  <a16:creationId xmlns:a16="http://schemas.microsoft.com/office/drawing/2014/main" id="{AB544117-2D0C-45E2-A20B-7852780B4C98}"/>
                </a:ext>
              </a:extLst>
            </p:cNvPr>
            <p:cNvSpPr>
              <a:spLocks/>
            </p:cNvSpPr>
            <p:nvPr/>
          </p:nvSpPr>
          <p:spPr bwMode="auto">
            <a:xfrm>
              <a:off x="3194" y="1577"/>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8"/>
                    <a:pt x="0" y="19"/>
                  </a:cubicBezTo>
                  <a:cubicBezTo>
                    <a:pt x="0" y="89"/>
                    <a:pt x="0" y="89"/>
                    <a:pt x="0" y="89"/>
                  </a:cubicBezTo>
                  <a:cubicBezTo>
                    <a:pt x="0" y="99"/>
                    <a:pt x="8" y="108"/>
                    <a:pt x="19" y="108"/>
                  </a:cubicBezTo>
                  <a:cubicBezTo>
                    <a:pt x="89" y="108"/>
                    <a:pt x="89" y="108"/>
                    <a:pt x="89" y="108"/>
                  </a:cubicBezTo>
                  <a:cubicBezTo>
                    <a:pt x="99" y="108"/>
                    <a:pt x="108" y="99"/>
                    <a:pt x="108" y="89"/>
                  </a:cubicBezTo>
                  <a:cubicBezTo>
                    <a:pt x="108" y="19"/>
                    <a:pt x="108" y="19"/>
                    <a:pt x="108" y="19"/>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8" name="Freeform 38">
              <a:extLst>
                <a:ext uri="{FF2B5EF4-FFF2-40B4-BE49-F238E27FC236}">
                  <a16:creationId xmlns:a16="http://schemas.microsoft.com/office/drawing/2014/main" id="{7CD40D76-F723-480E-B3C4-5B09074A6FF5}"/>
                </a:ext>
              </a:extLst>
            </p:cNvPr>
            <p:cNvSpPr>
              <a:spLocks/>
            </p:cNvSpPr>
            <p:nvPr/>
          </p:nvSpPr>
          <p:spPr bwMode="auto">
            <a:xfrm>
              <a:off x="2759" y="1798"/>
              <a:ext cx="191"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100" y="107"/>
                    <a:pt x="108" y="99"/>
                    <a:pt x="108" y="89"/>
                  </a:cubicBezTo>
                  <a:cubicBezTo>
                    <a:pt x="108" y="18"/>
                    <a:pt x="108" y="18"/>
                    <a:pt x="108" y="18"/>
                  </a:cubicBezTo>
                  <a:cubicBezTo>
                    <a:pt x="108" y="8"/>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69" name="Freeform 39">
              <a:extLst>
                <a:ext uri="{FF2B5EF4-FFF2-40B4-BE49-F238E27FC236}">
                  <a16:creationId xmlns:a16="http://schemas.microsoft.com/office/drawing/2014/main" id="{02FD30ED-E111-4445-9ACF-60011CC234AB}"/>
                </a:ext>
              </a:extLst>
            </p:cNvPr>
            <p:cNvSpPr>
              <a:spLocks/>
            </p:cNvSpPr>
            <p:nvPr/>
          </p:nvSpPr>
          <p:spPr bwMode="auto">
            <a:xfrm>
              <a:off x="2977" y="1798"/>
              <a:ext cx="190"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0" name="Freeform 40">
              <a:extLst>
                <a:ext uri="{FF2B5EF4-FFF2-40B4-BE49-F238E27FC236}">
                  <a16:creationId xmlns:a16="http://schemas.microsoft.com/office/drawing/2014/main" id="{A85BEA02-A9A8-48A9-BFD1-AF3B08B990B0}"/>
                </a:ext>
              </a:extLst>
            </p:cNvPr>
            <p:cNvSpPr>
              <a:spLocks/>
            </p:cNvSpPr>
            <p:nvPr/>
          </p:nvSpPr>
          <p:spPr bwMode="auto">
            <a:xfrm>
              <a:off x="3194" y="1798"/>
              <a:ext cx="191"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8" y="0"/>
                    <a:pt x="0" y="8"/>
                    <a:pt x="0" y="18"/>
                  </a:cubicBezTo>
                  <a:cubicBezTo>
                    <a:pt x="0" y="89"/>
                    <a:pt x="0" y="89"/>
                    <a:pt x="0" y="89"/>
                  </a:cubicBezTo>
                  <a:cubicBezTo>
                    <a:pt x="0" y="99"/>
                    <a:pt x="8"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1" name="Freeform 41">
              <a:extLst>
                <a:ext uri="{FF2B5EF4-FFF2-40B4-BE49-F238E27FC236}">
                  <a16:creationId xmlns:a16="http://schemas.microsoft.com/office/drawing/2014/main" id="{5B2D9B65-D187-45F6-9C34-D2C0A0D51395}"/>
                </a:ext>
              </a:extLst>
            </p:cNvPr>
            <p:cNvSpPr>
              <a:spLocks/>
            </p:cNvSpPr>
            <p:nvPr/>
          </p:nvSpPr>
          <p:spPr bwMode="auto">
            <a:xfrm>
              <a:off x="2759" y="2015"/>
              <a:ext cx="191"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100" y="107"/>
                    <a:pt x="108" y="99"/>
                    <a:pt x="108" y="89"/>
                  </a:cubicBezTo>
                  <a:cubicBezTo>
                    <a:pt x="108" y="18"/>
                    <a:pt x="108" y="18"/>
                    <a:pt x="108" y="18"/>
                  </a:cubicBezTo>
                  <a:cubicBezTo>
                    <a:pt x="108" y="8"/>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2" name="Freeform 42">
              <a:extLst>
                <a:ext uri="{FF2B5EF4-FFF2-40B4-BE49-F238E27FC236}">
                  <a16:creationId xmlns:a16="http://schemas.microsoft.com/office/drawing/2014/main" id="{88C62EE1-8120-4A48-AC7C-242B0274F7A1}"/>
                </a:ext>
              </a:extLst>
            </p:cNvPr>
            <p:cNvSpPr>
              <a:spLocks/>
            </p:cNvSpPr>
            <p:nvPr/>
          </p:nvSpPr>
          <p:spPr bwMode="auto">
            <a:xfrm>
              <a:off x="2977" y="2015"/>
              <a:ext cx="190"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3" name="Freeform 43">
              <a:extLst>
                <a:ext uri="{FF2B5EF4-FFF2-40B4-BE49-F238E27FC236}">
                  <a16:creationId xmlns:a16="http://schemas.microsoft.com/office/drawing/2014/main" id="{D1AEA6B5-AF5D-45BE-A1FE-E0BEB6E65BA3}"/>
                </a:ext>
              </a:extLst>
            </p:cNvPr>
            <p:cNvSpPr>
              <a:spLocks/>
            </p:cNvSpPr>
            <p:nvPr/>
          </p:nvSpPr>
          <p:spPr bwMode="auto">
            <a:xfrm>
              <a:off x="3194" y="2015"/>
              <a:ext cx="191"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8" y="0"/>
                    <a:pt x="0" y="8"/>
                    <a:pt x="0" y="18"/>
                  </a:cubicBezTo>
                  <a:cubicBezTo>
                    <a:pt x="0" y="89"/>
                    <a:pt x="0" y="89"/>
                    <a:pt x="0" y="89"/>
                  </a:cubicBezTo>
                  <a:cubicBezTo>
                    <a:pt x="0" y="99"/>
                    <a:pt x="8"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4" name="Freeform 44">
              <a:extLst>
                <a:ext uri="{FF2B5EF4-FFF2-40B4-BE49-F238E27FC236}">
                  <a16:creationId xmlns:a16="http://schemas.microsoft.com/office/drawing/2014/main" id="{9E28AF91-4D26-478C-8515-38499A99888C}"/>
                </a:ext>
              </a:extLst>
            </p:cNvPr>
            <p:cNvSpPr>
              <a:spLocks/>
            </p:cNvSpPr>
            <p:nvPr/>
          </p:nvSpPr>
          <p:spPr bwMode="auto">
            <a:xfrm>
              <a:off x="2977" y="2228"/>
              <a:ext cx="190" cy="327"/>
            </a:xfrm>
            <a:custGeom>
              <a:avLst/>
              <a:gdLst>
                <a:gd name="T0" fmla="*/ 108 w 108"/>
                <a:gd name="T1" fmla="*/ 185 h 185"/>
                <a:gd name="T2" fmla="*/ 108 w 108"/>
                <a:gd name="T3" fmla="*/ 18 h 185"/>
                <a:gd name="T4" fmla="*/ 89 w 108"/>
                <a:gd name="T5" fmla="*/ 0 h 185"/>
                <a:gd name="T6" fmla="*/ 19 w 108"/>
                <a:gd name="T7" fmla="*/ 0 h 185"/>
                <a:gd name="T8" fmla="*/ 0 w 108"/>
                <a:gd name="T9" fmla="*/ 18 h 185"/>
                <a:gd name="T10" fmla="*/ 0 w 108"/>
                <a:gd name="T11" fmla="*/ 185 h 185"/>
                <a:gd name="T12" fmla="*/ 108 w 108"/>
                <a:gd name="T13" fmla="*/ 185 h 185"/>
              </a:gdLst>
              <a:ahLst/>
              <a:cxnLst>
                <a:cxn ang="0">
                  <a:pos x="T0" y="T1"/>
                </a:cxn>
                <a:cxn ang="0">
                  <a:pos x="T2" y="T3"/>
                </a:cxn>
                <a:cxn ang="0">
                  <a:pos x="T4" y="T5"/>
                </a:cxn>
                <a:cxn ang="0">
                  <a:pos x="T6" y="T7"/>
                </a:cxn>
                <a:cxn ang="0">
                  <a:pos x="T8" y="T9"/>
                </a:cxn>
                <a:cxn ang="0">
                  <a:pos x="T10" y="T11"/>
                </a:cxn>
                <a:cxn ang="0">
                  <a:pos x="T12" y="T13"/>
                </a:cxn>
              </a:cxnLst>
              <a:rect l="0" t="0" r="r" b="b"/>
              <a:pathLst>
                <a:path w="108" h="185">
                  <a:moveTo>
                    <a:pt x="108" y="185"/>
                  </a:moveTo>
                  <a:cubicBezTo>
                    <a:pt x="108" y="18"/>
                    <a:pt x="108" y="18"/>
                    <a:pt x="108" y="18"/>
                  </a:cubicBezTo>
                  <a:cubicBezTo>
                    <a:pt x="108" y="8"/>
                    <a:pt x="99" y="0"/>
                    <a:pt x="89" y="0"/>
                  </a:cubicBezTo>
                  <a:cubicBezTo>
                    <a:pt x="19" y="0"/>
                    <a:pt x="19" y="0"/>
                    <a:pt x="19" y="0"/>
                  </a:cubicBezTo>
                  <a:cubicBezTo>
                    <a:pt x="9" y="0"/>
                    <a:pt x="0" y="8"/>
                    <a:pt x="0" y="18"/>
                  </a:cubicBezTo>
                  <a:cubicBezTo>
                    <a:pt x="0" y="185"/>
                    <a:pt x="0" y="185"/>
                    <a:pt x="0" y="185"/>
                  </a:cubicBezTo>
                  <a:lnTo>
                    <a:pt x="108" y="185"/>
                  </a:ln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75" name="Graphic 3">
            <a:extLst>
              <a:ext uri="{FF2B5EF4-FFF2-40B4-BE49-F238E27FC236}">
                <a16:creationId xmlns:a16="http://schemas.microsoft.com/office/drawing/2014/main" id="{9D4E53B2-07E1-46A9-B38F-8809AEBC99BE}"/>
              </a:ext>
            </a:extLst>
          </p:cNvPr>
          <p:cNvGrpSpPr/>
          <p:nvPr/>
        </p:nvGrpSpPr>
        <p:grpSpPr>
          <a:xfrm>
            <a:off x="4276893" y="825130"/>
            <a:ext cx="590214" cy="590214"/>
            <a:chOff x="2850355" y="850105"/>
            <a:chExt cx="3438524" cy="3438525"/>
          </a:xfrm>
        </p:grpSpPr>
        <p:sp>
          <p:nvSpPr>
            <p:cNvPr id="76" name="Freeform: Shape 75">
              <a:extLst>
                <a:ext uri="{FF2B5EF4-FFF2-40B4-BE49-F238E27FC236}">
                  <a16:creationId xmlns:a16="http://schemas.microsoft.com/office/drawing/2014/main" id="{E13B63EF-916B-431D-B427-FAC2EBBC9577}"/>
                </a:ext>
              </a:extLst>
            </p:cNvPr>
            <p:cNvSpPr/>
            <p:nvPr/>
          </p:nvSpPr>
          <p:spPr>
            <a:xfrm>
              <a:off x="2850355" y="850105"/>
              <a:ext cx="3438524" cy="3438525"/>
            </a:xfrm>
            <a:custGeom>
              <a:avLst/>
              <a:gdLst>
                <a:gd name="connsiteX0" fmla="*/ 3432334 w 3438525"/>
                <a:gd name="connsiteY0" fmla="*/ 1719739 h 3438525"/>
                <a:gd name="connsiteX1" fmla="*/ 1719739 w 3438525"/>
                <a:gd name="connsiteY1" fmla="*/ 3432334 h 3438525"/>
                <a:gd name="connsiteX2" fmla="*/ 7144 w 3438525"/>
                <a:gd name="connsiteY2" fmla="*/ 1719739 h 3438525"/>
                <a:gd name="connsiteX3" fmla="*/ 1719739 w 3438525"/>
                <a:gd name="connsiteY3" fmla="*/ 7144 h 3438525"/>
                <a:gd name="connsiteX4" fmla="*/ 3432334 w 3438525"/>
                <a:gd name="connsiteY4" fmla="*/ 1719739 h 343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25" h="3438525">
                  <a:moveTo>
                    <a:pt x="3432334" y="1719739"/>
                  </a:moveTo>
                  <a:cubicBezTo>
                    <a:pt x="3432334" y="2665579"/>
                    <a:pt x="2665579" y="3432334"/>
                    <a:pt x="1719739" y="3432334"/>
                  </a:cubicBezTo>
                  <a:cubicBezTo>
                    <a:pt x="773899" y="3432334"/>
                    <a:pt x="7144" y="2665579"/>
                    <a:pt x="7144" y="1719739"/>
                  </a:cubicBezTo>
                  <a:cubicBezTo>
                    <a:pt x="7144" y="773899"/>
                    <a:pt x="773899" y="7144"/>
                    <a:pt x="1719739" y="7144"/>
                  </a:cubicBezTo>
                  <a:cubicBezTo>
                    <a:pt x="2665579" y="7144"/>
                    <a:pt x="3432334" y="773899"/>
                    <a:pt x="3432334" y="1719739"/>
                  </a:cubicBezTo>
                  <a:close/>
                </a:path>
              </a:pathLst>
            </a:custGeom>
            <a:solidFill>
              <a:schemeClr val="accent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7" name="Freeform: Shape 76">
              <a:extLst>
                <a:ext uri="{FF2B5EF4-FFF2-40B4-BE49-F238E27FC236}">
                  <a16:creationId xmlns:a16="http://schemas.microsoft.com/office/drawing/2014/main" id="{F6A01F76-BABE-4534-925C-691FD2B8ED41}"/>
                </a:ext>
              </a:extLst>
            </p:cNvPr>
            <p:cNvSpPr/>
            <p:nvPr/>
          </p:nvSpPr>
          <p:spPr>
            <a:xfrm>
              <a:off x="3004353" y="1182867"/>
              <a:ext cx="3276600" cy="3105150"/>
            </a:xfrm>
            <a:custGeom>
              <a:avLst/>
              <a:gdLst>
                <a:gd name="connsiteX0" fmla="*/ 3278337 w 3276600"/>
                <a:gd name="connsiteY0" fmla="*/ 1386978 h 3105150"/>
                <a:gd name="connsiteX1" fmla="*/ 3265954 w 3276600"/>
                <a:gd name="connsiteY1" fmla="*/ 1184096 h 3105150"/>
                <a:gd name="connsiteX2" fmla="*/ 2303929 w 3276600"/>
                <a:gd name="connsiteY2" fmla="*/ 222071 h 3105150"/>
                <a:gd name="connsiteX3" fmla="*/ 2291547 w 3276600"/>
                <a:gd name="connsiteY3" fmla="*/ 209688 h 3105150"/>
                <a:gd name="connsiteX4" fmla="*/ 2283927 w 3276600"/>
                <a:gd name="connsiteY4" fmla="*/ 203021 h 3105150"/>
                <a:gd name="connsiteX5" fmla="*/ 1292374 w 3276600"/>
                <a:gd name="connsiteY5" fmla="*/ 210641 h 3105150"/>
                <a:gd name="connsiteX6" fmla="*/ 1283802 w 3276600"/>
                <a:gd name="connsiteY6" fmla="*/ 324941 h 3105150"/>
                <a:gd name="connsiteX7" fmla="*/ 1288564 w 3276600"/>
                <a:gd name="connsiteY7" fmla="*/ 329703 h 3105150"/>
                <a:gd name="connsiteX8" fmla="*/ 1288564 w 3276600"/>
                <a:gd name="connsiteY8" fmla="*/ 329703 h 3105150"/>
                <a:gd name="connsiteX9" fmla="*/ 1460014 w 3276600"/>
                <a:gd name="connsiteY9" fmla="*/ 501153 h 3105150"/>
                <a:gd name="connsiteX10" fmla="*/ 1477159 w 3276600"/>
                <a:gd name="connsiteY10" fmla="*/ 534491 h 3105150"/>
                <a:gd name="connsiteX11" fmla="*/ 1481922 w 3276600"/>
                <a:gd name="connsiteY11" fmla="*/ 539253 h 3105150"/>
                <a:gd name="connsiteX12" fmla="*/ 1481922 w 3276600"/>
                <a:gd name="connsiteY12" fmla="*/ 539253 h 3105150"/>
                <a:gd name="connsiteX13" fmla="*/ 1707664 w 3276600"/>
                <a:gd name="connsiteY13" fmla="*/ 764996 h 3105150"/>
                <a:gd name="connsiteX14" fmla="*/ 1728619 w 3276600"/>
                <a:gd name="connsiteY14" fmla="*/ 787856 h 3105150"/>
                <a:gd name="connsiteX15" fmla="*/ 2197249 w 3276600"/>
                <a:gd name="connsiteY15" fmla="*/ 1256486 h 3105150"/>
                <a:gd name="connsiteX16" fmla="*/ 2197249 w 3276600"/>
                <a:gd name="connsiteY16" fmla="*/ 1769883 h 3105150"/>
                <a:gd name="connsiteX17" fmla="*/ 2214394 w 3276600"/>
                <a:gd name="connsiteY17" fmla="*/ 1819413 h 3105150"/>
                <a:gd name="connsiteX18" fmla="*/ 1496209 w 3276600"/>
                <a:gd name="connsiteY18" fmla="*/ 1101228 h 3105150"/>
                <a:gd name="connsiteX19" fmla="*/ 1496209 w 3276600"/>
                <a:gd name="connsiteY19" fmla="*/ 1101228 h 3105150"/>
                <a:gd name="connsiteX20" fmla="*/ 1489542 w 3276600"/>
                <a:gd name="connsiteY20" fmla="*/ 1095513 h 3105150"/>
                <a:gd name="connsiteX21" fmla="*/ 1135212 w 3276600"/>
                <a:gd name="connsiteY21" fmla="*/ 855483 h 3105150"/>
                <a:gd name="connsiteX22" fmla="*/ 811362 w 3276600"/>
                <a:gd name="connsiteY22" fmla="*/ 625931 h 3105150"/>
                <a:gd name="connsiteX23" fmla="*/ 707539 w 3276600"/>
                <a:gd name="connsiteY23" fmla="*/ 625931 h 3105150"/>
                <a:gd name="connsiteX24" fmla="*/ 446554 w 3276600"/>
                <a:gd name="connsiteY24" fmla="*/ 811668 h 3105150"/>
                <a:gd name="connsiteX25" fmla="*/ 34122 w 3276600"/>
                <a:gd name="connsiteY25" fmla="*/ 1099324 h 3105150"/>
                <a:gd name="connsiteX26" fmla="*/ 17929 w 3276600"/>
                <a:gd name="connsiteY26" fmla="*/ 1185049 h 3105150"/>
                <a:gd name="connsiteX27" fmla="*/ 26502 w 3276600"/>
                <a:gd name="connsiteY27" fmla="*/ 1194574 h 3105150"/>
                <a:gd name="connsiteX28" fmla="*/ 26502 w 3276600"/>
                <a:gd name="connsiteY28" fmla="*/ 1194574 h 3105150"/>
                <a:gd name="connsiteX29" fmla="*/ 307489 w 3276600"/>
                <a:gd name="connsiteY29" fmla="*/ 1475561 h 3105150"/>
                <a:gd name="connsiteX30" fmla="*/ 307489 w 3276600"/>
                <a:gd name="connsiteY30" fmla="*/ 1591766 h 3105150"/>
                <a:gd name="connsiteX31" fmla="*/ 307489 w 3276600"/>
                <a:gd name="connsiteY31" fmla="*/ 1591766 h 3105150"/>
                <a:gd name="connsiteX32" fmla="*/ 307489 w 3276600"/>
                <a:gd name="connsiteY32" fmla="*/ 1591766 h 3105150"/>
                <a:gd name="connsiteX33" fmla="*/ 960904 w 3276600"/>
                <a:gd name="connsiteY33" fmla="*/ 2245181 h 3105150"/>
                <a:gd name="connsiteX34" fmla="*/ 945664 w 3276600"/>
                <a:gd name="connsiteY34" fmla="*/ 2301378 h 3105150"/>
                <a:gd name="connsiteX35" fmla="*/ 945664 w 3276600"/>
                <a:gd name="connsiteY35" fmla="*/ 2633801 h 3105150"/>
                <a:gd name="connsiteX36" fmla="*/ 945664 w 3276600"/>
                <a:gd name="connsiteY36" fmla="*/ 2633801 h 3105150"/>
                <a:gd name="connsiteX37" fmla="*/ 945664 w 3276600"/>
                <a:gd name="connsiteY37" fmla="*/ 2633801 h 3105150"/>
                <a:gd name="connsiteX38" fmla="*/ 1402864 w 3276600"/>
                <a:gd name="connsiteY38" fmla="*/ 3091001 h 3105150"/>
                <a:gd name="connsiteX39" fmla="*/ 1565742 w 3276600"/>
                <a:gd name="connsiteY39" fmla="*/ 3098621 h 3105150"/>
                <a:gd name="connsiteX40" fmla="*/ 3278337 w 3276600"/>
                <a:gd name="connsiteY40" fmla="*/ 1386978 h 310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76600" h="3105150">
                  <a:moveTo>
                    <a:pt x="3278337" y="1386978"/>
                  </a:moveTo>
                  <a:cubicBezTo>
                    <a:pt x="3278337" y="1318399"/>
                    <a:pt x="3274527" y="1250771"/>
                    <a:pt x="3265954" y="1184096"/>
                  </a:cubicBezTo>
                  <a:lnTo>
                    <a:pt x="2303929" y="222071"/>
                  </a:lnTo>
                  <a:cubicBezTo>
                    <a:pt x="2300119" y="217308"/>
                    <a:pt x="2296309" y="213498"/>
                    <a:pt x="2291547" y="209688"/>
                  </a:cubicBezTo>
                  <a:lnTo>
                    <a:pt x="2283927" y="203021"/>
                  </a:lnTo>
                  <a:cubicBezTo>
                    <a:pt x="1972459" y="-60822"/>
                    <a:pt x="1601937" y="-57964"/>
                    <a:pt x="1292374" y="210641"/>
                  </a:cubicBezTo>
                  <a:cubicBezTo>
                    <a:pt x="1258084" y="240168"/>
                    <a:pt x="1255227" y="290651"/>
                    <a:pt x="1283802" y="324941"/>
                  </a:cubicBezTo>
                  <a:cubicBezTo>
                    <a:pt x="1285707" y="326846"/>
                    <a:pt x="1286659" y="328751"/>
                    <a:pt x="1288564" y="329703"/>
                  </a:cubicBezTo>
                  <a:lnTo>
                    <a:pt x="1288564" y="329703"/>
                  </a:lnTo>
                  <a:lnTo>
                    <a:pt x="1460014" y="501153"/>
                  </a:lnTo>
                  <a:cubicBezTo>
                    <a:pt x="1462872" y="512583"/>
                    <a:pt x="1468587" y="524013"/>
                    <a:pt x="1477159" y="534491"/>
                  </a:cubicBezTo>
                  <a:cubicBezTo>
                    <a:pt x="1479064" y="536396"/>
                    <a:pt x="1480017" y="537348"/>
                    <a:pt x="1481922" y="539253"/>
                  </a:cubicBezTo>
                  <a:lnTo>
                    <a:pt x="1481922" y="539253"/>
                  </a:lnTo>
                  <a:lnTo>
                    <a:pt x="1707664" y="764996"/>
                  </a:lnTo>
                  <a:cubicBezTo>
                    <a:pt x="1713379" y="773568"/>
                    <a:pt x="1720047" y="781188"/>
                    <a:pt x="1728619" y="787856"/>
                  </a:cubicBezTo>
                  <a:lnTo>
                    <a:pt x="2197249" y="1256486"/>
                  </a:lnTo>
                  <a:lnTo>
                    <a:pt x="2197249" y="1769883"/>
                  </a:lnTo>
                  <a:cubicBezTo>
                    <a:pt x="2197249" y="1788933"/>
                    <a:pt x="2203917" y="1806078"/>
                    <a:pt x="2214394" y="1819413"/>
                  </a:cubicBezTo>
                  <a:lnTo>
                    <a:pt x="1496209" y="1101228"/>
                  </a:lnTo>
                  <a:lnTo>
                    <a:pt x="1496209" y="1101228"/>
                  </a:lnTo>
                  <a:cubicBezTo>
                    <a:pt x="1494304" y="1099324"/>
                    <a:pt x="1491447" y="1097418"/>
                    <a:pt x="1489542" y="1095513"/>
                  </a:cubicBezTo>
                  <a:lnTo>
                    <a:pt x="1135212" y="855483"/>
                  </a:lnTo>
                  <a:lnTo>
                    <a:pt x="811362" y="625931"/>
                  </a:lnTo>
                  <a:cubicBezTo>
                    <a:pt x="779929" y="604023"/>
                    <a:pt x="738972" y="604023"/>
                    <a:pt x="707539" y="625931"/>
                  </a:cubicBezTo>
                  <a:lnTo>
                    <a:pt x="446554" y="811668"/>
                  </a:lnTo>
                  <a:lnTo>
                    <a:pt x="34122" y="1099324"/>
                  </a:lnTo>
                  <a:cubicBezTo>
                    <a:pt x="5547" y="1118374"/>
                    <a:pt x="-1121" y="1157426"/>
                    <a:pt x="17929" y="1185049"/>
                  </a:cubicBezTo>
                  <a:cubicBezTo>
                    <a:pt x="20787" y="1188858"/>
                    <a:pt x="23644" y="1191716"/>
                    <a:pt x="26502" y="1194574"/>
                  </a:cubicBezTo>
                  <a:lnTo>
                    <a:pt x="26502" y="1194574"/>
                  </a:lnTo>
                  <a:lnTo>
                    <a:pt x="307489" y="1475561"/>
                  </a:lnTo>
                  <a:lnTo>
                    <a:pt x="307489" y="1591766"/>
                  </a:lnTo>
                  <a:lnTo>
                    <a:pt x="307489" y="1591766"/>
                  </a:lnTo>
                  <a:lnTo>
                    <a:pt x="307489" y="1591766"/>
                  </a:lnTo>
                  <a:lnTo>
                    <a:pt x="960904" y="2245181"/>
                  </a:lnTo>
                  <a:cubicBezTo>
                    <a:pt x="951379" y="2261374"/>
                    <a:pt x="945664" y="2280424"/>
                    <a:pt x="945664" y="2301378"/>
                  </a:cubicBezTo>
                  <a:lnTo>
                    <a:pt x="945664" y="2633801"/>
                  </a:lnTo>
                  <a:lnTo>
                    <a:pt x="945664" y="2633801"/>
                  </a:lnTo>
                  <a:lnTo>
                    <a:pt x="945664" y="2633801"/>
                  </a:lnTo>
                  <a:lnTo>
                    <a:pt x="1402864" y="3091001"/>
                  </a:lnTo>
                  <a:cubicBezTo>
                    <a:pt x="1456204" y="3095764"/>
                    <a:pt x="1510497" y="3098621"/>
                    <a:pt x="1565742" y="3098621"/>
                  </a:cubicBezTo>
                  <a:cubicBezTo>
                    <a:pt x="2511574" y="3099574"/>
                    <a:pt x="3278337" y="2332811"/>
                    <a:pt x="3278337" y="1386978"/>
                  </a:cubicBezTo>
                  <a:close/>
                </a:path>
              </a:pathLst>
            </a:custGeom>
            <a:solidFill>
              <a:srgbClr val="00A3E0"/>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8" name="Freeform: Shape 77">
              <a:extLst>
                <a:ext uri="{FF2B5EF4-FFF2-40B4-BE49-F238E27FC236}">
                  <a16:creationId xmlns:a16="http://schemas.microsoft.com/office/drawing/2014/main" id="{CD2640CD-0686-48D9-83DF-F656B9256338}"/>
                </a:ext>
              </a:extLst>
            </p:cNvPr>
            <p:cNvSpPr/>
            <p:nvPr/>
          </p:nvSpPr>
          <p:spPr>
            <a:xfrm>
              <a:off x="5193506" y="1916906"/>
              <a:ext cx="809625" cy="1333500"/>
            </a:xfrm>
            <a:custGeom>
              <a:avLst/>
              <a:gdLst>
                <a:gd name="connsiteX0" fmla="*/ 739616 w 809625"/>
                <a:gd name="connsiteY0" fmla="*/ 510064 h 1333500"/>
                <a:gd name="connsiteX1" fmla="*/ 739616 w 809625"/>
                <a:gd name="connsiteY1" fmla="*/ 290036 h 1333500"/>
                <a:gd name="connsiteX2" fmla="*/ 660559 w 809625"/>
                <a:gd name="connsiteY2" fmla="*/ 210979 h 1333500"/>
                <a:gd name="connsiteX3" fmla="*/ 560546 w 809625"/>
                <a:gd name="connsiteY3" fmla="*/ 210979 h 1333500"/>
                <a:gd name="connsiteX4" fmla="*/ 560546 w 809625"/>
                <a:gd name="connsiteY4" fmla="*/ 86201 h 1333500"/>
                <a:gd name="connsiteX5" fmla="*/ 481489 w 809625"/>
                <a:gd name="connsiteY5" fmla="*/ 7144 h 1333500"/>
                <a:gd name="connsiteX6" fmla="*/ 265271 w 809625"/>
                <a:gd name="connsiteY6" fmla="*/ 7144 h 1333500"/>
                <a:gd name="connsiteX7" fmla="*/ 186214 w 809625"/>
                <a:gd name="connsiteY7" fmla="*/ 86201 h 1333500"/>
                <a:gd name="connsiteX8" fmla="*/ 186214 w 809625"/>
                <a:gd name="connsiteY8" fmla="*/ 210979 h 1333500"/>
                <a:gd name="connsiteX9" fmla="*/ 86201 w 809625"/>
                <a:gd name="connsiteY9" fmla="*/ 210979 h 1333500"/>
                <a:gd name="connsiteX10" fmla="*/ 7144 w 809625"/>
                <a:gd name="connsiteY10" fmla="*/ 290036 h 1333500"/>
                <a:gd name="connsiteX11" fmla="*/ 7144 w 809625"/>
                <a:gd name="connsiteY11" fmla="*/ 1035844 h 1333500"/>
                <a:gd name="connsiteX12" fmla="*/ 86201 w 809625"/>
                <a:gd name="connsiteY12" fmla="*/ 1114901 h 1333500"/>
                <a:gd name="connsiteX13" fmla="*/ 186214 w 809625"/>
                <a:gd name="connsiteY13" fmla="*/ 1114901 h 1333500"/>
                <a:gd name="connsiteX14" fmla="*/ 186214 w 809625"/>
                <a:gd name="connsiteY14" fmla="*/ 1248251 h 1333500"/>
                <a:gd name="connsiteX15" fmla="*/ 265271 w 809625"/>
                <a:gd name="connsiteY15" fmla="*/ 1327309 h 1333500"/>
                <a:gd name="connsiteX16" fmla="*/ 481489 w 809625"/>
                <a:gd name="connsiteY16" fmla="*/ 1327309 h 1333500"/>
                <a:gd name="connsiteX17" fmla="*/ 560546 w 809625"/>
                <a:gd name="connsiteY17" fmla="*/ 1248251 h 1333500"/>
                <a:gd name="connsiteX18" fmla="*/ 560546 w 809625"/>
                <a:gd name="connsiteY18" fmla="*/ 1114901 h 1333500"/>
                <a:gd name="connsiteX19" fmla="*/ 660559 w 809625"/>
                <a:gd name="connsiteY19" fmla="*/ 1114901 h 1333500"/>
                <a:gd name="connsiteX20" fmla="*/ 739616 w 809625"/>
                <a:gd name="connsiteY20" fmla="*/ 1035844 h 1333500"/>
                <a:gd name="connsiteX21" fmla="*/ 739616 w 809625"/>
                <a:gd name="connsiteY21" fmla="*/ 815816 h 1333500"/>
                <a:gd name="connsiteX22" fmla="*/ 808196 w 809625"/>
                <a:gd name="connsiteY22" fmla="*/ 737711 h 1333500"/>
                <a:gd name="connsiteX23" fmla="*/ 808196 w 809625"/>
                <a:gd name="connsiteY23" fmla="*/ 588169 h 1333500"/>
                <a:gd name="connsiteX24" fmla="*/ 739616 w 809625"/>
                <a:gd name="connsiteY24" fmla="*/ 510064 h 1333500"/>
                <a:gd name="connsiteX25" fmla="*/ 594836 w 809625"/>
                <a:gd name="connsiteY25" fmla="*/ 957739 h 1333500"/>
                <a:gd name="connsiteX26" fmla="*/ 145256 w 809625"/>
                <a:gd name="connsiteY26" fmla="*/ 957739 h 1333500"/>
                <a:gd name="connsiteX27" fmla="*/ 145256 w 809625"/>
                <a:gd name="connsiteY27" fmla="*/ 368141 h 1333500"/>
                <a:gd name="connsiteX28" fmla="*/ 594836 w 809625"/>
                <a:gd name="connsiteY28" fmla="*/ 368141 h 1333500"/>
                <a:gd name="connsiteX29" fmla="*/ 594836 w 809625"/>
                <a:gd name="connsiteY29" fmla="*/ 957739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09625" h="1333500">
                  <a:moveTo>
                    <a:pt x="739616" y="510064"/>
                  </a:moveTo>
                  <a:lnTo>
                    <a:pt x="739616" y="290036"/>
                  </a:lnTo>
                  <a:cubicBezTo>
                    <a:pt x="739616" y="246221"/>
                    <a:pt x="704374" y="210979"/>
                    <a:pt x="660559" y="210979"/>
                  </a:cubicBezTo>
                  <a:lnTo>
                    <a:pt x="560546" y="210979"/>
                  </a:lnTo>
                  <a:lnTo>
                    <a:pt x="560546" y="86201"/>
                  </a:lnTo>
                  <a:cubicBezTo>
                    <a:pt x="560546" y="42386"/>
                    <a:pt x="525304" y="7144"/>
                    <a:pt x="481489" y="7144"/>
                  </a:cubicBezTo>
                  <a:lnTo>
                    <a:pt x="265271" y="7144"/>
                  </a:lnTo>
                  <a:cubicBezTo>
                    <a:pt x="221456" y="7144"/>
                    <a:pt x="186214" y="42386"/>
                    <a:pt x="186214" y="86201"/>
                  </a:cubicBezTo>
                  <a:lnTo>
                    <a:pt x="186214" y="210979"/>
                  </a:lnTo>
                  <a:lnTo>
                    <a:pt x="86201" y="210979"/>
                  </a:lnTo>
                  <a:cubicBezTo>
                    <a:pt x="42386" y="210979"/>
                    <a:pt x="7144" y="246221"/>
                    <a:pt x="7144" y="290036"/>
                  </a:cubicBezTo>
                  <a:lnTo>
                    <a:pt x="7144" y="1035844"/>
                  </a:lnTo>
                  <a:cubicBezTo>
                    <a:pt x="7144" y="1079659"/>
                    <a:pt x="42386" y="1114901"/>
                    <a:pt x="86201" y="1114901"/>
                  </a:cubicBezTo>
                  <a:lnTo>
                    <a:pt x="186214" y="1114901"/>
                  </a:lnTo>
                  <a:lnTo>
                    <a:pt x="186214" y="1248251"/>
                  </a:lnTo>
                  <a:cubicBezTo>
                    <a:pt x="186214" y="1292066"/>
                    <a:pt x="221456" y="1327309"/>
                    <a:pt x="265271" y="1327309"/>
                  </a:cubicBezTo>
                  <a:lnTo>
                    <a:pt x="481489" y="1327309"/>
                  </a:lnTo>
                  <a:cubicBezTo>
                    <a:pt x="525304" y="1327309"/>
                    <a:pt x="560546" y="1292066"/>
                    <a:pt x="560546" y="1248251"/>
                  </a:cubicBezTo>
                  <a:lnTo>
                    <a:pt x="560546" y="1114901"/>
                  </a:lnTo>
                  <a:lnTo>
                    <a:pt x="660559" y="1114901"/>
                  </a:lnTo>
                  <a:cubicBezTo>
                    <a:pt x="704374" y="1114901"/>
                    <a:pt x="739616" y="1079659"/>
                    <a:pt x="739616" y="1035844"/>
                  </a:cubicBezTo>
                  <a:lnTo>
                    <a:pt x="739616" y="815816"/>
                  </a:lnTo>
                  <a:cubicBezTo>
                    <a:pt x="778669" y="811054"/>
                    <a:pt x="808196" y="777716"/>
                    <a:pt x="808196" y="737711"/>
                  </a:cubicBezTo>
                  <a:lnTo>
                    <a:pt x="808196" y="588169"/>
                  </a:lnTo>
                  <a:cubicBezTo>
                    <a:pt x="808196" y="548164"/>
                    <a:pt x="778669" y="514826"/>
                    <a:pt x="739616" y="510064"/>
                  </a:cubicBezTo>
                  <a:close/>
                  <a:moveTo>
                    <a:pt x="594836" y="957739"/>
                  </a:moveTo>
                  <a:lnTo>
                    <a:pt x="145256" y="957739"/>
                  </a:lnTo>
                  <a:lnTo>
                    <a:pt x="145256" y="368141"/>
                  </a:lnTo>
                  <a:lnTo>
                    <a:pt x="594836" y="368141"/>
                  </a:lnTo>
                  <a:lnTo>
                    <a:pt x="594836" y="957739"/>
                  </a:lnTo>
                  <a:close/>
                </a:path>
              </a:pathLst>
            </a:custGeom>
            <a:solidFill>
              <a:schemeClr val="bg2"/>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79" name="Freeform: Shape 78">
              <a:extLst>
                <a:ext uri="{FF2B5EF4-FFF2-40B4-BE49-F238E27FC236}">
                  <a16:creationId xmlns:a16="http://schemas.microsoft.com/office/drawing/2014/main" id="{70C7950D-8F6A-4D0D-98A1-7879D1F649E8}"/>
                </a:ext>
              </a:extLst>
            </p:cNvPr>
            <p:cNvSpPr/>
            <p:nvPr/>
          </p:nvSpPr>
          <p:spPr>
            <a:xfrm>
              <a:off x="3004353" y="1785223"/>
              <a:ext cx="1514475" cy="990600"/>
            </a:xfrm>
            <a:custGeom>
              <a:avLst/>
              <a:gdLst>
                <a:gd name="connsiteX0" fmla="*/ 1488589 w 1514475"/>
                <a:gd name="connsiteY0" fmla="*/ 493157 h 990600"/>
                <a:gd name="connsiteX1" fmla="*/ 1135212 w 1514475"/>
                <a:gd name="connsiteY1" fmla="*/ 253127 h 990600"/>
                <a:gd name="connsiteX2" fmla="*/ 811362 w 1514475"/>
                <a:gd name="connsiteY2" fmla="*/ 23574 h 990600"/>
                <a:gd name="connsiteX3" fmla="*/ 707539 w 1514475"/>
                <a:gd name="connsiteY3" fmla="*/ 23574 h 990600"/>
                <a:gd name="connsiteX4" fmla="*/ 446554 w 1514475"/>
                <a:gd name="connsiteY4" fmla="*/ 209312 h 990600"/>
                <a:gd name="connsiteX5" fmla="*/ 34122 w 1514475"/>
                <a:gd name="connsiteY5" fmla="*/ 496967 h 990600"/>
                <a:gd name="connsiteX6" fmla="*/ 17929 w 1514475"/>
                <a:gd name="connsiteY6" fmla="*/ 582692 h 990600"/>
                <a:gd name="connsiteX7" fmla="*/ 69364 w 1514475"/>
                <a:gd name="connsiteY7" fmla="*/ 609362 h 990600"/>
                <a:gd name="connsiteX8" fmla="*/ 103654 w 1514475"/>
                <a:gd name="connsiteY8" fmla="*/ 598884 h 990600"/>
                <a:gd name="connsiteX9" fmla="*/ 307489 w 1514475"/>
                <a:gd name="connsiteY9" fmla="*/ 460772 h 990600"/>
                <a:gd name="connsiteX10" fmla="*/ 307489 w 1514475"/>
                <a:gd name="connsiteY10" fmla="*/ 989409 h 990600"/>
                <a:gd name="connsiteX11" fmla="*/ 638959 w 1514475"/>
                <a:gd name="connsiteY11" fmla="*/ 989409 h 990600"/>
                <a:gd name="connsiteX12" fmla="*/ 638959 w 1514475"/>
                <a:gd name="connsiteY12" fmla="*/ 717947 h 990600"/>
                <a:gd name="connsiteX13" fmla="*/ 761832 w 1514475"/>
                <a:gd name="connsiteY13" fmla="*/ 595074 h 990600"/>
                <a:gd name="connsiteX14" fmla="*/ 884704 w 1514475"/>
                <a:gd name="connsiteY14" fmla="*/ 717947 h 990600"/>
                <a:gd name="connsiteX15" fmla="*/ 884704 w 1514475"/>
                <a:gd name="connsiteY15" fmla="*/ 989409 h 990600"/>
                <a:gd name="connsiteX16" fmla="*/ 1213317 w 1514475"/>
                <a:gd name="connsiteY16" fmla="*/ 989409 h 990600"/>
                <a:gd name="connsiteX17" fmla="*/ 1213317 w 1514475"/>
                <a:gd name="connsiteY17" fmla="*/ 454104 h 990600"/>
                <a:gd name="connsiteX18" fmla="*/ 1420009 w 1514475"/>
                <a:gd name="connsiteY18" fmla="*/ 594122 h 990600"/>
                <a:gd name="connsiteX19" fmla="*/ 1454299 w 1514475"/>
                <a:gd name="connsiteY19" fmla="*/ 604599 h 990600"/>
                <a:gd name="connsiteX20" fmla="*/ 1505734 w 1514475"/>
                <a:gd name="connsiteY20" fmla="*/ 577929 h 990600"/>
                <a:gd name="connsiteX21" fmla="*/ 1488589 w 1514475"/>
                <a:gd name="connsiteY21" fmla="*/ 493157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14475" h="990600">
                  <a:moveTo>
                    <a:pt x="1488589" y="493157"/>
                  </a:moveTo>
                  <a:lnTo>
                    <a:pt x="1135212" y="253127"/>
                  </a:lnTo>
                  <a:lnTo>
                    <a:pt x="811362" y="23574"/>
                  </a:lnTo>
                  <a:cubicBezTo>
                    <a:pt x="779929" y="1667"/>
                    <a:pt x="738972" y="1667"/>
                    <a:pt x="707539" y="23574"/>
                  </a:cubicBezTo>
                  <a:lnTo>
                    <a:pt x="446554" y="209312"/>
                  </a:lnTo>
                  <a:lnTo>
                    <a:pt x="34122" y="496967"/>
                  </a:lnTo>
                  <a:cubicBezTo>
                    <a:pt x="5547" y="516017"/>
                    <a:pt x="-1121" y="555069"/>
                    <a:pt x="17929" y="582692"/>
                  </a:cubicBezTo>
                  <a:cubicBezTo>
                    <a:pt x="30312" y="600789"/>
                    <a:pt x="49362" y="609362"/>
                    <a:pt x="69364" y="609362"/>
                  </a:cubicBezTo>
                  <a:cubicBezTo>
                    <a:pt x="81747" y="609362"/>
                    <a:pt x="93177" y="605552"/>
                    <a:pt x="103654" y="598884"/>
                  </a:cubicBezTo>
                  <a:lnTo>
                    <a:pt x="307489" y="460772"/>
                  </a:lnTo>
                  <a:lnTo>
                    <a:pt x="307489" y="989409"/>
                  </a:lnTo>
                  <a:lnTo>
                    <a:pt x="638959" y="989409"/>
                  </a:lnTo>
                  <a:lnTo>
                    <a:pt x="638959" y="717947"/>
                  </a:lnTo>
                  <a:cubicBezTo>
                    <a:pt x="638959" y="650319"/>
                    <a:pt x="694204" y="595074"/>
                    <a:pt x="761832" y="595074"/>
                  </a:cubicBezTo>
                  <a:cubicBezTo>
                    <a:pt x="829459" y="595074"/>
                    <a:pt x="884704" y="650319"/>
                    <a:pt x="884704" y="717947"/>
                  </a:cubicBezTo>
                  <a:lnTo>
                    <a:pt x="884704" y="989409"/>
                  </a:lnTo>
                  <a:lnTo>
                    <a:pt x="1213317" y="989409"/>
                  </a:lnTo>
                  <a:lnTo>
                    <a:pt x="1213317" y="454104"/>
                  </a:lnTo>
                  <a:lnTo>
                    <a:pt x="1420009" y="594122"/>
                  </a:lnTo>
                  <a:cubicBezTo>
                    <a:pt x="1430487" y="601742"/>
                    <a:pt x="1442869" y="604599"/>
                    <a:pt x="1454299" y="604599"/>
                  </a:cubicBezTo>
                  <a:cubicBezTo>
                    <a:pt x="1474302" y="604599"/>
                    <a:pt x="1493352" y="595074"/>
                    <a:pt x="1505734" y="577929"/>
                  </a:cubicBezTo>
                  <a:cubicBezTo>
                    <a:pt x="1523832" y="550307"/>
                    <a:pt x="1517164" y="512207"/>
                    <a:pt x="1488589" y="493157"/>
                  </a:cubicBezTo>
                  <a:close/>
                </a:path>
              </a:pathLst>
            </a:custGeom>
            <a:solidFill>
              <a:schemeClr val="bg2"/>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80" name="Freeform: Shape 79">
              <a:extLst>
                <a:ext uri="{FF2B5EF4-FFF2-40B4-BE49-F238E27FC236}">
                  <a16:creationId xmlns:a16="http://schemas.microsoft.com/office/drawing/2014/main" id="{39E4AC42-AF02-4192-A43E-94E8268FAB6A}"/>
                </a:ext>
              </a:extLst>
            </p:cNvPr>
            <p:cNvSpPr/>
            <p:nvPr/>
          </p:nvSpPr>
          <p:spPr>
            <a:xfrm>
              <a:off x="4687729" y="1787366"/>
              <a:ext cx="209550" cy="209550"/>
            </a:xfrm>
            <a:custGeom>
              <a:avLst/>
              <a:gdLst>
                <a:gd name="connsiteX0" fmla="*/ 205264 w 209550"/>
                <a:gd name="connsiteY0" fmla="*/ 106204 h 209550"/>
                <a:gd name="connsiteX1" fmla="*/ 106204 w 209550"/>
                <a:gd name="connsiteY1" fmla="*/ 205264 h 209550"/>
                <a:gd name="connsiteX2" fmla="*/ 7144 w 209550"/>
                <a:gd name="connsiteY2" fmla="*/ 106204 h 209550"/>
                <a:gd name="connsiteX3" fmla="*/ 106204 w 209550"/>
                <a:gd name="connsiteY3" fmla="*/ 7144 h 209550"/>
                <a:gd name="connsiteX4" fmla="*/ 205264 w 209550"/>
                <a:gd name="connsiteY4" fmla="*/ 106204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09550">
                  <a:moveTo>
                    <a:pt x="205264" y="106204"/>
                  </a:moveTo>
                  <a:cubicBezTo>
                    <a:pt x="205264" y="160913"/>
                    <a:pt x="160913" y="205264"/>
                    <a:pt x="106204" y="205264"/>
                  </a:cubicBezTo>
                  <a:cubicBezTo>
                    <a:pt x="51494" y="205264"/>
                    <a:pt x="7144" y="160913"/>
                    <a:pt x="7144" y="106204"/>
                  </a:cubicBezTo>
                  <a:cubicBezTo>
                    <a:pt x="7144" y="51494"/>
                    <a:pt x="51494" y="7144"/>
                    <a:pt x="106204" y="7144"/>
                  </a:cubicBezTo>
                  <a:cubicBezTo>
                    <a:pt x="160913" y="7144"/>
                    <a:pt x="205264" y="51494"/>
                    <a:pt x="205264" y="106204"/>
                  </a:cubicBezTo>
                  <a:close/>
                </a:path>
              </a:pathLst>
            </a:custGeom>
            <a:solidFill>
              <a:schemeClr val="bg2"/>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81" name="Freeform: Shape 80">
              <a:extLst>
                <a:ext uri="{FF2B5EF4-FFF2-40B4-BE49-F238E27FC236}">
                  <a16:creationId xmlns:a16="http://schemas.microsoft.com/office/drawing/2014/main" id="{022798E4-9D9E-4164-9044-303634E7F6AB}"/>
                </a:ext>
              </a:extLst>
            </p:cNvPr>
            <p:cNvSpPr/>
            <p:nvPr/>
          </p:nvSpPr>
          <p:spPr>
            <a:xfrm>
              <a:off x="4453546" y="1472195"/>
              <a:ext cx="676275" cy="276225"/>
            </a:xfrm>
            <a:custGeom>
              <a:avLst/>
              <a:gdLst>
                <a:gd name="connsiteX0" fmla="*/ 597562 w 676275"/>
                <a:gd name="connsiteY0" fmla="*/ 272785 h 276225"/>
                <a:gd name="connsiteX1" fmla="*/ 545174 w 676275"/>
                <a:gd name="connsiteY1" fmla="*/ 253735 h 276225"/>
                <a:gd name="connsiteX2" fmla="*/ 540412 w 676275"/>
                <a:gd name="connsiteY2" fmla="*/ 249925 h 276225"/>
                <a:gd name="connsiteX3" fmla="*/ 141314 w 676275"/>
                <a:gd name="connsiteY3" fmla="*/ 252783 h 276225"/>
                <a:gd name="connsiteX4" fmla="*/ 27014 w 676275"/>
                <a:gd name="connsiteY4" fmla="*/ 244210 h 276225"/>
                <a:gd name="connsiteX5" fmla="*/ 35587 w 676275"/>
                <a:gd name="connsiteY5" fmla="*/ 129910 h 276225"/>
                <a:gd name="connsiteX6" fmla="*/ 645187 w 676275"/>
                <a:gd name="connsiteY6" fmla="*/ 125148 h 276225"/>
                <a:gd name="connsiteX7" fmla="*/ 649949 w 676275"/>
                <a:gd name="connsiteY7" fmla="*/ 128958 h 276225"/>
                <a:gd name="connsiteX8" fmla="*/ 659474 w 676275"/>
                <a:gd name="connsiteY8" fmla="*/ 243258 h 276225"/>
                <a:gd name="connsiteX9" fmla="*/ 597562 w 676275"/>
                <a:gd name="connsiteY9" fmla="*/ 272785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6275" h="276225">
                  <a:moveTo>
                    <a:pt x="597562" y="272785"/>
                  </a:moveTo>
                  <a:cubicBezTo>
                    <a:pt x="579464" y="272785"/>
                    <a:pt x="560414" y="266118"/>
                    <a:pt x="545174" y="253735"/>
                  </a:cubicBezTo>
                  <a:lnTo>
                    <a:pt x="540412" y="249925"/>
                  </a:lnTo>
                  <a:cubicBezTo>
                    <a:pt x="411824" y="140388"/>
                    <a:pt x="269901" y="142293"/>
                    <a:pt x="141314" y="252783"/>
                  </a:cubicBezTo>
                  <a:cubicBezTo>
                    <a:pt x="107024" y="282310"/>
                    <a:pt x="56541" y="278500"/>
                    <a:pt x="27014" y="244210"/>
                  </a:cubicBezTo>
                  <a:cubicBezTo>
                    <a:pt x="-2513" y="209920"/>
                    <a:pt x="1296" y="159438"/>
                    <a:pt x="35587" y="129910"/>
                  </a:cubicBezTo>
                  <a:cubicBezTo>
                    <a:pt x="223229" y="-32015"/>
                    <a:pt x="456591" y="-33920"/>
                    <a:pt x="645187" y="125148"/>
                  </a:cubicBezTo>
                  <a:lnTo>
                    <a:pt x="649949" y="128958"/>
                  </a:lnTo>
                  <a:cubicBezTo>
                    <a:pt x="684239" y="157533"/>
                    <a:pt x="688049" y="208968"/>
                    <a:pt x="659474" y="243258"/>
                  </a:cubicBezTo>
                  <a:cubicBezTo>
                    <a:pt x="643282" y="263260"/>
                    <a:pt x="620421" y="272785"/>
                    <a:pt x="597562" y="272785"/>
                  </a:cubicBezTo>
                  <a:close/>
                </a:path>
              </a:pathLst>
            </a:custGeom>
            <a:solidFill>
              <a:schemeClr val="tx2"/>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82" name="Freeform: Shape 81">
              <a:extLst>
                <a:ext uri="{FF2B5EF4-FFF2-40B4-BE49-F238E27FC236}">
                  <a16:creationId xmlns:a16="http://schemas.microsoft.com/office/drawing/2014/main" id="{6397F9C1-686C-4AC2-A163-1481634113D1}"/>
                </a:ext>
              </a:extLst>
            </p:cNvPr>
            <p:cNvSpPr/>
            <p:nvPr/>
          </p:nvSpPr>
          <p:spPr>
            <a:xfrm>
              <a:off x="4262094" y="1182628"/>
              <a:ext cx="1066800" cy="352425"/>
            </a:xfrm>
            <a:custGeom>
              <a:avLst/>
              <a:gdLst>
                <a:gd name="connsiteX0" fmla="*/ 982372 w 1066800"/>
                <a:gd name="connsiteY0" fmla="*/ 352802 h 352425"/>
                <a:gd name="connsiteX1" fmla="*/ 929984 w 1066800"/>
                <a:gd name="connsiteY1" fmla="*/ 333752 h 352425"/>
                <a:gd name="connsiteX2" fmla="*/ 922364 w 1066800"/>
                <a:gd name="connsiteY2" fmla="*/ 327084 h 352425"/>
                <a:gd name="connsiteX3" fmla="*/ 141314 w 1066800"/>
                <a:gd name="connsiteY3" fmla="*/ 332799 h 352425"/>
                <a:gd name="connsiteX4" fmla="*/ 27014 w 1066800"/>
                <a:gd name="connsiteY4" fmla="*/ 324227 h 352425"/>
                <a:gd name="connsiteX5" fmla="*/ 35586 w 1066800"/>
                <a:gd name="connsiteY5" fmla="*/ 209927 h 352425"/>
                <a:gd name="connsiteX6" fmla="*/ 1027139 w 1066800"/>
                <a:gd name="connsiteY6" fmla="*/ 202307 h 352425"/>
                <a:gd name="connsiteX7" fmla="*/ 1034759 w 1066800"/>
                <a:gd name="connsiteY7" fmla="*/ 208974 h 352425"/>
                <a:gd name="connsiteX8" fmla="*/ 1044284 w 1066800"/>
                <a:gd name="connsiteY8" fmla="*/ 323274 h 352425"/>
                <a:gd name="connsiteX9" fmla="*/ 982372 w 1066800"/>
                <a:gd name="connsiteY9" fmla="*/ 352802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800" h="352425">
                  <a:moveTo>
                    <a:pt x="982372" y="352802"/>
                  </a:moveTo>
                  <a:cubicBezTo>
                    <a:pt x="964274" y="352802"/>
                    <a:pt x="945224" y="346134"/>
                    <a:pt x="929984" y="333752"/>
                  </a:cubicBezTo>
                  <a:lnTo>
                    <a:pt x="922364" y="327084"/>
                  </a:lnTo>
                  <a:cubicBezTo>
                    <a:pt x="673761" y="116582"/>
                    <a:pt x="388964" y="118487"/>
                    <a:pt x="141314" y="332799"/>
                  </a:cubicBezTo>
                  <a:cubicBezTo>
                    <a:pt x="107024" y="362327"/>
                    <a:pt x="56541" y="358517"/>
                    <a:pt x="27014" y="324227"/>
                  </a:cubicBezTo>
                  <a:cubicBezTo>
                    <a:pt x="-2514" y="289937"/>
                    <a:pt x="1297" y="239454"/>
                    <a:pt x="35586" y="209927"/>
                  </a:cubicBezTo>
                  <a:cubicBezTo>
                    <a:pt x="345149" y="-57726"/>
                    <a:pt x="716624" y="-60583"/>
                    <a:pt x="1027139" y="202307"/>
                  </a:cubicBezTo>
                  <a:lnTo>
                    <a:pt x="1034759" y="208974"/>
                  </a:lnTo>
                  <a:cubicBezTo>
                    <a:pt x="1069049" y="237549"/>
                    <a:pt x="1072859" y="288984"/>
                    <a:pt x="1044284" y="323274"/>
                  </a:cubicBezTo>
                  <a:cubicBezTo>
                    <a:pt x="1028091" y="343277"/>
                    <a:pt x="1005232" y="352802"/>
                    <a:pt x="982372" y="352802"/>
                  </a:cubicBezTo>
                  <a:close/>
                </a:path>
              </a:pathLst>
            </a:custGeom>
            <a:solidFill>
              <a:schemeClr val="tx2"/>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83" name="Freeform: Shape 82">
              <a:extLst>
                <a:ext uri="{FF2B5EF4-FFF2-40B4-BE49-F238E27FC236}">
                  <a16:creationId xmlns:a16="http://schemas.microsoft.com/office/drawing/2014/main" id="{F4870E74-D40B-4EBE-B1F8-D9C666543932}"/>
                </a:ext>
              </a:extLst>
            </p:cNvPr>
            <p:cNvSpPr/>
            <p:nvPr/>
          </p:nvSpPr>
          <p:spPr>
            <a:xfrm>
              <a:off x="3942874" y="3002756"/>
              <a:ext cx="1219200" cy="981075"/>
            </a:xfrm>
            <a:custGeom>
              <a:avLst/>
              <a:gdLst>
                <a:gd name="connsiteX0" fmla="*/ 1220629 w 1219200"/>
                <a:gd name="connsiteY0" fmla="*/ 482441 h 981075"/>
                <a:gd name="connsiteX1" fmla="*/ 1120616 w 1219200"/>
                <a:gd name="connsiteY1" fmla="*/ 371951 h 981075"/>
                <a:gd name="connsiteX2" fmla="*/ 1034891 w 1219200"/>
                <a:gd name="connsiteY2" fmla="*/ 116681 h 981075"/>
                <a:gd name="connsiteX3" fmla="*/ 882491 w 1219200"/>
                <a:gd name="connsiteY3" fmla="*/ 7144 h 981075"/>
                <a:gd name="connsiteX4" fmla="*/ 345281 w 1219200"/>
                <a:gd name="connsiteY4" fmla="*/ 7144 h 981075"/>
                <a:gd name="connsiteX5" fmla="*/ 192881 w 1219200"/>
                <a:gd name="connsiteY5" fmla="*/ 116681 h 981075"/>
                <a:gd name="connsiteX6" fmla="*/ 107156 w 1219200"/>
                <a:gd name="connsiteY6" fmla="*/ 371951 h 981075"/>
                <a:gd name="connsiteX7" fmla="*/ 7144 w 1219200"/>
                <a:gd name="connsiteY7" fmla="*/ 482441 h 981075"/>
                <a:gd name="connsiteX8" fmla="*/ 7144 w 1219200"/>
                <a:gd name="connsiteY8" fmla="*/ 814864 h 981075"/>
                <a:gd name="connsiteX9" fmla="*/ 150019 w 1219200"/>
                <a:gd name="connsiteY9" fmla="*/ 814864 h 981075"/>
                <a:gd name="connsiteX10" fmla="*/ 150019 w 1219200"/>
                <a:gd name="connsiteY10" fmla="*/ 893921 h 981075"/>
                <a:gd name="connsiteX11" fmla="*/ 235744 w 1219200"/>
                <a:gd name="connsiteY11" fmla="*/ 979646 h 981075"/>
                <a:gd name="connsiteX12" fmla="*/ 321469 w 1219200"/>
                <a:gd name="connsiteY12" fmla="*/ 893921 h 981075"/>
                <a:gd name="connsiteX13" fmla="*/ 321469 w 1219200"/>
                <a:gd name="connsiteY13" fmla="*/ 814864 h 981075"/>
                <a:gd name="connsiteX14" fmla="*/ 914876 w 1219200"/>
                <a:gd name="connsiteY14" fmla="*/ 814864 h 981075"/>
                <a:gd name="connsiteX15" fmla="*/ 914876 w 1219200"/>
                <a:gd name="connsiteY15" fmla="*/ 893921 h 981075"/>
                <a:gd name="connsiteX16" fmla="*/ 1000601 w 1219200"/>
                <a:gd name="connsiteY16" fmla="*/ 979646 h 981075"/>
                <a:gd name="connsiteX17" fmla="*/ 1086326 w 1219200"/>
                <a:gd name="connsiteY17" fmla="*/ 893921 h 981075"/>
                <a:gd name="connsiteX18" fmla="*/ 1086326 w 1219200"/>
                <a:gd name="connsiteY18" fmla="*/ 814864 h 981075"/>
                <a:gd name="connsiteX19" fmla="*/ 1220629 w 1219200"/>
                <a:gd name="connsiteY19" fmla="*/ 814864 h 981075"/>
                <a:gd name="connsiteX20" fmla="*/ 1220629 w 1219200"/>
                <a:gd name="connsiteY20" fmla="*/ 482441 h 981075"/>
                <a:gd name="connsiteX21" fmla="*/ 301466 w 1219200"/>
                <a:gd name="connsiteY21" fmla="*/ 152876 h 981075"/>
                <a:gd name="connsiteX22" fmla="*/ 345281 w 1219200"/>
                <a:gd name="connsiteY22" fmla="*/ 121444 h 981075"/>
                <a:gd name="connsiteX23" fmla="*/ 882491 w 1219200"/>
                <a:gd name="connsiteY23" fmla="*/ 121444 h 981075"/>
                <a:gd name="connsiteX24" fmla="*/ 926306 w 1219200"/>
                <a:gd name="connsiteY24" fmla="*/ 152876 h 981075"/>
                <a:gd name="connsiteX25" fmla="*/ 999649 w 1219200"/>
                <a:gd name="connsiteY25" fmla="*/ 370999 h 981075"/>
                <a:gd name="connsiteX26" fmla="*/ 227171 w 1219200"/>
                <a:gd name="connsiteY26" fmla="*/ 370999 h 981075"/>
                <a:gd name="connsiteX27" fmla="*/ 301466 w 1219200"/>
                <a:gd name="connsiteY27" fmla="*/ 152876 h 981075"/>
                <a:gd name="connsiteX28" fmla="*/ 433864 w 1219200"/>
                <a:gd name="connsiteY28" fmla="*/ 600551 h 981075"/>
                <a:gd name="connsiteX29" fmla="*/ 329089 w 1219200"/>
                <a:gd name="connsiteY29" fmla="*/ 699611 h 981075"/>
                <a:gd name="connsiteX30" fmla="*/ 224314 w 1219200"/>
                <a:gd name="connsiteY30" fmla="*/ 600551 h 981075"/>
                <a:gd name="connsiteX31" fmla="*/ 224314 w 1219200"/>
                <a:gd name="connsiteY31" fmla="*/ 593884 h 981075"/>
                <a:gd name="connsiteX32" fmla="*/ 329089 w 1219200"/>
                <a:gd name="connsiteY32" fmla="*/ 489109 h 981075"/>
                <a:gd name="connsiteX33" fmla="*/ 433864 w 1219200"/>
                <a:gd name="connsiteY33" fmla="*/ 593884 h 981075"/>
                <a:gd name="connsiteX34" fmla="*/ 433864 w 1219200"/>
                <a:gd name="connsiteY34" fmla="*/ 600551 h 981075"/>
                <a:gd name="connsiteX35" fmla="*/ 805339 w 1219200"/>
                <a:gd name="connsiteY35" fmla="*/ 600551 h 981075"/>
                <a:gd name="connsiteX36" fmla="*/ 805339 w 1219200"/>
                <a:gd name="connsiteY36" fmla="*/ 593884 h 981075"/>
                <a:gd name="connsiteX37" fmla="*/ 910114 w 1219200"/>
                <a:gd name="connsiteY37" fmla="*/ 489109 h 981075"/>
                <a:gd name="connsiteX38" fmla="*/ 1014889 w 1219200"/>
                <a:gd name="connsiteY38" fmla="*/ 593884 h 981075"/>
                <a:gd name="connsiteX39" fmla="*/ 1014889 w 1219200"/>
                <a:gd name="connsiteY39" fmla="*/ 600551 h 981075"/>
                <a:gd name="connsiteX40" fmla="*/ 910114 w 1219200"/>
                <a:gd name="connsiteY40" fmla="*/ 699611 h 981075"/>
                <a:gd name="connsiteX41" fmla="*/ 805339 w 1219200"/>
                <a:gd name="connsiteY41" fmla="*/ 600551 h 981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200" h="981075">
                  <a:moveTo>
                    <a:pt x="1220629" y="482441"/>
                  </a:moveTo>
                  <a:cubicBezTo>
                    <a:pt x="1220629" y="425291"/>
                    <a:pt x="1176814" y="377666"/>
                    <a:pt x="1120616" y="371951"/>
                  </a:cubicBezTo>
                  <a:lnTo>
                    <a:pt x="1034891" y="116681"/>
                  </a:lnTo>
                  <a:cubicBezTo>
                    <a:pt x="1012984" y="50959"/>
                    <a:pt x="952024" y="7144"/>
                    <a:pt x="882491" y="7144"/>
                  </a:cubicBezTo>
                  <a:lnTo>
                    <a:pt x="345281" y="7144"/>
                  </a:lnTo>
                  <a:cubicBezTo>
                    <a:pt x="276701" y="7144"/>
                    <a:pt x="215741" y="50959"/>
                    <a:pt x="192881" y="116681"/>
                  </a:cubicBezTo>
                  <a:lnTo>
                    <a:pt x="107156" y="371951"/>
                  </a:lnTo>
                  <a:cubicBezTo>
                    <a:pt x="50959" y="377666"/>
                    <a:pt x="7144" y="425291"/>
                    <a:pt x="7144" y="482441"/>
                  </a:cubicBezTo>
                  <a:lnTo>
                    <a:pt x="7144" y="814864"/>
                  </a:lnTo>
                  <a:lnTo>
                    <a:pt x="150019" y="814864"/>
                  </a:lnTo>
                  <a:lnTo>
                    <a:pt x="150019" y="893921"/>
                  </a:lnTo>
                  <a:cubicBezTo>
                    <a:pt x="150019" y="940594"/>
                    <a:pt x="188119" y="979646"/>
                    <a:pt x="235744" y="979646"/>
                  </a:cubicBezTo>
                  <a:cubicBezTo>
                    <a:pt x="283369" y="979646"/>
                    <a:pt x="321469" y="940594"/>
                    <a:pt x="321469" y="893921"/>
                  </a:cubicBezTo>
                  <a:lnTo>
                    <a:pt x="321469" y="814864"/>
                  </a:lnTo>
                  <a:lnTo>
                    <a:pt x="914876" y="814864"/>
                  </a:lnTo>
                  <a:lnTo>
                    <a:pt x="914876" y="893921"/>
                  </a:lnTo>
                  <a:cubicBezTo>
                    <a:pt x="914876" y="940594"/>
                    <a:pt x="952976" y="979646"/>
                    <a:pt x="1000601" y="979646"/>
                  </a:cubicBezTo>
                  <a:cubicBezTo>
                    <a:pt x="1047274" y="979646"/>
                    <a:pt x="1086326" y="940594"/>
                    <a:pt x="1086326" y="893921"/>
                  </a:cubicBezTo>
                  <a:lnTo>
                    <a:pt x="1086326" y="814864"/>
                  </a:lnTo>
                  <a:lnTo>
                    <a:pt x="1220629" y="814864"/>
                  </a:lnTo>
                  <a:lnTo>
                    <a:pt x="1220629" y="482441"/>
                  </a:lnTo>
                  <a:close/>
                  <a:moveTo>
                    <a:pt x="301466" y="152876"/>
                  </a:moveTo>
                  <a:cubicBezTo>
                    <a:pt x="308134" y="133826"/>
                    <a:pt x="325279" y="121444"/>
                    <a:pt x="345281" y="121444"/>
                  </a:cubicBezTo>
                  <a:lnTo>
                    <a:pt x="882491" y="121444"/>
                  </a:lnTo>
                  <a:cubicBezTo>
                    <a:pt x="902494" y="121444"/>
                    <a:pt x="919639" y="133826"/>
                    <a:pt x="926306" y="152876"/>
                  </a:cubicBezTo>
                  <a:lnTo>
                    <a:pt x="999649" y="370999"/>
                  </a:lnTo>
                  <a:lnTo>
                    <a:pt x="227171" y="370999"/>
                  </a:lnTo>
                  <a:lnTo>
                    <a:pt x="301466" y="152876"/>
                  </a:lnTo>
                  <a:close/>
                  <a:moveTo>
                    <a:pt x="433864" y="600551"/>
                  </a:moveTo>
                  <a:cubicBezTo>
                    <a:pt x="431006" y="655796"/>
                    <a:pt x="385286" y="699611"/>
                    <a:pt x="329089" y="699611"/>
                  </a:cubicBezTo>
                  <a:cubicBezTo>
                    <a:pt x="272891" y="699611"/>
                    <a:pt x="228124" y="655796"/>
                    <a:pt x="224314" y="600551"/>
                  </a:cubicBezTo>
                  <a:cubicBezTo>
                    <a:pt x="224314" y="598646"/>
                    <a:pt x="224314" y="596741"/>
                    <a:pt x="224314" y="593884"/>
                  </a:cubicBezTo>
                  <a:cubicBezTo>
                    <a:pt x="224314" y="535781"/>
                    <a:pt x="270986" y="489109"/>
                    <a:pt x="329089" y="489109"/>
                  </a:cubicBezTo>
                  <a:cubicBezTo>
                    <a:pt x="387191" y="489109"/>
                    <a:pt x="433864" y="535781"/>
                    <a:pt x="433864" y="593884"/>
                  </a:cubicBezTo>
                  <a:cubicBezTo>
                    <a:pt x="433864" y="596741"/>
                    <a:pt x="433864" y="598646"/>
                    <a:pt x="433864" y="600551"/>
                  </a:cubicBezTo>
                  <a:close/>
                  <a:moveTo>
                    <a:pt x="805339" y="600551"/>
                  </a:moveTo>
                  <a:cubicBezTo>
                    <a:pt x="805339" y="598646"/>
                    <a:pt x="805339" y="596741"/>
                    <a:pt x="805339" y="593884"/>
                  </a:cubicBezTo>
                  <a:cubicBezTo>
                    <a:pt x="805339" y="535781"/>
                    <a:pt x="852011" y="489109"/>
                    <a:pt x="910114" y="489109"/>
                  </a:cubicBezTo>
                  <a:cubicBezTo>
                    <a:pt x="968216" y="489109"/>
                    <a:pt x="1014889" y="535781"/>
                    <a:pt x="1014889" y="593884"/>
                  </a:cubicBezTo>
                  <a:cubicBezTo>
                    <a:pt x="1014889" y="595789"/>
                    <a:pt x="1014889" y="597694"/>
                    <a:pt x="1014889" y="600551"/>
                  </a:cubicBezTo>
                  <a:cubicBezTo>
                    <a:pt x="1012031" y="655796"/>
                    <a:pt x="966311" y="699611"/>
                    <a:pt x="910114" y="699611"/>
                  </a:cubicBezTo>
                  <a:cubicBezTo>
                    <a:pt x="853916" y="699611"/>
                    <a:pt x="809149" y="655796"/>
                    <a:pt x="805339" y="600551"/>
                  </a:cubicBezTo>
                  <a:close/>
                </a:path>
              </a:pathLst>
            </a:custGeom>
            <a:solidFill>
              <a:schemeClr val="tx2"/>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grpSp>
        <p:nvGrpSpPr>
          <p:cNvPr id="84" name="Group 13">
            <a:extLst>
              <a:ext uri="{FF2B5EF4-FFF2-40B4-BE49-F238E27FC236}">
                <a16:creationId xmlns:a16="http://schemas.microsoft.com/office/drawing/2014/main" id="{B4C91D2C-66DC-4D2B-91B3-1FF50C0D344A}"/>
              </a:ext>
            </a:extLst>
          </p:cNvPr>
          <p:cNvGrpSpPr>
            <a:grpSpLocks noChangeAspect="1"/>
          </p:cNvGrpSpPr>
          <p:nvPr/>
        </p:nvGrpSpPr>
        <p:grpSpPr bwMode="auto">
          <a:xfrm>
            <a:off x="5810748" y="2709026"/>
            <a:ext cx="595093" cy="594360"/>
            <a:chOff x="1256" y="-2"/>
            <a:chExt cx="3246" cy="3242"/>
          </a:xfrm>
        </p:grpSpPr>
        <p:sp>
          <p:nvSpPr>
            <p:cNvPr id="85" name="Oval 14">
              <a:extLst>
                <a:ext uri="{FF2B5EF4-FFF2-40B4-BE49-F238E27FC236}">
                  <a16:creationId xmlns:a16="http://schemas.microsoft.com/office/drawing/2014/main" id="{152BE1C1-B51F-4EA7-8D5A-9F7BCE5A0C2D}"/>
                </a:ext>
              </a:extLst>
            </p:cNvPr>
            <p:cNvSpPr>
              <a:spLocks noChangeArrowheads="1"/>
            </p:cNvSpPr>
            <p:nvPr/>
          </p:nvSpPr>
          <p:spPr bwMode="auto">
            <a:xfrm>
              <a:off x="1256" y="-2"/>
              <a:ext cx="3246" cy="324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6" name="Freeform 15">
              <a:extLst>
                <a:ext uri="{FF2B5EF4-FFF2-40B4-BE49-F238E27FC236}">
                  <a16:creationId xmlns:a16="http://schemas.microsoft.com/office/drawing/2014/main" id="{AC07F687-DDE1-4D9F-83FB-5F3E5276A4C0}"/>
                </a:ext>
              </a:extLst>
            </p:cNvPr>
            <p:cNvSpPr>
              <a:spLocks/>
            </p:cNvSpPr>
            <p:nvPr/>
          </p:nvSpPr>
          <p:spPr bwMode="auto">
            <a:xfrm>
              <a:off x="1934" y="559"/>
              <a:ext cx="2568" cy="2681"/>
            </a:xfrm>
            <a:custGeom>
              <a:avLst/>
              <a:gdLst>
                <a:gd name="T0" fmla="*/ 1258 w 1261"/>
                <a:gd name="T1" fmla="*/ 450 h 1318"/>
                <a:gd name="T2" fmla="*/ 814 w 1261"/>
                <a:gd name="T3" fmla="*/ 6 h 1318"/>
                <a:gd name="T4" fmla="*/ 813 w 1261"/>
                <a:gd name="T5" fmla="*/ 7 h 1318"/>
                <a:gd name="T6" fmla="*/ 779 w 1261"/>
                <a:gd name="T7" fmla="*/ 8 h 1318"/>
                <a:gd name="T8" fmla="*/ 775 w 1261"/>
                <a:gd name="T9" fmla="*/ 49 h 1318"/>
                <a:gd name="T10" fmla="*/ 863 w 1261"/>
                <a:gd name="T11" fmla="*/ 237 h 1318"/>
                <a:gd name="T12" fmla="*/ 724 w 1261"/>
                <a:gd name="T13" fmla="*/ 98 h 1318"/>
                <a:gd name="T14" fmla="*/ 720 w 1261"/>
                <a:gd name="T15" fmla="*/ 93 h 1318"/>
                <a:gd name="T16" fmla="*/ 679 w 1261"/>
                <a:gd name="T17" fmla="*/ 90 h 1318"/>
                <a:gd name="T18" fmla="*/ 676 w 1261"/>
                <a:gd name="T19" fmla="*/ 131 h 1318"/>
                <a:gd name="T20" fmla="*/ 741 w 1261"/>
                <a:gd name="T21" fmla="*/ 292 h 1318"/>
                <a:gd name="T22" fmla="*/ 644 w 1261"/>
                <a:gd name="T23" fmla="*/ 195 h 1318"/>
                <a:gd name="T24" fmla="*/ 626 w 1261"/>
                <a:gd name="T25" fmla="*/ 171 h 1318"/>
                <a:gd name="T26" fmla="*/ 585 w 1261"/>
                <a:gd name="T27" fmla="*/ 168 h 1318"/>
                <a:gd name="T28" fmla="*/ 582 w 1261"/>
                <a:gd name="T29" fmla="*/ 208 h 1318"/>
                <a:gd name="T30" fmla="*/ 619 w 1261"/>
                <a:gd name="T31" fmla="*/ 309 h 1318"/>
                <a:gd name="T32" fmla="*/ 614 w 1261"/>
                <a:gd name="T33" fmla="*/ 348 h 1318"/>
                <a:gd name="T34" fmla="*/ 535 w 1261"/>
                <a:gd name="T35" fmla="*/ 269 h 1318"/>
                <a:gd name="T36" fmla="*/ 464 w 1261"/>
                <a:gd name="T37" fmla="*/ 228 h 1318"/>
                <a:gd name="T38" fmla="*/ 415 w 1261"/>
                <a:gd name="T39" fmla="*/ 244 h 1318"/>
                <a:gd name="T40" fmla="*/ 347 w 1261"/>
                <a:gd name="T41" fmla="*/ 176 h 1318"/>
                <a:gd name="T42" fmla="*/ 347 w 1261"/>
                <a:gd name="T43" fmla="*/ 176 h 1318"/>
                <a:gd name="T44" fmla="*/ 341 w 1261"/>
                <a:gd name="T45" fmla="*/ 169 h 1318"/>
                <a:gd name="T46" fmla="*/ 317 w 1261"/>
                <a:gd name="T47" fmla="*/ 163 h 1318"/>
                <a:gd name="T48" fmla="*/ 253 w 1261"/>
                <a:gd name="T49" fmla="*/ 100 h 1318"/>
                <a:gd name="T50" fmla="*/ 247 w 1261"/>
                <a:gd name="T51" fmla="*/ 91 h 1318"/>
                <a:gd name="T52" fmla="*/ 220 w 1261"/>
                <a:gd name="T53" fmla="*/ 86 h 1318"/>
                <a:gd name="T54" fmla="*/ 156 w 1261"/>
                <a:gd name="T55" fmla="*/ 23 h 1318"/>
                <a:gd name="T56" fmla="*/ 147 w 1261"/>
                <a:gd name="T57" fmla="*/ 10 h 1318"/>
                <a:gd name="T58" fmla="*/ 107 w 1261"/>
                <a:gd name="T59" fmla="*/ 14 h 1318"/>
                <a:gd name="T60" fmla="*/ 0 w 1261"/>
                <a:gd name="T61" fmla="*/ 309 h 1318"/>
                <a:gd name="T62" fmla="*/ 107 w 1261"/>
                <a:gd name="T63" fmla="*/ 605 h 1318"/>
                <a:gd name="T64" fmla="*/ 129 w 1261"/>
                <a:gd name="T65" fmla="*/ 615 h 1318"/>
                <a:gd name="T66" fmla="*/ 131 w 1261"/>
                <a:gd name="T67" fmla="*/ 615 h 1318"/>
                <a:gd name="T68" fmla="*/ 250 w 1261"/>
                <a:gd name="T69" fmla="*/ 734 h 1318"/>
                <a:gd name="T70" fmla="*/ 101 w 1261"/>
                <a:gd name="T71" fmla="*/ 1072 h 1318"/>
                <a:gd name="T72" fmla="*/ 108 w 1261"/>
                <a:gd name="T73" fmla="*/ 1105 h 1318"/>
                <a:gd name="T74" fmla="*/ 124 w 1261"/>
                <a:gd name="T75" fmla="*/ 1112 h 1318"/>
                <a:gd name="T76" fmla="*/ 316 w 1261"/>
                <a:gd name="T77" fmla="*/ 1304 h 1318"/>
                <a:gd name="T78" fmla="*/ 464 w 1261"/>
                <a:gd name="T79" fmla="*/ 1318 h 1318"/>
                <a:gd name="T80" fmla="*/ 1261 w 1261"/>
                <a:gd name="T81" fmla="*/ 521 h 1318"/>
                <a:gd name="T82" fmla="*/ 1258 w 1261"/>
                <a:gd name="T83" fmla="*/ 450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1" h="1318">
                  <a:moveTo>
                    <a:pt x="1258" y="450"/>
                  </a:moveTo>
                  <a:cubicBezTo>
                    <a:pt x="814" y="6"/>
                    <a:pt x="814" y="6"/>
                    <a:pt x="814" y="6"/>
                  </a:cubicBezTo>
                  <a:cubicBezTo>
                    <a:pt x="813" y="7"/>
                    <a:pt x="813" y="7"/>
                    <a:pt x="813" y="7"/>
                  </a:cubicBezTo>
                  <a:cubicBezTo>
                    <a:pt x="803" y="0"/>
                    <a:pt x="789" y="0"/>
                    <a:pt x="779" y="8"/>
                  </a:cubicBezTo>
                  <a:cubicBezTo>
                    <a:pt x="766" y="19"/>
                    <a:pt x="765" y="37"/>
                    <a:pt x="775" y="49"/>
                  </a:cubicBezTo>
                  <a:cubicBezTo>
                    <a:pt x="820" y="103"/>
                    <a:pt x="850" y="168"/>
                    <a:pt x="863" y="237"/>
                  </a:cubicBezTo>
                  <a:cubicBezTo>
                    <a:pt x="724" y="98"/>
                    <a:pt x="724" y="98"/>
                    <a:pt x="724" y="98"/>
                  </a:cubicBezTo>
                  <a:cubicBezTo>
                    <a:pt x="722" y="96"/>
                    <a:pt x="721" y="95"/>
                    <a:pt x="720" y="93"/>
                  </a:cubicBezTo>
                  <a:cubicBezTo>
                    <a:pt x="710" y="81"/>
                    <a:pt x="692" y="80"/>
                    <a:pt x="679" y="90"/>
                  </a:cubicBezTo>
                  <a:cubicBezTo>
                    <a:pt x="667" y="100"/>
                    <a:pt x="666" y="118"/>
                    <a:pt x="676" y="131"/>
                  </a:cubicBezTo>
                  <a:cubicBezTo>
                    <a:pt x="714" y="176"/>
                    <a:pt x="737" y="233"/>
                    <a:pt x="741" y="292"/>
                  </a:cubicBezTo>
                  <a:cubicBezTo>
                    <a:pt x="644" y="195"/>
                    <a:pt x="644" y="195"/>
                    <a:pt x="644" y="195"/>
                  </a:cubicBezTo>
                  <a:cubicBezTo>
                    <a:pt x="638" y="186"/>
                    <a:pt x="632" y="178"/>
                    <a:pt x="626" y="171"/>
                  </a:cubicBezTo>
                  <a:cubicBezTo>
                    <a:pt x="615" y="159"/>
                    <a:pt x="597" y="157"/>
                    <a:pt x="585" y="168"/>
                  </a:cubicBezTo>
                  <a:cubicBezTo>
                    <a:pt x="573" y="178"/>
                    <a:pt x="572" y="196"/>
                    <a:pt x="582" y="208"/>
                  </a:cubicBezTo>
                  <a:cubicBezTo>
                    <a:pt x="606" y="236"/>
                    <a:pt x="619" y="272"/>
                    <a:pt x="619" y="309"/>
                  </a:cubicBezTo>
                  <a:cubicBezTo>
                    <a:pt x="619" y="323"/>
                    <a:pt x="618" y="336"/>
                    <a:pt x="614" y="348"/>
                  </a:cubicBezTo>
                  <a:cubicBezTo>
                    <a:pt x="535" y="269"/>
                    <a:pt x="535" y="269"/>
                    <a:pt x="535" y="269"/>
                  </a:cubicBezTo>
                  <a:cubicBezTo>
                    <a:pt x="521" y="244"/>
                    <a:pt x="494" y="228"/>
                    <a:pt x="464" y="228"/>
                  </a:cubicBezTo>
                  <a:cubicBezTo>
                    <a:pt x="445" y="228"/>
                    <a:pt x="428" y="234"/>
                    <a:pt x="415" y="244"/>
                  </a:cubicBezTo>
                  <a:cubicBezTo>
                    <a:pt x="347" y="176"/>
                    <a:pt x="347" y="176"/>
                    <a:pt x="347" y="176"/>
                  </a:cubicBezTo>
                  <a:cubicBezTo>
                    <a:pt x="347" y="176"/>
                    <a:pt x="347" y="176"/>
                    <a:pt x="347" y="176"/>
                  </a:cubicBezTo>
                  <a:cubicBezTo>
                    <a:pt x="345" y="173"/>
                    <a:pt x="343" y="171"/>
                    <a:pt x="341" y="169"/>
                  </a:cubicBezTo>
                  <a:cubicBezTo>
                    <a:pt x="334" y="163"/>
                    <a:pt x="325" y="161"/>
                    <a:pt x="317" y="163"/>
                  </a:cubicBezTo>
                  <a:cubicBezTo>
                    <a:pt x="253" y="100"/>
                    <a:pt x="253" y="100"/>
                    <a:pt x="253" y="100"/>
                  </a:cubicBezTo>
                  <a:cubicBezTo>
                    <a:pt x="252" y="97"/>
                    <a:pt x="249" y="94"/>
                    <a:pt x="247" y="91"/>
                  </a:cubicBezTo>
                  <a:cubicBezTo>
                    <a:pt x="239" y="85"/>
                    <a:pt x="229" y="83"/>
                    <a:pt x="220" y="86"/>
                  </a:cubicBezTo>
                  <a:cubicBezTo>
                    <a:pt x="156" y="23"/>
                    <a:pt x="156" y="23"/>
                    <a:pt x="156" y="23"/>
                  </a:cubicBezTo>
                  <a:cubicBezTo>
                    <a:pt x="155" y="18"/>
                    <a:pt x="152" y="13"/>
                    <a:pt x="147" y="10"/>
                  </a:cubicBezTo>
                  <a:cubicBezTo>
                    <a:pt x="135" y="0"/>
                    <a:pt x="117" y="1"/>
                    <a:pt x="107" y="14"/>
                  </a:cubicBezTo>
                  <a:cubicBezTo>
                    <a:pt x="38" y="97"/>
                    <a:pt x="0" y="202"/>
                    <a:pt x="0" y="309"/>
                  </a:cubicBezTo>
                  <a:cubicBezTo>
                    <a:pt x="0" y="417"/>
                    <a:pt x="38" y="522"/>
                    <a:pt x="107" y="605"/>
                  </a:cubicBezTo>
                  <a:cubicBezTo>
                    <a:pt x="113" y="612"/>
                    <a:pt x="121" y="615"/>
                    <a:pt x="129" y="615"/>
                  </a:cubicBezTo>
                  <a:cubicBezTo>
                    <a:pt x="130" y="615"/>
                    <a:pt x="130" y="615"/>
                    <a:pt x="131" y="615"/>
                  </a:cubicBezTo>
                  <a:cubicBezTo>
                    <a:pt x="250" y="734"/>
                    <a:pt x="250" y="734"/>
                    <a:pt x="250" y="734"/>
                  </a:cubicBezTo>
                  <a:cubicBezTo>
                    <a:pt x="101" y="1072"/>
                    <a:pt x="101" y="1072"/>
                    <a:pt x="101" y="1072"/>
                  </a:cubicBezTo>
                  <a:cubicBezTo>
                    <a:pt x="95" y="1084"/>
                    <a:pt x="98" y="1097"/>
                    <a:pt x="108" y="1105"/>
                  </a:cubicBezTo>
                  <a:cubicBezTo>
                    <a:pt x="112" y="1109"/>
                    <a:pt x="118" y="1112"/>
                    <a:pt x="124" y="1112"/>
                  </a:cubicBezTo>
                  <a:cubicBezTo>
                    <a:pt x="316" y="1304"/>
                    <a:pt x="316" y="1304"/>
                    <a:pt x="316" y="1304"/>
                  </a:cubicBezTo>
                  <a:cubicBezTo>
                    <a:pt x="364" y="1313"/>
                    <a:pt x="413" y="1318"/>
                    <a:pt x="464" y="1318"/>
                  </a:cubicBezTo>
                  <a:cubicBezTo>
                    <a:pt x="904" y="1318"/>
                    <a:pt x="1261" y="961"/>
                    <a:pt x="1261" y="521"/>
                  </a:cubicBezTo>
                  <a:cubicBezTo>
                    <a:pt x="1261" y="497"/>
                    <a:pt x="1260" y="473"/>
                    <a:pt x="1258" y="450"/>
                  </a:cubicBezTo>
                  <a:close/>
                </a:path>
              </a:pathLst>
            </a:custGeom>
            <a:solidFill>
              <a:srgbClr val="00A1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7" name="Freeform 16">
              <a:extLst>
                <a:ext uri="{FF2B5EF4-FFF2-40B4-BE49-F238E27FC236}">
                  <a16:creationId xmlns:a16="http://schemas.microsoft.com/office/drawing/2014/main" id="{3CA0D583-BCD8-4381-9DF1-7486CEE515DB}"/>
                </a:ext>
              </a:extLst>
            </p:cNvPr>
            <p:cNvSpPr>
              <a:spLocks/>
            </p:cNvSpPr>
            <p:nvPr/>
          </p:nvSpPr>
          <p:spPr bwMode="auto">
            <a:xfrm>
              <a:off x="3290" y="722"/>
              <a:ext cx="271" cy="925"/>
            </a:xfrm>
            <a:custGeom>
              <a:avLst/>
              <a:gdLst>
                <a:gd name="T0" fmla="*/ 32 w 133"/>
                <a:gd name="T1" fmla="*/ 455 h 455"/>
                <a:gd name="T2" fmla="*/ 13 w 133"/>
                <a:gd name="T3" fmla="*/ 449 h 455"/>
                <a:gd name="T4" fmla="*/ 10 w 133"/>
                <a:gd name="T5" fmla="*/ 408 h 455"/>
                <a:gd name="T6" fmla="*/ 75 w 133"/>
                <a:gd name="T7" fmla="*/ 229 h 455"/>
                <a:gd name="T8" fmla="*/ 10 w 133"/>
                <a:gd name="T9" fmla="*/ 51 h 455"/>
                <a:gd name="T10" fmla="*/ 13 w 133"/>
                <a:gd name="T11" fmla="*/ 10 h 455"/>
                <a:gd name="T12" fmla="*/ 54 w 133"/>
                <a:gd name="T13" fmla="*/ 13 h 455"/>
                <a:gd name="T14" fmla="*/ 133 w 133"/>
                <a:gd name="T15" fmla="*/ 229 h 455"/>
                <a:gd name="T16" fmla="*/ 54 w 133"/>
                <a:gd name="T17" fmla="*/ 445 h 455"/>
                <a:gd name="T18" fmla="*/ 32 w 133"/>
                <a:gd name="T19"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455">
                  <a:moveTo>
                    <a:pt x="32" y="455"/>
                  </a:moveTo>
                  <a:cubicBezTo>
                    <a:pt x="25" y="455"/>
                    <a:pt x="19" y="453"/>
                    <a:pt x="13" y="449"/>
                  </a:cubicBezTo>
                  <a:cubicBezTo>
                    <a:pt x="1" y="438"/>
                    <a:pt x="0" y="420"/>
                    <a:pt x="10" y="408"/>
                  </a:cubicBezTo>
                  <a:cubicBezTo>
                    <a:pt x="52" y="358"/>
                    <a:pt x="75" y="295"/>
                    <a:pt x="75" y="229"/>
                  </a:cubicBezTo>
                  <a:cubicBezTo>
                    <a:pt x="75" y="164"/>
                    <a:pt x="52" y="101"/>
                    <a:pt x="10" y="51"/>
                  </a:cubicBezTo>
                  <a:cubicBezTo>
                    <a:pt x="0" y="38"/>
                    <a:pt x="1" y="20"/>
                    <a:pt x="13" y="10"/>
                  </a:cubicBezTo>
                  <a:cubicBezTo>
                    <a:pt x="26" y="0"/>
                    <a:pt x="44" y="1"/>
                    <a:pt x="54" y="13"/>
                  </a:cubicBezTo>
                  <a:cubicBezTo>
                    <a:pt x="105" y="74"/>
                    <a:pt x="133" y="150"/>
                    <a:pt x="133" y="229"/>
                  </a:cubicBezTo>
                  <a:cubicBezTo>
                    <a:pt x="133" y="308"/>
                    <a:pt x="105" y="385"/>
                    <a:pt x="54" y="445"/>
                  </a:cubicBezTo>
                  <a:cubicBezTo>
                    <a:pt x="48" y="452"/>
                    <a:pt x="40" y="455"/>
                    <a:pt x="32" y="455"/>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8" name="Freeform 17">
              <a:extLst>
                <a:ext uri="{FF2B5EF4-FFF2-40B4-BE49-F238E27FC236}">
                  <a16:creationId xmlns:a16="http://schemas.microsoft.com/office/drawing/2014/main" id="{3BB3155E-670E-45EE-BAE0-5BBDE8FB6326}"/>
                </a:ext>
              </a:extLst>
            </p:cNvPr>
            <p:cNvSpPr>
              <a:spLocks/>
            </p:cNvSpPr>
            <p:nvPr/>
          </p:nvSpPr>
          <p:spPr bwMode="auto">
            <a:xfrm>
              <a:off x="2197" y="724"/>
              <a:ext cx="269" cy="921"/>
            </a:xfrm>
            <a:custGeom>
              <a:avLst/>
              <a:gdLst>
                <a:gd name="T0" fmla="*/ 99 w 132"/>
                <a:gd name="T1" fmla="*/ 453 h 453"/>
                <a:gd name="T2" fmla="*/ 77 w 132"/>
                <a:gd name="T3" fmla="*/ 442 h 453"/>
                <a:gd name="T4" fmla="*/ 0 w 132"/>
                <a:gd name="T5" fmla="*/ 228 h 453"/>
                <a:gd name="T6" fmla="*/ 77 w 132"/>
                <a:gd name="T7" fmla="*/ 14 h 453"/>
                <a:gd name="T8" fmla="*/ 118 w 132"/>
                <a:gd name="T9" fmla="*/ 10 h 453"/>
                <a:gd name="T10" fmla="*/ 121 w 132"/>
                <a:gd name="T11" fmla="*/ 51 h 453"/>
                <a:gd name="T12" fmla="*/ 57 w 132"/>
                <a:gd name="T13" fmla="*/ 228 h 453"/>
                <a:gd name="T14" fmla="*/ 121 w 132"/>
                <a:gd name="T15" fmla="*/ 406 h 453"/>
                <a:gd name="T16" fmla="*/ 118 w 132"/>
                <a:gd name="T17" fmla="*/ 446 h 453"/>
                <a:gd name="T18" fmla="*/ 99 w 132"/>
                <a:gd name="T19" fmla="*/ 453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453">
                  <a:moveTo>
                    <a:pt x="99" y="453"/>
                  </a:moveTo>
                  <a:cubicBezTo>
                    <a:pt x="91" y="453"/>
                    <a:pt x="83" y="449"/>
                    <a:pt x="77" y="442"/>
                  </a:cubicBezTo>
                  <a:cubicBezTo>
                    <a:pt x="27" y="382"/>
                    <a:pt x="0" y="306"/>
                    <a:pt x="0" y="228"/>
                  </a:cubicBezTo>
                  <a:cubicBezTo>
                    <a:pt x="0" y="150"/>
                    <a:pt x="27" y="74"/>
                    <a:pt x="77" y="14"/>
                  </a:cubicBezTo>
                  <a:cubicBezTo>
                    <a:pt x="87" y="2"/>
                    <a:pt x="105" y="0"/>
                    <a:pt x="118" y="10"/>
                  </a:cubicBezTo>
                  <a:cubicBezTo>
                    <a:pt x="130" y="21"/>
                    <a:pt x="132" y="39"/>
                    <a:pt x="121" y="51"/>
                  </a:cubicBezTo>
                  <a:cubicBezTo>
                    <a:pt x="80" y="101"/>
                    <a:pt x="57" y="164"/>
                    <a:pt x="57" y="228"/>
                  </a:cubicBezTo>
                  <a:cubicBezTo>
                    <a:pt x="57" y="293"/>
                    <a:pt x="80" y="356"/>
                    <a:pt x="121" y="406"/>
                  </a:cubicBezTo>
                  <a:cubicBezTo>
                    <a:pt x="132" y="418"/>
                    <a:pt x="130" y="436"/>
                    <a:pt x="118" y="446"/>
                  </a:cubicBezTo>
                  <a:cubicBezTo>
                    <a:pt x="112" y="451"/>
                    <a:pt x="106" y="453"/>
                    <a:pt x="99" y="453"/>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9" name="Freeform 18">
              <a:extLst>
                <a:ext uri="{FF2B5EF4-FFF2-40B4-BE49-F238E27FC236}">
                  <a16:creationId xmlns:a16="http://schemas.microsoft.com/office/drawing/2014/main" id="{4B35EFD0-CF32-4CB3-9B2C-73D519B3F29D}"/>
                </a:ext>
              </a:extLst>
            </p:cNvPr>
            <p:cNvSpPr>
              <a:spLocks/>
            </p:cNvSpPr>
            <p:nvPr/>
          </p:nvSpPr>
          <p:spPr bwMode="auto">
            <a:xfrm>
              <a:off x="3492" y="555"/>
              <a:ext cx="330" cy="1259"/>
            </a:xfrm>
            <a:custGeom>
              <a:avLst/>
              <a:gdLst>
                <a:gd name="T0" fmla="*/ 32 w 162"/>
                <a:gd name="T1" fmla="*/ 619 h 619"/>
                <a:gd name="T2" fmla="*/ 14 w 162"/>
                <a:gd name="T3" fmla="*/ 612 h 619"/>
                <a:gd name="T4" fmla="*/ 10 w 162"/>
                <a:gd name="T5" fmla="*/ 572 h 619"/>
                <a:gd name="T6" fmla="*/ 104 w 162"/>
                <a:gd name="T7" fmla="*/ 311 h 619"/>
                <a:gd name="T8" fmla="*/ 10 w 162"/>
                <a:gd name="T9" fmla="*/ 51 h 619"/>
                <a:gd name="T10" fmla="*/ 14 w 162"/>
                <a:gd name="T11" fmla="*/ 10 h 619"/>
                <a:gd name="T12" fmla="*/ 54 w 162"/>
                <a:gd name="T13" fmla="*/ 14 h 619"/>
                <a:gd name="T14" fmla="*/ 162 w 162"/>
                <a:gd name="T15" fmla="*/ 311 h 619"/>
                <a:gd name="T16" fmla="*/ 54 w 162"/>
                <a:gd name="T17" fmla="*/ 609 h 619"/>
                <a:gd name="T18" fmla="*/ 32 w 162"/>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619">
                  <a:moveTo>
                    <a:pt x="32" y="619"/>
                  </a:moveTo>
                  <a:cubicBezTo>
                    <a:pt x="26" y="619"/>
                    <a:pt x="19" y="617"/>
                    <a:pt x="14" y="612"/>
                  </a:cubicBezTo>
                  <a:cubicBezTo>
                    <a:pt x="1" y="602"/>
                    <a:pt x="0" y="584"/>
                    <a:pt x="10" y="572"/>
                  </a:cubicBezTo>
                  <a:cubicBezTo>
                    <a:pt x="71" y="499"/>
                    <a:pt x="104" y="406"/>
                    <a:pt x="104" y="311"/>
                  </a:cubicBezTo>
                  <a:cubicBezTo>
                    <a:pt x="104" y="216"/>
                    <a:pt x="71" y="124"/>
                    <a:pt x="10" y="51"/>
                  </a:cubicBezTo>
                  <a:cubicBezTo>
                    <a:pt x="0" y="39"/>
                    <a:pt x="1" y="21"/>
                    <a:pt x="14" y="10"/>
                  </a:cubicBezTo>
                  <a:cubicBezTo>
                    <a:pt x="26" y="0"/>
                    <a:pt x="44" y="2"/>
                    <a:pt x="54" y="14"/>
                  </a:cubicBezTo>
                  <a:cubicBezTo>
                    <a:pt x="124" y="97"/>
                    <a:pt x="162" y="203"/>
                    <a:pt x="162" y="311"/>
                  </a:cubicBezTo>
                  <a:cubicBezTo>
                    <a:pt x="162" y="420"/>
                    <a:pt x="124" y="525"/>
                    <a:pt x="54" y="609"/>
                  </a:cubicBezTo>
                  <a:cubicBezTo>
                    <a:pt x="49" y="615"/>
                    <a:pt x="40" y="619"/>
                    <a:pt x="32" y="619"/>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0" name="Freeform 19">
              <a:extLst>
                <a:ext uri="{FF2B5EF4-FFF2-40B4-BE49-F238E27FC236}">
                  <a16:creationId xmlns:a16="http://schemas.microsoft.com/office/drawing/2014/main" id="{2462B643-1990-4733-9684-D2F2257F98BC}"/>
                </a:ext>
              </a:extLst>
            </p:cNvPr>
            <p:cNvSpPr>
              <a:spLocks/>
            </p:cNvSpPr>
            <p:nvPr/>
          </p:nvSpPr>
          <p:spPr bwMode="auto">
            <a:xfrm>
              <a:off x="1934" y="559"/>
              <a:ext cx="328" cy="1251"/>
            </a:xfrm>
            <a:custGeom>
              <a:avLst/>
              <a:gdLst>
                <a:gd name="T0" fmla="*/ 129 w 161"/>
                <a:gd name="T1" fmla="*/ 615 h 615"/>
                <a:gd name="T2" fmla="*/ 107 w 161"/>
                <a:gd name="T3" fmla="*/ 605 h 615"/>
                <a:gd name="T4" fmla="*/ 0 w 161"/>
                <a:gd name="T5" fmla="*/ 309 h 615"/>
                <a:gd name="T6" fmla="*/ 107 w 161"/>
                <a:gd name="T7" fmla="*/ 14 h 615"/>
                <a:gd name="T8" fmla="*/ 147 w 161"/>
                <a:gd name="T9" fmla="*/ 10 h 615"/>
                <a:gd name="T10" fmla="*/ 151 w 161"/>
                <a:gd name="T11" fmla="*/ 51 h 615"/>
                <a:gd name="T12" fmla="*/ 58 w 161"/>
                <a:gd name="T13" fmla="*/ 309 h 615"/>
                <a:gd name="T14" fmla="*/ 151 w 161"/>
                <a:gd name="T15" fmla="*/ 568 h 615"/>
                <a:gd name="T16" fmla="*/ 147 w 161"/>
                <a:gd name="T17" fmla="*/ 609 h 615"/>
                <a:gd name="T18" fmla="*/ 129 w 161"/>
                <a:gd name="T19"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1" h="615">
                  <a:moveTo>
                    <a:pt x="129" y="615"/>
                  </a:moveTo>
                  <a:cubicBezTo>
                    <a:pt x="121" y="615"/>
                    <a:pt x="113" y="612"/>
                    <a:pt x="107" y="605"/>
                  </a:cubicBezTo>
                  <a:cubicBezTo>
                    <a:pt x="38" y="522"/>
                    <a:pt x="0" y="417"/>
                    <a:pt x="0" y="309"/>
                  </a:cubicBezTo>
                  <a:cubicBezTo>
                    <a:pt x="0" y="202"/>
                    <a:pt x="38" y="97"/>
                    <a:pt x="107" y="14"/>
                  </a:cubicBezTo>
                  <a:cubicBezTo>
                    <a:pt x="117" y="1"/>
                    <a:pt x="135" y="0"/>
                    <a:pt x="147" y="10"/>
                  </a:cubicBezTo>
                  <a:cubicBezTo>
                    <a:pt x="160" y="20"/>
                    <a:pt x="161" y="38"/>
                    <a:pt x="151" y="51"/>
                  </a:cubicBezTo>
                  <a:cubicBezTo>
                    <a:pt x="91" y="123"/>
                    <a:pt x="58" y="215"/>
                    <a:pt x="58" y="309"/>
                  </a:cubicBezTo>
                  <a:cubicBezTo>
                    <a:pt x="58" y="404"/>
                    <a:pt x="91" y="496"/>
                    <a:pt x="151" y="568"/>
                  </a:cubicBezTo>
                  <a:cubicBezTo>
                    <a:pt x="161" y="580"/>
                    <a:pt x="160" y="599"/>
                    <a:pt x="147" y="609"/>
                  </a:cubicBezTo>
                  <a:cubicBezTo>
                    <a:pt x="142" y="613"/>
                    <a:pt x="136" y="615"/>
                    <a:pt x="129" y="615"/>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1" name="Freeform 20">
              <a:extLst>
                <a:ext uri="{FF2B5EF4-FFF2-40B4-BE49-F238E27FC236}">
                  <a16:creationId xmlns:a16="http://schemas.microsoft.com/office/drawing/2014/main" id="{B171ADF6-E39D-4F51-9ECF-09693279618C}"/>
                </a:ext>
              </a:extLst>
            </p:cNvPr>
            <p:cNvSpPr>
              <a:spLocks/>
            </p:cNvSpPr>
            <p:nvPr/>
          </p:nvSpPr>
          <p:spPr bwMode="auto">
            <a:xfrm>
              <a:off x="3099" y="879"/>
              <a:ext cx="214" cy="612"/>
            </a:xfrm>
            <a:custGeom>
              <a:avLst/>
              <a:gdLst>
                <a:gd name="T0" fmla="*/ 32 w 105"/>
                <a:gd name="T1" fmla="*/ 301 h 301"/>
                <a:gd name="T2" fmla="*/ 13 w 105"/>
                <a:gd name="T3" fmla="*/ 294 h 301"/>
                <a:gd name="T4" fmla="*/ 10 w 105"/>
                <a:gd name="T5" fmla="*/ 253 h 301"/>
                <a:gd name="T6" fmla="*/ 47 w 105"/>
                <a:gd name="T7" fmla="*/ 152 h 301"/>
                <a:gd name="T8" fmla="*/ 10 w 105"/>
                <a:gd name="T9" fmla="*/ 51 h 301"/>
                <a:gd name="T10" fmla="*/ 13 w 105"/>
                <a:gd name="T11" fmla="*/ 11 h 301"/>
                <a:gd name="T12" fmla="*/ 54 w 105"/>
                <a:gd name="T13" fmla="*/ 14 h 301"/>
                <a:gd name="T14" fmla="*/ 105 w 105"/>
                <a:gd name="T15" fmla="*/ 152 h 301"/>
                <a:gd name="T16" fmla="*/ 54 w 105"/>
                <a:gd name="T17" fmla="*/ 291 h 301"/>
                <a:gd name="T18" fmla="*/ 32 w 105"/>
                <a:gd name="T19"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301">
                  <a:moveTo>
                    <a:pt x="32" y="301"/>
                  </a:moveTo>
                  <a:cubicBezTo>
                    <a:pt x="25" y="301"/>
                    <a:pt x="18" y="299"/>
                    <a:pt x="13" y="294"/>
                  </a:cubicBezTo>
                  <a:cubicBezTo>
                    <a:pt x="1" y="284"/>
                    <a:pt x="0" y="266"/>
                    <a:pt x="10" y="253"/>
                  </a:cubicBezTo>
                  <a:cubicBezTo>
                    <a:pt x="34" y="225"/>
                    <a:pt x="47" y="189"/>
                    <a:pt x="47" y="152"/>
                  </a:cubicBezTo>
                  <a:cubicBezTo>
                    <a:pt x="47" y="115"/>
                    <a:pt x="34" y="79"/>
                    <a:pt x="10" y="51"/>
                  </a:cubicBezTo>
                  <a:cubicBezTo>
                    <a:pt x="0" y="39"/>
                    <a:pt x="1" y="21"/>
                    <a:pt x="13" y="11"/>
                  </a:cubicBezTo>
                  <a:cubicBezTo>
                    <a:pt x="25" y="0"/>
                    <a:pt x="43" y="2"/>
                    <a:pt x="54" y="14"/>
                  </a:cubicBezTo>
                  <a:cubicBezTo>
                    <a:pt x="87" y="52"/>
                    <a:pt x="105" y="102"/>
                    <a:pt x="105" y="152"/>
                  </a:cubicBezTo>
                  <a:cubicBezTo>
                    <a:pt x="105" y="203"/>
                    <a:pt x="87" y="252"/>
                    <a:pt x="54" y="291"/>
                  </a:cubicBezTo>
                  <a:cubicBezTo>
                    <a:pt x="48" y="298"/>
                    <a:pt x="40" y="301"/>
                    <a:pt x="32" y="301"/>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2" name="Freeform 21">
              <a:extLst>
                <a:ext uri="{FF2B5EF4-FFF2-40B4-BE49-F238E27FC236}">
                  <a16:creationId xmlns:a16="http://schemas.microsoft.com/office/drawing/2014/main" id="{C0811026-8DCB-4360-84FD-20E15FA41A92}"/>
                </a:ext>
              </a:extLst>
            </p:cNvPr>
            <p:cNvSpPr>
              <a:spLocks/>
            </p:cNvSpPr>
            <p:nvPr/>
          </p:nvSpPr>
          <p:spPr bwMode="auto">
            <a:xfrm>
              <a:off x="2443" y="883"/>
              <a:ext cx="214" cy="606"/>
            </a:xfrm>
            <a:custGeom>
              <a:avLst/>
              <a:gdLst>
                <a:gd name="T0" fmla="*/ 72 w 105"/>
                <a:gd name="T1" fmla="*/ 298 h 298"/>
                <a:gd name="T2" fmla="*/ 50 w 105"/>
                <a:gd name="T3" fmla="*/ 287 h 298"/>
                <a:gd name="T4" fmla="*/ 0 w 105"/>
                <a:gd name="T5" fmla="*/ 150 h 298"/>
                <a:gd name="T6" fmla="*/ 50 w 105"/>
                <a:gd name="T7" fmla="*/ 13 h 298"/>
                <a:gd name="T8" fmla="*/ 91 w 105"/>
                <a:gd name="T9" fmla="*/ 10 h 298"/>
                <a:gd name="T10" fmla="*/ 94 w 105"/>
                <a:gd name="T11" fmla="*/ 51 h 298"/>
                <a:gd name="T12" fmla="*/ 58 w 105"/>
                <a:gd name="T13" fmla="*/ 150 h 298"/>
                <a:gd name="T14" fmla="*/ 94 w 105"/>
                <a:gd name="T15" fmla="*/ 250 h 298"/>
                <a:gd name="T16" fmla="*/ 91 w 105"/>
                <a:gd name="T17" fmla="*/ 291 h 298"/>
                <a:gd name="T18" fmla="*/ 72 w 105"/>
                <a:gd name="T19"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298">
                  <a:moveTo>
                    <a:pt x="72" y="298"/>
                  </a:moveTo>
                  <a:cubicBezTo>
                    <a:pt x="64" y="298"/>
                    <a:pt x="56" y="294"/>
                    <a:pt x="50" y="287"/>
                  </a:cubicBezTo>
                  <a:cubicBezTo>
                    <a:pt x="18" y="249"/>
                    <a:pt x="0" y="200"/>
                    <a:pt x="0" y="150"/>
                  </a:cubicBezTo>
                  <a:cubicBezTo>
                    <a:pt x="0" y="100"/>
                    <a:pt x="18" y="52"/>
                    <a:pt x="50" y="13"/>
                  </a:cubicBezTo>
                  <a:cubicBezTo>
                    <a:pt x="60" y="1"/>
                    <a:pt x="79" y="0"/>
                    <a:pt x="91" y="10"/>
                  </a:cubicBezTo>
                  <a:cubicBezTo>
                    <a:pt x="103" y="20"/>
                    <a:pt x="105" y="38"/>
                    <a:pt x="94" y="51"/>
                  </a:cubicBezTo>
                  <a:cubicBezTo>
                    <a:pt x="71" y="78"/>
                    <a:pt x="58" y="114"/>
                    <a:pt x="58" y="150"/>
                  </a:cubicBezTo>
                  <a:cubicBezTo>
                    <a:pt x="58" y="187"/>
                    <a:pt x="71" y="222"/>
                    <a:pt x="94" y="250"/>
                  </a:cubicBezTo>
                  <a:cubicBezTo>
                    <a:pt x="105" y="262"/>
                    <a:pt x="103" y="281"/>
                    <a:pt x="91" y="291"/>
                  </a:cubicBezTo>
                  <a:cubicBezTo>
                    <a:pt x="85" y="295"/>
                    <a:pt x="79" y="298"/>
                    <a:pt x="72" y="298"/>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3" name="Freeform 22">
              <a:extLst>
                <a:ext uri="{FF2B5EF4-FFF2-40B4-BE49-F238E27FC236}">
                  <a16:creationId xmlns:a16="http://schemas.microsoft.com/office/drawing/2014/main" id="{64919F80-69EC-4A7D-9849-3BCC37CB0325}"/>
                </a:ext>
              </a:extLst>
            </p:cNvPr>
            <p:cNvSpPr>
              <a:spLocks noEditPoints="1"/>
            </p:cNvSpPr>
            <p:nvPr/>
          </p:nvSpPr>
          <p:spPr bwMode="auto">
            <a:xfrm>
              <a:off x="2128" y="1153"/>
              <a:ext cx="1500" cy="1670"/>
            </a:xfrm>
            <a:custGeom>
              <a:avLst/>
              <a:gdLst>
                <a:gd name="T0" fmla="*/ 732 w 737"/>
                <a:gd name="T1" fmla="*/ 780 h 821"/>
                <a:gd name="T2" fmla="*/ 395 w 737"/>
                <a:gd name="T3" fmla="*/ 17 h 821"/>
                <a:gd name="T4" fmla="*/ 393 w 737"/>
                <a:gd name="T5" fmla="*/ 13 h 821"/>
                <a:gd name="T6" fmla="*/ 393 w 737"/>
                <a:gd name="T7" fmla="*/ 13 h 821"/>
                <a:gd name="T8" fmla="*/ 390 w 737"/>
                <a:gd name="T9" fmla="*/ 9 h 821"/>
                <a:gd name="T10" fmla="*/ 390 w 737"/>
                <a:gd name="T11" fmla="*/ 8 h 821"/>
                <a:gd name="T12" fmla="*/ 386 w 737"/>
                <a:gd name="T13" fmla="*/ 5 h 821"/>
                <a:gd name="T14" fmla="*/ 385 w 737"/>
                <a:gd name="T15" fmla="*/ 5 h 821"/>
                <a:gd name="T16" fmla="*/ 381 w 737"/>
                <a:gd name="T17" fmla="*/ 2 h 821"/>
                <a:gd name="T18" fmla="*/ 380 w 737"/>
                <a:gd name="T19" fmla="*/ 2 h 821"/>
                <a:gd name="T20" fmla="*/ 380 w 737"/>
                <a:gd name="T21" fmla="*/ 2 h 821"/>
                <a:gd name="T22" fmla="*/ 376 w 737"/>
                <a:gd name="T23" fmla="*/ 0 h 821"/>
                <a:gd name="T24" fmla="*/ 375 w 737"/>
                <a:gd name="T25" fmla="*/ 0 h 821"/>
                <a:gd name="T26" fmla="*/ 371 w 737"/>
                <a:gd name="T27" fmla="*/ 0 h 821"/>
                <a:gd name="T28" fmla="*/ 369 w 737"/>
                <a:gd name="T29" fmla="*/ 0 h 821"/>
                <a:gd name="T30" fmla="*/ 366 w 737"/>
                <a:gd name="T31" fmla="*/ 0 h 821"/>
                <a:gd name="T32" fmla="*/ 363 w 737"/>
                <a:gd name="T33" fmla="*/ 0 h 821"/>
                <a:gd name="T34" fmla="*/ 362 w 737"/>
                <a:gd name="T35" fmla="*/ 0 h 821"/>
                <a:gd name="T36" fmla="*/ 357 w 737"/>
                <a:gd name="T37" fmla="*/ 2 h 821"/>
                <a:gd name="T38" fmla="*/ 357 w 737"/>
                <a:gd name="T39" fmla="*/ 2 h 821"/>
                <a:gd name="T40" fmla="*/ 357 w 737"/>
                <a:gd name="T41" fmla="*/ 2 h 821"/>
                <a:gd name="T42" fmla="*/ 352 w 737"/>
                <a:gd name="T43" fmla="*/ 5 h 821"/>
                <a:gd name="T44" fmla="*/ 352 w 737"/>
                <a:gd name="T45" fmla="*/ 5 h 821"/>
                <a:gd name="T46" fmla="*/ 348 w 737"/>
                <a:gd name="T47" fmla="*/ 8 h 821"/>
                <a:gd name="T48" fmla="*/ 348 w 737"/>
                <a:gd name="T49" fmla="*/ 9 h 821"/>
                <a:gd name="T50" fmla="*/ 344 w 737"/>
                <a:gd name="T51" fmla="*/ 13 h 821"/>
                <a:gd name="T52" fmla="*/ 344 w 737"/>
                <a:gd name="T53" fmla="*/ 13 h 821"/>
                <a:gd name="T54" fmla="*/ 342 w 737"/>
                <a:gd name="T55" fmla="*/ 17 h 821"/>
                <a:gd name="T56" fmla="*/ 6 w 737"/>
                <a:gd name="T57" fmla="*/ 780 h 821"/>
                <a:gd name="T58" fmla="*/ 13 w 737"/>
                <a:gd name="T59" fmla="*/ 813 h 821"/>
                <a:gd name="T60" fmla="*/ 32 w 737"/>
                <a:gd name="T61" fmla="*/ 821 h 821"/>
                <a:gd name="T62" fmla="*/ 46 w 737"/>
                <a:gd name="T63" fmla="*/ 817 h 821"/>
                <a:gd name="T64" fmla="*/ 369 w 737"/>
                <a:gd name="T65" fmla="*/ 632 h 821"/>
                <a:gd name="T66" fmla="*/ 691 w 737"/>
                <a:gd name="T67" fmla="*/ 817 h 821"/>
                <a:gd name="T68" fmla="*/ 706 w 737"/>
                <a:gd name="T69" fmla="*/ 821 h 821"/>
                <a:gd name="T70" fmla="*/ 725 w 737"/>
                <a:gd name="T71" fmla="*/ 813 h 821"/>
                <a:gd name="T72" fmla="*/ 732 w 737"/>
                <a:gd name="T73" fmla="*/ 780 h 821"/>
                <a:gd name="T74" fmla="*/ 528 w 737"/>
                <a:gd name="T75" fmla="*/ 461 h 821"/>
                <a:gd name="T76" fmla="*/ 421 w 737"/>
                <a:gd name="T77" fmla="*/ 391 h 821"/>
                <a:gd name="T78" fmla="*/ 480 w 737"/>
                <a:gd name="T79" fmla="*/ 352 h 821"/>
                <a:gd name="T80" fmla="*/ 528 w 737"/>
                <a:gd name="T81" fmla="*/ 461 h 821"/>
                <a:gd name="T82" fmla="*/ 483 w 737"/>
                <a:gd name="T83" fmla="*/ 500 h 821"/>
                <a:gd name="T84" fmla="*/ 369 w 737"/>
                <a:gd name="T85" fmla="*/ 565 h 821"/>
                <a:gd name="T86" fmla="*/ 255 w 737"/>
                <a:gd name="T87" fmla="*/ 500 h 821"/>
                <a:gd name="T88" fmla="*/ 369 w 737"/>
                <a:gd name="T89" fmla="*/ 425 h 821"/>
                <a:gd name="T90" fmla="*/ 483 w 737"/>
                <a:gd name="T91" fmla="*/ 500 h 821"/>
                <a:gd name="T92" fmla="*/ 369 w 737"/>
                <a:gd name="T93" fmla="*/ 100 h 821"/>
                <a:gd name="T94" fmla="*/ 457 w 737"/>
                <a:gd name="T95" fmla="*/ 299 h 821"/>
                <a:gd name="T96" fmla="*/ 369 w 737"/>
                <a:gd name="T97" fmla="*/ 356 h 821"/>
                <a:gd name="T98" fmla="*/ 281 w 737"/>
                <a:gd name="T99" fmla="*/ 299 h 821"/>
                <a:gd name="T100" fmla="*/ 369 w 737"/>
                <a:gd name="T101" fmla="*/ 100 h 821"/>
                <a:gd name="T102" fmla="*/ 316 w 737"/>
                <a:gd name="T103" fmla="*/ 391 h 821"/>
                <a:gd name="T104" fmla="*/ 210 w 737"/>
                <a:gd name="T105" fmla="*/ 461 h 821"/>
                <a:gd name="T106" fmla="*/ 257 w 737"/>
                <a:gd name="T107" fmla="*/ 352 h 821"/>
                <a:gd name="T108" fmla="*/ 316 w 737"/>
                <a:gd name="T109" fmla="*/ 391 h 821"/>
                <a:gd name="T110" fmla="*/ 94 w 737"/>
                <a:gd name="T111" fmla="*/ 723 h 821"/>
                <a:gd name="T112" fmla="*/ 182 w 737"/>
                <a:gd name="T113" fmla="*/ 524 h 821"/>
                <a:gd name="T114" fmla="*/ 311 w 737"/>
                <a:gd name="T115" fmla="*/ 599 h 821"/>
                <a:gd name="T116" fmla="*/ 94 w 737"/>
                <a:gd name="T117" fmla="*/ 723 h 821"/>
                <a:gd name="T118" fmla="*/ 427 w 737"/>
                <a:gd name="T119" fmla="*/ 599 h 821"/>
                <a:gd name="T120" fmla="*/ 556 w 737"/>
                <a:gd name="T121" fmla="*/ 524 h 821"/>
                <a:gd name="T122" fmla="*/ 644 w 737"/>
                <a:gd name="T123" fmla="*/ 723 h 821"/>
                <a:gd name="T124" fmla="*/ 427 w 737"/>
                <a:gd name="T125" fmla="*/ 59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7" h="821">
                  <a:moveTo>
                    <a:pt x="732" y="780"/>
                  </a:moveTo>
                  <a:cubicBezTo>
                    <a:pt x="395" y="17"/>
                    <a:pt x="395" y="17"/>
                    <a:pt x="395" y="17"/>
                  </a:cubicBezTo>
                  <a:cubicBezTo>
                    <a:pt x="395" y="15"/>
                    <a:pt x="394" y="14"/>
                    <a:pt x="393" y="13"/>
                  </a:cubicBezTo>
                  <a:cubicBezTo>
                    <a:pt x="393" y="13"/>
                    <a:pt x="393" y="13"/>
                    <a:pt x="393" y="13"/>
                  </a:cubicBezTo>
                  <a:cubicBezTo>
                    <a:pt x="392" y="11"/>
                    <a:pt x="391" y="10"/>
                    <a:pt x="390" y="9"/>
                  </a:cubicBezTo>
                  <a:cubicBezTo>
                    <a:pt x="390" y="9"/>
                    <a:pt x="390" y="9"/>
                    <a:pt x="390" y="8"/>
                  </a:cubicBezTo>
                  <a:cubicBezTo>
                    <a:pt x="388" y="7"/>
                    <a:pt x="387" y="6"/>
                    <a:pt x="386" y="5"/>
                  </a:cubicBezTo>
                  <a:cubicBezTo>
                    <a:pt x="386" y="5"/>
                    <a:pt x="385" y="5"/>
                    <a:pt x="385" y="5"/>
                  </a:cubicBezTo>
                  <a:cubicBezTo>
                    <a:pt x="384" y="4"/>
                    <a:pt x="382" y="3"/>
                    <a:pt x="381" y="2"/>
                  </a:cubicBezTo>
                  <a:cubicBezTo>
                    <a:pt x="381" y="2"/>
                    <a:pt x="381" y="2"/>
                    <a:pt x="380" y="2"/>
                  </a:cubicBezTo>
                  <a:cubicBezTo>
                    <a:pt x="380" y="2"/>
                    <a:pt x="380" y="2"/>
                    <a:pt x="380" y="2"/>
                  </a:cubicBezTo>
                  <a:cubicBezTo>
                    <a:pt x="379" y="1"/>
                    <a:pt x="377" y="1"/>
                    <a:pt x="376" y="0"/>
                  </a:cubicBezTo>
                  <a:cubicBezTo>
                    <a:pt x="375" y="0"/>
                    <a:pt x="375" y="0"/>
                    <a:pt x="375" y="0"/>
                  </a:cubicBezTo>
                  <a:cubicBezTo>
                    <a:pt x="373" y="0"/>
                    <a:pt x="372" y="0"/>
                    <a:pt x="371" y="0"/>
                  </a:cubicBezTo>
                  <a:cubicBezTo>
                    <a:pt x="370" y="0"/>
                    <a:pt x="370" y="0"/>
                    <a:pt x="369" y="0"/>
                  </a:cubicBezTo>
                  <a:cubicBezTo>
                    <a:pt x="368" y="0"/>
                    <a:pt x="367" y="0"/>
                    <a:pt x="366" y="0"/>
                  </a:cubicBezTo>
                  <a:cubicBezTo>
                    <a:pt x="365" y="0"/>
                    <a:pt x="364" y="0"/>
                    <a:pt x="363" y="0"/>
                  </a:cubicBezTo>
                  <a:cubicBezTo>
                    <a:pt x="363" y="0"/>
                    <a:pt x="362" y="0"/>
                    <a:pt x="362" y="0"/>
                  </a:cubicBezTo>
                  <a:cubicBezTo>
                    <a:pt x="360" y="1"/>
                    <a:pt x="359" y="1"/>
                    <a:pt x="357" y="2"/>
                  </a:cubicBezTo>
                  <a:cubicBezTo>
                    <a:pt x="357" y="2"/>
                    <a:pt x="357" y="2"/>
                    <a:pt x="357" y="2"/>
                  </a:cubicBezTo>
                  <a:cubicBezTo>
                    <a:pt x="357" y="2"/>
                    <a:pt x="357" y="2"/>
                    <a:pt x="357" y="2"/>
                  </a:cubicBezTo>
                  <a:cubicBezTo>
                    <a:pt x="355" y="3"/>
                    <a:pt x="354" y="4"/>
                    <a:pt x="352" y="5"/>
                  </a:cubicBezTo>
                  <a:cubicBezTo>
                    <a:pt x="352" y="5"/>
                    <a:pt x="352" y="5"/>
                    <a:pt x="352" y="5"/>
                  </a:cubicBezTo>
                  <a:cubicBezTo>
                    <a:pt x="350" y="6"/>
                    <a:pt x="349" y="7"/>
                    <a:pt x="348" y="8"/>
                  </a:cubicBezTo>
                  <a:cubicBezTo>
                    <a:pt x="348" y="9"/>
                    <a:pt x="348" y="9"/>
                    <a:pt x="348" y="9"/>
                  </a:cubicBezTo>
                  <a:cubicBezTo>
                    <a:pt x="346" y="10"/>
                    <a:pt x="345" y="11"/>
                    <a:pt x="344" y="13"/>
                  </a:cubicBezTo>
                  <a:cubicBezTo>
                    <a:pt x="344" y="13"/>
                    <a:pt x="344" y="13"/>
                    <a:pt x="344" y="13"/>
                  </a:cubicBezTo>
                  <a:cubicBezTo>
                    <a:pt x="344" y="14"/>
                    <a:pt x="343" y="15"/>
                    <a:pt x="342" y="17"/>
                  </a:cubicBezTo>
                  <a:cubicBezTo>
                    <a:pt x="6" y="780"/>
                    <a:pt x="6" y="780"/>
                    <a:pt x="6" y="780"/>
                  </a:cubicBezTo>
                  <a:cubicBezTo>
                    <a:pt x="0" y="792"/>
                    <a:pt x="3" y="805"/>
                    <a:pt x="13" y="813"/>
                  </a:cubicBezTo>
                  <a:cubicBezTo>
                    <a:pt x="18" y="818"/>
                    <a:pt x="25" y="821"/>
                    <a:pt x="32" y="821"/>
                  </a:cubicBezTo>
                  <a:cubicBezTo>
                    <a:pt x="37" y="821"/>
                    <a:pt x="42" y="819"/>
                    <a:pt x="46" y="817"/>
                  </a:cubicBezTo>
                  <a:cubicBezTo>
                    <a:pt x="369" y="632"/>
                    <a:pt x="369" y="632"/>
                    <a:pt x="369" y="632"/>
                  </a:cubicBezTo>
                  <a:cubicBezTo>
                    <a:pt x="691" y="817"/>
                    <a:pt x="691" y="817"/>
                    <a:pt x="691" y="817"/>
                  </a:cubicBezTo>
                  <a:cubicBezTo>
                    <a:pt x="696" y="819"/>
                    <a:pt x="701" y="821"/>
                    <a:pt x="706" y="821"/>
                  </a:cubicBezTo>
                  <a:cubicBezTo>
                    <a:pt x="713" y="821"/>
                    <a:pt x="719" y="818"/>
                    <a:pt x="725" y="813"/>
                  </a:cubicBezTo>
                  <a:cubicBezTo>
                    <a:pt x="734" y="805"/>
                    <a:pt x="737" y="792"/>
                    <a:pt x="732" y="780"/>
                  </a:cubicBezTo>
                  <a:close/>
                  <a:moveTo>
                    <a:pt x="528" y="461"/>
                  </a:moveTo>
                  <a:cubicBezTo>
                    <a:pt x="421" y="391"/>
                    <a:pt x="421" y="391"/>
                    <a:pt x="421" y="391"/>
                  </a:cubicBezTo>
                  <a:cubicBezTo>
                    <a:pt x="480" y="352"/>
                    <a:pt x="480" y="352"/>
                    <a:pt x="480" y="352"/>
                  </a:cubicBezTo>
                  <a:lnTo>
                    <a:pt x="528" y="461"/>
                  </a:lnTo>
                  <a:close/>
                  <a:moveTo>
                    <a:pt x="483" y="500"/>
                  </a:moveTo>
                  <a:cubicBezTo>
                    <a:pt x="369" y="565"/>
                    <a:pt x="369" y="565"/>
                    <a:pt x="369" y="565"/>
                  </a:cubicBezTo>
                  <a:cubicBezTo>
                    <a:pt x="255" y="500"/>
                    <a:pt x="255" y="500"/>
                    <a:pt x="255" y="500"/>
                  </a:cubicBezTo>
                  <a:cubicBezTo>
                    <a:pt x="369" y="425"/>
                    <a:pt x="369" y="425"/>
                    <a:pt x="369" y="425"/>
                  </a:cubicBezTo>
                  <a:lnTo>
                    <a:pt x="483" y="500"/>
                  </a:lnTo>
                  <a:close/>
                  <a:moveTo>
                    <a:pt x="369" y="100"/>
                  </a:moveTo>
                  <a:cubicBezTo>
                    <a:pt x="457" y="299"/>
                    <a:pt x="457" y="299"/>
                    <a:pt x="457" y="299"/>
                  </a:cubicBezTo>
                  <a:cubicBezTo>
                    <a:pt x="369" y="356"/>
                    <a:pt x="369" y="356"/>
                    <a:pt x="369" y="356"/>
                  </a:cubicBezTo>
                  <a:cubicBezTo>
                    <a:pt x="281" y="299"/>
                    <a:pt x="281" y="299"/>
                    <a:pt x="281" y="299"/>
                  </a:cubicBezTo>
                  <a:lnTo>
                    <a:pt x="369" y="100"/>
                  </a:lnTo>
                  <a:close/>
                  <a:moveTo>
                    <a:pt x="316" y="391"/>
                  </a:moveTo>
                  <a:cubicBezTo>
                    <a:pt x="210" y="461"/>
                    <a:pt x="210" y="461"/>
                    <a:pt x="210" y="461"/>
                  </a:cubicBezTo>
                  <a:cubicBezTo>
                    <a:pt x="257" y="352"/>
                    <a:pt x="257" y="352"/>
                    <a:pt x="257" y="352"/>
                  </a:cubicBezTo>
                  <a:lnTo>
                    <a:pt x="316" y="391"/>
                  </a:lnTo>
                  <a:close/>
                  <a:moveTo>
                    <a:pt x="94" y="723"/>
                  </a:moveTo>
                  <a:cubicBezTo>
                    <a:pt x="182" y="524"/>
                    <a:pt x="182" y="524"/>
                    <a:pt x="182" y="524"/>
                  </a:cubicBezTo>
                  <a:cubicBezTo>
                    <a:pt x="311" y="599"/>
                    <a:pt x="311" y="599"/>
                    <a:pt x="311" y="599"/>
                  </a:cubicBezTo>
                  <a:lnTo>
                    <a:pt x="94" y="723"/>
                  </a:lnTo>
                  <a:close/>
                  <a:moveTo>
                    <a:pt x="427" y="599"/>
                  </a:moveTo>
                  <a:cubicBezTo>
                    <a:pt x="556" y="524"/>
                    <a:pt x="556" y="524"/>
                    <a:pt x="556" y="524"/>
                  </a:cubicBezTo>
                  <a:cubicBezTo>
                    <a:pt x="644" y="723"/>
                    <a:pt x="644" y="723"/>
                    <a:pt x="644" y="723"/>
                  </a:cubicBezTo>
                  <a:lnTo>
                    <a:pt x="427" y="599"/>
                  </a:ln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94" name="Oval 23">
              <a:extLst>
                <a:ext uri="{FF2B5EF4-FFF2-40B4-BE49-F238E27FC236}">
                  <a16:creationId xmlns:a16="http://schemas.microsoft.com/office/drawing/2014/main" id="{85FCA818-1064-449F-B3BC-6E25B7C2A53F}"/>
                </a:ext>
              </a:extLst>
            </p:cNvPr>
            <p:cNvSpPr>
              <a:spLocks noChangeArrowheads="1"/>
            </p:cNvSpPr>
            <p:nvPr/>
          </p:nvSpPr>
          <p:spPr bwMode="auto">
            <a:xfrm>
              <a:off x="2712" y="1023"/>
              <a:ext cx="334" cy="33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95" name="Group 94">
            <a:extLst>
              <a:ext uri="{FF2B5EF4-FFF2-40B4-BE49-F238E27FC236}">
                <a16:creationId xmlns:a16="http://schemas.microsoft.com/office/drawing/2014/main" id="{79C19F43-102C-4CDD-A62A-04447BD08B21}"/>
              </a:ext>
            </a:extLst>
          </p:cNvPr>
          <p:cNvGrpSpPr/>
          <p:nvPr/>
        </p:nvGrpSpPr>
        <p:grpSpPr>
          <a:xfrm>
            <a:off x="5502229" y="1364941"/>
            <a:ext cx="595820" cy="594360"/>
            <a:chOff x="2020646" y="3712312"/>
            <a:chExt cx="595820" cy="594360"/>
          </a:xfrm>
        </p:grpSpPr>
        <p:sp>
          <p:nvSpPr>
            <p:cNvPr id="96" name="Oval 27">
              <a:extLst>
                <a:ext uri="{FF2B5EF4-FFF2-40B4-BE49-F238E27FC236}">
                  <a16:creationId xmlns:a16="http://schemas.microsoft.com/office/drawing/2014/main" id="{79081D4C-FA82-4FD4-BD16-713B45859208}"/>
                </a:ext>
              </a:extLst>
            </p:cNvPr>
            <p:cNvSpPr>
              <a:spLocks noChangeArrowheads="1"/>
            </p:cNvSpPr>
            <p:nvPr/>
          </p:nvSpPr>
          <p:spPr bwMode="auto">
            <a:xfrm>
              <a:off x="2020646" y="3712312"/>
              <a:ext cx="595820" cy="59436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7" name="Freeform 28">
              <a:extLst>
                <a:ext uri="{FF2B5EF4-FFF2-40B4-BE49-F238E27FC236}">
                  <a16:creationId xmlns:a16="http://schemas.microsoft.com/office/drawing/2014/main" id="{501DB3B3-F979-4D16-B336-1E0DEC023792}"/>
                </a:ext>
              </a:extLst>
            </p:cNvPr>
            <p:cNvSpPr>
              <a:spLocks/>
            </p:cNvSpPr>
            <p:nvPr/>
          </p:nvSpPr>
          <p:spPr bwMode="auto">
            <a:xfrm>
              <a:off x="2092417" y="3783353"/>
              <a:ext cx="524049" cy="523319"/>
            </a:xfrm>
            <a:custGeom>
              <a:avLst/>
              <a:gdLst>
                <a:gd name="T0" fmla="*/ 911 w 912"/>
                <a:gd name="T1" fmla="*/ 355 h 912"/>
                <a:gd name="T2" fmla="*/ 692 w 912"/>
                <a:gd name="T3" fmla="*/ 136 h 912"/>
                <a:gd name="T4" fmla="*/ 672 w 912"/>
                <a:gd name="T5" fmla="*/ 115 h 912"/>
                <a:gd name="T6" fmla="*/ 394 w 912"/>
                <a:gd name="T7" fmla="*/ 0 h 912"/>
                <a:gd name="T8" fmla="*/ 394 w 912"/>
                <a:gd name="T9" fmla="*/ 0 h 912"/>
                <a:gd name="T10" fmla="*/ 115 w 912"/>
                <a:gd name="T11" fmla="*/ 115 h 912"/>
                <a:gd name="T12" fmla="*/ 0 w 912"/>
                <a:gd name="T13" fmla="*/ 394 h 912"/>
                <a:gd name="T14" fmla="*/ 115 w 912"/>
                <a:gd name="T15" fmla="*/ 672 h 912"/>
                <a:gd name="T16" fmla="*/ 146 w 912"/>
                <a:gd name="T17" fmla="*/ 700 h 912"/>
                <a:gd name="T18" fmla="*/ 356 w 912"/>
                <a:gd name="T19" fmla="*/ 910 h 912"/>
                <a:gd name="T20" fmla="*/ 394 w 912"/>
                <a:gd name="T21" fmla="*/ 912 h 912"/>
                <a:gd name="T22" fmla="*/ 912 w 912"/>
                <a:gd name="T23" fmla="*/ 394 h 912"/>
                <a:gd name="T24" fmla="*/ 911 w 912"/>
                <a:gd name="T25" fmla="*/ 355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2" h="912">
                  <a:moveTo>
                    <a:pt x="911" y="355"/>
                  </a:moveTo>
                  <a:cubicBezTo>
                    <a:pt x="692" y="136"/>
                    <a:pt x="692" y="136"/>
                    <a:pt x="692" y="136"/>
                  </a:cubicBezTo>
                  <a:cubicBezTo>
                    <a:pt x="686" y="129"/>
                    <a:pt x="679" y="122"/>
                    <a:pt x="672" y="115"/>
                  </a:cubicBezTo>
                  <a:cubicBezTo>
                    <a:pt x="598" y="41"/>
                    <a:pt x="499" y="0"/>
                    <a:pt x="394" y="0"/>
                  </a:cubicBezTo>
                  <a:cubicBezTo>
                    <a:pt x="394" y="0"/>
                    <a:pt x="394" y="0"/>
                    <a:pt x="394" y="0"/>
                  </a:cubicBezTo>
                  <a:cubicBezTo>
                    <a:pt x="289" y="0"/>
                    <a:pt x="190" y="41"/>
                    <a:pt x="115" y="115"/>
                  </a:cubicBezTo>
                  <a:cubicBezTo>
                    <a:pt x="41" y="190"/>
                    <a:pt x="0" y="289"/>
                    <a:pt x="0" y="394"/>
                  </a:cubicBezTo>
                  <a:cubicBezTo>
                    <a:pt x="0" y="499"/>
                    <a:pt x="41" y="598"/>
                    <a:pt x="115" y="672"/>
                  </a:cubicBezTo>
                  <a:cubicBezTo>
                    <a:pt x="125" y="682"/>
                    <a:pt x="135" y="691"/>
                    <a:pt x="146" y="700"/>
                  </a:cubicBezTo>
                  <a:cubicBezTo>
                    <a:pt x="356" y="910"/>
                    <a:pt x="356" y="910"/>
                    <a:pt x="356" y="910"/>
                  </a:cubicBezTo>
                  <a:cubicBezTo>
                    <a:pt x="368" y="911"/>
                    <a:pt x="381" y="912"/>
                    <a:pt x="394" y="912"/>
                  </a:cubicBezTo>
                  <a:cubicBezTo>
                    <a:pt x="680" y="912"/>
                    <a:pt x="912" y="680"/>
                    <a:pt x="912" y="394"/>
                  </a:cubicBezTo>
                  <a:cubicBezTo>
                    <a:pt x="912" y="381"/>
                    <a:pt x="912" y="368"/>
                    <a:pt x="911" y="355"/>
                  </a:cubicBezTo>
                  <a:close/>
                </a:path>
              </a:pathLst>
            </a:custGeom>
            <a:solidFill>
              <a:srgbClr val="00A1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8" name="Freeform 29">
              <a:extLst>
                <a:ext uri="{FF2B5EF4-FFF2-40B4-BE49-F238E27FC236}">
                  <a16:creationId xmlns:a16="http://schemas.microsoft.com/office/drawing/2014/main" id="{97B69D49-FBF5-409B-8139-905DA2DC75CB}"/>
                </a:ext>
              </a:extLst>
            </p:cNvPr>
            <p:cNvSpPr>
              <a:spLocks/>
            </p:cNvSpPr>
            <p:nvPr/>
          </p:nvSpPr>
          <p:spPr bwMode="auto">
            <a:xfrm>
              <a:off x="2309676" y="3961929"/>
              <a:ext cx="102669" cy="112887"/>
            </a:xfrm>
            <a:custGeom>
              <a:avLst/>
              <a:gdLst>
                <a:gd name="T0" fmla="*/ 90 w 179"/>
                <a:gd name="T1" fmla="*/ 197 h 197"/>
                <a:gd name="T2" fmla="*/ 0 w 179"/>
                <a:gd name="T3" fmla="*/ 99 h 197"/>
                <a:gd name="T4" fmla="*/ 90 w 179"/>
                <a:gd name="T5" fmla="*/ 0 h 197"/>
                <a:gd name="T6" fmla="*/ 144 w 179"/>
                <a:gd name="T7" fmla="*/ 21 h 197"/>
                <a:gd name="T8" fmla="*/ 147 w 179"/>
                <a:gd name="T9" fmla="*/ 48 h 197"/>
                <a:gd name="T10" fmla="*/ 118 w 179"/>
                <a:gd name="T11" fmla="*/ 51 h 197"/>
                <a:gd name="T12" fmla="*/ 90 w 179"/>
                <a:gd name="T13" fmla="*/ 40 h 197"/>
                <a:gd name="T14" fmla="*/ 40 w 179"/>
                <a:gd name="T15" fmla="*/ 99 h 197"/>
                <a:gd name="T16" fmla="*/ 90 w 179"/>
                <a:gd name="T17" fmla="*/ 158 h 197"/>
                <a:gd name="T18" fmla="*/ 137 w 179"/>
                <a:gd name="T19" fmla="*/ 118 h 197"/>
                <a:gd name="T20" fmla="*/ 111 w 179"/>
                <a:gd name="T21" fmla="*/ 118 h 197"/>
                <a:gd name="T22" fmla="*/ 91 w 179"/>
                <a:gd name="T23" fmla="*/ 99 h 197"/>
                <a:gd name="T24" fmla="*/ 111 w 179"/>
                <a:gd name="T25" fmla="*/ 79 h 197"/>
                <a:gd name="T26" fmla="*/ 159 w 179"/>
                <a:gd name="T27" fmla="*/ 79 h 197"/>
                <a:gd name="T28" fmla="*/ 179 w 179"/>
                <a:gd name="T29" fmla="*/ 99 h 197"/>
                <a:gd name="T30" fmla="*/ 90 w 179"/>
                <a:gd name="T31"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9" h="197">
                  <a:moveTo>
                    <a:pt x="90" y="197"/>
                  </a:moveTo>
                  <a:cubicBezTo>
                    <a:pt x="40" y="197"/>
                    <a:pt x="0" y="153"/>
                    <a:pt x="0" y="99"/>
                  </a:cubicBezTo>
                  <a:cubicBezTo>
                    <a:pt x="0" y="44"/>
                    <a:pt x="40" y="0"/>
                    <a:pt x="90" y="0"/>
                  </a:cubicBezTo>
                  <a:cubicBezTo>
                    <a:pt x="110" y="0"/>
                    <a:pt x="129" y="7"/>
                    <a:pt x="144" y="21"/>
                  </a:cubicBezTo>
                  <a:cubicBezTo>
                    <a:pt x="153" y="28"/>
                    <a:pt x="154" y="40"/>
                    <a:pt x="147" y="48"/>
                  </a:cubicBezTo>
                  <a:cubicBezTo>
                    <a:pt x="139" y="57"/>
                    <a:pt x="127" y="58"/>
                    <a:pt x="118" y="51"/>
                  </a:cubicBezTo>
                  <a:cubicBezTo>
                    <a:pt x="110" y="43"/>
                    <a:pt x="100" y="40"/>
                    <a:pt x="90" y="40"/>
                  </a:cubicBezTo>
                  <a:cubicBezTo>
                    <a:pt x="62" y="40"/>
                    <a:pt x="40" y="66"/>
                    <a:pt x="40" y="99"/>
                  </a:cubicBezTo>
                  <a:cubicBezTo>
                    <a:pt x="40" y="131"/>
                    <a:pt x="62" y="158"/>
                    <a:pt x="90" y="158"/>
                  </a:cubicBezTo>
                  <a:cubicBezTo>
                    <a:pt x="111" y="158"/>
                    <a:pt x="130" y="141"/>
                    <a:pt x="137" y="118"/>
                  </a:cubicBezTo>
                  <a:cubicBezTo>
                    <a:pt x="111" y="118"/>
                    <a:pt x="111" y="118"/>
                    <a:pt x="111" y="118"/>
                  </a:cubicBezTo>
                  <a:cubicBezTo>
                    <a:pt x="100" y="118"/>
                    <a:pt x="91" y="109"/>
                    <a:pt x="91" y="99"/>
                  </a:cubicBezTo>
                  <a:cubicBezTo>
                    <a:pt x="91" y="88"/>
                    <a:pt x="100" y="79"/>
                    <a:pt x="111" y="79"/>
                  </a:cubicBezTo>
                  <a:cubicBezTo>
                    <a:pt x="159" y="79"/>
                    <a:pt x="159" y="79"/>
                    <a:pt x="159" y="79"/>
                  </a:cubicBezTo>
                  <a:cubicBezTo>
                    <a:pt x="170" y="79"/>
                    <a:pt x="179" y="88"/>
                    <a:pt x="179" y="99"/>
                  </a:cubicBezTo>
                  <a:cubicBezTo>
                    <a:pt x="179" y="153"/>
                    <a:pt x="139" y="197"/>
                    <a:pt x="90" y="1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9" name="Freeform 30">
              <a:extLst>
                <a:ext uri="{FF2B5EF4-FFF2-40B4-BE49-F238E27FC236}">
                  <a16:creationId xmlns:a16="http://schemas.microsoft.com/office/drawing/2014/main" id="{17B4DE8C-5C96-45F6-85A6-CBB88721FA81}"/>
                </a:ext>
              </a:extLst>
            </p:cNvPr>
            <p:cNvSpPr>
              <a:spLocks/>
            </p:cNvSpPr>
            <p:nvPr/>
          </p:nvSpPr>
          <p:spPr bwMode="auto">
            <a:xfrm>
              <a:off x="2217712" y="3961929"/>
              <a:ext cx="82719" cy="112887"/>
            </a:xfrm>
            <a:custGeom>
              <a:avLst/>
              <a:gdLst>
                <a:gd name="T0" fmla="*/ 67 w 144"/>
                <a:gd name="T1" fmla="*/ 197 h 197"/>
                <a:gd name="T2" fmla="*/ 4 w 144"/>
                <a:gd name="T3" fmla="*/ 156 h 197"/>
                <a:gd name="T4" fmla="*/ 16 w 144"/>
                <a:gd name="T5" fmla="*/ 130 h 197"/>
                <a:gd name="T6" fmla="*/ 42 w 144"/>
                <a:gd name="T7" fmla="*/ 142 h 197"/>
                <a:gd name="T8" fmla="*/ 67 w 144"/>
                <a:gd name="T9" fmla="*/ 158 h 197"/>
                <a:gd name="T10" fmla="*/ 103 w 144"/>
                <a:gd name="T11" fmla="*/ 128 h 197"/>
                <a:gd name="T12" fmla="*/ 72 w 144"/>
                <a:gd name="T13" fmla="*/ 98 h 197"/>
                <a:gd name="T14" fmla="*/ 44 w 144"/>
                <a:gd name="T15" fmla="*/ 104 h 197"/>
                <a:gd name="T16" fmla="*/ 21 w 144"/>
                <a:gd name="T17" fmla="*/ 104 h 197"/>
                <a:gd name="T18" fmla="*/ 13 w 144"/>
                <a:gd name="T19" fmla="*/ 83 h 197"/>
                <a:gd name="T20" fmla="*/ 29 w 144"/>
                <a:gd name="T21" fmla="*/ 15 h 197"/>
                <a:gd name="T22" fmla="*/ 49 w 144"/>
                <a:gd name="T23" fmla="*/ 0 h 197"/>
                <a:gd name="T24" fmla="*/ 114 w 144"/>
                <a:gd name="T25" fmla="*/ 0 h 197"/>
                <a:gd name="T26" fmla="*/ 134 w 144"/>
                <a:gd name="T27" fmla="*/ 20 h 197"/>
                <a:gd name="T28" fmla="*/ 114 w 144"/>
                <a:gd name="T29" fmla="*/ 40 h 197"/>
                <a:gd name="T30" fmla="*/ 65 w 144"/>
                <a:gd name="T31" fmla="*/ 40 h 197"/>
                <a:gd name="T32" fmla="*/ 60 w 144"/>
                <a:gd name="T33" fmla="*/ 59 h 197"/>
                <a:gd name="T34" fmla="*/ 72 w 144"/>
                <a:gd name="T35" fmla="*/ 58 h 197"/>
                <a:gd name="T36" fmla="*/ 144 w 144"/>
                <a:gd name="T37" fmla="*/ 128 h 197"/>
                <a:gd name="T38" fmla="*/ 67 w 144"/>
                <a:gd name="T39"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97">
                  <a:moveTo>
                    <a:pt x="67" y="197"/>
                  </a:moveTo>
                  <a:cubicBezTo>
                    <a:pt x="39" y="197"/>
                    <a:pt x="14" y="180"/>
                    <a:pt x="4" y="156"/>
                  </a:cubicBezTo>
                  <a:cubicBezTo>
                    <a:pt x="0" y="145"/>
                    <a:pt x="6" y="134"/>
                    <a:pt x="16" y="130"/>
                  </a:cubicBezTo>
                  <a:cubicBezTo>
                    <a:pt x="26" y="126"/>
                    <a:pt x="38" y="131"/>
                    <a:pt x="42" y="142"/>
                  </a:cubicBezTo>
                  <a:cubicBezTo>
                    <a:pt x="46" y="151"/>
                    <a:pt x="56" y="158"/>
                    <a:pt x="67" y="158"/>
                  </a:cubicBezTo>
                  <a:cubicBezTo>
                    <a:pt x="103" y="158"/>
                    <a:pt x="103" y="135"/>
                    <a:pt x="103" y="128"/>
                  </a:cubicBezTo>
                  <a:cubicBezTo>
                    <a:pt x="103" y="114"/>
                    <a:pt x="86" y="98"/>
                    <a:pt x="72" y="98"/>
                  </a:cubicBezTo>
                  <a:cubicBezTo>
                    <a:pt x="55" y="98"/>
                    <a:pt x="44" y="104"/>
                    <a:pt x="44" y="104"/>
                  </a:cubicBezTo>
                  <a:cubicBezTo>
                    <a:pt x="37" y="108"/>
                    <a:pt x="28" y="108"/>
                    <a:pt x="21" y="104"/>
                  </a:cubicBezTo>
                  <a:cubicBezTo>
                    <a:pt x="14" y="99"/>
                    <a:pt x="11" y="91"/>
                    <a:pt x="13" y="83"/>
                  </a:cubicBezTo>
                  <a:cubicBezTo>
                    <a:pt x="29" y="15"/>
                    <a:pt x="29" y="15"/>
                    <a:pt x="29" y="15"/>
                  </a:cubicBezTo>
                  <a:cubicBezTo>
                    <a:pt x="31" y="7"/>
                    <a:pt x="39" y="0"/>
                    <a:pt x="49" y="0"/>
                  </a:cubicBezTo>
                  <a:cubicBezTo>
                    <a:pt x="114" y="0"/>
                    <a:pt x="114" y="0"/>
                    <a:pt x="114" y="0"/>
                  </a:cubicBezTo>
                  <a:cubicBezTo>
                    <a:pt x="125" y="0"/>
                    <a:pt x="134" y="9"/>
                    <a:pt x="134" y="20"/>
                  </a:cubicBezTo>
                  <a:cubicBezTo>
                    <a:pt x="134" y="31"/>
                    <a:pt x="125" y="40"/>
                    <a:pt x="114" y="40"/>
                  </a:cubicBezTo>
                  <a:cubicBezTo>
                    <a:pt x="65" y="40"/>
                    <a:pt x="65" y="40"/>
                    <a:pt x="65" y="40"/>
                  </a:cubicBezTo>
                  <a:cubicBezTo>
                    <a:pt x="60" y="59"/>
                    <a:pt x="60" y="59"/>
                    <a:pt x="60" y="59"/>
                  </a:cubicBezTo>
                  <a:cubicBezTo>
                    <a:pt x="64" y="59"/>
                    <a:pt x="68" y="58"/>
                    <a:pt x="72" y="58"/>
                  </a:cubicBezTo>
                  <a:cubicBezTo>
                    <a:pt x="109" y="58"/>
                    <a:pt x="144" y="92"/>
                    <a:pt x="144" y="128"/>
                  </a:cubicBezTo>
                  <a:cubicBezTo>
                    <a:pt x="144" y="170"/>
                    <a:pt x="113" y="197"/>
                    <a:pt x="67" y="1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00" name="Freeform 31">
              <a:extLst>
                <a:ext uri="{FF2B5EF4-FFF2-40B4-BE49-F238E27FC236}">
                  <a16:creationId xmlns:a16="http://schemas.microsoft.com/office/drawing/2014/main" id="{A61F2E43-A80D-44C0-8049-7523D840FF65}"/>
                </a:ext>
              </a:extLst>
            </p:cNvPr>
            <p:cNvSpPr>
              <a:spLocks noEditPoints="1"/>
            </p:cNvSpPr>
            <p:nvPr/>
          </p:nvSpPr>
          <p:spPr bwMode="auto">
            <a:xfrm>
              <a:off x="2092417" y="3783353"/>
              <a:ext cx="452765" cy="452278"/>
            </a:xfrm>
            <a:custGeom>
              <a:avLst/>
              <a:gdLst>
                <a:gd name="T0" fmla="*/ 394 w 788"/>
                <a:gd name="T1" fmla="*/ 0 h 788"/>
                <a:gd name="T2" fmla="*/ 115 w 788"/>
                <a:gd name="T3" fmla="*/ 115 h 788"/>
                <a:gd name="T4" fmla="*/ 115 w 788"/>
                <a:gd name="T5" fmla="*/ 672 h 788"/>
                <a:gd name="T6" fmla="*/ 394 w 788"/>
                <a:gd name="T7" fmla="*/ 788 h 788"/>
                <a:gd name="T8" fmla="*/ 788 w 788"/>
                <a:gd name="T9" fmla="*/ 394 h 788"/>
                <a:gd name="T10" fmla="*/ 691 w 788"/>
                <a:gd name="T11" fmla="*/ 326 h 788"/>
                <a:gd name="T12" fmla="*/ 581 w 788"/>
                <a:gd name="T13" fmla="*/ 207 h 788"/>
                <a:gd name="T14" fmla="*/ 462 w 788"/>
                <a:gd name="T15" fmla="*/ 96 h 788"/>
                <a:gd name="T16" fmla="*/ 650 w 788"/>
                <a:gd name="T17" fmla="*/ 138 h 788"/>
                <a:gd name="T18" fmla="*/ 691 w 788"/>
                <a:gd name="T19" fmla="*/ 462 h 788"/>
                <a:gd name="T20" fmla="*/ 462 w 788"/>
                <a:gd name="T21" fmla="*/ 691 h 788"/>
                <a:gd name="T22" fmla="*/ 581 w 788"/>
                <a:gd name="T23" fmla="*/ 581 h 788"/>
                <a:gd name="T24" fmla="*/ 691 w 788"/>
                <a:gd name="T25" fmla="*/ 462 h 788"/>
                <a:gd name="T26" fmla="*/ 394 w 788"/>
                <a:gd name="T27" fmla="*/ 670 h 788"/>
                <a:gd name="T28" fmla="*/ 117 w 788"/>
                <a:gd name="T29" fmla="*/ 394 h 788"/>
                <a:gd name="T30" fmla="*/ 394 w 788"/>
                <a:gd name="T31" fmla="*/ 117 h 788"/>
                <a:gd name="T32" fmla="*/ 670 w 788"/>
                <a:gd name="T33" fmla="*/ 394 h 788"/>
                <a:gd name="T34" fmla="*/ 96 w 788"/>
                <a:gd name="T35" fmla="*/ 462 h 788"/>
                <a:gd name="T36" fmla="*/ 207 w 788"/>
                <a:gd name="T37" fmla="*/ 581 h 788"/>
                <a:gd name="T38" fmla="*/ 326 w 788"/>
                <a:gd name="T39" fmla="*/ 691 h 788"/>
                <a:gd name="T40" fmla="*/ 96 w 788"/>
                <a:gd name="T41" fmla="*/ 462 h 788"/>
                <a:gd name="T42" fmla="*/ 138 w 788"/>
                <a:gd name="T43" fmla="*/ 138 h 788"/>
                <a:gd name="T44" fmla="*/ 326 w 788"/>
                <a:gd name="T45" fmla="*/ 96 h 788"/>
                <a:gd name="T46" fmla="*/ 207 w 788"/>
                <a:gd name="T47" fmla="*/ 207 h 788"/>
                <a:gd name="T48" fmla="*/ 96 w 788"/>
                <a:gd name="T49" fmla="*/ 326 h 788"/>
                <a:gd name="T50" fmla="*/ 394 w 788"/>
                <a:gd name="T51" fmla="*/ 32 h 788"/>
                <a:gd name="T52" fmla="*/ 455 w 788"/>
                <a:gd name="T53" fmla="*/ 65 h 788"/>
                <a:gd name="T54" fmla="*/ 332 w 788"/>
                <a:gd name="T55" fmla="*/ 65 h 788"/>
                <a:gd name="T56" fmla="*/ 394 w 788"/>
                <a:gd name="T57" fmla="*/ 32 h 788"/>
                <a:gd name="T58" fmla="*/ 65 w 788"/>
                <a:gd name="T59" fmla="*/ 332 h 788"/>
                <a:gd name="T60" fmla="*/ 65 w 788"/>
                <a:gd name="T61" fmla="*/ 455 h 788"/>
                <a:gd name="T62" fmla="*/ 32 w 788"/>
                <a:gd name="T63" fmla="*/ 394 h 788"/>
                <a:gd name="T64" fmla="*/ 394 w 788"/>
                <a:gd name="T65" fmla="*/ 756 h 788"/>
                <a:gd name="T66" fmla="*/ 258 w 788"/>
                <a:gd name="T67" fmla="*/ 729 h 788"/>
                <a:gd name="T68" fmla="*/ 332 w 788"/>
                <a:gd name="T69" fmla="*/ 723 h 788"/>
                <a:gd name="T70" fmla="*/ 455 w 788"/>
                <a:gd name="T71" fmla="*/ 723 h 788"/>
                <a:gd name="T72" fmla="*/ 529 w 788"/>
                <a:gd name="T73" fmla="*/ 729 h 788"/>
                <a:gd name="T74" fmla="*/ 723 w 788"/>
                <a:gd name="T75" fmla="*/ 455 h 788"/>
                <a:gd name="T76" fmla="*/ 723 w 788"/>
                <a:gd name="T77" fmla="*/ 332 h 788"/>
                <a:gd name="T78" fmla="*/ 756 w 788"/>
                <a:gd name="T79" fmla="*/ 394 h 788"/>
                <a:gd name="T80" fmla="*/ 723 w 788"/>
                <a:gd name="T81" fmla="*/ 455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88" h="788">
                  <a:moveTo>
                    <a:pt x="672" y="115"/>
                  </a:moveTo>
                  <a:cubicBezTo>
                    <a:pt x="598" y="41"/>
                    <a:pt x="499" y="0"/>
                    <a:pt x="394" y="0"/>
                  </a:cubicBezTo>
                  <a:cubicBezTo>
                    <a:pt x="394" y="0"/>
                    <a:pt x="394" y="0"/>
                    <a:pt x="394" y="0"/>
                  </a:cubicBezTo>
                  <a:cubicBezTo>
                    <a:pt x="289" y="0"/>
                    <a:pt x="190" y="41"/>
                    <a:pt x="115" y="115"/>
                  </a:cubicBezTo>
                  <a:cubicBezTo>
                    <a:pt x="41" y="190"/>
                    <a:pt x="0" y="289"/>
                    <a:pt x="0" y="394"/>
                  </a:cubicBezTo>
                  <a:cubicBezTo>
                    <a:pt x="0" y="499"/>
                    <a:pt x="41" y="598"/>
                    <a:pt x="115" y="672"/>
                  </a:cubicBezTo>
                  <a:cubicBezTo>
                    <a:pt x="189" y="747"/>
                    <a:pt x="288" y="788"/>
                    <a:pt x="393" y="788"/>
                  </a:cubicBezTo>
                  <a:cubicBezTo>
                    <a:pt x="393" y="788"/>
                    <a:pt x="393" y="788"/>
                    <a:pt x="394" y="788"/>
                  </a:cubicBezTo>
                  <a:cubicBezTo>
                    <a:pt x="499" y="788"/>
                    <a:pt x="598" y="747"/>
                    <a:pt x="672" y="672"/>
                  </a:cubicBezTo>
                  <a:cubicBezTo>
                    <a:pt x="747" y="598"/>
                    <a:pt x="788" y="499"/>
                    <a:pt x="788" y="394"/>
                  </a:cubicBezTo>
                  <a:cubicBezTo>
                    <a:pt x="788" y="288"/>
                    <a:pt x="747" y="189"/>
                    <a:pt x="672" y="115"/>
                  </a:cubicBezTo>
                  <a:close/>
                  <a:moveTo>
                    <a:pt x="691" y="326"/>
                  </a:moveTo>
                  <a:cubicBezTo>
                    <a:pt x="690" y="334"/>
                    <a:pt x="688" y="342"/>
                    <a:pt x="685" y="350"/>
                  </a:cubicBezTo>
                  <a:cubicBezTo>
                    <a:pt x="660" y="299"/>
                    <a:pt x="625" y="250"/>
                    <a:pt x="581" y="207"/>
                  </a:cubicBezTo>
                  <a:cubicBezTo>
                    <a:pt x="537" y="163"/>
                    <a:pt x="488" y="128"/>
                    <a:pt x="438" y="102"/>
                  </a:cubicBezTo>
                  <a:cubicBezTo>
                    <a:pt x="446" y="100"/>
                    <a:pt x="454" y="98"/>
                    <a:pt x="462" y="96"/>
                  </a:cubicBezTo>
                  <a:cubicBezTo>
                    <a:pt x="482" y="92"/>
                    <a:pt x="502" y="90"/>
                    <a:pt x="521" y="90"/>
                  </a:cubicBezTo>
                  <a:cubicBezTo>
                    <a:pt x="573" y="90"/>
                    <a:pt x="618" y="106"/>
                    <a:pt x="650" y="138"/>
                  </a:cubicBezTo>
                  <a:cubicBezTo>
                    <a:pt x="693" y="181"/>
                    <a:pt x="707" y="248"/>
                    <a:pt x="691" y="326"/>
                  </a:cubicBezTo>
                  <a:close/>
                  <a:moveTo>
                    <a:pt x="691" y="462"/>
                  </a:moveTo>
                  <a:cubicBezTo>
                    <a:pt x="707" y="540"/>
                    <a:pt x="693" y="607"/>
                    <a:pt x="650" y="650"/>
                  </a:cubicBezTo>
                  <a:cubicBezTo>
                    <a:pt x="607" y="693"/>
                    <a:pt x="540" y="707"/>
                    <a:pt x="462" y="691"/>
                  </a:cubicBezTo>
                  <a:cubicBezTo>
                    <a:pt x="454" y="690"/>
                    <a:pt x="446" y="688"/>
                    <a:pt x="438" y="685"/>
                  </a:cubicBezTo>
                  <a:cubicBezTo>
                    <a:pt x="488" y="660"/>
                    <a:pt x="537" y="625"/>
                    <a:pt x="581" y="581"/>
                  </a:cubicBezTo>
                  <a:cubicBezTo>
                    <a:pt x="625" y="537"/>
                    <a:pt x="660" y="488"/>
                    <a:pt x="685" y="438"/>
                  </a:cubicBezTo>
                  <a:cubicBezTo>
                    <a:pt x="688" y="446"/>
                    <a:pt x="690" y="454"/>
                    <a:pt x="691" y="462"/>
                  </a:cubicBezTo>
                  <a:close/>
                  <a:moveTo>
                    <a:pt x="558" y="558"/>
                  </a:moveTo>
                  <a:cubicBezTo>
                    <a:pt x="508" y="608"/>
                    <a:pt x="452" y="646"/>
                    <a:pt x="394" y="670"/>
                  </a:cubicBezTo>
                  <a:cubicBezTo>
                    <a:pt x="336" y="646"/>
                    <a:pt x="279" y="608"/>
                    <a:pt x="229" y="558"/>
                  </a:cubicBezTo>
                  <a:cubicBezTo>
                    <a:pt x="179" y="508"/>
                    <a:pt x="141" y="452"/>
                    <a:pt x="117" y="394"/>
                  </a:cubicBezTo>
                  <a:cubicBezTo>
                    <a:pt x="141" y="336"/>
                    <a:pt x="179" y="279"/>
                    <a:pt x="229" y="229"/>
                  </a:cubicBezTo>
                  <a:cubicBezTo>
                    <a:pt x="279" y="179"/>
                    <a:pt x="336" y="141"/>
                    <a:pt x="394" y="117"/>
                  </a:cubicBezTo>
                  <a:cubicBezTo>
                    <a:pt x="452" y="141"/>
                    <a:pt x="508" y="179"/>
                    <a:pt x="558" y="229"/>
                  </a:cubicBezTo>
                  <a:cubicBezTo>
                    <a:pt x="608" y="279"/>
                    <a:pt x="646" y="336"/>
                    <a:pt x="670" y="394"/>
                  </a:cubicBezTo>
                  <a:cubicBezTo>
                    <a:pt x="646" y="452"/>
                    <a:pt x="608" y="508"/>
                    <a:pt x="558" y="558"/>
                  </a:cubicBezTo>
                  <a:close/>
                  <a:moveTo>
                    <a:pt x="96" y="462"/>
                  </a:moveTo>
                  <a:cubicBezTo>
                    <a:pt x="98" y="454"/>
                    <a:pt x="100" y="446"/>
                    <a:pt x="102" y="438"/>
                  </a:cubicBezTo>
                  <a:cubicBezTo>
                    <a:pt x="128" y="488"/>
                    <a:pt x="163" y="537"/>
                    <a:pt x="207" y="581"/>
                  </a:cubicBezTo>
                  <a:cubicBezTo>
                    <a:pt x="250" y="625"/>
                    <a:pt x="299" y="660"/>
                    <a:pt x="350" y="685"/>
                  </a:cubicBezTo>
                  <a:cubicBezTo>
                    <a:pt x="342" y="688"/>
                    <a:pt x="334" y="690"/>
                    <a:pt x="326" y="691"/>
                  </a:cubicBezTo>
                  <a:cubicBezTo>
                    <a:pt x="248" y="707"/>
                    <a:pt x="181" y="693"/>
                    <a:pt x="138" y="650"/>
                  </a:cubicBezTo>
                  <a:cubicBezTo>
                    <a:pt x="95" y="607"/>
                    <a:pt x="80" y="540"/>
                    <a:pt x="96" y="462"/>
                  </a:cubicBezTo>
                  <a:close/>
                  <a:moveTo>
                    <a:pt x="96" y="326"/>
                  </a:moveTo>
                  <a:cubicBezTo>
                    <a:pt x="80" y="248"/>
                    <a:pt x="95" y="181"/>
                    <a:pt x="138" y="138"/>
                  </a:cubicBezTo>
                  <a:cubicBezTo>
                    <a:pt x="170" y="106"/>
                    <a:pt x="214" y="90"/>
                    <a:pt x="267" y="90"/>
                  </a:cubicBezTo>
                  <a:cubicBezTo>
                    <a:pt x="286" y="90"/>
                    <a:pt x="305" y="92"/>
                    <a:pt x="326" y="96"/>
                  </a:cubicBezTo>
                  <a:cubicBezTo>
                    <a:pt x="334" y="98"/>
                    <a:pt x="342" y="100"/>
                    <a:pt x="350" y="102"/>
                  </a:cubicBezTo>
                  <a:cubicBezTo>
                    <a:pt x="299" y="128"/>
                    <a:pt x="250" y="163"/>
                    <a:pt x="207" y="207"/>
                  </a:cubicBezTo>
                  <a:cubicBezTo>
                    <a:pt x="163" y="250"/>
                    <a:pt x="128" y="299"/>
                    <a:pt x="102" y="350"/>
                  </a:cubicBezTo>
                  <a:cubicBezTo>
                    <a:pt x="100" y="342"/>
                    <a:pt x="98" y="334"/>
                    <a:pt x="96" y="326"/>
                  </a:cubicBezTo>
                  <a:close/>
                  <a:moveTo>
                    <a:pt x="394" y="32"/>
                  </a:moveTo>
                  <a:cubicBezTo>
                    <a:pt x="394" y="32"/>
                    <a:pt x="394" y="32"/>
                    <a:pt x="394" y="32"/>
                  </a:cubicBezTo>
                  <a:cubicBezTo>
                    <a:pt x="442" y="32"/>
                    <a:pt x="487" y="41"/>
                    <a:pt x="530" y="58"/>
                  </a:cubicBezTo>
                  <a:cubicBezTo>
                    <a:pt x="506" y="57"/>
                    <a:pt x="481" y="60"/>
                    <a:pt x="455" y="65"/>
                  </a:cubicBezTo>
                  <a:cubicBezTo>
                    <a:pt x="435" y="69"/>
                    <a:pt x="414" y="75"/>
                    <a:pt x="394" y="83"/>
                  </a:cubicBezTo>
                  <a:cubicBezTo>
                    <a:pt x="373" y="75"/>
                    <a:pt x="353" y="69"/>
                    <a:pt x="332" y="65"/>
                  </a:cubicBezTo>
                  <a:cubicBezTo>
                    <a:pt x="307" y="60"/>
                    <a:pt x="282" y="57"/>
                    <a:pt x="258" y="58"/>
                  </a:cubicBezTo>
                  <a:cubicBezTo>
                    <a:pt x="301" y="41"/>
                    <a:pt x="347" y="32"/>
                    <a:pt x="394" y="32"/>
                  </a:cubicBezTo>
                  <a:close/>
                  <a:moveTo>
                    <a:pt x="58" y="258"/>
                  </a:moveTo>
                  <a:cubicBezTo>
                    <a:pt x="57" y="282"/>
                    <a:pt x="60" y="307"/>
                    <a:pt x="65" y="332"/>
                  </a:cubicBezTo>
                  <a:cubicBezTo>
                    <a:pt x="69" y="353"/>
                    <a:pt x="75" y="373"/>
                    <a:pt x="83" y="394"/>
                  </a:cubicBezTo>
                  <a:cubicBezTo>
                    <a:pt x="75" y="414"/>
                    <a:pt x="69" y="435"/>
                    <a:pt x="65" y="455"/>
                  </a:cubicBezTo>
                  <a:cubicBezTo>
                    <a:pt x="60" y="481"/>
                    <a:pt x="57" y="506"/>
                    <a:pt x="58" y="530"/>
                  </a:cubicBezTo>
                  <a:cubicBezTo>
                    <a:pt x="41" y="487"/>
                    <a:pt x="32" y="441"/>
                    <a:pt x="32" y="394"/>
                  </a:cubicBezTo>
                  <a:cubicBezTo>
                    <a:pt x="32" y="347"/>
                    <a:pt x="41" y="301"/>
                    <a:pt x="58" y="258"/>
                  </a:cubicBezTo>
                  <a:close/>
                  <a:moveTo>
                    <a:pt x="394" y="756"/>
                  </a:moveTo>
                  <a:cubicBezTo>
                    <a:pt x="393" y="756"/>
                    <a:pt x="393" y="756"/>
                    <a:pt x="393" y="756"/>
                  </a:cubicBezTo>
                  <a:cubicBezTo>
                    <a:pt x="346" y="756"/>
                    <a:pt x="300" y="747"/>
                    <a:pt x="258" y="729"/>
                  </a:cubicBezTo>
                  <a:cubicBezTo>
                    <a:pt x="261" y="730"/>
                    <a:pt x="264" y="730"/>
                    <a:pt x="267" y="730"/>
                  </a:cubicBezTo>
                  <a:cubicBezTo>
                    <a:pt x="288" y="730"/>
                    <a:pt x="310" y="727"/>
                    <a:pt x="332" y="723"/>
                  </a:cubicBezTo>
                  <a:cubicBezTo>
                    <a:pt x="353" y="718"/>
                    <a:pt x="373" y="712"/>
                    <a:pt x="394" y="705"/>
                  </a:cubicBezTo>
                  <a:cubicBezTo>
                    <a:pt x="414" y="712"/>
                    <a:pt x="435" y="718"/>
                    <a:pt x="455" y="723"/>
                  </a:cubicBezTo>
                  <a:cubicBezTo>
                    <a:pt x="478" y="727"/>
                    <a:pt x="500" y="730"/>
                    <a:pt x="521" y="730"/>
                  </a:cubicBezTo>
                  <a:cubicBezTo>
                    <a:pt x="524" y="730"/>
                    <a:pt x="526" y="730"/>
                    <a:pt x="529" y="729"/>
                  </a:cubicBezTo>
                  <a:cubicBezTo>
                    <a:pt x="487" y="747"/>
                    <a:pt x="441" y="756"/>
                    <a:pt x="394" y="756"/>
                  </a:cubicBezTo>
                  <a:close/>
                  <a:moveTo>
                    <a:pt x="723" y="455"/>
                  </a:moveTo>
                  <a:cubicBezTo>
                    <a:pt x="718" y="435"/>
                    <a:pt x="712" y="414"/>
                    <a:pt x="705" y="394"/>
                  </a:cubicBezTo>
                  <a:cubicBezTo>
                    <a:pt x="712" y="373"/>
                    <a:pt x="718" y="353"/>
                    <a:pt x="723" y="332"/>
                  </a:cubicBezTo>
                  <a:cubicBezTo>
                    <a:pt x="728" y="306"/>
                    <a:pt x="730" y="281"/>
                    <a:pt x="729" y="257"/>
                  </a:cubicBezTo>
                  <a:cubicBezTo>
                    <a:pt x="747" y="300"/>
                    <a:pt x="756" y="346"/>
                    <a:pt x="756" y="394"/>
                  </a:cubicBezTo>
                  <a:cubicBezTo>
                    <a:pt x="756" y="441"/>
                    <a:pt x="747" y="487"/>
                    <a:pt x="729" y="529"/>
                  </a:cubicBezTo>
                  <a:cubicBezTo>
                    <a:pt x="730" y="506"/>
                    <a:pt x="728" y="481"/>
                    <a:pt x="723" y="455"/>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
        <p:nvSpPr>
          <p:cNvPr id="852" name="Title 1">
            <a:extLst>
              <a:ext uri="{FF2B5EF4-FFF2-40B4-BE49-F238E27FC236}">
                <a16:creationId xmlns:a16="http://schemas.microsoft.com/office/drawing/2014/main" id="{978F5E39-FBA8-3747-ACA7-AF5A78EE84D6}"/>
              </a:ext>
            </a:extLst>
          </p:cNvPr>
          <p:cNvSpPr txBox="1">
            <a:spLocks/>
          </p:cNvSpPr>
          <p:nvPr/>
        </p:nvSpPr>
        <p:spPr bwMode="auto">
          <a:xfrm>
            <a:off x="72666" y="49657"/>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8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005073"/>
                </a:solidFill>
                <a:effectLst/>
                <a:uLnTx/>
                <a:uFillTx/>
                <a:latin typeface="CiscoSansTT ExtraLight"/>
                <a:cs typeface="CiscoSansTT Thin" charset="0"/>
              </a:rPr>
              <a:t>The DC </a:t>
            </a:r>
            <a:r>
              <a:rPr lang="en-US" dirty="0">
                <a:solidFill>
                  <a:srgbClr val="005073"/>
                </a:solidFill>
                <a:latin typeface="CiscoSansTT ExtraLight"/>
              </a:rPr>
              <a:t>N</a:t>
            </a:r>
            <a:r>
              <a:rPr kumimoji="0" lang="en-US" sz="2800" b="0" i="0" u="none" strike="noStrike" kern="1200" cap="none" spc="0" normalizeH="0" baseline="0" noProof="0" dirty="0" err="1">
                <a:ln>
                  <a:noFill/>
                </a:ln>
                <a:solidFill>
                  <a:srgbClr val="005073"/>
                </a:solidFill>
                <a:effectLst/>
                <a:uLnTx/>
                <a:uFillTx/>
                <a:latin typeface="CiscoSansTT ExtraLight"/>
                <a:cs typeface="CiscoSansTT Thin" charset="0"/>
              </a:rPr>
              <a:t>eeds</a:t>
            </a:r>
            <a:r>
              <a:rPr kumimoji="0" lang="en-US" sz="2800" b="0" i="0" u="none" strike="noStrike" kern="1200" cap="none" spc="0" normalizeH="0" baseline="0" noProof="0" dirty="0">
                <a:ln>
                  <a:noFill/>
                </a:ln>
                <a:solidFill>
                  <a:srgbClr val="005073"/>
                </a:solidFill>
                <a:effectLst/>
                <a:uLnTx/>
                <a:uFillTx/>
                <a:latin typeface="CiscoSansTT ExtraLight"/>
                <a:cs typeface="CiscoSansTT Thin" charset="0"/>
              </a:rPr>
              <a:t> to go Anywhere the Data is</a:t>
            </a:r>
          </a:p>
        </p:txBody>
      </p:sp>
      <p:pic>
        <p:nvPicPr>
          <p:cNvPr id="854" name="Picture 853">
            <a:extLst>
              <a:ext uri="{FF2B5EF4-FFF2-40B4-BE49-F238E27FC236}">
                <a16:creationId xmlns:a16="http://schemas.microsoft.com/office/drawing/2014/main" id="{00000000-0008-0000-0000-00001100000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0641" y="60619"/>
            <a:ext cx="1113736" cy="1113736"/>
          </a:xfrm>
          <a:prstGeom prst="rect">
            <a:avLst/>
          </a:prstGeom>
        </p:spPr>
      </p:pic>
    </p:spTree>
    <p:extLst>
      <p:ext uri="{BB962C8B-B14F-4D97-AF65-F5344CB8AC3E}">
        <p14:creationId xmlns:p14="http://schemas.microsoft.com/office/powerpoint/2010/main" val="38900782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barn(outVertical)">
                                      <p:cBhvr>
                                        <p:cTn id="7" dur="500"/>
                                        <p:tgtEl>
                                          <p:spTgt spid="107"/>
                                        </p:tgtEl>
                                      </p:cBhvr>
                                    </p:animEffect>
                                  </p:childTnLst>
                                </p:cTn>
                              </p:par>
                              <p:par>
                                <p:cTn id="8" presetID="10" presetClass="entr" presetSubtype="0" fill="hold" nodeType="withEffect">
                                  <p:stCondLst>
                                    <p:cond delay="0"/>
                                  </p:stCondLst>
                                  <p:childTnLst>
                                    <p:set>
                                      <p:cBhvr>
                                        <p:cTn id="9" dur="1" fill="hold">
                                          <p:stCondLst>
                                            <p:cond delay="0"/>
                                          </p:stCondLst>
                                        </p:cTn>
                                        <p:tgtEl>
                                          <p:spTgt spid="1067"/>
                                        </p:tgtEl>
                                        <p:attrNameLst>
                                          <p:attrName>style.visibility</p:attrName>
                                        </p:attrNameLst>
                                      </p:cBhvr>
                                      <p:to>
                                        <p:strVal val="visible"/>
                                      </p:to>
                                    </p:set>
                                    <p:animEffect transition="in" filter="fade">
                                      <p:cBhvr>
                                        <p:cTn id="10" dur="150"/>
                                        <p:tgtEl>
                                          <p:spTgt spid="1067"/>
                                        </p:tgtEl>
                                      </p:cBhvr>
                                    </p:animEffect>
                                  </p:childTnLst>
                                </p:cTn>
                              </p:par>
                              <p:par>
                                <p:cTn id="11" presetID="6" presetClass="emph" presetSubtype="0" decel="100000" autoRev="1" fill="hold" nodeType="withEffect">
                                  <p:stCondLst>
                                    <p:cond delay="0"/>
                                  </p:stCondLst>
                                  <p:childTnLst>
                                    <p:animScale>
                                      <p:cBhvr>
                                        <p:cTn id="12" dur="300" fill="hold"/>
                                        <p:tgtEl>
                                          <p:spTgt spid="1067"/>
                                        </p:tgtEl>
                                      </p:cBhvr>
                                      <p:by x="105000" y="105000"/>
                                    </p:animScale>
                                  </p:childTnLst>
                                </p:cTn>
                              </p:par>
                              <p:par>
                                <p:cTn id="13" presetID="10" presetClass="exit" presetSubtype="0" fill="hold" nodeType="withEffect">
                                  <p:stCondLst>
                                    <p:cond delay="500"/>
                                  </p:stCondLst>
                                  <p:childTnLst>
                                    <p:animEffect transition="out" filter="fade">
                                      <p:cBhvr>
                                        <p:cTn id="14" dur="500"/>
                                        <p:tgtEl>
                                          <p:spTgt spid="1067"/>
                                        </p:tgtEl>
                                      </p:cBhvr>
                                    </p:animEffect>
                                    <p:set>
                                      <p:cBhvr>
                                        <p:cTn id="15" dur="1" fill="hold">
                                          <p:stCondLst>
                                            <p:cond delay="499"/>
                                          </p:stCondLst>
                                        </p:cTn>
                                        <p:tgtEl>
                                          <p:spTgt spid="1067"/>
                                        </p:tgtEl>
                                        <p:attrNameLst>
                                          <p:attrName>style.visibility</p:attrName>
                                        </p:attrNameLst>
                                      </p:cBhvr>
                                      <p:to>
                                        <p:strVal val="hidden"/>
                                      </p:to>
                                    </p:set>
                                  </p:childTnLst>
                                </p:cTn>
                              </p:par>
                              <p:par>
                                <p:cTn id="16" presetID="22" presetClass="entr" presetSubtype="8" fill="hold" nodeType="withEffect">
                                  <p:stCondLst>
                                    <p:cond delay="500"/>
                                  </p:stCondLst>
                                  <p:childTnLst>
                                    <p:set>
                                      <p:cBhvr>
                                        <p:cTn id="17" dur="1" fill="hold">
                                          <p:stCondLst>
                                            <p:cond delay="0"/>
                                          </p:stCondLst>
                                        </p:cTn>
                                        <p:tgtEl>
                                          <p:spTgt spid="113"/>
                                        </p:tgtEl>
                                        <p:attrNameLst>
                                          <p:attrName>style.visibility</p:attrName>
                                        </p:attrNameLst>
                                      </p:cBhvr>
                                      <p:to>
                                        <p:strVal val="visible"/>
                                      </p:to>
                                    </p:set>
                                    <p:animEffect transition="in" filter="wipe(left)">
                                      <p:cBhvr>
                                        <p:cTn id="18" dur="500"/>
                                        <p:tgtEl>
                                          <p:spTgt spid="113"/>
                                        </p:tgtEl>
                                      </p:cBhvr>
                                    </p:animEffect>
                                  </p:childTnLst>
                                </p:cTn>
                              </p:par>
                              <p:par>
                                <p:cTn id="19" presetID="10" presetClass="entr" presetSubtype="0" fill="hold" nodeType="withEffect">
                                  <p:stCondLst>
                                    <p:cond delay="500"/>
                                  </p:stCondLst>
                                  <p:childTnLst>
                                    <p:set>
                                      <p:cBhvr>
                                        <p:cTn id="20" dur="1" fill="hold">
                                          <p:stCondLst>
                                            <p:cond delay="0"/>
                                          </p:stCondLst>
                                        </p:cTn>
                                        <p:tgtEl>
                                          <p:spTgt spid="1348"/>
                                        </p:tgtEl>
                                        <p:attrNameLst>
                                          <p:attrName>style.visibility</p:attrName>
                                        </p:attrNameLst>
                                      </p:cBhvr>
                                      <p:to>
                                        <p:strVal val="visible"/>
                                      </p:to>
                                    </p:set>
                                    <p:animEffect transition="in" filter="fade">
                                      <p:cBhvr>
                                        <p:cTn id="21" dur="150"/>
                                        <p:tgtEl>
                                          <p:spTgt spid="1348"/>
                                        </p:tgtEl>
                                      </p:cBhvr>
                                    </p:animEffect>
                                  </p:childTnLst>
                                </p:cTn>
                              </p:par>
                              <p:par>
                                <p:cTn id="22" presetID="6" presetClass="emph" presetSubtype="0" decel="100000" autoRev="1" fill="hold" nodeType="withEffect">
                                  <p:stCondLst>
                                    <p:cond delay="500"/>
                                  </p:stCondLst>
                                  <p:childTnLst>
                                    <p:animScale>
                                      <p:cBhvr>
                                        <p:cTn id="23" dur="300" fill="hold"/>
                                        <p:tgtEl>
                                          <p:spTgt spid="1348"/>
                                        </p:tgtEl>
                                      </p:cBhvr>
                                      <p:by x="105000" y="105000"/>
                                    </p:animScale>
                                  </p:childTnLst>
                                </p:cTn>
                              </p:par>
                              <p:par>
                                <p:cTn id="24" presetID="10" presetClass="exit" presetSubtype="0" fill="hold" nodeType="withEffect">
                                  <p:stCondLst>
                                    <p:cond delay="1000"/>
                                  </p:stCondLst>
                                  <p:childTnLst>
                                    <p:animEffect transition="out" filter="fade">
                                      <p:cBhvr>
                                        <p:cTn id="25" dur="500"/>
                                        <p:tgtEl>
                                          <p:spTgt spid="1348"/>
                                        </p:tgtEl>
                                      </p:cBhvr>
                                    </p:animEffect>
                                    <p:set>
                                      <p:cBhvr>
                                        <p:cTn id="26" dur="1" fill="hold">
                                          <p:stCondLst>
                                            <p:cond delay="499"/>
                                          </p:stCondLst>
                                        </p:cTn>
                                        <p:tgtEl>
                                          <p:spTgt spid="1348"/>
                                        </p:tgtEl>
                                        <p:attrNameLst>
                                          <p:attrName>style.visibility</p:attrName>
                                        </p:attrNameLst>
                                      </p:cBhvr>
                                      <p:to>
                                        <p:strVal val="hidden"/>
                                      </p:to>
                                    </p:set>
                                  </p:childTnLst>
                                </p:cTn>
                              </p:par>
                              <p:par>
                                <p:cTn id="27" presetID="10" presetClass="entr" presetSubtype="0" fill="hold" nodeType="withEffect">
                                  <p:stCondLst>
                                    <p:cond delay="500"/>
                                  </p:stCondLst>
                                  <p:childTnLst>
                                    <p:set>
                                      <p:cBhvr>
                                        <p:cTn id="28" dur="1" fill="hold">
                                          <p:stCondLst>
                                            <p:cond delay="0"/>
                                          </p:stCondLst>
                                        </p:cTn>
                                        <p:tgtEl>
                                          <p:spTgt spid="1386"/>
                                        </p:tgtEl>
                                        <p:attrNameLst>
                                          <p:attrName>style.visibility</p:attrName>
                                        </p:attrNameLst>
                                      </p:cBhvr>
                                      <p:to>
                                        <p:strVal val="visible"/>
                                      </p:to>
                                    </p:set>
                                    <p:animEffect transition="in" filter="fade">
                                      <p:cBhvr>
                                        <p:cTn id="29" dur="150"/>
                                        <p:tgtEl>
                                          <p:spTgt spid="1386"/>
                                        </p:tgtEl>
                                      </p:cBhvr>
                                    </p:animEffect>
                                  </p:childTnLst>
                                </p:cTn>
                              </p:par>
                              <p:par>
                                <p:cTn id="30" presetID="6" presetClass="emph" presetSubtype="0" decel="100000" autoRev="1" fill="hold" nodeType="withEffect">
                                  <p:stCondLst>
                                    <p:cond delay="500"/>
                                  </p:stCondLst>
                                  <p:childTnLst>
                                    <p:animScale>
                                      <p:cBhvr>
                                        <p:cTn id="31" dur="300" fill="hold"/>
                                        <p:tgtEl>
                                          <p:spTgt spid="1386"/>
                                        </p:tgtEl>
                                      </p:cBhvr>
                                      <p:by x="105000" y="105000"/>
                                    </p:animScale>
                                  </p:childTnLst>
                                </p:cTn>
                              </p:par>
                              <p:par>
                                <p:cTn id="32" presetID="10" presetClass="exit" presetSubtype="0" fill="hold" nodeType="withEffect">
                                  <p:stCondLst>
                                    <p:cond delay="1000"/>
                                  </p:stCondLst>
                                  <p:childTnLst>
                                    <p:animEffect transition="out" filter="fade">
                                      <p:cBhvr>
                                        <p:cTn id="33" dur="500"/>
                                        <p:tgtEl>
                                          <p:spTgt spid="1386"/>
                                        </p:tgtEl>
                                      </p:cBhvr>
                                    </p:animEffect>
                                    <p:set>
                                      <p:cBhvr>
                                        <p:cTn id="34" dur="1" fill="hold">
                                          <p:stCondLst>
                                            <p:cond delay="499"/>
                                          </p:stCondLst>
                                        </p:cTn>
                                        <p:tgtEl>
                                          <p:spTgt spid="1386"/>
                                        </p:tgtEl>
                                        <p:attrNameLst>
                                          <p:attrName>style.visibility</p:attrName>
                                        </p:attrNameLst>
                                      </p:cBhvr>
                                      <p:to>
                                        <p:strVal val="hidden"/>
                                      </p:to>
                                    </p:set>
                                  </p:childTnLst>
                                </p:cTn>
                              </p:par>
                              <p:par>
                                <p:cTn id="35" presetID="22" presetClass="entr" presetSubtype="4" fill="hold" nodeType="withEffect">
                                  <p:stCondLst>
                                    <p:cond delay="500"/>
                                  </p:stCondLst>
                                  <p:childTnLst>
                                    <p:set>
                                      <p:cBhvr>
                                        <p:cTn id="36" dur="1" fill="hold">
                                          <p:stCondLst>
                                            <p:cond delay="0"/>
                                          </p:stCondLst>
                                        </p:cTn>
                                        <p:tgtEl>
                                          <p:spTgt spid="120"/>
                                        </p:tgtEl>
                                        <p:attrNameLst>
                                          <p:attrName>style.visibility</p:attrName>
                                        </p:attrNameLst>
                                      </p:cBhvr>
                                      <p:to>
                                        <p:strVal val="visible"/>
                                      </p:to>
                                    </p:set>
                                    <p:animEffect transition="in" filter="wipe(down)">
                                      <p:cBhvr>
                                        <p:cTn id="37" dur="500"/>
                                        <p:tgtEl>
                                          <p:spTgt spid="120"/>
                                        </p:tgtEl>
                                      </p:cBhvr>
                                    </p:animEffect>
                                  </p:childTnLst>
                                </p:cTn>
                              </p:par>
                              <p:par>
                                <p:cTn id="38" presetID="22" presetClass="entr" presetSubtype="4" fill="hold" nodeType="withEffect">
                                  <p:stCondLst>
                                    <p:cond delay="500"/>
                                  </p:stCondLst>
                                  <p:childTnLst>
                                    <p:set>
                                      <p:cBhvr>
                                        <p:cTn id="39" dur="1" fill="hold">
                                          <p:stCondLst>
                                            <p:cond delay="0"/>
                                          </p:stCondLst>
                                        </p:cTn>
                                        <p:tgtEl>
                                          <p:spTgt spid="117"/>
                                        </p:tgtEl>
                                        <p:attrNameLst>
                                          <p:attrName>style.visibility</p:attrName>
                                        </p:attrNameLst>
                                      </p:cBhvr>
                                      <p:to>
                                        <p:strVal val="visible"/>
                                      </p:to>
                                    </p:set>
                                    <p:animEffect transition="in" filter="wipe(down)">
                                      <p:cBhvr>
                                        <p:cTn id="40" dur="500"/>
                                        <p:tgtEl>
                                          <p:spTgt spid="117"/>
                                        </p:tgtEl>
                                      </p:cBhvr>
                                    </p:animEffect>
                                  </p:childTnLst>
                                </p:cTn>
                              </p:par>
                              <p:par>
                                <p:cTn id="41" presetID="22" presetClass="entr" presetSubtype="1" fill="hold" nodeType="withEffect">
                                  <p:stCondLst>
                                    <p:cond delay="1000"/>
                                  </p:stCondLst>
                                  <p:childTnLst>
                                    <p:set>
                                      <p:cBhvr>
                                        <p:cTn id="42" dur="1" fill="hold">
                                          <p:stCondLst>
                                            <p:cond delay="0"/>
                                          </p:stCondLst>
                                        </p:cTn>
                                        <p:tgtEl>
                                          <p:spTgt spid="127"/>
                                        </p:tgtEl>
                                        <p:attrNameLst>
                                          <p:attrName>style.visibility</p:attrName>
                                        </p:attrNameLst>
                                      </p:cBhvr>
                                      <p:to>
                                        <p:strVal val="visible"/>
                                      </p:to>
                                    </p:set>
                                    <p:animEffect transition="in" filter="wipe(up)">
                                      <p:cBhvr>
                                        <p:cTn id="43" dur="500"/>
                                        <p:tgtEl>
                                          <p:spTgt spid="127"/>
                                        </p:tgtEl>
                                      </p:cBhvr>
                                    </p:animEffect>
                                  </p:childTnLst>
                                </p:cTn>
                              </p:par>
                              <p:par>
                                <p:cTn id="44" presetID="10" presetClass="entr" presetSubtype="0" fill="hold" nodeType="withEffect">
                                  <p:stCondLst>
                                    <p:cond delay="1000"/>
                                  </p:stCondLst>
                                  <p:childTnLst>
                                    <p:set>
                                      <p:cBhvr>
                                        <p:cTn id="45" dur="1" fill="hold">
                                          <p:stCondLst>
                                            <p:cond delay="0"/>
                                          </p:stCondLst>
                                        </p:cTn>
                                        <p:tgtEl>
                                          <p:spTgt spid="1424"/>
                                        </p:tgtEl>
                                        <p:attrNameLst>
                                          <p:attrName>style.visibility</p:attrName>
                                        </p:attrNameLst>
                                      </p:cBhvr>
                                      <p:to>
                                        <p:strVal val="visible"/>
                                      </p:to>
                                    </p:set>
                                    <p:animEffect transition="in" filter="fade">
                                      <p:cBhvr>
                                        <p:cTn id="46" dur="150"/>
                                        <p:tgtEl>
                                          <p:spTgt spid="1424"/>
                                        </p:tgtEl>
                                      </p:cBhvr>
                                    </p:animEffect>
                                  </p:childTnLst>
                                </p:cTn>
                              </p:par>
                              <p:par>
                                <p:cTn id="47" presetID="6" presetClass="emph" presetSubtype="0" decel="100000" autoRev="1" fill="hold" nodeType="withEffect">
                                  <p:stCondLst>
                                    <p:cond delay="1000"/>
                                  </p:stCondLst>
                                  <p:childTnLst>
                                    <p:animScale>
                                      <p:cBhvr>
                                        <p:cTn id="48" dur="300" fill="hold"/>
                                        <p:tgtEl>
                                          <p:spTgt spid="1424"/>
                                        </p:tgtEl>
                                      </p:cBhvr>
                                      <p:by x="105000" y="105000"/>
                                    </p:animScale>
                                  </p:childTnLst>
                                </p:cTn>
                              </p:par>
                              <p:par>
                                <p:cTn id="49" presetID="10" presetClass="exit" presetSubtype="0" fill="hold" nodeType="withEffect">
                                  <p:stCondLst>
                                    <p:cond delay="1500"/>
                                  </p:stCondLst>
                                  <p:childTnLst>
                                    <p:animEffect transition="out" filter="fade">
                                      <p:cBhvr>
                                        <p:cTn id="50" dur="500"/>
                                        <p:tgtEl>
                                          <p:spTgt spid="1424"/>
                                        </p:tgtEl>
                                      </p:cBhvr>
                                    </p:animEffect>
                                    <p:set>
                                      <p:cBhvr>
                                        <p:cTn id="51" dur="1" fill="hold">
                                          <p:stCondLst>
                                            <p:cond delay="499"/>
                                          </p:stCondLst>
                                        </p:cTn>
                                        <p:tgtEl>
                                          <p:spTgt spid="1424"/>
                                        </p:tgtEl>
                                        <p:attrNameLst>
                                          <p:attrName>style.visibility</p:attrName>
                                        </p:attrNameLst>
                                      </p:cBhvr>
                                      <p:to>
                                        <p:strVal val="hidden"/>
                                      </p:to>
                                    </p:set>
                                  </p:childTnLst>
                                </p:cTn>
                              </p:par>
                              <p:par>
                                <p:cTn id="52" presetID="22" presetClass="entr" presetSubtype="4" fill="hold" nodeType="withEffect">
                                  <p:stCondLst>
                                    <p:cond delay="1500"/>
                                  </p:stCondLst>
                                  <p:childTnLst>
                                    <p:set>
                                      <p:cBhvr>
                                        <p:cTn id="53" dur="1" fill="hold">
                                          <p:stCondLst>
                                            <p:cond delay="0"/>
                                          </p:stCondLst>
                                        </p:cTn>
                                        <p:tgtEl>
                                          <p:spTgt spid="124"/>
                                        </p:tgtEl>
                                        <p:attrNameLst>
                                          <p:attrName>style.visibility</p:attrName>
                                        </p:attrNameLst>
                                      </p:cBhvr>
                                      <p:to>
                                        <p:strVal val="visible"/>
                                      </p:to>
                                    </p:set>
                                    <p:animEffect transition="in" filter="wipe(down)">
                                      <p:cBhvr>
                                        <p:cTn id="54" dur="500"/>
                                        <p:tgtEl>
                                          <p:spTgt spid="124"/>
                                        </p:tgtEl>
                                      </p:cBhvr>
                                    </p:animEffect>
                                  </p:childTnLst>
                                </p:cTn>
                              </p:par>
                              <p:par>
                                <p:cTn id="55" presetID="22" presetClass="entr" presetSubtype="2" fill="hold" nodeType="withEffect">
                                  <p:stCondLst>
                                    <p:cond delay="1500"/>
                                  </p:stCondLst>
                                  <p:childTnLst>
                                    <p:set>
                                      <p:cBhvr>
                                        <p:cTn id="56" dur="1" fill="hold">
                                          <p:stCondLst>
                                            <p:cond delay="0"/>
                                          </p:stCondLst>
                                        </p:cTn>
                                        <p:tgtEl>
                                          <p:spTgt spid="126"/>
                                        </p:tgtEl>
                                        <p:attrNameLst>
                                          <p:attrName>style.visibility</p:attrName>
                                        </p:attrNameLst>
                                      </p:cBhvr>
                                      <p:to>
                                        <p:strVal val="visible"/>
                                      </p:to>
                                    </p:set>
                                    <p:animEffect transition="in" filter="wipe(right)">
                                      <p:cBhvr>
                                        <p:cTn id="57" dur="500"/>
                                        <p:tgtEl>
                                          <p:spTgt spid="126"/>
                                        </p:tgtEl>
                                      </p:cBhvr>
                                    </p:animEffect>
                                  </p:childTnLst>
                                </p:cTn>
                              </p:par>
                              <p:par>
                                <p:cTn id="58" presetID="10" presetClass="entr" presetSubtype="0" fill="hold" nodeType="withEffect">
                                  <p:stCondLst>
                                    <p:cond delay="1500"/>
                                  </p:stCondLst>
                                  <p:childTnLst>
                                    <p:set>
                                      <p:cBhvr>
                                        <p:cTn id="59" dur="1" fill="hold">
                                          <p:stCondLst>
                                            <p:cond delay="0"/>
                                          </p:stCondLst>
                                        </p:cTn>
                                        <p:tgtEl>
                                          <p:spTgt spid="1462"/>
                                        </p:tgtEl>
                                        <p:attrNameLst>
                                          <p:attrName>style.visibility</p:attrName>
                                        </p:attrNameLst>
                                      </p:cBhvr>
                                      <p:to>
                                        <p:strVal val="visible"/>
                                      </p:to>
                                    </p:set>
                                    <p:animEffect transition="in" filter="fade">
                                      <p:cBhvr>
                                        <p:cTn id="60" dur="150"/>
                                        <p:tgtEl>
                                          <p:spTgt spid="1462"/>
                                        </p:tgtEl>
                                      </p:cBhvr>
                                    </p:animEffect>
                                  </p:childTnLst>
                                </p:cTn>
                              </p:par>
                              <p:par>
                                <p:cTn id="61" presetID="6" presetClass="emph" presetSubtype="0" decel="100000" autoRev="1" fill="hold" nodeType="withEffect">
                                  <p:stCondLst>
                                    <p:cond delay="1500"/>
                                  </p:stCondLst>
                                  <p:childTnLst>
                                    <p:animScale>
                                      <p:cBhvr>
                                        <p:cTn id="62" dur="300" fill="hold"/>
                                        <p:tgtEl>
                                          <p:spTgt spid="1462"/>
                                        </p:tgtEl>
                                      </p:cBhvr>
                                      <p:by x="105000" y="105000"/>
                                    </p:animScale>
                                  </p:childTnLst>
                                </p:cTn>
                              </p:par>
                              <p:par>
                                <p:cTn id="63" presetID="10" presetClass="exit" presetSubtype="0" fill="hold" nodeType="withEffect">
                                  <p:stCondLst>
                                    <p:cond delay="2000"/>
                                  </p:stCondLst>
                                  <p:childTnLst>
                                    <p:animEffect transition="out" filter="fade">
                                      <p:cBhvr>
                                        <p:cTn id="64" dur="500"/>
                                        <p:tgtEl>
                                          <p:spTgt spid="1462"/>
                                        </p:tgtEl>
                                      </p:cBhvr>
                                    </p:animEffect>
                                    <p:set>
                                      <p:cBhvr>
                                        <p:cTn id="65" dur="1" fill="hold">
                                          <p:stCondLst>
                                            <p:cond delay="499"/>
                                          </p:stCondLst>
                                        </p:cTn>
                                        <p:tgtEl>
                                          <p:spTgt spid="1462"/>
                                        </p:tgtEl>
                                        <p:attrNameLst>
                                          <p:attrName>style.visibility</p:attrName>
                                        </p:attrNameLst>
                                      </p:cBhvr>
                                      <p:to>
                                        <p:strVal val="hidden"/>
                                      </p:to>
                                    </p:set>
                                  </p:childTnLst>
                                </p:cTn>
                              </p:par>
                              <p:par>
                                <p:cTn id="66" presetID="10" presetClass="entr" presetSubtype="0" fill="hold" nodeType="withEffect">
                                  <p:stCondLst>
                                    <p:cond delay="1500"/>
                                  </p:stCondLst>
                                  <p:childTnLst>
                                    <p:set>
                                      <p:cBhvr>
                                        <p:cTn id="67" dur="1" fill="hold">
                                          <p:stCondLst>
                                            <p:cond delay="0"/>
                                          </p:stCondLst>
                                        </p:cTn>
                                        <p:tgtEl>
                                          <p:spTgt spid="1500"/>
                                        </p:tgtEl>
                                        <p:attrNameLst>
                                          <p:attrName>style.visibility</p:attrName>
                                        </p:attrNameLst>
                                      </p:cBhvr>
                                      <p:to>
                                        <p:strVal val="visible"/>
                                      </p:to>
                                    </p:set>
                                    <p:animEffect transition="in" filter="fade">
                                      <p:cBhvr>
                                        <p:cTn id="68" dur="150"/>
                                        <p:tgtEl>
                                          <p:spTgt spid="1500"/>
                                        </p:tgtEl>
                                      </p:cBhvr>
                                    </p:animEffect>
                                  </p:childTnLst>
                                </p:cTn>
                              </p:par>
                              <p:par>
                                <p:cTn id="69" presetID="6" presetClass="emph" presetSubtype="0" decel="100000" autoRev="1" fill="hold" nodeType="withEffect">
                                  <p:stCondLst>
                                    <p:cond delay="1500"/>
                                  </p:stCondLst>
                                  <p:childTnLst>
                                    <p:animScale>
                                      <p:cBhvr>
                                        <p:cTn id="70" dur="300" fill="hold"/>
                                        <p:tgtEl>
                                          <p:spTgt spid="1500"/>
                                        </p:tgtEl>
                                      </p:cBhvr>
                                      <p:by x="105000" y="105000"/>
                                    </p:animScale>
                                  </p:childTnLst>
                                </p:cTn>
                              </p:par>
                              <p:par>
                                <p:cTn id="71" presetID="10" presetClass="exit" presetSubtype="0" fill="hold" nodeType="withEffect">
                                  <p:stCondLst>
                                    <p:cond delay="2000"/>
                                  </p:stCondLst>
                                  <p:childTnLst>
                                    <p:animEffect transition="out" filter="fade">
                                      <p:cBhvr>
                                        <p:cTn id="72" dur="500"/>
                                        <p:tgtEl>
                                          <p:spTgt spid="1500"/>
                                        </p:tgtEl>
                                      </p:cBhvr>
                                    </p:animEffect>
                                    <p:set>
                                      <p:cBhvr>
                                        <p:cTn id="73" dur="1" fill="hold">
                                          <p:stCondLst>
                                            <p:cond delay="499"/>
                                          </p:stCondLst>
                                        </p:cTn>
                                        <p:tgtEl>
                                          <p:spTgt spid="1500"/>
                                        </p:tgtEl>
                                        <p:attrNameLst>
                                          <p:attrName>style.visibility</p:attrName>
                                        </p:attrNameLst>
                                      </p:cBhvr>
                                      <p:to>
                                        <p:strVal val="hidden"/>
                                      </p:to>
                                    </p:set>
                                  </p:childTnLst>
                                </p:cTn>
                              </p:par>
                              <p:par>
                                <p:cTn id="74" presetID="22" presetClass="entr" presetSubtype="2" fill="hold" nodeType="withEffect">
                                  <p:stCondLst>
                                    <p:cond delay="2000"/>
                                  </p:stCondLst>
                                  <p:childTnLst>
                                    <p:set>
                                      <p:cBhvr>
                                        <p:cTn id="75" dur="1" fill="hold">
                                          <p:stCondLst>
                                            <p:cond delay="0"/>
                                          </p:stCondLst>
                                        </p:cTn>
                                        <p:tgtEl>
                                          <p:spTgt spid="112"/>
                                        </p:tgtEl>
                                        <p:attrNameLst>
                                          <p:attrName>style.visibility</p:attrName>
                                        </p:attrNameLst>
                                      </p:cBhvr>
                                      <p:to>
                                        <p:strVal val="visible"/>
                                      </p:to>
                                    </p:set>
                                    <p:animEffect transition="in" filter="wipe(right)">
                                      <p:cBhvr>
                                        <p:cTn id="76" dur="500"/>
                                        <p:tgtEl>
                                          <p:spTgt spid="112"/>
                                        </p:tgtEl>
                                      </p:cBhvr>
                                    </p:animEffect>
                                  </p:childTnLst>
                                </p:cTn>
                              </p:par>
                              <p:par>
                                <p:cTn id="77" presetID="22" presetClass="entr" presetSubtype="4" fill="hold" nodeType="withEffect">
                                  <p:stCondLst>
                                    <p:cond delay="2000"/>
                                  </p:stCondLst>
                                  <p:childTnLst>
                                    <p:set>
                                      <p:cBhvr>
                                        <p:cTn id="78" dur="1" fill="hold">
                                          <p:stCondLst>
                                            <p:cond delay="0"/>
                                          </p:stCondLst>
                                        </p:cTn>
                                        <p:tgtEl>
                                          <p:spTgt spid="128"/>
                                        </p:tgtEl>
                                        <p:attrNameLst>
                                          <p:attrName>style.visibility</p:attrName>
                                        </p:attrNameLst>
                                      </p:cBhvr>
                                      <p:to>
                                        <p:strVal val="visible"/>
                                      </p:to>
                                    </p:set>
                                    <p:animEffect transition="in" filter="wipe(down)">
                                      <p:cBhvr>
                                        <p:cTn id="79" dur="500"/>
                                        <p:tgtEl>
                                          <p:spTgt spid="128"/>
                                        </p:tgtEl>
                                      </p:cBhvr>
                                    </p:animEffect>
                                  </p:childTnLst>
                                </p:cTn>
                              </p:par>
                              <p:par>
                                <p:cTn id="80" presetID="10" presetClass="entr" presetSubtype="0" fill="hold" nodeType="withEffect">
                                  <p:stCondLst>
                                    <p:cond delay="2000"/>
                                  </p:stCondLst>
                                  <p:childTnLst>
                                    <p:set>
                                      <p:cBhvr>
                                        <p:cTn id="81" dur="1" fill="hold">
                                          <p:stCondLst>
                                            <p:cond delay="0"/>
                                          </p:stCondLst>
                                        </p:cTn>
                                        <p:tgtEl>
                                          <p:spTgt spid="1538"/>
                                        </p:tgtEl>
                                        <p:attrNameLst>
                                          <p:attrName>style.visibility</p:attrName>
                                        </p:attrNameLst>
                                      </p:cBhvr>
                                      <p:to>
                                        <p:strVal val="visible"/>
                                      </p:to>
                                    </p:set>
                                    <p:animEffect transition="in" filter="fade">
                                      <p:cBhvr>
                                        <p:cTn id="82" dur="150"/>
                                        <p:tgtEl>
                                          <p:spTgt spid="1538"/>
                                        </p:tgtEl>
                                      </p:cBhvr>
                                    </p:animEffect>
                                  </p:childTnLst>
                                </p:cTn>
                              </p:par>
                              <p:par>
                                <p:cTn id="83" presetID="6" presetClass="emph" presetSubtype="0" decel="100000" autoRev="1" fill="hold" nodeType="withEffect">
                                  <p:stCondLst>
                                    <p:cond delay="2000"/>
                                  </p:stCondLst>
                                  <p:childTnLst>
                                    <p:animScale>
                                      <p:cBhvr>
                                        <p:cTn id="84" dur="300" fill="hold"/>
                                        <p:tgtEl>
                                          <p:spTgt spid="1538"/>
                                        </p:tgtEl>
                                      </p:cBhvr>
                                      <p:by x="105000" y="105000"/>
                                    </p:animScale>
                                  </p:childTnLst>
                                </p:cTn>
                              </p:par>
                              <p:par>
                                <p:cTn id="85" presetID="10" presetClass="exit" presetSubtype="0" fill="hold" nodeType="withEffect">
                                  <p:stCondLst>
                                    <p:cond delay="2500"/>
                                  </p:stCondLst>
                                  <p:childTnLst>
                                    <p:animEffect transition="out" filter="fade">
                                      <p:cBhvr>
                                        <p:cTn id="86" dur="500"/>
                                        <p:tgtEl>
                                          <p:spTgt spid="1538"/>
                                        </p:tgtEl>
                                      </p:cBhvr>
                                    </p:animEffect>
                                    <p:set>
                                      <p:cBhvr>
                                        <p:cTn id="87" dur="1" fill="hold">
                                          <p:stCondLst>
                                            <p:cond delay="499"/>
                                          </p:stCondLst>
                                        </p:cTn>
                                        <p:tgtEl>
                                          <p:spTgt spid="1538"/>
                                        </p:tgtEl>
                                        <p:attrNameLst>
                                          <p:attrName>style.visibility</p:attrName>
                                        </p:attrNameLst>
                                      </p:cBhvr>
                                      <p:to>
                                        <p:strVal val="hidden"/>
                                      </p:to>
                                    </p:set>
                                  </p:childTnLst>
                                </p:cTn>
                              </p:par>
                              <p:par>
                                <p:cTn id="88" presetID="10" presetClass="entr" presetSubtype="0" fill="hold" nodeType="withEffect">
                                  <p:stCondLst>
                                    <p:cond delay="2000"/>
                                  </p:stCondLst>
                                  <p:childTnLst>
                                    <p:set>
                                      <p:cBhvr>
                                        <p:cTn id="89" dur="1" fill="hold">
                                          <p:stCondLst>
                                            <p:cond delay="0"/>
                                          </p:stCondLst>
                                        </p:cTn>
                                        <p:tgtEl>
                                          <p:spTgt spid="1576"/>
                                        </p:tgtEl>
                                        <p:attrNameLst>
                                          <p:attrName>style.visibility</p:attrName>
                                        </p:attrNameLst>
                                      </p:cBhvr>
                                      <p:to>
                                        <p:strVal val="visible"/>
                                      </p:to>
                                    </p:set>
                                    <p:animEffect transition="in" filter="fade">
                                      <p:cBhvr>
                                        <p:cTn id="90" dur="150"/>
                                        <p:tgtEl>
                                          <p:spTgt spid="1576"/>
                                        </p:tgtEl>
                                      </p:cBhvr>
                                    </p:animEffect>
                                  </p:childTnLst>
                                </p:cTn>
                              </p:par>
                              <p:par>
                                <p:cTn id="91" presetID="6" presetClass="emph" presetSubtype="0" decel="100000" autoRev="1" fill="hold" nodeType="withEffect">
                                  <p:stCondLst>
                                    <p:cond delay="2000"/>
                                  </p:stCondLst>
                                  <p:childTnLst>
                                    <p:animScale>
                                      <p:cBhvr>
                                        <p:cTn id="92" dur="300" fill="hold"/>
                                        <p:tgtEl>
                                          <p:spTgt spid="1576"/>
                                        </p:tgtEl>
                                      </p:cBhvr>
                                      <p:by x="105000" y="105000"/>
                                    </p:animScale>
                                  </p:childTnLst>
                                </p:cTn>
                              </p:par>
                              <p:par>
                                <p:cTn id="93" presetID="10" presetClass="exit" presetSubtype="0" fill="hold" nodeType="withEffect">
                                  <p:stCondLst>
                                    <p:cond delay="2500"/>
                                  </p:stCondLst>
                                  <p:childTnLst>
                                    <p:animEffect transition="out" filter="fade">
                                      <p:cBhvr>
                                        <p:cTn id="94" dur="500"/>
                                        <p:tgtEl>
                                          <p:spTgt spid="1576"/>
                                        </p:tgtEl>
                                      </p:cBhvr>
                                    </p:animEffect>
                                    <p:set>
                                      <p:cBhvr>
                                        <p:cTn id="95" dur="1" fill="hold">
                                          <p:stCondLst>
                                            <p:cond delay="499"/>
                                          </p:stCondLst>
                                        </p:cTn>
                                        <p:tgtEl>
                                          <p:spTgt spid="1576"/>
                                        </p:tgtEl>
                                        <p:attrNameLst>
                                          <p:attrName>style.visibility</p:attrName>
                                        </p:attrNameLst>
                                      </p:cBhvr>
                                      <p:to>
                                        <p:strVal val="hidden"/>
                                      </p:to>
                                    </p:set>
                                  </p:childTnLst>
                                </p:cTn>
                              </p:par>
                              <p:par>
                                <p:cTn id="96" presetID="22" presetClass="entr" presetSubtype="4" fill="hold" nodeType="withEffect">
                                  <p:stCondLst>
                                    <p:cond delay="2500"/>
                                  </p:stCondLst>
                                  <p:childTnLst>
                                    <p:set>
                                      <p:cBhvr>
                                        <p:cTn id="97" dur="1" fill="hold">
                                          <p:stCondLst>
                                            <p:cond delay="0"/>
                                          </p:stCondLst>
                                        </p:cTn>
                                        <p:tgtEl>
                                          <p:spTgt spid="111"/>
                                        </p:tgtEl>
                                        <p:attrNameLst>
                                          <p:attrName>style.visibility</p:attrName>
                                        </p:attrNameLst>
                                      </p:cBhvr>
                                      <p:to>
                                        <p:strVal val="visible"/>
                                      </p:to>
                                    </p:set>
                                    <p:animEffect transition="in" filter="wipe(down)">
                                      <p:cBhvr>
                                        <p:cTn id="98" dur="500"/>
                                        <p:tgtEl>
                                          <p:spTgt spid="111"/>
                                        </p:tgtEl>
                                      </p:cBhvr>
                                    </p:animEffect>
                                  </p:childTnLst>
                                </p:cTn>
                              </p:par>
                              <p:par>
                                <p:cTn id="99" presetID="22" presetClass="entr" presetSubtype="1" fill="hold" nodeType="withEffect">
                                  <p:stCondLst>
                                    <p:cond delay="2500"/>
                                  </p:stCondLst>
                                  <p:childTnLst>
                                    <p:set>
                                      <p:cBhvr>
                                        <p:cTn id="100" dur="1" fill="hold">
                                          <p:stCondLst>
                                            <p:cond delay="0"/>
                                          </p:stCondLst>
                                        </p:cTn>
                                        <p:tgtEl>
                                          <p:spTgt spid="109"/>
                                        </p:tgtEl>
                                        <p:attrNameLst>
                                          <p:attrName>style.visibility</p:attrName>
                                        </p:attrNameLst>
                                      </p:cBhvr>
                                      <p:to>
                                        <p:strVal val="visible"/>
                                      </p:to>
                                    </p:set>
                                    <p:animEffect transition="in" filter="wipe(up)">
                                      <p:cBhvr>
                                        <p:cTn id="101" dur="500"/>
                                        <p:tgtEl>
                                          <p:spTgt spid="109"/>
                                        </p:tgtEl>
                                      </p:cBhvr>
                                    </p:animEffect>
                                  </p:childTnLst>
                                </p:cTn>
                              </p:par>
                              <p:par>
                                <p:cTn id="102" presetID="10" presetClass="entr" presetSubtype="0" fill="hold" nodeType="withEffect">
                                  <p:stCondLst>
                                    <p:cond delay="2500"/>
                                  </p:stCondLst>
                                  <p:childTnLst>
                                    <p:set>
                                      <p:cBhvr>
                                        <p:cTn id="103" dur="1" fill="hold">
                                          <p:stCondLst>
                                            <p:cond delay="0"/>
                                          </p:stCondLst>
                                        </p:cTn>
                                        <p:tgtEl>
                                          <p:spTgt spid="1614"/>
                                        </p:tgtEl>
                                        <p:attrNameLst>
                                          <p:attrName>style.visibility</p:attrName>
                                        </p:attrNameLst>
                                      </p:cBhvr>
                                      <p:to>
                                        <p:strVal val="visible"/>
                                      </p:to>
                                    </p:set>
                                    <p:animEffect transition="in" filter="fade">
                                      <p:cBhvr>
                                        <p:cTn id="104" dur="150"/>
                                        <p:tgtEl>
                                          <p:spTgt spid="1614"/>
                                        </p:tgtEl>
                                      </p:cBhvr>
                                    </p:animEffect>
                                  </p:childTnLst>
                                </p:cTn>
                              </p:par>
                              <p:par>
                                <p:cTn id="105" presetID="6" presetClass="emph" presetSubtype="0" decel="100000" autoRev="1" fill="hold" nodeType="withEffect">
                                  <p:stCondLst>
                                    <p:cond delay="2500"/>
                                  </p:stCondLst>
                                  <p:childTnLst>
                                    <p:animScale>
                                      <p:cBhvr>
                                        <p:cTn id="106" dur="300" fill="hold"/>
                                        <p:tgtEl>
                                          <p:spTgt spid="1614"/>
                                        </p:tgtEl>
                                      </p:cBhvr>
                                      <p:by x="105000" y="105000"/>
                                    </p:animScale>
                                  </p:childTnLst>
                                </p:cTn>
                              </p:par>
                              <p:par>
                                <p:cTn id="107" presetID="10" presetClass="exit" presetSubtype="0" fill="hold" nodeType="withEffect">
                                  <p:stCondLst>
                                    <p:cond delay="3000"/>
                                  </p:stCondLst>
                                  <p:childTnLst>
                                    <p:animEffect transition="out" filter="fade">
                                      <p:cBhvr>
                                        <p:cTn id="108" dur="500"/>
                                        <p:tgtEl>
                                          <p:spTgt spid="1614"/>
                                        </p:tgtEl>
                                      </p:cBhvr>
                                    </p:animEffect>
                                    <p:set>
                                      <p:cBhvr>
                                        <p:cTn id="109" dur="1" fill="hold">
                                          <p:stCondLst>
                                            <p:cond delay="499"/>
                                          </p:stCondLst>
                                        </p:cTn>
                                        <p:tgtEl>
                                          <p:spTgt spid="1614"/>
                                        </p:tgtEl>
                                        <p:attrNameLst>
                                          <p:attrName>style.visibility</p:attrName>
                                        </p:attrNameLst>
                                      </p:cBhvr>
                                      <p:to>
                                        <p:strVal val="hidden"/>
                                      </p:to>
                                    </p:set>
                                  </p:childTnLst>
                                </p:cTn>
                              </p:par>
                              <p:par>
                                <p:cTn id="110" presetID="10" presetClass="entr" presetSubtype="0" fill="hold" nodeType="withEffect">
                                  <p:stCondLst>
                                    <p:cond delay="2500"/>
                                  </p:stCondLst>
                                  <p:childTnLst>
                                    <p:set>
                                      <p:cBhvr>
                                        <p:cTn id="111" dur="1" fill="hold">
                                          <p:stCondLst>
                                            <p:cond delay="0"/>
                                          </p:stCondLst>
                                        </p:cTn>
                                        <p:tgtEl>
                                          <p:spTgt spid="1690"/>
                                        </p:tgtEl>
                                        <p:attrNameLst>
                                          <p:attrName>style.visibility</p:attrName>
                                        </p:attrNameLst>
                                      </p:cBhvr>
                                      <p:to>
                                        <p:strVal val="visible"/>
                                      </p:to>
                                    </p:set>
                                    <p:animEffect transition="in" filter="fade">
                                      <p:cBhvr>
                                        <p:cTn id="112" dur="150"/>
                                        <p:tgtEl>
                                          <p:spTgt spid="1690"/>
                                        </p:tgtEl>
                                      </p:cBhvr>
                                    </p:animEffect>
                                  </p:childTnLst>
                                </p:cTn>
                              </p:par>
                              <p:par>
                                <p:cTn id="113" presetID="6" presetClass="emph" presetSubtype="0" decel="100000" autoRev="1" fill="hold" nodeType="withEffect">
                                  <p:stCondLst>
                                    <p:cond delay="2500"/>
                                  </p:stCondLst>
                                  <p:childTnLst>
                                    <p:animScale>
                                      <p:cBhvr>
                                        <p:cTn id="114" dur="300" fill="hold"/>
                                        <p:tgtEl>
                                          <p:spTgt spid="1690"/>
                                        </p:tgtEl>
                                      </p:cBhvr>
                                      <p:by x="105000" y="105000"/>
                                    </p:animScale>
                                  </p:childTnLst>
                                </p:cTn>
                              </p:par>
                              <p:par>
                                <p:cTn id="115" presetID="10" presetClass="exit" presetSubtype="0" fill="hold" nodeType="withEffect">
                                  <p:stCondLst>
                                    <p:cond delay="3000"/>
                                  </p:stCondLst>
                                  <p:childTnLst>
                                    <p:animEffect transition="out" filter="fade">
                                      <p:cBhvr>
                                        <p:cTn id="116" dur="500"/>
                                        <p:tgtEl>
                                          <p:spTgt spid="1690"/>
                                        </p:tgtEl>
                                      </p:cBhvr>
                                    </p:animEffect>
                                    <p:set>
                                      <p:cBhvr>
                                        <p:cTn id="117" dur="1" fill="hold">
                                          <p:stCondLst>
                                            <p:cond delay="499"/>
                                          </p:stCondLst>
                                        </p:cTn>
                                        <p:tgtEl>
                                          <p:spTgt spid="1690"/>
                                        </p:tgtEl>
                                        <p:attrNameLst>
                                          <p:attrName>style.visibility</p:attrName>
                                        </p:attrNameLst>
                                      </p:cBhvr>
                                      <p:to>
                                        <p:strVal val="hidden"/>
                                      </p:to>
                                    </p:set>
                                  </p:childTnLst>
                                </p:cTn>
                              </p:par>
                              <p:par>
                                <p:cTn id="118" presetID="22" presetClass="entr" presetSubtype="4" fill="hold" nodeType="withEffect">
                                  <p:stCondLst>
                                    <p:cond delay="3000"/>
                                  </p:stCondLst>
                                  <p:childTnLst>
                                    <p:set>
                                      <p:cBhvr>
                                        <p:cTn id="119" dur="1" fill="hold">
                                          <p:stCondLst>
                                            <p:cond delay="0"/>
                                          </p:stCondLst>
                                        </p:cTn>
                                        <p:tgtEl>
                                          <p:spTgt spid="118"/>
                                        </p:tgtEl>
                                        <p:attrNameLst>
                                          <p:attrName>style.visibility</p:attrName>
                                        </p:attrNameLst>
                                      </p:cBhvr>
                                      <p:to>
                                        <p:strVal val="visible"/>
                                      </p:to>
                                    </p:set>
                                    <p:animEffect transition="in" filter="wipe(down)">
                                      <p:cBhvr>
                                        <p:cTn id="120" dur="500"/>
                                        <p:tgtEl>
                                          <p:spTgt spid="118"/>
                                        </p:tgtEl>
                                      </p:cBhvr>
                                    </p:animEffect>
                                  </p:childTnLst>
                                </p:cTn>
                              </p:par>
                              <p:par>
                                <p:cTn id="121" presetID="22" presetClass="entr" presetSubtype="8" fill="hold" nodeType="withEffect">
                                  <p:stCondLst>
                                    <p:cond delay="3000"/>
                                  </p:stCondLst>
                                  <p:childTnLst>
                                    <p:set>
                                      <p:cBhvr>
                                        <p:cTn id="122" dur="1" fill="hold">
                                          <p:stCondLst>
                                            <p:cond delay="0"/>
                                          </p:stCondLst>
                                        </p:cTn>
                                        <p:tgtEl>
                                          <p:spTgt spid="119"/>
                                        </p:tgtEl>
                                        <p:attrNameLst>
                                          <p:attrName>style.visibility</p:attrName>
                                        </p:attrNameLst>
                                      </p:cBhvr>
                                      <p:to>
                                        <p:strVal val="visible"/>
                                      </p:to>
                                    </p:set>
                                    <p:animEffect transition="in" filter="wipe(left)">
                                      <p:cBhvr>
                                        <p:cTn id="123" dur="500"/>
                                        <p:tgtEl>
                                          <p:spTgt spid="119"/>
                                        </p:tgtEl>
                                      </p:cBhvr>
                                    </p:animEffect>
                                  </p:childTnLst>
                                </p:cTn>
                              </p:par>
                              <p:par>
                                <p:cTn id="124" presetID="22" presetClass="entr" presetSubtype="1" fill="hold" nodeType="withEffect">
                                  <p:stCondLst>
                                    <p:cond delay="3000"/>
                                  </p:stCondLst>
                                  <p:childTnLst>
                                    <p:set>
                                      <p:cBhvr>
                                        <p:cTn id="125" dur="1" fill="hold">
                                          <p:stCondLst>
                                            <p:cond delay="0"/>
                                          </p:stCondLst>
                                        </p:cTn>
                                        <p:tgtEl>
                                          <p:spTgt spid="121"/>
                                        </p:tgtEl>
                                        <p:attrNameLst>
                                          <p:attrName>style.visibility</p:attrName>
                                        </p:attrNameLst>
                                      </p:cBhvr>
                                      <p:to>
                                        <p:strVal val="visible"/>
                                      </p:to>
                                    </p:set>
                                    <p:animEffect transition="in" filter="wipe(up)">
                                      <p:cBhvr>
                                        <p:cTn id="126" dur="500"/>
                                        <p:tgtEl>
                                          <p:spTgt spid="121"/>
                                        </p:tgtEl>
                                      </p:cBhvr>
                                    </p:animEffect>
                                  </p:childTnLst>
                                </p:cTn>
                              </p:par>
                              <p:par>
                                <p:cTn id="127" presetID="10" presetClass="entr" presetSubtype="0" fill="hold" nodeType="withEffect">
                                  <p:stCondLst>
                                    <p:cond delay="3000"/>
                                  </p:stCondLst>
                                  <p:childTnLst>
                                    <p:set>
                                      <p:cBhvr>
                                        <p:cTn id="128" dur="1" fill="hold">
                                          <p:stCondLst>
                                            <p:cond delay="0"/>
                                          </p:stCondLst>
                                        </p:cTn>
                                        <p:tgtEl>
                                          <p:spTgt spid="1766"/>
                                        </p:tgtEl>
                                        <p:attrNameLst>
                                          <p:attrName>style.visibility</p:attrName>
                                        </p:attrNameLst>
                                      </p:cBhvr>
                                      <p:to>
                                        <p:strVal val="visible"/>
                                      </p:to>
                                    </p:set>
                                    <p:animEffect transition="in" filter="fade">
                                      <p:cBhvr>
                                        <p:cTn id="129" dur="150"/>
                                        <p:tgtEl>
                                          <p:spTgt spid="1766"/>
                                        </p:tgtEl>
                                      </p:cBhvr>
                                    </p:animEffect>
                                  </p:childTnLst>
                                </p:cTn>
                              </p:par>
                              <p:par>
                                <p:cTn id="130" presetID="6" presetClass="emph" presetSubtype="0" decel="100000" autoRev="1" fill="hold" nodeType="withEffect">
                                  <p:stCondLst>
                                    <p:cond delay="3000"/>
                                  </p:stCondLst>
                                  <p:childTnLst>
                                    <p:animScale>
                                      <p:cBhvr>
                                        <p:cTn id="131" dur="300" fill="hold"/>
                                        <p:tgtEl>
                                          <p:spTgt spid="1766"/>
                                        </p:tgtEl>
                                      </p:cBhvr>
                                      <p:by x="105000" y="105000"/>
                                    </p:animScale>
                                  </p:childTnLst>
                                </p:cTn>
                              </p:par>
                              <p:par>
                                <p:cTn id="132" presetID="10" presetClass="exit" presetSubtype="0" fill="hold" nodeType="withEffect">
                                  <p:stCondLst>
                                    <p:cond delay="3500"/>
                                  </p:stCondLst>
                                  <p:childTnLst>
                                    <p:animEffect transition="out" filter="fade">
                                      <p:cBhvr>
                                        <p:cTn id="133" dur="500"/>
                                        <p:tgtEl>
                                          <p:spTgt spid="1766"/>
                                        </p:tgtEl>
                                      </p:cBhvr>
                                    </p:animEffect>
                                    <p:set>
                                      <p:cBhvr>
                                        <p:cTn id="134" dur="1" fill="hold">
                                          <p:stCondLst>
                                            <p:cond delay="499"/>
                                          </p:stCondLst>
                                        </p:cTn>
                                        <p:tgtEl>
                                          <p:spTgt spid="1766"/>
                                        </p:tgtEl>
                                        <p:attrNameLst>
                                          <p:attrName>style.visibility</p:attrName>
                                        </p:attrNameLst>
                                      </p:cBhvr>
                                      <p:to>
                                        <p:strVal val="hidden"/>
                                      </p:to>
                                    </p:set>
                                  </p:childTnLst>
                                </p:cTn>
                              </p:par>
                              <p:par>
                                <p:cTn id="135" presetID="10" presetClass="entr" presetSubtype="0" fill="hold" nodeType="withEffect">
                                  <p:stCondLst>
                                    <p:cond delay="3000"/>
                                  </p:stCondLst>
                                  <p:childTnLst>
                                    <p:set>
                                      <p:cBhvr>
                                        <p:cTn id="136" dur="1" fill="hold">
                                          <p:stCondLst>
                                            <p:cond delay="0"/>
                                          </p:stCondLst>
                                        </p:cTn>
                                        <p:tgtEl>
                                          <p:spTgt spid="1728"/>
                                        </p:tgtEl>
                                        <p:attrNameLst>
                                          <p:attrName>style.visibility</p:attrName>
                                        </p:attrNameLst>
                                      </p:cBhvr>
                                      <p:to>
                                        <p:strVal val="visible"/>
                                      </p:to>
                                    </p:set>
                                    <p:animEffect transition="in" filter="fade">
                                      <p:cBhvr>
                                        <p:cTn id="137" dur="150"/>
                                        <p:tgtEl>
                                          <p:spTgt spid="1728"/>
                                        </p:tgtEl>
                                      </p:cBhvr>
                                    </p:animEffect>
                                  </p:childTnLst>
                                </p:cTn>
                              </p:par>
                              <p:par>
                                <p:cTn id="138" presetID="6" presetClass="emph" presetSubtype="0" decel="100000" autoRev="1" fill="hold" nodeType="withEffect">
                                  <p:stCondLst>
                                    <p:cond delay="3000"/>
                                  </p:stCondLst>
                                  <p:childTnLst>
                                    <p:animScale>
                                      <p:cBhvr>
                                        <p:cTn id="139" dur="300" fill="hold"/>
                                        <p:tgtEl>
                                          <p:spTgt spid="1728"/>
                                        </p:tgtEl>
                                      </p:cBhvr>
                                      <p:by x="105000" y="105000"/>
                                    </p:animScale>
                                  </p:childTnLst>
                                </p:cTn>
                              </p:par>
                              <p:par>
                                <p:cTn id="140" presetID="10" presetClass="exit" presetSubtype="0" fill="hold" nodeType="withEffect">
                                  <p:stCondLst>
                                    <p:cond delay="3500"/>
                                  </p:stCondLst>
                                  <p:childTnLst>
                                    <p:animEffect transition="out" filter="fade">
                                      <p:cBhvr>
                                        <p:cTn id="141" dur="500"/>
                                        <p:tgtEl>
                                          <p:spTgt spid="1728"/>
                                        </p:tgtEl>
                                      </p:cBhvr>
                                    </p:animEffect>
                                    <p:set>
                                      <p:cBhvr>
                                        <p:cTn id="142" dur="1" fill="hold">
                                          <p:stCondLst>
                                            <p:cond delay="499"/>
                                          </p:stCondLst>
                                        </p:cTn>
                                        <p:tgtEl>
                                          <p:spTgt spid="1728"/>
                                        </p:tgtEl>
                                        <p:attrNameLst>
                                          <p:attrName>style.visibility</p:attrName>
                                        </p:attrNameLst>
                                      </p:cBhvr>
                                      <p:to>
                                        <p:strVal val="hidden"/>
                                      </p:to>
                                    </p:set>
                                  </p:childTnLst>
                                </p:cTn>
                              </p:par>
                              <p:par>
                                <p:cTn id="143" presetID="22" presetClass="entr" presetSubtype="1" fill="hold" nodeType="withEffect">
                                  <p:stCondLst>
                                    <p:cond delay="3500"/>
                                  </p:stCondLst>
                                  <p:childTnLst>
                                    <p:set>
                                      <p:cBhvr>
                                        <p:cTn id="144" dur="1" fill="hold">
                                          <p:stCondLst>
                                            <p:cond delay="0"/>
                                          </p:stCondLst>
                                        </p:cTn>
                                        <p:tgtEl>
                                          <p:spTgt spid="122"/>
                                        </p:tgtEl>
                                        <p:attrNameLst>
                                          <p:attrName>style.visibility</p:attrName>
                                        </p:attrNameLst>
                                      </p:cBhvr>
                                      <p:to>
                                        <p:strVal val="visible"/>
                                      </p:to>
                                    </p:set>
                                    <p:animEffect transition="in" filter="wipe(up)">
                                      <p:cBhvr>
                                        <p:cTn id="145" dur="500"/>
                                        <p:tgtEl>
                                          <p:spTgt spid="122"/>
                                        </p:tgtEl>
                                      </p:cBhvr>
                                    </p:animEffect>
                                  </p:childTnLst>
                                </p:cTn>
                              </p:par>
                              <p:par>
                                <p:cTn id="146" presetID="22" presetClass="entr" presetSubtype="8" fill="hold" nodeType="withEffect">
                                  <p:stCondLst>
                                    <p:cond delay="3500"/>
                                  </p:stCondLst>
                                  <p:childTnLst>
                                    <p:set>
                                      <p:cBhvr>
                                        <p:cTn id="147" dur="1" fill="hold">
                                          <p:stCondLst>
                                            <p:cond delay="0"/>
                                          </p:stCondLst>
                                        </p:cTn>
                                        <p:tgtEl>
                                          <p:spTgt spid="110"/>
                                        </p:tgtEl>
                                        <p:attrNameLst>
                                          <p:attrName>style.visibility</p:attrName>
                                        </p:attrNameLst>
                                      </p:cBhvr>
                                      <p:to>
                                        <p:strVal val="visible"/>
                                      </p:to>
                                    </p:set>
                                    <p:animEffect transition="in" filter="wipe(left)">
                                      <p:cBhvr>
                                        <p:cTn id="148" dur="500"/>
                                        <p:tgtEl>
                                          <p:spTgt spid="110"/>
                                        </p:tgtEl>
                                      </p:cBhvr>
                                    </p:animEffect>
                                  </p:childTnLst>
                                </p:cTn>
                              </p:par>
                              <p:par>
                                <p:cTn id="149" presetID="10" presetClass="entr" presetSubtype="0" fill="hold" nodeType="withEffect">
                                  <p:stCondLst>
                                    <p:cond delay="3500"/>
                                  </p:stCondLst>
                                  <p:childTnLst>
                                    <p:set>
                                      <p:cBhvr>
                                        <p:cTn id="150" dur="1" fill="hold">
                                          <p:stCondLst>
                                            <p:cond delay="0"/>
                                          </p:stCondLst>
                                        </p:cTn>
                                        <p:tgtEl>
                                          <p:spTgt spid="2072"/>
                                        </p:tgtEl>
                                        <p:attrNameLst>
                                          <p:attrName>style.visibility</p:attrName>
                                        </p:attrNameLst>
                                      </p:cBhvr>
                                      <p:to>
                                        <p:strVal val="visible"/>
                                      </p:to>
                                    </p:set>
                                    <p:animEffect transition="in" filter="fade">
                                      <p:cBhvr>
                                        <p:cTn id="151" dur="150"/>
                                        <p:tgtEl>
                                          <p:spTgt spid="2072"/>
                                        </p:tgtEl>
                                      </p:cBhvr>
                                    </p:animEffect>
                                  </p:childTnLst>
                                </p:cTn>
                              </p:par>
                              <p:par>
                                <p:cTn id="152" presetID="6" presetClass="emph" presetSubtype="0" decel="100000" autoRev="1" fill="hold" nodeType="withEffect">
                                  <p:stCondLst>
                                    <p:cond delay="3500"/>
                                  </p:stCondLst>
                                  <p:childTnLst>
                                    <p:animScale>
                                      <p:cBhvr>
                                        <p:cTn id="153" dur="300" fill="hold"/>
                                        <p:tgtEl>
                                          <p:spTgt spid="2072"/>
                                        </p:tgtEl>
                                      </p:cBhvr>
                                      <p:by x="105000" y="105000"/>
                                    </p:animScale>
                                  </p:childTnLst>
                                </p:cTn>
                              </p:par>
                              <p:par>
                                <p:cTn id="154" presetID="10" presetClass="exit" presetSubtype="0" fill="hold" nodeType="withEffect">
                                  <p:stCondLst>
                                    <p:cond delay="4000"/>
                                  </p:stCondLst>
                                  <p:childTnLst>
                                    <p:animEffect transition="out" filter="fade">
                                      <p:cBhvr>
                                        <p:cTn id="155" dur="500"/>
                                        <p:tgtEl>
                                          <p:spTgt spid="2072"/>
                                        </p:tgtEl>
                                      </p:cBhvr>
                                    </p:animEffect>
                                    <p:set>
                                      <p:cBhvr>
                                        <p:cTn id="156" dur="1" fill="hold">
                                          <p:stCondLst>
                                            <p:cond delay="499"/>
                                          </p:stCondLst>
                                        </p:cTn>
                                        <p:tgtEl>
                                          <p:spTgt spid="2072"/>
                                        </p:tgtEl>
                                        <p:attrNameLst>
                                          <p:attrName>style.visibility</p:attrName>
                                        </p:attrNameLst>
                                      </p:cBhvr>
                                      <p:to>
                                        <p:strVal val="hidden"/>
                                      </p:to>
                                    </p:set>
                                  </p:childTnLst>
                                </p:cTn>
                              </p:par>
                              <p:par>
                                <p:cTn id="157" presetID="10" presetClass="entr" presetSubtype="0" fill="hold" nodeType="withEffect">
                                  <p:stCondLst>
                                    <p:cond delay="3500"/>
                                  </p:stCondLst>
                                  <p:childTnLst>
                                    <p:set>
                                      <p:cBhvr>
                                        <p:cTn id="158" dur="1" fill="hold">
                                          <p:stCondLst>
                                            <p:cond delay="0"/>
                                          </p:stCondLst>
                                        </p:cTn>
                                        <p:tgtEl>
                                          <p:spTgt spid="1843"/>
                                        </p:tgtEl>
                                        <p:attrNameLst>
                                          <p:attrName>style.visibility</p:attrName>
                                        </p:attrNameLst>
                                      </p:cBhvr>
                                      <p:to>
                                        <p:strVal val="visible"/>
                                      </p:to>
                                    </p:set>
                                    <p:animEffect transition="in" filter="fade">
                                      <p:cBhvr>
                                        <p:cTn id="159" dur="150"/>
                                        <p:tgtEl>
                                          <p:spTgt spid="1843"/>
                                        </p:tgtEl>
                                      </p:cBhvr>
                                    </p:animEffect>
                                  </p:childTnLst>
                                </p:cTn>
                              </p:par>
                              <p:par>
                                <p:cTn id="160" presetID="6" presetClass="emph" presetSubtype="0" decel="100000" autoRev="1" fill="hold" nodeType="withEffect">
                                  <p:stCondLst>
                                    <p:cond delay="3500"/>
                                  </p:stCondLst>
                                  <p:childTnLst>
                                    <p:animScale>
                                      <p:cBhvr>
                                        <p:cTn id="161" dur="300" fill="hold"/>
                                        <p:tgtEl>
                                          <p:spTgt spid="1843"/>
                                        </p:tgtEl>
                                      </p:cBhvr>
                                      <p:by x="105000" y="105000"/>
                                    </p:animScale>
                                  </p:childTnLst>
                                </p:cTn>
                              </p:par>
                              <p:par>
                                <p:cTn id="162" presetID="10" presetClass="exit" presetSubtype="0" fill="hold" nodeType="withEffect">
                                  <p:stCondLst>
                                    <p:cond delay="4000"/>
                                  </p:stCondLst>
                                  <p:childTnLst>
                                    <p:animEffect transition="out" filter="fade">
                                      <p:cBhvr>
                                        <p:cTn id="163" dur="500"/>
                                        <p:tgtEl>
                                          <p:spTgt spid="1843"/>
                                        </p:tgtEl>
                                      </p:cBhvr>
                                    </p:animEffect>
                                    <p:set>
                                      <p:cBhvr>
                                        <p:cTn id="164" dur="1" fill="hold">
                                          <p:stCondLst>
                                            <p:cond delay="499"/>
                                          </p:stCondLst>
                                        </p:cTn>
                                        <p:tgtEl>
                                          <p:spTgt spid="1843"/>
                                        </p:tgtEl>
                                        <p:attrNameLst>
                                          <p:attrName>style.visibility</p:attrName>
                                        </p:attrNameLst>
                                      </p:cBhvr>
                                      <p:to>
                                        <p:strVal val="hidden"/>
                                      </p:to>
                                    </p:set>
                                  </p:childTnLst>
                                </p:cTn>
                              </p:par>
                              <p:par>
                                <p:cTn id="165" presetID="22" presetClass="entr" presetSubtype="4" fill="hold" nodeType="withEffect">
                                  <p:stCondLst>
                                    <p:cond delay="4000"/>
                                  </p:stCondLst>
                                  <p:childTnLst>
                                    <p:set>
                                      <p:cBhvr>
                                        <p:cTn id="166" dur="1" fill="hold">
                                          <p:stCondLst>
                                            <p:cond delay="0"/>
                                          </p:stCondLst>
                                        </p:cTn>
                                        <p:tgtEl>
                                          <p:spTgt spid="123"/>
                                        </p:tgtEl>
                                        <p:attrNameLst>
                                          <p:attrName>style.visibility</p:attrName>
                                        </p:attrNameLst>
                                      </p:cBhvr>
                                      <p:to>
                                        <p:strVal val="visible"/>
                                      </p:to>
                                    </p:set>
                                    <p:animEffect transition="in" filter="wipe(down)">
                                      <p:cBhvr>
                                        <p:cTn id="167" dur="500"/>
                                        <p:tgtEl>
                                          <p:spTgt spid="123"/>
                                        </p:tgtEl>
                                      </p:cBhvr>
                                    </p:animEffect>
                                  </p:childTnLst>
                                </p:cTn>
                              </p:par>
                              <p:par>
                                <p:cTn id="168" presetID="22" presetClass="entr" presetSubtype="4" fill="hold" nodeType="withEffect">
                                  <p:stCondLst>
                                    <p:cond delay="4000"/>
                                  </p:stCondLst>
                                  <p:childTnLst>
                                    <p:set>
                                      <p:cBhvr>
                                        <p:cTn id="169" dur="1" fill="hold">
                                          <p:stCondLst>
                                            <p:cond delay="0"/>
                                          </p:stCondLst>
                                        </p:cTn>
                                        <p:tgtEl>
                                          <p:spTgt spid="106"/>
                                        </p:tgtEl>
                                        <p:attrNameLst>
                                          <p:attrName>style.visibility</p:attrName>
                                        </p:attrNameLst>
                                      </p:cBhvr>
                                      <p:to>
                                        <p:strVal val="visible"/>
                                      </p:to>
                                    </p:set>
                                    <p:animEffect transition="in" filter="wipe(down)">
                                      <p:cBhvr>
                                        <p:cTn id="170" dur="500"/>
                                        <p:tgtEl>
                                          <p:spTgt spid="106"/>
                                        </p:tgtEl>
                                      </p:cBhvr>
                                    </p:animEffect>
                                  </p:childTnLst>
                                </p:cTn>
                              </p:par>
                              <p:par>
                                <p:cTn id="171" presetID="10" presetClass="entr" presetSubtype="0" fill="hold" nodeType="withEffect">
                                  <p:stCondLst>
                                    <p:cond delay="4000"/>
                                  </p:stCondLst>
                                  <p:childTnLst>
                                    <p:set>
                                      <p:cBhvr>
                                        <p:cTn id="172" dur="1" fill="hold">
                                          <p:stCondLst>
                                            <p:cond delay="0"/>
                                          </p:stCondLst>
                                        </p:cTn>
                                        <p:tgtEl>
                                          <p:spTgt spid="2034"/>
                                        </p:tgtEl>
                                        <p:attrNameLst>
                                          <p:attrName>style.visibility</p:attrName>
                                        </p:attrNameLst>
                                      </p:cBhvr>
                                      <p:to>
                                        <p:strVal val="visible"/>
                                      </p:to>
                                    </p:set>
                                    <p:animEffect transition="in" filter="fade">
                                      <p:cBhvr>
                                        <p:cTn id="173" dur="150"/>
                                        <p:tgtEl>
                                          <p:spTgt spid="2034"/>
                                        </p:tgtEl>
                                      </p:cBhvr>
                                    </p:animEffect>
                                  </p:childTnLst>
                                </p:cTn>
                              </p:par>
                              <p:par>
                                <p:cTn id="174" presetID="6" presetClass="emph" presetSubtype="0" decel="100000" autoRev="1" fill="hold" nodeType="withEffect">
                                  <p:stCondLst>
                                    <p:cond delay="4000"/>
                                  </p:stCondLst>
                                  <p:childTnLst>
                                    <p:animScale>
                                      <p:cBhvr>
                                        <p:cTn id="175" dur="300" fill="hold"/>
                                        <p:tgtEl>
                                          <p:spTgt spid="2034"/>
                                        </p:tgtEl>
                                      </p:cBhvr>
                                      <p:by x="105000" y="105000"/>
                                    </p:animScale>
                                  </p:childTnLst>
                                </p:cTn>
                              </p:par>
                              <p:par>
                                <p:cTn id="176" presetID="10" presetClass="exit" presetSubtype="0" fill="hold" nodeType="withEffect">
                                  <p:stCondLst>
                                    <p:cond delay="4500"/>
                                  </p:stCondLst>
                                  <p:childTnLst>
                                    <p:animEffect transition="out" filter="fade">
                                      <p:cBhvr>
                                        <p:cTn id="177" dur="500"/>
                                        <p:tgtEl>
                                          <p:spTgt spid="2034"/>
                                        </p:tgtEl>
                                      </p:cBhvr>
                                    </p:animEffect>
                                    <p:set>
                                      <p:cBhvr>
                                        <p:cTn id="178" dur="1" fill="hold">
                                          <p:stCondLst>
                                            <p:cond delay="499"/>
                                          </p:stCondLst>
                                        </p:cTn>
                                        <p:tgtEl>
                                          <p:spTgt spid="2034"/>
                                        </p:tgtEl>
                                        <p:attrNameLst>
                                          <p:attrName>style.visibility</p:attrName>
                                        </p:attrNameLst>
                                      </p:cBhvr>
                                      <p:to>
                                        <p:strVal val="hidden"/>
                                      </p:to>
                                    </p:set>
                                  </p:childTnLst>
                                </p:cTn>
                              </p:par>
                              <p:par>
                                <p:cTn id="179" presetID="10" presetClass="entr" presetSubtype="0" fill="hold" nodeType="withEffect">
                                  <p:stCondLst>
                                    <p:cond delay="4000"/>
                                  </p:stCondLst>
                                  <p:childTnLst>
                                    <p:set>
                                      <p:cBhvr>
                                        <p:cTn id="180" dur="1" fill="hold">
                                          <p:stCondLst>
                                            <p:cond delay="0"/>
                                          </p:stCondLst>
                                        </p:cTn>
                                        <p:tgtEl>
                                          <p:spTgt spid="1958"/>
                                        </p:tgtEl>
                                        <p:attrNameLst>
                                          <p:attrName>style.visibility</p:attrName>
                                        </p:attrNameLst>
                                      </p:cBhvr>
                                      <p:to>
                                        <p:strVal val="visible"/>
                                      </p:to>
                                    </p:set>
                                    <p:animEffect transition="in" filter="fade">
                                      <p:cBhvr>
                                        <p:cTn id="181" dur="150"/>
                                        <p:tgtEl>
                                          <p:spTgt spid="1958"/>
                                        </p:tgtEl>
                                      </p:cBhvr>
                                    </p:animEffect>
                                  </p:childTnLst>
                                </p:cTn>
                              </p:par>
                              <p:par>
                                <p:cTn id="182" presetID="6" presetClass="emph" presetSubtype="0" decel="100000" autoRev="1" fill="hold" nodeType="withEffect">
                                  <p:stCondLst>
                                    <p:cond delay="4000"/>
                                  </p:stCondLst>
                                  <p:childTnLst>
                                    <p:animScale>
                                      <p:cBhvr>
                                        <p:cTn id="183" dur="300" fill="hold"/>
                                        <p:tgtEl>
                                          <p:spTgt spid="1958"/>
                                        </p:tgtEl>
                                      </p:cBhvr>
                                      <p:by x="105000" y="105000"/>
                                    </p:animScale>
                                  </p:childTnLst>
                                </p:cTn>
                              </p:par>
                              <p:par>
                                <p:cTn id="184" presetID="10" presetClass="exit" presetSubtype="0" fill="hold" nodeType="withEffect">
                                  <p:stCondLst>
                                    <p:cond delay="4500"/>
                                  </p:stCondLst>
                                  <p:childTnLst>
                                    <p:animEffect transition="out" filter="fade">
                                      <p:cBhvr>
                                        <p:cTn id="185" dur="500"/>
                                        <p:tgtEl>
                                          <p:spTgt spid="1958"/>
                                        </p:tgtEl>
                                      </p:cBhvr>
                                    </p:animEffect>
                                    <p:set>
                                      <p:cBhvr>
                                        <p:cTn id="186" dur="1" fill="hold">
                                          <p:stCondLst>
                                            <p:cond delay="499"/>
                                          </p:stCondLst>
                                        </p:cTn>
                                        <p:tgtEl>
                                          <p:spTgt spid="1958"/>
                                        </p:tgtEl>
                                        <p:attrNameLst>
                                          <p:attrName>style.visibility</p:attrName>
                                        </p:attrNameLst>
                                      </p:cBhvr>
                                      <p:to>
                                        <p:strVal val="hidden"/>
                                      </p:to>
                                    </p:set>
                                  </p:childTnLst>
                                </p:cTn>
                              </p:par>
                              <p:par>
                                <p:cTn id="187" presetID="22" presetClass="entr" presetSubtype="2" fill="hold" nodeType="withEffect">
                                  <p:stCondLst>
                                    <p:cond delay="4500"/>
                                  </p:stCondLst>
                                  <p:childTnLst>
                                    <p:set>
                                      <p:cBhvr>
                                        <p:cTn id="188" dur="1" fill="hold">
                                          <p:stCondLst>
                                            <p:cond delay="0"/>
                                          </p:stCondLst>
                                        </p:cTn>
                                        <p:tgtEl>
                                          <p:spTgt spid="1174"/>
                                        </p:tgtEl>
                                        <p:attrNameLst>
                                          <p:attrName>style.visibility</p:attrName>
                                        </p:attrNameLst>
                                      </p:cBhvr>
                                      <p:to>
                                        <p:strVal val="visible"/>
                                      </p:to>
                                    </p:set>
                                    <p:animEffect transition="in" filter="wipe(right)">
                                      <p:cBhvr>
                                        <p:cTn id="189" dur="500"/>
                                        <p:tgtEl>
                                          <p:spTgt spid="1174"/>
                                        </p:tgtEl>
                                      </p:cBhvr>
                                    </p:animEffect>
                                  </p:childTnLst>
                                </p:cTn>
                              </p:par>
                              <p:par>
                                <p:cTn id="190" presetID="22" presetClass="entr" presetSubtype="8" fill="hold" nodeType="withEffect">
                                  <p:stCondLst>
                                    <p:cond delay="4500"/>
                                  </p:stCondLst>
                                  <p:childTnLst>
                                    <p:set>
                                      <p:cBhvr>
                                        <p:cTn id="191" dur="1" fill="hold">
                                          <p:stCondLst>
                                            <p:cond delay="0"/>
                                          </p:stCondLst>
                                        </p:cTn>
                                        <p:tgtEl>
                                          <p:spTgt spid="125"/>
                                        </p:tgtEl>
                                        <p:attrNameLst>
                                          <p:attrName>style.visibility</p:attrName>
                                        </p:attrNameLst>
                                      </p:cBhvr>
                                      <p:to>
                                        <p:strVal val="visible"/>
                                      </p:to>
                                    </p:set>
                                    <p:animEffect transition="in" filter="wipe(left)">
                                      <p:cBhvr>
                                        <p:cTn id="192" dur="500"/>
                                        <p:tgtEl>
                                          <p:spTgt spid="125"/>
                                        </p:tgtEl>
                                      </p:cBhvr>
                                    </p:animEffect>
                                  </p:childTnLst>
                                </p:cTn>
                              </p:par>
                              <p:par>
                                <p:cTn id="193" presetID="22" presetClass="entr" presetSubtype="2" fill="hold" nodeType="withEffect">
                                  <p:stCondLst>
                                    <p:cond delay="4500"/>
                                  </p:stCondLst>
                                  <p:childTnLst>
                                    <p:set>
                                      <p:cBhvr>
                                        <p:cTn id="194" dur="1" fill="hold">
                                          <p:stCondLst>
                                            <p:cond delay="0"/>
                                          </p:stCondLst>
                                        </p:cTn>
                                        <p:tgtEl>
                                          <p:spTgt spid="108"/>
                                        </p:tgtEl>
                                        <p:attrNameLst>
                                          <p:attrName>style.visibility</p:attrName>
                                        </p:attrNameLst>
                                      </p:cBhvr>
                                      <p:to>
                                        <p:strVal val="visible"/>
                                      </p:to>
                                    </p:set>
                                    <p:animEffect transition="in" filter="wipe(right)">
                                      <p:cBhvr>
                                        <p:cTn id="195" dur="500"/>
                                        <p:tgtEl>
                                          <p:spTgt spid="108"/>
                                        </p:tgtEl>
                                      </p:cBhvr>
                                    </p:animEffect>
                                  </p:childTnLst>
                                </p:cTn>
                              </p:par>
                              <p:par>
                                <p:cTn id="196" presetID="10" presetClass="entr" presetSubtype="0" fill="hold" nodeType="withEffect">
                                  <p:stCondLst>
                                    <p:cond delay="4500"/>
                                  </p:stCondLst>
                                  <p:childTnLst>
                                    <p:set>
                                      <p:cBhvr>
                                        <p:cTn id="197" dur="1" fill="hold">
                                          <p:stCondLst>
                                            <p:cond delay="0"/>
                                          </p:stCondLst>
                                        </p:cTn>
                                        <p:tgtEl>
                                          <p:spTgt spid="2111"/>
                                        </p:tgtEl>
                                        <p:attrNameLst>
                                          <p:attrName>style.visibility</p:attrName>
                                        </p:attrNameLst>
                                      </p:cBhvr>
                                      <p:to>
                                        <p:strVal val="visible"/>
                                      </p:to>
                                    </p:set>
                                    <p:animEffect transition="in" filter="fade">
                                      <p:cBhvr>
                                        <p:cTn id="198" dur="150"/>
                                        <p:tgtEl>
                                          <p:spTgt spid="2111"/>
                                        </p:tgtEl>
                                      </p:cBhvr>
                                    </p:animEffect>
                                  </p:childTnLst>
                                </p:cTn>
                              </p:par>
                              <p:par>
                                <p:cTn id="199" presetID="6" presetClass="emph" presetSubtype="0" decel="100000" autoRev="1" fill="hold" nodeType="withEffect">
                                  <p:stCondLst>
                                    <p:cond delay="4500"/>
                                  </p:stCondLst>
                                  <p:childTnLst>
                                    <p:animScale>
                                      <p:cBhvr>
                                        <p:cTn id="200" dur="300" fill="hold"/>
                                        <p:tgtEl>
                                          <p:spTgt spid="2111"/>
                                        </p:tgtEl>
                                      </p:cBhvr>
                                      <p:by x="105000" y="105000"/>
                                    </p:animScale>
                                  </p:childTnLst>
                                </p:cTn>
                              </p:par>
                              <p:par>
                                <p:cTn id="201" presetID="10" presetClass="exit" presetSubtype="0" fill="hold" nodeType="withEffect">
                                  <p:stCondLst>
                                    <p:cond delay="5000"/>
                                  </p:stCondLst>
                                  <p:childTnLst>
                                    <p:animEffect transition="out" filter="fade">
                                      <p:cBhvr>
                                        <p:cTn id="202" dur="500"/>
                                        <p:tgtEl>
                                          <p:spTgt spid="2111"/>
                                        </p:tgtEl>
                                      </p:cBhvr>
                                    </p:animEffect>
                                    <p:set>
                                      <p:cBhvr>
                                        <p:cTn id="203" dur="1" fill="hold">
                                          <p:stCondLst>
                                            <p:cond delay="499"/>
                                          </p:stCondLst>
                                        </p:cTn>
                                        <p:tgtEl>
                                          <p:spTgt spid="2111"/>
                                        </p:tgtEl>
                                        <p:attrNameLst>
                                          <p:attrName>style.visibility</p:attrName>
                                        </p:attrNameLst>
                                      </p:cBhvr>
                                      <p:to>
                                        <p:strVal val="hidden"/>
                                      </p:to>
                                    </p:set>
                                  </p:childTnLst>
                                </p:cTn>
                              </p:par>
                              <p:par>
                                <p:cTn id="204" presetID="10" presetClass="entr" presetSubtype="0" fill="hold" nodeType="withEffect">
                                  <p:stCondLst>
                                    <p:cond delay="4500"/>
                                  </p:stCondLst>
                                  <p:childTnLst>
                                    <p:set>
                                      <p:cBhvr>
                                        <p:cTn id="205" dur="1" fill="hold">
                                          <p:stCondLst>
                                            <p:cond delay="0"/>
                                          </p:stCondLst>
                                        </p:cTn>
                                        <p:tgtEl>
                                          <p:spTgt spid="1996"/>
                                        </p:tgtEl>
                                        <p:attrNameLst>
                                          <p:attrName>style.visibility</p:attrName>
                                        </p:attrNameLst>
                                      </p:cBhvr>
                                      <p:to>
                                        <p:strVal val="visible"/>
                                      </p:to>
                                    </p:set>
                                    <p:animEffect transition="in" filter="fade">
                                      <p:cBhvr>
                                        <p:cTn id="206" dur="150"/>
                                        <p:tgtEl>
                                          <p:spTgt spid="1996"/>
                                        </p:tgtEl>
                                      </p:cBhvr>
                                    </p:animEffect>
                                  </p:childTnLst>
                                </p:cTn>
                              </p:par>
                              <p:par>
                                <p:cTn id="207" presetID="6" presetClass="emph" presetSubtype="0" decel="100000" autoRev="1" fill="hold" nodeType="withEffect">
                                  <p:stCondLst>
                                    <p:cond delay="4500"/>
                                  </p:stCondLst>
                                  <p:childTnLst>
                                    <p:animScale>
                                      <p:cBhvr>
                                        <p:cTn id="208" dur="300" fill="hold"/>
                                        <p:tgtEl>
                                          <p:spTgt spid="1996"/>
                                        </p:tgtEl>
                                      </p:cBhvr>
                                      <p:by x="105000" y="105000"/>
                                    </p:animScale>
                                  </p:childTnLst>
                                </p:cTn>
                              </p:par>
                              <p:par>
                                <p:cTn id="209" presetID="10" presetClass="exit" presetSubtype="0" fill="hold" nodeType="withEffect">
                                  <p:stCondLst>
                                    <p:cond delay="5000"/>
                                  </p:stCondLst>
                                  <p:childTnLst>
                                    <p:animEffect transition="out" filter="fade">
                                      <p:cBhvr>
                                        <p:cTn id="210" dur="500"/>
                                        <p:tgtEl>
                                          <p:spTgt spid="1996"/>
                                        </p:tgtEl>
                                      </p:cBhvr>
                                    </p:animEffect>
                                    <p:set>
                                      <p:cBhvr>
                                        <p:cTn id="211" dur="1" fill="hold">
                                          <p:stCondLst>
                                            <p:cond delay="499"/>
                                          </p:stCondLst>
                                        </p:cTn>
                                        <p:tgtEl>
                                          <p:spTgt spid="1996"/>
                                        </p:tgtEl>
                                        <p:attrNameLst>
                                          <p:attrName>style.visibility</p:attrName>
                                        </p:attrNameLst>
                                      </p:cBhvr>
                                      <p:to>
                                        <p:strVal val="hidden"/>
                                      </p:to>
                                    </p:set>
                                  </p:childTnLst>
                                </p:cTn>
                              </p:par>
                              <p:par>
                                <p:cTn id="212" presetID="10" presetClass="entr" presetSubtype="0" fill="hold" nodeType="withEffect">
                                  <p:stCondLst>
                                    <p:cond delay="4500"/>
                                  </p:stCondLst>
                                  <p:childTnLst>
                                    <p:set>
                                      <p:cBhvr>
                                        <p:cTn id="213" dur="1" fill="hold">
                                          <p:stCondLst>
                                            <p:cond delay="0"/>
                                          </p:stCondLst>
                                        </p:cTn>
                                        <p:tgtEl>
                                          <p:spTgt spid="1920"/>
                                        </p:tgtEl>
                                        <p:attrNameLst>
                                          <p:attrName>style.visibility</p:attrName>
                                        </p:attrNameLst>
                                      </p:cBhvr>
                                      <p:to>
                                        <p:strVal val="visible"/>
                                      </p:to>
                                    </p:set>
                                    <p:animEffect transition="in" filter="fade">
                                      <p:cBhvr>
                                        <p:cTn id="214" dur="150"/>
                                        <p:tgtEl>
                                          <p:spTgt spid="1920"/>
                                        </p:tgtEl>
                                      </p:cBhvr>
                                    </p:animEffect>
                                  </p:childTnLst>
                                </p:cTn>
                              </p:par>
                              <p:par>
                                <p:cTn id="215" presetID="6" presetClass="emph" presetSubtype="0" decel="100000" autoRev="1" fill="hold" nodeType="withEffect">
                                  <p:stCondLst>
                                    <p:cond delay="4500"/>
                                  </p:stCondLst>
                                  <p:childTnLst>
                                    <p:animScale>
                                      <p:cBhvr>
                                        <p:cTn id="216" dur="300" fill="hold"/>
                                        <p:tgtEl>
                                          <p:spTgt spid="1920"/>
                                        </p:tgtEl>
                                      </p:cBhvr>
                                      <p:by x="105000" y="105000"/>
                                    </p:animScale>
                                  </p:childTnLst>
                                </p:cTn>
                              </p:par>
                              <p:par>
                                <p:cTn id="217" presetID="10" presetClass="exit" presetSubtype="0" fill="hold" nodeType="withEffect">
                                  <p:stCondLst>
                                    <p:cond delay="5000"/>
                                  </p:stCondLst>
                                  <p:childTnLst>
                                    <p:animEffect transition="out" filter="fade">
                                      <p:cBhvr>
                                        <p:cTn id="218" dur="500"/>
                                        <p:tgtEl>
                                          <p:spTgt spid="1920"/>
                                        </p:tgtEl>
                                      </p:cBhvr>
                                    </p:animEffect>
                                    <p:set>
                                      <p:cBhvr>
                                        <p:cTn id="219" dur="1" fill="hold">
                                          <p:stCondLst>
                                            <p:cond delay="499"/>
                                          </p:stCondLst>
                                        </p:cTn>
                                        <p:tgtEl>
                                          <p:spTgt spid="19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1"/>
  <p:tag name="MMPROD_UIDATA" val="&lt;database version=&quot;11.0&quot;&gt;&lt;object type=&quot;1&quot; unique_id=&quot;10001&quot;&gt;&lt;object type=&quot;2&quot; unique_id=&quot;10002&quot;&gt;&lt;object type=&quot;3&quot; unique_id=&quot;184153&quot;&gt;&lt;property id=&quot;20148&quot; value=&quot;5&quot;/&gt;&lt;property id=&quot;20300&quot; value=&quot;Slide 6 - &amp;quot;Use this slide for transitions&amp;quot;&quot;/&gt;&lt;property id=&quot;20307&quot; value=&quot;257&quot;/&gt;&lt;/object&gt;&lt;object type=&quot;3&quot; unique_id=&quot;184154&quot;&gt;&lt;property id=&quot;20148&quot; value=&quot;5&quot;/&gt;&lt;property id=&quot;20300&quot; value=&quot;Slide 25 - &amp;quot;Color palette&amp;quot;&quot;/&gt;&lt;property id=&quot;20307&quot; value=&quot;258&quot;/&gt;&lt;/object&gt;&lt;object type=&quot;3&quot; unique_id=&quot;184155&quot;&gt;&lt;property id=&quot;20148&quot; value=&quot;5&quot;/&gt;&lt;property id=&quot;20300&quot; value=&quot;Slide 13 - &amp;quot;Two-column layout&amp;quot;&quot;/&gt;&lt;property id=&quot;20307&quot; value=&quot;259&quot;/&gt;&lt;/object&gt;&lt;object type=&quot;3&quot; unique_id=&quot;184156&quot;&gt;&lt;property id=&quot;20148&quot; value=&quot;5&quot;/&gt;&lt;property id=&quot;20300&quot; value=&quot;Slide 19 - &amp;quot;This is a sample headline&amp;quot;&quot;/&gt;&lt;property id=&quot;20307&quot; value=&quot;260&quot;/&gt;&lt;/object&gt;&lt;object type=&quot;3&quot; unique_id=&quot;184157&quot;&gt;&lt;property id=&quot;20148&quot; value=&quot;5&quot;/&gt;&lt;property id=&quot;20300&quot; value=&quot;Slide 20 - &amp;quot;Slide title&amp;quot;&quot;/&gt;&lt;property id=&quot;20307&quot; value=&quot;261&quot;/&gt;&lt;/object&gt;&lt;object type=&quot;3&quot; unique_id=&quot;184158&quot;&gt;&lt;property id=&quot;20148&quot; value=&quot;5&quot;/&gt;&lt;property id=&quot;20300&quot; value=&quot;Slide 10 - &amp;quot;This is a sample headline&amp;quot;&quot;/&gt;&lt;property id=&quot;20307&quot; value=&quot;262&quot;/&gt;&lt;/object&gt;&lt;object type=&quot;3&quot; unique_id=&quot;184159&quot;&gt;&lt;property id=&quot;20148&quot; value=&quot;5&quot;/&gt;&lt;property id=&quot;20300&quot; value=&quot;Slide 11 - &amp;quot;This is a sample headline&amp;quot;&quot;/&gt;&lt;property id=&quot;20307&quot; value=&quot;263&quot;/&gt;&lt;/object&gt;&lt;object type=&quot;3&quot; unique_id=&quot;184160&quot;&gt;&lt;property id=&quot;20148&quot; value=&quot;5&quot;/&gt;&lt;property id=&quot;20300&quot; value=&quot;Slide 12 - &amp;quot;This is a sample headline&amp;quot;&quot;/&gt;&lt;property id=&quot;20307&quot; value=&quot;264&quot;/&gt;&lt;/object&gt;&lt;object type=&quot;3&quot; unique_id=&quot;184161&quot;&gt;&lt;property id=&quot;20148&quot; value=&quot;5&quot;/&gt;&lt;property id=&quot;20300&quot; value=&quot;Slide 14 - &amp;quot;This is a sample headline&amp;quot;&quot;/&gt;&lt;property id=&quot;20307&quot; value=&quot;265&quot;/&gt;&lt;/object&gt;&lt;object type=&quot;3&quot; unique_id=&quot;184162&quot;&gt;&lt;property id=&quot;20148&quot; value=&quot;5&quot;/&gt;&lt;property id=&quot;20300&quot; value=&quot;Slide 15 - &amp;quot;This is a sample headline&amp;quot;&quot;/&gt;&lt;property id=&quot;20307&quot; value=&quot;266&quot;/&gt;&lt;/object&gt;&lt;object type=&quot;3&quot; unique_id=&quot;184163&quot;&gt;&lt;property id=&quot;20148&quot; value=&quot;5&quot;/&gt;&lt;property id=&quot;20300&quot; value=&quot;Slide 16 - &amp;quot;This is a sample headline&amp;quot;&quot;/&gt;&lt;property id=&quot;20307&quot; value=&quot;267&quot;/&gt;&lt;/object&gt;&lt;object type=&quot;3&quot; unique_id=&quot;184164&quot;&gt;&lt;property id=&quot;20148&quot; value=&quot;5&quot;/&gt;&lt;property id=&quot;20300&quot; value=&quot;Slide 21 - &amp;quot;Use this layout when pairing words with a picture.&amp;quot;&quot;/&gt;&lt;property id=&quot;20307&quot; value=&quot;268&quot;/&gt;&lt;/object&gt;&lt;object type=&quot;3&quot; unique_id=&quot;184165&quot;&gt;&lt;property id=&quot;20148&quot; value=&quot;5&quot;/&gt;&lt;property id=&quot;20300&quot; value=&quot;Slide 22 - &amp;quot;Use this layout when pairing words with a picture.&amp;quot;&quot;/&gt;&lt;property id=&quot;20307&quot; value=&quot;269&quot;/&gt;&lt;/object&gt;&lt;object type=&quot;3&quot; unique_id=&quot;184166&quot;&gt;&lt;property id=&quot;20148&quot; value=&quot;5&quot;/&gt;&lt;property id=&quot;20300&quot; value=&quot;Slide 23&quot;/&gt;&lt;property id=&quot;20307&quot; value=&quot;270&quot;/&gt;&lt;/object&gt;&lt;object type=&quot;3&quot; unique_id=&quot;198815&quot;&gt;&lt;property id=&quot;20148&quot; value=&quot;5&quot;/&gt;&lt;property id=&quot;20300&quot; value=&quot;Slide 24 - &amp;quot;Best practices&amp;quot;&quot;/&gt;&lt;property id=&quot;20307&quot; value=&quot;286&quot;/&gt;&lt;/object&gt;&lt;object type=&quot;3&quot; unique_id=&quot;198816&quot;&gt;&lt;property id=&quot;20148&quot; value=&quot;5&quot;/&gt;&lt;property id=&quot;20300&quot; value=&quot;Slide 26 - &amp;quot;Only use the themes provided&amp;quot;&quot;/&gt;&lt;property id=&quot;20307&quot; value=&quot;287&quot;/&gt;&lt;/object&gt;&lt;object type=&quot;3&quot; unique_id=&quot;198998&quot;&gt;&lt;property id=&quot;20148&quot; value=&quot;5&quot;/&gt;&lt;property id=&quot;20300&quot; value=&quot;Slide 27 - &amp;quot;Seven tips for better presentations&amp;quot;&quot;/&gt;&lt;property id=&quot;20307&quot; value=&quot;288&quot;/&gt;&lt;/object&gt;&lt;object type=&quot;3&quot; unique_id=&quot;199061&quot;&gt;&lt;property id=&quot;20148&quot; value=&quot;5&quot;/&gt;&lt;property id=&quot;20300&quot; value=&quot;Slide 1 - &amp;quot;Please read&amp;quot;&quot;/&gt;&lt;property id=&quot;20307&quot; value=&quot;303&quot;/&gt;&lt;/object&gt;&lt;object type=&quot;3&quot; unique_id=&quot;199062&quot;&gt;&lt;property id=&quot;20148&quot; value=&quot;5&quot;/&gt;&lt;property id=&quot;20300&quot; value=&quot;Slide 2 - &amp;quot;Everyone is responsible  for security&amp;quot;&quot;/&gt;&lt;property id=&quot;20307&quot; value=&quot;443&quot;/&gt;&lt;/object&gt;&lt;object type=&quot;3&quot; unique_id=&quot;199063&quot;&gt;&lt;property id=&quot;20148&quot; value=&quot;5&quot;/&gt;&lt;property id=&quot;20300&quot; value=&quot;Slide 3 - &amp;quot;Please read&amp;quot;&quot;/&gt;&lt;property id=&quot;20307&quot; value=&quot;444&quot;/&gt;&lt;/object&gt;&lt;object type=&quot;3&quot; unique_id=&quot;199064&quot;&gt;&lt;property id=&quot;20148&quot; value=&quot;5&quot;/&gt;&lt;property id=&quot;20300&quot; value=&quot;Slide 4 - &amp;quot;Color themes&amp;quot;&quot;/&gt;&lt;property id=&quot;20307&quot; value=&quot;445&quot;/&gt;&lt;/object&gt;&lt;object type=&quot;3&quot; unique_id=&quot;199065&quot;&gt;&lt;property id=&quot;20148&quot; value=&quot;5&quot;/&gt;&lt;property id=&quot;20300&quot; value=&quot;Slide 5 - &amp;quot;Presentation Title Goes Here&amp;quot;&quot;/&gt;&lt;property id=&quot;20307&quot; value=&quot;256&quot;/&gt;&lt;/object&gt;&lt;object type=&quot;3&quot; unique_id=&quot;199066&quot;&gt;&lt;property id=&quot;20148&quot; value=&quot;5&quot;/&gt;&lt;property id=&quot;20300&quot; value=&quot;Slide 7 - &amp;quot;Use this slide for transitions&amp;quot;&quot;/&gt;&lt;property id=&quot;20307&quot; value=&quot;302&quot;/&gt;&lt;/object&gt;&lt;object type=&quot;3&quot; unique_id=&quot;199067&quot;&gt;&lt;property id=&quot;20148&quot; value=&quot;5&quot;/&gt;&lt;property id=&quot;20300&quot; value=&quot;Slide 8 - &amp;quot;“Design is the silent  ambassador of your brand.”&amp;quot;&quot;/&gt;&lt;property id=&quot;20307&quot; value=&quot;293&quot;/&gt;&lt;/object&gt;&lt;object type=&quot;3&quot; unique_id=&quot;199068&quot;&gt;&lt;property id=&quot;20148&quot; value=&quot;5&quot;/&gt;&lt;property id=&quot;20300&quot; value=&quot;Slide 9 - &amp;quot;“Design is the silent  ambassador of your brand.”&amp;quot;&quot;/&gt;&lt;property id=&quot;20307&quot; value=&quot;301&quot;/&gt;&lt;/object&gt;&lt;object type=&quot;3&quot; unique_id=&quot;199069&quot;&gt;&lt;property id=&quot;20148&quot; value=&quot;5&quot;/&gt;&lt;property id=&quot;20300&quot; value=&quot;Slide 17 - &amp;quot;Bar charts&amp;quot;&quot;/&gt;&lt;property id=&quot;20307&quot; value=&quot;298&quot;/&gt;&lt;/object&gt;&lt;object type=&quot;3&quot; unique_id=&quot;199070&quot;&gt;&lt;property id=&quot;20148&quot; value=&quot;5&quot;/&gt;&lt;property id=&quot;20300&quot; value=&quot;Slide 18 - &amp;quot;Line charts&amp;quot;&quot;/&gt;&lt;property id=&quot;20307&quot; value=&quot;300&quot;/&gt;&lt;/object&gt;&lt;object type=&quot;3&quot; unique_id=&quot;199071&quot;&gt;&lt;property id=&quot;20148&quot; value=&quot;5&quot;/&gt;&lt;property id=&quot;20300&quot; value=&quot;Slide 28&quot;/&gt;&lt;property id=&quot;20307&quot; value=&quot;290&quot;/&gt;&lt;/object&gt;&lt;/object&gt;&lt;object type=&quot;8&quot; unique_id=&quot;10268&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USERHIDDEN" val="1"/>
</p:tagLst>
</file>

<file path=ppt/tags/tag100.xml><?xml version="1.0" encoding="utf-8"?>
<p:tagLst xmlns:a="http://schemas.openxmlformats.org/drawingml/2006/main" xmlns:r="http://schemas.openxmlformats.org/officeDocument/2006/relationships" xmlns:p="http://schemas.openxmlformats.org/presentationml/2006/main">
  <p:tag name="USERHIDDEN" val="1"/>
</p:tagLst>
</file>

<file path=ppt/tags/tag101.xml><?xml version="1.0" encoding="utf-8"?>
<p:tagLst xmlns:a="http://schemas.openxmlformats.org/drawingml/2006/main" xmlns:r="http://schemas.openxmlformats.org/officeDocument/2006/relationships" xmlns:p="http://schemas.openxmlformats.org/presentationml/2006/main">
  <p:tag name="USERHIDDEN" val="1"/>
</p:tagLst>
</file>

<file path=ppt/tags/tag102.xml><?xml version="1.0" encoding="utf-8"?>
<p:tagLst xmlns:a="http://schemas.openxmlformats.org/drawingml/2006/main" xmlns:r="http://schemas.openxmlformats.org/officeDocument/2006/relationships" xmlns:p="http://schemas.openxmlformats.org/presentationml/2006/main">
  <p:tag name="USERHIDDEN" val="1"/>
</p:tagLst>
</file>

<file path=ppt/tags/tag103.xml><?xml version="1.0" encoding="utf-8"?>
<p:tagLst xmlns:a="http://schemas.openxmlformats.org/drawingml/2006/main" xmlns:r="http://schemas.openxmlformats.org/officeDocument/2006/relationships" xmlns:p="http://schemas.openxmlformats.org/presentationml/2006/main">
  <p:tag name="USERHIDDEN" val="1"/>
</p:tagLst>
</file>

<file path=ppt/tags/tag104.xml><?xml version="1.0" encoding="utf-8"?>
<p:tagLst xmlns:a="http://schemas.openxmlformats.org/drawingml/2006/main" xmlns:r="http://schemas.openxmlformats.org/officeDocument/2006/relationships" xmlns:p="http://schemas.openxmlformats.org/presentationml/2006/main">
  <p:tag name="USERHIDDEN" val="1"/>
</p:tagLst>
</file>

<file path=ppt/tags/tag105.xml><?xml version="1.0" encoding="utf-8"?>
<p:tagLst xmlns:a="http://schemas.openxmlformats.org/drawingml/2006/main" xmlns:r="http://schemas.openxmlformats.org/officeDocument/2006/relationships" xmlns:p="http://schemas.openxmlformats.org/presentationml/2006/main">
  <p:tag name="USERHIDDEN" val="1"/>
</p:tagLst>
</file>

<file path=ppt/tags/tag106.xml><?xml version="1.0" encoding="utf-8"?>
<p:tagLst xmlns:a="http://schemas.openxmlformats.org/drawingml/2006/main" xmlns:r="http://schemas.openxmlformats.org/officeDocument/2006/relationships" xmlns:p="http://schemas.openxmlformats.org/presentationml/2006/main">
  <p:tag name="USERHIDDEN" val="1"/>
</p:tagLst>
</file>

<file path=ppt/tags/tag107.xml><?xml version="1.0" encoding="utf-8"?>
<p:tagLst xmlns:a="http://schemas.openxmlformats.org/drawingml/2006/main" xmlns:r="http://schemas.openxmlformats.org/officeDocument/2006/relationships" xmlns:p="http://schemas.openxmlformats.org/presentationml/2006/main">
  <p:tag name="USERHIDDEN" val="1"/>
</p:tagLst>
</file>

<file path=ppt/tags/tag108.xml><?xml version="1.0" encoding="utf-8"?>
<p:tagLst xmlns:a="http://schemas.openxmlformats.org/drawingml/2006/main" xmlns:r="http://schemas.openxmlformats.org/officeDocument/2006/relationships" xmlns:p="http://schemas.openxmlformats.org/presentationml/2006/main">
  <p:tag name="USERHIDDEN" val="1"/>
</p:tagLst>
</file>

<file path=ppt/tags/tag109.xml><?xml version="1.0" encoding="utf-8"?>
<p:tagLst xmlns:a="http://schemas.openxmlformats.org/drawingml/2006/main" xmlns:r="http://schemas.openxmlformats.org/officeDocument/2006/relationships" xmlns:p="http://schemas.openxmlformats.org/presentationml/2006/main">
  <p:tag name="USERHIDDEN" val="1"/>
</p:tagLst>
</file>

<file path=ppt/tags/tag11.xml><?xml version="1.0" encoding="utf-8"?>
<p:tagLst xmlns:a="http://schemas.openxmlformats.org/drawingml/2006/main" xmlns:r="http://schemas.openxmlformats.org/officeDocument/2006/relationships" xmlns:p="http://schemas.openxmlformats.org/presentationml/2006/main">
  <p:tag name="USERHIDDEN" val="1"/>
</p:tagLst>
</file>

<file path=ppt/tags/tag110.xml><?xml version="1.0" encoding="utf-8"?>
<p:tagLst xmlns:a="http://schemas.openxmlformats.org/drawingml/2006/main" xmlns:r="http://schemas.openxmlformats.org/officeDocument/2006/relationships" xmlns:p="http://schemas.openxmlformats.org/presentationml/2006/main">
  <p:tag name="USERHIDDEN" val="1"/>
</p:tagLst>
</file>

<file path=ppt/tags/tag111.xml><?xml version="1.0" encoding="utf-8"?>
<p:tagLst xmlns:a="http://schemas.openxmlformats.org/drawingml/2006/main" xmlns:r="http://schemas.openxmlformats.org/officeDocument/2006/relationships" xmlns:p="http://schemas.openxmlformats.org/presentationml/2006/main">
  <p:tag name="USERHIDDEN" val="1"/>
</p:tagLst>
</file>

<file path=ppt/tags/tag112.xml><?xml version="1.0" encoding="utf-8"?>
<p:tagLst xmlns:a="http://schemas.openxmlformats.org/drawingml/2006/main" xmlns:r="http://schemas.openxmlformats.org/officeDocument/2006/relationships" xmlns:p="http://schemas.openxmlformats.org/presentationml/2006/main">
  <p:tag name="USERHIDDEN" val="1"/>
</p:tagLst>
</file>

<file path=ppt/tags/tag12.xml><?xml version="1.0" encoding="utf-8"?>
<p:tagLst xmlns:a="http://schemas.openxmlformats.org/drawingml/2006/main" xmlns:r="http://schemas.openxmlformats.org/officeDocument/2006/relationships" xmlns:p="http://schemas.openxmlformats.org/presentationml/2006/main">
  <p:tag name="USERHIDDEN" val="1"/>
</p:tagLst>
</file>

<file path=ppt/tags/tag13.xml><?xml version="1.0" encoding="utf-8"?>
<p:tagLst xmlns:a="http://schemas.openxmlformats.org/drawingml/2006/main" xmlns:r="http://schemas.openxmlformats.org/officeDocument/2006/relationships" xmlns:p="http://schemas.openxmlformats.org/presentationml/2006/main">
  <p:tag name="USERHIDDEN" val="1"/>
</p:tagLst>
</file>

<file path=ppt/tags/tag14.xml><?xml version="1.0" encoding="utf-8"?>
<p:tagLst xmlns:a="http://schemas.openxmlformats.org/drawingml/2006/main" xmlns:r="http://schemas.openxmlformats.org/officeDocument/2006/relationships" xmlns:p="http://schemas.openxmlformats.org/presentationml/2006/main">
  <p:tag name="USERHIDDEN" val="1"/>
</p:tagLst>
</file>

<file path=ppt/tags/tag15.xml><?xml version="1.0" encoding="utf-8"?>
<p:tagLst xmlns:a="http://schemas.openxmlformats.org/drawingml/2006/main" xmlns:r="http://schemas.openxmlformats.org/officeDocument/2006/relationships" xmlns:p="http://schemas.openxmlformats.org/presentationml/2006/main">
  <p:tag name="USERHIDDEN" val="1"/>
</p:tagLst>
</file>

<file path=ppt/tags/tag16.xml><?xml version="1.0" encoding="utf-8"?>
<p:tagLst xmlns:a="http://schemas.openxmlformats.org/drawingml/2006/main" xmlns:r="http://schemas.openxmlformats.org/officeDocument/2006/relationships" xmlns:p="http://schemas.openxmlformats.org/presentationml/2006/main">
  <p:tag name="USERHIDDEN" val="1"/>
</p:tagLst>
</file>

<file path=ppt/tags/tag17.xml><?xml version="1.0" encoding="utf-8"?>
<p:tagLst xmlns:a="http://schemas.openxmlformats.org/drawingml/2006/main" xmlns:r="http://schemas.openxmlformats.org/officeDocument/2006/relationships" xmlns:p="http://schemas.openxmlformats.org/presentationml/2006/main">
  <p:tag name="USERHIDDEN" val="1"/>
</p:tagLst>
</file>

<file path=ppt/tags/tag18.xml><?xml version="1.0" encoding="utf-8"?>
<p:tagLst xmlns:a="http://schemas.openxmlformats.org/drawingml/2006/main" xmlns:r="http://schemas.openxmlformats.org/officeDocument/2006/relationships" xmlns:p="http://schemas.openxmlformats.org/presentationml/2006/main">
  <p:tag name="USERHIDDEN" val="1"/>
</p:tagLst>
</file>

<file path=ppt/tags/tag19.xml><?xml version="1.0" encoding="utf-8"?>
<p:tagLst xmlns:a="http://schemas.openxmlformats.org/drawingml/2006/main" xmlns:r="http://schemas.openxmlformats.org/officeDocument/2006/relationships" xmlns:p="http://schemas.openxmlformats.org/presentationml/2006/main">
  <p:tag name="USERHIDDEN"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USERHIDDEN" val="1"/>
</p:tagLst>
</file>

<file path=ppt/tags/tag21.xml><?xml version="1.0" encoding="utf-8"?>
<p:tagLst xmlns:a="http://schemas.openxmlformats.org/drawingml/2006/main" xmlns:r="http://schemas.openxmlformats.org/officeDocument/2006/relationships" xmlns:p="http://schemas.openxmlformats.org/presentationml/2006/main">
  <p:tag name="USERHIDDEN" val="1"/>
</p:tagLst>
</file>

<file path=ppt/tags/tag22.xml><?xml version="1.0" encoding="utf-8"?>
<p:tagLst xmlns:a="http://schemas.openxmlformats.org/drawingml/2006/main" xmlns:r="http://schemas.openxmlformats.org/officeDocument/2006/relationships" xmlns:p="http://schemas.openxmlformats.org/presentationml/2006/main">
  <p:tag name="USERHIDDEN" val="1"/>
</p:tagLst>
</file>

<file path=ppt/tags/tag23.xml><?xml version="1.0" encoding="utf-8"?>
<p:tagLst xmlns:a="http://schemas.openxmlformats.org/drawingml/2006/main" xmlns:r="http://schemas.openxmlformats.org/officeDocument/2006/relationships" xmlns:p="http://schemas.openxmlformats.org/presentationml/2006/main">
  <p:tag name="USERHIDDEN" val="1"/>
</p:tagLst>
</file>

<file path=ppt/tags/tag24.xml><?xml version="1.0" encoding="utf-8"?>
<p:tagLst xmlns:a="http://schemas.openxmlformats.org/drawingml/2006/main" xmlns:r="http://schemas.openxmlformats.org/officeDocument/2006/relationships" xmlns:p="http://schemas.openxmlformats.org/presentationml/2006/main">
  <p:tag name="USERHIDDEN" val="1"/>
</p:tagLst>
</file>

<file path=ppt/tags/tag25.xml><?xml version="1.0" encoding="utf-8"?>
<p:tagLst xmlns:a="http://schemas.openxmlformats.org/drawingml/2006/main" xmlns:r="http://schemas.openxmlformats.org/officeDocument/2006/relationships" xmlns:p="http://schemas.openxmlformats.org/presentationml/2006/main">
  <p:tag name="USERHIDDEN" val="1"/>
</p:tagLst>
</file>

<file path=ppt/tags/tag26.xml><?xml version="1.0" encoding="utf-8"?>
<p:tagLst xmlns:a="http://schemas.openxmlformats.org/drawingml/2006/main" xmlns:r="http://schemas.openxmlformats.org/officeDocument/2006/relationships" xmlns:p="http://schemas.openxmlformats.org/presentationml/2006/main">
  <p:tag name="USERHIDDEN" val="1"/>
</p:tagLst>
</file>

<file path=ppt/tags/tag27.xml><?xml version="1.0" encoding="utf-8"?>
<p:tagLst xmlns:a="http://schemas.openxmlformats.org/drawingml/2006/main" xmlns:r="http://schemas.openxmlformats.org/officeDocument/2006/relationships" xmlns:p="http://schemas.openxmlformats.org/presentationml/2006/main">
  <p:tag name="USERHIDDEN" val="1"/>
</p:tagLst>
</file>

<file path=ppt/tags/tag28.xml><?xml version="1.0" encoding="utf-8"?>
<p:tagLst xmlns:a="http://schemas.openxmlformats.org/drawingml/2006/main" xmlns:r="http://schemas.openxmlformats.org/officeDocument/2006/relationships" xmlns:p="http://schemas.openxmlformats.org/presentationml/2006/main">
  <p:tag name="USERHIDDEN" val="1"/>
</p:tagLst>
</file>

<file path=ppt/tags/tag29.xml><?xml version="1.0" encoding="utf-8"?>
<p:tagLst xmlns:a="http://schemas.openxmlformats.org/drawingml/2006/main" xmlns:r="http://schemas.openxmlformats.org/officeDocument/2006/relationships" xmlns:p="http://schemas.openxmlformats.org/presentationml/2006/main">
  <p:tag name="USERHIDDEN"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USERHIDDEN" val="1"/>
</p:tagLst>
</file>

<file path=ppt/tags/tag31.xml><?xml version="1.0" encoding="utf-8"?>
<p:tagLst xmlns:a="http://schemas.openxmlformats.org/drawingml/2006/main" xmlns:r="http://schemas.openxmlformats.org/officeDocument/2006/relationships" xmlns:p="http://schemas.openxmlformats.org/presentationml/2006/main">
  <p:tag name="USERHIDDEN" val="1"/>
</p:tagLst>
</file>

<file path=ppt/tags/tag32.xml><?xml version="1.0" encoding="utf-8"?>
<p:tagLst xmlns:a="http://schemas.openxmlformats.org/drawingml/2006/main" xmlns:r="http://schemas.openxmlformats.org/officeDocument/2006/relationships" xmlns:p="http://schemas.openxmlformats.org/presentationml/2006/main">
  <p:tag name="USERHIDDEN" val="1"/>
</p:tagLst>
</file>

<file path=ppt/tags/tag33.xml><?xml version="1.0" encoding="utf-8"?>
<p:tagLst xmlns:a="http://schemas.openxmlformats.org/drawingml/2006/main" xmlns:r="http://schemas.openxmlformats.org/officeDocument/2006/relationships" xmlns:p="http://schemas.openxmlformats.org/presentationml/2006/main">
  <p:tag name="USERHIDDEN" val="1"/>
</p:tagLst>
</file>

<file path=ppt/tags/tag34.xml><?xml version="1.0" encoding="utf-8"?>
<p:tagLst xmlns:a="http://schemas.openxmlformats.org/drawingml/2006/main" xmlns:r="http://schemas.openxmlformats.org/officeDocument/2006/relationships" xmlns:p="http://schemas.openxmlformats.org/presentationml/2006/main">
  <p:tag name="USERHIDDEN" val="1"/>
</p:tagLst>
</file>

<file path=ppt/tags/tag35.xml><?xml version="1.0" encoding="utf-8"?>
<p:tagLst xmlns:a="http://schemas.openxmlformats.org/drawingml/2006/main" xmlns:r="http://schemas.openxmlformats.org/officeDocument/2006/relationships" xmlns:p="http://schemas.openxmlformats.org/presentationml/2006/main">
  <p:tag name="USERHIDDEN" val="1"/>
</p:tagLst>
</file>

<file path=ppt/tags/tag36.xml><?xml version="1.0" encoding="utf-8"?>
<p:tagLst xmlns:a="http://schemas.openxmlformats.org/drawingml/2006/main" xmlns:r="http://schemas.openxmlformats.org/officeDocument/2006/relationships" xmlns:p="http://schemas.openxmlformats.org/presentationml/2006/main">
  <p:tag name="USERHIDDEN" val="1"/>
</p:tagLst>
</file>

<file path=ppt/tags/tag37.xml><?xml version="1.0" encoding="utf-8"?>
<p:tagLst xmlns:a="http://schemas.openxmlformats.org/drawingml/2006/main" xmlns:r="http://schemas.openxmlformats.org/officeDocument/2006/relationships" xmlns:p="http://schemas.openxmlformats.org/presentationml/2006/main">
  <p:tag name="USERHIDDEN" val="1"/>
</p:tagLst>
</file>

<file path=ppt/tags/tag38.xml><?xml version="1.0" encoding="utf-8"?>
<p:tagLst xmlns:a="http://schemas.openxmlformats.org/drawingml/2006/main" xmlns:r="http://schemas.openxmlformats.org/officeDocument/2006/relationships" xmlns:p="http://schemas.openxmlformats.org/presentationml/2006/main">
  <p:tag name="USERHIDDEN" val="1"/>
</p:tagLst>
</file>

<file path=ppt/tags/tag39.xml><?xml version="1.0" encoding="utf-8"?>
<p:tagLst xmlns:a="http://schemas.openxmlformats.org/drawingml/2006/main" xmlns:r="http://schemas.openxmlformats.org/officeDocument/2006/relationships" xmlns:p="http://schemas.openxmlformats.org/presentationml/2006/main">
  <p:tag name="USERHIDDEN"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USERHIDDEN" val="1"/>
</p:tagLst>
</file>

<file path=ppt/tags/tag41.xml><?xml version="1.0" encoding="utf-8"?>
<p:tagLst xmlns:a="http://schemas.openxmlformats.org/drawingml/2006/main" xmlns:r="http://schemas.openxmlformats.org/officeDocument/2006/relationships" xmlns:p="http://schemas.openxmlformats.org/presentationml/2006/main">
  <p:tag name="USERHIDDEN" val="1"/>
</p:tagLst>
</file>

<file path=ppt/tags/tag42.xml><?xml version="1.0" encoding="utf-8"?>
<p:tagLst xmlns:a="http://schemas.openxmlformats.org/drawingml/2006/main" xmlns:r="http://schemas.openxmlformats.org/officeDocument/2006/relationships" xmlns:p="http://schemas.openxmlformats.org/presentationml/2006/main">
  <p:tag name="USERHIDDEN" val="1"/>
</p:tagLst>
</file>

<file path=ppt/tags/tag43.xml><?xml version="1.0" encoding="utf-8"?>
<p:tagLst xmlns:a="http://schemas.openxmlformats.org/drawingml/2006/main" xmlns:r="http://schemas.openxmlformats.org/officeDocument/2006/relationships" xmlns:p="http://schemas.openxmlformats.org/presentationml/2006/main">
  <p:tag name="USERHIDDEN" val="1"/>
</p:tagLst>
</file>

<file path=ppt/tags/tag44.xml><?xml version="1.0" encoding="utf-8"?>
<p:tagLst xmlns:a="http://schemas.openxmlformats.org/drawingml/2006/main" xmlns:r="http://schemas.openxmlformats.org/officeDocument/2006/relationships" xmlns:p="http://schemas.openxmlformats.org/presentationml/2006/main">
  <p:tag name="USERHIDDEN" val="1"/>
</p:tagLst>
</file>

<file path=ppt/tags/tag45.xml><?xml version="1.0" encoding="utf-8"?>
<p:tagLst xmlns:a="http://schemas.openxmlformats.org/drawingml/2006/main" xmlns:r="http://schemas.openxmlformats.org/officeDocument/2006/relationships" xmlns:p="http://schemas.openxmlformats.org/presentationml/2006/main">
  <p:tag name="USERHIDDEN" val="1"/>
</p:tagLst>
</file>

<file path=ppt/tags/tag46.xml><?xml version="1.0" encoding="utf-8"?>
<p:tagLst xmlns:a="http://schemas.openxmlformats.org/drawingml/2006/main" xmlns:r="http://schemas.openxmlformats.org/officeDocument/2006/relationships" xmlns:p="http://schemas.openxmlformats.org/presentationml/2006/main">
  <p:tag name="USERHIDDEN" val="1"/>
</p:tagLst>
</file>

<file path=ppt/tags/tag47.xml><?xml version="1.0" encoding="utf-8"?>
<p:tagLst xmlns:a="http://schemas.openxmlformats.org/drawingml/2006/main" xmlns:r="http://schemas.openxmlformats.org/officeDocument/2006/relationships" xmlns:p="http://schemas.openxmlformats.org/presentationml/2006/main">
  <p:tag name="USERHIDDEN" val="1"/>
</p:tagLst>
</file>

<file path=ppt/tags/tag48.xml><?xml version="1.0" encoding="utf-8"?>
<p:tagLst xmlns:a="http://schemas.openxmlformats.org/drawingml/2006/main" xmlns:r="http://schemas.openxmlformats.org/officeDocument/2006/relationships" xmlns:p="http://schemas.openxmlformats.org/presentationml/2006/main">
  <p:tag name="USERHIDDEN" val="1"/>
</p:tagLst>
</file>

<file path=ppt/tags/tag49.xml><?xml version="1.0" encoding="utf-8"?>
<p:tagLst xmlns:a="http://schemas.openxmlformats.org/drawingml/2006/main" xmlns:r="http://schemas.openxmlformats.org/officeDocument/2006/relationships" xmlns:p="http://schemas.openxmlformats.org/presentationml/2006/main">
  <p:tag name="USERHIDDEN" val="1"/>
</p:tagLst>
</file>

<file path=ppt/tags/tag5.xml><?xml version="1.0" encoding="utf-8"?>
<p:tagLst xmlns:a="http://schemas.openxmlformats.org/drawingml/2006/main" xmlns:r="http://schemas.openxmlformats.org/officeDocument/2006/relationships" xmlns:p="http://schemas.openxmlformats.org/presentationml/2006/main">
  <p:tag name="USERHIDDEN" val="1"/>
</p:tagLst>
</file>

<file path=ppt/tags/tag50.xml><?xml version="1.0" encoding="utf-8"?>
<p:tagLst xmlns:a="http://schemas.openxmlformats.org/drawingml/2006/main" xmlns:r="http://schemas.openxmlformats.org/officeDocument/2006/relationships" xmlns:p="http://schemas.openxmlformats.org/presentationml/2006/main">
  <p:tag name="USERHIDDEN" val="1"/>
</p:tagLst>
</file>

<file path=ppt/tags/tag51.xml><?xml version="1.0" encoding="utf-8"?>
<p:tagLst xmlns:a="http://schemas.openxmlformats.org/drawingml/2006/main" xmlns:r="http://schemas.openxmlformats.org/officeDocument/2006/relationships" xmlns:p="http://schemas.openxmlformats.org/presentationml/2006/main">
  <p:tag name="USERHIDDEN" val="1"/>
</p:tagLst>
</file>

<file path=ppt/tags/tag52.xml><?xml version="1.0" encoding="utf-8"?>
<p:tagLst xmlns:a="http://schemas.openxmlformats.org/drawingml/2006/main" xmlns:r="http://schemas.openxmlformats.org/officeDocument/2006/relationships" xmlns:p="http://schemas.openxmlformats.org/presentationml/2006/main">
  <p:tag name="USERHIDDEN" val="1"/>
</p:tagLst>
</file>

<file path=ppt/tags/tag53.xml><?xml version="1.0" encoding="utf-8"?>
<p:tagLst xmlns:a="http://schemas.openxmlformats.org/drawingml/2006/main" xmlns:r="http://schemas.openxmlformats.org/officeDocument/2006/relationships" xmlns:p="http://schemas.openxmlformats.org/presentationml/2006/main">
  <p:tag name="USERHIDDEN" val="1"/>
</p:tagLst>
</file>

<file path=ppt/tags/tag54.xml><?xml version="1.0" encoding="utf-8"?>
<p:tagLst xmlns:a="http://schemas.openxmlformats.org/drawingml/2006/main" xmlns:r="http://schemas.openxmlformats.org/officeDocument/2006/relationships" xmlns:p="http://schemas.openxmlformats.org/presentationml/2006/main">
  <p:tag name="USERHIDDEN" val="1"/>
</p:tagLst>
</file>

<file path=ppt/tags/tag55.xml><?xml version="1.0" encoding="utf-8"?>
<p:tagLst xmlns:a="http://schemas.openxmlformats.org/drawingml/2006/main" xmlns:r="http://schemas.openxmlformats.org/officeDocument/2006/relationships" xmlns:p="http://schemas.openxmlformats.org/presentationml/2006/main">
  <p:tag name="USERHIDDEN" val="1"/>
</p:tagLst>
</file>

<file path=ppt/tags/tag56.xml><?xml version="1.0" encoding="utf-8"?>
<p:tagLst xmlns:a="http://schemas.openxmlformats.org/drawingml/2006/main" xmlns:r="http://schemas.openxmlformats.org/officeDocument/2006/relationships" xmlns:p="http://schemas.openxmlformats.org/presentationml/2006/main">
  <p:tag name="USERHIDDEN" val="1"/>
</p:tagLst>
</file>

<file path=ppt/tags/tag57.xml><?xml version="1.0" encoding="utf-8"?>
<p:tagLst xmlns:a="http://schemas.openxmlformats.org/drawingml/2006/main" xmlns:r="http://schemas.openxmlformats.org/officeDocument/2006/relationships" xmlns:p="http://schemas.openxmlformats.org/presentationml/2006/main">
  <p:tag name="USERHIDDEN" val="1"/>
</p:tagLst>
</file>

<file path=ppt/tags/tag58.xml><?xml version="1.0" encoding="utf-8"?>
<p:tagLst xmlns:a="http://schemas.openxmlformats.org/drawingml/2006/main" xmlns:r="http://schemas.openxmlformats.org/officeDocument/2006/relationships" xmlns:p="http://schemas.openxmlformats.org/presentationml/2006/main">
  <p:tag name="USERHIDDEN" val="1"/>
</p:tagLst>
</file>

<file path=ppt/tags/tag59.xml><?xml version="1.0" encoding="utf-8"?>
<p:tagLst xmlns:a="http://schemas.openxmlformats.org/drawingml/2006/main" xmlns:r="http://schemas.openxmlformats.org/officeDocument/2006/relationships" xmlns:p="http://schemas.openxmlformats.org/presentationml/2006/main">
  <p:tag name="USERHIDDEN" val="1"/>
</p:tagLst>
</file>

<file path=ppt/tags/tag6.xml><?xml version="1.0" encoding="utf-8"?>
<p:tagLst xmlns:a="http://schemas.openxmlformats.org/drawingml/2006/main" xmlns:r="http://schemas.openxmlformats.org/officeDocument/2006/relationships" xmlns:p="http://schemas.openxmlformats.org/presentationml/2006/main">
  <p:tag name="USERHIDDEN" val="1"/>
</p:tagLst>
</file>

<file path=ppt/tags/tag60.xml><?xml version="1.0" encoding="utf-8"?>
<p:tagLst xmlns:a="http://schemas.openxmlformats.org/drawingml/2006/main" xmlns:r="http://schemas.openxmlformats.org/officeDocument/2006/relationships" xmlns:p="http://schemas.openxmlformats.org/presentationml/2006/main">
  <p:tag name="USERHIDDEN" val="1"/>
</p:tagLst>
</file>

<file path=ppt/tags/tag61.xml><?xml version="1.0" encoding="utf-8"?>
<p:tagLst xmlns:a="http://schemas.openxmlformats.org/drawingml/2006/main" xmlns:r="http://schemas.openxmlformats.org/officeDocument/2006/relationships" xmlns:p="http://schemas.openxmlformats.org/presentationml/2006/main">
  <p:tag name="USERHIDDEN" val="1"/>
</p:tagLst>
</file>

<file path=ppt/tags/tag62.xml><?xml version="1.0" encoding="utf-8"?>
<p:tagLst xmlns:a="http://schemas.openxmlformats.org/drawingml/2006/main" xmlns:r="http://schemas.openxmlformats.org/officeDocument/2006/relationships" xmlns:p="http://schemas.openxmlformats.org/presentationml/2006/main">
  <p:tag name="USERHIDDEN" val="1"/>
</p:tagLst>
</file>

<file path=ppt/tags/tag63.xml><?xml version="1.0" encoding="utf-8"?>
<p:tagLst xmlns:a="http://schemas.openxmlformats.org/drawingml/2006/main" xmlns:r="http://schemas.openxmlformats.org/officeDocument/2006/relationships" xmlns:p="http://schemas.openxmlformats.org/presentationml/2006/main">
  <p:tag name="USERHIDDEN" val="1"/>
</p:tagLst>
</file>

<file path=ppt/tags/tag64.xml><?xml version="1.0" encoding="utf-8"?>
<p:tagLst xmlns:a="http://schemas.openxmlformats.org/drawingml/2006/main" xmlns:r="http://schemas.openxmlformats.org/officeDocument/2006/relationships" xmlns:p="http://schemas.openxmlformats.org/presentationml/2006/main">
  <p:tag name="USERHIDDEN" val="1"/>
</p:tagLst>
</file>

<file path=ppt/tags/tag65.xml><?xml version="1.0" encoding="utf-8"?>
<p:tagLst xmlns:a="http://schemas.openxmlformats.org/drawingml/2006/main" xmlns:r="http://schemas.openxmlformats.org/officeDocument/2006/relationships" xmlns:p="http://schemas.openxmlformats.org/presentationml/2006/main">
  <p:tag name="USERHIDDEN" val="1"/>
</p:tagLst>
</file>

<file path=ppt/tags/tag66.xml><?xml version="1.0" encoding="utf-8"?>
<p:tagLst xmlns:a="http://schemas.openxmlformats.org/drawingml/2006/main" xmlns:r="http://schemas.openxmlformats.org/officeDocument/2006/relationships" xmlns:p="http://schemas.openxmlformats.org/presentationml/2006/main">
  <p:tag name="USERHIDDEN" val="1"/>
</p:tagLst>
</file>

<file path=ppt/tags/tag67.xml><?xml version="1.0" encoding="utf-8"?>
<p:tagLst xmlns:a="http://schemas.openxmlformats.org/drawingml/2006/main" xmlns:r="http://schemas.openxmlformats.org/officeDocument/2006/relationships" xmlns:p="http://schemas.openxmlformats.org/presentationml/2006/main">
  <p:tag name="USERHIDDEN" val="1"/>
</p:tagLst>
</file>

<file path=ppt/tags/tag68.xml><?xml version="1.0" encoding="utf-8"?>
<p:tagLst xmlns:a="http://schemas.openxmlformats.org/drawingml/2006/main" xmlns:r="http://schemas.openxmlformats.org/officeDocument/2006/relationships" xmlns:p="http://schemas.openxmlformats.org/presentationml/2006/main">
  <p:tag name="USERHIDDEN" val="1"/>
</p:tagLst>
</file>

<file path=ppt/tags/tag69.xml><?xml version="1.0" encoding="utf-8"?>
<p:tagLst xmlns:a="http://schemas.openxmlformats.org/drawingml/2006/main" xmlns:r="http://schemas.openxmlformats.org/officeDocument/2006/relationships" xmlns:p="http://schemas.openxmlformats.org/presentationml/2006/main">
  <p:tag name="USERHIDDEN" val="1"/>
</p:tagLst>
</file>

<file path=ppt/tags/tag7.xml><?xml version="1.0" encoding="utf-8"?>
<p:tagLst xmlns:a="http://schemas.openxmlformats.org/drawingml/2006/main" xmlns:r="http://schemas.openxmlformats.org/officeDocument/2006/relationships" xmlns:p="http://schemas.openxmlformats.org/presentationml/2006/main">
  <p:tag name="USERHIDDEN" val="1"/>
</p:tagLst>
</file>

<file path=ppt/tags/tag70.xml><?xml version="1.0" encoding="utf-8"?>
<p:tagLst xmlns:a="http://schemas.openxmlformats.org/drawingml/2006/main" xmlns:r="http://schemas.openxmlformats.org/officeDocument/2006/relationships" xmlns:p="http://schemas.openxmlformats.org/presentationml/2006/main">
  <p:tag name="USERHIDDEN" val="1"/>
</p:tagLst>
</file>

<file path=ppt/tags/tag71.xml><?xml version="1.0" encoding="utf-8"?>
<p:tagLst xmlns:a="http://schemas.openxmlformats.org/drawingml/2006/main" xmlns:r="http://schemas.openxmlformats.org/officeDocument/2006/relationships" xmlns:p="http://schemas.openxmlformats.org/presentationml/2006/main">
  <p:tag name="USERHIDDEN" val="1"/>
</p:tagLst>
</file>

<file path=ppt/tags/tag72.xml><?xml version="1.0" encoding="utf-8"?>
<p:tagLst xmlns:a="http://schemas.openxmlformats.org/drawingml/2006/main" xmlns:r="http://schemas.openxmlformats.org/officeDocument/2006/relationships" xmlns:p="http://schemas.openxmlformats.org/presentationml/2006/main">
  <p:tag name="USERHIDDEN" val="1"/>
</p:tagLst>
</file>

<file path=ppt/tags/tag73.xml><?xml version="1.0" encoding="utf-8"?>
<p:tagLst xmlns:a="http://schemas.openxmlformats.org/drawingml/2006/main" xmlns:r="http://schemas.openxmlformats.org/officeDocument/2006/relationships" xmlns:p="http://schemas.openxmlformats.org/presentationml/2006/main">
  <p:tag name="USERHIDDEN" val="1"/>
</p:tagLst>
</file>

<file path=ppt/tags/tag74.xml><?xml version="1.0" encoding="utf-8"?>
<p:tagLst xmlns:a="http://schemas.openxmlformats.org/drawingml/2006/main" xmlns:r="http://schemas.openxmlformats.org/officeDocument/2006/relationships" xmlns:p="http://schemas.openxmlformats.org/presentationml/2006/main">
  <p:tag name="USERHIDDEN" val="1"/>
</p:tagLst>
</file>

<file path=ppt/tags/tag75.xml><?xml version="1.0" encoding="utf-8"?>
<p:tagLst xmlns:a="http://schemas.openxmlformats.org/drawingml/2006/main" xmlns:r="http://schemas.openxmlformats.org/officeDocument/2006/relationships" xmlns:p="http://schemas.openxmlformats.org/presentationml/2006/main">
  <p:tag name="USERHIDDEN" val="1"/>
</p:tagLst>
</file>

<file path=ppt/tags/tag76.xml><?xml version="1.0" encoding="utf-8"?>
<p:tagLst xmlns:a="http://schemas.openxmlformats.org/drawingml/2006/main" xmlns:r="http://schemas.openxmlformats.org/officeDocument/2006/relationships" xmlns:p="http://schemas.openxmlformats.org/presentationml/2006/main">
  <p:tag name="USERHIDDEN" val="1"/>
</p:tagLst>
</file>

<file path=ppt/tags/tag77.xml><?xml version="1.0" encoding="utf-8"?>
<p:tagLst xmlns:a="http://schemas.openxmlformats.org/drawingml/2006/main" xmlns:r="http://schemas.openxmlformats.org/officeDocument/2006/relationships" xmlns:p="http://schemas.openxmlformats.org/presentationml/2006/main">
  <p:tag name="USERHIDDEN" val="1"/>
</p:tagLst>
</file>

<file path=ppt/tags/tag78.xml><?xml version="1.0" encoding="utf-8"?>
<p:tagLst xmlns:a="http://schemas.openxmlformats.org/drawingml/2006/main" xmlns:r="http://schemas.openxmlformats.org/officeDocument/2006/relationships" xmlns:p="http://schemas.openxmlformats.org/presentationml/2006/main">
  <p:tag name="USERHIDDEN" val="1"/>
</p:tagLst>
</file>

<file path=ppt/tags/tag79.xml><?xml version="1.0" encoding="utf-8"?>
<p:tagLst xmlns:a="http://schemas.openxmlformats.org/drawingml/2006/main" xmlns:r="http://schemas.openxmlformats.org/officeDocument/2006/relationships" xmlns:p="http://schemas.openxmlformats.org/presentationml/2006/main">
  <p:tag name="USERHIDDEN" val="1"/>
</p:tagLst>
</file>

<file path=ppt/tags/tag8.xml><?xml version="1.0" encoding="utf-8"?>
<p:tagLst xmlns:a="http://schemas.openxmlformats.org/drawingml/2006/main" xmlns:r="http://schemas.openxmlformats.org/officeDocument/2006/relationships" xmlns:p="http://schemas.openxmlformats.org/presentationml/2006/main">
  <p:tag name="USERHIDDEN" val="1"/>
</p:tagLst>
</file>

<file path=ppt/tags/tag80.xml><?xml version="1.0" encoding="utf-8"?>
<p:tagLst xmlns:a="http://schemas.openxmlformats.org/drawingml/2006/main" xmlns:r="http://schemas.openxmlformats.org/officeDocument/2006/relationships" xmlns:p="http://schemas.openxmlformats.org/presentationml/2006/main">
  <p:tag name="USERHIDDEN" val="1"/>
</p:tagLst>
</file>

<file path=ppt/tags/tag81.xml><?xml version="1.0" encoding="utf-8"?>
<p:tagLst xmlns:a="http://schemas.openxmlformats.org/drawingml/2006/main" xmlns:r="http://schemas.openxmlformats.org/officeDocument/2006/relationships" xmlns:p="http://schemas.openxmlformats.org/presentationml/2006/main">
  <p:tag name="USERHIDDEN" val="1"/>
</p:tagLst>
</file>

<file path=ppt/tags/tag82.xml><?xml version="1.0" encoding="utf-8"?>
<p:tagLst xmlns:a="http://schemas.openxmlformats.org/drawingml/2006/main" xmlns:r="http://schemas.openxmlformats.org/officeDocument/2006/relationships" xmlns:p="http://schemas.openxmlformats.org/presentationml/2006/main">
  <p:tag name="USERHIDDEN" val="1"/>
</p:tagLst>
</file>

<file path=ppt/tags/tag83.xml><?xml version="1.0" encoding="utf-8"?>
<p:tagLst xmlns:a="http://schemas.openxmlformats.org/drawingml/2006/main" xmlns:r="http://schemas.openxmlformats.org/officeDocument/2006/relationships" xmlns:p="http://schemas.openxmlformats.org/presentationml/2006/main">
  <p:tag name="USERHIDDEN" val="1"/>
</p:tagLst>
</file>

<file path=ppt/tags/tag84.xml><?xml version="1.0" encoding="utf-8"?>
<p:tagLst xmlns:a="http://schemas.openxmlformats.org/drawingml/2006/main" xmlns:r="http://schemas.openxmlformats.org/officeDocument/2006/relationships" xmlns:p="http://schemas.openxmlformats.org/presentationml/2006/main">
  <p:tag name="USERHIDDEN" val="1"/>
</p:tagLst>
</file>

<file path=ppt/tags/tag85.xml><?xml version="1.0" encoding="utf-8"?>
<p:tagLst xmlns:a="http://schemas.openxmlformats.org/drawingml/2006/main" xmlns:r="http://schemas.openxmlformats.org/officeDocument/2006/relationships" xmlns:p="http://schemas.openxmlformats.org/presentationml/2006/main">
  <p:tag name="USERHIDDEN" val="1"/>
</p:tagLst>
</file>

<file path=ppt/tags/tag86.xml><?xml version="1.0" encoding="utf-8"?>
<p:tagLst xmlns:a="http://schemas.openxmlformats.org/drawingml/2006/main" xmlns:r="http://schemas.openxmlformats.org/officeDocument/2006/relationships" xmlns:p="http://schemas.openxmlformats.org/presentationml/2006/main">
  <p:tag name="USERHIDDEN" val="1"/>
</p:tagLst>
</file>

<file path=ppt/tags/tag87.xml><?xml version="1.0" encoding="utf-8"?>
<p:tagLst xmlns:a="http://schemas.openxmlformats.org/drawingml/2006/main" xmlns:r="http://schemas.openxmlformats.org/officeDocument/2006/relationships" xmlns:p="http://schemas.openxmlformats.org/presentationml/2006/main">
  <p:tag name="USERHIDDEN" val="1"/>
</p:tagLst>
</file>

<file path=ppt/tags/tag88.xml><?xml version="1.0" encoding="utf-8"?>
<p:tagLst xmlns:a="http://schemas.openxmlformats.org/drawingml/2006/main" xmlns:r="http://schemas.openxmlformats.org/officeDocument/2006/relationships" xmlns:p="http://schemas.openxmlformats.org/presentationml/2006/main">
  <p:tag name="USERHIDDEN" val="1"/>
</p:tagLst>
</file>

<file path=ppt/tags/tag89.xml><?xml version="1.0" encoding="utf-8"?>
<p:tagLst xmlns:a="http://schemas.openxmlformats.org/drawingml/2006/main" xmlns:r="http://schemas.openxmlformats.org/officeDocument/2006/relationships" xmlns:p="http://schemas.openxmlformats.org/presentationml/2006/main">
  <p:tag name="USERHIDDEN" val="1"/>
</p:tagLst>
</file>

<file path=ppt/tags/tag9.xml><?xml version="1.0" encoding="utf-8"?>
<p:tagLst xmlns:a="http://schemas.openxmlformats.org/drawingml/2006/main" xmlns:r="http://schemas.openxmlformats.org/officeDocument/2006/relationships" xmlns:p="http://schemas.openxmlformats.org/presentationml/2006/main">
  <p:tag name="USERHIDDEN" val="1"/>
</p:tagLst>
</file>

<file path=ppt/tags/tag90.xml><?xml version="1.0" encoding="utf-8"?>
<p:tagLst xmlns:a="http://schemas.openxmlformats.org/drawingml/2006/main" xmlns:r="http://schemas.openxmlformats.org/officeDocument/2006/relationships" xmlns:p="http://schemas.openxmlformats.org/presentationml/2006/main">
  <p:tag name="USERHIDDEN" val="1"/>
</p:tagLst>
</file>

<file path=ppt/tags/tag91.xml><?xml version="1.0" encoding="utf-8"?>
<p:tagLst xmlns:a="http://schemas.openxmlformats.org/drawingml/2006/main" xmlns:r="http://schemas.openxmlformats.org/officeDocument/2006/relationships" xmlns:p="http://schemas.openxmlformats.org/presentationml/2006/main">
  <p:tag name="USERHIDDEN" val="1"/>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USERHIDDEN" val="1"/>
</p:tagLst>
</file>

<file path=ppt/tags/tag96.xml><?xml version="1.0" encoding="utf-8"?>
<p:tagLst xmlns:a="http://schemas.openxmlformats.org/drawingml/2006/main" xmlns:r="http://schemas.openxmlformats.org/officeDocument/2006/relationships" xmlns:p="http://schemas.openxmlformats.org/presentationml/2006/main">
  <p:tag name="USERHIDDEN" val="1"/>
</p:tagLst>
</file>

<file path=ppt/tags/tag97.xml><?xml version="1.0" encoding="utf-8"?>
<p:tagLst xmlns:a="http://schemas.openxmlformats.org/drawingml/2006/main" xmlns:r="http://schemas.openxmlformats.org/officeDocument/2006/relationships" xmlns:p="http://schemas.openxmlformats.org/presentationml/2006/main">
  <p:tag name="USERHIDDEN" val="1"/>
</p:tagLst>
</file>

<file path=ppt/tags/tag98.xml><?xml version="1.0" encoding="utf-8"?>
<p:tagLst xmlns:a="http://schemas.openxmlformats.org/drawingml/2006/main" xmlns:r="http://schemas.openxmlformats.org/officeDocument/2006/relationships" xmlns:p="http://schemas.openxmlformats.org/presentationml/2006/main">
  <p:tag name="USERHIDDEN" val="1"/>
</p:tagLst>
</file>

<file path=ppt/tags/tag99.xml><?xml version="1.0" encoding="utf-8"?>
<p:tagLst xmlns:a="http://schemas.openxmlformats.org/drawingml/2006/main" xmlns:r="http://schemas.openxmlformats.org/officeDocument/2006/relationships" xmlns:p="http://schemas.openxmlformats.org/presentationml/2006/main">
  <p:tag name="USERHIDDEN" val="1"/>
</p:tagLst>
</file>

<file path=ppt/theme/theme1.xml><?xml version="1.0" encoding="utf-8"?>
<a:theme xmlns:a="http://schemas.openxmlformats.org/drawingml/2006/main" name="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10.xml><?xml version="1.0" encoding="utf-8"?>
<a:theme xmlns:a="http://schemas.openxmlformats.org/drawingml/2006/main" name="Cisco Corporate Template 2017">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2017" id="{DAB0E4DC-D2D5-574F-9E8B-22D18E0E7B41}" vid="{E793E7BF-69F0-E64E-9103-F7DB54047194}"/>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Cisco Corporate Template 2017">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2017" id="{B475D07A-1DB6-604B-8ED6-4DAAB98B060F}" vid="{63A8490B-0C4C-6E42-BF2A-D0F3A1830AB0}"/>
    </a:ext>
  </a:extLst>
</a:theme>
</file>

<file path=ppt/theme/theme1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6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3.xml><?xml version="1.0" encoding="utf-8"?>
<a:theme xmlns:a="http://schemas.openxmlformats.org/drawingml/2006/main" name="2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t"/>
      <a:lstStyle>
        <a:defPPr marL="285750" indent="-285750" algn="l">
          <a:buFont typeface="Arial" panose="020B0604020202020204" pitchFamily="34" charset="0"/>
          <a:buChar cha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4.xml><?xml version="1.0" encoding="utf-8"?>
<a:theme xmlns:a="http://schemas.openxmlformats.org/drawingml/2006/main" name="3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Presentation4" id="{55B7FCAE-CB7F-4948-9987-E99DC5F333C2}" vid="{0C3A067B-6A3C-3249-80F9-39410CC2ABF2}"/>
    </a:ext>
  </a:extLst>
</a:theme>
</file>

<file path=ppt/theme/theme5.xml><?xml version="1.0" encoding="utf-8"?>
<a:theme xmlns:a="http://schemas.openxmlformats.org/drawingml/2006/main" name="4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a:noFill/>
        </a:ln>
        <a:effectLst/>
      </a:spPr>
      <a:bodyPr rtlCol="0" anchor="t"/>
      <a:lstStyle>
        <a:defPP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6.xml><?xml version="1.0" encoding="utf-8"?>
<a:theme xmlns:a="http://schemas.openxmlformats.org/drawingml/2006/main" name="5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7.xml><?xml version="1.0" encoding="utf-8"?>
<a:theme xmlns:a="http://schemas.openxmlformats.org/drawingml/2006/main" name="Blue theme 2016 16x9">
  <a:themeElements>
    <a:clrScheme name="Blue Theme 2016 Updated">
      <a:dk1>
        <a:srgbClr val="39393B"/>
      </a:dk1>
      <a:lt1>
        <a:srgbClr val="FFFFFF"/>
      </a:lt1>
      <a:dk2>
        <a:srgbClr val="555558"/>
      </a:dk2>
      <a:lt2>
        <a:srgbClr val="049CD4"/>
      </a:lt2>
      <a:accent1>
        <a:srgbClr val="014093"/>
      </a:accent1>
      <a:accent2>
        <a:srgbClr val="0498D1"/>
      </a:accent2>
      <a:accent3>
        <a:srgbClr val="CACCD2"/>
      </a:accent3>
      <a:accent4>
        <a:srgbClr val="ABC333"/>
      </a:accent4>
      <a:accent5>
        <a:srgbClr val="64BAE2"/>
      </a:accent5>
      <a:accent6>
        <a:srgbClr val="0B6B75"/>
      </a:accent6>
      <a:hlink>
        <a:srgbClr val="049BD3"/>
      </a:hlink>
      <a:folHlink>
        <a:srgbClr val="01449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spPr>
      <a:bodyPr wrap="square" rtlCol="0" anchor="t">
        <a:noAutofit/>
      </a:bodyPr>
      <a:lstStyle>
        <a:defPPr>
          <a:defRPr sz="1000" dirty="0">
            <a:ea typeface="ＭＳ Ｐゴシック" charset="0"/>
            <a:cs typeface="ＭＳ Ｐゴシック" charset="0"/>
          </a:defRPr>
        </a:defPPr>
      </a:lstStyle>
    </a:spDef>
  </a:objectDefaults>
  <a:extraClrSchemeLst/>
  <a:extLst>
    <a:ext uri="{05A4C25C-085E-4340-85A3-A5531E510DB2}">
      <thm15:themeFamily xmlns:thm15="http://schemas.microsoft.com/office/thememl/2012/main" name="Presentation1" id="{DC503DE1-91F3-4E06-9D47-79C2309E909B}" vid="{C266BCD2-BF24-49DE-B4C0-2E591CE22960}"/>
    </a:ext>
  </a:extLst>
</a:theme>
</file>

<file path=ppt/theme/theme8.xml><?xml version="1.0" encoding="utf-8"?>
<a:theme xmlns:a="http://schemas.openxmlformats.org/drawingml/2006/main" name="2_Cisco Live 2017">
  <a:themeElements>
    <a:clrScheme name="Custom 103">
      <a:dk1>
        <a:srgbClr val="39393B"/>
      </a:dk1>
      <a:lt1>
        <a:srgbClr val="FFFFFF"/>
      </a:lt1>
      <a:dk2>
        <a:srgbClr val="9E9EA2"/>
      </a:dk2>
      <a:lt2>
        <a:srgbClr val="58595B"/>
      </a:lt2>
      <a:accent1>
        <a:srgbClr val="00BCEB"/>
      </a:accent1>
      <a:accent2>
        <a:srgbClr val="FBAB18"/>
      </a:accent2>
      <a:accent3>
        <a:srgbClr val="6EBE4A"/>
      </a:accent3>
      <a:accent4>
        <a:srgbClr val="F04C37"/>
      </a:accent4>
      <a:accent5>
        <a:srgbClr val="0B6B75"/>
      </a:accent5>
      <a:accent6>
        <a:srgbClr val="005073"/>
      </a:accent6>
      <a:hlink>
        <a:srgbClr val="049BD3"/>
      </a:hlink>
      <a:folHlink>
        <a:srgbClr val="01449E"/>
      </a:folHlink>
    </a:clrScheme>
    <a:fontScheme name="Bullets-graphic element">
      <a:majorFont>
        <a:latin typeface="Arial"/>
        <a:ea typeface="Apple LiGothic Medium"/>
        <a:cs typeface="Apple LiGothic Medium"/>
      </a:majorFont>
      <a:minorFont>
        <a:latin typeface="Arial"/>
        <a:ea typeface="Apple LiGothic Medium"/>
        <a:cs typeface="Apple LiGothic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a:noFill/>
          <a:miter lim="800000"/>
          <a:headEnd type="none" w="med" len="med"/>
          <a:tailEnd type="none" w="med" len="med"/>
        </a:ln>
      </a:spPr>
      <a:bodyPr lIns="91440" tIns="45720" rIns="91440" bIns="45720" rtlCol="0" anchor="ctr"/>
      <a:lstStyle>
        <a:defPPr algn="ctr" defTabSz="514350">
          <a:defRPr sz="1400" dirty="0" err="1" smtClean="0">
            <a:solidFill>
              <a:schemeClr val="bg1"/>
            </a:solidFill>
            <a:ea typeface="Arial" pitchFamily="-107" charset="0"/>
            <a:cs typeface="Arial" pitchFamily="-107" charset="0"/>
            <a:sym typeface="Arial" pitchFamily="-107" charset="0"/>
          </a:defRPr>
        </a:defPPr>
      </a:lstStyle>
    </a:spDef>
    <a:lnDef>
      <a:spPr bwMode="auto">
        <a:solidFill>
          <a:srgbClr val="0183B7"/>
        </a:solidFill>
        <a:ln w="9525" cap="flat" cmpd="sng" algn="ctr">
          <a:solidFill>
            <a:schemeClr val="accent1"/>
          </a:solidFill>
          <a:prstDash val="solid"/>
          <a:round/>
          <a:headEnd type="none" w="med" len="med"/>
          <a:tailEnd type="none" w="med" len="med"/>
        </a:ln>
        <a:effectLst/>
      </a:spPr>
      <a:bodyPr/>
      <a:lstStyle/>
    </a:lnDef>
    <a:txDef>
      <a:spPr>
        <a:noFill/>
      </a:spPr>
      <a:bodyPr wrap="square" rtlCol="0">
        <a:spAutoFit/>
      </a:bodyPr>
      <a:lstStyle>
        <a:defPPr>
          <a:lnSpc>
            <a:spcPct val="90000"/>
          </a:lnSpc>
          <a:spcBef>
            <a:spcPts val="600"/>
          </a:spcBef>
          <a:defRPr dirty="0" err="1" smtClean="0"/>
        </a:defPPr>
      </a:lstStyle>
    </a:txDef>
  </a:objectDefaults>
  <a:extraClrSchemeLst>
    <a:extraClrScheme>
      <a:clrScheme name="Bullets-graphic elemen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iscoLive-Breakout-Template_032115_rev.potx" id="{6B06430E-E73C-442A-A3CB-D0AD286589C5}" vid="{A443AF0A-0432-4441-8649-76C9F41B8DB8}"/>
    </a:ext>
  </a:extLst>
</a:theme>
</file>

<file path=ppt/theme/theme9.xml><?xml version="1.0" encoding="utf-8"?>
<a:theme xmlns:a="http://schemas.openxmlformats.org/drawingml/2006/main" name="Cisco 2017 Default">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2017 Default" id="{BBD555AA-4D32-5449-9182-76F3142765D8}" vid="{B5FED215-0D57-7741-BD1F-6B062A88B8B8}"/>
    </a:ext>
  </a:extLst>
</a:theme>
</file>

<file path=docProps/app.xml><?xml version="1.0" encoding="utf-8"?>
<Properties xmlns="http://schemas.openxmlformats.org/officeDocument/2006/extended-properties" xmlns:vt="http://schemas.openxmlformats.org/officeDocument/2006/docPropsVTypes">
  <Template/>
  <TotalTime>15221</TotalTime>
  <Words>6789</Words>
  <Application>Microsoft Office PowerPoint</Application>
  <PresentationFormat>On-screen Show (16:9)</PresentationFormat>
  <Paragraphs>974</Paragraphs>
  <Slides>61</Slides>
  <Notes>48</Notes>
  <HiddenSlides>0</HiddenSlides>
  <MMClips>0</MMClips>
  <ScaleCrop>false</ScaleCrop>
  <HeadingPairs>
    <vt:vector size="8" baseType="variant">
      <vt:variant>
        <vt:lpstr>Fonts Used</vt:lpstr>
      </vt:variant>
      <vt:variant>
        <vt:i4>24</vt:i4>
      </vt:variant>
      <vt:variant>
        <vt:lpstr>Theme</vt:lpstr>
      </vt:variant>
      <vt:variant>
        <vt:i4>14</vt:i4>
      </vt:variant>
      <vt:variant>
        <vt:lpstr>Embedded OLE Servers</vt:lpstr>
      </vt:variant>
      <vt:variant>
        <vt:i4>1</vt:i4>
      </vt:variant>
      <vt:variant>
        <vt:lpstr>Slide Titles</vt:lpstr>
      </vt:variant>
      <vt:variant>
        <vt:i4>61</vt:i4>
      </vt:variant>
    </vt:vector>
  </HeadingPairs>
  <TitlesOfParts>
    <vt:vector size="100" baseType="lpstr">
      <vt:lpstr>Antenna Black</vt:lpstr>
      <vt:lpstr>Apple LiGothic Medium</vt:lpstr>
      <vt:lpstr>Arial Unicode MS</vt:lpstr>
      <vt:lpstr>Ciscolight</vt:lpstr>
      <vt:lpstr>CiscoSans</vt:lpstr>
      <vt:lpstr>CiscoSans ExtraLight</vt:lpstr>
      <vt:lpstr>CiscoSans Thin</vt:lpstr>
      <vt:lpstr>FontAwesome</vt:lpstr>
      <vt:lpstr>Lucida Grande</vt:lpstr>
      <vt:lpstr>ＭＳ Ｐゴシック</vt:lpstr>
      <vt:lpstr>Roboto Condensed</vt:lpstr>
      <vt:lpstr>Segoe Light</vt:lpstr>
      <vt:lpstr>Tipo de letra del sistema Fina</vt:lpstr>
      <vt:lpstr>Aparajita</vt:lpstr>
      <vt:lpstr>Arial</vt:lpstr>
      <vt:lpstr>Calibri</vt:lpstr>
      <vt:lpstr>Calibri Light</vt:lpstr>
      <vt:lpstr>CiscoSansTT</vt:lpstr>
      <vt:lpstr>CiscoSansTT ExtraLight</vt:lpstr>
      <vt:lpstr>CiscoSansTT Light</vt:lpstr>
      <vt:lpstr>CiscoSansTT Thin</vt:lpstr>
      <vt:lpstr>Courier New</vt:lpstr>
      <vt:lpstr>Segoe UI</vt:lpstr>
      <vt:lpstr>Wingdings</vt:lpstr>
      <vt:lpstr>Blue theme 2015 16x9</vt:lpstr>
      <vt:lpstr>1_Blue theme 2015 16x9</vt:lpstr>
      <vt:lpstr>2_Blue theme 2015 16x9</vt:lpstr>
      <vt:lpstr>3_Blue theme 2015 16x9</vt:lpstr>
      <vt:lpstr>4_Blue theme 2015 16x9</vt:lpstr>
      <vt:lpstr>5_Blue theme 2015 16x9</vt:lpstr>
      <vt:lpstr>Blue theme 2016 16x9</vt:lpstr>
      <vt:lpstr>2_Cisco Live 2017</vt:lpstr>
      <vt:lpstr>Cisco 2017 Default</vt:lpstr>
      <vt:lpstr>Cisco Corporate Template 2017</vt:lpstr>
      <vt:lpstr>Office Theme</vt:lpstr>
      <vt:lpstr>1_Cisco Corporate Template 2017</vt:lpstr>
      <vt:lpstr>1_Office Theme</vt:lpstr>
      <vt:lpstr>6_Blue theme 2015 16x9</vt:lpstr>
      <vt:lpstr>think-cell Slide</vt:lpstr>
      <vt:lpstr>Next-Generation Datacenter</vt:lpstr>
      <vt:lpstr>PowerPoint Presentation</vt:lpstr>
      <vt:lpstr>Data Center Redefined</vt:lpstr>
      <vt:lpstr>PowerPoint Presentation</vt:lpstr>
      <vt:lpstr>PowerPoint Presentation</vt:lpstr>
      <vt:lpstr>3 Trends Driving Data Center Modernization</vt:lpstr>
      <vt:lpstr>PowerPoint Presentation</vt:lpstr>
      <vt:lpstr>PowerPoint Presentation</vt:lpstr>
      <vt:lpstr>PowerPoint Presentation</vt:lpstr>
      <vt:lpstr>Cisco Data Center: Pillars for Success</vt:lpstr>
      <vt:lpstr>Managing the Anywhere Data Center</vt:lpstr>
      <vt:lpstr>Cisco Integrated Security</vt:lpstr>
      <vt:lpstr>How is Data Being Stolen? Via People</vt:lpstr>
      <vt:lpstr>Yesterday’s Network Security was about the Perimeter… </vt:lpstr>
      <vt:lpstr>Digitization complicates visibility</vt:lpstr>
      <vt:lpstr>The Solution: Network + Security Activate your network for more holistic security</vt:lpstr>
      <vt:lpstr>New Trend: Security is Getting Smarter</vt:lpstr>
      <vt:lpstr>Effective Security Depends on Total Visibility </vt:lpstr>
      <vt:lpstr>Cisco Data Center Security</vt:lpstr>
      <vt:lpstr>PowerPoint Presentation</vt:lpstr>
      <vt:lpstr>PowerPoint Presentation</vt:lpstr>
      <vt:lpstr>PowerPoint Presentation</vt:lpstr>
      <vt:lpstr>PowerPoint Presentation</vt:lpstr>
      <vt:lpstr>PowerPoint Presentation</vt:lpstr>
      <vt:lpstr>Cisco Stealthwatch Enterprise</vt:lpstr>
      <vt:lpstr>Cisco Stealthwatch Enterprise:  Scalable visibility and security analytics</vt:lpstr>
      <vt:lpstr>Security Analytics with Stealthwatch Enterprise</vt:lpstr>
      <vt:lpstr>Enriched with data from other sources</vt:lpstr>
      <vt:lpstr>Anomaly detection using behavioral modeling</vt:lpstr>
      <vt:lpstr>Power of multilayered machine learning</vt:lpstr>
      <vt:lpstr>Encrypted Traffic Analytics</vt:lpstr>
      <vt:lpstr>Logical alarms based on suspicious events</vt:lpstr>
      <vt:lpstr>Insider threat example: data hoarding</vt:lpstr>
      <vt:lpstr>Insider threat example: data exfiltration</vt:lpstr>
      <vt:lpstr>Stealthwatch Enterprise Architecture</vt:lpstr>
      <vt:lpstr>Cisco Stealthwatch Demo</vt:lpstr>
      <vt:lpstr>Cisco Tetration Analytic Engine</vt:lpstr>
      <vt:lpstr>Introducing Tetration</vt:lpstr>
      <vt:lpstr>Cisco Tetration Use cases</vt:lpstr>
      <vt:lpstr>Insight-based notification: Neighborhood graphs</vt:lpstr>
      <vt:lpstr>Cisco Tetration: Server process and process hash</vt:lpstr>
      <vt:lpstr>Server process inventory details</vt:lpstr>
      <vt:lpstr>What is really running on my network? Cisco Tetration Analytics application insight dependency map</vt:lpstr>
      <vt:lpstr>Tracking process response times</vt:lpstr>
      <vt:lpstr>Cisco Tetration Analytics: Ecosystem</vt:lpstr>
      <vt:lpstr>Cisco Tetration Demo</vt:lpstr>
      <vt:lpstr>The Power Twins… Cisco Stealthwatch + Tetration</vt:lpstr>
      <vt:lpstr>   Truly End-to-End Visibility and Enforcement:      …Cisco Stealthwatch + Tetration</vt:lpstr>
      <vt:lpstr>Example: Hospital </vt:lpstr>
      <vt:lpstr>Example Application: Radiology</vt:lpstr>
      <vt:lpstr>Solution Architecture</vt:lpstr>
      <vt:lpstr>Application Insight (Cisco Tetration)</vt:lpstr>
      <vt:lpstr>Application Segmentation and Policy Enforcement (Cisco Tetration)</vt:lpstr>
      <vt:lpstr>Enterprise Network Visibility (Cisco Stealthwatch)</vt:lpstr>
      <vt:lpstr>Threat Detection via Security Analytics  (Cisco Stealthwatch)</vt:lpstr>
      <vt:lpstr>Threat Detection via Security Analytics  (Cisco Stealthwatch)</vt:lpstr>
      <vt:lpstr>Rapid Threat Containment (Stealthwatch &amp; ISE)</vt:lpstr>
      <vt:lpstr>Application Segmentation and Policy Enforcement (Cisco Tetration)</vt:lpstr>
      <vt:lpstr>Application Segmentation and Policy Enforcement (Cisco Tetration)</vt:lpstr>
      <vt:lpstr>Security that Works Together</vt:lpstr>
      <vt:lpstr>PowerPoint Presentation</vt:lpstr>
    </vt:vector>
  </TitlesOfParts>
  <Company>NDS Limi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ius@cisco.com</dc:creator>
  <cp:lastModifiedBy>Monica Tew</cp:lastModifiedBy>
  <cp:revision>1456</cp:revision>
  <cp:lastPrinted>2016-04-29T20:31:14Z</cp:lastPrinted>
  <dcterms:created xsi:type="dcterms:W3CDTF">2014-07-09T19:55:36Z</dcterms:created>
  <dcterms:modified xsi:type="dcterms:W3CDTF">2019-05-16T07:42:46Z</dcterms:modified>
</cp:coreProperties>
</file>